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2.xml" ContentType="application/vnd.openxmlformats-officedocument.theme+xml"/>
  <Override PartName="/ppt/slideLayouts/slideLayout15.xml" ContentType="application/vnd.openxmlformats-officedocument.presentationml.slideLayout+xml"/>
  <Override PartName="/ppt/theme/theme3.xml" ContentType="application/vnd.openxmlformats-officedocument.theme+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4.xml" ContentType="application/vnd.openxmlformats-officedocument.theme+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theme/theme5.xml" ContentType="application/vnd.openxmlformats-officedocument.theme+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theme/theme6.xml" ContentType="application/vnd.openxmlformats-officedocument.theme+xml"/>
  <Override PartName="/ppt/theme/theme7.xml" ContentType="application/vnd.openxmlformats-officedocument.theme+xml"/>
  <Override PartName="/ppt/theme/theme8.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tags/tag1.xml" ContentType="application/vnd.openxmlformats-officedocument.presentationml.tags+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4018" r:id="rId4"/>
    <p:sldMasterId id="2147484020" r:id="rId5"/>
    <p:sldMasterId id="2147484032" r:id="rId6"/>
    <p:sldMasterId id="2147484037" r:id="rId7"/>
    <p:sldMasterId id="2147484060" r:id="rId8"/>
    <p:sldMasterId id="2147484085" r:id="rId9"/>
  </p:sldMasterIdLst>
  <p:notesMasterIdLst>
    <p:notesMasterId r:id="rId62"/>
  </p:notesMasterIdLst>
  <p:handoutMasterIdLst>
    <p:handoutMasterId r:id="rId63"/>
  </p:handoutMasterIdLst>
  <p:sldIdLst>
    <p:sldId id="256" r:id="rId10"/>
    <p:sldId id="2147483058" r:id="rId11"/>
    <p:sldId id="2147483059" r:id="rId12"/>
    <p:sldId id="259" r:id="rId13"/>
    <p:sldId id="273" r:id="rId14"/>
    <p:sldId id="440" r:id="rId15"/>
    <p:sldId id="2147474683" r:id="rId16"/>
    <p:sldId id="2147483060" r:id="rId17"/>
    <p:sldId id="541" r:id="rId18"/>
    <p:sldId id="2147474687" r:id="rId19"/>
    <p:sldId id="548" r:id="rId20"/>
    <p:sldId id="2147474689" r:id="rId21"/>
    <p:sldId id="277" r:id="rId22"/>
    <p:sldId id="2147483033" r:id="rId23"/>
    <p:sldId id="2146847674" r:id="rId24"/>
    <p:sldId id="2146847723" r:id="rId25"/>
    <p:sldId id="2146847712" r:id="rId26"/>
    <p:sldId id="2146847646" r:id="rId27"/>
    <p:sldId id="2146847702" r:id="rId28"/>
    <p:sldId id="2146847704" r:id="rId29"/>
    <p:sldId id="2146847724" r:id="rId30"/>
    <p:sldId id="257" r:id="rId31"/>
    <p:sldId id="2147483040" r:id="rId32"/>
    <p:sldId id="2147483043" r:id="rId33"/>
    <p:sldId id="2147483035" r:id="rId34"/>
    <p:sldId id="2147483042" r:id="rId35"/>
    <p:sldId id="2147483039" r:id="rId36"/>
    <p:sldId id="2147483041" r:id="rId37"/>
    <p:sldId id="2147483034" r:id="rId38"/>
    <p:sldId id="2147483036" r:id="rId39"/>
    <p:sldId id="2147483044" r:id="rId40"/>
    <p:sldId id="267" r:id="rId41"/>
    <p:sldId id="5053" r:id="rId42"/>
    <p:sldId id="5054" r:id="rId43"/>
    <p:sldId id="5061" r:id="rId44"/>
    <p:sldId id="5062" r:id="rId45"/>
    <p:sldId id="5070" r:id="rId46"/>
    <p:sldId id="268" r:id="rId47"/>
    <p:sldId id="269" r:id="rId48"/>
    <p:sldId id="270" r:id="rId49"/>
    <p:sldId id="2147483045" r:id="rId50"/>
    <p:sldId id="2147483054" r:id="rId51"/>
    <p:sldId id="2147483055" r:id="rId52"/>
    <p:sldId id="2147483046" r:id="rId53"/>
    <p:sldId id="2147483047" r:id="rId54"/>
    <p:sldId id="2147483048" r:id="rId55"/>
    <p:sldId id="2147483049" r:id="rId56"/>
    <p:sldId id="2147483050" r:id="rId57"/>
    <p:sldId id="2147483051" r:id="rId58"/>
    <p:sldId id="2147483057" r:id="rId59"/>
    <p:sldId id="275" r:id="rId60"/>
    <p:sldId id="264" r:id="rId61"/>
  </p:sldIdLst>
  <p:sldSz cx="9144000" cy="5143500" type="screen16x9"/>
  <p:notesSz cx="6792913" cy="992505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620">
          <p15:clr>
            <a:srgbClr val="A4A3A4"/>
          </p15:clr>
        </p15:guide>
        <p15:guide id="2" pos="2880">
          <p15:clr>
            <a:srgbClr val="A4A3A4"/>
          </p15:clr>
        </p15:guide>
      </p15:sldGuideLst>
    </p:ext>
    <p:ext uri="{2D200454-40CA-4A62-9FC3-DE9A4176ACB9}">
      <p15:notesGuideLst xmlns:p15="http://schemas.microsoft.com/office/powerpoint/2012/main">
        <p15:guide id="1" orient="horz" pos="3126" userDrawn="1">
          <p15:clr>
            <a:srgbClr val="A4A3A4"/>
          </p15:clr>
        </p15:guide>
        <p15:guide id="2" pos="2140" userDrawn="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15A24"/>
    <a:srgbClr val="F15C23"/>
    <a:srgbClr val="808080"/>
    <a:srgbClr val="010F2C"/>
    <a:srgbClr val="071F57"/>
    <a:srgbClr val="C5E3F1"/>
    <a:srgbClr val="F39300"/>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0E62F23-BEFB-4652-9181-845CCA642C09}" v="4" dt="2025-04-04T05:57:30.593"/>
    <p1510:client id="{1CCD06DC-849C-4629-8798-C085B0EA6EC6}" v="1" dt="2025-04-04T08:01:54.619"/>
    <p1510:client id="{2495D451-6913-4856-98AB-B519DC6D9C4B}" v="24" dt="2025-04-03T09:24:45.781"/>
    <p1510:client id="{287A1545-3F90-6E0E-0695-12386C7C8D24}" v="16" dt="2025-04-04T07:24:58.511"/>
    <p1510:client id="{2FE45305-48BB-426D-88D0-C80532960B5E}" v="9" dt="2025-04-03T09:21:07.220"/>
    <p1510:client id="{6574A941-CCF3-426B-B7CB-BD0FD702AD3C}" v="182" dt="2025-04-03T15:03:54.119"/>
    <p1510:client id="{A8DEA255-D5B8-47BA-0553-EF7DF3749128}" v="39" dt="2025-04-04T07:34:39.475"/>
    <p1510:client id="{C468A988-180C-6201-4B82-B3B11FA4F80D}" v="1" dt="2025-04-04T07:32:03.424"/>
    <p1510:client id="{D3D20C06-F5C6-4A12-B416-34CAAC1B7665}" v="737" dt="2025-04-03T21:46:28.970"/>
    <p1510:client id="{E0D54BD5-CB55-41EF-BB03-E442CA1FC655}" v="124" dt="2025-04-03T22:46:23.850"/>
    <p1510:client id="{F054C627-9906-4439-9906-04AFBD314B10}" v="25" dt="2025-04-04T07:20:57.791"/>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slideViewPr>
    <p:cSldViewPr snapToGrid="0">
      <p:cViewPr>
        <p:scale>
          <a:sx n="1" d="2"/>
          <a:sy n="1" d="2"/>
        </p:scale>
        <p:origin x="0" y="0"/>
      </p:cViewPr>
      <p:guideLst>
        <p:guide orient="horz" pos="1620"/>
        <p:guide pos="2880"/>
      </p:guideLst>
    </p:cSldViewPr>
  </p:slideViewPr>
  <p:notesViewPr>
    <p:cSldViewPr snapToGrid="0">
      <p:cViewPr>
        <p:scale>
          <a:sx n="1" d="2"/>
          <a:sy n="1" d="2"/>
        </p:scale>
        <p:origin x="0" y="0"/>
      </p:cViewPr>
      <p:guideLst>
        <p:guide orient="horz" pos="3126"/>
        <p:guide pos="2140"/>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7.xml"/><Relationship Id="rId21" Type="http://schemas.openxmlformats.org/officeDocument/2006/relationships/slide" Target="slides/slide12.xml"/><Relationship Id="rId34" Type="http://schemas.openxmlformats.org/officeDocument/2006/relationships/slide" Target="slides/slide25.xml"/><Relationship Id="rId42" Type="http://schemas.openxmlformats.org/officeDocument/2006/relationships/slide" Target="slides/slide33.xml"/><Relationship Id="rId47" Type="http://schemas.openxmlformats.org/officeDocument/2006/relationships/slide" Target="slides/slide38.xml"/><Relationship Id="rId50" Type="http://schemas.openxmlformats.org/officeDocument/2006/relationships/slide" Target="slides/slide41.xml"/><Relationship Id="rId55" Type="http://schemas.openxmlformats.org/officeDocument/2006/relationships/slide" Target="slides/slide46.xml"/><Relationship Id="rId63" Type="http://schemas.openxmlformats.org/officeDocument/2006/relationships/handoutMaster" Target="handoutMasters/handoutMaster1.xml"/><Relationship Id="rId68" Type="http://schemas.microsoft.com/office/2015/10/relationships/revisionInfo" Target="revisionInfo.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7.xml"/><Relationship Id="rId29" Type="http://schemas.openxmlformats.org/officeDocument/2006/relationships/slide" Target="slides/slide20.xml"/><Relationship Id="rId11" Type="http://schemas.openxmlformats.org/officeDocument/2006/relationships/slide" Target="slides/slide2.xml"/><Relationship Id="rId24" Type="http://schemas.openxmlformats.org/officeDocument/2006/relationships/slide" Target="slides/slide15.xml"/><Relationship Id="rId32" Type="http://schemas.openxmlformats.org/officeDocument/2006/relationships/slide" Target="slides/slide23.xml"/><Relationship Id="rId37" Type="http://schemas.openxmlformats.org/officeDocument/2006/relationships/slide" Target="slides/slide28.xml"/><Relationship Id="rId40" Type="http://schemas.openxmlformats.org/officeDocument/2006/relationships/slide" Target="slides/slide31.xml"/><Relationship Id="rId45" Type="http://schemas.openxmlformats.org/officeDocument/2006/relationships/slide" Target="slides/slide36.xml"/><Relationship Id="rId53" Type="http://schemas.openxmlformats.org/officeDocument/2006/relationships/slide" Target="slides/slide44.xml"/><Relationship Id="rId58" Type="http://schemas.openxmlformats.org/officeDocument/2006/relationships/slide" Target="slides/slide49.xml"/><Relationship Id="rId66" Type="http://schemas.openxmlformats.org/officeDocument/2006/relationships/theme" Target="theme/theme1.xml"/><Relationship Id="rId5" Type="http://schemas.openxmlformats.org/officeDocument/2006/relationships/slideMaster" Target="slideMasters/slideMaster2.xml"/><Relationship Id="rId61" Type="http://schemas.openxmlformats.org/officeDocument/2006/relationships/slide" Target="slides/slide52.xml"/><Relationship Id="rId19" Type="http://schemas.openxmlformats.org/officeDocument/2006/relationships/slide" Target="slides/slide10.xml"/><Relationship Id="rId14" Type="http://schemas.openxmlformats.org/officeDocument/2006/relationships/slide" Target="slides/slide5.xml"/><Relationship Id="rId22" Type="http://schemas.openxmlformats.org/officeDocument/2006/relationships/slide" Target="slides/slide13.xml"/><Relationship Id="rId27" Type="http://schemas.openxmlformats.org/officeDocument/2006/relationships/slide" Target="slides/slide18.xml"/><Relationship Id="rId30" Type="http://schemas.openxmlformats.org/officeDocument/2006/relationships/slide" Target="slides/slide21.xml"/><Relationship Id="rId35" Type="http://schemas.openxmlformats.org/officeDocument/2006/relationships/slide" Target="slides/slide26.xml"/><Relationship Id="rId43" Type="http://schemas.openxmlformats.org/officeDocument/2006/relationships/slide" Target="slides/slide34.xml"/><Relationship Id="rId48" Type="http://schemas.openxmlformats.org/officeDocument/2006/relationships/slide" Target="slides/slide39.xml"/><Relationship Id="rId56" Type="http://schemas.openxmlformats.org/officeDocument/2006/relationships/slide" Target="slides/slide47.xml"/><Relationship Id="rId64" Type="http://schemas.openxmlformats.org/officeDocument/2006/relationships/presProps" Target="presProps.xml"/><Relationship Id="rId8" Type="http://schemas.openxmlformats.org/officeDocument/2006/relationships/slideMaster" Target="slideMasters/slideMaster5.xml"/><Relationship Id="rId51" Type="http://schemas.openxmlformats.org/officeDocument/2006/relationships/slide" Target="slides/slide42.xml"/><Relationship Id="rId3" Type="http://schemas.openxmlformats.org/officeDocument/2006/relationships/customXml" Target="../customXml/item3.xml"/><Relationship Id="rId12" Type="http://schemas.openxmlformats.org/officeDocument/2006/relationships/slide" Target="slides/slide3.xml"/><Relationship Id="rId17" Type="http://schemas.openxmlformats.org/officeDocument/2006/relationships/slide" Target="slides/slide8.xml"/><Relationship Id="rId25" Type="http://schemas.openxmlformats.org/officeDocument/2006/relationships/slide" Target="slides/slide16.xml"/><Relationship Id="rId33" Type="http://schemas.openxmlformats.org/officeDocument/2006/relationships/slide" Target="slides/slide24.xml"/><Relationship Id="rId38" Type="http://schemas.openxmlformats.org/officeDocument/2006/relationships/slide" Target="slides/slide29.xml"/><Relationship Id="rId46" Type="http://schemas.openxmlformats.org/officeDocument/2006/relationships/slide" Target="slides/slide37.xml"/><Relationship Id="rId59" Type="http://schemas.openxmlformats.org/officeDocument/2006/relationships/slide" Target="slides/slide50.xml"/><Relationship Id="rId67" Type="http://schemas.openxmlformats.org/officeDocument/2006/relationships/tableStyles" Target="tableStyles.xml"/><Relationship Id="rId20" Type="http://schemas.openxmlformats.org/officeDocument/2006/relationships/slide" Target="slides/slide11.xml"/><Relationship Id="rId41" Type="http://schemas.openxmlformats.org/officeDocument/2006/relationships/slide" Target="slides/slide32.xml"/><Relationship Id="rId54" Type="http://schemas.openxmlformats.org/officeDocument/2006/relationships/slide" Target="slides/slide45.xml"/><Relationship Id="rId62"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6.xml"/><Relationship Id="rId23" Type="http://schemas.openxmlformats.org/officeDocument/2006/relationships/slide" Target="slides/slide14.xml"/><Relationship Id="rId28" Type="http://schemas.openxmlformats.org/officeDocument/2006/relationships/slide" Target="slides/slide19.xml"/><Relationship Id="rId36" Type="http://schemas.openxmlformats.org/officeDocument/2006/relationships/slide" Target="slides/slide27.xml"/><Relationship Id="rId49" Type="http://schemas.openxmlformats.org/officeDocument/2006/relationships/slide" Target="slides/slide40.xml"/><Relationship Id="rId57" Type="http://schemas.openxmlformats.org/officeDocument/2006/relationships/slide" Target="slides/slide48.xml"/><Relationship Id="rId10" Type="http://schemas.openxmlformats.org/officeDocument/2006/relationships/slide" Target="slides/slide1.xml"/><Relationship Id="rId31" Type="http://schemas.openxmlformats.org/officeDocument/2006/relationships/slide" Target="slides/slide22.xml"/><Relationship Id="rId44" Type="http://schemas.openxmlformats.org/officeDocument/2006/relationships/slide" Target="slides/slide35.xml"/><Relationship Id="rId52" Type="http://schemas.openxmlformats.org/officeDocument/2006/relationships/slide" Target="slides/slide43.xml"/><Relationship Id="rId60" Type="http://schemas.openxmlformats.org/officeDocument/2006/relationships/slide" Target="slides/slide51.xml"/><Relationship Id="rId65"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Master" Target="slideMasters/slideMaster6.xml"/><Relationship Id="rId13" Type="http://schemas.openxmlformats.org/officeDocument/2006/relationships/slide" Target="slides/slide4.xml"/><Relationship Id="rId18" Type="http://schemas.openxmlformats.org/officeDocument/2006/relationships/slide" Target="slides/slide9.xml"/><Relationship Id="rId39" Type="http://schemas.openxmlformats.org/officeDocument/2006/relationships/slide" Target="slides/slide30.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589CDD21-1748-41A9-B298-7BCBA4744C26}" type="doc">
      <dgm:prSet loTypeId="urn:microsoft.com/office/officeart/2005/8/layout/venn2" loCatId="relationship" qsTypeId="urn:microsoft.com/office/officeart/2005/8/quickstyle/simple1" qsCatId="simple" csTypeId="urn:microsoft.com/office/officeart/2005/8/colors/accent1_2" csCatId="accent1" phldr="1"/>
      <dgm:spPr/>
      <dgm:t>
        <a:bodyPr/>
        <a:lstStyle/>
        <a:p>
          <a:endParaRPr lang="en-IE"/>
        </a:p>
      </dgm:t>
    </dgm:pt>
    <dgm:pt modelId="{66526885-9678-4987-AD90-56DD7060CD46}">
      <dgm:prSet phldrT="[Text]" custT="1"/>
      <dgm:spPr>
        <a:solidFill>
          <a:schemeClr val="accent3"/>
        </a:solidFill>
      </dgm:spPr>
      <dgm:t>
        <a:bodyPr/>
        <a:lstStyle/>
        <a:p>
          <a:r>
            <a:rPr lang="en-US" sz="1100" b="1">
              <a:solidFill>
                <a:schemeClr val="tx1"/>
              </a:solidFill>
            </a:rPr>
            <a:t>Validation</a:t>
          </a:r>
          <a:r>
            <a:rPr lang="en-US" sz="800" b="1">
              <a:solidFill>
                <a:schemeClr val="tx1"/>
              </a:solidFill>
            </a:rPr>
            <a:t> of datasets compliant with Health DCAT-AP</a:t>
          </a:r>
          <a:endParaRPr lang="en-IE" sz="800" b="1">
            <a:solidFill>
              <a:schemeClr val="tx1"/>
            </a:solidFill>
          </a:endParaRPr>
        </a:p>
      </dgm:t>
    </dgm:pt>
    <dgm:pt modelId="{FF981672-12C8-4A5D-A590-4DCC88F73EE1}" type="parTrans" cxnId="{17F23DD6-08FB-4325-9E41-1F1C0022F49E}">
      <dgm:prSet/>
      <dgm:spPr/>
      <dgm:t>
        <a:bodyPr/>
        <a:lstStyle/>
        <a:p>
          <a:endParaRPr lang="en-IE" sz="2000" b="1">
            <a:solidFill>
              <a:schemeClr val="tx1"/>
            </a:solidFill>
          </a:endParaRPr>
        </a:p>
      </dgm:t>
    </dgm:pt>
    <dgm:pt modelId="{15269993-43CC-4818-B824-38430164AF2A}" type="sibTrans" cxnId="{17F23DD6-08FB-4325-9E41-1F1C0022F49E}">
      <dgm:prSet/>
      <dgm:spPr/>
      <dgm:t>
        <a:bodyPr/>
        <a:lstStyle/>
        <a:p>
          <a:endParaRPr lang="en-IE" sz="2000" b="1">
            <a:solidFill>
              <a:schemeClr val="tx1"/>
            </a:solidFill>
          </a:endParaRPr>
        </a:p>
      </dgm:t>
    </dgm:pt>
    <dgm:pt modelId="{2FC5C94E-FA85-4945-9B13-804B8772F7FB}">
      <dgm:prSet custT="1"/>
      <dgm:spPr>
        <a:solidFill>
          <a:schemeClr val="accent4"/>
        </a:solidFill>
      </dgm:spPr>
      <dgm:t>
        <a:bodyPr/>
        <a:lstStyle/>
        <a:p>
          <a:r>
            <a:rPr lang="en-US" sz="1050" b="1">
              <a:solidFill>
                <a:schemeClr val="tx1"/>
              </a:solidFill>
            </a:rPr>
            <a:t>AI chatbot </a:t>
          </a:r>
          <a:r>
            <a:rPr lang="en-US" sz="800" b="1">
              <a:solidFill>
                <a:schemeClr val="tx1"/>
              </a:solidFill>
            </a:rPr>
            <a:t>to help </a:t>
          </a:r>
          <a:r>
            <a:rPr lang="en-US" sz="1000" b="1">
              <a:solidFill>
                <a:schemeClr val="tx1"/>
              </a:solidFill>
            </a:rPr>
            <a:t>creating</a:t>
          </a:r>
          <a:r>
            <a:rPr lang="en-US" sz="800" b="1">
              <a:solidFill>
                <a:schemeClr val="tx1"/>
              </a:solidFill>
            </a:rPr>
            <a:t> Health DCAT-AP descriptions of datasets</a:t>
          </a:r>
          <a:endParaRPr lang="en-IE" sz="800" b="1">
            <a:solidFill>
              <a:schemeClr val="tx1"/>
            </a:solidFill>
          </a:endParaRPr>
        </a:p>
      </dgm:t>
    </dgm:pt>
    <dgm:pt modelId="{A5180F49-9781-4DA9-80E3-D21BAA4C89F5}" type="parTrans" cxnId="{C6596C7D-8DC2-4E16-89B6-86599048C557}">
      <dgm:prSet/>
      <dgm:spPr/>
      <dgm:t>
        <a:bodyPr/>
        <a:lstStyle/>
        <a:p>
          <a:endParaRPr lang="en-IE" sz="2000" b="1">
            <a:solidFill>
              <a:schemeClr val="tx1"/>
            </a:solidFill>
          </a:endParaRPr>
        </a:p>
      </dgm:t>
    </dgm:pt>
    <dgm:pt modelId="{52B05C95-5682-40E7-A10A-BF89E49C3A23}" type="sibTrans" cxnId="{C6596C7D-8DC2-4E16-89B6-86599048C557}">
      <dgm:prSet/>
      <dgm:spPr/>
      <dgm:t>
        <a:bodyPr/>
        <a:lstStyle/>
        <a:p>
          <a:endParaRPr lang="en-IE" sz="2000" b="1">
            <a:solidFill>
              <a:schemeClr val="tx1"/>
            </a:solidFill>
          </a:endParaRPr>
        </a:p>
      </dgm:t>
    </dgm:pt>
    <dgm:pt modelId="{6ED82C1E-1185-4B02-A3FF-8C569A6F7B8D}">
      <dgm:prSet custT="1"/>
      <dgm:spPr>
        <a:solidFill>
          <a:schemeClr val="accent2"/>
        </a:solidFill>
      </dgm:spPr>
      <dgm:t>
        <a:bodyPr/>
        <a:lstStyle/>
        <a:p>
          <a:br>
            <a:rPr lang="en-IE" sz="900" b="1">
              <a:solidFill>
                <a:schemeClr val="tx1"/>
              </a:solidFill>
            </a:rPr>
          </a:br>
          <a:r>
            <a:rPr lang="en-IE" sz="1000" b="1">
              <a:solidFill>
                <a:schemeClr val="tx1"/>
              </a:solidFill>
            </a:rPr>
            <a:t>Secure Processing Environments – Machine learning</a:t>
          </a:r>
          <a:endParaRPr lang="en-IE" sz="900" b="1">
            <a:solidFill>
              <a:schemeClr val="tx1"/>
            </a:solidFill>
          </a:endParaRPr>
        </a:p>
      </dgm:t>
    </dgm:pt>
    <dgm:pt modelId="{2AE3D165-377E-4B9E-BE13-7A1C5B67B2D9}" type="parTrans" cxnId="{334D32FD-A41E-47BF-951E-A6586D6CA40C}">
      <dgm:prSet/>
      <dgm:spPr/>
      <dgm:t>
        <a:bodyPr/>
        <a:lstStyle/>
        <a:p>
          <a:endParaRPr lang="en-IE" sz="2000" b="1">
            <a:solidFill>
              <a:schemeClr val="tx1"/>
            </a:solidFill>
          </a:endParaRPr>
        </a:p>
      </dgm:t>
    </dgm:pt>
    <dgm:pt modelId="{DE9A7DFE-F0E7-4ED9-AC3D-7DB40F12F704}" type="sibTrans" cxnId="{334D32FD-A41E-47BF-951E-A6586D6CA40C}">
      <dgm:prSet/>
      <dgm:spPr/>
      <dgm:t>
        <a:bodyPr/>
        <a:lstStyle/>
        <a:p>
          <a:endParaRPr lang="en-IE" sz="2000" b="1">
            <a:solidFill>
              <a:schemeClr val="tx1"/>
            </a:solidFill>
          </a:endParaRPr>
        </a:p>
      </dgm:t>
    </dgm:pt>
    <dgm:pt modelId="{A561CAB3-38A1-48DF-A450-FF6B177823E9}">
      <dgm:prSet custT="1"/>
      <dgm:spPr>
        <a:solidFill>
          <a:schemeClr val="accent6"/>
        </a:solidFill>
      </dgm:spPr>
      <dgm:t>
        <a:bodyPr/>
        <a:lstStyle/>
        <a:p>
          <a:r>
            <a:rPr lang="en-IE" sz="900" b="1">
              <a:solidFill>
                <a:schemeClr val="tx1"/>
              </a:solidFill>
            </a:rPr>
            <a:t>EU Dataset Catalogue </a:t>
          </a:r>
        </a:p>
        <a:p>
          <a:r>
            <a:rPr lang="en-IE" sz="900" b="1">
              <a:solidFill>
                <a:schemeClr val="tx1"/>
              </a:solidFill>
            </a:rPr>
            <a:t>Data Permits Catalogue</a:t>
          </a:r>
        </a:p>
        <a:p>
          <a:r>
            <a:rPr lang="en-IE" sz="900" b="1">
              <a:solidFill>
                <a:schemeClr val="tx1"/>
              </a:solidFill>
            </a:rPr>
            <a:t>Search with use of AI chatbot</a:t>
          </a:r>
          <a:endParaRPr lang="en-IE" sz="700" b="1">
            <a:solidFill>
              <a:schemeClr val="tx1"/>
            </a:solidFill>
          </a:endParaRPr>
        </a:p>
      </dgm:t>
    </dgm:pt>
    <dgm:pt modelId="{2213888B-1E65-400C-B9AC-8DAEAE816F3C}" type="parTrans" cxnId="{F886C945-6C98-462B-942A-E98493D50075}">
      <dgm:prSet/>
      <dgm:spPr/>
      <dgm:t>
        <a:bodyPr/>
        <a:lstStyle/>
        <a:p>
          <a:endParaRPr lang="en-IE" sz="2000" b="1">
            <a:solidFill>
              <a:schemeClr val="tx1"/>
            </a:solidFill>
          </a:endParaRPr>
        </a:p>
      </dgm:t>
    </dgm:pt>
    <dgm:pt modelId="{A3FB29DE-A5AD-466B-84D2-37BD23EA1A9B}" type="sibTrans" cxnId="{F886C945-6C98-462B-942A-E98493D50075}">
      <dgm:prSet/>
      <dgm:spPr/>
      <dgm:t>
        <a:bodyPr/>
        <a:lstStyle/>
        <a:p>
          <a:endParaRPr lang="en-IE" sz="2000" b="1">
            <a:solidFill>
              <a:schemeClr val="tx1"/>
            </a:solidFill>
          </a:endParaRPr>
        </a:p>
      </dgm:t>
    </dgm:pt>
    <dgm:pt modelId="{A3B457B7-B6EF-483F-BE0D-39E3DC68FF5C}">
      <dgm:prSet custT="1"/>
      <dgm:spPr>
        <a:solidFill>
          <a:schemeClr val="accent2"/>
        </a:solidFill>
      </dgm:spPr>
      <dgm:t>
        <a:bodyPr/>
        <a:lstStyle/>
        <a:p>
          <a:r>
            <a:rPr lang="en-IE" sz="1200" b="1">
              <a:solidFill>
                <a:schemeClr val="tx1"/>
              </a:solidFill>
            </a:rPr>
            <a:t>Health DCAT-AP </a:t>
          </a:r>
        </a:p>
        <a:p>
          <a:r>
            <a:rPr lang="en-IE" sz="900" b="1">
              <a:solidFill>
                <a:schemeClr val="tx1"/>
              </a:solidFill>
            </a:rPr>
            <a:t>Technical specifications</a:t>
          </a:r>
        </a:p>
        <a:p>
          <a:endParaRPr lang="en-IE" sz="900" b="1">
            <a:solidFill>
              <a:schemeClr val="tx1"/>
            </a:solidFill>
          </a:endParaRPr>
        </a:p>
      </dgm:t>
    </dgm:pt>
    <dgm:pt modelId="{E5A7481F-CA5F-484A-B816-3CC3CC775BE7}" type="parTrans" cxnId="{BB201F5D-A44F-4D9F-B451-B720781E0F7E}">
      <dgm:prSet/>
      <dgm:spPr/>
      <dgm:t>
        <a:bodyPr/>
        <a:lstStyle/>
        <a:p>
          <a:endParaRPr lang="en-IE" sz="2000" b="1">
            <a:solidFill>
              <a:schemeClr val="tx1"/>
            </a:solidFill>
          </a:endParaRPr>
        </a:p>
      </dgm:t>
    </dgm:pt>
    <dgm:pt modelId="{47E3A91B-844B-47B3-B55A-8454AE7076FD}" type="sibTrans" cxnId="{BB201F5D-A44F-4D9F-B451-B720781E0F7E}">
      <dgm:prSet/>
      <dgm:spPr/>
      <dgm:t>
        <a:bodyPr/>
        <a:lstStyle/>
        <a:p>
          <a:endParaRPr lang="en-IE" sz="2000" b="1">
            <a:solidFill>
              <a:schemeClr val="tx1"/>
            </a:solidFill>
          </a:endParaRPr>
        </a:p>
      </dgm:t>
    </dgm:pt>
    <dgm:pt modelId="{EEF8508F-F514-4F5A-8B69-B0BB78B1CEEB}" type="pres">
      <dgm:prSet presAssocID="{589CDD21-1748-41A9-B298-7BCBA4744C26}" presName="Name0" presStyleCnt="0">
        <dgm:presLayoutVars>
          <dgm:chMax val="7"/>
          <dgm:resizeHandles val="exact"/>
        </dgm:presLayoutVars>
      </dgm:prSet>
      <dgm:spPr/>
    </dgm:pt>
    <dgm:pt modelId="{7C86A30E-1E01-4DFD-ACC8-F9EF606C5767}" type="pres">
      <dgm:prSet presAssocID="{589CDD21-1748-41A9-B298-7BCBA4744C26}" presName="comp1" presStyleCnt="0"/>
      <dgm:spPr/>
    </dgm:pt>
    <dgm:pt modelId="{B614BA69-F3C4-42E3-92AA-9A6FF9D3F867}" type="pres">
      <dgm:prSet presAssocID="{589CDD21-1748-41A9-B298-7BCBA4744C26}" presName="circle1" presStyleLbl="node1" presStyleIdx="0" presStyleCnt="5" custLinFactNeighborX="835" custLinFactNeighborY="-2474"/>
      <dgm:spPr/>
    </dgm:pt>
    <dgm:pt modelId="{BB55147D-0930-4BC3-BABF-7D346F917D5C}" type="pres">
      <dgm:prSet presAssocID="{589CDD21-1748-41A9-B298-7BCBA4744C26}" presName="c1text" presStyleLbl="node1" presStyleIdx="0" presStyleCnt="5">
        <dgm:presLayoutVars>
          <dgm:bulletEnabled val="1"/>
        </dgm:presLayoutVars>
      </dgm:prSet>
      <dgm:spPr/>
    </dgm:pt>
    <dgm:pt modelId="{E0E05F96-5EDB-403D-B620-F46939B2678B}" type="pres">
      <dgm:prSet presAssocID="{589CDD21-1748-41A9-B298-7BCBA4744C26}" presName="comp2" presStyleCnt="0"/>
      <dgm:spPr/>
    </dgm:pt>
    <dgm:pt modelId="{C8CC809D-D614-4DDB-A5F7-9F5873F4D82F}" type="pres">
      <dgm:prSet presAssocID="{589CDD21-1748-41A9-B298-7BCBA4744C26}" presName="circle2" presStyleLbl="node1" presStyleIdx="1" presStyleCnt="5"/>
      <dgm:spPr/>
    </dgm:pt>
    <dgm:pt modelId="{FB134BB4-7A0F-430B-AF1B-4302AD64BAC8}" type="pres">
      <dgm:prSet presAssocID="{589CDD21-1748-41A9-B298-7BCBA4744C26}" presName="c2text" presStyleLbl="node1" presStyleIdx="1" presStyleCnt="5">
        <dgm:presLayoutVars>
          <dgm:bulletEnabled val="1"/>
        </dgm:presLayoutVars>
      </dgm:prSet>
      <dgm:spPr/>
    </dgm:pt>
    <dgm:pt modelId="{954173B8-A0C7-4FC9-BFDF-7B5E429935D1}" type="pres">
      <dgm:prSet presAssocID="{589CDD21-1748-41A9-B298-7BCBA4744C26}" presName="comp3" presStyleCnt="0"/>
      <dgm:spPr/>
    </dgm:pt>
    <dgm:pt modelId="{623E96AC-C055-46EA-AEAC-723175107CEC}" type="pres">
      <dgm:prSet presAssocID="{589CDD21-1748-41A9-B298-7BCBA4744C26}" presName="circle3" presStyleLbl="node1" presStyleIdx="2" presStyleCnt="5" custLinFactNeighborX="1847" custLinFactNeighborY="-1504"/>
      <dgm:spPr/>
    </dgm:pt>
    <dgm:pt modelId="{596B76F2-9A97-43BF-8904-10E31E9FEFBB}" type="pres">
      <dgm:prSet presAssocID="{589CDD21-1748-41A9-B298-7BCBA4744C26}" presName="c3text" presStyleLbl="node1" presStyleIdx="2" presStyleCnt="5">
        <dgm:presLayoutVars>
          <dgm:bulletEnabled val="1"/>
        </dgm:presLayoutVars>
      </dgm:prSet>
      <dgm:spPr/>
    </dgm:pt>
    <dgm:pt modelId="{7553E328-FC26-433F-97E6-B38E424834FF}" type="pres">
      <dgm:prSet presAssocID="{589CDD21-1748-41A9-B298-7BCBA4744C26}" presName="comp4" presStyleCnt="0"/>
      <dgm:spPr/>
    </dgm:pt>
    <dgm:pt modelId="{057FA687-0D2D-4157-A1CC-5D2C07B805A1}" type="pres">
      <dgm:prSet presAssocID="{589CDD21-1748-41A9-B298-7BCBA4744C26}" presName="circle4" presStyleLbl="node1" presStyleIdx="3" presStyleCnt="5"/>
      <dgm:spPr/>
    </dgm:pt>
    <dgm:pt modelId="{E188C19F-EED0-40B7-B3C2-3A2ABD1B1764}" type="pres">
      <dgm:prSet presAssocID="{589CDD21-1748-41A9-B298-7BCBA4744C26}" presName="c4text" presStyleLbl="node1" presStyleIdx="3" presStyleCnt="5">
        <dgm:presLayoutVars>
          <dgm:bulletEnabled val="1"/>
        </dgm:presLayoutVars>
      </dgm:prSet>
      <dgm:spPr/>
    </dgm:pt>
    <dgm:pt modelId="{09EA15D3-D8B4-4643-8813-533B271C52AB}" type="pres">
      <dgm:prSet presAssocID="{589CDD21-1748-41A9-B298-7BCBA4744C26}" presName="comp5" presStyleCnt="0"/>
      <dgm:spPr/>
    </dgm:pt>
    <dgm:pt modelId="{10B00E5C-D931-4BCE-B316-B6140A797C9C}" type="pres">
      <dgm:prSet presAssocID="{589CDD21-1748-41A9-B298-7BCBA4744C26}" presName="circle5" presStyleLbl="node1" presStyleIdx="4" presStyleCnt="5"/>
      <dgm:spPr/>
    </dgm:pt>
    <dgm:pt modelId="{A3756200-1B7D-4D5F-9E21-795CC6244913}" type="pres">
      <dgm:prSet presAssocID="{589CDD21-1748-41A9-B298-7BCBA4744C26}" presName="c5text" presStyleLbl="node1" presStyleIdx="4" presStyleCnt="5">
        <dgm:presLayoutVars>
          <dgm:bulletEnabled val="1"/>
        </dgm:presLayoutVars>
      </dgm:prSet>
      <dgm:spPr/>
    </dgm:pt>
  </dgm:ptLst>
  <dgm:cxnLst>
    <dgm:cxn modelId="{ADF60C17-E43E-4DA0-93C2-A7F4C19BC904}" type="presOf" srcId="{66526885-9678-4987-AD90-56DD7060CD46}" destId="{E188C19F-EED0-40B7-B3C2-3A2ABD1B1764}" srcOrd="1" destOrd="0" presId="urn:microsoft.com/office/officeart/2005/8/layout/venn2"/>
    <dgm:cxn modelId="{CD92C419-B888-426C-BD10-E0C262D5C802}" type="presOf" srcId="{66526885-9678-4987-AD90-56DD7060CD46}" destId="{057FA687-0D2D-4157-A1CC-5D2C07B805A1}" srcOrd="0" destOrd="0" presId="urn:microsoft.com/office/officeart/2005/8/layout/venn2"/>
    <dgm:cxn modelId="{C79FE623-0798-4FD0-AF04-3F99A21D8219}" type="presOf" srcId="{589CDD21-1748-41A9-B298-7BCBA4744C26}" destId="{EEF8508F-F514-4F5A-8B69-B0BB78B1CEEB}" srcOrd="0" destOrd="0" presId="urn:microsoft.com/office/officeart/2005/8/layout/venn2"/>
    <dgm:cxn modelId="{F6A4FB29-B632-426B-B4BE-ECB9D538B5B4}" type="presOf" srcId="{A3B457B7-B6EF-483F-BE0D-39E3DC68FF5C}" destId="{A3756200-1B7D-4D5F-9E21-795CC6244913}" srcOrd="1" destOrd="0" presId="urn:microsoft.com/office/officeart/2005/8/layout/venn2"/>
    <dgm:cxn modelId="{14824538-3856-4EC2-B225-3B61BF59EBDE}" type="presOf" srcId="{2FC5C94E-FA85-4945-9B13-804B8772F7FB}" destId="{596B76F2-9A97-43BF-8904-10E31E9FEFBB}" srcOrd="1" destOrd="0" presId="urn:microsoft.com/office/officeart/2005/8/layout/venn2"/>
    <dgm:cxn modelId="{BB201F5D-A44F-4D9F-B451-B720781E0F7E}" srcId="{589CDD21-1748-41A9-B298-7BCBA4744C26}" destId="{A3B457B7-B6EF-483F-BE0D-39E3DC68FF5C}" srcOrd="4" destOrd="0" parTransId="{E5A7481F-CA5F-484A-B816-3CC3CC775BE7}" sibTransId="{47E3A91B-844B-47B3-B55A-8454AE7076FD}"/>
    <dgm:cxn modelId="{F886C945-6C98-462B-942A-E98493D50075}" srcId="{589CDD21-1748-41A9-B298-7BCBA4744C26}" destId="{A561CAB3-38A1-48DF-A450-FF6B177823E9}" srcOrd="1" destOrd="0" parTransId="{2213888B-1E65-400C-B9AC-8DAEAE816F3C}" sibTransId="{A3FB29DE-A5AD-466B-84D2-37BD23EA1A9B}"/>
    <dgm:cxn modelId="{B77D6054-1A41-4EA1-9A02-898348D5F98A}" type="presOf" srcId="{A3B457B7-B6EF-483F-BE0D-39E3DC68FF5C}" destId="{10B00E5C-D931-4BCE-B316-B6140A797C9C}" srcOrd="0" destOrd="0" presId="urn:microsoft.com/office/officeart/2005/8/layout/venn2"/>
    <dgm:cxn modelId="{D139D67A-F1D4-47E1-8A6F-19F6FF61961F}" type="presOf" srcId="{A561CAB3-38A1-48DF-A450-FF6B177823E9}" destId="{FB134BB4-7A0F-430B-AF1B-4302AD64BAC8}" srcOrd="1" destOrd="0" presId="urn:microsoft.com/office/officeart/2005/8/layout/venn2"/>
    <dgm:cxn modelId="{C6596C7D-8DC2-4E16-89B6-86599048C557}" srcId="{589CDD21-1748-41A9-B298-7BCBA4744C26}" destId="{2FC5C94E-FA85-4945-9B13-804B8772F7FB}" srcOrd="2" destOrd="0" parTransId="{A5180F49-9781-4DA9-80E3-D21BAA4C89F5}" sibTransId="{52B05C95-5682-40E7-A10A-BF89E49C3A23}"/>
    <dgm:cxn modelId="{78E043C8-5BB0-455B-A0E3-76B2D7D46115}" type="presOf" srcId="{6ED82C1E-1185-4B02-A3FF-8C569A6F7B8D}" destId="{B614BA69-F3C4-42E3-92AA-9A6FF9D3F867}" srcOrd="0" destOrd="0" presId="urn:microsoft.com/office/officeart/2005/8/layout/venn2"/>
    <dgm:cxn modelId="{17F23DD6-08FB-4325-9E41-1F1C0022F49E}" srcId="{589CDD21-1748-41A9-B298-7BCBA4744C26}" destId="{66526885-9678-4987-AD90-56DD7060CD46}" srcOrd="3" destOrd="0" parTransId="{FF981672-12C8-4A5D-A590-4DCC88F73EE1}" sibTransId="{15269993-43CC-4818-B824-38430164AF2A}"/>
    <dgm:cxn modelId="{8465B6DF-AF50-43C0-9ACE-4006B345D127}" type="presOf" srcId="{A561CAB3-38A1-48DF-A450-FF6B177823E9}" destId="{C8CC809D-D614-4DDB-A5F7-9F5873F4D82F}" srcOrd="0" destOrd="0" presId="urn:microsoft.com/office/officeart/2005/8/layout/venn2"/>
    <dgm:cxn modelId="{1EBF39EF-EC06-434D-90AB-AEB25CB920B1}" type="presOf" srcId="{2FC5C94E-FA85-4945-9B13-804B8772F7FB}" destId="{623E96AC-C055-46EA-AEAC-723175107CEC}" srcOrd="0" destOrd="0" presId="urn:microsoft.com/office/officeart/2005/8/layout/venn2"/>
    <dgm:cxn modelId="{8087D1F1-ACA6-4870-AE81-E13E103780B0}" type="presOf" srcId="{6ED82C1E-1185-4B02-A3FF-8C569A6F7B8D}" destId="{BB55147D-0930-4BC3-BABF-7D346F917D5C}" srcOrd="1" destOrd="0" presId="urn:microsoft.com/office/officeart/2005/8/layout/venn2"/>
    <dgm:cxn modelId="{334D32FD-A41E-47BF-951E-A6586D6CA40C}" srcId="{589CDD21-1748-41A9-B298-7BCBA4744C26}" destId="{6ED82C1E-1185-4B02-A3FF-8C569A6F7B8D}" srcOrd="0" destOrd="0" parTransId="{2AE3D165-377E-4B9E-BE13-7A1C5B67B2D9}" sibTransId="{DE9A7DFE-F0E7-4ED9-AC3D-7DB40F12F704}"/>
    <dgm:cxn modelId="{B05C180F-5436-4DC5-8417-201D503F7825}" type="presParOf" srcId="{EEF8508F-F514-4F5A-8B69-B0BB78B1CEEB}" destId="{7C86A30E-1E01-4DFD-ACC8-F9EF606C5767}" srcOrd="0" destOrd="0" presId="urn:microsoft.com/office/officeart/2005/8/layout/venn2"/>
    <dgm:cxn modelId="{5B2B5A3C-93D8-49A1-824A-69AC1AE1C594}" type="presParOf" srcId="{7C86A30E-1E01-4DFD-ACC8-F9EF606C5767}" destId="{B614BA69-F3C4-42E3-92AA-9A6FF9D3F867}" srcOrd="0" destOrd="0" presId="urn:microsoft.com/office/officeart/2005/8/layout/venn2"/>
    <dgm:cxn modelId="{C6F4D4AE-A47C-4909-800C-CE3B7389020B}" type="presParOf" srcId="{7C86A30E-1E01-4DFD-ACC8-F9EF606C5767}" destId="{BB55147D-0930-4BC3-BABF-7D346F917D5C}" srcOrd="1" destOrd="0" presId="urn:microsoft.com/office/officeart/2005/8/layout/venn2"/>
    <dgm:cxn modelId="{93491247-AE59-4F1E-BC40-9C35DF7A6613}" type="presParOf" srcId="{EEF8508F-F514-4F5A-8B69-B0BB78B1CEEB}" destId="{E0E05F96-5EDB-403D-B620-F46939B2678B}" srcOrd="1" destOrd="0" presId="urn:microsoft.com/office/officeart/2005/8/layout/venn2"/>
    <dgm:cxn modelId="{3E5543EE-3BE8-4235-84B7-3CAA8E460F0A}" type="presParOf" srcId="{E0E05F96-5EDB-403D-B620-F46939B2678B}" destId="{C8CC809D-D614-4DDB-A5F7-9F5873F4D82F}" srcOrd="0" destOrd="0" presId="urn:microsoft.com/office/officeart/2005/8/layout/venn2"/>
    <dgm:cxn modelId="{B230EE4C-CE89-4FBA-9BC5-A8F85C4B1B94}" type="presParOf" srcId="{E0E05F96-5EDB-403D-B620-F46939B2678B}" destId="{FB134BB4-7A0F-430B-AF1B-4302AD64BAC8}" srcOrd="1" destOrd="0" presId="urn:microsoft.com/office/officeart/2005/8/layout/venn2"/>
    <dgm:cxn modelId="{3F6804B6-04DE-4E9A-BBDB-81D5A66CC4B0}" type="presParOf" srcId="{EEF8508F-F514-4F5A-8B69-B0BB78B1CEEB}" destId="{954173B8-A0C7-4FC9-BFDF-7B5E429935D1}" srcOrd="2" destOrd="0" presId="urn:microsoft.com/office/officeart/2005/8/layout/venn2"/>
    <dgm:cxn modelId="{3EB90118-8ADC-423F-A03C-E2AE25D28C12}" type="presParOf" srcId="{954173B8-A0C7-4FC9-BFDF-7B5E429935D1}" destId="{623E96AC-C055-46EA-AEAC-723175107CEC}" srcOrd="0" destOrd="0" presId="urn:microsoft.com/office/officeart/2005/8/layout/venn2"/>
    <dgm:cxn modelId="{1B7F3FAD-77BA-4568-876B-AC5F2EF607CF}" type="presParOf" srcId="{954173B8-A0C7-4FC9-BFDF-7B5E429935D1}" destId="{596B76F2-9A97-43BF-8904-10E31E9FEFBB}" srcOrd="1" destOrd="0" presId="urn:microsoft.com/office/officeart/2005/8/layout/venn2"/>
    <dgm:cxn modelId="{60573693-8A0C-4797-A2FD-D4F0EE318DF4}" type="presParOf" srcId="{EEF8508F-F514-4F5A-8B69-B0BB78B1CEEB}" destId="{7553E328-FC26-433F-97E6-B38E424834FF}" srcOrd="3" destOrd="0" presId="urn:microsoft.com/office/officeart/2005/8/layout/venn2"/>
    <dgm:cxn modelId="{FA85408D-C16B-4CE0-975A-ADF8DC3E6979}" type="presParOf" srcId="{7553E328-FC26-433F-97E6-B38E424834FF}" destId="{057FA687-0D2D-4157-A1CC-5D2C07B805A1}" srcOrd="0" destOrd="0" presId="urn:microsoft.com/office/officeart/2005/8/layout/venn2"/>
    <dgm:cxn modelId="{C09AB9BA-10A4-4025-B285-DB067614DA29}" type="presParOf" srcId="{7553E328-FC26-433F-97E6-B38E424834FF}" destId="{E188C19F-EED0-40B7-B3C2-3A2ABD1B1764}" srcOrd="1" destOrd="0" presId="urn:microsoft.com/office/officeart/2005/8/layout/venn2"/>
    <dgm:cxn modelId="{31F3D5B1-DF8F-4742-9D37-7741D42039BB}" type="presParOf" srcId="{EEF8508F-F514-4F5A-8B69-B0BB78B1CEEB}" destId="{09EA15D3-D8B4-4643-8813-533B271C52AB}" srcOrd="4" destOrd="0" presId="urn:microsoft.com/office/officeart/2005/8/layout/venn2"/>
    <dgm:cxn modelId="{8A965D92-4CA3-42F4-990C-B4BFAA2A3531}" type="presParOf" srcId="{09EA15D3-D8B4-4643-8813-533B271C52AB}" destId="{10B00E5C-D931-4BCE-B316-B6140A797C9C}" srcOrd="0" destOrd="0" presId="urn:microsoft.com/office/officeart/2005/8/layout/venn2"/>
    <dgm:cxn modelId="{3B95387F-85E9-4F62-A3AB-4D44EC96A50E}" type="presParOf" srcId="{09EA15D3-D8B4-4643-8813-533B271C52AB}" destId="{A3756200-1B7D-4D5F-9E21-795CC6244913}" srcOrd="1" destOrd="0" presId="urn:microsoft.com/office/officeart/2005/8/layout/venn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AC4273EE-EF4B-4443-B28A-2AAAB3E39916}" type="doc">
      <dgm:prSet loTypeId="urn:microsoft.com/office/officeart/2005/8/layout/chevronAccent+Icon" loCatId="process" qsTypeId="urn:microsoft.com/office/officeart/2005/8/quickstyle/simple1" qsCatId="simple" csTypeId="urn:microsoft.com/office/officeart/2005/8/colors/colorful3" csCatId="colorful" phldr="1"/>
      <dgm:spPr/>
    </dgm:pt>
    <dgm:pt modelId="{F156742C-EF67-4779-852D-4C879F061F5F}">
      <dgm:prSet phldrT="[Text]"/>
      <dgm:spPr/>
      <dgm:t>
        <a:bodyPr/>
        <a:lstStyle/>
        <a:p>
          <a:r>
            <a:rPr lang="en-IE">
              <a:latin typeface="Lato" panose="020F0502020204030203" pitchFamily="34" charset="0"/>
              <a:ea typeface="Lato" panose="020F0502020204030203" pitchFamily="34" charset="0"/>
              <a:cs typeface="Lato" panose="020F0502020204030203" pitchFamily="34" charset="0"/>
            </a:rPr>
            <a:t>Open source</a:t>
          </a:r>
        </a:p>
        <a:p>
          <a:r>
            <a:rPr lang="en-IE">
              <a:latin typeface="Lato" panose="020F0502020204030203" pitchFamily="34" charset="0"/>
              <a:ea typeface="Lato" panose="020F0502020204030203" pitchFamily="34" charset="0"/>
              <a:cs typeface="Lato" panose="020F0502020204030203" pitchFamily="34" charset="0"/>
            </a:rPr>
            <a:t>Release 3</a:t>
          </a:r>
        </a:p>
        <a:p>
          <a:r>
            <a:rPr lang="en-IE">
              <a:latin typeface="Lato" panose="020F0502020204030203" pitchFamily="34" charset="0"/>
              <a:ea typeface="Lato" panose="020F0502020204030203" pitchFamily="34" charset="0"/>
              <a:cs typeface="Lato" panose="020F0502020204030203" pitchFamily="34" charset="0"/>
            </a:rPr>
            <a:t> 27 March 2025</a:t>
          </a:r>
        </a:p>
      </dgm:t>
    </dgm:pt>
    <dgm:pt modelId="{82366983-280B-42F1-B068-F0A22A2D7B81}" type="parTrans" cxnId="{CB6E78BF-C592-4848-AE6E-EA83B3F52499}">
      <dgm:prSet/>
      <dgm:spPr/>
      <dgm:t>
        <a:bodyPr/>
        <a:lstStyle/>
        <a:p>
          <a:endParaRPr lang="en-IE"/>
        </a:p>
      </dgm:t>
    </dgm:pt>
    <dgm:pt modelId="{61456231-08F5-4882-B07D-375B1DA8B455}" type="sibTrans" cxnId="{CB6E78BF-C592-4848-AE6E-EA83B3F52499}">
      <dgm:prSet/>
      <dgm:spPr/>
      <dgm:t>
        <a:bodyPr/>
        <a:lstStyle/>
        <a:p>
          <a:endParaRPr lang="en-IE"/>
        </a:p>
      </dgm:t>
    </dgm:pt>
    <dgm:pt modelId="{F1444C25-9E66-4C93-8446-B9B9BA5E3F22}">
      <dgm:prSet phldrT="[Text]"/>
      <dgm:spPr/>
      <dgm:t>
        <a:bodyPr/>
        <a:lstStyle/>
        <a:p>
          <a:r>
            <a:rPr lang="en-IE">
              <a:latin typeface="Lato" panose="020F0502020204030203" pitchFamily="34" charset="0"/>
              <a:ea typeface="Lato" panose="020F0502020204030203" pitchFamily="34" charset="0"/>
              <a:cs typeface="Lato" panose="020F0502020204030203" pitchFamily="34" charset="0"/>
            </a:rPr>
            <a:t>Open source</a:t>
          </a:r>
        </a:p>
        <a:p>
          <a:r>
            <a:rPr lang="en-IE">
              <a:latin typeface="Lato" panose="020F0502020204030203" pitchFamily="34" charset="0"/>
              <a:ea typeface="Lato" panose="020F0502020204030203" pitchFamily="34" charset="0"/>
              <a:cs typeface="Lato" panose="020F0502020204030203" pitchFamily="34" charset="0"/>
            </a:rPr>
            <a:t>Release 4</a:t>
          </a:r>
        </a:p>
        <a:p>
          <a:r>
            <a:rPr lang="en-IE">
              <a:latin typeface="Lato" panose="020F0502020204030203" pitchFamily="34" charset="0"/>
              <a:ea typeface="Lato" panose="020F0502020204030203" pitchFamily="34" charset="0"/>
              <a:cs typeface="Lato" panose="020F0502020204030203" pitchFamily="34" charset="0"/>
            </a:rPr>
            <a:t>May 2025</a:t>
          </a:r>
        </a:p>
      </dgm:t>
    </dgm:pt>
    <dgm:pt modelId="{09369D0E-FC1F-4D26-94FC-616C06E5E7A1}" type="parTrans" cxnId="{E6C18A04-7C4C-4BC8-A1DA-BE84BC16AF7C}">
      <dgm:prSet/>
      <dgm:spPr/>
      <dgm:t>
        <a:bodyPr/>
        <a:lstStyle/>
        <a:p>
          <a:endParaRPr lang="en-IE"/>
        </a:p>
      </dgm:t>
    </dgm:pt>
    <dgm:pt modelId="{86031DCD-050B-4213-A801-F91C782C2602}" type="sibTrans" cxnId="{E6C18A04-7C4C-4BC8-A1DA-BE84BC16AF7C}">
      <dgm:prSet/>
      <dgm:spPr/>
      <dgm:t>
        <a:bodyPr/>
        <a:lstStyle/>
        <a:p>
          <a:endParaRPr lang="en-IE"/>
        </a:p>
      </dgm:t>
    </dgm:pt>
    <dgm:pt modelId="{914761A8-565E-43F6-93B5-9E2FEA77DA6D}">
      <dgm:prSet phldrT="[Text]"/>
      <dgm:spPr/>
      <dgm:t>
        <a:bodyPr/>
        <a:lstStyle/>
        <a:p>
          <a:r>
            <a:rPr lang="en-IE">
              <a:latin typeface="Lato" panose="020F0502020204030203" pitchFamily="34" charset="0"/>
              <a:ea typeface="Lato" panose="020F0502020204030203" pitchFamily="34" charset="0"/>
              <a:cs typeface="Lato" panose="020F0502020204030203" pitchFamily="34" charset="0"/>
            </a:rPr>
            <a:t>Open source </a:t>
          </a:r>
        </a:p>
        <a:p>
          <a:r>
            <a:rPr lang="en-IE">
              <a:latin typeface="Lato" panose="020F0502020204030203" pitchFamily="34" charset="0"/>
              <a:ea typeface="Lato" panose="020F0502020204030203" pitchFamily="34" charset="0"/>
              <a:cs typeface="Lato" panose="020F0502020204030203" pitchFamily="34" charset="0"/>
            </a:rPr>
            <a:t>Release 5</a:t>
          </a:r>
        </a:p>
        <a:p>
          <a:r>
            <a:rPr lang="en-IE">
              <a:latin typeface="Lato" panose="020F0502020204030203" pitchFamily="34" charset="0"/>
              <a:ea typeface="Lato" panose="020F0502020204030203" pitchFamily="34" charset="0"/>
              <a:cs typeface="Lato" panose="020F0502020204030203" pitchFamily="34" charset="0"/>
            </a:rPr>
            <a:t>September 2025</a:t>
          </a:r>
        </a:p>
      </dgm:t>
    </dgm:pt>
    <dgm:pt modelId="{915789DA-15F6-4FAA-A3F3-CE50B85E7C38}" type="parTrans" cxnId="{D81F90F0-E357-4F94-9FA8-A4811B8AFDA5}">
      <dgm:prSet/>
      <dgm:spPr/>
      <dgm:t>
        <a:bodyPr/>
        <a:lstStyle/>
        <a:p>
          <a:endParaRPr lang="en-IE"/>
        </a:p>
      </dgm:t>
    </dgm:pt>
    <dgm:pt modelId="{A5D76DB6-8DBD-4A57-A581-BF765DB9C182}" type="sibTrans" cxnId="{D81F90F0-E357-4F94-9FA8-A4811B8AFDA5}">
      <dgm:prSet/>
      <dgm:spPr/>
      <dgm:t>
        <a:bodyPr/>
        <a:lstStyle/>
        <a:p>
          <a:endParaRPr lang="en-IE"/>
        </a:p>
      </dgm:t>
    </dgm:pt>
    <dgm:pt modelId="{C0DCF11D-13ED-497B-9A6C-A16531D9265A}" type="pres">
      <dgm:prSet presAssocID="{AC4273EE-EF4B-4443-B28A-2AAAB3E39916}" presName="Name0" presStyleCnt="0">
        <dgm:presLayoutVars>
          <dgm:dir/>
          <dgm:resizeHandles val="exact"/>
        </dgm:presLayoutVars>
      </dgm:prSet>
      <dgm:spPr/>
    </dgm:pt>
    <dgm:pt modelId="{AD83114D-18C9-4CB2-9E01-3DFD6996C744}" type="pres">
      <dgm:prSet presAssocID="{F156742C-EF67-4779-852D-4C879F061F5F}" presName="composite" presStyleCnt="0"/>
      <dgm:spPr/>
    </dgm:pt>
    <dgm:pt modelId="{227F1784-0E9B-481D-9725-B931E519D263}" type="pres">
      <dgm:prSet presAssocID="{F156742C-EF67-4779-852D-4C879F061F5F}" presName="bgChev" presStyleLbl="node1" presStyleIdx="0" presStyleCnt="3"/>
      <dgm:spPr/>
    </dgm:pt>
    <dgm:pt modelId="{4D9DBE8A-515C-4156-AD5A-7AC5CE68762C}" type="pres">
      <dgm:prSet presAssocID="{F156742C-EF67-4779-852D-4C879F061F5F}" presName="txNode" presStyleLbl="fgAcc1" presStyleIdx="0" presStyleCnt="3">
        <dgm:presLayoutVars>
          <dgm:bulletEnabled val="1"/>
        </dgm:presLayoutVars>
      </dgm:prSet>
      <dgm:spPr/>
    </dgm:pt>
    <dgm:pt modelId="{C86E008A-4D05-404E-93F2-920CAE8572B7}" type="pres">
      <dgm:prSet presAssocID="{61456231-08F5-4882-B07D-375B1DA8B455}" presName="compositeSpace" presStyleCnt="0"/>
      <dgm:spPr/>
    </dgm:pt>
    <dgm:pt modelId="{14018726-8177-41B2-AF12-8999AF949AFD}" type="pres">
      <dgm:prSet presAssocID="{F1444C25-9E66-4C93-8446-B9B9BA5E3F22}" presName="composite" presStyleCnt="0"/>
      <dgm:spPr/>
    </dgm:pt>
    <dgm:pt modelId="{761CD2FA-C492-4665-92BD-DF0E84B1B61E}" type="pres">
      <dgm:prSet presAssocID="{F1444C25-9E66-4C93-8446-B9B9BA5E3F22}" presName="bgChev" presStyleLbl="node1" presStyleIdx="1" presStyleCnt="3"/>
      <dgm:spPr/>
    </dgm:pt>
    <dgm:pt modelId="{BCD9FAC7-B106-45BD-BD86-24A2585FE530}" type="pres">
      <dgm:prSet presAssocID="{F1444C25-9E66-4C93-8446-B9B9BA5E3F22}" presName="txNode" presStyleLbl="fgAcc1" presStyleIdx="1" presStyleCnt="3">
        <dgm:presLayoutVars>
          <dgm:bulletEnabled val="1"/>
        </dgm:presLayoutVars>
      </dgm:prSet>
      <dgm:spPr/>
    </dgm:pt>
    <dgm:pt modelId="{C5DBA883-3475-46C5-BEC3-556A7A5CFDB5}" type="pres">
      <dgm:prSet presAssocID="{86031DCD-050B-4213-A801-F91C782C2602}" presName="compositeSpace" presStyleCnt="0"/>
      <dgm:spPr/>
    </dgm:pt>
    <dgm:pt modelId="{34B0B38D-5D3D-49ED-9447-872BDB062463}" type="pres">
      <dgm:prSet presAssocID="{914761A8-565E-43F6-93B5-9E2FEA77DA6D}" presName="composite" presStyleCnt="0"/>
      <dgm:spPr/>
    </dgm:pt>
    <dgm:pt modelId="{7E5FBA32-5315-432D-943B-65609B8E16E5}" type="pres">
      <dgm:prSet presAssocID="{914761A8-565E-43F6-93B5-9E2FEA77DA6D}" presName="bgChev" presStyleLbl="node1" presStyleIdx="2" presStyleCnt="3"/>
      <dgm:spPr/>
    </dgm:pt>
    <dgm:pt modelId="{2B12697E-EE20-4FEB-ADBD-DFD90D0FDB6D}" type="pres">
      <dgm:prSet presAssocID="{914761A8-565E-43F6-93B5-9E2FEA77DA6D}" presName="txNode" presStyleLbl="fgAcc1" presStyleIdx="2" presStyleCnt="3">
        <dgm:presLayoutVars>
          <dgm:bulletEnabled val="1"/>
        </dgm:presLayoutVars>
      </dgm:prSet>
      <dgm:spPr/>
    </dgm:pt>
  </dgm:ptLst>
  <dgm:cxnLst>
    <dgm:cxn modelId="{E6C18A04-7C4C-4BC8-A1DA-BE84BC16AF7C}" srcId="{AC4273EE-EF4B-4443-B28A-2AAAB3E39916}" destId="{F1444C25-9E66-4C93-8446-B9B9BA5E3F22}" srcOrd="1" destOrd="0" parTransId="{09369D0E-FC1F-4D26-94FC-616C06E5E7A1}" sibTransId="{86031DCD-050B-4213-A801-F91C782C2602}"/>
    <dgm:cxn modelId="{66D27385-EF50-4724-9707-99F6B9DD4CC1}" type="presOf" srcId="{F156742C-EF67-4779-852D-4C879F061F5F}" destId="{4D9DBE8A-515C-4156-AD5A-7AC5CE68762C}" srcOrd="0" destOrd="0" presId="urn:microsoft.com/office/officeart/2005/8/layout/chevronAccent+Icon"/>
    <dgm:cxn modelId="{0FD0B9AC-13E8-4665-8C65-5B13B32AD8AA}" type="presOf" srcId="{AC4273EE-EF4B-4443-B28A-2AAAB3E39916}" destId="{C0DCF11D-13ED-497B-9A6C-A16531D9265A}" srcOrd="0" destOrd="0" presId="urn:microsoft.com/office/officeart/2005/8/layout/chevronAccent+Icon"/>
    <dgm:cxn modelId="{241DDFAC-B028-4BBD-956E-1B190E33D023}" type="presOf" srcId="{914761A8-565E-43F6-93B5-9E2FEA77DA6D}" destId="{2B12697E-EE20-4FEB-ADBD-DFD90D0FDB6D}" srcOrd="0" destOrd="0" presId="urn:microsoft.com/office/officeart/2005/8/layout/chevronAccent+Icon"/>
    <dgm:cxn modelId="{CB6E78BF-C592-4848-AE6E-EA83B3F52499}" srcId="{AC4273EE-EF4B-4443-B28A-2AAAB3E39916}" destId="{F156742C-EF67-4779-852D-4C879F061F5F}" srcOrd="0" destOrd="0" parTransId="{82366983-280B-42F1-B068-F0A22A2D7B81}" sibTransId="{61456231-08F5-4882-B07D-375B1DA8B455}"/>
    <dgm:cxn modelId="{7D6D9FD1-C6B4-41B5-9B2E-B7BFFF25E6F7}" type="presOf" srcId="{F1444C25-9E66-4C93-8446-B9B9BA5E3F22}" destId="{BCD9FAC7-B106-45BD-BD86-24A2585FE530}" srcOrd="0" destOrd="0" presId="urn:microsoft.com/office/officeart/2005/8/layout/chevronAccent+Icon"/>
    <dgm:cxn modelId="{D81F90F0-E357-4F94-9FA8-A4811B8AFDA5}" srcId="{AC4273EE-EF4B-4443-B28A-2AAAB3E39916}" destId="{914761A8-565E-43F6-93B5-9E2FEA77DA6D}" srcOrd="2" destOrd="0" parTransId="{915789DA-15F6-4FAA-A3F3-CE50B85E7C38}" sibTransId="{A5D76DB6-8DBD-4A57-A581-BF765DB9C182}"/>
    <dgm:cxn modelId="{08532C2B-39E7-4FDE-AE31-E749252BB6C9}" type="presParOf" srcId="{C0DCF11D-13ED-497B-9A6C-A16531D9265A}" destId="{AD83114D-18C9-4CB2-9E01-3DFD6996C744}" srcOrd="0" destOrd="0" presId="urn:microsoft.com/office/officeart/2005/8/layout/chevronAccent+Icon"/>
    <dgm:cxn modelId="{AC5625C6-B23E-4417-9087-76174EEBB8D0}" type="presParOf" srcId="{AD83114D-18C9-4CB2-9E01-3DFD6996C744}" destId="{227F1784-0E9B-481D-9725-B931E519D263}" srcOrd="0" destOrd="0" presId="urn:microsoft.com/office/officeart/2005/8/layout/chevronAccent+Icon"/>
    <dgm:cxn modelId="{8708DB1A-993C-4A1B-A342-D27471D77D34}" type="presParOf" srcId="{AD83114D-18C9-4CB2-9E01-3DFD6996C744}" destId="{4D9DBE8A-515C-4156-AD5A-7AC5CE68762C}" srcOrd="1" destOrd="0" presId="urn:microsoft.com/office/officeart/2005/8/layout/chevronAccent+Icon"/>
    <dgm:cxn modelId="{3B693C88-2AD0-4BC1-8492-E121F9788069}" type="presParOf" srcId="{C0DCF11D-13ED-497B-9A6C-A16531D9265A}" destId="{C86E008A-4D05-404E-93F2-920CAE8572B7}" srcOrd="1" destOrd="0" presId="urn:microsoft.com/office/officeart/2005/8/layout/chevronAccent+Icon"/>
    <dgm:cxn modelId="{AC126D80-2961-4BF5-B4A0-F43689727467}" type="presParOf" srcId="{C0DCF11D-13ED-497B-9A6C-A16531D9265A}" destId="{14018726-8177-41B2-AF12-8999AF949AFD}" srcOrd="2" destOrd="0" presId="urn:microsoft.com/office/officeart/2005/8/layout/chevronAccent+Icon"/>
    <dgm:cxn modelId="{7D27AC9B-8B4E-4646-8569-B38E4D7BAB5E}" type="presParOf" srcId="{14018726-8177-41B2-AF12-8999AF949AFD}" destId="{761CD2FA-C492-4665-92BD-DF0E84B1B61E}" srcOrd="0" destOrd="0" presId="urn:microsoft.com/office/officeart/2005/8/layout/chevronAccent+Icon"/>
    <dgm:cxn modelId="{6246EE47-3CB3-49A9-9F65-D318780ACC58}" type="presParOf" srcId="{14018726-8177-41B2-AF12-8999AF949AFD}" destId="{BCD9FAC7-B106-45BD-BD86-24A2585FE530}" srcOrd="1" destOrd="0" presId="urn:microsoft.com/office/officeart/2005/8/layout/chevronAccent+Icon"/>
    <dgm:cxn modelId="{79BFC964-A9ED-42B4-AD55-8829E5FA8527}" type="presParOf" srcId="{C0DCF11D-13ED-497B-9A6C-A16531D9265A}" destId="{C5DBA883-3475-46C5-BEC3-556A7A5CFDB5}" srcOrd="3" destOrd="0" presId="urn:microsoft.com/office/officeart/2005/8/layout/chevronAccent+Icon"/>
    <dgm:cxn modelId="{10D1F1D0-507D-46D5-B649-9899FEDD6A5A}" type="presParOf" srcId="{C0DCF11D-13ED-497B-9A6C-A16531D9265A}" destId="{34B0B38D-5D3D-49ED-9447-872BDB062463}" srcOrd="4" destOrd="0" presId="urn:microsoft.com/office/officeart/2005/8/layout/chevronAccent+Icon"/>
    <dgm:cxn modelId="{0935FE6D-67C0-4212-A45C-1BDDC0B38AE1}" type="presParOf" srcId="{34B0B38D-5D3D-49ED-9447-872BDB062463}" destId="{7E5FBA32-5315-432D-943B-65609B8E16E5}" srcOrd="0" destOrd="0" presId="urn:microsoft.com/office/officeart/2005/8/layout/chevronAccent+Icon"/>
    <dgm:cxn modelId="{3E84A918-E853-4841-97A5-0CD3723C6663}" type="presParOf" srcId="{34B0B38D-5D3D-49ED-9447-872BDB062463}" destId="{2B12697E-EE20-4FEB-ADBD-DFD90D0FDB6D}" srcOrd="1" destOrd="0" presId="urn:microsoft.com/office/officeart/2005/8/layout/chevronAccent+Icon"/>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614BA69-F3C4-42E3-92AA-9A6FF9D3F867}">
      <dsp:nvSpPr>
        <dsp:cNvPr id="0" name=""/>
        <dsp:cNvSpPr/>
      </dsp:nvSpPr>
      <dsp:spPr>
        <a:xfrm>
          <a:off x="428550" y="0"/>
          <a:ext cx="4064000" cy="4064000"/>
        </a:xfrm>
        <a:prstGeom prst="ellipse">
          <a:avLst/>
        </a:prstGeom>
        <a:solidFill>
          <a:schemeClr val="accent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64008" rIns="64008" bIns="64008" numCol="1" spcCol="1270" anchor="ctr" anchorCtr="0">
          <a:noAutofit/>
        </a:bodyPr>
        <a:lstStyle/>
        <a:p>
          <a:pPr marL="0" lvl="0" indent="0" algn="ctr" defTabSz="400050">
            <a:lnSpc>
              <a:spcPct val="90000"/>
            </a:lnSpc>
            <a:spcBef>
              <a:spcPct val="0"/>
            </a:spcBef>
            <a:spcAft>
              <a:spcPct val="35000"/>
            </a:spcAft>
            <a:buNone/>
          </a:pPr>
          <a:br>
            <a:rPr lang="en-IE" sz="900" b="1" kern="1200">
              <a:solidFill>
                <a:schemeClr val="tx1"/>
              </a:solidFill>
            </a:rPr>
          </a:br>
          <a:r>
            <a:rPr lang="en-IE" sz="1000" b="1" kern="1200">
              <a:solidFill>
                <a:schemeClr val="tx1"/>
              </a:solidFill>
            </a:rPr>
            <a:t>Secure Processing Environments – Machine learning</a:t>
          </a:r>
          <a:endParaRPr lang="en-IE" sz="900" b="1" kern="1200">
            <a:solidFill>
              <a:schemeClr val="tx1"/>
            </a:solidFill>
          </a:endParaRPr>
        </a:p>
      </dsp:txBody>
      <dsp:txXfrm>
        <a:off x="1698550" y="203200"/>
        <a:ext cx="1524000" cy="406400"/>
      </dsp:txXfrm>
    </dsp:sp>
    <dsp:sp modelId="{C8CC809D-D614-4DDB-A5F7-9F5873F4D82F}">
      <dsp:nvSpPr>
        <dsp:cNvPr id="0" name=""/>
        <dsp:cNvSpPr/>
      </dsp:nvSpPr>
      <dsp:spPr>
        <a:xfrm>
          <a:off x="699416" y="609599"/>
          <a:ext cx="3454400" cy="3454400"/>
        </a:xfrm>
        <a:prstGeom prst="ellipse">
          <a:avLst/>
        </a:prstGeom>
        <a:solidFill>
          <a:schemeClr val="accent6"/>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64008" rIns="64008" bIns="64008" numCol="1" spcCol="1270" anchor="ctr" anchorCtr="0">
          <a:noAutofit/>
        </a:bodyPr>
        <a:lstStyle/>
        <a:p>
          <a:pPr marL="0" lvl="0" indent="0" algn="ctr" defTabSz="400050">
            <a:lnSpc>
              <a:spcPct val="90000"/>
            </a:lnSpc>
            <a:spcBef>
              <a:spcPct val="0"/>
            </a:spcBef>
            <a:spcAft>
              <a:spcPct val="35000"/>
            </a:spcAft>
            <a:buNone/>
          </a:pPr>
          <a:r>
            <a:rPr lang="en-IE" sz="900" b="1" kern="1200">
              <a:solidFill>
                <a:schemeClr val="tx1"/>
              </a:solidFill>
            </a:rPr>
            <a:t>EU Dataset Catalogue </a:t>
          </a:r>
        </a:p>
        <a:p>
          <a:pPr marL="0" lvl="0" indent="0" algn="ctr" defTabSz="400050">
            <a:lnSpc>
              <a:spcPct val="90000"/>
            </a:lnSpc>
            <a:spcBef>
              <a:spcPct val="0"/>
            </a:spcBef>
            <a:spcAft>
              <a:spcPct val="35000"/>
            </a:spcAft>
            <a:buNone/>
          </a:pPr>
          <a:r>
            <a:rPr lang="en-IE" sz="900" b="1" kern="1200">
              <a:solidFill>
                <a:schemeClr val="tx1"/>
              </a:solidFill>
            </a:rPr>
            <a:t>Data Permits Catalogue</a:t>
          </a:r>
        </a:p>
        <a:p>
          <a:pPr marL="0" lvl="0" indent="0" algn="ctr" defTabSz="400050">
            <a:lnSpc>
              <a:spcPct val="90000"/>
            </a:lnSpc>
            <a:spcBef>
              <a:spcPct val="0"/>
            </a:spcBef>
            <a:spcAft>
              <a:spcPct val="35000"/>
            </a:spcAft>
            <a:buNone/>
          </a:pPr>
          <a:r>
            <a:rPr lang="en-IE" sz="900" b="1" kern="1200">
              <a:solidFill>
                <a:schemeClr val="tx1"/>
              </a:solidFill>
            </a:rPr>
            <a:t>Search with use of AI chatbot</a:t>
          </a:r>
          <a:endParaRPr lang="en-IE" sz="700" b="1" kern="1200">
            <a:solidFill>
              <a:schemeClr val="tx1"/>
            </a:solidFill>
          </a:endParaRPr>
        </a:p>
      </dsp:txBody>
      <dsp:txXfrm>
        <a:off x="1681761" y="808227"/>
        <a:ext cx="1489710" cy="397256"/>
      </dsp:txXfrm>
    </dsp:sp>
    <dsp:sp modelId="{623E96AC-C055-46EA-AEAC-723175107CEC}">
      <dsp:nvSpPr>
        <dsp:cNvPr id="0" name=""/>
        <dsp:cNvSpPr/>
      </dsp:nvSpPr>
      <dsp:spPr>
        <a:xfrm>
          <a:off x="1056759" y="1176414"/>
          <a:ext cx="2844800" cy="2844800"/>
        </a:xfrm>
        <a:prstGeom prst="ellipse">
          <a:avLst/>
        </a:prstGeom>
        <a:solidFill>
          <a:schemeClr val="accent4"/>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8232" tIns="78232" rIns="78232" bIns="78232" numCol="1" spcCol="1270" anchor="ctr" anchorCtr="0">
          <a:noAutofit/>
        </a:bodyPr>
        <a:lstStyle/>
        <a:p>
          <a:pPr marL="0" lvl="0" indent="0" algn="ctr" defTabSz="466725">
            <a:lnSpc>
              <a:spcPct val="90000"/>
            </a:lnSpc>
            <a:spcBef>
              <a:spcPct val="0"/>
            </a:spcBef>
            <a:spcAft>
              <a:spcPct val="35000"/>
            </a:spcAft>
            <a:buNone/>
          </a:pPr>
          <a:r>
            <a:rPr lang="en-US" sz="1050" b="1" kern="1200">
              <a:solidFill>
                <a:schemeClr val="tx1"/>
              </a:solidFill>
            </a:rPr>
            <a:t>AI chatbot </a:t>
          </a:r>
          <a:r>
            <a:rPr lang="en-US" sz="800" b="1" kern="1200">
              <a:solidFill>
                <a:schemeClr val="tx1"/>
              </a:solidFill>
            </a:rPr>
            <a:t>to help </a:t>
          </a:r>
          <a:r>
            <a:rPr lang="en-US" sz="1000" b="1" kern="1200">
              <a:solidFill>
                <a:schemeClr val="tx1"/>
              </a:solidFill>
            </a:rPr>
            <a:t>creating</a:t>
          </a:r>
          <a:r>
            <a:rPr lang="en-US" sz="800" b="1" kern="1200">
              <a:solidFill>
                <a:schemeClr val="tx1"/>
              </a:solidFill>
            </a:rPr>
            <a:t> Health DCAT-AP descriptions of datasets</a:t>
          </a:r>
          <a:endParaRPr lang="en-IE" sz="800" b="1" kern="1200">
            <a:solidFill>
              <a:schemeClr val="tx1"/>
            </a:solidFill>
          </a:endParaRPr>
        </a:p>
      </dsp:txBody>
      <dsp:txXfrm>
        <a:off x="1743067" y="1372705"/>
        <a:ext cx="1472184" cy="392582"/>
      </dsp:txXfrm>
    </dsp:sp>
    <dsp:sp modelId="{057FA687-0D2D-4157-A1CC-5D2C07B805A1}">
      <dsp:nvSpPr>
        <dsp:cNvPr id="0" name=""/>
        <dsp:cNvSpPr/>
      </dsp:nvSpPr>
      <dsp:spPr>
        <a:xfrm>
          <a:off x="1309016" y="1828799"/>
          <a:ext cx="2235200" cy="2235200"/>
        </a:xfrm>
        <a:prstGeom prst="ellipse">
          <a:avLst/>
        </a:prstGeom>
        <a:solidFill>
          <a:schemeClr val="accent3"/>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8232" tIns="78232" rIns="78232" bIns="78232" numCol="1" spcCol="1270" anchor="ctr" anchorCtr="0">
          <a:noAutofit/>
        </a:bodyPr>
        <a:lstStyle/>
        <a:p>
          <a:pPr marL="0" lvl="0" indent="0" algn="ctr" defTabSz="488950">
            <a:lnSpc>
              <a:spcPct val="90000"/>
            </a:lnSpc>
            <a:spcBef>
              <a:spcPct val="0"/>
            </a:spcBef>
            <a:spcAft>
              <a:spcPct val="35000"/>
            </a:spcAft>
            <a:buNone/>
          </a:pPr>
          <a:r>
            <a:rPr lang="en-US" sz="1100" b="1" kern="1200">
              <a:solidFill>
                <a:schemeClr val="tx1"/>
              </a:solidFill>
            </a:rPr>
            <a:t>Validation</a:t>
          </a:r>
          <a:r>
            <a:rPr lang="en-US" sz="800" b="1" kern="1200">
              <a:solidFill>
                <a:schemeClr val="tx1"/>
              </a:solidFill>
            </a:rPr>
            <a:t> of datasets compliant with Health DCAT-AP</a:t>
          </a:r>
          <a:endParaRPr lang="en-IE" sz="800" b="1" kern="1200">
            <a:solidFill>
              <a:schemeClr val="tx1"/>
            </a:solidFill>
          </a:endParaRPr>
        </a:p>
      </dsp:txBody>
      <dsp:txXfrm>
        <a:off x="1823112" y="2029967"/>
        <a:ext cx="1207008" cy="402336"/>
      </dsp:txXfrm>
    </dsp:sp>
    <dsp:sp modelId="{10B00E5C-D931-4BCE-B316-B6140A797C9C}">
      <dsp:nvSpPr>
        <dsp:cNvPr id="0" name=""/>
        <dsp:cNvSpPr/>
      </dsp:nvSpPr>
      <dsp:spPr>
        <a:xfrm>
          <a:off x="1613816" y="2438399"/>
          <a:ext cx="1625600" cy="1625600"/>
        </a:xfrm>
        <a:prstGeom prst="ellipse">
          <a:avLst/>
        </a:prstGeom>
        <a:solidFill>
          <a:schemeClr val="accent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5344" tIns="85344" rIns="85344" bIns="85344" numCol="1" spcCol="1270" anchor="ctr" anchorCtr="0">
          <a:noAutofit/>
        </a:bodyPr>
        <a:lstStyle/>
        <a:p>
          <a:pPr marL="0" lvl="0" indent="0" algn="ctr" defTabSz="533400">
            <a:lnSpc>
              <a:spcPct val="90000"/>
            </a:lnSpc>
            <a:spcBef>
              <a:spcPct val="0"/>
            </a:spcBef>
            <a:spcAft>
              <a:spcPct val="35000"/>
            </a:spcAft>
            <a:buNone/>
          </a:pPr>
          <a:r>
            <a:rPr lang="en-IE" sz="1200" b="1" kern="1200">
              <a:solidFill>
                <a:schemeClr val="tx1"/>
              </a:solidFill>
            </a:rPr>
            <a:t>Health DCAT-AP </a:t>
          </a:r>
        </a:p>
        <a:p>
          <a:pPr marL="0" lvl="0" indent="0" algn="ctr" defTabSz="533400">
            <a:lnSpc>
              <a:spcPct val="90000"/>
            </a:lnSpc>
            <a:spcBef>
              <a:spcPct val="0"/>
            </a:spcBef>
            <a:spcAft>
              <a:spcPct val="35000"/>
            </a:spcAft>
            <a:buNone/>
          </a:pPr>
          <a:r>
            <a:rPr lang="en-IE" sz="900" b="1" kern="1200">
              <a:solidFill>
                <a:schemeClr val="tx1"/>
              </a:solidFill>
            </a:rPr>
            <a:t>Technical specifications</a:t>
          </a:r>
        </a:p>
        <a:p>
          <a:pPr marL="0" lvl="0" indent="0" algn="ctr" defTabSz="533400">
            <a:lnSpc>
              <a:spcPct val="90000"/>
            </a:lnSpc>
            <a:spcBef>
              <a:spcPct val="0"/>
            </a:spcBef>
            <a:spcAft>
              <a:spcPct val="35000"/>
            </a:spcAft>
            <a:buNone/>
          </a:pPr>
          <a:endParaRPr lang="en-IE" sz="900" b="1" kern="1200">
            <a:solidFill>
              <a:schemeClr val="tx1"/>
            </a:solidFill>
          </a:endParaRPr>
        </a:p>
      </dsp:txBody>
      <dsp:txXfrm>
        <a:off x="1851880" y="2844799"/>
        <a:ext cx="1149472" cy="812800"/>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27F1784-0E9B-481D-9725-B931E519D263}">
      <dsp:nvSpPr>
        <dsp:cNvPr id="0" name=""/>
        <dsp:cNvSpPr/>
      </dsp:nvSpPr>
      <dsp:spPr>
        <a:xfrm>
          <a:off x="711" y="243819"/>
          <a:ext cx="1788748" cy="690456"/>
        </a:xfrm>
        <a:prstGeom prst="chevron">
          <a:avLst>
            <a:gd name="adj" fmla="val 40000"/>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4D9DBE8A-515C-4156-AD5A-7AC5CE68762C}">
      <dsp:nvSpPr>
        <dsp:cNvPr id="0" name=""/>
        <dsp:cNvSpPr/>
      </dsp:nvSpPr>
      <dsp:spPr>
        <a:xfrm>
          <a:off x="477711" y="416433"/>
          <a:ext cx="1510498" cy="690456"/>
        </a:xfrm>
        <a:prstGeom prst="roundRect">
          <a:avLst>
            <a:gd name="adj" fmla="val 10000"/>
          </a:avLst>
        </a:prstGeom>
        <a:solidFill>
          <a:schemeClr val="lt1">
            <a:alpha val="90000"/>
            <a:hueOff val="0"/>
            <a:satOff val="0"/>
            <a:lumOff val="0"/>
            <a:alphaOff val="0"/>
          </a:schemeClr>
        </a:solidFill>
        <a:ln w="12700" cap="flat" cmpd="sng" algn="ctr">
          <a:solidFill>
            <a:schemeClr val="accent3">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64008" tIns="64008" rIns="64008" bIns="64008" numCol="1" spcCol="1270" anchor="ctr" anchorCtr="0">
          <a:noAutofit/>
        </a:bodyPr>
        <a:lstStyle/>
        <a:p>
          <a:pPr marL="0" lvl="0" indent="0" algn="ctr" defTabSz="400050">
            <a:lnSpc>
              <a:spcPct val="90000"/>
            </a:lnSpc>
            <a:spcBef>
              <a:spcPct val="0"/>
            </a:spcBef>
            <a:spcAft>
              <a:spcPct val="35000"/>
            </a:spcAft>
            <a:buNone/>
          </a:pPr>
          <a:r>
            <a:rPr lang="en-IE" sz="900" kern="1200">
              <a:latin typeface="Lato" panose="020F0502020204030203" pitchFamily="34" charset="0"/>
              <a:ea typeface="Lato" panose="020F0502020204030203" pitchFamily="34" charset="0"/>
              <a:cs typeface="Lato" panose="020F0502020204030203" pitchFamily="34" charset="0"/>
            </a:rPr>
            <a:t>Open source</a:t>
          </a:r>
        </a:p>
        <a:p>
          <a:pPr marL="0" lvl="0" indent="0" algn="ctr" defTabSz="400050">
            <a:lnSpc>
              <a:spcPct val="90000"/>
            </a:lnSpc>
            <a:spcBef>
              <a:spcPct val="0"/>
            </a:spcBef>
            <a:spcAft>
              <a:spcPct val="35000"/>
            </a:spcAft>
            <a:buNone/>
          </a:pPr>
          <a:r>
            <a:rPr lang="en-IE" sz="900" kern="1200">
              <a:latin typeface="Lato" panose="020F0502020204030203" pitchFamily="34" charset="0"/>
              <a:ea typeface="Lato" panose="020F0502020204030203" pitchFamily="34" charset="0"/>
              <a:cs typeface="Lato" panose="020F0502020204030203" pitchFamily="34" charset="0"/>
            </a:rPr>
            <a:t>Release 3</a:t>
          </a:r>
        </a:p>
        <a:p>
          <a:pPr marL="0" lvl="0" indent="0" algn="ctr" defTabSz="400050">
            <a:lnSpc>
              <a:spcPct val="90000"/>
            </a:lnSpc>
            <a:spcBef>
              <a:spcPct val="0"/>
            </a:spcBef>
            <a:spcAft>
              <a:spcPct val="35000"/>
            </a:spcAft>
            <a:buNone/>
          </a:pPr>
          <a:r>
            <a:rPr lang="en-IE" sz="900" kern="1200">
              <a:latin typeface="Lato" panose="020F0502020204030203" pitchFamily="34" charset="0"/>
              <a:ea typeface="Lato" panose="020F0502020204030203" pitchFamily="34" charset="0"/>
              <a:cs typeface="Lato" panose="020F0502020204030203" pitchFamily="34" charset="0"/>
            </a:rPr>
            <a:t> 27 March 2025</a:t>
          </a:r>
        </a:p>
      </dsp:txBody>
      <dsp:txXfrm>
        <a:off x="497934" y="436656"/>
        <a:ext cx="1470052" cy="650010"/>
      </dsp:txXfrm>
    </dsp:sp>
    <dsp:sp modelId="{761CD2FA-C492-4665-92BD-DF0E84B1B61E}">
      <dsp:nvSpPr>
        <dsp:cNvPr id="0" name=""/>
        <dsp:cNvSpPr/>
      </dsp:nvSpPr>
      <dsp:spPr>
        <a:xfrm>
          <a:off x="2043859" y="243819"/>
          <a:ext cx="1788748" cy="690456"/>
        </a:xfrm>
        <a:prstGeom prst="chevron">
          <a:avLst>
            <a:gd name="adj" fmla="val 40000"/>
          </a:avLst>
        </a:prstGeom>
        <a:solidFill>
          <a:schemeClr val="accent3">
            <a:hueOff val="-3909483"/>
            <a:satOff val="5547"/>
            <a:lumOff val="6079"/>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BCD9FAC7-B106-45BD-BD86-24A2585FE530}">
      <dsp:nvSpPr>
        <dsp:cNvPr id="0" name=""/>
        <dsp:cNvSpPr/>
      </dsp:nvSpPr>
      <dsp:spPr>
        <a:xfrm>
          <a:off x="2520859" y="416433"/>
          <a:ext cx="1510498" cy="690456"/>
        </a:xfrm>
        <a:prstGeom prst="roundRect">
          <a:avLst>
            <a:gd name="adj" fmla="val 10000"/>
          </a:avLst>
        </a:prstGeom>
        <a:solidFill>
          <a:schemeClr val="lt1">
            <a:alpha val="90000"/>
            <a:hueOff val="0"/>
            <a:satOff val="0"/>
            <a:lumOff val="0"/>
            <a:alphaOff val="0"/>
          </a:schemeClr>
        </a:solidFill>
        <a:ln w="12700" cap="flat" cmpd="sng" algn="ctr">
          <a:solidFill>
            <a:schemeClr val="accent3">
              <a:hueOff val="-3909483"/>
              <a:satOff val="5547"/>
              <a:lumOff val="6079"/>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64008" tIns="64008" rIns="64008" bIns="64008" numCol="1" spcCol="1270" anchor="ctr" anchorCtr="0">
          <a:noAutofit/>
        </a:bodyPr>
        <a:lstStyle/>
        <a:p>
          <a:pPr marL="0" lvl="0" indent="0" algn="ctr" defTabSz="400050">
            <a:lnSpc>
              <a:spcPct val="90000"/>
            </a:lnSpc>
            <a:spcBef>
              <a:spcPct val="0"/>
            </a:spcBef>
            <a:spcAft>
              <a:spcPct val="35000"/>
            </a:spcAft>
            <a:buNone/>
          </a:pPr>
          <a:r>
            <a:rPr lang="en-IE" sz="900" kern="1200">
              <a:latin typeface="Lato" panose="020F0502020204030203" pitchFamily="34" charset="0"/>
              <a:ea typeface="Lato" panose="020F0502020204030203" pitchFamily="34" charset="0"/>
              <a:cs typeface="Lato" panose="020F0502020204030203" pitchFamily="34" charset="0"/>
            </a:rPr>
            <a:t>Open source</a:t>
          </a:r>
        </a:p>
        <a:p>
          <a:pPr marL="0" lvl="0" indent="0" algn="ctr" defTabSz="400050">
            <a:lnSpc>
              <a:spcPct val="90000"/>
            </a:lnSpc>
            <a:spcBef>
              <a:spcPct val="0"/>
            </a:spcBef>
            <a:spcAft>
              <a:spcPct val="35000"/>
            </a:spcAft>
            <a:buNone/>
          </a:pPr>
          <a:r>
            <a:rPr lang="en-IE" sz="900" kern="1200">
              <a:latin typeface="Lato" panose="020F0502020204030203" pitchFamily="34" charset="0"/>
              <a:ea typeface="Lato" panose="020F0502020204030203" pitchFamily="34" charset="0"/>
              <a:cs typeface="Lato" panose="020F0502020204030203" pitchFamily="34" charset="0"/>
            </a:rPr>
            <a:t>Release 4</a:t>
          </a:r>
        </a:p>
        <a:p>
          <a:pPr marL="0" lvl="0" indent="0" algn="ctr" defTabSz="400050">
            <a:lnSpc>
              <a:spcPct val="90000"/>
            </a:lnSpc>
            <a:spcBef>
              <a:spcPct val="0"/>
            </a:spcBef>
            <a:spcAft>
              <a:spcPct val="35000"/>
            </a:spcAft>
            <a:buNone/>
          </a:pPr>
          <a:r>
            <a:rPr lang="en-IE" sz="900" kern="1200">
              <a:latin typeface="Lato" panose="020F0502020204030203" pitchFamily="34" charset="0"/>
              <a:ea typeface="Lato" panose="020F0502020204030203" pitchFamily="34" charset="0"/>
              <a:cs typeface="Lato" panose="020F0502020204030203" pitchFamily="34" charset="0"/>
            </a:rPr>
            <a:t>May 2025</a:t>
          </a:r>
        </a:p>
      </dsp:txBody>
      <dsp:txXfrm>
        <a:off x="2541082" y="436656"/>
        <a:ext cx="1470052" cy="650010"/>
      </dsp:txXfrm>
    </dsp:sp>
    <dsp:sp modelId="{7E5FBA32-5315-432D-943B-65609B8E16E5}">
      <dsp:nvSpPr>
        <dsp:cNvPr id="0" name=""/>
        <dsp:cNvSpPr/>
      </dsp:nvSpPr>
      <dsp:spPr>
        <a:xfrm>
          <a:off x="4087007" y="243819"/>
          <a:ext cx="1788748" cy="690456"/>
        </a:xfrm>
        <a:prstGeom prst="chevron">
          <a:avLst>
            <a:gd name="adj" fmla="val 40000"/>
          </a:avLst>
        </a:prstGeom>
        <a:solidFill>
          <a:schemeClr val="accent3">
            <a:hueOff val="-7818965"/>
            <a:satOff val="11094"/>
            <a:lumOff val="12158"/>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2B12697E-EE20-4FEB-ADBD-DFD90D0FDB6D}">
      <dsp:nvSpPr>
        <dsp:cNvPr id="0" name=""/>
        <dsp:cNvSpPr/>
      </dsp:nvSpPr>
      <dsp:spPr>
        <a:xfrm>
          <a:off x="4564007" y="416433"/>
          <a:ext cx="1510498" cy="690456"/>
        </a:xfrm>
        <a:prstGeom prst="roundRect">
          <a:avLst>
            <a:gd name="adj" fmla="val 10000"/>
          </a:avLst>
        </a:prstGeom>
        <a:solidFill>
          <a:schemeClr val="lt1">
            <a:alpha val="90000"/>
            <a:hueOff val="0"/>
            <a:satOff val="0"/>
            <a:lumOff val="0"/>
            <a:alphaOff val="0"/>
          </a:schemeClr>
        </a:solidFill>
        <a:ln w="12700" cap="flat" cmpd="sng" algn="ctr">
          <a:solidFill>
            <a:schemeClr val="accent3">
              <a:hueOff val="-7818965"/>
              <a:satOff val="11094"/>
              <a:lumOff val="12158"/>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64008" tIns="64008" rIns="64008" bIns="64008" numCol="1" spcCol="1270" anchor="ctr" anchorCtr="0">
          <a:noAutofit/>
        </a:bodyPr>
        <a:lstStyle/>
        <a:p>
          <a:pPr marL="0" lvl="0" indent="0" algn="ctr" defTabSz="400050">
            <a:lnSpc>
              <a:spcPct val="90000"/>
            </a:lnSpc>
            <a:spcBef>
              <a:spcPct val="0"/>
            </a:spcBef>
            <a:spcAft>
              <a:spcPct val="35000"/>
            </a:spcAft>
            <a:buNone/>
          </a:pPr>
          <a:r>
            <a:rPr lang="en-IE" sz="900" kern="1200">
              <a:latin typeface="Lato" panose="020F0502020204030203" pitchFamily="34" charset="0"/>
              <a:ea typeface="Lato" panose="020F0502020204030203" pitchFamily="34" charset="0"/>
              <a:cs typeface="Lato" panose="020F0502020204030203" pitchFamily="34" charset="0"/>
            </a:rPr>
            <a:t>Open source </a:t>
          </a:r>
        </a:p>
        <a:p>
          <a:pPr marL="0" lvl="0" indent="0" algn="ctr" defTabSz="400050">
            <a:lnSpc>
              <a:spcPct val="90000"/>
            </a:lnSpc>
            <a:spcBef>
              <a:spcPct val="0"/>
            </a:spcBef>
            <a:spcAft>
              <a:spcPct val="35000"/>
            </a:spcAft>
            <a:buNone/>
          </a:pPr>
          <a:r>
            <a:rPr lang="en-IE" sz="900" kern="1200">
              <a:latin typeface="Lato" panose="020F0502020204030203" pitchFamily="34" charset="0"/>
              <a:ea typeface="Lato" panose="020F0502020204030203" pitchFamily="34" charset="0"/>
              <a:cs typeface="Lato" panose="020F0502020204030203" pitchFamily="34" charset="0"/>
            </a:rPr>
            <a:t>Release 5</a:t>
          </a:r>
        </a:p>
        <a:p>
          <a:pPr marL="0" lvl="0" indent="0" algn="ctr" defTabSz="400050">
            <a:lnSpc>
              <a:spcPct val="90000"/>
            </a:lnSpc>
            <a:spcBef>
              <a:spcPct val="0"/>
            </a:spcBef>
            <a:spcAft>
              <a:spcPct val="35000"/>
            </a:spcAft>
            <a:buNone/>
          </a:pPr>
          <a:r>
            <a:rPr lang="en-IE" sz="900" kern="1200">
              <a:latin typeface="Lato" panose="020F0502020204030203" pitchFamily="34" charset="0"/>
              <a:ea typeface="Lato" panose="020F0502020204030203" pitchFamily="34" charset="0"/>
              <a:cs typeface="Lato" panose="020F0502020204030203" pitchFamily="34" charset="0"/>
            </a:rPr>
            <a:t>September 2025</a:t>
          </a:r>
        </a:p>
      </dsp:txBody>
      <dsp:txXfrm>
        <a:off x="4584230" y="436656"/>
        <a:ext cx="1470052" cy="650010"/>
      </dsp:txXfrm>
    </dsp:sp>
  </dsp:spTree>
</dsp:drawing>
</file>

<file path=ppt/diagrams/layout1.xml><?xml version="1.0" encoding="utf-8"?>
<dgm:layoutDef xmlns:dgm="http://schemas.openxmlformats.org/drawingml/2006/diagram" xmlns:a="http://schemas.openxmlformats.org/drawingml/2006/main" uniqueId="urn:microsoft.com/office/officeart/2005/8/layout/venn2">
  <dgm:title val=""/>
  <dgm:desc val=""/>
  <dgm:catLst>
    <dgm:cat type="relationship" pri="30000"/>
  </dgm:catLst>
  <dgm:samp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resizeHandles val="exact"/>
    </dgm:varLst>
    <dgm:alg type="composite">
      <dgm:param type="ar" val="1"/>
    </dgm:alg>
    <dgm:shape xmlns:r="http://schemas.openxmlformats.org/officeDocument/2006/relationships" r:blip="">
      <dgm:adjLst/>
    </dgm:shape>
    <dgm:presOf/>
    <dgm:choose name="Name1">
      <dgm:if name="Name2" axis="ch" ptType="node" func="cnt" op="lte" val="3">
        <dgm:constrLst>
          <dgm:constr type="w" for="ch" forName="comp1" refType="w"/>
          <dgm:constr type="h" for="ch" forName="comp1" refType="w" refFor="ch" refForName="comp1"/>
          <dgm:constr type="w" for="ch" forName="comp2" refType="w" fact="0.75"/>
          <dgm:constr type="h" for="ch" forName="comp2" refType="w" refFor="ch" refForName="comp2"/>
          <dgm:constr type="ctrX" for="ch" forName="comp2" refType="ctrX" refFor="ch" refForName="comp1"/>
          <dgm:constr type="b" for="ch" forName="comp2" refType="b" refFor="ch" refForName="comp1"/>
          <dgm:constr type="w" for="ch" forName="comp3" refType="w" fact="0.5"/>
          <dgm:constr type="h" for="ch" forName="comp3" refType="w" refFor="ch" refForName="comp3"/>
          <dgm:constr type="ctrX" for="ch" forName="comp3" refType="ctrX" refFor="ch" refForName="comp1"/>
          <dgm:constr type="b" for="ch" forName="comp3" refType="b" refFor="ch" refForName="comp1"/>
          <dgm:constr type="primFontSz" for="des" ptType="node" op="equ" val="65"/>
        </dgm:constrLst>
      </dgm:if>
      <dgm:if name="Name3" axis="ch" ptType="node" func="cnt" op="equ" val="4">
        <dgm:constrLst>
          <dgm:constr type="w" for="ch" forName="comp1" refType="w"/>
          <dgm:constr type="h" for="ch" forName="comp1" refType="w" refFor="ch" refForName="comp1"/>
          <dgm:constr type="w" for="ch" forName="comp2" refType="w" fact="0.8"/>
          <dgm:constr type="h" for="ch" forName="comp2" refType="w" refFor="ch" refForName="comp2"/>
          <dgm:constr type="ctrX" for="ch" forName="comp2" refType="ctrX" refFor="ch" refForName="comp1"/>
          <dgm:constr type="b" for="ch" forName="comp2" refType="b" refFor="ch" refForName="comp1"/>
          <dgm:constr type="w" for="ch" forName="comp3" refType="w" fact="0.6"/>
          <dgm:constr type="h" for="ch" forName="comp3" refType="w" refFor="ch" refForName="comp3"/>
          <dgm:constr type="ctrX" for="ch" forName="comp3" refType="ctrX" refFor="ch" refForName="comp1"/>
          <dgm:constr type="b" for="ch" forName="comp3" refType="b" refFor="ch" refForName="comp1"/>
          <dgm:constr type="w" for="ch" forName="comp4" refType="w" fact="0.4"/>
          <dgm:constr type="h" for="ch" forName="comp4" refType="w" refFor="ch" refForName="comp4"/>
          <dgm:constr type="ctrX" for="ch" forName="comp4" refType="ctrX" refFor="ch" refForName="comp1"/>
          <dgm:constr type="b" for="ch" forName="comp4" refType="b" refFor="ch" refForName="comp1"/>
          <dgm:constr type="primFontSz" for="des" ptType="node" op="equ" val="65"/>
        </dgm:constrLst>
      </dgm:if>
      <dgm:else name="Name4">
        <dgm:constrLst>
          <dgm:constr type="w" for="ch" forName="comp1" refType="w"/>
          <dgm:constr type="h" for="ch" forName="comp1" refType="w" refFor="ch" refForName="comp1"/>
          <dgm:constr type="w" for="ch" forName="comp2" refType="w" fact="0.85"/>
          <dgm:constr type="h" for="ch" forName="comp2" refType="w" refFor="ch" refForName="comp2"/>
          <dgm:constr type="ctrX" for="ch" forName="comp2" refType="ctrX" refFor="ch" refForName="comp1"/>
          <dgm:constr type="b" for="ch" forName="comp2" refType="b" refFor="ch" refForName="comp1"/>
          <dgm:constr type="w" for="ch" forName="comp3" refType="w" fact="0.7"/>
          <dgm:constr type="h" for="ch" forName="comp3" refType="w" refFor="ch" refForName="comp3"/>
          <dgm:constr type="ctrX" for="ch" forName="comp3" refType="ctrX" refFor="ch" refForName="comp1"/>
          <dgm:constr type="b" for="ch" forName="comp3" refType="b" refFor="ch" refForName="comp1"/>
          <dgm:constr type="w" for="ch" forName="comp4" refType="w" fact="0.55"/>
          <dgm:constr type="h" for="ch" forName="comp4" refType="w" refFor="ch" refForName="comp4"/>
          <dgm:constr type="ctrX" for="ch" forName="comp4" refType="ctrX" refFor="ch" refForName="comp1"/>
          <dgm:constr type="b" for="ch" forName="comp4" refType="b" refFor="ch" refForName="comp1"/>
          <dgm:constr type="w" for="ch" forName="comp5" refType="w" fact="0.4"/>
          <dgm:constr type="h" for="ch" forName="comp5" refType="w" refFor="ch" refForName="comp5"/>
          <dgm:constr type="ctrX" for="ch" forName="comp5" refType="ctrX" refFor="ch" refForName="comp1"/>
          <dgm:constr type="b" for="ch" forName="comp5" refType="b" refFor="ch" refForName="comp1"/>
          <dgm:constr type="w" for="ch" forName="comp6" refType="w" fact="0.25"/>
          <dgm:constr type="h" for="ch" forName="comp6" refType="w" refFor="ch" refForName="comp6"/>
          <dgm:constr type="ctrX" for="ch" forName="comp6" refType="ctrX" refFor="ch" refForName="comp1"/>
          <dgm:constr type="b" for="ch" forName="comp6" refType="b" refFor="ch" refForName="comp1"/>
          <dgm:constr type="w" for="ch" forName="comp7" refType="w" fact="0.15"/>
          <dgm:constr type="h" for="ch" forName="comp7" refType="w" refFor="ch" refForName="comp7"/>
          <dgm:constr type="ctrX" for="ch" forName="comp7" refType="ctrX" refFor="ch" refForName="comp1"/>
          <dgm:constr type="b" for="ch" forName="comp7" refType="b" refFor="ch" refForName="comp1"/>
          <dgm:constr type="primFontSz" for="des" ptType="node" op="equ" val="65"/>
        </dgm:constrLst>
      </dgm:else>
    </dgm:choose>
    <dgm:ruleLst/>
    <dgm:choose name="Name5">
      <dgm:if name="Name6" axis="ch" ptType="node" func="cnt" op="gte" val="1">
        <dgm:layoutNode name="comp1">
          <dgm:alg type="composite"/>
          <dgm:shape xmlns:r="http://schemas.openxmlformats.org/officeDocument/2006/relationships" r:blip="">
            <dgm:adjLst/>
          </dgm:shape>
          <dgm:presOf/>
          <dgm:choose name="Name7">
            <dgm:if name="Name8" axis="ch" ptType="node" func="cnt" op="equ" val="1">
              <dgm:constrLst>
                <dgm:constr type="w" for="ch" forName="circle1" refType="w"/>
                <dgm:constr type="h" for="ch" forName="circle1" refType="h"/>
                <dgm:constr type="ctrX" for="ch" forName="circle1" refType="w" fact="0.5"/>
                <dgm:constr type="ctrY" for="ch" forName="circle1" refType="h" fact="0.5"/>
                <dgm:constr type="ctrX" for="ch" forName="c1text" refType="w" fact="0.5"/>
                <dgm:constr type="ctrY" for="ch" forName="c1text" refType="h" fact="0.5"/>
                <dgm:constr type="w" for="ch" forName="c1text" refType="w" refFor="ch" refForName="circle1" fact="0.70711"/>
                <dgm:constr type="h" for="ch" forName="c1text" refType="h" refFor="ch" refForName="circle1" fact="0.5"/>
              </dgm:constrLst>
            </dgm:if>
            <dgm:if name="Name9" axis="ch" ptType="node" func="cnt" op="equ" val="2">
              <dgm:constrLst>
                <dgm:constr type="w" for="ch" forName="circle1" refType="w"/>
                <dgm:constr type="h" for="ch" forName="circle1" refType="h"/>
                <dgm:constr type="ctrX" for="ch" forName="circle1" refType="w" fact="0.5"/>
                <dgm:constr type="ctrY" for="ch" forName="circle1" refType="h" fact="0.5"/>
                <dgm:constr type="ctrX" for="ch" forName="c1text" refType="w" fact="0.5"/>
                <dgm:constr type="ctrY" for="ch" forName="c1text" refType="h" fact="0.16"/>
                <dgm:constr type="w" for="ch" forName="c1text" refType="w" refFor="ch" refForName="circle1" fact="0.525"/>
                <dgm:constr type="h" for="ch" forName="c1text" refType="h" refFor="ch" refForName="circle1" fact="0.17"/>
              </dgm:constrLst>
            </dgm:if>
            <dgm:if name="Name10" axis="ch" ptType="node" func="cnt" op="equ" val="3">
              <dgm:constrLst>
                <dgm:constr type="w" for="ch" forName="circle1" refType="w"/>
                <dgm:constr type="h" for="ch" forName="circle1" refType="h"/>
                <dgm:constr type="ctrX" for="ch" forName="circle1" refType="w" fact="0.5"/>
                <dgm:constr type="ctrY" for="ch" forName="circle1" refType="h" fact="0.5"/>
                <dgm:constr type="ctrX" for="ch" forName="c1text" refType="w" fact="0.5"/>
                <dgm:constr type="ctrY" for="ch" forName="c1text" refType="h" fact="0.125"/>
                <dgm:constr type="w" for="ch" forName="c1text" refType="w" refFor="ch" refForName="circle1" fact="0.3495"/>
                <dgm:constr type="h" for="ch" forName="c1text" refType="h" refFor="ch" refForName="circle1" fact="0.15"/>
              </dgm:constrLst>
            </dgm:if>
            <dgm:if name="Name11" axis="ch" ptType="node" func="cnt" op="equ" val="4">
              <dgm:constrLst>
                <dgm:constr type="w" for="ch" forName="circle1" refType="w"/>
                <dgm:constr type="h" for="ch" forName="circle1" refType="h"/>
                <dgm:constr type="ctrX" for="ch" forName="circle1" refType="w" fact="0.5"/>
                <dgm:constr type="ctrY" for="ch" forName="circle1" refType="h" fact="0.5"/>
                <dgm:constr type="ctrX" for="ch" forName="c1text" refType="w" fact="0.5"/>
                <dgm:constr type="ctrY" for="ch" forName="c1text" refType="h" fact="0.125"/>
                <dgm:constr type="w" for="ch" forName="c1text" refType="w" refFor="ch" refForName="circle1" fact="0.2796"/>
                <dgm:constr type="h" for="ch" forName="c1text" refType="h" refFor="ch" refForName="circle1" fact="0.15"/>
              </dgm:constrLst>
            </dgm:if>
            <dgm:if name="Name12" axis="ch" ptType="node" func="cnt" op="gte" val="5">
              <dgm:constrLst>
                <dgm:constr type="w" for="ch" forName="circle1" refType="w"/>
                <dgm:constr type="h" for="ch" forName="circle1" refType="h"/>
                <dgm:constr type="ctrX" for="ch" forName="circle1" refType="w" fact="0.5"/>
                <dgm:constr type="ctrY" for="ch" forName="circle1" refType="h" fact="0.5"/>
                <dgm:constr type="ctrX" for="ch" forName="c1text" refType="w" fact="0.5"/>
                <dgm:constr type="ctrY" for="ch" forName="c1text" refType="h" fact="0.1"/>
                <dgm:constr type="w" for="ch" forName="c1text" refType="w" refFor="ch" refForName="circle1" fact="0.375"/>
                <dgm:constr type="h" for="ch" forName="c1text" refType="h" refFor="ch" refForName="circle1" fact="0.1"/>
              </dgm:constrLst>
            </dgm:if>
            <dgm:else name="Name13"/>
          </dgm:choose>
          <dgm:ruleLst/>
          <dgm:layoutNode name="circle1" styleLbl="node1">
            <dgm:alg type="sp"/>
            <dgm:shape xmlns:r="http://schemas.openxmlformats.org/officeDocument/2006/relationships" type="ellipse" r:blip="">
              <dgm:adjLst/>
            </dgm:shape>
            <dgm:presOf axis="ch desOrSelf" ptType="node node" st="1 1" cnt="1 0"/>
            <dgm:constrLst>
              <dgm:constr type="h" refType="w"/>
            </dgm:constrLst>
            <dgm:ruleLst/>
          </dgm:layoutNode>
          <dgm:layoutNode name="c1text">
            <dgm:varLst>
              <dgm:bulletEnabled val="1"/>
            </dgm:varLst>
            <dgm:alg type="tx"/>
            <dgm:shape xmlns:r="http://schemas.openxmlformats.org/officeDocument/2006/relationships" type="rect" r:blip="" hideGeom="1">
              <dgm:adjLst/>
            </dgm:shape>
            <dgm:presOf axis="ch desOrSelf" ptType="node node" st="1 1" cnt="1 0"/>
            <dgm:constrLst/>
            <dgm:ruleLst>
              <dgm:rule type="primFontSz" val="5" fact="NaN" max="NaN"/>
            </dgm:ruleLst>
          </dgm:layoutNode>
        </dgm:layoutNode>
      </dgm:if>
      <dgm:else name="Name14"/>
    </dgm:choose>
    <dgm:choose name="Name15">
      <dgm:if name="Name16" axis="ch" ptType="node" func="cnt" op="gte" val="2">
        <dgm:layoutNode name="comp2">
          <dgm:alg type="composite"/>
          <dgm:shape xmlns:r="http://schemas.openxmlformats.org/officeDocument/2006/relationships" r:blip="">
            <dgm:adjLst/>
          </dgm:shape>
          <dgm:presOf/>
          <dgm:choose name="Name17">
            <dgm:if name="Name18" axis="ch" ptType="node" func="cnt" op="equ" val="2">
              <dgm:constrLst>
                <dgm:constr type="w" for="ch" forName="circle2" refType="w"/>
                <dgm:constr type="h" for="ch" forName="circle2" refType="h"/>
                <dgm:constr type="ctrX" for="ch" forName="circle2" refType="w" fact="0.5"/>
                <dgm:constr type="ctrY" for="ch" forName="circle2" refType="h" fact="0.5"/>
                <dgm:constr type="ctrX" for="ch" forName="c2text" refType="w" fact="0.5"/>
                <dgm:constr type="ctrY" for="ch" forName="c2text" refType="h" fact="0.5"/>
                <dgm:constr type="w" for="ch" forName="c2text" refType="w" refFor="ch" refForName="circle2" fact="0.70711"/>
                <dgm:constr type="h" for="ch" forName="c2text" refType="h" refFor="ch" refForName="circle2" fact="0.5"/>
              </dgm:constrLst>
            </dgm:if>
            <dgm:if name="Name19" axis="ch" ptType="node" func="cnt" op="equ" val="3">
              <dgm:constrLst>
                <dgm:constr type="w" for="ch" forName="circle2" refType="w"/>
                <dgm:constr type="h" for="ch" forName="circle2" refType="h"/>
                <dgm:constr type="ctrX" for="ch" forName="circle2" refType="w" fact="0.5"/>
                <dgm:constr type="ctrY" for="ch" forName="circle2" refType="h" fact="0.5"/>
                <dgm:constr type="ctrX" for="ch" forName="c2text" refType="w" fact="0.5"/>
                <dgm:constr type="ctrY" for="ch" forName="c2text" refType="h" fact="0.15625"/>
                <dgm:constr type="w" for="ch" forName="c2text" refType="w" refFor="ch" refForName="circle2" fact="0.466"/>
                <dgm:constr type="h" for="ch" forName="c2text" refType="h" refFor="ch" refForName="circle2" fact="0.1875"/>
              </dgm:constrLst>
            </dgm:if>
            <dgm:if name="Name20" axis="ch" ptType="node" func="cnt" op="equ" val="4">
              <dgm:constrLst>
                <dgm:constr type="w" for="ch" forName="circle2" refType="w"/>
                <dgm:constr type="h" for="ch" forName="circle2" refType="h"/>
                <dgm:constr type="ctrX" for="ch" forName="circle2" refType="w" fact="0.5"/>
                <dgm:constr type="ctrY" for="ch" forName="circle2" refType="h" fact="0.5"/>
                <dgm:constr type="ctrX" for="ch" forName="c2text" refType="w" fact="0.5"/>
                <dgm:constr type="ctrY" for="ch" forName="c2text" refType="h" fact="0.15"/>
                <dgm:constr type="w" for="ch" forName="c2text" refType="w" refFor="ch" refForName="circle2" fact="0.3495"/>
                <dgm:constr type="h" for="ch" forName="c2text" refType="h" refFor="ch" refForName="circle2" fact="0.18"/>
              </dgm:constrLst>
            </dgm:if>
            <dgm:if name="Name21" axis="ch" ptType="node" func="cnt" op="gte" val="5">
              <dgm:constrLst>
                <dgm:constr type="w" for="ch" forName="circle2" refType="w"/>
                <dgm:constr type="h" for="ch" forName="circle2" refType="h"/>
                <dgm:constr type="ctrX" for="ch" forName="circle2" refType="w" fact="0.5"/>
                <dgm:constr type="ctrY" for="ch" forName="circle2" refType="h" fact="0.5"/>
                <dgm:constr type="ctrX" for="ch" forName="c2text" refType="w" fact="0.5"/>
                <dgm:constr type="ctrY" for="ch" forName="c2text" refType="h" fact="0.115"/>
                <dgm:constr type="w" for="ch" forName="c2text" refType="w" refFor="ch" refForName="circle2" fact="0.43125"/>
                <dgm:constr type="h" for="ch" forName="c2text" refType="h" refFor="ch" refForName="circle2" fact="0.115"/>
              </dgm:constrLst>
            </dgm:if>
            <dgm:else name="Name22"/>
          </dgm:choose>
          <dgm:ruleLst/>
          <dgm:layoutNode name="circle2" styleLbl="node1">
            <dgm:alg type="sp"/>
            <dgm:shape xmlns:r="http://schemas.openxmlformats.org/officeDocument/2006/relationships" type="ellipse" r:blip="">
              <dgm:adjLst/>
            </dgm:shape>
            <dgm:presOf axis="ch desOrSelf" ptType="node node" st="2 1" cnt="1 0"/>
            <dgm:constrLst>
              <dgm:constr type="h" refType="w"/>
            </dgm:constrLst>
            <dgm:ruleLst/>
          </dgm:layoutNode>
          <dgm:layoutNode name="c2text">
            <dgm:varLst>
              <dgm:bulletEnabled val="1"/>
            </dgm:varLst>
            <dgm:alg type="tx"/>
            <dgm:shape xmlns:r="http://schemas.openxmlformats.org/officeDocument/2006/relationships" type="rect" r:blip="" hideGeom="1">
              <dgm:adjLst/>
            </dgm:shape>
            <dgm:presOf axis="ch desOrSelf" ptType="node node" st="2 1" cnt="1 0"/>
            <dgm:constrLst/>
            <dgm:ruleLst>
              <dgm:rule type="primFontSz" val="5" fact="NaN" max="NaN"/>
            </dgm:ruleLst>
          </dgm:layoutNode>
        </dgm:layoutNode>
      </dgm:if>
      <dgm:else name="Name23"/>
    </dgm:choose>
    <dgm:choose name="Name24">
      <dgm:if name="Name25" axis="ch" ptType="node" func="cnt" op="gte" val="3">
        <dgm:layoutNode name="comp3">
          <dgm:alg type="composite"/>
          <dgm:shape xmlns:r="http://schemas.openxmlformats.org/officeDocument/2006/relationships" r:blip="">
            <dgm:adjLst/>
          </dgm:shape>
          <dgm:presOf/>
          <dgm:choose name="Name26">
            <dgm:if name="Name27" axis="ch" ptType="node" func="cnt" op="equ" val="3">
              <dgm:constrLst>
                <dgm:constr type="w" for="ch" forName="circle3" refType="w"/>
                <dgm:constr type="h" for="ch" forName="circle3" refType="h"/>
                <dgm:constr type="ctrX" for="ch" forName="circle3" refType="w" fact="0.5"/>
                <dgm:constr type="ctrY" for="ch" forName="circle3" refType="h" fact="0.5"/>
                <dgm:constr type="ctrX" for="ch" forName="c3text" refType="w" fact="0.5"/>
                <dgm:constr type="ctrY" for="ch" forName="c3text" refType="h" fact="0.5"/>
                <dgm:constr type="w" for="ch" forName="c3text" refType="w" refFor="ch" refForName="circle3" fact="0.70711"/>
                <dgm:constr type="h" for="ch" forName="c3text" refType="h" refFor="ch" refForName="circle3" fact="0.5"/>
              </dgm:constrLst>
            </dgm:if>
            <dgm:if name="Name28" axis="ch" ptType="node" func="cnt" op="equ" val="4">
              <dgm:constrLst>
                <dgm:constr type="w" for="ch" forName="circle3" refType="w"/>
                <dgm:constr type="h" for="ch" forName="circle3" refType="h"/>
                <dgm:constr type="ctrX" for="ch" forName="circle3" refType="w" fact="0.5"/>
                <dgm:constr type="ctrY" for="ch" forName="circle3" refType="h" fact="0.5"/>
                <dgm:constr type="ctrX" for="ch" forName="c3text" refType="w" fact="0.5"/>
                <dgm:constr type="ctrY" for="ch" forName="c3text" refType="h" fact="0.1875"/>
                <dgm:constr type="w" for="ch" forName="c3text" refType="w" refFor="ch" refForName="circle3" fact="0.466"/>
                <dgm:constr type="h" for="ch" forName="c3text" refType="h" refFor="ch" refForName="circle3" fact="0.225"/>
              </dgm:constrLst>
            </dgm:if>
            <dgm:if name="Name29" axis="ch" ptType="node" func="cnt" op="gte" val="5">
              <dgm:constrLst>
                <dgm:constr type="w" for="ch" forName="circle3" refType="w"/>
                <dgm:constr type="h" for="ch" forName="circle3" refType="h"/>
                <dgm:constr type="ctrX" for="ch" forName="circle3" refType="w" fact="0.5"/>
                <dgm:constr type="ctrY" for="ch" forName="circle3" refType="h" fact="0.5"/>
                <dgm:constr type="ctrX" for="ch" forName="c3text" refType="w" fact="0.5"/>
                <dgm:constr type="ctrY" for="ch" forName="c3text" refType="h" fact="0.138"/>
                <dgm:constr type="w" for="ch" forName="c3text" refType="w" refFor="ch" refForName="circle3" fact="0.5175"/>
                <dgm:constr type="h" for="ch" forName="c3text" refType="h" refFor="ch" refForName="circle3" fact="0.138"/>
              </dgm:constrLst>
            </dgm:if>
            <dgm:else name="Name30"/>
          </dgm:choose>
          <dgm:ruleLst/>
          <dgm:layoutNode name="circle3" styleLbl="node1">
            <dgm:alg type="sp"/>
            <dgm:shape xmlns:r="http://schemas.openxmlformats.org/officeDocument/2006/relationships" type="ellipse" r:blip="">
              <dgm:adjLst/>
            </dgm:shape>
            <dgm:presOf axis="ch desOrSelf" ptType="node node" st="3 1" cnt="1 0"/>
            <dgm:constrLst>
              <dgm:constr type="h" refType="w"/>
            </dgm:constrLst>
            <dgm:ruleLst/>
          </dgm:layoutNode>
          <dgm:layoutNode name="c3text">
            <dgm:varLst>
              <dgm:bulletEnabled val="1"/>
            </dgm:varLst>
            <dgm:alg type="tx"/>
            <dgm:shape xmlns:r="http://schemas.openxmlformats.org/officeDocument/2006/relationships" type="rect" r:blip="" hideGeom="1">
              <dgm:adjLst/>
            </dgm:shape>
            <dgm:presOf axis="ch desOrSelf" ptType="node node" st="3 1" cnt="1 0"/>
            <dgm:constrLst/>
            <dgm:ruleLst>
              <dgm:rule type="primFontSz" val="5" fact="NaN" max="NaN"/>
            </dgm:ruleLst>
          </dgm:layoutNode>
        </dgm:layoutNode>
      </dgm:if>
      <dgm:else name="Name31"/>
    </dgm:choose>
    <dgm:choose name="Name32">
      <dgm:if name="Name33" axis="ch" ptType="node" func="cnt" op="gte" val="4">
        <dgm:layoutNode name="comp4">
          <dgm:alg type="composite"/>
          <dgm:shape xmlns:r="http://schemas.openxmlformats.org/officeDocument/2006/relationships" r:blip="">
            <dgm:adjLst/>
          </dgm:shape>
          <dgm:presOf/>
          <dgm:choose name="Name34">
            <dgm:if name="Name35" axis="ch" ptType="node" func="cnt" op="equ" val="4">
              <dgm:constrLst>
                <dgm:constr type="w" for="ch" forName="circle4" refType="w"/>
                <dgm:constr type="h" for="ch" forName="circle4" refType="h"/>
                <dgm:constr type="ctrX" for="ch" forName="circle4" refType="w" fact="0.5"/>
                <dgm:constr type="ctrY" for="ch" forName="circle4" refType="h" fact="0.5"/>
                <dgm:constr type="ctrX" for="ch" forName="c4text" refType="w" fact="0.5"/>
                <dgm:constr type="ctrY" for="ch" forName="c4text" refType="h" fact="0.5"/>
                <dgm:constr type="w" for="ch" forName="c4text" refType="w" refFor="ch" refForName="circle4" fact="0.70711"/>
                <dgm:constr type="h" for="ch" forName="c4text" refType="h" refFor="ch" refForName="circle4" fact="0.5"/>
              </dgm:constrLst>
            </dgm:if>
            <dgm:if name="Name36" axis="ch" ptType="node" func="cnt" op="gte" val="5">
              <dgm:constrLst>
                <dgm:constr type="w" for="ch" forName="circle4" refType="w"/>
                <dgm:constr type="h" for="ch" forName="circle4" refType="h"/>
                <dgm:constr type="ctrX" for="ch" forName="circle4" refType="w" fact="0.5"/>
                <dgm:constr type="ctrY" for="ch" forName="circle4" refType="h" fact="0.5"/>
                <dgm:constr type="ctrX" for="ch" forName="c4text" refType="w" fact="0.5"/>
                <dgm:constr type="ctrY" for="ch" forName="c4text" refType="h" fact="0.18"/>
                <dgm:constr type="w" for="ch" forName="c4text" refType="w" refFor="ch" refForName="circle4" fact="0.54"/>
                <dgm:constr type="h" for="ch" forName="c4text" refType="h" refFor="ch" refForName="circle4" fact="0.18"/>
              </dgm:constrLst>
            </dgm:if>
            <dgm:else name="Name37"/>
          </dgm:choose>
          <dgm:ruleLst/>
          <dgm:layoutNode name="circle4" styleLbl="node1">
            <dgm:alg type="sp"/>
            <dgm:shape xmlns:r="http://schemas.openxmlformats.org/officeDocument/2006/relationships" type="ellipse" r:blip="">
              <dgm:adjLst/>
            </dgm:shape>
            <dgm:presOf axis="ch desOrSelf" ptType="node node" st="4 1" cnt="1 0"/>
            <dgm:constrLst>
              <dgm:constr type="h" refType="w"/>
            </dgm:constrLst>
            <dgm:ruleLst/>
          </dgm:layoutNode>
          <dgm:layoutNode name="c4text">
            <dgm:varLst>
              <dgm:bulletEnabled val="1"/>
            </dgm:varLst>
            <dgm:alg type="tx"/>
            <dgm:shape xmlns:r="http://schemas.openxmlformats.org/officeDocument/2006/relationships" type="rect" r:blip="" hideGeom="1">
              <dgm:adjLst/>
            </dgm:shape>
            <dgm:presOf axis="ch desOrSelf" ptType="node node" st="4 1" cnt="1 0"/>
            <dgm:constrLst/>
            <dgm:ruleLst>
              <dgm:rule type="primFontSz" val="5" fact="NaN" max="NaN"/>
            </dgm:ruleLst>
          </dgm:layoutNode>
        </dgm:layoutNode>
      </dgm:if>
      <dgm:else name="Name38"/>
    </dgm:choose>
    <dgm:choose name="Name39">
      <dgm:if name="Name40" axis="ch" ptType="node" func="cnt" op="gte" val="5">
        <dgm:layoutNode name="comp5">
          <dgm:alg type="composite"/>
          <dgm:shape xmlns:r="http://schemas.openxmlformats.org/officeDocument/2006/relationships" r:blip="">
            <dgm:adjLst/>
          </dgm:shape>
          <dgm:presOf/>
          <dgm:choose name="Name41">
            <dgm:if name="Name42" axis="ch" ptType="node" func="cnt" op="equ" val="5">
              <dgm:constrLst>
                <dgm:constr type="w" for="ch" forName="circle5" refType="w"/>
                <dgm:constr type="h" for="ch" forName="circle5" refType="h"/>
                <dgm:constr type="ctrX" for="ch" forName="circle5" refType="w" fact="0.5"/>
                <dgm:constr type="ctrY" for="ch" forName="circle5" refType="h" fact="0.5"/>
                <dgm:constr type="ctrX" for="ch" forName="c5text" refType="w" fact="0.5"/>
                <dgm:constr type="ctrY" for="ch" forName="c5text" refType="h" fact="0.5"/>
                <dgm:constr type="w" for="ch" forName="c5text" refType="w" refFor="ch" refForName="circle5" fact="0.70711"/>
                <dgm:constr type="h" for="ch" forName="c5text" refType="h" refFor="ch" refForName="circle5" fact="0.5"/>
              </dgm:constrLst>
            </dgm:if>
            <dgm:if name="Name43" axis="ch" ptType="node" func="cnt" op="gte" val="6">
              <dgm:constrLst>
                <dgm:constr type="w" for="ch" forName="circle5" refType="w"/>
                <dgm:constr type="h" for="ch" forName="circle5" refType="h"/>
                <dgm:constr type="ctrX" for="ch" forName="circle5" refType="w" fact="0.5"/>
                <dgm:constr type="ctrY" for="ch" forName="circle5" refType="h" fact="0.5"/>
                <dgm:constr type="ctrX" for="ch" forName="c5text" refType="w" fact="0.5"/>
                <dgm:constr type="ctrY" for="ch" forName="c5text" refType="h" fact="0.25"/>
                <dgm:constr type="w" for="ch" forName="c5text" refType="w" refFor="ch" refForName="circle5" fact="0.65"/>
                <dgm:constr type="h" for="ch" forName="c5text" refType="h" refFor="ch" refForName="circle5" fact="0.25"/>
              </dgm:constrLst>
            </dgm:if>
            <dgm:else name="Name44"/>
          </dgm:choose>
          <dgm:ruleLst/>
          <dgm:layoutNode name="circle5" styleLbl="node1">
            <dgm:alg type="sp"/>
            <dgm:shape xmlns:r="http://schemas.openxmlformats.org/officeDocument/2006/relationships" type="ellipse" r:blip="">
              <dgm:adjLst/>
            </dgm:shape>
            <dgm:presOf axis="ch desOrSelf" ptType="node node" st="5 1" cnt="1 0"/>
            <dgm:constrLst>
              <dgm:constr type="h" refType="w"/>
            </dgm:constrLst>
            <dgm:ruleLst/>
          </dgm:layoutNode>
          <dgm:layoutNode name="c5text">
            <dgm:varLst>
              <dgm:bulletEnabled val="1"/>
            </dgm:varLst>
            <dgm:alg type="tx"/>
            <dgm:shape xmlns:r="http://schemas.openxmlformats.org/officeDocument/2006/relationships" type="rect" r:blip="" hideGeom="1">
              <dgm:adjLst/>
            </dgm:shape>
            <dgm:presOf axis="ch desOrSelf" ptType="node node" st="5 1" cnt="1 0"/>
            <dgm:constrLst/>
            <dgm:ruleLst>
              <dgm:rule type="primFontSz" val="5" fact="NaN" max="NaN"/>
            </dgm:ruleLst>
          </dgm:layoutNode>
        </dgm:layoutNode>
      </dgm:if>
      <dgm:else name="Name45"/>
    </dgm:choose>
    <dgm:choose name="Name46">
      <dgm:if name="Name47" axis="ch" ptType="node" func="cnt" op="gte" val="6">
        <dgm:layoutNode name="comp6">
          <dgm:alg type="composite"/>
          <dgm:shape xmlns:r="http://schemas.openxmlformats.org/officeDocument/2006/relationships" r:blip="">
            <dgm:adjLst/>
          </dgm:shape>
          <dgm:presOf/>
          <dgm:choose name="Name48">
            <dgm:if name="Name49" axis="ch" ptType="node" func="cnt" op="equ" val="6">
              <dgm:constrLst>
                <dgm:constr type="w" for="ch" forName="circle6" refType="w"/>
                <dgm:constr type="h" for="ch" forName="circle6" refType="h"/>
                <dgm:constr type="ctrX" for="ch" forName="circle6" refType="w" fact="0.5"/>
                <dgm:constr type="ctrY" for="ch" forName="circle6" refType="h" fact="0.5"/>
                <dgm:constr type="ctrX" for="ch" forName="c6text" refType="w" fact="0.5"/>
                <dgm:constr type="ctrY" for="ch" forName="c6text" refType="h" fact="0.5"/>
                <dgm:constr type="w" for="ch" forName="c6text" refType="w" refFor="ch" refForName="circle6" fact="0.70711"/>
                <dgm:constr type="h" for="ch" forName="c6text" refType="h" refFor="ch" refForName="circle6" fact="0.5"/>
              </dgm:constrLst>
            </dgm:if>
            <dgm:if name="Name50" axis="ch" ptType="node" func="cnt" op="gte" val="7">
              <dgm:constrLst>
                <dgm:constr type="w" for="ch" forName="circle6" refType="w"/>
                <dgm:constr type="h" for="ch" forName="circle6" refType="h"/>
                <dgm:constr type="ctrX" for="ch" forName="circle6" refType="w" fact="0.5"/>
                <dgm:constr type="ctrY" for="ch" forName="circle6" refType="h" fact="0.5"/>
                <dgm:constr type="ctrX" for="ch" forName="c6text" refType="w" fact="0.5"/>
                <dgm:constr type="ctrY" for="ch" forName="c6text" refType="h" fact="0.27"/>
                <dgm:constr type="w" for="ch" forName="c6text" refType="w" refFor="ch" refForName="circle6" fact="0.68"/>
                <dgm:constr type="h" for="ch" forName="c6text" refType="h" refFor="ch" refForName="circle6" fact="0.241"/>
              </dgm:constrLst>
            </dgm:if>
            <dgm:else name="Name51"/>
          </dgm:choose>
          <dgm:ruleLst/>
          <dgm:layoutNode name="circle6" styleLbl="node1">
            <dgm:alg type="sp"/>
            <dgm:shape xmlns:r="http://schemas.openxmlformats.org/officeDocument/2006/relationships" type="ellipse" r:blip="">
              <dgm:adjLst/>
            </dgm:shape>
            <dgm:presOf axis="ch desOrSelf" ptType="node node" st="6 1" cnt="1 0"/>
            <dgm:constrLst>
              <dgm:constr type="h" refType="w"/>
            </dgm:constrLst>
            <dgm:ruleLst/>
          </dgm:layoutNode>
          <dgm:layoutNode name="c6text">
            <dgm:varLst>
              <dgm:bulletEnabled val="1"/>
            </dgm:varLst>
            <dgm:alg type="tx"/>
            <dgm:shape xmlns:r="http://schemas.openxmlformats.org/officeDocument/2006/relationships" type="rect" r:blip="" hideGeom="1">
              <dgm:adjLst/>
            </dgm:shape>
            <dgm:presOf axis="ch desOrSelf" ptType="node node" st="6 1" cnt="1 0"/>
            <dgm:constrLst/>
            <dgm:ruleLst>
              <dgm:rule type="primFontSz" val="5" fact="NaN" max="NaN"/>
            </dgm:ruleLst>
          </dgm:layoutNode>
        </dgm:layoutNode>
      </dgm:if>
      <dgm:else name="Name52"/>
    </dgm:choose>
    <dgm:choose name="Name53">
      <dgm:if name="Name54" axis="ch" ptType="node" func="cnt" op="gte" val="7">
        <dgm:layoutNode name="comp7">
          <dgm:alg type="composite"/>
          <dgm:shape xmlns:r="http://schemas.openxmlformats.org/officeDocument/2006/relationships" r:blip="">
            <dgm:adjLst/>
          </dgm:shape>
          <dgm:presOf/>
          <dgm:constrLst>
            <dgm:constr type="w" for="ch" forName="circle7" refType="w"/>
            <dgm:constr type="h" for="ch" forName="circle7" refType="h"/>
            <dgm:constr type="ctrX" for="ch" forName="circle7" refType="w" fact="0.5"/>
            <dgm:constr type="ctrY" for="ch" forName="circle7" refType="h" fact="0.5"/>
            <dgm:constr type="ctrX" for="ch" forName="c7text" refType="w" fact="0.5"/>
            <dgm:constr type="ctrY" for="ch" forName="c7text" refType="h" fact="0.5"/>
            <dgm:constr type="w" for="ch" forName="c7text" refType="w" refFor="ch" refForName="circle7" fact="0.70711"/>
            <dgm:constr type="h" for="ch" forName="c7text" refType="h" refFor="ch" refForName="circle7" fact="0.5"/>
          </dgm:constrLst>
          <dgm:ruleLst/>
          <dgm:layoutNode name="circle7" styleLbl="node1">
            <dgm:alg type="sp"/>
            <dgm:shape xmlns:r="http://schemas.openxmlformats.org/officeDocument/2006/relationships" type="ellipse" r:blip="">
              <dgm:adjLst/>
            </dgm:shape>
            <dgm:presOf axis="ch desOrSelf" ptType="node node" st="7 1" cnt="1 0"/>
            <dgm:constrLst>
              <dgm:constr type="h" refType="w"/>
            </dgm:constrLst>
            <dgm:ruleLst/>
          </dgm:layoutNode>
          <dgm:layoutNode name="c7text">
            <dgm:varLst>
              <dgm:bulletEnabled val="1"/>
            </dgm:varLst>
            <dgm:alg type="tx"/>
            <dgm:shape xmlns:r="http://schemas.openxmlformats.org/officeDocument/2006/relationships" type="rect" r:blip="" hideGeom="1">
              <dgm:adjLst/>
            </dgm:shape>
            <dgm:presOf axis="ch desOrSelf" ptType="node node" st="7 1" cnt="1 0"/>
            <dgm:constrLst/>
            <dgm:ruleLst>
              <dgm:rule type="primFontSz" val="5" fact="NaN" max="NaN"/>
            </dgm:ruleLst>
          </dgm:layoutNode>
        </dgm:layoutNode>
      </dgm:if>
      <dgm:else name="Name55"/>
    </dgm:choose>
  </dgm:layoutNode>
</dgm:layoutDef>
</file>

<file path=ppt/diagrams/layout2.xml><?xml version="1.0" encoding="utf-8"?>
<dgm:layoutDef xmlns:dgm="http://schemas.openxmlformats.org/drawingml/2006/diagram" xmlns:a="http://schemas.openxmlformats.org/drawingml/2006/main" uniqueId="urn:microsoft.com/office/officeart/2005/8/layout/chevronAccent+Icon">
  <dgm:title val="Chevron Accent Process"/>
  <dgm:desc val="Use to show sequential steps in a task, process, or workflow, or to emphasize movement or direction. Works best with minimal Level 1 and Level 2 text."/>
  <dgm:catLst>
    <dgm:cat type="process" pri="9500"/>
    <dgm:cat type="officeonline" pri="2000"/>
  </dgm:catLst>
  <dgm:sampData useDef="1">
    <dgm:dataModel>
      <dgm:pt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forName="composite" refType="w"/>
      <dgm:constr type="primFontSz" for="des" forName="txNode" op="equ" val="65"/>
      <dgm:constr type="w" for="ch" forName="compositeSpace" refType="w" refFor="ch" refForName="composite" fact="0.028"/>
    </dgm:constrLst>
    <dgm:ruleLst/>
    <dgm:forEach name="Name4" axis="ch" ptType="node">
      <dgm:layoutNode name="composite">
        <dgm:alg type="composite"/>
        <dgm:shape xmlns:r="http://schemas.openxmlformats.org/officeDocument/2006/relationships" r:blip="">
          <dgm:adjLst/>
        </dgm:shape>
        <dgm:presOf/>
        <dgm:choose name="Name5">
          <dgm:if name="Name6" func="var" arg="dir" op="equ" val="norm">
            <dgm:constrLst>
              <dgm:constr type="l" for="ch" forName="bgChev"/>
              <dgm:constr type="w" for="ch" forName="bgChev" refType="w" fact="0.9"/>
              <dgm:constr type="t" for="ch" forName="bgChev"/>
              <dgm:constr type="h" for="ch" forName="bgChev" refType="w" refFor="ch" refForName="bgChev" fact="0.386"/>
              <dgm:constr type="l" for="ch" forName="txNode" refType="w" fact="0.24"/>
              <dgm:constr type="w" for="ch" forName="txNode" refType="w" fact="0.76"/>
              <dgm:constr type="t" for="ch" forName="txNode" refType="h" refFor="ch" refForName="bgChev" fact="0.25"/>
              <dgm:constr type="h" for="ch" forName="txNode" refType="h" refFor="ch" refForName="bgChev"/>
            </dgm:constrLst>
          </dgm:if>
          <dgm:else name="Name7">
            <dgm:constrLst>
              <dgm:constr type="l" for="ch" forName="bgChev" refType="w" fact="0.1"/>
              <dgm:constr type="w" for="ch" forName="bgChev" refType="w" fact="0.9"/>
              <dgm:constr type="t" for="ch" forName="bgChev"/>
              <dgm:constr type="h" for="ch" forName="bgChev" refType="w" refFor="ch" refForName="bgChev" fact="0.386"/>
              <dgm:constr type="l" for="ch" forName="txNode"/>
              <dgm:constr type="w" for="ch" forName="txNode" refType="w" fact="0.76"/>
              <dgm:constr type="t" for="ch" forName="txNode" refType="h" refFor="ch" refForName="bgChev" fact="0.25"/>
              <dgm:constr type="h" for="ch" forName="txNode" refType="h" refFor="ch" refForName="bgChev"/>
            </dgm:constrLst>
          </dgm:else>
        </dgm:choose>
        <dgm:ruleLst/>
        <dgm:layoutNode name="bgChev" styleLbl="node1">
          <dgm:alg type="sp"/>
          <dgm:choose name="Name8">
            <dgm:if name="Name9" func="var" arg="dir" op="equ" val="norm">
              <dgm:shape xmlns:r="http://schemas.openxmlformats.org/officeDocument/2006/relationships" type="chevron" r:blip="">
                <dgm:adjLst>
                  <dgm:adj idx="1" val="0.4"/>
                </dgm:adjLst>
              </dgm:shape>
            </dgm:if>
            <dgm:else name="Name10">
              <dgm:shape xmlns:r="http://schemas.openxmlformats.org/officeDocument/2006/relationships" rot="180" type="chevron" r:blip="">
                <dgm:adjLst>
                  <dgm:adj idx="1" val="0.4"/>
                </dgm:adjLst>
              </dgm:shape>
            </dgm:else>
          </dgm:choose>
          <dgm:presOf/>
          <dgm:constrLst/>
        </dgm:layoutNode>
        <dgm:layoutNode name="txNode" styleLbl="fgAcc1">
          <dgm:varLst>
            <dgm:bulletEnabled val="1"/>
          </dgm:varLst>
          <dgm:alg type="tx"/>
          <dgm:shape xmlns:r="http://schemas.openxmlformats.org/officeDocument/2006/relationships" type="roundRect" r:blip="">
            <dgm:adjLst>
              <dgm:adj idx="1" val="0.1"/>
            </dgm:adjLst>
          </dgm:shape>
          <dgm:presOf axis="desOrSelf" ptType="node"/>
          <dgm:ruleLst>
            <dgm:rule type="primFontSz" val="5" fact="NaN" max="NaN"/>
          </dgm:ruleLst>
        </dgm:layoutNode>
      </dgm:layoutNode>
      <dgm:forEach name="Name11" axis="followSib" ptType="sibTrans" cnt="1">
        <dgm:layoutNode name="compositeSpace">
          <dgm:alg type="sp"/>
          <dgm:shape xmlns:r="http://schemas.openxmlformats.org/officeDocument/2006/relationships" r:blip="">
            <dgm:adjLst/>
          </dgm:shape>
          <dgm:presOf axis="sel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8.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3596" cy="496253"/>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47745" y="0"/>
            <a:ext cx="2943596" cy="496253"/>
          </a:xfrm>
          <a:prstGeom prst="rect">
            <a:avLst/>
          </a:prstGeom>
        </p:spPr>
        <p:txBody>
          <a:bodyPr vert="horz" lIns="91440" tIns="45720" rIns="91440" bIns="45720" rtlCol="0"/>
          <a:lstStyle>
            <a:lvl1pPr algn="r">
              <a:defRPr sz="1200"/>
            </a:lvl1pPr>
          </a:lstStyle>
          <a:p>
            <a:fld id="{E7AFE930-651F-344E-8314-180208C21109}" type="datetime1">
              <a:rPr lang="en-US" smtClean="0"/>
              <a:t>4/8/2025</a:t>
            </a:fld>
            <a:endParaRPr lang="en-US"/>
          </a:p>
        </p:txBody>
      </p:sp>
      <p:sp>
        <p:nvSpPr>
          <p:cNvPr id="4" name="Footer Placeholder 3"/>
          <p:cNvSpPr>
            <a:spLocks noGrp="1"/>
          </p:cNvSpPr>
          <p:nvPr>
            <p:ph type="ftr" sz="quarter" idx="2"/>
          </p:nvPr>
        </p:nvSpPr>
        <p:spPr>
          <a:xfrm>
            <a:off x="0" y="9427075"/>
            <a:ext cx="2943596" cy="496253"/>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47745" y="9427075"/>
            <a:ext cx="2943596" cy="496253"/>
          </a:xfrm>
          <a:prstGeom prst="rect">
            <a:avLst/>
          </a:prstGeom>
        </p:spPr>
        <p:txBody>
          <a:bodyPr vert="horz" lIns="91440" tIns="45720" rIns="91440" bIns="45720" rtlCol="0" anchor="b"/>
          <a:lstStyle>
            <a:lvl1pPr algn="r">
              <a:defRPr sz="1200"/>
            </a:lvl1pPr>
          </a:lstStyle>
          <a:p>
            <a:fld id="{A8F22795-F49E-234E-94D2-EFBA1D25E604}" type="slidenum">
              <a:rPr lang="en-US" smtClean="0"/>
              <a:t>‹#›</a:t>
            </a:fld>
            <a:endParaRPr lang="en-US"/>
          </a:p>
        </p:txBody>
      </p:sp>
    </p:spTree>
    <p:extLst>
      <p:ext uri="{BB962C8B-B14F-4D97-AF65-F5344CB8AC3E}">
        <p14:creationId xmlns:p14="http://schemas.microsoft.com/office/powerpoint/2010/main" val="3850648267"/>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3596" cy="496253"/>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47745" y="0"/>
            <a:ext cx="2943596" cy="496253"/>
          </a:xfrm>
          <a:prstGeom prst="rect">
            <a:avLst/>
          </a:prstGeom>
        </p:spPr>
        <p:txBody>
          <a:bodyPr vert="horz" lIns="91440" tIns="45720" rIns="91440" bIns="45720" rtlCol="0"/>
          <a:lstStyle>
            <a:lvl1pPr algn="r">
              <a:defRPr sz="1200"/>
            </a:lvl1pPr>
          </a:lstStyle>
          <a:p>
            <a:fld id="{3D18CB54-21F8-FC40-B512-B346BF09AF08}" type="datetime1">
              <a:rPr lang="en-US" smtClean="0"/>
              <a:t>4/8/2025</a:t>
            </a:fld>
            <a:endParaRPr lang="en-US"/>
          </a:p>
        </p:txBody>
      </p:sp>
      <p:sp>
        <p:nvSpPr>
          <p:cNvPr id="4" name="Slide Image Placeholder 3"/>
          <p:cNvSpPr>
            <a:spLocks noGrp="1" noRot="1" noChangeAspect="1"/>
          </p:cNvSpPr>
          <p:nvPr>
            <p:ph type="sldImg" idx="2"/>
          </p:nvPr>
        </p:nvSpPr>
        <p:spPr>
          <a:xfrm>
            <a:off x="88900" y="744538"/>
            <a:ext cx="6615113" cy="3721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79292" y="4714399"/>
            <a:ext cx="5434330" cy="4466273"/>
          </a:xfrm>
          <a:prstGeom prst="rect">
            <a:avLst/>
          </a:prstGeom>
        </p:spPr>
        <p:txBody>
          <a:bodyPr vert="horz" lIns="91440" tIns="45720" rIns="91440" bIns="45720" rtlCol="0"/>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6" name="Footer Placeholder 5"/>
          <p:cNvSpPr>
            <a:spLocks noGrp="1"/>
          </p:cNvSpPr>
          <p:nvPr>
            <p:ph type="ftr" sz="quarter" idx="4"/>
          </p:nvPr>
        </p:nvSpPr>
        <p:spPr>
          <a:xfrm>
            <a:off x="0" y="9427075"/>
            <a:ext cx="2943596" cy="496253"/>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47745" y="9427075"/>
            <a:ext cx="2943596" cy="496253"/>
          </a:xfrm>
          <a:prstGeom prst="rect">
            <a:avLst/>
          </a:prstGeom>
        </p:spPr>
        <p:txBody>
          <a:bodyPr vert="horz" lIns="91440" tIns="45720" rIns="91440" bIns="45720" rtlCol="0" anchor="b"/>
          <a:lstStyle>
            <a:lvl1pPr algn="r">
              <a:defRPr sz="1200"/>
            </a:lvl1pPr>
          </a:lstStyle>
          <a:p>
            <a:fld id="{3CFEB767-81C4-2B41-AC6B-7B72DAF6DCF5}" type="slidenum">
              <a:rPr lang="en-US" smtClean="0"/>
              <a:t>‹#›</a:t>
            </a:fld>
            <a:endParaRPr lang="en-US"/>
          </a:p>
        </p:txBody>
      </p:sp>
    </p:spTree>
    <p:extLst>
      <p:ext uri="{BB962C8B-B14F-4D97-AF65-F5344CB8AC3E}">
        <p14:creationId xmlns:p14="http://schemas.microsoft.com/office/powerpoint/2010/main" val="2561059764"/>
      </p:ext>
    </p:extLst>
  </p:cSld>
  <p:clrMap bg1="lt1" tx1="dk1" bg2="lt2" tx2="dk2" accent1="accent1" accent2="accent2" accent3="accent3" accent4="accent4" accent5="accent5" accent6="accent6" hlink="hlink" folHlink="folHlink"/>
  <p:hf hdr="0" ftr="0" dt="0"/>
  <p:notesStyle>
    <a:lvl1pPr marL="0" algn="l" defTabSz="457200" rtl="0" eaLnBrk="1" latinLnBrk="0" hangingPunct="1">
      <a:defRPr sz="1200" kern="1200">
        <a:solidFill>
          <a:schemeClr val="tx1"/>
        </a:solidFill>
        <a:latin typeface="+mn-lt"/>
        <a:ea typeface="+mn-ea"/>
        <a:cs typeface="+mn-cs"/>
      </a:defRPr>
    </a:lvl1pPr>
    <a:lvl2pPr marL="457200" algn="l" defTabSz="457200" rtl="0" eaLnBrk="1" latinLnBrk="0" hangingPunct="1">
      <a:defRPr sz="1200" kern="1200">
        <a:solidFill>
          <a:schemeClr val="tx1"/>
        </a:solidFill>
        <a:latin typeface="+mn-lt"/>
        <a:ea typeface="+mn-ea"/>
        <a:cs typeface="+mn-cs"/>
      </a:defRPr>
    </a:lvl2pPr>
    <a:lvl3pPr marL="914400" algn="l" defTabSz="457200" rtl="0" eaLnBrk="1" latinLnBrk="0" hangingPunct="1">
      <a:defRPr sz="1200" kern="1200">
        <a:solidFill>
          <a:schemeClr val="tx1"/>
        </a:solidFill>
        <a:latin typeface="+mn-lt"/>
        <a:ea typeface="+mn-ea"/>
        <a:cs typeface="+mn-cs"/>
      </a:defRPr>
    </a:lvl3pPr>
    <a:lvl4pPr marL="1371600" algn="l" defTabSz="457200" rtl="0" eaLnBrk="1" latinLnBrk="0" hangingPunct="1">
      <a:defRPr sz="1200" kern="1200">
        <a:solidFill>
          <a:schemeClr val="tx1"/>
        </a:solidFill>
        <a:latin typeface="+mn-lt"/>
        <a:ea typeface="+mn-ea"/>
        <a:cs typeface="+mn-cs"/>
      </a:defRPr>
    </a:lvl4pPr>
    <a:lvl5pPr marL="1828800" algn="l" defTabSz="457200" rtl="0" eaLnBrk="1" latinLnBrk="0" hangingPunct="1">
      <a:defRPr sz="1200" kern="1200">
        <a:solidFill>
          <a:schemeClr val="tx1"/>
        </a:solidFill>
        <a:latin typeface="+mn-lt"/>
        <a:ea typeface="+mn-ea"/>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IE" sz="1200">
                <a:effectLst/>
                <a:latin typeface="+mn-lt"/>
                <a:ea typeface="Calibri" panose="020F0502020204030204" pitchFamily="34" charset="0"/>
              </a:rPr>
              <a:t>Overall context</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IE" sz="1200">
              <a:effectLst/>
              <a:latin typeface="+mn-lt"/>
              <a:ea typeface="Calibri" panose="020F0502020204030204" pitchFamily="34" charset="0"/>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IE" sz="1200">
                <a:effectLst/>
                <a:latin typeface="+mn-lt"/>
                <a:ea typeface="Calibri" panose="020F0502020204030204" pitchFamily="34" charset="0"/>
              </a:rPr>
              <a:t>Since the publication of </a:t>
            </a:r>
            <a:r>
              <a:rPr lang="en-US" sz="1200">
                <a:effectLst/>
                <a:latin typeface="+mn-lt"/>
                <a:ea typeface="Calibri" panose="020F0502020204030204" pitchFamily="34" charset="0"/>
              </a:rPr>
              <a:t>the </a:t>
            </a:r>
            <a:r>
              <a:rPr lang="en-IE" sz="1200">
                <a:effectLst/>
                <a:latin typeface="+mn-lt"/>
                <a:ea typeface="Calibri" panose="020F0502020204030204" pitchFamily="34" charset="0"/>
              </a:rPr>
              <a:t>European Strategy for Data  in 2020, the European Union has been committed to the development of a European single market for data.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IE" sz="1200">
                <a:effectLst/>
                <a:latin typeface="+mn-lt"/>
                <a:ea typeface="Calibri" panose="020F0502020204030204" pitchFamily="34" charset="0"/>
              </a:rPr>
              <a:t>Significant efforts have been undertaken across data legislation, </a:t>
            </a:r>
            <a:r>
              <a:rPr lang="en-US" sz="1200">
                <a:effectLst/>
                <a:latin typeface="+mn-lt"/>
                <a:ea typeface="Calibri" panose="020F0502020204030204" pitchFamily="34" charset="0"/>
              </a:rPr>
              <a:t>financing the first </a:t>
            </a:r>
            <a:r>
              <a:rPr lang="en-IE" sz="1200">
                <a:effectLst/>
                <a:latin typeface="+mn-lt"/>
                <a:ea typeface="Calibri" panose="020F0502020204030204" pitchFamily="34" charset="0"/>
              </a:rPr>
              <a:t>Common European Data Spaces, providing support through the EDIB and the Data Spaces Support Centre and developing a supporting </a:t>
            </a:r>
            <a:r>
              <a:rPr lang="en-US" sz="1200">
                <a:effectLst/>
                <a:latin typeface="+mn-lt"/>
                <a:ea typeface="Calibri" panose="020F0502020204030204" pitchFamily="34" charset="0"/>
              </a:rPr>
              <a:t>technical </a:t>
            </a:r>
            <a:r>
              <a:rPr lang="en-IE" sz="1200">
                <a:effectLst/>
                <a:latin typeface="+mn-lt"/>
                <a:ea typeface="Calibri" panose="020F0502020204030204" pitchFamily="34" charset="0"/>
              </a:rPr>
              <a:t>infrastructur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IE" sz="1800" kern="100">
                <a:effectLst/>
                <a:latin typeface="Aptos" panose="020B0004020202020204" pitchFamily="34" charset="0"/>
                <a:ea typeface="Aptos" panose="020B0004020202020204" pitchFamily="34" charset="0"/>
                <a:cs typeface="Times New Roman" panose="02020603050405020304" pitchFamily="18" charset="0"/>
              </a:rPr>
              <a:t>In 2020, the European strategy for data placed a prominent focus on the development of Common European data spaces in strategic sectors and domains. The strategy specifically addresses the challenges around restricted data, by promoting mechanisms for trusted data sharing, ensuring that data holders can share their data with confidence (data sovereignty).</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IE" sz="1200">
              <a:effectLst/>
              <a:latin typeface="+mn-lt"/>
              <a:ea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IE" sz="1200">
                <a:effectLst/>
                <a:latin typeface="+mn-lt"/>
                <a:ea typeface="Calibri" panose="020F0502020204030204" pitchFamily="34" charset="0"/>
              </a:rPr>
              <a:t>Standards and interoperability: Avoid that data spaces become data silos.</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9CF2995-AB43-4B7C-B8CD-9DC7C3692A9C}"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Arial"/>
                <a:sym typeface="Arial"/>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Arial"/>
              <a:sym typeface="Arial"/>
            </a:endParaRPr>
          </a:p>
        </p:txBody>
      </p:sp>
    </p:spTree>
    <p:extLst>
      <p:ext uri="{BB962C8B-B14F-4D97-AF65-F5344CB8AC3E}">
        <p14:creationId xmlns:p14="http://schemas.microsoft.com/office/powerpoint/2010/main" val="109176761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E"/>
          </a:p>
        </p:txBody>
      </p:sp>
      <p:sp>
        <p:nvSpPr>
          <p:cNvPr id="4" name="Slide Number Placeholder 3"/>
          <p:cNvSpPr>
            <a:spLocks noGrp="1"/>
          </p:cNvSpPr>
          <p:nvPr>
            <p:ph type="sldNum" sz="quarter" idx="5"/>
          </p:nvPr>
        </p:nvSpPr>
        <p:spPr/>
        <p:txBody>
          <a:bodyPr/>
          <a:lstStyle/>
          <a:p>
            <a:fld id="{3CFEB767-81C4-2B41-AC6B-7B72DAF6DCF5}" type="slidenum">
              <a:rPr lang="en-US" smtClean="0"/>
              <a:t>23</a:t>
            </a:fld>
            <a:endParaRPr lang="en-US"/>
          </a:p>
        </p:txBody>
      </p:sp>
    </p:spTree>
    <p:extLst>
      <p:ext uri="{BB962C8B-B14F-4D97-AF65-F5344CB8AC3E}">
        <p14:creationId xmlns:p14="http://schemas.microsoft.com/office/powerpoint/2010/main" val="429349452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E"/>
          </a:p>
        </p:txBody>
      </p:sp>
      <p:sp>
        <p:nvSpPr>
          <p:cNvPr id="4" name="Slide Number Placeholder 3"/>
          <p:cNvSpPr>
            <a:spLocks noGrp="1"/>
          </p:cNvSpPr>
          <p:nvPr>
            <p:ph type="sldNum" sz="quarter" idx="5"/>
          </p:nvPr>
        </p:nvSpPr>
        <p:spPr/>
        <p:txBody>
          <a:bodyPr/>
          <a:lstStyle/>
          <a:p>
            <a:fld id="{3CFEB767-81C4-2B41-AC6B-7B72DAF6DCF5}" type="slidenum">
              <a:rPr lang="en-US" smtClean="0"/>
              <a:t>24</a:t>
            </a:fld>
            <a:endParaRPr lang="en-US"/>
          </a:p>
        </p:txBody>
      </p:sp>
    </p:spTree>
    <p:extLst>
      <p:ext uri="{BB962C8B-B14F-4D97-AF65-F5344CB8AC3E}">
        <p14:creationId xmlns:p14="http://schemas.microsoft.com/office/powerpoint/2010/main" val="79861058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E"/>
          </a:p>
        </p:txBody>
      </p:sp>
      <p:sp>
        <p:nvSpPr>
          <p:cNvPr id="4" name="Slide Number Placeholder 3"/>
          <p:cNvSpPr>
            <a:spLocks noGrp="1"/>
          </p:cNvSpPr>
          <p:nvPr>
            <p:ph type="sldNum" sz="quarter" idx="5"/>
          </p:nvPr>
        </p:nvSpPr>
        <p:spPr/>
        <p:txBody>
          <a:bodyPr/>
          <a:lstStyle/>
          <a:p>
            <a:fld id="{3CFEB767-81C4-2B41-AC6B-7B72DAF6DCF5}" type="slidenum">
              <a:rPr lang="en-US" smtClean="0"/>
              <a:t>25</a:t>
            </a:fld>
            <a:endParaRPr lang="en-US"/>
          </a:p>
        </p:txBody>
      </p:sp>
    </p:spTree>
    <p:extLst>
      <p:ext uri="{BB962C8B-B14F-4D97-AF65-F5344CB8AC3E}">
        <p14:creationId xmlns:p14="http://schemas.microsoft.com/office/powerpoint/2010/main" val="237373844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E"/>
          </a:p>
        </p:txBody>
      </p:sp>
      <p:sp>
        <p:nvSpPr>
          <p:cNvPr id="4" name="Slide Number Placeholder 3"/>
          <p:cNvSpPr>
            <a:spLocks noGrp="1"/>
          </p:cNvSpPr>
          <p:nvPr>
            <p:ph type="sldNum" sz="quarter" idx="5"/>
          </p:nvPr>
        </p:nvSpPr>
        <p:spPr/>
        <p:txBody>
          <a:bodyPr/>
          <a:lstStyle/>
          <a:p>
            <a:fld id="{3CFEB767-81C4-2B41-AC6B-7B72DAF6DCF5}" type="slidenum">
              <a:rPr lang="en-US" smtClean="0"/>
              <a:t>26</a:t>
            </a:fld>
            <a:endParaRPr lang="en-US"/>
          </a:p>
        </p:txBody>
      </p:sp>
    </p:spTree>
    <p:extLst>
      <p:ext uri="{BB962C8B-B14F-4D97-AF65-F5344CB8AC3E}">
        <p14:creationId xmlns:p14="http://schemas.microsoft.com/office/powerpoint/2010/main" val="225776782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E"/>
          </a:p>
        </p:txBody>
      </p:sp>
      <p:sp>
        <p:nvSpPr>
          <p:cNvPr id="4" name="Slide Number Placeholder 3"/>
          <p:cNvSpPr>
            <a:spLocks noGrp="1"/>
          </p:cNvSpPr>
          <p:nvPr>
            <p:ph type="sldNum" sz="quarter" idx="5"/>
          </p:nvPr>
        </p:nvSpPr>
        <p:spPr/>
        <p:txBody>
          <a:bodyPr/>
          <a:lstStyle/>
          <a:p>
            <a:fld id="{3CFEB767-81C4-2B41-AC6B-7B72DAF6DCF5}" type="slidenum">
              <a:rPr lang="en-US" smtClean="0"/>
              <a:t>27</a:t>
            </a:fld>
            <a:endParaRPr lang="en-US"/>
          </a:p>
        </p:txBody>
      </p:sp>
    </p:spTree>
    <p:extLst>
      <p:ext uri="{BB962C8B-B14F-4D97-AF65-F5344CB8AC3E}">
        <p14:creationId xmlns:p14="http://schemas.microsoft.com/office/powerpoint/2010/main" val="278933940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E"/>
          </a:p>
        </p:txBody>
      </p:sp>
      <p:sp>
        <p:nvSpPr>
          <p:cNvPr id="4" name="Slide Number Placeholder 3"/>
          <p:cNvSpPr>
            <a:spLocks noGrp="1"/>
          </p:cNvSpPr>
          <p:nvPr>
            <p:ph type="sldNum" sz="quarter" idx="5"/>
          </p:nvPr>
        </p:nvSpPr>
        <p:spPr/>
        <p:txBody>
          <a:bodyPr/>
          <a:lstStyle/>
          <a:p>
            <a:fld id="{3CFEB767-81C4-2B41-AC6B-7B72DAF6DCF5}" type="slidenum">
              <a:rPr lang="en-US" smtClean="0"/>
              <a:t>28</a:t>
            </a:fld>
            <a:endParaRPr lang="en-US"/>
          </a:p>
        </p:txBody>
      </p:sp>
    </p:spTree>
    <p:extLst>
      <p:ext uri="{BB962C8B-B14F-4D97-AF65-F5344CB8AC3E}">
        <p14:creationId xmlns:p14="http://schemas.microsoft.com/office/powerpoint/2010/main" val="378040103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E"/>
          </a:p>
        </p:txBody>
      </p:sp>
      <p:sp>
        <p:nvSpPr>
          <p:cNvPr id="4" name="Slide Number Placeholder 3"/>
          <p:cNvSpPr>
            <a:spLocks noGrp="1"/>
          </p:cNvSpPr>
          <p:nvPr>
            <p:ph type="sldNum" sz="quarter" idx="5"/>
          </p:nvPr>
        </p:nvSpPr>
        <p:spPr/>
        <p:txBody>
          <a:bodyPr/>
          <a:lstStyle/>
          <a:p>
            <a:fld id="{3CFEB767-81C4-2B41-AC6B-7B72DAF6DCF5}" type="slidenum">
              <a:rPr lang="en-US" smtClean="0"/>
              <a:t>29</a:t>
            </a:fld>
            <a:endParaRPr lang="en-US"/>
          </a:p>
        </p:txBody>
      </p:sp>
    </p:spTree>
    <p:extLst>
      <p:ext uri="{BB962C8B-B14F-4D97-AF65-F5344CB8AC3E}">
        <p14:creationId xmlns:p14="http://schemas.microsoft.com/office/powerpoint/2010/main" val="405710028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E"/>
          </a:p>
        </p:txBody>
      </p:sp>
      <p:sp>
        <p:nvSpPr>
          <p:cNvPr id="4" name="Slide Number Placeholder 3"/>
          <p:cNvSpPr>
            <a:spLocks noGrp="1"/>
          </p:cNvSpPr>
          <p:nvPr>
            <p:ph type="sldNum" sz="quarter" idx="5"/>
          </p:nvPr>
        </p:nvSpPr>
        <p:spPr/>
        <p:txBody>
          <a:bodyPr/>
          <a:lstStyle/>
          <a:p>
            <a:fld id="{3CFEB767-81C4-2B41-AC6B-7B72DAF6DCF5}" type="slidenum">
              <a:rPr lang="en-US" smtClean="0"/>
              <a:t>30</a:t>
            </a:fld>
            <a:endParaRPr lang="en-US"/>
          </a:p>
        </p:txBody>
      </p:sp>
    </p:spTree>
    <p:extLst>
      <p:ext uri="{BB962C8B-B14F-4D97-AF65-F5344CB8AC3E}">
        <p14:creationId xmlns:p14="http://schemas.microsoft.com/office/powerpoint/2010/main" val="33975678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E"/>
          </a:p>
        </p:txBody>
      </p:sp>
      <p:sp>
        <p:nvSpPr>
          <p:cNvPr id="4" name="Slide Number Placeholder 3"/>
          <p:cNvSpPr>
            <a:spLocks noGrp="1"/>
          </p:cNvSpPr>
          <p:nvPr>
            <p:ph type="sldNum" sz="quarter" idx="5"/>
          </p:nvPr>
        </p:nvSpPr>
        <p:spPr/>
        <p:txBody>
          <a:bodyPr/>
          <a:lstStyle/>
          <a:p>
            <a:fld id="{3CFEB767-81C4-2B41-AC6B-7B72DAF6DCF5}" type="slidenum">
              <a:rPr lang="en-US" smtClean="0"/>
              <a:t>31</a:t>
            </a:fld>
            <a:endParaRPr lang="en-US"/>
          </a:p>
        </p:txBody>
      </p:sp>
    </p:spTree>
    <p:extLst>
      <p:ext uri="{BB962C8B-B14F-4D97-AF65-F5344CB8AC3E}">
        <p14:creationId xmlns:p14="http://schemas.microsoft.com/office/powerpoint/2010/main" val="386556373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ES_tradnl"/>
          </a:p>
        </p:txBody>
      </p:sp>
      <p:sp>
        <p:nvSpPr>
          <p:cNvPr id="4" name="Slide Number Placeholder 3"/>
          <p:cNvSpPr>
            <a:spLocks noGrp="1"/>
          </p:cNvSpPr>
          <p:nvPr>
            <p:ph type="sldNum" sz="quarter" idx="5"/>
          </p:nvPr>
        </p:nvSpPr>
        <p:spPr/>
        <p:txBody>
          <a:bodyPr/>
          <a:lstStyle/>
          <a:p>
            <a:fld id="{59CF2995-AB43-4B7C-B8CD-9DC7C3692A9C}" type="slidenum">
              <a:rPr lang="en-GB" smtClean="0"/>
              <a:t>33</a:t>
            </a:fld>
            <a:endParaRPr lang="en-GB"/>
          </a:p>
        </p:txBody>
      </p:sp>
    </p:spTree>
    <p:extLst>
      <p:ext uri="{BB962C8B-B14F-4D97-AF65-F5344CB8AC3E}">
        <p14:creationId xmlns:p14="http://schemas.microsoft.com/office/powerpoint/2010/main" val="243770889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IE" b="0" i="0"/>
              <a:t>Explain that the story continues, data is more important than ever.</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9CF2995-AB43-4B7C-B8CD-9DC7C3692A9C}"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Arial"/>
                <a:sym typeface="Arial"/>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Arial"/>
              <a:sym typeface="Arial"/>
            </a:endParaRPr>
          </a:p>
        </p:txBody>
      </p:sp>
    </p:spTree>
    <p:extLst>
      <p:ext uri="{BB962C8B-B14F-4D97-AF65-F5344CB8AC3E}">
        <p14:creationId xmlns:p14="http://schemas.microsoft.com/office/powerpoint/2010/main" val="357251386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B4A55CF2-256D-44FD-9430-5B63A079CF51}" type="slidenum">
              <a:rPr lang="en-US" smtClean="0"/>
              <a:t>34</a:t>
            </a:fld>
            <a:endParaRPr lang="en-US"/>
          </a:p>
        </p:txBody>
      </p:sp>
    </p:spTree>
    <p:extLst>
      <p:ext uri="{BB962C8B-B14F-4D97-AF65-F5344CB8AC3E}">
        <p14:creationId xmlns:p14="http://schemas.microsoft.com/office/powerpoint/2010/main" val="126744633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n-US"/>
          </a:p>
        </p:txBody>
      </p:sp>
      <p:sp>
        <p:nvSpPr>
          <p:cNvPr id="4" name="Marcador de número de diapositiva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9CF2995-AB43-4B7C-B8CD-9DC7C3692A9C}"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0657308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E"/>
              <a:t>Agriculture starting on 1 April</a:t>
            </a:r>
          </a:p>
          <a:p>
            <a:r>
              <a:rPr lang="en-IE"/>
              <a:t>Energy starting on 1 April</a:t>
            </a:r>
          </a:p>
        </p:txBody>
      </p:sp>
      <p:sp>
        <p:nvSpPr>
          <p:cNvPr id="4" name="Slide Number Placeholder 3"/>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GB" sz="1200" b="0" i="0" u="none" strike="noStrike" kern="0" cap="none" spc="0" normalizeH="0" baseline="0" noProof="0" smtClean="0">
                <a:ln>
                  <a:noFill/>
                </a:ln>
                <a:solidFill>
                  <a:srgbClr val="000000"/>
                </a:solidFill>
                <a:effectLst/>
                <a:uLnTx/>
                <a:uFillTx/>
                <a:latin typeface="Calibri"/>
                <a:ea typeface="Calibri"/>
                <a:cs typeface="Calibri"/>
                <a:sym typeface="Calibri"/>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8</a:t>
            </a:fld>
            <a:endParaRPr kumimoji="0" lang="en-GB" sz="1200" b="0" i="0" u="none" strike="noStrike" kern="0" cap="none" spc="0" normalizeH="0" baseline="0" noProof="0">
              <a:ln>
                <a:noFill/>
              </a:ln>
              <a:solidFill>
                <a:srgbClr val="000000"/>
              </a:solidFill>
              <a:effectLst/>
              <a:uLnTx/>
              <a:uFillTx/>
              <a:latin typeface="Calibri"/>
              <a:ea typeface="Calibri"/>
              <a:cs typeface="Calibri"/>
              <a:sym typeface="Calibri"/>
            </a:endParaRPr>
          </a:p>
        </p:txBody>
      </p:sp>
    </p:spTree>
    <p:extLst>
      <p:ext uri="{BB962C8B-B14F-4D97-AF65-F5344CB8AC3E}">
        <p14:creationId xmlns:p14="http://schemas.microsoft.com/office/powerpoint/2010/main" val="356338412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E"/>
              <a:t>Taking a step back: What are data spaces?</a:t>
            </a:r>
          </a:p>
          <a:p>
            <a:endParaRPr lang="en-IE"/>
          </a:p>
          <a:p>
            <a:r>
              <a:rPr lang="en-IE"/>
              <a:t>Optimal environment for trusted data sharing</a:t>
            </a:r>
          </a:p>
          <a:p>
            <a:endParaRPr lang="en-IE"/>
          </a:p>
          <a:p>
            <a:r>
              <a:rPr lang="en-IE"/>
              <a:t>Data sharing process, actors, cloud-to-edge</a:t>
            </a:r>
          </a:p>
        </p:txBody>
      </p:sp>
      <p:sp>
        <p:nvSpPr>
          <p:cNvPr id="4" name="Slide Number Placeholder 3"/>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GB" sz="1200" b="0" i="0" u="none" strike="noStrike" kern="0" cap="none" spc="0" normalizeH="0" baseline="0" noProof="0" smtClean="0">
                <a:ln>
                  <a:noFill/>
                </a:ln>
                <a:solidFill>
                  <a:srgbClr val="000000"/>
                </a:solidFill>
                <a:effectLst/>
                <a:uLnTx/>
                <a:uFillTx/>
                <a:latin typeface="Calibri"/>
                <a:ea typeface="Calibri"/>
                <a:cs typeface="Calibri"/>
                <a:sym typeface="Calibri"/>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9</a:t>
            </a:fld>
            <a:endParaRPr kumimoji="0" lang="en-GB" sz="1200" b="0" i="0" u="none" strike="noStrike" kern="0" cap="none" spc="0" normalizeH="0" baseline="0" noProof="0">
              <a:ln>
                <a:noFill/>
              </a:ln>
              <a:solidFill>
                <a:srgbClr val="000000"/>
              </a:solidFill>
              <a:effectLst/>
              <a:uLnTx/>
              <a:uFillTx/>
              <a:latin typeface="Calibri"/>
              <a:ea typeface="Calibri"/>
              <a:cs typeface="Calibri"/>
              <a:sym typeface="Calibri"/>
            </a:endParaRPr>
          </a:p>
        </p:txBody>
      </p:sp>
    </p:spTree>
    <p:extLst>
      <p:ext uri="{BB962C8B-B14F-4D97-AF65-F5344CB8AC3E}">
        <p14:creationId xmlns:p14="http://schemas.microsoft.com/office/powerpoint/2010/main" val="16887754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lvl="0" indent="-342900">
              <a:buSzPts val="1000"/>
              <a:buFont typeface="Symbol" panose="05050102010706020507" pitchFamily="18" charset="2"/>
              <a:buChar char=""/>
              <a:tabLst>
                <a:tab pos="457200" algn="l"/>
              </a:tabLst>
            </a:pPr>
            <a:r>
              <a:rPr lang="en-IE" sz="1200">
                <a:solidFill>
                  <a:srgbClr val="1F497D"/>
                </a:solidFill>
                <a:effectLst/>
                <a:latin typeface="Calibri" panose="020F0502020204030204" pitchFamily="34" charset="0"/>
                <a:ea typeface="Times New Roman" panose="02020603050405020304" pitchFamily="18" charset="0"/>
                <a:cs typeface="Aptos" panose="020B0004020202020204" pitchFamily="34" charset="0"/>
              </a:rPr>
              <a:t>Based on Data Act article 33 we have launched a standardisation request, the European Trusted Data Framework, which comprises five main deliverables.</a:t>
            </a:r>
            <a:endParaRPr lang="en-IE" sz="1200">
              <a:solidFill>
                <a:srgbClr val="1F497D"/>
              </a:solidFill>
              <a:effectLst/>
              <a:latin typeface="Aptos" panose="020B0004020202020204" pitchFamily="34" charset="0"/>
              <a:ea typeface="Aptos" panose="020B0004020202020204" pitchFamily="34" charset="0"/>
              <a:cs typeface="Aptos" panose="020B0004020202020204" pitchFamily="34" charset="0"/>
            </a:endParaRPr>
          </a:p>
          <a:p>
            <a:pPr marL="742950" lvl="1" indent="-285750">
              <a:buSzPts val="1000"/>
              <a:buFont typeface="Courier New" panose="02070309020205020404" pitchFamily="49" charset="0"/>
              <a:buChar char="o"/>
              <a:tabLst>
                <a:tab pos="914400" algn="l"/>
              </a:tabLst>
            </a:pPr>
            <a:r>
              <a:rPr lang="en-IE" sz="1200">
                <a:solidFill>
                  <a:srgbClr val="1F497D"/>
                </a:solidFill>
                <a:effectLst/>
                <a:latin typeface="Calibri" panose="020F0502020204030204" pitchFamily="34" charset="0"/>
                <a:ea typeface="Times New Roman" panose="02020603050405020304" pitchFamily="18" charset="0"/>
                <a:cs typeface="Times New Roman" panose="02020603050405020304" pitchFamily="18" charset="0"/>
              </a:rPr>
              <a:t>Key deliverable: A harmonised standard on Trusted data transactions. It supports of the trusted sharing of restricted data in the European single market, while preserving the rights of the data holder. </a:t>
            </a:r>
            <a:endParaRPr lang="en-IE" sz="1200">
              <a:solidFill>
                <a:srgbClr val="1F497D"/>
              </a:solidFill>
              <a:effectLst/>
              <a:latin typeface="Aptos" panose="020B0004020202020204" pitchFamily="34" charset="0"/>
              <a:ea typeface="Aptos" panose="020B0004020202020204" pitchFamily="34" charset="0"/>
              <a:cs typeface="Times New Roman" panose="02020603050405020304" pitchFamily="18" charset="0"/>
            </a:endParaRPr>
          </a:p>
          <a:p>
            <a:pPr marL="742950" lvl="1" indent="-285750">
              <a:buSzPts val="1000"/>
              <a:buFont typeface="Courier New" panose="02070309020205020404" pitchFamily="49" charset="0"/>
              <a:buChar char="o"/>
              <a:tabLst>
                <a:tab pos="914400" algn="l"/>
              </a:tabLst>
            </a:pPr>
            <a:r>
              <a:rPr lang="en-IE" sz="1200">
                <a:solidFill>
                  <a:srgbClr val="1F497D"/>
                </a:solidFill>
                <a:effectLst/>
                <a:latin typeface="Calibri" panose="020F0502020204030204" pitchFamily="34" charset="0"/>
                <a:ea typeface="Times New Roman" panose="02020603050405020304" pitchFamily="18" charset="0"/>
                <a:cs typeface="Times New Roman" panose="02020603050405020304" pitchFamily="18" charset="0"/>
              </a:rPr>
              <a:t>Two of the other deliverables address the semantic meaning of the data, in support of specific domains and use cases, enabling to effectively </a:t>
            </a:r>
            <a:r>
              <a:rPr lang="en-IE" sz="1200" u="sng">
                <a:solidFill>
                  <a:srgbClr val="1F497D"/>
                </a:solidFill>
                <a:effectLst/>
                <a:latin typeface="Calibri" panose="020F0502020204030204" pitchFamily="34" charset="0"/>
                <a:ea typeface="Times New Roman" panose="02020603050405020304" pitchFamily="18" charset="0"/>
                <a:cs typeface="Times New Roman" panose="02020603050405020304" pitchFamily="18" charset="0"/>
              </a:rPr>
              <a:t>discover</a:t>
            </a:r>
            <a:r>
              <a:rPr lang="en-IE" sz="1200">
                <a:solidFill>
                  <a:srgbClr val="1F497D"/>
                </a:solidFill>
                <a:effectLst/>
                <a:latin typeface="Calibri" panose="020F0502020204030204" pitchFamily="34" charset="0"/>
                <a:ea typeface="Times New Roman" panose="02020603050405020304" pitchFamily="18" charset="0"/>
                <a:cs typeface="Times New Roman" panose="02020603050405020304" pitchFamily="18" charset="0"/>
              </a:rPr>
              <a:t> and </a:t>
            </a:r>
            <a:r>
              <a:rPr lang="en-IE" sz="1200" u="sng">
                <a:solidFill>
                  <a:srgbClr val="1F497D"/>
                </a:solidFill>
                <a:effectLst/>
                <a:latin typeface="Calibri" panose="020F0502020204030204" pitchFamily="34" charset="0"/>
                <a:ea typeface="Times New Roman" panose="02020603050405020304" pitchFamily="18" charset="0"/>
                <a:cs typeface="Times New Roman" panose="02020603050405020304" pitchFamily="18" charset="0"/>
              </a:rPr>
              <a:t>use / integrate</a:t>
            </a:r>
            <a:r>
              <a:rPr lang="en-IE" sz="1200">
                <a:solidFill>
                  <a:srgbClr val="1F497D"/>
                </a:solidFill>
                <a:effectLst/>
                <a:latin typeface="Calibri" panose="020F0502020204030204" pitchFamily="34" charset="0"/>
                <a:ea typeface="Times New Roman" panose="02020603050405020304" pitchFamily="18" charset="0"/>
                <a:cs typeface="Times New Roman" panose="02020603050405020304" pitchFamily="18" charset="0"/>
              </a:rPr>
              <a:t> the data.</a:t>
            </a:r>
            <a:endParaRPr lang="en-IE" sz="1200">
              <a:solidFill>
                <a:srgbClr val="1F497D"/>
              </a:solidFill>
              <a:effectLst/>
              <a:latin typeface="Aptos" panose="020B0004020202020204" pitchFamily="34" charset="0"/>
              <a:ea typeface="Aptos" panose="020B0004020202020204" pitchFamily="34" charset="0"/>
              <a:cs typeface="Times New Roman" panose="02020603050405020304" pitchFamily="18" charset="0"/>
            </a:endParaRPr>
          </a:p>
          <a:p>
            <a:pPr marL="742950" lvl="1" indent="-285750">
              <a:buSzPts val="1000"/>
              <a:buFont typeface="Courier New" panose="02070309020205020404" pitchFamily="49" charset="0"/>
              <a:buChar char="o"/>
              <a:tabLst>
                <a:tab pos="914400" algn="l"/>
              </a:tabLst>
            </a:pPr>
            <a:r>
              <a:rPr lang="en-IE" sz="1200">
                <a:solidFill>
                  <a:srgbClr val="1F497D"/>
                </a:solidFill>
                <a:effectLst/>
                <a:latin typeface="Calibri" panose="020F0502020204030204" pitchFamily="34" charset="0"/>
                <a:ea typeface="Times New Roman" panose="02020603050405020304" pitchFamily="18" charset="0"/>
                <a:cs typeface="Times New Roman" panose="02020603050405020304" pitchFamily="18" charset="0"/>
              </a:rPr>
              <a:t>The final two deliverables address maturity aspects, both of the individual participants in data spaces as well as of the common European data spaces as such.</a:t>
            </a:r>
            <a:endParaRPr lang="en-IE" sz="1200">
              <a:solidFill>
                <a:srgbClr val="1F497D"/>
              </a:solidFill>
              <a:effectLst/>
              <a:latin typeface="Aptos" panose="020B0004020202020204" pitchFamily="34" charset="0"/>
              <a:ea typeface="Aptos" panose="020B0004020202020204" pitchFamily="34" charset="0"/>
              <a:cs typeface="Times New Roman" panose="02020603050405020304" pitchFamily="18" charset="0"/>
            </a:endParaRPr>
          </a:p>
          <a:p>
            <a:endParaRPr lang="en-IE"/>
          </a:p>
        </p:txBody>
      </p:sp>
      <p:sp>
        <p:nvSpPr>
          <p:cNvPr id="4" name="Slide Number Placeholder 3"/>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GB" sz="1200" b="0" i="0" u="none" strike="noStrike" kern="0" cap="none" spc="0" normalizeH="0" baseline="0" noProof="0" smtClean="0">
                <a:ln>
                  <a:noFill/>
                </a:ln>
                <a:solidFill>
                  <a:srgbClr val="000000"/>
                </a:solidFill>
                <a:effectLst/>
                <a:uLnTx/>
                <a:uFillTx/>
                <a:latin typeface="Calibri"/>
                <a:ea typeface="Calibri"/>
                <a:cs typeface="Calibri"/>
                <a:sym typeface="Calibri"/>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10</a:t>
            </a:fld>
            <a:endParaRPr kumimoji="0" lang="en-GB" sz="1200" b="0" i="0" u="none" strike="noStrike" kern="0" cap="none" spc="0" normalizeH="0" baseline="0" noProof="0">
              <a:ln>
                <a:noFill/>
              </a:ln>
              <a:solidFill>
                <a:srgbClr val="000000"/>
              </a:solidFill>
              <a:effectLst/>
              <a:uLnTx/>
              <a:uFillTx/>
              <a:latin typeface="Calibri"/>
              <a:ea typeface="Calibri"/>
              <a:cs typeface="Calibri"/>
              <a:sym typeface="Calibri"/>
            </a:endParaRPr>
          </a:p>
        </p:txBody>
      </p:sp>
    </p:spTree>
    <p:extLst>
      <p:ext uri="{BB962C8B-B14F-4D97-AF65-F5344CB8AC3E}">
        <p14:creationId xmlns:p14="http://schemas.microsoft.com/office/powerpoint/2010/main" val="377728475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IE" sz="1200">
                <a:effectLst/>
                <a:latin typeface="+mn-lt"/>
                <a:ea typeface="Calibri" panose="020F0502020204030204" pitchFamily="34" charset="0"/>
                <a:cs typeface="Calibri" panose="020F0502020204030204" pitchFamily="34" charset="0"/>
              </a:rPr>
              <a:t>The way the 5 requested deliverables fit together.</a:t>
            </a:r>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fld id="{59CF2995-AB43-4B7C-B8CD-9DC7C3692A9C}" type="slidenum">
              <a:rPr kumimoji="0" lang="en-GB" sz="1400" b="0" i="0" u="none" strike="noStrike" kern="0" cap="none" spc="0" normalizeH="0" baseline="0" noProof="0" smtClean="0">
                <a:ln>
                  <a:noFill/>
                </a:ln>
                <a:solidFill>
                  <a:srgbClr val="000000"/>
                </a:solidFill>
                <a:effectLst/>
                <a:uLnTx/>
                <a:uFillTx/>
                <a:latin typeface="Arial"/>
                <a:cs typeface="Arial"/>
                <a:sym typeface="Arial"/>
              </a:rPr>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t>11</a:t>
            </a:fld>
            <a:endParaRPr kumimoji="0" lang="en-GB" sz="1400" b="0" i="0" u="none" strike="noStrike" kern="0" cap="none" spc="0" normalizeH="0" baseline="0" noProof="0">
              <a:ln>
                <a:noFill/>
              </a:ln>
              <a:solidFill>
                <a:srgbClr val="000000"/>
              </a:solidFill>
              <a:effectLst/>
              <a:uLnTx/>
              <a:uFillTx/>
              <a:latin typeface="Arial"/>
              <a:cs typeface="Arial"/>
              <a:sym typeface="Arial"/>
            </a:endParaRPr>
          </a:p>
        </p:txBody>
      </p:sp>
    </p:spTree>
    <p:extLst>
      <p:ext uri="{BB962C8B-B14F-4D97-AF65-F5344CB8AC3E}">
        <p14:creationId xmlns:p14="http://schemas.microsoft.com/office/powerpoint/2010/main" val="314392440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457200" marR="0" lvl="0" indent="-228600" algn="l" defTabSz="914400" rtl="0" eaLnBrk="1" fontAlgn="auto" latinLnBrk="0" hangingPunct="1">
              <a:lnSpc>
                <a:spcPct val="100000"/>
              </a:lnSpc>
              <a:spcBef>
                <a:spcPts val="0"/>
              </a:spcBef>
              <a:spcAft>
                <a:spcPts val="0"/>
              </a:spcAft>
              <a:buClr>
                <a:srgbClr val="000000"/>
              </a:buClr>
              <a:buSzPts val="1400"/>
              <a:buFont typeface="Arial"/>
              <a:buNone/>
              <a:tabLst/>
              <a:defRPr/>
            </a:pPr>
            <a:r>
              <a:rPr lang="en-IE" sz="1800" b="0">
                <a:effectLst/>
                <a:latin typeface="+mn-lt"/>
                <a:ea typeface="Calibri" panose="020F0502020204030204" pitchFamily="34" charset="0"/>
                <a:cs typeface="Calibri" panose="020F0502020204030204" pitchFamily="34" charset="0"/>
              </a:rPr>
              <a:t>Semantic standards support Discovery and Usage </a:t>
            </a:r>
            <a:r>
              <a:rPr lang="en-IE" sz="1800" b="0">
                <a:effectLst/>
                <a:latin typeface="+mn-lt"/>
                <a:ea typeface="Calibri" panose="020F0502020204030204" pitchFamily="34" charset="0"/>
                <a:cs typeface="Calibri" panose="020F0502020204030204" pitchFamily="34" charset="0"/>
                <a:sym typeface="Wingdings" panose="05000000000000000000" pitchFamily="2" charset="2"/>
              </a:rPr>
              <a:t> crucial aspects for use cases and value creation</a:t>
            </a:r>
            <a:endParaRPr lang="en-US" sz="1800" b="0">
              <a:effectLst/>
              <a:latin typeface="+mn-lt"/>
              <a:ea typeface="Calibri" panose="020F0502020204030204" pitchFamily="34" charset="0"/>
              <a:cs typeface="Calibri" panose="020F0502020204030204" pitchFamily="34" charset="0"/>
            </a:endParaRPr>
          </a:p>
          <a:p>
            <a:r>
              <a:rPr lang="en-IE" sz="1800">
                <a:effectLst/>
                <a:latin typeface="Aptos" panose="020B0004020202020204" pitchFamily="34" charset="0"/>
                <a:ea typeface="Aptos" panose="020B0004020202020204" pitchFamily="34" charset="0"/>
                <a:cs typeface="Times New Roman" panose="02020603050405020304" pitchFamily="18" charset="0"/>
              </a:rPr>
              <a:t>Ontologies and vocabularies as such can be very domain-specific and specialised, tailored to the unique requirements of each data space. </a:t>
            </a:r>
          </a:p>
          <a:p>
            <a:r>
              <a:rPr lang="en-IE" sz="1800">
                <a:effectLst/>
                <a:latin typeface="Aptos" panose="020B0004020202020204" pitchFamily="34" charset="0"/>
                <a:ea typeface="Aptos" panose="020B0004020202020204" pitchFamily="34" charset="0"/>
                <a:cs typeface="Times New Roman" panose="02020603050405020304" pitchFamily="18" charset="0"/>
              </a:rPr>
              <a:t>A similar logic applies to standards related to </a:t>
            </a:r>
            <a:r>
              <a:rPr lang="en-IE" sz="1800" b="1">
                <a:effectLst/>
                <a:latin typeface="Aptos" panose="020B0004020202020204" pitchFamily="34" charset="0"/>
                <a:ea typeface="Aptos" panose="020B0004020202020204" pitchFamily="34" charset="0"/>
                <a:cs typeface="Times New Roman" panose="02020603050405020304" pitchFamily="18" charset="0"/>
              </a:rPr>
              <a:t>data quality</a:t>
            </a:r>
            <a:r>
              <a:rPr lang="en-IE" sz="1800">
                <a:effectLst/>
                <a:latin typeface="Aptos" panose="020B0004020202020204" pitchFamily="34" charset="0"/>
                <a:ea typeface="Aptos" panose="020B0004020202020204" pitchFamily="34" charset="0"/>
                <a:cs typeface="Times New Roman" panose="02020603050405020304" pitchFamily="18" charset="0"/>
              </a:rPr>
              <a:t>, which are also closely related to the use cases that need to be supported by the data. </a:t>
            </a:r>
          </a:p>
          <a:p>
            <a:endParaRPr lang="en-IE" sz="1800">
              <a:effectLst/>
              <a:latin typeface="Aptos" panose="020B0004020202020204" pitchFamily="34" charset="0"/>
              <a:ea typeface="Aptos" panose="020B0004020202020204" pitchFamily="34" charset="0"/>
              <a:cs typeface="Times New Roman" panose="02020603050405020304" pitchFamily="18" charset="0"/>
            </a:endParaRPr>
          </a:p>
          <a:p>
            <a:r>
              <a:rPr lang="en-IE" sz="1800">
                <a:effectLst/>
                <a:latin typeface="Aptos" panose="020B0004020202020204" pitchFamily="34" charset="0"/>
                <a:ea typeface="Aptos" panose="020B0004020202020204" pitchFamily="34" charset="0"/>
                <a:cs typeface="Times New Roman" panose="02020603050405020304" pitchFamily="18" charset="0"/>
              </a:rPr>
              <a:t>INTEROPERABILITY</a:t>
            </a:r>
          </a:p>
          <a:p>
            <a:r>
              <a:rPr lang="en-IE" sz="1800">
                <a:effectLst/>
                <a:latin typeface="Aptos" panose="020B0004020202020204" pitchFamily="34" charset="0"/>
                <a:ea typeface="Aptos" panose="020B0004020202020204" pitchFamily="34" charset="0"/>
                <a:cs typeface="Times New Roman" panose="02020603050405020304" pitchFamily="18" charset="0"/>
              </a:rPr>
              <a:t>Semantic technologies, which help to formally describe the meaning and context of data, are generic and applicable across various domains. </a:t>
            </a:r>
          </a:p>
          <a:p>
            <a:pPr marL="457200" marR="0" lvl="0" indent="-228600" algn="l" defTabSz="914400" rtl="0" eaLnBrk="1" fontAlgn="auto" latinLnBrk="0" hangingPunct="1">
              <a:lnSpc>
                <a:spcPct val="100000"/>
              </a:lnSpc>
              <a:spcBef>
                <a:spcPts val="0"/>
              </a:spcBef>
              <a:spcAft>
                <a:spcPts val="0"/>
              </a:spcAft>
              <a:buClr>
                <a:srgbClr val="000000"/>
              </a:buClr>
              <a:buSzPts val="1400"/>
              <a:buFont typeface="Arial"/>
              <a:buNone/>
              <a:tabLst/>
              <a:defRPr/>
            </a:pPr>
            <a:r>
              <a:rPr lang="en-IE" sz="1800">
                <a:effectLst/>
                <a:latin typeface="Aptos" panose="020B0004020202020204" pitchFamily="34" charset="0"/>
                <a:ea typeface="Aptos" panose="020B0004020202020204" pitchFamily="34" charset="0"/>
                <a:cs typeface="Times New Roman" panose="02020603050405020304" pitchFamily="18" charset="0"/>
              </a:rPr>
              <a:t>Furthermore, semantic standards enable to establish connections across the different kinds of data that need to be combined.</a:t>
            </a:r>
          </a:p>
          <a:p>
            <a:r>
              <a:rPr lang="en-IE" sz="1800">
                <a:effectLst/>
                <a:latin typeface="Aptos" panose="020B0004020202020204" pitchFamily="34" charset="0"/>
                <a:ea typeface="Aptos" panose="020B0004020202020204" pitchFamily="34" charset="0"/>
                <a:cs typeface="Times New Roman" panose="02020603050405020304" pitchFamily="18" charset="0"/>
              </a:rPr>
              <a:t>Reference data plays a special role, since it enhances semantic interoperability as well as data quality.</a:t>
            </a:r>
            <a:endParaRPr lang="en-IE"/>
          </a:p>
        </p:txBody>
      </p:sp>
      <p:sp>
        <p:nvSpPr>
          <p:cNvPr id="4" name="Slide Number Placeholder 3"/>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GB" sz="1200" b="0" i="0" u="none" strike="noStrike" kern="0" cap="none" spc="0" normalizeH="0" baseline="0" noProof="0" smtClean="0">
                <a:ln>
                  <a:noFill/>
                </a:ln>
                <a:solidFill>
                  <a:srgbClr val="000000"/>
                </a:solidFill>
                <a:effectLst/>
                <a:uLnTx/>
                <a:uFillTx/>
                <a:latin typeface="Calibri"/>
                <a:ea typeface="Calibri"/>
                <a:cs typeface="Calibri"/>
                <a:sym typeface="Calibri"/>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12</a:t>
            </a:fld>
            <a:endParaRPr kumimoji="0" lang="en-GB" sz="1200" b="0" i="0" u="none" strike="noStrike" kern="0" cap="none" spc="0" normalizeH="0" baseline="0" noProof="0">
              <a:ln>
                <a:noFill/>
              </a:ln>
              <a:solidFill>
                <a:srgbClr val="000000"/>
              </a:solidFill>
              <a:effectLst/>
              <a:uLnTx/>
              <a:uFillTx/>
              <a:latin typeface="Calibri"/>
              <a:ea typeface="Calibri"/>
              <a:cs typeface="Calibri"/>
              <a:sym typeface="Calibri"/>
            </a:endParaRPr>
          </a:p>
        </p:txBody>
      </p:sp>
    </p:spTree>
    <p:extLst>
      <p:ext uri="{BB962C8B-B14F-4D97-AF65-F5344CB8AC3E}">
        <p14:creationId xmlns:p14="http://schemas.microsoft.com/office/powerpoint/2010/main" val="421652197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E"/>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5A18508-5986-41B4-8C7E-3B4DB41D3B79}" type="slidenum">
              <a:rPr kumimoji="0" lang="en-I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I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5418962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E"/>
          </a:p>
        </p:txBody>
      </p:sp>
      <p:sp>
        <p:nvSpPr>
          <p:cNvPr id="4" name="Slide Number Placeholder 3"/>
          <p:cNvSpPr>
            <a:spLocks noGrp="1"/>
          </p:cNvSpPr>
          <p:nvPr>
            <p:ph type="sldNum" sz="quarter" idx="5"/>
          </p:nvPr>
        </p:nvSpPr>
        <p:spPr/>
        <p:txBody>
          <a:bodyPr/>
          <a:lstStyle/>
          <a:p>
            <a:fld id="{3CFEB767-81C4-2B41-AC6B-7B72DAF6DCF5}" type="slidenum">
              <a:rPr lang="en-US" smtClean="0"/>
              <a:t>22</a:t>
            </a:fld>
            <a:endParaRPr lang="en-US"/>
          </a:p>
        </p:txBody>
      </p:sp>
    </p:spTree>
    <p:extLst>
      <p:ext uri="{BB962C8B-B14F-4D97-AF65-F5344CB8AC3E}">
        <p14:creationId xmlns:p14="http://schemas.microsoft.com/office/powerpoint/2010/main" val="177521400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0.jpeg"/><Relationship Id="rId1" Type="http://schemas.openxmlformats.org/officeDocument/2006/relationships/slideMaster" Target="../slideMasters/slideMaster4.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1.jpeg"/><Relationship Id="rId1" Type="http://schemas.openxmlformats.org/officeDocument/2006/relationships/slideMaster" Target="../slideMasters/slideMaster4.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4.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4.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0.jpeg"/><Relationship Id="rId1" Type="http://schemas.openxmlformats.org/officeDocument/2006/relationships/slideMaster" Target="../slideMasters/slideMaster5.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1.jpeg"/><Relationship Id="rId1" Type="http://schemas.openxmlformats.org/officeDocument/2006/relationships/slideMaster" Target="../slideMasters/slideMaster5.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5.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5.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6.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eg"/><Relationship Id="rId1" Type="http://schemas.openxmlformats.org/officeDocument/2006/relationships/slideMaster" Target="../slideMasters/slideMaster6.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6.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6.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6.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6.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6.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6.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6.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8.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21.png"/><Relationship Id="rId1" Type="http://schemas.openxmlformats.org/officeDocument/2006/relationships/slideMaster" Target="../slideMasters/slideMaster6.xml"/></Relationships>
</file>

<file path=ppt/slideLayouts/_rels/slideLayout89.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21.png"/><Relationship Id="rId1" Type="http://schemas.openxmlformats.org/officeDocument/2006/relationships/slideMaster" Target="../slideMasters/slideMaster6.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6.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6.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6.xml"/></Relationships>
</file>

<file path=ppt/slideLayouts/_rels/slideLayout98.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22.png"/><Relationship Id="rId1" Type="http://schemas.openxmlformats.org/officeDocument/2006/relationships/slideMaster" Target="../slideMasters/slideMaster6.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894161-0B77-AD32-5359-00F827B042AF}"/>
              </a:ext>
            </a:extLst>
          </p:cNvPr>
          <p:cNvSpPr>
            <a:spLocks noGrp="1"/>
          </p:cNvSpPr>
          <p:nvPr>
            <p:ph type="ctrTitle" hasCustomPrompt="1"/>
          </p:nvPr>
        </p:nvSpPr>
        <p:spPr>
          <a:xfrm>
            <a:off x="1761067" y="587159"/>
            <a:ext cx="6858000" cy="208492"/>
          </a:xfrm>
          <a:prstGeom prst="rect">
            <a:avLst/>
          </a:prstGeom>
        </p:spPr>
        <p:txBody>
          <a:bodyPr lIns="0" tIns="0" rIns="0" bIns="0" anchor="ctr" anchorCtr="0"/>
          <a:lstStyle>
            <a:lvl1pPr algn="l">
              <a:defRPr sz="1400" b="1">
                <a:solidFill>
                  <a:schemeClr val="bg1"/>
                </a:solidFill>
                <a:latin typeface="Calibri" panose="020F0502020204030204" pitchFamily="34" charset="0"/>
                <a:cs typeface="Calibri" panose="020F0502020204030204" pitchFamily="34" charset="0"/>
              </a:defRPr>
            </a:lvl1pPr>
          </a:lstStyle>
          <a:p>
            <a:r>
              <a:rPr lang="en-GB"/>
              <a:t>Click to edit Name</a:t>
            </a:r>
            <a:endParaRPr lang="en-LU"/>
          </a:p>
        </p:txBody>
      </p:sp>
      <p:sp>
        <p:nvSpPr>
          <p:cNvPr id="11" name="Text Placeholder 10">
            <a:extLst>
              <a:ext uri="{FF2B5EF4-FFF2-40B4-BE49-F238E27FC236}">
                <a16:creationId xmlns:a16="http://schemas.microsoft.com/office/drawing/2014/main" id="{12D3894A-10D7-ACCD-9EA4-7CCC43E5CD32}"/>
              </a:ext>
            </a:extLst>
          </p:cNvPr>
          <p:cNvSpPr>
            <a:spLocks noGrp="1"/>
          </p:cNvSpPr>
          <p:nvPr>
            <p:ph type="body" sz="quarter" idx="10" hasCustomPrompt="1"/>
          </p:nvPr>
        </p:nvSpPr>
        <p:spPr>
          <a:xfrm>
            <a:off x="1760538" y="859779"/>
            <a:ext cx="6858000" cy="208492"/>
          </a:xfrm>
          <a:prstGeom prst="rect">
            <a:avLst/>
          </a:prstGeom>
        </p:spPr>
        <p:txBody>
          <a:bodyPr lIns="0" tIns="0" rIns="0" bIns="0" anchor="ctr" anchorCtr="0"/>
          <a:lstStyle>
            <a:lvl1pPr marL="0" indent="0">
              <a:buNone/>
              <a:defRPr sz="1200">
                <a:solidFill>
                  <a:schemeClr val="bg1"/>
                </a:solidFill>
              </a:defRPr>
            </a:lvl1pPr>
            <a:lvl2pPr marL="457200" indent="0">
              <a:buNone/>
              <a:defRPr sz="1200"/>
            </a:lvl2pPr>
            <a:lvl3pPr marL="914400" indent="0">
              <a:buNone/>
              <a:defRPr sz="1200"/>
            </a:lvl3pPr>
            <a:lvl4pPr marL="1371600" indent="0">
              <a:buNone/>
              <a:defRPr sz="1200"/>
            </a:lvl4pPr>
            <a:lvl5pPr marL="1828800" indent="0">
              <a:buNone/>
              <a:defRPr sz="1200"/>
            </a:lvl5pPr>
          </a:lstStyle>
          <a:p>
            <a:pPr lvl="0"/>
            <a:r>
              <a:rPr lang="en-GB"/>
              <a:t>Click to edit info</a:t>
            </a:r>
            <a:endParaRPr lang="en-LU"/>
          </a:p>
        </p:txBody>
      </p:sp>
      <p:sp>
        <p:nvSpPr>
          <p:cNvPr id="13" name="Text Placeholder 12">
            <a:extLst>
              <a:ext uri="{FF2B5EF4-FFF2-40B4-BE49-F238E27FC236}">
                <a16:creationId xmlns:a16="http://schemas.microsoft.com/office/drawing/2014/main" id="{27E2FD9F-8318-6EAD-FA51-B6131C11A51C}"/>
              </a:ext>
            </a:extLst>
          </p:cNvPr>
          <p:cNvSpPr>
            <a:spLocks noGrp="1"/>
          </p:cNvSpPr>
          <p:nvPr>
            <p:ph type="body" sz="quarter" idx="11" hasCustomPrompt="1"/>
          </p:nvPr>
        </p:nvSpPr>
        <p:spPr>
          <a:xfrm>
            <a:off x="1760538" y="1343024"/>
            <a:ext cx="4697927" cy="1672025"/>
          </a:xfrm>
          <a:prstGeom prst="rect">
            <a:avLst/>
          </a:prstGeom>
        </p:spPr>
        <p:txBody>
          <a:bodyPr lIns="0" tIns="0" rIns="0" bIns="0"/>
          <a:lstStyle>
            <a:lvl1pPr marL="0" indent="0">
              <a:lnSpc>
                <a:spcPts val="4200"/>
              </a:lnSpc>
              <a:spcBef>
                <a:spcPts val="0"/>
              </a:spcBef>
              <a:buNone/>
              <a:defRPr sz="4000" b="1" i="0">
                <a:solidFill>
                  <a:schemeClr val="bg1"/>
                </a:solidFill>
                <a:latin typeface="Calibri" panose="020F0502020204030204" pitchFamily="34" charset="0"/>
                <a:cs typeface="Calibri" panose="020F050202020403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GB"/>
              <a:t>CLICK TO EDIT TITLE OF THE PRESENTATION</a:t>
            </a:r>
            <a:endParaRPr lang="en-LU"/>
          </a:p>
        </p:txBody>
      </p:sp>
      <p:sp>
        <p:nvSpPr>
          <p:cNvPr id="15" name="Text Placeholder 14">
            <a:extLst>
              <a:ext uri="{FF2B5EF4-FFF2-40B4-BE49-F238E27FC236}">
                <a16:creationId xmlns:a16="http://schemas.microsoft.com/office/drawing/2014/main" id="{A73ACA66-20AA-037B-99C3-2C5C7E35EA07}"/>
              </a:ext>
            </a:extLst>
          </p:cNvPr>
          <p:cNvSpPr>
            <a:spLocks noGrp="1"/>
          </p:cNvSpPr>
          <p:nvPr>
            <p:ph type="body" sz="quarter" idx="12" hasCustomPrompt="1"/>
          </p:nvPr>
        </p:nvSpPr>
        <p:spPr>
          <a:xfrm>
            <a:off x="1760538" y="3122614"/>
            <a:ext cx="6081712" cy="279614"/>
          </a:xfrm>
          <a:prstGeom prst="rect">
            <a:avLst/>
          </a:prstGeom>
        </p:spPr>
        <p:txBody>
          <a:bodyPr lIns="0" tIns="0" rIns="0" bIns="0"/>
          <a:lstStyle>
            <a:lvl1pPr marL="0" indent="0">
              <a:buNone/>
              <a:defRPr sz="1800">
                <a:solidFill>
                  <a:schemeClr val="bg1"/>
                </a:solidFill>
              </a:defRPr>
            </a:lvl1pPr>
            <a:lvl2pPr marL="457200" indent="0">
              <a:buNone/>
              <a:defRPr sz="1800">
                <a:solidFill>
                  <a:schemeClr val="bg1"/>
                </a:solidFill>
              </a:defRPr>
            </a:lvl2pPr>
            <a:lvl3pPr marL="914400" indent="0">
              <a:buNone/>
              <a:defRPr sz="1800">
                <a:solidFill>
                  <a:schemeClr val="bg1"/>
                </a:solidFill>
              </a:defRPr>
            </a:lvl3pPr>
            <a:lvl4pPr marL="1371600" indent="0">
              <a:buNone/>
              <a:defRPr sz="1800">
                <a:solidFill>
                  <a:schemeClr val="bg1"/>
                </a:solidFill>
              </a:defRPr>
            </a:lvl4pPr>
            <a:lvl5pPr marL="1828800" indent="0">
              <a:buNone/>
              <a:defRPr sz="1800">
                <a:solidFill>
                  <a:schemeClr val="bg1"/>
                </a:solidFill>
              </a:defRPr>
            </a:lvl5pPr>
          </a:lstStyle>
          <a:p>
            <a:pPr lvl="0"/>
            <a:r>
              <a:rPr lang="en-GB"/>
              <a:t>Click to edit subtitle</a:t>
            </a:r>
            <a:endParaRPr lang="en-LU"/>
          </a:p>
        </p:txBody>
      </p:sp>
    </p:spTree>
    <p:extLst>
      <p:ext uri="{BB962C8B-B14F-4D97-AF65-F5344CB8AC3E}">
        <p14:creationId xmlns:p14="http://schemas.microsoft.com/office/powerpoint/2010/main" val="228821020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5" name="Slide Number Placeholder 4"/>
          <p:cNvSpPr>
            <a:spLocks noGrp="1"/>
          </p:cNvSpPr>
          <p:nvPr>
            <p:ph type="sldNum" sz="quarter" idx="12"/>
          </p:nvPr>
        </p:nvSpPr>
        <p:spPr/>
        <p:txBody>
          <a:bodyPr/>
          <a:lstStyle/>
          <a:p>
            <a:fld id="{F46C79FD-C571-418B-AB0F-5EE936C85276}" type="slidenum">
              <a:rPr lang="en-GB" smtClean="0"/>
              <a:t>‹#›</a:t>
            </a:fld>
            <a:endParaRPr lang="en-GB"/>
          </a:p>
        </p:txBody>
      </p:sp>
      <p:cxnSp>
        <p:nvCxnSpPr>
          <p:cNvPr id="8" name="Straight Connector 7"/>
          <p:cNvCxnSpPr/>
          <p:nvPr userDrawn="1"/>
        </p:nvCxnSpPr>
        <p:spPr>
          <a:xfrm flipH="1">
            <a:off x="628650" y="0"/>
            <a:ext cx="1" cy="957268"/>
          </a:xfrm>
          <a:prstGeom prst="line">
            <a:avLst/>
          </a:prstGeom>
          <a:ln w="28575">
            <a:solidFill>
              <a:schemeClr val="accent5"/>
            </a:solidFill>
          </a:ln>
        </p:spPr>
        <p:style>
          <a:lnRef idx="1">
            <a:schemeClr val="accent1"/>
          </a:lnRef>
          <a:fillRef idx="0">
            <a:schemeClr val="accent1"/>
          </a:fillRef>
          <a:effectRef idx="0">
            <a:schemeClr val="accent1"/>
          </a:effectRef>
          <a:fontRef idx="minor">
            <a:schemeClr val="tx1"/>
          </a:fontRef>
        </p:style>
      </p:cxnSp>
      <p:sp>
        <p:nvSpPr>
          <p:cNvPr id="9" name="Title Placeholder 1"/>
          <p:cNvSpPr>
            <a:spLocks noGrp="1"/>
          </p:cNvSpPr>
          <p:nvPr>
            <p:ph type="title"/>
          </p:nvPr>
        </p:nvSpPr>
        <p:spPr>
          <a:xfrm>
            <a:off x="728042" y="362145"/>
            <a:ext cx="7886700" cy="586768"/>
          </a:xfrm>
          <a:prstGeom prst="rect">
            <a:avLst/>
          </a:prstGeom>
        </p:spPr>
        <p:txBody>
          <a:bodyPr vert="horz" lIns="91440" tIns="45720" rIns="91440" bIns="0" rtlCol="0" anchor="b" anchorCtr="0">
            <a:noAutofit/>
          </a:bodyPr>
          <a:lstStyle/>
          <a:p>
            <a:r>
              <a:rPr lang="en-US"/>
              <a:t>Click to edit Master title style</a:t>
            </a:r>
            <a:endParaRPr lang="en-GB"/>
          </a:p>
        </p:txBody>
      </p:sp>
    </p:spTree>
    <p:extLst>
      <p:ext uri="{BB962C8B-B14F-4D97-AF65-F5344CB8AC3E}">
        <p14:creationId xmlns:p14="http://schemas.microsoft.com/office/powerpoint/2010/main" val="280767364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628650" y="1369219"/>
            <a:ext cx="8179274" cy="2911428"/>
          </a:xfrm>
        </p:spPr>
        <p:txBody>
          <a:bodyPr>
            <a:noAutofit/>
          </a:bodyPr>
          <a:lstStyle>
            <a:lvl1pPr>
              <a:lnSpc>
                <a:spcPct val="100000"/>
              </a:lnSpc>
              <a:spcBef>
                <a:spcPts val="450"/>
              </a:spcBef>
              <a:spcAft>
                <a:spcPts val="450"/>
              </a:spcAft>
              <a:defRPr>
                <a:solidFill>
                  <a:schemeClr val="tx2"/>
                </a:solidFill>
              </a:defRPr>
            </a:lvl1pPr>
            <a:lvl2pPr>
              <a:lnSpc>
                <a:spcPct val="100000"/>
              </a:lnSpc>
              <a:spcBef>
                <a:spcPts val="150"/>
              </a:spcBef>
              <a:spcAft>
                <a:spcPts val="150"/>
              </a:spcAft>
              <a:defRPr>
                <a:solidFill>
                  <a:schemeClr val="tx2"/>
                </a:solidFill>
              </a:defRPr>
            </a:lvl2pPr>
            <a:lvl3pPr>
              <a:lnSpc>
                <a:spcPct val="100000"/>
              </a:lnSpc>
              <a:spcBef>
                <a:spcPts val="150"/>
              </a:spcBef>
              <a:spcAft>
                <a:spcPts val="150"/>
              </a:spcAft>
              <a:defRPr>
                <a:solidFill>
                  <a:schemeClr val="tx2"/>
                </a:solidFill>
              </a:defRPr>
            </a:lvl3pPr>
            <a:lvl4pPr>
              <a:lnSpc>
                <a:spcPct val="100000"/>
              </a:lnSpc>
              <a:spcBef>
                <a:spcPts val="150"/>
              </a:spcBef>
              <a:spcAft>
                <a:spcPts val="150"/>
              </a:spcAft>
              <a:defRPr>
                <a:solidFill>
                  <a:schemeClr val="tx2"/>
                </a:solidFill>
              </a:defRPr>
            </a:lvl4pPr>
            <a:lvl5pPr>
              <a:lnSpc>
                <a:spcPct val="100000"/>
              </a:lnSpc>
              <a:spcBef>
                <a:spcPts val="150"/>
              </a:spcBef>
              <a:spcAft>
                <a:spcPts val="150"/>
              </a:spcAft>
              <a:defRPr>
                <a:solidFill>
                  <a:schemeClr val="tx2"/>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Slide Number Placeholder 5"/>
          <p:cNvSpPr>
            <a:spLocks noGrp="1"/>
          </p:cNvSpPr>
          <p:nvPr>
            <p:ph type="sldNum" sz="quarter" idx="12"/>
          </p:nvPr>
        </p:nvSpPr>
        <p:spPr/>
        <p:txBody>
          <a:bodyPr>
            <a:noAutofit/>
          </a:bodyPr>
          <a:lstStyle/>
          <a:p>
            <a:fld id="{F46C79FD-C571-418B-AB0F-5EE936C85276}" type="slidenum">
              <a:rPr lang="en-GB" smtClean="0"/>
              <a:t>‹#›</a:t>
            </a:fld>
            <a:endParaRPr lang="en-GB"/>
          </a:p>
        </p:txBody>
      </p:sp>
      <p:cxnSp>
        <p:nvCxnSpPr>
          <p:cNvPr id="7" name="Straight Connector 6"/>
          <p:cNvCxnSpPr/>
          <p:nvPr userDrawn="1"/>
        </p:nvCxnSpPr>
        <p:spPr>
          <a:xfrm flipH="1">
            <a:off x="628650" y="0"/>
            <a:ext cx="1" cy="957268"/>
          </a:xfrm>
          <a:prstGeom prst="line">
            <a:avLst/>
          </a:prstGeom>
          <a:ln w="28575">
            <a:solidFill>
              <a:schemeClr val="accent5"/>
            </a:solidFill>
          </a:ln>
        </p:spPr>
        <p:style>
          <a:lnRef idx="1">
            <a:schemeClr val="accent1"/>
          </a:lnRef>
          <a:fillRef idx="0">
            <a:schemeClr val="accent1"/>
          </a:fillRef>
          <a:effectRef idx="0">
            <a:schemeClr val="accent1"/>
          </a:effectRef>
          <a:fontRef idx="minor">
            <a:schemeClr val="tx1"/>
          </a:fontRef>
        </p:style>
      </p:cxnSp>
      <p:sp>
        <p:nvSpPr>
          <p:cNvPr id="9" name="Title Placeholder 1"/>
          <p:cNvSpPr>
            <a:spLocks noGrp="1"/>
          </p:cNvSpPr>
          <p:nvPr>
            <p:ph type="title"/>
          </p:nvPr>
        </p:nvSpPr>
        <p:spPr>
          <a:xfrm>
            <a:off x="728042" y="362145"/>
            <a:ext cx="7886700" cy="586768"/>
          </a:xfrm>
          <a:prstGeom prst="rect">
            <a:avLst/>
          </a:prstGeom>
        </p:spPr>
        <p:txBody>
          <a:bodyPr vert="horz" lIns="91440" tIns="45720" rIns="91440" bIns="0" rtlCol="0" anchor="b" anchorCtr="0">
            <a:noAutofit/>
          </a:bodyPr>
          <a:lstStyle/>
          <a:p>
            <a:r>
              <a:rPr lang="en-US"/>
              <a:t>Click to edit Master title style</a:t>
            </a:r>
            <a:endParaRPr lang="en-GB"/>
          </a:p>
        </p:txBody>
      </p:sp>
    </p:spTree>
    <p:extLst>
      <p:ext uri="{BB962C8B-B14F-4D97-AF65-F5344CB8AC3E}">
        <p14:creationId xmlns:p14="http://schemas.microsoft.com/office/powerpoint/2010/main" val="127995129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5" name="Slide Number Placeholder 4"/>
          <p:cNvSpPr>
            <a:spLocks noGrp="1"/>
          </p:cNvSpPr>
          <p:nvPr>
            <p:ph type="sldNum" sz="quarter" idx="12"/>
          </p:nvPr>
        </p:nvSpPr>
        <p:spPr/>
        <p:txBody>
          <a:bodyPr/>
          <a:lstStyle/>
          <a:p>
            <a:fld id="{F46C79FD-C571-418B-AB0F-5EE936C85276}" type="slidenum">
              <a:rPr lang="en-GB" smtClean="0"/>
              <a:t>‹#›</a:t>
            </a:fld>
            <a:endParaRPr lang="en-GB"/>
          </a:p>
        </p:txBody>
      </p:sp>
      <p:cxnSp>
        <p:nvCxnSpPr>
          <p:cNvPr id="8" name="Straight Connector 7"/>
          <p:cNvCxnSpPr/>
          <p:nvPr userDrawn="1"/>
        </p:nvCxnSpPr>
        <p:spPr>
          <a:xfrm flipH="1">
            <a:off x="628650" y="0"/>
            <a:ext cx="1" cy="957268"/>
          </a:xfrm>
          <a:prstGeom prst="line">
            <a:avLst/>
          </a:prstGeom>
          <a:ln w="28575">
            <a:solidFill>
              <a:schemeClr val="accent5"/>
            </a:solidFill>
          </a:ln>
        </p:spPr>
        <p:style>
          <a:lnRef idx="1">
            <a:schemeClr val="accent1"/>
          </a:lnRef>
          <a:fillRef idx="0">
            <a:schemeClr val="accent1"/>
          </a:fillRef>
          <a:effectRef idx="0">
            <a:schemeClr val="accent1"/>
          </a:effectRef>
          <a:fontRef idx="minor">
            <a:schemeClr val="tx1"/>
          </a:fontRef>
        </p:style>
      </p:cxnSp>
      <p:sp>
        <p:nvSpPr>
          <p:cNvPr id="9" name="Title Placeholder 1"/>
          <p:cNvSpPr>
            <a:spLocks noGrp="1"/>
          </p:cNvSpPr>
          <p:nvPr>
            <p:ph type="title"/>
          </p:nvPr>
        </p:nvSpPr>
        <p:spPr>
          <a:xfrm>
            <a:off x="728042" y="362145"/>
            <a:ext cx="7886700" cy="586768"/>
          </a:xfrm>
          <a:prstGeom prst="rect">
            <a:avLst/>
          </a:prstGeom>
        </p:spPr>
        <p:txBody>
          <a:bodyPr vert="horz" lIns="91440" tIns="45720" rIns="91440" bIns="0" rtlCol="0" anchor="b" anchorCtr="0">
            <a:noAutofit/>
          </a:bodyPr>
          <a:lstStyle/>
          <a:p>
            <a:r>
              <a:rPr lang="en-US"/>
              <a:t>Click to edit Master title style</a:t>
            </a:r>
            <a:endParaRPr lang="en-GB"/>
          </a:p>
        </p:txBody>
      </p:sp>
    </p:spTree>
    <p:extLst>
      <p:ext uri="{BB962C8B-B14F-4D97-AF65-F5344CB8AC3E}">
        <p14:creationId xmlns:p14="http://schemas.microsoft.com/office/powerpoint/2010/main" val="185575035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sp>
        <p:nvSpPr>
          <p:cNvPr id="5" name="Slide Number Placeholder 4"/>
          <p:cNvSpPr>
            <a:spLocks noGrp="1"/>
          </p:cNvSpPr>
          <p:nvPr>
            <p:ph type="sldNum" sz="quarter" idx="12"/>
          </p:nvPr>
        </p:nvSpPr>
        <p:spPr/>
        <p:txBody>
          <a:bodyPr/>
          <a:lstStyle/>
          <a:p>
            <a:fld id="{F46C79FD-C571-418B-AB0F-5EE936C85276}" type="slidenum">
              <a:rPr lang="en-GB" smtClean="0"/>
              <a:t>‹#›</a:t>
            </a:fld>
            <a:endParaRPr lang="en-GB"/>
          </a:p>
        </p:txBody>
      </p:sp>
      <p:cxnSp>
        <p:nvCxnSpPr>
          <p:cNvPr id="8" name="Straight Connector 7"/>
          <p:cNvCxnSpPr/>
          <p:nvPr userDrawn="1"/>
        </p:nvCxnSpPr>
        <p:spPr>
          <a:xfrm flipH="1">
            <a:off x="628650" y="0"/>
            <a:ext cx="1" cy="957268"/>
          </a:xfrm>
          <a:prstGeom prst="line">
            <a:avLst/>
          </a:prstGeom>
          <a:ln w="28575">
            <a:solidFill>
              <a:schemeClr val="accent5"/>
            </a:solidFill>
          </a:ln>
        </p:spPr>
        <p:style>
          <a:lnRef idx="1">
            <a:schemeClr val="accent1"/>
          </a:lnRef>
          <a:fillRef idx="0">
            <a:schemeClr val="accent1"/>
          </a:fillRef>
          <a:effectRef idx="0">
            <a:schemeClr val="accent1"/>
          </a:effectRef>
          <a:fontRef idx="minor">
            <a:schemeClr val="tx1"/>
          </a:fontRef>
        </p:style>
      </p:cxnSp>
      <p:sp>
        <p:nvSpPr>
          <p:cNvPr id="9" name="Title Placeholder 1"/>
          <p:cNvSpPr>
            <a:spLocks noGrp="1"/>
          </p:cNvSpPr>
          <p:nvPr>
            <p:ph type="title"/>
          </p:nvPr>
        </p:nvSpPr>
        <p:spPr>
          <a:xfrm>
            <a:off x="728042" y="362145"/>
            <a:ext cx="7886700" cy="586768"/>
          </a:xfrm>
          <a:prstGeom prst="rect">
            <a:avLst/>
          </a:prstGeom>
        </p:spPr>
        <p:txBody>
          <a:bodyPr vert="horz" lIns="91440" tIns="45720" rIns="91440" bIns="0" rtlCol="0" anchor="b" anchorCtr="0">
            <a:noAutofit/>
          </a:bodyPr>
          <a:lstStyle/>
          <a:p>
            <a:r>
              <a:rPr lang="en-US"/>
              <a:t>Click to edit Master title style</a:t>
            </a:r>
            <a:endParaRPr lang="en-GB"/>
          </a:p>
        </p:txBody>
      </p:sp>
    </p:spTree>
    <p:extLst>
      <p:ext uri="{BB962C8B-B14F-4D97-AF65-F5344CB8AC3E}">
        <p14:creationId xmlns:p14="http://schemas.microsoft.com/office/powerpoint/2010/main" val="400774548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obj">
  <p:cSld name="Tytuł i zawartość">
    <p:spTree>
      <p:nvGrpSpPr>
        <p:cNvPr id="1" name=""/>
        <p:cNvGrpSpPr/>
        <p:nvPr/>
      </p:nvGrpSpPr>
      <p:grpSpPr>
        <a:xfrm>
          <a:off x="0" y="0"/>
          <a:ext cx="0" cy="0"/>
          <a:chOff x="0" y="0"/>
          <a:chExt cx="0" cy="0"/>
        </a:xfrm>
      </p:grpSpPr>
      <p:sp>
        <p:nvSpPr>
          <p:cNvPr id="2" name="Tytuł 1"/>
          <p:cNvSpPr>
            <a:spLocks noGrp="1"/>
          </p:cNvSpPr>
          <p:nvPr>
            <p:ph type="title"/>
          </p:nvPr>
        </p:nvSpPr>
        <p:spPr/>
        <p:txBody>
          <a:bodyPr/>
          <a:lstStyle/>
          <a:p>
            <a:r>
              <a:rPr lang="pl-PL"/>
              <a:t>Kliknij, aby edytować styl</a:t>
            </a:r>
          </a:p>
        </p:txBody>
      </p:sp>
      <p:sp>
        <p:nvSpPr>
          <p:cNvPr id="3" name="Symbol zastępczy zawartości 2"/>
          <p:cNvSpPr>
            <a:spLocks noGrp="1"/>
          </p:cNvSpPr>
          <p:nvPr>
            <p:ph idx="1"/>
          </p:nvPr>
        </p:nvSpPr>
        <p:spPr/>
        <p:txBody>
          <a:bodyPr/>
          <a:lstStyle/>
          <a:p>
            <a:pPr lvl="0"/>
            <a:r>
              <a:rPr lang="pl-PL"/>
              <a:t>Edytuj style wzorca tekstu</a:t>
            </a:r>
          </a:p>
          <a:p>
            <a:pPr lvl="1"/>
            <a:r>
              <a:rPr lang="pl-PL"/>
              <a:t>Drugi poziom</a:t>
            </a:r>
          </a:p>
          <a:p>
            <a:pPr lvl="2"/>
            <a:r>
              <a:rPr lang="pl-PL"/>
              <a:t>Trzeci poziom</a:t>
            </a:r>
          </a:p>
          <a:p>
            <a:pPr lvl="3"/>
            <a:r>
              <a:rPr lang="pl-PL"/>
              <a:t>Czwarty poziom</a:t>
            </a:r>
          </a:p>
          <a:p>
            <a:pPr lvl="4"/>
            <a:r>
              <a:rPr lang="pl-PL"/>
              <a:t>Piąty poziom</a:t>
            </a:r>
          </a:p>
        </p:txBody>
      </p:sp>
      <p:sp>
        <p:nvSpPr>
          <p:cNvPr id="4" name="Symbol zastępczy daty 3"/>
          <p:cNvSpPr>
            <a:spLocks noGrp="1"/>
          </p:cNvSpPr>
          <p:nvPr>
            <p:ph type="dt" sz="half" idx="10"/>
          </p:nvPr>
        </p:nvSpPr>
        <p:spPr/>
        <p:txBody>
          <a:bodyPr/>
          <a:lstStyle/>
          <a:p>
            <a:fld id="{9D0BD731-AE43-404F-8242-031AC204A955}" type="datetimeFigureOut">
              <a:rPr lang="pl-PL" smtClean="0"/>
              <a:t>08.04.2025</a:t>
            </a:fld>
            <a:endParaRPr lang="pl-PL"/>
          </a:p>
        </p:txBody>
      </p:sp>
      <p:sp>
        <p:nvSpPr>
          <p:cNvPr id="5" name="Symbol zastępczy stopki 4"/>
          <p:cNvSpPr>
            <a:spLocks noGrp="1"/>
          </p:cNvSpPr>
          <p:nvPr>
            <p:ph type="ftr" sz="quarter" idx="11"/>
          </p:nvPr>
        </p:nvSpPr>
        <p:spPr/>
        <p:txBody>
          <a:bodyPr/>
          <a:lstStyle/>
          <a:p>
            <a:endParaRPr lang="pl-PL"/>
          </a:p>
        </p:txBody>
      </p:sp>
      <p:sp>
        <p:nvSpPr>
          <p:cNvPr id="6" name="Symbol zastępczy numeru slajdu 5"/>
          <p:cNvSpPr>
            <a:spLocks noGrp="1"/>
          </p:cNvSpPr>
          <p:nvPr>
            <p:ph type="sldNum" sz="quarter" idx="12"/>
          </p:nvPr>
        </p:nvSpPr>
        <p:spPr/>
        <p:txBody>
          <a:bodyPr/>
          <a:lstStyle/>
          <a:p>
            <a:fld id="{85E78882-85AD-4FEA-ADDC-EA03F154FB0C}" type="slidenum">
              <a:rPr lang="pl-PL" smtClean="0"/>
              <a:t>‹#›</a:t>
            </a:fld>
            <a:endParaRPr lang="pl-PL"/>
          </a:p>
        </p:txBody>
      </p:sp>
    </p:spTree>
    <p:extLst>
      <p:ext uri="{BB962C8B-B14F-4D97-AF65-F5344CB8AC3E}">
        <p14:creationId xmlns:p14="http://schemas.microsoft.com/office/powerpoint/2010/main" val="11650003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2459A0-D610-2D91-4597-D3930D0BD902}"/>
              </a:ext>
            </a:extLst>
          </p:cNvPr>
          <p:cNvSpPr>
            <a:spLocks noGrp="1"/>
          </p:cNvSpPr>
          <p:nvPr>
            <p:ph type="title" hasCustomPrompt="1"/>
          </p:nvPr>
        </p:nvSpPr>
        <p:spPr>
          <a:xfrm>
            <a:off x="1868514" y="1297526"/>
            <a:ext cx="3106442" cy="686257"/>
          </a:xfrm>
          <a:prstGeom prst="rect">
            <a:avLst/>
          </a:prstGeom>
        </p:spPr>
        <p:txBody>
          <a:bodyPr/>
          <a:lstStyle>
            <a:lvl1pPr>
              <a:defRPr b="1">
                <a:solidFill>
                  <a:srgbClr val="F15A24"/>
                </a:solidFill>
              </a:defRPr>
            </a:lvl1pPr>
          </a:lstStyle>
          <a:p>
            <a:r>
              <a:rPr lang="en-GB"/>
              <a:t>Thanks!</a:t>
            </a:r>
            <a:endParaRPr lang="en-LU"/>
          </a:p>
        </p:txBody>
      </p:sp>
      <p:sp>
        <p:nvSpPr>
          <p:cNvPr id="4" name="Text Placeholder 3">
            <a:extLst>
              <a:ext uri="{FF2B5EF4-FFF2-40B4-BE49-F238E27FC236}">
                <a16:creationId xmlns:a16="http://schemas.microsoft.com/office/drawing/2014/main" id="{D2547130-F8CE-01F1-72F6-1ECB5F9FA71F}"/>
              </a:ext>
            </a:extLst>
          </p:cNvPr>
          <p:cNvSpPr>
            <a:spLocks noGrp="1"/>
          </p:cNvSpPr>
          <p:nvPr>
            <p:ph type="body" sz="quarter" idx="10" hasCustomPrompt="1"/>
          </p:nvPr>
        </p:nvSpPr>
        <p:spPr>
          <a:xfrm>
            <a:off x="1868488" y="2092271"/>
            <a:ext cx="6624584" cy="898902"/>
          </a:xfrm>
          <a:prstGeom prst="rect">
            <a:avLst/>
          </a:prstGeom>
        </p:spPr>
        <p:txBody>
          <a:bodyPr/>
          <a:lstStyle>
            <a:lvl1pPr marL="0" indent="0">
              <a:buNone/>
              <a:defRPr sz="2400">
                <a:solidFill>
                  <a:schemeClr val="tx1">
                    <a:lumMod val="65000"/>
                    <a:lumOff val="35000"/>
                  </a:schemeClr>
                </a:solidFill>
              </a:defRPr>
            </a:lvl1pPr>
            <a:lvl2pPr marL="457200" indent="0">
              <a:buNone/>
              <a:defRPr sz="2400">
                <a:solidFill>
                  <a:schemeClr val="tx1">
                    <a:lumMod val="65000"/>
                    <a:lumOff val="35000"/>
                  </a:schemeClr>
                </a:solidFill>
              </a:defRPr>
            </a:lvl2pPr>
            <a:lvl3pPr marL="914400" indent="0">
              <a:buNone/>
              <a:defRPr sz="2400">
                <a:solidFill>
                  <a:schemeClr val="tx1">
                    <a:lumMod val="65000"/>
                    <a:lumOff val="35000"/>
                  </a:schemeClr>
                </a:solidFill>
              </a:defRPr>
            </a:lvl3pPr>
            <a:lvl4pPr marL="1371600" indent="0">
              <a:buNone/>
              <a:defRPr sz="2400">
                <a:solidFill>
                  <a:schemeClr val="tx1">
                    <a:lumMod val="65000"/>
                    <a:lumOff val="35000"/>
                  </a:schemeClr>
                </a:solidFill>
              </a:defRPr>
            </a:lvl4pPr>
            <a:lvl5pPr marL="1828800" indent="0">
              <a:buNone/>
              <a:defRPr sz="2400">
                <a:solidFill>
                  <a:schemeClr val="tx1">
                    <a:lumMod val="65000"/>
                    <a:lumOff val="35000"/>
                  </a:schemeClr>
                </a:solidFill>
              </a:defRPr>
            </a:lvl5pPr>
          </a:lstStyle>
          <a:p>
            <a:pPr lvl="0"/>
            <a:r>
              <a:rPr lang="en-GB"/>
              <a:t>Click to add info</a:t>
            </a:r>
            <a:endParaRPr lang="en-LU"/>
          </a:p>
        </p:txBody>
      </p:sp>
    </p:spTree>
    <p:extLst>
      <p:ext uri="{BB962C8B-B14F-4D97-AF65-F5344CB8AC3E}">
        <p14:creationId xmlns:p14="http://schemas.microsoft.com/office/powerpoint/2010/main" val="19086307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noAutofit/>
          </a:bodyPr>
          <a:lstStyle/>
          <a:p>
            <a:fld id="{F46C79FD-C571-418B-AB0F-5EE936C85276}" type="slidenum">
              <a:rPr lang="en-GB" smtClean="0"/>
              <a:t>‹#›</a:t>
            </a:fld>
            <a:endParaRPr lang="en-GB"/>
          </a:p>
        </p:txBody>
      </p:sp>
      <p:sp>
        <p:nvSpPr>
          <p:cNvPr id="2" name="Rectangle 1"/>
          <p:cNvSpPr/>
          <p:nvPr userDrawn="1"/>
        </p:nvSpPr>
        <p:spPr>
          <a:xfrm>
            <a:off x="0" y="0"/>
            <a:ext cx="9144000" cy="80863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sz="1350"/>
          </a:p>
        </p:txBody>
      </p:sp>
      <p:sp>
        <p:nvSpPr>
          <p:cNvPr id="5" name="Rectangle 4"/>
          <p:cNvSpPr/>
          <p:nvPr userDrawn="1"/>
        </p:nvSpPr>
        <p:spPr>
          <a:xfrm>
            <a:off x="0" y="808630"/>
            <a:ext cx="9144000" cy="4334870"/>
          </a:xfrm>
          <a:prstGeom prst="rect">
            <a:avLst/>
          </a:prstGeom>
          <a:solidFill>
            <a:srgbClr val="0356B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sz="1350">
              <a:solidFill>
                <a:schemeClr val="accent4"/>
              </a:solidFill>
            </a:endParaRPr>
          </a:p>
        </p:txBody>
      </p:sp>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041700" y="193532"/>
            <a:ext cx="1244845" cy="864345"/>
          </a:xfrm>
          <a:prstGeom prst="rect">
            <a:avLst/>
          </a:prstGeom>
        </p:spPr>
      </p:pic>
      <p:sp>
        <p:nvSpPr>
          <p:cNvPr id="6" name="Title 1"/>
          <p:cNvSpPr>
            <a:spLocks noGrp="1"/>
          </p:cNvSpPr>
          <p:nvPr>
            <p:ph type="ctrTitle"/>
          </p:nvPr>
        </p:nvSpPr>
        <p:spPr>
          <a:xfrm>
            <a:off x="803513" y="1494430"/>
            <a:ext cx="7548918" cy="1612142"/>
          </a:xfrm>
        </p:spPr>
        <p:txBody>
          <a:bodyPr wrap="none" anchor="t">
            <a:noAutofit/>
          </a:bodyPr>
          <a:lstStyle>
            <a:lvl1pPr algn="l">
              <a:defRPr sz="4500" b="0">
                <a:solidFill>
                  <a:schemeClr val="bg1"/>
                </a:solidFill>
              </a:defRPr>
            </a:lvl1pPr>
          </a:lstStyle>
          <a:p>
            <a:r>
              <a:rPr lang="en-US"/>
              <a:t>Click to edit Master title style</a:t>
            </a:r>
            <a:endParaRPr lang="en-GB"/>
          </a:p>
        </p:txBody>
      </p:sp>
      <p:cxnSp>
        <p:nvCxnSpPr>
          <p:cNvPr id="7" name="Straight Connector 6"/>
          <p:cNvCxnSpPr/>
          <p:nvPr userDrawn="1"/>
        </p:nvCxnSpPr>
        <p:spPr>
          <a:xfrm>
            <a:off x="628650" y="1484194"/>
            <a:ext cx="0" cy="3659306"/>
          </a:xfrm>
          <a:prstGeom prst="line">
            <a:avLst/>
          </a:prstGeom>
          <a:ln w="28575">
            <a:solidFill>
              <a:schemeClr val="accent5"/>
            </a:solidFill>
          </a:ln>
        </p:spPr>
        <p:style>
          <a:lnRef idx="1">
            <a:schemeClr val="accent1"/>
          </a:lnRef>
          <a:fillRef idx="0">
            <a:schemeClr val="accent1"/>
          </a:fillRef>
          <a:effectRef idx="0">
            <a:schemeClr val="accent1"/>
          </a:effectRef>
          <a:fontRef idx="minor">
            <a:schemeClr val="tx1"/>
          </a:fontRef>
        </p:style>
      </p:cxnSp>
      <p:sp>
        <p:nvSpPr>
          <p:cNvPr id="11" name="Rectangle 10"/>
          <p:cNvSpPr/>
          <p:nvPr userDrawn="1"/>
        </p:nvSpPr>
        <p:spPr>
          <a:xfrm>
            <a:off x="4305869" y="4964373"/>
            <a:ext cx="530557" cy="180446"/>
          </a:xfrm>
          <a:prstGeom prst="rect">
            <a:avLst/>
          </a:prstGeom>
          <a:solidFill>
            <a:srgbClr val="00449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sz="1350"/>
          </a:p>
        </p:txBody>
      </p:sp>
      <p:sp>
        <p:nvSpPr>
          <p:cNvPr id="17" name="Subtitle 2"/>
          <p:cNvSpPr>
            <a:spLocks noGrp="1"/>
          </p:cNvSpPr>
          <p:nvPr>
            <p:ph type="subTitle" idx="1"/>
          </p:nvPr>
        </p:nvSpPr>
        <p:spPr>
          <a:xfrm>
            <a:off x="803513" y="3313537"/>
            <a:ext cx="7548918" cy="673316"/>
          </a:xfrm>
        </p:spPr>
        <p:txBody>
          <a:bodyPr>
            <a:noAutofit/>
          </a:bodyPr>
          <a:lstStyle>
            <a:lvl1pPr marL="0" indent="0" algn="l">
              <a:buNone/>
              <a:defRPr sz="2100" i="0">
                <a:solidFill>
                  <a:schemeClr val="accent5"/>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endParaRPr lang="en-GB"/>
          </a:p>
        </p:txBody>
      </p:sp>
      <p:sp>
        <p:nvSpPr>
          <p:cNvPr id="19" name="Text Placeholder 18"/>
          <p:cNvSpPr>
            <a:spLocks noGrp="1"/>
          </p:cNvSpPr>
          <p:nvPr>
            <p:ph type="body" sz="quarter" idx="13"/>
          </p:nvPr>
        </p:nvSpPr>
        <p:spPr>
          <a:xfrm>
            <a:off x="4572000" y="4168427"/>
            <a:ext cx="3780235" cy="396749"/>
          </a:xfrm>
        </p:spPr>
        <p:txBody>
          <a:bodyPr>
            <a:noAutofit/>
          </a:bodyPr>
          <a:lstStyle>
            <a:lvl1pPr marL="0" indent="0" algn="r">
              <a:buFontTx/>
              <a:buNone/>
              <a:defRPr sz="1650" i="1">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1250279873"/>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pic>
        <p:nvPicPr>
          <p:cNvPr id="8" name="Picture 7"/>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1387716"/>
            <a:ext cx="9144000" cy="3763759"/>
          </a:xfrm>
          <a:prstGeom prst="rect">
            <a:avLst/>
          </a:prstGeom>
        </p:spPr>
      </p:pic>
      <p:sp>
        <p:nvSpPr>
          <p:cNvPr id="4" name="Slide Number Placeholder 3"/>
          <p:cNvSpPr>
            <a:spLocks noGrp="1"/>
          </p:cNvSpPr>
          <p:nvPr>
            <p:ph type="sldNum" sz="quarter" idx="12"/>
          </p:nvPr>
        </p:nvSpPr>
        <p:spPr/>
        <p:txBody>
          <a:bodyPr>
            <a:noAutofit/>
          </a:bodyPr>
          <a:lstStyle/>
          <a:p>
            <a:fld id="{F46C79FD-C571-418B-AB0F-5EE936C85276}" type="slidenum">
              <a:rPr lang="en-GB" smtClean="0"/>
              <a:t>‹#›</a:t>
            </a:fld>
            <a:endParaRPr lang="en-GB"/>
          </a:p>
        </p:txBody>
      </p:sp>
      <p:sp>
        <p:nvSpPr>
          <p:cNvPr id="2" name="Rectangle 1"/>
          <p:cNvSpPr/>
          <p:nvPr userDrawn="1"/>
        </p:nvSpPr>
        <p:spPr>
          <a:xfrm>
            <a:off x="0" y="0"/>
            <a:ext cx="9144000" cy="80863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sz="1350"/>
          </a:p>
        </p:txBody>
      </p:sp>
      <p:sp>
        <p:nvSpPr>
          <p:cNvPr id="5" name="Rectangle 4"/>
          <p:cNvSpPr/>
          <p:nvPr userDrawn="1"/>
        </p:nvSpPr>
        <p:spPr>
          <a:xfrm>
            <a:off x="0" y="808631"/>
            <a:ext cx="9144000" cy="2168100"/>
          </a:xfrm>
          <a:prstGeom prst="rect">
            <a:avLst/>
          </a:prstGeom>
          <a:solidFill>
            <a:srgbClr val="0356B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sz="1350">
              <a:solidFill>
                <a:schemeClr val="accent4"/>
              </a:solidFill>
            </a:endParaRPr>
          </a:p>
        </p:txBody>
      </p:sp>
      <p:pic>
        <p:nvPicPr>
          <p:cNvPr id="3" name="Picture 2"/>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041700" y="193532"/>
            <a:ext cx="1244845" cy="864345"/>
          </a:xfrm>
          <a:prstGeom prst="rect">
            <a:avLst/>
          </a:prstGeom>
        </p:spPr>
      </p:pic>
      <p:sp>
        <p:nvSpPr>
          <p:cNvPr id="6" name="Title 1"/>
          <p:cNvSpPr>
            <a:spLocks noGrp="1"/>
          </p:cNvSpPr>
          <p:nvPr>
            <p:ph type="ctrTitle"/>
          </p:nvPr>
        </p:nvSpPr>
        <p:spPr>
          <a:xfrm>
            <a:off x="803513" y="1494430"/>
            <a:ext cx="7548918" cy="654485"/>
          </a:xfrm>
        </p:spPr>
        <p:txBody>
          <a:bodyPr anchor="t">
            <a:normAutofit/>
          </a:bodyPr>
          <a:lstStyle>
            <a:lvl1pPr algn="l">
              <a:defRPr sz="4500" b="0">
                <a:solidFill>
                  <a:schemeClr val="bg1"/>
                </a:solidFill>
              </a:defRPr>
            </a:lvl1pPr>
          </a:lstStyle>
          <a:p>
            <a:r>
              <a:rPr lang="en-US"/>
              <a:t>Click to edit Master title style</a:t>
            </a:r>
            <a:endParaRPr lang="en-GB"/>
          </a:p>
        </p:txBody>
      </p:sp>
      <p:cxnSp>
        <p:nvCxnSpPr>
          <p:cNvPr id="7" name="Straight Connector 6"/>
          <p:cNvCxnSpPr/>
          <p:nvPr userDrawn="1"/>
        </p:nvCxnSpPr>
        <p:spPr>
          <a:xfrm>
            <a:off x="628650" y="1484194"/>
            <a:ext cx="0" cy="3659306"/>
          </a:xfrm>
          <a:prstGeom prst="line">
            <a:avLst/>
          </a:prstGeom>
          <a:ln w="28575">
            <a:solidFill>
              <a:schemeClr val="accent5"/>
            </a:solidFill>
          </a:ln>
        </p:spPr>
        <p:style>
          <a:lnRef idx="1">
            <a:schemeClr val="accent1"/>
          </a:lnRef>
          <a:fillRef idx="0">
            <a:schemeClr val="accent1"/>
          </a:fillRef>
          <a:effectRef idx="0">
            <a:schemeClr val="accent1"/>
          </a:effectRef>
          <a:fontRef idx="minor">
            <a:schemeClr val="tx1"/>
          </a:fontRef>
        </p:style>
      </p:cxnSp>
      <p:sp>
        <p:nvSpPr>
          <p:cNvPr id="11" name="Rectangle 10"/>
          <p:cNvSpPr/>
          <p:nvPr userDrawn="1"/>
        </p:nvSpPr>
        <p:spPr>
          <a:xfrm>
            <a:off x="4305869" y="4964373"/>
            <a:ext cx="530557" cy="180446"/>
          </a:xfrm>
          <a:prstGeom prst="rect">
            <a:avLst/>
          </a:prstGeom>
          <a:solidFill>
            <a:srgbClr val="00449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sz="1350"/>
          </a:p>
        </p:txBody>
      </p:sp>
      <p:sp>
        <p:nvSpPr>
          <p:cNvPr id="17" name="Subtitle 2"/>
          <p:cNvSpPr>
            <a:spLocks noGrp="1"/>
          </p:cNvSpPr>
          <p:nvPr>
            <p:ph type="subTitle" idx="1"/>
          </p:nvPr>
        </p:nvSpPr>
        <p:spPr>
          <a:xfrm>
            <a:off x="803513" y="2300601"/>
            <a:ext cx="7548918" cy="673316"/>
          </a:xfrm>
        </p:spPr>
        <p:txBody>
          <a:bodyPr>
            <a:noAutofit/>
          </a:bodyPr>
          <a:lstStyle>
            <a:lvl1pPr marL="0" indent="0" algn="l">
              <a:buNone/>
              <a:defRPr sz="2100" i="0">
                <a:solidFill>
                  <a:schemeClr val="accent5"/>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endParaRPr lang="en-GB"/>
          </a:p>
        </p:txBody>
      </p:sp>
      <p:sp>
        <p:nvSpPr>
          <p:cNvPr id="19" name="Text Placeholder 18"/>
          <p:cNvSpPr>
            <a:spLocks noGrp="1"/>
          </p:cNvSpPr>
          <p:nvPr>
            <p:ph type="body" sz="quarter" idx="13"/>
          </p:nvPr>
        </p:nvSpPr>
        <p:spPr>
          <a:xfrm>
            <a:off x="4572000" y="4337651"/>
            <a:ext cx="3780235" cy="396749"/>
          </a:xfrm>
        </p:spPr>
        <p:txBody>
          <a:bodyPr anchor="b" anchorCtr="0">
            <a:noAutofit/>
          </a:bodyPr>
          <a:lstStyle>
            <a:lvl1pPr marL="0" indent="0" algn="r">
              <a:buFontTx/>
              <a:buNone/>
              <a:defRPr sz="1650" i="1">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3415713917"/>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601664"/>
            <a:ext cx="9144000" cy="4544396"/>
          </a:xfrm>
          <a:prstGeom prst="rect">
            <a:avLst/>
          </a:prstGeom>
        </p:spPr>
      </p:pic>
      <p:sp>
        <p:nvSpPr>
          <p:cNvPr id="14" name="Rectangle 13"/>
          <p:cNvSpPr/>
          <p:nvPr userDrawn="1"/>
        </p:nvSpPr>
        <p:spPr>
          <a:xfrm>
            <a:off x="3967" y="808630"/>
            <a:ext cx="9148010" cy="4337429"/>
          </a:xfrm>
          <a:prstGeom prst="rect">
            <a:avLst/>
          </a:prstGeom>
          <a:solidFill>
            <a:srgbClr val="024EA2">
              <a:alpha val="7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sz="1350">
              <a:solidFill>
                <a:schemeClr val="accent4"/>
              </a:solidFill>
            </a:endParaRPr>
          </a:p>
        </p:txBody>
      </p:sp>
      <p:sp>
        <p:nvSpPr>
          <p:cNvPr id="2" name="Rectangle 1"/>
          <p:cNvSpPr/>
          <p:nvPr userDrawn="1"/>
        </p:nvSpPr>
        <p:spPr>
          <a:xfrm>
            <a:off x="0" y="0"/>
            <a:ext cx="9144000" cy="80863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sz="1350"/>
          </a:p>
        </p:txBody>
      </p:sp>
      <p:sp>
        <p:nvSpPr>
          <p:cNvPr id="6" name="Title 1"/>
          <p:cNvSpPr>
            <a:spLocks noGrp="1"/>
          </p:cNvSpPr>
          <p:nvPr>
            <p:ph type="ctrTitle"/>
          </p:nvPr>
        </p:nvSpPr>
        <p:spPr>
          <a:xfrm>
            <a:off x="803513" y="1494430"/>
            <a:ext cx="7548918" cy="1612142"/>
          </a:xfrm>
        </p:spPr>
        <p:txBody>
          <a:bodyPr wrap="none" anchor="t">
            <a:noAutofit/>
          </a:bodyPr>
          <a:lstStyle>
            <a:lvl1pPr algn="l">
              <a:defRPr sz="4500" b="0">
                <a:solidFill>
                  <a:schemeClr val="bg1"/>
                </a:solidFill>
              </a:defRPr>
            </a:lvl1pPr>
          </a:lstStyle>
          <a:p>
            <a:r>
              <a:rPr lang="en-US"/>
              <a:t>Click to edit Master title style</a:t>
            </a:r>
            <a:endParaRPr lang="en-GB"/>
          </a:p>
        </p:txBody>
      </p:sp>
      <p:cxnSp>
        <p:nvCxnSpPr>
          <p:cNvPr id="7" name="Straight Connector 6"/>
          <p:cNvCxnSpPr/>
          <p:nvPr userDrawn="1"/>
        </p:nvCxnSpPr>
        <p:spPr>
          <a:xfrm>
            <a:off x="628650" y="1484194"/>
            <a:ext cx="0" cy="3659306"/>
          </a:xfrm>
          <a:prstGeom prst="line">
            <a:avLst/>
          </a:prstGeom>
          <a:ln w="28575">
            <a:solidFill>
              <a:schemeClr val="accent5"/>
            </a:solidFill>
          </a:ln>
        </p:spPr>
        <p:style>
          <a:lnRef idx="1">
            <a:schemeClr val="accent1"/>
          </a:lnRef>
          <a:fillRef idx="0">
            <a:schemeClr val="accent1"/>
          </a:fillRef>
          <a:effectRef idx="0">
            <a:schemeClr val="accent1"/>
          </a:effectRef>
          <a:fontRef idx="minor">
            <a:schemeClr val="tx1"/>
          </a:fontRef>
        </p:style>
      </p:cxnSp>
      <p:sp>
        <p:nvSpPr>
          <p:cNvPr id="11" name="Rectangle 10"/>
          <p:cNvSpPr/>
          <p:nvPr userDrawn="1"/>
        </p:nvSpPr>
        <p:spPr>
          <a:xfrm>
            <a:off x="4305869" y="4964373"/>
            <a:ext cx="530557" cy="180446"/>
          </a:xfrm>
          <a:prstGeom prst="rect">
            <a:avLst/>
          </a:prstGeom>
          <a:solidFill>
            <a:srgbClr val="00449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sz="1350"/>
          </a:p>
        </p:txBody>
      </p:sp>
      <p:sp>
        <p:nvSpPr>
          <p:cNvPr id="12" name="Subtitle 2"/>
          <p:cNvSpPr>
            <a:spLocks noGrp="1"/>
          </p:cNvSpPr>
          <p:nvPr>
            <p:ph type="subTitle" idx="1"/>
          </p:nvPr>
        </p:nvSpPr>
        <p:spPr>
          <a:xfrm>
            <a:off x="803513" y="3313537"/>
            <a:ext cx="7548918" cy="673316"/>
          </a:xfrm>
        </p:spPr>
        <p:txBody>
          <a:bodyPr wrap="none">
            <a:noAutofit/>
          </a:bodyPr>
          <a:lstStyle>
            <a:lvl1pPr marL="0" indent="0" algn="l">
              <a:buNone/>
              <a:defRPr sz="2100" i="0">
                <a:solidFill>
                  <a:schemeClr val="accent5"/>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endParaRPr lang="en-GB"/>
          </a:p>
        </p:txBody>
      </p:sp>
      <p:pic>
        <p:nvPicPr>
          <p:cNvPr id="3" name="Picture 2"/>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041700" y="193532"/>
            <a:ext cx="1244845" cy="864345"/>
          </a:xfrm>
          <a:prstGeom prst="rect">
            <a:avLst/>
          </a:prstGeom>
        </p:spPr>
      </p:pic>
      <p:sp>
        <p:nvSpPr>
          <p:cNvPr id="16" name="Text Placeholder 18"/>
          <p:cNvSpPr>
            <a:spLocks noGrp="1"/>
          </p:cNvSpPr>
          <p:nvPr>
            <p:ph type="body" sz="quarter" idx="13"/>
          </p:nvPr>
        </p:nvSpPr>
        <p:spPr>
          <a:xfrm>
            <a:off x="4572000" y="4168427"/>
            <a:ext cx="3780235" cy="396749"/>
          </a:xfrm>
        </p:spPr>
        <p:txBody>
          <a:bodyPr wrap="none">
            <a:noAutofit/>
          </a:bodyPr>
          <a:lstStyle>
            <a:lvl1pPr marL="0" indent="0" algn="r">
              <a:buFontTx/>
              <a:buNone/>
              <a:defRPr sz="1650" i="1">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3437873712"/>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type="title" preserve="1">
  <p:cSld name="Chapter Slide">
    <p:spTree>
      <p:nvGrpSpPr>
        <p:cNvPr id="1" name=""/>
        <p:cNvGrpSpPr/>
        <p:nvPr/>
      </p:nvGrpSpPr>
      <p:grpSpPr>
        <a:xfrm>
          <a:off x="0" y="0"/>
          <a:ext cx="0" cy="0"/>
          <a:chOff x="0" y="0"/>
          <a:chExt cx="0" cy="0"/>
        </a:xfrm>
      </p:grpSpPr>
      <p:sp>
        <p:nvSpPr>
          <p:cNvPr id="4" name="Rectangle 3"/>
          <p:cNvSpPr/>
          <p:nvPr userDrawn="1"/>
        </p:nvSpPr>
        <p:spPr>
          <a:xfrm>
            <a:off x="0" y="0"/>
            <a:ext cx="9144000" cy="5143500"/>
          </a:xfrm>
          <a:prstGeom prst="rect">
            <a:avLst/>
          </a:prstGeom>
          <a:solidFill>
            <a:srgbClr val="0356B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sz="1350"/>
          </a:p>
        </p:txBody>
      </p:sp>
      <p:sp>
        <p:nvSpPr>
          <p:cNvPr id="2" name="Title 1"/>
          <p:cNvSpPr>
            <a:spLocks noGrp="1"/>
          </p:cNvSpPr>
          <p:nvPr>
            <p:ph type="ctrTitle"/>
          </p:nvPr>
        </p:nvSpPr>
        <p:spPr>
          <a:xfrm>
            <a:off x="802642" y="841772"/>
            <a:ext cx="8007029" cy="1790700"/>
          </a:xfrm>
        </p:spPr>
        <p:txBody>
          <a:bodyPr anchor="b">
            <a:noAutofit/>
          </a:bodyPr>
          <a:lstStyle>
            <a:lvl1pPr algn="l">
              <a:defRPr sz="4500">
                <a:solidFill>
                  <a:schemeClr val="accent5"/>
                </a:solidFill>
              </a:defRPr>
            </a:lvl1pPr>
          </a:lstStyle>
          <a:p>
            <a:r>
              <a:rPr lang="en-US"/>
              <a:t>Click to edit Master title style</a:t>
            </a:r>
            <a:endParaRPr lang="en-GB"/>
          </a:p>
        </p:txBody>
      </p:sp>
      <p:sp>
        <p:nvSpPr>
          <p:cNvPr id="3" name="Subtitle 2"/>
          <p:cNvSpPr>
            <a:spLocks noGrp="1"/>
          </p:cNvSpPr>
          <p:nvPr>
            <p:ph type="subTitle" idx="1"/>
          </p:nvPr>
        </p:nvSpPr>
        <p:spPr>
          <a:xfrm>
            <a:off x="802642" y="2701528"/>
            <a:ext cx="8007029" cy="1241822"/>
          </a:xfrm>
        </p:spPr>
        <p:txBody>
          <a:bodyPr>
            <a:noAutofit/>
          </a:bodyPr>
          <a:lstStyle>
            <a:lvl1pPr marL="0" indent="0" algn="l">
              <a:buNone/>
              <a:defRPr sz="1800">
                <a:solidFill>
                  <a:schemeClr val="bg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endParaRPr lang="en-GB"/>
          </a:p>
        </p:txBody>
      </p:sp>
      <p:sp>
        <p:nvSpPr>
          <p:cNvPr id="6" name="Slide Number Placeholder 5"/>
          <p:cNvSpPr>
            <a:spLocks noGrp="1"/>
          </p:cNvSpPr>
          <p:nvPr>
            <p:ph type="sldNum" sz="quarter" idx="12"/>
          </p:nvPr>
        </p:nvSpPr>
        <p:spPr/>
        <p:txBody>
          <a:bodyPr>
            <a:noAutofit/>
          </a:bodyPr>
          <a:lstStyle>
            <a:lvl1pPr>
              <a:defRPr>
                <a:solidFill>
                  <a:schemeClr val="bg1"/>
                </a:solidFill>
              </a:defRPr>
            </a:lvl1pPr>
          </a:lstStyle>
          <a:p>
            <a:fld id="{F46C79FD-C571-418B-AB0F-5EE936C85276}" type="slidenum">
              <a:rPr lang="en-GB" smtClean="0"/>
              <a:pPr/>
              <a:t>‹#›</a:t>
            </a:fld>
            <a:endParaRPr lang="en-GB"/>
          </a:p>
        </p:txBody>
      </p:sp>
      <p:cxnSp>
        <p:nvCxnSpPr>
          <p:cNvPr id="7" name="Straight Connector 6"/>
          <p:cNvCxnSpPr/>
          <p:nvPr userDrawn="1"/>
        </p:nvCxnSpPr>
        <p:spPr>
          <a:xfrm>
            <a:off x="628650" y="0"/>
            <a:ext cx="0" cy="2471951"/>
          </a:xfrm>
          <a:prstGeom prst="line">
            <a:avLst/>
          </a:prstGeom>
          <a:ln w="28575">
            <a:solidFill>
              <a:schemeClr val="accent5"/>
            </a:solidFill>
          </a:ln>
        </p:spPr>
        <p:style>
          <a:lnRef idx="1">
            <a:schemeClr val="accent1"/>
          </a:lnRef>
          <a:fillRef idx="0">
            <a:schemeClr val="accent1"/>
          </a:fillRef>
          <a:effectRef idx="0">
            <a:schemeClr val="accent1"/>
          </a:effectRef>
          <a:fontRef idx="minor">
            <a:schemeClr val="tx1"/>
          </a:fontRef>
        </p:style>
      </p:cxnSp>
      <p:pic>
        <p:nvPicPr>
          <p:cNvPr id="9" name="Picture 8"/>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7520786" y="4533943"/>
            <a:ext cx="1288884" cy="338365"/>
          </a:xfrm>
          <a:prstGeom prst="rect">
            <a:avLst/>
          </a:prstGeom>
        </p:spPr>
      </p:pic>
    </p:spTree>
    <p:extLst>
      <p:ext uri="{BB962C8B-B14F-4D97-AF65-F5344CB8AC3E}">
        <p14:creationId xmlns:p14="http://schemas.microsoft.com/office/powerpoint/2010/main" val="303516607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25B9C2F-5D28-A54A-50E0-A4833437E7E1}"/>
              </a:ext>
            </a:extLst>
          </p:cNvPr>
          <p:cNvSpPr>
            <a:spLocks noGrp="1"/>
          </p:cNvSpPr>
          <p:nvPr>
            <p:ph type="ctrTitle"/>
          </p:nvPr>
        </p:nvSpPr>
        <p:spPr>
          <a:xfrm>
            <a:off x="683811" y="1908311"/>
            <a:ext cx="7831537" cy="1241425"/>
          </a:xfrm>
        </p:spPr>
        <p:txBody>
          <a:bodyPr anchor="b"/>
          <a:lstStyle>
            <a:lvl1pPr algn="l">
              <a:defRPr sz="3600"/>
            </a:lvl1pPr>
          </a:lstStyle>
          <a:p>
            <a:r>
              <a:rPr lang="en-GB"/>
              <a:t>Click to edit Master title style</a:t>
            </a:r>
            <a:endParaRPr lang="en-LU"/>
          </a:p>
        </p:txBody>
      </p:sp>
      <p:sp>
        <p:nvSpPr>
          <p:cNvPr id="3" name="Subtitle 2">
            <a:extLst>
              <a:ext uri="{FF2B5EF4-FFF2-40B4-BE49-F238E27FC236}">
                <a16:creationId xmlns:a16="http://schemas.microsoft.com/office/drawing/2014/main" id="{ED399031-1086-D01F-D348-6DCC811702BB}"/>
              </a:ext>
            </a:extLst>
          </p:cNvPr>
          <p:cNvSpPr>
            <a:spLocks noGrp="1"/>
          </p:cNvSpPr>
          <p:nvPr>
            <p:ph type="subTitle" idx="1"/>
          </p:nvPr>
        </p:nvSpPr>
        <p:spPr>
          <a:xfrm>
            <a:off x="683812" y="3260035"/>
            <a:ext cx="7831536" cy="683315"/>
          </a:xfrm>
        </p:spPr>
        <p:txBody>
          <a:bodyPr/>
          <a:lstStyle>
            <a:lvl1pPr marL="0" indent="0" algn="l">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endParaRPr lang="en-LU"/>
          </a:p>
        </p:txBody>
      </p:sp>
      <p:sp>
        <p:nvSpPr>
          <p:cNvPr id="6" name="Slide Number Placeholder 5">
            <a:extLst>
              <a:ext uri="{FF2B5EF4-FFF2-40B4-BE49-F238E27FC236}">
                <a16:creationId xmlns:a16="http://schemas.microsoft.com/office/drawing/2014/main" id="{818F2F3C-0F34-8277-D84E-22364585DACF}"/>
              </a:ext>
            </a:extLst>
          </p:cNvPr>
          <p:cNvSpPr>
            <a:spLocks noGrp="1"/>
          </p:cNvSpPr>
          <p:nvPr>
            <p:ph type="sldNum" sz="quarter" idx="12"/>
          </p:nvPr>
        </p:nvSpPr>
        <p:spPr>
          <a:xfrm>
            <a:off x="7688910" y="4767264"/>
            <a:ext cx="826439" cy="164386"/>
          </a:xfrm>
        </p:spPr>
        <p:txBody>
          <a:bodyPr/>
          <a:lstStyle/>
          <a:p>
            <a:fld id="{0F67114D-ED23-2A43-BD26-04D629DC704A}" type="slidenum">
              <a:rPr lang="en-LU" smtClean="0"/>
              <a:t>‹#›</a:t>
            </a:fld>
            <a:endParaRPr lang="en-LU"/>
          </a:p>
        </p:txBody>
      </p:sp>
      <p:sp>
        <p:nvSpPr>
          <p:cNvPr id="7" name="Text Placeholder 6">
            <a:extLst>
              <a:ext uri="{FF2B5EF4-FFF2-40B4-BE49-F238E27FC236}">
                <a16:creationId xmlns:a16="http://schemas.microsoft.com/office/drawing/2014/main" id="{9FCF6E5A-5943-665E-2FE0-9FE8B8549E36}"/>
              </a:ext>
            </a:extLst>
          </p:cNvPr>
          <p:cNvSpPr>
            <a:spLocks noGrp="1"/>
          </p:cNvSpPr>
          <p:nvPr>
            <p:ph type="body" sz="quarter" idx="13" hasCustomPrompt="1"/>
          </p:nvPr>
        </p:nvSpPr>
        <p:spPr>
          <a:xfrm>
            <a:off x="1587500" y="4767264"/>
            <a:ext cx="2774950" cy="164386"/>
          </a:xfrm>
        </p:spPr>
        <p:txBody>
          <a:bodyPr lIns="0" tIns="0" rIns="0" bIns="0" anchor="b" anchorCtr="0">
            <a:noAutofit/>
          </a:bodyPr>
          <a:lstStyle>
            <a:lvl1pPr marL="0" indent="0">
              <a:buNone/>
              <a:defRPr sz="1000">
                <a:solidFill>
                  <a:schemeClr val="tx1">
                    <a:lumMod val="50000"/>
                    <a:lumOff val="50000"/>
                  </a:schemeClr>
                </a:solidFill>
              </a:defRPr>
            </a:lvl1pPr>
            <a:lvl2pPr marL="457200" indent="0">
              <a:buNone/>
              <a:defRPr sz="1000">
                <a:solidFill>
                  <a:schemeClr val="tx1">
                    <a:lumMod val="50000"/>
                    <a:lumOff val="50000"/>
                  </a:schemeClr>
                </a:solidFill>
              </a:defRPr>
            </a:lvl2pPr>
            <a:lvl3pPr marL="914400" indent="0">
              <a:buNone/>
              <a:defRPr sz="1000">
                <a:solidFill>
                  <a:schemeClr val="tx1">
                    <a:lumMod val="50000"/>
                    <a:lumOff val="50000"/>
                  </a:schemeClr>
                </a:solidFill>
              </a:defRPr>
            </a:lvl3pPr>
            <a:lvl4pPr marL="1371600" indent="0">
              <a:buNone/>
              <a:defRPr sz="1000">
                <a:solidFill>
                  <a:schemeClr val="tx1">
                    <a:lumMod val="50000"/>
                    <a:lumOff val="50000"/>
                  </a:schemeClr>
                </a:solidFill>
              </a:defRPr>
            </a:lvl4pPr>
            <a:lvl5pPr marL="1828800" indent="0">
              <a:buNone/>
              <a:defRPr sz="1000">
                <a:solidFill>
                  <a:schemeClr val="tx1">
                    <a:lumMod val="50000"/>
                    <a:lumOff val="50000"/>
                  </a:schemeClr>
                </a:solidFill>
              </a:defRPr>
            </a:lvl5pPr>
          </a:lstStyle>
          <a:p>
            <a:pPr lvl="0"/>
            <a:r>
              <a:rPr lang="en-GB"/>
              <a:t>Insert here the title of the presentation</a:t>
            </a:r>
            <a:endParaRPr lang="en-LU"/>
          </a:p>
        </p:txBody>
      </p:sp>
    </p:spTree>
    <p:extLst>
      <p:ext uri="{BB962C8B-B14F-4D97-AF65-F5344CB8AC3E}">
        <p14:creationId xmlns:p14="http://schemas.microsoft.com/office/powerpoint/2010/main" val="410215492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hapter Slide (2)">
    <p:spTree>
      <p:nvGrpSpPr>
        <p:cNvPr id="1" name=""/>
        <p:cNvGrpSpPr/>
        <p:nvPr/>
      </p:nvGrpSpPr>
      <p:grpSpPr>
        <a:xfrm>
          <a:off x="0" y="0"/>
          <a:ext cx="0" cy="0"/>
          <a:chOff x="0" y="0"/>
          <a:chExt cx="0" cy="0"/>
        </a:xfrm>
      </p:grpSpPr>
      <p:sp>
        <p:nvSpPr>
          <p:cNvPr id="7" name="Rectangle 6"/>
          <p:cNvSpPr/>
          <p:nvPr userDrawn="1"/>
        </p:nvSpPr>
        <p:spPr>
          <a:xfrm>
            <a:off x="0" y="0"/>
            <a:ext cx="9144000" cy="51435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sz="1350"/>
          </a:p>
        </p:txBody>
      </p:sp>
      <p:sp>
        <p:nvSpPr>
          <p:cNvPr id="6" name="Slide Number Placeholder 5"/>
          <p:cNvSpPr>
            <a:spLocks noGrp="1"/>
          </p:cNvSpPr>
          <p:nvPr>
            <p:ph type="sldNum" sz="quarter" idx="12"/>
          </p:nvPr>
        </p:nvSpPr>
        <p:spPr/>
        <p:txBody>
          <a:bodyPr>
            <a:noAutofit/>
          </a:bodyPr>
          <a:lstStyle/>
          <a:p>
            <a:fld id="{F46C79FD-C571-418B-AB0F-5EE936C85276}" type="slidenum">
              <a:rPr lang="en-GB" smtClean="0"/>
              <a:t>‹#›</a:t>
            </a:fld>
            <a:endParaRPr lang="en-GB"/>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7525389" y="4534399"/>
            <a:ext cx="1287150" cy="337910"/>
          </a:xfrm>
          <a:prstGeom prst="rect">
            <a:avLst/>
          </a:prstGeom>
        </p:spPr>
      </p:pic>
      <p:sp>
        <p:nvSpPr>
          <p:cNvPr id="11" name="Title 1"/>
          <p:cNvSpPr>
            <a:spLocks noGrp="1"/>
          </p:cNvSpPr>
          <p:nvPr>
            <p:ph type="ctrTitle"/>
          </p:nvPr>
        </p:nvSpPr>
        <p:spPr>
          <a:xfrm>
            <a:off x="807760" y="841772"/>
            <a:ext cx="7617223" cy="1790700"/>
          </a:xfrm>
        </p:spPr>
        <p:txBody>
          <a:bodyPr anchor="b">
            <a:noAutofit/>
          </a:bodyPr>
          <a:lstStyle>
            <a:lvl1pPr algn="l">
              <a:defRPr sz="4500">
                <a:solidFill>
                  <a:schemeClr val="tx2"/>
                </a:solidFill>
              </a:defRPr>
            </a:lvl1pPr>
          </a:lstStyle>
          <a:p>
            <a:r>
              <a:rPr lang="en-US"/>
              <a:t>Click to edit Master title style</a:t>
            </a:r>
            <a:endParaRPr lang="en-GB"/>
          </a:p>
        </p:txBody>
      </p:sp>
      <p:cxnSp>
        <p:nvCxnSpPr>
          <p:cNvPr id="13" name="Straight Connector 12"/>
          <p:cNvCxnSpPr/>
          <p:nvPr userDrawn="1"/>
        </p:nvCxnSpPr>
        <p:spPr>
          <a:xfrm>
            <a:off x="628650" y="0"/>
            <a:ext cx="0" cy="2471951"/>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sp>
        <p:nvSpPr>
          <p:cNvPr id="14" name="Subtitle 2"/>
          <p:cNvSpPr>
            <a:spLocks noGrp="1"/>
          </p:cNvSpPr>
          <p:nvPr>
            <p:ph type="subTitle" idx="1"/>
          </p:nvPr>
        </p:nvSpPr>
        <p:spPr>
          <a:xfrm>
            <a:off x="802642" y="2701528"/>
            <a:ext cx="7617223" cy="1241822"/>
          </a:xfrm>
        </p:spPr>
        <p:txBody>
          <a:bodyPr>
            <a:noAutofit/>
          </a:bodyPr>
          <a:lstStyle>
            <a:lvl1pPr marL="0" indent="0" algn="l">
              <a:buNone/>
              <a:defRPr sz="1800">
                <a:solidFill>
                  <a:schemeClr val="tx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endParaRPr lang="en-GB"/>
          </a:p>
        </p:txBody>
      </p:sp>
    </p:spTree>
    <p:extLst>
      <p:ext uri="{BB962C8B-B14F-4D97-AF65-F5344CB8AC3E}">
        <p14:creationId xmlns:p14="http://schemas.microsoft.com/office/powerpoint/2010/main" val="18530838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Last slide (option 1)">
    <p:spTree>
      <p:nvGrpSpPr>
        <p:cNvPr id="1" name=""/>
        <p:cNvGrpSpPr/>
        <p:nvPr/>
      </p:nvGrpSpPr>
      <p:grpSpPr>
        <a:xfrm>
          <a:off x="0" y="0"/>
          <a:ext cx="0" cy="0"/>
          <a:chOff x="0" y="0"/>
          <a:chExt cx="0" cy="0"/>
        </a:xfrm>
      </p:grpSpPr>
      <p:sp>
        <p:nvSpPr>
          <p:cNvPr id="7" name="Rectangle 6"/>
          <p:cNvSpPr/>
          <p:nvPr userDrawn="1"/>
        </p:nvSpPr>
        <p:spPr>
          <a:xfrm>
            <a:off x="0" y="1"/>
            <a:ext cx="9144000" cy="2571749"/>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sz="1350"/>
          </a:p>
        </p:txBody>
      </p:sp>
      <p:sp>
        <p:nvSpPr>
          <p:cNvPr id="6" name="Slide Number Placeholder 5"/>
          <p:cNvSpPr>
            <a:spLocks noGrp="1"/>
          </p:cNvSpPr>
          <p:nvPr>
            <p:ph type="sldNum" sz="quarter" idx="12"/>
          </p:nvPr>
        </p:nvSpPr>
        <p:spPr/>
        <p:txBody>
          <a:bodyPr>
            <a:noAutofit/>
          </a:bodyPr>
          <a:lstStyle/>
          <a:p>
            <a:fld id="{F46C79FD-C571-418B-AB0F-5EE936C85276}" type="slidenum">
              <a:rPr lang="en-GB" smtClean="0"/>
              <a:t>‹#›</a:t>
            </a:fld>
            <a:endParaRPr lang="en-GB"/>
          </a:p>
        </p:txBody>
      </p:sp>
      <p:sp>
        <p:nvSpPr>
          <p:cNvPr id="11" name="Title 1"/>
          <p:cNvSpPr>
            <a:spLocks noGrp="1"/>
          </p:cNvSpPr>
          <p:nvPr>
            <p:ph type="ctrTitle"/>
          </p:nvPr>
        </p:nvSpPr>
        <p:spPr>
          <a:xfrm>
            <a:off x="807760" y="841772"/>
            <a:ext cx="7617223" cy="930261"/>
          </a:xfrm>
        </p:spPr>
        <p:txBody>
          <a:bodyPr anchor="b">
            <a:noAutofit/>
          </a:bodyPr>
          <a:lstStyle>
            <a:lvl1pPr algn="l">
              <a:defRPr sz="4500">
                <a:solidFill>
                  <a:schemeClr val="tx2"/>
                </a:solidFill>
              </a:defRPr>
            </a:lvl1pPr>
          </a:lstStyle>
          <a:p>
            <a:r>
              <a:rPr lang="en-US"/>
              <a:t>Click to edit Master title style</a:t>
            </a:r>
            <a:endParaRPr lang="en-GB"/>
          </a:p>
        </p:txBody>
      </p:sp>
      <p:cxnSp>
        <p:nvCxnSpPr>
          <p:cNvPr id="13" name="Straight Connector 12"/>
          <p:cNvCxnSpPr/>
          <p:nvPr userDrawn="1"/>
        </p:nvCxnSpPr>
        <p:spPr>
          <a:xfrm>
            <a:off x="628650" y="1"/>
            <a:ext cx="0" cy="1772033"/>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sp>
        <p:nvSpPr>
          <p:cNvPr id="14" name="Subtitle 2"/>
          <p:cNvSpPr>
            <a:spLocks noGrp="1"/>
          </p:cNvSpPr>
          <p:nvPr>
            <p:ph type="subTitle" idx="1"/>
          </p:nvPr>
        </p:nvSpPr>
        <p:spPr>
          <a:xfrm>
            <a:off x="628651" y="3120620"/>
            <a:ext cx="8167079" cy="1215109"/>
          </a:xfrm>
        </p:spPr>
        <p:txBody>
          <a:bodyPr>
            <a:noAutofit/>
          </a:bodyPr>
          <a:lstStyle>
            <a:lvl1pPr marL="0" indent="0" algn="l">
              <a:buNone/>
              <a:defRPr sz="1050">
                <a:solidFill>
                  <a:schemeClr val="bg1">
                    <a:lumMod val="50000"/>
                  </a:schemeClr>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endParaRPr lang="en-GB"/>
          </a:p>
        </p:txBody>
      </p:sp>
    </p:spTree>
    <p:extLst>
      <p:ext uri="{BB962C8B-B14F-4D97-AF65-F5344CB8AC3E}">
        <p14:creationId xmlns:p14="http://schemas.microsoft.com/office/powerpoint/2010/main" val="558780704"/>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Last slide (option 2)">
    <p:spTree>
      <p:nvGrpSpPr>
        <p:cNvPr id="1" name=""/>
        <p:cNvGrpSpPr/>
        <p:nvPr/>
      </p:nvGrpSpPr>
      <p:grpSpPr>
        <a:xfrm>
          <a:off x="0" y="0"/>
          <a:ext cx="0" cy="0"/>
          <a:chOff x="0" y="0"/>
          <a:chExt cx="0" cy="0"/>
        </a:xfrm>
      </p:grpSpPr>
      <p:sp>
        <p:nvSpPr>
          <p:cNvPr id="7" name="Rectangle 6"/>
          <p:cNvSpPr/>
          <p:nvPr userDrawn="1"/>
        </p:nvSpPr>
        <p:spPr>
          <a:xfrm>
            <a:off x="0" y="1"/>
            <a:ext cx="9144000" cy="257174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sz="1350"/>
          </a:p>
        </p:txBody>
      </p:sp>
      <p:sp>
        <p:nvSpPr>
          <p:cNvPr id="6" name="Slide Number Placeholder 5"/>
          <p:cNvSpPr>
            <a:spLocks noGrp="1"/>
          </p:cNvSpPr>
          <p:nvPr>
            <p:ph type="sldNum" sz="quarter" idx="12"/>
          </p:nvPr>
        </p:nvSpPr>
        <p:spPr/>
        <p:txBody>
          <a:bodyPr>
            <a:noAutofit/>
          </a:bodyPr>
          <a:lstStyle/>
          <a:p>
            <a:fld id="{F46C79FD-C571-418B-AB0F-5EE936C85276}" type="slidenum">
              <a:rPr lang="en-GB" smtClean="0"/>
              <a:t>‹#›</a:t>
            </a:fld>
            <a:endParaRPr lang="en-GB"/>
          </a:p>
        </p:txBody>
      </p:sp>
      <p:sp>
        <p:nvSpPr>
          <p:cNvPr id="11" name="Title 1"/>
          <p:cNvSpPr>
            <a:spLocks noGrp="1"/>
          </p:cNvSpPr>
          <p:nvPr>
            <p:ph type="ctrTitle"/>
          </p:nvPr>
        </p:nvSpPr>
        <p:spPr>
          <a:xfrm>
            <a:off x="807760" y="841772"/>
            <a:ext cx="7617223" cy="930261"/>
          </a:xfrm>
        </p:spPr>
        <p:txBody>
          <a:bodyPr anchor="b">
            <a:noAutofit/>
          </a:bodyPr>
          <a:lstStyle>
            <a:lvl1pPr algn="l">
              <a:defRPr sz="4500">
                <a:solidFill>
                  <a:schemeClr val="accent5"/>
                </a:solidFill>
              </a:defRPr>
            </a:lvl1pPr>
          </a:lstStyle>
          <a:p>
            <a:r>
              <a:rPr lang="en-US"/>
              <a:t>Click to edit Master title style</a:t>
            </a:r>
            <a:endParaRPr lang="en-GB"/>
          </a:p>
        </p:txBody>
      </p:sp>
      <p:cxnSp>
        <p:nvCxnSpPr>
          <p:cNvPr id="13" name="Straight Connector 12"/>
          <p:cNvCxnSpPr/>
          <p:nvPr userDrawn="1"/>
        </p:nvCxnSpPr>
        <p:spPr>
          <a:xfrm>
            <a:off x="628650" y="1"/>
            <a:ext cx="0" cy="1772033"/>
          </a:xfrm>
          <a:prstGeom prst="line">
            <a:avLst/>
          </a:prstGeom>
          <a:ln w="28575">
            <a:solidFill>
              <a:schemeClr val="accent5"/>
            </a:solidFill>
          </a:ln>
        </p:spPr>
        <p:style>
          <a:lnRef idx="1">
            <a:schemeClr val="accent1"/>
          </a:lnRef>
          <a:fillRef idx="0">
            <a:schemeClr val="accent1"/>
          </a:fillRef>
          <a:effectRef idx="0">
            <a:schemeClr val="accent1"/>
          </a:effectRef>
          <a:fontRef idx="minor">
            <a:schemeClr val="tx1"/>
          </a:fontRef>
        </p:style>
      </p:cxnSp>
      <p:sp>
        <p:nvSpPr>
          <p:cNvPr id="14" name="Subtitle 2"/>
          <p:cNvSpPr>
            <a:spLocks noGrp="1"/>
          </p:cNvSpPr>
          <p:nvPr>
            <p:ph type="subTitle" idx="1"/>
          </p:nvPr>
        </p:nvSpPr>
        <p:spPr>
          <a:xfrm>
            <a:off x="628651" y="3120620"/>
            <a:ext cx="8167079" cy="1215109"/>
          </a:xfrm>
        </p:spPr>
        <p:txBody>
          <a:bodyPr>
            <a:noAutofit/>
          </a:bodyPr>
          <a:lstStyle>
            <a:lvl1pPr marL="0" indent="0" algn="l">
              <a:buNone/>
              <a:defRPr sz="1050">
                <a:solidFill>
                  <a:schemeClr val="bg1">
                    <a:lumMod val="50000"/>
                  </a:schemeClr>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endParaRPr lang="en-GB"/>
          </a:p>
        </p:txBody>
      </p:sp>
    </p:spTree>
    <p:extLst>
      <p:ext uri="{BB962C8B-B14F-4D97-AF65-F5344CB8AC3E}">
        <p14:creationId xmlns:p14="http://schemas.microsoft.com/office/powerpoint/2010/main" val="265632239"/>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628650" y="1369219"/>
            <a:ext cx="8179274" cy="2911428"/>
          </a:xfrm>
        </p:spPr>
        <p:txBody>
          <a:bodyPr>
            <a:noAutofit/>
          </a:bodyPr>
          <a:lstStyle>
            <a:lvl1pPr>
              <a:lnSpc>
                <a:spcPct val="100000"/>
              </a:lnSpc>
              <a:spcBef>
                <a:spcPts val="0"/>
              </a:spcBef>
              <a:spcAft>
                <a:spcPts val="1350"/>
              </a:spcAft>
              <a:defRPr/>
            </a:lvl1pPr>
            <a:lvl2pPr>
              <a:lnSpc>
                <a:spcPct val="100000"/>
              </a:lnSpc>
              <a:spcAft>
                <a:spcPts val="1350"/>
              </a:spcAft>
              <a:defRPr/>
            </a:lvl2pPr>
            <a:lvl3pPr>
              <a:lnSpc>
                <a:spcPct val="100000"/>
              </a:lnSpc>
              <a:spcAft>
                <a:spcPts val="1350"/>
              </a:spcAft>
              <a:defRPr/>
            </a:lvl3pPr>
            <a:lvl4pPr>
              <a:lnSpc>
                <a:spcPct val="100000"/>
              </a:lnSpc>
              <a:spcAft>
                <a:spcPts val="1350"/>
              </a:spcAft>
              <a:defRPr/>
            </a:lvl4pPr>
            <a:lvl5pPr>
              <a:lnSpc>
                <a:spcPct val="100000"/>
              </a:lnSpc>
              <a:spcAft>
                <a:spcPts val="1350"/>
              </a:spcAf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Slide Number Placeholder 5"/>
          <p:cNvSpPr>
            <a:spLocks noGrp="1"/>
          </p:cNvSpPr>
          <p:nvPr>
            <p:ph type="sldNum" sz="quarter" idx="12"/>
          </p:nvPr>
        </p:nvSpPr>
        <p:spPr/>
        <p:txBody>
          <a:bodyPr>
            <a:noAutofit/>
          </a:bodyPr>
          <a:lstStyle/>
          <a:p>
            <a:fld id="{F46C79FD-C571-418B-AB0F-5EE936C85276}" type="slidenum">
              <a:rPr lang="en-GB" smtClean="0"/>
              <a:t>‹#›</a:t>
            </a:fld>
            <a:endParaRPr lang="en-GB"/>
          </a:p>
        </p:txBody>
      </p:sp>
      <p:cxnSp>
        <p:nvCxnSpPr>
          <p:cNvPr id="7" name="Straight Connector 6"/>
          <p:cNvCxnSpPr/>
          <p:nvPr userDrawn="1"/>
        </p:nvCxnSpPr>
        <p:spPr>
          <a:xfrm flipH="1">
            <a:off x="628650" y="0"/>
            <a:ext cx="1" cy="957268"/>
          </a:xfrm>
          <a:prstGeom prst="line">
            <a:avLst/>
          </a:prstGeom>
          <a:ln w="28575">
            <a:solidFill>
              <a:schemeClr val="accent5"/>
            </a:solidFill>
          </a:ln>
        </p:spPr>
        <p:style>
          <a:lnRef idx="1">
            <a:schemeClr val="accent1"/>
          </a:lnRef>
          <a:fillRef idx="0">
            <a:schemeClr val="accent1"/>
          </a:fillRef>
          <a:effectRef idx="0">
            <a:schemeClr val="accent1"/>
          </a:effectRef>
          <a:fontRef idx="minor">
            <a:schemeClr val="tx1"/>
          </a:fontRef>
        </p:style>
      </p:cxnSp>
      <p:sp>
        <p:nvSpPr>
          <p:cNvPr id="9" name="Title Placeholder 1"/>
          <p:cNvSpPr>
            <a:spLocks noGrp="1"/>
          </p:cNvSpPr>
          <p:nvPr>
            <p:ph type="title"/>
          </p:nvPr>
        </p:nvSpPr>
        <p:spPr>
          <a:xfrm>
            <a:off x="728042" y="362145"/>
            <a:ext cx="7886700" cy="586768"/>
          </a:xfrm>
          <a:prstGeom prst="rect">
            <a:avLst/>
          </a:prstGeom>
        </p:spPr>
        <p:txBody>
          <a:bodyPr vert="horz" lIns="91440" tIns="45720" rIns="91440" bIns="0" rtlCol="0" anchor="b" anchorCtr="0">
            <a:noAutofit/>
          </a:bodyPr>
          <a:lstStyle/>
          <a:p>
            <a:r>
              <a:rPr lang="en-US"/>
              <a:t>Click to edit Master title style</a:t>
            </a:r>
            <a:endParaRPr lang="en-GB"/>
          </a:p>
        </p:txBody>
      </p:sp>
    </p:spTree>
    <p:extLst>
      <p:ext uri="{BB962C8B-B14F-4D97-AF65-F5344CB8AC3E}">
        <p14:creationId xmlns:p14="http://schemas.microsoft.com/office/powerpoint/2010/main" val="343287862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Content and Objec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28649" y="1369219"/>
            <a:ext cx="3996000" cy="2929826"/>
          </a:xfrm>
        </p:spPr>
        <p:txBody>
          <a:bodyPr>
            <a:noAutofit/>
          </a:bodyPr>
          <a:lstStyle>
            <a:lvl1pPr>
              <a:spcAft>
                <a:spcPts val="1350"/>
              </a:spcAft>
              <a:defRPr/>
            </a:lvl1pPr>
            <a:lvl2pPr>
              <a:spcAft>
                <a:spcPts val="1350"/>
              </a:spcAft>
              <a:defRPr/>
            </a:lvl2pPr>
            <a:lvl3pPr>
              <a:spcAft>
                <a:spcPts val="1350"/>
              </a:spcAft>
              <a:defRPr/>
            </a:lvl3pPr>
            <a:lvl4pPr>
              <a:spcAft>
                <a:spcPts val="1350"/>
              </a:spcAft>
              <a:defRPr/>
            </a:lvl4pPr>
            <a:lvl5pPr>
              <a:spcAft>
                <a:spcPts val="1350"/>
              </a:spcAf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4801688" y="1369219"/>
            <a:ext cx="3996000" cy="2929826"/>
          </a:xfrm>
          <a:noFill/>
        </p:spPr>
        <p:txBody>
          <a:bodyPr>
            <a:noAutofit/>
          </a:bodyPr>
          <a:lstStyle>
            <a:lvl1pPr marL="0" indent="0">
              <a:buNone/>
              <a:defRPr/>
            </a:lvl1pPr>
          </a:lstStyle>
          <a:p>
            <a:pPr lvl="0"/>
            <a:r>
              <a:rPr lang="en-US"/>
              <a:t>Click to edit Master text styles</a:t>
            </a:r>
          </a:p>
        </p:txBody>
      </p:sp>
      <p:sp>
        <p:nvSpPr>
          <p:cNvPr id="7" name="Slide Number Placeholder 6"/>
          <p:cNvSpPr>
            <a:spLocks noGrp="1"/>
          </p:cNvSpPr>
          <p:nvPr>
            <p:ph type="sldNum" sz="quarter" idx="12"/>
          </p:nvPr>
        </p:nvSpPr>
        <p:spPr/>
        <p:txBody>
          <a:bodyPr>
            <a:noAutofit/>
          </a:bodyPr>
          <a:lstStyle/>
          <a:p>
            <a:fld id="{F46C79FD-C571-418B-AB0F-5EE936C85276}" type="slidenum">
              <a:rPr lang="en-GB" smtClean="0"/>
              <a:t>‹#›</a:t>
            </a:fld>
            <a:endParaRPr lang="en-GB"/>
          </a:p>
        </p:txBody>
      </p:sp>
      <p:cxnSp>
        <p:nvCxnSpPr>
          <p:cNvPr id="9" name="Straight Connector 8"/>
          <p:cNvCxnSpPr/>
          <p:nvPr userDrawn="1"/>
        </p:nvCxnSpPr>
        <p:spPr>
          <a:xfrm flipH="1">
            <a:off x="628650" y="0"/>
            <a:ext cx="1" cy="957268"/>
          </a:xfrm>
          <a:prstGeom prst="line">
            <a:avLst/>
          </a:prstGeom>
          <a:ln w="28575">
            <a:solidFill>
              <a:schemeClr val="accent5"/>
            </a:solidFill>
          </a:ln>
        </p:spPr>
        <p:style>
          <a:lnRef idx="1">
            <a:schemeClr val="accent1"/>
          </a:lnRef>
          <a:fillRef idx="0">
            <a:schemeClr val="accent1"/>
          </a:fillRef>
          <a:effectRef idx="0">
            <a:schemeClr val="accent1"/>
          </a:effectRef>
          <a:fontRef idx="minor">
            <a:schemeClr val="tx1"/>
          </a:fontRef>
        </p:style>
      </p:cxnSp>
      <p:sp>
        <p:nvSpPr>
          <p:cNvPr id="10" name="Title Placeholder 1"/>
          <p:cNvSpPr>
            <a:spLocks noGrp="1"/>
          </p:cNvSpPr>
          <p:nvPr>
            <p:ph type="title"/>
          </p:nvPr>
        </p:nvSpPr>
        <p:spPr>
          <a:xfrm>
            <a:off x="728042" y="362145"/>
            <a:ext cx="7886700" cy="586768"/>
          </a:xfrm>
          <a:prstGeom prst="rect">
            <a:avLst/>
          </a:prstGeom>
        </p:spPr>
        <p:txBody>
          <a:bodyPr vert="horz" lIns="91440" tIns="45720" rIns="91440" bIns="0" rtlCol="0" anchor="b" anchorCtr="0">
            <a:noAutofit/>
          </a:bodyPr>
          <a:lstStyle/>
          <a:p>
            <a:r>
              <a:rPr lang="en-US"/>
              <a:t>Click to edit Master title style</a:t>
            </a:r>
            <a:endParaRPr lang="en-GB"/>
          </a:p>
        </p:txBody>
      </p:sp>
    </p:spTree>
    <p:extLst>
      <p:ext uri="{BB962C8B-B14F-4D97-AF65-F5344CB8AC3E}">
        <p14:creationId xmlns:p14="http://schemas.microsoft.com/office/powerpoint/2010/main" val="365441002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28649" y="1369219"/>
            <a:ext cx="3996000" cy="2929826"/>
          </a:xfrm>
        </p:spPr>
        <p:txBody>
          <a:bodyPr>
            <a:noAutofit/>
          </a:bodyPr>
          <a:lstStyle>
            <a:lvl3pPr>
              <a:spcBef>
                <a:spcPts val="0"/>
              </a:spcBef>
              <a:defRPr/>
            </a:lvl3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4801688" y="1369219"/>
            <a:ext cx="3996000" cy="2929826"/>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Slide Number Placeholder 6"/>
          <p:cNvSpPr>
            <a:spLocks noGrp="1"/>
          </p:cNvSpPr>
          <p:nvPr>
            <p:ph type="sldNum" sz="quarter" idx="12"/>
          </p:nvPr>
        </p:nvSpPr>
        <p:spPr/>
        <p:txBody>
          <a:bodyPr/>
          <a:lstStyle/>
          <a:p>
            <a:fld id="{F46C79FD-C571-418B-AB0F-5EE936C85276}" type="slidenum">
              <a:rPr lang="en-GB" smtClean="0"/>
              <a:t>‹#›</a:t>
            </a:fld>
            <a:endParaRPr lang="en-GB"/>
          </a:p>
        </p:txBody>
      </p:sp>
      <p:cxnSp>
        <p:nvCxnSpPr>
          <p:cNvPr id="10" name="Straight Connector 9"/>
          <p:cNvCxnSpPr/>
          <p:nvPr userDrawn="1"/>
        </p:nvCxnSpPr>
        <p:spPr>
          <a:xfrm flipH="1">
            <a:off x="628650" y="0"/>
            <a:ext cx="1" cy="957268"/>
          </a:xfrm>
          <a:prstGeom prst="line">
            <a:avLst/>
          </a:prstGeom>
          <a:ln w="28575">
            <a:solidFill>
              <a:schemeClr val="accent5"/>
            </a:solidFill>
          </a:ln>
        </p:spPr>
        <p:style>
          <a:lnRef idx="1">
            <a:schemeClr val="accent1"/>
          </a:lnRef>
          <a:fillRef idx="0">
            <a:schemeClr val="accent1"/>
          </a:fillRef>
          <a:effectRef idx="0">
            <a:schemeClr val="accent1"/>
          </a:effectRef>
          <a:fontRef idx="minor">
            <a:schemeClr val="tx1"/>
          </a:fontRef>
        </p:style>
      </p:cxnSp>
      <p:sp>
        <p:nvSpPr>
          <p:cNvPr id="11" name="Title Placeholder 1"/>
          <p:cNvSpPr>
            <a:spLocks noGrp="1"/>
          </p:cNvSpPr>
          <p:nvPr>
            <p:ph type="title"/>
          </p:nvPr>
        </p:nvSpPr>
        <p:spPr>
          <a:xfrm>
            <a:off x="728042" y="362145"/>
            <a:ext cx="7886700" cy="586768"/>
          </a:xfrm>
          <a:prstGeom prst="rect">
            <a:avLst/>
          </a:prstGeom>
        </p:spPr>
        <p:txBody>
          <a:bodyPr vert="horz" lIns="91440" tIns="45720" rIns="91440" bIns="0" rtlCol="0" anchor="b" anchorCtr="0">
            <a:noAutofit/>
          </a:bodyPr>
          <a:lstStyle/>
          <a:p>
            <a:r>
              <a:rPr lang="en-US"/>
              <a:t>Click to edit Master title style</a:t>
            </a:r>
            <a:endParaRPr lang="en-GB"/>
          </a:p>
        </p:txBody>
      </p:sp>
    </p:spTree>
    <p:extLst>
      <p:ext uri="{BB962C8B-B14F-4D97-AF65-F5344CB8AC3E}">
        <p14:creationId xmlns:p14="http://schemas.microsoft.com/office/powerpoint/2010/main" val="3792789147"/>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28649" y="1369219"/>
            <a:ext cx="2518867" cy="2822351"/>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Slide Number Placeholder 6"/>
          <p:cNvSpPr>
            <a:spLocks noGrp="1"/>
          </p:cNvSpPr>
          <p:nvPr>
            <p:ph type="sldNum" sz="quarter" idx="12"/>
          </p:nvPr>
        </p:nvSpPr>
        <p:spPr/>
        <p:txBody>
          <a:bodyPr>
            <a:noAutofit/>
          </a:bodyPr>
          <a:lstStyle/>
          <a:p>
            <a:fld id="{F46C79FD-C571-418B-AB0F-5EE936C85276}" type="slidenum">
              <a:rPr lang="en-GB" smtClean="0"/>
              <a:t>‹#›</a:t>
            </a:fld>
            <a:endParaRPr lang="en-GB"/>
          </a:p>
        </p:txBody>
      </p:sp>
      <p:sp>
        <p:nvSpPr>
          <p:cNvPr id="9" name="Content Placeholder 2"/>
          <p:cNvSpPr>
            <a:spLocks noGrp="1"/>
          </p:cNvSpPr>
          <p:nvPr>
            <p:ph sz="half" idx="13"/>
          </p:nvPr>
        </p:nvSpPr>
        <p:spPr>
          <a:xfrm>
            <a:off x="3453735" y="1369219"/>
            <a:ext cx="2518867" cy="2822351"/>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Content Placeholder 2"/>
          <p:cNvSpPr>
            <a:spLocks noGrp="1"/>
          </p:cNvSpPr>
          <p:nvPr>
            <p:ph sz="half" idx="14"/>
          </p:nvPr>
        </p:nvSpPr>
        <p:spPr>
          <a:xfrm>
            <a:off x="6278821" y="1369219"/>
            <a:ext cx="2518867" cy="2822351"/>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cxnSp>
        <p:nvCxnSpPr>
          <p:cNvPr id="12" name="Straight Connector 11"/>
          <p:cNvCxnSpPr/>
          <p:nvPr userDrawn="1"/>
        </p:nvCxnSpPr>
        <p:spPr>
          <a:xfrm flipH="1">
            <a:off x="628650" y="0"/>
            <a:ext cx="1" cy="957268"/>
          </a:xfrm>
          <a:prstGeom prst="line">
            <a:avLst/>
          </a:prstGeom>
          <a:ln w="28575">
            <a:solidFill>
              <a:schemeClr val="accent5"/>
            </a:solidFill>
          </a:ln>
        </p:spPr>
        <p:style>
          <a:lnRef idx="1">
            <a:schemeClr val="accent1"/>
          </a:lnRef>
          <a:fillRef idx="0">
            <a:schemeClr val="accent1"/>
          </a:fillRef>
          <a:effectRef idx="0">
            <a:schemeClr val="accent1"/>
          </a:effectRef>
          <a:fontRef idx="minor">
            <a:schemeClr val="tx1"/>
          </a:fontRef>
        </p:style>
      </p:cxnSp>
      <p:sp>
        <p:nvSpPr>
          <p:cNvPr id="13" name="Title Placeholder 1"/>
          <p:cNvSpPr>
            <a:spLocks noGrp="1"/>
          </p:cNvSpPr>
          <p:nvPr>
            <p:ph type="title"/>
          </p:nvPr>
        </p:nvSpPr>
        <p:spPr>
          <a:xfrm>
            <a:off x="728042" y="362145"/>
            <a:ext cx="7886700" cy="586768"/>
          </a:xfrm>
          <a:prstGeom prst="rect">
            <a:avLst/>
          </a:prstGeom>
        </p:spPr>
        <p:txBody>
          <a:bodyPr vert="horz" lIns="91440" tIns="45720" rIns="91440" bIns="0" rtlCol="0" anchor="b" anchorCtr="0">
            <a:noAutofit/>
          </a:bodyPr>
          <a:lstStyle/>
          <a:p>
            <a:r>
              <a:rPr lang="en-US"/>
              <a:t>Click to edit Master title style</a:t>
            </a:r>
            <a:endParaRPr lang="en-GB"/>
          </a:p>
        </p:txBody>
      </p:sp>
    </p:spTree>
    <p:extLst>
      <p:ext uri="{BB962C8B-B14F-4D97-AF65-F5344CB8AC3E}">
        <p14:creationId xmlns:p14="http://schemas.microsoft.com/office/powerpoint/2010/main" val="1035358685"/>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629842" y="1260872"/>
            <a:ext cx="3868340" cy="617934"/>
          </a:xfrm>
        </p:spPr>
        <p:txBody>
          <a:bodyPr wrap="square" anchor="b">
            <a:noAutofit/>
          </a:bodyPr>
          <a:lstStyle>
            <a:lvl1pPr marL="0" indent="0">
              <a:buNone/>
              <a:defRPr sz="2100" b="1">
                <a:solidFill>
                  <a:schemeClr val="tx2"/>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4" name="Content Placeholder 3"/>
          <p:cNvSpPr>
            <a:spLocks noGrp="1"/>
          </p:cNvSpPr>
          <p:nvPr>
            <p:ph sz="half" idx="2"/>
          </p:nvPr>
        </p:nvSpPr>
        <p:spPr>
          <a:xfrm>
            <a:off x="629842" y="1878807"/>
            <a:ext cx="3868340" cy="2322998"/>
          </a:xfrm>
        </p:spPr>
        <p:txBody>
          <a:bodyPr wrap="square">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p:cNvSpPr>
            <a:spLocks noGrp="1"/>
          </p:cNvSpPr>
          <p:nvPr>
            <p:ph type="body" sz="quarter" idx="3"/>
          </p:nvPr>
        </p:nvSpPr>
        <p:spPr>
          <a:xfrm>
            <a:off x="4629150" y="1260872"/>
            <a:ext cx="3887391" cy="617934"/>
          </a:xfrm>
          <a:noFill/>
        </p:spPr>
        <p:txBody>
          <a:bodyPr wrap="square" anchor="b">
            <a:noAutofit/>
          </a:bodyPr>
          <a:lstStyle>
            <a:lvl1pPr marL="0" indent="0">
              <a:buNone/>
              <a:defRPr sz="2100" b="1">
                <a:solidFill>
                  <a:schemeClr val="tx2"/>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6" name="Content Placeholder 5"/>
          <p:cNvSpPr>
            <a:spLocks noGrp="1"/>
          </p:cNvSpPr>
          <p:nvPr>
            <p:ph sz="quarter" idx="4"/>
          </p:nvPr>
        </p:nvSpPr>
        <p:spPr>
          <a:xfrm>
            <a:off x="4629150" y="1878807"/>
            <a:ext cx="3887391" cy="2322998"/>
          </a:xfrm>
        </p:spPr>
        <p:txBody>
          <a:bodyPr wrap="square">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Slide Number Placeholder 8"/>
          <p:cNvSpPr>
            <a:spLocks noGrp="1"/>
          </p:cNvSpPr>
          <p:nvPr>
            <p:ph type="sldNum" sz="quarter" idx="12"/>
          </p:nvPr>
        </p:nvSpPr>
        <p:spPr/>
        <p:txBody>
          <a:bodyPr>
            <a:noAutofit/>
          </a:bodyPr>
          <a:lstStyle/>
          <a:p>
            <a:fld id="{F46C79FD-C571-418B-AB0F-5EE936C85276}" type="slidenum">
              <a:rPr lang="en-GB" smtClean="0"/>
              <a:t>‹#›</a:t>
            </a:fld>
            <a:endParaRPr lang="en-GB"/>
          </a:p>
        </p:txBody>
      </p:sp>
      <p:cxnSp>
        <p:nvCxnSpPr>
          <p:cNvPr id="12" name="Straight Connector 11"/>
          <p:cNvCxnSpPr/>
          <p:nvPr userDrawn="1"/>
        </p:nvCxnSpPr>
        <p:spPr>
          <a:xfrm flipH="1">
            <a:off x="628650" y="0"/>
            <a:ext cx="1" cy="957268"/>
          </a:xfrm>
          <a:prstGeom prst="line">
            <a:avLst/>
          </a:prstGeom>
          <a:ln w="28575">
            <a:solidFill>
              <a:schemeClr val="accent5"/>
            </a:solidFill>
          </a:ln>
        </p:spPr>
        <p:style>
          <a:lnRef idx="1">
            <a:schemeClr val="accent1"/>
          </a:lnRef>
          <a:fillRef idx="0">
            <a:schemeClr val="accent1"/>
          </a:fillRef>
          <a:effectRef idx="0">
            <a:schemeClr val="accent1"/>
          </a:effectRef>
          <a:fontRef idx="minor">
            <a:schemeClr val="tx1"/>
          </a:fontRef>
        </p:style>
      </p:cxnSp>
      <p:sp>
        <p:nvSpPr>
          <p:cNvPr id="13" name="Title Placeholder 1"/>
          <p:cNvSpPr>
            <a:spLocks noGrp="1"/>
          </p:cNvSpPr>
          <p:nvPr>
            <p:ph type="title"/>
          </p:nvPr>
        </p:nvSpPr>
        <p:spPr>
          <a:xfrm>
            <a:off x="728042" y="362145"/>
            <a:ext cx="7886700" cy="586768"/>
          </a:xfrm>
          <a:prstGeom prst="rect">
            <a:avLst/>
          </a:prstGeom>
        </p:spPr>
        <p:txBody>
          <a:bodyPr vert="horz" lIns="91440" tIns="45720" rIns="91440" bIns="0" rtlCol="0" anchor="b" anchorCtr="0">
            <a:noAutofit/>
          </a:bodyPr>
          <a:lstStyle/>
          <a:p>
            <a:r>
              <a:rPr lang="en-US"/>
              <a:t>Click to edit Master title style</a:t>
            </a:r>
            <a:endParaRPr lang="en-GB"/>
          </a:p>
        </p:txBody>
      </p:sp>
    </p:spTree>
    <p:extLst>
      <p:ext uri="{BB962C8B-B14F-4D97-AF65-F5344CB8AC3E}">
        <p14:creationId xmlns:p14="http://schemas.microsoft.com/office/powerpoint/2010/main" val="330040183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5" name="Slide Number Placeholder 4"/>
          <p:cNvSpPr>
            <a:spLocks noGrp="1"/>
          </p:cNvSpPr>
          <p:nvPr>
            <p:ph type="sldNum" sz="quarter" idx="12"/>
          </p:nvPr>
        </p:nvSpPr>
        <p:spPr/>
        <p:txBody>
          <a:bodyPr/>
          <a:lstStyle/>
          <a:p>
            <a:fld id="{F46C79FD-C571-418B-AB0F-5EE936C85276}" type="slidenum">
              <a:rPr lang="en-GB" smtClean="0"/>
              <a:t>‹#›</a:t>
            </a:fld>
            <a:endParaRPr lang="en-GB"/>
          </a:p>
        </p:txBody>
      </p:sp>
      <p:cxnSp>
        <p:nvCxnSpPr>
          <p:cNvPr id="8" name="Straight Connector 7"/>
          <p:cNvCxnSpPr/>
          <p:nvPr userDrawn="1"/>
        </p:nvCxnSpPr>
        <p:spPr>
          <a:xfrm flipH="1">
            <a:off x="628650" y="0"/>
            <a:ext cx="1" cy="957268"/>
          </a:xfrm>
          <a:prstGeom prst="line">
            <a:avLst/>
          </a:prstGeom>
          <a:ln w="28575">
            <a:solidFill>
              <a:schemeClr val="accent5"/>
            </a:solidFill>
          </a:ln>
        </p:spPr>
        <p:style>
          <a:lnRef idx="1">
            <a:schemeClr val="accent1"/>
          </a:lnRef>
          <a:fillRef idx="0">
            <a:schemeClr val="accent1"/>
          </a:fillRef>
          <a:effectRef idx="0">
            <a:schemeClr val="accent1"/>
          </a:effectRef>
          <a:fontRef idx="minor">
            <a:schemeClr val="tx1"/>
          </a:fontRef>
        </p:style>
      </p:cxnSp>
      <p:sp>
        <p:nvSpPr>
          <p:cNvPr id="9" name="Title Placeholder 1"/>
          <p:cNvSpPr>
            <a:spLocks noGrp="1"/>
          </p:cNvSpPr>
          <p:nvPr>
            <p:ph type="title"/>
          </p:nvPr>
        </p:nvSpPr>
        <p:spPr>
          <a:xfrm>
            <a:off x="728042" y="362145"/>
            <a:ext cx="7886700" cy="586768"/>
          </a:xfrm>
          <a:prstGeom prst="rect">
            <a:avLst/>
          </a:prstGeom>
        </p:spPr>
        <p:txBody>
          <a:bodyPr vert="horz" lIns="91440" tIns="45720" rIns="91440" bIns="0" rtlCol="0" anchor="b" anchorCtr="0">
            <a:noAutofit/>
          </a:bodyPr>
          <a:lstStyle/>
          <a:p>
            <a:r>
              <a:rPr lang="en-US"/>
              <a:t>Click to edit Master title style</a:t>
            </a:r>
            <a:endParaRPr lang="en-GB"/>
          </a:p>
        </p:txBody>
      </p:sp>
    </p:spTree>
    <p:extLst>
      <p:ext uri="{BB962C8B-B14F-4D97-AF65-F5344CB8AC3E}">
        <p14:creationId xmlns:p14="http://schemas.microsoft.com/office/powerpoint/2010/main" val="287657746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Quote Slide">
    <p:spTree>
      <p:nvGrpSpPr>
        <p:cNvPr id="1" name=""/>
        <p:cNvGrpSpPr/>
        <p:nvPr/>
      </p:nvGrpSpPr>
      <p:grpSpPr>
        <a:xfrm>
          <a:off x="0" y="0"/>
          <a:ext cx="0" cy="0"/>
          <a:chOff x="0" y="0"/>
          <a:chExt cx="0" cy="0"/>
        </a:xfrm>
      </p:grpSpPr>
      <p:sp>
        <p:nvSpPr>
          <p:cNvPr id="5" name="Picture Placeholder 4"/>
          <p:cNvSpPr>
            <a:spLocks noGrp="1"/>
          </p:cNvSpPr>
          <p:nvPr>
            <p:ph type="pic" sz="quarter" idx="13"/>
          </p:nvPr>
        </p:nvSpPr>
        <p:spPr>
          <a:xfrm>
            <a:off x="-44726" y="-44726"/>
            <a:ext cx="4616726" cy="5237922"/>
          </a:xfrm>
          <a:solidFill>
            <a:schemeClr val="bg2"/>
          </a:solidFill>
          <a:ln w="28575">
            <a:solidFill>
              <a:schemeClr val="accent5"/>
            </a:solidFill>
          </a:ln>
        </p:spPr>
        <p:txBody>
          <a:bodyPr/>
          <a:lstStyle/>
          <a:p>
            <a:r>
              <a:rPr lang="en-US"/>
              <a:t>Click icon to add picture</a:t>
            </a:r>
            <a:endParaRPr lang="en-GB"/>
          </a:p>
        </p:txBody>
      </p:sp>
      <p:sp>
        <p:nvSpPr>
          <p:cNvPr id="10" name="Rectangle 9"/>
          <p:cNvSpPr/>
          <p:nvPr userDrawn="1"/>
        </p:nvSpPr>
        <p:spPr>
          <a:xfrm>
            <a:off x="2410536" y="1494430"/>
            <a:ext cx="6412742" cy="271249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414586" y="557852"/>
            <a:ext cx="408692" cy="408692"/>
          </a:xfrm>
          <a:prstGeom prst="rect">
            <a:avLst/>
          </a:prstGeom>
        </p:spPr>
      </p:pic>
      <p:sp>
        <p:nvSpPr>
          <p:cNvPr id="3" name="Content Placeholder 2"/>
          <p:cNvSpPr>
            <a:spLocks noGrp="1"/>
          </p:cNvSpPr>
          <p:nvPr>
            <p:ph idx="1"/>
          </p:nvPr>
        </p:nvSpPr>
        <p:spPr>
          <a:xfrm>
            <a:off x="2653748" y="1494429"/>
            <a:ext cx="6169530" cy="2712493"/>
          </a:xfrm>
          <a:solidFill>
            <a:schemeClr val="bg1"/>
          </a:solidFill>
        </p:spPr>
        <p:txBody>
          <a:bodyPr lIns="360000" tIns="360000" rIns="360000" bIns="360000" anchor="ctr" anchorCtr="0">
            <a:noAutofit/>
          </a:bodyPr>
          <a:lstStyle>
            <a:lvl1pPr marL="0" indent="0">
              <a:buFontTx/>
              <a:buNone/>
              <a:defRPr i="1">
                <a:solidFill>
                  <a:schemeClr val="tx2"/>
                </a:solidFill>
              </a:defRPr>
            </a:lvl1pPr>
          </a:lstStyle>
          <a:p>
            <a:pPr lvl="0"/>
            <a:r>
              <a:rPr lang="en-US"/>
              <a:t>Click to edit Master text styles</a:t>
            </a:r>
          </a:p>
        </p:txBody>
      </p:sp>
    </p:spTree>
    <p:extLst>
      <p:ext uri="{BB962C8B-B14F-4D97-AF65-F5344CB8AC3E}">
        <p14:creationId xmlns:p14="http://schemas.microsoft.com/office/powerpoint/2010/main" val="759747544"/>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03D908-A0D1-D5E5-F832-59C5C0FD4EFF}"/>
              </a:ext>
            </a:extLst>
          </p:cNvPr>
          <p:cNvSpPr>
            <a:spLocks noGrp="1"/>
          </p:cNvSpPr>
          <p:nvPr>
            <p:ph type="title"/>
          </p:nvPr>
        </p:nvSpPr>
        <p:spPr/>
        <p:txBody>
          <a:bodyPr/>
          <a:lstStyle>
            <a:lvl1pPr>
              <a:defRPr sz="3200"/>
            </a:lvl1pPr>
          </a:lstStyle>
          <a:p>
            <a:r>
              <a:rPr lang="en-GB"/>
              <a:t>Click to edit Master title style</a:t>
            </a:r>
            <a:endParaRPr lang="en-LU"/>
          </a:p>
        </p:txBody>
      </p:sp>
      <p:sp>
        <p:nvSpPr>
          <p:cNvPr id="3" name="Content Placeholder 2">
            <a:extLst>
              <a:ext uri="{FF2B5EF4-FFF2-40B4-BE49-F238E27FC236}">
                <a16:creationId xmlns:a16="http://schemas.microsoft.com/office/drawing/2014/main" id="{77449DC9-B3EF-48E8-4FB6-A275F9BAFD23}"/>
              </a:ext>
            </a:extLst>
          </p:cNvPr>
          <p:cNvSpPr>
            <a:spLocks noGrp="1"/>
          </p:cNvSpPr>
          <p:nvPr>
            <p:ph idx="1"/>
          </p:nvPr>
        </p:nvSpPr>
        <p:spPr/>
        <p:txBody>
          <a:bodyPr/>
          <a:lstStyle>
            <a:lvl1pPr>
              <a:defRPr sz="2600"/>
            </a:lvl1pPr>
            <a:lvl2pPr>
              <a:defRPr sz="2200"/>
            </a:lvl2pPr>
            <a:lvl3pPr>
              <a:defRPr sz="1800"/>
            </a:lvl3pPr>
          </a:lstStyle>
          <a:p>
            <a:pPr lvl="0"/>
            <a:r>
              <a:rPr lang="en-GB"/>
              <a:t>Click to edit Master text styles</a:t>
            </a:r>
          </a:p>
          <a:p>
            <a:pPr lvl="1"/>
            <a:r>
              <a:rPr lang="en-GB"/>
              <a:t>Second level</a:t>
            </a:r>
          </a:p>
          <a:p>
            <a:pPr lvl="2"/>
            <a:r>
              <a:rPr lang="en-GB"/>
              <a:t>Third level</a:t>
            </a:r>
            <a:endParaRPr lang="en-LU"/>
          </a:p>
        </p:txBody>
      </p:sp>
      <p:sp>
        <p:nvSpPr>
          <p:cNvPr id="6" name="Slide Number Placeholder 5">
            <a:extLst>
              <a:ext uri="{FF2B5EF4-FFF2-40B4-BE49-F238E27FC236}">
                <a16:creationId xmlns:a16="http://schemas.microsoft.com/office/drawing/2014/main" id="{6E50848C-7C5F-FB69-368D-81B60EE2BE03}"/>
              </a:ext>
            </a:extLst>
          </p:cNvPr>
          <p:cNvSpPr>
            <a:spLocks noGrp="1"/>
          </p:cNvSpPr>
          <p:nvPr>
            <p:ph type="sldNum" sz="quarter" idx="12"/>
          </p:nvPr>
        </p:nvSpPr>
        <p:spPr/>
        <p:txBody>
          <a:bodyPr/>
          <a:lstStyle/>
          <a:p>
            <a:fld id="{0F67114D-ED23-2A43-BD26-04D629DC704A}" type="slidenum">
              <a:rPr lang="en-LU" smtClean="0"/>
              <a:t>‹#›</a:t>
            </a:fld>
            <a:endParaRPr lang="en-LU"/>
          </a:p>
        </p:txBody>
      </p:sp>
      <p:sp>
        <p:nvSpPr>
          <p:cNvPr id="4" name="Text Placeholder 6">
            <a:extLst>
              <a:ext uri="{FF2B5EF4-FFF2-40B4-BE49-F238E27FC236}">
                <a16:creationId xmlns:a16="http://schemas.microsoft.com/office/drawing/2014/main" id="{A60C3C1B-EA5B-92F9-967F-4D0BDD453503}"/>
              </a:ext>
            </a:extLst>
          </p:cNvPr>
          <p:cNvSpPr>
            <a:spLocks noGrp="1"/>
          </p:cNvSpPr>
          <p:nvPr>
            <p:ph type="body" sz="quarter" idx="13" hasCustomPrompt="1"/>
          </p:nvPr>
        </p:nvSpPr>
        <p:spPr>
          <a:xfrm>
            <a:off x="1587500" y="4767264"/>
            <a:ext cx="2774950" cy="164386"/>
          </a:xfrm>
        </p:spPr>
        <p:txBody>
          <a:bodyPr lIns="0" tIns="0" rIns="0" bIns="0" anchor="b" anchorCtr="0">
            <a:noAutofit/>
          </a:bodyPr>
          <a:lstStyle>
            <a:lvl1pPr marL="0" indent="0">
              <a:buNone/>
              <a:defRPr sz="1000">
                <a:solidFill>
                  <a:schemeClr val="tx1">
                    <a:lumMod val="50000"/>
                    <a:lumOff val="50000"/>
                  </a:schemeClr>
                </a:solidFill>
              </a:defRPr>
            </a:lvl1pPr>
            <a:lvl2pPr marL="457200" indent="0">
              <a:buNone/>
              <a:defRPr sz="1000">
                <a:solidFill>
                  <a:schemeClr val="tx1">
                    <a:lumMod val="50000"/>
                    <a:lumOff val="50000"/>
                  </a:schemeClr>
                </a:solidFill>
              </a:defRPr>
            </a:lvl2pPr>
            <a:lvl3pPr marL="914400" indent="0">
              <a:buNone/>
              <a:defRPr sz="1000">
                <a:solidFill>
                  <a:schemeClr val="tx1">
                    <a:lumMod val="50000"/>
                    <a:lumOff val="50000"/>
                  </a:schemeClr>
                </a:solidFill>
              </a:defRPr>
            </a:lvl3pPr>
            <a:lvl4pPr marL="1371600" indent="0">
              <a:buNone/>
              <a:defRPr sz="1000">
                <a:solidFill>
                  <a:schemeClr val="tx1">
                    <a:lumMod val="50000"/>
                    <a:lumOff val="50000"/>
                  </a:schemeClr>
                </a:solidFill>
              </a:defRPr>
            </a:lvl4pPr>
            <a:lvl5pPr marL="1828800" indent="0">
              <a:buNone/>
              <a:defRPr sz="1000">
                <a:solidFill>
                  <a:schemeClr val="tx1">
                    <a:lumMod val="50000"/>
                    <a:lumOff val="50000"/>
                  </a:schemeClr>
                </a:solidFill>
              </a:defRPr>
            </a:lvl5pPr>
          </a:lstStyle>
          <a:p>
            <a:pPr lvl="0"/>
            <a:r>
              <a:rPr lang="en-GB"/>
              <a:t>Insert here the title of the presentation</a:t>
            </a:r>
            <a:endParaRPr lang="en-LU"/>
          </a:p>
        </p:txBody>
      </p:sp>
    </p:spTree>
    <p:extLst>
      <p:ext uri="{BB962C8B-B14F-4D97-AF65-F5344CB8AC3E}">
        <p14:creationId xmlns:p14="http://schemas.microsoft.com/office/powerpoint/2010/main" val="3057843049"/>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Picture and Content (half page)">
    <p:spTree>
      <p:nvGrpSpPr>
        <p:cNvPr id="1" name=""/>
        <p:cNvGrpSpPr/>
        <p:nvPr/>
      </p:nvGrpSpPr>
      <p:grpSpPr>
        <a:xfrm>
          <a:off x="0" y="0"/>
          <a:ext cx="0" cy="0"/>
          <a:chOff x="0" y="0"/>
          <a:chExt cx="0" cy="0"/>
        </a:xfrm>
      </p:grpSpPr>
      <p:sp>
        <p:nvSpPr>
          <p:cNvPr id="3" name="Content Placeholder 2"/>
          <p:cNvSpPr>
            <a:spLocks noGrp="1"/>
          </p:cNvSpPr>
          <p:nvPr>
            <p:ph idx="1"/>
          </p:nvPr>
        </p:nvSpPr>
        <p:spPr>
          <a:xfrm>
            <a:off x="5112792" y="1369219"/>
            <a:ext cx="3695131" cy="2827468"/>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Slide Number Placeholder 5"/>
          <p:cNvSpPr>
            <a:spLocks noGrp="1"/>
          </p:cNvSpPr>
          <p:nvPr>
            <p:ph type="sldNum" sz="quarter" idx="12"/>
          </p:nvPr>
        </p:nvSpPr>
        <p:spPr/>
        <p:txBody>
          <a:bodyPr/>
          <a:lstStyle/>
          <a:p>
            <a:fld id="{F46C79FD-C571-418B-AB0F-5EE936C85276}" type="slidenum">
              <a:rPr lang="en-GB" smtClean="0"/>
              <a:t>‹#›</a:t>
            </a:fld>
            <a:endParaRPr lang="en-GB"/>
          </a:p>
        </p:txBody>
      </p:sp>
      <p:sp>
        <p:nvSpPr>
          <p:cNvPr id="10" name="Title Placeholder 1"/>
          <p:cNvSpPr>
            <a:spLocks noGrp="1"/>
          </p:cNvSpPr>
          <p:nvPr>
            <p:ph type="title"/>
          </p:nvPr>
        </p:nvSpPr>
        <p:spPr>
          <a:xfrm>
            <a:off x="5112792" y="362145"/>
            <a:ext cx="3501950" cy="586768"/>
          </a:xfrm>
          <a:prstGeom prst="rect">
            <a:avLst/>
          </a:prstGeom>
        </p:spPr>
        <p:txBody>
          <a:bodyPr vert="horz" lIns="91440" tIns="45720" rIns="91440" bIns="0" rtlCol="0" anchor="b" anchorCtr="0">
            <a:noAutofit/>
          </a:bodyPr>
          <a:lstStyle/>
          <a:p>
            <a:r>
              <a:rPr lang="en-US"/>
              <a:t>Click to edit Master title style</a:t>
            </a:r>
            <a:endParaRPr lang="en-GB"/>
          </a:p>
        </p:txBody>
      </p:sp>
      <p:sp>
        <p:nvSpPr>
          <p:cNvPr id="7" name="Picture Placeholder 4"/>
          <p:cNvSpPr>
            <a:spLocks noGrp="1"/>
          </p:cNvSpPr>
          <p:nvPr>
            <p:ph type="pic" sz="quarter" idx="13"/>
          </p:nvPr>
        </p:nvSpPr>
        <p:spPr>
          <a:xfrm>
            <a:off x="-34787" y="-34787"/>
            <a:ext cx="4606787" cy="5223013"/>
          </a:xfrm>
          <a:solidFill>
            <a:schemeClr val="bg2"/>
          </a:solidFill>
          <a:ln w="28575">
            <a:solidFill>
              <a:schemeClr val="accent5"/>
            </a:solidFill>
          </a:ln>
        </p:spPr>
        <p:txBody>
          <a:bodyPr/>
          <a:lstStyle/>
          <a:p>
            <a:r>
              <a:rPr lang="en-US"/>
              <a:t>Click icon to add picture</a:t>
            </a:r>
            <a:endParaRPr lang="en-GB"/>
          </a:p>
        </p:txBody>
      </p:sp>
    </p:spTree>
    <p:extLst>
      <p:ext uri="{BB962C8B-B14F-4D97-AF65-F5344CB8AC3E}">
        <p14:creationId xmlns:p14="http://schemas.microsoft.com/office/powerpoint/2010/main" val="762079650"/>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3 images">
    <p:spTree>
      <p:nvGrpSpPr>
        <p:cNvPr id="1" name=""/>
        <p:cNvGrpSpPr/>
        <p:nvPr/>
      </p:nvGrpSpPr>
      <p:grpSpPr>
        <a:xfrm>
          <a:off x="0" y="0"/>
          <a:ext cx="0" cy="0"/>
          <a:chOff x="0" y="0"/>
          <a:chExt cx="0" cy="0"/>
        </a:xfrm>
      </p:grpSpPr>
      <p:sp>
        <p:nvSpPr>
          <p:cNvPr id="5" name="Slide Number Placeholder 4"/>
          <p:cNvSpPr>
            <a:spLocks noGrp="1"/>
          </p:cNvSpPr>
          <p:nvPr>
            <p:ph type="sldNum" sz="quarter" idx="12"/>
          </p:nvPr>
        </p:nvSpPr>
        <p:spPr/>
        <p:txBody>
          <a:bodyPr/>
          <a:lstStyle/>
          <a:p>
            <a:fld id="{F46C79FD-C571-418B-AB0F-5EE936C85276}" type="slidenum">
              <a:rPr lang="en-GB" smtClean="0"/>
              <a:t>‹#›</a:t>
            </a:fld>
            <a:endParaRPr lang="en-GB"/>
          </a:p>
        </p:txBody>
      </p:sp>
      <p:cxnSp>
        <p:nvCxnSpPr>
          <p:cNvPr id="8" name="Straight Connector 7"/>
          <p:cNvCxnSpPr/>
          <p:nvPr userDrawn="1"/>
        </p:nvCxnSpPr>
        <p:spPr>
          <a:xfrm flipH="1">
            <a:off x="628650" y="0"/>
            <a:ext cx="1" cy="957268"/>
          </a:xfrm>
          <a:prstGeom prst="line">
            <a:avLst/>
          </a:prstGeom>
          <a:ln w="28575">
            <a:solidFill>
              <a:schemeClr val="accent5"/>
            </a:solidFill>
          </a:ln>
        </p:spPr>
        <p:style>
          <a:lnRef idx="1">
            <a:schemeClr val="accent1"/>
          </a:lnRef>
          <a:fillRef idx="0">
            <a:schemeClr val="accent1"/>
          </a:fillRef>
          <a:effectRef idx="0">
            <a:schemeClr val="accent1"/>
          </a:effectRef>
          <a:fontRef idx="minor">
            <a:schemeClr val="tx1"/>
          </a:fontRef>
        </p:style>
      </p:cxnSp>
      <p:sp>
        <p:nvSpPr>
          <p:cNvPr id="9" name="Title Placeholder 1"/>
          <p:cNvSpPr>
            <a:spLocks noGrp="1"/>
          </p:cNvSpPr>
          <p:nvPr>
            <p:ph type="title"/>
          </p:nvPr>
        </p:nvSpPr>
        <p:spPr>
          <a:xfrm>
            <a:off x="728042" y="362145"/>
            <a:ext cx="7886700" cy="586768"/>
          </a:xfrm>
          <a:prstGeom prst="rect">
            <a:avLst/>
          </a:prstGeom>
        </p:spPr>
        <p:txBody>
          <a:bodyPr vert="horz" lIns="91440" tIns="45720" rIns="91440" bIns="0" rtlCol="0" anchor="b" anchorCtr="0">
            <a:noAutofit/>
          </a:bodyPr>
          <a:lstStyle/>
          <a:p>
            <a:r>
              <a:rPr lang="en-US"/>
              <a:t>Click to edit Master title style</a:t>
            </a:r>
            <a:endParaRPr lang="en-GB"/>
          </a:p>
        </p:txBody>
      </p:sp>
      <p:sp>
        <p:nvSpPr>
          <p:cNvPr id="3" name="Picture Placeholder 2"/>
          <p:cNvSpPr>
            <a:spLocks noGrp="1"/>
          </p:cNvSpPr>
          <p:nvPr>
            <p:ph type="pic" sz="quarter" idx="13"/>
          </p:nvPr>
        </p:nvSpPr>
        <p:spPr>
          <a:xfrm>
            <a:off x="728042" y="1713501"/>
            <a:ext cx="2356247" cy="1568053"/>
          </a:xfrm>
          <a:solidFill>
            <a:schemeClr val="bg2"/>
          </a:solidFill>
        </p:spPr>
        <p:txBody>
          <a:bodyPr/>
          <a:lstStyle/>
          <a:p>
            <a:r>
              <a:rPr lang="en-US"/>
              <a:t>Click icon to add picture</a:t>
            </a:r>
            <a:endParaRPr lang="en-GB"/>
          </a:p>
        </p:txBody>
      </p:sp>
      <p:sp>
        <p:nvSpPr>
          <p:cNvPr id="11" name="Picture Placeholder 2"/>
          <p:cNvSpPr>
            <a:spLocks noGrp="1"/>
          </p:cNvSpPr>
          <p:nvPr>
            <p:ph type="pic" sz="quarter" idx="14"/>
          </p:nvPr>
        </p:nvSpPr>
        <p:spPr>
          <a:xfrm>
            <a:off x="5926089" y="1713501"/>
            <a:ext cx="2356247" cy="1568053"/>
          </a:xfrm>
          <a:solidFill>
            <a:schemeClr val="bg2"/>
          </a:solidFill>
        </p:spPr>
        <p:txBody>
          <a:bodyPr/>
          <a:lstStyle/>
          <a:p>
            <a:r>
              <a:rPr lang="en-US"/>
              <a:t>Click icon to add picture</a:t>
            </a:r>
            <a:endParaRPr lang="en-GB"/>
          </a:p>
        </p:txBody>
      </p:sp>
      <p:sp>
        <p:nvSpPr>
          <p:cNvPr id="12" name="Picture Placeholder 2"/>
          <p:cNvSpPr>
            <a:spLocks noGrp="1"/>
          </p:cNvSpPr>
          <p:nvPr>
            <p:ph type="pic" sz="quarter" idx="15"/>
          </p:nvPr>
        </p:nvSpPr>
        <p:spPr>
          <a:xfrm>
            <a:off x="3327065" y="1713501"/>
            <a:ext cx="2356247" cy="1568053"/>
          </a:xfrm>
          <a:solidFill>
            <a:schemeClr val="bg2"/>
          </a:solidFill>
        </p:spPr>
        <p:txBody>
          <a:bodyPr/>
          <a:lstStyle/>
          <a:p>
            <a:r>
              <a:rPr lang="en-US"/>
              <a:t>Click icon to add picture</a:t>
            </a:r>
            <a:endParaRPr lang="en-GB"/>
          </a:p>
        </p:txBody>
      </p:sp>
      <p:sp>
        <p:nvSpPr>
          <p:cNvPr id="13" name="Text Placeholder 12"/>
          <p:cNvSpPr>
            <a:spLocks noGrp="1"/>
          </p:cNvSpPr>
          <p:nvPr>
            <p:ph type="body" sz="quarter" idx="16"/>
          </p:nvPr>
        </p:nvSpPr>
        <p:spPr>
          <a:xfrm>
            <a:off x="905080" y="3029014"/>
            <a:ext cx="2002169" cy="1143176"/>
          </a:xfrm>
          <a:solidFill>
            <a:schemeClr val="bg1"/>
          </a:solidFill>
        </p:spPr>
        <p:txBody>
          <a:bodyPr tIns="90000"/>
          <a:lstStyle>
            <a:lvl1pPr marL="0" indent="0" algn="ctr">
              <a:buNone/>
              <a:defRPr sz="1500"/>
            </a:lvl1pPr>
          </a:lstStyle>
          <a:p>
            <a:pPr lvl="0"/>
            <a:r>
              <a:rPr lang="en-US"/>
              <a:t>Click to edit Master text styles</a:t>
            </a:r>
          </a:p>
        </p:txBody>
      </p:sp>
      <p:sp>
        <p:nvSpPr>
          <p:cNvPr id="15" name="Text Placeholder 12"/>
          <p:cNvSpPr>
            <a:spLocks noGrp="1"/>
          </p:cNvSpPr>
          <p:nvPr>
            <p:ph type="body" sz="quarter" idx="17"/>
          </p:nvPr>
        </p:nvSpPr>
        <p:spPr>
          <a:xfrm>
            <a:off x="3504104" y="3031459"/>
            <a:ext cx="2002169" cy="1143176"/>
          </a:xfrm>
          <a:solidFill>
            <a:schemeClr val="bg1"/>
          </a:solidFill>
        </p:spPr>
        <p:txBody>
          <a:bodyPr tIns="90000"/>
          <a:lstStyle>
            <a:lvl1pPr marL="0" indent="0" algn="ctr">
              <a:buNone/>
              <a:defRPr sz="1500"/>
            </a:lvl1pPr>
          </a:lstStyle>
          <a:p>
            <a:pPr lvl="0"/>
            <a:r>
              <a:rPr lang="en-US"/>
              <a:t>Click to edit Master text styles</a:t>
            </a:r>
          </a:p>
        </p:txBody>
      </p:sp>
      <p:sp>
        <p:nvSpPr>
          <p:cNvPr id="16" name="Text Placeholder 12"/>
          <p:cNvSpPr>
            <a:spLocks noGrp="1"/>
          </p:cNvSpPr>
          <p:nvPr>
            <p:ph type="body" sz="quarter" idx="18"/>
          </p:nvPr>
        </p:nvSpPr>
        <p:spPr>
          <a:xfrm>
            <a:off x="6103127" y="3028078"/>
            <a:ext cx="2002169" cy="1143176"/>
          </a:xfrm>
          <a:solidFill>
            <a:schemeClr val="bg1"/>
          </a:solidFill>
        </p:spPr>
        <p:txBody>
          <a:bodyPr tIns="90000"/>
          <a:lstStyle>
            <a:lvl1pPr marL="0" indent="0" algn="ctr">
              <a:buNone/>
              <a:defRPr sz="1500"/>
            </a:lvl1pPr>
          </a:lstStyle>
          <a:p>
            <a:pPr lvl="0"/>
            <a:r>
              <a:rPr lang="en-US"/>
              <a:t>Click to edit Master text styles</a:t>
            </a:r>
          </a:p>
        </p:txBody>
      </p:sp>
    </p:spTree>
    <p:extLst>
      <p:ext uri="{BB962C8B-B14F-4D97-AF65-F5344CB8AC3E}">
        <p14:creationId xmlns:p14="http://schemas.microsoft.com/office/powerpoint/2010/main" val="4178754207"/>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4 images">
    <p:spTree>
      <p:nvGrpSpPr>
        <p:cNvPr id="1" name=""/>
        <p:cNvGrpSpPr/>
        <p:nvPr/>
      </p:nvGrpSpPr>
      <p:grpSpPr>
        <a:xfrm>
          <a:off x="0" y="0"/>
          <a:ext cx="0" cy="0"/>
          <a:chOff x="0" y="0"/>
          <a:chExt cx="0" cy="0"/>
        </a:xfrm>
      </p:grpSpPr>
      <p:sp>
        <p:nvSpPr>
          <p:cNvPr id="5" name="Slide Number Placeholder 4"/>
          <p:cNvSpPr>
            <a:spLocks noGrp="1"/>
          </p:cNvSpPr>
          <p:nvPr>
            <p:ph type="sldNum" sz="quarter" idx="12"/>
          </p:nvPr>
        </p:nvSpPr>
        <p:spPr/>
        <p:txBody>
          <a:bodyPr/>
          <a:lstStyle/>
          <a:p>
            <a:fld id="{F46C79FD-C571-418B-AB0F-5EE936C85276}" type="slidenum">
              <a:rPr lang="en-GB" smtClean="0"/>
              <a:t>‹#›</a:t>
            </a:fld>
            <a:endParaRPr lang="en-GB"/>
          </a:p>
        </p:txBody>
      </p:sp>
      <p:cxnSp>
        <p:nvCxnSpPr>
          <p:cNvPr id="8" name="Straight Connector 7"/>
          <p:cNvCxnSpPr/>
          <p:nvPr userDrawn="1"/>
        </p:nvCxnSpPr>
        <p:spPr>
          <a:xfrm flipH="1">
            <a:off x="628650" y="0"/>
            <a:ext cx="1" cy="957268"/>
          </a:xfrm>
          <a:prstGeom prst="line">
            <a:avLst/>
          </a:prstGeom>
          <a:ln w="28575">
            <a:solidFill>
              <a:schemeClr val="accent5"/>
            </a:solidFill>
          </a:ln>
        </p:spPr>
        <p:style>
          <a:lnRef idx="1">
            <a:schemeClr val="accent1"/>
          </a:lnRef>
          <a:fillRef idx="0">
            <a:schemeClr val="accent1"/>
          </a:fillRef>
          <a:effectRef idx="0">
            <a:schemeClr val="accent1"/>
          </a:effectRef>
          <a:fontRef idx="minor">
            <a:schemeClr val="tx1"/>
          </a:fontRef>
        </p:style>
      </p:cxnSp>
      <p:sp>
        <p:nvSpPr>
          <p:cNvPr id="9" name="Title Placeholder 1"/>
          <p:cNvSpPr>
            <a:spLocks noGrp="1"/>
          </p:cNvSpPr>
          <p:nvPr>
            <p:ph type="title"/>
          </p:nvPr>
        </p:nvSpPr>
        <p:spPr>
          <a:xfrm>
            <a:off x="728042" y="362145"/>
            <a:ext cx="7886700" cy="586768"/>
          </a:xfrm>
          <a:prstGeom prst="rect">
            <a:avLst/>
          </a:prstGeom>
        </p:spPr>
        <p:txBody>
          <a:bodyPr vert="horz" lIns="91440" tIns="45720" rIns="91440" bIns="0" rtlCol="0" anchor="b" anchorCtr="0">
            <a:noAutofit/>
          </a:bodyPr>
          <a:lstStyle/>
          <a:p>
            <a:r>
              <a:rPr lang="en-US"/>
              <a:t>Click to edit Master title style</a:t>
            </a:r>
            <a:endParaRPr lang="en-GB"/>
          </a:p>
        </p:txBody>
      </p:sp>
      <p:sp>
        <p:nvSpPr>
          <p:cNvPr id="3" name="Picture Placeholder 2"/>
          <p:cNvSpPr>
            <a:spLocks noGrp="1"/>
          </p:cNvSpPr>
          <p:nvPr>
            <p:ph type="pic" sz="quarter" idx="13"/>
          </p:nvPr>
        </p:nvSpPr>
        <p:spPr>
          <a:xfrm>
            <a:off x="2785402" y="1619968"/>
            <a:ext cx="1846193" cy="1228619"/>
          </a:xfrm>
          <a:solidFill>
            <a:schemeClr val="bg2"/>
          </a:solidFill>
        </p:spPr>
        <p:txBody>
          <a:bodyPr/>
          <a:lstStyle/>
          <a:p>
            <a:r>
              <a:rPr lang="en-US"/>
              <a:t>Click icon to add picture</a:t>
            </a:r>
            <a:endParaRPr lang="en-GB"/>
          </a:p>
        </p:txBody>
      </p:sp>
      <p:sp>
        <p:nvSpPr>
          <p:cNvPr id="11" name="Picture Placeholder 2"/>
          <p:cNvSpPr>
            <a:spLocks noGrp="1"/>
          </p:cNvSpPr>
          <p:nvPr>
            <p:ph type="pic" sz="quarter" idx="14"/>
          </p:nvPr>
        </p:nvSpPr>
        <p:spPr>
          <a:xfrm>
            <a:off x="2785402" y="2976661"/>
            <a:ext cx="1846193" cy="1228619"/>
          </a:xfrm>
          <a:solidFill>
            <a:schemeClr val="bg2"/>
          </a:solidFill>
        </p:spPr>
        <p:txBody>
          <a:bodyPr/>
          <a:lstStyle/>
          <a:p>
            <a:r>
              <a:rPr lang="en-US"/>
              <a:t>Click icon to add picture</a:t>
            </a:r>
            <a:endParaRPr lang="en-GB"/>
          </a:p>
        </p:txBody>
      </p:sp>
      <p:sp>
        <p:nvSpPr>
          <p:cNvPr id="12" name="Picture Placeholder 2"/>
          <p:cNvSpPr>
            <a:spLocks noGrp="1"/>
          </p:cNvSpPr>
          <p:nvPr>
            <p:ph type="pic" sz="quarter" idx="15"/>
          </p:nvPr>
        </p:nvSpPr>
        <p:spPr>
          <a:xfrm>
            <a:off x="4743411" y="1619968"/>
            <a:ext cx="1846195" cy="1228619"/>
          </a:xfrm>
          <a:solidFill>
            <a:schemeClr val="bg2"/>
          </a:solidFill>
        </p:spPr>
        <p:txBody>
          <a:bodyPr/>
          <a:lstStyle/>
          <a:p>
            <a:r>
              <a:rPr lang="en-US"/>
              <a:t>Click icon to add picture</a:t>
            </a:r>
            <a:endParaRPr lang="en-GB"/>
          </a:p>
        </p:txBody>
      </p:sp>
      <p:sp>
        <p:nvSpPr>
          <p:cNvPr id="13" name="Text Placeholder 12"/>
          <p:cNvSpPr>
            <a:spLocks noGrp="1"/>
          </p:cNvSpPr>
          <p:nvPr>
            <p:ph type="body" sz="quarter" idx="16"/>
          </p:nvPr>
        </p:nvSpPr>
        <p:spPr>
          <a:xfrm>
            <a:off x="6701420" y="2976660"/>
            <a:ext cx="1890000" cy="1228619"/>
          </a:xfrm>
          <a:noFill/>
        </p:spPr>
        <p:txBody>
          <a:bodyPr tIns="90000"/>
          <a:lstStyle>
            <a:lvl1pPr marL="0" indent="0" algn="l">
              <a:buNone/>
              <a:defRPr sz="1500"/>
            </a:lvl1pPr>
          </a:lstStyle>
          <a:p>
            <a:pPr lvl="0"/>
            <a:r>
              <a:rPr lang="en-US"/>
              <a:t>Click to edit Master text styles</a:t>
            </a:r>
          </a:p>
        </p:txBody>
      </p:sp>
      <p:sp>
        <p:nvSpPr>
          <p:cNvPr id="16" name="Text Placeholder 12"/>
          <p:cNvSpPr>
            <a:spLocks noGrp="1"/>
          </p:cNvSpPr>
          <p:nvPr>
            <p:ph type="body" sz="quarter" idx="18"/>
          </p:nvPr>
        </p:nvSpPr>
        <p:spPr>
          <a:xfrm>
            <a:off x="775213" y="1619968"/>
            <a:ext cx="1890000" cy="1228619"/>
          </a:xfrm>
          <a:noFill/>
        </p:spPr>
        <p:txBody>
          <a:bodyPr tIns="90000"/>
          <a:lstStyle>
            <a:lvl1pPr marL="0" indent="0" algn="r">
              <a:buNone/>
              <a:defRPr sz="1500"/>
            </a:lvl1pPr>
          </a:lstStyle>
          <a:p>
            <a:pPr lvl="0"/>
            <a:r>
              <a:rPr lang="en-US"/>
              <a:t>Click to edit Master text styles</a:t>
            </a:r>
          </a:p>
        </p:txBody>
      </p:sp>
      <p:sp>
        <p:nvSpPr>
          <p:cNvPr id="14" name="Picture Placeholder 2"/>
          <p:cNvSpPr>
            <a:spLocks noGrp="1"/>
          </p:cNvSpPr>
          <p:nvPr>
            <p:ph type="pic" sz="quarter" idx="19"/>
          </p:nvPr>
        </p:nvSpPr>
        <p:spPr>
          <a:xfrm>
            <a:off x="4743412" y="2976660"/>
            <a:ext cx="1846193" cy="1228619"/>
          </a:xfrm>
          <a:solidFill>
            <a:schemeClr val="bg2"/>
          </a:solidFill>
        </p:spPr>
        <p:txBody>
          <a:bodyPr/>
          <a:lstStyle/>
          <a:p>
            <a:r>
              <a:rPr lang="en-US"/>
              <a:t>Click icon to add picture</a:t>
            </a:r>
            <a:endParaRPr lang="en-GB"/>
          </a:p>
        </p:txBody>
      </p:sp>
      <p:sp>
        <p:nvSpPr>
          <p:cNvPr id="17" name="Text Placeholder 12"/>
          <p:cNvSpPr>
            <a:spLocks noGrp="1"/>
          </p:cNvSpPr>
          <p:nvPr>
            <p:ph type="body" sz="quarter" idx="20"/>
          </p:nvPr>
        </p:nvSpPr>
        <p:spPr>
          <a:xfrm>
            <a:off x="775213" y="2976661"/>
            <a:ext cx="1890000" cy="1228619"/>
          </a:xfrm>
          <a:noFill/>
        </p:spPr>
        <p:txBody>
          <a:bodyPr tIns="90000"/>
          <a:lstStyle>
            <a:lvl1pPr marL="0" indent="0" algn="r">
              <a:buNone/>
              <a:defRPr sz="1500"/>
            </a:lvl1pPr>
          </a:lstStyle>
          <a:p>
            <a:pPr lvl="0"/>
            <a:r>
              <a:rPr lang="en-US"/>
              <a:t>Click to edit Master text styles</a:t>
            </a:r>
          </a:p>
        </p:txBody>
      </p:sp>
      <p:sp>
        <p:nvSpPr>
          <p:cNvPr id="18" name="Text Placeholder 12"/>
          <p:cNvSpPr>
            <a:spLocks noGrp="1"/>
          </p:cNvSpPr>
          <p:nvPr>
            <p:ph type="body" sz="quarter" idx="21"/>
          </p:nvPr>
        </p:nvSpPr>
        <p:spPr>
          <a:xfrm>
            <a:off x="6724742" y="1619968"/>
            <a:ext cx="1890000" cy="1228619"/>
          </a:xfrm>
          <a:noFill/>
        </p:spPr>
        <p:txBody>
          <a:bodyPr tIns="90000"/>
          <a:lstStyle>
            <a:lvl1pPr marL="0" indent="0" algn="l">
              <a:buNone/>
              <a:defRPr sz="1500"/>
            </a:lvl1pPr>
          </a:lstStyle>
          <a:p>
            <a:pPr lvl="0"/>
            <a:r>
              <a:rPr lang="en-US"/>
              <a:t>Click to edit Master text styles</a:t>
            </a:r>
          </a:p>
        </p:txBody>
      </p:sp>
    </p:spTree>
    <p:extLst>
      <p:ext uri="{BB962C8B-B14F-4D97-AF65-F5344CB8AC3E}">
        <p14:creationId xmlns:p14="http://schemas.microsoft.com/office/powerpoint/2010/main" val="3043187691"/>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4" name="Picture Placeholder 2"/>
          <p:cNvSpPr>
            <a:spLocks noGrp="1"/>
          </p:cNvSpPr>
          <p:nvPr>
            <p:ph type="pic" sz="quarter" idx="13"/>
          </p:nvPr>
        </p:nvSpPr>
        <p:spPr>
          <a:xfrm>
            <a:off x="0" y="0"/>
            <a:ext cx="9144000" cy="2571750"/>
          </a:xfrm>
          <a:solidFill>
            <a:schemeClr val="bg2"/>
          </a:solidFill>
        </p:spPr>
        <p:txBody>
          <a:bodyPr/>
          <a:lstStyle/>
          <a:p>
            <a:r>
              <a:rPr lang="en-US"/>
              <a:t>Click icon to add picture</a:t>
            </a:r>
            <a:endParaRPr lang="en-GB"/>
          </a:p>
        </p:txBody>
      </p:sp>
      <p:sp>
        <p:nvSpPr>
          <p:cNvPr id="2" name="Title 1"/>
          <p:cNvSpPr>
            <a:spLocks noGrp="1"/>
          </p:cNvSpPr>
          <p:nvPr>
            <p:ph type="title"/>
          </p:nvPr>
        </p:nvSpPr>
        <p:spPr>
          <a:xfrm>
            <a:off x="628650" y="1984983"/>
            <a:ext cx="7886700" cy="586768"/>
          </a:xfrm>
          <a:solidFill>
            <a:schemeClr val="bg1"/>
          </a:solidFill>
        </p:spPr>
        <p:txBody>
          <a:bodyPr/>
          <a:lstStyle/>
          <a:p>
            <a:r>
              <a:rPr lang="en-US"/>
              <a:t>Click to edit Master title style</a:t>
            </a:r>
            <a:endParaRPr lang="en-GB"/>
          </a:p>
        </p:txBody>
      </p:sp>
      <p:sp>
        <p:nvSpPr>
          <p:cNvPr id="3" name="Slide Number Placeholder 2"/>
          <p:cNvSpPr>
            <a:spLocks noGrp="1"/>
          </p:cNvSpPr>
          <p:nvPr>
            <p:ph type="sldNum" sz="quarter" idx="10"/>
          </p:nvPr>
        </p:nvSpPr>
        <p:spPr/>
        <p:txBody>
          <a:bodyPr/>
          <a:lstStyle/>
          <a:p>
            <a:fld id="{F46C79FD-C571-418B-AB0F-5EE936C85276}" type="slidenum">
              <a:rPr lang="en-GB" smtClean="0"/>
              <a:pPr/>
              <a:t>‹#›</a:t>
            </a:fld>
            <a:endParaRPr lang="en-GB"/>
          </a:p>
        </p:txBody>
      </p:sp>
      <p:sp>
        <p:nvSpPr>
          <p:cNvPr id="6" name="Text Placeholder 5"/>
          <p:cNvSpPr>
            <a:spLocks noGrp="1"/>
          </p:cNvSpPr>
          <p:nvPr>
            <p:ph type="body" sz="quarter" idx="14"/>
          </p:nvPr>
        </p:nvSpPr>
        <p:spPr>
          <a:xfrm>
            <a:off x="628650" y="2722960"/>
            <a:ext cx="7886700" cy="152638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363548042"/>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F46C79FD-C571-418B-AB0F-5EE936C85276}" type="slidenum">
              <a:rPr lang="en-GB" smtClean="0"/>
              <a:t>‹#›</a:t>
            </a:fld>
            <a:endParaRPr lang="en-GB"/>
          </a:p>
        </p:txBody>
      </p:sp>
    </p:spTree>
    <p:extLst>
      <p:ext uri="{BB962C8B-B14F-4D97-AF65-F5344CB8AC3E}">
        <p14:creationId xmlns:p14="http://schemas.microsoft.com/office/powerpoint/2010/main" val="60844379"/>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userDrawn="1">
  <p:cSld name="Text only">
    <p:spTree>
      <p:nvGrpSpPr>
        <p:cNvPr id="1" name=""/>
        <p:cNvGrpSpPr/>
        <p:nvPr/>
      </p:nvGrpSpPr>
      <p:grpSpPr>
        <a:xfrm>
          <a:off x="0" y="0"/>
          <a:ext cx="0" cy="0"/>
          <a:chOff x="0" y="0"/>
          <a:chExt cx="0" cy="0"/>
        </a:xfrm>
      </p:grpSpPr>
      <p:sp>
        <p:nvSpPr>
          <p:cNvPr id="4" name="Espace réservé du texte 12">
            <a:extLst>
              <a:ext uri="{FF2B5EF4-FFF2-40B4-BE49-F238E27FC236}">
                <a16:creationId xmlns:a16="http://schemas.microsoft.com/office/drawing/2014/main" id="{E705539D-A0B6-57CB-FA7A-F14C57BA0F8A}"/>
              </a:ext>
            </a:extLst>
          </p:cNvPr>
          <p:cNvSpPr>
            <a:spLocks noGrp="1"/>
          </p:cNvSpPr>
          <p:nvPr>
            <p:ph type="body" sz="quarter" idx="21" hasCustomPrompt="1"/>
          </p:nvPr>
        </p:nvSpPr>
        <p:spPr>
          <a:xfrm>
            <a:off x="663179" y="1335000"/>
            <a:ext cx="7896300" cy="2759001"/>
          </a:xfrm>
        </p:spPr>
        <p:txBody>
          <a:bodyPr anchor="t"/>
          <a:lstStyle>
            <a:lvl1pPr marL="214313" indent="-214313">
              <a:spcBef>
                <a:spcPts val="450"/>
              </a:spcBef>
              <a:buClr>
                <a:srgbClr val="C00000"/>
              </a:buClr>
              <a:buFont typeface="Arial" panose="020B0604020202020204" pitchFamily="34" charset="0"/>
              <a:buChar char="•"/>
              <a:defRPr sz="1350"/>
            </a:lvl1pPr>
            <a:lvl3pPr>
              <a:defRPr sz="1200"/>
            </a:lvl3pPr>
            <a:lvl4pPr>
              <a:defRPr sz="1050"/>
            </a:lvl4pPr>
            <a:lvl5pPr marL="540000" indent="-135000">
              <a:buFont typeface="Arial" panose="020B0604020202020204" pitchFamily="34" charset="0"/>
              <a:buChar char="•"/>
              <a:defRPr sz="900"/>
            </a:lvl5pPr>
          </a:lstStyle>
          <a:p>
            <a:pPr lvl="0"/>
            <a:r>
              <a:rPr lang="fr-FR"/>
              <a:t>First level</a:t>
            </a:r>
          </a:p>
          <a:p>
            <a:pPr lvl="2"/>
            <a:r>
              <a:rPr lang="fr-FR"/>
              <a:t>Second level</a:t>
            </a:r>
          </a:p>
          <a:p>
            <a:pPr lvl="3"/>
            <a:r>
              <a:rPr lang="fr-FR"/>
              <a:t>Third level</a:t>
            </a:r>
          </a:p>
          <a:p>
            <a:pPr lvl="4"/>
            <a:r>
              <a:rPr lang="fr-FR" err="1"/>
              <a:t>Fourth</a:t>
            </a:r>
            <a:r>
              <a:rPr lang="fr-FR"/>
              <a:t> </a:t>
            </a:r>
            <a:r>
              <a:rPr lang="fr-FR" err="1"/>
              <a:t>level</a:t>
            </a:r>
            <a:endParaRPr lang="fr-FR"/>
          </a:p>
        </p:txBody>
      </p:sp>
      <p:sp>
        <p:nvSpPr>
          <p:cNvPr id="8" name="Rectangle 7">
            <a:extLst>
              <a:ext uri="{FF2B5EF4-FFF2-40B4-BE49-F238E27FC236}">
                <a16:creationId xmlns:a16="http://schemas.microsoft.com/office/drawing/2014/main" id="{BBDAB702-4309-B876-BC2B-CBA81FCB147B}"/>
              </a:ext>
            </a:extLst>
          </p:cNvPr>
          <p:cNvSpPr/>
          <p:nvPr userDrawn="1"/>
        </p:nvSpPr>
        <p:spPr>
          <a:xfrm>
            <a:off x="0" y="5120268"/>
            <a:ext cx="9153000" cy="32400"/>
          </a:xfrm>
          <a:prstGeom prst="rect">
            <a:avLst/>
          </a:prstGeom>
          <a:gradFill>
            <a:gsLst>
              <a:gs pos="12000">
                <a:srgbClr val="8B1D82"/>
              </a:gs>
              <a:gs pos="0">
                <a:srgbClr val="4D1D82"/>
              </a:gs>
              <a:gs pos="29000">
                <a:srgbClr val="CF022B"/>
              </a:gs>
              <a:gs pos="100000">
                <a:srgbClr val="F07D00"/>
              </a:gs>
            </a:gsLst>
            <a:lin ang="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350" b="1" i="0">
              <a:latin typeface="Tahoma" panose="020B0604030504040204" pitchFamily="34" charset="0"/>
            </a:endParaRPr>
          </a:p>
        </p:txBody>
      </p:sp>
      <p:sp>
        <p:nvSpPr>
          <p:cNvPr id="3" name="Titre 1">
            <a:extLst>
              <a:ext uri="{FF2B5EF4-FFF2-40B4-BE49-F238E27FC236}">
                <a16:creationId xmlns:a16="http://schemas.microsoft.com/office/drawing/2014/main" id="{68158F0D-14CE-146C-BF1F-84FFE6EC8F9A}"/>
              </a:ext>
            </a:extLst>
          </p:cNvPr>
          <p:cNvSpPr>
            <a:spLocks noGrp="1"/>
          </p:cNvSpPr>
          <p:nvPr>
            <p:ph type="title" hasCustomPrompt="1"/>
          </p:nvPr>
        </p:nvSpPr>
        <p:spPr>
          <a:xfrm>
            <a:off x="656035" y="303610"/>
            <a:ext cx="7939088" cy="461665"/>
          </a:xfrm>
        </p:spPr>
        <p:txBody>
          <a:bodyPr wrap="square" anchor="t">
            <a:spAutoFit/>
          </a:bodyPr>
          <a:lstStyle>
            <a:lvl1pPr>
              <a:spcBef>
                <a:spcPts val="0"/>
              </a:spcBef>
              <a:defRPr/>
            </a:lvl1pPr>
          </a:lstStyle>
          <a:p>
            <a:r>
              <a:rPr lang="fr-FR" noProof="0"/>
              <a:t>Click to </a:t>
            </a:r>
            <a:r>
              <a:rPr lang="fr-FR" noProof="0" err="1"/>
              <a:t>edit</a:t>
            </a:r>
            <a:r>
              <a:rPr lang="fr-FR" noProof="0"/>
              <a:t> master </a:t>
            </a:r>
            <a:r>
              <a:rPr lang="fr-FR" noProof="0" err="1"/>
              <a:t>title</a:t>
            </a:r>
            <a:endParaRPr lang="en-US"/>
          </a:p>
        </p:txBody>
      </p:sp>
      <p:sp>
        <p:nvSpPr>
          <p:cNvPr id="5" name="Espace réservé du texte 13">
            <a:extLst>
              <a:ext uri="{FF2B5EF4-FFF2-40B4-BE49-F238E27FC236}">
                <a16:creationId xmlns:a16="http://schemas.microsoft.com/office/drawing/2014/main" id="{413FEC71-5C4D-AFFA-02EB-D7EA3AC08816}"/>
              </a:ext>
            </a:extLst>
          </p:cNvPr>
          <p:cNvSpPr>
            <a:spLocks noGrp="1"/>
          </p:cNvSpPr>
          <p:nvPr>
            <p:ph type="body" sz="quarter" idx="24" hasCustomPrompt="1"/>
          </p:nvPr>
        </p:nvSpPr>
        <p:spPr>
          <a:xfrm>
            <a:off x="656035" y="735660"/>
            <a:ext cx="7939088" cy="300082"/>
          </a:xfrm>
          <a:prstGeom prst="rect">
            <a:avLst/>
          </a:prstGeom>
        </p:spPr>
        <p:txBody>
          <a:bodyPr wrap="square" anchor="t">
            <a:spAutoFit/>
          </a:bodyPr>
          <a:lstStyle>
            <a:lvl1pPr>
              <a:lnSpc>
                <a:spcPct val="100000"/>
              </a:lnSpc>
              <a:spcBef>
                <a:spcPts val="0"/>
              </a:spcBef>
              <a:defRPr sz="1350"/>
            </a:lvl1pPr>
          </a:lstStyle>
          <a:p>
            <a:r>
              <a:rPr lang="en-US"/>
              <a:t>Click to edit subtitle</a:t>
            </a:r>
          </a:p>
        </p:txBody>
      </p:sp>
    </p:spTree>
    <p:extLst>
      <p:ext uri="{BB962C8B-B14F-4D97-AF65-F5344CB8AC3E}">
        <p14:creationId xmlns:p14="http://schemas.microsoft.com/office/powerpoint/2010/main" val="836987120"/>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cSld name="Title and body text and bullet point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120F1C0-2CE9-2640-8D54-464A0BF69C2C}"/>
              </a:ext>
            </a:extLst>
          </p:cNvPr>
          <p:cNvSpPr>
            <a:spLocks noGrp="1"/>
          </p:cNvSpPr>
          <p:nvPr>
            <p:ph type="title"/>
          </p:nvPr>
        </p:nvSpPr>
        <p:spPr/>
        <p:txBody>
          <a:bodyPr/>
          <a:lstStyle/>
          <a:p>
            <a:r>
              <a:rPr lang="en-US"/>
              <a:t>Click to edit Master title style</a:t>
            </a:r>
            <a:endParaRPr lang="en-IE"/>
          </a:p>
        </p:txBody>
      </p:sp>
      <p:sp>
        <p:nvSpPr>
          <p:cNvPr id="6" name="Text Placeholder 2">
            <a:extLst>
              <a:ext uri="{FF2B5EF4-FFF2-40B4-BE49-F238E27FC236}">
                <a16:creationId xmlns:a16="http://schemas.microsoft.com/office/drawing/2014/main" id="{509BE7C2-2602-0313-8D83-EAB1C755A713}"/>
              </a:ext>
            </a:extLst>
          </p:cNvPr>
          <p:cNvSpPr>
            <a:spLocks noGrp="1"/>
          </p:cNvSpPr>
          <p:nvPr>
            <p:ph idx="1"/>
          </p:nvPr>
        </p:nvSpPr>
        <p:spPr>
          <a:xfrm>
            <a:off x="628650" y="1369219"/>
            <a:ext cx="7886700" cy="2728855"/>
          </a:xfrm>
          <a:prstGeom prst="rect">
            <a:avLst/>
          </a:prstGeom>
        </p:spPr>
        <p:txBody>
          <a:bodyPr vert="horz" lIns="144000" tIns="144000" rIns="144000" bIns="144000" rtlCol="0">
            <a:noAutofit/>
          </a:bodyPr>
          <a:lstStyle>
            <a:lvl1pPr marL="257175" indent="-257175">
              <a:buClr>
                <a:schemeClr val="tx2"/>
              </a:buClr>
              <a:buSzPct val="150000"/>
              <a:buFont typeface="Arial" panose="020B0604020202020204" pitchFamily="34" charset="0"/>
              <a:buChar char="•"/>
              <a:defRPr sz="1500"/>
            </a:lvl1pPr>
            <a:lvl2pPr>
              <a:buClr>
                <a:schemeClr val="tx2"/>
              </a:buClr>
              <a:buSzPct val="100000"/>
              <a:defRPr sz="1350"/>
            </a:lvl2pPr>
            <a:lvl3pPr>
              <a:buClr>
                <a:schemeClr val="tx2"/>
              </a:buClr>
              <a:defRPr sz="1200"/>
            </a:lvl3pPr>
            <a:lvl4pPr>
              <a:buClr>
                <a:schemeClr val="tx2"/>
              </a:buClr>
              <a:defRPr sz="1050"/>
            </a:lvl4pPr>
          </a:lstStyle>
          <a:p>
            <a:pPr lvl="0"/>
            <a:r>
              <a:rPr lang="en-US"/>
              <a:t>Click to edit Master text styles</a:t>
            </a:r>
          </a:p>
          <a:p>
            <a:pPr lvl="3"/>
            <a:endParaRPr lang="en-US"/>
          </a:p>
          <a:p>
            <a:pPr lvl="3"/>
            <a:endParaRPr lang="en-US"/>
          </a:p>
        </p:txBody>
      </p:sp>
      <p:sp>
        <p:nvSpPr>
          <p:cNvPr id="3" name="Slide Number Placeholder 5">
            <a:extLst>
              <a:ext uri="{FF2B5EF4-FFF2-40B4-BE49-F238E27FC236}">
                <a16:creationId xmlns:a16="http://schemas.microsoft.com/office/drawing/2014/main" id="{5D43C2E6-DFE0-78B7-AEF2-E94F28383CAA}"/>
              </a:ext>
            </a:extLst>
          </p:cNvPr>
          <p:cNvSpPr>
            <a:spLocks noGrp="1"/>
          </p:cNvSpPr>
          <p:nvPr>
            <p:ph type="sldNum" sz="quarter" idx="4"/>
          </p:nvPr>
        </p:nvSpPr>
        <p:spPr>
          <a:xfrm>
            <a:off x="282141" y="4711552"/>
            <a:ext cx="2057400" cy="273844"/>
          </a:xfrm>
          <a:prstGeom prst="rect">
            <a:avLst/>
          </a:prstGeom>
        </p:spPr>
        <p:txBody>
          <a:bodyPr vert="horz" lIns="91440" tIns="45720" rIns="91440" bIns="45720" rtlCol="0" anchor="b"/>
          <a:lstStyle>
            <a:lvl1pPr algn="r">
              <a:defRPr sz="750">
                <a:solidFill>
                  <a:schemeClr val="tx1"/>
                </a:solidFill>
                <a:latin typeface="+mn-lt"/>
              </a:defRPr>
            </a:lvl1pPr>
          </a:lstStyle>
          <a:p>
            <a:pPr algn="l"/>
            <a:fld id="{768364BB-9B21-4D29-A19C-C6410F652861}" type="slidenum">
              <a:rPr lang="en-IE" smtClean="0"/>
              <a:pPr algn="l"/>
              <a:t>‹#›</a:t>
            </a:fld>
            <a:endParaRPr lang="en-IE"/>
          </a:p>
        </p:txBody>
      </p:sp>
    </p:spTree>
    <p:extLst>
      <p:ext uri="{BB962C8B-B14F-4D97-AF65-F5344CB8AC3E}">
        <p14:creationId xmlns:p14="http://schemas.microsoft.com/office/powerpoint/2010/main" val="1887932846"/>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noAutofit/>
          </a:bodyPr>
          <a:lstStyle/>
          <a:p>
            <a:fld id="{F46C79FD-C571-418B-AB0F-5EE936C85276}" type="slidenum">
              <a:rPr lang="en-GB" smtClean="0"/>
              <a:t>‹#›</a:t>
            </a:fld>
            <a:endParaRPr lang="en-GB"/>
          </a:p>
        </p:txBody>
      </p:sp>
      <p:sp>
        <p:nvSpPr>
          <p:cNvPr id="2" name="Rectangle 1"/>
          <p:cNvSpPr/>
          <p:nvPr userDrawn="1"/>
        </p:nvSpPr>
        <p:spPr>
          <a:xfrm>
            <a:off x="0" y="0"/>
            <a:ext cx="9144000" cy="80863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sz="1350"/>
          </a:p>
        </p:txBody>
      </p:sp>
      <p:sp>
        <p:nvSpPr>
          <p:cNvPr id="5" name="Rectangle 4"/>
          <p:cNvSpPr/>
          <p:nvPr userDrawn="1"/>
        </p:nvSpPr>
        <p:spPr>
          <a:xfrm>
            <a:off x="0" y="808630"/>
            <a:ext cx="9144000" cy="4334870"/>
          </a:xfrm>
          <a:prstGeom prst="rect">
            <a:avLst/>
          </a:prstGeom>
          <a:solidFill>
            <a:srgbClr val="0356B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sz="1350">
              <a:solidFill>
                <a:schemeClr val="accent4"/>
              </a:solidFill>
            </a:endParaRPr>
          </a:p>
        </p:txBody>
      </p:sp>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041700" y="193532"/>
            <a:ext cx="1244845" cy="864345"/>
          </a:xfrm>
          <a:prstGeom prst="rect">
            <a:avLst/>
          </a:prstGeom>
        </p:spPr>
      </p:pic>
      <p:sp>
        <p:nvSpPr>
          <p:cNvPr id="6" name="Title 1"/>
          <p:cNvSpPr>
            <a:spLocks noGrp="1"/>
          </p:cNvSpPr>
          <p:nvPr>
            <p:ph type="ctrTitle"/>
          </p:nvPr>
        </p:nvSpPr>
        <p:spPr>
          <a:xfrm>
            <a:off x="803513" y="1494430"/>
            <a:ext cx="7548918" cy="1612142"/>
          </a:xfrm>
        </p:spPr>
        <p:txBody>
          <a:bodyPr wrap="none" anchor="t">
            <a:noAutofit/>
          </a:bodyPr>
          <a:lstStyle>
            <a:lvl1pPr algn="l">
              <a:defRPr sz="4500" b="0">
                <a:solidFill>
                  <a:schemeClr val="bg1"/>
                </a:solidFill>
              </a:defRPr>
            </a:lvl1pPr>
          </a:lstStyle>
          <a:p>
            <a:r>
              <a:rPr lang="en-US"/>
              <a:t>Click to edit Master title style</a:t>
            </a:r>
            <a:endParaRPr lang="en-GB"/>
          </a:p>
        </p:txBody>
      </p:sp>
      <p:cxnSp>
        <p:nvCxnSpPr>
          <p:cNvPr id="7" name="Straight Connector 6"/>
          <p:cNvCxnSpPr/>
          <p:nvPr userDrawn="1"/>
        </p:nvCxnSpPr>
        <p:spPr>
          <a:xfrm>
            <a:off x="628650" y="1484194"/>
            <a:ext cx="0" cy="3659306"/>
          </a:xfrm>
          <a:prstGeom prst="line">
            <a:avLst/>
          </a:prstGeom>
          <a:ln w="28575">
            <a:solidFill>
              <a:schemeClr val="accent5"/>
            </a:solidFill>
          </a:ln>
        </p:spPr>
        <p:style>
          <a:lnRef idx="1">
            <a:schemeClr val="accent1"/>
          </a:lnRef>
          <a:fillRef idx="0">
            <a:schemeClr val="accent1"/>
          </a:fillRef>
          <a:effectRef idx="0">
            <a:schemeClr val="accent1"/>
          </a:effectRef>
          <a:fontRef idx="minor">
            <a:schemeClr val="tx1"/>
          </a:fontRef>
        </p:style>
      </p:cxnSp>
      <p:sp>
        <p:nvSpPr>
          <p:cNvPr id="11" name="Rectangle 10"/>
          <p:cNvSpPr/>
          <p:nvPr userDrawn="1"/>
        </p:nvSpPr>
        <p:spPr>
          <a:xfrm>
            <a:off x="4305869" y="4964373"/>
            <a:ext cx="530557" cy="180446"/>
          </a:xfrm>
          <a:prstGeom prst="rect">
            <a:avLst/>
          </a:prstGeom>
          <a:solidFill>
            <a:srgbClr val="00449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sz="1350"/>
          </a:p>
        </p:txBody>
      </p:sp>
      <p:sp>
        <p:nvSpPr>
          <p:cNvPr id="17" name="Subtitle 2"/>
          <p:cNvSpPr>
            <a:spLocks noGrp="1"/>
          </p:cNvSpPr>
          <p:nvPr>
            <p:ph type="subTitle" idx="1"/>
          </p:nvPr>
        </p:nvSpPr>
        <p:spPr>
          <a:xfrm>
            <a:off x="803513" y="3313537"/>
            <a:ext cx="7548918" cy="673316"/>
          </a:xfrm>
        </p:spPr>
        <p:txBody>
          <a:bodyPr>
            <a:noAutofit/>
          </a:bodyPr>
          <a:lstStyle>
            <a:lvl1pPr marL="0" indent="0" algn="l">
              <a:buNone/>
              <a:defRPr sz="2100" i="0">
                <a:solidFill>
                  <a:schemeClr val="accent5"/>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endParaRPr lang="en-GB"/>
          </a:p>
        </p:txBody>
      </p:sp>
      <p:sp>
        <p:nvSpPr>
          <p:cNvPr id="19" name="Text Placeholder 18"/>
          <p:cNvSpPr>
            <a:spLocks noGrp="1"/>
          </p:cNvSpPr>
          <p:nvPr>
            <p:ph type="body" sz="quarter" idx="13"/>
          </p:nvPr>
        </p:nvSpPr>
        <p:spPr>
          <a:xfrm>
            <a:off x="4572000" y="4168427"/>
            <a:ext cx="3780235" cy="396749"/>
          </a:xfrm>
        </p:spPr>
        <p:txBody>
          <a:bodyPr>
            <a:noAutofit/>
          </a:bodyPr>
          <a:lstStyle>
            <a:lvl1pPr marL="0" indent="0" algn="r">
              <a:buFontTx/>
              <a:buNone/>
              <a:defRPr sz="1650" i="1">
                <a:solidFill>
                  <a:schemeClr val="bg1"/>
                </a:solidFill>
              </a:defRPr>
            </a:lvl1pPr>
          </a:lstStyle>
          <a:p>
            <a:pPr lvl="0"/>
            <a:r>
              <a:rPr lang="en-US"/>
              <a:t>Edit Master text styles</a:t>
            </a:r>
          </a:p>
        </p:txBody>
      </p:sp>
    </p:spTree>
    <p:extLst>
      <p:ext uri="{BB962C8B-B14F-4D97-AF65-F5344CB8AC3E}">
        <p14:creationId xmlns:p14="http://schemas.microsoft.com/office/powerpoint/2010/main" val="2659343991"/>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pic>
        <p:nvPicPr>
          <p:cNvPr id="8" name="Picture 7"/>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1387716"/>
            <a:ext cx="9144000" cy="3763759"/>
          </a:xfrm>
          <a:prstGeom prst="rect">
            <a:avLst/>
          </a:prstGeom>
        </p:spPr>
      </p:pic>
      <p:sp>
        <p:nvSpPr>
          <p:cNvPr id="4" name="Slide Number Placeholder 3"/>
          <p:cNvSpPr>
            <a:spLocks noGrp="1"/>
          </p:cNvSpPr>
          <p:nvPr>
            <p:ph type="sldNum" sz="quarter" idx="12"/>
          </p:nvPr>
        </p:nvSpPr>
        <p:spPr/>
        <p:txBody>
          <a:bodyPr>
            <a:noAutofit/>
          </a:bodyPr>
          <a:lstStyle/>
          <a:p>
            <a:fld id="{F46C79FD-C571-418B-AB0F-5EE936C85276}" type="slidenum">
              <a:rPr lang="en-GB" smtClean="0"/>
              <a:t>‹#›</a:t>
            </a:fld>
            <a:endParaRPr lang="en-GB"/>
          </a:p>
        </p:txBody>
      </p:sp>
      <p:sp>
        <p:nvSpPr>
          <p:cNvPr id="2" name="Rectangle 1"/>
          <p:cNvSpPr/>
          <p:nvPr userDrawn="1"/>
        </p:nvSpPr>
        <p:spPr>
          <a:xfrm>
            <a:off x="0" y="0"/>
            <a:ext cx="9144000" cy="80863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sz="1350"/>
          </a:p>
        </p:txBody>
      </p:sp>
      <p:sp>
        <p:nvSpPr>
          <p:cNvPr id="5" name="Rectangle 4"/>
          <p:cNvSpPr/>
          <p:nvPr userDrawn="1"/>
        </p:nvSpPr>
        <p:spPr>
          <a:xfrm>
            <a:off x="0" y="808631"/>
            <a:ext cx="9144000" cy="2168100"/>
          </a:xfrm>
          <a:prstGeom prst="rect">
            <a:avLst/>
          </a:prstGeom>
          <a:solidFill>
            <a:srgbClr val="0356B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sz="1350">
              <a:solidFill>
                <a:schemeClr val="accent4"/>
              </a:solidFill>
            </a:endParaRPr>
          </a:p>
        </p:txBody>
      </p:sp>
      <p:pic>
        <p:nvPicPr>
          <p:cNvPr id="3" name="Picture 2"/>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041700" y="193532"/>
            <a:ext cx="1244845" cy="864345"/>
          </a:xfrm>
          <a:prstGeom prst="rect">
            <a:avLst/>
          </a:prstGeom>
        </p:spPr>
      </p:pic>
      <p:sp>
        <p:nvSpPr>
          <p:cNvPr id="6" name="Title 1"/>
          <p:cNvSpPr>
            <a:spLocks noGrp="1"/>
          </p:cNvSpPr>
          <p:nvPr>
            <p:ph type="ctrTitle"/>
          </p:nvPr>
        </p:nvSpPr>
        <p:spPr>
          <a:xfrm>
            <a:off x="803513" y="1494430"/>
            <a:ext cx="7548918" cy="654485"/>
          </a:xfrm>
        </p:spPr>
        <p:txBody>
          <a:bodyPr anchor="t">
            <a:normAutofit/>
          </a:bodyPr>
          <a:lstStyle>
            <a:lvl1pPr algn="l">
              <a:defRPr sz="4500" b="0">
                <a:solidFill>
                  <a:schemeClr val="bg1"/>
                </a:solidFill>
              </a:defRPr>
            </a:lvl1pPr>
          </a:lstStyle>
          <a:p>
            <a:r>
              <a:rPr lang="en-US"/>
              <a:t>Click to edit Master title style</a:t>
            </a:r>
            <a:endParaRPr lang="en-GB"/>
          </a:p>
        </p:txBody>
      </p:sp>
      <p:cxnSp>
        <p:nvCxnSpPr>
          <p:cNvPr id="7" name="Straight Connector 6"/>
          <p:cNvCxnSpPr/>
          <p:nvPr userDrawn="1"/>
        </p:nvCxnSpPr>
        <p:spPr>
          <a:xfrm>
            <a:off x="628650" y="1484194"/>
            <a:ext cx="0" cy="3659306"/>
          </a:xfrm>
          <a:prstGeom prst="line">
            <a:avLst/>
          </a:prstGeom>
          <a:ln w="28575">
            <a:solidFill>
              <a:schemeClr val="accent5"/>
            </a:solidFill>
          </a:ln>
        </p:spPr>
        <p:style>
          <a:lnRef idx="1">
            <a:schemeClr val="accent1"/>
          </a:lnRef>
          <a:fillRef idx="0">
            <a:schemeClr val="accent1"/>
          </a:fillRef>
          <a:effectRef idx="0">
            <a:schemeClr val="accent1"/>
          </a:effectRef>
          <a:fontRef idx="minor">
            <a:schemeClr val="tx1"/>
          </a:fontRef>
        </p:style>
      </p:cxnSp>
      <p:sp>
        <p:nvSpPr>
          <p:cNvPr id="11" name="Rectangle 10"/>
          <p:cNvSpPr/>
          <p:nvPr userDrawn="1"/>
        </p:nvSpPr>
        <p:spPr>
          <a:xfrm>
            <a:off x="4305869" y="4964373"/>
            <a:ext cx="530557" cy="180446"/>
          </a:xfrm>
          <a:prstGeom prst="rect">
            <a:avLst/>
          </a:prstGeom>
          <a:solidFill>
            <a:srgbClr val="00449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sz="1350"/>
          </a:p>
        </p:txBody>
      </p:sp>
      <p:sp>
        <p:nvSpPr>
          <p:cNvPr id="17" name="Subtitle 2"/>
          <p:cNvSpPr>
            <a:spLocks noGrp="1"/>
          </p:cNvSpPr>
          <p:nvPr>
            <p:ph type="subTitle" idx="1"/>
          </p:nvPr>
        </p:nvSpPr>
        <p:spPr>
          <a:xfrm>
            <a:off x="803513" y="2300601"/>
            <a:ext cx="7548918" cy="673316"/>
          </a:xfrm>
        </p:spPr>
        <p:txBody>
          <a:bodyPr>
            <a:noAutofit/>
          </a:bodyPr>
          <a:lstStyle>
            <a:lvl1pPr marL="0" indent="0" algn="l">
              <a:buNone/>
              <a:defRPr sz="2100" i="0">
                <a:solidFill>
                  <a:schemeClr val="accent5"/>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endParaRPr lang="en-GB"/>
          </a:p>
        </p:txBody>
      </p:sp>
      <p:sp>
        <p:nvSpPr>
          <p:cNvPr id="19" name="Text Placeholder 18"/>
          <p:cNvSpPr>
            <a:spLocks noGrp="1"/>
          </p:cNvSpPr>
          <p:nvPr>
            <p:ph type="body" sz="quarter" idx="13"/>
          </p:nvPr>
        </p:nvSpPr>
        <p:spPr>
          <a:xfrm>
            <a:off x="4572000" y="4337651"/>
            <a:ext cx="3780235" cy="396749"/>
          </a:xfrm>
        </p:spPr>
        <p:txBody>
          <a:bodyPr anchor="b" anchorCtr="0">
            <a:noAutofit/>
          </a:bodyPr>
          <a:lstStyle>
            <a:lvl1pPr marL="0" indent="0" algn="r">
              <a:buFontTx/>
              <a:buNone/>
              <a:defRPr sz="1650" i="1">
                <a:solidFill>
                  <a:schemeClr val="bg1"/>
                </a:solidFill>
              </a:defRPr>
            </a:lvl1pPr>
          </a:lstStyle>
          <a:p>
            <a:pPr lvl="0"/>
            <a:r>
              <a:rPr lang="en-US"/>
              <a:t>Edit Master text styles</a:t>
            </a:r>
          </a:p>
        </p:txBody>
      </p:sp>
    </p:spTree>
    <p:extLst>
      <p:ext uri="{BB962C8B-B14F-4D97-AF65-F5344CB8AC3E}">
        <p14:creationId xmlns:p14="http://schemas.microsoft.com/office/powerpoint/2010/main" val="4025172899"/>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601664"/>
            <a:ext cx="9144000" cy="4544396"/>
          </a:xfrm>
          <a:prstGeom prst="rect">
            <a:avLst/>
          </a:prstGeom>
        </p:spPr>
      </p:pic>
      <p:sp>
        <p:nvSpPr>
          <p:cNvPr id="14" name="Rectangle 13"/>
          <p:cNvSpPr/>
          <p:nvPr userDrawn="1"/>
        </p:nvSpPr>
        <p:spPr>
          <a:xfrm>
            <a:off x="3967" y="808630"/>
            <a:ext cx="9148010" cy="4337429"/>
          </a:xfrm>
          <a:prstGeom prst="rect">
            <a:avLst/>
          </a:prstGeom>
          <a:solidFill>
            <a:srgbClr val="024EA2">
              <a:alpha val="7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sz="1350">
              <a:solidFill>
                <a:schemeClr val="accent4"/>
              </a:solidFill>
            </a:endParaRPr>
          </a:p>
        </p:txBody>
      </p:sp>
      <p:sp>
        <p:nvSpPr>
          <p:cNvPr id="2" name="Rectangle 1"/>
          <p:cNvSpPr/>
          <p:nvPr userDrawn="1"/>
        </p:nvSpPr>
        <p:spPr>
          <a:xfrm>
            <a:off x="0" y="0"/>
            <a:ext cx="9144000" cy="80863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sz="1350"/>
          </a:p>
        </p:txBody>
      </p:sp>
      <p:sp>
        <p:nvSpPr>
          <p:cNvPr id="6" name="Title 1"/>
          <p:cNvSpPr>
            <a:spLocks noGrp="1"/>
          </p:cNvSpPr>
          <p:nvPr>
            <p:ph type="ctrTitle"/>
          </p:nvPr>
        </p:nvSpPr>
        <p:spPr>
          <a:xfrm>
            <a:off x="803513" y="1494430"/>
            <a:ext cx="7548918" cy="1612142"/>
          </a:xfrm>
        </p:spPr>
        <p:txBody>
          <a:bodyPr wrap="none" anchor="t">
            <a:noAutofit/>
          </a:bodyPr>
          <a:lstStyle>
            <a:lvl1pPr algn="l">
              <a:defRPr sz="4500" b="0">
                <a:solidFill>
                  <a:schemeClr val="bg1"/>
                </a:solidFill>
              </a:defRPr>
            </a:lvl1pPr>
          </a:lstStyle>
          <a:p>
            <a:r>
              <a:rPr lang="en-US"/>
              <a:t>Click to edit Master title style</a:t>
            </a:r>
            <a:endParaRPr lang="en-GB"/>
          </a:p>
        </p:txBody>
      </p:sp>
      <p:cxnSp>
        <p:nvCxnSpPr>
          <p:cNvPr id="7" name="Straight Connector 6"/>
          <p:cNvCxnSpPr/>
          <p:nvPr userDrawn="1"/>
        </p:nvCxnSpPr>
        <p:spPr>
          <a:xfrm>
            <a:off x="628650" y="1484194"/>
            <a:ext cx="0" cy="3659306"/>
          </a:xfrm>
          <a:prstGeom prst="line">
            <a:avLst/>
          </a:prstGeom>
          <a:ln w="28575">
            <a:solidFill>
              <a:schemeClr val="accent5"/>
            </a:solidFill>
          </a:ln>
        </p:spPr>
        <p:style>
          <a:lnRef idx="1">
            <a:schemeClr val="accent1"/>
          </a:lnRef>
          <a:fillRef idx="0">
            <a:schemeClr val="accent1"/>
          </a:fillRef>
          <a:effectRef idx="0">
            <a:schemeClr val="accent1"/>
          </a:effectRef>
          <a:fontRef idx="minor">
            <a:schemeClr val="tx1"/>
          </a:fontRef>
        </p:style>
      </p:cxnSp>
      <p:sp>
        <p:nvSpPr>
          <p:cNvPr id="11" name="Rectangle 10"/>
          <p:cNvSpPr/>
          <p:nvPr userDrawn="1"/>
        </p:nvSpPr>
        <p:spPr>
          <a:xfrm>
            <a:off x="4305869" y="4964373"/>
            <a:ext cx="530557" cy="180446"/>
          </a:xfrm>
          <a:prstGeom prst="rect">
            <a:avLst/>
          </a:prstGeom>
          <a:solidFill>
            <a:srgbClr val="00449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sz="1350"/>
          </a:p>
        </p:txBody>
      </p:sp>
      <p:sp>
        <p:nvSpPr>
          <p:cNvPr id="12" name="Subtitle 2"/>
          <p:cNvSpPr>
            <a:spLocks noGrp="1"/>
          </p:cNvSpPr>
          <p:nvPr>
            <p:ph type="subTitle" idx="1"/>
          </p:nvPr>
        </p:nvSpPr>
        <p:spPr>
          <a:xfrm>
            <a:off x="803513" y="3313537"/>
            <a:ext cx="7548918" cy="673316"/>
          </a:xfrm>
        </p:spPr>
        <p:txBody>
          <a:bodyPr wrap="none">
            <a:noAutofit/>
          </a:bodyPr>
          <a:lstStyle>
            <a:lvl1pPr marL="0" indent="0" algn="l">
              <a:buNone/>
              <a:defRPr sz="2100" i="0">
                <a:solidFill>
                  <a:schemeClr val="accent5"/>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endParaRPr lang="en-GB"/>
          </a:p>
        </p:txBody>
      </p:sp>
      <p:pic>
        <p:nvPicPr>
          <p:cNvPr id="3" name="Picture 2"/>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041700" y="193532"/>
            <a:ext cx="1244845" cy="864345"/>
          </a:xfrm>
          <a:prstGeom prst="rect">
            <a:avLst/>
          </a:prstGeom>
        </p:spPr>
      </p:pic>
      <p:sp>
        <p:nvSpPr>
          <p:cNvPr id="16" name="Text Placeholder 18"/>
          <p:cNvSpPr>
            <a:spLocks noGrp="1"/>
          </p:cNvSpPr>
          <p:nvPr>
            <p:ph type="body" sz="quarter" idx="13"/>
          </p:nvPr>
        </p:nvSpPr>
        <p:spPr>
          <a:xfrm>
            <a:off x="4572000" y="4168427"/>
            <a:ext cx="3780235" cy="396749"/>
          </a:xfrm>
        </p:spPr>
        <p:txBody>
          <a:bodyPr wrap="none">
            <a:noAutofit/>
          </a:bodyPr>
          <a:lstStyle>
            <a:lvl1pPr marL="0" indent="0" algn="r">
              <a:buFontTx/>
              <a:buNone/>
              <a:defRPr sz="1650" i="1">
                <a:solidFill>
                  <a:schemeClr val="bg1"/>
                </a:solidFill>
              </a:defRPr>
            </a:lvl1pPr>
          </a:lstStyle>
          <a:p>
            <a:pPr lvl="0"/>
            <a:r>
              <a:rPr lang="en-US"/>
              <a:t>Edit Master text styles</a:t>
            </a:r>
          </a:p>
        </p:txBody>
      </p:sp>
    </p:spTree>
    <p:extLst>
      <p:ext uri="{BB962C8B-B14F-4D97-AF65-F5344CB8AC3E}">
        <p14:creationId xmlns:p14="http://schemas.microsoft.com/office/powerpoint/2010/main" val="2767644020"/>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Page with photo">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B724BB82-A13F-7C3F-1F51-FDFCD1CF6D80}"/>
              </a:ext>
            </a:extLst>
          </p:cNvPr>
          <p:cNvPicPr>
            <a:picLocks noChangeAspect="1"/>
          </p:cNvPicPr>
          <p:nvPr userDrawn="1"/>
        </p:nvPicPr>
        <p:blipFill>
          <a:blip r:embed="rId2"/>
          <a:stretch>
            <a:fillRect/>
          </a:stretch>
        </p:blipFill>
        <p:spPr>
          <a:xfrm rot="10800000">
            <a:off x="0" y="729035"/>
            <a:ext cx="5009322" cy="3185990"/>
          </a:xfrm>
          <a:prstGeom prst="rect">
            <a:avLst/>
          </a:prstGeom>
        </p:spPr>
      </p:pic>
      <p:sp>
        <p:nvSpPr>
          <p:cNvPr id="2" name="Title 1">
            <a:extLst>
              <a:ext uri="{FF2B5EF4-FFF2-40B4-BE49-F238E27FC236}">
                <a16:creationId xmlns:a16="http://schemas.microsoft.com/office/drawing/2014/main" id="{9A3E576D-8368-D988-268C-B7C5FCE5923C}"/>
              </a:ext>
            </a:extLst>
          </p:cNvPr>
          <p:cNvSpPr>
            <a:spLocks noGrp="1"/>
          </p:cNvSpPr>
          <p:nvPr>
            <p:ph type="title" hasCustomPrompt="1"/>
          </p:nvPr>
        </p:nvSpPr>
        <p:spPr>
          <a:xfrm>
            <a:off x="970557" y="934598"/>
            <a:ext cx="3060755" cy="671565"/>
          </a:xfrm>
        </p:spPr>
        <p:txBody>
          <a:bodyPr lIns="0" tIns="0" rIns="0" bIns="0" anchor="t" anchorCtr="0"/>
          <a:lstStyle>
            <a:lvl1pPr>
              <a:defRPr sz="2400">
                <a:solidFill>
                  <a:schemeClr val="bg1"/>
                </a:solidFill>
              </a:defRPr>
            </a:lvl1pPr>
          </a:lstStyle>
          <a:p>
            <a:r>
              <a:rPr lang="en-GB"/>
              <a:t>Click to edit title</a:t>
            </a:r>
            <a:endParaRPr lang="en-LU"/>
          </a:p>
        </p:txBody>
      </p:sp>
      <p:sp>
        <p:nvSpPr>
          <p:cNvPr id="3" name="Slide Number Placeholder 2">
            <a:extLst>
              <a:ext uri="{FF2B5EF4-FFF2-40B4-BE49-F238E27FC236}">
                <a16:creationId xmlns:a16="http://schemas.microsoft.com/office/drawing/2014/main" id="{A74BBEDA-4468-14FF-93EA-3E2BB54E718F}"/>
              </a:ext>
            </a:extLst>
          </p:cNvPr>
          <p:cNvSpPr>
            <a:spLocks noGrp="1"/>
          </p:cNvSpPr>
          <p:nvPr>
            <p:ph type="sldNum" sz="quarter" idx="10"/>
          </p:nvPr>
        </p:nvSpPr>
        <p:spPr/>
        <p:txBody>
          <a:bodyPr/>
          <a:lstStyle/>
          <a:p>
            <a:fld id="{0F67114D-ED23-2A43-BD26-04D629DC704A}" type="slidenum">
              <a:rPr lang="en-LU" smtClean="0"/>
              <a:pPr/>
              <a:t>‹#›</a:t>
            </a:fld>
            <a:endParaRPr lang="en-LU"/>
          </a:p>
        </p:txBody>
      </p:sp>
      <p:sp>
        <p:nvSpPr>
          <p:cNvPr id="8" name="Text Placeholder 6">
            <a:extLst>
              <a:ext uri="{FF2B5EF4-FFF2-40B4-BE49-F238E27FC236}">
                <a16:creationId xmlns:a16="http://schemas.microsoft.com/office/drawing/2014/main" id="{EFAC4E1B-32BD-5181-1D47-FFB86224EA66}"/>
              </a:ext>
            </a:extLst>
          </p:cNvPr>
          <p:cNvSpPr>
            <a:spLocks noGrp="1"/>
          </p:cNvSpPr>
          <p:nvPr>
            <p:ph type="body" sz="quarter" idx="13" hasCustomPrompt="1"/>
          </p:nvPr>
        </p:nvSpPr>
        <p:spPr>
          <a:xfrm>
            <a:off x="1587500" y="4767264"/>
            <a:ext cx="2774950" cy="164386"/>
          </a:xfrm>
        </p:spPr>
        <p:txBody>
          <a:bodyPr lIns="0" tIns="0" rIns="0" bIns="0" anchor="b" anchorCtr="0">
            <a:noAutofit/>
          </a:bodyPr>
          <a:lstStyle>
            <a:lvl1pPr marL="0" indent="0">
              <a:buNone/>
              <a:defRPr sz="1000">
                <a:solidFill>
                  <a:schemeClr val="tx1">
                    <a:lumMod val="50000"/>
                    <a:lumOff val="50000"/>
                  </a:schemeClr>
                </a:solidFill>
              </a:defRPr>
            </a:lvl1pPr>
            <a:lvl2pPr marL="457200" indent="0">
              <a:buNone/>
              <a:defRPr sz="1000">
                <a:solidFill>
                  <a:schemeClr val="tx1">
                    <a:lumMod val="50000"/>
                    <a:lumOff val="50000"/>
                  </a:schemeClr>
                </a:solidFill>
              </a:defRPr>
            </a:lvl2pPr>
            <a:lvl3pPr marL="914400" indent="0">
              <a:buNone/>
              <a:defRPr sz="1000">
                <a:solidFill>
                  <a:schemeClr val="tx1">
                    <a:lumMod val="50000"/>
                    <a:lumOff val="50000"/>
                  </a:schemeClr>
                </a:solidFill>
              </a:defRPr>
            </a:lvl3pPr>
            <a:lvl4pPr marL="1371600" indent="0">
              <a:buNone/>
              <a:defRPr sz="1000">
                <a:solidFill>
                  <a:schemeClr val="tx1">
                    <a:lumMod val="50000"/>
                    <a:lumOff val="50000"/>
                  </a:schemeClr>
                </a:solidFill>
              </a:defRPr>
            </a:lvl4pPr>
            <a:lvl5pPr marL="1828800" indent="0">
              <a:buNone/>
              <a:defRPr sz="1000">
                <a:solidFill>
                  <a:schemeClr val="tx1">
                    <a:lumMod val="50000"/>
                    <a:lumOff val="50000"/>
                  </a:schemeClr>
                </a:solidFill>
              </a:defRPr>
            </a:lvl5pPr>
          </a:lstStyle>
          <a:p>
            <a:pPr lvl="0"/>
            <a:r>
              <a:rPr lang="en-GB"/>
              <a:t>Insert here the title of the presentation</a:t>
            </a:r>
            <a:endParaRPr lang="en-LU"/>
          </a:p>
        </p:txBody>
      </p:sp>
      <p:sp>
        <p:nvSpPr>
          <p:cNvPr id="14" name="Text Placeholder 13">
            <a:extLst>
              <a:ext uri="{FF2B5EF4-FFF2-40B4-BE49-F238E27FC236}">
                <a16:creationId xmlns:a16="http://schemas.microsoft.com/office/drawing/2014/main" id="{9D792AD8-EA3B-99E0-A0F9-4ADA0647C12D}"/>
              </a:ext>
            </a:extLst>
          </p:cNvPr>
          <p:cNvSpPr>
            <a:spLocks noGrp="1"/>
          </p:cNvSpPr>
          <p:nvPr>
            <p:ph type="body" sz="quarter" idx="14" hasCustomPrompt="1"/>
          </p:nvPr>
        </p:nvSpPr>
        <p:spPr>
          <a:xfrm>
            <a:off x="969963" y="1717482"/>
            <a:ext cx="3060700" cy="1828993"/>
          </a:xfrm>
        </p:spPr>
        <p:txBody>
          <a:bodyPr lIns="0" tIns="0" rIns="0" bIns="0">
            <a:normAutofit/>
          </a:bodyPr>
          <a:lstStyle>
            <a:lvl1pPr marL="0" indent="0">
              <a:buNone/>
              <a:defRPr sz="1400">
                <a:solidFill>
                  <a:schemeClr val="bg1"/>
                </a:solidFill>
              </a:defRPr>
            </a:lvl1pPr>
            <a:lvl2pPr marL="457200" indent="0">
              <a:buNone/>
              <a:defRPr sz="1400">
                <a:solidFill>
                  <a:schemeClr val="bg1"/>
                </a:solidFill>
              </a:defRPr>
            </a:lvl2pPr>
            <a:lvl3pPr marL="914400" indent="0">
              <a:buNone/>
              <a:defRPr sz="1400">
                <a:solidFill>
                  <a:schemeClr val="bg1"/>
                </a:solidFill>
              </a:defRPr>
            </a:lvl3pPr>
            <a:lvl4pPr marL="1371600" indent="0">
              <a:buNone/>
              <a:defRPr sz="1400">
                <a:solidFill>
                  <a:schemeClr val="bg1"/>
                </a:solidFill>
              </a:defRPr>
            </a:lvl4pPr>
            <a:lvl5pPr marL="1828800" indent="0">
              <a:buNone/>
              <a:defRPr sz="1400">
                <a:solidFill>
                  <a:schemeClr val="bg1"/>
                </a:solidFill>
              </a:defRPr>
            </a:lvl5pPr>
          </a:lstStyle>
          <a:p>
            <a:pPr lvl="0"/>
            <a:r>
              <a:rPr lang="en-GB"/>
              <a:t>Click to edit text or caption</a:t>
            </a:r>
            <a:endParaRPr lang="en-LU"/>
          </a:p>
        </p:txBody>
      </p:sp>
      <p:sp>
        <p:nvSpPr>
          <p:cNvPr id="18" name="Picture Placeholder 15">
            <a:extLst>
              <a:ext uri="{FF2B5EF4-FFF2-40B4-BE49-F238E27FC236}">
                <a16:creationId xmlns:a16="http://schemas.microsoft.com/office/drawing/2014/main" id="{5F0DC51F-A68F-E5E7-EA43-BCC3669E729E}"/>
              </a:ext>
            </a:extLst>
          </p:cNvPr>
          <p:cNvSpPr>
            <a:spLocks noGrp="1"/>
          </p:cNvSpPr>
          <p:nvPr>
            <p:ph type="pic" sz="quarter" idx="16"/>
          </p:nvPr>
        </p:nvSpPr>
        <p:spPr>
          <a:xfrm>
            <a:off x="4572000" y="728783"/>
            <a:ext cx="4572000" cy="3185991"/>
          </a:xfrm>
          <a:solidFill>
            <a:schemeClr val="bg2"/>
          </a:solidFill>
        </p:spPr>
        <p:txBody>
          <a:bodyPr/>
          <a:lstStyle>
            <a:lvl1pPr marL="0" indent="0">
              <a:buNone/>
              <a:defRPr>
                <a:solidFill>
                  <a:schemeClr val="bg1">
                    <a:lumMod val="85000"/>
                  </a:schemeClr>
                </a:solidFill>
              </a:defRPr>
            </a:lvl1pPr>
          </a:lstStyle>
          <a:p>
            <a:endParaRPr lang="en-LU"/>
          </a:p>
        </p:txBody>
      </p:sp>
    </p:spTree>
    <p:extLst>
      <p:ext uri="{BB962C8B-B14F-4D97-AF65-F5344CB8AC3E}">
        <p14:creationId xmlns:p14="http://schemas.microsoft.com/office/powerpoint/2010/main" val="2174224808"/>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title" preserve="1">
  <p:cSld name="Chapter Slide">
    <p:spTree>
      <p:nvGrpSpPr>
        <p:cNvPr id="1" name=""/>
        <p:cNvGrpSpPr/>
        <p:nvPr/>
      </p:nvGrpSpPr>
      <p:grpSpPr>
        <a:xfrm>
          <a:off x="0" y="0"/>
          <a:ext cx="0" cy="0"/>
          <a:chOff x="0" y="0"/>
          <a:chExt cx="0" cy="0"/>
        </a:xfrm>
      </p:grpSpPr>
      <p:sp>
        <p:nvSpPr>
          <p:cNvPr id="4" name="Rectangle 3"/>
          <p:cNvSpPr/>
          <p:nvPr userDrawn="1"/>
        </p:nvSpPr>
        <p:spPr>
          <a:xfrm>
            <a:off x="0" y="0"/>
            <a:ext cx="9144000" cy="5143500"/>
          </a:xfrm>
          <a:prstGeom prst="rect">
            <a:avLst/>
          </a:prstGeom>
          <a:solidFill>
            <a:srgbClr val="0356B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sz="1350"/>
          </a:p>
        </p:txBody>
      </p:sp>
      <p:sp>
        <p:nvSpPr>
          <p:cNvPr id="2" name="Title 1"/>
          <p:cNvSpPr>
            <a:spLocks noGrp="1"/>
          </p:cNvSpPr>
          <p:nvPr>
            <p:ph type="ctrTitle"/>
          </p:nvPr>
        </p:nvSpPr>
        <p:spPr>
          <a:xfrm>
            <a:off x="802642" y="841772"/>
            <a:ext cx="8007029" cy="1790700"/>
          </a:xfrm>
        </p:spPr>
        <p:txBody>
          <a:bodyPr anchor="b">
            <a:noAutofit/>
          </a:bodyPr>
          <a:lstStyle>
            <a:lvl1pPr algn="l">
              <a:defRPr sz="4500">
                <a:solidFill>
                  <a:schemeClr val="accent5"/>
                </a:solidFill>
              </a:defRPr>
            </a:lvl1pPr>
          </a:lstStyle>
          <a:p>
            <a:r>
              <a:rPr lang="en-US"/>
              <a:t>Click to edit Master title style</a:t>
            </a:r>
            <a:endParaRPr lang="en-GB"/>
          </a:p>
        </p:txBody>
      </p:sp>
      <p:sp>
        <p:nvSpPr>
          <p:cNvPr id="3" name="Subtitle 2"/>
          <p:cNvSpPr>
            <a:spLocks noGrp="1"/>
          </p:cNvSpPr>
          <p:nvPr>
            <p:ph type="subTitle" idx="1"/>
          </p:nvPr>
        </p:nvSpPr>
        <p:spPr>
          <a:xfrm>
            <a:off x="802642" y="2701528"/>
            <a:ext cx="8007029" cy="1241822"/>
          </a:xfrm>
        </p:spPr>
        <p:txBody>
          <a:bodyPr>
            <a:noAutofit/>
          </a:bodyPr>
          <a:lstStyle>
            <a:lvl1pPr marL="0" indent="0" algn="l">
              <a:buNone/>
              <a:defRPr sz="1800">
                <a:solidFill>
                  <a:schemeClr val="bg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endParaRPr lang="en-GB"/>
          </a:p>
        </p:txBody>
      </p:sp>
      <p:sp>
        <p:nvSpPr>
          <p:cNvPr id="6" name="Slide Number Placeholder 5"/>
          <p:cNvSpPr>
            <a:spLocks noGrp="1"/>
          </p:cNvSpPr>
          <p:nvPr>
            <p:ph type="sldNum" sz="quarter" idx="12"/>
          </p:nvPr>
        </p:nvSpPr>
        <p:spPr/>
        <p:txBody>
          <a:bodyPr>
            <a:noAutofit/>
          </a:bodyPr>
          <a:lstStyle>
            <a:lvl1pPr>
              <a:defRPr>
                <a:solidFill>
                  <a:schemeClr val="bg1"/>
                </a:solidFill>
              </a:defRPr>
            </a:lvl1pPr>
          </a:lstStyle>
          <a:p>
            <a:fld id="{F46C79FD-C571-418B-AB0F-5EE936C85276}" type="slidenum">
              <a:rPr lang="en-GB" smtClean="0"/>
              <a:pPr/>
              <a:t>‹#›</a:t>
            </a:fld>
            <a:endParaRPr lang="en-GB"/>
          </a:p>
        </p:txBody>
      </p:sp>
      <p:cxnSp>
        <p:nvCxnSpPr>
          <p:cNvPr id="7" name="Straight Connector 6"/>
          <p:cNvCxnSpPr/>
          <p:nvPr userDrawn="1"/>
        </p:nvCxnSpPr>
        <p:spPr>
          <a:xfrm>
            <a:off x="628650" y="0"/>
            <a:ext cx="0" cy="2471951"/>
          </a:xfrm>
          <a:prstGeom prst="line">
            <a:avLst/>
          </a:prstGeom>
          <a:ln w="28575">
            <a:solidFill>
              <a:schemeClr val="accent5"/>
            </a:solidFill>
          </a:ln>
        </p:spPr>
        <p:style>
          <a:lnRef idx="1">
            <a:schemeClr val="accent1"/>
          </a:lnRef>
          <a:fillRef idx="0">
            <a:schemeClr val="accent1"/>
          </a:fillRef>
          <a:effectRef idx="0">
            <a:schemeClr val="accent1"/>
          </a:effectRef>
          <a:fontRef idx="minor">
            <a:schemeClr val="tx1"/>
          </a:fontRef>
        </p:style>
      </p:cxnSp>
      <p:pic>
        <p:nvPicPr>
          <p:cNvPr id="9" name="Picture 8"/>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7520786" y="4533943"/>
            <a:ext cx="1288884" cy="338365"/>
          </a:xfrm>
          <a:prstGeom prst="rect">
            <a:avLst/>
          </a:prstGeom>
        </p:spPr>
      </p:pic>
    </p:spTree>
    <p:extLst>
      <p:ext uri="{BB962C8B-B14F-4D97-AF65-F5344CB8AC3E}">
        <p14:creationId xmlns:p14="http://schemas.microsoft.com/office/powerpoint/2010/main" val="2093996339"/>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Chapter Slide (2)">
    <p:spTree>
      <p:nvGrpSpPr>
        <p:cNvPr id="1" name=""/>
        <p:cNvGrpSpPr/>
        <p:nvPr/>
      </p:nvGrpSpPr>
      <p:grpSpPr>
        <a:xfrm>
          <a:off x="0" y="0"/>
          <a:ext cx="0" cy="0"/>
          <a:chOff x="0" y="0"/>
          <a:chExt cx="0" cy="0"/>
        </a:xfrm>
      </p:grpSpPr>
      <p:sp>
        <p:nvSpPr>
          <p:cNvPr id="7" name="Rectangle 6"/>
          <p:cNvSpPr/>
          <p:nvPr userDrawn="1"/>
        </p:nvSpPr>
        <p:spPr>
          <a:xfrm>
            <a:off x="0" y="0"/>
            <a:ext cx="9144000" cy="51435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sz="1350"/>
          </a:p>
        </p:txBody>
      </p:sp>
      <p:sp>
        <p:nvSpPr>
          <p:cNvPr id="6" name="Slide Number Placeholder 5"/>
          <p:cNvSpPr>
            <a:spLocks noGrp="1"/>
          </p:cNvSpPr>
          <p:nvPr>
            <p:ph type="sldNum" sz="quarter" idx="12"/>
          </p:nvPr>
        </p:nvSpPr>
        <p:spPr/>
        <p:txBody>
          <a:bodyPr>
            <a:noAutofit/>
          </a:bodyPr>
          <a:lstStyle/>
          <a:p>
            <a:fld id="{F46C79FD-C571-418B-AB0F-5EE936C85276}" type="slidenum">
              <a:rPr lang="en-GB" smtClean="0"/>
              <a:t>‹#›</a:t>
            </a:fld>
            <a:endParaRPr lang="en-GB"/>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7525389" y="4534399"/>
            <a:ext cx="1287150" cy="337910"/>
          </a:xfrm>
          <a:prstGeom prst="rect">
            <a:avLst/>
          </a:prstGeom>
        </p:spPr>
      </p:pic>
      <p:sp>
        <p:nvSpPr>
          <p:cNvPr id="11" name="Title 1"/>
          <p:cNvSpPr>
            <a:spLocks noGrp="1"/>
          </p:cNvSpPr>
          <p:nvPr>
            <p:ph type="ctrTitle"/>
          </p:nvPr>
        </p:nvSpPr>
        <p:spPr>
          <a:xfrm>
            <a:off x="807760" y="841772"/>
            <a:ext cx="7617223" cy="1790700"/>
          </a:xfrm>
        </p:spPr>
        <p:txBody>
          <a:bodyPr anchor="b">
            <a:noAutofit/>
          </a:bodyPr>
          <a:lstStyle>
            <a:lvl1pPr algn="l">
              <a:defRPr sz="4500">
                <a:solidFill>
                  <a:schemeClr val="tx2"/>
                </a:solidFill>
              </a:defRPr>
            </a:lvl1pPr>
          </a:lstStyle>
          <a:p>
            <a:r>
              <a:rPr lang="en-US"/>
              <a:t>Click to edit Master title style</a:t>
            </a:r>
            <a:endParaRPr lang="en-GB"/>
          </a:p>
        </p:txBody>
      </p:sp>
      <p:cxnSp>
        <p:nvCxnSpPr>
          <p:cNvPr id="13" name="Straight Connector 12"/>
          <p:cNvCxnSpPr/>
          <p:nvPr userDrawn="1"/>
        </p:nvCxnSpPr>
        <p:spPr>
          <a:xfrm>
            <a:off x="628650" y="0"/>
            <a:ext cx="0" cy="2471951"/>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sp>
        <p:nvSpPr>
          <p:cNvPr id="14" name="Subtitle 2"/>
          <p:cNvSpPr>
            <a:spLocks noGrp="1"/>
          </p:cNvSpPr>
          <p:nvPr>
            <p:ph type="subTitle" idx="1"/>
          </p:nvPr>
        </p:nvSpPr>
        <p:spPr>
          <a:xfrm>
            <a:off x="802642" y="2701528"/>
            <a:ext cx="7617223" cy="1241822"/>
          </a:xfrm>
        </p:spPr>
        <p:txBody>
          <a:bodyPr>
            <a:noAutofit/>
          </a:bodyPr>
          <a:lstStyle>
            <a:lvl1pPr marL="0" indent="0" algn="l">
              <a:buNone/>
              <a:defRPr sz="1800">
                <a:solidFill>
                  <a:schemeClr val="tx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endParaRPr lang="en-GB"/>
          </a:p>
        </p:txBody>
      </p:sp>
    </p:spTree>
    <p:extLst>
      <p:ext uri="{BB962C8B-B14F-4D97-AF65-F5344CB8AC3E}">
        <p14:creationId xmlns:p14="http://schemas.microsoft.com/office/powerpoint/2010/main" val="829188289"/>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Last slide (option 1)">
    <p:spTree>
      <p:nvGrpSpPr>
        <p:cNvPr id="1" name=""/>
        <p:cNvGrpSpPr/>
        <p:nvPr/>
      </p:nvGrpSpPr>
      <p:grpSpPr>
        <a:xfrm>
          <a:off x="0" y="0"/>
          <a:ext cx="0" cy="0"/>
          <a:chOff x="0" y="0"/>
          <a:chExt cx="0" cy="0"/>
        </a:xfrm>
      </p:grpSpPr>
      <p:sp>
        <p:nvSpPr>
          <p:cNvPr id="7" name="Rectangle 6"/>
          <p:cNvSpPr/>
          <p:nvPr userDrawn="1"/>
        </p:nvSpPr>
        <p:spPr>
          <a:xfrm>
            <a:off x="0" y="1"/>
            <a:ext cx="9144000" cy="2571749"/>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sz="1350"/>
          </a:p>
        </p:txBody>
      </p:sp>
      <p:sp>
        <p:nvSpPr>
          <p:cNvPr id="6" name="Slide Number Placeholder 5"/>
          <p:cNvSpPr>
            <a:spLocks noGrp="1"/>
          </p:cNvSpPr>
          <p:nvPr>
            <p:ph type="sldNum" sz="quarter" idx="12"/>
          </p:nvPr>
        </p:nvSpPr>
        <p:spPr/>
        <p:txBody>
          <a:bodyPr>
            <a:noAutofit/>
          </a:bodyPr>
          <a:lstStyle/>
          <a:p>
            <a:fld id="{F46C79FD-C571-418B-AB0F-5EE936C85276}" type="slidenum">
              <a:rPr lang="en-GB" smtClean="0"/>
              <a:t>‹#›</a:t>
            </a:fld>
            <a:endParaRPr lang="en-GB"/>
          </a:p>
        </p:txBody>
      </p:sp>
      <p:sp>
        <p:nvSpPr>
          <p:cNvPr id="11" name="Title 1"/>
          <p:cNvSpPr>
            <a:spLocks noGrp="1"/>
          </p:cNvSpPr>
          <p:nvPr>
            <p:ph type="ctrTitle"/>
          </p:nvPr>
        </p:nvSpPr>
        <p:spPr>
          <a:xfrm>
            <a:off x="807760" y="841772"/>
            <a:ext cx="7617223" cy="930261"/>
          </a:xfrm>
        </p:spPr>
        <p:txBody>
          <a:bodyPr anchor="b">
            <a:noAutofit/>
          </a:bodyPr>
          <a:lstStyle>
            <a:lvl1pPr algn="l">
              <a:defRPr sz="4500">
                <a:solidFill>
                  <a:schemeClr val="tx2"/>
                </a:solidFill>
              </a:defRPr>
            </a:lvl1pPr>
          </a:lstStyle>
          <a:p>
            <a:r>
              <a:rPr lang="en-US"/>
              <a:t>Click to edit Master title style</a:t>
            </a:r>
            <a:endParaRPr lang="en-GB"/>
          </a:p>
        </p:txBody>
      </p:sp>
      <p:cxnSp>
        <p:nvCxnSpPr>
          <p:cNvPr id="13" name="Straight Connector 12"/>
          <p:cNvCxnSpPr/>
          <p:nvPr userDrawn="1"/>
        </p:nvCxnSpPr>
        <p:spPr>
          <a:xfrm>
            <a:off x="628650" y="1"/>
            <a:ext cx="0" cy="1772033"/>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sp>
        <p:nvSpPr>
          <p:cNvPr id="14" name="Subtitle 2"/>
          <p:cNvSpPr>
            <a:spLocks noGrp="1"/>
          </p:cNvSpPr>
          <p:nvPr>
            <p:ph type="subTitle" idx="1"/>
          </p:nvPr>
        </p:nvSpPr>
        <p:spPr>
          <a:xfrm>
            <a:off x="628651" y="3120620"/>
            <a:ext cx="8167079" cy="1215109"/>
          </a:xfrm>
        </p:spPr>
        <p:txBody>
          <a:bodyPr>
            <a:noAutofit/>
          </a:bodyPr>
          <a:lstStyle>
            <a:lvl1pPr marL="0" indent="0" algn="l">
              <a:buNone/>
              <a:defRPr sz="1050">
                <a:solidFill>
                  <a:schemeClr val="bg1">
                    <a:lumMod val="50000"/>
                  </a:schemeClr>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endParaRPr lang="en-GB"/>
          </a:p>
        </p:txBody>
      </p:sp>
    </p:spTree>
    <p:extLst>
      <p:ext uri="{BB962C8B-B14F-4D97-AF65-F5344CB8AC3E}">
        <p14:creationId xmlns:p14="http://schemas.microsoft.com/office/powerpoint/2010/main" val="582919435"/>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Last slide (option 2)">
    <p:spTree>
      <p:nvGrpSpPr>
        <p:cNvPr id="1" name=""/>
        <p:cNvGrpSpPr/>
        <p:nvPr/>
      </p:nvGrpSpPr>
      <p:grpSpPr>
        <a:xfrm>
          <a:off x="0" y="0"/>
          <a:ext cx="0" cy="0"/>
          <a:chOff x="0" y="0"/>
          <a:chExt cx="0" cy="0"/>
        </a:xfrm>
      </p:grpSpPr>
      <p:sp>
        <p:nvSpPr>
          <p:cNvPr id="7" name="Rectangle 6"/>
          <p:cNvSpPr/>
          <p:nvPr userDrawn="1"/>
        </p:nvSpPr>
        <p:spPr>
          <a:xfrm>
            <a:off x="0" y="1"/>
            <a:ext cx="9144000" cy="257174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sz="1350"/>
          </a:p>
        </p:txBody>
      </p:sp>
      <p:sp>
        <p:nvSpPr>
          <p:cNvPr id="6" name="Slide Number Placeholder 5"/>
          <p:cNvSpPr>
            <a:spLocks noGrp="1"/>
          </p:cNvSpPr>
          <p:nvPr>
            <p:ph type="sldNum" sz="quarter" idx="12"/>
          </p:nvPr>
        </p:nvSpPr>
        <p:spPr/>
        <p:txBody>
          <a:bodyPr>
            <a:noAutofit/>
          </a:bodyPr>
          <a:lstStyle/>
          <a:p>
            <a:fld id="{F46C79FD-C571-418B-AB0F-5EE936C85276}" type="slidenum">
              <a:rPr lang="en-GB" smtClean="0"/>
              <a:t>‹#›</a:t>
            </a:fld>
            <a:endParaRPr lang="en-GB"/>
          </a:p>
        </p:txBody>
      </p:sp>
      <p:sp>
        <p:nvSpPr>
          <p:cNvPr id="11" name="Title 1"/>
          <p:cNvSpPr>
            <a:spLocks noGrp="1"/>
          </p:cNvSpPr>
          <p:nvPr>
            <p:ph type="ctrTitle"/>
          </p:nvPr>
        </p:nvSpPr>
        <p:spPr>
          <a:xfrm>
            <a:off x="807760" y="841772"/>
            <a:ext cx="7617223" cy="930261"/>
          </a:xfrm>
        </p:spPr>
        <p:txBody>
          <a:bodyPr anchor="b">
            <a:noAutofit/>
          </a:bodyPr>
          <a:lstStyle>
            <a:lvl1pPr algn="l">
              <a:defRPr sz="4500">
                <a:solidFill>
                  <a:schemeClr val="accent5"/>
                </a:solidFill>
              </a:defRPr>
            </a:lvl1pPr>
          </a:lstStyle>
          <a:p>
            <a:r>
              <a:rPr lang="en-US"/>
              <a:t>Click to edit Master title style</a:t>
            </a:r>
            <a:endParaRPr lang="en-GB"/>
          </a:p>
        </p:txBody>
      </p:sp>
      <p:cxnSp>
        <p:nvCxnSpPr>
          <p:cNvPr id="13" name="Straight Connector 12"/>
          <p:cNvCxnSpPr/>
          <p:nvPr userDrawn="1"/>
        </p:nvCxnSpPr>
        <p:spPr>
          <a:xfrm>
            <a:off x="628650" y="1"/>
            <a:ext cx="0" cy="1772033"/>
          </a:xfrm>
          <a:prstGeom prst="line">
            <a:avLst/>
          </a:prstGeom>
          <a:ln w="28575">
            <a:solidFill>
              <a:schemeClr val="accent5"/>
            </a:solidFill>
          </a:ln>
        </p:spPr>
        <p:style>
          <a:lnRef idx="1">
            <a:schemeClr val="accent1"/>
          </a:lnRef>
          <a:fillRef idx="0">
            <a:schemeClr val="accent1"/>
          </a:fillRef>
          <a:effectRef idx="0">
            <a:schemeClr val="accent1"/>
          </a:effectRef>
          <a:fontRef idx="minor">
            <a:schemeClr val="tx1"/>
          </a:fontRef>
        </p:style>
      </p:cxnSp>
      <p:sp>
        <p:nvSpPr>
          <p:cNvPr id="14" name="Subtitle 2"/>
          <p:cNvSpPr>
            <a:spLocks noGrp="1"/>
          </p:cNvSpPr>
          <p:nvPr>
            <p:ph type="subTitle" idx="1"/>
          </p:nvPr>
        </p:nvSpPr>
        <p:spPr>
          <a:xfrm>
            <a:off x="628651" y="3120620"/>
            <a:ext cx="8167079" cy="1215109"/>
          </a:xfrm>
        </p:spPr>
        <p:txBody>
          <a:bodyPr>
            <a:noAutofit/>
          </a:bodyPr>
          <a:lstStyle>
            <a:lvl1pPr marL="0" indent="0" algn="l">
              <a:buNone/>
              <a:defRPr sz="1050">
                <a:solidFill>
                  <a:schemeClr val="bg1">
                    <a:lumMod val="50000"/>
                  </a:schemeClr>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endParaRPr lang="en-GB"/>
          </a:p>
        </p:txBody>
      </p:sp>
    </p:spTree>
    <p:extLst>
      <p:ext uri="{BB962C8B-B14F-4D97-AF65-F5344CB8AC3E}">
        <p14:creationId xmlns:p14="http://schemas.microsoft.com/office/powerpoint/2010/main" val="2133811626"/>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628650" y="1369219"/>
            <a:ext cx="8179274" cy="2911428"/>
          </a:xfrm>
        </p:spPr>
        <p:txBody>
          <a:bodyPr>
            <a:noAutofit/>
          </a:bodyPr>
          <a:lstStyle>
            <a:lvl1pPr>
              <a:lnSpc>
                <a:spcPct val="100000"/>
              </a:lnSpc>
              <a:spcBef>
                <a:spcPts val="0"/>
              </a:spcBef>
              <a:spcAft>
                <a:spcPts val="1350"/>
              </a:spcAft>
              <a:defRPr/>
            </a:lvl1pPr>
            <a:lvl2pPr>
              <a:lnSpc>
                <a:spcPct val="100000"/>
              </a:lnSpc>
              <a:spcAft>
                <a:spcPts val="1350"/>
              </a:spcAft>
              <a:defRPr/>
            </a:lvl2pPr>
            <a:lvl3pPr>
              <a:lnSpc>
                <a:spcPct val="100000"/>
              </a:lnSpc>
              <a:spcAft>
                <a:spcPts val="1350"/>
              </a:spcAft>
              <a:defRPr/>
            </a:lvl3pPr>
            <a:lvl4pPr>
              <a:lnSpc>
                <a:spcPct val="100000"/>
              </a:lnSpc>
              <a:spcAft>
                <a:spcPts val="1350"/>
              </a:spcAft>
              <a:defRPr/>
            </a:lvl4pPr>
            <a:lvl5pPr>
              <a:lnSpc>
                <a:spcPct val="100000"/>
              </a:lnSpc>
              <a:spcAft>
                <a:spcPts val="1350"/>
              </a:spcAf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Slide Number Placeholder 5"/>
          <p:cNvSpPr>
            <a:spLocks noGrp="1"/>
          </p:cNvSpPr>
          <p:nvPr>
            <p:ph type="sldNum" sz="quarter" idx="12"/>
          </p:nvPr>
        </p:nvSpPr>
        <p:spPr/>
        <p:txBody>
          <a:bodyPr>
            <a:noAutofit/>
          </a:bodyPr>
          <a:lstStyle/>
          <a:p>
            <a:fld id="{F46C79FD-C571-418B-AB0F-5EE936C85276}" type="slidenum">
              <a:rPr lang="en-GB" smtClean="0"/>
              <a:t>‹#›</a:t>
            </a:fld>
            <a:endParaRPr lang="en-GB"/>
          </a:p>
        </p:txBody>
      </p:sp>
      <p:cxnSp>
        <p:nvCxnSpPr>
          <p:cNvPr id="7" name="Straight Connector 6"/>
          <p:cNvCxnSpPr/>
          <p:nvPr userDrawn="1"/>
        </p:nvCxnSpPr>
        <p:spPr>
          <a:xfrm flipH="1">
            <a:off x="628650" y="0"/>
            <a:ext cx="1" cy="957268"/>
          </a:xfrm>
          <a:prstGeom prst="line">
            <a:avLst/>
          </a:prstGeom>
          <a:ln w="28575">
            <a:solidFill>
              <a:schemeClr val="accent5"/>
            </a:solidFill>
          </a:ln>
        </p:spPr>
        <p:style>
          <a:lnRef idx="1">
            <a:schemeClr val="accent1"/>
          </a:lnRef>
          <a:fillRef idx="0">
            <a:schemeClr val="accent1"/>
          </a:fillRef>
          <a:effectRef idx="0">
            <a:schemeClr val="accent1"/>
          </a:effectRef>
          <a:fontRef idx="minor">
            <a:schemeClr val="tx1"/>
          </a:fontRef>
        </p:style>
      </p:cxnSp>
      <p:sp>
        <p:nvSpPr>
          <p:cNvPr id="9" name="Title Placeholder 1"/>
          <p:cNvSpPr>
            <a:spLocks noGrp="1"/>
          </p:cNvSpPr>
          <p:nvPr>
            <p:ph type="title"/>
          </p:nvPr>
        </p:nvSpPr>
        <p:spPr>
          <a:xfrm>
            <a:off x="728042" y="362145"/>
            <a:ext cx="7886700" cy="586768"/>
          </a:xfrm>
          <a:prstGeom prst="rect">
            <a:avLst/>
          </a:prstGeom>
        </p:spPr>
        <p:txBody>
          <a:bodyPr vert="horz" lIns="91440" tIns="45720" rIns="91440" bIns="0" rtlCol="0" anchor="b" anchorCtr="0">
            <a:noAutofit/>
          </a:bodyPr>
          <a:lstStyle/>
          <a:p>
            <a:r>
              <a:rPr lang="en-US"/>
              <a:t>Click to edit Master title style</a:t>
            </a:r>
            <a:endParaRPr lang="en-GB"/>
          </a:p>
        </p:txBody>
      </p:sp>
    </p:spTree>
    <p:extLst>
      <p:ext uri="{BB962C8B-B14F-4D97-AF65-F5344CB8AC3E}">
        <p14:creationId xmlns:p14="http://schemas.microsoft.com/office/powerpoint/2010/main" val="3585374726"/>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Content and Objec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28649" y="1369219"/>
            <a:ext cx="3996000" cy="2929826"/>
          </a:xfrm>
        </p:spPr>
        <p:txBody>
          <a:bodyPr>
            <a:noAutofit/>
          </a:bodyPr>
          <a:lstStyle>
            <a:lvl1pPr>
              <a:spcAft>
                <a:spcPts val="1350"/>
              </a:spcAft>
              <a:defRPr/>
            </a:lvl1pPr>
            <a:lvl2pPr>
              <a:spcAft>
                <a:spcPts val="1350"/>
              </a:spcAft>
              <a:defRPr/>
            </a:lvl2pPr>
            <a:lvl3pPr>
              <a:spcAft>
                <a:spcPts val="1350"/>
              </a:spcAft>
              <a:defRPr/>
            </a:lvl3pPr>
            <a:lvl4pPr>
              <a:spcAft>
                <a:spcPts val="1350"/>
              </a:spcAft>
              <a:defRPr/>
            </a:lvl4pPr>
            <a:lvl5pPr>
              <a:spcAft>
                <a:spcPts val="1350"/>
              </a:spcAf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4801688" y="1369219"/>
            <a:ext cx="3996000" cy="2929826"/>
          </a:xfrm>
          <a:noFill/>
        </p:spPr>
        <p:txBody>
          <a:bodyPr>
            <a:noAutofit/>
          </a:bodyPr>
          <a:lstStyle>
            <a:lvl1pPr marL="0" indent="0">
              <a:buNone/>
              <a:defRPr/>
            </a:lvl1pPr>
          </a:lstStyle>
          <a:p>
            <a:pPr lvl="0"/>
            <a:r>
              <a:rPr lang="en-US"/>
              <a:t>Edit Master text styles</a:t>
            </a:r>
          </a:p>
        </p:txBody>
      </p:sp>
      <p:sp>
        <p:nvSpPr>
          <p:cNvPr id="7" name="Slide Number Placeholder 6"/>
          <p:cNvSpPr>
            <a:spLocks noGrp="1"/>
          </p:cNvSpPr>
          <p:nvPr>
            <p:ph type="sldNum" sz="quarter" idx="12"/>
          </p:nvPr>
        </p:nvSpPr>
        <p:spPr/>
        <p:txBody>
          <a:bodyPr>
            <a:noAutofit/>
          </a:bodyPr>
          <a:lstStyle/>
          <a:p>
            <a:fld id="{F46C79FD-C571-418B-AB0F-5EE936C85276}" type="slidenum">
              <a:rPr lang="en-GB" smtClean="0"/>
              <a:t>‹#›</a:t>
            </a:fld>
            <a:endParaRPr lang="en-GB"/>
          </a:p>
        </p:txBody>
      </p:sp>
      <p:cxnSp>
        <p:nvCxnSpPr>
          <p:cNvPr id="9" name="Straight Connector 8"/>
          <p:cNvCxnSpPr/>
          <p:nvPr userDrawn="1"/>
        </p:nvCxnSpPr>
        <p:spPr>
          <a:xfrm flipH="1">
            <a:off x="628650" y="0"/>
            <a:ext cx="1" cy="957268"/>
          </a:xfrm>
          <a:prstGeom prst="line">
            <a:avLst/>
          </a:prstGeom>
          <a:ln w="28575">
            <a:solidFill>
              <a:schemeClr val="accent5"/>
            </a:solidFill>
          </a:ln>
        </p:spPr>
        <p:style>
          <a:lnRef idx="1">
            <a:schemeClr val="accent1"/>
          </a:lnRef>
          <a:fillRef idx="0">
            <a:schemeClr val="accent1"/>
          </a:fillRef>
          <a:effectRef idx="0">
            <a:schemeClr val="accent1"/>
          </a:effectRef>
          <a:fontRef idx="minor">
            <a:schemeClr val="tx1"/>
          </a:fontRef>
        </p:style>
      </p:cxnSp>
      <p:sp>
        <p:nvSpPr>
          <p:cNvPr id="10" name="Title Placeholder 1"/>
          <p:cNvSpPr>
            <a:spLocks noGrp="1"/>
          </p:cNvSpPr>
          <p:nvPr>
            <p:ph type="title"/>
          </p:nvPr>
        </p:nvSpPr>
        <p:spPr>
          <a:xfrm>
            <a:off x="728042" y="362145"/>
            <a:ext cx="7886700" cy="586768"/>
          </a:xfrm>
          <a:prstGeom prst="rect">
            <a:avLst/>
          </a:prstGeom>
        </p:spPr>
        <p:txBody>
          <a:bodyPr vert="horz" lIns="91440" tIns="45720" rIns="91440" bIns="0" rtlCol="0" anchor="b" anchorCtr="0">
            <a:noAutofit/>
          </a:bodyPr>
          <a:lstStyle/>
          <a:p>
            <a:r>
              <a:rPr lang="en-US"/>
              <a:t>Click to edit Master title style</a:t>
            </a:r>
            <a:endParaRPr lang="en-GB"/>
          </a:p>
        </p:txBody>
      </p:sp>
    </p:spTree>
    <p:extLst>
      <p:ext uri="{BB962C8B-B14F-4D97-AF65-F5344CB8AC3E}">
        <p14:creationId xmlns:p14="http://schemas.microsoft.com/office/powerpoint/2010/main" val="754145289"/>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28649" y="1369219"/>
            <a:ext cx="3996000" cy="2929826"/>
          </a:xfrm>
        </p:spPr>
        <p:txBody>
          <a:bodyPr>
            <a:noAutofit/>
          </a:bodyPr>
          <a:lstStyle>
            <a:lvl3pPr>
              <a:spcBef>
                <a:spcPts val="0"/>
              </a:spcBef>
              <a:defRPr/>
            </a:lvl3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4801688" y="1369219"/>
            <a:ext cx="3996000" cy="2929826"/>
          </a:xfrm>
        </p:spPr>
        <p:txBody>
          <a:bodyPr>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Slide Number Placeholder 6"/>
          <p:cNvSpPr>
            <a:spLocks noGrp="1"/>
          </p:cNvSpPr>
          <p:nvPr>
            <p:ph type="sldNum" sz="quarter" idx="12"/>
          </p:nvPr>
        </p:nvSpPr>
        <p:spPr/>
        <p:txBody>
          <a:bodyPr/>
          <a:lstStyle/>
          <a:p>
            <a:fld id="{F46C79FD-C571-418B-AB0F-5EE936C85276}" type="slidenum">
              <a:rPr lang="en-GB" smtClean="0"/>
              <a:t>‹#›</a:t>
            </a:fld>
            <a:endParaRPr lang="en-GB"/>
          </a:p>
        </p:txBody>
      </p:sp>
      <p:cxnSp>
        <p:nvCxnSpPr>
          <p:cNvPr id="10" name="Straight Connector 9"/>
          <p:cNvCxnSpPr/>
          <p:nvPr userDrawn="1"/>
        </p:nvCxnSpPr>
        <p:spPr>
          <a:xfrm flipH="1">
            <a:off x="628650" y="0"/>
            <a:ext cx="1" cy="957268"/>
          </a:xfrm>
          <a:prstGeom prst="line">
            <a:avLst/>
          </a:prstGeom>
          <a:ln w="28575">
            <a:solidFill>
              <a:schemeClr val="accent5"/>
            </a:solidFill>
          </a:ln>
        </p:spPr>
        <p:style>
          <a:lnRef idx="1">
            <a:schemeClr val="accent1"/>
          </a:lnRef>
          <a:fillRef idx="0">
            <a:schemeClr val="accent1"/>
          </a:fillRef>
          <a:effectRef idx="0">
            <a:schemeClr val="accent1"/>
          </a:effectRef>
          <a:fontRef idx="minor">
            <a:schemeClr val="tx1"/>
          </a:fontRef>
        </p:style>
      </p:cxnSp>
      <p:sp>
        <p:nvSpPr>
          <p:cNvPr id="11" name="Title Placeholder 1"/>
          <p:cNvSpPr>
            <a:spLocks noGrp="1"/>
          </p:cNvSpPr>
          <p:nvPr>
            <p:ph type="title"/>
          </p:nvPr>
        </p:nvSpPr>
        <p:spPr>
          <a:xfrm>
            <a:off x="728042" y="362145"/>
            <a:ext cx="7886700" cy="586768"/>
          </a:xfrm>
          <a:prstGeom prst="rect">
            <a:avLst/>
          </a:prstGeom>
        </p:spPr>
        <p:txBody>
          <a:bodyPr vert="horz" lIns="91440" tIns="45720" rIns="91440" bIns="0" rtlCol="0" anchor="b" anchorCtr="0">
            <a:noAutofit/>
          </a:bodyPr>
          <a:lstStyle/>
          <a:p>
            <a:r>
              <a:rPr lang="en-US"/>
              <a:t>Click to edit Master title style</a:t>
            </a:r>
            <a:endParaRPr lang="en-GB"/>
          </a:p>
        </p:txBody>
      </p:sp>
    </p:spTree>
    <p:extLst>
      <p:ext uri="{BB962C8B-B14F-4D97-AF65-F5344CB8AC3E}">
        <p14:creationId xmlns:p14="http://schemas.microsoft.com/office/powerpoint/2010/main" val="106816481"/>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28649" y="1369219"/>
            <a:ext cx="2518867" cy="2822351"/>
          </a:xfrm>
        </p:spPr>
        <p:txBody>
          <a:bodyPr>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Slide Number Placeholder 6"/>
          <p:cNvSpPr>
            <a:spLocks noGrp="1"/>
          </p:cNvSpPr>
          <p:nvPr>
            <p:ph type="sldNum" sz="quarter" idx="12"/>
          </p:nvPr>
        </p:nvSpPr>
        <p:spPr/>
        <p:txBody>
          <a:bodyPr>
            <a:noAutofit/>
          </a:bodyPr>
          <a:lstStyle/>
          <a:p>
            <a:fld id="{F46C79FD-C571-418B-AB0F-5EE936C85276}" type="slidenum">
              <a:rPr lang="en-GB" smtClean="0"/>
              <a:t>‹#›</a:t>
            </a:fld>
            <a:endParaRPr lang="en-GB"/>
          </a:p>
        </p:txBody>
      </p:sp>
      <p:sp>
        <p:nvSpPr>
          <p:cNvPr id="9" name="Content Placeholder 2"/>
          <p:cNvSpPr>
            <a:spLocks noGrp="1"/>
          </p:cNvSpPr>
          <p:nvPr>
            <p:ph sz="half" idx="13"/>
          </p:nvPr>
        </p:nvSpPr>
        <p:spPr>
          <a:xfrm>
            <a:off x="3453735" y="1369219"/>
            <a:ext cx="2518867" cy="2822351"/>
          </a:xfrm>
        </p:spPr>
        <p:txBody>
          <a:bodyPr>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Content Placeholder 2"/>
          <p:cNvSpPr>
            <a:spLocks noGrp="1"/>
          </p:cNvSpPr>
          <p:nvPr>
            <p:ph sz="half" idx="14"/>
          </p:nvPr>
        </p:nvSpPr>
        <p:spPr>
          <a:xfrm>
            <a:off x="6278821" y="1369219"/>
            <a:ext cx="2518867" cy="2822351"/>
          </a:xfrm>
        </p:spPr>
        <p:txBody>
          <a:bodyPr>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cxnSp>
        <p:nvCxnSpPr>
          <p:cNvPr id="12" name="Straight Connector 11"/>
          <p:cNvCxnSpPr/>
          <p:nvPr userDrawn="1"/>
        </p:nvCxnSpPr>
        <p:spPr>
          <a:xfrm flipH="1">
            <a:off x="628650" y="0"/>
            <a:ext cx="1" cy="957268"/>
          </a:xfrm>
          <a:prstGeom prst="line">
            <a:avLst/>
          </a:prstGeom>
          <a:ln w="28575">
            <a:solidFill>
              <a:schemeClr val="accent5"/>
            </a:solidFill>
          </a:ln>
        </p:spPr>
        <p:style>
          <a:lnRef idx="1">
            <a:schemeClr val="accent1"/>
          </a:lnRef>
          <a:fillRef idx="0">
            <a:schemeClr val="accent1"/>
          </a:fillRef>
          <a:effectRef idx="0">
            <a:schemeClr val="accent1"/>
          </a:effectRef>
          <a:fontRef idx="minor">
            <a:schemeClr val="tx1"/>
          </a:fontRef>
        </p:style>
      </p:cxnSp>
      <p:sp>
        <p:nvSpPr>
          <p:cNvPr id="13" name="Title Placeholder 1"/>
          <p:cNvSpPr>
            <a:spLocks noGrp="1"/>
          </p:cNvSpPr>
          <p:nvPr>
            <p:ph type="title"/>
          </p:nvPr>
        </p:nvSpPr>
        <p:spPr>
          <a:xfrm>
            <a:off x="728042" y="362145"/>
            <a:ext cx="7886700" cy="586768"/>
          </a:xfrm>
          <a:prstGeom prst="rect">
            <a:avLst/>
          </a:prstGeom>
        </p:spPr>
        <p:txBody>
          <a:bodyPr vert="horz" lIns="91440" tIns="45720" rIns="91440" bIns="0" rtlCol="0" anchor="b" anchorCtr="0">
            <a:noAutofit/>
          </a:bodyPr>
          <a:lstStyle/>
          <a:p>
            <a:r>
              <a:rPr lang="en-US"/>
              <a:t>Click to edit Master title style</a:t>
            </a:r>
            <a:endParaRPr lang="en-GB"/>
          </a:p>
        </p:txBody>
      </p:sp>
    </p:spTree>
    <p:extLst>
      <p:ext uri="{BB962C8B-B14F-4D97-AF65-F5344CB8AC3E}">
        <p14:creationId xmlns:p14="http://schemas.microsoft.com/office/powerpoint/2010/main" val="3347983680"/>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629842" y="1260872"/>
            <a:ext cx="3868340" cy="617934"/>
          </a:xfrm>
        </p:spPr>
        <p:txBody>
          <a:bodyPr wrap="square" anchor="b">
            <a:noAutofit/>
          </a:bodyPr>
          <a:lstStyle>
            <a:lvl1pPr marL="0" indent="0">
              <a:buNone/>
              <a:defRPr sz="2100" b="1">
                <a:solidFill>
                  <a:schemeClr val="tx2"/>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Edit Master text styles</a:t>
            </a:r>
          </a:p>
        </p:txBody>
      </p:sp>
      <p:sp>
        <p:nvSpPr>
          <p:cNvPr id="4" name="Content Placeholder 3"/>
          <p:cNvSpPr>
            <a:spLocks noGrp="1"/>
          </p:cNvSpPr>
          <p:nvPr>
            <p:ph sz="half" idx="2"/>
          </p:nvPr>
        </p:nvSpPr>
        <p:spPr>
          <a:xfrm>
            <a:off x="629842" y="1878807"/>
            <a:ext cx="3868340" cy="2322998"/>
          </a:xfrm>
        </p:spPr>
        <p:txBody>
          <a:bodyPr wrap="square">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p:cNvSpPr>
            <a:spLocks noGrp="1"/>
          </p:cNvSpPr>
          <p:nvPr>
            <p:ph type="body" sz="quarter" idx="3"/>
          </p:nvPr>
        </p:nvSpPr>
        <p:spPr>
          <a:xfrm>
            <a:off x="4629150" y="1260872"/>
            <a:ext cx="3887391" cy="617934"/>
          </a:xfrm>
          <a:noFill/>
        </p:spPr>
        <p:txBody>
          <a:bodyPr wrap="square" anchor="b">
            <a:noAutofit/>
          </a:bodyPr>
          <a:lstStyle>
            <a:lvl1pPr marL="0" indent="0">
              <a:buNone/>
              <a:defRPr sz="2100" b="1">
                <a:solidFill>
                  <a:schemeClr val="tx2"/>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Edit Master text styles</a:t>
            </a:r>
          </a:p>
        </p:txBody>
      </p:sp>
      <p:sp>
        <p:nvSpPr>
          <p:cNvPr id="6" name="Content Placeholder 5"/>
          <p:cNvSpPr>
            <a:spLocks noGrp="1"/>
          </p:cNvSpPr>
          <p:nvPr>
            <p:ph sz="quarter" idx="4"/>
          </p:nvPr>
        </p:nvSpPr>
        <p:spPr>
          <a:xfrm>
            <a:off x="4629150" y="1878807"/>
            <a:ext cx="3887391" cy="2322998"/>
          </a:xfrm>
        </p:spPr>
        <p:txBody>
          <a:bodyPr wrap="square">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Slide Number Placeholder 8"/>
          <p:cNvSpPr>
            <a:spLocks noGrp="1"/>
          </p:cNvSpPr>
          <p:nvPr>
            <p:ph type="sldNum" sz="quarter" idx="12"/>
          </p:nvPr>
        </p:nvSpPr>
        <p:spPr/>
        <p:txBody>
          <a:bodyPr>
            <a:noAutofit/>
          </a:bodyPr>
          <a:lstStyle/>
          <a:p>
            <a:fld id="{F46C79FD-C571-418B-AB0F-5EE936C85276}" type="slidenum">
              <a:rPr lang="en-GB" smtClean="0"/>
              <a:t>‹#›</a:t>
            </a:fld>
            <a:endParaRPr lang="en-GB"/>
          </a:p>
        </p:txBody>
      </p:sp>
      <p:cxnSp>
        <p:nvCxnSpPr>
          <p:cNvPr id="12" name="Straight Connector 11"/>
          <p:cNvCxnSpPr/>
          <p:nvPr userDrawn="1"/>
        </p:nvCxnSpPr>
        <p:spPr>
          <a:xfrm flipH="1">
            <a:off x="628650" y="0"/>
            <a:ext cx="1" cy="957268"/>
          </a:xfrm>
          <a:prstGeom prst="line">
            <a:avLst/>
          </a:prstGeom>
          <a:ln w="28575">
            <a:solidFill>
              <a:schemeClr val="accent5"/>
            </a:solidFill>
          </a:ln>
        </p:spPr>
        <p:style>
          <a:lnRef idx="1">
            <a:schemeClr val="accent1"/>
          </a:lnRef>
          <a:fillRef idx="0">
            <a:schemeClr val="accent1"/>
          </a:fillRef>
          <a:effectRef idx="0">
            <a:schemeClr val="accent1"/>
          </a:effectRef>
          <a:fontRef idx="minor">
            <a:schemeClr val="tx1"/>
          </a:fontRef>
        </p:style>
      </p:cxnSp>
      <p:sp>
        <p:nvSpPr>
          <p:cNvPr id="13" name="Title Placeholder 1"/>
          <p:cNvSpPr>
            <a:spLocks noGrp="1"/>
          </p:cNvSpPr>
          <p:nvPr>
            <p:ph type="title"/>
          </p:nvPr>
        </p:nvSpPr>
        <p:spPr>
          <a:xfrm>
            <a:off x="728042" y="362145"/>
            <a:ext cx="7886700" cy="586768"/>
          </a:xfrm>
          <a:prstGeom prst="rect">
            <a:avLst/>
          </a:prstGeom>
        </p:spPr>
        <p:txBody>
          <a:bodyPr vert="horz" lIns="91440" tIns="45720" rIns="91440" bIns="0" rtlCol="0" anchor="b" anchorCtr="0">
            <a:noAutofit/>
          </a:bodyPr>
          <a:lstStyle/>
          <a:p>
            <a:r>
              <a:rPr lang="en-US"/>
              <a:t>Click to edit Master title style</a:t>
            </a:r>
            <a:endParaRPr lang="en-GB"/>
          </a:p>
        </p:txBody>
      </p:sp>
    </p:spTree>
    <p:extLst>
      <p:ext uri="{BB962C8B-B14F-4D97-AF65-F5344CB8AC3E}">
        <p14:creationId xmlns:p14="http://schemas.microsoft.com/office/powerpoint/2010/main" val="3103992053"/>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5" name="Slide Number Placeholder 4"/>
          <p:cNvSpPr>
            <a:spLocks noGrp="1"/>
          </p:cNvSpPr>
          <p:nvPr>
            <p:ph type="sldNum" sz="quarter" idx="12"/>
          </p:nvPr>
        </p:nvSpPr>
        <p:spPr/>
        <p:txBody>
          <a:bodyPr/>
          <a:lstStyle/>
          <a:p>
            <a:fld id="{F46C79FD-C571-418B-AB0F-5EE936C85276}" type="slidenum">
              <a:rPr lang="en-GB" smtClean="0"/>
              <a:t>‹#›</a:t>
            </a:fld>
            <a:endParaRPr lang="en-GB"/>
          </a:p>
        </p:txBody>
      </p:sp>
      <p:cxnSp>
        <p:nvCxnSpPr>
          <p:cNvPr id="8" name="Straight Connector 7"/>
          <p:cNvCxnSpPr/>
          <p:nvPr userDrawn="1"/>
        </p:nvCxnSpPr>
        <p:spPr>
          <a:xfrm flipH="1">
            <a:off x="628650" y="0"/>
            <a:ext cx="1" cy="957268"/>
          </a:xfrm>
          <a:prstGeom prst="line">
            <a:avLst/>
          </a:prstGeom>
          <a:ln w="28575">
            <a:solidFill>
              <a:schemeClr val="accent5"/>
            </a:solidFill>
          </a:ln>
        </p:spPr>
        <p:style>
          <a:lnRef idx="1">
            <a:schemeClr val="accent1"/>
          </a:lnRef>
          <a:fillRef idx="0">
            <a:schemeClr val="accent1"/>
          </a:fillRef>
          <a:effectRef idx="0">
            <a:schemeClr val="accent1"/>
          </a:effectRef>
          <a:fontRef idx="minor">
            <a:schemeClr val="tx1"/>
          </a:fontRef>
        </p:style>
      </p:cxnSp>
      <p:sp>
        <p:nvSpPr>
          <p:cNvPr id="9" name="Title Placeholder 1"/>
          <p:cNvSpPr>
            <a:spLocks noGrp="1"/>
          </p:cNvSpPr>
          <p:nvPr>
            <p:ph type="title"/>
          </p:nvPr>
        </p:nvSpPr>
        <p:spPr>
          <a:xfrm>
            <a:off x="728042" y="362145"/>
            <a:ext cx="7886700" cy="586768"/>
          </a:xfrm>
          <a:prstGeom prst="rect">
            <a:avLst/>
          </a:prstGeom>
        </p:spPr>
        <p:txBody>
          <a:bodyPr vert="horz" lIns="91440" tIns="45720" rIns="91440" bIns="0" rtlCol="0" anchor="b" anchorCtr="0">
            <a:noAutofit/>
          </a:bodyPr>
          <a:lstStyle/>
          <a:p>
            <a:r>
              <a:rPr lang="en-US"/>
              <a:t>Click to edit Master title style</a:t>
            </a:r>
            <a:endParaRPr lang="en-GB"/>
          </a:p>
        </p:txBody>
      </p:sp>
    </p:spTree>
    <p:extLst>
      <p:ext uri="{BB962C8B-B14F-4D97-AF65-F5344CB8AC3E}">
        <p14:creationId xmlns:p14="http://schemas.microsoft.com/office/powerpoint/2010/main" val="205497379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wo Content - Gra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A3E576D-8368-D988-268C-B7C5FCE5923C}"/>
              </a:ext>
            </a:extLst>
          </p:cNvPr>
          <p:cNvSpPr>
            <a:spLocks noGrp="1"/>
          </p:cNvSpPr>
          <p:nvPr>
            <p:ph type="title" hasCustomPrompt="1"/>
          </p:nvPr>
        </p:nvSpPr>
        <p:spPr>
          <a:xfrm>
            <a:off x="709200" y="934598"/>
            <a:ext cx="3060755" cy="671565"/>
          </a:xfrm>
        </p:spPr>
        <p:txBody>
          <a:bodyPr lIns="0" tIns="0" rIns="0" bIns="0" anchor="t" anchorCtr="0"/>
          <a:lstStyle>
            <a:lvl1pPr>
              <a:defRPr sz="2400">
                <a:solidFill>
                  <a:srgbClr val="F15A24"/>
                </a:solidFill>
              </a:defRPr>
            </a:lvl1pPr>
          </a:lstStyle>
          <a:p>
            <a:r>
              <a:rPr lang="en-GB"/>
              <a:t>Click to edit title</a:t>
            </a:r>
            <a:endParaRPr lang="en-LU"/>
          </a:p>
        </p:txBody>
      </p:sp>
      <p:sp>
        <p:nvSpPr>
          <p:cNvPr id="3" name="Slide Number Placeholder 2">
            <a:extLst>
              <a:ext uri="{FF2B5EF4-FFF2-40B4-BE49-F238E27FC236}">
                <a16:creationId xmlns:a16="http://schemas.microsoft.com/office/drawing/2014/main" id="{A74BBEDA-4468-14FF-93EA-3E2BB54E718F}"/>
              </a:ext>
            </a:extLst>
          </p:cNvPr>
          <p:cNvSpPr>
            <a:spLocks noGrp="1"/>
          </p:cNvSpPr>
          <p:nvPr>
            <p:ph type="sldNum" sz="quarter" idx="10"/>
          </p:nvPr>
        </p:nvSpPr>
        <p:spPr/>
        <p:txBody>
          <a:bodyPr/>
          <a:lstStyle/>
          <a:p>
            <a:fld id="{0F67114D-ED23-2A43-BD26-04D629DC704A}" type="slidenum">
              <a:rPr lang="en-LU" smtClean="0"/>
              <a:pPr/>
              <a:t>‹#›</a:t>
            </a:fld>
            <a:endParaRPr lang="en-LU"/>
          </a:p>
        </p:txBody>
      </p:sp>
      <p:sp>
        <p:nvSpPr>
          <p:cNvPr id="8" name="Text Placeholder 6">
            <a:extLst>
              <a:ext uri="{FF2B5EF4-FFF2-40B4-BE49-F238E27FC236}">
                <a16:creationId xmlns:a16="http://schemas.microsoft.com/office/drawing/2014/main" id="{EFAC4E1B-32BD-5181-1D47-FFB86224EA66}"/>
              </a:ext>
            </a:extLst>
          </p:cNvPr>
          <p:cNvSpPr>
            <a:spLocks noGrp="1"/>
          </p:cNvSpPr>
          <p:nvPr>
            <p:ph type="body" sz="quarter" idx="13" hasCustomPrompt="1"/>
          </p:nvPr>
        </p:nvSpPr>
        <p:spPr>
          <a:xfrm>
            <a:off x="1587500" y="4767264"/>
            <a:ext cx="2774950" cy="164386"/>
          </a:xfrm>
        </p:spPr>
        <p:txBody>
          <a:bodyPr lIns="0" tIns="0" rIns="0" bIns="0" anchor="b" anchorCtr="0">
            <a:noAutofit/>
          </a:bodyPr>
          <a:lstStyle>
            <a:lvl1pPr marL="0" indent="0">
              <a:buNone/>
              <a:defRPr sz="1000">
                <a:solidFill>
                  <a:schemeClr val="tx1">
                    <a:lumMod val="50000"/>
                    <a:lumOff val="50000"/>
                  </a:schemeClr>
                </a:solidFill>
              </a:defRPr>
            </a:lvl1pPr>
            <a:lvl2pPr marL="457200" indent="0">
              <a:buNone/>
              <a:defRPr sz="1000">
                <a:solidFill>
                  <a:schemeClr val="tx1">
                    <a:lumMod val="50000"/>
                    <a:lumOff val="50000"/>
                  </a:schemeClr>
                </a:solidFill>
              </a:defRPr>
            </a:lvl2pPr>
            <a:lvl3pPr marL="914400" indent="0">
              <a:buNone/>
              <a:defRPr sz="1000">
                <a:solidFill>
                  <a:schemeClr val="tx1">
                    <a:lumMod val="50000"/>
                    <a:lumOff val="50000"/>
                  </a:schemeClr>
                </a:solidFill>
              </a:defRPr>
            </a:lvl3pPr>
            <a:lvl4pPr marL="1371600" indent="0">
              <a:buNone/>
              <a:defRPr sz="1000">
                <a:solidFill>
                  <a:schemeClr val="tx1">
                    <a:lumMod val="50000"/>
                    <a:lumOff val="50000"/>
                  </a:schemeClr>
                </a:solidFill>
              </a:defRPr>
            </a:lvl4pPr>
            <a:lvl5pPr marL="1828800" indent="0">
              <a:buNone/>
              <a:defRPr sz="1000">
                <a:solidFill>
                  <a:schemeClr val="tx1">
                    <a:lumMod val="50000"/>
                    <a:lumOff val="50000"/>
                  </a:schemeClr>
                </a:solidFill>
              </a:defRPr>
            </a:lvl5pPr>
          </a:lstStyle>
          <a:p>
            <a:pPr lvl="0"/>
            <a:r>
              <a:rPr lang="en-GB"/>
              <a:t>Insert here the title of the presentation</a:t>
            </a:r>
            <a:endParaRPr lang="en-LU"/>
          </a:p>
        </p:txBody>
      </p:sp>
      <p:sp>
        <p:nvSpPr>
          <p:cNvPr id="14" name="Text Placeholder 13">
            <a:extLst>
              <a:ext uri="{FF2B5EF4-FFF2-40B4-BE49-F238E27FC236}">
                <a16:creationId xmlns:a16="http://schemas.microsoft.com/office/drawing/2014/main" id="{9D792AD8-EA3B-99E0-A0F9-4ADA0647C12D}"/>
              </a:ext>
            </a:extLst>
          </p:cNvPr>
          <p:cNvSpPr>
            <a:spLocks noGrp="1"/>
          </p:cNvSpPr>
          <p:nvPr>
            <p:ph type="body" sz="quarter" idx="14" hasCustomPrompt="1"/>
          </p:nvPr>
        </p:nvSpPr>
        <p:spPr>
          <a:xfrm>
            <a:off x="709200" y="1717482"/>
            <a:ext cx="3060700" cy="1828993"/>
          </a:xfrm>
        </p:spPr>
        <p:txBody>
          <a:bodyPr lIns="0" tIns="0" rIns="0" bIns="0">
            <a:normAutofit/>
          </a:bodyPr>
          <a:lstStyle>
            <a:lvl1pPr marL="0" indent="0">
              <a:buNone/>
              <a:defRPr sz="1400">
                <a:solidFill>
                  <a:schemeClr val="tx1">
                    <a:lumMod val="65000"/>
                    <a:lumOff val="35000"/>
                  </a:schemeClr>
                </a:solidFill>
              </a:defRPr>
            </a:lvl1pPr>
            <a:lvl2pPr marL="457200" indent="0">
              <a:buNone/>
              <a:defRPr sz="1400">
                <a:solidFill>
                  <a:schemeClr val="bg1"/>
                </a:solidFill>
              </a:defRPr>
            </a:lvl2pPr>
            <a:lvl3pPr marL="914400" indent="0">
              <a:buNone/>
              <a:defRPr sz="1400">
                <a:solidFill>
                  <a:schemeClr val="bg1"/>
                </a:solidFill>
              </a:defRPr>
            </a:lvl3pPr>
            <a:lvl4pPr marL="1371600" indent="0">
              <a:buNone/>
              <a:defRPr sz="1400">
                <a:solidFill>
                  <a:schemeClr val="bg1"/>
                </a:solidFill>
              </a:defRPr>
            </a:lvl4pPr>
            <a:lvl5pPr marL="1828800" indent="0">
              <a:buNone/>
              <a:defRPr sz="1400">
                <a:solidFill>
                  <a:schemeClr val="bg1"/>
                </a:solidFill>
              </a:defRPr>
            </a:lvl5pPr>
          </a:lstStyle>
          <a:p>
            <a:pPr lvl="0"/>
            <a:r>
              <a:rPr lang="en-GB"/>
              <a:t>Click to edit text or caption</a:t>
            </a:r>
            <a:endParaRPr lang="en-LU"/>
          </a:p>
        </p:txBody>
      </p:sp>
      <p:sp>
        <p:nvSpPr>
          <p:cNvPr id="5" name="Rectangle 4">
            <a:extLst>
              <a:ext uri="{FF2B5EF4-FFF2-40B4-BE49-F238E27FC236}">
                <a16:creationId xmlns:a16="http://schemas.microsoft.com/office/drawing/2014/main" id="{7062020E-5DEC-3DC4-EC6C-629CB6E583B1}"/>
              </a:ext>
            </a:extLst>
          </p:cNvPr>
          <p:cNvSpPr/>
          <p:nvPr userDrawn="1"/>
        </p:nvSpPr>
        <p:spPr>
          <a:xfrm>
            <a:off x="4572000" y="0"/>
            <a:ext cx="4572000" cy="5143500"/>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LU"/>
          </a:p>
        </p:txBody>
      </p:sp>
      <p:sp>
        <p:nvSpPr>
          <p:cNvPr id="11" name="Content Placeholder 10">
            <a:extLst>
              <a:ext uri="{FF2B5EF4-FFF2-40B4-BE49-F238E27FC236}">
                <a16:creationId xmlns:a16="http://schemas.microsoft.com/office/drawing/2014/main" id="{0B0AB515-4280-CF6B-A580-EC2D57DE3459}"/>
              </a:ext>
            </a:extLst>
          </p:cNvPr>
          <p:cNvSpPr>
            <a:spLocks noGrp="1"/>
          </p:cNvSpPr>
          <p:nvPr>
            <p:ph sz="quarter" idx="15"/>
          </p:nvPr>
        </p:nvSpPr>
        <p:spPr>
          <a:xfrm>
            <a:off x="4989761" y="541338"/>
            <a:ext cx="3736478" cy="3760787"/>
          </a:xfrm>
        </p:spPr>
        <p:txBody>
          <a:bodyPr>
            <a:normAutofit/>
          </a:bodyPr>
          <a:lstStyle>
            <a:lvl1pPr>
              <a:buClr>
                <a:schemeClr val="bg1"/>
              </a:buClr>
              <a:defRPr sz="1800">
                <a:solidFill>
                  <a:schemeClr val="bg1"/>
                </a:solidFill>
              </a:defRPr>
            </a:lvl1pPr>
            <a:lvl2pPr>
              <a:buClr>
                <a:schemeClr val="bg1"/>
              </a:buClr>
              <a:defRPr sz="1800">
                <a:solidFill>
                  <a:schemeClr val="bg1"/>
                </a:solidFill>
              </a:defRPr>
            </a:lvl2pPr>
            <a:lvl3pPr>
              <a:buClr>
                <a:schemeClr val="bg1"/>
              </a:buClr>
              <a:defRPr sz="1800">
                <a:solidFill>
                  <a:schemeClr val="bg1"/>
                </a:solidFill>
              </a:defRPr>
            </a:lvl3pPr>
            <a:lvl4pPr>
              <a:buClr>
                <a:schemeClr val="bg1"/>
              </a:buClr>
              <a:defRPr sz="1800">
                <a:solidFill>
                  <a:schemeClr val="bg1"/>
                </a:solidFill>
              </a:defRPr>
            </a:lvl4pPr>
            <a:lvl5pPr>
              <a:buClr>
                <a:schemeClr val="bg1"/>
              </a:buClr>
              <a:defRPr sz="1800">
                <a:solidFill>
                  <a:schemeClr val="bg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LU"/>
          </a:p>
        </p:txBody>
      </p:sp>
    </p:spTree>
    <p:extLst>
      <p:ext uri="{BB962C8B-B14F-4D97-AF65-F5344CB8AC3E}">
        <p14:creationId xmlns:p14="http://schemas.microsoft.com/office/powerpoint/2010/main" val="338869404"/>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Quote Slide">
    <p:spTree>
      <p:nvGrpSpPr>
        <p:cNvPr id="1" name=""/>
        <p:cNvGrpSpPr/>
        <p:nvPr/>
      </p:nvGrpSpPr>
      <p:grpSpPr>
        <a:xfrm>
          <a:off x="0" y="0"/>
          <a:ext cx="0" cy="0"/>
          <a:chOff x="0" y="0"/>
          <a:chExt cx="0" cy="0"/>
        </a:xfrm>
      </p:grpSpPr>
      <p:sp>
        <p:nvSpPr>
          <p:cNvPr id="5" name="Picture Placeholder 4"/>
          <p:cNvSpPr>
            <a:spLocks noGrp="1"/>
          </p:cNvSpPr>
          <p:nvPr>
            <p:ph type="pic" sz="quarter" idx="13"/>
          </p:nvPr>
        </p:nvSpPr>
        <p:spPr>
          <a:xfrm>
            <a:off x="-44726" y="-44726"/>
            <a:ext cx="4616726" cy="5237922"/>
          </a:xfrm>
          <a:solidFill>
            <a:schemeClr val="bg2"/>
          </a:solidFill>
          <a:ln w="28575">
            <a:solidFill>
              <a:schemeClr val="accent5"/>
            </a:solidFill>
          </a:ln>
        </p:spPr>
        <p:txBody>
          <a:bodyPr/>
          <a:lstStyle/>
          <a:p>
            <a:r>
              <a:rPr lang="en-US"/>
              <a:t>Click icon to add picture</a:t>
            </a:r>
            <a:endParaRPr lang="en-GB"/>
          </a:p>
        </p:txBody>
      </p:sp>
      <p:sp>
        <p:nvSpPr>
          <p:cNvPr id="10" name="Rectangle 9"/>
          <p:cNvSpPr/>
          <p:nvPr userDrawn="1"/>
        </p:nvSpPr>
        <p:spPr>
          <a:xfrm>
            <a:off x="2410536" y="1494430"/>
            <a:ext cx="6412742" cy="271249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414586" y="557852"/>
            <a:ext cx="408692" cy="408692"/>
          </a:xfrm>
          <a:prstGeom prst="rect">
            <a:avLst/>
          </a:prstGeom>
        </p:spPr>
      </p:pic>
      <p:sp>
        <p:nvSpPr>
          <p:cNvPr id="3" name="Content Placeholder 2"/>
          <p:cNvSpPr>
            <a:spLocks noGrp="1"/>
          </p:cNvSpPr>
          <p:nvPr>
            <p:ph idx="1"/>
          </p:nvPr>
        </p:nvSpPr>
        <p:spPr>
          <a:xfrm>
            <a:off x="2653748" y="1494429"/>
            <a:ext cx="6169530" cy="2712493"/>
          </a:xfrm>
          <a:solidFill>
            <a:schemeClr val="bg1"/>
          </a:solidFill>
        </p:spPr>
        <p:txBody>
          <a:bodyPr lIns="360000" tIns="360000" rIns="360000" bIns="360000" anchor="ctr" anchorCtr="0">
            <a:noAutofit/>
          </a:bodyPr>
          <a:lstStyle>
            <a:lvl1pPr marL="0" indent="0">
              <a:buFontTx/>
              <a:buNone/>
              <a:defRPr i="1">
                <a:solidFill>
                  <a:schemeClr val="tx2"/>
                </a:solidFill>
              </a:defRPr>
            </a:lvl1pPr>
          </a:lstStyle>
          <a:p>
            <a:pPr lvl="0"/>
            <a:r>
              <a:rPr lang="en-US"/>
              <a:t>Edit Master text styles</a:t>
            </a:r>
          </a:p>
        </p:txBody>
      </p:sp>
    </p:spTree>
    <p:extLst>
      <p:ext uri="{BB962C8B-B14F-4D97-AF65-F5344CB8AC3E}">
        <p14:creationId xmlns:p14="http://schemas.microsoft.com/office/powerpoint/2010/main" val="2256728386"/>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Picture and Content (half page)">
    <p:spTree>
      <p:nvGrpSpPr>
        <p:cNvPr id="1" name=""/>
        <p:cNvGrpSpPr/>
        <p:nvPr/>
      </p:nvGrpSpPr>
      <p:grpSpPr>
        <a:xfrm>
          <a:off x="0" y="0"/>
          <a:ext cx="0" cy="0"/>
          <a:chOff x="0" y="0"/>
          <a:chExt cx="0" cy="0"/>
        </a:xfrm>
      </p:grpSpPr>
      <p:sp>
        <p:nvSpPr>
          <p:cNvPr id="3" name="Content Placeholder 2"/>
          <p:cNvSpPr>
            <a:spLocks noGrp="1"/>
          </p:cNvSpPr>
          <p:nvPr>
            <p:ph idx="1"/>
          </p:nvPr>
        </p:nvSpPr>
        <p:spPr>
          <a:xfrm>
            <a:off x="5112792" y="1369219"/>
            <a:ext cx="3695131" cy="2827468"/>
          </a:xfrm>
        </p:spPr>
        <p:txBody>
          <a:bodyPr>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Slide Number Placeholder 5"/>
          <p:cNvSpPr>
            <a:spLocks noGrp="1"/>
          </p:cNvSpPr>
          <p:nvPr>
            <p:ph type="sldNum" sz="quarter" idx="12"/>
          </p:nvPr>
        </p:nvSpPr>
        <p:spPr/>
        <p:txBody>
          <a:bodyPr/>
          <a:lstStyle/>
          <a:p>
            <a:fld id="{F46C79FD-C571-418B-AB0F-5EE936C85276}" type="slidenum">
              <a:rPr lang="en-GB" smtClean="0"/>
              <a:t>‹#›</a:t>
            </a:fld>
            <a:endParaRPr lang="en-GB"/>
          </a:p>
        </p:txBody>
      </p:sp>
      <p:sp>
        <p:nvSpPr>
          <p:cNvPr id="10" name="Title Placeholder 1"/>
          <p:cNvSpPr>
            <a:spLocks noGrp="1"/>
          </p:cNvSpPr>
          <p:nvPr>
            <p:ph type="title"/>
          </p:nvPr>
        </p:nvSpPr>
        <p:spPr>
          <a:xfrm>
            <a:off x="5112792" y="362145"/>
            <a:ext cx="3501950" cy="586768"/>
          </a:xfrm>
          <a:prstGeom prst="rect">
            <a:avLst/>
          </a:prstGeom>
        </p:spPr>
        <p:txBody>
          <a:bodyPr vert="horz" lIns="91440" tIns="45720" rIns="91440" bIns="0" rtlCol="0" anchor="b" anchorCtr="0">
            <a:noAutofit/>
          </a:bodyPr>
          <a:lstStyle/>
          <a:p>
            <a:r>
              <a:rPr lang="en-US"/>
              <a:t>Click to edit Master title style</a:t>
            </a:r>
            <a:endParaRPr lang="en-GB"/>
          </a:p>
        </p:txBody>
      </p:sp>
      <p:sp>
        <p:nvSpPr>
          <p:cNvPr id="7" name="Picture Placeholder 4"/>
          <p:cNvSpPr>
            <a:spLocks noGrp="1"/>
          </p:cNvSpPr>
          <p:nvPr>
            <p:ph type="pic" sz="quarter" idx="13"/>
          </p:nvPr>
        </p:nvSpPr>
        <p:spPr>
          <a:xfrm>
            <a:off x="-34787" y="-34787"/>
            <a:ext cx="4606787" cy="5223013"/>
          </a:xfrm>
          <a:solidFill>
            <a:schemeClr val="bg2"/>
          </a:solidFill>
          <a:ln w="28575">
            <a:solidFill>
              <a:schemeClr val="accent5"/>
            </a:solidFill>
          </a:ln>
        </p:spPr>
        <p:txBody>
          <a:bodyPr/>
          <a:lstStyle/>
          <a:p>
            <a:r>
              <a:rPr lang="en-US"/>
              <a:t>Click icon to add picture</a:t>
            </a:r>
            <a:endParaRPr lang="en-GB"/>
          </a:p>
        </p:txBody>
      </p:sp>
    </p:spTree>
    <p:extLst>
      <p:ext uri="{BB962C8B-B14F-4D97-AF65-F5344CB8AC3E}">
        <p14:creationId xmlns:p14="http://schemas.microsoft.com/office/powerpoint/2010/main" val="361654427"/>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3 images">
    <p:spTree>
      <p:nvGrpSpPr>
        <p:cNvPr id="1" name=""/>
        <p:cNvGrpSpPr/>
        <p:nvPr/>
      </p:nvGrpSpPr>
      <p:grpSpPr>
        <a:xfrm>
          <a:off x="0" y="0"/>
          <a:ext cx="0" cy="0"/>
          <a:chOff x="0" y="0"/>
          <a:chExt cx="0" cy="0"/>
        </a:xfrm>
      </p:grpSpPr>
      <p:sp>
        <p:nvSpPr>
          <p:cNvPr id="5" name="Slide Number Placeholder 4"/>
          <p:cNvSpPr>
            <a:spLocks noGrp="1"/>
          </p:cNvSpPr>
          <p:nvPr>
            <p:ph type="sldNum" sz="quarter" idx="12"/>
          </p:nvPr>
        </p:nvSpPr>
        <p:spPr/>
        <p:txBody>
          <a:bodyPr/>
          <a:lstStyle/>
          <a:p>
            <a:fld id="{F46C79FD-C571-418B-AB0F-5EE936C85276}" type="slidenum">
              <a:rPr lang="en-GB" smtClean="0"/>
              <a:t>‹#›</a:t>
            </a:fld>
            <a:endParaRPr lang="en-GB"/>
          </a:p>
        </p:txBody>
      </p:sp>
      <p:cxnSp>
        <p:nvCxnSpPr>
          <p:cNvPr id="8" name="Straight Connector 7"/>
          <p:cNvCxnSpPr/>
          <p:nvPr userDrawn="1"/>
        </p:nvCxnSpPr>
        <p:spPr>
          <a:xfrm flipH="1">
            <a:off x="628650" y="0"/>
            <a:ext cx="1" cy="957268"/>
          </a:xfrm>
          <a:prstGeom prst="line">
            <a:avLst/>
          </a:prstGeom>
          <a:ln w="28575">
            <a:solidFill>
              <a:schemeClr val="accent5"/>
            </a:solidFill>
          </a:ln>
        </p:spPr>
        <p:style>
          <a:lnRef idx="1">
            <a:schemeClr val="accent1"/>
          </a:lnRef>
          <a:fillRef idx="0">
            <a:schemeClr val="accent1"/>
          </a:fillRef>
          <a:effectRef idx="0">
            <a:schemeClr val="accent1"/>
          </a:effectRef>
          <a:fontRef idx="minor">
            <a:schemeClr val="tx1"/>
          </a:fontRef>
        </p:style>
      </p:cxnSp>
      <p:sp>
        <p:nvSpPr>
          <p:cNvPr id="9" name="Title Placeholder 1"/>
          <p:cNvSpPr>
            <a:spLocks noGrp="1"/>
          </p:cNvSpPr>
          <p:nvPr>
            <p:ph type="title"/>
          </p:nvPr>
        </p:nvSpPr>
        <p:spPr>
          <a:xfrm>
            <a:off x="728042" y="362145"/>
            <a:ext cx="7886700" cy="586768"/>
          </a:xfrm>
          <a:prstGeom prst="rect">
            <a:avLst/>
          </a:prstGeom>
        </p:spPr>
        <p:txBody>
          <a:bodyPr vert="horz" lIns="91440" tIns="45720" rIns="91440" bIns="0" rtlCol="0" anchor="b" anchorCtr="0">
            <a:noAutofit/>
          </a:bodyPr>
          <a:lstStyle/>
          <a:p>
            <a:r>
              <a:rPr lang="en-US"/>
              <a:t>Click to edit Master title style</a:t>
            </a:r>
            <a:endParaRPr lang="en-GB"/>
          </a:p>
        </p:txBody>
      </p:sp>
      <p:sp>
        <p:nvSpPr>
          <p:cNvPr id="3" name="Picture Placeholder 2"/>
          <p:cNvSpPr>
            <a:spLocks noGrp="1"/>
          </p:cNvSpPr>
          <p:nvPr>
            <p:ph type="pic" sz="quarter" idx="13"/>
          </p:nvPr>
        </p:nvSpPr>
        <p:spPr>
          <a:xfrm>
            <a:off x="728042" y="1713501"/>
            <a:ext cx="2356247" cy="1568053"/>
          </a:xfrm>
          <a:solidFill>
            <a:schemeClr val="bg2"/>
          </a:solidFill>
        </p:spPr>
        <p:txBody>
          <a:bodyPr/>
          <a:lstStyle/>
          <a:p>
            <a:r>
              <a:rPr lang="en-US"/>
              <a:t>Click icon to add picture</a:t>
            </a:r>
            <a:endParaRPr lang="en-GB"/>
          </a:p>
        </p:txBody>
      </p:sp>
      <p:sp>
        <p:nvSpPr>
          <p:cNvPr id="11" name="Picture Placeholder 2"/>
          <p:cNvSpPr>
            <a:spLocks noGrp="1"/>
          </p:cNvSpPr>
          <p:nvPr>
            <p:ph type="pic" sz="quarter" idx="14"/>
          </p:nvPr>
        </p:nvSpPr>
        <p:spPr>
          <a:xfrm>
            <a:off x="5926089" y="1713501"/>
            <a:ext cx="2356247" cy="1568053"/>
          </a:xfrm>
          <a:solidFill>
            <a:schemeClr val="bg2"/>
          </a:solidFill>
        </p:spPr>
        <p:txBody>
          <a:bodyPr/>
          <a:lstStyle/>
          <a:p>
            <a:r>
              <a:rPr lang="en-US"/>
              <a:t>Click icon to add picture</a:t>
            </a:r>
            <a:endParaRPr lang="en-GB"/>
          </a:p>
        </p:txBody>
      </p:sp>
      <p:sp>
        <p:nvSpPr>
          <p:cNvPr id="12" name="Picture Placeholder 2"/>
          <p:cNvSpPr>
            <a:spLocks noGrp="1"/>
          </p:cNvSpPr>
          <p:nvPr>
            <p:ph type="pic" sz="quarter" idx="15"/>
          </p:nvPr>
        </p:nvSpPr>
        <p:spPr>
          <a:xfrm>
            <a:off x="3327065" y="1713501"/>
            <a:ext cx="2356247" cy="1568053"/>
          </a:xfrm>
          <a:solidFill>
            <a:schemeClr val="bg2"/>
          </a:solidFill>
        </p:spPr>
        <p:txBody>
          <a:bodyPr/>
          <a:lstStyle/>
          <a:p>
            <a:r>
              <a:rPr lang="en-US"/>
              <a:t>Click icon to add picture</a:t>
            </a:r>
            <a:endParaRPr lang="en-GB"/>
          </a:p>
        </p:txBody>
      </p:sp>
      <p:sp>
        <p:nvSpPr>
          <p:cNvPr id="13" name="Text Placeholder 12"/>
          <p:cNvSpPr>
            <a:spLocks noGrp="1"/>
          </p:cNvSpPr>
          <p:nvPr>
            <p:ph type="body" sz="quarter" idx="16"/>
          </p:nvPr>
        </p:nvSpPr>
        <p:spPr>
          <a:xfrm>
            <a:off x="905080" y="3029014"/>
            <a:ext cx="2002169" cy="1143176"/>
          </a:xfrm>
          <a:solidFill>
            <a:schemeClr val="bg1"/>
          </a:solidFill>
        </p:spPr>
        <p:txBody>
          <a:bodyPr tIns="90000"/>
          <a:lstStyle>
            <a:lvl1pPr marL="0" indent="0" algn="ctr">
              <a:buNone/>
              <a:defRPr sz="1500"/>
            </a:lvl1pPr>
          </a:lstStyle>
          <a:p>
            <a:pPr lvl="0"/>
            <a:r>
              <a:rPr lang="en-US"/>
              <a:t>Edit Master text styles</a:t>
            </a:r>
          </a:p>
        </p:txBody>
      </p:sp>
      <p:sp>
        <p:nvSpPr>
          <p:cNvPr id="15" name="Text Placeholder 12"/>
          <p:cNvSpPr>
            <a:spLocks noGrp="1"/>
          </p:cNvSpPr>
          <p:nvPr>
            <p:ph type="body" sz="quarter" idx="17"/>
          </p:nvPr>
        </p:nvSpPr>
        <p:spPr>
          <a:xfrm>
            <a:off x="3504104" y="3031459"/>
            <a:ext cx="2002169" cy="1143176"/>
          </a:xfrm>
          <a:solidFill>
            <a:schemeClr val="bg1"/>
          </a:solidFill>
        </p:spPr>
        <p:txBody>
          <a:bodyPr tIns="90000"/>
          <a:lstStyle>
            <a:lvl1pPr marL="0" indent="0" algn="ctr">
              <a:buNone/>
              <a:defRPr sz="1500"/>
            </a:lvl1pPr>
          </a:lstStyle>
          <a:p>
            <a:pPr lvl="0"/>
            <a:r>
              <a:rPr lang="en-US"/>
              <a:t>Edit Master text styles</a:t>
            </a:r>
          </a:p>
        </p:txBody>
      </p:sp>
      <p:sp>
        <p:nvSpPr>
          <p:cNvPr id="16" name="Text Placeholder 12"/>
          <p:cNvSpPr>
            <a:spLocks noGrp="1"/>
          </p:cNvSpPr>
          <p:nvPr>
            <p:ph type="body" sz="quarter" idx="18"/>
          </p:nvPr>
        </p:nvSpPr>
        <p:spPr>
          <a:xfrm>
            <a:off x="6103127" y="3028078"/>
            <a:ext cx="2002169" cy="1143176"/>
          </a:xfrm>
          <a:solidFill>
            <a:schemeClr val="bg1"/>
          </a:solidFill>
        </p:spPr>
        <p:txBody>
          <a:bodyPr tIns="90000"/>
          <a:lstStyle>
            <a:lvl1pPr marL="0" indent="0" algn="ctr">
              <a:buNone/>
              <a:defRPr sz="1500"/>
            </a:lvl1pPr>
          </a:lstStyle>
          <a:p>
            <a:pPr lvl="0"/>
            <a:r>
              <a:rPr lang="en-US"/>
              <a:t>Edit Master text styles</a:t>
            </a:r>
          </a:p>
        </p:txBody>
      </p:sp>
    </p:spTree>
    <p:extLst>
      <p:ext uri="{BB962C8B-B14F-4D97-AF65-F5344CB8AC3E}">
        <p14:creationId xmlns:p14="http://schemas.microsoft.com/office/powerpoint/2010/main" val="3937728008"/>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4 images">
    <p:spTree>
      <p:nvGrpSpPr>
        <p:cNvPr id="1" name=""/>
        <p:cNvGrpSpPr/>
        <p:nvPr/>
      </p:nvGrpSpPr>
      <p:grpSpPr>
        <a:xfrm>
          <a:off x="0" y="0"/>
          <a:ext cx="0" cy="0"/>
          <a:chOff x="0" y="0"/>
          <a:chExt cx="0" cy="0"/>
        </a:xfrm>
      </p:grpSpPr>
      <p:sp>
        <p:nvSpPr>
          <p:cNvPr id="5" name="Slide Number Placeholder 4"/>
          <p:cNvSpPr>
            <a:spLocks noGrp="1"/>
          </p:cNvSpPr>
          <p:nvPr>
            <p:ph type="sldNum" sz="quarter" idx="12"/>
          </p:nvPr>
        </p:nvSpPr>
        <p:spPr/>
        <p:txBody>
          <a:bodyPr/>
          <a:lstStyle/>
          <a:p>
            <a:fld id="{F46C79FD-C571-418B-AB0F-5EE936C85276}" type="slidenum">
              <a:rPr lang="en-GB" smtClean="0"/>
              <a:t>‹#›</a:t>
            </a:fld>
            <a:endParaRPr lang="en-GB"/>
          </a:p>
        </p:txBody>
      </p:sp>
      <p:cxnSp>
        <p:nvCxnSpPr>
          <p:cNvPr id="8" name="Straight Connector 7"/>
          <p:cNvCxnSpPr/>
          <p:nvPr userDrawn="1"/>
        </p:nvCxnSpPr>
        <p:spPr>
          <a:xfrm flipH="1">
            <a:off x="628650" y="0"/>
            <a:ext cx="1" cy="957268"/>
          </a:xfrm>
          <a:prstGeom prst="line">
            <a:avLst/>
          </a:prstGeom>
          <a:ln w="28575">
            <a:solidFill>
              <a:schemeClr val="accent5"/>
            </a:solidFill>
          </a:ln>
        </p:spPr>
        <p:style>
          <a:lnRef idx="1">
            <a:schemeClr val="accent1"/>
          </a:lnRef>
          <a:fillRef idx="0">
            <a:schemeClr val="accent1"/>
          </a:fillRef>
          <a:effectRef idx="0">
            <a:schemeClr val="accent1"/>
          </a:effectRef>
          <a:fontRef idx="minor">
            <a:schemeClr val="tx1"/>
          </a:fontRef>
        </p:style>
      </p:cxnSp>
      <p:sp>
        <p:nvSpPr>
          <p:cNvPr id="9" name="Title Placeholder 1"/>
          <p:cNvSpPr>
            <a:spLocks noGrp="1"/>
          </p:cNvSpPr>
          <p:nvPr>
            <p:ph type="title"/>
          </p:nvPr>
        </p:nvSpPr>
        <p:spPr>
          <a:xfrm>
            <a:off x="728042" y="362145"/>
            <a:ext cx="7886700" cy="586768"/>
          </a:xfrm>
          <a:prstGeom prst="rect">
            <a:avLst/>
          </a:prstGeom>
        </p:spPr>
        <p:txBody>
          <a:bodyPr vert="horz" lIns="91440" tIns="45720" rIns="91440" bIns="0" rtlCol="0" anchor="b" anchorCtr="0">
            <a:noAutofit/>
          </a:bodyPr>
          <a:lstStyle/>
          <a:p>
            <a:r>
              <a:rPr lang="en-US"/>
              <a:t>Click to edit Master title style</a:t>
            </a:r>
            <a:endParaRPr lang="en-GB"/>
          </a:p>
        </p:txBody>
      </p:sp>
      <p:sp>
        <p:nvSpPr>
          <p:cNvPr id="3" name="Picture Placeholder 2"/>
          <p:cNvSpPr>
            <a:spLocks noGrp="1"/>
          </p:cNvSpPr>
          <p:nvPr>
            <p:ph type="pic" sz="quarter" idx="13"/>
          </p:nvPr>
        </p:nvSpPr>
        <p:spPr>
          <a:xfrm>
            <a:off x="2785402" y="1619968"/>
            <a:ext cx="1846193" cy="1228619"/>
          </a:xfrm>
          <a:solidFill>
            <a:schemeClr val="bg2"/>
          </a:solidFill>
        </p:spPr>
        <p:txBody>
          <a:bodyPr/>
          <a:lstStyle/>
          <a:p>
            <a:r>
              <a:rPr lang="en-US"/>
              <a:t>Click icon to add picture</a:t>
            </a:r>
            <a:endParaRPr lang="en-GB"/>
          </a:p>
        </p:txBody>
      </p:sp>
      <p:sp>
        <p:nvSpPr>
          <p:cNvPr id="11" name="Picture Placeholder 2"/>
          <p:cNvSpPr>
            <a:spLocks noGrp="1"/>
          </p:cNvSpPr>
          <p:nvPr>
            <p:ph type="pic" sz="quarter" idx="14"/>
          </p:nvPr>
        </p:nvSpPr>
        <p:spPr>
          <a:xfrm>
            <a:off x="2785402" y="2976661"/>
            <a:ext cx="1846193" cy="1228619"/>
          </a:xfrm>
          <a:solidFill>
            <a:schemeClr val="bg2"/>
          </a:solidFill>
        </p:spPr>
        <p:txBody>
          <a:bodyPr/>
          <a:lstStyle/>
          <a:p>
            <a:r>
              <a:rPr lang="en-US"/>
              <a:t>Click icon to add picture</a:t>
            </a:r>
            <a:endParaRPr lang="en-GB"/>
          </a:p>
        </p:txBody>
      </p:sp>
      <p:sp>
        <p:nvSpPr>
          <p:cNvPr id="12" name="Picture Placeholder 2"/>
          <p:cNvSpPr>
            <a:spLocks noGrp="1"/>
          </p:cNvSpPr>
          <p:nvPr>
            <p:ph type="pic" sz="quarter" idx="15"/>
          </p:nvPr>
        </p:nvSpPr>
        <p:spPr>
          <a:xfrm>
            <a:off x="4743411" y="1619968"/>
            <a:ext cx="1846195" cy="1228619"/>
          </a:xfrm>
          <a:solidFill>
            <a:schemeClr val="bg2"/>
          </a:solidFill>
        </p:spPr>
        <p:txBody>
          <a:bodyPr/>
          <a:lstStyle/>
          <a:p>
            <a:r>
              <a:rPr lang="en-US"/>
              <a:t>Click icon to add picture</a:t>
            </a:r>
            <a:endParaRPr lang="en-GB"/>
          </a:p>
        </p:txBody>
      </p:sp>
      <p:sp>
        <p:nvSpPr>
          <p:cNvPr id="13" name="Text Placeholder 12"/>
          <p:cNvSpPr>
            <a:spLocks noGrp="1"/>
          </p:cNvSpPr>
          <p:nvPr>
            <p:ph type="body" sz="quarter" idx="16"/>
          </p:nvPr>
        </p:nvSpPr>
        <p:spPr>
          <a:xfrm>
            <a:off x="6701420" y="2976660"/>
            <a:ext cx="1890000" cy="1228619"/>
          </a:xfrm>
          <a:noFill/>
        </p:spPr>
        <p:txBody>
          <a:bodyPr tIns="90000"/>
          <a:lstStyle>
            <a:lvl1pPr marL="0" indent="0" algn="l">
              <a:buNone/>
              <a:defRPr sz="1500"/>
            </a:lvl1pPr>
          </a:lstStyle>
          <a:p>
            <a:pPr lvl="0"/>
            <a:r>
              <a:rPr lang="en-US"/>
              <a:t>Edit Master text styles</a:t>
            </a:r>
          </a:p>
        </p:txBody>
      </p:sp>
      <p:sp>
        <p:nvSpPr>
          <p:cNvPr id="16" name="Text Placeholder 12"/>
          <p:cNvSpPr>
            <a:spLocks noGrp="1"/>
          </p:cNvSpPr>
          <p:nvPr>
            <p:ph type="body" sz="quarter" idx="18"/>
          </p:nvPr>
        </p:nvSpPr>
        <p:spPr>
          <a:xfrm>
            <a:off x="775213" y="1619968"/>
            <a:ext cx="1890000" cy="1228619"/>
          </a:xfrm>
          <a:noFill/>
        </p:spPr>
        <p:txBody>
          <a:bodyPr tIns="90000"/>
          <a:lstStyle>
            <a:lvl1pPr marL="0" indent="0" algn="r">
              <a:buNone/>
              <a:defRPr sz="1500"/>
            </a:lvl1pPr>
          </a:lstStyle>
          <a:p>
            <a:pPr lvl="0"/>
            <a:r>
              <a:rPr lang="en-US"/>
              <a:t>Edit Master text styles</a:t>
            </a:r>
          </a:p>
        </p:txBody>
      </p:sp>
      <p:sp>
        <p:nvSpPr>
          <p:cNvPr id="14" name="Picture Placeholder 2"/>
          <p:cNvSpPr>
            <a:spLocks noGrp="1"/>
          </p:cNvSpPr>
          <p:nvPr>
            <p:ph type="pic" sz="quarter" idx="19"/>
          </p:nvPr>
        </p:nvSpPr>
        <p:spPr>
          <a:xfrm>
            <a:off x="4743412" y="2976660"/>
            <a:ext cx="1846193" cy="1228619"/>
          </a:xfrm>
          <a:solidFill>
            <a:schemeClr val="bg2"/>
          </a:solidFill>
        </p:spPr>
        <p:txBody>
          <a:bodyPr/>
          <a:lstStyle/>
          <a:p>
            <a:r>
              <a:rPr lang="en-US"/>
              <a:t>Click icon to add picture</a:t>
            </a:r>
            <a:endParaRPr lang="en-GB"/>
          </a:p>
        </p:txBody>
      </p:sp>
      <p:sp>
        <p:nvSpPr>
          <p:cNvPr id="17" name="Text Placeholder 12"/>
          <p:cNvSpPr>
            <a:spLocks noGrp="1"/>
          </p:cNvSpPr>
          <p:nvPr>
            <p:ph type="body" sz="quarter" idx="20"/>
          </p:nvPr>
        </p:nvSpPr>
        <p:spPr>
          <a:xfrm>
            <a:off x="775213" y="2976661"/>
            <a:ext cx="1890000" cy="1228619"/>
          </a:xfrm>
          <a:noFill/>
        </p:spPr>
        <p:txBody>
          <a:bodyPr tIns="90000"/>
          <a:lstStyle>
            <a:lvl1pPr marL="0" indent="0" algn="r">
              <a:buNone/>
              <a:defRPr sz="1500"/>
            </a:lvl1pPr>
          </a:lstStyle>
          <a:p>
            <a:pPr lvl="0"/>
            <a:r>
              <a:rPr lang="en-US"/>
              <a:t>Edit Master text styles</a:t>
            </a:r>
          </a:p>
        </p:txBody>
      </p:sp>
      <p:sp>
        <p:nvSpPr>
          <p:cNvPr id="18" name="Text Placeholder 12"/>
          <p:cNvSpPr>
            <a:spLocks noGrp="1"/>
          </p:cNvSpPr>
          <p:nvPr>
            <p:ph type="body" sz="quarter" idx="21"/>
          </p:nvPr>
        </p:nvSpPr>
        <p:spPr>
          <a:xfrm>
            <a:off x="6724742" y="1619968"/>
            <a:ext cx="1890000" cy="1228619"/>
          </a:xfrm>
          <a:noFill/>
        </p:spPr>
        <p:txBody>
          <a:bodyPr tIns="90000"/>
          <a:lstStyle>
            <a:lvl1pPr marL="0" indent="0" algn="l">
              <a:buNone/>
              <a:defRPr sz="1500"/>
            </a:lvl1pPr>
          </a:lstStyle>
          <a:p>
            <a:pPr lvl="0"/>
            <a:r>
              <a:rPr lang="en-US"/>
              <a:t>Edit Master text styles</a:t>
            </a:r>
          </a:p>
        </p:txBody>
      </p:sp>
    </p:spTree>
    <p:extLst>
      <p:ext uri="{BB962C8B-B14F-4D97-AF65-F5344CB8AC3E}">
        <p14:creationId xmlns:p14="http://schemas.microsoft.com/office/powerpoint/2010/main" val="1893389989"/>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4" name="Picture Placeholder 2"/>
          <p:cNvSpPr>
            <a:spLocks noGrp="1"/>
          </p:cNvSpPr>
          <p:nvPr>
            <p:ph type="pic" sz="quarter" idx="13"/>
          </p:nvPr>
        </p:nvSpPr>
        <p:spPr>
          <a:xfrm>
            <a:off x="0" y="0"/>
            <a:ext cx="9144000" cy="2571750"/>
          </a:xfrm>
          <a:solidFill>
            <a:schemeClr val="bg2"/>
          </a:solidFill>
        </p:spPr>
        <p:txBody>
          <a:bodyPr/>
          <a:lstStyle/>
          <a:p>
            <a:r>
              <a:rPr lang="en-US"/>
              <a:t>Click icon to add picture</a:t>
            </a:r>
            <a:endParaRPr lang="en-GB"/>
          </a:p>
        </p:txBody>
      </p:sp>
      <p:sp>
        <p:nvSpPr>
          <p:cNvPr id="2" name="Title 1"/>
          <p:cNvSpPr>
            <a:spLocks noGrp="1"/>
          </p:cNvSpPr>
          <p:nvPr>
            <p:ph type="title"/>
          </p:nvPr>
        </p:nvSpPr>
        <p:spPr>
          <a:xfrm>
            <a:off x="628650" y="1984983"/>
            <a:ext cx="7886700" cy="586768"/>
          </a:xfrm>
          <a:solidFill>
            <a:schemeClr val="bg1"/>
          </a:solidFill>
        </p:spPr>
        <p:txBody>
          <a:bodyPr/>
          <a:lstStyle/>
          <a:p>
            <a:r>
              <a:rPr lang="en-US"/>
              <a:t>Click to edit Master title style</a:t>
            </a:r>
            <a:endParaRPr lang="en-GB"/>
          </a:p>
        </p:txBody>
      </p:sp>
      <p:sp>
        <p:nvSpPr>
          <p:cNvPr id="3" name="Slide Number Placeholder 2"/>
          <p:cNvSpPr>
            <a:spLocks noGrp="1"/>
          </p:cNvSpPr>
          <p:nvPr>
            <p:ph type="sldNum" sz="quarter" idx="10"/>
          </p:nvPr>
        </p:nvSpPr>
        <p:spPr/>
        <p:txBody>
          <a:bodyPr/>
          <a:lstStyle/>
          <a:p>
            <a:fld id="{F46C79FD-C571-418B-AB0F-5EE936C85276}" type="slidenum">
              <a:rPr lang="en-GB" smtClean="0"/>
              <a:pPr/>
              <a:t>‹#›</a:t>
            </a:fld>
            <a:endParaRPr lang="en-GB"/>
          </a:p>
        </p:txBody>
      </p:sp>
      <p:sp>
        <p:nvSpPr>
          <p:cNvPr id="6" name="Text Placeholder 5"/>
          <p:cNvSpPr>
            <a:spLocks noGrp="1"/>
          </p:cNvSpPr>
          <p:nvPr>
            <p:ph type="body" sz="quarter" idx="14"/>
          </p:nvPr>
        </p:nvSpPr>
        <p:spPr>
          <a:xfrm>
            <a:off x="628650" y="2722960"/>
            <a:ext cx="7886700" cy="152638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21478469"/>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F46C79FD-C571-418B-AB0F-5EE936C85276}" type="slidenum">
              <a:rPr lang="en-GB" smtClean="0"/>
              <a:t>‹#›</a:t>
            </a:fld>
            <a:endParaRPr lang="en-GB"/>
          </a:p>
        </p:txBody>
      </p:sp>
    </p:spTree>
    <p:extLst>
      <p:ext uri="{BB962C8B-B14F-4D97-AF65-F5344CB8AC3E}">
        <p14:creationId xmlns:p14="http://schemas.microsoft.com/office/powerpoint/2010/main" val="3747473201"/>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cSld name="Title, Subhead &amp; Breadcrumb">
    <p:spTree>
      <p:nvGrpSpPr>
        <p:cNvPr id="1" name=""/>
        <p:cNvGrpSpPr/>
        <p:nvPr/>
      </p:nvGrpSpPr>
      <p:grpSpPr>
        <a:xfrm>
          <a:off x="0" y="0"/>
          <a:ext cx="0" cy="0"/>
          <a:chOff x="0" y="0"/>
          <a:chExt cx="0" cy="0"/>
        </a:xfrm>
      </p:grpSpPr>
      <p:sp>
        <p:nvSpPr>
          <p:cNvPr id="2" name="Title 1"/>
          <p:cNvSpPr>
            <a:spLocks noGrp="1"/>
          </p:cNvSpPr>
          <p:nvPr>
            <p:ph type="title"/>
          </p:nvPr>
        </p:nvSpPr>
        <p:spPr>
          <a:xfrm>
            <a:off x="685800" y="414052"/>
            <a:ext cx="7772400" cy="445770"/>
          </a:xfrm>
        </p:spPr>
        <p:txBody>
          <a:bodyPr vert="horz" lIns="0" tIns="45720" rIns="0" bIns="0" rtlCol="0" anchor="b" anchorCtr="0">
            <a:noAutofit/>
          </a:bodyPr>
          <a:lstStyle>
            <a:lvl1pPr>
              <a:defRPr lang="en-US" sz="2250" spc="-56" dirty="0">
                <a:latin typeface="+mn-lt"/>
              </a:defRPr>
            </a:lvl1pPr>
          </a:lstStyle>
          <a:p>
            <a:pPr lvl="0" defTabSz="514350">
              <a:lnSpc>
                <a:spcPct val="85000"/>
              </a:lnSpc>
            </a:pPr>
            <a:r>
              <a:rPr lang="en-US"/>
              <a:t>Click to edit Master title style</a:t>
            </a:r>
          </a:p>
        </p:txBody>
      </p:sp>
      <p:sp>
        <p:nvSpPr>
          <p:cNvPr id="4" name="Text Placeholder 8"/>
          <p:cNvSpPr>
            <a:spLocks noGrp="1"/>
          </p:cNvSpPr>
          <p:nvPr>
            <p:ph type="body" sz="quarter" idx="14"/>
          </p:nvPr>
        </p:nvSpPr>
        <p:spPr>
          <a:xfrm>
            <a:off x="686041" y="864965"/>
            <a:ext cx="7772160" cy="356616"/>
          </a:xfrm>
        </p:spPr>
        <p:txBody>
          <a:bodyPr vert="horz" lIns="0" tIns="0" rIns="0" bIns="0" rtlCol="0">
            <a:noAutofit/>
          </a:bodyPr>
          <a:lstStyle>
            <a:lvl1pPr marL="0" indent="0">
              <a:buNone/>
              <a:defRPr lang="en-US" sz="900"/>
            </a:lvl1pPr>
          </a:lstStyle>
          <a:p>
            <a:pPr marL="171450" lvl="0" indent="-171450">
              <a:lnSpc>
                <a:spcPct val="130000"/>
              </a:lnSpc>
            </a:pPr>
            <a:r>
              <a:rPr lang="en-US"/>
              <a:t>Click to edit Master text styles</a:t>
            </a:r>
          </a:p>
        </p:txBody>
      </p:sp>
      <p:sp>
        <p:nvSpPr>
          <p:cNvPr id="8" name="Text Placeholder 5"/>
          <p:cNvSpPr>
            <a:spLocks noGrp="1"/>
          </p:cNvSpPr>
          <p:nvPr>
            <p:ph type="body" sz="quarter" idx="15" hasCustomPrompt="1"/>
          </p:nvPr>
        </p:nvSpPr>
        <p:spPr>
          <a:xfrm>
            <a:off x="686228" y="349758"/>
            <a:ext cx="2516886" cy="152400"/>
          </a:xfrm>
        </p:spPr>
        <p:txBody>
          <a:bodyPr vert="horz" lIns="0" tIns="0" rIns="0" bIns="0" rtlCol="0">
            <a:noAutofit/>
          </a:bodyPr>
          <a:lstStyle>
            <a:lvl1pPr marL="0" indent="0">
              <a:buNone/>
              <a:defRPr lang="en-US" sz="675" b="1" kern="0" cap="all" spc="188" baseline="0" dirty="0">
                <a:solidFill>
                  <a:schemeClr val="accent5">
                    <a:lumMod val="60000"/>
                    <a:lumOff val="40000"/>
                  </a:schemeClr>
                </a:solidFill>
                <a:ea typeface="Nexa Black" charset="0"/>
                <a:cs typeface="Nexa Black" charset="0"/>
              </a:defRPr>
            </a:lvl1pPr>
          </a:lstStyle>
          <a:p>
            <a:pPr marL="171450" lvl="0" indent="-171450"/>
            <a:r>
              <a:rPr lang="en-US"/>
              <a:t>BREADCRUMBS</a:t>
            </a:r>
          </a:p>
        </p:txBody>
      </p:sp>
    </p:spTree>
    <p:extLst>
      <p:ext uri="{BB962C8B-B14F-4D97-AF65-F5344CB8AC3E}">
        <p14:creationId xmlns:p14="http://schemas.microsoft.com/office/powerpoint/2010/main" val="3943168016"/>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Title">
    <p:spTree>
      <p:nvGrpSpPr>
        <p:cNvPr id="1" name=""/>
        <p:cNvGrpSpPr/>
        <p:nvPr/>
      </p:nvGrpSpPr>
      <p:grpSpPr>
        <a:xfrm>
          <a:off x="0" y="0"/>
          <a:ext cx="0" cy="0"/>
          <a:chOff x="0" y="0"/>
          <a:chExt cx="0" cy="0"/>
        </a:xfrm>
      </p:grpSpPr>
      <p:sp>
        <p:nvSpPr>
          <p:cNvPr id="2" name="Title 1"/>
          <p:cNvSpPr>
            <a:spLocks noGrp="1"/>
          </p:cNvSpPr>
          <p:nvPr>
            <p:ph type="title"/>
          </p:nvPr>
        </p:nvSpPr>
        <p:spPr>
          <a:xfrm>
            <a:off x="685800" y="521208"/>
            <a:ext cx="7772400" cy="445770"/>
          </a:xfrm>
        </p:spPr>
        <p:txBody>
          <a:bodyPr vert="horz" lIns="0" tIns="45720" rIns="0" bIns="0" rtlCol="0" anchor="b" anchorCtr="0">
            <a:noAutofit/>
          </a:bodyPr>
          <a:lstStyle>
            <a:lvl1pPr>
              <a:defRPr lang="en-US" sz="2700" b="0" spc="-56" dirty="0">
                <a:latin typeface="+mj-lt"/>
              </a:defRPr>
            </a:lvl1pPr>
          </a:lstStyle>
          <a:p>
            <a:pPr lvl="0" defTabSz="514350">
              <a:lnSpc>
                <a:spcPct val="85000"/>
              </a:lnSpc>
            </a:pPr>
            <a:r>
              <a:rPr lang="en-US"/>
              <a:t>Click to edit Master title style</a:t>
            </a:r>
          </a:p>
        </p:txBody>
      </p:sp>
    </p:spTree>
    <p:extLst>
      <p:ext uri="{BB962C8B-B14F-4D97-AF65-F5344CB8AC3E}">
        <p14:creationId xmlns:p14="http://schemas.microsoft.com/office/powerpoint/2010/main" val="2763343283"/>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Title &amp; subtitle">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396000" y="488701"/>
            <a:ext cx="8352000" cy="567941"/>
          </a:xfrm>
          <a:prstGeom prst="rect">
            <a:avLst/>
          </a:prstGeom>
        </p:spPr>
        <p:txBody>
          <a:bodyPr lIns="0" tIns="0" rIns="0" bIns="0">
            <a:noAutofit/>
          </a:bodyPr>
          <a:lstStyle>
            <a:lvl1pPr marL="0" indent="0">
              <a:buNone/>
              <a:defRPr sz="1500" b="0">
                <a:solidFill>
                  <a:srgbClr val="575757"/>
                </a:solidFill>
              </a:defRPr>
            </a:lvl1pPr>
          </a:lstStyle>
          <a:p>
            <a:pPr lvl="0"/>
            <a:r>
              <a:rPr lang="en-US"/>
              <a:t>Click to add subtitle</a:t>
            </a:r>
          </a:p>
        </p:txBody>
      </p:sp>
      <p:sp>
        <p:nvSpPr>
          <p:cNvPr id="11" name="Title Placeholder 1"/>
          <p:cNvSpPr>
            <a:spLocks noGrp="1"/>
          </p:cNvSpPr>
          <p:nvPr>
            <p:ph type="title" hasCustomPrompt="1"/>
          </p:nvPr>
        </p:nvSpPr>
        <p:spPr>
          <a:xfrm>
            <a:off x="396000" y="221762"/>
            <a:ext cx="8352000" cy="352119"/>
          </a:xfrm>
          <a:prstGeom prst="rect">
            <a:avLst/>
          </a:prstGeom>
        </p:spPr>
        <p:txBody>
          <a:bodyPr vert="horz" lIns="0" tIns="0" rIns="0" bIns="0" rtlCol="0" anchor="t" anchorCtr="0">
            <a:noAutofit/>
          </a:bodyPr>
          <a:lstStyle>
            <a:lvl1pPr>
              <a:defRPr/>
            </a:lvl1pPr>
          </a:lstStyle>
          <a:p>
            <a:r>
              <a:rPr lang="en-US"/>
              <a:t>Click to add title</a:t>
            </a:r>
          </a:p>
        </p:txBody>
      </p:sp>
    </p:spTree>
    <p:extLst>
      <p:ext uri="{BB962C8B-B14F-4D97-AF65-F5344CB8AC3E}">
        <p14:creationId xmlns:p14="http://schemas.microsoft.com/office/powerpoint/2010/main" val="3132383888"/>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matchingName="Title Slide">
  <p:cSld name="3_Title Slide">
    <p:spTree>
      <p:nvGrpSpPr>
        <p:cNvPr id="1" name="Shape 14"/>
        <p:cNvGrpSpPr/>
        <p:nvPr/>
      </p:nvGrpSpPr>
      <p:grpSpPr>
        <a:xfrm>
          <a:off x="0" y="0"/>
          <a:ext cx="0" cy="0"/>
          <a:chOff x="0" y="0"/>
          <a:chExt cx="0" cy="0"/>
        </a:xfrm>
      </p:grpSpPr>
      <p:sp>
        <p:nvSpPr>
          <p:cNvPr id="15" name="Google Shape;15;p22"/>
          <p:cNvSpPr txBox="1">
            <a:spLocks noGrp="1"/>
          </p:cNvSpPr>
          <p:nvPr>
            <p:ph type="sldNum" idx="12"/>
          </p:nvPr>
        </p:nvSpPr>
        <p:spPr>
          <a:xfrm>
            <a:off x="523143" y="4598465"/>
            <a:ext cx="2057400" cy="273844"/>
          </a:xfrm>
          <a:prstGeom prst="rect">
            <a:avLst/>
          </a:prstGeom>
          <a:noFill/>
          <a:ln>
            <a:noFill/>
          </a:ln>
        </p:spPr>
        <p:txBody>
          <a:bodyPr spcFirstLastPara="1" wrap="square" lIns="91425" tIns="45700" rIns="91425" bIns="45700" anchor="ctr" anchorCtr="0">
            <a:noAutofit/>
          </a:bodyPr>
          <a:lstStyle>
            <a:lvl1pPr marL="0" lvl="0" indent="0" algn="l">
              <a:spcBef>
                <a:spcPts val="0"/>
              </a:spcBef>
              <a:buNone/>
              <a:defRPr/>
            </a:lvl1pPr>
            <a:lvl2pPr marL="0" lvl="1" indent="0" algn="l">
              <a:spcBef>
                <a:spcPts val="0"/>
              </a:spcBef>
              <a:buNone/>
              <a:defRPr/>
            </a:lvl2pPr>
            <a:lvl3pPr marL="0" lvl="2" indent="0" algn="l">
              <a:spcBef>
                <a:spcPts val="0"/>
              </a:spcBef>
              <a:buNone/>
              <a:defRPr/>
            </a:lvl3pPr>
            <a:lvl4pPr marL="0" lvl="3" indent="0" algn="l">
              <a:spcBef>
                <a:spcPts val="0"/>
              </a:spcBef>
              <a:buNone/>
              <a:defRPr/>
            </a:lvl4pPr>
            <a:lvl5pPr marL="0" lvl="4" indent="0" algn="l">
              <a:spcBef>
                <a:spcPts val="0"/>
              </a:spcBef>
              <a:buNone/>
              <a:defRPr/>
            </a:lvl5pPr>
            <a:lvl6pPr marL="0" lvl="5" indent="0" algn="l">
              <a:spcBef>
                <a:spcPts val="0"/>
              </a:spcBef>
              <a:buNone/>
              <a:defRPr/>
            </a:lvl6pPr>
            <a:lvl7pPr marL="0" lvl="6" indent="0" algn="l">
              <a:spcBef>
                <a:spcPts val="0"/>
              </a:spcBef>
              <a:buNone/>
              <a:defRPr/>
            </a:lvl7pPr>
            <a:lvl8pPr marL="0" lvl="7" indent="0" algn="l">
              <a:spcBef>
                <a:spcPts val="0"/>
              </a:spcBef>
              <a:buNone/>
              <a:defRPr/>
            </a:lvl8pPr>
            <a:lvl9pPr marL="0" lvl="8" indent="0" algn="l">
              <a:spcBef>
                <a:spcPts val="0"/>
              </a:spcBef>
              <a:buNone/>
              <a:defRPr/>
            </a:lvl9pPr>
          </a:lstStyle>
          <a:p>
            <a:fld id="{00000000-1234-1234-1234-123412341234}" type="slidenum">
              <a:rPr lang="en-GB" smtClean="0"/>
              <a:pPr/>
              <a:t>‹#›</a:t>
            </a:fld>
            <a:endParaRPr lang="en-GB"/>
          </a:p>
        </p:txBody>
      </p:sp>
      <p:sp>
        <p:nvSpPr>
          <p:cNvPr id="16" name="Google Shape;16;p22"/>
          <p:cNvSpPr/>
          <p:nvPr/>
        </p:nvSpPr>
        <p:spPr>
          <a:xfrm>
            <a:off x="0" y="808630"/>
            <a:ext cx="9144000" cy="4334870"/>
          </a:xfrm>
          <a:prstGeom prst="rect">
            <a:avLst/>
          </a:prstGeom>
          <a:solidFill>
            <a:srgbClr val="0356B1"/>
          </a:solidFill>
          <a:ln>
            <a:noFill/>
          </a:ln>
        </p:spPr>
        <p:txBody>
          <a:bodyPr spcFirstLastPara="1" wrap="square" lIns="68569" tIns="34275" rIns="68569" bIns="34275" anchor="ctr" anchorCtr="0">
            <a:noAutofit/>
          </a:bodyPr>
          <a:lstStyle/>
          <a:p>
            <a:pPr marL="0" marR="0" lvl="0" indent="0" algn="ctr" rtl="0">
              <a:spcBef>
                <a:spcPts val="0"/>
              </a:spcBef>
              <a:spcAft>
                <a:spcPts val="0"/>
              </a:spcAft>
              <a:buNone/>
            </a:pPr>
            <a:endParaRPr sz="1350" b="0" i="0" u="none" strike="noStrike" cap="none">
              <a:solidFill>
                <a:schemeClr val="accent4"/>
              </a:solidFill>
              <a:latin typeface="Arial"/>
              <a:ea typeface="Arial"/>
              <a:cs typeface="Arial"/>
              <a:sym typeface="Arial"/>
            </a:endParaRPr>
          </a:p>
        </p:txBody>
      </p:sp>
      <p:sp>
        <p:nvSpPr>
          <p:cNvPr id="18" name="Google Shape;18;p22"/>
          <p:cNvSpPr txBox="1">
            <a:spLocks noGrp="1"/>
          </p:cNvSpPr>
          <p:nvPr>
            <p:ph type="ctrTitle"/>
          </p:nvPr>
        </p:nvSpPr>
        <p:spPr>
          <a:xfrm>
            <a:off x="803513" y="1494430"/>
            <a:ext cx="7548918" cy="1612142"/>
          </a:xfrm>
          <a:prstGeom prst="rect">
            <a:avLst/>
          </a:prstGeom>
          <a:noFill/>
          <a:ln>
            <a:noFill/>
          </a:ln>
        </p:spPr>
        <p:txBody>
          <a:bodyPr spcFirstLastPara="1" wrap="square" lIns="91425" tIns="45700" rIns="91425" bIns="0" anchor="t" anchorCtr="0">
            <a:noAutofit/>
          </a:bodyPr>
          <a:lstStyle>
            <a:lvl1pPr lvl="0" algn="l">
              <a:lnSpc>
                <a:spcPct val="90000"/>
              </a:lnSpc>
              <a:spcBef>
                <a:spcPts val="0"/>
              </a:spcBef>
              <a:spcAft>
                <a:spcPts val="0"/>
              </a:spcAft>
              <a:buClr>
                <a:schemeClr val="lt1"/>
              </a:buClr>
              <a:buSzPts val="6000"/>
              <a:buFont typeface="Arial"/>
              <a:buNone/>
              <a:defRPr sz="4500" b="0">
                <a:solidFill>
                  <a:schemeClr val="lt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r>
              <a:rPr lang="en-US"/>
              <a:t>Click to edit Master title style</a:t>
            </a:r>
            <a:endParaRPr/>
          </a:p>
        </p:txBody>
      </p:sp>
      <p:sp>
        <p:nvSpPr>
          <p:cNvPr id="19" name="Google Shape;19;p22"/>
          <p:cNvSpPr txBox="1">
            <a:spLocks noGrp="1"/>
          </p:cNvSpPr>
          <p:nvPr>
            <p:ph type="subTitle" idx="1"/>
          </p:nvPr>
        </p:nvSpPr>
        <p:spPr>
          <a:xfrm>
            <a:off x="803513" y="3313537"/>
            <a:ext cx="7548918" cy="673316"/>
          </a:xfrm>
          <a:prstGeom prst="rect">
            <a:avLst/>
          </a:prstGeom>
          <a:noFill/>
          <a:ln>
            <a:noFill/>
          </a:ln>
        </p:spPr>
        <p:txBody>
          <a:bodyPr spcFirstLastPara="1" wrap="square" lIns="91425" tIns="45700" rIns="91425" bIns="45700" anchor="t" anchorCtr="0">
            <a:noAutofit/>
          </a:bodyPr>
          <a:lstStyle>
            <a:lvl1pPr lvl="0" algn="l">
              <a:lnSpc>
                <a:spcPct val="100000"/>
              </a:lnSpc>
              <a:spcBef>
                <a:spcPts val="0"/>
              </a:spcBef>
              <a:spcAft>
                <a:spcPts val="0"/>
              </a:spcAft>
              <a:buSzPts val="2800"/>
              <a:buNone/>
              <a:defRPr sz="2100" i="0">
                <a:solidFill>
                  <a:schemeClr val="accent5"/>
                </a:solidFill>
              </a:defRPr>
            </a:lvl1pPr>
            <a:lvl2pPr lvl="1" algn="ctr">
              <a:lnSpc>
                <a:spcPct val="100000"/>
              </a:lnSpc>
              <a:spcBef>
                <a:spcPts val="1350"/>
              </a:spcBef>
              <a:spcAft>
                <a:spcPts val="0"/>
              </a:spcAft>
              <a:buSzPts val="2000"/>
              <a:buNone/>
              <a:defRPr sz="1500"/>
            </a:lvl2pPr>
            <a:lvl3pPr lvl="2" algn="ctr">
              <a:lnSpc>
                <a:spcPct val="100000"/>
              </a:lnSpc>
              <a:spcBef>
                <a:spcPts val="1350"/>
              </a:spcBef>
              <a:spcAft>
                <a:spcPts val="0"/>
              </a:spcAft>
              <a:buSzPts val="1800"/>
              <a:buNone/>
              <a:defRPr sz="1350"/>
            </a:lvl3pPr>
            <a:lvl4pPr lvl="3" algn="ctr">
              <a:lnSpc>
                <a:spcPct val="100000"/>
              </a:lnSpc>
              <a:spcBef>
                <a:spcPts val="1350"/>
              </a:spcBef>
              <a:spcAft>
                <a:spcPts val="0"/>
              </a:spcAft>
              <a:buSzPts val="1600"/>
              <a:buNone/>
              <a:defRPr sz="1200"/>
            </a:lvl4pPr>
            <a:lvl5pPr lvl="4" algn="ctr">
              <a:lnSpc>
                <a:spcPct val="100000"/>
              </a:lnSpc>
              <a:spcBef>
                <a:spcPts val="1350"/>
              </a:spcBef>
              <a:spcAft>
                <a:spcPts val="0"/>
              </a:spcAft>
              <a:buSzPts val="1600"/>
              <a:buNone/>
              <a:defRPr sz="1200"/>
            </a:lvl5pPr>
            <a:lvl6pPr lvl="5" algn="ctr">
              <a:lnSpc>
                <a:spcPct val="90000"/>
              </a:lnSpc>
              <a:spcBef>
                <a:spcPts val="1350"/>
              </a:spcBef>
              <a:spcAft>
                <a:spcPts val="0"/>
              </a:spcAft>
              <a:buClr>
                <a:schemeClr val="dk1"/>
              </a:buClr>
              <a:buSzPts val="1600"/>
              <a:buNone/>
              <a:defRPr sz="1200"/>
            </a:lvl6pPr>
            <a:lvl7pPr lvl="6" algn="ctr">
              <a:lnSpc>
                <a:spcPct val="90000"/>
              </a:lnSpc>
              <a:spcBef>
                <a:spcPts val="375"/>
              </a:spcBef>
              <a:spcAft>
                <a:spcPts val="0"/>
              </a:spcAft>
              <a:buClr>
                <a:schemeClr val="dk1"/>
              </a:buClr>
              <a:buSzPts val="1600"/>
              <a:buNone/>
              <a:defRPr sz="1200"/>
            </a:lvl7pPr>
            <a:lvl8pPr lvl="7" algn="ctr">
              <a:lnSpc>
                <a:spcPct val="90000"/>
              </a:lnSpc>
              <a:spcBef>
                <a:spcPts val="375"/>
              </a:spcBef>
              <a:spcAft>
                <a:spcPts val="0"/>
              </a:spcAft>
              <a:buClr>
                <a:schemeClr val="dk1"/>
              </a:buClr>
              <a:buSzPts val="1600"/>
              <a:buNone/>
              <a:defRPr sz="1200"/>
            </a:lvl8pPr>
            <a:lvl9pPr lvl="8" algn="ctr">
              <a:lnSpc>
                <a:spcPct val="90000"/>
              </a:lnSpc>
              <a:spcBef>
                <a:spcPts val="375"/>
              </a:spcBef>
              <a:spcAft>
                <a:spcPts val="0"/>
              </a:spcAft>
              <a:buClr>
                <a:schemeClr val="dk1"/>
              </a:buClr>
              <a:buSzPts val="1600"/>
              <a:buNone/>
              <a:defRPr sz="1200"/>
            </a:lvl9pPr>
          </a:lstStyle>
          <a:p>
            <a:r>
              <a:rPr lang="en-US"/>
              <a:t>Click to edit Master subtitle style</a:t>
            </a:r>
            <a:endParaRPr/>
          </a:p>
        </p:txBody>
      </p:sp>
      <p:sp>
        <p:nvSpPr>
          <p:cNvPr id="20" name="Google Shape;20;p22"/>
          <p:cNvSpPr txBox="1">
            <a:spLocks noGrp="1"/>
          </p:cNvSpPr>
          <p:nvPr>
            <p:ph type="body" idx="2"/>
          </p:nvPr>
        </p:nvSpPr>
        <p:spPr>
          <a:xfrm>
            <a:off x="4572000" y="4168427"/>
            <a:ext cx="3780235" cy="396749"/>
          </a:xfrm>
          <a:prstGeom prst="rect">
            <a:avLst/>
          </a:prstGeom>
          <a:noFill/>
          <a:ln>
            <a:noFill/>
          </a:ln>
        </p:spPr>
        <p:txBody>
          <a:bodyPr spcFirstLastPara="1" wrap="square" lIns="91425" tIns="45700" rIns="91425" bIns="45700" anchor="t" anchorCtr="0">
            <a:noAutofit/>
          </a:bodyPr>
          <a:lstStyle>
            <a:lvl1pPr marL="342900" lvl="0" indent="-171450" algn="r">
              <a:lnSpc>
                <a:spcPct val="100000"/>
              </a:lnSpc>
              <a:spcBef>
                <a:spcPts val="0"/>
              </a:spcBef>
              <a:spcAft>
                <a:spcPts val="0"/>
              </a:spcAft>
              <a:buSzPts val="2200"/>
              <a:buFont typeface="Arial"/>
              <a:buNone/>
              <a:defRPr sz="1650" i="1">
                <a:solidFill>
                  <a:schemeClr val="lt1"/>
                </a:solidFill>
              </a:defRPr>
            </a:lvl1pPr>
            <a:lvl2pPr marL="685800" lvl="1" indent="-257175" algn="l">
              <a:lnSpc>
                <a:spcPct val="100000"/>
              </a:lnSpc>
              <a:spcBef>
                <a:spcPts val="1350"/>
              </a:spcBef>
              <a:spcAft>
                <a:spcPts val="0"/>
              </a:spcAft>
              <a:buSzPts val="1800"/>
              <a:buChar char="•"/>
              <a:defRPr/>
            </a:lvl2pPr>
            <a:lvl3pPr marL="1028700" lvl="2" indent="-257175" algn="l">
              <a:lnSpc>
                <a:spcPct val="100000"/>
              </a:lnSpc>
              <a:spcBef>
                <a:spcPts val="1350"/>
              </a:spcBef>
              <a:spcAft>
                <a:spcPts val="0"/>
              </a:spcAft>
              <a:buSzPts val="1800"/>
              <a:buChar char="•"/>
              <a:defRPr/>
            </a:lvl3pPr>
            <a:lvl4pPr marL="1371600" lvl="3" indent="-257175" algn="l">
              <a:lnSpc>
                <a:spcPct val="100000"/>
              </a:lnSpc>
              <a:spcBef>
                <a:spcPts val="1350"/>
              </a:spcBef>
              <a:spcAft>
                <a:spcPts val="0"/>
              </a:spcAft>
              <a:buSzPts val="1800"/>
              <a:buChar char="•"/>
              <a:defRPr/>
            </a:lvl4pPr>
            <a:lvl5pPr marL="1714500" lvl="4" indent="-257175" algn="l">
              <a:lnSpc>
                <a:spcPct val="100000"/>
              </a:lnSpc>
              <a:spcBef>
                <a:spcPts val="1350"/>
              </a:spcBef>
              <a:spcAft>
                <a:spcPts val="0"/>
              </a:spcAft>
              <a:buSzPts val="1800"/>
              <a:buChar char="•"/>
              <a:defRPr/>
            </a:lvl5pPr>
            <a:lvl6pPr marL="2057400" lvl="5" indent="-257175" algn="l">
              <a:lnSpc>
                <a:spcPct val="90000"/>
              </a:lnSpc>
              <a:spcBef>
                <a:spcPts val="1350"/>
              </a:spcBef>
              <a:spcAft>
                <a:spcPts val="0"/>
              </a:spcAft>
              <a:buClr>
                <a:schemeClr val="dk1"/>
              </a:buClr>
              <a:buSzPts val="1800"/>
              <a:buChar char="•"/>
              <a:defRPr/>
            </a:lvl6pPr>
            <a:lvl7pPr marL="2400300" lvl="6" indent="-257175" algn="l">
              <a:lnSpc>
                <a:spcPct val="90000"/>
              </a:lnSpc>
              <a:spcBef>
                <a:spcPts val="375"/>
              </a:spcBef>
              <a:spcAft>
                <a:spcPts val="0"/>
              </a:spcAft>
              <a:buClr>
                <a:schemeClr val="dk1"/>
              </a:buClr>
              <a:buSzPts val="1800"/>
              <a:buChar char="•"/>
              <a:defRPr/>
            </a:lvl7pPr>
            <a:lvl8pPr marL="2743200" lvl="7" indent="-257175" algn="l">
              <a:lnSpc>
                <a:spcPct val="90000"/>
              </a:lnSpc>
              <a:spcBef>
                <a:spcPts val="375"/>
              </a:spcBef>
              <a:spcAft>
                <a:spcPts val="0"/>
              </a:spcAft>
              <a:buClr>
                <a:schemeClr val="dk1"/>
              </a:buClr>
              <a:buSzPts val="1800"/>
              <a:buChar char="•"/>
              <a:defRPr/>
            </a:lvl8pPr>
            <a:lvl9pPr marL="3086100" lvl="8" indent="-257175" algn="l">
              <a:lnSpc>
                <a:spcPct val="90000"/>
              </a:lnSpc>
              <a:spcBef>
                <a:spcPts val="375"/>
              </a:spcBef>
              <a:spcAft>
                <a:spcPts val="0"/>
              </a:spcAft>
              <a:buClr>
                <a:schemeClr val="dk1"/>
              </a:buClr>
              <a:buSzPts val="1800"/>
              <a:buChar char="•"/>
              <a:defRPr/>
            </a:lvl9pPr>
          </a:lstStyle>
          <a:p>
            <a:pPr lvl="0"/>
            <a:r>
              <a:rPr lang="en-US"/>
              <a:t>Click to edit Master text styles</a:t>
            </a:r>
          </a:p>
        </p:txBody>
      </p:sp>
      <p:sp>
        <p:nvSpPr>
          <p:cNvPr id="21" name="Google Shape;21;p22"/>
          <p:cNvSpPr/>
          <p:nvPr/>
        </p:nvSpPr>
        <p:spPr>
          <a:xfrm>
            <a:off x="4305869" y="4964373"/>
            <a:ext cx="530557" cy="180446"/>
          </a:xfrm>
          <a:prstGeom prst="rect">
            <a:avLst/>
          </a:prstGeom>
          <a:solidFill>
            <a:srgbClr val="004494"/>
          </a:solidFill>
          <a:ln>
            <a:noFill/>
          </a:ln>
        </p:spPr>
        <p:txBody>
          <a:bodyPr spcFirstLastPara="1" wrap="square" lIns="68569" tIns="34275" rIns="68569" bIns="34275" anchor="ctr" anchorCtr="0">
            <a:noAutofit/>
          </a:bodyPr>
          <a:lstStyle/>
          <a:p>
            <a:pPr marL="0" marR="0" lvl="0" indent="0" algn="ctr" rtl="0">
              <a:spcBef>
                <a:spcPts val="0"/>
              </a:spcBef>
              <a:spcAft>
                <a:spcPts val="0"/>
              </a:spcAft>
              <a:buNone/>
            </a:pPr>
            <a:endParaRPr sz="1350" b="0" i="0" u="none" strike="noStrike" cap="none">
              <a:solidFill>
                <a:schemeClr val="lt1"/>
              </a:solidFill>
              <a:latin typeface="Arial"/>
              <a:ea typeface="Arial"/>
              <a:cs typeface="Arial"/>
              <a:sym typeface="Arial"/>
            </a:endParaRPr>
          </a:p>
        </p:txBody>
      </p:sp>
      <p:cxnSp>
        <p:nvCxnSpPr>
          <p:cNvPr id="22" name="Google Shape;22;p22"/>
          <p:cNvCxnSpPr/>
          <p:nvPr/>
        </p:nvCxnSpPr>
        <p:spPr>
          <a:xfrm>
            <a:off x="635060" y="1484194"/>
            <a:ext cx="0" cy="3659306"/>
          </a:xfrm>
          <a:prstGeom prst="straightConnector1">
            <a:avLst/>
          </a:prstGeom>
          <a:noFill/>
          <a:ln w="28575" cap="flat" cmpd="sng">
            <a:solidFill>
              <a:schemeClr val="accent5"/>
            </a:solidFill>
            <a:prstDash val="solid"/>
            <a:miter lim="800000"/>
            <a:headEnd type="none" w="sm" len="sm"/>
            <a:tailEnd type="none" w="sm" len="sm"/>
          </a:ln>
        </p:spPr>
      </p:cxnSp>
      <p:pic>
        <p:nvPicPr>
          <p:cNvPr id="2" name="Google Shape;17;p22" descr="European Commission">
            <a:extLst>
              <a:ext uri="{FF2B5EF4-FFF2-40B4-BE49-F238E27FC236}">
                <a16:creationId xmlns:a16="http://schemas.microsoft.com/office/drawing/2014/main" id="{B45F4576-0280-9ABD-3693-C3C51E11FA18}"/>
              </a:ext>
            </a:extLst>
          </p:cNvPr>
          <p:cNvPicPr preferRelativeResize="0"/>
          <p:nvPr userDrawn="1"/>
        </p:nvPicPr>
        <p:blipFill rotWithShape="1">
          <a:blip r:embed="rId2">
            <a:alphaModFix/>
          </a:blip>
          <a:srcRect/>
          <a:stretch/>
        </p:blipFill>
        <p:spPr>
          <a:xfrm>
            <a:off x="4041700" y="193532"/>
            <a:ext cx="1244845" cy="864345"/>
          </a:xfrm>
          <a:prstGeom prst="rect">
            <a:avLst/>
          </a:prstGeom>
          <a:noFill/>
          <a:ln>
            <a:noFill/>
          </a:ln>
        </p:spPr>
      </p:pic>
    </p:spTree>
    <p:extLst>
      <p:ext uri="{BB962C8B-B14F-4D97-AF65-F5344CB8AC3E}">
        <p14:creationId xmlns:p14="http://schemas.microsoft.com/office/powerpoint/2010/main" val="1140518878"/>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 colum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714E6B3-010F-DD09-798B-9B0673EA60C8}"/>
              </a:ext>
            </a:extLst>
          </p:cNvPr>
          <p:cNvSpPr>
            <a:spLocks noGrp="1"/>
          </p:cNvSpPr>
          <p:nvPr>
            <p:ph type="title"/>
          </p:nvPr>
        </p:nvSpPr>
        <p:spPr>
          <a:xfrm>
            <a:off x="630238" y="274638"/>
            <a:ext cx="7886700" cy="993775"/>
          </a:xfrm>
        </p:spPr>
        <p:txBody>
          <a:bodyPr/>
          <a:lstStyle/>
          <a:p>
            <a:r>
              <a:rPr lang="en-GB"/>
              <a:t>Click to edit Master title style</a:t>
            </a:r>
            <a:endParaRPr lang="en-LU"/>
          </a:p>
        </p:txBody>
      </p:sp>
      <p:sp>
        <p:nvSpPr>
          <p:cNvPr id="3" name="Text Placeholder 2">
            <a:extLst>
              <a:ext uri="{FF2B5EF4-FFF2-40B4-BE49-F238E27FC236}">
                <a16:creationId xmlns:a16="http://schemas.microsoft.com/office/drawing/2014/main" id="{087117DF-268B-9AE4-0352-80145A0033FD}"/>
              </a:ext>
            </a:extLst>
          </p:cNvPr>
          <p:cNvSpPr>
            <a:spLocks noGrp="1"/>
          </p:cNvSpPr>
          <p:nvPr>
            <p:ph type="body" idx="1"/>
          </p:nvPr>
        </p:nvSpPr>
        <p:spPr>
          <a:xfrm>
            <a:off x="630238" y="1260475"/>
            <a:ext cx="3868737" cy="619125"/>
          </a:xfrm>
        </p:spPr>
        <p:txBody>
          <a:bodyPr anchor="t" anchorCtr="0">
            <a:normAutofit/>
          </a:bodyPr>
          <a:lstStyle>
            <a:lvl1pPr marL="0" indent="0">
              <a:buNone/>
              <a:defRPr sz="22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4" name="Content Placeholder 3">
            <a:extLst>
              <a:ext uri="{FF2B5EF4-FFF2-40B4-BE49-F238E27FC236}">
                <a16:creationId xmlns:a16="http://schemas.microsoft.com/office/drawing/2014/main" id="{26F62ABD-3F34-1C44-9C58-FB1CDDBE921B}"/>
              </a:ext>
            </a:extLst>
          </p:cNvPr>
          <p:cNvSpPr>
            <a:spLocks noGrp="1"/>
          </p:cNvSpPr>
          <p:nvPr>
            <p:ph sz="half" idx="2"/>
          </p:nvPr>
        </p:nvSpPr>
        <p:spPr>
          <a:xfrm>
            <a:off x="630238" y="1879600"/>
            <a:ext cx="3868737" cy="2762250"/>
          </a:xfrm>
        </p:spPr>
        <p:txBody>
          <a:bodyPr/>
          <a:lstStyle>
            <a:lvl1pPr>
              <a:defRPr sz="2200"/>
            </a:lvl1pPr>
            <a:lvl2pPr>
              <a:defRPr sz="2000"/>
            </a:lvl2pPr>
          </a:lstStyle>
          <a:p>
            <a:pPr lvl="0"/>
            <a:r>
              <a:rPr lang="en-GB"/>
              <a:t>Click to edit Master text styles</a:t>
            </a:r>
          </a:p>
          <a:p>
            <a:pPr lvl="1"/>
            <a:r>
              <a:rPr lang="en-GB"/>
              <a:t>Second level</a:t>
            </a:r>
            <a:endParaRPr lang="en-LU"/>
          </a:p>
        </p:txBody>
      </p:sp>
      <p:sp>
        <p:nvSpPr>
          <p:cNvPr id="5" name="Text Placeholder 4">
            <a:extLst>
              <a:ext uri="{FF2B5EF4-FFF2-40B4-BE49-F238E27FC236}">
                <a16:creationId xmlns:a16="http://schemas.microsoft.com/office/drawing/2014/main" id="{074F218A-A2C8-FE06-A78F-A116E25F84A4}"/>
              </a:ext>
            </a:extLst>
          </p:cNvPr>
          <p:cNvSpPr>
            <a:spLocks noGrp="1"/>
          </p:cNvSpPr>
          <p:nvPr>
            <p:ph type="body" sz="quarter" idx="3"/>
          </p:nvPr>
        </p:nvSpPr>
        <p:spPr>
          <a:xfrm>
            <a:off x="4629150" y="1260475"/>
            <a:ext cx="3887788" cy="619125"/>
          </a:xfrm>
        </p:spPr>
        <p:txBody>
          <a:bodyPr anchor="t" anchorCtr="0">
            <a:normAutofit/>
          </a:bodyPr>
          <a:lstStyle>
            <a:lvl1pPr marL="0" indent="0">
              <a:buNone/>
              <a:defRPr sz="22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6" name="Content Placeholder 5">
            <a:extLst>
              <a:ext uri="{FF2B5EF4-FFF2-40B4-BE49-F238E27FC236}">
                <a16:creationId xmlns:a16="http://schemas.microsoft.com/office/drawing/2014/main" id="{6EC5BB12-4435-AB55-4224-FBBB266FC933}"/>
              </a:ext>
            </a:extLst>
          </p:cNvPr>
          <p:cNvSpPr>
            <a:spLocks noGrp="1"/>
          </p:cNvSpPr>
          <p:nvPr>
            <p:ph sz="quarter" idx="4"/>
          </p:nvPr>
        </p:nvSpPr>
        <p:spPr>
          <a:xfrm>
            <a:off x="4629150" y="1879600"/>
            <a:ext cx="3887788" cy="2762250"/>
          </a:xfrm>
        </p:spPr>
        <p:txBody>
          <a:bodyPr/>
          <a:lstStyle/>
          <a:p>
            <a:pPr lvl="0"/>
            <a:r>
              <a:rPr lang="en-GB"/>
              <a:t>Click to edit Master text styles</a:t>
            </a:r>
          </a:p>
          <a:p>
            <a:pPr lvl="1"/>
            <a:r>
              <a:rPr lang="en-GB"/>
              <a:t>Second level</a:t>
            </a:r>
            <a:endParaRPr lang="en-LU"/>
          </a:p>
        </p:txBody>
      </p:sp>
      <p:sp>
        <p:nvSpPr>
          <p:cNvPr id="9" name="Slide Number Placeholder 8">
            <a:extLst>
              <a:ext uri="{FF2B5EF4-FFF2-40B4-BE49-F238E27FC236}">
                <a16:creationId xmlns:a16="http://schemas.microsoft.com/office/drawing/2014/main" id="{6B341713-18F8-9368-1AB9-6B756B2A9F42}"/>
              </a:ext>
            </a:extLst>
          </p:cNvPr>
          <p:cNvSpPr>
            <a:spLocks noGrp="1"/>
          </p:cNvSpPr>
          <p:nvPr>
            <p:ph type="sldNum" sz="quarter" idx="12"/>
          </p:nvPr>
        </p:nvSpPr>
        <p:spPr/>
        <p:txBody>
          <a:bodyPr/>
          <a:lstStyle/>
          <a:p>
            <a:fld id="{0F67114D-ED23-2A43-BD26-04D629DC704A}" type="slidenum">
              <a:rPr lang="en-LU" smtClean="0"/>
              <a:t>‹#›</a:t>
            </a:fld>
            <a:endParaRPr lang="en-LU"/>
          </a:p>
        </p:txBody>
      </p:sp>
      <p:sp>
        <p:nvSpPr>
          <p:cNvPr id="7" name="Text Placeholder 6">
            <a:extLst>
              <a:ext uri="{FF2B5EF4-FFF2-40B4-BE49-F238E27FC236}">
                <a16:creationId xmlns:a16="http://schemas.microsoft.com/office/drawing/2014/main" id="{DD5BB221-3826-6CD1-A8B0-57351E17A488}"/>
              </a:ext>
            </a:extLst>
          </p:cNvPr>
          <p:cNvSpPr>
            <a:spLocks noGrp="1"/>
          </p:cNvSpPr>
          <p:nvPr>
            <p:ph type="body" sz="quarter" idx="13" hasCustomPrompt="1"/>
          </p:nvPr>
        </p:nvSpPr>
        <p:spPr>
          <a:xfrm>
            <a:off x="1587500" y="4767264"/>
            <a:ext cx="2774950" cy="164386"/>
          </a:xfrm>
        </p:spPr>
        <p:txBody>
          <a:bodyPr lIns="0" tIns="0" rIns="0" bIns="0" anchor="b" anchorCtr="0">
            <a:noAutofit/>
          </a:bodyPr>
          <a:lstStyle>
            <a:lvl1pPr marL="0" indent="0">
              <a:buNone/>
              <a:defRPr sz="1000">
                <a:solidFill>
                  <a:schemeClr val="tx1">
                    <a:lumMod val="50000"/>
                    <a:lumOff val="50000"/>
                  </a:schemeClr>
                </a:solidFill>
              </a:defRPr>
            </a:lvl1pPr>
            <a:lvl2pPr marL="457200" indent="0">
              <a:buNone/>
              <a:defRPr sz="1000">
                <a:solidFill>
                  <a:schemeClr val="tx1">
                    <a:lumMod val="50000"/>
                    <a:lumOff val="50000"/>
                  </a:schemeClr>
                </a:solidFill>
              </a:defRPr>
            </a:lvl2pPr>
            <a:lvl3pPr marL="914400" indent="0">
              <a:buNone/>
              <a:defRPr sz="1000">
                <a:solidFill>
                  <a:schemeClr val="tx1">
                    <a:lumMod val="50000"/>
                    <a:lumOff val="50000"/>
                  </a:schemeClr>
                </a:solidFill>
              </a:defRPr>
            </a:lvl3pPr>
            <a:lvl4pPr marL="1371600" indent="0">
              <a:buNone/>
              <a:defRPr sz="1000">
                <a:solidFill>
                  <a:schemeClr val="tx1">
                    <a:lumMod val="50000"/>
                    <a:lumOff val="50000"/>
                  </a:schemeClr>
                </a:solidFill>
              </a:defRPr>
            </a:lvl4pPr>
            <a:lvl5pPr marL="1828800" indent="0">
              <a:buNone/>
              <a:defRPr sz="1000">
                <a:solidFill>
                  <a:schemeClr val="tx1">
                    <a:lumMod val="50000"/>
                    <a:lumOff val="50000"/>
                  </a:schemeClr>
                </a:solidFill>
              </a:defRPr>
            </a:lvl5pPr>
          </a:lstStyle>
          <a:p>
            <a:pPr lvl="0"/>
            <a:r>
              <a:rPr lang="en-GB"/>
              <a:t>Insert here the title of the presentation</a:t>
            </a:r>
            <a:endParaRPr lang="en-LU"/>
          </a:p>
        </p:txBody>
      </p:sp>
    </p:spTree>
    <p:extLst>
      <p:ext uri="{BB962C8B-B14F-4D97-AF65-F5344CB8AC3E}">
        <p14:creationId xmlns:p14="http://schemas.microsoft.com/office/powerpoint/2010/main" val="3454053767"/>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matchingName="Last slide (option 1)">
  <p:cSld name="1_Last slide (option 1)">
    <p:spTree>
      <p:nvGrpSpPr>
        <p:cNvPr id="1" name="Shape 140"/>
        <p:cNvGrpSpPr/>
        <p:nvPr/>
      </p:nvGrpSpPr>
      <p:grpSpPr>
        <a:xfrm>
          <a:off x="0" y="0"/>
          <a:ext cx="0" cy="0"/>
          <a:chOff x="0" y="0"/>
          <a:chExt cx="0" cy="0"/>
        </a:xfrm>
      </p:grpSpPr>
      <p:sp>
        <p:nvSpPr>
          <p:cNvPr id="141" name="Google Shape;141;p37"/>
          <p:cNvSpPr/>
          <p:nvPr/>
        </p:nvSpPr>
        <p:spPr>
          <a:xfrm>
            <a:off x="0" y="1"/>
            <a:ext cx="9144000" cy="2571749"/>
          </a:xfrm>
          <a:prstGeom prst="rect">
            <a:avLst/>
          </a:prstGeom>
          <a:solidFill>
            <a:schemeClr val="accent5"/>
          </a:solidFill>
          <a:ln>
            <a:noFill/>
          </a:ln>
        </p:spPr>
        <p:txBody>
          <a:bodyPr spcFirstLastPara="1" wrap="square" lIns="68569" tIns="34275" rIns="68569" bIns="34275" anchor="ctr" anchorCtr="0">
            <a:noAutofit/>
          </a:bodyPr>
          <a:lstStyle/>
          <a:p>
            <a:pPr marL="0" marR="0" lvl="0" indent="0" algn="ctr" rtl="0">
              <a:spcBef>
                <a:spcPts val="0"/>
              </a:spcBef>
              <a:spcAft>
                <a:spcPts val="0"/>
              </a:spcAft>
              <a:buNone/>
            </a:pPr>
            <a:endParaRPr sz="1350">
              <a:solidFill>
                <a:schemeClr val="lt1"/>
              </a:solidFill>
              <a:latin typeface="Arial"/>
              <a:ea typeface="Arial"/>
              <a:cs typeface="Arial"/>
              <a:sym typeface="Arial"/>
            </a:endParaRPr>
          </a:p>
        </p:txBody>
      </p:sp>
      <p:sp>
        <p:nvSpPr>
          <p:cNvPr id="142" name="Google Shape;142;p37"/>
          <p:cNvSpPr txBox="1">
            <a:spLocks noGrp="1"/>
          </p:cNvSpPr>
          <p:nvPr>
            <p:ph type="sldNum" idx="12"/>
          </p:nvPr>
        </p:nvSpPr>
        <p:spPr>
          <a:xfrm>
            <a:off x="536331" y="4598465"/>
            <a:ext cx="2057400" cy="273844"/>
          </a:xfrm>
          <a:prstGeom prst="rect">
            <a:avLst/>
          </a:prstGeom>
          <a:noFill/>
          <a:ln>
            <a:noFill/>
          </a:ln>
        </p:spPr>
        <p:txBody>
          <a:bodyPr spcFirstLastPara="1" wrap="square" lIns="91425" tIns="45700" rIns="91425" bIns="45700" anchor="ctr" anchorCtr="0">
            <a:noAutofit/>
          </a:bodyPr>
          <a:lstStyle>
            <a:lvl1pPr marL="0" lvl="0" indent="0" algn="l">
              <a:spcBef>
                <a:spcPts val="0"/>
              </a:spcBef>
              <a:buNone/>
              <a:defRPr/>
            </a:lvl1pPr>
            <a:lvl2pPr marL="0" lvl="1" indent="0" algn="l">
              <a:spcBef>
                <a:spcPts val="0"/>
              </a:spcBef>
              <a:buNone/>
              <a:defRPr/>
            </a:lvl2pPr>
            <a:lvl3pPr marL="0" lvl="2" indent="0" algn="l">
              <a:spcBef>
                <a:spcPts val="0"/>
              </a:spcBef>
              <a:buNone/>
              <a:defRPr/>
            </a:lvl3pPr>
            <a:lvl4pPr marL="0" lvl="3" indent="0" algn="l">
              <a:spcBef>
                <a:spcPts val="0"/>
              </a:spcBef>
              <a:buNone/>
              <a:defRPr/>
            </a:lvl4pPr>
            <a:lvl5pPr marL="0" lvl="4" indent="0" algn="l">
              <a:spcBef>
                <a:spcPts val="0"/>
              </a:spcBef>
              <a:buNone/>
              <a:defRPr/>
            </a:lvl5pPr>
            <a:lvl6pPr marL="0" lvl="5" indent="0" algn="l">
              <a:spcBef>
                <a:spcPts val="0"/>
              </a:spcBef>
              <a:buNone/>
              <a:defRPr/>
            </a:lvl6pPr>
            <a:lvl7pPr marL="0" lvl="6" indent="0" algn="l">
              <a:spcBef>
                <a:spcPts val="0"/>
              </a:spcBef>
              <a:buNone/>
              <a:defRPr/>
            </a:lvl7pPr>
            <a:lvl8pPr marL="0" lvl="7" indent="0" algn="l">
              <a:spcBef>
                <a:spcPts val="0"/>
              </a:spcBef>
              <a:buNone/>
              <a:defRPr/>
            </a:lvl8pPr>
            <a:lvl9pPr marL="0" lvl="8" indent="0" algn="l">
              <a:spcBef>
                <a:spcPts val="0"/>
              </a:spcBef>
              <a:buNone/>
              <a:defRPr/>
            </a:lvl9pPr>
          </a:lstStyle>
          <a:p>
            <a:fld id="{00000000-1234-1234-1234-123412341234}" type="slidenum">
              <a:rPr lang="en-GB" smtClean="0"/>
              <a:pPr/>
              <a:t>‹#›</a:t>
            </a:fld>
            <a:endParaRPr lang="en-GB"/>
          </a:p>
        </p:txBody>
      </p:sp>
      <p:sp>
        <p:nvSpPr>
          <p:cNvPr id="143" name="Google Shape;143;p37"/>
          <p:cNvSpPr txBox="1">
            <a:spLocks noGrp="1"/>
          </p:cNvSpPr>
          <p:nvPr>
            <p:ph type="ctrTitle"/>
          </p:nvPr>
        </p:nvSpPr>
        <p:spPr>
          <a:xfrm>
            <a:off x="807760" y="841772"/>
            <a:ext cx="7617223" cy="930261"/>
          </a:xfrm>
          <a:prstGeom prst="rect">
            <a:avLst/>
          </a:prstGeom>
          <a:noFill/>
          <a:ln>
            <a:noFill/>
          </a:ln>
        </p:spPr>
        <p:txBody>
          <a:bodyPr spcFirstLastPara="1" wrap="square" lIns="91425" tIns="45700" rIns="91425" bIns="0" anchor="b" anchorCtr="0">
            <a:noAutofit/>
          </a:bodyPr>
          <a:lstStyle>
            <a:lvl1pPr lvl="0" algn="l">
              <a:lnSpc>
                <a:spcPct val="90000"/>
              </a:lnSpc>
              <a:spcBef>
                <a:spcPts val="0"/>
              </a:spcBef>
              <a:spcAft>
                <a:spcPts val="0"/>
              </a:spcAft>
              <a:buClr>
                <a:schemeClr val="dk2"/>
              </a:buClr>
              <a:buSzPts val="6000"/>
              <a:buFont typeface="Arial"/>
              <a:buNone/>
              <a:defRPr sz="4500">
                <a:solidFill>
                  <a:schemeClr val="dk2"/>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r>
              <a:rPr lang="en-US"/>
              <a:t>Click to edit Master title style</a:t>
            </a:r>
            <a:endParaRPr/>
          </a:p>
        </p:txBody>
      </p:sp>
      <p:sp>
        <p:nvSpPr>
          <p:cNvPr id="144" name="Google Shape;144;p37"/>
          <p:cNvSpPr txBox="1">
            <a:spLocks noGrp="1"/>
          </p:cNvSpPr>
          <p:nvPr>
            <p:ph type="body" idx="1"/>
          </p:nvPr>
        </p:nvSpPr>
        <p:spPr>
          <a:xfrm>
            <a:off x="629233" y="3131998"/>
            <a:ext cx="8166497" cy="1215109"/>
          </a:xfrm>
          <a:prstGeom prst="rect">
            <a:avLst/>
          </a:prstGeom>
          <a:noFill/>
          <a:ln>
            <a:noFill/>
          </a:ln>
        </p:spPr>
        <p:txBody>
          <a:bodyPr spcFirstLastPara="1" wrap="square" lIns="91425" tIns="45700" rIns="91425" bIns="45700" anchor="t" anchorCtr="0">
            <a:noAutofit/>
          </a:bodyPr>
          <a:lstStyle>
            <a:lvl1pPr marL="342900" lvl="0" indent="-171450" algn="l">
              <a:lnSpc>
                <a:spcPct val="100000"/>
              </a:lnSpc>
              <a:spcBef>
                <a:spcPts val="0"/>
              </a:spcBef>
              <a:spcAft>
                <a:spcPts val="0"/>
              </a:spcAft>
              <a:buSzPts val="1400"/>
              <a:buFont typeface="Arial"/>
              <a:buNone/>
              <a:defRPr sz="1050">
                <a:solidFill>
                  <a:srgbClr val="767676"/>
                </a:solidFill>
              </a:defRPr>
            </a:lvl1pPr>
            <a:lvl2pPr marL="685800" lvl="1" indent="-171450" algn="l">
              <a:lnSpc>
                <a:spcPct val="100000"/>
              </a:lnSpc>
              <a:spcBef>
                <a:spcPts val="1350"/>
              </a:spcBef>
              <a:spcAft>
                <a:spcPts val="0"/>
              </a:spcAft>
              <a:buSzPts val="2000"/>
              <a:buNone/>
              <a:defRPr/>
            </a:lvl2pPr>
            <a:lvl3pPr marL="1028700" lvl="2" indent="-257175" algn="l">
              <a:lnSpc>
                <a:spcPct val="100000"/>
              </a:lnSpc>
              <a:spcBef>
                <a:spcPts val="1350"/>
              </a:spcBef>
              <a:spcAft>
                <a:spcPts val="0"/>
              </a:spcAft>
              <a:buSzPts val="1800"/>
              <a:buChar char="•"/>
              <a:defRPr/>
            </a:lvl3pPr>
            <a:lvl4pPr marL="1371600" lvl="3" indent="-257175" algn="l">
              <a:lnSpc>
                <a:spcPct val="100000"/>
              </a:lnSpc>
              <a:spcBef>
                <a:spcPts val="1350"/>
              </a:spcBef>
              <a:spcAft>
                <a:spcPts val="0"/>
              </a:spcAft>
              <a:buSzPts val="1800"/>
              <a:buChar char="•"/>
              <a:defRPr/>
            </a:lvl4pPr>
            <a:lvl5pPr marL="1714500" lvl="4" indent="-257175" algn="l">
              <a:lnSpc>
                <a:spcPct val="100000"/>
              </a:lnSpc>
              <a:spcBef>
                <a:spcPts val="1350"/>
              </a:spcBef>
              <a:spcAft>
                <a:spcPts val="0"/>
              </a:spcAft>
              <a:buSzPts val="1800"/>
              <a:buChar char="•"/>
              <a:defRPr/>
            </a:lvl5pPr>
            <a:lvl6pPr marL="2057400" lvl="5" indent="-257175" algn="l">
              <a:lnSpc>
                <a:spcPct val="90000"/>
              </a:lnSpc>
              <a:spcBef>
                <a:spcPts val="1350"/>
              </a:spcBef>
              <a:spcAft>
                <a:spcPts val="0"/>
              </a:spcAft>
              <a:buClr>
                <a:schemeClr val="dk1"/>
              </a:buClr>
              <a:buSzPts val="1800"/>
              <a:buChar char="•"/>
              <a:defRPr/>
            </a:lvl6pPr>
            <a:lvl7pPr marL="2400300" lvl="6" indent="-257175" algn="l">
              <a:lnSpc>
                <a:spcPct val="90000"/>
              </a:lnSpc>
              <a:spcBef>
                <a:spcPts val="375"/>
              </a:spcBef>
              <a:spcAft>
                <a:spcPts val="0"/>
              </a:spcAft>
              <a:buClr>
                <a:schemeClr val="dk1"/>
              </a:buClr>
              <a:buSzPts val="1800"/>
              <a:buChar char="•"/>
              <a:defRPr/>
            </a:lvl7pPr>
            <a:lvl8pPr marL="2743200" lvl="7" indent="-257175" algn="l">
              <a:lnSpc>
                <a:spcPct val="90000"/>
              </a:lnSpc>
              <a:spcBef>
                <a:spcPts val="375"/>
              </a:spcBef>
              <a:spcAft>
                <a:spcPts val="0"/>
              </a:spcAft>
              <a:buClr>
                <a:schemeClr val="dk1"/>
              </a:buClr>
              <a:buSzPts val="1800"/>
              <a:buChar char="•"/>
              <a:defRPr/>
            </a:lvl8pPr>
            <a:lvl9pPr marL="3086100" lvl="8" indent="-257175" algn="l">
              <a:lnSpc>
                <a:spcPct val="90000"/>
              </a:lnSpc>
              <a:spcBef>
                <a:spcPts val="375"/>
              </a:spcBef>
              <a:spcAft>
                <a:spcPts val="0"/>
              </a:spcAft>
              <a:buClr>
                <a:schemeClr val="dk1"/>
              </a:buClr>
              <a:buSzPts val="1800"/>
              <a:buChar char="•"/>
              <a:defRPr/>
            </a:lvl9pPr>
          </a:lstStyle>
          <a:p>
            <a:pPr lvl="0"/>
            <a:r>
              <a:rPr lang="en-US"/>
              <a:t>Click to edit Master text styles</a:t>
            </a:r>
          </a:p>
        </p:txBody>
      </p:sp>
      <p:cxnSp>
        <p:nvCxnSpPr>
          <p:cNvPr id="145" name="Google Shape;145;p37"/>
          <p:cNvCxnSpPr/>
          <p:nvPr/>
        </p:nvCxnSpPr>
        <p:spPr>
          <a:xfrm>
            <a:off x="628650" y="1"/>
            <a:ext cx="0" cy="1772033"/>
          </a:xfrm>
          <a:prstGeom prst="straightConnector1">
            <a:avLst/>
          </a:prstGeom>
          <a:noFill/>
          <a:ln w="28575" cap="flat" cmpd="sng">
            <a:solidFill>
              <a:schemeClr val="dk2"/>
            </a:solidFill>
            <a:prstDash val="solid"/>
            <a:miter lim="800000"/>
            <a:headEnd type="none" w="sm" len="sm"/>
            <a:tailEnd type="none" w="sm" len="sm"/>
          </a:ln>
        </p:spPr>
      </p:cxnSp>
    </p:spTree>
    <p:extLst>
      <p:ext uri="{BB962C8B-B14F-4D97-AF65-F5344CB8AC3E}">
        <p14:creationId xmlns:p14="http://schemas.microsoft.com/office/powerpoint/2010/main" val="1923740811"/>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p:cSld name="cover page option 1">
    <p:bg>
      <p:bgPr>
        <a:solidFill>
          <a:srgbClr val="003399"/>
        </a:solidFill>
        <a:effectLst/>
      </p:bgPr>
    </p:bg>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34675400-3E4A-4805-76D4-89E3DBA2294C}"/>
              </a:ext>
            </a:extLst>
          </p:cNvPr>
          <p:cNvSpPr>
            <a:spLocks noGrp="1"/>
          </p:cNvSpPr>
          <p:nvPr>
            <p:ph type="sldNum" sz="quarter" idx="4"/>
          </p:nvPr>
        </p:nvSpPr>
        <p:spPr>
          <a:xfrm>
            <a:off x="628650" y="4738115"/>
            <a:ext cx="2057400" cy="129392"/>
          </a:xfrm>
          <a:prstGeom prst="rect">
            <a:avLst/>
          </a:prstGeom>
          <a:noFill/>
        </p:spPr>
        <p:txBody>
          <a:bodyPr vert="horz" lIns="91440" tIns="45720" rIns="91440" bIns="45720" rtlCol="0" anchor="ctr"/>
          <a:lstStyle>
            <a:lvl1pPr algn="r">
              <a:defRPr sz="900">
                <a:solidFill>
                  <a:schemeClr val="bg1"/>
                </a:solidFill>
                <a:latin typeface="+mn-lt"/>
              </a:defRPr>
            </a:lvl1pPr>
          </a:lstStyle>
          <a:p>
            <a:pPr algn="l"/>
            <a:r>
              <a:rPr lang="fr-BE"/>
              <a:t>DD/MM/YYYY</a:t>
            </a:r>
            <a:endParaRPr lang="en-IE"/>
          </a:p>
        </p:txBody>
      </p:sp>
      <p:sp>
        <p:nvSpPr>
          <p:cNvPr id="4" name="Title 1">
            <a:extLst>
              <a:ext uri="{FF2B5EF4-FFF2-40B4-BE49-F238E27FC236}">
                <a16:creationId xmlns:a16="http://schemas.microsoft.com/office/drawing/2014/main" id="{DB290A50-B43D-A2B6-515F-75425256ACB5}"/>
              </a:ext>
            </a:extLst>
          </p:cNvPr>
          <p:cNvSpPr>
            <a:spLocks noGrp="1"/>
          </p:cNvSpPr>
          <p:nvPr>
            <p:ph type="title" hasCustomPrompt="1"/>
          </p:nvPr>
        </p:nvSpPr>
        <p:spPr>
          <a:xfrm>
            <a:off x="628650" y="2280536"/>
            <a:ext cx="7886700" cy="765253"/>
          </a:xfrm>
          <a:noFill/>
        </p:spPr>
        <p:txBody>
          <a:bodyPr>
            <a:noAutofit/>
          </a:bodyPr>
          <a:lstStyle>
            <a:lvl1pPr>
              <a:defRPr sz="6600">
                <a:solidFill>
                  <a:schemeClr val="bg1"/>
                </a:solidFill>
              </a:defRPr>
            </a:lvl1pPr>
          </a:lstStyle>
          <a:p>
            <a:r>
              <a:rPr lang="en-US"/>
              <a:t>Click to add a title</a:t>
            </a:r>
            <a:endParaRPr lang="en-IE"/>
          </a:p>
        </p:txBody>
      </p:sp>
      <p:sp>
        <p:nvSpPr>
          <p:cNvPr id="15" name="Content Placeholder 14">
            <a:extLst>
              <a:ext uri="{FF2B5EF4-FFF2-40B4-BE49-F238E27FC236}">
                <a16:creationId xmlns:a16="http://schemas.microsoft.com/office/drawing/2014/main" id="{69D02D42-BA7D-84CC-873F-80F08362B35A}"/>
              </a:ext>
            </a:extLst>
          </p:cNvPr>
          <p:cNvSpPr>
            <a:spLocks noGrp="1"/>
          </p:cNvSpPr>
          <p:nvPr>
            <p:ph sz="quarter" idx="11"/>
          </p:nvPr>
        </p:nvSpPr>
        <p:spPr>
          <a:xfrm>
            <a:off x="628650" y="3164681"/>
            <a:ext cx="3696891" cy="458391"/>
          </a:xfrm>
        </p:spPr>
        <p:txBody>
          <a:bodyPr/>
          <a:lstStyle>
            <a:lvl1pPr marL="0" indent="0">
              <a:buNone/>
              <a:defRPr>
                <a:solidFill>
                  <a:schemeClr val="bg1"/>
                </a:solidFill>
              </a:defRPr>
            </a:lvl1pPr>
          </a:lstStyle>
          <a:p>
            <a:pPr lvl="0"/>
            <a:r>
              <a:rPr lang="en-US"/>
              <a:t>Click to edit Master text styles</a:t>
            </a:r>
          </a:p>
        </p:txBody>
      </p:sp>
      <p:sp>
        <p:nvSpPr>
          <p:cNvPr id="11" name="Content Placeholder 2">
            <a:extLst>
              <a:ext uri="{FF2B5EF4-FFF2-40B4-BE49-F238E27FC236}">
                <a16:creationId xmlns:a16="http://schemas.microsoft.com/office/drawing/2014/main" id="{C600E4EF-7051-9AAC-2C78-0958FBC514BC}"/>
              </a:ext>
            </a:extLst>
          </p:cNvPr>
          <p:cNvSpPr>
            <a:spLocks noGrp="1"/>
          </p:cNvSpPr>
          <p:nvPr>
            <p:ph sz="half" idx="10"/>
          </p:nvPr>
        </p:nvSpPr>
        <p:spPr>
          <a:xfrm>
            <a:off x="628650" y="3932369"/>
            <a:ext cx="2382635" cy="228462"/>
          </a:xfrm>
          <a:solidFill>
            <a:schemeClr val="accent5"/>
          </a:solidFill>
          <a:ln w="12700" cap="rnd">
            <a:noFill/>
            <a:round/>
          </a:ln>
        </p:spPr>
        <p:style>
          <a:lnRef idx="2">
            <a:schemeClr val="accent1"/>
          </a:lnRef>
          <a:fillRef idx="1">
            <a:schemeClr val="lt1"/>
          </a:fillRef>
          <a:effectRef idx="0">
            <a:schemeClr val="accent1"/>
          </a:effectRef>
          <a:fontRef idx="minor">
            <a:schemeClr val="dk1"/>
          </a:fontRef>
        </p:style>
        <p:txBody>
          <a:bodyPr anchor="ctr">
            <a:noAutofit/>
          </a:bodyPr>
          <a:lstStyle>
            <a:lvl1pPr marL="0" indent="0">
              <a:buNone/>
              <a:defRPr sz="1200" b="0" i="1">
                <a:solidFill>
                  <a:schemeClr val="tx2"/>
                </a:solidFill>
              </a:defRPr>
            </a:lvl1pPr>
          </a:lstStyle>
          <a:p>
            <a:pPr lvl="0"/>
            <a:r>
              <a:rPr lang="en-US"/>
              <a:t>Click to edit Master text styles</a:t>
            </a:r>
          </a:p>
        </p:txBody>
      </p:sp>
      <p:pic>
        <p:nvPicPr>
          <p:cNvPr id="3" name="Picture 2" descr="European Commission">
            <a:extLst>
              <a:ext uri="{FF2B5EF4-FFF2-40B4-BE49-F238E27FC236}">
                <a16:creationId xmlns:a16="http://schemas.microsoft.com/office/drawing/2014/main" id="{85D80D5D-B11B-B8B1-1D33-81E7377D5953}"/>
              </a:ext>
              <a:ext uri="{C183D7F6-B498-43B3-948B-1728B52AA6E4}">
                <adec:decorative xmlns:adec="http://schemas.microsoft.com/office/drawing/2017/decorative" val="0"/>
              </a:ext>
            </a:extLst>
          </p:cNvPr>
          <p:cNvPicPr/>
          <p:nvPr userDrawn="1"/>
        </p:nvPicPr>
        <p:blipFill>
          <a:blip r:embed="rId2"/>
          <a:stretch>
            <a:fillRect/>
          </a:stretch>
        </p:blipFill>
        <p:spPr>
          <a:xfrm>
            <a:off x="7097537" y="4304088"/>
            <a:ext cx="1908018" cy="705763"/>
          </a:xfrm>
          <a:prstGeom prst="rect">
            <a:avLst/>
          </a:prstGeom>
          <a:noFill/>
        </p:spPr>
      </p:pic>
    </p:spTree>
    <p:extLst>
      <p:ext uri="{BB962C8B-B14F-4D97-AF65-F5344CB8AC3E}">
        <p14:creationId xmlns:p14="http://schemas.microsoft.com/office/powerpoint/2010/main" val="3870885911"/>
      </p:ext>
    </p:extLst>
  </p:cSld>
  <p:clrMapOvr>
    <a:masterClrMapping/>
  </p:clrMapOvr>
  <p:extLst>
    <p:ext uri="{DCECCB84-F9BA-43D5-87BE-67443E8EF086}">
      <p15:sldGuideLst xmlns:p15="http://schemas.microsoft.com/office/powerpoint/2012/main">
        <p15:guide id="3" orient="horz" pos="2160">
          <p15:clr>
            <a:srgbClr val="FBAE40"/>
          </p15:clr>
        </p15:guide>
        <p15:guide id="4" pos="3840">
          <p15:clr>
            <a:srgbClr val="FBAE4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cover page option 2">
    <p:spTree>
      <p:nvGrpSpPr>
        <p:cNvPr id="1" name=""/>
        <p:cNvGrpSpPr/>
        <p:nvPr/>
      </p:nvGrpSpPr>
      <p:grpSpPr>
        <a:xfrm>
          <a:off x="0" y="0"/>
          <a:ext cx="0" cy="0"/>
          <a:chOff x="0" y="0"/>
          <a:chExt cx="0" cy="0"/>
        </a:xfrm>
      </p:grpSpPr>
      <p:sp>
        <p:nvSpPr>
          <p:cNvPr id="4" name="Google Shape;75;p31">
            <a:extLst>
              <a:ext uri="{FF2B5EF4-FFF2-40B4-BE49-F238E27FC236}">
                <a16:creationId xmlns:a16="http://schemas.microsoft.com/office/drawing/2014/main" id="{D3CADB7B-43FA-62FF-A4B3-5E073752114C}"/>
              </a:ext>
            </a:extLst>
          </p:cNvPr>
          <p:cNvSpPr>
            <a:spLocks noGrp="1"/>
          </p:cNvSpPr>
          <p:nvPr>
            <p:ph type="pic" idx="2"/>
          </p:nvPr>
        </p:nvSpPr>
        <p:spPr>
          <a:xfrm>
            <a:off x="0" y="1485901"/>
            <a:ext cx="9144000" cy="3657599"/>
          </a:xfrm>
          <a:prstGeom prst="rect">
            <a:avLst/>
          </a:prstGeom>
          <a:solidFill>
            <a:schemeClr val="lt2"/>
          </a:solidFill>
          <a:ln>
            <a:noFill/>
          </a:ln>
        </p:spPr>
        <p:txBody>
          <a:bodyPr/>
          <a:lstStyle>
            <a:lvl1pPr marL="0" indent="0">
              <a:buNone/>
              <a:defRPr>
                <a:solidFill>
                  <a:schemeClr val="tx2"/>
                </a:solidFill>
              </a:defRPr>
            </a:lvl1pPr>
          </a:lstStyle>
          <a:p>
            <a:r>
              <a:rPr lang="en-US"/>
              <a:t>Click icon to add picture</a:t>
            </a:r>
            <a:endParaRPr lang="en-IE"/>
          </a:p>
        </p:txBody>
      </p:sp>
      <p:sp>
        <p:nvSpPr>
          <p:cNvPr id="2" name="Title 1">
            <a:extLst>
              <a:ext uri="{FF2B5EF4-FFF2-40B4-BE49-F238E27FC236}">
                <a16:creationId xmlns:a16="http://schemas.microsoft.com/office/drawing/2014/main" id="{2910E61F-C8F9-4190-1EE4-9217CF0F1D1D}"/>
              </a:ext>
            </a:extLst>
          </p:cNvPr>
          <p:cNvSpPr>
            <a:spLocks noGrp="1"/>
          </p:cNvSpPr>
          <p:nvPr>
            <p:ph type="title" hasCustomPrompt="1"/>
          </p:nvPr>
        </p:nvSpPr>
        <p:spPr>
          <a:xfrm>
            <a:off x="628650" y="1195889"/>
            <a:ext cx="7886700" cy="801300"/>
          </a:xfrm>
          <a:solidFill>
            <a:schemeClr val="bg1"/>
          </a:solidFill>
        </p:spPr>
        <p:txBody>
          <a:bodyPr lIns="144000" tIns="144000" rIns="144000" bIns="144000" anchor="b">
            <a:noAutofit/>
          </a:bodyPr>
          <a:lstStyle>
            <a:lvl1pPr>
              <a:defRPr sz="6600"/>
            </a:lvl1pPr>
          </a:lstStyle>
          <a:p>
            <a:r>
              <a:rPr lang="en-US"/>
              <a:t>Click to add a title</a:t>
            </a:r>
            <a:endParaRPr lang="en-IE"/>
          </a:p>
        </p:txBody>
      </p:sp>
      <p:sp>
        <p:nvSpPr>
          <p:cNvPr id="6" name="Content Placeholder 14">
            <a:extLst>
              <a:ext uri="{FF2B5EF4-FFF2-40B4-BE49-F238E27FC236}">
                <a16:creationId xmlns:a16="http://schemas.microsoft.com/office/drawing/2014/main" id="{F041A8C2-E23F-3F85-E8AE-2AEEB496419A}"/>
              </a:ext>
            </a:extLst>
          </p:cNvPr>
          <p:cNvSpPr>
            <a:spLocks noGrp="1"/>
          </p:cNvSpPr>
          <p:nvPr>
            <p:ph sz="quarter" idx="11"/>
          </p:nvPr>
        </p:nvSpPr>
        <p:spPr>
          <a:xfrm>
            <a:off x="628650" y="2206923"/>
            <a:ext cx="3696891" cy="458391"/>
          </a:xfrm>
        </p:spPr>
        <p:txBody>
          <a:bodyPr/>
          <a:lstStyle>
            <a:lvl1pPr marL="0" indent="0">
              <a:buNone/>
              <a:defRPr>
                <a:solidFill>
                  <a:schemeClr val="tx2"/>
                </a:solidFill>
              </a:defRPr>
            </a:lvl1pPr>
          </a:lstStyle>
          <a:p>
            <a:pPr lvl="0"/>
            <a:r>
              <a:rPr lang="en-US"/>
              <a:t>Click to edit Master text styles</a:t>
            </a:r>
          </a:p>
        </p:txBody>
      </p:sp>
      <p:pic>
        <p:nvPicPr>
          <p:cNvPr id="8" name="Picture 7" descr="A red dotted line with a couple of people&#10;&#10;Description automatically generated with medium confidence" hidden="1">
            <a:extLst>
              <a:ext uri="{FF2B5EF4-FFF2-40B4-BE49-F238E27FC236}">
                <a16:creationId xmlns:a16="http://schemas.microsoft.com/office/drawing/2014/main" id="{95398073-E69B-2867-360F-504F7007FD00}"/>
              </a:ext>
            </a:extLst>
          </p:cNvPr>
          <p:cNvPicPr>
            <a:picLocks noGrp="1" noRot="1" noChangeAspect="1" noMove="1" noResize="1" noEditPoints="1" noAdjustHandles="1" noChangeArrowheads="1" noChangeShapeType="1" noCrop="1"/>
          </p:cNvPicPr>
          <p:nvPr/>
        </p:nvPicPr>
        <p:blipFill>
          <a:blip r:embed="rId2">
            <a:alphaModFix amt="20000"/>
          </a:blip>
          <a:stretch>
            <a:fillRect/>
          </a:stretch>
        </p:blipFill>
        <p:spPr>
          <a:xfrm>
            <a:off x="0" y="0"/>
            <a:ext cx="9144000" cy="5143500"/>
          </a:xfrm>
          <a:prstGeom prst="rect">
            <a:avLst/>
          </a:prstGeom>
        </p:spPr>
      </p:pic>
      <p:pic>
        <p:nvPicPr>
          <p:cNvPr id="3" name="Picture 2" descr="A red dotted line with a couple of people&#10;&#10;Description automatically generated with medium confidence" hidden="1">
            <a:extLst>
              <a:ext uri="{FF2B5EF4-FFF2-40B4-BE49-F238E27FC236}">
                <a16:creationId xmlns:a16="http://schemas.microsoft.com/office/drawing/2014/main" id="{6437CF6F-3079-899D-F025-61C0BCD596A4}"/>
              </a:ext>
            </a:extLst>
          </p:cNvPr>
          <p:cNvPicPr/>
          <p:nvPr userDrawn="1"/>
        </p:nvPicPr>
        <p:blipFill>
          <a:blip r:embed="rId2">
            <a:alphaModFix amt="20000"/>
          </a:blip>
          <a:stretch>
            <a:fillRect/>
          </a:stretch>
        </p:blipFill>
        <p:spPr>
          <a:xfrm>
            <a:off x="0" y="0"/>
            <a:ext cx="9144000" cy="5143500"/>
          </a:xfrm>
          <a:prstGeom prst="rect">
            <a:avLst/>
          </a:prstGeom>
        </p:spPr>
      </p:pic>
      <p:pic>
        <p:nvPicPr>
          <p:cNvPr id="5" name="Picture 4" descr="European Commission">
            <a:extLst>
              <a:ext uri="{FF2B5EF4-FFF2-40B4-BE49-F238E27FC236}">
                <a16:creationId xmlns:a16="http://schemas.microsoft.com/office/drawing/2014/main" id="{97034CB8-2B4A-3519-77AF-1512D68F2797}"/>
              </a:ext>
            </a:extLst>
          </p:cNvPr>
          <p:cNvPicPr/>
          <p:nvPr userDrawn="1"/>
        </p:nvPicPr>
        <p:blipFill>
          <a:blip r:embed="rId3"/>
          <a:srcRect/>
          <a:stretch/>
        </p:blipFill>
        <p:spPr>
          <a:xfrm>
            <a:off x="127998" y="130889"/>
            <a:ext cx="1908018" cy="686886"/>
          </a:xfrm>
          <a:prstGeom prst="rect">
            <a:avLst/>
          </a:prstGeom>
          <a:noFill/>
        </p:spPr>
      </p:pic>
    </p:spTree>
    <p:extLst>
      <p:ext uri="{BB962C8B-B14F-4D97-AF65-F5344CB8AC3E}">
        <p14:creationId xmlns:p14="http://schemas.microsoft.com/office/powerpoint/2010/main" val="3961968131"/>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Chapter page option 1">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378779EA-6394-AAE5-959A-6BB82A7D90AE}"/>
              </a:ext>
            </a:extLst>
          </p:cNvPr>
          <p:cNvSpPr/>
          <p:nvPr/>
        </p:nvSpPr>
        <p:spPr>
          <a:xfrm>
            <a:off x="0" y="0"/>
            <a:ext cx="9144000" cy="2857500"/>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E" sz="1350"/>
          </a:p>
        </p:txBody>
      </p:sp>
      <p:sp>
        <p:nvSpPr>
          <p:cNvPr id="6" name="Google Shape;75;p31">
            <a:extLst>
              <a:ext uri="{FF2B5EF4-FFF2-40B4-BE49-F238E27FC236}">
                <a16:creationId xmlns:a16="http://schemas.microsoft.com/office/drawing/2014/main" id="{66DB0E40-389A-4ADF-E594-6BBAB29E7192}"/>
              </a:ext>
            </a:extLst>
          </p:cNvPr>
          <p:cNvSpPr>
            <a:spLocks noGrp="1"/>
          </p:cNvSpPr>
          <p:nvPr>
            <p:ph type="pic" idx="2"/>
          </p:nvPr>
        </p:nvSpPr>
        <p:spPr>
          <a:xfrm>
            <a:off x="0" y="0"/>
            <a:ext cx="9144000" cy="2857500"/>
          </a:xfrm>
          <a:prstGeom prst="rect">
            <a:avLst/>
          </a:prstGeom>
          <a:solidFill>
            <a:schemeClr val="lt2"/>
          </a:solidFill>
          <a:ln>
            <a:noFill/>
          </a:ln>
        </p:spPr>
        <p:txBody>
          <a:bodyPr/>
          <a:lstStyle>
            <a:lvl1pPr marL="0" indent="0">
              <a:buNone/>
              <a:defRPr>
                <a:solidFill>
                  <a:schemeClr val="tx2"/>
                </a:solidFill>
              </a:defRPr>
            </a:lvl1pPr>
          </a:lstStyle>
          <a:p>
            <a:r>
              <a:rPr lang="en-US"/>
              <a:t>Click icon to add picture</a:t>
            </a:r>
            <a:endParaRPr lang="en-IE"/>
          </a:p>
        </p:txBody>
      </p:sp>
      <p:sp>
        <p:nvSpPr>
          <p:cNvPr id="10" name="Title 1">
            <a:extLst>
              <a:ext uri="{FF2B5EF4-FFF2-40B4-BE49-F238E27FC236}">
                <a16:creationId xmlns:a16="http://schemas.microsoft.com/office/drawing/2014/main" id="{BD6BCEAD-64F8-A9C2-D826-FF1F037B20C7}"/>
              </a:ext>
            </a:extLst>
          </p:cNvPr>
          <p:cNvSpPr>
            <a:spLocks noGrp="1"/>
          </p:cNvSpPr>
          <p:nvPr>
            <p:ph type="title"/>
          </p:nvPr>
        </p:nvSpPr>
        <p:spPr>
          <a:xfrm>
            <a:off x="628650" y="2576174"/>
            <a:ext cx="7886700" cy="612678"/>
          </a:xfrm>
          <a:solidFill>
            <a:schemeClr val="bg1"/>
          </a:solidFill>
        </p:spPr>
        <p:txBody>
          <a:bodyPr lIns="180000"/>
          <a:lstStyle/>
          <a:p>
            <a:r>
              <a:rPr lang="en-US"/>
              <a:t>Click to edit Master title style</a:t>
            </a:r>
            <a:endParaRPr lang="en-IE"/>
          </a:p>
        </p:txBody>
      </p:sp>
      <p:sp>
        <p:nvSpPr>
          <p:cNvPr id="8" name="Content Placeholder 6">
            <a:extLst>
              <a:ext uri="{FF2B5EF4-FFF2-40B4-BE49-F238E27FC236}">
                <a16:creationId xmlns:a16="http://schemas.microsoft.com/office/drawing/2014/main" id="{A59C8E60-AD13-6DDB-15AD-A3F8E3F22A78}"/>
              </a:ext>
            </a:extLst>
          </p:cNvPr>
          <p:cNvSpPr>
            <a:spLocks noGrp="1"/>
          </p:cNvSpPr>
          <p:nvPr>
            <p:ph sz="quarter" idx="11"/>
          </p:nvPr>
        </p:nvSpPr>
        <p:spPr>
          <a:xfrm>
            <a:off x="628650" y="3331369"/>
            <a:ext cx="7886700" cy="440531"/>
          </a:xfrm>
        </p:spPr>
        <p:txBody>
          <a:bodyPr>
            <a:noAutofit/>
          </a:bodyPr>
          <a:lstStyle>
            <a:lvl1pPr marL="0" indent="0">
              <a:buNone/>
              <a:defRPr sz="1500"/>
            </a:lvl1pPr>
          </a:lstStyle>
          <a:p>
            <a:pPr lvl="0"/>
            <a:r>
              <a:rPr lang="en-US"/>
              <a:t>Click to edit Master text styles</a:t>
            </a:r>
          </a:p>
        </p:txBody>
      </p:sp>
      <p:sp>
        <p:nvSpPr>
          <p:cNvPr id="2" name="Slide Number Placeholder 5">
            <a:extLst>
              <a:ext uri="{FF2B5EF4-FFF2-40B4-BE49-F238E27FC236}">
                <a16:creationId xmlns:a16="http://schemas.microsoft.com/office/drawing/2014/main" id="{C239B419-47F7-2FF3-C377-FBB7B2DBA65C}"/>
              </a:ext>
            </a:extLst>
          </p:cNvPr>
          <p:cNvSpPr>
            <a:spLocks noGrp="1"/>
          </p:cNvSpPr>
          <p:nvPr>
            <p:ph type="sldNum" sz="quarter" idx="4"/>
          </p:nvPr>
        </p:nvSpPr>
        <p:spPr>
          <a:xfrm>
            <a:off x="282141" y="4711552"/>
            <a:ext cx="2057400" cy="273844"/>
          </a:xfrm>
          <a:prstGeom prst="rect">
            <a:avLst/>
          </a:prstGeom>
        </p:spPr>
        <p:txBody>
          <a:bodyPr vert="horz" lIns="91440" tIns="45720" rIns="91440" bIns="45720" rtlCol="0" anchor="b"/>
          <a:lstStyle>
            <a:lvl1pPr algn="r">
              <a:defRPr sz="750">
                <a:solidFill>
                  <a:schemeClr val="tx1"/>
                </a:solidFill>
                <a:latin typeface="+mn-lt"/>
              </a:defRPr>
            </a:lvl1pPr>
          </a:lstStyle>
          <a:p>
            <a:pPr algn="l"/>
            <a:fld id="{768364BB-9B21-4D29-A19C-C6410F652861}" type="slidenum">
              <a:rPr lang="en-IE" smtClean="0"/>
              <a:pPr algn="l"/>
              <a:t>‹#›</a:t>
            </a:fld>
            <a:endParaRPr lang="en-IE"/>
          </a:p>
        </p:txBody>
      </p:sp>
    </p:spTree>
    <p:extLst>
      <p:ext uri="{BB962C8B-B14F-4D97-AF65-F5344CB8AC3E}">
        <p14:creationId xmlns:p14="http://schemas.microsoft.com/office/powerpoint/2010/main" val="2763894883"/>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Chapter page option 2">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2D5B256C-F848-9C9F-2A9C-E218DE9A1995}"/>
              </a:ext>
            </a:extLst>
          </p:cNvPr>
          <p:cNvSpPr/>
          <p:nvPr userDrawn="1"/>
        </p:nvSpPr>
        <p:spPr>
          <a:xfrm>
            <a:off x="0" y="0"/>
            <a:ext cx="9144000" cy="2857500"/>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E" sz="1350">
              <a:solidFill>
                <a:schemeClr val="bg1"/>
              </a:solidFill>
            </a:endParaRPr>
          </a:p>
        </p:txBody>
      </p:sp>
      <p:sp>
        <p:nvSpPr>
          <p:cNvPr id="3" name="Slide Number Placeholder 2">
            <a:extLst>
              <a:ext uri="{FF2B5EF4-FFF2-40B4-BE49-F238E27FC236}">
                <a16:creationId xmlns:a16="http://schemas.microsoft.com/office/drawing/2014/main" id="{E92597A6-449C-FD56-6361-6B67C1420435}"/>
              </a:ext>
            </a:extLst>
          </p:cNvPr>
          <p:cNvSpPr>
            <a:spLocks noGrp="1"/>
          </p:cNvSpPr>
          <p:nvPr>
            <p:ph type="sldNum" sz="quarter" idx="10"/>
          </p:nvPr>
        </p:nvSpPr>
        <p:spPr/>
        <p:txBody>
          <a:bodyPr/>
          <a:lstStyle/>
          <a:p>
            <a:pPr algn="l"/>
            <a:fld id="{768364BB-9B21-4D29-A19C-C6410F652861}" type="slidenum">
              <a:rPr lang="en-IE" smtClean="0"/>
              <a:pPr algn="l"/>
              <a:t>‹#›</a:t>
            </a:fld>
            <a:endParaRPr lang="en-IE"/>
          </a:p>
        </p:txBody>
      </p:sp>
      <p:sp>
        <p:nvSpPr>
          <p:cNvPr id="4" name="Rectangle 3">
            <a:extLst>
              <a:ext uri="{FF2B5EF4-FFF2-40B4-BE49-F238E27FC236}">
                <a16:creationId xmlns:a16="http://schemas.microsoft.com/office/drawing/2014/main" id="{EE1DFA4B-D09C-D3C7-CF14-10151C0BAF5D}"/>
              </a:ext>
            </a:extLst>
          </p:cNvPr>
          <p:cNvSpPr/>
          <p:nvPr/>
        </p:nvSpPr>
        <p:spPr>
          <a:xfrm>
            <a:off x="0" y="0"/>
            <a:ext cx="9144000" cy="2857500"/>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E" sz="1350">
              <a:solidFill>
                <a:schemeClr val="bg1"/>
              </a:solidFill>
            </a:endParaRPr>
          </a:p>
        </p:txBody>
      </p:sp>
      <p:sp>
        <p:nvSpPr>
          <p:cNvPr id="2" name="Title 1">
            <a:extLst>
              <a:ext uri="{FF2B5EF4-FFF2-40B4-BE49-F238E27FC236}">
                <a16:creationId xmlns:a16="http://schemas.microsoft.com/office/drawing/2014/main" id="{D922CA66-7408-CA5B-7EAD-6C36A01B53B5}"/>
              </a:ext>
            </a:extLst>
          </p:cNvPr>
          <p:cNvSpPr>
            <a:spLocks noGrp="1"/>
          </p:cNvSpPr>
          <p:nvPr>
            <p:ph type="title"/>
          </p:nvPr>
        </p:nvSpPr>
        <p:spPr>
          <a:xfrm>
            <a:off x="628650" y="2576174"/>
            <a:ext cx="7886700" cy="612678"/>
          </a:xfrm>
          <a:solidFill>
            <a:schemeClr val="bg1"/>
          </a:solidFill>
        </p:spPr>
        <p:txBody>
          <a:bodyPr lIns="180000"/>
          <a:lstStyle/>
          <a:p>
            <a:r>
              <a:rPr lang="en-US"/>
              <a:t>Click to edit Master title style</a:t>
            </a:r>
            <a:endParaRPr lang="en-IE"/>
          </a:p>
        </p:txBody>
      </p:sp>
      <p:sp>
        <p:nvSpPr>
          <p:cNvPr id="7" name="Content Placeholder 6">
            <a:extLst>
              <a:ext uri="{FF2B5EF4-FFF2-40B4-BE49-F238E27FC236}">
                <a16:creationId xmlns:a16="http://schemas.microsoft.com/office/drawing/2014/main" id="{CA90F452-4E6C-2A2B-2B9D-88A3D16A05C1}"/>
              </a:ext>
            </a:extLst>
          </p:cNvPr>
          <p:cNvSpPr>
            <a:spLocks noGrp="1"/>
          </p:cNvSpPr>
          <p:nvPr>
            <p:ph sz="quarter" idx="11"/>
          </p:nvPr>
        </p:nvSpPr>
        <p:spPr>
          <a:xfrm>
            <a:off x="628650" y="3331369"/>
            <a:ext cx="7886700" cy="440531"/>
          </a:xfrm>
        </p:spPr>
        <p:txBody>
          <a:bodyPr>
            <a:noAutofit/>
          </a:bodyPr>
          <a:lstStyle>
            <a:lvl1pPr marL="0" indent="0">
              <a:buNone/>
              <a:defRPr sz="1500"/>
            </a:lvl1pPr>
          </a:lstStyle>
          <a:p>
            <a:pPr lvl="0"/>
            <a:r>
              <a:rPr lang="en-US"/>
              <a:t>Click to edit Master text styles</a:t>
            </a:r>
          </a:p>
        </p:txBody>
      </p:sp>
    </p:spTree>
    <p:extLst>
      <p:ext uri="{BB962C8B-B14F-4D97-AF65-F5344CB8AC3E}">
        <p14:creationId xmlns:p14="http://schemas.microsoft.com/office/powerpoint/2010/main" val="2948454121"/>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Chapter page option 3">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78D58619-8012-9B7D-9C59-16671B374575}"/>
              </a:ext>
            </a:extLst>
          </p:cNvPr>
          <p:cNvSpPr/>
          <p:nvPr userDrawn="1"/>
        </p:nvSpPr>
        <p:spPr>
          <a:xfrm>
            <a:off x="0" y="0"/>
            <a:ext cx="9144000" cy="2857500"/>
          </a:xfrm>
          <a:prstGeom prst="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E" sz="1350"/>
          </a:p>
        </p:txBody>
      </p:sp>
      <p:sp>
        <p:nvSpPr>
          <p:cNvPr id="3" name="Slide Number Placeholder 2">
            <a:extLst>
              <a:ext uri="{FF2B5EF4-FFF2-40B4-BE49-F238E27FC236}">
                <a16:creationId xmlns:a16="http://schemas.microsoft.com/office/drawing/2014/main" id="{E92597A6-449C-FD56-6361-6B67C1420435}"/>
              </a:ext>
            </a:extLst>
          </p:cNvPr>
          <p:cNvSpPr>
            <a:spLocks noGrp="1"/>
          </p:cNvSpPr>
          <p:nvPr>
            <p:ph type="sldNum" sz="quarter" idx="10"/>
          </p:nvPr>
        </p:nvSpPr>
        <p:spPr/>
        <p:txBody>
          <a:bodyPr/>
          <a:lstStyle/>
          <a:p>
            <a:pPr algn="l"/>
            <a:fld id="{768364BB-9B21-4D29-A19C-C6410F652861}" type="slidenum">
              <a:rPr lang="en-IE" smtClean="0"/>
              <a:pPr algn="l"/>
              <a:t>‹#›</a:t>
            </a:fld>
            <a:endParaRPr lang="en-IE"/>
          </a:p>
        </p:txBody>
      </p:sp>
      <p:sp>
        <p:nvSpPr>
          <p:cNvPr id="4" name="Rectangle 3">
            <a:extLst>
              <a:ext uri="{FF2B5EF4-FFF2-40B4-BE49-F238E27FC236}">
                <a16:creationId xmlns:a16="http://schemas.microsoft.com/office/drawing/2014/main" id="{EE1DFA4B-D09C-D3C7-CF14-10151C0BAF5D}"/>
              </a:ext>
            </a:extLst>
          </p:cNvPr>
          <p:cNvSpPr/>
          <p:nvPr/>
        </p:nvSpPr>
        <p:spPr>
          <a:xfrm>
            <a:off x="0" y="0"/>
            <a:ext cx="9144000" cy="2857500"/>
          </a:xfrm>
          <a:prstGeom prst="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E" sz="1350"/>
          </a:p>
        </p:txBody>
      </p:sp>
      <p:sp>
        <p:nvSpPr>
          <p:cNvPr id="2" name="Title 1">
            <a:extLst>
              <a:ext uri="{FF2B5EF4-FFF2-40B4-BE49-F238E27FC236}">
                <a16:creationId xmlns:a16="http://schemas.microsoft.com/office/drawing/2014/main" id="{D922CA66-7408-CA5B-7EAD-6C36A01B53B5}"/>
              </a:ext>
            </a:extLst>
          </p:cNvPr>
          <p:cNvSpPr>
            <a:spLocks noGrp="1"/>
          </p:cNvSpPr>
          <p:nvPr>
            <p:ph type="title"/>
          </p:nvPr>
        </p:nvSpPr>
        <p:spPr>
          <a:xfrm>
            <a:off x="628650" y="2576174"/>
            <a:ext cx="7886700" cy="612678"/>
          </a:xfrm>
          <a:solidFill>
            <a:schemeClr val="bg1"/>
          </a:solidFill>
        </p:spPr>
        <p:txBody>
          <a:bodyPr lIns="180000"/>
          <a:lstStyle/>
          <a:p>
            <a:r>
              <a:rPr lang="en-US"/>
              <a:t>Click to edit Master title style</a:t>
            </a:r>
            <a:endParaRPr lang="en-IE"/>
          </a:p>
        </p:txBody>
      </p:sp>
      <p:sp>
        <p:nvSpPr>
          <p:cNvPr id="7" name="Content Placeholder 6">
            <a:extLst>
              <a:ext uri="{FF2B5EF4-FFF2-40B4-BE49-F238E27FC236}">
                <a16:creationId xmlns:a16="http://schemas.microsoft.com/office/drawing/2014/main" id="{CA90F452-4E6C-2A2B-2B9D-88A3D16A05C1}"/>
              </a:ext>
            </a:extLst>
          </p:cNvPr>
          <p:cNvSpPr>
            <a:spLocks noGrp="1"/>
          </p:cNvSpPr>
          <p:nvPr>
            <p:ph sz="quarter" idx="11"/>
          </p:nvPr>
        </p:nvSpPr>
        <p:spPr>
          <a:xfrm>
            <a:off x="628650" y="3331369"/>
            <a:ext cx="7886700" cy="440531"/>
          </a:xfrm>
        </p:spPr>
        <p:txBody>
          <a:bodyPr>
            <a:noAutofit/>
          </a:bodyPr>
          <a:lstStyle>
            <a:lvl1pPr marL="0" indent="0">
              <a:buNone/>
              <a:defRPr sz="1500"/>
            </a:lvl1pPr>
          </a:lstStyle>
          <a:p>
            <a:pPr lvl="0"/>
            <a:r>
              <a:rPr lang="en-US"/>
              <a:t>Click to edit Master text styles</a:t>
            </a:r>
          </a:p>
        </p:txBody>
      </p:sp>
    </p:spTree>
    <p:extLst>
      <p:ext uri="{BB962C8B-B14F-4D97-AF65-F5344CB8AC3E}">
        <p14:creationId xmlns:p14="http://schemas.microsoft.com/office/powerpoint/2010/main" val="495241733"/>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Chapter page option 4">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E145A3C0-5810-CECB-04D1-E370BADB2EE8}"/>
              </a:ext>
            </a:extLst>
          </p:cNvPr>
          <p:cNvSpPr/>
          <p:nvPr userDrawn="1"/>
        </p:nvSpPr>
        <p:spPr>
          <a:xfrm flipV="1">
            <a:off x="0" y="1396093"/>
            <a:ext cx="9144000" cy="3747407"/>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E" sz="1350"/>
          </a:p>
        </p:txBody>
      </p:sp>
      <p:sp>
        <p:nvSpPr>
          <p:cNvPr id="4" name="Rectangle 3">
            <a:extLst>
              <a:ext uri="{FF2B5EF4-FFF2-40B4-BE49-F238E27FC236}">
                <a16:creationId xmlns:a16="http://schemas.microsoft.com/office/drawing/2014/main" id="{EE1DFA4B-D09C-D3C7-CF14-10151C0BAF5D}"/>
              </a:ext>
            </a:extLst>
          </p:cNvPr>
          <p:cNvSpPr/>
          <p:nvPr/>
        </p:nvSpPr>
        <p:spPr>
          <a:xfrm flipV="1">
            <a:off x="0" y="1396093"/>
            <a:ext cx="9144000" cy="3747407"/>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E" sz="1350"/>
          </a:p>
        </p:txBody>
      </p:sp>
      <p:sp>
        <p:nvSpPr>
          <p:cNvPr id="3" name="Slide Number Placeholder 2">
            <a:extLst>
              <a:ext uri="{FF2B5EF4-FFF2-40B4-BE49-F238E27FC236}">
                <a16:creationId xmlns:a16="http://schemas.microsoft.com/office/drawing/2014/main" id="{E92597A6-449C-FD56-6361-6B67C1420435}"/>
              </a:ext>
            </a:extLst>
          </p:cNvPr>
          <p:cNvSpPr>
            <a:spLocks noGrp="1"/>
          </p:cNvSpPr>
          <p:nvPr>
            <p:ph type="sldNum" sz="quarter" idx="10"/>
          </p:nvPr>
        </p:nvSpPr>
        <p:spPr/>
        <p:txBody>
          <a:bodyPr/>
          <a:lstStyle>
            <a:lvl1pPr>
              <a:defRPr>
                <a:solidFill>
                  <a:schemeClr val="bg1"/>
                </a:solidFill>
              </a:defRPr>
            </a:lvl1pPr>
          </a:lstStyle>
          <a:p>
            <a:pPr algn="l"/>
            <a:fld id="{768364BB-9B21-4D29-A19C-C6410F652861}" type="slidenum">
              <a:rPr lang="en-IE" smtClean="0"/>
              <a:pPr algn="l"/>
              <a:t>‹#›</a:t>
            </a:fld>
            <a:endParaRPr lang="en-IE"/>
          </a:p>
        </p:txBody>
      </p:sp>
      <p:sp>
        <p:nvSpPr>
          <p:cNvPr id="2" name="Title 1">
            <a:extLst>
              <a:ext uri="{FF2B5EF4-FFF2-40B4-BE49-F238E27FC236}">
                <a16:creationId xmlns:a16="http://schemas.microsoft.com/office/drawing/2014/main" id="{D922CA66-7408-CA5B-7EAD-6C36A01B53B5}"/>
              </a:ext>
            </a:extLst>
          </p:cNvPr>
          <p:cNvSpPr>
            <a:spLocks noGrp="1"/>
          </p:cNvSpPr>
          <p:nvPr>
            <p:ph type="title"/>
          </p:nvPr>
        </p:nvSpPr>
        <p:spPr>
          <a:xfrm>
            <a:off x="628650" y="1057616"/>
            <a:ext cx="7886700" cy="612678"/>
          </a:xfrm>
          <a:solidFill>
            <a:schemeClr val="bg1"/>
          </a:solidFill>
        </p:spPr>
        <p:txBody>
          <a:bodyPr lIns="180000" tIns="144000" rIns="144000" bIns="144000" anchor="ctr"/>
          <a:lstStyle/>
          <a:p>
            <a:r>
              <a:rPr lang="en-US"/>
              <a:t>Click to edit Master title style</a:t>
            </a:r>
            <a:endParaRPr lang="en-IE"/>
          </a:p>
        </p:txBody>
      </p:sp>
      <p:sp>
        <p:nvSpPr>
          <p:cNvPr id="7" name="Content Placeholder 6">
            <a:extLst>
              <a:ext uri="{FF2B5EF4-FFF2-40B4-BE49-F238E27FC236}">
                <a16:creationId xmlns:a16="http://schemas.microsoft.com/office/drawing/2014/main" id="{CA90F452-4E6C-2A2B-2B9D-88A3D16A05C1}"/>
              </a:ext>
            </a:extLst>
          </p:cNvPr>
          <p:cNvSpPr>
            <a:spLocks noGrp="1"/>
          </p:cNvSpPr>
          <p:nvPr>
            <p:ph sz="quarter" idx="11"/>
          </p:nvPr>
        </p:nvSpPr>
        <p:spPr>
          <a:xfrm>
            <a:off x="628650" y="1861798"/>
            <a:ext cx="7886700" cy="440531"/>
          </a:xfrm>
        </p:spPr>
        <p:txBody>
          <a:bodyPr>
            <a:noAutofit/>
          </a:bodyPr>
          <a:lstStyle>
            <a:lvl1pPr marL="0" indent="0">
              <a:buNone/>
              <a:defRPr sz="1500">
                <a:solidFill>
                  <a:schemeClr val="bg1"/>
                </a:solidFill>
              </a:defRPr>
            </a:lvl1pPr>
          </a:lstStyle>
          <a:p>
            <a:pPr lvl="0"/>
            <a:r>
              <a:rPr lang="en-US"/>
              <a:t>Click to edit Master text styles</a:t>
            </a:r>
          </a:p>
        </p:txBody>
      </p:sp>
      <p:pic>
        <p:nvPicPr>
          <p:cNvPr id="9" name="Picture 8" descr="A blue flag with yellow stars and stripes&#10;&#10;Description automatically generated">
            <a:extLst>
              <a:ext uri="{FF2B5EF4-FFF2-40B4-BE49-F238E27FC236}">
                <a16:creationId xmlns:a16="http://schemas.microsoft.com/office/drawing/2014/main" id="{9BD178DF-B2B3-E383-43AA-D54BBF22737D}"/>
              </a:ext>
            </a:extLst>
          </p:cNvPr>
          <p:cNvPicPr>
            <a:picLocks noChangeAspect="1"/>
          </p:cNvPicPr>
          <p:nvPr/>
        </p:nvPicPr>
        <p:blipFill>
          <a:blip r:embed="rId2"/>
          <a:stretch>
            <a:fillRect/>
          </a:stretch>
        </p:blipFill>
        <p:spPr>
          <a:xfrm>
            <a:off x="8044327" y="4425762"/>
            <a:ext cx="943400" cy="572400"/>
          </a:xfrm>
          <a:prstGeom prst="rect">
            <a:avLst/>
          </a:prstGeom>
        </p:spPr>
      </p:pic>
      <p:pic>
        <p:nvPicPr>
          <p:cNvPr id="6" name="Picture 5" descr="A blue flag with yellow stars and stripes&#10;&#10;Description automatically generated">
            <a:extLst>
              <a:ext uri="{FF2B5EF4-FFF2-40B4-BE49-F238E27FC236}">
                <a16:creationId xmlns:a16="http://schemas.microsoft.com/office/drawing/2014/main" id="{9C194F48-423C-93CB-1A61-CE12CAB5B444}"/>
              </a:ext>
            </a:extLst>
          </p:cNvPr>
          <p:cNvPicPr>
            <a:picLocks noChangeAspect="1"/>
          </p:cNvPicPr>
          <p:nvPr userDrawn="1"/>
        </p:nvPicPr>
        <p:blipFill>
          <a:blip r:embed="rId2"/>
          <a:stretch>
            <a:fillRect/>
          </a:stretch>
        </p:blipFill>
        <p:spPr>
          <a:xfrm>
            <a:off x="8044327" y="4425762"/>
            <a:ext cx="943400" cy="572400"/>
          </a:xfrm>
          <a:prstGeom prst="rect">
            <a:avLst/>
          </a:prstGeom>
        </p:spPr>
      </p:pic>
    </p:spTree>
    <p:extLst>
      <p:ext uri="{BB962C8B-B14F-4D97-AF65-F5344CB8AC3E}">
        <p14:creationId xmlns:p14="http://schemas.microsoft.com/office/powerpoint/2010/main" val="1232818310"/>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Chapter page option 5">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D9526B31-D383-5ABA-08B1-8097743DECE0}"/>
              </a:ext>
            </a:extLst>
          </p:cNvPr>
          <p:cNvSpPr/>
          <p:nvPr userDrawn="1"/>
        </p:nvSpPr>
        <p:spPr>
          <a:xfrm flipV="1">
            <a:off x="0" y="1396093"/>
            <a:ext cx="9144000" cy="3747407"/>
          </a:xfrm>
          <a:prstGeom prst="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E" sz="1350"/>
          </a:p>
        </p:txBody>
      </p:sp>
      <p:sp>
        <p:nvSpPr>
          <p:cNvPr id="4" name="Rectangle 3">
            <a:extLst>
              <a:ext uri="{FF2B5EF4-FFF2-40B4-BE49-F238E27FC236}">
                <a16:creationId xmlns:a16="http://schemas.microsoft.com/office/drawing/2014/main" id="{EE1DFA4B-D09C-D3C7-CF14-10151C0BAF5D}"/>
              </a:ext>
            </a:extLst>
          </p:cNvPr>
          <p:cNvSpPr/>
          <p:nvPr/>
        </p:nvSpPr>
        <p:spPr>
          <a:xfrm flipV="1">
            <a:off x="0" y="1396093"/>
            <a:ext cx="9144000" cy="3747407"/>
          </a:xfrm>
          <a:prstGeom prst="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E" sz="1350"/>
          </a:p>
        </p:txBody>
      </p:sp>
      <p:sp>
        <p:nvSpPr>
          <p:cNvPr id="3" name="Slide Number Placeholder 2">
            <a:extLst>
              <a:ext uri="{FF2B5EF4-FFF2-40B4-BE49-F238E27FC236}">
                <a16:creationId xmlns:a16="http://schemas.microsoft.com/office/drawing/2014/main" id="{E92597A6-449C-FD56-6361-6B67C1420435}"/>
              </a:ext>
            </a:extLst>
          </p:cNvPr>
          <p:cNvSpPr>
            <a:spLocks noGrp="1"/>
          </p:cNvSpPr>
          <p:nvPr>
            <p:ph type="sldNum" sz="quarter" idx="10"/>
          </p:nvPr>
        </p:nvSpPr>
        <p:spPr/>
        <p:txBody>
          <a:bodyPr/>
          <a:lstStyle>
            <a:lvl1pPr>
              <a:defRPr>
                <a:solidFill>
                  <a:schemeClr val="tx1"/>
                </a:solidFill>
              </a:defRPr>
            </a:lvl1pPr>
          </a:lstStyle>
          <a:p>
            <a:pPr algn="l"/>
            <a:fld id="{768364BB-9B21-4D29-A19C-C6410F652861}" type="slidenum">
              <a:rPr lang="en-IE" smtClean="0"/>
              <a:pPr algn="l"/>
              <a:t>‹#›</a:t>
            </a:fld>
            <a:endParaRPr lang="en-IE"/>
          </a:p>
        </p:txBody>
      </p:sp>
      <p:sp>
        <p:nvSpPr>
          <p:cNvPr id="2" name="Title 1">
            <a:extLst>
              <a:ext uri="{FF2B5EF4-FFF2-40B4-BE49-F238E27FC236}">
                <a16:creationId xmlns:a16="http://schemas.microsoft.com/office/drawing/2014/main" id="{D922CA66-7408-CA5B-7EAD-6C36A01B53B5}"/>
              </a:ext>
            </a:extLst>
          </p:cNvPr>
          <p:cNvSpPr>
            <a:spLocks noGrp="1"/>
          </p:cNvSpPr>
          <p:nvPr>
            <p:ph type="title"/>
          </p:nvPr>
        </p:nvSpPr>
        <p:spPr>
          <a:xfrm>
            <a:off x="628650" y="1057616"/>
            <a:ext cx="7886700" cy="612678"/>
          </a:xfrm>
          <a:solidFill>
            <a:schemeClr val="bg1"/>
          </a:solidFill>
        </p:spPr>
        <p:txBody>
          <a:bodyPr lIns="180000"/>
          <a:lstStyle/>
          <a:p>
            <a:r>
              <a:rPr lang="en-US"/>
              <a:t>Click to edit Master title style</a:t>
            </a:r>
            <a:endParaRPr lang="en-IE"/>
          </a:p>
        </p:txBody>
      </p:sp>
      <p:sp>
        <p:nvSpPr>
          <p:cNvPr id="7" name="Content Placeholder 6">
            <a:extLst>
              <a:ext uri="{FF2B5EF4-FFF2-40B4-BE49-F238E27FC236}">
                <a16:creationId xmlns:a16="http://schemas.microsoft.com/office/drawing/2014/main" id="{CA90F452-4E6C-2A2B-2B9D-88A3D16A05C1}"/>
              </a:ext>
            </a:extLst>
          </p:cNvPr>
          <p:cNvSpPr>
            <a:spLocks noGrp="1"/>
          </p:cNvSpPr>
          <p:nvPr>
            <p:ph sz="quarter" idx="11"/>
          </p:nvPr>
        </p:nvSpPr>
        <p:spPr>
          <a:xfrm>
            <a:off x="628650" y="1861798"/>
            <a:ext cx="7886700" cy="440531"/>
          </a:xfrm>
        </p:spPr>
        <p:txBody>
          <a:bodyPr>
            <a:noAutofit/>
          </a:bodyPr>
          <a:lstStyle>
            <a:lvl1pPr marL="0" indent="0">
              <a:buNone/>
              <a:defRPr sz="1500">
                <a:solidFill>
                  <a:schemeClr val="tx2"/>
                </a:solidFill>
              </a:defRPr>
            </a:lvl1pPr>
          </a:lstStyle>
          <a:p>
            <a:pPr lvl="0"/>
            <a:r>
              <a:rPr lang="en-US"/>
              <a:t>Click to edit Master text styles</a:t>
            </a:r>
          </a:p>
        </p:txBody>
      </p:sp>
      <p:pic>
        <p:nvPicPr>
          <p:cNvPr id="5" name="Picture 4" descr="A blue flag with yellow stars&#10;&#10;Description automatically generated">
            <a:extLst>
              <a:ext uri="{FF2B5EF4-FFF2-40B4-BE49-F238E27FC236}">
                <a16:creationId xmlns:a16="http://schemas.microsoft.com/office/drawing/2014/main" id="{D7151F52-9DDF-CEC4-58EC-587B7A1D7791}"/>
              </a:ext>
            </a:extLst>
          </p:cNvPr>
          <p:cNvPicPr>
            <a:picLocks noChangeAspect="1"/>
          </p:cNvPicPr>
          <p:nvPr/>
        </p:nvPicPr>
        <p:blipFill>
          <a:blip r:embed="rId2"/>
          <a:stretch>
            <a:fillRect/>
          </a:stretch>
        </p:blipFill>
        <p:spPr>
          <a:xfrm>
            <a:off x="8044327" y="4425762"/>
            <a:ext cx="942047" cy="571580"/>
          </a:xfrm>
          <a:prstGeom prst="rect">
            <a:avLst/>
          </a:prstGeom>
        </p:spPr>
      </p:pic>
      <p:pic>
        <p:nvPicPr>
          <p:cNvPr id="8" name="Picture 7" descr="A blue flag with yellow stars&#10;&#10;Description automatically generated">
            <a:extLst>
              <a:ext uri="{FF2B5EF4-FFF2-40B4-BE49-F238E27FC236}">
                <a16:creationId xmlns:a16="http://schemas.microsoft.com/office/drawing/2014/main" id="{8B94F84F-1590-9DE6-C3AC-9FBA58E40EFC}"/>
              </a:ext>
            </a:extLst>
          </p:cNvPr>
          <p:cNvPicPr>
            <a:picLocks noChangeAspect="1"/>
          </p:cNvPicPr>
          <p:nvPr userDrawn="1"/>
        </p:nvPicPr>
        <p:blipFill>
          <a:blip r:embed="rId2"/>
          <a:stretch>
            <a:fillRect/>
          </a:stretch>
        </p:blipFill>
        <p:spPr>
          <a:xfrm>
            <a:off x="8044327" y="4425762"/>
            <a:ext cx="942047" cy="571580"/>
          </a:xfrm>
          <a:prstGeom prst="rect">
            <a:avLst/>
          </a:prstGeom>
        </p:spPr>
      </p:pic>
    </p:spTree>
    <p:extLst>
      <p:ext uri="{BB962C8B-B14F-4D97-AF65-F5344CB8AC3E}">
        <p14:creationId xmlns:p14="http://schemas.microsoft.com/office/powerpoint/2010/main" val="3879065816"/>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Title and body text one colum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120F1C0-2CE9-2640-8D54-464A0BF69C2C}"/>
              </a:ext>
            </a:extLst>
          </p:cNvPr>
          <p:cNvSpPr>
            <a:spLocks noGrp="1"/>
          </p:cNvSpPr>
          <p:nvPr>
            <p:ph type="title"/>
          </p:nvPr>
        </p:nvSpPr>
        <p:spPr>
          <a:solidFill>
            <a:schemeClr val="bg1"/>
          </a:solidFill>
        </p:spPr>
        <p:txBody>
          <a:bodyPr/>
          <a:lstStyle/>
          <a:p>
            <a:r>
              <a:rPr lang="en-US"/>
              <a:t>Click to edit Master title style</a:t>
            </a:r>
            <a:endParaRPr lang="en-IE"/>
          </a:p>
        </p:txBody>
      </p:sp>
      <p:sp>
        <p:nvSpPr>
          <p:cNvPr id="7" name="Text Placeholder 2">
            <a:extLst>
              <a:ext uri="{FF2B5EF4-FFF2-40B4-BE49-F238E27FC236}">
                <a16:creationId xmlns:a16="http://schemas.microsoft.com/office/drawing/2014/main" id="{ABBD8A8F-01F7-069C-2D69-AFCA2F78DFC9}"/>
              </a:ext>
            </a:extLst>
          </p:cNvPr>
          <p:cNvSpPr>
            <a:spLocks noGrp="1"/>
          </p:cNvSpPr>
          <p:nvPr>
            <p:ph idx="1"/>
          </p:nvPr>
        </p:nvSpPr>
        <p:spPr>
          <a:xfrm>
            <a:off x="628650" y="1369219"/>
            <a:ext cx="7886700" cy="2728855"/>
          </a:xfrm>
          <a:prstGeom prst="rect">
            <a:avLst/>
          </a:prstGeom>
        </p:spPr>
        <p:txBody>
          <a:bodyPr vert="horz" lIns="144000" tIns="144000" rIns="144000" bIns="144000" rtlCol="0">
            <a:noAutofit/>
          </a:bodyPr>
          <a:lstStyle>
            <a:lvl1pPr marL="0" indent="0">
              <a:buNone/>
              <a:defRPr sz="1500"/>
            </a:lvl1pPr>
          </a:lstStyle>
          <a:p>
            <a:pPr lvl="0"/>
            <a:r>
              <a:rPr lang="en-US"/>
              <a:t>Click to edit Master text styles</a:t>
            </a:r>
          </a:p>
        </p:txBody>
      </p:sp>
      <p:sp>
        <p:nvSpPr>
          <p:cNvPr id="3" name="Slide Number Placeholder 5">
            <a:extLst>
              <a:ext uri="{FF2B5EF4-FFF2-40B4-BE49-F238E27FC236}">
                <a16:creationId xmlns:a16="http://schemas.microsoft.com/office/drawing/2014/main" id="{487499CD-21D1-84C4-7FD1-F33A396395B0}"/>
              </a:ext>
            </a:extLst>
          </p:cNvPr>
          <p:cNvSpPr>
            <a:spLocks noGrp="1"/>
          </p:cNvSpPr>
          <p:nvPr>
            <p:ph type="sldNum" sz="quarter" idx="4"/>
          </p:nvPr>
        </p:nvSpPr>
        <p:spPr>
          <a:xfrm>
            <a:off x="282141" y="4711552"/>
            <a:ext cx="2057400" cy="273844"/>
          </a:xfrm>
          <a:prstGeom prst="rect">
            <a:avLst/>
          </a:prstGeom>
        </p:spPr>
        <p:txBody>
          <a:bodyPr vert="horz" lIns="91440" tIns="45720" rIns="91440" bIns="45720" rtlCol="0" anchor="b"/>
          <a:lstStyle>
            <a:lvl1pPr algn="r">
              <a:defRPr sz="750">
                <a:solidFill>
                  <a:schemeClr val="tx1"/>
                </a:solidFill>
                <a:latin typeface="+mn-lt"/>
              </a:defRPr>
            </a:lvl1pPr>
          </a:lstStyle>
          <a:p>
            <a:pPr algn="l"/>
            <a:fld id="{768364BB-9B21-4D29-A19C-C6410F652861}" type="slidenum">
              <a:rPr lang="en-IE" smtClean="0"/>
              <a:pPr algn="l"/>
              <a:t>‹#›</a:t>
            </a:fld>
            <a:endParaRPr lang="en-IE"/>
          </a:p>
        </p:txBody>
      </p:sp>
    </p:spTree>
    <p:extLst>
      <p:ext uri="{BB962C8B-B14F-4D97-AF65-F5344CB8AC3E}">
        <p14:creationId xmlns:p14="http://schemas.microsoft.com/office/powerpoint/2010/main" val="2206232994"/>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Title and body text and bullet point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120F1C0-2CE9-2640-8D54-464A0BF69C2C}"/>
              </a:ext>
            </a:extLst>
          </p:cNvPr>
          <p:cNvSpPr>
            <a:spLocks noGrp="1"/>
          </p:cNvSpPr>
          <p:nvPr>
            <p:ph type="title"/>
          </p:nvPr>
        </p:nvSpPr>
        <p:spPr/>
        <p:txBody>
          <a:bodyPr/>
          <a:lstStyle/>
          <a:p>
            <a:r>
              <a:rPr lang="en-US"/>
              <a:t>Click to edit Master title style</a:t>
            </a:r>
            <a:endParaRPr lang="en-IE"/>
          </a:p>
        </p:txBody>
      </p:sp>
      <p:sp>
        <p:nvSpPr>
          <p:cNvPr id="6" name="Text Placeholder 2">
            <a:extLst>
              <a:ext uri="{FF2B5EF4-FFF2-40B4-BE49-F238E27FC236}">
                <a16:creationId xmlns:a16="http://schemas.microsoft.com/office/drawing/2014/main" id="{509BE7C2-2602-0313-8D83-EAB1C755A713}"/>
              </a:ext>
            </a:extLst>
          </p:cNvPr>
          <p:cNvSpPr>
            <a:spLocks noGrp="1"/>
          </p:cNvSpPr>
          <p:nvPr>
            <p:ph idx="1"/>
          </p:nvPr>
        </p:nvSpPr>
        <p:spPr>
          <a:xfrm>
            <a:off x="628650" y="1369219"/>
            <a:ext cx="7886700" cy="2728855"/>
          </a:xfrm>
          <a:prstGeom prst="rect">
            <a:avLst/>
          </a:prstGeom>
        </p:spPr>
        <p:txBody>
          <a:bodyPr vert="horz" lIns="144000" tIns="144000" rIns="144000" bIns="144000" rtlCol="0">
            <a:noAutofit/>
          </a:bodyPr>
          <a:lstStyle>
            <a:lvl1pPr marL="257175" indent="-257175">
              <a:buClr>
                <a:schemeClr val="tx2"/>
              </a:buClr>
              <a:buSzPct val="150000"/>
              <a:buFont typeface="Arial" panose="020B0604020202020204" pitchFamily="34" charset="0"/>
              <a:buChar char="•"/>
              <a:defRPr sz="1500"/>
            </a:lvl1pPr>
            <a:lvl2pPr>
              <a:buClr>
                <a:schemeClr val="tx2"/>
              </a:buClr>
              <a:buSzPct val="100000"/>
              <a:defRPr sz="1350"/>
            </a:lvl2pPr>
            <a:lvl3pPr>
              <a:buClr>
                <a:schemeClr val="tx2"/>
              </a:buClr>
              <a:defRPr sz="1200"/>
            </a:lvl3pPr>
            <a:lvl4pPr>
              <a:buClr>
                <a:schemeClr val="tx2"/>
              </a:buClr>
              <a:defRPr sz="1050"/>
            </a:lvl4pPr>
          </a:lstStyle>
          <a:p>
            <a:pPr lvl="0"/>
            <a:r>
              <a:rPr lang="en-US"/>
              <a:t>Click to edit Master text styles</a:t>
            </a:r>
          </a:p>
          <a:p>
            <a:pPr lvl="1"/>
            <a:r>
              <a:rPr lang="en-US"/>
              <a:t>Second level</a:t>
            </a:r>
          </a:p>
          <a:p>
            <a:pPr lvl="2"/>
            <a:r>
              <a:rPr lang="en-US"/>
              <a:t>Third level</a:t>
            </a:r>
          </a:p>
        </p:txBody>
      </p:sp>
      <p:sp>
        <p:nvSpPr>
          <p:cNvPr id="3" name="Slide Number Placeholder 5">
            <a:extLst>
              <a:ext uri="{FF2B5EF4-FFF2-40B4-BE49-F238E27FC236}">
                <a16:creationId xmlns:a16="http://schemas.microsoft.com/office/drawing/2014/main" id="{5D43C2E6-DFE0-78B7-AEF2-E94F28383CAA}"/>
              </a:ext>
            </a:extLst>
          </p:cNvPr>
          <p:cNvSpPr>
            <a:spLocks noGrp="1"/>
          </p:cNvSpPr>
          <p:nvPr>
            <p:ph type="sldNum" sz="quarter" idx="4"/>
          </p:nvPr>
        </p:nvSpPr>
        <p:spPr>
          <a:xfrm>
            <a:off x="282141" y="4711552"/>
            <a:ext cx="2057400" cy="273844"/>
          </a:xfrm>
          <a:prstGeom prst="rect">
            <a:avLst/>
          </a:prstGeom>
        </p:spPr>
        <p:txBody>
          <a:bodyPr vert="horz" lIns="91440" tIns="45720" rIns="91440" bIns="45720" rtlCol="0" anchor="b"/>
          <a:lstStyle>
            <a:lvl1pPr algn="r">
              <a:defRPr sz="750">
                <a:solidFill>
                  <a:schemeClr val="tx1"/>
                </a:solidFill>
                <a:latin typeface="+mn-lt"/>
              </a:defRPr>
            </a:lvl1pPr>
          </a:lstStyle>
          <a:p>
            <a:pPr algn="l"/>
            <a:fld id="{768364BB-9B21-4D29-A19C-C6410F652861}" type="slidenum">
              <a:rPr lang="en-IE" smtClean="0"/>
              <a:pPr algn="l"/>
              <a:t>‹#›</a:t>
            </a:fld>
            <a:endParaRPr lang="en-IE"/>
          </a:p>
        </p:txBody>
      </p:sp>
    </p:spTree>
    <p:extLst>
      <p:ext uri="{BB962C8B-B14F-4D97-AF65-F5344CB8AC3E}">
        <p14:creationId xmlns:p14="http://schemas.microsoft.com/office/powerpoint/2010/main" val="391565864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0658DA-9633-A419-9175-69A438A66412}"/>
              </a:ext>
            </a:extLst>
          </p:cNvPr>
          <p:cNvSpPr>
            <a:spLocks noGrp="1"/>
          </p:cNvSpPr>
          <p:nvPr>
            <p:ph type="title"/>
          </p:nvPr>
        </p:nvSpPr>
        <p:spPr/>
        <p:txBody>
          <a:bodyPr/>
          <a:lstStyle>
            <a:lvl1pPr>
              <a:defRPr sz="3200"/>
            </a:lvl1pPr>
          </a:lstStyle>
          <a:p>
            <a:r>
              <a:rPr lang="en-GB"/>
              <a:t>Click to edit Master title style</a:t>
            </a:r>
            <a:endParaRPr lang="en-LU"/>
          </a:p>
        </p:txBody>
      </p:sp>
      <p:sp>
        <p:nvSpPr>
          <p:cNvPr id="5" name="Slide Number Placeholder 4">
            <a:extLst>
              <a:ext uri="{FF2B5EF4-FFF2-40B4-BE49-F238E27FC236}">
                <a16:creationId xmlns:a16="http://schemas.microsoft.com/office/drawing/2014/main" id="{931CEF16-2079-7A62-2E14-200A49084970}"/>
              </a:ext>
            </a:extLst>
          </p:cNvPr>
          <p:cNvSpPr>
            <a:spLocks noGrp="1"/>
          </p:cNvSpPr>
          <p:nvPr>
            <p:ph type="sldNum" sz="quarter" idx="12"/>
          </p:nvPr>
        </p:nvSpPr>
        <p:spPr/>
        <p:txBody>
          <a:bodyPr/>
          <a:lstStyle/>
          <a:p>
            <a:fld id="{0F67114D-ED23-2A43-BD26-04D629DC704A}" type="slidenum">
              <a:rPr lang="en-LU" smtClean="0"/>
              <a:t>‹#›</a:t>
            </a:fld>
            <a:endParaRPr lang="en-LU"/>
          </a:p>
        </p:txBody>
      </p:sp>
      <p:sp>
        <p:nvSpPr>
          <p:cNvPr id="3" name="Text Placeholder 6">
            <a:extLst>
              <a:ext uri="{FF2B5EF4-FFF2-40B4-BE49-F238E27FC236}">
                <a16:creationId xmlns:a16="http://schemas.microsoft.com/office/drawing/2014/main" id="{8AC1479A-A4F1-508A-C419-807EB18CB66C}"/>
              </a:ext>
            </a:extLst>
          </p:cNvPr>
          <p:cNvSpPr>
            <a:spLocks noGrp="1"/>
          </p:cNvSpPr>
          <p:nvPr>
            <p:ph type="body" sz="quarter" idx="13" hasCustomPrompt="1"/>
          </p:nvPr>
        </p:nvSpPr>
        <p:spPr>
          <a:xfrm>
            <a:off x="1587500" y="4767264"/>
            <a:ext cx="2774950" cy="164386"/>
          </a:xfrm>
        </p:spPr>
        <p:txBody>
          <a:bodyPr lIns="0" tIns="0" rIns="0" bIns="0" anchor="b" anchorCtr="0">
            <a:noAutofit/>
          </a:bodyPr>
          <a:lstStyle>
            <a:lvl1pPr marL="0" indent="0">
              <a:buNone/>
              <a:defRPr sz="1000">
                <a:solidFill>
                  <a:schemeClr val="tx1">
                    <a:lumMod val="50000"/>
                    <a:lumOff val="50000"/>
                  </a:schemeClr>
                </a:solidFill>
              </a:defRPr>
            </a:lvl1pPr>
            <a:lvl2pPr marL="457200" indent="0">
              <a:buNone/>
              <a:defRPr sz="1000">
                <a:solidFill>
                  <a:schemeClr val="tx1">
                    <a:lumMod val="50000"/>
                    <a:lumOff val="50000"/>
                  </a:schemeClr>
                </a:solidFill>
              </a:defRPr>
            </a:lvl2pPr>
            <a:lvl3pPr marL="914400" indent="0">
              <a:buNone/>
              <a:defRPr sz="1000">
                <a:solidFill>
                  <a:schemeClr val="tx1">
                    <a:lumMod val="50000"/>
                    <a:lumOff val="50000"/>
                  </a:schemeClr>
                </a:solidFill>
              </a:defRPr>
            </a:lvl3pPr>
            <a:lvl4pPr marL="1371600" indent="0">
              <a:buNone/>
              <a:defRPr sz="1000">
                <a:solidFill>
                  <a:schemeClr val="tx1">
                    <a:lumMod val="50000"/>
                    <a:lumOff val="50000"/>
                  </a:schemeClr>
                </a:solidFill>
              </a:defRPr>
            </a:lvl4pPr>
            <a:lvl5pPr marL="1828800" indent="0">
              <a:buNone/>
              <a:defRPr sz="1000">
                <a:solidFill>
                  <a:schemeClr val="tx1">
                    <a:lumMod val="50000"/>
                    <a:lumOff val="50000"/>
                  </a:schemeClr>
                </a:solidFill>
              </a:defRPr>
            </a:lvl5pPr>
          </a:lstStyle>
          <a:p>
            <a:pPr lvl="0"/>
            <a:r>
              <a:rPr lang="en-GB"/>
              <a:t>Insert here the title of the presentation</a:t>
            </a:r>
            <a:endParaRPr lang="en-LU"/>
          </a:p>
        </p:txBody>
      </p:sp>
    </p:spTree>
    <p:extLst>
      <p:ext uri="{BB962C8B-B14F-4D97-AF65-F5344CB8AC3E}">
        <p14:creationId xmlns:p14="http://schemas.microsoft.com/office/powerpoint/2010/main" val="2263397147"/>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Title and body text two columns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D1C58A-AE9F-CB20-353A-B865ECE39A5D}"/>
              </a:ext>
            </a:extLst>
          </p:cNvPr>
          <p:cNvSpPr>
            <a:spLocks noGrp="1"/>
          </p:cNvSpPr>
          <p:nvPr>
            <p:ph type="title"/>
          </p:nvPr>
        </p:nvSpPr>
        <p:spPr/>
        <p:txBody>
          <a:bodyPr/>
          <a:lstStyle/>
          <a:p>
            <a:r>
              <a:rPr lang="en-US"/>
              <a:t>Click to edit Master title style</a:t>
            </a:r>
            <a:endParaRPr lang="en-IE"/>
          </a:p>
        </p:txBody>
      </p:sp>
      <p:sp>
        <p:nvSpPr>
          <p:cNvPr id="3" name="Content Placeholder 2">
            <a:extLst>
              <a:ext uri="{FF2B5EF4-FFF2-40B4-BE49-F238E27FC236}">
                <a16:creationId xmlns:a16="http://schemas.microsoft.com/office/drawing/2014/main" id="{833F6E74-65E4-088E-A627-F5CBCB9E0FAA}"/>
              </a:ext>
            </a:extLst>
          </p:cNvPr>
          <p:cNvSpPr>
            <a:spLocks noGrp="1"/>
          </p:cNvSpPr>
          <p:nvPr>
            <p:ph sz="half" idx="1"/>
          </p:nvPr>
        </p:nvSpPr>
        <p:spPr>
          <a:xfrm>
            <a:off x="628650" y="1491792"/>
            <a:ext cx="3764756" cy="2453327"/>
          </a:xfrm>
          <a:noFill/>
        </p:spPr>
        <p:txBody>
          <a:bodyPr lIns="144000" tIns="144000" rIns="144000" bIns="144000">
            <a:noAutofit/>
          </a:bodyPr>
          <a:lstStyle>
            <a:lvl1pPr marL="0" indent="0">
              <a:buNone/>
              <a:defRPr sz="1500">
                <a:solidFill>
                  <a:schemeClr val="tx1"/>
                </a:solidFill>
              </a:defRPr>
            </a:lvl1pPr>
          </a:lstStyle>
          <a:p>
            <a:pPr lvl="0"/>
            <a:r>
              <a:rPr lang="en-US"/>
              <a:t>Click to edit Master text styles</a:t>
            </a:r>
          </a:p>
        </p:txBody>
      </p:sp>
      <p:sp>
        <p:nvSpPr>
          <p:cNvPr id="6" name="Content Placeholder 2">
            <a:extLst>
              <a:ext uri="{FF2B5EF4-FFF2-40B4-BE49-F238E27FC236}">
                <a16:creationId xmlns:a16="http://schemas.microsoft.com/office/drawing/2014/main" id="{5F39DED1-43B7-A54B-D3D7-54792E535D26}"/>
              </a:ext>
            </a:extLst>
          </p:cNvPr>
          <p:cNvSpPr>
            <a:spLocks noGrp="1"/>
          </p:cNvSpPr>
          <p:nvPr>
            <p:ph sz="half" idx="10"/>
          </p:nvPr>
        </p:nvSpPr>
        <p:spPr>
          <a:xfrm>
            <a:off x="4750594" y="1491792"/>
            <a:ext cx="3764756" cy="2453327"/>
          </a:xfrm>
          <a:noFill/>
        </p:spPr>
        <p:txBody>
          <a:bodyPr lIns="144000" tIns="144000" rIns="144000" bIns="144000">
            <a:noAutofit/>
          </a:bodyPr>
          <a:lstStyle>
            <a:lvl1pPr marL="0" indent="0">
              <a:buNone/>
              <a:defRPr sz="1500">
                <a:solidFill>
                  <a:schemeClr val="tx1"/>
                </a:solidFill>
              </a:defRPr>
            </a:lvl1pPr>
          </a:lstStyle>
          <a:p>
            <a:pPr lvl="0"/>
            <a:r>
              <a:rPr lang="en-US"/>
              <a:t>Click to edit Master text styles</a:t>
            </a:r>
          </a:p>
        </p:txBody>
      </p:sp>
      <p:sp>
        <p:nvSpPr>
          <p:cNvPr id="4" name="Slide Number Placeholder 5">
            <a:extLst>
              <a:ext uri="{FF2B5EF4-FFF2-40B4-BE49-F238E27FC236}">
                <a16:creationId xmlns:a16="http://schemas.microsoft.com/office/drawing/2014/main" id="{B9416748-3994-A02A-B7BD-AC8272883D95}"/>
              </a:ext>
            </a:extLst>
          </p:cNvPr>
          <p:cNvSpPr>
            <a:spLocks noGrp="1"/>
          </p:cNvSpPr>
          <p:nvPr>
            <p:ph type="sldNum" sz="quarter" idx="4"/>
          </p:nvPr>
        </p:nvSpPr>
        <p:spPr>
          <a:xfrm>
            <a:off x="282141" y="4711552"/>
            <a:ext cx="2057400" cy="273844"/>
          </a:xfrm>
          <a:prstGeom prst="rect">
            <a:avLst/>
          </a:prstGeom>
        </p:spPr>
        <p:txBody>
          <a:bodyPr vert="horz" lIns="91440" tIns="45720" rIns="91440" bIns="45720" rtlCol="0" anchor="b"/>
          <a:lstStyle>
            <a:lvl1pPr algn="r">
              <a:defRPr sz="750">
                <a:solidFill>
                  <a:schemeClr val="tx1"/>
                </a:solidFill>
                <a:latin typeface="+mn-lt"/>
              </a:defRPr>
            </a:lvl1pPr>
          </a:lstStyle>
          <a:p>
            <a:pPr algn="l"/>
            <a:fld id="{768364BB-9B21-4D29-A19C-C6410F652861}" type="slidenum">
              <a:rPr lang="en-IE" smtClean="0"/>
              <a:pPr algn="l"/>
              <a:t>‹#›</a:t>
            </a:fld>
            <a:endParaRPr lang="en-IE"/>
          </a:p>
        </p:txBody>
      </p:sp>
    </p:spTree>
    <p:extLst>
      <p:ext uri="{BB962C8B-B14F-4D97-AF65-F5344CB8AC3E}">
        <p14:creationId xmlns:p14="http://schemas.microsoft.com/office/powerpoint/2010/main" val="2648337985"/>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Title and body text two columns blu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D1C58A-AE9F-CB20-353A-B865ECE39A5D}"/>
              </a:ext>
            </a:extLst>
          </p:cNvPr>
          <p:cNvSpPr>
            <a:spLocks noGrp="1"/>
          </p:cNvSpPr>
          <p:nvPr>
            <p:ph type="title"/>
          </p:nvPr>
        </p:nvSpPr>
        <p:spPr/>
        <p:txBody>
          <a:bodyPr/>
          <a:lstStyle/>
          <a:p>
            <a:r>
              <a:rPr lang="en-US"/>
              <a:t>Click to edit Master title style</a:t>
            </a:r>
            <a:endParaRPr lang="en-IE"/>
          </a:p>
        </p:txBody>
      </p:sp>
      <p:sp>
        <p:nvSpPr>
          <p:cNvPr id="3" name="Content Placeholder 2">
            <a:extLst>
              <a:ext uri="{FF2B5EF4-FFF2-40B4-BE49-F238E27FC236}">
                <a16:creationId xmlns:a16="http://schemas.microsoft.com/office/drawing/2014/main" id="{833F6E74-65E4-088E-A627-F5CBCB9E0FAA}"/>
              </a:ext>
            </a:extLst>
          </p:cNvPr>
          <p:cNvSpPr>
            <a:spLocks noGrp="1"/>
          </p:cNvSpPr>
          <p:nvPr>
            <p:ph sz="half" idx="1"/>
          </p:nvPr>
        </p:nvSpPr>
        <p:spPr>
          <a:xfrm>
            <a:off x="628650" y="1491792"/>
            <a:ext cx="3764756" cy="2453327"/>
          </a:xfrm>
          <a:solidFill>
            <a:schemeClr val="tx2"/>
          </a:solidFill>
        </p:spPr>
        <p:txBody>
          <a:bodyPr lIns="144000" tIns="144000" rIns="144000" bIns="144000">
            <a:noAutofit/>
          </a:bodyPr>
          <a:lstStyle>
            <a:lvl1pPr marL="0" indent="0">
              <a:buNone/>
              <a:defRPr sz="1500">
                <a:solidFill>
                  <a:schemeClr val="bg1"/>
                </a:solidFill>
              </a:defRPr>
            </a:lvl1pPr>
          </a:lstStyle>
          <a:p>
            <a:pPr lvl="0"/>
            <a:r>
              <a:rPr lang="en-US"/>
              <a:t>Click to edit Master text styles</a:t>
            </a:r>
          </a:p>
        </p:txBody>
      </p:sp>
      <p:sp>
        <p:nvSpPr>
          <p:cNvPr id="5" name="Content Placeholder 2">
            <a:extLst>
              <a:ext uri="{FF2B5EF4-FFF2-40B4-BE49-F238E27FC236}">
                <a16:creationId xmlns:a16="http://schemas.microsoft.com/office/drawing/2014/main" id="{DC0E4D59-AF6A-8993-094A-5A4FED57EA37}"/>
              </a:ext>
            </a:extLst>
          </p:cNvPr>
          <p:cNvSpPr>
            <a:spLocks noGrp="1"/>
          </p:cNvSpPr>
          <p:nvPr>
            <p:ph sz="half" idx="10"/>
          </p:nvPr>
        </p:nvSpPr>
        <p:spPr>
          <a:xfrm>
            <a:off x="4750594" y="1491792"/>
            <a:ext cx="3764756" cy="2453327"/>
          </a:xfrm>
          <a:solidFill>
            <a:schemeClr val="tx2"/>
          </a:solidFill>
        </p:spPr>
        <p:txBody>
          <a:bodyPr lIns="144000" tIns="144000" rIns="144000" bIns="144000">
            <a:noAutofit/>
          </a:bodyPr>
          <a:lstStyle>
            <a:lvl1pPr marL="0" indent="0">
              <a:buNone/>
              <a:defRPr sz="1500">
                <a:solidFill>
                  <a:schemeClr val="bg1"/>
                </a:solidFill>
              </a:defRPr>
            </a:lvl1pPr>
          </a:lstStyle>
          <a:p>
            <a:pPr lvl="0"/>
            <a:r>
              <a:rPr lang="en-US"/>
              <a:t>Click to edit Master text styles</a:t>
            </a:r>
          </a:p>
        </p:txBody>
      </p:sp>
      <p:sp>
        <p:nvSpPr>
          <p:cNvPr id="4" name="Slide Number Placeholder 5">
            <a:extLst>
              <a:ext uri="{FF2B5EF4-FFF2-40B4-BE49-F238E27FC236}">
                <a16:creationId xmlns:a16="http://schemas.microsoft.com/office/drawing/2014/main" id="{8C3588F2-1E00-50BC-0820-CB663EE9719E}"/>
              </a:ext>
            </a:extLst>
          </p:cNvPr>
          <p:cNvSpPr>
            <a:spLocks noGrp="1"/>
          </p:cNvSpPr>
          <p:nvPr>
            <p:ph type="sldNum" sz="quarter" idx="4"/>
          </p:nvPr>
        </p:nvSpPr>
        <p:spPr>
          <a:xfrm>
            <a:off x="282141" y="4711552"/>
            <a:ext cx="2057400" cy="273844"/>
          </a:xfrm>
          <a:prstGeom prst="rect">
            <a:avLst/>
          </a:prstGeom>
        </p:spPr>
        <p:txBody>
          <a:bodyPr vert="horz" lIns="91440" tIns="45720" rIns="91440" bIns="45720" rtlCol="0" anchor="b"/>
          <a:lstStyle>
            <a:lvl1pPr algn="r">
              <a:defRPr sz="750">
                <a:solidFill>
                  <a:schemeClr val="tx1"/>
                </a:solidFill>
                <a:latin typeface="+mn-lt"/>
              </a:defRPr>
            </a:lvl1pPr>
          </a:lstStyle>
          <a:p>
            <a:pPr algn="l"/>
            <a:fld id="{768364BB-9B21-4D29-A19C-C6410F652861}" type="slidenum">
              <a:rPr lang="en-IE" smtClean="0"/>
              <a:pPr algn="l"/>
              <a:t>‹#›</a:t>
            </a:fld>
            <a:endParaRPr lang="en-IE"/>
          </a:p>
        </p:txBody>
      </p:sp>
    </p:spTree>
    <p:extLst>
      <p:ext uri="{BB962C8B-B14F-4D97-AF65-F5344CB8AC3E}">
        <p14:creationId xmlns:p14="http://schemas.microsoft.com/office/powerpoint/2010/main" val="528320795"/>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Title and body text two columns with subtitl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D1C58A-AE9F-CB20-353A-B865ECE39A5D}"/>
              </a:ext>
            </a:extLst>
          </p:cNvPr>
          <p:cNvSpPr>
            <a:spLocks noGrp="1"/>
          </p:cNvSpPr>
          <p:nvPr>
            <p:ph type="title"/>
          </p:nvPr>
        </p:nvSpPr>
        <p:spPr/>
        <p:txBody>
          <a:bodyPr/>
          <a:lstStyle/>
          <a:p>
            <a:r>
              <a:rPr lang="en-US"/>
              <a:t>Click to edit Master title style</a:t>
            </a:r>
            <a:endParaRPr lang="en-IE"/>
          </a:p>
        </p:txBody>
      </p:sp>
      <p:sp>
        <p:nvSpPr>
          <p:cNvPr id="4" name="Content Placeholder 2">
            <a:extLst>
              <a:ext uri="{FF2B5EF4-FFF2-40B4-BE49-F238E27FC236}">
                <a16:creationId xmlns:a16="http://schemas.microsoft.com/office/drawing/2014/main" id="{E0920A60-FD35-93DC-D952-15BAEF0C0BB5}"/>
              </a:ext>
            </a:extLst>
          </p:cNvPr>
          <p:cNvSpPr>
            <a:spLocks noGrp="1"/>
          </p:cNvSpPr>
          <p:nvPr>
            <p:ph sz="half" idx="15" hasCustomPrompt="1"/>
          </p:nvPr>
        </p:nvSpPr>
        <p:spPr>
          <a:xfrm>
            <a:off x="628650" y="1521767"/>
            <a:ext cx="3764756" cy="345281"/>
          </a:xfrm>
          <a:solidFill>
            <a:schemeClr val="tx2"/>
          </a:solidFill>
          <a:ln w="12700" cap="rnd">
            <a:noFill/>
            <a:round/>
          </a:ln>
        </p:spPr>
        <p:style>
          <a:lnRef idx="2">
            <a:schemeClr val="accent1"/>
          </a:lnRef>
          <a:fillRef idx="1">
            <a:schemeClr val="lt1"/>
          </a:fillRef>
          <a:effectRef idx="0">
            <a:schemeClr val="accent1"/>
          </a:effectRef>
          <a:fontRef idx="minor">
            <a:schemeClr val="dk1"/>
          </a:fontRef>
        </p:style>
        <p:txBody>
          <a:bodyPr lIns="72000" tIns="72000" rIns="72000" bIns="72000">
            <a:noAutofit/>
          </a:bodyPr>
          <a:lstStyle>
            <a:lvl1pPr marL="0" indent="0">
              <a:buNone/>
              <a:defRPr sz="1800" b="1">
                <a:solidFill>
                  <a:schemeClr val="bg1"/>
                </a:solidFill>
              </a:defRPr>
            </a:lvl1pPr>
          </a:lstStyle>
          <a:p>
            <a:pPr lvl="0"/>
            <a:r>
              <a:rPr lang="en-US"/>
              <a:t>Click to add subtitle</a:t>
            </a:r>
          </a:p>
        </p:txBody>
      </p:sp>
      <p:sp>
        <p:nvSpPr>
          <p:cNvPr id="3" name="Content Placeholder 2">
            <a:extLst>
              <a:ext uri="{FF2B5EF4-FFF2-40B4-BE49-F238E27FC236}">
                <a16:creationId xmlns:a16="http://schemas.microsoft.com/office/drawing/2014/main" id="{833F6E74-65E4-088E-A627-F5CBCB9E0FAA}"/>
              </a:ext>
            </a:extLst>
          </p:cNvPr>
          <p:cNvSpPr>
            <a:spLocks noGrp="1"/>
          </p:cNvSpPr>
          <p:nvPr>
            <p:ph sz="half" idx="1"/>
          </p:nvPr>
        </p:nvSpPr>
        <p:spPr>
          <a:xfrm>
            <a:off x="628650" y="2043112"/>
            <a:ext cx="3764756" cy="1902006"/>
          </a:xfrm>
          <a:noFill/>
        </p:spPr>
        <p:txBody>
          <a:bodyPr lIns="144000" tIns="144000" rIns="144000" bIns="144000">
            <a:noAutofit/>
          </a:bodyPr>
          <a:lstStyle>
            <a:lvl1pPr marL="0" indent="0">
              <a:buNone/>
              <a:defRPr sz="1500">
                <a:solidFill>
                  <a:schemeClr val="tx1"/>
                </a:solidFill>
              </a:defRPr>
            </a:lvl1pPr>
          </a:lstStyle>
          <a:p>
            <a:pPr lvl="0"/>
            <a:r>
              <a:rPr lang="en-US"/>
              <a:t>Click to edit Master text styles</a:t>
            </a:r>
          </a:p>
        </p:txBody>
      </p:sp>
      <p:sp>
        <p:nvSpPr>
          <p:cNvPr id="7" name="Content Placeholder 2">
            <a:extLst>
              <a:ext uri="{FF2B5EF4-FFF2-40B4-BE49-F238E27FC236}">
                <a16:creationId xmlns:a16="http://schemas.microsoft.com/office/drawing/2014/main" id="{26B8E071-31DF-2C06-04A9-3BC538CDA6CD}"/>
              </a:ext>
            </a:extLst>
          </p:cNvPr>
          <p:cNvSpPr>
            <a:spLocks noGrp="1"/>
          </p:cNvSpPr>
          <p:nvPr>
            <p:ph sz="half" idx="17" hasCustomPrompt="1"/>
          </p:nvPr>
        </p:nvSpPr>
        <p:spPr>
          <a:xfrm>
            <a:off x="4750594" y="1521767"/>
            <a:ext cx="3764756" cy="345281"/>
          </a:xfrm>
          <a:solidFill>
            <a:schemeClr val="tx2"/>
          </a:solidFill>
          <a:ln w="12700" cap="rnd">
            <a:noFill/>
            <a:round/>
          </a:ln>
        </p:spPr>
        <p:style>
          <a:lnRef idx="2">
            <a:schemeClr val="accent1"/>
          </a:lnRef>
          <a:fillRef idx="1">
            <a:schemeClr val="lt1"/>
          </a:fillRef>
          <a:effectRef idx="0">
            <a:schemeClr val="accent1"/>
          </a:effectRef>
          <a:fontRef idx="minor">
            <a:schemeClr val="dk1"/>
          </a:fontRef>
        </p:style>
        <p:txBody>
          <a:bodyPr lIns="72000" tIns="72000" rIns="72000" bIns="72000">
            <a:noAutofit/>
          </a:bodyPr>
          <a:lstStyle>
            <a:lvl1pPr marL="0" indent="0">
              <a:buNone/>
              <a:defRPr sz="1800" b="1">
                <a:solidFill>
                  <a:schemeClr val="bg1"/>
                </a:solidFill>
              </a:defRPr>
            </a:lvl1pPr>
          </a:lstStyle>
          <a:p>
            <a:pPr lvl="0"/>
            <a:r>
              <a:rPr lang="en-US"/>
              <a:t>Click to add subtitle</a:t>
            </a:r>
          </a:p>
        </p:txBody>
      </p:sp>
      <p:sp>
        <p:nvSpPr>
          <p:cNvPr id="5" name="Content Placeholder 2">
            <a:extLst>
              <a:ext uri="{FF2B5EF4-FFF2-40B4-BE49-F238E27FC236}">
                <a16:creationId xmlns:a16="http://schemas.microsoft.com/office/drawing/2014/main" id="{118A63BF-772E-9151-C37F-6751BC1781DA}"/>
              </a:ext>
            </a:extLst>
          </p:cNvPr>
          <p:cNvSpPr>
            <a:spLocks noGrp="1"/>
          </p:cNvSpPr>
          <p:nvPr>
            <p:ph sz="half" idx="16"/>
          </p:nvPr>
        </p:nvSpPr>
        <p:spPr>
          <a:xfrm>
            <a:off x="4750594" y="2043112"/>
            <a:ext cx="3764756" cy="1902006"/>
          </a:xfrm>
          <a:noFill/>
        </p:spPr>
        <p:txBody>
          <a:bodyPr lIns="144000" tIns="144000" rIns="144000" bIns="144000">
            <a:noAutofit/>
          </a:bodyPr>
          <a:lstStyle>
            <a:lvl1pPr marL="0" indent="0">
              <a:buNone/>
              <a:defRPr sz="1500">
                <a:solidFill>
                  <a:schemeClr val="tx1"/>
                </a:solidFill>
              </a:defRPr>
            </a:lvl1pPr>
          </a:lstStyle>
          <a:p>
            <a:pPr lvl="0"/>
            <a:r>
              <a:rPr lang="en-US"/>
              <a:t>Click to edit Master text styles</a:t>
            </a:r>
          </a:p>
        </p:txBody>
      </p:sp>
      <p:sp>
        <p:nvSpPr>
          <p:cNvPr id="6" name="Slide Number Placeholder 5">
            <a:extLst>
              <a:ext uri="{FF2B5EF4-FFF2-40B4-BE49-F238E27FC236}">
                <a16:creationId xmlns:a16="http://schemas.microsoft.com/office/drawing/2014/main" id="{A10AA9BB-29EC-79EA-02CA-8452ADF649A1}"/>
              </a:ext>
            </a:extLst>
          </p:cNvPr>
          <p:cNvSpPr>
            <a:spLocks noGrp="1"/>
          </p:cNvSpPr>
          <p:nvPr>
            <p:ph type="sldNum" sz="quarter" idx="4"/>
          </p:nvPr>
        </p:nvSpPr>
        <p:spPr>
          <a:xfrm>
            <a:off x="282141" y="4711552"/>
            <a:ext cx="2057400" cy="273844"/>
          </a:xfrm>
          <a:prstGeom prst="rect">
            <a:avLst/>
          </a:prstGeom>
        </p:spPr>
        <p:txBody>
          <a:bodyPr vert="horz" lIns="91440" tIns="45720" rIns="91440" bIns="45720" rtlCol="0" anchor="b"/>
          <a:lstStyle>
            <a:lvl1pPr algn="r">
              <a:defRPr sz="750">
                <a:solidFill>
                  <a:schemeClr val="tx1"/>
                </a:solidFill>
                <a:latin typeface="+mn-lt"/>
              </a:defRPr>
            </a:lvl1pPr>
          </a:lstStyle>
          <a:p>
            <a:pPr algn="l"/>
            <a:fld id="{768364BB-9B21-4D29-A19C-C6410F652861}" type="slidenum">
              <a:rPr lang="en-IE" smtClean="0"/>
              <a:pPr algn="l"/>
              <a:t>‹#›</a:t>
            </a:fld>
            <a:endParaRPr lang="en-IE"/>
          </a:p>
        </p:txBody>
      </p:sp>
    </p:spTree>
    <p:extLst>
      <p:ext uri="{BB962C8B-B14F-4D97-AF65-F5344CB8AC3E}">
        <p14:creationId xmlns:p14="http://schemas.microsoft.com/office/powerpoint/2010/main" val="52648978"/>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Title and body text two columns with subtitles blue">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EB8270BF-EE76-A46D-95E0-FB617042099B}"/>
              </a:ext>
            </a:extLst>
          </p:cNvPr>
          <p:cNvSpPr>
            <a:spLocks/>
          </p:cNvSpPr>
          <p:nvPr/>
        </p:nvSpPr>
        <p:spPr>
          <a:xfrm>
            <a:off x="0" y="1115983"/>
            <a:ext cx="9144000" cy="4027517"/>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E" sz="1350">
              <a:solidFill>
                <a:schemeClr val="tx2"/>
              </a:solidFill>
            </a:endParaRPr>
          </a:p>
        </p:txBody>
      </p:sp>
      <p:sp>
        <p:nvSpPr>
          <p:cNvPr id="2" name="Title 1">
            <a:extLst>
              <a:ext uri="{FF2B5EF4-FFF2-40B4-BE49-F238E27FC236}">
                <a16:creationId xmlns:a16="http://schemas.microsoft.com/office/drawing/2014/main" id="{85D1C58A-AE9F-CB20-353A-B865ECE39A5D}"/>
              </a:ext>
            </a:extLst>
          </p:cNvPr>
          <p:cNvSpPr>
            <a:spLocks noGrp="1"/>
          </p:cNvSpPr>
          <p:nvPr>
            <p:ph type="title"/>
          </p:nvPr>
        </p:nvSpPr>
        <p:spPr/>
        <p:txBody>
          <a:bodyPr/>
          <a:lstStyle/>
          <a:p>
            <a:r>
              <a:rPr lang="en-US"/>
              <a:t>Click to edit Master title style</a:t>
            </a:r>
            <a:endParaRPr lang="en-IE"/>
          </a:p>
        </p:txBody>
      </p:sp>
      <p:sp>
        <p:nvSpPr>
          <p:cNvPr id="4" name="Content Placeholder 2">
            <a:extLst>
              <a:ext uri="{FF2B5EF4-FFF2-40B4-BE49-F238E27FC236}">
                <a16:creationId xmlns:a16="http://schemas.microsoft.com/office/drawing/2014/main" id="{E0920A60-FD35-93DC-D952-15BAEF0C0BB5}"/>
              </a:ext>
            </a:extLst>
          </p:cNvPr>
          <p:cNvSpPr>
            <a:spLocks noGrp="1"/>
          </p:cNvSpPr>
          <p:nvPr>
            <p:ph sz="half" idx="15" hasCustomPrompt="1"/>
          </p:nvPr>
        </p:nvSpPr>
        <p:spPr>
          <a:xfrm>
            <a:off x="628650" y="1521767"/>
            <a:ext cx="3764756" cy="345281"/>
          </a:xfrm>
          <a:solidFill>
            <a:schemeClr val="accent5"/>
          </a:solidFill>
          <a:ln w="12700" cap="rnd">
            <a:noFill/>
            <a:round/>
          </a:ln>
        </p:spPr>
        <p:style>
          <a:lnRef idx="2">
            <a:schemeClr val="accent1"/>
          </a:lnRef>
          <a:fillRef idx="1">
            <a:schemeClr val="lt1"/>
          </a:fillRef>
          <a:effectRef idx="0">
            <a:schemeClr val="accent1"/>
          </a:effectRef>
          <a:fontRef idx="minor">
            <a:schemeClr val="dk1"/>
          </a:fontRef>
        </p:style>
        <p:txBody>
          <a:bodyPr lIns="72000" tIns="72000" rIns="72000" bIns="72000">
            <a:noAutofit/>
          </a:bodyPr>
          <a:lstStyle>
            <a:lvl1pPr marL="0" indent="0">
              <a:buNone/>
              <a:defRPr sz="1800" b="1">
                <a:solidFill>
                  <a:schemeClr val="tx2"/>
                </a:solidFill>
              </a:defRPr>
            </a:lvl1pPr>
          </a:lstStyle>
          <a:p>
            <a:pPr lvl="0"/>
            <a:r>
              <a:rPr lang="en-US"/>
              <a:t>Click to add subtitle</a:t>
            </a:r>
          </a:p>
        </p:txBody>
      </p:sp>
      <p:sp>
        <p:nvSpPr>
          <p:cNvPr id="3" name="Content Placeholder 2">
            <a:extLst>
              <a:ext uri="{FF2B5EF4-FFF2-40B4-BE49-F238E27FC236}">
                <a16:creationId xmlns:a16="http://schemas.microsoft.com/office/drawing/2014/main" id="{833F6E74-65E4-088E-A627-F5CBCB9E0FAA}"/>
              </a:ext>
            </a:extLst>
          </p:cNvPr>
          <p:cNvSpPr>
            <a:spLocks noGrp="1"/>
          </p:cNvSpPr>
          <p:nvPr>
            <p:ph sz="half" idx="1"/>
          </p:nvPr>
        </p:nvSpPr>
        <p:spPr>
          <a:xfrm>
            <a:off x="628650" y="2043112"/>
            <a:ext cx="3764756" cy="1902006"/>
          </a:xfrm>
          <a:noFill/>
        </p:spPr>
        <p:txBody>
          <a:bodyPr lIns="144000" tIns="144000" rIns="144000" bIns="144000">
            <a:noAutofit/>
          </a:bodyPr>
          <a:lstStyle>
            <a:lvl1pPr marL="0" indent="0">
              <a:buNone/>
              <a:defRPr sz="1500">
                <a:solidFill>
                  <a:schemeClr val="bg1"/>
                </a:solidFill>
              </a:defRPr>
            </a:lvl1pPr>
          </a:lstStyle>
          <a:p>
            <a:pPr lvl="0"/>
            <a:r>
              <a:rPr lang="en-US"/>
              <a:t>Click to edit Master text styles</a:t>
            </a:r>
          </a:p>
        </p:txBody>
      </p:sp>
      <p:sp>
        <p:nvSpPr>
          <p:cNvPr id="7" name="Content Placeholder 2">
            <a:extLst>
              <a:ext uri="{FF2B5EF4-FFF2-40B4-BE49-F238E27FC236}">
                <a16:creationId xmlns:a16="http://schemas.microsoft.com/office/drawing/2014/main" id="{26B8E071-31DF-2C06-04A9-3BC538CDA6CD}"/>
              </a:ext>
            </a:extLst>
          </p:cNvPr>
          <p:cNvSpPr>
            <a:spLocks noGrp="1"/>
          </p:cNvSpPr>
          <p:nvPr>
            <p:ph sz="half" idx="17" hasCustomPrompt="1"/>
          </p:nvPr>
        </p:nvSpPr>
        <p:spPr>
          <a:xfrm>
            <a:off x="4750594" y="1521767"/>
            <a:ext cx="3764756" cy="345281"/>
          </a:xfrm>
          <a:solidFill>
            <a:schemeClr val="accent5"/>
          </a:solidFill>
          <a:ln w="12700" cap="rnd">
            <a:noFill/>
            <a:round/>
          </a:ln>
        </p:spPr>
        <p:style>
          <a:lnRef idx="2">
            <a:schemeClr val="accent1"/>
          </a:lnRef>
          <a:fillRef idx="1">
            <a:schemeClr val="lt1"/>
          </a:fillRef>
          <a:effectRef idx="0">
            <a:schemeClr val="accent1"/>
          </a:effectRef>
          <a:fontRef idx="minor">
            <a:schemeClr val="dk1"/>
          </a:fontRef>
        </p:style>
        <p:txBody>
          <a:bodyPr lIns="72000" tIns="72000" rIns="72000" bIns="72000">
            <a:noAutofit/>
          </a:bodyPr>
          <a:lstStyle>
            <a:lvl1pPr marL="0" indent="0">
              <a:buNone/>
              <a:defRPr sz="1800" b="1">
                <a:solidFill>
                  <a:schemeClr val="tx2"/>
                </a:solidFill>
              </a:defRPr>
            </a:lvl1pPr>
          </a:lstStyle>
          <a:p>
            <a:pPr lvl="0"/>
            <a:r>
              <a:rPr lang="en-US"/>
              <a:t>Click to add subtitle</a:t>
            </a:r>
          </a:p>
        </p:txBody>
      </p:sp>
      <p:sp>
        <p:nvSpPr>
          <p:cNvPr id="5" name="Content Placeholder 2">
            <a:extLst>
              <a:ext uri="{FF2B5EF4-FFF2-40B4-BE49-F238E27FC236}">
                <a16:creationId xmlns:a16="http://schemas.microsoft.com/office/drawing/2014/main" id="{118A63BF-772E-9151-C37F-6751BC1781DA}"/>
              </a:ext>
            </a:extLst>
          </p:cNvPr>
          <p:cNvSpPr>
            <a:spLocks noGrp="1"/>
          </p:cNvSpPr>
          <p:nvPr>
            <p:ph sz="half" idx="16"/>
          </p:nvPr>
        </p:nvSpPr>
        <p:spPr>
          <a:xfrm>
            <a:off x="4750594" y="2043112"/>
            <a:ext cx="3764756" cy="1902006"/>
          </a:xfrm>
          <a:noFill/>
        </p:spPr>
        <p:txBody>
          <a:bodyPr lIns="144000" tIns="144000" rIns="144000" bIns="144000">
            <a:noAutofit/>
          </a:bodyPr>
          <a:lstStyle>
            <a:lvl1pPr marL="0" indent="0">
              <a:buNone/>
              <a:defRPr sz="1500">
                <a:solidFill>
                  <a:schemeClr val="bg1"/>
                </a:solidFill>
              </a:defRPr>
            </a:lvl1pPr>
          </a:lstStyle>
          <a:p>
            <a:pPr lvl="0"/>
            <a:r>
              <a:rPr lang="en-US"/>
              <a:t>Click to edit Master text styles</a:t>
            </a:r>
          </a:p>
        </p:txBody>
      </p:sp>
      <p:pic>
        <p:nvPicPr>
          <p:cNvPr id="10" name="Picture 9" descr="A blue flag with yellow stars and stripes&#10;&#10;Description automatically generated">
            <a:extLst>
              <a:ext uri="{FF2B5EF4-FFF2-40B4-BE49-F238E27FC236}">
                <a16:creationId xmlns:a16="http://schemas.microsoft.com/office/drawing/2014/main" id="{7262511B-BA2E-7984-66D6-B5152DA09D7B}"/>
              </a:ext>
            </a:extLst>
          </p:cNvPr>
          <p:cNvPicPr>
            <a:picLocks noChangeAspect="1"/>
          </p:cNvPicPr>
          <p:nvPr/>
        </p:nvPicPr>
        <p:blipFill>
          <a:blip r:embed="rId2"/>
          <a:stretch>
            <a:fillRect/>
          </a:stretch>
        </p:blipFill>
        <p:spPr>
          <a:xfrm>
            <a:off x="8044327" y="4425762"/>
            <a:ext cx="943400" cy="572400"/>
          </a:xfrm>
          <a:prstGeom prst="rect">
            <a:avLst/>
          </a:prstGeom>
        </p:spPr>
      </p:pic>
      <p:pic>
        <p:nvPicPr>
          <p:cNvPr id="11" name="Picture 10" descr="A blue flag with yellow stars and stripes&#10;&#10;Description automatically generated">
            <a:extLst>
              <a:ext uri="{FF2B5EF4-FFF2-40B4-BE49-F238E27FC236}">
                <a16:creationId xmlns:a16="http://schemas.microsoft.com/office/drawing/2014/main" id="{DB557BE9-B8DC-E601-A0F8-16CD84F91810}"/>
              </a:ext>
            </a:extLst>
          </p:cNvPr>
          <p:cNvPicPr>
            <a:picLocks noChangeAspect="1"/>
          </p:cNvPicPr>
          <p:nvPr userDrawn="1"/>
        </p:nvPicPr>
        <p:blipFill>
          <a:blip r:embed="rId2"/>
          <a:stretch>
            <a:fillRect/>
          </a:stretch>
        </p:blipFill>
        <p:spPr>
          <a:xfrm>
            <a:off x="8044327" y="4425762"/>
            <a:ext cx="943400" cy="572400"/>
          </a:xfrm>
          <a:prstGeom prst="rect">
            <a:avLst/>
          </a:prstGeom>
        </p:spPr>
      </p:pic>
      <p:sp>
        <p:nvSpPr>
          <p:cNvPr id="9" name="Slide Number Placeholder 5">
            <a:extLst>
              <a:ext uri="{FF2B5EF4-FFF2-40B4-BE49-F238E27FC236}">
                <a16:creationId xmlns:a16="http://schemas.microsoft.com/office/drawing/2014/main" id="{BEFAC7B2-2467-A72A-9F8B-CBD0FB0D8C42}"/>
              </a:ext>
            </a:extLst>
          </p:cNvPr>
          <p:cNvSpPr>
            <a:spLocks noGrp="1"/>
          </p:cNvSpPr>
          <p:nvPr>
            <p:ph type="sldNum" sz="quarter" idx="4"/>
          </p:nvPr>
        </p:nvSpPr>
        <p:spPr>
          <a:xfrm>
            <a:off x="282141" y="4711552"/>
            <a:ext cx="2057400" cy="273844"/>
          </a:xfrm>
          <a:prstGeom prst="rect">
            <a:avLst/>
          </a:prstGeom>
        </p:spPr>
        <p:txBody>
          <a:bodyPr vert="horz" lIns="91440" tIns="45720" rIns="91440" bIns="45720" rtlCol="0" anchor="b"/>
          <a:lstStyle>
            <a:lvl1pPr algn="r">
              <a:defRPr sz="750">
                <a:solidFill>
                  <a:schemeClr val="bg1"/>
                </a:solidFill>
                <a:latin typeface="+mn-lt"/>
              </a:defRPr>
            </a:lvl1pPr>
          </a:lstStyle>
          <a:p>
            <a:pPr algn="l"/>
            <a:fld id="{768364BB-9B21-4D29-A19C-C6410F652861}" type="slidenum">
              <a:rPr lang="en-IE" smtClean="0"/>
              <a:pPr algn="l"/>
              <a:t>‹#›</a:t>
            </a:fld>
            <a:endParaRPr lang="en-IE"/>
          </a:p>
        </p:txBody>
      </p:sp>
    </p:spTree>
    <p:extLst>
      <p:ext uri="{BB962C8B-B14F-4D97-AF65-F5344CB8AC3E}">
        <p14:creationId xmlns:p14="http://schemas.microsoft.com/office/powerpoint/2010/main" val="4145350737"/>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Title and body text two columns colured backgroun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9ECCFB38-4E5F-126B-A212-3CBD911F9836}"/>
              </a:ext>
            </a:extLst>
          </p:cNvPr>
          <p:cNvSpPr>
            <a:spLocks noGrp="1" noRot="1" noMove="1" noResize="1" noEditPoints="1" noAdjustHandles="1" noChangeArrowheads="1" noChangeShapeType="1"/>
          </p:cNvSpPr>
          <p:nvPr/>
        </p:nvSpPr>
        <p:spPr>
          <a:xfrm>
            <a:off x="0" y="1115983"/>
            <a:ext cx="9144000" cy="4027517"/>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E" sz="1350"/>
          </a:p>
        </p:txBody>
      </p:sp>
      <p:sp>
        <p:nvSpPr>
          <p:cNvPr id="2" name="Title 1">
            <a:extLst>
              <a:ext uri="{FF2B5EF4-FFF2-40B4-BE49-F238E27FC236}">
                <a16:creationId xmlns:a16="http://schemas.microsoft.com/office/drawing/2014/main" id="{85D1C58A-AE9F-CB20-353A-B865ECE39A5D}"/>
              </a:ext>
            </a:extLst>
          </p:cNvPr>
          <p:cNvSpPr>
            <a:spLocks noGrp="1"/>
          </p:cNvSpPr>
          <p:nvPr>
            <p:ph type="title"/>
          </p:nvPr>
        </p:nvSpPr>
        <p:spPr/>
        <p:txBody>
          <a:bodyPr/>
          <a:lstStyle/>
          <a:p>
            <a:r>
              <a:rPr lang="en-US"/>
              <a:t>Click to edit Master title style</a:t>
            </a:r>
            <a:endParaRPr lang="en-IE"/>
          </a:p>
        </p:txBody>
      </p:sp>
      <p:sp>
        <p:nvSpPr>
          <p:cNvPr id="3" name="Content Placeholder 2">
            <a:extLst>
              <a:ext uri="{FF2B5EF4-FFF2-40B4-BE49-F238E27FC236}">
                <a16:creationId xmlns:a16="http://schemas.microsoft.com/office/drawing/2014/main" id="{833F6E74-65E4-088E-A627-F5CBCB9E0FAA}"/>
              </a:ext>
            </a:extLst>
          </p:cNvPr>
          <p:cNvSpPr>
            <a:spLocks noGrp="1"/>
          </p:cNvSpPr>
          <p:nvPr>
            <p:ph sz="half" idx="1"/>
          </p:nvPr>
        </p:nvSpPr>
        <p:spPr>
          <a:xfrm>
            <a:off x="628650" y="1940313"/>
            <a:ext cx="3502877" cy="2174488"/>
          </a:xfrm>
          <a:noFill/>
        </p:spPr>
        <p:txBody>
          <a:bodyPr>
            <a:noAutofit/>
          </a:bodyPr>
          <a:lstStyle>
            <a:lvl1pPr marL="0" indent="0">
              <a:buNone/>
              <a:defRPr sz="1500">
                <a:solidFill>
                  <a:schemeClr val="bg1"/>
                </a:solidFill>
              </a:defRPr>
            </a:lvl1pPr>
          </a:lstStyle>
          <a:p>
            <a:pPr lvl="0"/>
            <a:r>
              <a:rPr lang="en-US"/>
              <a:t>Click to edit Master text styles</a:t>
            </a:r>
          </a:p>
        </p:txBody>
      </p:sp>
      <p:sp>
        <p:nvSpPr>
          <p:cNvPr id="4" name="Content Placeholder 3">
            <a:extLst>
              <a:ext uri="{FF2B5EF4-FFF2-40B4-BE49-F238E27FC236}">
                <a16:creationId xmlns:a16="http://schemas.microsoft.com/office/drawing/2014/main" id="{AE36259F-C7F8-D963-3DFD-92239B4D3FA2}"/>
              </a:ext>
            </a:extLst>
          </p:cNvPr>
          <p:cNvSpPr>
            <a:spLocks noGrp="1"/>
          </p:cNvSpPr>
          <p:nvPr>
            <p:ph sz="half" idx="2"/>
          </p:nvPr>
        </p:nvSpPr>
        <p:spPr>
          <a:xfrm>
            <a:off x="4629150" y="1940313"/>
            <a:ext cx="3886200" cy="2174488"/>
          </a:xfrm>
          <a:noFill/>
        </p:spPr>
        <p:txBody>
          <a:bodyPr>
            <a:noAutofit/>
          </a:bodyPr>
          <a:lstStyle>
            <a:lvl1pPr marL="0" indent="0">
              <a:buNone/>
              <a:defRPr sz="1500">
                <a:solidFill>
                  <a:schemeClr val="bg1"/>
                </a:solidFill>
              </a:defRPr>
            </a:lvl1pPr>
          </a:lstStyle>
          <a:p>
            <a:pPr lvl="0"/>
            <a:r>
              <a:rPr lang="en-US"/>
              <a:t>Click to edit Master text styles</a:t>
            </a:r>
          </a:p>
        </p:txBody>
      </p:sp>
      <p:pic>
        <p:nvPicPr>
          <p:cNvPr id="8" name="Picture 7" descr="A blue flag with yellow stars and stripes&#10;&#10;Description automatically generated">
            <a:extLst>
              <a:ext uri="{FF2B5EF4-FFF2-40B4-BE49-F238E27FC236}">
                <a16:creationId xmlns:a16="http://schemas.microsoft.com/office/drawing/2014/main" id="{02BBC44B-821F-21ED-8464-03E521698175}"/>
              </a:ext>
            </a:extLst>
          </p:cNvPr>
          <p:cNvPicPr>
            <a:picLocks noChangeAspect="1"/>
          </p:cNvPicPr>
          <p:nvPr/>
        </p:nvPicPr>
        <p:blipFill>
          <a:blip r:embed="rId2"/>
          <a:stretch>
            <a:fillRect/>
          </a:stretch>
        </p:blipFill>
        <p:spPr>
          <a:xfrm>
            <a:off x="8044327" y="4425762"/>
            <a:ext cx="943400" cy="572400"/>
          </a:xfrm>
          <a:prstGeom prst="rect">
            <a:avLst/>
          </a:prstGeom>
        </p:spPr>
      </p:pic>
      <p:pic>
        <p:nvPicPr>
          <p:cNvPr id="9" name="Picture 8" descr="A blue flag with yellow stars and stripes&#10;&#10;Description automatically generated">
            <a:extLst>
              <a:ext uri="{FF2B5EF4-FFF2-40B4-BE49-F238E27FC236}">
                <a16:creationId xmlns:a16="http://schemas.microsoft.com/office/drawing/2014/main" id="{22B46DA4-CDDE-5119-2E5E-AD549E681C9C}"/>
              </a:ext>
            </a:extLst>
          </p:cNvPr>
          <p:cNvPicPr>
            <a:picLocks noChangeAspect="1"/>
          </p:cNvPicPr>
          <p:nvPr userDrawn="1"/>
        </p:nvPicPr>
        <p:blipFill>
          <a:blip r:embed="rId2"/>
          <a:stretch>
            <a:fillRect/>
          </a:stretch>
        </p:blipFill>
        <p:spPr>
          <a:xfrm>
            <a:off x="8044327" y="4425762"/>
            <a:ext cx="943400" cy="572400"/>
          </a:xfrm>
          <a:prstGeom prst="rect">
            <a:avLst/>
          </a:prstGeom>
        </p:spPr>
      </p:pic>
      <p:sp>
        <p:nvSpPr>
          <p:cNvPr id="5" name="Slide Number Placeholder 5">
            <a:extLst>
              <a:ext uri="{FF2B5EF4-FFF2-40B4-BE49-F238E27FC236}">
                <a16:creationId xmlns:a16="http://schemas.microsoft.com/office/drawing/2014/main" id="{4A321162-C08B-5D98-4E1F-FE50C321D819}"/>
              </a:ext>
            </a:extLst>
          </p:cNvPr>
          <p:cNvSpPr>
            <a:spLocks noGrp="1"/>
          </p:cNvSpPr>
          <p:nvPr>
            <p:ph type="sldNum" sz="quarter" idx="4"/>
          </p:nvPr>
        </p:nvSpPr>
        <p:spPr>
          <a:xfrm>
            <a:off x="282141" y="4711552"/>
            <a:ext cx="2057400" cy="273844"/>
          </a:xfrm>
          <a:prstGeom prst="rect">
            <a:avLst/>
          </a:prstGeom>
        </p:spPr>
        <p:txBody>
          <a:bodyPr vert="horz" lIns="91440" tIns="45720" rIns="91440" bIns="45720" rtlCol="0" anchor="b"/>
          <a:lstStyle>
            <a:lvl1pPr algn="r">
              <a:defRPr sz="750">
                <a:solidFill>
                  <a:schemeClr val="bg1"/>
                </a:solidFill>
                <a:latin typeface="+mn-lt"/>
              </a:defRPr>
            </a:lvl1pPr>
          </a:lstStyle>
          <a:p>
            <a:pPr algn="l"/>
            <a:fld id="{768364BB-9B21-4D29-A19C-C6410F652861}" type="slidenum">
              <a:rPr lang="en-IE" smtClean="0"/>
              <a:pPr algn="l"/>
              <a:t>‹#›</a:t>
            </a:fld>
            <a:endParaRPr lang="en-IE"/>
          </a:p>
        </p:txBody>
      </p:sp>
    </p:spTree>
    <p:extLst>
      <p:ext uri="{BB962C8B-B14F-4D97-AF65-F5344CB8AC3E}">
        <p14:creationId xmlns:p14="http://schemas.microsoft.com/office/powerpoint/2010/main" val="496701640"/>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Title and body text three columns blu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D1C58A-AE9F-CB20-353A-B865ECE39A5D}"/>
              </a:ext>
            </a:extLst>
          </p:cNvPr>
          <p:cNvSpPr>
            <a:spLocks noGrp="1"/>
          </p:cNvSpPr>
          <p:nvPr>
            <p:ph type="title"/>
          </p:nvPr>
        </p:nvSpPr>
        <p:spPr/>
        <p:txBody>
          <a:bodyPr>
            <a:noAutofit/>
          </a:bodyPr>
          <a:lstStyle/>
          <a:p>
            <a:r>
              <a:rPr lang="en-US"/>
              <a:t>Click to edit Master title style</a:t>
            </a:r>
            <a:endParaRPr lang="en-IE"/>
          </a:p>
        </p:txBody>
      </p:sp>
      <p:sp>
        <p:nvSpPr>
          <p:cNvPr id="3" name="Content Placeholder 2">
            <a:extLst>
              <a:ext uri="{FF2B5EF4-FFF2-40B4-BE49-F238E27FC236}">
                <a16:creationId xmlns:a16="http://schemas.microsoft.com/office/drawing/2014/main" id="{833F6E74-65E4-088E-A627-F5CBCB9E0FAA}"/>
              </a:ext>
            </a:extLst>
          </p:cNvPr>
          <p:cNvSpPr>
            <a:spLocks noGrp="1"/>
          </p:cNvSpPr>
          <p:nvPr>
            <p:ph sz="half" idx="1"/>
          </p:nvPr>
        </p:nvSpPr>
        <p:spPr>
          <a:xfrm>
            <a:off x="628650" y="1491792"/>
            <a:ext cx="2291303" cy="2474536"/>
          </a:xfrm>
          <a:solidFill>
            <a:schemeClr val="tx2"/>
          </a:solidFill>
        </p:spPr>
        <p:txBody>
          <a:bodyPr>
            <a:noAutofit/>
          </a:bodyPr>
          <a:lstStyle>
            <a:lvl1pPr marL="0" indent="0">
              <a:buNone/>
              <a:defRPr sz="1500">
                <a:solidFill>
                  <a:schemeClr val="bg1"/>
                </a:solidFill>
              </a:defRPr>
            </a:lvl1pPr>
          </a:lstStyle>
          <a:p>
            <a:pPr lvl="0"/>
            <a:r>
              <a:rPr lang="en-US"/>
              <a:t>Click to edit Master text styles</a:t>
            </a:r>
          </a:p>
        </p:txBody>
      </p:sp>
      <p:sp>
        <p:nvSpPr>
          <p:cNvPr id="7" name="Content Placeholder 2">
            <a:extLst>
              <a:ext uri="{FF2B5EF4-FFF2-40B4-BE49-F238E27FC236}">
                <a16:creationId xmlns:a16="http://schemas.microsoft.com/office/drawing/2014/main" id="{11A8786C-FCBD-3783-706E-0CBF5B0343E3}"/>
              </a:ext>
            </a:extLst>
          </p:cNvPr>
          <p:cNvSpPr>
            <a:spLocks noGrp="1"/>
          </p:cNvSpPr>
          <p:nvPr>
            <p:ph sz="half" idx="10"/>
          </p:nvPr>
        </p:nvSpPr>
        <p:spPr>
          <a:xfrm>
            <a:off x="3472100" y="1491792"/>
            <a:ext cx="2292300" cy="2474536"/>
          </a:xfrm>
          <a:solidFill>
            <a:schemeClr val="tx2"/>
          </a:solidFill>
        </p:spPr>
        <p:txBody>
          <a:bodyPr>
            <a:noAutofit/>
          </a:bodyPr>
          <a:lstStyle>
            <a:lvl1pPr marL="0" indent="0">
              <a:buNone/>
              <a:defRPr sz="1500">
                <a:solidFill>
                  <a:schemeClr val="bg1"/>
                </a:solidFill>
              </a:defRPr>
            </a:lvl1pPr>
          </a:lstStyle>
          <a:p>
            <a:pPr lvl="0"/>
            <a:r>
              <a:rPr lang="en-US"/>
              <a:t>Click to edit Master text styles</a:t>
            </a:r>
          </a:p>
        </p:txBody>
      </p:sp>
      <p:sp>
        <p:nvSpPr>
          <p:cNvPr id="12" name="Content Placeholder 2">
            <a:extLst>
              <a:ext uri="{FF2B5EF4-FFF2-40B4-BE49-F238E27FC236}">
                <a16:creationId xmlns:a16="http://schemas.microsoft.com/office/drawing/2014/main" id="{F4DC31AC-D39C-A8A3-ED76-D3399E224DE3}"/>
              </a:ext>
            </a:extLst>
          </p:cNvPr>
          <p:cNvSpPr>
            <a:spLocks noGrp="1"/>
          </p:cNvSpPr>
          <p:nvPr>
            <p:ph sz="half" idx="11"/>
          </p:nvPr>
        </p:nvSpPr>
        <p:spPr>
          <a:xfrm>
            <a:off x="6223050" y="1491792"/>
            <a:ext cx="2292300" cy="2474536"/>
          </a:xfrm>
          <a:solidFill>
            <a:schemeClr val="tx2"/>
          </a:solidFill>
        </p:spPr>
        <p:txBody>
          <a:bodyPr>
            <a:noAutofit/>
          </a:bodyPr>
          <a:lstStyle>
            <a:lvl1pPr marL="0" indent="0">
              <a:buNone/>
              <a:defRPr sz="1500">
                <a:solidFill>
                  <a:schemeClr val="bg1"/>
                </a:solidFill>
              </a:defRPr>
            </a:lvl1pPr>
          </a:lstStyle>
          <a:p>
            <a:pPr lvl="0"/>
            <a:r>
              <a:rPr lang="en-US"/>
              <a:t>Click to edit Master text styles</a:t>
            </a:r>
          </a:p>
        </p:txBody>
      </p:sp>
      <p:sp>
        <p:nvSpPr>
          <p:cNvPr id="5" name="Slide Number Placeholder 5">
            <a:extLst>
              <a:ext uri="{FF2B5EF4-FFF2-40B4-BE49-F238E27FC236}">
                <a16:creationId xmlns:a16="http://schemas.microsoft.com/office/drawing/2014/main" id="{6D635DEE-A882-2487-2337-D6BB66A7AF82}"/>
              </a:ext>
            </a:extLst>
          </p:cNvPr>
          <p:cNvSpPr>
            <a:spLocks noGrp="1"/>
          </p:cNvSpPr>
          <p:nvPr>
            <p:ph type="sldNum" sz="quarter" idx="4"/>
          </p:nvPr>
        </p:nvSpPr>
        <p:spPr>
          <a:xfrm>
            <a:off x="282141" y="4711552"/>
            <a:ext cx="2057400" cy="273844"/>
          </a:xfrm>
          <a:prstGeom prst="rect">
            <a:avLst/>
          </a:prstGeom>
        </p:spPr>
        <p:txBody>
          <a:bodyPr vert="horz" lIns="91440" tIns="45720" rIns="91440" bIns="45720" rtlCol="0" anchor="b"/>
          <a:lstStyle>
            <a:lvl1pPr algn="r">
              <a:defRPr sz="750">
                <a:solidFill>
                  <a:schemeClr val="tx1"/>
                </a:solidFill>
                <a:latin typeface="+mn-lt"/>
              </a:defRPr>
            </a:lvl1pPr>
          </a:lstStyle>
          <a:p>
            <a:pPr algn="l"/>
            <a:fld id="{768364BB-9B21-4D29-A19C-C6410F652861}" type="slidenum">
              <a:rPr lang="en-IE" smtClean="0"/>
              <a:pPr algn="l"/>
              <a:t>‹#›</a:t>
            </a:fld>
            <a:endParaRPr lang="en-IE"/>
          </a:p>
        </p:txBody>
      </p:sp>
    </p:spTree>
    <p:extLst>
      <p:ext uri="{BB962C8B-B14F-4D97-AF65-F5344CB8AC3E}">
        <p14:creationId xmlns:p14="http://schemas.microsoft.com/office/powerpoint/2010/main" val="1287217411"/>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itle and body text three columns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D1C58A-AE9F-CB20-353A-B865ECE39A5D}"/>
              </a:ext>
            </a:extLst>
          </p:cNvPr>
          <p:cNvSpPr>
            <a:spLocks noGrp="1"/>
          </p:cNvSpPr>
          <p:nvPr>
            <p:ph type="title"/>
          </p:nvPr>
        </p:nvSpPr>
        <p:spPr/>
        <p:txBody>
          <a:bodyPr>
            <a:noAutofit/>
          </a:bodyPr>
          <a:lstStyle/>
          <a:p>
            <a:r>
              <a:rPr lang="en-US"/>
              <a:t>Click to edit Master title style</a:t>
            </a:r>
            <a:endParaRPr lang="en-IE"/>
          </a:p>
        </p:txBody>
      </p:sp>
      <p:sp>
        <p:nvSpPr>
          <p:cNvPr id="3" name="Content Placeholder 2">
            <a:extLst>
              <a:ext uri="{FF2B5EF4-FFF2-40B4-BE49-F238E27FC236}">
                <a16:creationId xmlns:a16="http://schemas.microsoft.com/office/drawing/2014/main" id="{833F6E74-65E4-088E-A627-F5CBCB9E0FAA}"/>
              </a:ext>
            </a:extLst>
          </p:cNvPr>
          <p:cNvSpPr>
            <a:spLocks noGrp="1"/>
          </p:cNvSpPr>
          <p:nvPr>
            <p:ph sz="half" idx="1"/>
          </p:nvPr>
        </p:nvSpPr>
        <p:spPr>
          <a:xfrm>
            <a:off x="628650" y="1491792"/>
            <a:ext cx="2291303" cy="2474536"/>
          </a:xfrm>
        </p:spPr>
        <p:txBody>
          <a:bodyPr>
            <a:noAutofit/>
          </a:bodyPr>
          <a:lstStyle>
            <a:lvl1pPr marL="0" indent="0">
              <a:buClr>
                <a:schemeClr val="tx2"/>
              </a:buClr>
              <a:buSzPct val="150000"/>
              <a:buFont typeface="Arial" panose="020B0604020202020204" pitchFamily="34" charset="0"/>
              <a:buNone/>
              <a:defRPr sz="1500">
                <a:solidFill>
                  <a:schemeClr val="tx1"/>
                </a:solidFill>
              </a:defRPr>
            </a:lvl1pPr>
          </a:lstStyle>
          <a:p>
            <a:pPr lvl="0"/>
            <a:r>
              <a:rPr lang="en-US"/>
              <a:t>Click to edit Master text styles</a:t>
            </a:r>
          </a:p>
        </p:txBody>
      </p:sp>
      <p:sp>
        <p:nvSpPr>
          <p:cNvPr id="4" name="Content Placeholder 2">
            <a:extLst>
              <a:ext uri="{FF2B5EF4-FFF2-40B4-BE49-F238E27FC236}">
                <a16:creationId xmlns:a16="http://schemas.microsoft.com/office/drawing/2014/main" id="{AFF39438-760E-ED2B-8243-319A5EF04778}"/>
              </a:ext>
            </a:extLst>
          </p:cNvPr>
          <p:cNvSpPr>
            <a:spLocks noGrp="1"/>
          </p:cNvSpPr>
          <p:nvPr>
            <p:ph sz="half" idx="10"/>
          </p:nvPr>
        </p:nvSpPr>
        <p:spPr>
          <a:xfrm>
            <a:off x="3426349" y="1491792"/>
            <a:ext cx="2291303" cy="2474536"/>
          </a:xfrm>
        </p:spPr>
        <p:txBody>
          <a:bodyPr>
            <a:noAutofit/>
          </a:bodyPr>
          <a:lstStyle>
            <a:lvl1pPr marL="0" indent="0">
              <a:buClr>
                <a:schemeClr val="tx2"/>
              </a:buClr>
              <a:buSzPct val="150000"/>
              <a:buFont typeface="Arial" panose="020B0604020202020204" pitchFamily="34" charset="0"/>
              <a:buNone/>
              <a:defRPr sz="1500">
                <a:solidFill>
                  <a:schemeClr val="tx1"/>
                </a:solidFill>
              </a:defRPr>
            </a:lvl1pPr>
          </a:lstStyle>
          <a:p>
            <a:pPr lvl="0"/>
            <a:r>
              <a:rPr lang="en-US"/>
              <a:t>Click to edit Master text styles</a:t>
            </a:r>
          </a:p>
        </p:txBody>
      </p:sp>
      <p:sp>
        <p:nvSpPr>
          <p:cNvPr id="6" name="Slide Number Placeholder 5">
            <a:extLst>
              <a:ext uri="{FF2B5EF4-FFF2-40B4-BE49-F238E27FC236}">
                <a16:creationId xmlns:a16="http://schemas.microsoft.com/office/drawing/2014/main" id="{B6FA7DAD-79FF-9241-7523-B9F28613FBC3}"/>
              </a:ext>
            </a:extLst>
          </p:cNvPr>
          <p:cNvSpPr>
            <a:spLocks noGrp="1"/>
          </p:cNvSpPr>
          <p:nvPr>
            <p:ph type="sldNum" sz="quarter" idx="4"/>
          </p:nvPr>
        </p:nvSpPr>
        <p:spPr>
          <a:xfrm>
            <a:off x="282141" y="4711552"/>
            <a:ext cx="2057400" cy="273844"/>
          </a:xfrm>
          <a:prstGeom prst="rect">
            <a:avLst/>
          </a:prstGeom>
        </p:spPr>
        <p:txBody>
          <a:bodyPr vert="horz" lIns="91440" tIns="45720" rIns="91440" bIns="45720" rtlCol="0" anchor="b">
            <a:noAutofit/>
          </a:bodyPr>
          <a:lstStyle>
            <a:lvl1pPr algn="r">
              <a:defRPr sz="750">
                <a:solidFill>
                  <a:schemeClr val="tx1"/>
                </a:solidFill>
                <a:latin typeface="+mn-lt"/>
              </a:defRPr>
            </a:lvl1pPr>
          </a:lstStyle>
          <a:p>
            <a:pPr algn="l"/>
            <a:fld id="{768364BB-9B21-4D29-A19C-C6410F652861}" type="slidenum">
              <a:rPr lang="en-IE" smtClean="0"/>
              <a:pPr algn="l"/>
              <a:t>‹#›</a:t>
            </a:fld>
            <a:endParaRPr lang="en-IE"/>
          </a:p>
        </p:txBody>
      </p:sp>
      <p:sp>
        <p:nvSpPr>
          <p:cNvPr id="5" name="Content Placeholder 2">
            <a:extLst>
              <a:ext uri="{FF2B5EF4-FFF2-40B4-BE49-F238E27FC236}">
                <a16:creationId xmlns:a16="http://schemas.microsoft.com/office/drawing/2014/main" id="{C2284C9D-0459-8584-A6B3-FFE83837141D}"/>
              </a:ext>
            </a:extLst>
          </p:cNvPr>
          <p:cNvSpPr>
            <a:spLocks noGrp="1"/>
          </p:cNvSpPr>
          <p:nvPr>
            <p:ph sz="half" idx="11"/>
          </p:nvPr>
        </p:nvSpPr>
        <p:spPr>
          <a:xfrm>
            <a:off x="6224047" y="1491792"/>
            <a:ext cx="2291303" cy="2474536"/>
          </a:xfrm>
        </p:spPr>
        <p:txBody>
          <a:bodyPr>
            <a:noAutofit/>
          </a:bodyPr>
          <a:lstStyle>
            <a:lvl1pPr marL="0" indent="0">
              <a:buClr>
                <a:schemeClr val="tx2"/>
              </a:buClr>
              <a:buSzPct val="150000"/>
              <a:buFont typeface="Arial" panose="020B0604020202020204" pitchFamily="34" charset="0"/>
              <a:buNone/>
              <a:defRPr sz="1500">
                <a:solidFill>
                  <a:schemeClr val="tx1"/>
                </a:solidFill>
              </a:defRPr>
            </a:lvl1pPr>
          </a:lstStyle>
          <a:p>
            <a:pPr lvl="0"/>
            <a:r>
              <a:rPr lang="en-US"/>
              <a:t>Click to edit Master text styles</a:t>
            </a:r>
          </a:p>
        </p:txBody>
      </p:sp>
    </p:spTree>
    <p:extLst>
      <p:ext uri="{BB962C8B-B14F-4D97-AF65-F5344CB8AC3E}">
        <p14:creationId xmlns:p14="http://schemas.microsoft.com/office/powerpoint/2010/main" val="1958327860"/>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Title and body text three columns with subtitl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D1C58A-AE9F-CB20-353A-B865ECE39A5D}"/>
              </a:ext>
            </a:extLst>
          </p:cNvPr>
          <p:cNvSpPr>
            <a:spLocks noGrp="1"/>
          </p:cNvSpPr>
          <p:nvPr>
            <p:ph type="title"/>
          </p:nvPr>
        </p:nvSpPr>
        <p:spPr/>
        <p:txBody>
          <a:bodyPr>
            <a:noAutofit/>
          </a:bodyPr>
          <a:lstStyle/>
          <a:p>
            <a:r>
              <a:rPr lang="en-US"/>
              <a:t>Click to edit Master title style</a:t>
            </a:r>
            <a:endParaRPr lang="en-IE"/>
          </a:p>
        </p:txBody>
      </p:sp>
      <p:sp>
        <p:nvSpPr>
          <p:cNvPr id="3" name="Content Placeholder 2">
            <a:extLst>
              <a:ext uri="{FF2B5EF4-FFF2-40B4-BE49-F238E27FC236}">
                <a16:creationId xmlns:a16="http://schemas.microsoft.com/office/drawing/2014/main" id="{389E2655-E9DF-246B-F4FD-D62B2B37A4B3}"/>
              </a:ext>
            </a:extLst>
          </p:cNvPr>
          <p:cNvSpPr>
            <a:spLocks noGrp="1"/>
          </p:cNvSpPr>
          <p:nvPr>
            <p:ph sz="half" idx="15" hasCustomPrompt="1"/>
          </p:nvPr>
        </p:nvSpPr>
        <p:spPr>
          <a:xfrm>
            <a:off x="628650" y="1521767"/>
            <a:ext cx="2284233" cy="345281"/>
          </a:xfrm>
          <a:solidFill>
            <a:schemeClr val="tx2"/>
          </a:solidFill>
          <a:ln w="12700" cap="rnd">
            <a:noFill/>
            <a:round/>
          </a:ln>
        </p:spPr>
        <p:style>
          <a:lnRef idx="2">
            <a:schemeClr val="accent1"/>
          </a:lnRef>
          <a:fillRef idx="1">
            <a:schemeClr val="lt1"/>
          </a:fillRef>
          <a:effectRef idx="0">
            <a:schemeClr val="accent1"/>
          </a:effectRef>
          <a:fontRef idx="minor">
            <a:schemeClr val="dk1"/>
          </a:fontRef>
        </p:style>
        <p:txBody>
          <a:bodyPr lIns="72000" tIns="72000" rIns="72000" bIns="72000">
            <a:noAutofit/>
          </a:bodyPr>
          <a:lstStyle>
            <a:lvl1pPr marL="0" indent="0">
              <a:buNone/>
              <a:defRPr sz="1800" b="1">
                <a:solidFill>
                  <a:schemeClr val="bg1"/>
                </a:solidFill>
              </a:defRPr>
            </a:lvl1pPr>
          </a:lstStyle>
          <a:p>
            <a:pPr lvl="0"/>
            <a:r>
              <a:rPr lang="en-US"/>
              <a:t>Click to add subtitle</a:t>
            </a:r>
          </a:p>
        </p:txBody>
      </p:sp>
      <p:sp>
        <p:nvSpPr>
          <p:cNvPr id="14" name="Content Placeholder 2">
            <a:extLst>
              <a:ext uri="{FF2B5EF4-FFF2-40B4-BE49-F238E27FC236}">
                <a16:creationId xmlns:a16="http://schemas.microsoft.com/office/drawing/2014/main" id="{A1C7A71E-B4AA-350C-C619-6CD926C5FB05}"/>
              </a:ext>
            </a:extLst>
          </p:cNvPr>
          <p:cNvSpPr>
            <a:spLocks noGrp="1"/>
          </p:cNvSpPr>
          <p:nvPr>
            <p:ph sz="half" idx="1"/>
          </p:nvPr>
        </p:nvSpPr>
        <p:spPr>
          <a:xfrm>
            <a:off x="628650" y="2017649"/>
            <a:ext cx="2284233" cy="1948679"/>
          </a:xfrm>
        </p:spPr>
        <p:txBody>
          <a:bodyPr>
            <a:noAutofit/>
          </a:bodyPr>
          <a:lstStyle>
            <a:lvl1pPr marL="0" indent="0">
              <a:buNone/>
              <a:defRPr sz="1500">
                <a:solidFill>
                  <a:schemeClr val="tx1"/>
                </a:solidFill>
              </a:defRPr>
            </a:lvl1pPr>
          </a:lstStyle>
          <a:p>
            <a:pPr lvl="0"/>
            <a:r>
              <a:rPr lang="en-US"/>
              <a:t>Click to edit Master text styles</a:t>
            </a:r>
          </a:p>
        </p:txBody>
      </p:sp>
      <p:sp>
        <p:nvSpPr>
          <p:cNvPr id="4" name="Content Placeholder 2">
            <a:extLst>
              <a:ext uri="{FF2B5EF4-FFF2-40B4-BE49-F238E27FC236}">
                <a16:creationId xmlns:a16="http://schemas.microsoft.com/office/drawing/2014/main" id="{0B64B145-4048-55E1-B2E9-6B27CC0E5870}"/>
              </a:ext>
            </a:extLst>
          </p:cNvPr>
          <p:cNvSpPr>
            <a:spLocks noGrp="1"/>
          </p:cNvSpPr>
          <p:nvPr>
            <p:ph sz="half" idx="16" hasCustomPrompt="1"/>
          </p:nvPr>
        </p:nvSpPr>
        <p:spPr>
          <a:xfrm>
            <a:off x="3440194" y="1507627"/>
            <a:ext cx="2349041" cy="345281"/>
          </a:xfrm>
          <a:solidFill>
            <a:schemeClr val="tx2"/>
          </a:solidFill>
          <a:ln w="12700" cap="rnd">
            <a:noFill/>
            <a:round/>
          </a:ln>
        </p:spPr>
        <p:style>
          <a:lnRef idx="2">
            <a:schemeClr val="accent1"/>
          </a:lnRef>
          <a:fillRef idx="1">
            <a:schemeClr val="lt1"/>
          </a:fillRef>
          <a:effectRef idx="0">
            <a:schemeClr val="accent1"/>
          </a:effectRef>
          <a:fontRef idx="minor">
            <a:schemeClr val="dk1"/>
          </a:fontRef>
        </p:style>
        <p:txBody>
          <a:bodyPr lIns="72000" tIns="72000" rIns="72000" bIns="72000">
            <a:noAutofit/>
          </a:bodyPr>
          <a:lstStyle>
            <a:lvl1pPr marL="0" indent="0">
              <a:buNone/>
              <a:defRPr sz="1800" b="1">
                <a:solidFill>
                  <a:schemeClr val="bg1"/>
                </a:solidFill>
              </a:defRPr>
            </a:lvl1pPr>
          </a:lstStyle>
          <a:p>
            <a:pPr lvl="0"/>
            <a:r>
              <a:rPr lang="en-US"/>
              <a:t>Click to add subtitle</a:t>
            </a:r>
          </a:p>
        </p:txBody>
      </p:sp>
      <p:sp>
        <p:nvSpPr>
          <p:cNvPr id="16" name="Content Placeholder 2">
            <a:extLst>
              <a:ext uri="{FF2B5EF4-FFF2-40B4-BE49-F238E27FC236}">
                <a16:creationId xmlns:a16="http://schemas.microsoft.com/office/drawing/2014/main" id="{56044468-6F92-BCD9-357B-E33281665606}"/>
              </a:ext>
            </a:extLst>
          </p:cNvPr>
          <p:cNvSpPr>
            <a:spLocks noGrp="1"/>
          </p:cNvSpPr>
          <p:nvPr>
            <p:ph sz="half" idx="10"/>
          </p:nvPr>
        </p:nvSpPr>
        <p:spPr>
          <a:xfrm>
            <a:off x="3440195" y="2017649"/>
            <a:ext cx="2349041" cy="1948679"/>
          </a:xfrm>
        </p:spPr>
        <p:txBody>
          <a:bodyPr>
            <a:noAutofit/>
          </a:bodyPr>
          <a:lstStyle>
            <a:lvl1pPr marL="0" indent="0">
              <a:buNone/>
              <a:defRPr sz="1500">
                <a:solidFill>
                  <a:schemeClr val="tx1"/>
                </a:solidFill>
              </a:defRPr>
            </a:lvl1pPr>
          </a:lstStyle>
          <a:p>
            <a:pPr lvl="0"/>
            <a:r>
              <a:rPr lang="en-US"/>
              <a:t>Click to edit Master text styles</a:t>
            </a:r>
          </a:p>
        </p:txBody>
      </p:sp>
      <p:sp>
        <p:nvSpPr>
          <p:cNvPr id="5" name="Content Placeholder 2">
            <a:extLst>
              <a:ext uri="{FF2B5EF4-FFF2-40B4-BE49-F238E27FC236}">
                <a16:creationId xmlns:a16="http://schemas.microsoft.com/office/drawing/2014/main" id="{AE2839C1-28EB-C84A-8FE0-1EB86DE1BDEE}"/>
              </a:ext>
            </a:extLst>
          </p:cNvPr>
          <p:cNvSpPr>
            <a:spLocks noGrp="1"/>
          </p:cNvSpPr>
          <p:nvPr>
            <p:ph sz="half" idx="17" hasCustomPrompt="1"/>
          </p:nvPr>
        </p:nvSpPr>
        <p:spPr>
          <a:xfrm>
            <a:off x="6316548" y="1521767"/>
            <a:ext cx="2284233" cy="345281"/>
          </a:xfrm>
          <a:solidFill>
            <a:schemeClr val="tx2"/>
          </a:solidFill>
          <a:ln w="12700" cap="rnd">
            <a:noFill/>
            <a:round/>
          </a:ln>
        </p:spPr>
        <p:style>
          <a:lnRef idx="2">
            <a:schemeClr val="accent1"/>
          </a:lnRef>
          <a:fillRef idx="1">
            <a:schemeClr val="lt1"/>
          </a:fillRef>
          <a:effectRef idx="0">
            <a:schemeClr val="accent1"/>
          </a:effectRef>
          <a:fontRef idx="minor">
            <a:schemeClr val="dk1"/>
          </a:fontRef>
        </p:style>
        <p:txBody>
          <a:bodyPr lIns="72000" tIns="72000" rIns="72000" bIns="72000">
            <a:noAutofit/>
          </a:bodyPr>
          <a:lstStyle>
            <a:lvl1pPr marL="0" indent="0">
              <a:buNone/>
              <a:defRPr sz="1800" b="1">
                <a:solidFill>
                  <a:schemeClr val="bg1"/>
                </a:solidFill>
              </a:defRPr>
            </a:lvl1pPr>
          </a:lstStyle>
          <a:p>
            <a:pPr lvl="0"/>
            <a:r>
              <a:rPr lang="en-US"/>
              <a:t>Click to add subtitle</a:t>
            </a:r>
          </a:p>
        </p:txBody>
      </p:sp>
      <p:sp>
        <p:nvSpPr>
          <p:cNvPr id="18" name="Content Placeholder 2">
            <a:extLst>
              <a:ext uri="{FF2B5EF4-FFF2-40B4-BE49-F238E27FC236}">
                <a16:creationId xmlns:a16="http://schemas.microsoft.com/office/drawing/2014/main" id="{A1E8E11D-2B2A-C5C5-EFFC-16D798510576}"/>
              </a:ext>
            </a:extLst>
          </p:cNvPr>
          <p:cNvSpPr>
            <a:spLocks noGrp="1"/>
          </p:cNvSpPr>
          <p:nvPr>
            <p:ph sz="half" idx="11"/>
          </p:nvPr>
        </p:nvSpPr>
        <p:spPr>
          <a:xfrm>
            <a:off x="6316548" y="2017649"/>
            <a:ext cx="2284233" cy="1948679"/>
          </a:xfrm>
        </p:spPr>
        <p:txBody>
          <a:bodyPr>
            <a:noAutofit/>
          </a:bodyPr>
          <a:lstStyle>
            <a:lvl1pPr>
              <a:defRPr sz="1500">
                <a:solidFill>
                  <a:schemeClr val="tx1"/>
                </a:solidFill>
              </a:defRPr>
            </a:lvl1pPr>
          </a:lstStyle>
          <a:p>
            <a:pPr marL="0" marR="0" lvl="0" indent="0" algn="l" defTabSz="685800" rtl="0" eaLnBrk="1" fontAlgn="auto" latinLnBrk="0" hangingPunct="1">
              <a:lnSpc>
                <a:spcPct val="90000"/>
              </a:lnSpc>
              <a:spcBef>
                <a:spcPts val="750"/>
              </a:spcBef>
              <a:spcAft>
                <a:spcPts val="0"/>
              </a:spcAft>
              <a:buClrTx/>
              <a:buSzTx/>
              <a:buFontTx/>
              <a:buNone/>
              <a:tabLst/>
              <a:defRPr/>
            </a:pPr>
            <a:r>
              <a:rPr lang="en-US"/>
              <a:t>Click to edit Master text styles</a:t>
            </a:r>
          </a:p>
        </p:txBody>
      </p:sp>
      <p:sp>
        <p:nvSpPr>
          <p:cNvPr id="7" name="Slide Number Placeholder 5">
            <a:extLst>
              <a:ext uri="{FF2B5EF4-FFF2-40B4-BE49-F238E27FC236}">
                <a16:creationId xmlns:a16="http://schemas.microsoft.com/office/drawing/2014/main" id="{62761D88-1D18-A805-8D96-5BEBFEFE219D}"/>
              </a:ext>
            </a:extLst>
          </p:cNvPr>
          <p:cNvSpPr>
            <a:spLocks noGrp="1"/>
          </p:cNvSpPr>
          <p:nvPr>
            <p:ph type="sldNum" sz="quarter" idx="4"/>
          </p:nvPr>
        </p:nvSpPr>
        <p:spPr>
          <a:xfrm>
            <a:off x="282141" y="4711552"/>
            <a:ext cx="2057400" cy="273844"/>
          </a:xfrm>
          <a:prstGeom prst="rect">
            <a:avLst/>
          </a:prstGeom>
        </p:spPr>
        <p:txBody>
          <a:bodyPr vert="horz" lIns="91440" tIns="45720" rIns="91440" bIns="45720" rtlCol="0" anchor="b">
            <a:noAutofit/>
          </a:bodyPr>
          <a:lstStyle>
            <a:lvl1pPr algn="r">
              <a:defRPr sz="750">
                <a:solidFill>
                  <a:schemeClr val="tx1"/>
                </a:solidFill>
                <a:latin typeface="+mn-lt"/>
              </a:defRPr>
            </a:lvl1pPr>
          </a:lstStyle>
          <a:p>
            <a:pPr algn="l"/>
            <a:fld id="{768364BB-9B21-4D29-A19C-C6410F652861}" type="slidenum">
              <a:rPr lang="en-IE" smtClean="0"/>
              <a:pPr algn="l"/>
              <a:t>‹#›</a:t>
            </a:fld>
            <a:endParaRPr lang="en-IE"/>
          </a:p>
        </p:txBody>
      </p:sp>
    </p:spTree>
    <p:extLst>
      <p:ext uri="{BB962C8B-B14F-4D97-AF65-F5344CB8AC3E}">
        <p14:creationId xmlns:p14="http://schemas.microsoft.com/office/powerpoint/2010/main" val="1416485336"/>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Body text and image coloured background">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120F1C0-2CE9-2640-8D54-464A0BF69C2C}"/>
              </a:ext>
            </a:extLst>
          </p:cNvPr>
          <p:cNvSpPr>
            <a:spLocks noGrp="1"/>
          </p:cNvSpPr>
          <p:nvPr>
            <p:ph type="title"/>
          </p:nvPr>
        </p:nvSpPr>
        <p:spPr>
          <a:xfrm>
            <a:off x="628650" y="273845"/>
            <a:ext cx="7886702" cy="612678"/>
          </a:xfrm>
        </p:spPr>
        <p:txBody>
          <a:bodyPr>
            <a:noAutofit/>
          </a:bodyPr>
          <a:lstStyle>
            <a:lvl1pPr>
              <a:defRPr>
                <a:solidFill>
                  <a:schemeClr val="tx1"/>
                </a:solidFill>
              </a:defRPr>
            </a:lvl1pPr>
          </a:lstStyle>
          <a:p>
            <a:r>
              <a:rPr lang="en-US"/>
              <a:t>Click to edit Master title style</a:t>
            </a:r>
            <a:endParaRPr lang="en-IE"/>
          </a:p>
        </p:txBody>
      </p:sp>
      <p:sp>
        <p:nvSpPr>
          <p:cNvPr id="7" name="Content Placeholder 2">
            <a:extLst>
              <a:ext uri="{FF2B5EF4-FFF2-40B4-BE49-F238E27FC236}">
                <a16:creationId xmlns:a16="http://schemas.microsoft.com/office/drawing/2014/main" id="{4F9DE773-46A1-EE6A-D3DF-FC96DCA4C7CB}"/>
              </a:ext>
            </a:extLst>
          </p:cNvPr>
          <p:cNvSpPr>
            <a:spLocks noGrp="1"/>
          </p:cNvSpPr>
          <p:nvPr>
            <p:ph sz="half" idx="1"/>
          </p:nvPr>
        </p:nvSpPr>
        <p:spPr>
          <a:xfrm>
            <a:off x="628650" y="1385889"/>
            <a:ext cx="3502877" cy="2728912"/>
          </a:xfrm>
          <a:noFill/>
        </p:spPr>
        <p:txBody>
          <a:bodyPr>
            <a:noAutofit/>
          </a:bodyPr>
          <a:lstStyle>
            <a:lvl1pPr marL="0" indent="0">
              <a:buNone/>
              <a:defRPr sz="1500">
                <a:solidFill>
                  <a:schemeClr val="tx1"/>
                </a:solidFill>
              </a:defRPr>
            </a:lvl1pPr>
          </a:lstStyle>
          <a:p>
            <a:pPr lvl="0"/>
            <a:r>
              <a:rPr lang="en-US"/>
              <a:t>Click to edit Master text styles</a:t>
            </a:r>
          </a:p>
        </p:txBody>
      </p:sp>
      <p:sp>
        <p:nvSpPr>
          <p:cNvPr id="4" name="Picture Placeholder 3">
            <a:extLst>
              <a:ext uri="{FF2B5EF4-FFF2-40B4-BE49-F238E27FC236}">
                <a16:creationId xmlns:a16="http://schemas.microsoft.com/office/drawing/2014/main" id="{36CC71E5-FBEB-2751-9FF1-D81B32C5D665}"/>
              </a:ext>
            </a:extLst>
          </p:cNvPr>
          <p:cNvSpPr>
            <a:spLocks noGrp="1"/>
          </p:cNvSpPr>
          <p:nvPr>
            <p:ph type="pic" sz="quarter" idx="10"/>
          </p:nvPr>
        </p:nvSpPr>
        <p:spPr>
          <a:xfrm>
            <a:off x="4762502" y="1369219"/>
            <a:ext cx="3752850" cy="2728913"/>
          </a:xfrm>
          <a:solidFill>
            <a:schemeClr val="tx2"/>
          </a:solidFill>
          <a:ln w="76200">
            <a:noFill/>
          </a:ln>
          <a:effectLst/>
        </p:spPr>
        <p:txBody>
          <a:bodyPr/>
          <a:lstStyle>
            <a:lvl1pPr marL="0" indent="0">
              <a:buNone/>
              <a:defRPr>
                <a:solidFill>
                  <a:schemeClr val="bg2"/>
                </a:solidFill>
              </a:defRPr>
            </a:lvl1pPr>
          </a:lstStyle>
          <a:p>
            <a:r>
              <a:rPr lang="en-US"/>
              <a:t>Click icon to add picture</a:t>
            </a:r>
            <a:endParaRPr lang="en-IE"/>
          </a:p>
        </p:txBody>
      </p:sp>
      <p:pic>
        <p:nvPicPr>
          <p:cNvPr id="6" name="Picture 5" descr="A blue flag with yellow stars and stripes&#10;&#10;Description automatically generated">
            <a:extLst>
              <a:ext uri="{FF2B5EF4-FFF2-40B4-BE49-F238E27FC236}">
                <a16:creationId xmlns:a16="http://schemas.microsoft.com/office/drawing/2014/main" id="{93834467-B58A-08E2-AA0A-DB1D50F360BB}"/>
              </a:ext>
            </a:extLst>
          </p:cNvPr>
          <p:cNvPicPr>
            <a:picLocks noChangeAspect="1"/>
          </p:cNvPicPr>
          <p:nvPr/>
        </p:nvPicPr>
        <p:blipFill>
          <a:blip r:embed="rId2"/>
          <a:stretch>
            <a:fillRect/>
          </a:stretch>
        </p:blipFill>
        <p:spPr>
          <a:xfrm>
            <a:off x="8044327" y="4425762"/>
            <a:ext cx="943400" cy="572400"/>
          </a:xfrm>
          <a:prstGeom prst="rect">
            <a:avLst/>
          </a:prstGeom>
        </p:spPr>
      </p:pic>
      <p:pic>
        <p:nvPicPr>
          <p:cNvPr id="5" name="Picture 4" descr="A blue flag with yellow stars and stripes&#10;&#10;Description automatically generated">
            <a:extLst>
              <a:ext uri="{FF2B5EF4-FFF2-40B4-BE49-F238E27FC236}">
                <a16:creationId xmlns:a16="http://schemas.microsoft.com/office/drawing/2014/main" id="{570F0233-3DB4-DD9F-5F0F-396910702D84}"/>
              </a:ext>
            </a:extLst>
          </p:cNvPr>
          <p:cNvPicPr>
            <a:picLocks noChangeAspect="1"/>
          </p:cNvPicPr>
          <p:nvPr userDrawn="1"/>
        </p:nvPicPr>
        <p:blipFill>
          <a:blip r:embed="rId2"/>
          <a:stretch>
            <a:fillRect/>
          </a:stretch>
        </p:blipFill>
        <p:spPr>
          <a:xfrm>
            <a:off x="8044327" y="4425762"/>
            <a:ext cx="943400" cy="572400"/>
          </a:xfrm>
          <a:prstGeom prst="rect">
            <a:avLst/>
          </a:prstGeom>
        </p:spPr>
      </p:pic>
      <p:sp>
        <p:nvSpPr>
          <p:cNvPr id="8" name="Slide Number Placeholder 5">
            <a:extLst>
              <a:ext uri="{FF2B5EF4-FFF2-40B4-BE49-F238E27FC236}">
                <a16:creationId xmlns:a16="http://schemas.microsoft.com/office/drawing/2014/main" id="{4A4DF5A1-9706-DCB7-1601-51D0F26AEF16}"/>
              </a:ext>
            </a:extLst>
          </p:cNvPr>
          <p:cNvSpPr>
            <a:spLocks noGrp="1"/>
          </p:cNvSpPr>
          <p:nvPr>
            <p:ph type="sldNum" sz="quarter" idx="4"/>
          </p:nvPr>
        </p:nvSpPr>
        <p:spPr>
          <a:xfrm>
            <a:off x="282141" y="4711552"/>
            <a:ext cx="2057400" cy="273844"/>
          </a:xfrm>
          <a:prstGeom prst="rect">
            <a:avLst/>
          </a:prstGeom>
        </p:spPr>
        <p:txBody>
          <a:bodyPr vert="horz" lIns="91440" tIns="45720" rIns="91440" bIns="45720" rtlCol="0" anchor="b">
            <a:noAutofit/>
          </a:bodyPr>
          <a:lstStyle>
            <a:lvl1pPr algn="r">
              <a:defRPr sz="750">
                <a:solidFill>
                  <a:schemeClr val="tx1"/>
                </a:solidFill>
                <a:latin typeface="+mn-lt"/>
              </a:defRPr>
            </a:lvl1pPr>
          </a:lstStyle>
          <a:p>
            <a:pPr algn="l"/>
            <a:fld id="{768364BB-9B21-4D29-A19C-C6410F652861}" type="slidenum">
              <a:rPr lang="en-IE" smtClean="0"/>
              <a:pPr algn="l"/>
              <a:t>‹#›</a:t>
            </a:fld>
            <a:endParaRPr lang="en-IE"/>
          </a:p>
        </p:txBody>
      </p:sp>
    </p:spTree>
    <p:extLst>
      <p:ext uri="{BB962C8B-B14F-4D97-AF65-F5344CB8AC3E}">
        <p14:creationId xmlns:p14="http://schemas.microsoft.com/office/powerpoint/2010/main" val="2709997538"/>
      </p:ext>
    </p:extLst>
  </p:cSld>
  <p:clrMapOvr>
    <a:overrideClrMapping bg1="dk1" tx1="lt1" bg2="dk2" tx2="lt2" accent1="accent1" accent2="accent2" accent3="accent3" accent4="accent4" accent5="accent5" accent6="accent6" hlink="hlink" folHlink="folHlink"/>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p:cSld name="Body text and image ">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120F1C0-2CE9-2640-8D54-464A0BF69C2C}"/>
              </a:ext>
            </a:extLst>
          </p:cNvPr>
          <p:cNvSpPr>
            <a:spLocks noGrp="1"/>
          </p:cNvSpPr>
          <p:nvPr>
            <p:ph type="title"/>
          </p:nvPr>
        </p:nvSpPr>
        <p:spPr>
          <a:xfrm>
            <a:off x="628650" y="273845"/>
            <a:ext cx="7886702" cy="612678"/>
          </a:xfrm>
        </p:spPr>
        <p:txBody>
          <a:bodyPr>
            <a:noAutofit/>
          </a:bodyPr>
          <a:lstStyle>
            <a:lvl1pPr>
              <a:defRPr>
                <a:solidFill>
                  <a:schemeClr val="bg2"/>
                </a:solidFill>
              </a:defRPr>
            </a:lvl1pPr>
          </a:lstStyle>
          <a:p>
            <a:r>
              <a:rPr lang="en-US"/>
              <a:t>Click to edit Master title style</a:t>
            </a:r>
            <a:endParaRPr lang="en-IE"/>
          </a:p>
        </p:txBody>
      </p:sp>
      <p:sp>
        <p:nvSpPr>
          <p:cNvPr id="5" name="Content Placeholder 2">
            <a:extLst>
              <a:ext uri="{FF2B5EF4-FFF2-40B4-BE49-F238E27FC236}">
                <a16:creationId xmlns:a16="http://schemas.microsoft.com/office/drawing/2014/main" id="{CA9BD169-F6A4-2E23-F2D4-B7DED1FC9941}"/>
              </a:ext>
            </a:extLst>
          </p:cNvPr>
          <p:cNvSpPr>
            <a:spLocks noGrp="1"/>
          </p:cNvSpPr>
          <p:nvPr>
            <p:ph sz="half" idx="1"/>
          </p:nvPr>
        </p:nvSpPr>
        <p:spPr>
          <a:xfrm>
            <a:off x="628650" y="1385889"/>
            <a:ext cx="3502877" cy="2728912"/>
          </a:xfrm>
          <a:noFill/>
        </p:spPr>
        <p:txBody>
          <a:bodyPr>
            <a:noAutofit/>
          </a:bodyPr>
          <a:lstStyle>
            <a:lvl1pPr marL="0" indent="0">
              <a:buNone/>
              <a:defRPr sz="1500">
                <a:solidFill>
                  <a:schemeClr val="bg1"/>
                </a:solidFill>
              </a:defRPr>
            </a:lvl1pPr>
          </a:lstStyle>
          <a:p>
            <a:pPr lvl="0"/>
            <a:r>
              <a:rPr lang="en-US"/>
              <a:t>Click to edit Master text styles</a:t>
            </a:r>
          </a:p>
        </p:txBody>
      </p:sp>
      <p:sp>
        <p:nvSpPr>
          <p:cNvPr id="4" name="Picture Placeholder 3">
            <a:extLst>
              <a:ext uri="{FF2B5EF4-FFF2-40B4-BE49-F238E27FC236}">
                <a16:creationId xmlns:a16="http://schemas.microsoft.com/office/drawing/2014/main" id="{36CC71E5-FBEB-2751-9FF1-D81B32C5D665}"/>
              </a:ext>
            </a:extLst>
          </p:cNvPr>
          <p:cNvSpPr>
            <a:spLocks noGrp="1"/>
          </p:cNvSpPr>
          <p:nvPr>
            <p:ph type="pic" sz="quarter" idx="10"/>
          </p:nvPr>
        </p:nvSpPr>
        <p:spPr>
          <a:xfrm>
            <a:off x="4762502" y="1369219"/>
            <a:ext cx="3752850" cy="2728913"/>
          </a:xfrm>
          <a:solidFill>
            <a:schemeClr val="tx2"/>
          </a:solidFill>
          <a:ln w="76200">
            <a:noFill/>
          </a:ln>
          <a:effectLst/>
        </p:spPr>
        <p:txBody>
          <a:bodyPr/>
          <a:lstStyle>
            <a:lvl1pPr marL="0" indent="0">
              <a:buNone/>
              <a:defRPr>
                <a:solidFill>
                  <a:schemeClr val="bg2"/>
                </a:solidFill>
              </a:defRPr>
            </a:lvl1pPr>
          </a:lstStyle>
          <a:p>
            <a:r>
              <a:rPr lang="en-US"/>
              <a:t>Click icon to add picture</a:t>
            </a:r>
            <a:endParaRPr lang="en-IE"/>
          </a:p>
        </p:txBody>
      </p:sp>
      <p:sp>
        <p:nvSpPr>
          <p:cNvPr id="6" name="Slide Number Placeholder 5">
            <a:extLst>
              <a:ext uri="{FF2B5EF4-FFF2-40B4-BE49-F238E27FC236}">
                <a16:creationId xmlns:a16="http://schemas.microsoft.com/office/drawing/2014/main" id="{880C2FD4-3B80-FE70-83EA-C9956AF116F3}"/>
              </a:ext>
            </a:extLst>
          </p:cNvPr>
          <p:cNvSpPr>
            <a:spLocks noGrp="1"/>
          </p:cNvSpPr>
          <p:nvPr>
            <p:ph type="sldNum" sz="quarter" idx="4"/>
          </p:nvPr>
        </p:nvSpPr>
        <p:spPr>
          <a:xfrm>
            <a:off x="282141" y="4711552"/>
            <a:ext cx="2057400" cy="273844"/>
          </a:xfrm>
          <a:prstGeom prst="rect">
            <a:avLst/>
          </a:prstGeom>
        </p:spPr>
        <p:txBody>
          <a:bodyPr vert="horz" lIns="91440" tIns="45720" rIns="91440" bIns="45720" rtlCol="0" anchor="b">
            <a:noAutofit/>
          </a:bodyPr>
          <a:lstStyle>
            <a:lvl1pPr algn="r">
              <a:defRPr sz="750">
                <a:solidFill>
                  <a:schemeClr val="bg1"/>
                </a:solidFill>
                <a:latin typeface="+mn-lt"/>
              </a:defRPr>
            </a:lvl1pPr>
          </a:lstStyle>
          <a:p>
            <a:pPr algn="l"/>
            <a:fld id="{768364BB-9B21-4D29-A19C-C6410F652861}" type="slidenum">
              <a:rPr lang="en-IE" smtClean="0"/>
              <a:pPr algn="l"/>
              <a:t>‹#›</a:t>
            </a:fld>
            <a:endParaRPr lang="en-IE"/>
          </a:p>
        </p:txBody>
      </p:sp>
    </p:spTree>
    <p:extLst>
      <p:ext uri="{BB962C8B-B14F-4D97-AF65-F5344CB8AC3E}">
        <p14:creationId xmlns:p14="http://schemas.microsoft.com/office/powerpoint/2010/main" val="4161177511"/>
      </p:ext>
    </p:extLst>
  </p:cSld>
  <p:clrMapOvr>
    <a:overrideClrMapping bg1="dk1" tx1="lt1" bg2="dk2" tx2="lt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9B408A63-3242-929F-9BCE-7C365F84C01A}"/>
              </a:ext>
            </a:extLst>
          </p:cNvPr>
          <p:cNvSpPr>
            <a:spLocks noGrp="1"/>
          </p:cNvSpPr>
          <p:nvPr>
            <p:ph type="sldNum" sz="quarter" idx="12"/>
          </p:nvPr>
        </p:nvSpPr>
        <p:spPr/>
        <p:txBody>
          <a:bodyPr/>
          <a:lstStyle/>
          <a:p>
            <a:fld id="{0F67114D-ED23-2A43-BD26-04D629DC704A}" type="slidenum">
              <a:rPr lang="en-LU" smtClean="0"/>
              <a:t>‹#›</a:t>
            </a:fld>
            <a:endParaRPr lang="en-LU"/>
          </a:p>
        </p:txBody>
      </p:sp>
      <p:sp>
        <p:nvSpPr>
          <p:cNvPr id="2" name="Text Placeholder 6">
            <a:extLst>
              <a:ext uri="{FF2B5EF4-FFF2-40B4-BE49-F238E27FC236}">
                <a16:creationId xmlns:a16="http://schemas.microsoft.com/office/drawing/2014/main" id="{6084E4B1-50DF-5FA9-B73D-29A37B83EB65}"/>
              </a:ext>
            </a:extLst>
          </p:cNvPr>
          <p:cNvSpPr>
            <a:spLocks noGrp="1"/>
          </p:cNvSpPr>
          <p:nvPr>
            <p:ph type="body" sz="quarter" idx="13" hasCustomPrompt="1"/>
          </p:nvPr>
        </p:nvSpPr>
        <p:spPr>
          <a:xfrm>
            <a:off x="1587500" y="4767264"/>
            <a:ext cx="2774950" cy="164386"/>
          </a:xfrm>
        </p:spPr>
        <p:txBody>
          <a:bodyPr lIns="0" tIns="0" rIns="0" bIns="0" anchor="b" anchorCtr="0">
            <a:noAutofit/>
          </a:bodyPr>
          <a:lstStyle>
            <a:lvl1pPr marL="0" indent="0">
              <a:buNone/>
              <a:defRPr sz="1000">
                <a:solidFill>
                  <a:schemeClr val="tx1">
                    <a:lumMod val="50000"/>
                    <a:lumOff val="50000"/>
                  </a:schemeClr>
                </a:solidFill>
              </a:defRPr>
            </a:lvl1pPr>
            <a:lvl2pPr marL="457200" indent="0">
              <a:buNone/>
              <a:defRPr sz="1000">
                <a:solidFill>
                  <a:schemeClr val="tx1">
                    <a:lumMod val="50000"/>
                    <a:lumOff val="50000"/>
                  </a:schemeClr>
                </a:solidFill>
              </a:defRPr>
            </a:lvl2pPr>
            <a:lvl3pPr marL="914400" indent="0">
              <a:buNone/>
              <a:defRPr sz="1000">
                <a:solidFill>
                  <a:schemeClr val="tx1">
                    <a:lumMod val="50000"/>
                    <a:lumOff val="50000"/>
                  </a:schemeClr>
                </a:solidFill>
              </a:defRPr>
            </a:lvl3pPr>
            <a:lvl4pPr marL="1371600" indent="0">
              <a:buNone/>
              <a:defRPr sz="1000">
                <a:solidFill>
                  <a:schemeClr val="tx1">
                    <a:lumMod val="50000"/>
                    <a:lumOff val="50000"/>
                  </a:schemeClr>
                </a:solidFill>
              </a:defRPr>
            </a:lvl4pPr>
            <a:lvl5pPr marL="1828800" indent="0">
              <a:buNone/>
              <a:defRPr sz="1000">
                <a:solidFill>
                  <a:schemeClr val="tx1">
                    <a:lumMod val="50000"/>
                    <a:lumOff val="50000"/>
                  </a:schemeClr>
                </a:solidFill>
              </a:defRPr>
            </a:lvl5pPr>
          </a:lstStyle>
          <a:p>
            <a:pPr lvl="0"/>
            <a:r>
              <a:rPr lang="en-GB"/>
              <a:t>Insert here the title of the presentation</a:t>
            </a:r>
            <a:endParaRPr lang="en-LU"/>
          </a:p>
        </p:txBody>
      </p:sp>
    </p:spTree>
    <p:extLst>
      <p:ext uri="{BB962C8B-B14F-4D97-AF65-F5344CB8AC3E}">
        <p14:creationId xmlns:p14="http://schemas.microsoft.com/office/powerpoint/2010/main" val="1928245015"/>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Body text and 4 images ">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120F1C0-2CE9-2640-8D54-464A0BF69C2C}"/>
              </a:ext>
            </a:extLst>
          </p:cNvPr>
          <p:cNvSpPr>
            <a:spLocks noGrp="1"/>
          </p:cNvSpPr>
          <p:nvPr>
            <p:ph type="title"/>
          </p:nvPr>
        </p:nvSpPr>
        <p:spPr>
          <a:xfrm>
            <a:off x="628650" y="273845"/>
            <a:ext cx="7886702" cy="612678"/>
          </a:xfrm>
        </p:spPr>
        <p:txBody>
          <a:bodyPr/>
          <a:lstStyle>
            <a:lvl1pPr>
              <a:defRPr>
                <a:solidFill>
                  <a:schemeClr val="bg2"/>
                </a:solidFill>
              </a:defRPr>
            </a:lvl1pPr>
          </a:lstStyle>
          <a:p>
            <a:r>
              <a:rPr lang="en-US"/>
              <a:t>Click to edit Master title style</a:t>
            </a:r>
            <a:endParaRPr lang="en-IE"/>
          </a:p>
        </p:txBody>
      </p:sp>
      <p:sp>
        <p:nvSpPr>
          <p:cNvPr id="3" name="Google Shape;91;p33">
            <a:extLst>
              <a:ext uri="{FF2B5EF4-FFF2-40B4-BE49-F238E27FC236}">
                <a16:creationId xmlns:a16="http://schemas.microsoft.com/office/drawing/2014/main" id="{A9F38C94-2545-ED67-4909-C5A475FCF803}"/>
              </a:ext>
            </a:extLst>
          </p:cNvPr>
          <p:cNvSpPr>
            <a:spLocks noGrp="1"/>
          </p:cNvSpPr>
          <p:nvPr>
            <p:ph type="pic" idx="2"/>
          </p:nvPr>
        </p:nvSpPr>
        <p:spPr>
          <a:xfrm>
            <a:off x="2653750" y="1648248"/>
            <a:ext cx="1846193" cy="1228619"/>
          </a:xfrm>
          <a:prstGeom prst="rect">
            <a:avLst/>
          </a:prstGeom>
          <a:solidFill>
            <a:schemeClr val="lt2"/>
          </a:solidFill>
          <a:ln>
            <a:noFill/>
          </a:ln>
        </p:spPr>
        <p:txBody>
          <a:bodyPr/>
          <a:lstStyle>
            <a:lvl1pPr marL="0" indent="0">
              <a:buNone/>
              <a:defRPr>
                <a:solidFill>
                  <a:schemeClr val="bg2"/>
                </a:solidFill>
              </a:defRPr>
            </a:lvl1pPr>
          </a:lstStyle>
          <a:p>
            <a:r>
              <a:rPr lang="en-US"/>
              <a:t>Click icon to add picture</a:t>
            </a:r>
            <a:endParaRPr lang="en-IE"/>
          </a:p>
        </p:txBody>
      </p:sp>
      <p:sp>
        <p:nvSpPr>
          <p:cNvPr id="10" name="Google Shape;95;p33">
            <a:extLst>
              <a:ext uri="{FF2B5EF4-FFF2-40B4-BE49-F238E27FC236}">
                <a16:creationId xmlns:a16="http://schemas.microsoft.com/office/drawing/2014/main" id="{45EC68E1-18F5-04CB-00B3-F8948F3B4F18}"/>
              </a:ext>
            </a:extLst>
          </p:cNvPr>
          <p:cNvSpPr>
            <a:spLocks noGrp="1"/>
          </p:cNvSpPr>
          <p:nvPr>
            <p:ph type="pic" idx="5"/>
          </p:nvPr>
        </p:nvSpPr>
        <p:spPr>
          <a:xfrm>
            <a:off x="4620777" y="1648248"/>
            <a:ext cx="1846195" cy="1228619"/>
          </a:xfrm>
          <a:prstGeom prst="rect">
            <a:avLst/>
          </a:prstGeom>
          <a:solidFill>
            <a:schemeClr val="lt2"/>
          </a:solidFill>
          <a:ln>
            <a:noFill/>
          </a:ln>
        </p:spPr>
        <p:txBody>
          <a:bodyPr/>
          <a:lstStyle>
            <a:lvl1pPr marL="0" indent="0">
              <a:buNone/>
              <a:defRPr>
                <a:solidFill>
                  <a:schemeClr val="bg2"/>
                </a:solidFill>
              </a:defRPr>
            </a:lvl1pPr>
          </a:lstStyle>
          <a:p>
            <a:r>
              <a:rPr lang="en-US"/>
              <a:t>Click icon to add picture</a:t>
            </a:r>
            <a:endParaRPr lang="en-IE"/>
          </a:p>
        </p:txBody>
      </p:sp>
      <p:sp>
        <p:nvSpPr>
          <p:cNvPr id="13" name="Text Placeholder 12">
            <a:extLst>
              <a:ext uri="{FF2B5EF4-FFF2-40B4-BE49-F238E27FC236}">
                <a16:creationId xmlns:a16="http://schemas.microsoft.com/office/drawing/2014/main" id="{00A4763F-1C9A-B628-1609-DA5C75C90FC9}"/>
              </a:ext>
            </a:extLst>
          </p:cNvPr>
          <p:cNvSpPr>
            <a:spLocks noGrp="1"/>
          </p:cNvSpPr>
          <p:nvPr>
            <p:ph type="body" sz="quarter" idx="10"/>
          </p:nvPr>
        </p:nvSpPr>
        <p:spPr>
          <a:xfrm>
            <a:off x="6602069" y="1647825"/>
            <a:ext cx="1889522" cy="1228725"/>
          </a:xfrm>
        </p:spPr>
        <p:txBody>
          <a:bodyPr/>
          <a:lstStyle>
            <a:lvl1pPr marL="0" indent="0">
              <a:buNone/>
              <a:defRPr>
                <a:solidFill>
                  <a:schemeClr val="bg1"/>
                </a:solidFill>
              </a:defRPr>
            </a:lvl1pPr>
            <a:lvl2pPr marL="342900" indent="0">
              <a:buNone/>
              <a:defRPr/>
            </a:lvl2pPr>
          </a:lstStyle>
          <a:p>
            <a:pPr lvl="0"/>
            <a:r>
              <a:rPr lang="en-US"/>
              <a:t>Click to edit Master text styles</a:t>
            </a:r>
          </a:p>
          <a:p>
            <a:pPr lvl="1"/>
            <a:r>
              <a:rPr lang="en-US"/>
              <a:t>Second level</a:t>
            </a:r>
          </a:p>
        </p:txBody>
      </p:sp>
      <p:sp>
        <p:nvSpPr>
          <p:cNvPr id="15" name="Google Shape;91;p33">
            <a:extLst>
              <a:ext uri="{FF2B5EF4-FFF2-40B4-BE49-F238E27FC236}">
                <a16:creationId xmlns:a16="http://schemas.microsoft.com/office/drawing/2014/main" id="{0AB5F208-A96D-CEBC-874F-7B719FD86FEB}"/>
              </a:ext>
            </a:extLst>
          </p:cNvPr>
          <p:cNvSpPr>
            <a:spLocks noGrp="1"/>
          </p:cNvSpPr>
          <p:nvPr>
            <p:ph type="pic" idx="11"/>
          </p:nvPr>
        </p:nvSpPr>
        <p:spPr>
          <a:xfrm>
            <a:off x="2653750" y="3023543"/>
            <a:ext cx="1846193" cy="1228619"/>
          </a:xfrm>
          <a:prstGeom prst="rect">
            <a:avLst/>
          </a:prstGeom>
          <a:solidFill>
            <a:schemeClr val="lt2"/>
          </a:solidFill>
          <a:ln>
            <a:noFill/>
          </a:ln>
        </p:spPr>
        <p:txBody>
          <a:bodyPr/>
          <a:lstStyle>
            <a:lvl1pPr marL="0" indent="0">
              <a:buNone/>
              <a:defRPr>
                <a:solidFill>
                  <a:schemeClr val="bg2"/>
                </a:solidFill>
              </a:defRPr>
            </a:lvl1pPr>
          </a:lstStyle>
          <a:p>
            <a:r>
              <a:rPr lang="en-US"/>
              <a:t>Click icon to add picture</a:t>
            </a:r>
            <a:endParaRPr lang="en-IE"/>
          </a:p>
        </p:txBody>
      </p:sp>
      <p:sp>
        <p:nvSpPr>
          <p:cNvPr id="17" name="Google Shape;95;p33">
            <a:extLst>
              <a:ext uri="{FF2B5EF4-FFF2-40B4-BE49-F238E27FC236}">
                <a16:creationId xmlns:a16="http://schemas.microsoft.com/office/drawing/2014/main" id="{0AC28D44-5B34-89F9-D8AB-62E99E380E36}"/>
              </a:ext>
            </a:extLst>
          </p:cNvPr>
          <p:cNvSpPr>
            <a:spLocks noGrp="1"/>
          </p:cNvSpPr>
          <p:nvPr>
            <p:ph type="pic" idx="13"/>
          </p:nvPr>
        </p:nvSpPr>
        <p:spPr>
          <a:xfrm>
            <a:off x="4620777" y="3023543"/>
            <a:ext cx="1846195" cy="1228619"/>
          </a:xfrm>
          <a:prstGeom prst="rect">
            <a:avLst/>
          </a:prstGeom>
          <a:solidFill>
            <a:schemeClr val="lt2"/>
          </a:solidFill>
          <a:ln>
            <a:noFill/>
          </a:ln>
        </p:spPr>
        <p:txBody>
          <a:bodyPr/>
          <a:lstStyle>
            <a:lvl1pPr marL="0" indent="0">
              <a:buNone/>
              <a:defRPr>
                <a:solidFill>
                  <a:schemeClr val="bg2"/>
                </a:solidFill>
              </a:defRPr>
            </a:lvl1pPr>
          </a:lstStyle>
          <a:p>
            <a:r>
              <a:rPr lang="en-US"/>
              <a:t>Click icon to add picture</a:t>
            </a:r>
            <a:endParaRPr lang="en-IE"/>
          </a:p>
        </p:txBody>
      </p:sp>
      <p:sp>
        <p:nvSpPr>
          <p:cNvPr id="18" name="Text Placeholder 12">
            <a:extLst>
              <a:ext uri="{FF2B5EF4-FFF2-40B4-BE49-F238E27FC236}">
                <a16:creationId xmlns:a16="http://schemas.microsoft.com/office/drawing/2014/main" id="{14095A4F-385F-CF4A-5E10-E3628D85F6C8}"/>
              </a:ext>
            </a:extLst>
          </p:cNvPr>
          <p:cNvSpPr>
            <a:spLocks noGrp="1"/>
          </p:cNvSpPr>
          <p:nvPr>
            <p:ph type="body" sz="quarter" idx="14"/>
          </p:nvPr>
        </p:nvSpPr>
        <p:spPr>
          <a:xfrm>
            <a:off x="6602069" y="3023120"/>
            <a:ext cx="1889522" cy="1228725"/>
          </a:xfrm>
        </p:spPr>
        <p:txBody>
          <a:bodyPr/>
          <a:lstStyle>
            <a:lvl1pPr marL="0" indent="0">
              <a:buNone/>
              <a:defRPr>
                <a:solidFill>
                  <a:schemeClr val="bg1"/>
                </a:solidFill>
              </a:defRPr>
            </a:lvl1pPr>
            <a:lvl2pPr marL="342900" indent="0">
              <a:buNone/>
              <a:defRPr/>
            </a:lvl2pPr>
          </a:lstStyle>
          <a:p>
            <a:pPr lvl="0"/>
            <a:r>
              <a:rPr lang="en-US"/>
              <a:t>Click to edit Master text styles</a:t>
            </a:r>
          </a:p>
          <a:p>
            <a:pPr lvl="1"/>
            <a:r>
              <a:rPr lang="en-US"/>
              <a:t>Second level</a:t>
            </a:r>
          </a:p>
        </p:txBody>
      </p:sp>
      <p:sp>
        <p:nvSpPr>
          <p:cNvPr id="4" name="Text Placeholder 12">
            <a:extLst>
              <a:ext uri="{FF2B5EF4-FFF2-40B4-BE49-F238E27FC236}">
                <a16:creationId xmlns:a16="http://schemas.microsoft.com/office/drawing/2014/main" id="{092A6C90-A6CE-C107-4350-7906F5FDD7FC}"/>
              </a:ext>
            </a:extLst>
          </p:cNvPr>
          <p:cNvSpPr>
            <a:spLocks noGrp="1"/>
          </p:cNvSpPr>
          <p:nvPr>
            <p:ph type="body" sz="quarter" idx="15"/>
          </p:nvPr>
        </p:nvSpPr>
        <p:spPr>
          <a:xfrm>
            <a:off x="629130" y="1647825"/>
            <a:ext cx="1889522" cy="1228725"/>
          </a:xfrm>
        </p:spPr>
        <p:txBody>
          <a:bodyPr/>
          <a:lstStyle>
            <a:lvl1pPr marL="0" indent="0">
              <a:buNone/>
              <a:defRPr>
                <a:solidFill>
                  <a:schemeClr val="bg1"/>
                </a:solidFill>
              </a:defRPr>
            </a:lvl1pPr>
            <a:lvl2pPr marL="342900" indent="0">
              <a:buNone/>
              <a:defRPr/>
            </a:lvl2pPr>
          </a:lstStyle>
          <a:p>
            <a:pPr lvl="0"/>
            <a:r>
              <a:rPr lang="en-US"/>
              <a:t>Click to edit Master text styles</a:t>
            </a:r>
          </a:p>
          <a:p>
            <a:pPr lvl="1"/>
            <a:r>
              <a:rPr lang="en-US"/>
              <a:t>Second level</a:t>
            </a:r>
          </a:p>
        </p:txBody>
      </p:sp>
      <p:sp>
        <p:nvSpPr>
          <p:cNvPr id="6" name="Text Placeholder 12">
            <a:extLst>
              <a:ext uri="{FF2B5EF4-FFF2-40B4-BE49-F238E27FC236}">
                <a16:creationId xmlns:a16="http://schemas.microsoft.com/office/drawing/2014/main" id="{FA45C4F8-1803-A72B-10DF-5927ABF6E406}"/>
              </a:ext>
            </a:extLst>
          </p:cNvPr>
          <p:cNvSpPr>
            <a:spLocks noGrp="1"/>
          </p:cNvSpPr>
          <p:nvPr>
            <p:ph type="body" sz="quarter" idx="16"/>
          </p:nvPr>
        </p:nvSpPr>
        <p:spPr>
          <a:xfrm>
            <a:off x="629130" y="3023120"/>
            <a:ext cx="1889522" cy="1228725"/>
          </a:xfrm>
        </p:spPr>
        <p:txBody>
          <a:bodyPr/>
          <a:lstStyle>
            <a:lvl1pPr marL="0" indent="0">
              <a:buNone/>
              <a:defRPr>
                <a:solidFill>
                  <a:schemeClr val="bg1"/>
                </a:solidFill>
              </a:defRPr>
            </a:lvl1pPr>
            <a:lvl2pPr marL="342900" indent="0">
              <a:buNone/>
              <a:defRPr/>
            </a:lvl2pPr>
          </a:lstStyle>
          <a:p>
            <a:pPr lvl="0"/>
            <a:r>
              <a:rPr lang="en-US"/>
              <a:t>Click to edit Master text styles</a:t>
            </a:r>
          </a:p>
          <a:p>
            <a:pPr lvl="1"/>
            <a:r>
              <a:rPr lang="en-US"/>
              <a:t>Second level</a:t>
            </a:r>
          </a:p>
        </p:txBody>
      </p:sp>
      <p:sp>
        <p:nvSpPr>
          <p:cNvPr id="8" name="Slide Number Placeholder 5">
            <a:extLst>
              <a:ext uri="{FF2B5EF4-FFF2-40B4-BE49-F238E27FC236}">
                <a16:creationId xmlns:a16="http://schemas.microsoft.com/office/drawing/2014/main" id="{8F9C7B51-3F16-5ABF-3BE2-AA17BD10DB6C}"/>
              </a:ext>
            </a:extLst>
          </p:cNvPr>
          <p:cNvSpPr>
            <a:spLocks noGrp="1"/>
          </p:cNvSpPr>
          <p:nvPr>
            <p:ph type="sldNum" sz="quarter" idx="4"/>
          </p:nvPr>
        </p:nvSpPr>
        <p:spPr>
          <a:xfrm>
            <a:off x="282141" y="4711552"/>
            <a:ext cx="2057400" cy="273844"/>
          </a:xfrm>
          <a:prstGeom prst="rect">
            <a:avLst/>
          </a:prstGeom>
        </p:spPr>
        <p:txBody>
          <a:bodyPr vert="horz" lIns="91440" tIns="45720" rIns="91440" bIns="45720" rtlCol="0" anchor="b"/>
          <a:lstStyle>
            <a:lvl1pPr algn="r">
              <a:defRPr sz="750">
                <a:solidFill>
                  <a:schemeClr val="bg1"/>
                </a:solidFill>
                <a:latin typeface="+mn-lt"/>
              </a:defRPr>
            </a:lvl1pPr>
          </a:lstStyle>
          <a:p>
            <a:pPr algn="l"/>
            <a:fld id="{768364BB-9B21-4D29-A19C-C6410F652861}" type="slidenum">
              <a:rPr lang="en-IE" smtClean="0"/>
              <a:pPr algn="l"/>
              <a:t>‹#›</a:t>
            </a:fld>
            <a:endParaRPr lang="en-IE"/>
          </a:p>
        </p:txBody>
      </p:sp>
    </p:spTree>
    <p:extLst>
      <p:ext uri="{BB962C8B-B14F-4D97-AF65-F5344CB8AC3E}">
        <p14:creationId xmlns:p14="http://schemas.microsoft.com/office/powerpoint/2010/main" val="3692235465"/>
      </p:ext>
    </p:extLst>
  </p:cSld>
  <p:clrMapOvr>
    <a:overrideClrMapping bg1="dk1" tx1="lt1" bg2="dk2" tx2="lt2" accent1="accent1" accent2="accent2" accent3="accent3" accent4="accent4" accent5="accent5" accent6="accent6" hlink="hlink" folHlink="folHlink"/>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p:cSld name="text and big photo">
    <p:spTree>
      <p:nvGrpSpPr>
        <p:cNvPr id="1" name=""/>
        <p:cNvGrpSpPr/>
        <p:nvPr/>
      </p:nvGrpSpPr>
      <p:grpSpPr>
        <a:xfrm>
          <a:off x="0" y="0"/>
          <a:ext cx="0" cy="0"/>
          <a:chOff x="0" y="0"/>
          <a:chExt cx="0" cy="0"/>
        </a:xfrm>
      </p:grpSpPr>
      <p:sp>
        <p:nvSpPr>
          <p:cNvPr id="3" name="Google Shape;72;p30">
            <a:extLst>
              <a:ext uri="{FF2B5EF4-FFF2-40B4-BE49-F238E27FC236}">
                <a16:creationId xmlns:a16="http://schemas.microsoft.com/office/drawing/2014/main" id="{252B282C-4F3C-02C6-86A1-F51B8A650847}"/>
              </a:ext>
            </a:extLst>
          </p:cNvPr>
          <p:cNvSpPr>
            <a:spLocks noGrp="1"/>
          </p:cNvSpPr>
          <p:nvPr>
            <p:ph type="pic" idx="2"/>
          </p:nvPr>
        </p:nvSpPr>
        <p:spPr>
          <a:xfrm>
            <a:off x="0" y="1"/>
            <a:ext cx="4041322" cy="5143499"/>
          </a:xfrm>
          <a:prstGeom prst="rect">
            <a:avLst/>
          </a:prstGeom>
          <a:solidFill>
            <a:schemeClr val="lt2"/>
          </a:solidFill>
          <a:ln w="28575" cap="flat" cmpd="sng">
            <a:noFill/>
            <a:prstDash val="solid"/>
            <a:round/>
            <a:headEnd type="none" w="sm" len="sm"/>
            <a:tailEnd type="none" w="sm" len="sm"/>
          </a:ln>
        </p:spPr>
        <p:txBody>
          <a:bodyPr/>
          <a:lstStyle>
            <a:lvl1pPr marL="0" indent="0">
              <a:buNone/>
              <a:defRPr>
                <a:solidFill>
                  <a:schemeClr val="tx2"/>
                </a:solidFill>
              </a:defRPr>
            </a:lvl1pPr>
          </a:lstStyle>
          <a:p>
            <a:r>
              <a:rPr lang="en-US"/>
              <a:t>Click icon to add picture</a:t>
            </a:r>
            <a:endParaRPr lang="en-IE"/>
          </a:p>
        </p:txBody>
      </p:sp>
      <p:sp>
        <p:nvSpPr>
          <p:cNvPr id="2" name="Title 1">
            <a:extLst>
              <a:ext uri="{FF2B5EF4-FFF2-40B4-BE49-F238E27FC236}">
                <a16:creationId xmlns:a16="http://schemas.microsoft.com/office/drawing/2014/main" id="{9120F1C0-2CE9-2640-8D54-464A0BF69C2C}"/>
              </a:ext>
            </a:extLst>
          </p:cNvPr>
          <p:cNvSpPr>
            <a:spLocks noGrp="1"/>
          </p:cNvSpPr>
          <p:nvPr>
            <p:ph type="title"/>
          </p:nvPr>
        </p:nvSpPr>
        <p:spPr>
          <a:xfrm>
            <a:off x="2824843" y="441785"/>
            <a:ext cx="5690507" cy="537930"/>
          </a:xfrm>
          <a:solidFill>
            <a:schemeClr val="bg1"/>
          </a:solidFill>
        </p:spPr>
        <p:txBody>
          <a:bodyPr>
            <a:noAutofit/>
          </a:bodyPr>
          <a:lstStyle>
            <a:lvl1pPr>
              <a:defRPr sz="3300"/>
            </a:lvl1pPr>
          </a:lstStyle>
          <a:p>
            <a:r>
              <a:rPr lang="en-US"/>
              <a:t>Click to edit Master title style</a:t>
            </a:r>
            <a:endParaRPr lang="en-IE"/>
          </a:p>
        </p:txBody>
      </p:sp>
      <p:sp>
        <p:nvSpPr>
          <p:cNvPr id="5" name="Content Placeholder 2">
            <a:extLst>
              <a:ext uri="{FF2B5EF4-FFF2-40B4-BE49-F238E27FC236}">
                <a16:creationId xmlns:a16="http://schemas.microsoft.com/office/drawing/2014/main" id="{303EC882-6BB1-D514-72D9-A7D3FAE8C698}"/>
              </a:ext>
            </a:extLst>
          </p:cNvPr>
          <p:cNvSpPr>
            <a:spLocks noGrp="1"/>
          </p:cNvSpPr>
          <p:nvPr>
            <p:ph sz="half" idx="15"/>
          </p:nvPr>
        </p:nvSpPr>
        <p:spPr>
          <a:xfrm>
            <a:off x="2824843" y="1421500"/>
            <a:ext cx="5690507" cy="2884183"/>
          </a:xfrm>
          <a:solidFill>
            <a:schemeClr val="bg1"/>
          </a:solidFill>
        </p:spPr>
        <p:txBody>
          <a:bodyPr>
            <a:noAutofit/>
          </a:bodyPr>
          <a:lstStyle>
            <a:lvl1pPr>
              <a:defRPr sz="1500"/>
            </a:lvl1pPr>
          </a:lstStyle>
          <a:p>
            <a:pPr lvl="0"/>
            <a:r>
              <a:rPr lang="en-US"/>
              <a:t>Click to edit Master text styles</a:t>
            </a:r>
          </a:p>
        </p:txBody>
      </p:sp>
    </p:spTree>
    <p:extLst>
      <p:ext uri="{BB962C8B-B14F-4D97-AF65-F5344CB8AC3E}">
        <p14:creationId xmlns:p14="http://schemas.microsoft.com/office/powerpoint/2010/main" val="3713583900"/>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p:cSld name="text and big photo coloured title 1">
    <p:spTree>
      <p:nvGrpSpPr>
        <p:cNvPr id="1" name=""/>
        <p:cNvGrpSpPr/>
        <p:nvPr/>
      </p:nvGrpSpPr>
      <p:grpSpPr>
        <a:xfrm>
          <a:off x="0" y="0"/>
          <a:ext cx="0" cy="0"/>
          <a:chOff x="0" y="0"/>
          <a:chExt cx="0" cy="0"/>
        </a:xfrm>
      </p:grpSpPr>
      <p:sp>
        <p:nvSpPr>
          <p:cNvPr id="3" name="Google Shape;72;p30">
            <a:extLst>
              <a:ext uri="{FF2B5EF4-FFF2-40B4-BE49-F238E27FC236}">
                <a16:creationId xmlns:a16="http://schemas.microsoft.com/office/drawing/2014/main" id="{252B282C-4F3C-02C6-86A1-F51B8A650847}"/>
              </a:ext>
            </a:extLst>
          </p:cNvPr>
          <p:cNvSpPr>
            <a:spLocks noGrp="1"/>
          </p:cNvSpPr>
          <p:nvPr>
            <p:ph type="pic" idx="2"/>
          </p:nvPr>
        </p:nvSpPr>
        <p:spPr>
          <a:xfrm>
            <a:off x="0" y="1"/>
            <a:ext cx="4041322" cy="5143499"/>
          </a:xfrm>
          <a:prstGeom prst="rect">
            <a:avLst/>
          </a:prstGeom>
          <a:solidFill>
            <a:schemeClr val="lt2"/>
          </a:solidFill>
          <a:ln w="28575" cap="flat" cmpd="sng">
            <a:noFill/>
            <a:prstDash val="solid"/>
            <a:round/>
            <a:headEnd type="none" w="sm" len="sm"/>
            <a:tailEnd type="none" w="sm" len="sm"/>
          </a:ln>
        </p:spPr>
        <p:txBody>
          <a:bodyPr/>
          <a:lstStyle>
            <a:lvl1pPr marL="0" indent="0">
              <a:buNone/>
              <a:defRPr>
                <a:solidFill>
                  <a:schemeClr val="tx2"/>
                </a:solidFill>
              </a:defRPr>
            </a:lvl1pPr>
          </a:lstStyle>
          <a:p>
            <a:r>
              <a:rPr lang="en-US"/>
              <a:t>Click icon to add picture</a:t>
            </a:r>
            <a:endParaRPr lang="en-IE"/>
          </a:p>
        </p:txBody>
      </p:sp>
      <p:sp>
        <p:nvSpPr>
          <p:cNvPr id="6" name="Content Placeholder 2">
            <a:extLst>
              <a:ext uri="{FF2B5EF4-FFF2-40B4-BE49-F238E27FC236}">
                <a16:creationId xmlns:a16="http://schemas.microsoft.com/office/drawing/2014/main" id="{E2F83483-47D9-4712-A8D7-6CBF61775821}"/>
              </a:ext>
            </a:extLst>
          </p:cNvPr>
          <p:cNvSpPr>
            <a:spLocks noGrp="1"/>
          </p:cNvSpPr>
          <p:nvPr>
            <p:ph sz="half" idx="16" hasCustomPrompt="1"/>
          </p:nvPr>
        </p:nvSpPr>
        <p:spPr>
          <a:xfrm>
            <a:off x="93889" y="4621900"/>
            <a:ext cx="4567919" cy="293000"/>
          </a:xfrm>
          <a:solidFill>
            <a:schemeClr val="bg1"/>
          </a:solidFill>
        </p:spPr>
        <p:txBody>
          <a:bodyPr anchor="ctr">
            <a:noAutofit/>
          </a:bodyPr>
          <a:lstStyle>
            <a:lvl1pPr marL="0" indent="0">
              <a:buNone/>
              <a:defRPr sz="1350" i="1"/>
            </a:lvl1pPr>
          </a:lstStyle>
          <a:p>
            <a:pPr lvl="0"/>
            <a:r>
              <a:rPr lang="en-US"/>
              <a:t>Click to edit Master text styles (caption)</a:t>
            </a:r>
          </a:p>
        </p:txBody>
      </p:sp>
      <p:sp>
        <p:nvSpPr>
          <p:cNvPr id="2" name="Title 1">
            <a:extLst>
              <a:ext uri="{FF2B5EF4-FFF2-40B4-BE49-F238E27FC236}">
                <a16:creationId xmlns:a16="http://schemas.microsoft.com/office/drawing/2014/main" id="{9120F1C0-2CE9-2640-8D54-464A0BF69C2C}"/>
              </a:ext>
            </a:extLst>
          </p:cNvPr>
          <p:cNvSpPr>
            <a:spLocks noGrp="1"/>
          </p:cNvSpPr>
          <p:nvPr>
            <p:ph type="title"/>
          </p:nvPr>
        </p:nvSpPr>
        <p:spPr>
          <a:xfrm>
            <a:off x="4661808" y="441785"/>
            <a:ext cx="3853543" cy="537930"/>
          </a:xfrm>
          <a:solidFill>
            <a:schemeClr val="bg1"/>
          </a:solidFill>
        </p:spPr>
        <p:txBody>
          <a:bodyPr lIns="72000" tIns="72000" rIns="72000" bIns="72000">
            <a:noAutofit/>
          </a:bodyPr>
          <a:lstStyle>
            <a:lvl1pPr>
              <a:defRPr sz="3300">
                <a:solidFill>
                  <a:schemeClr val="bg1"/>
                </a:solidFill>
                <a:highlight>
                  <a:srgbClr val="003399"/>
                </a:highlight>
              </a:defRPr>
            </a:lvl1pPr>
          </a:lstStyle>
          <a:p>
            <a:r>
              <a:rPr lang="en-US"/>
              <a:t>Click to edit Master title style</a:t>
            </a:r>
            <a:endParaRPr lang="en-IE"/>
          </a:p>
        </p:txBody>
      </p:sp>
      <p:sp>
        <p:nvSpPr>
          <p:cNvPr id="5" name="Content Placeholder 2">
            <a:extLst>
              <a:ext uri="{FF2B5EF4-FFF2-40B4-BE49-F238E27FC236}">
                <a16:creationId xmlns:a16="http://schemas.microsoft.com/office/drawing/2014/main" id="{303EC882-6BB1-D514-72D9-A7D3FAE8C698}"/>
              </a:ext>
            </a:extLst>
          </p:cNvPr>
          <p:cNvSpPr>
            <a:spLocks noGrp="1"/>
          </p:cNvSpPr>
          <p:nvPr>
            <p:ph sz="half" idx="15"/>
          </p:nvPr>
        </p:nvSpPr>
        <p:spPr>
          <a:xfrm>
            <a:off x="4661807" y="1421500"/>
            <a:ext cx="3853542" cy="2884183"/>
          </a:xfrm>
          <a:solidFill>
            <a:schemeClr val="bg1"/>
          </a:solidFill>
        </p:spPr>
        <p:txBody>
          <a:bodyPr>
            <a:noAutofit/>
          </a:bodyPr>
          <a:lstStyle>
            <a:lvl1pPr marL="0" indent="0">
              <a:buClr>
                <a:schemeClr val="tx2"/>
              </a:buClr>
              <a:buSzPct val="150000"/>
              <a:buFont typeface="Arial" panose="020B0604020202020204" pitchFamily="34" charset="0"/>
              <a:buNone/>
              <a:defRPr sz="1500">
                <a:solidFill>
                  <a:schemeClr val="tx1"/>
                </a:solidFill>
              </a:defRPr>
            </a:lvl1pPr>
          </a:lstStyle>
          <a:p>
            <a:pPr lvl="0"/>
            <a:r>
              <a:rPr lang="en-US"/>
              <a:t>Click to edit Master text styles</a:t>
            </a:r>
          </a:p>
        </p:txBody>
      </p:sp>
    </p:spTree>
    <p:extLst>
      <p:ext uri="{BB962C8B-B14F-4D97-AF65-F5344CB8AC3E}">
        <p14:creationId xmlns:p14="http://schemas.microsoft.com/office/powerpoint/2010/main" val="2004144896"/>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p:cSld name="text and big photo coloured title 2">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62F035CA-6728-7746-C9FC-81382094BF06}"/>
              </a:ext>
            </a:extLst>
          </p:cNvPr>
          <p:cNvSpPr/>
          <p:nvPr/>
        </p:nvSpPr>
        <p:spPr>
          <a:xfrm>
            <a:off x="4041322" y="1"/>
            <a:ext cx="5102678" cy="5143499"/>
          </a:xfrm>
          <a:prstGeom prst="rect">
            <a:avLst/>
          </a:prstGeom>
          <a:solidFill>
            <a:schemeClr val="tx2"/>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E" sz="1350"/>
          </a:p>
        </p:txBody>
      </p:sp>
      <p:sp>
        <p:nvSpPr>
          <p:cNvPr id="3" name="Google Shape;72;p30">
            <a:extLst>
              <a:ext uri="{FF2B5EF4-FFF2-40B4-BE49-F238E27FC236}">
                <a16:creationId xmlns:a16="http://schemas.microsoft.com/office/drawing/2014/main" id="{252B282C-4F3C-02C6-86A1-F51B8A650847}"/>
              </a:ext>
            </a:extLst>
          </p:cNvPr>
          <p:cNvSpPr>
            <a:spLocks noGrp="1"/>
          </p:cNvSpPr>
          <p:nvPr>
            <p:ph type="pic" idx="2"/>
          </p:nvPr>
        </p:nvSpPr>
        <p:spPr>
          <a:xfrm>
            <a:off x="0" y="1"/>
            <a:ext cx="4041322" cy="5143499"/>
          </a:xfrm>
          <a:prstGeom prst="rect">
            <a:avLst/>
          </a:prstGeom>
          <a:solidFill>
            <a:schemeClr val="lt2"/>
          </a:solidFill>
          <a:ln w="28575" cap="flat" cmpd="sng">
            <a:noFill/>
            <a:prstDash val="solid"/>
            <a:round/>
            <a:headEnd type="none" w="sm" len="sm"/>
            <a:tailEnd type="none" w="sm" len="sm"/>
          </a:ln>
        </p:spPr>
        <p:txBody>
          <a:bodyPr/>
          <a:lstStyle>
            <a:lvl1pPr marL="0" indent="0">
              <a:buNone/>
              <a:defRPr>
                <a:solidFill>
                  <a:schemeClr val="tx2"/>
                </a:solidFill>
              </a:defRPr>
            </a:lvl1pPr>
          </a:lstStyle>
          <a:p>
            <a:r>
              <a:rPr lang="en-US"/>
              <a:t>Click icon to add picture</a:t>
            </a:r>
            <a:endParaRPr lang="en-IE"/>
          </a:p>
        </p:txBody>
      </p:sp>
      <p:sp>
        <p:nvSpPr>
          <p:cNvPr id="8" name="Content Placeholder 2">
            <a:extLst>
              <a:ext uri="{FF2B5EF4-FFF2-40B4-BE49-F238E27FC236}">
                <a16:creationId xmlns:a16="http://schemas.microsoft.com/office/drawing/2014/main" id="{4DE701F0-97E6-7792-DA18-AD6E08BC874A}"/>
              </a:ext>
            </a:extLst>
          </p:cNvPr>
          <p:cNvSpPr>
            <a:spLocks noGrp="1"/>
          </p:cNvSpPr>
          <p:nvPr>
            <p:ph sz="half" idx="16" hasCustomPrompt="1"/>
          </p:nvPr>
        </p:nvSpPr>
        <p:spPr>
          <a:xfrm>
            <a:off x="93889" y="4621900"/>
            <a:ext cx="4567919" cy="293000"/>
          </a:xfrm>
          <a:solidFill>
            <a:schemeClr val="bg1"/>
          </a:solidFill>
        </p:spPr>
        <p:txBody>
          <a:bodyPr anchor="ctr">
            <a:noAutofit/>
          </a:bodyPr>
          <a:lstStyle>
            <a:lvl1pPr marL="0" indent="0">
              <a:buNone/>
              <a:defRPr sz="1350" i="1"/>
            </a:lvl1pPr>
          </a:lstStyle>
          <a:p>
            <a:pPr lvl="0"/>
            <a:r>
              <a:rPr lang="en-US"/>
              <a:t>Click to edit Master text styles (caption)</a:t>
            </a:r>
          </a:p>
        </p:txBody>
      </p:sp>
      <p:sp>
        <p:nvSpPr>
          <p:cNvPr id="2" name="Title 1">
            <a:extLst>
              <a:ext uri="{FF2B5EF4-FFF2-40B4-BE49-F238E27FC236}">
                <a16:creationId xmlns:a16="http://schemas.microsoft.com/office/drawing/2014/main" id="{9120F1C0-2CE9-2640-8D54-464A0BF69C2C}"/>
              </a:ext>
            </a:extLst>
          </p:cNvPr>
          <p:cNvSpPr>
            <a:spLocks noGrp="1"/>
          </p:cNvSpPr>
          <p:nvPr>
            <p:ph type="title"/>
          </p:nvPr>
        </p:nvSpPr>
        <p:spPr>
          <a:xfrm>
            <a:off x="4661808" y="441785"/>
            <a:ext cx="3853543" cy="750200"/>
          </a:xfrm>
          <a:noFill/>
        </p:spPr>
        <p:txBody>
          <a:bodyPr lIns="72000" tIns="72000" rIns="72000" bIns="72000">
            <a:noAutofit/>
          </a:bodyPr>
          <a:lstStyle>
            <a:lvl1pPr>
              <a:defRPr sz="3300">
                <a:solidFill>
                  <a:schemeClr val="tx2"/>
                </a:solidFill>
                <a:highlight>
                  <a:srgbClr val="FFD34E"/>
                </a:highlight>
              </a:defRPr>
            </a:lvl1pPr>
          </a:lstStyle>
          <a:p>
            <a:r>
              <a:rPr lang="en-US"/>
              <a:t>Click to edit Master title style</a:t>
            </a:r>
            <a:endParaRPr lang="en-IE"/>
          </a:p>
        </p:txBody>
      </p:sp>
      <p:sp>
        <p:nvSpPr>
          <p:cNvPr id="5" name="Content Placeholder 2">
            <a:extLst>
              <a:ext uri="{FF2B5EF4-FFF2-40B4-BE49-F238E27FC236}">
                <a16:creationId xmlns:a16="http://schemas.microsoft.com/office/drawing/2014/main" id="{303EC882-6BB1-D514-72D9-A7D3FAE8C698}"/>
              </a:ext>
            </a:extLst>
          </p:cNvPr>
          <p:cNvSpPr>
            <a:spLocks noGrp="1"/>
          </p:cNvSpPr>
          <p:nvPr>
            <p:ph sz="half" idx="15"/>
          </p:nvPr>
        </p:nvSpPr>
        <p:spPr>
          <a:xfrm>
            <a:off x="4661807" y="1421500"/>
            <a:ext cx="3853542" cy="2884183"/>
          </a:xfrm>
          <a:noFill/>
        </p:spPr>
        <p:txBody>
          <a:bodyPr>
            <a:noAutofit/>
          </a:bodyPr>
          <a:lstStyle>
            <a:lvl1pPr marL="0" indent="0">
              <a:buClr>
                <a:schemeClr val="bg1"/>
              </a:buClr>
              <a:buSzPct val="150000"/>
              <a:buFont typeface="Arial" panose="020B0604020202020204" pitchFamily="34" charset="0"/>
              <a:buNone/>
              <a:defRPr sz="1500">
                <a:solidFill>
                  <a:schemeClr val="bg1"/>
                </a:solidFill>
              </a:defRPr>
            </a:lvl1pPr>
          </a:lstStyle>
          <a:p>
            <a:pPr lvl="0"/>
            <a:r>
              <a:rPr lang="en-US"/>
              <a:t>Click to edit Master text styles</a:t>
            </a:r>
          </a:p>
        </p:txBody>
      </p:sp>
      <p:pic>
        <p:nvPicPr>
          <p:cNvPr id="6" name="Picture 5" descr="A blue flag with yellow stars and stripes&#10;&#10;Description automatically generated">
            <a:extLst>
              <a:ext uri="{FF2B5EF4-FFF2-40B4-BE49-F238E27FC236}">
                <a16:creationId xmlns:a16="http://schemas.microsoft.com/office/drawing/2014/main" id="{F07C9B7E-A9F7-E74E-8B7F-3BB737CA3989}"/>
              </a:ext>
            </a:extLst>
          </p:cNvPr>
          <p:cNvPicPr>
            <a:picLocks noChangeAspect="1"/>
          </p:cNvPicPr>
          <p:nvPr/>
        </p:nvPicPr>
        <p:blipFill>
          <a:blip r:embed="rId2"/>
          <a:stretch>
            <a:fillRect/>
          </a:stretch>
        </p:blipFill>
        <p:spPr>
          <a:xfrm>
            <a:off x="8044327" y="4425762"/>
            <a:ext cx="943400" cy="572400"/>
          </a:xfrm>
          <a:prstGeom prst="rect">
            <a:avLst/>
          </a:prstGeom>
        </p:spPr>
      </p:pic>
      <p:pic>
        <p:nvPicPr>
          <p:cNvPr id="9" name="Picture 8" descr="A blue flag with yellow stars and stripes&#10;&#10;Description automatically generated">
            <a:extLst>
              <a:ext uri="{FF2B5EF4-FFF2-40B4-BE49-F238E27FC236}">
                <a16:creationId xmlns:a16="http://schemas.microsoft.com/office/drawing/2014/main" id="{B7786630-3DC2-B1C3-65DD-397E44619752}"/>
              </a:ext>
            </a:extLst>
          </p:cNvPr>
          <p:cNvPicPr>
            <a:picLocks noChangeAspect="1"/>
          </p:cNvPicPr>
          <p:nvPr userDrawn="1"/>
        </p:nvPicPr>
        <p:blipFill>
          <a:blip r:embed="rId2"/>
          <a:stretch>
            <a:fillRect/>
          </a:stretch>
        </p:blipFill>
        <p:spPr>
          <a:xfrm>
            <a:off x="8044327" y="4425762"/>
            <a:ext cx="943400" cy="572400"/>
          </a:xfrm>
          <a:prstGeom prst="rect">
            <a:avLst/>
          </a:prstGeom>
        </p:spPr>
      </p:pic>
    </p:spTree>
    <p:extLst>
      <p:ext uri="{BB962C8B-B14F-4D97-AF65-F5344CB8AC3E}">
        <p14:creationId xmlns:p14="http://schemas.microsoft.com/office/powerpoint/2010/main" val="478515082"/>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p:cSld name="text in 2 columns and big photo">
    <p:spTree>
      <p:nvGrpSpPr>
        <p:cNvPr id="1" name=""/>
        <p:cNvGrpSpPr/>
        <p:nvPr/>
      </p:nvGrpSpPr>
      <p:grpSpPr>
        <a:xfrm>
          <a:off x="0" y="0"/>
          <a:ext cx="0" cy="0"/>
          <a:chOff x="0" y="0"/>
          <a:chExt cx="0" cy="0"/>
        </a:xfrm>
      </p:grpSpPr>
      <p:sp>
        <p:nvSpPr>
          <p:cNvPr id="3" name="Google Shape;72;p30">
            <a:extLst>
              <a:ext uri="{FF2B5EF4-FFF2-40B4-BE49-F238E27FC236}">
                <a16:creationId xmlns:a16="http://schemas.microsoft.com/office/drawing/2014/main" id="{252B282C-4F3C-02C6-86A1-F51B8A650847}"/>
              </a:ext>
            </a:extLst>
          </p:cNvPr>
          <p:cNvSpPr>
            <a:spLocks noGrp="1"/>
          </p:cNvSpPr>
          <p:nvPr>
            <p:ph type="pic" idx="2"/>
          </p:nvPr>
        </p:nvSpPr>
        <p:spPr>
          <a:xfrm>
            <a:off x="5830231" y="1"/>
            <a:ext cx="3313769" cy="5143499"/>
          </a:xfrm>
          <a:prstGeom prst="rect">
            <a:avLst/>
          </a:prstGeom>
          <a:solidFill>
            <a:schemeClr val="lt2"/>
          </a:solidFill>
          <a:ln w="28575" cap="flat" cmpd="sng">
            <a:noFill/>
            <a:prstDash val="solid"/>
            <a:round/>
            <a:headEnd type="none" w="sm" len="sm"/>
            <a:tailEnd type="none" w="sm" len="sm"/>
          </a:ln>
        </p:spPr>
        <p:txBody>
          <a:bodyPr/>
          <a:lstStyle>
            <a:lvl1pPr marL="0" indent="0">
              <a:buNone/>
              <a:defRPr>
                <a:solidFill>
                  <a:schemeClr val="tx2"/>
                </a:solidFill>
              </a:defRPr>
            </a:lvl1pPr>
          </a:lstStyle>
          <a:p>
            <a:r>
              <a:rPr lang="en-US"/>
              <a:t>Click icon to add picture</a:t>
            </a:r>
            <a:endParaRPr lang="en-IE"/>
          </a:p>
        </p:txBody>
      </p:sp>
      <p:sp>
        <p:nvSpPr>
          <p:cNvPr id="9" name="Title 1">
            <a:extLst>
              <a:ext uri="{FF2B5EF4-FFF2-40B4-BE49-F238E27FC236}">
                <a16:creationId xmlns:a16="http://schemas.microsoft.com/office/drawing/2014/main" id="{278936A4-CDCB-C345-F71F-92F2A35F2AF4}"/>
              </a:ext>
            </a:extLst>
          </p:cNvPr>
          <p:cNvSpPr>
            <a:spLocks noGrp="1"/>
          </p:cNvSpPr>
          <p:nvPr>
            <p:ph type="title"/>
          </p:nvPr>
        </p:nvSpPr>
        <p:spPr>
          <a:xfrm>
            <a:off x="628651" y="345800"/>
            <a:ext cx="5936456" cy="537930"/>
          </a:xfrm>
          <a:solidFill>
            <a:schemeClr val="bg1"/>
          </a:solidFill>
        </p:spPr>
        <p:txBody>
          <a:bodyPr>
            <a:noAutofit/>
          </a:bodyPr>
          <a:lstStyle>
            <a:lvl1pPr>
              <a:defRPr sz="3300"/>
            </a:lvl1pPr>
          </a:lstStyle>
          <a:p>
            <a:r>
              <a:rPr lang="en-US"/>
              <a:t>Click to edit Master title style</a:t>
            </a:r>
            <a:endParaRPr lang="en-IE"/>
          </a:p>
        </p:txBody>
      </p:sp>
      <p:sp>
        <p:nvSpPr>
          <p:cNvPr id="6" name="Content Placeholder 2">
            <a:extLst>
              <a:ext uri="{FF2B5EF4-FFF2-40B4-BE49-F238E27FC236}">
                <a16:creationId xmlns:a16="http://schemas.microsoft.com/office/drawing/2014/main" id="{BFE590DB-1C31-60F0-D6F8-A1706796115D}"/>
              </a:ext>
            </a:extLst>
          </p:cNvPr>
          <p:cNvSpPr>
            <a:spLocks noGrp="1"/>
          </p:cNvSpPr>
          <p:nvPr>
            <p:ph sz="half" idx="13"/>
          </p:nvPr>
        </p:nvSpPr>
        <p:spPr>
          <a:xfrm>
            <a:off x="628650" y="1375315"/>
            <a:ext cx="2231071" cy="2728913"/>
          </a:xfrm>
          <a:noFill/>
        </p:spPr>
        <p:txBody>
          <a:bodyPr>
            <a:noAutofit/>
          </a:bodyPr>
          <a:lstStyle>
            <a:lvl1pPr marL="0" indent="0">
              <a:buNone/>
              <a:defRPr sz="1500">
                <a:solidFill>
                  <a:schemeClr val="tx1"/>
                </a:solidFill>
              </a:defRPr>
            </a:lvl1pPr>
          </a:lstStyle>
          <a:p>
            <a:pPr lvl="0"/>
            <a:r>
              <a:rPr lang="en-US"/>
              <a:t>Click to edit Master text styles</a:t>
            </a:r>
          </a:p>
        </p:txBody>
      </p:sp>
      <p:sp>
        <p:nvSpPr>
          <p:cNvPr id="4" name="Content Placeholder 2">
            <a:extLst>
              <a:ext uri="{FF2B5EF4-FFF2-40B4-BE49-F238E27FC236}">
                <a16:creationId xmlns:a16="http://schemas.microsoft.com/office/drawing/2014/main" id="{094C5D68-6EAE-4A7A-7185-241C6CF3B9BB}"/>
              </a:ext>
            </a:extLst>
          </p:cNvPr>
          <p:cNvSpPr>
            <a:spLocks noGrp="1"/>
          </p:cNvSpPr>
          <p:nvPr>
            <p:ph sz="half" idx="12"/>
          </p:nvPr>
        </p:nvSpPr>
        <p:spPr>
          <a:xfrm>
            <a:off x="3229441" y="1375315"/>
            <a:ext cx="2231071" cy="2728913"/>
          </a:xfrm>
          <a:noFill/>
        </p:spPr>
        <p:txBody>
          <a:bodyPr>
            <a:noAutofit/>
          </a:bodyPr>
          <a:lstStyle>
            <a:lvl1pPr marL="0" indent="0">
              <a:buNone/>
              <a:defRPr sz="1500">
                <a:solidFill>
                  <a:schemeClr val="tx1"/>
                </a:solidFill>
              </a:defRPr>
            </a:lvl1pPr>
          </a:lstStyle>
          <a:p>
            <a:pPr lvl="0"/>
            <a:r>
              <a:rPr lang="en-US"/>
              <a:t>Click to edit Master text styles</a:t>
            </a:r>
          </a:p>
        </p:txBody>
      </p:sp>
      <p:pic>
        <p:nvPicPr>
          <p:cNvPr id="2" name="Picture 1" descr="A blue flag with yellow stars&#10;&#10;Description automatically generated">
            <a:extLst>
              <a:ext uri="{FF2B5EF4-FFF2-40B4-BE49-F238E27FC236}">
                <a16:creationId xmlns:a16="http://schemas.microsoft.com/office/drawing/2014/main" id="{901A7271-B7CF-4C49-1423-D7CA7ECEF27B}"/>
              </a:ext>
            </a:extLst>
          </p:cNvPr>
          <p:cNvPicPr>
            <a:picLocks noChangeAspect="1"/>
          </p:cNvPicPr>
          <p:nvPr/>
        </p:nvPicPr>
        <p:blipFill>
          <a:blip r:embed="rId2"/>
          <a:stretch>
            <a:fillRect/>
          </a:stretch>
        </p:blipFill>
        <p:spPr>
          <a:xfrm>
            <a:off x="8044327" y="4425762"/>
            <a:ext cx="942047" cy="571580"/>
          </a:xfrm>
          <a:prstGeom prst="rect">
            <a:avLst/>
          </a:prstGeom>
        </p:spPr>
      </p:pic>
      <p:pic>
        <p:nvPicPr>
          <p:cNvPr id="5" name="Picture 4" descr="A blue flag with yellow stars&#10;&#10;Description automatically generated">
            <a:extLst>
              <a:ext uri="{FF2B5EF4-FFF2-40B4-BE49-F238E27FC236}">
                <a16:creationId xmlns:a16="http://schemas.microsoft.com/office/drawing/2014/main" id="{C0DCEE1B-27AC-37B6-7683-71F823E43E96}"/>
              </a:ext>
            </a:extLst>
          </p:cNvPr>
          <p:cNvPicPr>
            <a:picLocks noChangeAspect="1"/>
          </p:cNvPicPr>
          <p:nvPr userDrawn="1"/>
        </p:nvPicPr>
        <p:blipFill>
          <a:blip r:embed="rId2"/>
          <a:stretch>
            <a:fillRect/>
          </a:stretch>
        </p:blipFill>
        <p:spPr>
          <a:xfrm>
            <a:off x="8044327" y="4425762"/>
            <a:ext cx="942047" cy="571580"/>
          </a:xfrm>
          <a:prstGeom prst="rect">
            <a:avLst/>
          </a:prstGeom>
        </p:spPr>
      </p:pic>
      <p:sp>
        <p:nvSpPr>
          <p:cNvPr id="7" name="Slide Number Placeholder 5">
            <a:extLst>
              <a:ext uri="{FF2B5EF4-FFF2-40B4-BE49-F238E27FC236}">
                <a16:creationId xmlns:a16="http://schemas.microsoft.com/office/drawing/2014/main" id="{6397D846-EECB-7092-C88A-21E2250BDEB7}"/>
              </a:ext>
            </a:extLst>
          </p:cNvPr>
          <p:cNvSpPr>
            <a:spLocks noGrp="1"/>
          </p:cNvSpPr>
          <p:nvPr>
            <p:ph type="sldNum" sz="quarter" idx="4"/>
          </p:nvPr>
        </p:nvSpPr>
        <p:spPr>
          <a:xfrm>
            <a:off x="282141" y="4711552"/>
            <a:ext cx="2057400" cy="273844"/>
          </a:xfrm>
          <a:prstGeom prst="rect">
            <a:avLst/>
          </a:prstGeom>
        </p:spPr>
        <p:txBody>
          <a:bodyPr vert="horz" lIns="91440" tIns="45720" rIns="91440" bIns="45720" rtlCol="0" anchor="b">
            <a:noAutofit/>
          </a:bodyPr>
          <a:lstStyle>
            <a:lvl1pPr algn="r">
              <a:defRPr sz="750">
                <a:solidFill>
                  <a:schemeClr val="tx1"/>
                </a:solidFill>
                <a:latin typeface="+mn-lt"/>
              </a:defRPr>
            </a:lvl1pPr>
          </a:lstStyle>
          <a:p>
            <a:pPr algn="l"/>
            <a:fld id="{768364BB-9B21-4D29-A19C-C6410F652861}" type="slidenum">
              <a:rPr lang="en-IE" smtClean="0"/>
              <a:pPr algn="l"/>
              <a:t>‹#›</a:t>
            </a:fld>
            <a:endParaRPr lang="en-IE"/>
          </a:p>
        </p:txBody>
      </p:sp>
    </p:spTree>
    <p:extLst>
      <p:ext uri="{BB962C8B-B14F-4D97-AF65-F5344CB8AC3E}">
        <p14:creationId xmlns:p14="http://schemas.microsoft.com/office/powerpoint/2010/main" val="2275544400"/>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p:cSld name="3 photos and three text boxes">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C41187F8-6993-4E2B-6622-C25429339D60}"/>
              </a:ext>
            </a:extLst>
          </p:cNvPr>
          <p:cNvSpPr>
            <a:spLocks noGrp="1"/>
          </p:cNvSpPr>
          <p:nvPr>
            <p:ph type="title"/>
          </p:nvPr>
        </p:nvSpPr>
        <p:spPr>
          <a:xfrm>
            <a:off x="628650" y="273845"/>
            <a:ext cx="7886702" cy="612678"/>
          </a:xfrm>
        </p:spPr>
        <p:txBody>
          <a:bodyPr>
            <a:noAutofit/>
          </a:bodyPr>
          <a:lstStyle>
            <a:lvl1pPr algn="l" defTabSz="685800" rtl="0" eaLnBrk="1" latinLnBrk="0" hangingPunct="1">
              <a:lnSpc>
                <a:spcPct val="90000"/>
              </a:lnSpc>
              <a:spcBef>
                <a:spcPct val="0"/>
              </a:spcBef>
              <a:buNone/>
              <a:defRPr lang="en-IE" sz="3300" kern="1200" dirty="0">
                <a:solidFill>
                  <a:schemeClr val="tx2"/>
                </a:solidFill>
                <a:latin typeface="+mj-lt"/>
                <a:ea typeface="+mj-ea"/>
                <a:cs typeface="+mj-cs"/>
              </a:defRPr>
            </a:lvl1pPr>
          </a:lstStyle>
          <a:p>
            <a:r>
              <a:rPr lang="en-US"/>
              <a:t>Click to edit Master title style</a:t>
            </a:r>
            <a:endParaRPr lang="en-IE"/>
          </a:p>
        </p:txBody>
      </p:sp>
      <p:sp>
        <p:nvSpPr>
          <p:cNvPr id="3" name="Google Shape;72;p30">
            <a:extLst>
              <a:ext uri="{FF2B5EF4-FFF2-40B4-BE49-F238E27FC236}">
                <a16:creationId xmlns:a16="http://schemas.microsoft.com/office/drawing/2014/main" id="{252B282C-4F3C-02C6-86A1-F51B8A650847}"/>
              </a:ext>
            </a:extLst>
          </p:cNvPr>
          <p:cNvSpPr>
            <a:spLocks noGrp="1"/>
          </p:cNvSpPr>
          <p:nvPr>
            <p:ph type="pic" idx="2"/>
          </p:nvPr>
        </p:nvSpPr>
        <p:spPr>
          <a:xfrm>
            <a:off x="654443" y="1178545"/>
            <a:ext cx="2256377" cy="2072252"/>
          </a:xfrm>
          <a:prstGeom prst="rect">
            <a:avLst/>
          </a:prstGeom>
          <a:solidFill>
            <a:schemeClr val="lt2"/>
          </a:solidFill>
          <a:ln w="28575" cap="flat" cmpd="sng">
            <a:noFill/>
            <a:prstDash val="solid"/>
            <a:round/>
            <a:headEnd type="none" w="sm" len="sm"/>
            <a:tailEnd type="none" w="sm" len="sm"/>
          </a:ln>
        </p:spPr>
        <p:txBody>
          <a:bodyPr/>
          <a:lstStyle>
            <a:lvl1pPr marL="0" indent="0">
              <a:buNone/>
              <a:defRPr>
                <a:solidFill>
                  <a:schemeClr val="tx2"/>
                </a:solidFill>
              </a:defRPr>
            </a:lvl1pPr>
          </a:lstStyle>
          <a:p>
            <a:r>
              <a:rPr lang="en-US"/>
              <a:t>Click icon to add picture</a:t>
            </a:r>
            <a:endParaRPr lang="en-IE"/>
          </a:p>
        </p:txBody>
      </p:sp>
      <p:sp>
        <p:nvSpPr>
          <p:cNvPr id="5" name="Text Placeholder 4">
            <a:extLst>
              <a:ext uri="{FF2B5EF4-FFF2-40B4-BE49-F238E27FC236}">
                <a16:creationId xmlns:a16="http://schemas.microsoft.com/office/drawing/2014/main" id="{953FA7EE-FB05-1C4E-138A-F50BCF45EECE}"/>
              </a:ext>
            </a:extLst>
          </p:cNvPr>
          <p:cNvSpPr>
            <a:spLocks noGrp="1"/>
          </p:cNvSpPr>
          <p:nvPr>
            <p:ph type="body" sz="quarter" idx="29"/>
          </p:nvPr>
        </p:nvSpPr>
        <p:spPr>
          <a:xfrm>
            <a:off x="654844" y="3443288"/>
            <a:ext cx="2256235" cy="827485"/>
          </a:xfrm>
        </p:spPr>
        <p:txBody>
          <a:bodyPr>
            <a:noAutofit/>
          </a:bodyPr>
          <a:lstStyle>
            <a:lvl1pPr marL="0" indent="0">
              <a:buNone/>
              <a:defRPr/>
            </a:lvl1pPr>
          </a:lstStyle>
          <a:p>
            <a:pPr lvl="0"/>
            <a:r>
              <a:rPr lang="en-US"/>
              <a:t>Click to edit Master text styles</a:t>
            </a:r>
          </a:p>
        </p:txBody>
      </p:sp>
      <p:sp>
        <p:nvSpPr>
          <p:cNvPr id="7" name="Google Shape;72;p30">
            <a:extLst>
              <a:ext uri="{FF2B5EF4-FFF2-40B4-BE49-F238E27FC236}">
                <a16:creationId xmlns:a16="http://schemas.microsoft.com/office/drawing/2014/main" id="{463AB235-233D-D0DB-E16C-CB9366541FFD}"/>
              </a:ext>
            </a:extLst>
          </p:cNvPr>
          <p:cNvSpPr>
            <a:spLocks noGrp="1"/>
          </p:cNvSpPr>
          <p:nvPr>
            <p:ph type="pic" idx="27"/>
          </p:nvPr>
        </p:nvSpPr>
        <p:spPr>
          <a:xfrm>
            <a:off x="3456708" y="1178545"/>
            <a:ext cx="2256377" cy="2072252"/>
          </a:xfrm>
          <a:prstGeom prst="rect">
            <a:avLst/>
          </a:prstGeom>
          <a:solidFill>
            <a:schemeClr val="lt2"/>
          </a:solidFill>
          <a:ln w="28575" cap="flat" cmpd="sng">
            <a:noFill/>
            <a:prstDash val="solid"/>
            <a:round/>
            <a:headEnd type="none" w="sm" len="sm"/>
            <a:tailEnd type="none" w="sm" len="sm"/>
          </a:ln>
        </p:spPr>
        <p:txBody>
          <a:bodyPr/>
          <a:lstStyle>
            <a:lvl1pPr marL="0" indent="0">
              <a:buNone/>
              <a:defRPr>
                <a:solidFill>
                  <a:schemeClr val="tx2"/>
                </a:solidFill>
              </a:defRPr>
            </a:lvl1pPr>
          </a:lstStyle>
          <a:p>
            <a:r>
              <a:rPr lang="en-US"/>
              <a:t>Click icon to add picture</a:t>
            </a:r>
            <a:endParaRPr lang="en-IE"/>
          </a:p>
        </p:txBody>
      </p:sp>
      <p:sp>
        <p:nvSpPr>
          <p:cNvPr id="9" name="Text Placeholder 4">
            <a:extLst>
              <a:ext uri="{FF2B5EF4-FFF2-40B4-BE49-F238E27FC236}">
                <a16:creationId xmlns:a16="http://schemas.microsoft.com/office/drawing/2014/main" id="{321AD6DD-14BD-E044-8AD7-2881DB891822}"/>
              </a:ext>
            </a:extLst>
          </p:cNvPr>
          <p:cNvSpPr>
            <a:spLocks noGrp="1"/>
          </p:cNvSpPr>
          <p:nvPr>
            <p:ph type="body" sz="quarter" idx="30"/>
          </p:nvPr>
        </p:nvSpPr>
        <p:spPr>
          <a:xfrm>
            <a:off x="3456850" y="3458754"/>
            <a:ext cx="2256235" cy="827485"/>
          </a:xfrm>
        </p:spPr>
        <p:txBody>
          <a:bodyPr>
            <a:noAutofit/>
          </a:bodyPr>
          <a:lstStyle>
            <a:lvl1pPr marL="0" indent="0">
              <a:buNone/>
              <a:defRPr/>
            </a:lvl1pPr>
          </a:lstStyle>
          <a:p>
            <a:pPr lvl="0"/>
            <a:r>
              <a:rPr lang="en-US"/>
              <a:t>Click to edit Master text styles</a:t>
            </a:r>
          </a:p>
        </p:txBody>
      </p:sp>
      <p:sp>
        <p:nvSpPr>
          <p:cNvPr id="8" name="Google Shape;72;p30">
            <a:extLst>
              <a:ext uri="{FF2B5EF4-FFF2-40B4-BE49-F238E27FC236}">
                <a16:creationId xmlns:a16="http://schemas.microsoft.com/office/drawing/2014/main" id="{18BFCAC6-D624-8622-7879-6E32A21B7DBA}"/>
              </a:ext>
            </a:extLst>
          </p:cNvPr>
          <p:cNvSpPr>
            <a:spLocks noGrp="1"/>
          </p:cNvSpPr>
          <p:nvPr>
            <p:ph type="pic" idx="28"/>
          </p:nvPr>
        </p:nvSpPr>
        <p:spPr>
          <a:xfrm>
            <a:off x="6258973" y="1178545"/>
            <a:ext cx="2256377" cy="2072252"/>
          </a:xfrm>
          <a:prstGeom prst="rect">
            <a:avLst/>
          </a:prstGeom>
          <a:solidFill>
            <a:schemeClr val="lt2"/>
          </a:solidFill>
          <a:ln w="28575" cap="flat" cmpd="sng">
            <a:noFill/>
            <a:prstDash val="solid"/>
            <a:round/>
            <a:headEnd type="none" w="sm" len="sm"/>
            <a:tailEnd type="none" w="sm" len="sm"/>
          </a:ln>
        </p:spPr>
        <p:txBody>
          <a:bodyPr/>
          <a:lstStyle>
            <a:lvl1pPr marL="0" indent="0">
              <a:buNone/>
              <a:defRPr>
                <a:solidFill>
                  <a:schemeClr val="tx2"/>
                </a:solidFill>
              </a:defRPr>
            </a:lvl1pPr>
          </a:lstStyle>
          <a:p>
            <a:r>
              <a:rPr lang="en-US"/>
              <a:t>Click icon to add picture</a:t>
            </a:r>
            <a:endParaRPr lang="en-IE"/>
          </a:p>
        </p:txBody>
      </p:sp>
      <p:sp>
        <p:nvSpPr>
          <p:cNvPr id="10" name="Text Placeholder 4">
            <a:extLst>
              <a:ext uri="{FF2B5EF4-FFF2-40B4-BE49-F238E27FC236}">
                <a16:creationId xmlns:a16="http://schemas.microsoft.com/office/drawing/2014/main" id="{12415A3E-5C31-4007-8208-34FF613FDA4D}"/>
              </a:ext>
            </a:extLst>
          </p:cNvPr>
          <p:cNvSpPr>
            <a:spLocks noGrp="1"/>
          </p:cNvSpPr>
          <p:nvPr>
            <p:ph type="body" sz="quarter" idx="31"/>
          </p:nvPr>
        </p:nvSpPr>
        <p:spPr>
          <a:xfrm>
            <a:off x="6259116" y="3458754"/>
            <a:ext cx="2256235" cy="827485"/>
          </a:xfrm>
        </p:spPr>
        <p:txBody>
          <a:bodyPr>
            <a:noAutofit/>
          </a:bodyPr>
          <a:lstStyle>
            <a:lvl1pPr marL="0" indent="0">
              <a:buNone/>
              <a:defRPr/>
            </a:lvl1pPr>
          </a:lstStyle>
          <a:p>
            <a:pPr lvl="0"/>
            <a:r>
              <a:rPr lang="en-US"/>
              <a:t>Click to edit Master text styles</a:t>
            </a:r>
          </a:p>
        </p:txBody>
      </p:sp>
      <p:sp>
        <p:nvSpPr>
          <p:cNvPr id="2" name="Slide Number Placeholder 5">
            <a:extLst>
              <a:ext uri="{FF2B5EF4-FFF2-40B4-BE49-F238E27FC236}">
                <a16:creationId xmlns:a16="http://schemas.microsoft.com/office/drawing/2014/main" id="{3314E959-31F1-870D-FAE7-99D8E6333021}"/>
              </a:ext>
            </a:extLst>
          </p:cNvPr>
          <p:cNvSpPr>
            <a:spLocks noGrp="1"/>
          </p:cNvSpPr>
          <p:nvPr>
            <p:ph type="sldNum" sz="quarter" idx="4"/>
          </p:nvPr>
        </p:nvSpPr>
        <p:spPr>
          <a:xfrm>
            <a:off x="282141" y="4711552"/>
            <a:ext cx="2057400" cy="273844"/>
          </a:xfrm>
          <a:prstGeom prst="rect">
            <a:avLst/>
          </a:prstGeom>
        </p:spPr>
        <p:txBody>
          <a:bodyPr vert="horz" lIns="91440" tIns="45720" rIns="91440" bIns="45720" rtlCol="0" anchor="b">
            <a:noAutofit/>
          </a:bodyPr>
          <a:lstStyle>
            <a:lvl1pPr algn="r">
              <a:defRPr sz="750">
                <a:solidFill>
                  <a:schemeClr val="tx1"/>
                </a:solidFill>
                <a:latin typeface="+mn-lt"/>
              </a:defRPr>
            </a:lvl1pPr>
          </a:lstStyle>
          <a:p>
            <a:pPr algn="l"/>
            <a:fld id="{768364BB-9B21-4D29-A19C-C6410F652861}" type="slidenum">
              <a:rPr lang="en-IE" smtClean="0"/>
              <a:pPr algn="l"/>
              <a:t>‹#›</a:t>
            </a:fld>
            <a:endParaRPr lang="en-IE"/>
          </a:p>
        </p:txBody>
      </p:sp>
    </p:spTree>
    <p:extLst>
      <p:ext uri="{BB962C8B-B14F-4D97-AF65-F5344CB8AC3E}">
        <p14:creationId xmlns:p14="http://schemas.microsoft.com/office/powerpoint/2010/main" val="3512615809"/>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p:cSld name="3 photos and three coloured text boxes">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C41187F8-6993-4E2B-6622-C25429339D60}"/>
              </a:ext>
            </a:extLst>
          </p:cNvPr>
          <p:cNvSpPr>
            <a:spLocks noGrp="1"/>
          </p:cNvSpPr>
          <p:nvPr>
            <p:ph type="title"/>
          </p:nvPr>
        </p:nvSpPr>
        <p:spPr>
          <a:xfrm>
            <a:off x="628650" y="273845"/>
            <a:ext cx="7886702" cy="612678"/>
          </a:xfrm>
        </p:spPr>
        <p:txBody>
          <a:bodyPr>
            <a:noAutofit/>
          </a:bodyPr>
          <a:lstStyle>
            <a:lvl1pPr algn="l" defTabSz="685800" rtl="0" eaLnBrk="1" latinLnBrk="0" hangingPunct="1">
              <a:lnSpc>
                <a:spcPct val="90000"/>
              </a:lnSpc>
              <a:spcBef>
                <a:spcPct val="0"/>
              </a:spcBef>
              <a:buNone/>
              <a:defRPr lang="en-IE" sz="3300" kern="1200" dirty="0">
                <a:solidFill>
                  <a:schemeClr val="tx2"/>
                </a:solidFill>
                <a:latin typeface="+mj-lt"/>
                <a:ea typeface="+mj-ea"/>
                <a:cs typeface="+mj-cs"/>
              </a:defRPr>
            </a:lvl1pPr>
          </a:lstStyle>
          <a:p>
            <a:r>
              <a:rPr lang="en-US"/>
              <a:t>Click to edit Master title style</a:t>
            </a:r>
            <a:endParaRPr lang="en-IE"/>
          </a:p>
        </p:txBody>
      </p:sp>
      <p:sp>
        <p:nvSpPr>
          <p:cNvPr id="3" name="Google Shape;72;p30">
            <a:extLst>
              <a:ext uri="{FF2B5EF4-FFF2-40B4-BE49-F238E27FC236}">
                <a16:creationId xmlns:a16="http://schemas.microsoft.com/office/drawing/2014/main" id="{252B282C-4F3C-02C6-86A1-F51B8A650847}"/>
              </a:ext>
            </a:extLst>
          </p:cNvPr>
          <p:cNvSpPr>
            <a:spLocks noGrp="1"/>
          </p:cNvSpPr>
          <p:nvPr>
            <p:ph type="pic" idx="2"/>
          </p:nvPr>
        </p:nvSpPr>
        <p:spPr>
          <a:xfrm>
            <a:off x="654443" y="1178545"/>
            <a:ext cx="2256377" cy="2072252"/>
          </a:xfrm>
          <a:prstGeom prst="rect">
            <a:avLst/>
          </a:prstGeom>
          <a:solidFill>
            <a:schemeClr val="lt2"/>
          </a:solidFill>
          <a:ln w="28575" cap="flat" cmpd="sng">
            <a:noFill/>
            <a:prstDash val="solid"/>
            <a:round/>
            <a:headEnd type="none" w="sm" len="sm"/>
            <a:tailEnd type="none" w="sm" len="sm"/>
          </a:ln>
        </p:spPr>
        <p:txBody>
          <a:bodyPr/>
          <a:lstStyle>
            <a:lvl1pPr marL="0" indent="0">
              <a:buNone/>
              <a:defRPr>
                <a:solidFill>
                  <a:schemeClr val="tx2"/>
                </a:solidFill>
              </a:defRPr>
            </a:lvl1pPr>
          </a:lstStyle>
          <a:p>
            <a:r>
              <a:rPr lang="en-US"/>
              <a:t>Click icon to add picture</a:t>
            </a:r>
            <a:endParaRPr lang="en-IE"/>
          </a:p>
        </p:txBody>
      </p:sp>
      <p:sp>
        <p:nvSpPr>
          <p:cNvPr id="5" name="Text Placeholder 4">
            <a:extLst>
              <a:ext uri="{FF2B5EF4-FFF2-40B4-BE49-F238E27FC236}">
                <a16:creationId xmlns:a16="http://schemas.microsoft.com/office/drawing/2014/main" id="{953FA7EE-FB05-1C4E-138A-F50BCF45EECE}"/>
              </a:ext>
            </a:extLst>
          </p:cNvPr>
          <p:cNvSpPr>
            <a:spLocks noGrp="1"/>
          </p:cNvSpPr>
          <p:nvPr>
            <p:ph type="body" sz="quarter" idx="29"/>
          </p:nvPr>
        </p:nvSpPr>
        <p:spPr>
          <a:xfrm>
            <a:off x="654844" y="3443288"/>
            <a:ext cx="2256235" cy="827485"/>
          </a:xfrm>
          <a:solidFill>
            <a:schemeClr val="tx2"/>
          </a:solidFill>
        </p:spPr>
        <p:txBody>
          <a:bodyPr>
            <a:noAutofit/>
          </a:bodyPr>
          <a:lstStyle>
            <a:lvl1pPr marL="0" indent="0">
              <a:buNone/>
              <a:defRPr>
                <a:solidFill>
                  <a:schemeClr val="bg1"/>
                </a:solidFill>
              </a:defRPr>
            </a:lvl1pPr>
          </a:lstStyle>
          <a:p>
            <a:pPr lvl="0"/>
            <a:r>
              <a:rPr lang="en-US"/>
              <a:t>Click to edit Master text styles</a:t>
            </a:r>
          </a:p>
        </p:txBody>
      </p:sp>
      <p:sp>
        <p:nvSpPr>
          <p:cNvPr id="7" name="Google Shape;72;p30">
            <a:extLst>
              <a:ext uri="{FF2B5EF4-FFF2-40B4-BE49-F238E27FC236}">
                <a16:creationId xmlns:a16="http://schemas.microsoft.com/office/drawing/2014/main" id="{463AB235-233D-D0DB-E16C-CB9366541FFD}"/>
              </a:ext>
            </a:extLst>
          </p:cNvPr>
          <p:cNvSpPr>
            <a:spLocks noGrp="1"/>
          </p:cNvSpPr>
          <p:nvPr>
            <p:ph type="pic" idx="27"/>
          </p:nvPr>
        </p:nvSpPr>
        <p:spPr>
          <a:xfrm>
            <a:off x="3456708" y="1178545"/>
            <a:ext cx="2256377" cy="2072252"/>
          </a:xfrm>
          <a:prstGeom prst="rect">
            <a:avLst/>
          </a:prstGeom>
          <a:solidFill>
            <a:schemeClr val="lt2"/>
          </a:solidFill>
          <a:ln w="28575" cap="flat" cmpd="sng">
            <a:noFill/>
            <a:prstDash val="solid"/>
            <a:round/>
            <a:headEnd type="none" w="sm" len="sm"/>
            <a:tailEnd type="none" w="sm" len="sm"/>
          </a:ln>
        </p:spPr>
        <p:txBody>
          <a:bodyPr/>
          <a:lstStyle>
            <a:lvl1pPr marL="0" indent="0">
              <a:buNone/>
              <a:defRPr>
                <a:solidFill>
                  <a:schemeClr val="tx2"/>
                </a:solidFill>
              </a:defRPr>
            </a:lvl1pPr>
          </a:lstStyle>
          <a:p>
            <a:r>
              <a:rPr lang="en-US"/>
              <a:t>Click icon to add picture</a:t>
            </a:r>
            <a:endParaRPr lang="en-IE"/>
          </a:p>
        </p:txBody>
      </p:sp>
      <p:sp>
        <p:nvSpPr>
          <p:cNvPr id="9" name="Text Placeholder 4">
            <a:extLst>
              <a:ext uri="{FF2B5EF4-FFF2-40B4-BE49-F238E27FC236}">
                <a16:creationId xmlns:a16="http://schemas.microsoft.com/office/drawing/2014/main" id="{321AD6DD-14BD-E044-8AD7-2881DB891822}"/>
              </a:ext>
            </a:extLst>
          </p:cNvPr>
          <p:cNvSpPr>
            <a:spLocks noGrp="1"/>
          </p:cNvSpPr>
          <p:nvPr>
            <p:ph type="body" sz="quarter" idx="30"/>
          </p:nvPr>
        </p:nvSpPr>
        <p:spPr>
          <a:xfrm>
            <a:off x="3456850" y="3458754"/>
            <a:ext cx="2256235" cy="827485"/>
          </a:xfrm>
          <a:solidFill>
            <a:schemeClr val="tx2"/>
          </a:solidFill>
        </p:spPr>
        <p:txBody>
          <a:bodyPr>
            <a:noAutofit/>
          </a:bodyPr>
          <a:lstStyle>
            <a:lvl1pPr marL="0" indent="0">
              <a:buNone/>
              <a:defRPr>
                <a:solidFill>
                  <a:schemeClr val="bg1"/>
                </a:solidFill>
              </a:defRPr>
            </a:lvl1pPr>
          </a:lstStyle>
          <a:p>
            <a:pPr lvl="0"/>
            <a:r>
              <a:rPr lang="en-US"/>
              <a:t>Click to edit Master text styles</a:t>
            </a:r>
          </a:p>
        </p:txBody>
      </p:sp>
      <p:sp>
        <p:nvSpPr>
          <p:cNvPr id="8" name="Google Shape;72;p30">
            <a:extLst>
              <a:ext uri="{FF2B5EF4-FFF2-40B4-BE49-F238E27FC236}">
                <a16:creationId xmlns:a16="http://schemas.microsoft.com/office/drawing/2014/main" id="{18BFCAC6-D624-8622-7879-6E32A21B7DBA}"/>
              </a:ext>
            </a:extLst>
          </p:cNvPr>
          <p:cNvSpPr>
            <a:spLocks noGrp="1"/>
          </p:cNvSpPr>
          <p:nvPr>
            <p:ph type="pic" idx="28"/>
          </p:nvPr>
        </p:nvSpPr>
        <p:spPr>
          <a:xfrm>
            <a:off x="6258973" y="1178545"/>
            <a:ext cx="2256377" cy="2072252"/>
          </a:xfrm>
          <a:prstGeom prst="rect">
            <a:avLst/>
          </a:prstGeom>
          <a:solidFill>
            <a:schemeClr val="lt2"/>
          </a:solidFill>
          <a:ln w="28575" cap="flat" cmpd="sng">
            <a:noFill/>
            <a:prstDash val="solid"/>
            <a:round/>
            <a:headEnd type="none" w="sm" len="sm"/>
            <a:tailEnd type="none" w="sm" len="sm"/>
          </a:ln>
        </p:spPr>
        <p:txBody>
          <a:bodyPr/>
          <a:lstStyle>
            <a:lvl1pPr marL="0" indent="0">
              <a:buNone/>
              <a:defRPr>
                <a:solidFill>
                  <a:schemeClr val="tx2"/>
                </a:solidFill>
              </a:defRPr>
            </a:lvl1pPr>
          </a:lstStyle>
          <a:p>
            <a:r>
              <a:rPr lang="en-US"/>
              <a:t>Click icon to add picture</a:t>
            </a:r>
            <a:endParaRPr lang="en-IE"/>
          </a:p>
        </p:txBody>
      </p:sp>
      <p:sp>
        <p:nvSpPr>
          <p:cNvPr id="10" name="Text Placeholder 4">
            <a:extLst>
              <a:ext uri="{FF2B5EF4-FFF2-40B4-BE49-F238E27FC236}">
                <a16:creationId xmlns:a16="http://schemas.microsoft.com/office/drawing/2014/main" id="{12415A3E-5C31-4007-8208-34FF613FDA4D}"/>
              </a:ext>
            </a:extLst>
          </p:cNvPr>
          <p:cNvSpPr>
            <a:spLocks noGrp="1"/>
          </p:cNvSpPr>
          <p:nvPr>
            <p:ph type="body" sz="quarter" idx="31"/>
          </p:nvPr>
        </p:nvSpPr>
        <p:spPr>
          <a:xfrm>
            <a:off x="6259116" y="3458754"/>
            <a:ext cx="2256235" cy="827485"/>
          </a:xfrm>
          <a:solidFill>
            <a:schemeClr val="tx2"/>
          </a:solidFill>
        </p:spPr>
        <p:txBody>
          <a:bodyPr>
            <a:noAutofit/>
          </a:bodyPr>
          <a:lstStyle>
            <a:lvl1pPr marL="0" indent="0">
              <a:buNone/>
              <a:defRPr>
                <a:solidFill>
                  <a:schemeClr val="bg1"/>
                </a:solidFill>
              </a:defRPr>
            </a:lvl1pPr>
          </a:lstStyle>
          <a:p>
            <a:pPr lvl="0"/>
            <a:r>
              <a:rPr lang="en-US"/>
              <a:t>Click to edit Master text styles</a:t>
            </a:r>
          </a:p>
        </p:txBody>
      </p:sp>
      <p:sp>
        <p:nvSpPr>
          <p:cNvPr id="6" name="Slide Number Placeholder 5">
            <a:extLst>
              <a:ext uri="{FF2B5EF4-FFF2-40B4-BE49-F238E27FC236}">
                <a16:creationId xmlns:a16="http://schemas.microsoft.com/office/drawing/2014/main" id="{0E52517C-B46F-A98F-0643-A97107DEC79E}"/>
              </a:ext>
            </a:extLst>
          </p:cNvPr>
          <p:cNvSpPr>
            <a:spLocks noGrp="1"/>
          </p:cNvSpPr>
          <p:nvPr>
            <p:ph type="sldNum" sz="quarter" idx="4"/>
          </p:nvPr>
        </p:nvSpPr>
        <p:spPr>
          <a:xfrm>
            <a:off x="282141" y="4711552"/>
            <a:ext cx="2057400" cy="273844"/>
          </a:xfrm>
          <a:prstGeom prst="rect">
            <a:avLst/>
          </a:prstGeom>
        </p:spPr>
        <p:txBody>
          <a:bodyPr vert="horz" lIns="91440" tIns="45720" rIns="91440" bIns="45720" rtlCol="0" anchor="b">
            <a:noAutofit/>
          </a:bodyPr>
          <a:lstStyle>
            <a:lvl1pPr algn="r">
              <a:defRPr sz="750">
                <a:solidFill>
                  <a:schemeClr val="tx1"/>
                </a:solidFill>
                <a:latin typeface="+mn-lt"/>
              </a:defRPr>
            </a:lvl1pPr>
          </a:lstStyle>
          <a:p>
            <a:pPr algn="l"/>
            <a:fld id="{768364BB-9B21-4D29-A19C-C6410F652861}" type="slidenum">
              <a:rPr lang="en-IE" smtClean="0"/>
              <a:pPr algn="l"/>
              <a:t>‹#›</a:t>
            </a:fld>
            <a:endParaRPr lang="en-IE"/>
          </a:p>
        </p:txBody>
      </p:sp>
    </p:spTree>
    <p:extLst>
      <p:ext uri="{BB962C8B-B14F-4D97-AF65-F5344CB8AC3E}">
        <p14:creationId xmlns:p14="http://schemas.microsoft.com/office/powerpoint/2010/main" val="847015251"/>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p:cSld name="Text and a coloured text box">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430C1291-4A16-4E7F-D6F2-0662C6CCE1C1}"/>
              </a:ext>
            </a:extLst>
          </p:cNvPr>
          <p:cNvSpPr>
            <a:spLocks noGrp="1"/>
          </p:cNvSpPr>
          <p:nvPr>
            <p:ph type="title"/>
          </p:nvPr>
        </p:nvSpPr>
        <p:spPr>
          <a:xfrm>
            <a:off x="628650" y="273845"/>
            <a:ext cx="7886700" cy="612678"/>
          </a:xfrm>
        </p:spPr>
        <p:txBody>
          <a:bodyPr>
            <a:noAutofit/>
          </a:bodyPr>
          <a:lstStyle>
            <a:lvl1pPr>
              <a:defRPr/>
            </a:lvl1pPr>
          </a:lstStyle>
          <a:p>
            <a:r>
              <a:rPr lang="en-US"/>
              <a:t>Click to edit Master title style</a:t>
            </a:r>
            <a:endParaRPr lang="en-IE"/>
          </a:p>
        </p:txBody>
      </p:sp>
      <p:sp>
        <p:nvSpPr>
          <p:cNvPr id="3" name="Google Shape;72;p30">
            <a:extLst>
              <a:ext uri="{FF2B5EF4-FFF2-40B4-BE49-F238E27FC236}">
                <a16:creationId xmlns:a16="http://schemas.microsoft.com/office/drawing/2014/main" id="{252B282C-4F3C-02C6-86A1-F51B8A650847}"/>
              </a:ext>
            </a:extLst>
          </p:cNvPr>
          <p:cNvSpPr>
            <a:spLocks noGrp="1"/>
          </p:cNvSpPr>
          <p:nvPr>
            <p:ph type="pic" idx="2"/>
          </p:nvPr>
        </p:nvSpPr>
        <p:spPr>
          <a:xfrm>
            <a:off x="628651" y="1279603"/>
            <a:ext cx="3630206" cy="2597384"/>
          </a:xfrm>
          <a:prstGeom prst="rect">
            <a:avLst/>
          </a:prstGeom>
          <a:solidFill>
            <a:schemeClr val="lt2"/>
          </a:solidFill>
          <a:ln w="28575" cap="flat" cmpd="sng">
            <a:noFill/>
            <a:prstDash val="solid"/>
            <a:round/>
            <a:headEnd type="none" w="sm" len="sm"/>
            <a:tailEnd type="none" w="sm" len="sm"/>
          </a:ln>
        </p:spPr>
        <p:txBody>
          <a:bodyPr/>
          <a:lstStyle>
            <a:lvl1pPr marL="0" indent="0">
              <a:buNone/>
              <a:defRPr>
                <a:solidFill>
                  <a:schemeClr val="tx2"/>
                </a:solidFill>
              </a:defRPr>
            </a:lvl1pPr>
          </a:lstStyle>
          <a:p>
            <a:r>
              <a:rPr lang="en-US"/>
              <a:t>Click icon to add picture</a:t>
            </a:r>
            <a:endParaRPr lang="en-IE"/>
          </a:p>
        </p:txBody>
      </p:sp>
      <p:sp>
        <p:nvSpPr>
          <p:cNvPr id="8" name="Content Placeholder 2">
            <a:extLst>
              <a:ext uri="{FF2B5EF4-FFF2-40B4-BE49-F238E27FC236}">
                <a16:creationId xmlns:a16="http://schemas.microsoft.com/office/drawing/2014/main" id="{621CCFCC-12CB-E276-21C2-DAA2C8D36EC9}"/>
              </a:ext>
            </a:extLst>
          </p:cNvPr>
          <p:cNvSpPr>
            <a:spLocks noGrp="1"/>
          </p:cNvSpPr>
          <p:nvPr>
            <p:ph sz="half" idx="19"/>
          </p:nvPr>
        </p:nvSpPr>
        <p:spPr>
          <a:xfrm>
            <a:off x="4795335" y="1279603"/>
            <a:ext cx="3720016" cy="2597384"/>
          </a:xfrm>
          <a:solidFill>
            <a:schemeClr val="tx2"/>
          </a:solidFill>
        </p:spPr>
        <p:txBody>
          <a:bodyPr>
            <a:noAutofit/>
          </a:bodyPr>
          <a:lstStyle>
            <a:lvl1pPr marL="0" indent="0">
              <a:buNone/>
              <a:defRPr sz="1500">
                <a:solidFill>
                  <a:schemeClr val="bg1"/>
                </a:solidFill>
              </a:defRPr>
            </a:lvl1pPr>
          </a:lstStyle>
          <a:p>
            <a:pPr lvl="0"/>
            <a:r>
              <a:rPr lang="en-US"/>
              <a:t>Click to edit Master text styles</a:t>
            </a:r>
          </a:p>
        </p:txBody>
      </p:sp>
      <p:sp>
        <p:nvSpPr>
          <p:cNvPr id="2" name="Slide Number Placeholder 5">
            <a:extLst>
              <a:ext uri="{FF2B5EF4-FFF2-40B4-BE49-F238E27FC236}">
                <a16:creationId xmlns:a16="http://schemas.microsoft.com/office/drawing/2014/main" id="{9240A71C-FBDC-ABE7-AF08-221E5E629542}"/>
              </a:ext>
            </a:extLst>
          </p:cNvPr>
          <p:cNvSpPr>
            <a:spLocks noGrp="1"/>
          </p:cNvSpPr>
          <p:nvPr>
            <p:ph type="sldNum" sz="quarter" idx="4"/>
          </p:nvPr>
        </p:nvSpPr>
        <p:spPr>
          <a:xfrm>
            <a:off x="282141" y="4711552"/>
            <a:ext cx="2057400" cy="273844"/>
          </a:xfrm>
          <a:prstGeom prst="rect">
            <a:avLst/>
          </a:prstGeom>
        </p:spPr>
        <p:txBody>
          <a:bodyPr vert="horz" lIns="91440" tIns="45720" rIns="91440" bIns="45720" rtlCol="0" anchor="b">
            <a:noAutofit/>
          </a:bodyPr>
          <a:lstStyle>
            <a:lvl1pPr algn="r">
              <a:defRPr sz="750">
                <a:solidFill>
                  <a:schemeClr val="tx1"/>
                </a:solidFill>
                <a:latin typeface="+mn-lt"/>
              </a:defRPr>
            </a:lvl1pPr>
          </a:lstStyle>
          <a:p>
            <a:pPr algn="l"/>
            <a:fld id="{768364BB-9B21-4D29-A19C-C6410F652861}" type="slidenum">
              <a:rPr lang="en-IE" smtClean="0"/>
              <a:pPr algn="l"/>
              <a:t>‹#›</a:t>
            </a:fld>
            <a:endParaRPr lang="en-IE"/>
          </a:p>
        </p:txBody>
      </p:sp>
    </p:spTree>
    <p:extLst>
      <p:ext uri="{BB962C8B-B14F-4D97-AF65-F5344CB8AC3E}">
        <p14:creationId xmlns:p14="http://schemas.microsoft.com/office/powerpoint/2010/main" val="2923767736"/>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p:cSld name="Quote positive logo">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23559404-34AB-2AB1-76B4-CB85000D699F}"/>
              </a:ext>
            </a:extLst>
          </p:cNvPr>
          <p:cNvSpPr>
            <a:spLocks noGrp="1"/>
          </p:cNvSpPr>
          <p:nvPr>
            <p:ph type="title"/>
          </p:nvPr>
        </p:nvSpPr>
        <p:spPr>
          <a:xfrm>
            <a:off x="0" y="-612678"/>
            <a:ext cx="7886700" cy="612678"/>
          </a:xfrm>
        </p:spPr>
        <p:txBody>
          <a:bodyPr/>
          <a:lstStyle>
            <a:lvl1pPr>
              <a:defRPr>
                <a:solidFill>
                  <a:schemeClr val="tx1">
                    <a:lumMod val="65000"/>
                    <a:lumOff val="35000"/>
                  </a:schemeClr>
                </a:solidFill>
              </a:defRPr>
            </a:lvl1pPr>
          </a:lstStyle>
          <a:p>
            <a:r>
              <a:rPr lang="en-US"/>
              <a:t>Click to edit Master title style</a:t>
            </a:r>
            <a:endParaRPr lang="en-IE"/>
          </a:p>
        </p:txBody>
      </p:sp>
      <p:sp>
        <p:nvSpPr>
          <p:cNvPr id="6" name="Picture Placeholder 5">
            <a:extLst>
              <a:ext uri="{FF2B5EF4-FFF2-40B4-BE49-F238E27FC236}">
                <a16:creationId xmlns:a16="http://schemas.microsoft.com/office/drawing/2014/main" id="{A012AF7B-3A7E-8763-817E-DD321C64A6B1}"/>
              </a:ext>
            </a:extLst>
          </p:cNvPr>
          <p:cNvSpPr>
            <a:spLocks noGrp="1"/>
          </p:cNvSpPr>
          <p:nvPr>
            <p:ph type="pic" sz="quarter" idx="11"/>
          </p:nvPr>
        </p:nvSpPr>
        <p:spPr>
          <a:xfrm>
            <a:off x="0" y="0"/>
            <a:ext cx="9178529" cy="5143500"/>
          </a:xfrm>
          <a:solidFill>
            <a:schemeClr val="bg2"/>
          </a:solidFill>
        </p:spPr>
        <p:txBody>
          <a:bodyPr/>
          <a:lstStyle>
            <a:lvl1pPr marL="0" indent="0">
              <a:buNone/>
              <a:defRPr>
                <a:solidFill>
                  <a:schemeClr val="tx2"/>
                </a:solidFill>
              </a:defRPr>
            </a:lvl1pPr>
          </a:lstStyle>
          <a:p>
            <a:r>
              <a:rPr lang="en-US"/>
              <a:t>Click icon to add picture</a:t>
            </a:r>
            <a:endParaRPr lang="en-IE"/>
          </a:p>
        </p:txBody>
      </p:sp>
      <p:sp>
        <p:nvSpPr>
          <p:cNvPr id="8" name="Content Placeholder 7">
            <a:extLst>
              <a:ext uri="{FF2B5EF4-FFF2-40B4-BE49-F238E27FC236}">
                <a16:creationId xmlns:a16="http://schemas.microsoft.com/office/drawing/2014/main" id="{68A2B82B-3461-6DA2-3E41-F3AC81391822}"/>
              </a:ext>
            </a:extLst>
          </p:cNvPr>
          <p:cNvSpPr>
            <a:spLocks noGrp="1"/>
          </p:cNvSpPr>
          <p:nvPr>
            <p:ph sz="quarter" idx="12"/>
          </p:nvPr>
        </p:nvSpPr>
        <p:spPr>
          <a:xfrm>
            <a:off x="0" y="745829"/>
            <a:ext cx="4572000" cy="3390900"/>
          </a:xfrm>
          <a:solidFill>
            <a:schemeClr val="tx2"/>
          </a:solidFill>
        </p:spPr>
        <p:txBody>
          <a:bodyPr lIns="504000" anchor="ctr">
            <a:noAutofit/>
          </a:bodyPr>
          <a:lstStyle>
            <a:lvl1pPr marL="0" indent="0">
              <a:buNone/>
              <a:defRPr/>
            </a:lvl1pPr>
            <a:lvl2pPr marL="342900" indent="0">
              <a:buNone/>
              <a:defRPr lang="en-US" sz="1800" b="1" i="1" kern="1200" dirty="0">
                <a:solidFill>
                  <a:schemeClr val="bg1"/>
                </a:solidFill>
                <a:latin typeface="+mn-lt"/>
                <a:ea typeface="+mn-ea"/>
                <a:cs typeface="+mn-cs"/>
              </a:defRPr>
            </a:lvl2pPr>
          </a:lstStyle>
          <a:p>
            <a:pPr lvl="0"/>
            <a:r>
              <a:rPr lang="en-US"/>
              <a:t>Click to edit Master text styles</a:t>
            </a:r>
          </a:p>
        </p:txBody>
      </p:sp>
      <p:pic>
        <p:nvPicPr>
          <p:cNvPr id="13" name="Google Shape;66;p29" descr="Quote">
            <a:extLst>
              <a:ext uri="{FF2B5EF4-FFF2-40B4-BE49-F238E27FC236}">
                <a16:creationId xmlns:a16="http://schemas.microsoft.com/office/drawing/2014/main" id="{2BA61D73-E039-6C69-A4A9-27D86CB30D1D}"/>
              </a:ext>
            </a:extLst>
          </p:cNvPr>
          <p:cNvPicPr preferRelativeResize="0"/>
          <p:nvPr/>
        </p:nvPicPr>
        <p:blipFill rotWithShape="1">
          <a:blip r:embed="rId2">
            <a:alphaModFix/>
            <a:biLevel thresh="50000"/>
          </a:blip>
          <a:srcRect/>
          <a:stretch/>
        </p:blipFill>
        <p:spPr>
          <a:xfrm rot="10800000">
            <a:off x="4011915" y="3853515"/>
            <a:ext cx="742297" cy="742297"/>
          </a:xfrm>
          <a:prstGeom prst="rect">
            <a:avLst/>
          </a:prstGeom>
          <a:noFill/>
          <a:ln>
            <a:noFill/>
          </a:ln>
        </p:spPr>
      </p:pic>
      <p:pic>
        <p:nvPicPr>
          <p:cNvPr id="3" name="Picture 2" descr="A blue flag with yellow stars&#10;&#10;Description automatically generated">
            <a:extLst>
              <a:ext uri="{FF2B5EF4-FFF2-40B4-BE49-F238E27FC236}">
                <a16:creationId xmlns:a16="http://schemas.microsoft.com/office/drawing/2014/main" id="{BE2FFB7F-6A6F-E203-E2CE-AAC503E40FFA}"/>
              </a:ext>
            </a:extLst>
          </p:cNvPr>
          <p:cNvPicPr>
            <a:picLocks noChangeAspect="1"/>
          </p:cNvPicPr>
          <p:nvPr/>
        </p:nvPicPr>
        <p:blipFill>
          <a:blip r:embed="rId3"/>
          <a:stretch>
            <a:fillRect/>
          </a:stretch>
        </p:blipFill>
        <p:spPr>
          <a:xfrm>
            <a:off x="8044327" y="4425762"/>
            <a:ext cx="942047" cy="571580"/>
          </a:xfrm>
          <a:prstGeom prst="rect">
            <a:avLst/>
          </a:prstGeom>
        </p:spPr>
      </p:pic>
      <p:pic>
        <p:nvPicPr>
          <p:cNvPr id="5" name="Google Shape;66;p29" descr="Quote">
            <a:extLst>
              <a:ext uri="{FF2B5EF4-FFF2-40B4-BE49-F238E27FC236}">
                <a16:creationId xmlns:a16="http://schemas.microsoft.com/office/drawing/2014/main" id="{D61A7912-F509-F977-C8A3-05B55096DDA4}"/>
              </a:ext>
            </a:extLst>
          </p:cNvPr>
          <p:cNvPicPr preferRelativeResize="0"/>
          <p:nvPr userDrawn="1"/>
        </p:nvPicPr>
        <p:blipFill rotWithShape="1">
          <a:blip r:embed="rId2">
            <a:alphaModFix/>
            <a:biLevel thresh="50000"/>
          </a:blip>
          <a:srcRect/>
          <a:stretch/>
        </p:blipFill>
        <p:spPr>
          <a:xfrm rot="10800000">
            <a:off x="4011915" y="3853515"/>
            <a:ext cx="742297" cy="742297"/>
          </a:xfrm>
          <a:prstGeom prst="rect">
            <a:avLst/>
          </a:prstGeom>
          <a:noFill/>
          <a:ln>
            <a:noFill/>
          </a:ln>
        </p:spPr>
      </p:pic>
      <p:pic>
        <p:nvPicPr>
          <p:cNvPr id="7" name="Picture 6" descr="A blue flag with yellow stars&#10;&#10;Description automatically generated">
            <a:extLst>
              <a:ext uri="{FF2B5EF4-FFF2-40B4-BE49-F238E27FC236}">
                <a16:creationId xmlns:a16="http://schemas.microsoft.com/office/drawing/2014/main" id="{519F3A2E-810F-F3DF-534B-DFE8563EDCFA}"/>
              </a:ext>
            </a:extLst>
          </p:cNvPr>
          <p:cNvPicPr>
            <a:picLocks noChangeAspect="1"/>
          </p:cNvPicPr>
          <p:nvPr userDrawn="1"/>
        </p:nvPicPr>
        <p:blipFill>
          <a:blip r:embed="rId3"/>
          <a:stretch>
            <a:fillRect/>
          </a:stretch>
        </p:blipFill>
        <p:spPr>
          <a:xfrm>
            <a:off x="8044327" y="4425762"/>
            <a:ext cx="942047" cy="571580"/>
          </a:xfrm>
          <a:prstGeom prst="rect">
            <a:avLst/>
          </a:prstGeom>
        </p:spPr>
      </p:pic>
      <p:sp>
        <p:nvSpPr>
          <p:cNvPr id="9" name="Slide Number Placeholder 5">
            <a:extLst>
              <a:ext uri="{FF2B5EF4-FFF2-40B4-BE49-F238E27FC236}">
                <a16:creationId xmlns:a16="http://schemas.microsoft.com/office/drawing/2014/main" id="{AC0BD146-26A9-B2E3-790A-137432E6994D}"/>
              </a:ext>
            </a:extLst>
          </p:cNvPr>
          <p:cNvSpPr>
            <a:spLocks noGrp="1"/>
          </p:cNvSpPr>
          <p:nvPr>
            <p:ph type="sldNum" sz="quarter" idx="4"/>
          </p:nvPr>
        </p:nvSpPr>
        <p:spPr>
          <a:xfrm>
            <a:off x="282141" y="4711552"/>
            <a:ext cx="2057400" cy="273844"/>
          </a:xfrm>
          <a:prstGeom prst="rect">
            <a:avLst/>
          </a:prstGeom>
        </p:spPr>
        <p:txBody>
          <a:bodyPr vert="horz" lIns="91440" tIns="45720" rIns="91440" bIns="45720" rtlCol="0" anchor="b"/>
          <a:lstStyle>
            <a:lvl1pPr algn="r">
              <a:defRPr sz="750">
                <a:solidFill>
                  <a:schemeClr val="tx1"/>
                </a:solidFill>
                <a:latin typeface="+mn-lt"/>
              </a:defRPr>
            </a:lvl1pPr>
          </a:lstStyle>
          <a:p>
            <a:pPr algn="l"/>
            <a:fld id="{768364BB-9B21-4D29-A19C-C6410F652861}" type="slidenum">
              <a:rPr lang="en-IE" smtClean="0"/>
              <a:pPr algn="l"/>
              <a:t>‹#›</a:t>
            </a:fld>
            <a:endParaRPr lang="en-IE"/>
          </a:p>
        </p:txBody>
      </p:sp>
    </p:spTree>
    <p:extLst>
      <p:ext uri="{BB962C8B-B14F-4D97-AF65-F5344CB8AC3E}">
        <p14:creationId xmlns:p14="http://schemas.microsoft.com/office/powerpoint/2010/main" val="4153939977"/>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p:cSld name="Quote negative logo">
    <p:spTree>
      <p:nvGrpSpPr>
        <p:cNvPr id="1" name=""/>
        <p:cNvGrpSpPr/>
        <p:nvPr/>
      </p:nvGrpSpPr>
      <p:grpSpPr>
        <a:xfrm>
          <a:off x="0" y="0"/>
          <a:ext cx="0" cy="0"/>
          <a:chOff x="0" y="0"/>
          <a:chExt cx="0" cy="0"/>
        </a:xfrm>
      </p:grpSpPr>
      <p:sp>
        <p:nvSpPr>
          <p:cNvPr id="4" name="Picture Placeholder 5">
            <a:extLst>
              <a:ext uri="{FF2B5EF4-FFF2-40B4-BE49-F238E27FC236}">
                <a16:creationId xmlns:a16="http://schemas.microsoft.com/office/drawing/2014/main" id="{16039EEF-B8E6-4383-4827-068F0611752D}"/>
              </a:ext>
            </a:extLst>
          </p:cNvPr>
          <p:cNvSpPr>
            <a:spLocks noGrp="1"/>
          </p:cNvSpPr>
          <p:nvPr>
            <p:ph type="pic" sz="quarter" idx="11"/>
          </p:nvPr>
        </p:nvSpPr>
        <p:spPr>
          <a:xfrm>
            <a:off x="0" y="0"/>
            <a:ext cx="9178529" cy="5143500"/>
          </a:xfrm>
          <a:solidFill>
            <a:schemeClr val="tx2"/>
          </a:solidFill>
        </p:spPr>
        <p:txBody>
          <a:bodyPr/>
          <a:lstStyle>
            <a:lvl1pPr marL="0" indent="0">
              <a:buNone/>
              <a:defRPr>
                <a:solidFill>
                  <a:schemeClr val="bg1"/>
                </a:solidFill>
              </a:defRPr>
            </a:lvl1pPr>
          </a:lstStyle>
          <a:p>
            <a:r>
              <a:rPr lang="en-US"/>
              <a:t>Click icon to add picture</a:t>
            </a:r>
            <a:endParaRPr lang="en-IE"/>
          </a:p>
        </p:txBody>
      </p:sp>
      <p:sp>
        <p:nvSpPr>
          <p:cNvPr id="7" name="Content Placeholder 7">
            <a:extLst>
              <a:ext uri="{FF2B5EF4-FFF2-40B4-BE49-F238E27FC236}">
                <a16:creationId xmlns:a16="http://schemas.microsoft.com/office/drawing/2014/main" id="{1BE876A1-64BE-0A6D-B28E-A01C8883D1FD}"/>
              </a:ext>
            </a:extLst>
          </p:cNvPr>
          <p:cNvSpPr>
            <a:spLocks noGrp="1"/>
          </p:cNvSpPr>
          <p:nvPr>
            <p:ph sz="quarter" idx="12"/>
          </p:nvPr>
        </p:nvSpPr>
        <p:spPr>
          <a:xfrm>
            <a:off x="0" y="745829"/>
            <a:ext cx="4572000" cy="3390900"/>
          </a:xfrm>
          <a:solidFill>
            <a:schemeClr val="bg2"/>
          </a:solidFill>
        </p:spPr>
        <p:txBody>
          <a:bodyPr lIns="504000" anchor="ctr">
            <a:noAutofit/>
          </a:bodyPr>
          <a:lstStyle>
            <a:lvl1pPr marL="0" indent="0">
              <a:buNone/>
              <a:defRPr/>
            </a:lvl1pPr>
            <a:lvl2pPr marL="342900" indent="0">
              <a:buNone/>
              <a:defRPr lang="en-US" sz="1800" b="1" i="1" kern="1200" dirty="0">
                <a:solidFill>
                  <a:schemeClr val="tx2"/>
                </a:solidFill>
                <a:latin typeface="+mn-lt"/>
                <a:ea typeface="+mn-ea"/>
                <a:cs typeface="+mn-cs"/>
              </a:defRPr>
            </a:lvl2pPr>
          </a:lstStyle>
          <a:p>
            <a:pPr lvl="0"/>
            <a:r>
              <a:rPr lang="en-US"/>
              <a:t>Click to edit Master text styles</a:t>
            </a:r>
          </a:p>
        </p:txBody>
      </p:sp>
      <p:pic>
        <p:nvPicPr>
          <p:cNvPr id="8" name="Google Shape;66;p29" descr="Quote">
            <a:extLst>
              <a:ext uri="{FF2B5EF4-FFF2-40B4-BE49-F238E27FC236}">
                <a16:creationId xmlns:a16="http://schemas.microsoft.com/office/drawing/2014/main" id="{E1B4A183-929D-5431-B365-FECE6A72A484}"/>
              </a:ext>
            </a:extLst>
          </p:cNvPr>
          <p:cNvPicPr preferRelativeResize="0"/>
          <p:nvPr/>
        </p:nvPicPr>
        <p:blipFill rotWithShape="1">
          <a:blip r:embed="rId2">
            <a:alphaModFix/>
            <a:biLevel thresh="50000"/>
          </a:blip>
          <a:srcRect/>
          <a:stretch/>
        </p:blipFill>
        <p:spPr>
          <a:xfrm rot="10800000">
            <a:off x="4011915" y="3853515"/>
            <a:ext cx="742297" cy="742297"/>
          </a:xfrm>
          <a:prstGeom prst="rect">
            <a:avLst/>
          </a:prstGeom>
          <a:noFill/>
          <a:ln>
            <a:noFill/>
          </a:ln>
        </p:spPr>
      </p:pic>
      <p:pic>
        <p:nvPicPr>
          <p:cNvPr id="9" name="Picture 8" descr="A blue flag with yellow stars and stripes&#10;&#10;Description automatically generated">
            <a:extLst>
              <a:ext uri="{FF2B5EF4-FFF2-40B4-BE49-F238E27FC236}">
                <a16:creationId xmlns:a16="http://schemas.microsoft.com/office/drawing/2014/main" id="{E6CD1AA0-BE2D-038C-5423-E271CF1636D7}"/>
              </a:ext>
            </a:extLst>
          </p:cNvPr>
          <p:cNvPicPr>
            <a:picLocks noChangeAspect="1"/>
          </p:cNvPicPr>
          <p:nvPr/>
        </p:nvPicPr>
        <p:blipFill>
          <a:blip r:embed="rId3"/>
          <a:stretch>
            <a:fillRect/>
          </a:stretch>
        </p:blipFill>
        <p:spPr>
          <a:xfrm>
            <a:off x="8044327" y="4425762"/>
            <a:ext cx="943400" cy="572400"/>
          </a:xfrm>
          <a:prstGeom prst="rect">
            <a:avLst/>
          </a:prstGeom>
        </p:spPr>
      </p:pic>
      <p:sp>
        <p:nvSpPr>
          <p:cNvPr id="2" name="Title 1">
            <a:extLst>
              <a:ext uri="{FF2B5EF4-FFF2-40B4-BE49-F238E27FC236}">
                <a16:creationId xmlns:a16="http://schemas.microsoft.com/office/drawing/2014/main" id="{51148383-BBA9-7909-CFDF-60BEA0FE957B}"/>
              </a:ext>
            </a:extLst>
          </p:cNvPr>
          <p:cNvSpPr>
            <a:spLocks noGrp="1"/>
          </p:cNvSpPr>
          <p:nvPr>
            <p:ph type="title"/>
          </p:nvPr>
        </p:nvSpPr>
        <p:spPr>
          <a:xfrm>
            <a:off x="0" y="-602633"/>
            <a:ext cx="7886700" cy="612678"/>
          </a:xfrm>
        </p:spPr>
        <p:txBody>
          <a:bodyPr/>
          <a:lstStyle>
            <a:lvl1pPr>
              <a:defRPr>
                <a:solidFill>
                  <a:schemeClr val="bg1">
                    <a:lumMod val="65000"/>
                  </a:schemeClr>
                </a:solidFill>
              </a:defRPr>
            </a:lvl1pPr>
          </a:lstStyle>
          <a:p>
            <a:r>
              <a:rPr lang="en-US"/>
              <a:t>Click to edit Master title style</a:t>
            </a:r>
            <a:endParaRPr lang="en-IE"/>
          </a:p>
        </p:txBody>
      </p:sp>
      <p:pic>
        <p:nvPicPr>
          <p:cNvPr id="6" name="Google Shape;66;p29" descr="Quote">
            <a:extLst>
              <a:ext uri="{FF2B5EF4-FFF2-40B4-BE49-F238E27FC236}">
                <a16:creationId xmlns:a16="http://schemas.microsoft.com/office/drawing/2014/main" id="{DE2EBF53-76CE-6C8F-0861-C3A5D384E180}"/>
              </a:ext>
            </a:extLst>
          </p:cNvPr>
          <p:cNvPicPr preferRelativeResize="0"/>
          <p:nvPr userDrawn="1"/>
        </p:nvPicPr>
        <p:blipFill rotWithShape="1">
          <a:blip r:embed="rId2">
            <a:alphaModFix/>
            <a:biLevel thresh="50000"/>
          </a:blip>
          <a:srcRect/>
          <a:stretch/>
        </p:blipFill>
        <p:spPr>
          <a:xfrm rot="10800000">
            <a:off x="4011915" y="3853515"/>
            <a:ext cx="742297" cy="742297"/>
          </a:xfrm>
          <a:prstGeom prst="rect">
            <a:avLst/>
          </a:prstGeom>
          <a:noFill/>
          <a:ln>
            <a:noFill/>
          </a:ln>
        </p:spPr>
      </p:pic>
      <p:pic>
        <p:nvPicPr>
          <p:cNvPr id="10" name="Picture 9" descr="A blue flag with yellow stars and stripes&#10;&#10;Description automatically generated">
            <a:extLst>
              <a:ext uri="{FF2B5EF4-FFF2-40B4-BE49-F238E27FC236}">
                <a16:creationId xmlns:a16="http://schemas.microsoft.com/office/drawing/2014/main" id="{AB87E6E1-A561-866F-CE99-26D96476848A}"/>
              </a:ext>
            </a:extLst>
          </p:cNvPr>
          <p:cNvPicPr>
            <a:picLocks noChangeAspect="1"/>
          </p:cNvPicPr>
          <p:nvPr userDrawn="1"/>
        </p:nvPicPr>
        <p:blipFill>
          <a:blip r:embed="rId3"/>
          <a:stretch>
            <a:fillRect/>
          </a:stretch>
        </p:blipFill>
        <p:spPr>
          <a:xfrm>
            <a:off x="8044327" y="4425762"/>
            <a:ext cx="943400" cy="572400"/>
          </a:xfrm>
          <a:prstGeom prst="rect">
            <a:avLst/>
          </a:prstGeom>
        </p:spPr>
      </p:pic>
      <p:sp>
        <p:nvSpPr>
          <p:cNvPr id="11" name="Slide Number Placeholder 5">
            <a:extLst>
              <a:ext uri="{FF2B5EF4-FFF2-40B4-BE49-F238E27FC236}">
                <a16:creationId xmlns:a16="http://schemas.microsoft.com/office/drawing/2014/main" id="{7765A446-C679-3C21-6DB2-E6E244E9DB91}"/>
              </a:ext>
            </a:extLst>
          </p:cNvPr>
          <p:cNvSpPr>
            <a:spLocks noGrp="1"/>
          </p:cNvSpPr>
          <p:nvPr>
            <p:ph type="sldNum" sz="quarter" idx="4"/>
          </p:nvPr>
        </p:nvSpPr>
        <p:spPr>
          <a:xfrm>
            <a:off x="282141" y="4711552"/>
            <a:ext cx="2057400" cy="273844"/>
          </a:xfrm>
          <a:prstGeom prst="rect">
            <a:avLst/>
          </a:prstGeom>
        </p:spPr>
        <p:txBody>
          <a:bodyPr vert="horz" lIns="91440" tIns="45720" rIns="91440" bIns="45720" rtlCol="0" anchor="b"/>
          <a:lstStyle>
            <a:lvl1pPr algn="r">
              <a:defRPr sz="750">
                <a:solidFill>
                  <a:schemeClr val="bg1"/>
                </a:solidFill>
                <a:latin typeface="+mn-lt"/>
              </a:defRPr>
            </a:lvl1pPr>
          </a:lstStyle>
          <a:p>
            <a:pPr algn="l"/>
            <a:fld id="{768364BB-9B21-4D29-A19C-C6410F652861}" type="slidenum">
              <a:rPr lang="en-IE" smtClean="0"/>
              <a:pPr algn="l"/>
              <a:t>‹#›</a:t>
            </a:fld>
            <a:endParaRPr lang="en-IE"/>
          </a:p>
        </p:txBody>
      </p:sp>
    </p:spTree>
    <p:extLst>
      <p:ext uri="{BB962C8B-B14F-4D97-AF65-F5344CB8AC3E}">
        <p14:creationId xmlns:p14="http://schemas.microsoft.com/office/powerpoint/2010/main" val="36925757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Content with Caption">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B513608-4B0D-40BF-A439-7BF3CE825C6E}"/>
              </a:ext>
            </a:extLst>
          </p:cNvPr>
          <p:cNvSpPr>
            <a:spLocks noGrp="1"/>
          </p:cNvSpPr>
          <p:nvPr>
            <p:ph idx="1"/>
          </p:nvPr>
        </p:nvSpPr>
        <p:spPr>
          <a:xfrm>
            <a:off x="4200040" y="741363"/>
            <a:ext cx="4316897" cy="36544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GB"/>
              <a:t>Click to edit Master text styles</a:t>
            </a:r>
          </a:p>
          <a:p>
            <a:pPr lvl="1"/>
            <a:r>
              <a:rPr lang="en-GB"/>
              <a:t>Second level</a:t>
            </a:r>
            <a:endParaRPr lang="en-LU"/>
          </a:p>
        </p:txBody>
      </p:sp>
      <p:sp>
        <p:nvSpPr>
          <p:cNvPr id="7" name="Slide Number Placeholder 6">
            <a:extLst>
              <a:ext uri="{FF2B5EF4-FFF2-40B4-BE49-F238E27FC236}">
                <a16:creationId xmlns:a16="http://schemas.microsoft.com/office/drawing/2014/main" id="{BC024F59-D944-01C5-8E6D-EEE9C6791996}"/>
              </a:ext>
            </a:extLst>
          </p:cNvPr>
          <p:cNvSpPr>
            <a:spLocks noGrp="1"/>
          </p:cNvSpPr>
          <p:nvPr>
            <p:ph type="sldNum" sz="quarter" idx="12"/>
          </p:nvPr>
        </p:nvSpPr>
        <p:spPr/>
        <p:txBody>
          <a:bodyPr/>
          <a:lstStyle/>
          <a:p>
            <a:fld id="{0F67114D-ED23-2A43-BD26-04D629DC704A}" type="slidenum">
              <a:rPr lang="en-LU" smtClean="0"/>
              <a:t>‹#›</a:t>
            </a:fld>
            <a:endParaRPr lang="en-LU"/>
          </a:p>
        </p:txBody>
      </p:sp>
      <p:sp>
        <p:nvSpPr>
          <p:cNvPr id="5" name="Text Placeholder 6">
            <a:extLst>
              <a:ext uri="{FF2B5EF4-FFF2-40B4-BE49-F238E27FC236}">
                <a16:creationId xmlns:a16="http://schemas.microsoft.com/office/drawing/2014/main" id="{3C9509BE-F720-ADCB-B3F1-CF5D9B27B36A}"/>
              </a:ext>
            </a:extLst>
          </p:cNvPr>
          <p:cNvSpPr>
            <a:spLocks noGrp="1"/>
          </p:cNvSpPr>
          <p:nvPr>
            <p:ph type="body" sz="quarter" idx="13" hasCustomPrompt="1"/>
          </p:nvPr>
        </p:nvSpPr>
        <p:spPr>
          <a:xfrm>
            <a:off x="1587500" y="4767264"/>
            <a:ext cx="2774950" cy="164386"/>
          </a:xfrm>
        </p:spPr>
        <p:txBody>
          <a:bodyPr lIns="0" tIns="0" rIns="0" bIns="0" anchor="b" anchorCtr="0">
            <a:noAutofit/>
          </a:bodyPr>
          <a:lstStyle>
            <a:lvl1pPr marL="0" indent="0">
              <a:buNone/>
              <a:defRPr sz="1000">
                <a:solidFill>
                  <a:schemeClr val="tx1">
                    <a:lumMod val="50000"/>
                    <a:lumOff val="50000"/>
                  </a:schemeClr>
                </a:solidFill>
              </a:defRPr>
            </a:lvl1pPr>
            <a:lvl2pPr marL="457200" indent="0">
              <a:buNone/>
              <a:defRPr sz="1000">
                <a:solidFill>
                  <a:schemeClr val="tx1">
                    <a:lumMod val="50000"/>
                    <a:lumOff val="50000"/>
                  </a:schemeClr>
                </a:solidFill>
              </a:defRPr>
            </a:lvl2pPr>
            <a:lvl3pPr marL="914400" indent="0">
              <a:buNone/>
              <a:defRPr sz="1000">
                <a:solidFill>
                  <a:schemeClr val="tx1">
                    <a:lumMod val="50000"/>
                    <a:lumOff val="50000"/>
                  </a:schemeClr>
                </a:solidFill>
              </a:defRPr>
            </a:lvl3pPr>
            <a:lvl4pPr marL="1371600" indent="0">
              <a:buNone/>
              <a:defRPr sz="1000">
                <a:solidFill>
                  <a:schemeClr val="tx1">
                    <a:lumMod val="50000"/>
                    <a:lumOff val="50000"/>
                  </a:schemeClr>
                </a:solidFill>
              </a:defRPr>
            </a:lvl4pPr>
            <a:lvl5pPr marL="1828800" indent="0">
              <a:buNone/>
              <a:defRPr sz="1000">
                <a:solidFill>
                  <a:schemeClr val="tx1">
                    <a:lumMod val="50000"/>
                    <a:lumOff val="50000"/>
                  </a:schemeClr>
                </a:solidFill>
              </a:defRPr>
            </a:lvl5pPr>
          </a:lstStyle>
          <a:p>
            <a:pPr lvl="0"/>
            <a:r>
              <a:rPr lang="en-GB"/>
              <a:t>Insert here the title of the presentation</a:t>
            </a:r>
            <a:endParaRPr lang="en-LU"/>
          </a:p>
        </p:txBody>
      </p:sp>
      <p:sp>
        <p:nvSpPr>
          <p:cNvPr id="8" name="Title 1">
            <a:extLst>
              <a:ext uri="{FF2B5EF4-FFF2-40B4-BE49-F238E27FC236}">
                <a16:creationId xmlns:a16="http://schemas.microsoft.com/office/drawing/2014/main" id="{1FB1D257-B025-B885-922C-97A322BB5254}"/>
              </a:ext>
            </a:extLst>
          </p:cNvPr>
          <p:cNvSpPr>
            <a:spLocks noGrp="1"/>
          </p:cNvSpPr>
          <p:nvPr>
            <p:ph type="title" hasCustomPrompt="1"/>
          </p:nvPr>
        </p:nvSpPr>
        <p:spPr>
          <a:xfrm>
            <a:off x="709200" y="934598"/>
            <a:ext cx="3060755" cy="671565"/>
          </a:xfrm>
        </p:spPr>
        <p:txBody>
          <a:bodyPr lIns="0" tIns="0" rIns="0" bIns="0" anchor="t" anchorCtr="0"/>
          <a:lstStyle>
            <a:lvl1pPr>
              <a:defRPr sz="2400">
                <a:solidFill>
                  <a:srgbClr val="F15A24"/>
                </a:solidFill>
              </a:defRPr>
            </a:lvl1pPr>
          </a:lstStyle>
          <a:p>
            <a:r>
              <a:rPr lang="en-GB"/>
              <a:t>Click to edit title</a:t>
            </a:r>
            <a:endParaRPr lang="en-LU"/>
          </a:p>
        </p:txBody>
      </p:sp>
      <p:sp>
        <p:nvSpPr>
          <p:cNvPr id="9" name="Text Placeholder 13">
            <a:extLst>
              <a:ext uri="{FF2B5EF4-FFF2-40B4-BE49-F238E27FC236}">
                <a16:creationId xmlns:a16="http://schemas.microsoft.com/office/drawing/2014/main" id="{69CB858E-DBBD-00EB-DDB2-5F5317FC5968}"/>
              </a:ext>
            </a:extLst>
          </p:cNvPr>
          <p:cNvSpPr>
            <a:spLocks noGrp="1"/>
          </p:cNvSpPr>
          <p:nvPr>
            <p:ph type="body" sz="quarter" idx="14" hasCustomPrompt="1"/>
          </p:nvPr>
        </p:nvSpPr>
        <p:spPr>
          <a:xfrm>
            <a:off x="709200" y="1717482"/>
            <a:ext cx="3060700" cy="1828993"/>
          </a:xfrm>
        </p:spPr>
        <p:txBody>
          <a:bodyPr lIns="0" tIns="0" rIns="0" bIns="0">
            <a:normAutofit/>
          </a:bodyPr>
          <a:lstStyle>
            <a:lvl1pPr marL="0" indent="0">
              <a:buNone/>
              <a:defRPr sz="1400">
                <a:solidFill>
                  <a:schemeClr val="tx1">
                    <a:lumMod val="65000"/>
                    <a:lumOff val="35000"/>
                  </a:schemeClr>
                </a:solidFill>
              </a:defRPr>
            </a:lvl1pPr>
            <a:lvl2pPr marL="457200" indent="0">
              <a:buNone/>
              <a:defRPr sz="1400">
                <a:solidFill>
                  <a:schemeClr val="bg1"/>
                </a:solidFill>
              </a:defRPr>
            </a:lvl2pPr>
            <a:lvl3pPr marL="914400" indent="0">
              <a:buNone/>
              <a:defRPr sz="1400">
                <a:solidFill>
                  <a:schemeClr val="bg1"/>
                </a:solidFill>
              </a:defRPr>
            </a:lvl3pPr>
            <a:lvl4pPr marL="1371600" indent="0">
              <a:buNone/>
              <a:defRPr sz="1400">
                <a:solidFill>
                  <a:schemeClr val="bg1"/>
                </a:solidFill>
              </a:defRPr>
            </a:lvl4pPr>
            <a:lvl5pPr marL="1828800" indent="0">
              <a:buNone/>
              <a:defRPr sz="1400">
                <a:solidFill>
                  <a:schemeClr val="bg1"/>
                </a:solidFill>
              </a:defRPr>
            </a:lvl5pPr>
          </a:lstStyle>
          <a:p>
            <a:pPr lvl="0"/>
            <a:r>
              <a:rPr lang="en-GB"/>
              <a:t>Click to edit text or caption</a:t>
            </a:r>
            <a:endParaRPr lang="en-LU"/>
          </a:p>
        </p:txBody>
      </p:sp>
    </p:spTree>
    <p:extLst>
      <p:ext uri="{BB962C8B-B14F-4D97-AF65-F5344CB8AC3E}">
        <p14:creationId xmlns:p14="http://schemas.microsoft.com/office/powerpoint/2010/main" val="303296809"/>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p:cSld name="Circle picture coloured background">
    <p:bg>
      <p:bgPr>
        <a:solidFill>
          <a:srgbClr val="003399"/>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D1C58A-AE9F-CB20-353A-B865ECE39A5D}"/>
              </a:ext>
            </a:extLst>
          </p:cNvPr>
          <p:cNvSpPr>
            <a:spLocks noGrp="1"/>
          </p:cNvSpPr>
          <p:nvPr>
            <p:ph type="title"/>
          </p:nvPr>
        </p:nvSpPr>
        <p:spPr/>
        <p:txBody>
          <a:bodyPr>
            <a:noAutofit/>
          </a:bodyPr>
          <a:lstStyle>
            <a:lvl1pPr>
              <a:defRPr>
                <a:solidFill>
                  <a:schemeClr val="bg1"/>
                </a:solidFill>
              </a:defRPr>
            </a:lvl1pPr>
          </a:lstStyle>
          <a:p>
            <a:r>
              <a:rPr lang="en-US"/>
              <a:t>Click to edit Master title style</a:t>
            </a:r>
            <a:endParaRPr lang="en-IE"/>
          </a:p>
        </p:txBody>
      </p:sp>
      <p:sp>
        <p:nvSpPr>
          <p:cNvPr id="5" name="Google Shape;128;p36">
            <a:extLst>
              <a:ext uri="{FF2B5EF4-FFF2-40B4-BE49-F238E27FC236}">
                <a16:creationId xmlns:a16="http://schemas.microsoft.com/office/drawing/2014/main" id="{A266CAEF-D60F-6624-41DB-56608F2B46A5}"/>
              </a:ext>
            </a:extLst>
          </p:cNvPr>
          <p:cNvSpPr>
            <a:spLocks noGrp="1"/>
          </p:cNvSpPr>
          <p:nvPr>
            <p:ph type="pic" idx="10"/>
          </p:nvPr>
        </p:nvSpPr>
        <p:spPr>
          <a:xfrm>
            <a:off x="3114539" y="1262275"/>
            <a:ext cx="2914922" cy="2914922"/>
          </a:xfrm>
          <a:prstGeom prst="ellipse">
            <a:avLst/>
          </a:prstGeom>
          <a:solidFill>
            <a:schemeClr val="lt2"/>
          </a:solidFill>
          <a:ln w="76200">
            <a:noFill/>
          </a:ln>
        </p:spPr>
        <p:txBody>
          <a:bodyPr/>
          <a:lstStyle>
            <a:lvl1pPr marL="0" indent="0">
              <a:buNone/>
              <a:defRPr sz="1500">
                <a:solidFill>
                  <a:schemeClr val="tx2"/>
                </a:solidFill>
              </a:defRPr>
            </a:lvl1pPr>
          </a:lstStyle>
          <a:p>
            <a:r>
              <a:rPr lang="en-US"/>
              <a:t>Click icon to add picture</a:t>
            </a:r>
            <a:endParaRPr lang="en-IE"/>
          </a:p>
        </p:txBody>
      </p:sp>
      <p:pic>
        <p:nvPicPr>
          <p:cNvPr id="6" name="Picture 5" descr="A blue flag with yellow stars and stripes&#10;&#10;Description automatically generated">
            <a:extLst>
              <a:ext uri="{FF2B5EF4-FFF2-40B4-BE49-F238E27FC236}">
                <a16:creationId xmlns:a16="http://schemas.microsoft.com/office/drawing/2014/main" id="{43A5598A-C2EA-5505-BEB5-E80CA68AEDA1}"/>
              </a:ext>
            </a:extLst>
          </p:cNvPr>
          <p:cNvPicPr>
            <a:picLocks noChangeAspect="1"/>
          </p:cNvPicPr>
          <p:nvPr/>
        </p:nvPicPr>
        <p:blipFill>
          <a:blip r:embed="rId2"/>
          <a:stretch>
            <a:fillRect/>
          </a:stretch>
        </p:blipFill>
        <p:spPr>
          <a:xfrm>
            <a:off x="8044327" y="4425762"/>
            <a:ext cx="943400" cy="572400"/>
          </a:xfrm>
          <a:prstGeom prst="rect">
            <a:avLst/>
          </a:prstGeom>
        </p:spPr>
      </p:pic>
      <p:pic>
        <p:nvPicPr>
          <p:cNvPr id="4" name="Picture 3" descr="A blue flag with yellow stars and stripes&#10;&#10;Description automatically generated">
            <a:extLst>
              <a:ext uri="{FF2B5EF4-FFF2-40B4-BE49-F238E27FC236}">
                <a16:creationId xmlns:a16="http://schemas.microsoft.com/office/drawing/2014/main" id="{3D5D7A7A-28D1-BC55-7F75-53B9E5FBC534}"/>
              </a:ext>
            </a:extLst>
          </p:cNvPr>
          <p:cNvPicPr>
            <a:picLocks noChangeAspect="1"/>
          </p:cNvPicPr>
          <p:nvPr userDrawn="1"/>
        </p:nvPicPr>
        <p:blipFill>
          <a:blip r:embed="rId2"/>
          <a:stretch>
            <a:fillRect/>
          </a:stretch>
        </p:blipFill>
        <p:spPr>
          <a:xfrm>
            <a:off x="8044327" y="4425762"/>
            <a:ext cx="943400" cy="572400"/>
          </a:xfrm>
          <a:prstGeom prst="rect">
            <a:avLst/>
          </a:prstGeom>
        </p:spPr>
      </p:pic>
      <p:sp>
        <p:nvSpPr>
          <p:cNvPr id="7" name="Slide Number Placeholder 5">
            <a:extLst>
              <a:ext uri="{FF2B5EF4-FFF2-40B4-BE49-F238E27FC236}">
                <a16:creationId xmlns:a16="http://schemas.microsoft.com/office/drawing/2014/main" id="{32B7D111-DE2E-9994-A799-F62F38E83DB4}"/>
              </a:ext>
            </a:extLst>
          </p:cNvPr>
          <p:cNvSpPr>
            <a:spLocks noGrp="1"/>
          </p:cNvSpPr>
          <p:nvPr>
            <p:ph type="sldNum" sz="quarter" idx="4"/>
          </p:nvPr>
        </p:nvSpPr>
        <p:spPr>
          <a:xfrm>
            <a:off x="282141" y="4711552"/>
            <a:ext cx="2057400" cy="273844"/>
          </a:xfrm>
          <a:prstGeom prst="rect">
            <a:avLst/>
          </a:prstGeom>
        </p:spPr>
        <p:txBody>
          <a:bodyPr vert="horz" lIns="91440" tIns="45720" rIns="91440" bIns="45720" rtlCol="0" anchor="b">
            <a:noAutofit/>
          </a:bodyPr>
          <a:lstStyle>
            <a:lvl1pPr algn="r">
              <a:defRPr sz="750">
                <a:solidFill>
                  <a:schemeClr val="bg1"/>
                </a:solidFill>
                <a:latin typeface="+mn-lt"/>
              </a:defRPr>
            </a:lvl1pPr>
          </a:lstStyle>
          <a:p>
            <a:pPr algn="l"/>
            <a:fld id="{768364BB-9B21-4D29-A19C-C6410F652861}" type="slidenum">
              <a:rPr lang="en-IE" smtClean="0"/>
              <a:pPr algn="l"/>
              <a:t>‹#›</a:t>
            </a:fld>
            <a:endParaRPr lang="en-IE"/>
          </a:p>
        </p:txBody>
      </p:sp>
    </p:spTree>
    <p:extLst>
      <p:ext uri="{BB962C8B-B14F-4D97-AF65-F5344CB8AC3E}">
        <p14:creationId xmlns:p14="http://schemas.microsoft.com/office/powerpoint/2010/main" val="1773419235"/>
      </p:ext>
    </p:extLst>
  </p:cSld>
  <p:clrMapOvr>
    <a:overrideClrMapping bg1="lt1" tx1="dk1" bg2="lt2" tx2="dk2" accent1="accent1" accent2="accent2" accent3="accent3" accent4="accent4" accent5="accent5" accent6="accent6" hlink="hlink" folHlink="folHlink"/>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p:cSld name="3 Circles pictures coloured background">
    <p:bg>
      <p:bgPr>
        <a:solidFill>
          <a:srgbClr val="003399"/>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D1C58A-AE9F-CB20-353A-B865ECE39A5D}"/>
              </a:ext>
            </a:extLst>
          </p:cNvPr>
          <p:cNvSpPr>
            <a:spLocks noGrp="1"/>
          </p:cNvSpPr>
          <p:nvPr>
            <p:ph type="title"/>
          </p:nvPr>
        </p:nvSpPr>
        <p:spPr/>
        <p:txBody>
          <a:bodyPr>
            <a:noAutofit/>
          </a:bodyPr>
          <a:lstStyle>
            <a:lvl1pPr>
              <a:defRPr>
                <a:solidFill>
                  <a:schemeClr val="bg1"/>
                </a:solidFill>
              </a:defRPr>
            </a:lvl1pPr>
          </a:lstStyle>
          <a:p>
            <a:r>
              <a:rPr lang="en-US"/>
              <a:t>Click to edit Master title style</a:t>
            </a:r>
            <a:endParaRPr lang="en-IE"/>
          </a:p>
        </p:txBody>
      </p:sp>
      <p:sp>
        <p:nvSpPr>
          <p:cNvPr id="5" name="Google Shape;128;p36">
            <a:extLst>
              <a:ext uri="{FF2B5EF4-FFF2-40B4-BE49-F238E27FC236}">
                <a16:creationId xmlns:a16="http://schemas.microsoft.com/office/drawing/2014/main" id="{A266CAEF-D60F-6624-41DB-56608F2B46A5}"/>
              </a:ext>
            </a:extLst>
          </p:cNvPr>
          <p:cNvSpPr>
            <a:spLocks noGrp="1"/>
          </p:cNvSpPr>
          <p:nvPr>
            <p:ph type="pic" idx="10"/>
          </p:nvPr>
        </p:nvSpPr>
        <p:spPr>
          <a:xfrm>
            <a:off x="628651" y="1442923"/>
            <a:ext cx="2257655" cy="2257655"/>
          </a:xfrm>
          <a:prstGeom prst="ellipse">
            <a:avLst/>
          </a:prstGeom>
          <a:solidFill>
            <a:schemeClr val="lt2"/>
          </a:solidFill>
          <a:ln w="76200">
            <a:noFill/>
          </a:ln>
        </p:spPr>
        <p:txBody>
          <a:bodyPr/>
          <a:lstStyle>
            <a:lvl1pPr marL="0" indent="0">
              <a:buNone/>
              <a:defRPr sz="1500">
                <a:solidFill>
                  <a:schemeClr val="tx2"/>
                </a:solidFill>
              </a:defRPr>
            </a:lvl1pPr>
          </a:lstStyle>
          <a:p>
            <a:r>
              <a:rPr lang="en-US"/>
              <a:t>Click icon to add picture</a:t>
            </a:r>
            <a:endParaRPr lang="en-IE"/>
          </a:p>
        </p:txBody>
      </p:sp>
      <p:sp>
        <p:nvSpPr>
          <p:cNvPr id="8" name="Google Shape;128;p36">
            <a:extLst>
              <a:ext uri="{FF2B5EF4-FFF2-40B4-BE49-F238E27FC236}">
                <a16:creationId xmlns:a16="http://schemas.microsoft.com/office/drawing/2014/main" id="{7DC5575C-474B-C81C-6517-E882E9E5246B}"/>
              </a:ext>
            </a:extLst>
          </p:cNvPr>
          <p:cNvSpPr>
            <a:spLocks noGrp="1"/>
          </p:cNvSpPr>
          <p:nvPr>
            <p:ph type="pic" idx="11"/>
          </p:nvPr>
        </p:nvSpPr>
        <p:spPr>
          <a:xfrm>
            <a:off x="3443173" y="1442923"/>
            <a:ext cx="2257655" cy="2257655"/>
          </a:xfrm>
          <a:prstGeom prst="ellipse">
            <a:avLst/>
          </a:prstGeom>
          <a:solidFill>
            <a:schemeClr val="lt2"/>
          </a:solidFill>
          <a:ln w="76200">
            <a:noFill/>
          </a:ln>
        </p:spPr>
        <p:txBody>
          <a:bodyPr/>
          <a:lstStyle>
            <a:lvl1pPr marL="0" indent="0">
              <a:buNone/>
              <a:defRPr sz="1500">
                <a:solidFill>
                  <a:schemeClr val="tx2"/>
                </a:solidFill>
              </a:defRPr>
            </a:lvl1pPr>
          </a:lstStyle>
          <a:p>
            <a:r>
              <a:rPr lang="en-US"/>
              <a:t>Click icon to add picture</a:t>
            </a:r>
            <a:endParaRPr lang="en-IE"/>
          </a:p>
        </p:txBody>
      </p:sp>
      <p:sp>
        <p:nvSpPr>
          <p:cNvPr id="10" name="Google Shape;128;p36">
            <a:extLst>
              <a:ext uri="{FF2B5EF4-FFF2-40B4-BE49-F238E27FC236}">
                <a16:creationId xmlns:a16="http://schemas.microsoft.com/office/drawing/2014/main" id="{948E1B30-A652-44AE-9B5E-AC9365965BF4}"/>
              </a:ext>
            </a:extLst>
          </p:cNvPr>
          <p:cNvSpPr>
            <a:spLocks noGrp="1"/>
          </p:cNvSpPr>
          <p:nvPr>
            <p:ph type="pic" idx="12"/>
          </p:nvPr>
        </p:nvSpPr>
        <p:spPr>
          <a:xfrm>
            <a:off x="6257695" y="1442923"/>
            <a:ext cx="2257655" cy="2257655"/>
          </a:xfrm>
          <a:prstGeom prst="ellipse">
            <a:avLst/>
          </a:prstGeom>
          <a:solidFill>
            <a:schemeClr val="lt2"/>
          </a:solidFill>
          <a:ln w="76200">
            <a:noFill/>
          </a:ln>
        </p:spPr>
        <p:txBody>
          <a:bodyPr/>
          <a:lstStyle>
            <a:lvl1pPr marL="0" indent="0">
              <a:buNone/>
              <a:defRPr sz="1500">
                <a:solidFill>
                  <a:schemeClr val="tx2"/>
                </a:solidFill>
              </a:defRPr>
            </a:lvl1pPr>
          </a:lstStyle>
          <a:p>
            <a:r>
              <a:rPr lang="en-US"/>
              <a:t>Click icon to add picture</a:t>
            </a:r>
            <a:endParaRPr lang="en-IE"/>
          </a:p>
        </p:txBody>
      </p:sp>
      <p:pic>
        <p:nvPicPr>
          <p:cNvPr id="6" name="Picture 5" descr="A blue flag with yellow stars and stripes&#10;&#10;Description automatically generated">
            <a:extLst>
              <a:ext uri="{FF2B5EF4-FFF2-40B4-BE49-F238E27FC236}">
                <a16:creationId xmlns:a16="http://schemas.microsoft.com/office/drawing/2014/main" id="{D4D01C79-8E51-7320-51B2-6B4D1CD158EC}"/>
              </a:ext>
            </a:extLst>
          </p:cNvPr>
          <p:cNvPicPr>
            <a:picLocks noChangeAspect="1"/>
          </p:cNvPicPr>
          <p:nvPr/>
        </p:nvPicPr>
        <p:blipFill>
          <a:blip r:embed="rId2"/>
          <a:stretch>
            <a:fillRect/>
          </a:stretch>
        </p:blipFill>
        <p:spPr>
          <a:xfrm>
            <a:off x="8044327" y="4425762"/>
            <a:ext cx="943400" cy="572400"/>
          </a:xfrm>
          <a:prstGeom prst="rect">
            <a:avLst/>
          </a:prstGeom>
        </p:spPr>
      </p:pic>
      <p:pic>
        <p:nvPicPr>
          <p:cNvPr id="3" name="Picture 2" descr="A blue flag with yellow stars and stripes&#10;&#10;Description automatically generated">
            <a:extLst>
              <a:ext uri="{FF2B5EF4-FFF2-40B4-BE49-F238E27FC236}">
                <a16:creationId xmlns:a16="http://schemas.microsoft.com/office/drawing/2014/main" id="{D6200794-8F7F-E0F0-3735-90CCC24A8AC7}"/>
              </a:ext>
            </a:extLst>
          </p:cNvPr>
          <p:cNvPicPr>
            <a:picLocks noChangeAspect="1"/>
          </p:cNvPicPr>
          <p:nvPr userDrawn="1"/>
        </p:nvPicPr>
        <p:blipFill>
          <a:blip r:embed="rId2"/>
          <a:stretch>
            <a:fillRect/>
          </a:stretch>
        </p:blipFill>
        <p:spPr>
          <a:xfrm>
            <a:off x="8044327" y="4425762"/>
            <a:ext cx="943400" cy="572400"/>
          </a:xfrm>
          <a:prstGeom prst="rect">
            <a:avLst/>
          </a:prstGeom>
        </p:spPr>
      </p:pic>
      <p:sp>
        <p:nvSpPr>
          <p:cNvPr id="7" name="Slide Number Placeholder 5">
            <a:extLst>
              <a:ext uri="{FF2B5EF4-FFF2-40B4-BE49-F238E27FC236}">
                <a16:creationId xmlns:a16="http://schemas.microsoft.com/office/drawing/2014/main" id="{C6271D99-21D4-ED76-0E54-1ECA6FD71E4F}"/>
              </a:ext>
            </a:extLst>
          </p:cNvPr>
          <p:cNvSpPr>
            <a:spLocks noGrp="1"/>
          </p:cNvSpPr>
          <p:nvPr>
            <p:ph type="sldNum" sz="quarter" idx="4"/>
          </p:nvPr>
        </p:nvSpPr>
        <p:spPr>
          <a:xfrm>
            <a:off x="282141" y="4711552"/>
            <a:ext cx="2057400" cy="273844"/>
          </a:xfrm>
          <a:prstGeom prst="rect">
            <a:avLst/>
          </a:prstGeom>
        </p:spPr>
        <p:txBody>
          <a:bodyPr vert="horz" lIns="91440" tIns="45720" rIns="91440" bIns="45720" rtlCol="0" anchor="b">
            <a:noAutofit/>
          </a:bodyPr>
          <a:lstStyle>
            <a:lvl1pPr algn="r">
              <a:defRPr sz="750">
                <a:solidFill>
                  <a:schemeClr val="bg1"/>
                </a:solidFill>
                <a:latin typeface="+mn-lt"/>
              </a:defRPr>
            </a:lvl1pPr>
          </a:lstStyle>
          <a:p>
            <a:pPr algn="l"/>
            <a:fld id="{768364BB-9B21-4D29-A19C-C6410F652861}" type="slidenum">
              <a:rPr lang="en-IE" smtClean="0"/>
              <a:pPr algn="l"/>
              <a:t>‹#›</a:t>
            </a:fld>
            <a:endParaRPr lang="en-IE"/>
          </a:p>
        </p:txBody>
      </p:sp>
    </p:spTree>
    <p:extLst>
      <p:ext uri="{BB962C8B-B14F-4D97-AF65-F5344CB8AC3E}">
        <p14:creationId xmlns:p14="http://schemas.microsoft.com/office/powerpoint/2010/main" val="3224604630"/>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p:cSld name="3 Circles pictures white background">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D1C58A-AE9F-CB20-353A-B865ECE39A5D}"/>
              </a:ext>
            </a:extLst>
          </p:cNvPr>
          <p:cNvSpPr>
            <a:spLocks noGrp="1"/>
          </p:cNvSpPr>
          <p:nvPr>
            <p:ph type="title"/>
          </p:nvPr>
        </p:nvSpPr>
        <p:spPr/>
        <p:txBody>
          <a:bodyPr>
            <a:noAutofit/>
          </a:bodyPr>
          <a:lstStyle>
            <a:lvl1pPr>
              <a:defRPr>
                <a:solidFill>
                  <a:srgbClr val="003399"/>
                </a:solidFill>
              </a:defRPr>
            </a:lvl1pPr>
          </a:lstStyle>
          <a:p>
            <a:r>
              <a:rPr lang="en-US"/>
              <a:t>Click to edit Master title style</a:t>
            </a:r>
            <a:endParaRPr lang="en-IE"/>
          </a:p>
        </p:txBody>
      </p:sp>
      <p:sp>
        <p:nvSpPr>
          <p:cNvPr id="5" name="Google Shape;128;p36">
            <a:extLst>
              <a:ext uri="{FF2B5EF4-FFF2-40B4-BE49-F238E27FC236}">
                <a16:creationId xmlns:a16="http://schemas.microsoft.com/office/drawing/2014/main" id="{A266CAEF-D60F-6624-41DB-56608F2B46A5}"/>
              </a:ext>
            </a:extLst>
          </p:cNvPr>
          <p:cNvSpPr>
            <a:spLocks noGrp="1"/>
          </p:cNvSpPr>
          <p:nvPr>
            <p:ph type="pic" idx="10"/>
          </p:nvPr>
        </p:nvSpPr>
        <p:spPr>
          <a:xfrm>
            <a:off x="628651" y="1442923"/>
            <a:ext cx="2257655" cy="2257655"/>
          </a:xfrm>
          <a:prstGeom prst="ellipse">
            <a:avLst/>
          </a:prstGeom>
          <a:solidFill>
            <a:schemeClr val="lt2"/>
          </a:solidFill>
          <a:ln w="76200">
            <a:noFill/>
          </a:ln>
        </p:spPr>
        <p:txBody>
          <a:bodyPr/>
          <a:lstStyle>
            <a:lvl1pPr marL="0" indent="0">
              <a:buNone/>
              <a:defRPr sz="1500">
                <a:solidFill>
                  <a:schemeClr val="tx2"/>
                </a:solidFill>
              </a:defRPr>
            </a:lvl1pPr>
          </a:lstStyle>
          <a:p>
            <a:r>
              <a:rPr lang="en-US"/>
              <a:t>Click icon to add picture</a:t>
            </a:r>
            <a:endParaRPr lang="en-IE"/>
          </a:p>
        </p:txBody>
      </p:sp>
      <p:sp>
        <p:nvSpPr>
          <p:cNvPr id="8" name="Google Shape;128;p36">
            <a:extLst>
              <a:ext uri="{FF2B5EF4-FFF2-40B4-BE49-F238E27FC236}">
                <a16:creationId xmlns:a16="http://schemas.microsoft.com/office/drawing/2014/main" id="{7DC5575C-474B-C81C-6517-E882E9E5246B}"/>
              </a:ext>
            </a:extLst>
          </p:cNvPr>
          <p:cNvSpPr>
            <a:spLocks noGrp="1"/>
          </p:cNvSpPr>
          <p:nvPr>
            <p:ph type="pic" idx="11"/>
          </p:nvPr>
        </p:nvSpPr>
        <p:spPr>
          <a:xfrm>
            <a:off x="3443173" y="1442923"/>
            <a:ext cx="2257655" cy="2257655"/>
          </a:xfrm>
          <a:prstGeom prst="ellipse">
            <a:avLst/>
          </a:prstGeom>
          <a:solidFill>
            <a:schemeClr val="lt2"/>
          </a:solidFill>
          <a:ln w="76200">
            <a:noFill/>
          </a:ln>
        </p:spPr>
        <p:txBody>
          <a:bodyPr/>
          <a:lstStyle>
            <a:lvl1pPr marL="0" indent="0">
              <a:buNone/>
              <a:defRPr sz="1500">
                <a:solidFill>
                  <a:schemeClr val="tx2"/>
                </a:solidFill>
              </a:defRPr>
            </a:lvl1pPr>
          </a:lstStyle>
          <a:p>
            <a:r>
              <a:rPr lang="en-US"/>
              <a:t>Click icon to add picture</a:t>
            </a:r>
            <a:endParaRPr lang="en-IE"/>
          </a:p>
        </p:txBody>
      </p:sp>
      <p:sp>
        <p:nvSpPr>
          <p:cNvPr id="10" name="Google Shape;128;p36">
            <a:extLst>
              <a:ext uri="{FF2B5EF4-FFF2-40B4-BE49-F238E27FC236}">
                <a16:creationId xmlns:a16="http://schemas.microsoft.com/office/drawing/2014/main" id="{948E1B30-A652-44AE-9B5E-AC9365965BF4}"/>
              </a:ext>
            </a:extLst>
          </p:cNvPr>
          <p:cNvSpPr>
            <a:spLocks noGrp="1"/>
          </p:cNvSpPr>
          <p:nvPr>
            <p:ph type="pic" idx="12"/>
          </p:nvPr>
        </p:nvSpPr>
        <p:spPr>
          <a:xfrm>
            <a:off x="6257695" y="1442923"/>
            <a:ext cx="2257655" cy="2257655"/>
          </a:xfrm>
          <a:prstGeom prst="ellipse">
            <a:avLst/>
          </a:prstGeom>
          <a:solidFill>
            <a:schemeClr val="lt2"/>
          </a:solidFill>
          <a:ln w="76200">
            <a:noFill/>
          </a:ln>
        </p:spPr>
        <p:txBody>
          <a:bodyPr/>
          <a:lstStyle>
            <a:lvl1pPr marL="0" indent="0">
              <a:buNone/>
              <a:defRPr sz="1500">
                <a:solidFill>
                  <a:schemeClr val="tx2"/>
                </a:solidFill>
              </a:defRPr>
            </a:lvl1pPr>
          </a:lstStyle>
          <a:p>
            <a:r>
              <a:rPr lang="en-US"/>
              <a:t>Click icon to add picture</a:t>
            </a:r>
            <a:endParaRPr lang="en-IE"/>
          </a:p>
        </p:txBody>
      </p:sp>
      <p:sp>
        <p:nvSpPr>
          <p:cNvPr id="4" name="Slide Number Placeholder 5">
            <a:extLst>
              <a:ext uri="{FF2B5EF4-FFF2-40B4-BE49-F238E27FC236}">
                <a16:creationId xmlns:a16="http://schemas.microsoft.com/office/drawing/2014/main" id="{F37EF38B-E8AF-66F2-44F8-7A5DA7FF345C}"/>
              </a:ext>
            </a:extLst>
          </p:cNvPr>
          <p:cNvSpPr>
            <a:spLocks noGrp="1"/>
          </p:cNvSpPr>
          <p:nvPr>
            <p:ph type="sldNum" sz="quarter" idx="4"/>
          </p:nvPr>
        </p:nvSpPr>
        <p:spPr>
          <a:xfrm>
            <a:off x="282141" y="4711552"/>
            <a:ext cx="2057400" cy="273844"/>
          </a:xfrm>
          <a:prstGeom prst="rect">
            <a:avLst/>
          </a:prstGeom>
        </p:spPr>
        <p:txBody>
          <a:bodyPr vert="horz" lIns="91440" tIns="45720" rIns="91440" bIns="45720" rtlCol="0" anchor="b">
            <a:noAutofit/>
          </a:bodyPr>
          <a:lstStyle>
            <a:lvl1pPr algn="r">
              <a:defRPr sz="750">
                <a:solidFill>
                  <a:schemeClr val="tx1"/>
                </a:solidFill>
                <a:latin typeface="+mn-lt"/>
              </a:defRPr>
            </a:lvl1pPr>
          </a:lstStyle>
          <a:p>
            <a:pPr algn="l"/>
            <a:fld id="{768364BB-9B21-4D29-A19C-C6410F652861}" type="slidenum">
              <a:rPr lang="en-IE" smtClean="0"/>
              <a:pPr algn="l"/>
              <a:t>‹#›</a:t>
            </a:fld>
            <a:endParaRPr lang="en-IE"/>
          </a:p>
        </p:txBody>
      </p:sp>
    </p:spTree>
    <p:extLst>
      <p:ext uri="{BB962C8B-B14F-4D97-AF65-F5344CB8AC3E}">
        <p14:creationId xmlns:p14="http://schemas.microsoft.com/office/powerpoint/2010/main" val="3051259319"/>
      </p:ext>
    </p:extLst>
  </p:cSld>
  <p:clrMapOvr>
    <a:overrideClrMapping bg1="lt1" tx1="dk1" bg2="lt2" tx2="dk2" accent1="accent1" accent2="accent2" accent3="accent3" accent4="accent4" accent5="accent5" accent6="accent6" hlink="hlink" folHlink="folHlink"/>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p:cSld name="4 Circles pictures white backgroun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D1C58A-AE9F-CB20-353A-B865ECE39A5D}"/>
              </a:ext>
            </a:extLst>
          </p:cNvPr>
          <p:cNvSpPr>
            <a:spLocks noGrp="1"/>
          </p:cNvSpPr>
          <p:nvPr>
            <p:ph type="title"/>
          </p:nvPr>
        </p:nvSpPr>
        <p:spPr/>
        <p:txBody>
          <a:bodyPr>
            <a:noAutofit/>
          </a:bodyPr>
          <a:lstStyle/>
          <a:p>
            <a:r>
              <a:rPr lang="en-US"/>
              <a:t>Click to edit Master title style</a:t>
            </a:r>
            <a:endParaRPr lang="en-IE"/>
          </a:p>
        </p:txBody>
      </p:sp>
      <p:sp>
        <p:nvSpPr>
          <p:cNvPr id="4" name="Google Shape;128;p36">
            <a:extLst>
              <a:ext uri="{FF2B5EF4-FFF2-40B4-BE49-F238E27FC236}">
                <a16:creationId xmlns:a16="http://schemas.microsoft.com/office/drawing/2014/main" id="{C6066961-5253-C2E8-C59C-7D3AEA190748}"/>
              </a:ext>
            </a:extLst>
          </p:cNvPr>
          <p:cNvSpPr>
            <a:spLocks noGrp="1"/>
          </p:cNvSpPr>
          <p:nvPr>
            <p:ph type="pic" idx="2"/>
          </p:nvPr>
        </p:nvSpPr>
        <p:spPr>
          <a:xfrm>
            <a:off x="628651" y="1233055"/>
            <a:ext cx="1338695" cy="1338695"/>
          </a:xfrm>
          <a:prstGeom prst="ellipse">
            <a:avLst/>
          </a:prstGeom>
          <a:solidFill>
            <a:schemeClr val="lt2"/>
          </a:solidFill>
          <a:ln w="57150">
            <a:noFill/>
          </a:ln>
        </p:spPr>
        <p:txBody>
          <a:bodyPr/>
          <a:lstStyle>
            <a:lvl1pPr marL="0" indent="0">
              <a:buNone/>
              <a:defRPr sz="1500">
                <a:solidFill>
                  <a:schemeClr val="tx2"/>
                </a:solidFill>
              </a:defRPr>
            </a:lvl1pPr>
          </a:lstStyle>
          <a:p>
            <a:r>
              <a:rPr lang="en-US"/>
              <a:t>Click icon to add picture</a:t>
            </a:r>
            <a:endParaRPr lang="en-IE"/>
          </a:p>
        </p:txBody>
      </p:sp>
      <p:sp>
        <p:nvSpPr>
          <p:cNvPr id="3" name="Content Placeholder 2">
            <a:extLst>
              <a:ext uri="{FF2B5EF4-FFF2-40B4-BE49-F238E27FC236}">
                <a16:creationId xmlns:a16="http://schemas.microsoft.com/office/drawing/2014/main" id="{833F6E74-65E4-088E-A627-F5CBCB9E0FAA}"/>
              </a:ext>
            </a:extLst>
          </p:cNvPr>
          <p:cNvSpPr>
            <a:spLocks noGrp="1"/>
          </p:cNvSpPr>
          <p:nvPr>
            <p:ph sz="half" idx="1"/>
          </p:nvPr>
        </p:nvSpPr>
        <p:spPr>
          <a:xfrm>
            <a:off x="2165515" y="1344316"/>
            <a:ext cx="2161388" cy="1116172"/>
          </a:xfrm>
        </p:spPr>
        <p:txBody>
          <a:bodyPr>
            <a:noAutofit/>
          </a:bodyPr>
          <a:lstStyle>
            <a:lvl1pPr marL="0" indent="0">
              <a:buNone/>
              <a:defRPr sz="1500"/>
            </a:lvl1pPr>
          </a:lstStyle>
          <a:p>
            <a:pPr lvl="0"/>
            <a:r>
              <a:rPr lang="en-US"/>
              <a:t>Click to edit Master text styles</a:t>
            </a:r>
          </a:p>
        </p:txBody>
      </p:sp>
      <p:sp>
        <p:nvSpPr>
          <p:cNvPr id="22" name="Google Shape;128;p36">
            <a:extLst>
              <a:ext uri="{FF2B5EF4-FFF2-40B4-BE49-F238E27FC236}">
                <a16:creationId xmlns:a16="http://schemas.microsoft.com/office/drawing/2014/main" id="{530B519E-B8E9-0851-34A7-4EBCABDB1F24}"/>
              </a:ext>
            </a:extLst>
          </p:cNvPr>
          <p:cNvSpPr>
            <a:spLocks noGrp="1"/>
          </p:cNvSpPr>
          <p:nvPr>
            <p:ph type="pic" idx="19"/>
          </p:nvPr>
        </p:nvSpPr>
        <p:spPr>
          <a:xfrm>
            <a:off x="628649" y="2845141"/>
            <a:ext cx="1338695" cy="1338695"/>
          </a:xfrm>
          <a:prstGeom prst="ellipse">
            <a:avLst/>
          </a:prstGeom>
          <a:solidFill>
            <a:schemeClr val="lt2"/>
          </a:solidFill>
          <a:ln w="57150">
            <a:noFill/>
          </a:ln>
        </p:spPr>
        <p:txBody>
          <a:bodyPr/>
          <a:lstStyle>
            <a:lvl1pPr marL="0" indent="0">
              <a:buNone/>
              <a:defRPr sz="1500">
                <a:solidFill>
                  <a:schemeClr val="tx2"/>
                </a:solidFill>
              </a:defRPr>
            </a:lvl1pPr>
          </a:lstStyle>
          <a:p>
            <a:r>
              <a:rPr lang="en-US"/>
              <a:t>Click icon to add picture</a:t>
            </a:r>
            <a:endParaRPr lang="en-IE"/>
          </a:p>
        </p:txBody>
      </p:sp>
      <p:sp>
        <p:nvSpPr>
          <p:cNvPr id="21" name="Content Placeholder 2">
            <a:extLst>
              <a:ext uri="{FF2B5EF4-FFF2-40B4-BE49-F238E27FC236}">
                <a16:creationId xmlns:a16="http://schemas.microsoft.com/office/drawing/2014/main" id="{B7CC6BA2-60D9-1664-3253-8468AB06B3BA}"/>
              </a:ext>
            </a:extLst>
          </p:cNvPr>
          <p:cNvSpPr>
            <a:spLocks noGrp="1"/>
          </p:cNvSpPr>
          <p:nvPr>
            <p:ph sz="half" idx="18"/>
          </p:nvPr>
        </p:nvSpPr>
        <p:spPr>
          <a:xfrm>
            <a:off x="2165514" y="2956401"/>
            <a:ext cx="2161388" cy="1116172"/>
          </a:xfrm>
        </p:spPr>
        <p:txBody>
          <a:bodyPr>
            <a:noAutofit/>
          </a:bodyPr>
          <a:lstStyle>
            <a:lvl1pPr marL="0" indent="0">
              <a:buNone/>
              <a:defRPr sz="1500"/>
            </a:lvl1pPr>
          </a:lstStyle>
          <a:p>
            <a:pPr lvl="0"/>
            <a:r>
              <a:rPr lang="en-US"/>
              <a:t>Click to edit Master text styles</a:t>
            </a:r>
          </a:p>
        </p:txBody>
      </p:sp>
      <p:sp>
        <p:nvSpPr>
          <p:cNvPr id="6" name="Google Shape;128;p36">
            <a:extLst>
              <a:ext uri="{FF2B5EF4-FFF2-40B4-BE49-F238E27FC236}">
                <a16:creationId xmlns:a16="http://schemas.microsoft.com/office/drawing/2014/main" id="{B0466037-50F3-96B3-1B0E-06D3D18B8BCE}"/>
              </a:ext>
            </a:extLst>
          </p:cNvPr>
          <p:cNvSpPr>
            <a:spLocks noGrp="1"/>
          </p:cNvSpPr>
          <p:nvPr>
            <p:ph type="pic" idx="21"/>
          </p:nvPr>
        </p:nvSpPr>
        <p:spPr>
          <a:xfrm>
            <a:off x="4817098" y="1259703"/>
            <a:ext cx="1338695" cy="1338695"/>
          </a:xfrm>
          <a:prstGeom prst="ellipse">
            <a:avLst/>
          </a:prstGeom>
          <a:solidFill>
            <a:schemeClr val="lt2"/>
          </a:solidFill>
          <a:ln w="57150">
            <a:noFill/>
          </a:ln>
        </p:spPr>
        <p:txBody>
          <a:bodyPr/>
          <a:lstStyle>
            <a:lvl1pPr marL="0" indent="0">
              <a:buNone/>
              <a:defRPr sz="1500">
                <a:solidFill>
                  <a:schemeClr val="tx2"/>
                </a:solidFill>
              </a:defRPr>
            </a:lvl1pPr>
          </a:lstStyle>
          <a:p>
            <a:r>
              <a:rPr lang="en-US"/>
              <a:t>Click icon to add picture</a:t>
            </a:r>
            <a:endParaRPr lang="en-IE"/>
          </a:p>
        </p:txBody>
      </p:sp>
      <p:sp>
        <p:nvSpPr>
          <p:cNvPr id="5" name="Content Placeholder 2">
            <a:extLst>
              <a:ext uri="{FF2B5EF4-FFF2-40B4-BE49-F238E27FC236}">
                <a16:creationId xmlns:a16="http://schemas.microsoft.com/office/drawing/2014/main" id="{6BC1C8BB-B6BF-EFC9-4FB7-FE68ADABF649}"/>
              </a:ext>
            </a:extLst>
          </p:cNvPr>
          <p:cNvSpPr>
            <a:spLocks noGrp="1"/>
          </p:cNvSpPr>
          <p:nvPr>
            <p:ph sz="half" idx="20"/>
          </p:nvPr>
        </p:nvSpPr>
        <p:spPr>
          <a:xfrm>
            <a:off x="6353962" y="1370964"/>
            <a:ext cx="2161388" cy="1116172"/>
          </a:xfrm>
        </p:spPr>
        <p:txBody>
          <a:bodyPr>
            <a:noAutofit/>
          </a:bodyPr>
          <a:lstStyle>
            <a:lvl1pPr marL="0" indent="0">
              <a:buNone/>
              <a:defRPr sz="1500"/>
            </a:lvl1pPr>
          </a:lstStyle>
          <a:p>
            <a:pPr lvl="0"/>
            <a:r>
              <a:rPr lang="en-US"/>
              <a:t>Click to edit Master text styles</a:t>
            </a:r>
          </a:p>
        </p:txBody>
      </p:sp>
      <p:sp>
        <p:nvSpPr>
          <p:cNvPr id="8" name="Google Shape;128;p36">
            <a:extLst>
              <a:ext uri="{FF2B5EF4-FFF2-40B4-BE49-F238E27FC236}">
                <a16:creationId xmlns:a16="http://schemas.microsoft.com/office/drawing/2014/main" id="{2B2D1DEC-353D-0530-46BD-FAC7D81DC42A}"/>
              </a:ext>
            </a:extLst>
          </p:cNvPr>
          <p:cNvSpPr>
            <a:spLocks noGrp="1"/>
          </p:cNvSpPr>
          <p:nvPr>
            <p:ph type="pic" idx="23"/>
          </p:nvPr>
        </p:nvSpPr>
        <p:spPr>
          <a:xfrm>
            <a:off x="4817096" y="2871788"/>
            <a:ext cx="1338695" cy="1338695"/>
          </a:xfrm>
          <a:prstGeom prst="ellipse">
            <a:avLst/>
          </a:prstGeom>
          <a:solidFill>
            <a:schemeClr val="lt2"/>
          </a:solidFill>
          <a:ln w="57150">
            <a:noFill/>
          </a:ln>
        </p:spPr>
        <p:txBody>
          <a:bodyPr/>
          <a:lstStyle>
            <a:lvl1pPr marL="0" indent="0">
              <a:buNone/>
              <a:defRPr sz="1500">
                <a:solidFill>
                  <a:schemeClr val="tx2"/>
                </a:solidFill>
              </a:defRPr>
            </a:lvl1pPr>
          </a:lstStyle>
          <a:p>
            <a:r>
              <a:rPr lang="en-US"/>
              <a:t>Click icon to add picture</a:t>
            </a:r>
            <a:endParaRPr lang="en-IE"/>
          </a:p>
        </p:txBody>
      </p:sp>
      <p:sp>
        <p:nvSpPr>
          <p:cNvPr id="7" name="Content Placeholder 2">
            <a:extLst>
              <a:ext uri="{FF2B5EF4-FFF2-40B4-BE49-F238E27FC236}">
                <a16:creationId xmlns:a16="http://schemas.microsoft.com/office/drawing/2014/main" id="{DEC01048-C2DE-CFE9-C353-8ED3741099B7}"/>
              </a:ext>
            </a:extLst>
          </p:cNvPr>
          <p:cNvSpPr>
            <a:spLocks noGrp="1"/>
          </p:cNvSpPr>
          <p:nvPr>
            <p:ph sz="half" idx="22"/>
          </p:nvPr>
        </p:nvSpPr>
        <p:spPr>
          <a:xfrm>
            <a:off x="6353961" y="2983049"/>
            <a:ext cx="2161388" cy="1116172"/>
          </a:xfrm>
        </p:spPr>
        <p:txBody>
          <a:bodyPr>
            <a:noAutofit/>
          </a:bodyPr>
          <a:lstStyle>
            <a:lvl1pPr marL="0" indent="0">
              <a:buNone/>
              <a:defRPr sz="1500"/>
            </a:lvl1pPr>
          </a:lstStyle>
          <a:p>
            <a:pPr lvl="0"/>
            <a:r>
              <a:rPr lang="en-US"/>
              <a:t>Click to edit Master text styles</a:t>
            </a:r>
          </a:p>
        </p:txBody>
      </p:sp>
      <p:sp>
        <p:nvSpPr>
          <p:cNvPr id="9" name="Slide Number Placeholder 5">
            <a:extLst>
              <a:ext uri="{FF2B5EF4-FFF2-40B4-BE49-F238E27FC236}">
                <a16:creationId xmlns:a16="http://schemas.microsoft.com/office/drawing/2014/main" id="{C67E4CCE-C35C-C711-24D0-0F4BCA80C282}"/>
              </a:ext>
            </a:extLst>
          </p:cNvPr>
          <p:cNvSpPr>
            <a:spLocks noGrp="1"/>
          </p:cNvSpPr>
          <p:nvPr>
            <p:ph type="sldNum" sz="quarter" idx="4"/>
          </p:nvPr>
        </p:nvSpPr>
        <p:spPr>
          <a:xfrm>
            <a:off x="282141" y="4711552"/>
            <a:ext cx="2057400" cy="273844"/>
          </a:xfrm>
          <a:prstGeom prst="rect">
            <a:avLst/>
          </a:prstGeom>
        </p:spPr>
        <p:txBody>
          <a:bodyPr vert="horz" lIns="91440" tIns="45720" rIns="91440" bIns="45720" rtlCol="0" anchor="b">
            <a:noAutofit/>
          </a:bodyPr>
          <a:lstStyle>
            <a:lvl1pPr algn="r">
              <a:defRPr sz="750">
                <a:solidFill>
                  <a:schemeClr val="tx1"/>
                </a:solidFill>
                <a:latin typeface="+mn-lt"/>
              </a:defRPr>
            </a:lvl1pPr>
          </a:lstStyle>
          <a:p>
            <a:pPr algn="l"/>
            <a:fld id="{768364BB-9B21-4D29-A19C-C6410F652861}" type="slidenum">
              <a:rPr lang="en-IE" smtClean="0"/>
              <a:pPr algn="l"/>
              <a:t>‹#›</a:t>
            </a:fld>
            <a:endParaRPr lang="en-IE"/>
          </a:p>
        </p:txBody>
      </p:sp>
    </p:spTree>
    <p:extLst>
      <p:ext uri="{BB962C8B-B14F-4D97-AF65-F5344CB8AC3E}">
        <p14:creationId xmlns:p14="http://schemas.microsoft.com/office/powerpoint/2010/main" val="697566921"/>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p:cSld name="4 rectangles pictures white background an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D1C58A-AE9F-CB20-353A-B865ECE39A5D}"/>
              </a:ext>
            </a:extLst>
          </p:cNvPr>
          <p:cNvSpPr>
            <a:spLocks noGrp="1"/>
          </p:cNvSpPr>
          <p:nvPr>
            <p:ph type="title"/>
          </p:nvPr>
        </p:nvSpPr>
        <p:spPr/>
        <p:txBody>
          <a:bodyPr>
            <a:noAutofit/>
          </a:bodyPr>
          <a:lstStyle/>
          <a:p>
            <a:r>
              <a:rPr lang="en-US"/>
              <a:t>Click to edit Master title style</a:t>
            </a:r>
            <a:endParaRPr lang="en-IE"/>
          </a:p>
        </p:txBody>
      </p:sp>
      <p:sp>
        <p:nvSpPr>
          <p:cNvPr id="15" name="Google Shape;97;p33">
            <a:extLst>
              <a:ext uri="{FF2B5EF4-FFF2-40B4-BE49-F238E27FC236}">
                <a16:creationId xmlns:a16="http://schemas.microsoft.com/office/drawing/2014/main" id="{51CBB8A7-3E08-DCAC-14AF-878AC33CDC30}"/>
              </a:ext>
            </a:extLst>
          </p:cNvPr>
          <p:cNvSpPr>
            <a:spLocks noGrp="1"/>
          </p:cNvSpPr>
          <p:nvPr>
            <p:ph type="pic" idx="17"/>
          </p:nvPr>
        </p:nvSpPr>
        <p:spPr>
          <a:xfrm>
            <a:off x="628651" y="1448511"/>
            <a:ext cx="1846193" cy="1228619"/>
          </a:xfrm>
          <a:prstGeom prst="rect">
            <a:avLst/>
          </a:prstGeom>
          <a:solidFill>
            <a:schemeClr val="lt2"/>
          </a:solidFill>
          <a:ln w="57150">
            <a:noFill/>
          </a:ln>
        </p:spPr>
        <p:txBody>
          <a:bodyPr/>
          <a:lstStyle>
            <a:lvl1pPr marL="0" indent="0">
              <a:buNone/>
              <a:defRPr>
                <a:solidFill>
                  <a:schemeClr val="tx2"/>
                </a:solidFill>
              </a:defRPr>
            </a:lvl1pPr>
          </a:lstStyle>
          <a:p>
            <a:r>
              <a:rPr lang="en-US"/>
              <a:t>Click icon to add picture</a:t>
            </a:r>
            <a:endParaRPr lang="en-IE"/>
          </a:p>
        </p:txBody>
      </p:sp>
      <p:sp>
        <p:nvSpPr>
          <p:cNvPr id="10" name="Text Placeholder 9">
            <a:extLst>
              <a:ext uri="{FF2B5EF4-FFF2-40B4-BE49-F238E27FC236}">
                <a16:creationId xmlns:a16="http://schemas.microsoft.com/office/drawing/2014/main" id="{83438DF5-CCC4-87AD-037A-C14F79B6266F}"/>
              </a:ext>
            </a:extLst>
          </p:cNvPr>
          <p:cNvSpPr>
            <a:spLocks noGrp="1"/>
          </p:cNvSpPr>
          <p:nvPr>
            <p:ph type="body" sz="quarter" idx="13"/>
          </p:nvPr>
        </p:nvSpPr>
        <p:spPr>
          <a:xfrm>
            <a:off x="2631651" y="1448511"/>
            <a:ext cx="1846660" cy="1228725"/>
          </a:xfrm>
        </p:spPr>
        <p:txBody>
          <a:bodyPr>
            <a:noAutofit/>
          </a:bodyPr>
          <a:lstStyle>
            <a:lvl1pPr marL="0" indent="0">
              <a:buNone/>
              <a:defRPr/>
            </a:lvl1pPr>
          </a:lstStyle>
          <a:p>
            <a:pPr lvl="0"/>
            <a:r>
              <a:rPr lang="en-US"/>
              <a:t>Click to edit Master text styles</a:t>
            </a:r>
          </a:p>
        </p:txBody>
      </p:sp>
      <p:sp>
        <p:nvSpPr>
          <p:cNvPr id="18" name="Google Shape;97;p33">
            <a:extLst>
              <a:ext uri="{FF2B5EF4-FFF2-40B4-BE49-F238E27FC236}">
                <a16:creationId xmlns:a16="http://schemas.microsoft.com/office/drawing/2014/main" id="{BFE9E99F-07A9-26A1-106E-78351E5222CA}"/>
              </a:ext>
            </a:extLst>
          </p:cNvPr>
          <p:cNvSpPr>
            <a:spLocks noGrp="1"/>
          </p:cNvSpPr>
          <p:nvPr>
            <p:ph type="pic" idx="7"/>
          </p:nvPr>
        </p:nvSpPr>
        <p:spPr>
          <a:xfrm>
            <a:off x="628652" y="2805204"/>
            <a:ext cx="1846193" cy="1228619"/>
          </a:xfrm>
          <a:prstGeom prst="rect">
            <a:avLst/>
          </a:prstGeom>
          <a:solidFill>
            <a:schemeClr val="lt2"/>
          </a:solidFill>
          <a:ln w="57150">
            <a:noFill/>
          </a:ln>
        </p:spPr>
        <p:txBody>
          <a:bodyPr/>
          <a:lstStyle>
            <a:lvl1pPr marL="0" indent="0">
              <a:buNone/>
              <a:defRPr>
                <a:solidFill>
                  <a:schemeClr val="tx2"/>
                </a:solidFill>
              </a:defRPr>
            </a:lvl1pPr>
          </a:lstStyle>
          <a:p>
            <a:r>
              <a:rPr lang="en-US"/>
              <a:t>Click icon to add picture</a:t>
            </a:r>
            <a:endParaRPr lang="en-IE"/>
          </a:p>
        </p:txBody>
      </p:sp>
      <p:sp>
        <p:nvSpPr>
          <p:cNvPr id="12" name="Text Placeholder 9">
            <a:extLst>
              <a:ext uri="{FF2B5EF4-FFF2-40B4-BE49-F238E27FC236}">
                <a16:creationId xmlns:a16="http://schemas.microsoft.com/office/drawing/2014/main" id="{8A6A52A8-BCDE-0058-03FA-48265F58CC4D}"/>
              </a:ext>
            </a:extLst>
          </p:cNvPr>
          <p:cNvSpPr>
            <a:spLocks noGrp="1"/>
          </p:cNvSpPr>
          <p:nvPr>
            <p:ph type="body" sz="quarter" idx="15"/>
          </p:nvPr>
        </p:nvSpPr>
        <p:spPr>
          <a:xfrm>
            <a:off x="2631651" y="2805098"/>
            <a:ext cx="1846660" cy="1228725"/>
          </a:xfrm>
        </p:spPr>
        <p:txBody>
          <a:bodyPr>
            <a:noAutofit/>
          </a:bodyPr>
          <a:lstStyle>
            <a:lvl1pPr marL="0" indent="0">
              <a:buNone/>
              <a:defRPr/>
            </a:lvl1pPr>
          </a:lstStyle>
          <a:p>
            <a:pPr lvl="0"/>
            <a:r>
              <a:rPr lang="en-US"/>
              <a:t>Click to edit Master text styles</a:t>
            </a:r>
          </a:p>
        </p:txBody>
      </p:sp>
      <p:sp>
        <p:nvSpPr>
          <p:cNvPr id="3" name="Google Shape;95;p33">
            <a:extLst>
              <a:ext uri="{FF2B5EF4-FFF2-40B4-BE49-F238E27FC236}">
                <a16:creationId xmlns:a16="http://schemas.microsoft.com/office/drawing/2014/main" id="{A15E4B72-6400-86B0-FD40-4FCA9F38655E}"/>
              </a:ext>
            </a:extLst>
          </p:cNvPr>
          <p:cNvSpPr>
            <a:spLocks noGrp="1"/>
          </p:cNvSpPr>
          <p:nvPr>
            <p:ph type="pic" idx="10"/>
          </p:nvPr>
        </p:nvSpPr>
        <p:spPr>
          <a:xfrm>
            <a:off x="4635118" y="1448512"/>
            <a:ext cx="1846195" cy="1228619"/>
          </a:xfrm>
          <a:prstGeom prst="rect">
            <a:avLst/>
          </a:prstGeom>
          <a:solidFill>
            <a:schemeClr val="lt2"/>
          </a:solidFill>
          <a:ln w="57150">
            <a:noFill/>
          </a:ln>
        </p:spPr>
        <p:txBody>
          <a:bodyPr/>
          <a:lstStyle>
            <a:lvl1pPr marL="0" indent="0">
              <a:buNone/>
              <a:defRPr>
                <a:solidFill>
                  <a:schemeClr val="tx2"/>
                </a:solidFill>
              </a:defRPr>
            </a:lvl1pPr>
          </a:lstStyle>
          <a:p>
            <a:r>
              <a:rPr lang="en-US"/>
              <a:t>Click icon to add picture</a:t>
            </a:r>
            <a:endParaRPr lang="en-IE"/>
          </a:p>
        </p:txBody>
      </p:sp>
      <p:sp>
        <p:nvSpPr>
          <p:cNvPr id="11" name="Text Placeholder 9">
            <a:extLst>
              <a:ext uri="{FF2B5EF4-FFF2-40B4-BE49-F238E27FC236}">
                <a16:creationId xmlns:a16="http://schemas.microsoft.com/office/drawing/2014/main" id="{76022ECE-0EE9-F2CA-72F3-353CAD2AB488}"/>
              </a:ext>
            </a:extLst>
          </p:cNvPr>
          <p:cNvSpPr>
            <a:spLocks noGrp="1"/>
          </p:cNvSpPr>
          <p:nvPr>
            <p:ph type="body" sz="quarter" idx="14"/>
          </p:nvPr>
        </p:nvSpPr>
        <p:spPr>
          <a:xfrm>
            <a:off x="6668691" y="1448511"/>
            <a:ext cx="1846660" cy="1228725"/>
          </a:xfrm>
        </p:spPr>
        <p:txBody>
          <a:bodyPr>
            <a:noAutofit/>
          </a:bodyPr>
          <a:lstStyle>
            <a:lvl1pPr marL="0" indent="0">
              <a:buNone/>
              <a:defRPr/>
            </a:lvl1pPr>
          </a:lstStyle>
          <a:p>
            <a:pPr lvl="0"/>
            <a:r>
              <a:rPr lang="en-US"/>
              <a:t>Click to edit Master text styles</a:t>
            </a:r>
          </a:p>
        </p:txBody>
      </p:sp>
      <p:sp>
        <p:nvSpPr>
          <p:cNvPr id="8" name="Google Shape;97;p33">
            <a:extLst>
              <a:ext uri="{FF2B5EF4-FFF2-40B4-BE49-F238E27FC236}">
                <a16:creationId xmlns:a16="http://schemas.microsoft.com/office/drawing/2014/main" id="{0D3E0C88-3573-7B0F-D8F7-5AAD283A42F2}"/>
              </a:ext>
            </a:extLst>
          </p:cNvPr>
          <p:cNvSpPr>
            <a:spLocks noGrp="1"/>
          </p:cNvSpPr>
          <p:nvPr>
            <p:ph type="pic" idx="12"/>
          </p:nvPr>
        </p:nvSpPr>
        <p:spPr>
          <a:xfrm>
            <a:off x="4635118" y="2805204"/>
            <a:ext cx="1846193" cy="1228619"/>
          </a:xfrm>
          <a:prstGeom prst="rect">
            <a:avLst/>
          </a:prstGeom>
          <a:solidFill>
            <a:schemeClr val="lt2"/>
          </a:solidFill>
          <a:ln w="57150">
            <a:noFill/>
          </a:ln>
        </p:spPr>
        <p:txBody>
          <a:bodyPr/>
          <a:lstStyle>
            <a:lvl1pPr marL="0" indent="0">
              <a:buNone/>
              <a:defRPr>
                <a:solidFill>
                  <a:schemeClr val="tx2"/>
                </a:solidFill>
              </a:defRPr>
            </a:lvl1pPr>
          </a:lstStyle>
          <a:p>
            <a:r>
              <a:rPr lang="en-US"/>
              <a:t>Click icon to add picture</a:t>
            </a:r>
            <a:endParaRPr lang="en-IE"/>
          </a:p>
        </p:txBody>
      </p:sp>
      <p:sp>
        <p:nvSpPr>
          <p:cNvPr id="13" name="Text Placeholder 9">
            <a:extLst>
              <a:ext uri="{FF2B5EF4-FFF2-40B4-BE49-F238E27FC236}">
                <a16:creationId xmlns:a16="http://schemas.microsoft.com/office/drawing/2014/main" id="{5F2FF4C0-B8CC-5E9A-7FF2-0BA1FD86664D}"/>
              </a:ext>
            </a:extLst>
          </p:cNvPr>
          <p:cNvSpPr>
            <a:spLocks noGrp="1"/>
          </p:cNvSpPr>
          <p:nvPr>
            <p:ph type="body" sz="quarter" idx="16"/>
          </p:nvPr>
        </p:nvSpPr>
        <p:spPr>
          <a:xfrm>
            <a:off x="6668691" y="2805098"/>
            <a:ext cx="1846660" cy="1228725"/>
          </a:xfrm>
        </p:spPr>
        <p:txBody>
          <a:bodyPr>
            <a:noAutofit/>
          </a:bodyPr>
          <a:lstStyle>
            <a:lvl1pPr marL="0" indent="0">
              <a:buNone/>
              <a:defRPr/>
            </a:lvl1pPr>
          </a:lstStyle>
          <a:p>
            <a:pPr lvl="0"/>
            <a:r>
              <a:rPr lang="en-US"/>
              <a:t>Click to edit Master text styles</a:t>
            </a:r>
          </a:p>
        </p:txBody>
      </p:sp>
      <p:sp>
        <p:nvSpPr>
          <p:cNvPr id="4" name="Slide Number Placeholder 5">
            <a:extLst>
              <a:ext uri="{FF2B5EF4-FFF2-40B4-BE49-F238E27FC236}">
                <a16:creationId xmlns:a16="http://schemas.microsoft.com/office/drawing/2014/main" id="{73F815C1-0113-F490-4A53-0227959CF68C}"/>
              </a:ext>
            </a:extLst>
          </p:cNvPr>
          <p:cNvSpPr>
            <a:spLocks noGrp="1"/>
          </p:cNvSpPr>
          <p:nvPr>
            <p:ph type="sldNum" sz="quarter" idx="4"/>
          </p:nvPr>
        </p:nvSpPr>
        <p:spPr>
          <a:xfrm>
            <a:off x="282141" y="4711552"/>
            <a:ext cx="2057400" cy="273844"/>
          </a:xfrm>
          <a:prstGeom prst="rect">
            <a:avLst/>
          </a:prstGeom>
        </p:spPr>
        <p:txBody>
          <a:bodyPr vert="horz" lIns="91440" tIns="45720" rIns="91440" bIns="45720" rtlCol="0" anchor="b">
            <a:noAutofit/>
          </a:bodyPr>
          <a:lstStyle>
            <a:lvl1pPr algn="r">
              <a:defRPr sz="750">
                <a:solidFill>
                  <a:schemeClr val="tx1"/>
                </a:solidFill>
                <a:latin typeface="+mn-lt"/>
              </a:defRPr>
            </a:lvl1pPr>
          </a:lstStyle>
          <a:p>
            <a:pPr algn="l"/>
            <a:fld id="{768364BB-9B21-4D29-A19C-C6410F652861}" type="slidenum">
              <a:rPr lang="en-IE" smtClean="0"/>
              <a:pPr algn="l"/>
              <a:t>‹#›</a:t>
            </a:fld>
            <a:endParaRPr lang="en-IE"/>
          </a:p>
        </p:txBody>
      </p:sp>
    </p:spTree>
    <p:extLst>
      <p:ext uri="{BB962C8B-B14F-4D97-AF65-F5344CB8AC3E}">
        <p14:creationId xmlns:p14="http://schemas.microsoft.com/office/powerpoint/2010/main" val="2562606304"/>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p:cSld name="10 squared pictures ">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120F1C0-2CE9-2640-8D54-464A0BF69C2C}"/>
              </a:ext>
            </a:extLst>
          </p:cNvPr>
          <p:cNvSpPr>
            <a:spLocks noGrp="1"/>
          </p:cNvSpPr>
          <p:nvPr>
            <p:ph type="title"/>
          </p:nvPr>
        </p:nvSpPr>
        <p:spPr/>
        <p:txBody>
          <a:bodyPr/>
          <a:lstStyle/>
          <a:p>
            <a:r>
              <a:rPr lang="en-US"/>
              <a:t>Click to edit Master title style</a:t>
            </a:r>
            <a:endParaRPr lang="en-IE"/>
          </a:p>
        </p:txBody>
      </p:sp>
      <p:sp>
        <p:nvSpPr>
          <p:cNvPr id="3" name="Google Shape;114;p35">
            <a:extLst>
              <a:ext uri="{FF2B5EF4-FFF2-40B4-BE49-F238E27FC236}">
                <a16:creationId xmlns:a16="http://schemas.microsoft.com/office/drawing/2014/main" id="{28399EF8-5B4D-A564-C46D-6AC3EE3700F1}"/>
              </a:ext>
            </a:extLst>
          </p:cNvPr>
          <p:cNvSpPr>
            <a:spLocks noGrp="1"/>
          </p:cNvSpPr>
          <p:nvPr>
            <p:ph type="pic" idx="2"/>
          </p:nvPr>
        </p:nvSpPr>
        <p:spPr>
          <a:xfrm>
            <a:off x="628650" y="1210298"/>
            <a:ext cx="1422217" cy="1422217"/>
          </a:xfrm>
          <a:prstGeom prst="rect">
            <a:avLst/>
          </a:prstGeom>
          <a:solidFill>
            <a:schemeClr val="lt2"/>
          </a:solidFill>
          <a:ln w="57150">
            <a:noFill/>
          </a:ln>
        </p:spPr>
        <p:txBody>
          <a:bodyPr/>
          <a:lstStyle>
            <a:lvl1pPr marL="0" indent="0">
              <a:buNone/>
              <a:defRPr>
                <a:solidFill>
                  <a:schemeClr val="tx2"/>
                </a:solidFill>
              </a:defRPr>
            </a:lvl1pPr>
          </a:lstStyle>
          <a:p>
            <a:r>
              <a:rPr lang="en-US"/>
              <a:t>Click icon to add picture</a:t>
            </a:r>
            <a:endParaRPr lang="en-IE"/>
          </a:p>
        </p:txBody>
      </p:sp>
      <p:sp>
        <p:nvSpPr>
          <p:cNvPr id="4" name="Google Shape;115;p35">
            <a:extLst>
              <a:ext uri="{FF2B5EF4-FFF2-40B4-BE49-F238E27FC236}">
                <a16:creationId xmlns:a16="http://schemas.microsoft.com/office/drawing/2014/main" id="{1DB67F50-B209-813A-55E2-A45CCD6BCAE1}"/>
              </a:ext>
            </a:extLst>
          </p:cNvPr>
          <p:cNvSpPr>
            <a:spLocks noGrp="1"/>
          </p:cNvSpPr>
          <p:nvPr>
            <p:ph type="pic" idx="3"/>
          </p:nvPr>
        </p:nvSpPr>
        <p:spPr>
          <a:xfrm>
            <a:off x="2244771" y="1210298"/>
            <a:ext cx="1422217" cy="1422217"/>
          </a:xfrm>
          <a:prstGeom prst="rect">
            <a:avLst/>
          </a:prstGeom>
          <a:solidFill>
            <a:schemeClr val="lt2"/>
          </a:solidFill>
          <a:ln w="57150">
            <a:noFill/>
          </a:ln>
        </p:spPr>
        <p:txBody>
          <a:bodyPr/>
          <a:lstStyle>
            <a:lvl1pPr marL="0" indent="0">
              <a:buNone/>
              <a:defRPr>
                <a:solidFill>
                  <a:schemeClr val="tx2"/>
                </a:solidFill>
              </a:defRPr>
            </a:lvl1pPr>
          </a:lstStyle>
          <a:p>
            <a:r>
              <a:rPr lang="en-US"/>
              <a:t>Click icon to add picture</a:t>
            </a:r>
            <a:endParaRPr lang="en-IE"/>
          </a:p>
        </p:txBody>
      </p:sp>
      <p:sp>
        <p:nvSpPr>
          <p:cNvPr id="5" name="Google Shape;116;p35">
            <a:extLst>
              <a:ext uri="{FF2B5EF4-FFF2-40B4-BE49-F238E27FC236}">
                <a16:creationId xmlns:a16="http://schemas.microsoft.com/office/drawing/2014/main" id="{80AA888C-2660-9749-11E6-8A96DD56EACF}"/>
              </a:ext>
            </a:extLst>
          </p:cNvPr>
          <p:cNvSpPr>
            <a:spLocks noGrp="1"/>
          </p:cNvSpPr>
          <p:nvPr>
            <p:ph type="pic" idx="10"/>
          </p:nvPr>
        </p:nvSpPr>
        <p:spPr>
          <a:xfrm>
            <a:off x="3860892" y="1210297"/>
            <a:ext cx="1422217" cy="1422217"/>
          </a:xfrm>
          <a:prstGeom prst="rect">
            <a:avLst/>
          </a:prstGeom>
          <a:solidFill>
            <a:schemeClr val="lt2"/>
          </a:solidFill>
          <a:ln w="57150">
            <a:noFill/>
          </a:ln>
        </p:spPr>
        <p:txBody>
          <a:bodyPr/>
          <a:lstStyle>
            <a:lvl1pPr marL="0" indent="0">
              <a:buNone/>
              <a:defRPr>
                <a:solidFill>
                  <a:schemeClr val="tx2"/>
                </a:solidFill>
              </a:defRPr>
            </a:lvl1pPr>
          </a:lstStyle>
          <a:p>
            <a:r>
              <a:rPr lang="en-US"/>
              <a:t>Click icon to add picture</a:t>
            </a:r>
            <a:endParaRPr lang="en-IE"/>
          </a:p>
        </p:txBody>
      </p:sp>
      <p:sp>
        <p:nvSpPr>
          <p:cNvPr id="8" name="Google Shape;117;p35">
            <a:extLst>
              <a:ext uri="{FF2B5EF4-FFF2-40B4-BE49-F238E27FC236}">
                <a16:creationId xmlns:a16="http://schemas.microsoft.com/office/drawing/2014/main" id="{95752BFF-4A6F-68EA-E048-C405D776F6A9}"/>
              </a:ext>
            </a:extLst>
          </p:cNvPr>
          <p:cNvSpPr>
            <a:spLocks noGrp="1"/>
          </p:cNvSpPr>
          <p:nvPr>
            <p:ph type="pic" idx="5"/>
          </p:nvPr>
        </p:nvSpPr>
        <p:spPr>
          <a:xfrm>
            <a:off x="5477013" y="1210296"/>
            <a:ext cx="1422217" cy="1422217"/>
          </a:xfrm>
          <a:prstGeom prst="rect">
            <a:avLst/>
          </a:prstGeom>
          <a:solidFill>
            <a:schemeClr val="lt2"/>
          </a:solidFill>
          <a:ln w="57150">
            <a:noFill/>
          </a:ln>
        </p:spPr>
        <p:txBody>
          <a:bodyPr/>
          <a:lstStyle>
            <a:lvl1pPr marL="0" indent="0">
              <a:buNone/>
              <a:defRPr>
                <a:solidFill>
                  <a:schemeClr val="tx2"/>
                </a:solidFill>
              </a:defRPr>
            </a:lvl1pPr>
          </a:lstStyle>
          <a:p>
            <a:r>
              <a:rPr lang="en-US"/>
              <a:t>Click icon to add picture</a:t>
            </a:r>
            <a:endParaRPr lang="en-IE"/>
          </a:p>
        </p:txBody>
      </p:sp>
      <p:sp>
        <p:nvSpPr>
          <p:cNvPr id="9" name="Google Shape;118;p35">
            <a:extLst>
              <a:ext uri="{FF2B5EF4-FFF2-40B4-BE49-F238E27FC236}">
                <a16:creationId xmlns:a16="http://schemas.microsoft.com/office/drawing/2014/main" id="{69A61CD2-9393-897F-4851-B55A256B6577}"/>
              </a:ext>
            </a:extLst>
          </p:cNvPr>
          <p:cNvSpPr>
            <a:spLocks noGrp="1"/>
          </p:cNvSpPr>
          <p:nvPr>
            <p:ph type="pic" idx="6"/>
          </p:nvPr>
        </p:nvSpPr>
        <p:spPr>
          <a:xfrm>
            <a:off x="7093134" y="1210296"/>
            <a:ext cx="1422217" cy="1422217"/>
          </a:xfrm>
          <a:prstGeom prst="rect">
            <a:avLst/>
          </a:prstGeom>
          <a:solidFill>
            <a:schemeClr val="lt2"/>
          </a:solidFill>
          <a:ln w="57150">
            <a:noFill/>
          </a:ln>
        </p:spPr>
        <p:txBody>
          <a:bodyPr/>
          <a:lstStyle>
            <a:lvl1pPr marL="0" indent="0">
              <a:buNone/>
              <a:defRPr>
                <a:solidFill>
                  <a:schemeClr val="tx2"/>
                </a:solidFill>
              </a:defRPr>
            </a:lvl1pPr>
          </a:lstStyle>
          <a:p>
            <a:r>
              <a:rPr lang="en-US"/>
              <a:t>Click icon to add picture</a:t>
            </a:r>
            <a:endParaRPr lang="en-IE"/>
          </a:p>
        </p:txBody>
      </p:sp>
      <p:sp>
        <p:nvSpPr>
          <p:cNvPr id="15" name="Google Shape;114;p35">
            <a:extLst>
              <a:ext uri="{FF2B5EF4-FFF2-40B4-BE49-F238E27FC236}">
                <a16:creationId xmlns:a16="http://schemas.microsoft.com/office/drawing/2014/main" id="{5BBBB0BA-17D9-1A2A-5573-A96E32CB11C7}"/>
              </a:ext>
            </a:extLst>
          </p:cNvPr>
          <p:cNvSpPr>
            <a:spLocks noGrp="1"/>
          </p:cNvSpPr>
          <p:nvPr>
            <p:ph type="pic" idx="11"/>
          </p:nvPr>
        </p:nvSpPr>
        <p:spPr>
          <a:xfrm>
            <a:off x="628650" y="2849820"/>
            <a:ext cx="1422217" cy="1422217"/>
          </a:xfrm>
          <a:prstGeom prst="rect">
            <a:avLst/>
          </a:prstGeom>
          <a:solidFill>
            <a:schemeClr val="lt2"/>
          </a:solidFill>
          <a:ln w="57150">
            <a:noFill/>
          </a:ln>
        </p:spPr>
        <p:txBody>
          <a:bodyPr/>
          <a:lstStyle>
            <a:lvl1pPr marL="0" indent="0">
              <a:buNone/>
              <a:defRPr>
                <a:solidFill>
                  <a:schemeClr val="tx2"/>
                </a:solidFill>
              </a:defRPr>
            </a:lvl1pPr>
          </a:lstStyle>
          <a:p>
            <a:r>
              <a:rPr lang="en-US"/>
              <a:t>Click icon to add picture</a:t>
            </a:r>
            <a:endParaRPr lang="en-IE"/>
          </a:p>
        </p:txBody>
      </p:sp>
      <p:sp>
        <p:nvSpPr>
          <p:cNvPr id="16" name="Google Shape;115;p35">
            <a:extLst>
              <a:ext uri="{FF2B5EF4-FFF2-40B4-BE49-F238E27FC236}">
                <a16:creationId xmlns:a16="http://schemas.microsoft.com/office/drawing/2014/main" id="{E234676C-5503-D335-7C9F-8EBF756F24A7}"/>
              </a:ext>
            </a:extLst>
          </p:cNvPr>
          <p:cNvSpPr>
            <a:spLocks noGrp="1"/>
          </p:cNvSpPr>
          <p:nvPr>
            <p:ph type="pic" idx="12"/>
          </p:nvPr>
        </p:nvSpPr>
        <p:spPr>
          <a:xfrm>
            <a:off x="2244771" y="2849820"/>
            <a:ext cx="1422217" cy="1422217"/>
          </a:xfrm>
          <a:prstGeom prst="rect">
            <a:avLst/>
          </a:prstGeom>
          <a:solidFill>
            <a:schemeClr val="lt2"/>
          </a:solidFill>
          <a:ln w="57150">
            <a:noFill/>
          </a:ln>
        </p:spPr>
        <p:txBody>
          <a:bodyPr/>
          <a:lstStyle>
            <a:lvl1pPr marL="0" indent="0">
              <a:buNone/>
              <a:defRPr>
                <a:solidFill>
                  <a:schemeClr val="tx2"/>
                </a:solidFill>
              </a:defRPr>
            </a:lvl1pPr>
          </a:lstStyle>
          <a:p>
            <a:r>
              <a:rPr lang="en-US"/>
              <a:t>Click icon to add picture</a:t>
            </a:r>
            <a:endParaRPr lang="en-IE"/>
          </a:p>
        </p:txBody>
      </p:sp>
      <p:sp>
        <p:nvSpPr>
          <p:cNvPr id="17" name="Google Shape;116;p35">
            <a:extLst>
              <a:ext uri="{FF2B5EF4-FFF2-40B4-BE49-F238E27FC236}">
                <a16:creationId xmlns:a16="http://schemas.microsoft.com/office/drawing/2014/main" id="{8C059826-5CA9-F193-6C89-8B0DECF9ACE5}"/>
              </a:ext>
            </a:extLst>
          </p:cNvPr>
          <p:cNvSpPr>
            <a:spLocks noGrp="1"/>
          </p:cNvSpPr>
          <p:nvPr>
            <p:ph type="pic" idx="13"/>
          </p:nvPr>
        </p:nvSpPr>
        <p:spPr>
          <a:xfrm>
            <a:off x="3860892" y="2849820"/>
            <a:ext cx="1422217" cy="1422217"/>
          </a:xfrm>
          <a:prstGeom prst="rect">
            <a:avLst/>
          </a:prstGeom>
          <a:solidFill>
            <a:schemeClr val="lt2"/>
          </a:solidFill>
          <a:ln w="57150">
            <a:noFill/>
          </a:ln>
        </p:spPr>
        <p:txBody>
          <a:bodyPr/>
          <a:lstStyle>
            <a:lvl1pPr marL="0" indent="0">
              <a:buNone/>
              <a:defRPr>
                <a:solidFill>
                  <a:schemeClr val="tx2"/>
                </a:solidFill>
              </a:defRPr>
            </a:lvl1pPr>
          </a:lstStyle>
          <a:p>
            <a:r>
              <a:rPr lang="en-US"/>
              <a:t>Click icon to add picture</a:t>
            </a:r>
            <a:endParaRPr lang="en-IE"/>
          </a:p>
        </p:txBody>
      </p:sp>
      <p:sp>
        <p:nvSpPr>
          <p:cNvPr id="18" name="Google Shape;117;p35">
            <a:extLst>
              <a:ext uri="{FF2B5EF4-FFF2-40B4-BE49-F238E27FC236}">
                <a16:creationId xmlns:a16="http://schemas.microsoft.com/office/drawing/2014/main" id="{E57729DD-0495-06CF-3D2B-B8EC5F7D6EF2}"/>
              </a:ext>
            </a:extLst>
          </p:cNvPr>
          <p:cNvSpPr>
            <a:spLocks noGrp="1"/>
          </p:cNvSpPr>
          <p:nvPr>
            <p:ph type="pic" idx="14"/>
          </p:nvPr>
        </p:nvSpPr>
        <p:spPr>
          <a:xfrm>
            <a:off x="5477013" y="2849819"/>
            <a:ext cx="1422217" cy="1422217"/>
          </a:xfrm>
          <a:prstGeom prst="rect">
            <a:avLst/>
          </a:prstGeom>
          <a:solidFill>
            <a:schemeClr val="lt2"/>
          </a:solidFill>
          <a:ln w="57150">
            <a:noFill/>
          </a:ln>
        </p:spPr>
        <p:txBody>
          <a:bodyPr/>
          <a:lstStyle>
            <a:lvl1pPr marL="0" indent="0">
              <a:buNone/>
              <a:defRPr>
                <a:solidFill>
                  <a:schemeClr val="tx2"/>
                </a:solidFill>
              </a:defRPr>
            </a:lvl1pPr>
          </a:lstStyle>
          <a:p>
            <a:r>
              <a:rPr lang="en-US"/>
              <a:t>Click icon to add picture</a:t>
            </a:r>
            <a:endParaRPr lang="en-IE"/>
          </a:p>
        </p:txBody>
      </p:sp>
      <p:sp>
        <p:nvSpPr>
          <p:cNvPr id="19" name="Google Shape;118;p35">
            <a:extLst>
              <a:ext uri="{FF2B5EF4-FFF2-40B4-BE49-F238E27FC236}">
                <a16:creationId xmlns:a16="http://schemas.microsoft.com/office/drawing/2014/main" id="{DDFD3960-357B-A667-2997-F567232AE448}"/>
              </a:ext>
            </a:extLst>
          </p:cNvPr>
          <p:cNvSpPr>
            <a:spLocks noGrp="1"/>
          </p:cNvSpPr>
          <p:nvPr>
            <p:ph type="pic" idx="15"/>
          </p:nvPr>
        </p:nvSpPr>
        <p:spPr>
          <a:xfrm>
            <a:off x="7093134" y="2849819"/>
            <a:ext cx="1422217" cy="1422217"/>
          </a:xfrm>
          <a:prstGeom prst="rect">
            <a:avLst/>
          </a:prstGeom>
          <a:solidFill>
            <a:schemeClr val="lt2"/>
          </a:solidFill>
          <a:ln w="57150">
            <a:noFill/>
          </a:ln>
        </p:spPr>
        <p:txBody>
          <a:bodyPr/>
          <a:lstStyle>
            <a:lvl1pPr marL="0" indent="0">
              <a:buNone/>
              <a:defRPr>
                <a:solidFill>
                  <a:schemeClr val="tx2"/>
                </a:solidFill>
              </a:defRPr>
            </a:lvl1pPr>
          </a:lstStyle>
          <a:p>
            <a:r>
              <a:rPr lang="en-US"/>
              <a:t>Click icon to add picture</a:t>
            </a:r>
            <a:endParaRPr lang="en-IE"/>
          </a:p>
        </p:txBody>
      </p:sp>
      <p:sp>
        <p:nvSpPr>
          <p:cNvPr id="6" name="Slide Number Placeholder 5">
            <a:extLst>
              <a:ext uri="{FF2B5EF4-FFF2-40B4-BE49-F238E27FC236}">
                <a16:creationId xmlns:a16="http://schemas.microsoft.com/office/drawing/2014/main" id="{9594EF7B-6FA5-122A-260D-E885CDDAA587}"/>
              </a:ext>
            </a:extLst>
          </p:cNvPr>
          <p:cNvSpPr>
            <a:spLocks noGrp="1"/>
          </p:cNvSpPr>
          <p:nvPr>
            <p:ph type="sldNum" sz="quarter" idx="4"/>
          </p:nvPr>
        </p:nvSpPr>
        <p:spPr>
          <a:xfrm>
            <a:off x="282141" y="4711552"/>
            <a:ext cx="2057400" cy="273844"/>
          </a:xfrm>
          <a:prstGeom prst="rect">
            <a:avLst/>
          </a:prstGeom>
        </p:spPr>
        <p:txBody>
          <a:bodyPr vert="horz" lIns="91440" tIns="45720" rIns="91440" bIns="45720" rtlCol="0" anchor="b"/>
          <a:lstStyle>
            <a:lvl1pPr algn="r">
              <a:defRPr sz="750">
                <a:solidFill>
                  <a:schemeClr val="tx1"/>
                </a:solidFill>
                <a:latin typeface="+mn-lt"/>
              </a:defRPr>
            </a:lvl1pPr>
          </a:lstStyle>
          <a:p>
            <a:pPr algn="l"/>
            <a:fld id="{768364BB-9B21-4D29-A19C-C6410F652861}" type="slidenum">
              <a:rPr lang="en-IE" smtClean="0"/>
              <a:pPr algn="l"/>
              <a:t>‹#›</a:t>
            </a:fld>
            <a:endParaRPr lang="en-IE"/>
          </a:p>
        </p:txBody>
      </p:sp>
    </p:spTree>
    <p:extLst>
      <p:ext uri="{BB962C8B-B14F-4D97-AF65-F5344CB8AC3E}">
        <p14:creationId xmlns:p14="http://schemas.microsoft.com/office/powerpoint/2010/main" val="480999373"/>
      </p:ext>
    </p:extLst>
  </p:cSld>
  <p:clrMapOvr>
    <a:overrideClrMapping bg1="lt1" tx1="dk1" bg2="lt2" tx2="dk2" accent1="accent1" accent2="accent2" accent3="accent3" accent4="accent4" accent5="accent5" accent6="accent6" hlink="hlink" folHlink="folHlink"/>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p:cSld name="3 squared pictures white backgroun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120F1C0-2CE9-2640-8D54-464A0BF69C2C}"/>
              </a:ext>
            </a:extLst>
          </p:cNvPr>
          <p:cNvSpPr>
            <a:spLocks noGrp="1"/>
          </p:cNvSpPr>
          <p:nvPr>
            <p:ph type="title"/>
          </p:nvPr>
        </p:nvSpPr>
        <p:spPr/>
        <p:txBody>
          <a:bodyPr>
            <a:noAutofit/>
          </a:bodyPr>
          <a:lstStyle/>
          <a:p>
            <a:r>
              <a:rPr lang="en-US"/>
              <a:t>Click to edit Master title style</a:t>
            </a:r>
            <a:endParaRPr lang="en-IE"/>
          </a:p>
        </p:txBody>
      </p:sp>
      <p:sp>
        <p:nvSpPr>
          <p:cNvPr id="3" name="Google Shape;114;p35">
            <a:extLst>
              <a:ext uri="{FF2B5EF4-FFF2-40B4-BE49-F238E27FC236}">
                <a16:creationId xmlns:a16="http://schemas.microsoft.com/office/drawing/2014/main" id="{28399EF8-5B4D-A564-C46D-6AC3EE3700F1}"/>
              </a:ext>
            </a:extLst>
          </p:cNvPr>
          <p:cNvSpPr>
            <a:spLocks noGrp="1"/>
          </p:cNvSpPr>
          <p:nvPr>
            <p:ph type="pic" idx="2"/>
          </p:nvPr>
        </p:nvSpPr>
        <p:spPr>
          <a:xfrm>
            <a:off x="661989" y="1559719"/>
            <a:ext cx="2024062" cy="2024062"/>
          </a:xfrm>
          <a:prstGeom prst="rect">
            <a:avLst/>
          </a:prstGeom>
          <a:solidFill>
            <a:schemeClr val="lt2"/>
          </a:solidFill>
          <a:ln w="57150">
            <a:noFill/>
          </a:ln>
        </p:spPr>
        <p:txBody>
          <a:bodyPr/>
          <a:lstStyle>
            <a:lvl1pPr marL="0" indent="0">
              <a:buNone/>
              <a:defRPr>
                <a:solidFill>
                  <a:schemeClr val="tx2"/>
                </a:solidFill>
              </a:defRPr>
            </a:lvl1pPr>
          </a:lstStyle>
          <a:p>
            <a:r>
              <a:rPr lang="en-US"/>
              <a:t>Click icon to add picture</a:t>
            </a:r>
            <a:endParaRPr lang="en-IE"/>
          </a:p>
        </p:txBody>
      </p:sp>
      <p:sp>
        <p:nvSpPr>
          <p:cNvPr id="4" name="Google Shape;115;p35">
            <a:extLst>
              <a:ext uri="{FF2B5EF4-FFF2-40B4-BE49-F238E27FC236}">
                <a16:creationId xmlns:a16="http://schemas.microsoft.com/office/drawing/2014/main" id="{1DB67F50-B209-813A-55E2-A45CCD6BCAE1}"/>
              </a:ext>
            </a:extLst>
          </p:cNvPr>
          <p:cNvSpPr>
            <a:spLocks noGrp="1"/>
          </p:cNvSpPr>
          <p:nvPr>
            <p:ph type="pic" idx="3"/>
          </p:nvPr>
        </p:nvSpPr>
        <p:spPr>
          <a:xfrm>
            <a:off x="3559969" y="1559718"/>
            <a:ext cx="2024062" cy="2024062"/>
          </a:xfrm>
          <a:prstGeom prst="rect">
            <a:avLst/>
          </a:prstGeom>
          <a:solidFill>
            <a:schemeClr val="lt2"/>
          </a:solidFill>
          <a:ln w="57150">
            <a:noFill/>
          </a:ln>
        </p:spPr>
        <p:txBody>
          <a:bodyPr/>
          <a:lstStyle>
            <a:lvl1pPr marL="0" indent="0">
              <a:buNone/>
              <a:defRPr>
                <a:solidFill>
                  <a:schemeClr val="tx2"/>
                </a:solidFill>
              </a:defRPr>
            </a:lvl1pPr>
          </a:lstStyle>
          <a:p>
            <a:r>
              <a:rPr lang="en-US"/>
              <a:t>Click icon to add picture</a:t>
            </a:r>
            <a:endParaRPr lang="en-IE"/>
          </a:p>
        </p:txBody>
      </p:sp>
      <p:sp>
        <p:nvSpPr>
          <p:cNvPr id="12" name="Google Shape;121;p35">
            <a:extLst>
              <a:ext uri="{FF2B5EF4-FFF2-40B4-BE49-F238E27FC236}">
                <a16:creationId xmlns:a16="http://schemas.microsoft.com/office/drawing/2014/main" id="{2EA4C09F-A3D0-2FDF-C8EF-EDEF2FCF78CE}"/>
              </a:ext>
            </a:extLst>
          </p:cNvPr>
          <p:cNvSpPr>
            <a:spLocks noGrp="1"/>
          </p:cNvSpPr>
          <p:nvPr>
            <p:ph type="pic" idx="9"/>
          </p:nvPr>
        </p:nvSpPr>
        <p:spPr>
          <a:xfrm>
            <a:off x="6491289" y="1559718"/>
            <a:ext cx="2024062" cy="2024062"/>
          </a:xfrm>
          <a:prstGeom prst="rect">
            <a:avLst/>
          </a:prstGeom>
          <a:solidFill>
            <a:schemeClr val="lt2"/>
          </a:solidFill>
          <a:ln w="57150">
            <a:noFill/>
          </a:ln>
        </p:spPr>
        <p:txBody>
          <a:bodyPr/>
          <a:lstStyle>
            <a:lvl1pPr marL="0" indent="0">
              <a:buNone/>
              <a:defRPr>
                <a:solidFill>
                  <a:schemeClr val="tx2"/>
                </a:solidFill>
              </a:defRPr>
            </a:lvl1pPr>
          </a:lstStyle>
          <a:p>
            <a:r>
              <a:rPr lang="en-US"/>
              <a:t>Click icon to add picture</a:t>
            </a:r>
            <a:endParaRPr lang="en-IE"/>
          </a:p>
        </p:txBody>
      </p:sp>
      <p:sp>
        <p:nvSpPr>
          <p:cNvPr id="6" name="Slide Number Placeholder 5">
            <a:extLst>
              <a:ext uri="{FF2B5EF4-FFF2-40B4-BE49-F238E27FC236}">
                <a16:creationId xmlns:a16="http://schemas.microsoft.com/office/drawing/2014/main" id="{A50CC5C1-4287-4FC9-8450-3D86D951FE12}"/>
              </a:ext>
            </a:extLst>
          </p:cNvPr>
          <p:cNvSpPr>
            <a:spLocks noGrp="1"/>
          </p:cNvSpPr>
          <p:nvPr>
            <p:ph type="sldNum" sz="quarter" idx="4"/>
          </p:nvPr>
        </p:nvSpPr>
        <p:spPr>
          <a:xfrm>
            <a:off x="282141" y="4711552"/>
            <a:ext cx="2057400" cy="273844"/>
          </a:xfrm>
          <a:prstGeom prst="rect">
            <a:avLst/>
          </a:prstGeom>
        </p:spPr>
        <p:txBody>
          <a:bodyPr vert="horz" lIns="91440" tIns="45720" rIns="91440" bIns="45720" rtlCol="0" anchor="b">
            <a:noAutofit/>
          </a:bodyPr>
          <a:lstStyle>
            <a:lvl1pPr algn="r">
              <a:defRPr sz="750">
                <a:solidFill>
                  <a:schemeClr val="tx1"/>
                </a:solidFill>
                <a:latin typeface="+mn-lt"/>
              </a:defRPr>
            </a:lvl1pPr>
          </a:lstStyle>
          <a:p>
            <a:pPr algn="l"/>
            <a:fld id="{768364BB-9B21-4D29-A19C-C6410F652861}" type="slidenum">
              <a:rPr lang="en-IE" smtClean="0"/>
              <a:pPr algn="l"/>
              <a:t>‹#›</a:t>
            </a:fld>
            <a:endParaRPr lang="en-IE"/>
          </a:p>
        </p:txBody>
      </p:sp>
    </p:spTree>
    <p:extLst>
      <p:ext uri="{BB962C8B-B14F-4D97-AF65-F5344CB8AC3E}">
        <p14:creationId xmlns:p14="http://schemas.microsoft.com/office/powerpoint/2010/main" val="900328977"/>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p:cSld name="3 squared pictures coloured background">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120F1C0-2CE9-2640-8D54-464A0BF69C2C}"/>
              </a:ext>
            </a:extLst>
          </p:cNvPr>
          <p:cNvSpPr>
            <a:spLocks noGrp="1"/>
          </p:cNvSpPr>
          <p:nvPr>
            <p:ph type="title"/>
          </p:nvPr>
        </p:nvSpPr>
        <p:spPr/>
        <p:txBody>
          <a:bodyPr>
            <a:noAutofit/>
          </a:bodyPr>
          <a:lstStyle>
            <a:lvl1pPr>
              <a:defRPr>
                <a:solidFill>
                  <a:schemeClr val="tx1"/>
                </a:solidFill>
              </a:defRPr>
            </a:lvl1pPr>
          </a:lstStyle>
          <a:p>
            <a:r>
              <a:rPr lang="en-US"/>
              <a:t>Click to edit Master title style</a:t>
            </a:r>
            <a:endParaRPr lang="en-IE"/>
          </a:p>
        </p:txBody>
      </p:sp>
      <p:sp>
        <p:nvSpPr>
          <p:cNvPr id="8" name="Google Shape;114;p35">
            <a:extLst>
              <a:ext uri="{FF2B5EF4-FFF2-40B4-BE49-F238E27FC236}">
                <a16:creationId xmlns:a16="http://schemas.microsoft.com/office/drawing/2014/main" id="{F38470BA-1066-4059-A16D-B9EE9722C73D}"/>
              </a:ext>
            </a:extLst>
          </p:cNvPr>
          <p:cNvSpPr>
            <a:spLocks noGrp="1"/>
          </p:cNvSpPr>
          <p:nvPr>
            <p:ph type="pic" idx="2"/>
          </p:nvPr>
        </p:nvSpPr>
        <p:spPr>
          <a:xfrm>
            <a:off x="661989" y="1559719"/>
            <a:ext cx="2024062" cy="2024062"/>
          </a:xfrm>
          <a:prstGeom prst="rect">
            <a:avLst/>
          </a:prstGeom>
          <a:solidFill>
            <a:schemeClr val="lt2"/>
          </a:solidFill>
          <a:ln w="57150">
            <a:noFill/>
          </a:ln>
        </p:spPr>
        <p:txBody>
          <a:bodyPr/>
          <a:lstStyle>
            <a:lvl1pPr marL="0" indent="0">
              <a:buNone/>
              <a:defRPr>
                <a:solidFill>
                  <a:schemeClr val="bg2"/>
                </a:solidFill>
              </a:defRPr>
            </a:lvl1pPr>
          </a:lstStyle>
          <a:p>
            <a:r>
              <a:rPr lang="en-US"/>
              <a:t>Click icon to add picture</a:t>
            </a:r>
            <a:endParaRPr lang="en-IE"/>
          </a:p>
        </p:txBody>
      </p:sp>
      <p:sp>
        <p:nvSpPr>
          <p:cNvPr id="10" name="Google Shape;115;p35">
            <a:extLst>
              <a:ext uri="{FF2B5EF4-FFF2-40B4-BE49-F238E27FC236}">
                <a16:creationId xmlns:a16="http://schemas.microsoft.com/office/drawing/2014/main" id="{4C5EDD4B-6148-8C81-CEE4-C4C5BFE4E787}"/>
              </a:ext>
            </a:extLst>
          </p:cNvPr>
          <p:cNvSpPr>
            <a:spLocks noGrp="1"/>
          </p:cNvSpPr>
          <p:nvPr>
            <p:ph type="pic" idx="3"/>
          </p:nvPr>
        </p:nvSpPr>
        <p:spPr>
          <a:xfrm>
            <a:off x="3559969" y="1559718"/>
            <a:ext cx="2024062" cy="2024062"/>
          </a:xfrm>
          <a:prstGeom prst="rect">
            <a:avLst/>
          </a:prstGeom>
          <a:solidFill>
            <a:schemeClr val="lt2"/>
          </a:solidFill>
          <a:ln w="57150">
            <a:noFill/>
          </a:ln>
        </p:spPr>
        <p:txBody>
          <a:bodyPr/>
          <a:lstStyle>
            <a:lvl1pPr marL="0" indent="0">
              <a:buNone/>
              <a:defRPr>
                <a:solidFill>
                  <a:schemeClr val="bg2"/>
                </a:solidFill>
              </a:defRPr>
            </a:lvl1pPr>
          </a:lstStyle>
          <a:p>
            <a:r>
              <a:rPr lang="en-US"/>
              <a:t>Click icon to add picture</a:t>
            </a:r>
            <a:endParaRPr lang="en-IE"/>
          </a:p>
        </p:txBody>
      </p:sp>
      <p:sp>
        <p:nvSpPr>
          <p:cNvPr id="9" name="Google Shape;121;p35">
            <a:extLst>
              <a:ext uri="{FF2B5EF4-FFF2-40B4-BE49-F238E27FC236}">
                <a16:creationId xmlns:a16="http://schemas.microsoft.com/office/drawing/2014/main" id="{85A61031-57E6-E855-38A1-FA502D6C575D}"/>
              </a:ext>
            </a:extLst>
          </p:cNvPr>
          <p:cNvSpPr>
            <a:spLocks noGrp="1"/>
          </p:cNvSpPr>
          <p:nvPr>
            <p:ph type="pic" idx="9"/>
          </p:nvPr>
        </p:nvSpPr>
        <p:spPr>
          <a:xfrm>
            <a:off x="6491289" y="1559718"/>
            <a:ext cx="2024062" cy="2024062"/>
          </a:xfrm>
          <a:prstGeom prst="rect">
            <a:avLst/>
          </a:prstGeom>
          <a:solidFill>
            <a:schemeClr val="lt2"/>
          </a:solidFill>
          <a:ln w="57150">
            <a:noFill/>
          </a:ln>
        </p:spPr>
        <p:txBody>
          <a:bodyPr/>
          <a:lstStyle>
            <a:lvl1pPr marL="0" indent="0">
              <a:buNone/>
              <a:defRPr>
                <a:solidFill>
                  <a:schemeClr val="bg2"/>
                </a:solidFill>
              </a:defRPr>
            </a:lvl1pPr>
          </a:lstStyle>
          <a:p>
            <a:r>
              <a:rPr lang="en-US"/>
              <a:t>Click icon to add picture</a:t>
            </a:r>
            <a:endParaRPr lang="en-IE"/>
          </a:p>
        </p:txBody>
      </p:sp>
      <p:pic>
        <p:nvPicPr>
          <p:cNvPr id="3" name="Picture 2" descr="A blue flag with yellow stars and stripes&#10;&#10;Description automatically generated">
            <a:extLst>
              <a:ext uri="{FF2B5EF4-FFF2-40B4-BE49-F238E27FC236}">
                <a16:creationId xmlns:a16="http://schemas.microsoft.com/office/drawing/2014/main" id="{EC730096-D3D5-78FF-DEE5-BE9525C4DBC8}"/>
              </a:ext>
            </a:extLst>
          </p:cNvPr>
          <p:cNvPicPr>
            <a:picLocks noChangeAspect="1"/>
          </p:cNvPicPr>
          <p:nvPr/>
        </p:nvPicPr>
        <p:blipFill>
          <a:blip r:embed="rId2"/>
          <a:stretch>
            <a:fillRect/>
          </a:stretch>
        </p:blipFill>
        <p:spPr>
          <a:xfrm>
            <a:off x="8044327" y="4425762"/>
            <a:ext cx="943400" cy="572400"/>
          </a:xfrm>
          <a:prstGeom prst="rect">
            <a:avLst/>
          </a:prstGeom>
        </p:spPr>
      </p:pic>
      <p:pic>
        <p:nvPicPr>
          <p:cNvPr id="4" name="Picture 3" descr="A blue flag with yellow stars and stripes&#10;&#10;Description automatically generated">
            <a:extLst>
              <a:ext uri="{FF2B5EF4-FFF2-40B4-BE49-F238E27FC236}">
                <a16:creationId xmlns:a16="http://schemas.microsoft.com/office/drawing/2014/main" id="{F9F566B8-5CFB-8DB0-6A67-925C39BEFB8C}"/>
              </a:ext>
            </a:extLst>
          </p:cNvPr>
          <p:cNvPicPr>
            <a:picLocks noChangeAspect="1"/>
          </p:cNvPicPr>
          <p:nvPr userDrawn="1"/>
        </p:nvPicPr>
        <p:blipFill>
          <a:blip r:embed="rId2"/>
          <a:stretch>
            <a:fillRect/>
          </a:stretch>
        </p:blipFill>
        <p:spPr>
          <a:xfrm>
            <a:off x="8044327" y="4425762"/>
            <a:ext cx="943400" cy="572400"/>
          </a:xfrm>
          <a:prstGeom prst="rect">
            <a:avLst/>
          </a:prstGeom>
        </p:spPr>
      </p:pic>
      <p:sp>
        <p:nvSpPr>
          <p:cNvPr id="6" name="Slide Number Placeholder 5">
            <a:extLst>
              <a:ext uri="{FF2B5EF4-FFF2-40B4-BE49-F238E27FC236}">
                <a16:creationId xmlns:a16="http://schemas.microsoft.com/office/drawing/2014/main" id="{C27800A1-1EE4-975A-7B55-1404DB41F071}"/>
              </a:ext>
            </a:extLst>
          </p:cNvPr>
          <p:cNvSpPr>
            <a:spLocks noGrp="1"/>
          </p:cNvSpPr>
          <p:nvPr>
            <p:ph type="sldNum" sz="quarter" idx="4"/>
          </p:nvPr>
        </p:nvSpPr>
        <p:spPr>
          <a:xfrm>
            <a:off x="282141" y="4711552"/>
            <a:ext cx="2057400" cy="273844"/>
          </a:xfrm>
          <a:prstGeom prst="rect">
            <a:avLst/>
          </a:prstGeom>
        </p:spPr>
        <p:txBody>
          <a:bodyPr vert="horz" lIns="91440" tIns="45720" rIns="91440" bIns="45720" rtlCol="0" anchor="b">
            <a:noAutofit/>
          </a:bodyPr>
          <a:lstStyle>
            <a:lvl1pPr algn="r">
              <a:defRPr sz="750">
                <a:solidFill>
                  <a:schemeClr val="tx1"/>
                </a:solidFill>
                <a:latin typeface="+mn-lt"/>
              </a:defRPr>
            </a:lvl1pPr>
          </a:lstStyle>
          <a:p>
            <a:pPr algn="l"/>
            <a:fld id="{768364BB-9B21-4D29-A19C-C6410F652861}" type="slidenum">
              <a:rPr lang="en-IE" smtClean="0"/>
              <a:pPr algn="l"/>
              <a:t>‹#›</a:t>
            </a:fld>
            <a:endParaRPr lang="en-IE"/>
          </a:p>
        </p:txBody>
      </p:sp>
    </p:spTree>
    <p:extLst>
      <p:ext uri="{BB962C8B-B14F-4D97-AF65-F5344CB8AC3E}">
        <p14:creationId xmlns:p14="http://schemas.microsoft.com/office/powerpoint/2010/main" val="3106833846"/>
      </p:ext>
    </p:extLst>
  </p:cSld>
  <p:clrMapOvr>
    <a:overrideClrMapping bg1="dk1" tx1="lt1" bg2="dk2" tx2="lt2" accent1="accent1" accent2="accent2" accent3="accent3" accent4="accent4" accent5="accent5" accent6="accent6" hlink="hlink" folHlink="folHlink"/>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preserve="1">
  <p:cSld name="Last page with credits">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FA35C05-B6C4-EFD6-820E-25F6561D0DE8}"/>
              </a:ext>
            </a:extLst>
          </p:cNvPr>
          <p:cNvSpPr>
            <a:spLocks noGrp="1"/>
          </p:cNvSpPr>
          <p:nvPr>
            <p:ph type="title" hasCustomPrompt="1"/>
          </p:nvPr>
        </p:nvSpPr>
        <p:spPr>
          <a:xfrm>
            <a:off x="628650" y="1692555"/>
            <a:ext cx="7886700" cy="765253"/>
          </a:xfrm>
        </p:spPr>
        <p:txBody>
          <a:bodyPr>
            <a:noAutofit/>
          </a:bodyPr>
          <a:lstStyle>
            <a:lvl1pPr>
              <a:defRPr sz="6600">
                <a:solidFill>
                  <a:schemeClr val="tx2"/>
                </a:solidFill>
              </a:defRPr>
            </a:lvl1pPr>
          </a:lstStyle>
          <a:p>
            <a:r>
              <a:rPr lang="en-US"/>
              <a:t>Thank you</a:t>
            </a:r>
            <a:endParaRPr lang="en-IE"/>
          </a:p>
        </p:txBody>
      </p:sp>
      <p:pic>
        <p:nvPicPr>
          <p:cNvPr id="4" name="Google Shape;444;p20">
            <a:extLst>
              <a:ext uri="{FF2B5EF4-FFF2-40B4-BE49-F238E27FC236}">
                <a16:creationId xmlns:a16="http://schemas.microsoft.com/office/drawing/2014/main" id="{DA7E9652-CF81-1788-7674-E1FA25BFE314}"/>
              </a:ext>
              <a:ext uri="{C183D7F6-B498-43B3-948B-1728B52AA6E4}">
                <adec:decorative xmlns:adec="http://schemas.microsoft.com/office/drawing/2017/decorative" val="1"/>
              </a:ext>
            </a:extLst>
          </p:cNvPr>
          <p:cNvPicPr preferRelativeResize="0"/>
          <p:nvPr/>
        </p:nvPicPr>
        <p:blipFill rotWithShape="1">
          <a:blip r:embed="rId2">
            <a:alphaModFix/>
          </a:blip>
          <a:srcRect/>
          <a:stretch/>
        </p:blipFill>
        <p:spPr>
          <a:xfrm>
            <a:off x="628650" y="2603452"/>
            <a:ext cx="767622" cy="268573"/>
          </a:xfrm>
          <a:prstGeom prst="rect">
            <a:avLst/>
          </a:prstGeom>
          <a:noFill/>
          <a:ln>
            <a:noFill/>
          </a:ln>
        </p:spPr>
      </p:pic>
      <p:sp>
        <p:nvSpPr>
          <p:cNvPr id="5" name="Text Placeholder 4">
            <a:extLst>
              <a:ext uri="{FF2B5EF4-FFF2-40B4-BE49-F238E27FC236}">
                <a16:creationId xmlns:a16="http://schemas.microsoft.com/office/drawing/2014/main" id="{EA144BEB-A192-AF1A-3CE0-A12C2705D835}"/>
              </a:ext>
            </a:extLst>
          </p:cNvPr>
          <p:cNvSpPr>
            <a:spLocks noGrp="1"/>
          </p:cNvSpPr>
          <p:nvPr>
            <p:ph type="body" sz="quarter" idx="10"/>
          </p:nvPr>
        </p:nvSpPr>
        <p:spPr>
          <a:xfrm>
            <a:off x="628650" y="2997375"/>
            <a:ext cx="7886700" cy="1250156"/>
          </a:xfrm>
        </p:spPr>
        <p:txBody>
          <a:bodyPr>
            <a:noAutofit/>
          </a:bodyPr>
          <a:lstStyle>
            <a:lvl1pPr marL="0" indent="0">
              <a:buNone/>
              <a:defRPr sz="1500">
                <a:solidFill>
                  <a:schemeClr val="tx2"/>
                </a:solidFill>
              </a:defRPr>
            </a:lvl1pPr>
            <a:lvl2pPr>
              <a:defRPr>
                <a:solidFill>
                  <a:schemeClr val="bg1">
                    <a:lumMod val="95000"/>
                  </a:schemeClr>
                </a:solidFill>
              </a:defRPr>
            </a:lvl2pPr>
            <a:lvl3pPr>
              <a:defRPr>
                <a:solidFill>
                  <a:schemeClr val="bg1">
                    <a:lumMod val="95000"/>
                  </a:schemeClr>
                </a:solidFill>
              </a:defRPr>
            </a:lvl3pPr>
            <a:lvl4pPr>
              <a:defRPr>
                <a:solidFill>
                  <a:schemeClr val="bg1">
                    <a:lumMod val="95000"/>
                  </a:schemeClr>
                </a:solidFill>
              </a:defRPr>
            </a:lvl4pPr>
            <a:lvl5pPr>
              <a:defRPr>
                <a:solidFill>
                  <a:schemeClr val="bg1">
                    <a:lumMod val="95000"/>
                  </a:schemeClr>
                </a:solidFill>
              </a:defRPr>
            </a:lvl5pPr>
          </a:lstStyle>
          <a:p>
            <a:pPr lvl="0"/>
            <a:r>
              <a:rPr lang="en-US"/>
              <a:t>Click to edit Master text styles</a:t>
            </a:r>
          </a:p>
        </p:txBody>
      </p:sp>
      <p:pic>
        <p:nvPicPr>
          <p:cNvPr id="3" name="Google Shape;444;p20">
            <a:extLst>
              <a:ext uri="{FF2B5EF4-FFF2-40B4-BE49-F238E27FC236}">
                <a16:creationId xmlns:a16="http://schemas.microsoft.com/office/drawing/2014/main" id="{8A55753B-1E31-7005-E76C-7A1B520A3A05}"/>
              </a:ext>
              <a:ext uri="{C183D7F6-B498-43B3-948B-1728B52AA6E4}">
                <adec:decorative xmlns:adec="http://schemas.microsoft.com/office/drawing/2017/decorative" val="1"/>
              </a:ext>
            </a:extLst>
          </p:cNvPr>
          <p:cNvPicPr preferRelativeResize="0"/>
          <p:nvPr userDrawn="1"/>
        </p:nvPicPr>
        <p:blipFill rotWithShape="1">
          <a:blip r:embed="rId2">
            <a:alphaModFix/>
          </a:blip>
          <a:srcRect/>
          <a:stretch/>
        </p:blipFill>
        <p:spPr>
          <a:xfrm>
            <a:off x="628650" y="2603452"/>
            <a:ext cx="767622" cy="268573"/>
          </a:xfrm>
          <a:prstGeom prst="rect">
            <a:avLst/>
          </a:prstGeom>
          <a:noFill/>
          <a:ln>
            <a:noFill/>
          </a:ln>
        </p:spPr>
      </p:pic>
      <p:pic>
        <p:nvPicPr>
          <p:cNvPr id="6" name="Picture 5">
            <a:extLst>
              <a:ext uri="{FF2B5EF4-FFF2-40B4-BE49-F238E27FC236}">
                <a16:creationId xmlns:a16="http://schemas.microsoft.com/office/drawing/2014/main" id="{F0FE782E-88D7-720D-47B0-E5C4BDBFE050}"/>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8044327" y="4425762"/>
            <a:ext cx="942047" cy="571580"/>
          </a:xfrm>
          <a:prstGeom prst="rect">
            <a:avLst/>
          </a:prstGeom>
        </p:spPr>
      </p:pic>
    </p:spTree>
    <p:extLst>
      <p:ext uri="{BB962C8B-B14F-4D97-AF65-F5344CB8AC3E}">
        <p14:creationId xmlns:p14="http://schemas.microsoft.com/office/powerpoint/2010/main" val="589620867"/>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628650" y="1369219"/>
            <a:ext cx="8179274" cy="2911428"/>
          </a:xfrm>
        </p:spPr>
        <p:txBody>
          <a:bodyPr>
            <a:noAutofit/>
          </a:bodyPr>
          <a:lstStyle>
            <a:lvl1pPr>
              <a:lnSpc>
                <a:spcPct val="100000"/>
              </a:lnSpc>
              <a:spcBef>
                <a:spcPts val="0"/>
              </a:spcBef>
              <a:spcAft>
                <a:spcPts val="1350"/>
              </a:spcAft>
              <a:defRPr/>
            </a:lvl1pPr>
            <a:lvl2pPr>
              <a:lnSpc>
                <a:spcPct val="100000"/>
              </a:lnSpc>
              <a:spcAft>
                <a:spcPts val="1350"/>
              </a:spcAft>
              <a:defRPr/>
            </a:lvl2pPr>
            <a:lvl3pPr>
              <a:lnSpc>
                <a:spcPct val="100000"/>
              </a:lnSpc>
              <a:spcAft>
                <a:spcPts val="1350"/>
              </a:spcAft>
              <a:defRPr/>
            </a:lvl3pPr>
            <a:lvl4pPr>
              <a:lnSpc>
                <a:spcPct val="100000"/>
              </a:lnSpc>
              <a:spcAft>
                <a:spcPts val="1350"/>
              </a:spcAft>
              <a:defRPr/>
            </a:lvl4pPr>
            <a:lvl5pPr>
              <a:lnSpc>
                <a:spcPct val="100000"/>
              </a:lnSpc>
              <a:spcAft>
                <a:spcPts val="1350"/>
              </a:spcAf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Slide Number Placeholder 5"/>
          <p:cNvSpPr>
            <a:spLocks noGrp="1"/>
          </p:cNvSpPr>
          <p:nvPr>
            <p:ph type="sldNum" sz="quarter" idx="12"/>
          </p:nvPr>
        </p:nvSpPr>
        <p:spPr/>
        <p:txBody>
          <a:bodyPr>
            <a:noAutofit/>
          </a:bodyPr>
          <a:lstStyle/>
          <a:p>
            <a:fld id="{F46C79FD-C571-418B-AB0F-5EE936C85276}" type="slidenum">
              <a:rPr lang="en-GB" smtClean="0"/>
              <a:t>‹#›</a:t>
            </a:fld>
            <a:endParaRPr lang="en-GB"/>
          </a:p>
        </p:txBody>
      </p:sp>
      <p:sp>
        <p:nvSpPr>
          <p:cNvPr id="9" name="Title Placeholder 1"/>
          <p:cNvSpPr>
            <a:spLocks noGrp="1"/>
          </p:cNvSpPr>
          <p:nvPr>
            <p:ph type="title"/>
          </p:nvPr>
        </p:nvSpPr>
        <p:spPr>
          <a:xfrm>
            <a:off x="728042" y="362145"/>
            <a:ext cx="7886700" cy="586768"/>
          </a:xfrm>
          <a:prstGeom prst="rect">
            <a:avLst/>
          </a:prstGeom>
        </p:spPr>
        <p:txBody>
          <a:bodyPr vert="horz" lIns="91440" tIns="45720" rIns="91440" bIns="0" rtlCol="0" anchor="b" anchorCtr="0">
            <a:noAutofit/>
          </a:bodyPr>
          <a:lstStyle/>
          <a:p>
            <a:r>
              <a:rPr lang="en-US"/>
              <a:t>Click to edit Master title style</a:t>
            </a:r>
            <a:endParaRPr lang="en-GB"/>
          </a:p>
        </p:txBody>
      </p:sp>
    </p:spTree>
    <p:extLst>
      <p:ext uri="{BB962C8B-B14F-4D97-AF65-F5344CB8AC3E}">
        <p14:creationId xmlns:p14="http://schemas.microsoft.com/office/powerpoint/2010/main" val="3195673406"/>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theme" Target="../theme/theme1.xml"/><Relationship Id="rId1" Type="http://schemas.openxmlformats.org/officeDocument/2006/relationships/slideLayout" Target="../slideLayouts/slideLayout1.xml"/><Relationship Id="rId5" Type="http://schemas.openxmlformats.org/officeDocument/2006/relationships/image" Target="../media/image3.emf"/><Relationship Id="rId4" Type="http://schemas.openxmlformats.org/officeDocument/2006/relationships/image" Target="../media/image2.emf"/></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9.xml"/><Relationship Id="rId13" Type="http://schemas.openxmlformats.org/officeDocument/2006/relationships/slideLayout" Target="../slideLayouts/slideLayout14.xml"/><Relationship Id="rId3" Type="http://schemas.openxmlformats.org/officeDocument/2006/relationships/slideLayout" Target="../slideLayouts/slideLayout4.xml"/><Relationship Id="rId7" Type="http://schemas.openxmlformats.org/officeDocument/2006/relationships/slideLayout" Target="../slideLayouts/slideLayout8.xml"/><Relationship Id="rId12" Type="http://schemas.openxmlformats.org/officeDocument/2006/relationships/slideLayout" Target="../slideLayouts/slideLayout13.xml"/><Relationship Id="rId2" Type="http://schemas.openxmlformats.org/officeDocument/2006/relationships/slideLayout" Target="../slideLayouts/slideLayout3.xml"/><Relationship Id="rId1" Type="http://schemas.openxmlformats.org/officeDocument/2006/relationships/slideLayout" Target="../slideLayouts/slideLayout2.xml"/><Relationship Id="rId6" Type="http://schemas.openxmlformats.org/officeDocument/2006/relationships/slideLayout" Target="../slideLayouts/slideLayout7.xml"/><Relationship Id="rId11" Type="http://schemas.openxmlformats.org/officeDocument/2006/relationships/slideLayout" Target="../slideLayouts/slideLayout12.xml"/><Relationship Id="rId5" Type="http://schemas.openxmlformats.org/officeDocument/2006/relationships/slideLayout" Target="../slideLayouts/slideLayout6.xml"/><Relationship Id="rId15" Type="http://schemas.openxmlformats.org/officeDocument/2006/relationships/image" Target="../media/image4.emf"/><Relationship Id="rId10" Type="http://schemas.openxmlformats.org/officeDocument/2006/relationships/slideLayout" Target="../slideLayouts/slideLayout11.xml"/><Relationship Id="rId4" Type="http://schemas.openxmlformats.org/officeDocument/2006/relationships/slideLayout" Target="../slideLayouts/slideLayout5.xml"/><Relationship Id="rId9" Type="http://schemas.openxmlformats.org/officeDocument/2006/relationships/slideLayout" Target="../slideLayouts/slideLayout10.xml"/><Relationship Id="rId1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3" Type="http://schemas.openxmlformats.org/officeDocument/2006/relationships/image" Target="../media/image1.emf"/><Relationship Id="rId7" Type="http://schemas.openxmlformats.org/officeDocument/2006/relationships/image" Target="../media/image7.emf"/><Relationship Id="rId2" Type="http://schemas.openxmlformats.org/officeDocument/2006/relationships/theme" Target="../theme/theme3.xml"/><Relationship Id="rId1" Type="http://schemas.openxmlformats.org/officeDocument/2006/relationships/slideLayout" Target="../slideLayouts/slideLayout15.xml"/><Relationship Id="rId6" Type="http://schemas.openxmlformats.org/officeDocument/2006/relationships/image" Target="../media/image6.jpeg"/><Relationship Id="rId5" Type="http://schemas.openxmlformats.org/officeDocument/2006/relationships/image" Target="../media/image5.emf"/><Relationship Id="rId4" Type="http://schemas.openxmlformats.org/officeDocument/2006/relationships/image" Target="../media/image2.emf"/></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23.xml"/><Relationship Id="rId13" Type="http://schemas.openxmlformats.org/officeDocument/2006/relationships/slideLayout" Target="../slideLayouts/slideLayout28.xml"/><Relationship Id="rId18" Type="http://schemas.openxmlformats.org/officeDocument/2006/relationships/slideLayout" Target="../slideLayouts/slideLayout33.xml"/><Relationship Id="rId3" Type="http://schemas.openxmlformats.org/officeDocument/2006/relationships/slideLayout" Target="../slideLayouts/slideLayout18.xml"/><Relationship Id="rId21" Type="http://schemas.openxmlformats.org/officeDocument/2006/relationships/slideLayout" Target="../slideLayouts/slideLayout36.xml"/><Relationship Id="rId7" Type="http://schemas.openxmlformats.org/officeDocument/2006/relationships/slideLayout" Target="../slideLayouts/slideLayout22.xml"/><Relationship Id="rId12" Type="http://schemas.openxmlformats.org/officeDocument/2006/relationships/slideLayout" Target="../slideLayouts/slideLayout27.xml"/><Relationship Id="rId17" Type="http://schemas.openxmlformats.org/officeDocument/2006/relationships/slideLayout" Target="../slideLayouts/slideLayout32.xml"/><Relationship Id="rId2" Type="http://schemas.openxmlformats.org/officeDocument/2006/relationships/slideLayout" Target="../slideLayouts/slideLayout17.xml"/><Relationship Id="rId16" Type="http://schemas.openxmlformats.org/officeDocument/2006/relationships/slideLayout" Target="../slideLayouts/slideLayout31.xml"/><Relationship Id="rId20" Type="http://schemas.openxmlformats.org/officeDocument/2006/relationships/slideLayout" Target="../slideLayouts/slideLayout35.xml"/><Relationship Id="rId1" Type="http://schemas.openxmlformats.org/officeDocument/2006/relationships/slideLayout" Target="../slideLayouts/slideLayout16.xml"/><Relationship Id="rId6" Type="http://schemas.openxmlformats.org/officeDocument/2006/relationships/slideLayout" Target="../slideLayouts/slideLayout21.xml"/><Relationship Id="rId11" Type="http://schemas.openxmlformats.org/officeDocument/2006/relationships/slideLayout" Target="../slideLayouts/slideLayout26.xml"/><Relationship Id="rId5" Type="http://schemas.openxmlformats.org/officeDocument/2006/relationships/slideLayout" Target="../slideLayouts/slideLayout20.xml"/><Relationship Id="rId15" Type="http://schemas.openxmlformats.org/officeDocument/2006/relationships/slideLayout" Target="../slideLayouts/slideLayout30.xml"/><Relationship Id="rId23" Type="http://schemas.openxmlformats.org/officeDocument/2006/relationships/image" Target="../media/image8.png"/><Relationship Id="rId10" Type="http://schemas.openxmlformats.org/officeDocument/2006/relationships/slideLayout" Target="../slideLayouts/slideLayout25.xml"/><Relationship Id="rId19" Type="http://schemas.openxmlformats.org/officeDocument/2006/relationships/slideLayout" Target="../slideLayouts/slideLayout34.xml"/><Relationship Id="rId4" Type="http://schemas.openxmlformats.org/officeDocument/2006/relationships/slideLayout" Target="../slideLayouts/slideLayout19.xml"/><Relationship Id="rId9" Type="http://schemas.openxmlformats.org/officeDocument/2006/relationships/slideLayout" Target="../slideLayouts/slideLayout24.xml"/><Relationship Id="rId14" Type="http://schemas.openxmlformats.org/officeDocument/2006/relationships/slideLayout" Target="../slideLayouts/slideLayout29.xml"/><Relationship Id="rId22"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44.xml"/><Relationship Id="rId13" Type="http://schemas.openxmlformats.org/officeDocument/2006/relationships/slideLayout" Target="../slideLayouts/slideLayout49.xml"/><Relationship Id="rId18" Type="http://schemas.openxmlformats.org/officeDocument/2006/relationships/slideLayout" Target="../slideLayouts/slideLayout54.xml"/><Relationship Id="rId26" Type="http://schemas.openxmlformats.org/officeDocument/2006/relationships/image" Target="../media/image8.png"/><Relationship Id="rId3" Type="http://schemas.openxmlformats.org/officeDocument/2006/relationships/slideLayout" Target="../slideLayouts/slideLayout39.xml"/><Relationship Id="rId21" Type="http://schemas.openxmlformats.org/officeDocument/2006/relationships/slideLayout" Target="../slideLayouts/slideLayout57.xml"/><Relationship Id="rId7" Type="http://schemas.openxmlformats.org/officeDocument/2006/relationships/slideLayout" Target="../slideLayouts/slideLayout43.xml"/><Relationship Id="rId12" Type="http://schemas.openxmlformats.org/officeDocument/2006/relationships/slideLayout" Target="../slideLayouts/slideLayout48.xml"/><Relationship Id="rId17" Type="http://schemas.openxmlformats.org/officeDocument/2006/relationships/slideLayout" Target="../slideLayouts/slideLayout53.xml"/><Relationship Id="rId25" Type="http://schemas.openxmlformats.org/officeDocument/2006/relationships/theme" Target="../theme/theme5.xml"/><Relationship Id="rId2" Type="http://schemas.openxmlformats.org/officeDocument/2006/relationships/slideLayout" Target="../slideLayouts/slideLayout38.xml"/><Relationship Id="rId16" Type="http://schemas.openxmlformats.org/officeDocument/2006/relationships/slideLayout" Target="../slideLayouts/slideLayout52.xml"/><Relationship Id="rId20" Type="http://schemas.openxmlformats.org/officeDocument/2006/relationships/slideLayout" Target="../slideLayouts/slideLayout56.xml"/><Relationship Id="rId1" Type="http://schemas.openxmlformats.org/officeDocument/2006/relationships/slideLayout" Target="../slideLayouts/slideLayout37.xml"/><Relationship Id="rId6" Type="http://schemas.openxmlformats.org/officeDocument/2006/relationships/slideLayout" Target="../slideLayouts/slideLayout42.xml"/><Relationship Id="rId11" Type="http://schemas.openxmlformats.org/officeDocument/2006/relationships/slideLayout" Target="../slideLayouts/slideLayout47.xml"/><Relationship Id="rId24" Type="http://schemas.openxmlformats.org/officeDocument/2006/relationships/slideLayout" Target="../slideLayouts/slideLayout60.xml"/><Relationship Id="rId5" Type="http://schemas.openxmlformats.org/officeDocument/2006/relationships/slideLayout" Target="../slideLayouts/slideLayout41.xml"/><Relationship Id="rId15" Type="http://schemas.openxmlformats.org/officeDocument/2006/relationships/slideLayout" Target="../slideLayouts/slideLayout51.xml"/><Relationship Id="rId23" Type="http://schemas.openxmlformats.org/officeDocument/2006/relationships/slideLayout" Target="../slideLayouts/slideLayout59.xml"/><Relationship Id="rId10" Type="http://schemas.openxmlformats.org/officeDocument/2006/relationships/slideLayout" Target="../slideLayouts/slideLayout46.xml"/><Relationship Id="rId19" Type="http://schemas.openxmlformats.org/officeDocument/2006/relationships/slideLayout" Target="../slideLayouts/slideLayout55.xml"/><Relationship Id="rId4" Type="http://schemas.openxmlformats.org/officeDocument/2006/relationships/slideLayout" Target="../slideLayouts/slideLayout40.xml"/><Relationship Id="rId9" Type="http://schemas.openxmlformats.org/officeDocument/2006/relationships/slideLayout" Target="../slideLayouts/slideLayout45.xml"/><Relationship Id="rId14" Type="http://schemas.openxmlformats.org/officeDocument/2006/relationships/slideLayout" Target="../slideLayouts/slideLayout50.xml"/><Relationship Id="rId22" Type="http://schemas.openxmlformats.org/officeDocument/2006/relationships/slideLayout" Target="../slideLayouts/slideLayout58.xml"/></Relationships>
</file>

<file path=ppt/slideMasters/_rels/slideMaster6.xml.rels><?xml version="1.0" encoding="UTF-8" standalone="yes"?>
<Relationships xmlns="http://schemas.openxmlformats.org/package/2006/relationships"><Relationship Id="rId13" Type="http://schemas.openxmlformats.org/officeDocument/2006/relationships/slideLayout" Target="../slideLayouts/slideLayout73.xml"/><Relationship Id="rId18" Type="http://schemas.openxmlformats.org/officeDocument/2006/relationships/slideLayout" Target="../slideLayouts/slideLayout78.xml"/><Relationship Id="rId26" Type="http://schemas.openxmlformats.org/officeDocument/2006/relationships/slideLayout" Target="../slideLayouts/slideLayout86.xml"/><Relationship Id="rId39" Type="http://schemas.openxmlformats.org/officeDocument/2006/relationships/slideLayout" Target="../slideLayouts/slideLayout99.xml"/><Relationship Id="rId21" Type="http://schemas.openxmlformats.org/officeDocument/2006/relationships/slideLayout" Target="../slideLayouts/slideLayout81.xml"/><Relationship Id="rId34" Type="http://schemas.openxmlformats.org/officeDocument/2006/relationships/slideLayout" Target="../slideLayouts/slideLayout94.xml"/><Relationship Id="rId42" Type="http://schemas.openxmlformats.org/officeDocument/2006/relationships/image" Target="../media/image16.jpeg"/><Relationship Id="rId7" Type="http://schemas.openxmlformats.org/officeDocument/2006/relationships/slideLayout" Target="../slideLayouts/slideLayout67.xml"/><Relationship Id="rId2" Type="http://schemas.openxmlformats.org/officeDocument/2006/relationships/slideLayout" Target="../slideLayouts/slideLayout62.xml"/><Relationship Id="rId16" Type="http://schemas.openxmlformats.org/officeDocument/2006/relationships/slideLayout" Target="../slideLayouts/slideLayout76.xml"/><Relationship Id="rId20" Type="http://schemas.openxmlformats.org/officeDocument/2006/relationships/slideLayout" Target="../slideLayouts/slideLayout80.xml"/><Relationship Id="rId29" Type="http://schemas.openxmlformats.org/officeDocument/2006/relationships/slideLayout" Target="../slideLayouts/slideLayout89.xml"/><Relationship Id="rId41" Type="http://schemas.openxmlformats.org/officeDocument/2006/relationships/image" Target="../media/image15.png"/><Relationship Id="rId1" Type="http://schemas.openxmlformats.org/officeDocument/2006/relationships/slideLayout" Target="../slideLayouts/slideLayout61.xml"/><Relationship Id="rId6" Type="http://schemas.openxmlformats.org/officeDocument/2006/relationships/slideLayout" Target="../slideLayouts/slideLayout66.xml"/><Relationship Id="rId11" Type="http://schemas.openxmlformats.org/officeDocument/2006/relationships/slideLayout" Target="../slideLayouts/slideLayout71.xml"/><Relationship Id="rId24" Type="http://schemas.openxmlformats.org/officeDocument/2006/relationships/slideLayout" Target="../slideLayouts/slideLayout84.xml"/><Relationship Id="rId32" Type="http://schemas.openxmlformats.org/officeDocument/2006/relationships/slideLayout" Target="../slideLayouts/slideLayout92.xml"/><Relationship Id="rId37" Type="http://schemas.openxmlformats.org/officeDocument/2006/relationships/slideLayout" Target="../slideLayouts/slideLayout97.xml"/><Relationship Id="rId40" Type="http://schemas.openxmlformats.org/officeDocument/2006/relationships/theme" Target="../theme/theme6.xml"/><Relationship Id="rId5" Type="http://schemas.openxmlformats.org/officeDocument/2006/relationships/slideLayout" Target="../slideLayouts/slideLayout65.xml"/><Relationship Id="rId15" Type="http://schemas.openxmlformats.org/officeDocument/2006/relationships/slideLayout" Target="../slideLayouts/slideLayout75.xml"/><Relationship Id="rId23" Type="http://schemas.openxmlformats.org/officeDocument/2006/relationships/slideLayout" Target="../slideLayouts/slideLayout83.xml"/><Relationship Id="rId28" Type="http://schemas.openxmlformats.org/officeDocument/2006/relationships/slideLayout" Target="../slideLayouts/slideLayout88.xml"/><Relationship Id="rId36" Type="http://schemas.openxmlformats.org/officeDocument/2006/relationships/slideLayout" Target="../slideLayouts/slideLayout96.xml"/><Relationship Id="rId10" Type="http://schemas.openxmlformats.org/officeDocument/2006/relationships/slideLayout" Target="../slideLayouts/slideLayout70.xml"/><Relationship Id="rId19" Type="http://schemas.openxmlformats.org/officeDocument/2006/relationships/slideLayout" Target="../slideLayouts/slideLayout79.xml"/><Relationship Id="rId31" Type="http://schemas.openxmlformats.org/officeDocument/2006/relationships/slideLayout" Target="../slideLayouts/slideLayout91.xml"/><Relationship Id="rId4" Type="http://schemas.openxmlformats.org/officeDocument/2006/relationships/slideLayout" Target="../slideLayouts/slideLayout64.xml"/><Relationship Id="rId9" Type="http://schemas.openxmlformats.org/officeDocument/2006/relationships/slideLayout" Target="../slideLayouts/slideLayout69.xml"/><Relationship Id="rId14" Type="http://schemas.openxmlformats.org/officeDocument/2006/relationships/slideLayout" Target="../slideLayouts/slideLayout74.xml"/><Relationship Id="rId22" Type="http://schemas.openxmlformats.org/officeDocument/2006/relationships/slideLayout" Target="../slideLayouts/slideLayout82.xml"/><Relationship Id="rId27" Type="http://schemas.openxmlformats.org/officeDocument/2006/relationships/slideLayout" Target="../slideLayouts/slideLayout87.xml"/><Relationship Id="rId30" Type="http://schemas.openxmlformats.org/officeDocument/2006/relationships/slideLayout" Target="../slideLayouts/slideLayout90.xml"/><Relationship Id="rId35" Type="http://schemas.openxmlformats.org/officeDocument/2006/relationships/slideLayout" Target="../slideLayouts/slideLayout95.xml"/><Relationship Id="rId8" Type="http://schemas.openxmlformats.org/officeDocument/2006/relationships/slideLayout" Target="../slideLayouts/slideLayout68.xml"/><Relationship Id="rId3" Type="http://schemas.openxmlformats.org/officeDocument/2006/relationships/slideLayout" Target="../slideLayouts/slideLayout63.xml"/><Relationship Id="rId12" Type="http://schemas.openxmlformats.org/officeDocument/2006/relationships/slideLayout" Target="../slideLayouts/slideLayout72.xml"/><Relationship Id="rId17" Type="http://schemas.openxmlformats.org/officeDocument/2006/relationships/slideLayout" Target="../slideLayouts/slideLayout77.xml"/><Relationship Id="rId25" Type="http://schemas.openxmlformats.org/officeDocument/2006/relationships/slideLayout" Target="../slideLayouts/slideLayout85.xml"/><Relationship Id="rId33" Type="http://schemas.openxmlformats.org/officeDocument/2006/relationships/slideLayout" Target="../slideLayouts/slideLayout93.xml"/><Relationship Id="rId38" Type="http://schemas.openxmlformats.org/officeDocument/2006/relationships/slideLayout" Target="../slideLayouts/slideLayout9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6C1E0C78-176F-35FA-9600-ED2CC5AE2B00}"/>
              </a:ext>
            </a:extLst>
          </p:cNvPr>
          <p:cNvPicPr>
            <a:picLocks noChangeAspect="1"/>
          </p:cNvPicPr>
          <p:nvPr userDrawn="1"/>
        </p:nvPicPr>
        <p:blipFill>
          <a:blip r:embed="rId3"/>
          <a:stretch>
            <a:fillRect/>
          </a:stretch>
        </p:blipFill>
        <p:spPr>
          <a:xfrm rot="10800000">
            <a:off x="0" y="395654"/>
            <a:ext cx="9144000" cy="3104397"/>
          </a:xfrm>
          <a:prstGeom prst="rect">
            <a:avLst/>
          </a:prstGeom>
        </p:spPr>
      </p:pic>
      <p:pic>
        <p:nvPicPr>
          <p:cNvPr id="8" name="Picture 7">
            <a:extLst>
              <a:ext uri="{FF2B5EF4-FFF2-40B4-BE49-F238E27FC236}">
                <a16:creationId xmlns:a16="http://schemas.microsoft.com/office/drawing/2014/main" id="{BB4E4AE4-3313-F8F8-90E6-07BA52E341CF}"/>
              </a:ext>
            </a:extLst>
          </p:cNvPr>
          <p:cNvPicPr>
            <a:picLocks noChangeAspect="1"/>
          </p:cNvPicPr>
          <p:nvPr userDrawn="1"/>
        </p:nvPicPr>
        <p:blipFill>
          <a:blip r:embed="rId4"/>
          <a:stretch>
            <a:fillRect/>
          </a:stretch>
        </p:blipFill>
        <p:spPr>
          <a:xfrm>
            <a:off x="1099134" y="1370951"/>
            <a:ext cx="521958" cy="576901"/>
          </a:xfrm>
          <a:prstGeom prst="rect">
            <a:avLst/>
          </a:prstGeom>
        </p:spPr>
      </p:pic>
      <p:pic>
        <p:nvPicPr>
          <p:cNvPr id="9" name="Picture 8">
            <a:extLst>
              <a:ext uri="{FF2B5EF4-FFF2-40B4-BE49-F238E27FC236}">
                <a16:creationId xmlns:a16="http://schemas.microsoft.com/office/drawing/2014/main" id="{E924DC9A-26FB-F3FF-CAA8-BC361702DCCD}"/>
              </a:ext>
            </a:extLst>
          </p:cNvPr>
          <p:cNvPicPr>
            <a:picLocks noChangeAspect="1"/>
          </p:cNvPicPr>
          <p:nvPr userDrawn="1"/>
        </p:nvPicPr>
        <p:blipFill>
          <a:blip r:embed="rId5"/>
          <a:stretch>
            <a:fillRect/>
          </a:stretch>
        </p:blipFill>
        <p:spPr>
          <a:xfrm>
            <a:off x="1760535" y="3958307"/>
            <a:ext cx="5969977" cy="913956"/>
          </a:xfrm>
          <a:prstGeom prst="rect">
            <a:avLst/>
          </a:prstGeom>
        </p:spPr>
      </p:pic>
    </p:spTree>
    <p:extLst>
      <p:ext uri="{BB962C8B-B14F-4D97-AF65-F5344CB8AC3E}">
        <p14:creationId xmlns:p14="http://schemas.microsoft.com/office/powerpoint/2010/main" val="1739732676"/>
      </p:ext>
    </p:extLst>
  </p:cSld>
  <p:clrMap bg1="lt1" tx1="dk1" bg2="lt2" tx2="dk2" accent1="accent1" accent2="accent2" accent3="accent3" accent4="accent4" accent5="accent5" accent6="accent6" hlink="hlink" folHlink="folHlink"/>
  <p:sldLayoutIdLst>
    <p:sldLayoutId id="2147484019" r:id="rId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L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0F1BB65F-2D78-DF4F-2045-4DFB8E087F17}"/>
              </a:ext>
            </a:extLst>
          </p:cNvPr>
          <p:cNvSpPr>
            <a:spLocks noGrp="1"/>
          </p:cNvSpPr>
          <p:nvPr>
            <p:ph type="title"/>
          </p:nvPr>
        </p:nvSpPr>
        <p:spPr>
          <a:xfrm>
            <a:off x="628650" y="274639"/>
            <a:ext cx="7886700" cy="574448"/>
          </a:xfrm>
          <a:prstGeom prst="rect">
            <a:avLst/>
          </a:prstGeom>
        </p:spPr>
        <p:txBody>
          <a:bodyPr vert="horz" lIns="91440" tIns="45720" rIns="91440" bIns="45720" rtlCol="0" anchor="ctr">
            <a:noAutofit/>
          </a:bodyPr>
          <a:lstStyle/>
          <a:p>
            <a:r>
              <a:rPr lang="en-GB"/>
              <a:t>Click to edit Master title style</a:t>
            </a:r>
            <a:endParaRPr lang="en-LU"/>
          </a:p>
        </p:txBody>
      </p:sp>
      <p:sp>
        <p:nvSpPr>
          <p:cNvPr id="3" name="Text Placeholder 2">
            <a:extLst>
              <a:ext uri="{FF2B5EF4-FFF2-40B4-BE49-F238E27FC236}">
                <a16:creationId xmlns:a16="http://schemas.microsoft.com/office/drawing/2014/main" id="{5956D873-08AA-B05E-EEF2-26580979AC20}"/>
              </a:ext>
            </a:extLst>
          </p:cNvPr>
          <p:cNvSpPr>
            <a:spLocks noGrp="1"/>
          </p:cNvSpPr>
          <p:nvPr>
            <p:ph type="body" idx="1"/>
          </p:nvPr>
        </p:nvSpPr>
        <p:spPr>
          <a:xfrm>
            <a:off x="628650" y="1016000"/>
            <a:ext cx="7886700" cy="3616325"/>
          </a:xfrm>
          <a:prstGeom prst="rect">
            <a:avLst/>
          </a:prstGeom>
        </p:spPr>
        <p:txBody>
          <a:bodyPr vert="horz" lIns="91440" tIns="45720" rIns="91440" bIns="4572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LU"/>
          </a:p>
        </p:txBody>
      </p:sp>
      <p:sp>
        <p:nvSpPr>
          <p:cNvPr id="6" name="Slide Number Placeholder 5">
            <a:extLst>
              <a:ext uri="{FF2B5EF4-FFF2-40B4-BE49-F238E27FC236}">
                <a16:creationId xmlns:a16="http://schemas.microsoft.com/office/drawing/2014/main" id="{E5546212-B238-640A-F74A-CA77B643E75B}"/>
              </a:ext>
            </a:extLst>
          </p:cNvPr>
          <p:cNvSpPr>
            <a:spLocks noGrp="1"/>
          </p:cNvSpPr>
          <p:nvPr>
            <p:ph type="sldNum" sz="quarter" idx="4"/>
          </p:nvPr>
        </p:nvSpPr>
        <p:spPr>
          <a:xfrm>
            <a:off x="6457950" y="4767264"/>
            <a:ext cx="2057400" cy="135618"/>
          </a:xfrm>
          <a:prstGeom prst="rect">
            <a:avLst/>
          </a:prstGeom>
        </p:spPr>
        <p:txBody>
          <a:bodyPr vert="horz" lIns="91440" tIns="45720" rIns="91440" bIns="45720" rtlCol="0" anchor="ctr"/>
          <a:lstStyle>
            <a:lvl1pPr algn="r">
              <a:defRPr sz="1000">
                <a:solidFill>
                  <a:schemeClr val="tx1">
                    <a:lumMod val="50000"/>
                    <a:lumOff val="50000"/>
                  </a:schemeClr>
                </a:solidFill>
              </a:defRPr>
            </a:lvl1pPr>
          </a:lstStyle>
          <a:p>
            <a:fld id="{0F67114D-ED23-2A43-BD26-04D629DC704A}" type="slidenum">
              <a:rPr lang="en-LU" smtClean="0"/>
              <a:pPr/>
              <a:t>‹#›</a:t>
            </a:fld>
            <a:endParaRPr lang="en-LU"/>
          </a:p>
        </p:txBody>
      </p:sp>
      <p:pic>
        <p:nvPicPr>
          <p:cNvPr id="7" name="Picture 6">
            <a:extLst>
              <a:ext uri="{FF2B5EF4-FFF2-40B4-BE49-F238E27FC236}">
                <a16:creationId xmlns:a16="http://schemas.microsoft.com/office/drawing/2014/main" id="{2CE85B63-11E9-0513-CDFE-D20C89768ACD}"/>
              </a:ext>
            </a:extLst>
          </p:cNvPr>
          <p:cNvPicPr>
            <a:picLocks noChangeAspect="1"/>
          </p:cNvPicPr>
          <p:nvPr userDrawn="1"/>
        </p:nvPicPr>
        <p:blipFill>
          <a:blip r:embed="rId15"/>
          <a:stretch>
            <a:fillRect/>
          </a:stretch>
        </p:blipFill>
        <p:spPr>
          <a:xfrm>
            <a:off x="628650" y="4767263"/>
            <a:ext cx="834571" cy="135618"/>
          </a:xfrm>
          <a:prstGeom prst="rect">
            <a:avLst/>
          </a:prstGeom>
        </p:spPr>
      </p:pic>
    </p:spTree>
    <p:extLst>
      <p:ext uri="{BB962C8B-B14F-4D97-AF65-F5344CB8AC3E}">
        <p14:creationId xmlns:p14="http://schemas.microsoft.com/office/powerpoint/2010/main" val="454978019"/>
      </p:ext>
    </p:extLst>
  </p:cSld>
  <p:clrMap bg1="lt1" tx1="dk1" bg2="lt2" tx2="dk2" accent1="accent1" accent2="accent2" accent3="accent3" accent4="accent4" accent5="accent5" accent6="accent6" hlink="hlink" folHlink="folHlink"/>
  <p:sldLayoutIdLst>
    <p:sldLayoutId id="2147484021" r:id="rId1"/>
    <p:sldLayoutId id="2147484022" r:id="rId2"/>
    <p:sldLayoutId id="2147484030" r:id="rId3"/>
    <p:sldLayoutId id="2147484031" r:id="rId4"/>
    <p:sldLayoutId id="2147484025" r:id="rId5"/>
    <p:sldLayoutId id="2147484026" r:id="rId6"/>
    <p:sldLayoutId id="2147484027" r:id="rId7"/>
    <p:sldLayoutId id="2147484028" r:id="rId8"/>
    <p:sldLayoutId id="2147484033" r:id="rId9"/>
    <p:sldLayoutId id="2147484034" r:id="rId10"/>
    <p:sldLayoutId id="2147484035" r:id="rId11"/>
    <p:sldLayoutId id="2147484036" r:id="rId12"/>
    <p:sldLayoutId id="2147484058" r:id="rId13"/>
  </p:sldLayoutIdLst>
  <p:txStyles>
    <p:titleStyle>
      <a:lvl1pPr algn="l" defTabSz="914400" rtl="0" eaLnBrk="1" latinLnBrk="0" hangingPunct="1">
        <a:lnSpc>
          <a:spcPct val="90000"/>
        </a:lnSpc>
        <a:spcBef>
          <a:spcPct val="0"/>
        </a:spcBef>
        <a:buNone/>
        <a:defRPr sz="4000" kern="1200">
          <a:solidFill>
            <a:srgbClr val="F15A24"/>
          </a:solidFill>
          <a:latin typeface="+mn-lt"/>
          <a:ea typeface="+mj-ea"/>
          <a:cs typeface="+mj-cs"/>
        </a:defRPr>
      </a:lvl1pPr>
    </p:titleStyle>
    <p:bodyStyle>
      <a:lvl1pPr marL="228600" indent="-228600" algn="l" defTabSz="914400" rtl="0" eaLnBrk="1" latinLnBrk="0" hangingPunct="1">
        <a:lnSpc>
          <a:spcPct val="90000"/>
        </a:lnSpc>
        <a:spcBef>
          <a:spcPts val="1000"/>
        </a:spcBef>
        <a:buClr>
          <a:srgbClr val="F15A24"/>
        </a:buClr>
        <a:buFont typeface="Arial" panose="020B0604020202020204" pitchFamily="34" charset="0"/>
        <a:buChar char="•"/>
        <a:defRPr sz="2800" kern="1200">
          <a:solidFill>
            <a:schemeClr val="tx1">
              <a:lumMod val="65000"/>
              <a:lumOff val="35000"/>
            </a:schemeClr>
          </a:solidFill>
          <a:latin typeface="+mn-lt"/>
          <a:ea typeface="+mn-ea"/>
          <a:cs typeface="+mn-cs"/>
        </a:defRPr>
      </a:lvl1pPr>
      <a:lvl2pPr marL="685800" indent="-228600" algn="l" defTabSz="914400" rtl="0" eaLnBrk="1" latinLnBrk="0" hangingPunct="1">
        <a:lnSpc>
          <a:spcPct val="90000"/>
        </a:lnSpc>
        <a:spcBef>
          <a:spcPts val="500"/>
        </a:spcBef>
        <a:buClr>
          <a:srgbClr val="F15A24"/>
        </a:buClr>
        <a:buFont typeface="Arial" panose="020B0604020202020204" pitchFamily="34" charset="0"/>
        <a:buChar char="•"/>
        <a:defRPr sz="2400" kern="1200">
          <a:solidFill>
            <a:schemeClr val="tx1">
              <a:lumMod val="65000"/>
              <a:lumOff val="35000"/>
            </a:schemeClr>
          </a:solidFill>
          <a:latin typeface="+mn-lt"/>
          <a:ea typeface="+mn-ea"/>
          <a:cs typeface="+mn-cs"/>
        </a:defRPr>
      </a:lvl2pPr>
      <a:lvl3pPr marL="1143000" indent="-228600" algn="l" defTabSz="914400" rtl="0" eaLnBrk="1" latinLnBrk="0" hangingPunct="1">
        <a:lnSpc>
          <a:spcPct val="90000"/>
        </a:lnSpc>
        <a:spcBef>
          <a:spcPts val="500"/>
        </a:spcBef>
        <a:buClr>
          <a:srgbClr val="F15A24"/>
        </a:buClr>
        <a:buFont typeface="Arial" panose="020B0604020202020204" pitchFamily="34" charset="0"/>
        <a:buChar char="•"/>
        <a:defRPr sz="2000" kern="1200">
          <a:solidFill>
            <a:schemeClr val="tx1">
              <a:lumMod val="65000"/>
              <a:lumOff val="35000"/>
            </a:schemeClr>
          </a:solidFill>
          <a:latin typeface="+mn-lt"/>
          <a:ea typeface="+mn-ea"/>
          <a:cs typeface="+mn-cs"/>
        </a:defRPr>
      </a:lvl3pPr>
      <a:lvl4pPr marL="1600200" indent="-228600" algn="l" defTabSz="914400" rtl="0" eaLnBrk="1" latinLnBrk="0" hangingPunct="1">
        <a:lnSpc>
          <a:spcPct val="90000"/>
        </a:lnSpc>
        <a:spcBef>
          <a:spcPts val="500"/>
        </a:spcBef>
        <a:buClr>
          <a:srgbClr val="F15A24"/>
        </a:buClr>
        <a:buFont typeface="Arial" panose="020B0604020202020204" pitchFamily="34" charset="0"/>
        <a:buChar char="•"/>
        <a:defRPr sz="1800" kern="1200">
          <a:solidFill>
            <a:schemeClr val="tx1">
              <a:lumMod val="65000"/>
              <a:lumOff val="35000"/>
            </a:schemeClr>
          </a:solidFill>
          <a:latin typeface="+mn-lt"/>
          <a:ea typeface="+mn-ea"/>
          <a:cs typeface="+mn-cs"/>
        </a:defRPr>
      </a:lvl4pPr>
      <a:lvl5pPr marL="2057400" indent="-228600" algn="l" defTabSz="914400" rtl="0" eaLnBrk="1" latinLnBrk="0" hangingPunct="1">
        <a:lnSpc>
          <a:spcPct val="90000"/>
        </a:lnSpc>
        <a:spcBef>
          <a:spcPts val="500"/>
        </a:spcBef>
        <a:buClr>
          <a:srgbClr val="F15A24"/>
        </a:buClr>
        <a:buFont typeface="Arial" panose="020B0604020202020204" pitchFamily="34" charset="0"/>
        <a:buChar char="•"/>
        <a:defRPr sz="1800" kern="1200">
          <a:solidFill>
            <a:schemeClr val="tx1">
              <a:lumMod val="65000"/>
              <a:lumOff val="3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L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ADACDA12-1464-5D1D-DCCF-ED99826CC961}"/>
              </a:ext>
            </a:extLst>
          </p:cNvPr>
          <p:cNvPicPr>
            <a:picLocks noChangeAspect="1"/>
          </p:cNvPicPr>
          <p:nvPr userDrawn="1"/>
        </p:nvPicPr>
        <p:blipFill>
          <a:blip r:embed="rId3"/>
          <a:stretch>
            <a:fillRect/>
          </a:stretch>
        </p:blipFill>
        <p:spPr>
          <a:xfrm rot="10800000">
            <a:off x="0" y="4842706"/>
            <a:ext cx="9144000" cy="394760"/>
          </a:xfrm>
          <a:prstGeom prst="rect">
            <a:avLst/>
          </a:prstGeom>
        </p:spPr>
      </p:pic>
      <p:pic>
        <p:nvPicPr>
          <p:cNvPr id="12" name="Picture 11">
            <a:extLst>
              <a:ext uri="{FF2B5EF4-FFF2-40B4-BE49-F238E27FC236}">
                <a16:creationId xmlns:a16="http://schemas.microsoft.com/office/drawing/2014/main" id="{9DCDDCBE-744B-C878-9DD2-4ACC0AFAE3BC}"/>
              </a:ext>
            </a:extLst>
          </p:cNvPr>
          <p:cNvPicPr>
            <a:picLocks noChangeAspect="1"/>
          </p:cNvPicPr>
          <p:nvPr userDrawn="1"/>
        </p:nvPicPr>
        <p:blipFill>
          <a:blip r:embed="rId4"/>
          <a:stretch>
            <a:fillRect/>
          </a:stretch>
        </p:blipFill>
        <p:spPr>
          <a:xfrm>
            <a:off x="1099134" y="1370951"/>
            <a:ext cx="521958" cy="576901"/>
          </a:xfrm>
          <a:prstGeom prst="rect">
            <a:avLst/>
          </a:prstGeom>
        </p:spPr>
      </p:pic>
      <p:pic>
        <p:nvPicPr>
          <p:cNvPr id="7" name="Picture 6">
            <a:extLst>
              <a:ext uri="{FF2B5EF4-FFF2-40B4-BE49-F238E27FC236}">
                <a16:creationId xmlns:a16="http://schemas.microsoft.com/office/drawing/2014/main" id="{69049BB6-4E04-4B91-8C67-02527A402E0C}"/>
              </a:ext>
            </a:extLst>
          </p:cNvPr>
          <p:cNvPicPr>
            <a:picLocks noChangeAspect="1"/>
          </p:cNvPicPr>
          <p:nvPr userDrawn="1"/>
        </p:nvPicPr>
        <p:blipFill>
          <a:blip r:embed="rId5"/>
          <a:stretch>
            <a:fillRect/>
          </a:stretch>
        </p:blipFill>
        <p:spPr>
          <a:xfrm>
            <a:off x="2969537" y="2836106"/>
            <a:ext cx="2822973" cy="2006600"/>
          </a:xfrm>
          <a:prstGeom prst="rect">
            <a:avLst/>
          </a:prstGeom>
        </p:spPr>
      </p:pic>
      <p:pic>
        <p:nvPicPr>
          <p:cNvPr id="8" name="Picture 7">
            <a:extLst>
              <a:ext uri="{FF2B5EF4-FFF2-40B4-BE49-F238E27FC236}">
                <a16:creationId xmlns:a16="http://schemas.microsoft.com/office/drawing/2014/main" id="{05963E11-7895-0C08-015B-E7B316F9893D}"/>
              </a:ext>
            </a:extLst>
          </p:cNvPr>
          <p:cNvPicPr>
            <a:picLocks noChangeAspect="1"/>
          </p:cNvPicPr>
          <p:nvPr userDrawn="1"/>
        </p:nvPicPr>
        <p:blipFill>
          <a:blip r:embed="rId6"/>
          <a:stretch>
            <a:fillRect/>
          </a:stretch>
        </p:blipFill>
        <p:spPr>
          <a:xfrm>
            <a:off x="6077353" y="3471973"/>
            <a:ext cx="2398786" cy="815562"/>
          </a:xfrm>
          <a:prstGeom prst="rect">
            <a:avLst/>
          </a:prstGeom>
        </p:spPr>
      </p:pic>
      <p:pic>
        <p:nvPicPr>
          <p:cNvPr id="10" name="Picture 9">
            <a:extLst>
              <a:ext uri="{FF2B5EF4-FFF2-40B4-BE49-F238E27FC236}">
                <a16:creationId xmlns:a16="http://schemas.microsoft.com/office/drawing/2014/main" id="{2C424EC4-1F33-6E1E-A87A-1D10CC80CCE4}"/>
              </a:ext>
            </a:extLst>
          </p:cNvPr>
          <p:cNvPicPr>
            <a:picLocks noChangeAspect="1"/>
          </p:cNvPicPr>
          <p:nvPr userDrawn="1"/>
        </p:nvPicPr>
        <p:blipFill>
          <a:blip r:embed="rId7"/>
          <a:stretch>
            <a:fillRect/>
          </a:stretch>
        </p:blipFill>
        <p:spPr>
          <a:xfrm>
            <a:off x="1099134" y="1341373"/>
            <a:ext cx="545831" cy="606479"/>
          </a:xfrm>
          <a:prstGeom prst="rect">
            <a:avLst/>
          </a:prstGeom>
        </p:spPr>
      </p:pic>
    </p:spTree>
    <p:extLst>
      <p:ext uri="{BB962C8B-B14F-4D97-AF65-F5344CB8AC3E}">
        <p14:creationId xmlns:p14="http://schemas.microsoft.com/office/powerpoint/2010/main" val="2715631991"/>
      </p:ext>
    </p:extLst>
  </p:cSld>
  <p:clrMap bg1="lt1" tx1="dk1" bg2="lt2" tx2="dk2" accent1="accent1" accent2="accent2" accent3="accent3" accent4="accent4" accent5="accent5" accent6="accent6" hlink="hlink" folHlink="folHlink"/>
  <p:sldLayoutIdLst>
    <p:sldLayoutId id="2147483648" r:id="rId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L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28650" y="362145"/>
            <a:ext cx="7886700" cy="586768"/>
          </a:xfrm>
          <a:prstGeom prst="rect">
            <a:avLst/>
          </a:prstGeom>
        </p:spPr>
        <p:txBody>
          <a:bodyPr vert="horz" lIns="91440" tIns="45720" rIns="91440" bIns="0" rtlCol="0" anchor="b" anchorCtr="0">
            <a:noAutofit/>
          </a:bodyPr>
          <a:lstStyle/>
          <a:p>
            <a:r>
              <a:rPr lang="en-US"/>
              <a:t>Click to edit Master title style</a:t>
            </a:r>
            <a:endParaRPr lang="en-GB"/>
          </a:p>
        </p:txBody>
      </p:sp>
      <p:sp>
        <p:nvSpPr>
          <p:cNvPr id="3" name="Text Placeholder 2"/>
          <p:cNvSpPr>
            <a:spLocks noGrp="1"/>
          </p:cNvSpPr>
          <p:nvPr>
            <p:ph type="body" idx="1"/>
          </p:nvPr>
        </p:nvSpPr>
        <p:spPr>
          <a:xfrm>
            <a:off x="628650" y="1369219"/>
            <a:ext cx="7886700" cy="2911428"/>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Slide Number Placeholder 5"/>
          <p:cNvSpPr>
            <a:spLocks noGrp="1"/>
          </p:cNvSpPr>
          <p:nvPr>
            <p:ph type="sldNum" sz="quarter" idx="4"/>
          </p:nvPr>
        </p:nvSpPr>
        <p:spPr>
          <a:xfrm>
            <a:off x="628650" y="4598465"/>
            <a:ext cx="2057400" cy="273844"/>
          </a:xfrm>
          <a:prstGeom prst="rect">
            <a:avLst/>
          </a:prstGeom>
        </p:spPr>
        <p:txBody>
          <a:bodyPr vert="horz" lIns="91440" tIns="45720" rIns="91440" bIns="45720" rtlCol="0" anchor="ctr">
            <a:noAutofit/>
          </a:bodyPr>
          <a:lstStyle>
            <a:lvl1pPr algn="l">
              <a:defRPr sz="900">
                <a:solidFill>
                  <a:schemeClr val="tx1">
                    <a:tint val="75000"/>
                  </a:schemeClr>
                </a:solidFill>
              </a:defRPr>
            </a:lvl1pPr>
          </a:lstStyle>
          <a:p>
            <a:fld id="{F46C79FD-C571-418B-AB0F-5EE936C85276}" type="slidenum">
              <a:rPr lang="en-GB" smtClean="0"/>
              <a:pPr/>
              <a:t>‹#›</a:t>
            </a:fld>
            <a:endParaRPr lang="en-GB"/>
          </a:p>
        </p:txBody>
      </p:sp>
      <p:pic>
        <p:nvPicPr>
          <p:cNvPr id="7" name="Picture 6"/>
          <p:cNvPicPr>
            <a:picLocks noChangeAspect="1"/>
          </p:cNvPicPr>
          <p:nvPr userDrawn="1"/>
        </p:nvPicPr>
        <p:blipFill>
          <a:blip r:embed="rId23" cstate="print">
            <a:extLst>
              <a:ext uri="{28A0092B-C50C-407E-A947-70E740481C1C}">
                <a14:useLocalDpi xmlns:a14="http://schemas.microsoft.com/office/drawing/2010/main"/>
              </a:ext>
            </a:extLst>
          </a:blip>
          <a:stretch>
            <a:fillRect/>
          </a:stretch>
        </p:blipFill>
        <p:spPr>
          <a:xfrm>
            <a:off x="7525389" y="4534492"/>
            <a:ext cx="1286800" cy="337817"/>
          </a:xfrm>
          <a:prstGeom prst="rect">
            <a:avLst/>
          </a:prstGeom>
        </p:spPr>
      </p:pic>
    </p:spTree>
    <p:extLst>
      <p:ext uri="{BB962C8B-B14F-4D97-AF65-F5344CB8AC3E}">
        <p14:creationId xmlns:p14="http://schemas.microsoft.com/office/powerpoint/2010/main" val="2512141339"/>
      </p:ext>
    </p:extLst>
  </p:cSld>
  <p:clrMap bg1="lt1" tx1="dk1" bg2="lt2" tx2="dk2" accent1="accent1" accent2="accent2" accent3="accent3" accent4="accent4" accent5="accent5" accent6="accent6" hlink="hlink" folHlink="folHlink"/>
  <p:sldLayoutIdLst>
    <p:sldLayoutId id="2147484038" r:id="rId1"/>
    <p:sldLayoutId id="2147484039" r:id="rId2"/>
    <p:sldLayoutId id="2147484040" r:id="rId3"/>
    <p:sldLayoutId id="2147484041" r:id="rId4"/>
    <p:sldLayoutId id="2147484042" r:id="rId5"/>
    <p:sldLayoutId id="2147484043" r:id="rId6"/>
    <p:sldLayoutId id="2147484044" r:id="rId7"/>
    <p:sldLayoutId id="2147484045" r:id="rId8"/>
    <p:sldLayoutId id="2147484046" r:id="rId9"/>
    <p:sldLayoutId id="2147484047" r:id="rId10"/>
    <p:sldLayoutId id="2147484048" r:id="rId11"/>
    <p:sldLayoutId id="2147484049" r:id="rId12"/>
    <p:sldLayoutId id="2147484050" r:id="rId13"/>
    <p:sldLayoutId id="2147484051" r:id="rId14"/>
    <p:sldLayoutId id="2147484052" r:id="rId15"/>
    <p:sldLayoutId id="2147484053" r:id="rId16"/>
    <p:sldLayoutId id="2147484054" r:id="rId17"/>
    <p:sldLayoutId id="2147484055" r:id="rId18"/>
    <p:sldLayoutId id="2147484056" r:id="rId19"/>
    <p:sldLayoutId id="2147484057" r:id="rId20"/>
    <p:sldLayoutId id="2147484059" r:id="rId21"/>
  </p:sldLayoutIdLst>
  <p:hf sldNum="0" hdr="0" ftr="0" dt="0"/>
  <p:txStyles>
    <p:titleStyle>
      <a:lvl1pPr algn="l" defTabSz="685800" rtl="0" eaLnBrk="1" latinLnBrk="0" hangingPunct="1">
        <a:lnSpc>
          <a:spcPct val="90000"/>
        </a:lnSpc>
        <a:spcBef>
          <a:spcPct val="0"/>
        </a:spcBef>
        <a:buNone/>
        <a:defRPr sz="3000" kern="1200">
          <a:solidFill>
            <a:schemeClr val="tx2"/>
          </a:solidFill>
          <a:latin typeface="+mj-lt"/>
          <a:ea typeface="+mj-ea"/>
          <a:cs typeface="+mj-cs"/>
        </a:defRPr>
      </a:lvl1pPr>
    </p:titleStyle>
    <p:bodyStyle>
      <a:lvl1pPr marL="171450" indent="-171450" algn="l" defTabSz="685800" rtl="0" eaLnBrk="1" latinLnBrk="0" hangingPunct="1">
        <a:lnSpc>
          <a:spcPct val="100000"/>
        </a:lnSpc>
        <a:spcBef>
          <a:spcPts val="0"/>
        </a:spcBef>
        <a:spcAft>
          <a:spcPts val="1350"/>
        </a:spcAft>
        <a:buClr>
          <a:schemeClr val="tx2"/>
        </a:buClr>
        <a:buFont typeface="Arial" panose="020B0604020202020204" pitchFamily="34" charset="0"/>
        <a:buChar char="•"/>
        <a:defRPr sz="1800" kern="1200">
          <a:solidFill>
            <a:schemeClr val="tx1"/>
          </a:solidFill>
          <a:latin typeface="+mn-lt"/>
          <a:ea typeface="+mn-ea"/>
          <a:cs typeface="+mn-cs"/>
        </a:defRPr>
      </a:lvl1pPr>
      <a:lvl2pPr marL="514350" indent="-171450" algn="l" defTabSz="685800" rtl="0" eaLnBrk="1" latinLnBrk="0" hangingPunct="1">
        <a:lnSpc>
          <a:spcPct val="100000"/>
        </a:lnSpc>
        <a:spcBef>
          <a:spcPts val="375"/>
        </a:spcBef>
        <a:spcAft>
          <a:spcPts val="1350"/>
        </a:spcAft>
        <a:buClr>
          <a:schemeClr val="tx2"/>
        </a:buClr>
        <a:buFont typeface="Arial" panose="020B0604020202020204" pitchFamily="34" charset="0"/>
        <a:buChar char="•"/>
        <a:defRPr sz="1500" kern="1200">
          <a:solidFill>
            <a:schemeClr val="tx1"/>
          </a:solidFill>
          <a:latin typeface="+mn-lt"/>
          <a:ea typeface="+mn-ea"/>
          <a:cs typeface="+mn-cs"/>
        </a:defRPr>
      </a:lvl2pPr>
      <a:lvl3pPr marL="857250" indent="-171450" algn="l" defTabSz="685800" rtl="0" eaLnBrk="1" latinLnBrk="0" hangingPunct="1">
        <a:lnSpc>
          <a:spcPct val="100000"/>
        </a:lnSpc>
        <a:spcBef>
          <a:spcPts val="375"/>
        </a:spcBef>
        <a:spcAft>
          <a:spcPts val="1350"/>
        </a:spcAft>
        <a:buClr>
          <a:schemeClr val="tx2"/>
        </a:buClr>
        <a:buFont typeface="Arial" panose="020B0604020202020204" pitchFamily="34" charset="0"/>
        <a:buChar char="•"/>
        <a:defRPr sz="1350" kern="1200">
          <a:solidFill>
            <a:schemeClr val="tx1"/>
          </a:solidFill>
          <a:latin typeface="+mn-lt"/>
          <a:ea typeface="+mn-ea"/>
          <a:cs typeface="+mn-cs"/>
        </a:defRPr>
      </a:lvl3pPr>
      <a:lvl4pPr marL="1200150" indent="-171450" algn="l" defTabSz="685800" rtl="0" eaLnBrk="1" latinLnBrk="0" hangingPunct="1">
        <a:lnSpc>
          <a:spcPct val="100000"/>
        </a:lnSpc>
        <a:spcBef>
          <a:spcPts val="375"/>
        </a:spcBef>
        <a:spcAft>
          <a:spcPts val="1350"/>
        </a:spcAft>
        <a:buClr>
          <a:schemeClr val="tx2"/>
        </a:buClr>
        <a:buFont typeface="Arial" panose="020B0604020202020204" pitchFamily="34" charset="0"/>
        <a:buChar char="•"/>
        <a:defRPr sz="1200" kern="1200">
          <a:solidFill>
            <a:schemeClr val="tx1"/>
          </a:solidFill>
          <a:latin typeface="+mn-lt"/>
          <a:ea typeface="+mn-ea"/>
          <a:cs typeface="+mn-cs"/>
        </a:defRPr>
      </a:lvl4pPr>
      <a:lvl5pPr marL="1543050" indent="-171450" algn="l" defTabSz="685800" rtl="0" eaLnBrk="1" latinLnBrk="0" hangingPunct="1">
        <a:lnSpc>
          <a:spcPct val="100000"/>
        </a:lnSpc>
        <a:spcBef>
          <a:spcPts val="375"/>
        </a:spcBef>
        <a:spcAft>
          <a:spcPts val="1350"/>
        </a:spcAft>
        <a:buClr>
          <a:schemeClr val="tx2"/>
        </a:buClr>
        <a:buFont typeface="Arial" panose="020B0604020202020204" pitchFamily="34" charset="0"/>
        <a:buChar char="•"/>
        <a:defRPr sz="12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28650" y="362145"/>
            <a:ext cx="7886700" cy="586768"/>
          </a:xfrm>
          <a:prstGeom prst="rect">
            <a:avLst/>
          </a:prstGeom>
        </p:spPr>
        <p:txBody>
          <a:bodyPr vert="horz" lIns="91440" tIns="45720" rIns="91440" bIns="0" rtlCol="0" anchor="b" anchorCtr="0">
            <a:noAutofit/>
          </a:bodyPr>
          <a:lstStyle/>
          <a:p>
            <a:r>
              <a:rPr lang="en-US"/>
              <a:t>Click to edit Master title style</a:t>
            </a:r>
            <a:endParaRPr lang="en-GB"/>
          </a:p>
        </p:txBody>
      </p:sp>
      <p:sp>
        <p:nvSpPr>
          <p:cNvPr id="3" name="Text Placeholder 2"/>
          <p:cNvSpPr>
            <a:spLocks noGrp="1"/>
          </p:cNvSpPr>
          <p:nvPr>
            <p:ph type="body" idx="1"/>
          </p:nvPr>
        </p:nvSpPr>
        <p:spPr>
          <a:xfrm>
            <a:off x="628650" y="1369219"/>
            <a:ext cx="7886700" cy="2911428"/>
          </a:xfrm>
          <a:prstGeom prst="rect">
            <a:avLst/>
          </a:prstGeom>
        </p:spPr>
        <p:txBody>
          <a:bodyPr vert="horz" lIns="91440" tIns="45720" rIns="91440" bIns="4572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Slide Number Placeholder 5"/>
          <p:cNvSpPr>
            <a:spLocks noGrp="1"/>
          </p:cNvSpPr>
          <p:nvPr>
            <p:ph type="sldNum" sz="quarter" idx="4"/>
          </p:nvPr>
        </p:nvSpPr>
        <p:spPr>
          <a:xfrm>
            <a:off x="8793957" y="4872309"/>
            <a:ext cx="350044" cy="273844"/>
          </a:xfrm>
          <a:prstGeom prst="rect">
            <a:avLst/>
          </a:prstGeom>
        </p:spPr>
        <p:txBody>
          <a:bodyPr vert="horz" lIns="91440" tIns="45720" rIns="91440" bIns="45720" rtlCol="0" anchor="ctr">
            <a:noAutofit/>
          </a:bodyPr>
          <a:lstStyle>
            <a:lvl1pPr algn="l">
              <a:defRPr sz="900">
                <a:solidFill>
                  <a:schemeClr val="tx1">
                    <a:tint val="75000"/>
                  </a:schemeClr>
                </a:solidFill>
              </a:defRPr>
            </a:lvl1pPr>
          </a:lstStyle>
          <a:p>
            <a:fld id="{F46C79FD-C571-418B-AB0F-5EE936C85276}" type="slidenum">
              <a:rPr lang="en-GB" smtClean="0"/>
              <a:pPr/>
              <a:t>‹#›</a:t>
            </a:fld>
            <a:endParaRPr lang="en-GB"/>
          </a:p>
        </p:txBody>
      </p:sp>
      <p:pic>
        <p:nvPicPr>
          <p:cNvPr id="7" name="Picture 6"/>
          <p:cNvPicPr>
            <a:picLocks noChangeAspect="1"/>
          </p:cNvPicPr>
          <p:nvPr userDrawn="1"/>
        </p:nvPicPr>
        <p:blipFill>
          <a:blip r:embed="rId26" cstate="print">
            <a:extLst>
              <a:ext uri="{28A0092B-C50C-407E-A947-70E740481C1C}">
                <a14:useLocalDpi xmlns:a14="http://schemas.microsoft.com/office/drawing/2010/main"/>
              </a:ext>
            </a:extLst>
          </a:blip>
          <a:stretch>
            <a:fillRect/>
          </a:stretch>
        </p:blipFill>
        <p:spPr>
          <a:xfrm>
            <a:off x="7525389" y="4534492"/>
            <a:ext cx="1286800" cy="337817"/>
          </a:xfrm>
          <a:prstGeom prst="rect">
            <a:avLst/>
          </a:prstGeom>
        </p:spPr>
      </p:pic>
    </p:spTree>
    <p:extLst>
      <p:ext uri="{BB962C8B-B14F-4D97-AF65-F5344CB8AC3E}">
        <p14:creationId xmlns:p14="http://schemas.microsoft.com/office/powerpoint/2010/main" val="3031893880"/>
      </p:ext>
    </p:extLst>
  </p:cSld>
  <p:clrMap bg1="lt1" tx1="dk1" bg2="lt2" tx2="dk2" accent1="accent1" accent2="accent2" accent3="accent3" accent4="accent4" accent5="accent5" accent6="accent6" hlink="hlink" folHlink="folHlink"/>
  <p:sldLayoutIdLst>
    <p:sldLayoutId id="2147484061" r:id="rId1"/>
    <p:sldLayoutId id="2147484062" r:id="rId2"/>
    <p:sldLayoutId id="2147484063" r:id="rId3"/>
    <p:sldLayoutId id="2147484064" r:id="rId4"/>
    <p:sldLayoutId id="2147484065" r:id="rId5"/>
    <p:sldLayoutId id="2147484066" r:id="rId6"/>
    <p:sldLayoutId id="2147484067" r:id="rId7"/>
    <p:sldLayoutId id="2147484068" r:id="rId8"/>
    <p:sldLayoutId id="2147484069" r:id="rId9"/>
    <p:sldLayoutId id="2147484070" r:id="rId10"/>
    <p:sldLayoutId id="2147484071" r:id="rId11"/>
    <p:sldLayoutId id="2147484072" r:id="rId12"/>
    <p:sldLayoutId id="2147484073" r:id="rId13"/>
    <p:sldLayoutId id="2147484074" r:id="rId14"/>
    <p:sldLayoutId id="2147484075" r:id="rId15"/>
    <p:sldLayoutId id="2147484076" r:id="rId16"/>
    <p:sldLayoutId id="2147484077" r:id="rId17"/>
    <p:sldLayoutId id="2147484078" r:id="rId18"/>
    <p:sldLayoutId id="2147484079" r:id="rId19"/>
    <p:sldLayoutId id="2147484080" r:id="rId20"/>
    <p:sldLayoutId id="2147484081" r:id="rId21"/>
    <p:sldLayoutId id="2147484082" r:id="rId22"/>
    <p:sldLayoutId id="2147484083" r:id="rId23"/>
    <p:sldLayoutId id="2147484084" r:id="rId24"/>
  </p:sldLayoutIdLst>
  <p:hf sldNum="0" hdr="0" dt="0"/>
  <p:txStyles>
    <p:titleStyle>
      <a:lvl1pPr algn="l" defTabSz="685800" rtl="0" eaLnBrk="1" latinLnBrk="0" hangingPunct="1">
        <a:lnSpc>
          <a:spcPct val="90000"/>
        </a:lnSpc>
        <a:spcBef>
          <a:spcPct val="0"/>
        </a:spcBef>
        <a:buNone/>
        <a:defRPr sz="3000" kern="1200">
          <a:solidFill>
            <a:schemeClr val="tx2"/>
          </a:solidFill>
          <a:latin typeface="+mj-lt"/>
          <a:ea typeface="+mj-ea"/>
          <a:cs typeface="+mj-cs"/>
        </a:defRPr>
      </a:lvl1pPr>
    </p:titleStyle>
    <p:bodyStyle>
      <a:lvl1pPr marL="171450" indent="-171450" algn="l" defTabSz="685800" rtl="0" eaLnBrk="1" latinLnBrk="0" hangingPunct="1">
        <a:lnSpc>
          <a:spcPct val="100000"/>
        </a:lnSpc>
        <a:spcBef>
          <a:spcPts val="0"/>
        </a:spcBef>
        <a:spcAft>
          <a:spcPts val="1350"/>
        </a:spcAft>
        <a:buClr>
          <a:schemeClr val="tx2"/>
        </a:buClr>
        <a:buFont typeface="Arial" panose="020B0604020202020204" pitchFamily="34" charset="0"/>
        <a:buChar char="•"/>
        <a:defRPr sz="1800" kern="1200">
          <a:solidFill>
            <a:schemeClr val="tx1"/>
          </a:solidFill>
          <a:latin typeface="+mn-lt"/>
          <a:ea typeface="+mn-ea"/>
          <a:cs typeface="+mn-cs"/>
        </a:defRPr>
      </a:lvl1pPr>
      <a:lvl2pPr marL="514350" indent="-171450" algn="l" defTabSz="685800" rtl="0" eaLnBrk="1" latinLnBrk="0" hangingPunct="1">
        <a:lnSpc>
          <a:spcPct val="100000"/>
        </a:lnSpc>
        <a:spcBef>
          <a:spcPts val="375"/>
        </a:spcBef>
        <a:spcAft>
          <a:spcPts val="1350"/>
        </a:spcAft>
        <a:buClr>
          <a:schemeClr val="tx2"/>
        </a:buClr>
        <a:buFont typeface="Arial" panose="020B0604020202020204" pitchFamily="34" charset="0"/>
        <a:buChar char="•"/>
        <a:defRPr sz="1500" kern="1200">
          <a:solidFill>
            <a:schemeClr val="tx1"/>
          </a:solidFill>
          <a:latin typeface="+mn-lt"/>
          <a:ea typeface="+mn-ea"/>
          <a:cs typeface="+mn-cs"/>
        </a:defRPr>
      </a:lvl2pPr>
      <a:lvl3pPr marL="857250" indent="-171450" algn="l" defTabSz="685800" rtl="0" eaLnBrk="1" latinLnBrk="0" hangingPunct="1">
        <a:lnSpc>
          <a:spcPct val="100000"/>
        </a:lnSpc>
        <a:spcBef>
          <a:spcPts val="375"/>
        </a:spcBef>
        <a:spcAft>
          <a:spcPts val="1350"/>
        </a:spcAft>
        <a:buClr>
          <a:schemeClr val="tx2"/>
        </a:buClr>
        <a:buFont typeface="Arial" panose="020B0604020202020204" pitchFamily="34" charset="0"/>
        <a:buChar char="•"/>
        <a:defRPr sz="1350" kern="1200">
          <a:solidFill>
            <a:schemeClr val="tx1"/>
          </a:solidFill>
          <a:latin typeface="+mn-lt"/>
          <a:ea typeface="+mn-ea"/>
          <a:cs typeface="+mn-cs"/>
        </a:defRPr>
      </a:lvl3pPr>
      <a:lvl4pPr marL="1200150" indent="-171450" algn="l" defTabSz="685800" rtl="0" eaLnBrk="1" latinLnBrk="0" hangingPunct="1">
        <a:lnSpc>
          <a:spcPct val="100000"/>
        </a:lnSpc>
        <a:spcBef>
          <a:spcPts val="375"/>
        </a:spcBef>
        <a:spcAft>
          <a:spcPts val="1350"/>
        </a:spcAft>
        <a:buClr>
          <a:schemeClr val="tx2"/>
        </a:buClr>
        <a:buFont typeface="Arial" panose="020B0604020202020204" pitchFamily="34" charset="0"/>
        <a:buChar char="•"/>
        <a:defRPr sz="1200" kern="1200">
          <a:solidFill>
            <a:schemeClr val="tx1"/>
          </a:solidFill>
          <a:latin typeface="+mn-lt"/>
          <a:ea typeface="+mn-ea"/>
          <a:cs typeface="+mn-cs"/>
        </a:defRPr>
      </a:lvl4pPr>
      <a:lvl5pPr marL="1543050" indent="-171450" algn="l" defTabSz="685800" rtl="0" eaLnBrk="1" latinLnBrk="0" hangingPunct="1">
        <a:lnSpc>
          <a:spcPct val="100000"/>
        </a:lnSpc>
        <a:spcBef>
          <a:spcPts val="375"/>
        </a:spcBef>
        <a:spcAft>
          <a:spcPts val="1350"/>
        </a:spcAft>
        <a:buClr>
          <a:schemeClr val="tx2"/>
        </a:buClr>
        <a:buFont typeface="Arial" panose="020B0604020202020204" pitchFamily="34" charset="0"/>
        <a:buChar char="•"/>
        <a:defRPr sz="12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2F0FE374-A678-A684-FA4B-26330CF65FB3}"/>
              </a:ext>
            </a:extLst>
          </p:cNvPr>
          <p:cNvSpPr>
            <a:spLocks noGrp="1"/>
          </p:cNvSpPr>
          <p:nvPr>
            <p:ph type="sldNum" sz="quarter" idx="4"/>
          </p:nvPr>
        </p:nvSpPr>
        <p:spPr>
          <a:xfrm>
            <a:off x="282141" y="4711552"/>
            <a:ext cx="2057400" cy="273844"/>
          </a:xfrm>
          <a:prstGeom prst="rect">
            <a:avLst/>
          </a:prstGeom>
        </p:spPr>
        <p:txBody>
          <a:bodyPr vert="horz" lIns="91440" tIns="45720" rIns="91440" bIns="45720" rtlCol="0" anchor="b"/>
          <a:lstStyle>
            <a:lvl1pPr algn="r">
              <a:defRPr sz="750">
                <a:solidFill>
                  <a:schemeClr val="tx1"/>
                </a:solidFill>
                <a:latin typeface="+mn-lt"/>
              </a:defRPr>
            </a:lvl1pPr>
          </a:lstStyle>
          <a:p>
            <a:pPr algn="l"/>
            <a:fld id="{768364BB-9B21-4D29-A19C-C6410F652861}" type="slidenum">
              <a:rPr lang="en-IE" smtClean="0"/>
              <a:pPr algn="l"/>
              <a:t>‹#›</a:t>
            </a:fld>
            <a:endParaRPr lang="en-IE"/>
          </a:p>
        </p:txBody>
      </p:sp>
      <p:sp>
        <p:nvSpPr>
          <p:cNvPr id="2" name="Title Placeholder 1">
            <a:extLst>
              <a:ext uri="{FF2B5EF4-FFF2-40B4-BE49-F238E27FC236}">
                <a16:creationId xmlns:a16="http://schemas.microsoft.com/office/drawing/2014/main" id="{2D4A1E0C-386D-FF7A-6872-1942CD433577}"/>
              </a:ext>
            </a:extLst>
          </p:cNvPr>
          <p:cNvSpPr>
            <a:spLocks noGrp="1" noRot="1" noMove="1" noResize="1" noEditPoints="1" noAdjustHandles="1" noChangeArrowheads="1" noChangeShapeType="1"/>
          </p:cNvSpPr>
          <p:nvPr>
            <p:ph type="title"/>
          </p:nvPr>
        </p:nvSpPr>
        <p:spPr>
          <a:xfrm>
            <a:off x="628650" y="273845"/>
            <a:ext cx="7886700" cy="612678"/>
          </a:xfrm>
          <a:prstGeom prst="rect">
            <a:avLst/>
          </a:prstGeom>
        </p:spPr>
        <p:txBody>
          <a:bodyPr vert="horz" lIns="91440" tIns="45720" rIns="91440" bIns="45720" rtlCol="0" anchor="ctr">
            <a:noAutofit/>
          </a:bodyPr>
          <a:lstStyle/>
          <a:p>
            <a:r>
              <a:rPr lang="en-US"/>
              <a:t>Click to edit Master title style</a:t>
            </a:r>
            <a:endParaRPr lang="en-IE"/>
          </a:p>
        </p:txBody>
      </p:sp>
      <p:sp>
        <p:nvSpPr>
          <p:cNvPr id="3" name="Text Placeholder 2">
            <a:extLst>
              <a:ext uri="{FF2B5EF4-FFF2-40B4-BE49-F238E27FC236}">
                <a16:creationId xmlns:a16="http://schemas.microsoft.com/office/drawing/2014/main" id="{30EE66B9-5E84-94E6-4EDD-A9E25FB078A4}"/>
              </a:ext>
            </a:extLst>
          </p:cNvPr>
          <p:cNvSpPr>
            <a:spLocks noGrp="1"/>
          </p:cNvSpPr>
          <p:nvPr>
            <p:ph type="body" idx="1"/>
          </p:nvPr>
        </p:nvSpPr>
        <p:spPr>
          <a:xfrm>
            <a:off x="628650" y="1369219"/>
            <a:ext cx="7886700" cy="2956964"/>
          </a:xfrm>
          <a:prstGeom prst="rect">
            <a:avLst/>
          </a:prstGeom>
        </p:spPr>
        <p:txBody>
          <a:bodyPr vert="horz" lIns="144000" tIns="144000" rIns="144000" bIns="144000" rtlCol="0">
            <a:noAutofit/>
          </a:bodyPr>
          <a:lstStyle/>
          <a:p>
            <a:pPr lvl="0"/>
            <a:r>
              <a:rPr lang="en-US"/>
              <a:t>Click to edit Master text styles</a:t>
            </a:r>
          </a:p>
          <a:p>
            <a:pPr lvl="1"/>
            <a:endParaRPr lang="en-US"/>
          </a:p>
          <a:p>
            <a:pPr lvl="1"/>
            <a:endParaRPr lang="en-US"/>
          </a:p>
          <a:p>
            <a:pPr lvl="1"/>
            <a:endParaRPr lang="en-US"/>
          </a:p>
          <a:p>
            <a:pPr lvl="0"/>
            <a:endParaRPr lang="en-US"/>
          </a:p>
          <a:p>
            <a:pPr lvl="1"/>
            <a:endParaRPr lang="en-US"/>
          </a:p>
        </p:txBody>
      </p:sp>
      <p:pic>
        <p:nvPicPr>
          <p:cNvPr id="7" name="Picture 6">
            <a:extLst>
              <a:ext uri="{FF2B5EF4-FFF2-40B4-BE49-F238E27FC236}">
                <a16:creationId xmlns:a16="http://schemas.microsoft.com/office/drawing/2014/main" id="{9F653097-A9FD-84E7-4EFA-47C8DA485037}"/>
              </a:ext>
              <a:ext uri="{C183D7F6-B498-43B3-948B-1728B52AA6E4}">
                <adec:decorative xmlns:adec="http://schemas.microsoft.com/office/drawing/2017/decorative" val="1"/>
              </a:ext>
            </a:extLst>
          </p:cNvPr>
          <p:cNvPicPr>
            <a:picLocks noChangeAspect="1"/>
          </p:cNvPicPr>
          <p:nvPr/>
        </p:nvPicPr>
        <p:blipFill>
          <a:blip r:embed="rId41"/>
          <a:stretch>
            <a:fillRect/>
          </a:stretch>
        </p:blipFill>
        <p:spPr>
          <a:xfrm>
            <a:off x="8044327" y="4425762"/>
            <a:ext cx="942047" cy="571580"/>
          </a:xfrm>
          <a:prstGeom prst="rect">
            <a:avLst/>
          </a:prstGeom>
        </p:spPr>
      </p:pic>
      <p:pic>
        <p:nvPicPr>
          <p:cNvPr id="5" name="Picture 4" descr="A close-up of a line&#10;&#10;Description automatically generated" hidden="1">
            <a:extLst>
              <a:ext uri="{FF2B5EF4-FFF2-40B4-BE49-F238E27FC236}">
                <a16:creationId xmlns:a16="http://schemas.microsoft.com/office/drawing/2014/main" id="{CE57FDCE-6642-0FA5-3739-FA81457769C2}"/>
              </a:ext>
            </a:extLst>
          </p:cNvPr>
          <p:cNvPicPr>
            <a:picLocks noGrp="1" noRot="1" noChangeAspect="1" noMove="1" noResize="1" noEditPoints="1" noAdjustHandles="1" noChangeArrowheads="1" noChangeShapeType="1" noCrop="1"/>
          </p:cNvPicPr>
          <p:nvPr/>
        </p:nvPicPr>
        <p:blipFill>
          <a:blip r:embed="rId42">
            <a:alphaModFix amt="20000"/>
          </a:blip>
          <a:stretch>
            <a:fillRect/>
          </a:stretch>
        </p:blipFill>
        <p:spPr>
          <a:xfrm>
            <a:off x="0" y="0"/>
            <a:ext cx="9144000" cy="5143500"/>
          </a:xfrm>
          <a:prstGeom prst="rect">
            <a:avLst/>
          </a:prstGeom>
        </p:spPr>
      </p:pic>
      <p:pic>
        <p:nvPicPr>
          <p:cNvPr id="4" name="Picture 3">
            <a:extLst>
              <a:ext uri="{FF2B5EF4-FFF2-40B4-BE49-F238E27FC236}">
                <a16:creationId xmlns:a16="http://schemas.microsoft.com/office/drawing/2014/main" id="{7D640C55-B1A0-5DE0-B0E4-F05DE5506E17}"/>
              </a:ext>
              <a:ext uri="{C183D7F6-B498-43B3-948B-1728B52AA6E4}">
                <adec:decorative xmlns:adec="http://schemas.microsoft.com/office/drawing/2017/decorative" val="1"/>
              </a:ext>
            </a:extLst>
          </p:cNvPr>
          <p:cNvPicPr>
            <a:picLocks noChangeAspect="1"/>
          </p:cNvPicPr>
          <p:nvPr userDrawn="1"/>
        </p:nvPicPr>
        <p:blipFill>
          <a:blip r:embed="rId41"/>
          <a:stretch>
            <a:fillRect/>
          </a:stretch>
        </p:blipFill>
        <p:spPr>
          <a:xfrm>
            <a:off x="8044327" y="4425762"/>
            <a:ext cx="942047" cy="571580"/>
          </a:xfrm>
          <a:prstGeom prst="rect">
            <a:avLst/>
          </a:prstGeom>
        </p:spPr>
      </p:pic>
      <p:pic>
        <p:nvPicPr>
          <p:cNvPr id="8" name="Picture 7" descr="A close-up of a line&#10;&#10;Description automatically generated" hidden="1">
            <a:extLst>
              <a:ext uri="{FF2B5EF4-FFF2-40B4-BE49-F238E27FC236}">
                <a16:creationId xmlns:a16="http://schemas.microsoft.com/office/drawing/2014/main" id="{A12B438D-C839-BF7B-253A-401802D9F2AC}"/>
              </a:ext>
            </a:extLst>
          </p:cNvPr>
          <p:cNvPicPr/>
          <p:nvPr userDrawn="1"/>
        </p:nvPicPr>
        <p:blipFill>
          <a:blip r:embed="rId42">
            <a:alphaModFix amt="20000"/>
          </a:blip>
          <a:stretch>
            <a:fillRect/>
          </a:stretch>
        </p:blipFill>
        <p:spPr>
          <a:xfrm>
            <a:off x="0" y="0"/>
            <a:ext cx="9144000" cy="5143500"/>
          </a:xfrm>
          <a:prstGeom prst="rect">
            <a:avLst/>
          </a:prstGeom>
        </p:spPr>
      </p:pic>
    </p:spTree>
    <p:extLst>
      <p:ext uri="{BB962C8B-B14F-4D97-AF65-F5344CB8AC3E}">
        <p14:creationId xmlns:p14="http://schemas.microsoft.com/office/powerpoint/2010/main" val="3926281330"/>
      </p:ext>
    </p:extLst>
  </p:cSld>
  <p:clrMap bg1="lt1" tx1="dk1" bg2="lt2" tx2="dk2" accent1="accent1" accent2="accent2" accent3="accent3" accent4="accent4" accent5="accent5" accent6="accent6" hlink="hlink" folHlink="folHlink"/>
  <p:sldLayoutIdLst>
    <p:sldLayoutId id="2147484086" r:id="rId1"/>
    <p:sldLayoutId id="2147484087" r:id="rId2"/>
    <p:sldLayoutId id="2147484088" r:id="rId3"/>
    <p:sldLayoutId id="2147484089" r:id="rId4"/>
    <p:sldLayoutId id="2147484090" r:id="rId5"/>
    <p:sldLayoutId id="2147484091" r:id="rId6"/>
    <p:sldLayoutId id="2147484092" r:id="rId7"/>
    <p:sldLayoutId id="2147484093" r:id="rId8"/>
    <p:sldLayoutId id="2147484094" r:id="rId9"/>
    <p:sldLayoutId id="2147484095" r:id="rId10"/>
    <p:sldLayoutId id="2147484096" r:id="rId11"/>
    <p:sldLayoutId id="2147484097" r:id="rId12"/>
    <p:sldLayoutId id="2147484098" r:id="rId13"/>
    <p:sldLayoutId id="2147484099" r:id="rId14"/>
    <p:sldLayoutId id="2147484100" r:id="rId15"/>
    <p:sldLayoutId id="2147484101" r:id="rId16"/>
    <p:sldLayoutId id="2147484102" r:id="rId17"/>
    <p:sldLayoutId id="2147484103" r:id="rId18"/>
    <p:sldLayoutId id="2147484104" r:id="rId19"/>
    <p:sldLayoutId id="2147484105" r:id="rId20"/>
    <p:sldLayoutId id="2147484106" r:id="rId21"/>
    <p:sldLayoutId id="2147484107" r:id="rId22"/>
    <p:sldLayoutId id="2147484108" r:id="rId23"/>
    <p:sldLayoutId id="2147484109" r:id="rId24"/>
    <p:sldLayoutId id="2147484110" r:id="rId25"/>
    <p:sldLayoutId id="2147484111" r:id="rId26"/>
    <p:sldLayoutId id="2147484112" r:id="rId27"/>
    <p:sldLayoutId id="2147484113" r:id="rId28"/>
    <p:sldLayoutId id="2147484114" r:id="rId29"/>
    <p:sldLayoutId id="2147484115" r:id="rId30"/>
    <p:sldLayoutId id="2147484116" r:id="rId31"/>
    <p:sldLayoutId id="2147484117" r:id="rId32"/>
    <p:sldLayoutId id="2147484118" r:id="rId33"/>
    <p:sldLayoutId id="2147484119" r:id="rId34"/>
    <p:sldLayoutId id="2147484120" r:id="rId35"/>
    <p:sldLayoutId id="2147484121" r:id="rId36"/>
    <p:sldLayoutId id="2147484122" r:id="rId37"/>
    <p:sldLayoutId id="2147484123" r:id="rId38"/>
    <p:sldLayoutId id="2147484124" r:id="rId39"/>
  </p:sldLayoutIdLst>
  <p:txStyles>
    <p:titleStyle>
      <a:lvl1pPr algn="l" defTabSz="685800" rtl="0" eaLnBrk="1" latinLnBrk="0" hangingPunct="1">
        <a:lnSpc>
          <a:spcPct val="90000"/>
        </a:lnSpc>
        <a:spcBef>
          <a:spcPct val="0"/>
        </a:spcBef>
        <a:buNone/>
        <a:defRPr sz="3300" kern="1200">
          <a:solidFill>
            <a:schemeClr val="tx2"/>
          </a:solidFill>
          <a:latin typeface="+mj-lt"/>
          <a:ea typeface="+mj-ea"/>
          <a:cs typeface="+mj-cs"/>
        </a:defRPr>
      </a:lvl1pPr>
    </p:titleStyle>
    <p:bodyStyle>
      <a:lvl1pPr marL="257175" indent="-257175" algn="l" defTabSz="685800" rtl="0" eaLnBrk="1" latinLnBrk="0" hangingPunct="1">
        <a:lnSpc>
          <a:spcPct val="90000"/>
        </a:lnSpc>
        <a:spcBef>
          <a:spcPts val="750"/>
        </a:spcBef>
        <a:buClr>
          <a:schemeClr val="tx2"/>
        </a:buClr>
        <a:buFont typeface="Arial" panose="020B0604020202020204" pitchFamily="34" charset="0"/>
        <a:buChar char="•"/>
        <a:defRPr sz="1500" kern="1200">
          <a:solidFill>
            <a:schemeClr val="tx1">
              <a:lumMod val="95000"/>
              <a:lumOff val="5000"/>
            </a:schemeClr>
          </a:solidFill>
          <a:latin typeface="+mn-lt"/>
          <a:ea typeface="+mn-ea"/>
          <a:cs typeface="+mn-cs"/>
        </a:defRPr>
      </a:lvl1pPr>
      <a:lvl2pPr marL="557213" indent="-214313" algn="l" defTabSz="685800" rtl="0" eaLnBrk="1" latinLnBrk="0" hangingPunct="1">
        <a:lnSpc>
          <a:spcPct val="90000"/>
        </a:lnSpc>
        <a:spcBef>
          <a:spcPts val="375"/>
        </a:spcBef>
        <a:buClr>
          <a:schemeClr val="tx2"/>
        </a:buClr>
        <a:buFont typeface="Arial" panose="020B0604020202020204" pitchFamily="34" charset="0"/>
        <a:buChar char="•"/>
        <a:defRPr sz="135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Clr>
          <a:schemeClr val="tx2"/>
        </a:buClr>
        <a:buFont typeface="Arial" panose="020B0604020202020204" pitchFamily="34" charset="0"/>
        <a:buChar char="•"/>
        <a:defRPr sz="12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Clr>
          <a:schemeClr val="tx2"/>
        </a:buClr>
        <a:buFont typeface="Arial" panose="020B0604020202020204" pitchFamily="34" charset="0"/>
        <a:buChar char="•"/>
        <a:defRPr sz="10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3" orient="horz" pos="2160">
          <p15:clr>
            <a:srgbClr val="F26B43"/>
          </p15:clr>
        </p15:guide>
        <p15:guide id="4" pos="3840">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image" Target="../media/image49.svg"/><Relationship Id="rId3" Type="http://schemas.openxmlformats.org/officeDocument/2006/relationships/image" Target="../media/image44.png"/><Relationship Id="rId7" Type="http://schemas.openxmlformats.org/officeDocument/2006/relationships/image" Target="../media/image48.png"/><Relationship Id="rId12" Type="http://schemas.openxmlformats.org/officeDocument/2006/relationships/image" Target="../media/image53.svg"/><Relationship Id="rId2" Type="http://schemas.openxmlformats.org/officeDocument/2006/relationships/notesSlide" Target="../notesSlides/notesSlide5.xml"/><Relationship Id="rId1" Type="http://schemas.openxmlformats.org/officeDocument/2006/relationships/slideLayout" Target="../slideLayouts/slideLayout23.xml"/><Relationship Id="rId6" Type="http://schemas.openxmlformats.org/officeDocument/2006/relationships/image" Target="../media/image47.svg"/><Relationship Id="rId11" Type="http://schemas.openxmlformats.org/officeDocument/2006/relationships/image" Target="../media/image52.png"/><Relationship Id="rId5" Type="http://schemas.openxmlformats.org/officeDocument/2006/relationships/image" Target="../media/image46.png"/><Relationship Id="rId10" Type="http://schemas.openxmlformats.org/officeDocument/2006/relationships/image" Target="../media/image51.svg"/><Relationship Id="rId4" Type="http://schemas.openxmlformats.org/officeDocument/2006/relationships/image" Target="../media/image45.svg"/><Relationship Id="rId9" Type="http://schemas.openxmlformats.org/officeDocument/2006/relationships/image" Target="../media/image50.png"/></Relationships>
</file>

<file path=ppt/slides/_rels/slide11.xml.rels><?xml version="1.0" encoding="UTF-8" standalone="yes"?>
<Relationships xmlns="http://schemas.openxmlformats.org/package/2006/relationships"><Relationship Id="rId8" Type="http://schemas.openxmlformats.org/officeDocument/2006/relationships/image" Target="../media/image51.svg"/><Relationship Id="rId13" Type="http://schemas.openxmlformats.org/officeDocument/2006/relationships/image" Target="../media/image55.svg"/><Relationship Id="rId18" Type="http://schemas.openxmlformats.org/officeDocument/2006/relationships/image" Target="../media/image42.png"/><Relationship Id="rId3" Type="http://schemas.openxmlformats.org/officeDocument/2006/relationships/image" Target="../media/image54.png"/><Relationship Id="rId7" Type="http://schemas.openxmlformats.org/officeDocument/2006/relationships/image" Target="../media/image50.png"/><Relationship Id="rId12" Type="http://schemas.openxmlformats.org/officeDocument/2006/relationships/image" Target="../media/image53.svg"/><Relationship Id="rId17" Type="http://schemas.openxmlformats.org/officeDocument/2006/relationships/image" Target="../media/image49.svg"/><Relationship Id="rId2" Type="http://schemas.openxmlformats.org/officeDocument/2006/relationships/notesSlide" Target="../notesSlides/notesSlide6.xml"/><Relationship Id="rId16" Type="http://schemas.openxmlformats.org/officeDocument/2006/relationships/image" Target="../media/image48.png"/><Relationship Id="rId1" Type="http://schemas.openxmlformats.org/officeDocument/2006/relationships/slideLayout" Target="../slideLayouts/slideLayout28.xml"/><Relationship Id="rId6" Type="http://schemas.openxmlformats.org/officeDocument/2006/relationships/image" Target="../media/image45.svg"/><Relationship Id="rId11" Type="http://schemas.openxmlformats.org/officeDocument/2006/relationships/image" Target="../media/image52.png"/><Relationship Id="rId5" Type="http://schemas.openxmlformats.org/officeDocument/2006/relationships/image" Target="../media/image44.png"/><Relationship Id="rId15" Type="http://schemas.openxmlformats.org/officeDocument/2006/relationships/image" Target="../media/image57.svg"/><Relationship Id="rId10" Type="http://schemas.openxmlformats.org/officeDocument/2006/relationships/image" Target="../media/image47.svg"/><Relationship Id="rId19" Type="http://schemas.openxmlformats.org/officeDocument/2006/relationships/image" Target="../media/image43.svg"/><Relationship Id="rId4" Type="http://schemas.openxmlformats.org/officeDocument/2006/relationships/image" Target="../media/image40.png"/><Relationship Id="rId9" Type="http://schemas.openxmlformats.org/officeDocument/2006/relationships/image" Target="../media/image46.png"/><Relationship Id="rId14" Type="http://schemas.openxmlformats.org/officeDocument/2006/relationships/image" Target="../media/image56.svg"/></Relationships>
</file>

<file path=ppt/slides/_rels/slide12.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7.xml"/><Relationship Id="rId1" Type="http://schemas.openxmlformats.org/officeDocument/2006/relationships/slideLayout" Target="../slideLayouts/slideLayout28.xml"/><Relationship Id="rId6" Type="http://schemas.openxmlformats.org/officeDocument/2006/relationships/image" Target="../media/image51.svg"/><Relationship Id="rId5" Type="http://schemas.openxmlformats.org/officeDocument/2006/relationships/image" Target="../media/image50.png"/><Relationship Id="rId4" Type="http://schemas.openxmlformats.org/officeDocument/2006/relationships/image" Target="../media/image49.svg"/></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image" Target="../media/image59.jpeg"/><Relationship Id="rId2" Type="http://schemas.openxmlformats.org/officeDocument/2006/relationships/image" Target="../media/image58.jpeg"/><Relationship Id="rId1" Type="http://schemas.openxmlformats.org/officeDocument/2006/relationships/slideLayout" Target="../slideLayouts/slideLayout14.xml"/><Relationship Id="rId4" Type="http://schemas.openxmlformats.org/officeDocument/2006/relationships/image" Target="../media/image60.png"/></Relationships>
</file>

<file path=ppt/slides/_rels/slide15.xml.rels><?xml version="1.0" encoding="UTF-8" standalone="yes"?>
<Relationships xmlns="http://schemas.openxmlformats.org/package/2006/relationships"><Relationship Id="rId8" Type="http://schemas.openxmlformats.org/officeDocument/2006/relationships/image" Target="../media/image66.svg"/><Relationship Id="rId3" Type="http://schemas.openxmlformats.org/officeDocument/2006/relationships/image" Target="../media/image61.png"/><Relationship Id="rId7" Type="http://schemas.openxmlformats.org/officeDocument/2006/relationships/image" Target="../media/image65.png"/><Relationship Id="rId2" Type="http://schemas.openxmlformats.org/officeDocument/2006/relationships/notesSlide" Target="../notesSlides/notesSlide8.xml"/><Relationship Id="rId1" Type="http://schemas.openxmlformats.org/officeDocument/2006/relationships/slideLayout" Target="../slideLayouts/slideLayout28.xml"/><Relationship Id="rId6" Type="http://schemas.openxmlformats.org/officeDocument/2006/relationships/image" Target="../media/image64.svg"/><Relationship Id="rId5" Type="http://schemas.openxmlformats.org/officeDocument/2006/relationships/image" Target="../media/image63.png"/><Relationship Id="rId10" Type="http://schemas.openxmlformats.org/officeDocument/2006/relationships/image" Target="../media/image68.svg"/><Relationship Id="rId4" Type="http://schemas.openxmlformats.org/officeDocument/2006/relationships/image" Target="../media/image62.svg"/><Relationship Id="rId9" Type="http://schemas.openxmlformats.org/officeDocument/2006/relationships/image" Target="../media/image67.png"/></Relationships>
</file>

<file path=ppt/slides/_rels/slide16.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28.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17.xml.rels><?xml version="1.0" encoding="UTF-8" standalone="yes"?>
<Relationships xmlns="http://schemas.openxmlformats.org/package/2006/relationships"><Relationship Id="rId2" Type="http://schemas.openxmlformats.org/officeDocument/2006/relationships/hyperlink" Target="https://acceptance.data.health.europa.eu/home" TargetMode="External"/><Relationship Id="rId1" Type="http://schemas.openxmlformats.org/officeDocument/2006/relationships/slideLayout" Target="../slideLayouts/slideLayout36.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19.xml.rels><?xml version="1.0" encoding="UTF-8" standalone="yes"?>
<Relationships xmlns="http://schemas.openxmlformats.org/package/2006/relationships"><Relationship Id="rId2" Type="http://schemas.openxmlformats.org/officeDocument/2006/relationships/image" Target="../media/image69.png"/><Relationship Id="rId1" Type="http://schemas.openxmlformats.org/officeDocument/2006/relationships/slideLayout" Target="../slideLayouts/slideLayout28.xml"/></Relationships>
</file>

<file path=ppt/slides/_rels/slide2.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Layout" Target="../slideLayouts/slideLayout8.xml"/></Relationships>
</file>

<file path=ppt/slides/_rels/slide20.xml.rels><?xml version="1.0" encoding="UTF-8" standalone="yes"?>
<Relationships xmlns="http://schemas.openxmlformats.org/package/2006/relationships"><Relationship Id="rId2" Type="http://schemas.openxmlformats.org/officeDocument/2006/relationships/image" Target="../media/image70.png"/><Relationship Id="rId1" Type="http://schemas.openxmlformats.org/officeDocument/2006/relationships/slideLayout" Target="../slideLayouts/slideLayout28.xml"/></Relationships>
</file>

<file path=ppt/slides/_rels/slide21.xml.rels><?xml version="1.0" encoding="UTF-8" standalone="yes"?>
<Relationships xmlns="http://schemas.openxmlformats.org/package/2006/relationships"><Relationship Id="rId8" Type="http://schemas.openxmlformats.org/officeDocument/2006/relationships/hyperlink" Target="https://code.europa.eu/HealthDataEU" TargetMode="External"/><Relationship Id="rId3" Type="http://schemas.openxmlformats.org/officeDocument/2006/relationships/diagramLayout" Target="../diagrams/layout2.xml"/><Relationship Id="rId7" Type="http://schemas.openxmlformats.org/officeDocument/2006/relationships/image" Target="../media/image71.png"/><Relationship Id="rId2" Type="http://schemas.openxmlformats.org/officeDocument/2006/relationships/diagramData" Target="../diagrams/data2.xml"/><Relationship Id="rId1" Type="http://schemas.openxmlformats.org/officeDocument/2006/relationships/slideLayout" Target="../slideLayouts/slideLayout25.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 Id="rId9" Type="http://schemas.openxmlformats.org/officeDocument/2006/relationships/hyperlink" Target="https://op.europa.eu/en/publication-detail/-/publication/52fe4b0e-0ac4-11f0-b1a3-01aa75ed71a1" TargetMode="Externa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notesSlide" Target="../notesSlides/notesSlide10.xml"/><Relationship Id="rId1" Type="http://schemas.openxmlformats.org/officeDocument/2006/relationships/slideLayout" Target="../slideLayouts/slideLayout8.xml"/></Relationships>
</file>

<file path=ppt/slides/_rels/slide24.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notesSlide" Target="../notesSlides/notesSlide11.xml"/><Relationship Id="rId1"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3" Type="http://schemas.openxmlformats.org/officeDocument/2006/relationships/hyperlink" Target="data.Europa.eu/ELDS" TargetMode="External"/><Relationship Id="rId2" Type="http://schemas.openxmlformats.org/officeDocument/2006/relationships/notesSlide" Target="../notesSlides/notesSlide12.xml"/><Relationship Id="rId1" Type="http://schemas.openxmlformats.org/officeDocument/2006/relationships/slideLayout" Target="../slideLayouts/slideLayout3.xml"/><Relationship Id="rId4" Type="http://schemas.openxmlformats.org/officeDocument/2006/relationships/image" Target="../media/image74.png"/></Relationships>
</file>

<file path=ppt/slides/_rels/slide26.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notesSlide" Target="../notesSlides/notesSlide13.xml"/><Relationship Id="rId1" Type="http://schemas.openxmlformats.org/officeDocument/2006/relationships/slideLayout" Target="../slideLayouts/slideLayout3.xml"/></Relationships>
</file>

<file path=ppt/slides/_rels/slide27.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notesSlide" Target="../notesSlides/notesSlide14.xml"/><Relationship Id="rId1" Type="http://schemas.openxmlformats.org/officeDocument/2006/relationships/slideLayout" Target="../slideLayouts/slideLayout3.xml"/><Relationship Id="rId4" Type="http://schemas.openxmlformats.org/officeDocument/2006/relationships/image" Target="../media/image77.svg"/></Relationships>
</file>

<file path=ppt/slides/_rels/slide28.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notesSlide" Target="../notesSlides/notesSlide15.xml"/><Relationship Id="rId1" Type="http://schemas.openxmlformats.org/officeDocument/2006/relationships/slideLayout" Target="../slideLayouts/slideLayout3.xml"/></Relationships>
</file>

<file path=ppt/slides/_rels/slide29.xml.rels><?xml version="1.0" encoding="UTF-8" standalone="yes"?>
<Relationships xmlns="http://schemas.openxmlformats.org/package/2006/relationships"><Relationship Id="rId8" Type="http://schemas.openxmlformats.org/officeDocument/2006/relationships/image" Target="../media/image84.svg"/><Relationship Id="rId3" Type="http://schemas.openxmlformats.org/officeDocument/2006/relationships/image" Target="../media/image79.png"/><Relationship Id="rId7" Type="http://schemas.openxmlformats.org/officeDocument/2006/relationships/image" Target="../media/image83.png"/><Relationship Id="rId2" Type="http://schemas.openxmlformats.org/officeDocument/2006/relationships/notesSlide" Target="../notesSlides/notesSlide16.xml"/><Relationship Id="rId1" Type="http://schemas.openxmlformats.org/officeDocument/2006/relationships/slideLayout" Target="../slideLayouts/slideLayout3.xml"/><Relationship Id="rId6" Type="http://schemas.openxmlformats.org/officeDocument/2006/relationships/image" Target="../media/image82.svg"/><Relationship Id="rId5" Type="http://schemas.openxmlformats.org/officeDocument/2006/relationships/image" Target="../media/image81.png"/><Relationship Id="rId4" Type="http://schemas.openxmlformats.org/officeDocument/2006/relationships/image" Target="../media/image80.svg"/><Relationship Id="rId9" Type="http://schemas.openxmlformats.org/officeDocument/2006/relationships/hyperlink" Target="https://eur-lex.europa.eu/eli-register/implementation.html" TargetMode="External"/></Relationships>
</file>

<file path=ppt/slides/_rels/slide3.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Layout" Target="../slideLayouts/slideLayout8.xml"/></Relationships>
</file>

<file path=ppt/slides/_rels/slide30.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notesSlide" Target="../notesSlides/notesSlide17.xml"/><Relationship Id="rId1" Type="http://schemas.openxmlformats.org/officeDocument/2006/relationships/slideLayout" Target="../slideLayouts/slideLayout3.xml"/><Relationship Id="rId5" Type="http://schemas.openxmlformats.org/officeDocument/2006/relationships/hyperlink" Target="https://e-justice.europa.eu/home_en" TargetMode="External"/><Relationship Id="rId4" Type="http://schemas.openxmlformats.org/officeDocument/2006/relationships/image" Target="../media/image86.svg"/></Relationships>
</file>

<file path=ppt/slides/_rels/slide31.xml.rels><?xml version="1.0" encoding="UTF-8" standalone="yes"?>
<Relationships xmlns="http://schemas.openxmlformats.org/package/2006/relationships"><Relationship Id="rId3" Type="http://schemas.openxmlformats.org/officeDocument/2006/relationships/hyperlink" Target="https://data.europa.eu/en/ELDS" TargetMode="External"/><Relationship Id="rId2" Type="http://schemas.openxmlformats.org/officeDocument/2006/relationships/notesSlide" Target="../notesSlides/notesSlide18.xml"/><Relationship Id="rId1" Type="http://schemas.openxmlformats.org/officeDocument/2006/relationships/slideLayout" Target="../slideLayouts/slideLayout3.xml"/><Relationship Id="rId6" Type="http://schemas.openxmlformats.org/officeDocument/2006/relationships/image" Target="../media/image89.png"/><Relationship Id="rId5" Type="http://schemas.openxmlformats.org/officeDocument/2006/relationships/image" Target="../media/image88.svg"/><Relationship Id="rId4" Type="http://schemas.openxmlformats.org/officeDocument/2006/relationships/image" Target="../media/image87.png"/></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8" Type="http://schemas.openxmlformats.org/officeDocument/2006/relationships/image" Target="../media/image95.png"/><Relationship Id="rId3" Type="http://schemas.openxmlformats.org/officeDocument/2006/relationships/image" Target="../media/image90.png"/><Relationship Id="rId7" Type="http://schemas.openxmlformats.org/officeDocument/2006/relationships/image" Target="../media/image94.png"/><Relationship Id="rId2" Type="http://schemas.openxmlformats.org/officeDocument/2006/relationships/notesSlide" Target="../notesSlides/notesSlide19.xml"/><Relationship Id="rId1" Type="http://schemas.openxmlformats.org/officeDocument/2006/relationships/slideLayout" Target="../slideLayouts/slideLayout10.xml"/><Relationship Id="rId6" Type="http://schemas.openxmlformats.org/officeDocument/2006/relationships/image" Target="../media/image93.png"/><Relationship Id="rId5" Type="http://schemas.openxmlformats.org/officeDocument/2006/relationships/image" Target="../media/image92.png"/><Relationship Id="rId4" Type="http://schemas.openxmlformats.org/officeDocument/2006/relationships/image" Target="../media/image91.png"/></Relationships>
</file>

<file path=ppt/slides/_rels/slide34.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11.xml"/><Relationship Id="rId1" Type="http://schemas.openxmlformats.org/officeDocument/2006/relationships/tags" Target="../tags/tag1.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2.xml"/></Relationships>
</file>

<file path=ppt/slides/_rels/slide36.xml.rels><?xml version="1.0" encoding="UTF-8" standalone="yes"?>
<Relationships xmlns="http://schemas.openxmlformats.org/package/2006/relationships"><Relationship Id="rId3" Type="http://schemas.openxmlformats.org/officeDocument/2006/relationships/image" Target="../media/image97.svg"/><Relationship Id="rId2" Type="http://schemas.openxmlformats.org/officeDocument/2006/relationships/image" Target="../media/image96.png"/><Relationship Id="rId1" Type="http://schemas.openxmlformats.org/officeDocument/2006/relationships/slideLayout" Target="../slideLayouts/slideLayout13.xml"/><Relationship Id="rId4" Type="http://schemas.openxmlformats.org/officeDocument/2006/relationships/image" Target="../media/image98.png"/></Relationships>
</file>

<file path=ppt/slides/_rels/slide37.xml.rels><?xml version="1.0" encoding="UTF-8" standalone="yes"?>
<Relationships xmlns="http://schemas.openxmlformats.org/package/2006/relationships"><Relationship Id="rId3" Type="http://schemas.openxmlformats.org/officeDocument/2006/relationships/image" Target="../media/image100.svg"/><Relationship Id="rId2" Type="http://schemas.openxmlformats.org/officeDocument/2006/relationships/image" Target="../media/image99.png"/><Relationship Id="rId1" Type="http://schemas.openxmlformats.org/officeDocument/2006/relationships/slideLayout" Target="../slideLayouts/slideLayout3.xml"/></Relationships>
</file>

<file path=ppt/slides/_rels/slide38.xml.rels><?xml version="1.0" encoding="UTF-8" standalone="yes"?>
<Relationships xmlns="http://schemas.openxmlformats.org/package/2006/relationships"><Relationship Id="rId2" Type="http://schemas.openxmlformats.org/officeDocument/2006/relationships/image" Target="../media/image101.png"/><Relationship Id="rId1" Type="http://schemas.openxmlformats.org/officeDocument/2006/relationships/slideLayout" Target="../slideLayouts/slideLayout6.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0.xml.rels><?xml version="1.0" encoding="UTF-8" standalone="yes"?>
<Relationships xmlns="http://schemas.openxmlformats.org/package/2006/relationships"><Relationship Id="rId2" Type="http://schemas.openxmlformats.org/officeDocument/2006/relationships/image" Target="../media/image102.png"/><Relationship Id="rId1" Type="http://schemas.openxmlformats.org/officeDocument/2006/relationships/slideLayout" Target="../slideLayouts/slideLayout3.xml"/></Relationships>
</file>

<file path=ppt/slides/_rels/slide41.xml.rels><?xml version="1.0" encoding="UTF-8" standalone="yes"?>
<Relationships xmlns="http://schemas.openxmlformats.org/package/2006/relationships"><Relationship Id="rId2" Type="http://schemas.openxmlformats.org/officeDocument/2006/relationships/image" Target="../media/image103.png"/><Relationship Id="rId1" Type="http://schemas.openxmlformats.org/officeDocument/2006/relationships/slideLayout" Target="../slideLayouts/slideLayout3.xml"/></Relationships>
</file>

<file path=ppt/slides/_rels/slide42.xml.rels><?xml version="1.0" encoding="UTF-8" standalone="yes"?>
<Relationships xmlns="http://schemas.openxmlformats.org/package/2006/relationships"><Relationship Id="rId2" Type="http://schemas.openxmlformats.org/officeDocument/2006/relationships/image" Target="../media/image104.png"/><Relationship Id="rId1" Type="http://schemas.openxmlformats.org/officeDocument/2006/relationships/slideLayout" Target="../slideLayouts/slideLayout3.xml"/></Relationships>
</file>

<file path=ppt/slides/_rels/slide43.xml.rels><?xml version="1.0" encoding="UTF-8" standalone="yes"?>
<Relationships xmlns="http://schemas.openxmlformats.org/package/2006/relationships"><Relationship Id="rId3" Type="http://schemas.openxmlformats.org/officeDocument/2006/relationships/image" Target="../media/image105.png"/><Relationship Id="rId2" Type="http://schemas.openxmlformats.org/officeDocument/2006/relationships/hyperlink" Target="https://api.europeana.eu" TargetMode="External"/><Relationship Id="rId1" Type="http://schemas.openxmlformats.org/officeDocument/2006/relationships/slideLayout" Target="../slideLayouts/slideLayout3.xml"/><Relationship Id="rId4" Type="http://schemas.openxmlformats.org/officeDocument/2006/relationships/image" Target="../media/image106.png"/></Relationships>
</file>

<file path=ppt/slides/_rels/slide44.xml.rels><?xml version="1.0" encoding="UTF-8" standalone="yes"?>
<Relationships xmlns="http://schemas.openxmlformats.org/package/2006/relationships"><Relationship Id="rId3" Type="http://schemas.openxmlformats.org/officeDocument/2006/relationships/hyperlink" Target="https://www.dataspace-culturalheritage.eu" TargetMode="External"/><Relationship Id="rId2" Type="http://schemas.openxmlformats.org/officeDocument/2006/relationships/image" Target="../media/image107.png"/><Relationship Id="rId1" Type="http://schemas.openxmlformats.org/officeDocument/2006/relationships/slideLayout" Target="../slideLayouts/slideLayout3.xml"/><Relationship Id="rId4" Type="http://schemas.openxmlformats.org/officeDocument/2006/relationships/image" Target="../media/image108.png"/></Relationships>
</file>

<file path=ppt/slides/_rels/slide45.xml.rels><?xml version="1.0" encoding="UTF-8" standalone="yes"?>
<Relationships xmlns="http://schemas.openxmlformats.org/package/2006/relationships"><Relationship Id="rId3" Type="http://schemas.openxmlformats.org/officeDocument/2006/relationships/hyperlink" Target="http://vimeo.com/36752317" TargetMode="External"/><Relationship Id="rId2" Type="http://schemas.openxmlformats.org/officeDocument/2006/relationships/image" Target="../media/image109.png"/><Relationship Id="rId1" Type="http://schemas.openxmlformats.org/officeDocument/2006/relationships/slideLayout" Target="../slideLayouts/slideLayout3.xml"/></Relationships>
</file>

<file path=ppt/slides/_rels/slide46.xml.rels><?xml version="1.0" encoding="UTF-8" standalone="yes"?>
<Relationships xmlns="http://schemas.openxmlformats.org/package/2006/relationships"><Relationship Id="rId3" Type="http://schemas.openxmlformats.org/officeDocument/2006/relationships/image" Target="../media/image111.jpeg"/><Relationship Id="rId2" Type="http://schemas.openxmlformats.org/officeDocument/2006/relationships/image" Target="../media/image110.jpeg"/><Relationship Id="rId1" Type="http://schemas.openxmlformats.org/officeDocument/2006/relationships/slideLayout" Target="../slideLayouts/slideLayout3.xml"/><Relationship Id="rId4" Type="http://schemas.openxmlformats.org/officeDocument/2006/relationships/hyperlink" Target="http://pro.europeana.eu/edm-documentation" TargetMode="External"/></Relationships>
</file>

<file path=ppt/slides/_rels/slide47.xml.rels><?xml version="1.0" encoding="UTF-8" standalone="yes"?>
<Relationships xmlns="http://schemas.openxmlformats.org/package/2006/relationships"><Relationship Id="rId3" Type="http://schemas.openxmlformats.org/officeDocument/2006/relationships/image" Target="../media/image113.png"/><Relationship Id="rId2" Type="http://schemas.openxmlformats.org/officeDocument/2006/relationships/image" Target="../media/image112.png"/><Relationship Id="rId1" Type="http://schemas.openxmlformats.org/officeDocument/2006/relationships/slideLayout" Target="../slideLayouts/slideLayout3.xml"/><Relationship Id="rId6" Type="http://schemas.openxmlformats.org/officeDocument/2006/relationships/image" Target="../media/image116.png"/><Relationship Id="rId5" Type="http://schemas.openxmlformats.org/officeDocument/2006/relationships/image" Target="../media/image115.png"/><Relationship Id="rId4" Type="http://schemas.openxmlformats.org/officeDocument/2006/relationships/image" Target="../media/image114.png"/></Relationships>
</file>

<file path=ppt/slides/_rels/slide48.xml.rels><?xml version="1.0" encoding="UTF-8" standalone="yes"?>
<Relationships xmlns="http://schemas.openxmlformats.org/package/2006/relationships"><Relationship Id="rId3" Type="http://schemas.openxmlformats.org/officeDocument/2006/relationships/hyperlink" Target="https://pro.europeana.eu/page/europeana-semantic-enrichment" TargetMode="External"/><Relationship Id="rId2" Type="http://schemas.openxmlformats.org/officeDocument/2006/relationships/hyperlink" Target="https://finto.fi/yso/en/" TargetMode="External"/><Relationship Id="rId1" Type="http://schemas.openxmlformats.org/officeDocument/2006/relationships/slideLayout" Target="../slideLayouts/slideLayout3.xml"/></Relationships>
</file>

<file path=ppt/slides/_rels/slide49.xml.rels><?xml version="1.0" encoding="UTF-8" standalone="yes"?>
<Relationships xmlns="http://schemas.openxmlformats.org/package/2006/relationships"><Relationship Id="rId3" Type="http://schemas.openxmlformats.org/officeDocument/2006/relationships/image" Target="../media/image118.png"/><Relationship Id="rId2" Type="http://schemas.openxmlformats.org/officeDocument/2006/relationships/image" Target="../media/image117.png"/><Relationship Id="rId1" Type="http://schemas.openxmlformats.org/officeDocument/2006/relationships/slideLayout" Target="../slideLayouts/slideLayout3.xml"/><Relationship Id="rId5" Type="http://schemas.openxmlformats.org/officeDocument/2006/relationships/hyperlink" Target="https://ai4culture.eu/resources/tools/93" TargetMode="External"/><Relationship Id="rId4" Type="http://schemas.openxmlformats.org/officeDocument/2006/relationships/image" Target="../media/image119.png"/></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3" Type="http://schemas.openxmlformats.org/officeDocument/2006/relationships/image" Target="../media/image121.png"/><Relationship Id="rId2" Type="http://schemas.openxmlformats.org/officeDocument/2006/relationships/image" Target="../media/image120.png"/><Relationship Id="rId1" Type="http://schemas.openxmlformats.org/officeDocument/2006/relationships/slideLayout" Target="../slideLayouts/slideLayout3.xml"/><Relationship Id="rId4" Type="http://schemas.openxmlformats.org/officeDocument/2006/relationships/hyperlink" Target="https://pro.europeana.eu/page/the-de-bias-tool" TargetMode="Externa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6.xml.rels><?xml version="1.0" encoding="UTF-8" standalone="yes"?>
<Relationships xmlns="http://schemas.openxmlformats.org/package/2006/relationships"><Relationship Id="rId8" Type="http://schemas.openxmlformats.org/officeDocument/2006/relationships/image" Target="../media/image30.png"/><Relationship Id="rId13" Type="http://schemas.openxmlformats.org/officeDocument/2006/relationships/image" Target="../media/image35.png"/><Relationship Id="rId3" Type="http://schemas.openxmlformats.org/officeDocument/2006/relationships/image" Target="../media/image25.png"/><Relationship Id="rId7" Type="http://schemas.openxmlformats.org/officeDocument/2006/relationships/image" Target="../media/image29.png"/><Relationship Id="rId12" Type="http://schemas.openxmlformats.org/officeDocument/2006/relationships/image" Target="../media/image34.png"/><Relationship Id="rId2" Type="http://schemas.openxmlformats.org/officeDocument/2006/relationships/notesSlide" Target="../notesSlides/notesSlide1.xml"/><Relationship Id="rId16" Type="http://schemas.openxmlformats.org/officeDocument/2006/relationships/image" Target="../media/image38.png"/><Relationship Id="rId1" Type="http://schemas.openxmlformats.org/officeDocument/2006/relationships/slideLayout" Target="../slideLayouts/slideLayout55.xml"/><Relationship Id="rId6" Type="http://schemas.openxmlformats.org/officeDocument/2006/relationships/image" Target="../media/image28.png"/><Relationship Id="rId11" Type="http://schemas.openxmlformats.org/officeDocument/2006/relationships/image" Target="../media/image33.png"/><Relationship Id="rId5" Type="http://schemas.openxmlformats.org/officeDocument/2006/relationships/image" Target="../media/image27.png"/><Relationship Id="rId15" Type="http://schemas.openxmlformats.org/officeDocument/2006/relationships/image" Target="../media/image37.png"/><Relationship Id="rId10" Type="http://schemas.openxmlformats.org/officeDocument/2006/relationships/image" Target="../media/image32.png"/><Relationship Id="rId4" Type="http://schemas.openxmlformats.org/officeDocument/2006/relationships/image" Target="../media/image26.png"/><Relationship Id="rId9" Type="http://schemas.openxmlformats.org/officeDocument/2006/relationships/image" Target="../media/image31.png"/><Relationship Id="rId14" Type="http://schemas.openxmlformats.org/officeDocument/2006/relationships/image" Target="../media/image36.png"/></Relationships>
</file>

<file path=ppt/slides/_rels/slide7.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2.xml"/><Relationship Id="rId1" Type="http://schemas.openxmlformats.org/officeDocument/2006/relationships/slideLayout" Target="../slideLayouts/slideLayout44.xml"/></Relationships>
</file>

<file path=ppt/slides/_rels/slide8.xml.rels><?xml version="1.0" encoding="UTF-8" standalone="yes"?>
<Relationships xmlns="http://schemas.openxmlformats.org/package/2006/relationships"><Relationship Id="rId3" Type="http://schemas.openxmlformats.org/officeDocument/2006/relationships/hyperlink" Target="https://digital-strategy.ec.europa.eu/en/policies/data-spaces" TargetMode="External"/><Relationship Id="rId2" Type="http://schemas.openxmlformats.org/officeDocument/2006/relationships/notesSlide" Target="../notesSlides/notesSlide3.xml"/><Relationship Id="rId1" Type="http://schemas.openxmlformats.org/officeDocument/2006/relationships/slideLayout" Target="../slideLayouts/slideLayout99.xml"/></Relationships>
</file>

<file path=ppt/slides/_rels/slide9.xml.rels><?xml version="1.0" encoding="UTF-8" standalone="yes"?>
<Relationships xmlns="http://schemas.openxmlformats.org/package/2006/relationships"><Relationship Id="rId3" Type="http://schemas.openxmlformats.org/officeDocument/2006/relationships/image" Target="../media/image40.png"/><Relationship Id="rId7" Type="http://schemas.openxmlformats.org/officeDocument/2006/relationships/image" Target="../media/image43.svg"/><Relationship Id="rId2" Type="http://schemas.openxmlformats.org/officeDocument/2006/relationships/notesSlide" Target="../notesSlides/notesSlide4.xml"/><Relationship Id="rId1" Type="http://schemas.openxmlformats.org/officeDocument/2006/relationships/slideLayout" Target="../slideLayouts/slideLayout23.xml"/><Relationship Id="rId6" Type="http://schemas.openxmlformats.org/officeDocument/2006/relationships/image" Target="../media/image42.png"/><Relationship Id="rId5" Type="http://schemas.openxmlformats.org/officeDocument/2006/relationships/image" Target="../media/image41.png"/><Relationship Id="rId4" Type="http://schemas.openxmlformats.org/officeDocument/2006/relationships/hyperlink" Target="https://dssc.eu/space/BVE2/1071251457/Data+Spaces+Blueprint+v2.0+-+Home"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69EAD77-04E3-75D6-B255-9193D22940B0}"/>
              </a:ext>
            </a:extLst>
          </p:cNvPr>
          <p:cNvSpPr>
            <a:spLocks noGrp="1"/>
          </p:cNvSpPr>
          <p:nvPr>
            <p:ph type="ctrTitle"/>
          </p:nvPr>
        </p:nvSpPr>
        <p:spPr/>
        <p:txBody>
          <a:bodyPr/>
          <a:lstStyle/>
          <a:p>
            <a:endParaRPr lang="en-LU"/>
          </a:p>
        </p:txBody>
      </p:sp>
      <p:sp>
        <p:nvSpPr>
          <p:cNvPr id="3" name="Text Placeholder 2">
            <a:extLst>
              <a:ext uri="{FF2B5EF4-FFF2-40B4-BE49-F238E27FC236}">
                <a16:creationId xmlns:a16="http://schemas.microsoft.com/office/drawing/2014/main" id="{B5810EA0-6FCB-7B98-D182-7081980F4AAF}"/>
              </a:ext>
            </a:extLst>
          </p:cNvPr>
          <p:cNvSpPr>
            <a:spLocks noGrp="1"/>
          </p:cNvSpPr>
          <p:nvPr>
            <p:ph type="body" sz="quarter" idx="10"/>
          </p:nvPr>
        </p:nvSpPr>
        <p:spPr/>
        <p:txBody>
          <a:bodyPr/>
          <a:lstStyle/>
          <a:p>
            <a:endParaRPr lang="en-LU"/>
          </a:p>
        </p:txBody>
      </p:sp>
      <p:sp>
        <p:nvSpPr>
          <p:cNvPr id="4" name="Text Placeholder 3">
            <a:extLst>
              <a:ext uri="{FF2B5EF4-FFF2-40B4-BE49-F238E27FC236}">
                <a16:creationId xmlns:a16="http://schemas.microsoft.com/office/drawing/2014/main" id="{7B21C4CC-7246-3823-FC5A-F5D194F27BD3}"/>
              </a:ext>
            </a:extLst>
          </p:cNvPr>
          <p:cNvSpPr>
            <a:spLocks noGrp="1"/>
          </p:cNvSpPr>
          <p:nvPr>
            <p:ph type="body" sz="quarter" idx="11"/>
          </p:nvPr>
        </p:nvSpPr>
        <p:spPr>
          <a:xfrm>
            <a:off x="1760538" y="1299729"/>
            <a:ext cx="6585608" cy="1715320"/>
          </a:xfrm>
        </p:spPr>
        <p:txBody>
          <a:bodyPr lIns="0" tIns="0" rIns="0" bIns="0" anchor="t"/>
          <a:lstStyle/>
          <a:p>
            <a:r>
              <a:rPr lang="en-IE">
                <a:latin typeface="Calibri"/>
                <a:ea typeface="Calibri"/>
                <a:cs typeface="Calibri"/>
              </a:rPr>
              <a:t>ENDORSE WARM-UP Session: Get to know the Data Spaces</a:t>
            </a:r>
          </a:p>
          <a:p>
            <a:endParaRPr lang="en-IE">
              <a:latin typeface="Calibri"/>
              <a:ea typeface="Calibri"/>
              <a:cs typeface="Calibri"/>
            </a:endParaRPr>
          </a:p>
        </p:txBody>
      </p:sp>
      <p:sp>
        <p:nvSpPr>
          <p:cNvPr id="5" name="Text Placeholder 4">
            <a:extLst>
              <a:ext uri="{FF2B5EF4-FFF2-40B4-BE49-F238E27FC236}">
                <a16:creationId xmlns:a16="http://schemas.microsoft.com/office/drawing/2014/main" id="{01636F00-6925-93A8-A6DE-1AB596A63E7A}"/>
              </a:ext>
            </a:extLst>
          </p:cNvPr>
          <p:cNvSpPr>
            <a:spLocks noGrp="1"/>
          </p:cNvSpPr>
          <p:nvPr>
            <p:ph type="body" sz="quarter" idx="12"/>
          </p:nvPr>
        </p:nvSpPr>
        <p:spPr>
          <a:xfrm>
            <a:off x="1808970" y="2568432"/>
            <a:ext cx="6323873" cy="289300"/>
          </a:xfrm>
        </p:spPr>
        <p:txBody>
          <a:bodyPr lIns="0" tIns="0" rIns="0" bIns="0" anchor="t"/>
          <a:lstStyle/>
          <a:p>
            <a:r>
              <a:rPr lang="en-IE">
                <a:ea typeface="Calibri"/>
                <a:cs typeface="Calibri"/>
              </a:rPr>
              <a:t>Legal, Health, Public Procurement &amp; Cultural Heritage Data Spaces</a:t>
            </a:r>
            <a:endParaRPr lang="en-US"/>
          </a:p>
        </p:txBody>
      </p:sp>
      <p:sp>
        <p:nvSpPr>
          <p:cNvPr id="7" name="Text Placeholder 4">
            <a:extLst>
              <a:ext uri="{FF2B5EF4-FFF2-40B4-BE49-F238E27FC236}">
                <a16:creationId xmlns:a16="http://schemas.microsoft.com/office/drawing/2014/main" id="{7949C2B9-3530-DE6A-E9E2-1A63D1E08344}"/>
              </a:ext>
            </a:extLst>
          </p:cNvPr>
          <p:cNvSpPr txBox="1">
            <a:spLocks/>
          </p:cNvSpPr>
          <p:nvPr/>
        </p:nvSpPr>
        <p:spPr>
          <a:xfrm>
            <a:off x="1817688" y="2945968"/>
            <a:ext cx="6081712" cy="279614"/>
          </a:xfrm>
          <a:prstGeom prst="rect">
            <a:avLst/>
          </a:prstGeom>
        </p:spPr>
        <p:txBody>
          <a:bodyPr lIns="0" tIns="0" rIns="0" bIns="0" anchor="t"/>
          <a:lst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bg1"/>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1800" kern="1200">
                <a:solidFill>
                  <a:schemeClr val="bg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kern="1200">
                <a:solidFill>
                  <a:schemeClr val="bg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800" kern="1200">
                <a:solidFill>
                  <a:schemeClr val="bg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IE">
                <a:ea typeface="Calibri"/>
                <a:cs typeface="Calibri"/>
              </a:rPr>
              <a:t>4 April 2025, 10.00-11.30</a:t>
            </a:r>
            <a:endParaRPr lang="en-US"/>
          </a:p>
        </p:txBody>
      </p:sp>
    </p:spTree>
    <p:extLst>
      <p:ext uri="{BB962C8B-B14F-4D97-AF65-F5344CB8AC3E}">
        <p14:creationId xmlns:p14="http://schemas.microsoft.com/office/powerpoint/2010/main" val="418155262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Content Placeholder 5">
            <a:extLst>
              <a:ext uri="{FF2B5EF4-FFF2-40B4-BE49-F238E27FC236}">
                <a16:creationId xmlns:a16="http://schemas.microsoft.com/office/drawing/2014/main" id="{8E2543DC-C656-045B-5D7A-9A1F672B5DE5}"/>
              </a:ext>
            </a:extLst>
          </p:cNvPr>
          <p:cNvGraphicFramePr>
            <a:graphicFrameLocks noGrp="1"/>
          </p:cNvGraphicFramePr>
          <p:nvPr>
            <p:ph idx="1"/>
          </p:nvPr>
        </p:nvGraphicFramePr>
        <p:xfrm>
          <a:off x="628651" y="1808018"/>
          <a:ext cx="7580168" cy="2514595"/>
        </p:xfrm>
        <a:graphic>
          <a:graphicData uri="http://schemas.openxmlformats.org/drawingml/2006/table">
            <a:tbl>
              <a:tblPr bandRow="1">
                <a:tableStyleId>{72833802-FEF1-4C79-8D5D-14CF1EAF98D9}</a:tableStyleId>
              </a:tblPr>
              <a:tblGrid>
                <a:gridCol w="1433180">
                  <a:extLst>
                    <a:ext uri="{9D8B030D-6E8A-4147-A177-3AD203B41FA5}">
                      <a16:colId xmlns:a16="http://schemas.microsoft.com/office/drawing/2014/main" val="2912495404"/>
                    </a:ext>
                  </a:extLst>
                </a:gridCol>
                <a:gridCol w="6146988">
                  <a:extLst>
                    <a:ext uri="{9D8B030D-6E8A-4147-A177-3AD203B41FA5}">
                      <a16:colId xmlns:a16="http://schemas.microsoft.com/office/drawing/2014/main" val="4014606507"/>
                    </a:ext>
                  </a:extLst>
                </a:gridCol>
              </a:tblGrid>
              <a:tr h="502919">
                <a:tc>
                  <a:txBody>
                    <a:bodyPr/>
                    <a:lstStyle/>
                    <a:p>
                      <a:endParaRPr lang="en-IE" sz="1000"/>
                    </a:p>
                  </a:txBody>
                  <a:tcPr marL="68580" marR="68580" marT="34290" marB="34290"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E" sz="1400" b="1"/>
                        <a:t>Trusted Data Transaction </a:t>
                      </a:r>
                      <a:r>
                        <a:rPr lang="en-IE" sz="1400"/>
                        <a:t>standard</a:t>
                      </a:r>
                    </a:p>
                  </a:txBody>
                  <a:tcPr marL="68580" marR="68580" marT="34290" marB="34290" anchor="ctr"/>
                </a:tc>
                <a:extLst>
                  <a:ext uri="{0D108BD9-81ED-4DB2-BD59-A6C34878D82A}">
                    <a16:rowId xmlns:a16="http://schemas.microsoft.com/office/drawing/2014/main" val="3757074731"/>
                  </a:ext>
                </a:extLst>
              </a:tr>
              <a:tr h="502919">
                <a:tc>
                  <a:txBody>
                    <a:bodyPr/>
                    <a:lstStyle/>
                    <a:p>
                      <a:endParaRPr lang="en-IE" sz="1000"/>
                    </a:p>
                  </a:txBody>
                  <a:tcPr marL="68580" marR="68580" marT="34290" marB="34290"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E" sz="1400" b="1"/>
                        <a:t>Data catalogue </a:t>
                      </a:r>
                      <a:r>
                        <a:rPr lang="en-IE" sz="1400" b="0"/>
                        <a:t>implementation framework</a:t>
                      </a:r>
                    </a:p>
                  </a:txBody>
                  <a:tcPr marL="68580" marR="68580" marT="34290" marB="34290" anchor="ctr"/>
                </a:tc>
                <a:extLst>
                  <a:ext uri="{0D108BD9-81ED-4DB2-BD59-A6C34878D82A}">
                    <a16:rowId xmlns:a16="http://schemas.microsoft.com/office/drawing/2014/main" val="2505569495"/>
                  </a:ext>
                </a:extLst>
              </a:tr>
              <a:tr h="502919">
                <a:tc>
                  <a:txBody>
                    <a:bodyPr/>
                    <a:lstStyle/>
                    <a:p>
                      <a:endParaRPr lang="en-IE" sz="1000"/>
                    </a:p>
                  </a:txBody>
                  <a:tcPr marL="68580" marR="68580" marT="34290" marB="34290"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E" sz="1400" b="1"/>
                        <a:t>Semantic assets </a:t>
                      </a:r>
                      <a:r>
                        <a:rPr lang="en-IE" sz="1400" b="0"/>
                        <a:t>implementation framework</a:t>
                      </a:r>
                    </a:p>
                  </a:txBody>
                  <a:tcPr marL="68580" marR="68580" marT="34290" marB="34290" anchor="ctr"/>
                </a:tc>
                <a:extLst>
                  <a:ext uri="{0D108BD9-81ED-4DB2-BD59-A6C34878D82A}">
                    <a16:rowId xmlns:a16="http://schemas.microsoft.com/office/drawing/2014/main" val="3825221444"/>
                  </a:ext>
                </a:extLst>
              </a:tr>
              <a:tr h="502919">
                <a:tc>
                  <a:txBody>
                    <a:bodyPr/>
                    <a:lstStyle/>
                    <a:p>
                      <a:endParaRPr lang="en-IE" sz="1000"/>
                    </a:p>
                  </a:txBody>
                  <a:tcPr marL="68580" marR="68580" marT="34290" marB="34290"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E" sz="1400" b="1"/>
                        <a:t>Data governance </a:t>
                      </a:r>
                      <a:r>
                        <a:rPr lang="en-IE" sz="1400"/>
                        <a:t>standard </a:t>
                      </a:r>
                      <a:r>
                        <a:rPr lang="en-IE" sz="1400" b="0"/>
                        <a:t>for </a:t>
                      </a:r>
                      <a:r>
                        <a:rPr lang="en-IE" sz="1400" b="1"/>
                        <a:t>data space participants</a:t>
                      </a:r>
                      <a:endParaRPr lang="en-IE" sz="1000" b="1"/>
                    </a:p>
                  </a:txBody>
                  <a:tcPr marL="68580" marR="68580" marT="34290" marB="34290" anchor="ctr"/>
                </a:tc>
                <a:extLst>
                  <a:ext uri="{0D108BD9-81ED-4DB2-BD59-A6C34878D82A}">
                    <a16:rowId xmlns:a16="http://schemas.microsoft.com/office/drawing/2014/main" val="976410153"/>
                  </a:ext>
                </a:extLst>
              </a:tr>
              <a:tr h="502919">
                <a:tc>
                  <a:txBody>
                    <a:bodyPr/>
                    <a:lstStyle/>
                    <a:p>
                      <a:endParaRPr lang="en-IE" sz="1000"/>
                    </a:p>
                  </a:txBody>
                  <a:tcPr marL="68580" marR="68580" marT="34290" marB="34290"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E" sz="1400" b="1"/>
                        <a:t>Maturity model </a:t>
                      </a:r>
                      <a:r>
                        <a:rPr lang="en-IE" sz="1400" b="0"/>
                        <a:t>for Common European Data Spaces</a:t>
                      </a:r>
                    </a:p>
                  </a:txBody>
                  <a:tcPr marL="68580" marR="68580" marT="34290" marB="34290" anchor="ctr"/>
                </a:tc>
                <a:extLst>
                  <a:ext uri="{0D108BD9-81ED-4DB2-BD59-A6C34878D82A}">
                    <a16:rowId xmlns:a16="http://schemas.microsoft.com/office/drawing/2014/main" val="83133670"/>
                  </a:ext>
                </a:extLst>
              </a:tr>
            </a:tbl>
          </a:graphicData>
        </a:graphic>
      </p:graphicFrame>
      <p:sp>
        <p:nvSpPr>
          <p:cNvPr id="4" name="Title 3">
            <a:extLst>
              <a:ext uri="{FF2B5EF4-FFF2-40B4-BE49-F238E27FC236}">
                <a16:creationId xmlns:a16="http://schemas.microsoft.com/office/drawing/2014/main" id="{D80EBE72-3501-2D97-9702-62CFEFE12820}"/>
              </a:ext>
            </a:extLst>
          </p:cNvPr>
          <p:cNvSpPr>
            <a:spLocks noGrp="1"/>
          </p:cNvSpPr>
          <p:nvPr>
            <p:ph type="title"/>
          </p:nvPr>
        </p:nvSpPr>
        <p:spPr/>
        <p:txBody>
          <a:bodyPr/>
          <a:lstStyle/>
          <a:p>
            <a:r>
              <a:rPr lang="en-IE" sz="2400"/>
              <a:t>Standardisation request </a:t>
            </a:r>
            <a:br>
              <a:rPr lang="en-IE" sz="2400"/>
            </a:br>
            <a:r>
              <a:rPr lang="en-IE"/>
              <a:t>European Trusted Data Framework</a:t>
            </a:r>
          </a:p>
        </p:txBody>
      </p:sp>
      <p:pic>
        <p:nvPicPr>
          <p:cNvPr id="10" name="Graphic 9" descr="Upward trend with solid fill">
            <a:extLst>
              <a:ext uri="{FF2B5EF4-FFF2-40B4-BE49-F238E27FC236}">
                <a16:creationId xmlns:a16="http://schemas.microsoft.com/office/drawing/2014/main" id="{E53CAA3F-2A93-16C0-2535-C715DBB2003B}"/>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002707" y="3848345"/>
            <a:ext cx="405000" cy="405000"/>
          </a:xfrm>
          <a:prstGeom prst="rect">
            <a:avLst/>
          </a:prstGeom>
        </p:spPr>
      </p:pic>
      <p:pic>
        <p:nvPicPr>
          <p:cNvPr id="11" name="Graphic 10" descr="Checkmark with solid fill">
            <a:extLst>
              <a:ext uri="{FF2B5EF4-FFF2-40B4-BE49-F238E27FC236}">
                <a16:creationId xmlns:a16="http://schemas.microsoft.com/office/drawing/2014/main" id="{F20584B2-AE05-3E21-9BEF-06BF99E1C31B}"/>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02707" y="3346369"/>
            <a:ext cx="405000" cy="405000"/>
          </a:xfrm>
          <a:prstGeom prst="rect">
            <a:avLst/>
          </a:prstGeom>
        </p:spPr>
      </p:pic>
      <p:pic>
        <p:nvPicPr>
          <p:cNvPr id="12" name="Graphic 11" descr="Network with solid fill">
            <a:extLst>
              <a:ext uri="{FF2B5EF4-FFF2-40B4-BE49-F238E27FC236}">
                <a16:creationId xmlns:a16="http://schemas.microsoft.com/office/drawing/2014/main" id="{787AD02F-48F5-6454-8978-4588080EB0AC}"/>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002707" y="2862815"/>
            <a:ext cx="405000" cy="405000"/>
          </a:xfrm>
          <a:prstGeom prst="rect">
            <a:avLst/>
          </a:prstGeom>
        </p:spPr>
      </p:pic>
      <p:pic>
        <p:nvPicPr>
          <p:cNvPr id="13" name="Graphic 12" descr="Magnifying glass with solid fill">
            <a:extLst>
              <a:ext uri="{FF2B5EF4-FFF2-40B4-BE49-F238E27FC236}">
                <a16:creationId xmlns:a16="http://schemas.microsoft.com/office/drawing/2014/main" id="{477DE3F2-9CE2-811C-1737-89F0D8F60ACC}"/>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002707" y="2374693"/>
            <a:ext cx="405000" cy="405000"/>
          </a:xfrm>
          <a:prstGeom prst="rect">
            <a:avLst/>
          </a:prstGeom>
        </p:spPr>
      </p:pic>
      <p:pic>
        <p:nvPicPr>
          <p:cNvPr id="14" name="Graphic 13" descr="Transfer with solid fill">
            <a:extLst>
              <a:ext uri="{FF2B5EF4-FFF2-40B4-BE49-F238E27FC236}">
                <a16:creationId xmlns:a16="http://schemas.microsoft.com/office/drawing/2014/main" id="{84D316FD-F8D1-1F1E-41B5-2B0CD2AE163D}"/>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1002707" y="1879643"/>
            <a:ext cx="405000" cy="405000"/>
          </a:xfrm>
          <a:prstGeom prst="rect">
            <a:avLst/>
          </a:prstGeom>
        </p:spPr>
      </p:pic>
      <p:sp>
        <p:nvSpPr>
          <p:cNvPr id="15" name="TextBox 14">
            <a:extLst>
              <a:ext uri="{FF2B5EF4-FFF2-40B4-BE49-F238E27FC236}">
                <a16:creationId xmlns:a16="http://schemas.microsoft.com/office/drawing/2014/main" id="{E63B390D-44FA-95DD-162C-67D04DCC0C8F}"/>
              </a:ext>
            </a:extLst>
          </p:cNvPr>
          <p:cNvSpPr txBox="1"/>
          <p:nvPr/>
        </p:nvSpPr>
        <p:spPr>
          <a:xfrm>
            <a:off x="628650" y="1447896"/>
            <a:ext cx="2454518" cy="300082"/>
          </a:xfrm>
          <a:prstGeom prst="rect">
            <a:avLst/>
          </a:prstGeom>
          <a:noFill/>
        </p:spPr>
        <p:txBody>
          <a:bodyPr wrap="none" rtlCol="0">
            <a:spAutoFit/>
          </a:bodyPr>
          <a:lstStyle/>
          <a:p>
            <a:pPr defTabSz="685800">
              <a:buClr>
                <a:srgbClr val="000000"/>
              </a:buClr>
              <a:defRPr/>
            </a:pPr>
            <a:r>
              <a:rPr lang="en-IE" sz="1350" b="1" kern="0">
                <a:solidFill>
                  <a:srgbClr val="4D4D4D"/>
                </a:solidFill>
                <a:latin typeface="Arial"/>
                <a:cs typeface="Arial"/>
                <a:sym typeface="Arial"/>
              </a:rPr>
              <a:t>Five requested deliverables</a:t>
            </a:r>
          </a:p>
        </p:txBody>
      </p:sp>
    </p:spTree>
    <p:extLst>
      <p:ext uri="{BB962C8B-B14F-4D97-AF65-F5344CB8AC3E}">
        <p14:creationId xmlns:p14="http://schemas.microsoft.com/office/powerpoint/2010/main" val="191157509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252870DD-395B-2D47-E241-154FA0B03481}"/>
              </a:ext>
            </a:extLst>
          </p:cNvPr>
          <p:cNvPicPr>
            <a:picLocks noChangeAspect="1"/>
          </p:cNvPicPr>
          <p:nvPr/>
        </p:nvPicPr>
        <p:blipFill>
          <a:blip r:embed="rId3"/>
          <a:stretch>
            <a:fillRect/>
          </a:stretch>
        </p:blipFill>
        <p:spPr>
          <a:xfrm>
            <a:off x="3027950" y="972715"/>
            <a:ext cx="5735762" cy="2430000"/>
          </a:xfrm>
          <a:prstGeom prst="rect">
            <a:avLst/>
          </a:prstGeom>
        </p:spPr>
      </p:pic>
      <p:pic>
        <p:nvPicPr>
          <p:cNvPr id="12" name="Picture 11">
            <a:extLst>
              <a:ext uri="{FF2B5EF4-FFF2-40B4-BE49-F238E27FC236}">
                <a16:creationId xmlns:a16="http://schemas.microsoft.com/office/drawing/2014/main" id="{61F51DFF-5437-8CB6-BF7C-420A4B0EAFF9}"/>
              </a:ext>
            </a:extLst>
          </p:cNvPr>
          <p:cNvPicPr>
            <a:picLocks noChangeAspect="1"/>
          </p:cNvPicPr>
          <p:nvPr/>
        </p:nvPicPr>
        <p:blipFill>
          <a:blip r:embed="rId4"/>
          <a:stretch>
            <a:fillRect/>
          </a:stretch>
        </p:blipFill>
        <p:spPr>
          <a:xfrm>
            <a:off x="469105" y="1418701"/>
            <a:ext cx="2604371" cy="1992702"/>
          </a:xfrm>
          <a:prstGeom prst="rect">
            <a:avLst/>
          </a:prstGeom>
        </p:spPr>
      </p:pic>
      <p:sp>
        <p:nvSpPr>
          <p:cNvPr id="3" name="Title 2">
            <a:extLst>
              <a:ext uri="{FF2B5EF4-FFF2-40B4-BE49-F238E27FC236}">
                <a16:creationId xmlns:a16="http://schemas.microsoft.com/office/drawing/2014/main" id="{65C160C3-245E-12E3-C70C-F099F3215347}"/>
              </a:ext>
            </a:extLst>
          </p:cNvPr>
          <p:cNvSpPr>
            <a:spLocks noGrp="1"/>
          </p:cNvSpPr>
          <p:nvPr>
            <p:ph type="title"/>
          </p:nvPr>
        </p:nvSpPr>
        <p:spPr/>
        <p:txBody>
          <a:bodyPr/>
          <a:lstStyle/>
          <a:p>
            <a:r>
              <a:rPr lang="en-IE" sz="2400"/>
              <a:t>Standardisation request </a:t>
            </a:r>
            <a:br>
              <a:rPr lang="en-IE" sz="2400"/>
            </a:br>
            <a:r>
              <a:rPr lang="en-IE"/>
              <a:t>European Trusted Data Framework</a:t>
            </a:r>
            <a:endParaRPr lang="en-IE" sz="3600"/>
          </a:p>
        </p:txBody>
      </p:sp>
      <p:pic>
        <p:nvPicPr>
          <p:cNvPr id="40" name="Graphic 39" descr="Upward trend with solid fill">
            <a:extLst>
              <a:ext uri="{FF2B5EF4-FFF2-40B4-BE49-F238E27FC236}">
                <a16:creationId xmlns:a16="http://schemas.microsoft.com/office/drawing/2014/main" id="{37987126-EE15-1C6C-68EB-B915D4424EE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886737" y="3615006"/>
            <a:ext cx="405000" cy="405000"/>
          </a:xfrm>
          <a:prstGeom prst="rect">
            <a:avLst/>
          </a:prstGeom>
        </p:spPr>
      </p:pic>
      <p:pic>
        <p:nvPicPr>
          <p:cNvPr id="42" name="Graphic 41" descr="Magnifying glass with solid fill">
            <a:extLst>
              <a:ext uri="{FF2B5EF4-FFF2-40B4-BE49-F238E27FC236}">
                <a16:creationId xmlns:a16="http://schemas.microsoft.com/office/drawing/2014/main" id="{6FADE640-E91F-0CA2-42B6-23D2F785665E}"/>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630641" y="4085927"/>
            <a:ext cx="405000" cy="405000"/>
          </a:xfrm>
          <a:prstGeom prst="rect">
            <a:avLst/>
          </a:prstGeom>
        </p:spPr>
      </p:pic>
      <p:pic>
        <p:nvPicPr>
          <p:cNvPr id="44" name="Graphic 43" descr="Checkmark with solid fill">
            <a:extLst>
              <a:ext uri="{FF2B5EF4-FFF2-40B4-BE49-F238E27FC236}">
                <a16:creationId xmlns:a16="http://schemas.microsoft.com/office/drawing/2014/main" id="{96EDFCA9-1B28-6595-F789-2AE4FF7FEC41}"/>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3283676" y="3615006"/>
            <a:ext cx="405000" cy="405000"/>
          </a:xfrm>
          <a:prstGeom prst="rect">
            <a:avLst/>
          </a:prstGeom>
        </p:spPr>
      </p:pic>
      <p:pic>
        <p:nvPicPr>
          <p:cNvPr id="49" name="Graphic 48" descr="Transfer with solid fill">
            <a:extLst>
              <a:ext uri="{FF2B5EF4-FFF2-40B4-BE49-F238E27FC236}">
                <a16:creationId xmlns:a16="http://schemas.microsoft.com/office/drawing/2014/main" id="{4EB02DAC-61DF-A63C-4A6C-9BE7837D6C6E}"/>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657029" y="3615006"/>
            <a:ext cx="405000" cy="405000"/>
          </a:xfrm>
          <a:prstGeom prst="rect">
            <a:avLst/>
          </a:prstGeom>
        </p:spPr>
      </p:pic>
      <p:pic>
        <p:nvPicPr>
          <p:cNvPr id="5" name="Graphic 4" descr="Magnifying glass with solid fill">
            <a:extLst>
              <a:ext uri="{FF2B5EF4-FFF2-40B4-BE49-F238E27FC236}">
                <a16:creationId xmlns:a16="http://schemas.microsoft.com/office/drawing/2014/main" id="{49E01366-9E7E-67D3-F2E9-73104E460E9D}"/>
              </a:ext>
            </a:extLst>
          </p:cNvPr>
          <p:cNvPicPr>
            <a:picLocks noChangeAspect="1"/>
          </p:cNvPicPr>
          <p:nvPr/>
        </p:nvPicPr>
        <p:blipFill>
          <a:blip r:embed="rId7">
            <a:extLst>
              <a:ext uri="{96DAC541-7B7A-43D3-8B79-37D633B846F1}">
                <asvg:svgBlip xmlns:asvg="http://schemas.microsoft.com/office/drawing/2016/SVG/main" r:embed="rId13"/>
              </a:ext>
            </a:extLst>
          </a:blip>
          <a:stretch>
            <a:fillRect/>
          </a:stretch>
        </p:blipFill>
        <p:spPr>
          <a:xfrm>
            <a:off x="7006169" y="1550252"/>
            <a:ext cx="216000" cy="216000"/>
          </a:xfrm>
          <a:prstGeom prst="rect">
            <a:avLst/>
          </a:prstGeom>
        </p:spPr>
      </p:pic>
      <p:pic>
        <p:nvPicPr>
          <p:cNvPr id="6" name="Graphic 5" descr="Transfer with solid fill">
            <a:extLst>
              <a:ext uri="{FF2B5EF4-FFF2-40B4-BE49-F238E27FC236}">
                <a16:creationId xmlns:a16="http://schemas.microsoft.com/office/drawing/2014/main" id="{F89F225E-3969-19CE-2E4B-7800EA01F54C}"/>
              </a:ext>
            </a:extLst>
          </p:cNvPr>
          <p:cNvPicPr>
            <a:picLocks noChangeAspect="1"/>
          </p:cNvPicPr>
          <p:nvPr/>
        </p:nvPicPr>
        <p:blipFill>
          <a:blip r:embed="rId11">
            <a:extLst>
              <a:ext uri="{96DAC541-7B7A-43D3-8B79-37D633B846F1}">
                <asvg:svgBlip xmlns:asvg="http://schemas.microsoft.com/office/drawing/2016/SVG/main" r:embed="rId14"/>
              </a:ext>
            </a:extLst>
          </a:blip>
          <a:stretch>
            <a:fillRect/>
          </a:stretch>
        </p:blipFill>
        <p:spPr>
          <a:xfrm>
            <a:off x="6150827" y="2315544"/>
            <a:ext cx="297000" cy="297000"/>
          </a:xfrm>
          <a:prstGeom prst="rect">
            <a:avLst/>
          </a:prstGeom>
        </p:spPr>
      </p:pic>
      <p:pic>
        <p:nvPicPr>
          <p:cNvPr id="7" name="Graphic 6" descr="Checkmark with solid fill">
            <a:extLst>
              <a:ext uri="{FF2B5EF4-FFF2-40B4-BE49-F238E27FC236}">
                <a16:creationId xmlns:a16="http://schemas.microsoft.com/office/drawing/2014/main" id="{37ED6B34-4E84-3CCB-C2D9-7E510BE1A74F}"/>
              </a:ext>
            </a:extLst>
          </p:cNvPr>
          <p:cNvPicPr>
            <a:picLocks noChangeAspect="1"/>
          </p:cNvPicPr>
          <p:nvPr/>
        </p:nvPicPr>
        <p:blipFill>
          <a:blip r:embed="rId9">
            <a:extLst>
              <a:ext uri="{96DAC541-7B7A-43D3-8B79-37D633B846F1}">
                <asvg:svgBlip xmlns:asvg="http://schemas.microsoft.com/office/drawing/2016/SVG/main" r:embed="rId15"/>
              </a:ext>
            </a:extLst>
          </a:blip>
          <a:stretch>
            <a:fillRect/>
          </a:stretch>
        </p:blipFill>
        <p:spPr>
          <a:xfrm>
            <a:off x="4221121" y="1706537"/>
            <a:ext cx="216000" cy="216000"/>
          </a:xfrm>
          <a:prstGeom prst="rect">
            <a:avLst/>
          </a:prstGeom>
        </p:spPr>
      </p:pic>
      <p:pic>
        <p:nvPicPr>
          <p:cNvPr id="8" name="Graphic 7" descr="Checkmark with solid fill">
            <a:extLst>
              <a:ext uri="{FF2B5EF4-FFF2-40B4-BE49-F238E27FC236}">
                <a16:creationId xmlns:a16="http://schemas.microsoft.com/office/drawing/2014/main" id="{613C4B9F-29C5-BD3A-BFB6-3EF6541CB15A}"/>
              </a:ext>
            </a:extLst>
          </p:cNvPr>
          <p:cNvPicPr>
            <a:picLocks noChangeAspect="1"/>
          </p:cNvPicPr>
          <p:nvPr/>
        </p:nvPicPr>
        <p:blipFill>
          <a:blip r:embed="rId9">
            <a:extLst>
              <a:ext uri="{96DAC541-7B7A-43D3-8B79-37D633B846F1}">
                <asvg:svgBlip xmlns:asvg="http://schemas.microsoft.com/office/drawing/2016/SVG/main" r:embed="rId15"/>
              </a:ext>
            </a:extLst>
          </a:blip>
          <a:stretch>
            <a:fillRect/>
          </a:stretch>
        </p:blipFill>
        <p:spPr>
          <a:xfrm>
            <a:off x="7872920" y="1729769"/>
            <a:ext cx="216000" cy="216000"/>
          </a:xfrm>
          <a:prstGeom prst="rect">
            <a:avLst/>
          </a:prstGeom>
        </p:spPr>
      </p:pic>
      <p:pic>
        <p:nvPicPr>
          <p:cNvPr id="9" name="Graphic 8" descr="Checkmark with solid fill">
            <a:extLst>
              <a:ext uri="{FF2B5EF4-FFF2-40B4-BE49-F238E27FC236}">
                <a16:creationId xmlns:a16="http://schemas.microsoft.com/office/drawing/2014/main" id="{97D59121-2E57-A4E3-8B47-D5D8675EBB63}"/>
              </a:ext>
            </a:extLst>
          </p:cNvPr>
          <p:cNvPicPr>
            <a:picLocks noChangeAspect="1"/>
          </p:cNvPicPr>
          <p:nvPr/>
        </p:nvPicPr>
        <p:blipFill>
          <a:blip r:embed="rId9">
            <a:extLst>
              <a:ext uri="{96DAC541-7B7A-43D3-8B79-37D633B846F1}">
                <asvg:svgBlip xmlns:asvg="http://schemas.microsoft.com/office/drawing/2016/SVG/main" r:embed="rId15"/>
              </a:ext>
            </a:extLst>
          </a:blip>
          <a:stretch>
            <a:fillRect/>
          </a:stretch>
        </p:blipFill>
        <p:spPr>
          <a:xfrm>
            <a:off x="7202763" y="3075440"/>
            <a:ext cx="216000" cy="216000"/>
          </a:xfrm>
          <a:prstGeom prst="rect">
            <a:avLst/>
          </a:prstGeom>
        </p:spPr>
      </p:pic>
      <p:pic>
        <p:nvPicPr>
          <p:cNvPr id="13" name="Graphic 12" descr="Upward trend with solid fill">
            <a:extLst>
              <a:ext uri="{FF2B5EF4-FFF2-40B4-BE49-F238E27FC236}">
                <a16:creationId xmlns:a16="http://schemas.microsoft.com/office/drawing/2014/main" id="{CFEDB047-6E99-8CD8-D4B2-BC6038B32A9C}"/>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2632749" y="1442762"/>
            <a:ext cx="405000" cy="405000"/>
          </a:xfrm>
          <a:prstGeom prst="rect">
            <a:avLst/>
          </a:prstGeom>
        </p:spPr>
      </p:pic>
      <p:sp>
        <p:nvSpPr>
          <p:cNvPr id="16" name="TextBox 15">
            <a:extLst>
              <a:ext uri="{FF2B5EF4-FFF2-40B4-BE49-F238E27FC236}">
                <a16:creationId xmlns:a16="http://schemas.microsoft.com/office/drawing/2014/main" id="{EBED7419-6812-0871-701F-192E4EBB5994}"/>
              </a:ext>
            </a:extLst>
          </p:cNvPr>
          <p:cNvSpPr txBox="1"/>
          <p:nvPr/>
        </p:nvSpPr>
        <p:spPr>
          <a:xfrm>
            <a:off x="6291738" y="3627591"/>
            <a:ext cx="2195233" cy="415498"/>
          </a:xfrm>
          <a:prstGeom prst="rect">
            <a:avLst/>
          </a:prstGeom>
          <a:noFill/>
        </p:spPr>
        <p:txBody>
          <a:bodyPr wrap="square">
            <a:spAutoFit/>
          </a:bodyPr>
          <a:lstStyle/>
          <a:p>
            <a:pPr defTabSz="685800">
              <a:defRPr/>
            </a:pPr>
            <a:r>
              <a:rPr lang="en-IE" sz="1050" kern="0">
                <a:solidFill>
                  <a:srgbClr val="000000"/>
                </a:solidFill>
                <a:latin typeface="Arial"/>
                <a:cs typeface="Arial"/>
                <a:sym typeface="Arial"/>
              </a:rPr>
              <a:t>Maturity model for </a:t>
            </a:r>
          </a:p>
          <a:p>
            <a:pPr defTabSz="685800">
              <a:defRPr/>
            </a:pPr>
            <a:r>
              <a:rPr lang="en-IE" sz="1050" kern="0">
                <a:solidFill>
                  <a:srgbClr val="000000"/>
                </a:solidFill>
                <a:latin typeface="Arial"/>
                <a:cs typeface="Arial"/>
                <a:sym typeface="Arial"/>
              </a:rPr>
              <a:t>Common European Data Spaces</a:t>
            </a:r>
          </a:p>
        </p:txBody>
      </p:sp>
      <p:sp>
        <p:nvSpPr>
          <p:cNvPr id="18" name="TextBox 17">
            <a:extLst>
              <a:ext uri="{FF2B5EF4-FFF2-40B4-BE49-F238E27FC236}">
                <a16:creationId xmlns:a16="http://schemas.microsoft.com/office/drawing/2014/main" id="{B9F3BDC1-8CFA-78EA-EBD5-22FEA7F7B376}"/>
              </a:ext>
            </a:extLst>
          </p:cNvPr>
          <p:cNvSpPr txBox="1"/>
          <p:nvPr/>
        </p:nvSpPr>
        <p:spPr>
          <a:xfrm>
            <a:off x="1035642" y="4098511"/>
            <a:ext cx="2045534" cy="415498"/>
          </a:xfrm>
          <a:prstGeom prst="rect">
            <a:avLst/>
          </a:prstGeom>
          <a:noFill/>
        </p:spPr>
        <p:txBody>
          <a:bodyPr wrap="square">
            <a:spAutoFit/>
          </a:bodyPr>
          <a:lstStyle/>
          <a:p>
            <a:pPr defTabSz="685800">
              <a:defRPr/>
            </a:pPr>
            <a:r>
              <a:rPr lang="en-IE" sz="1050" kern="0">
                <a:solidFill>
                  <a:srgbClr val="000000"/>
                </a:solidFill>
                <a:latin typeface="Arial"/>
                <a:cs typeface="Arial"/>
                <a:sym typeface="Arial"/>
              </a:rPr>
              <a:t>Data catalogue </a:t>
            </a:r>
          </a:p>
          <a:p>
            <a:pPr defTabSz="685800">
              <a:defRPr/>
            </a:pPr>
            <a:r>
              <a:rPr lang="en-IE" sz="1050" kern="0">
                <a:solidFill>
                  <a:srgbClr val="000000"/>
                </a:solidFill>
                <a:latin typeface="Arial"/>
                <a:cs typeface="Arial"/>
                <a:sym typeface="Arial"/>
              </a:rPr>
              <a:t>implementation framework</a:t>
            </a:r>
          </a:p>
        </p:txBody>
      </p:sp>
      <p:sp>
        <p:nvSpPr>
          <p:cNvPr id="20" name="TextBox 19">
            <a:extLst>
              <a:ext uri="{FF2B5EF4-FFF2-40B4-BE49-F238E27FC236}">
                <a16:creationId xmlns:a16="http://schemas.microsoft.com/office/drawing/2014/main" id="{EBBC65E2-AFC2-FC78-CE91-0574BFAB1A16}"/>
              </a:ext>
            </a:extLst>
          </p:cNvPr>
          <p:cNvSpPr txBox="1"/>
          <p:nvPr/>
        </p:nvSpPr>
        <p:spPr>
          <a:xfrm>
            <a:off x="3807676" y="4098511"/>
            <a:ext cx="1763228" cy="415498"/>
          </a:xfrm>
          <a:prstGeom prst="rect">
            <a:avLst/>
          </a:prstGeom>
          <a:noFill/>
        </p:spPr>
        <p:txBody>
          <a:bodyPr wrap="square">
            <a:spAutoFit/>
          </a:bodyPr>
          <a:lstStyle/>
          <a:p>
            <a:pPr defTabSz="685800">
              <a:defRPr/>
            </a:pPr>
            <a:r>
              <a:rPr lang="en-IE" sz="1050" kern="0">
                <a:solidFill>
                  <a:srgbClr val="000000"/>
                </a:solidFill>
                <a:latin typeface="Arial"/>
                <a:cs typeface="Arial"/>
                <a:sym typeface="Arial"/>
              </a:rPr>
              <a:t>Semantic assets </a:t>
            </a:r>
          </a:p>
          <a:p>
            <a:pPr defTabSz="685800">
              <a:defRPr/>
            </a:pPr>
            <a:r>
              <a:rPr lang="en-IE" sz="1050" kern="0">
                <a:solidFill>
                  <a:srgbClr val="000000"/>
                </a:solidFill>
                <a:latin typeface="Arial"/>
                <a:cs typeface="Arial"/>
                <a:sym typeface="Arial"/>
              </a:rPr>
              <a:t>implementation framework</a:t>
            </a:r>
          </a:p>
        </p:txBody>
      </p:sp>
      <p:sp>
        <p:nvSpPr>
          <p:cNvPr id="22" name="TextBox 21">
            <a:extLst>
              <a:ext uri="{FF2B5EF4-FFF2-40B4-BE49-F238E27FC236}">
                <a16:creationId xmlns:a16="http://schemas.microsoft.com/office/drawing/2014/main" id="{5E315C4D-00A3-6057-2B70-6A48B997F12B}"/>
              </a:ext>
            </a:extLst>
          </p:cNvPr>
          <p:cNvSpPr txBox="1"/>
          <p:nvPr/>
        </p:nvSpPr>
        <p:spPr>
          <a:xfrm>
            <a:off x="3807676" y="3627591"/>
            <a:ext cx="1763228" cy="415498"/>
          </a:xfrm>
          <a:prstGeom prst="rect">
            <a:avLst/>
          </a:prstGeom>
          <a:noFill/>
        </p:spPr>
        <p:txBody>
          <a:bodyPr wrap="square">
            <a:spAutoFit/>
          </a:bodyPr>
          <a:lstStyle/>
          <a:p>
            <a:pPr defTabSz="685800">
              <a:defRPr/>
            </a:pPr>
            <a:r>
              <a:rPr lang="en-IE" sz="1050" kern="0">
                <a:solidFill>
                  <a:srgbClr val="000000"/>
                </a:solidFill>
                <a:latin typeface="Arial"/>
                <a:cs typeface="Arial"/>
                <a:sym typeface="Arial"/>
              </a:rPr>
              <a:t>Data governance standard</a:t>
            </a:r>
          </a:p>
          <a:p>
            <a:pPr defTabSz="685800">
              <a:defRPr/>
            </a:pPr>
            <a:r>
              <a:rPr lang="en-IE" sz="1050" kern="0">
                <a:solidFill>
                  <a:srgbClr val="000000"/>
                </a:solidFill>
                <a:latin typeface="Arial"/>
                <a:cs typeface="Arial"/>
                <a:sym typeface="Arial"/>
              </a:rPr>
              <a:t>for data space participants</a:t>
            </a:r>
          </a:p>
        </p:txBody>
      </p:sp>
      <p:sp>
        <p:nvSpPr>
          <p:cNvPr id="24" name="TextBox 23">
            <a:extLst>
              <a:ext uri="{FF2B5EF4-FFF2-40B4-BE49-F238E27FC236}">
                <a16:creationId xmlns:a16="http://schemas.microsoft.com/office/drawing/2014/main" id="{90EE168A-78E6-87B7-02EA-4CF3EEA0C913}"/>
              </a:ext>
            </a:extLst>
          </p:cNvPr>
          <p:cNvSpPr txBox="1"/>
          <p:nvPr/>
        </p:nvSpPr>
        <p:spPr>
          <a:xfrm>
            <a:off x="1122147" y="3627591"/>
            <a:ext cx="1911721" cy="415498"/>
          </a:xfrm>
          <a:prstGeom prst="rect">
            <a:avLst/>
          </a:prstGeom>
          <a:noFill/>
        </p:spPr>
        <p:txBody>
          <a:bodyPr wrap="square">
            <a:spAutoFit/>
          </a:bodyPr>
          <a:lstStyle/>
          <a:p>
            <a:pPr defTabSz="685800">
              <a:defRPr/>
            </a:pPr>
            <a:r>
              <a:rPr lang="en-IE" sz="1050" kern="0">
                <a:solidFill>
                  <a:srgbClr val="000000"/>
                </a:solidFill>
                <a:latin typeface="Arial"/>
                <a:cs typeface="Arial"/>
                <a:sym typeface="Arial"/>
              </a:rPr>
              <a:t>Trusted Data Transaction standard</a:t>
            </a:r>
          </a:p>
        </p:txBody>
      </p:sp>
      <p:pic>
        <p:nvPicPr>
          <p:cNvPr id="26" name="Graphic 25" descr="Magnifying glass with solid fill">
            <a:extLst>
              <a:ext uri="{FF2B5EF4-FFF2-40B4-BE49-F238E27FC236}">
                <a16:creationId xmlns:a16="http://schemas.microsoft.com/office/drawing/2014/main" id="{AE9747BA-5874-02B4-873E-BD8AFB538B8F}"/>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2173180" y="2406122"/>
            <a:ext cx="270000" cy="270000"/>
          </a:xfrm>
          <a:prstGeom prst="rect">
            <a:avLst/>
          </a:prstGeom>
        </p:spPr>
      </p:pic>
      <p:pic>
        <p:nvPicPr>
          <p:cNvPr id="27" name="Graphic 26" descr="Checkmark with solid fill">
            <a:extLst>
              <a:ext uri="{FF2B5EF4-FFF2-40B4-BE49-F238E27FC236}">
                <a16:creationId xmlns:a16="http://schemas.microsoft.com/office/drawing/2014/main" id="{7CE4C3B9-4C06-FBEA-43CF-C4C756683128}"/>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2400902" y="1970472"/>
            <a:ext cx="270000" cy="270000"/>
          </a:xfrm>
          <a:prstGeom prst="rect">
            <a:avLst/>
          </a:prstGeom>
        </p:spPr>
      </p:pic>
      <p:pic>
        <p:nvPicPr>
          <p:cNvPr id="28" name="Graphic 27" descr="Transfer with solid fill">
            <a:extLst>
              <a:ext uri="{FF2B5EF4-FFF2-40B4-BE49-F238E27FC236}">
                <a16:creationId xmlns:a16="http://schemas.microsoft.com/office/drawing/2014/main" id="{D15792F6-82D4-F4F6-A15C-D59976A4185B}"/>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2417501" y="2841734"/>
            <a:ext cx="270000" cy="270000"/>
          </a:xfrm>
          <a:prstGeom prst="rect">
            <a:avLst/>
          </a:prstGeom>
        </p:spPr>
      </p:pic>
      <p:pic>
        <p:nvPicPr>
          <p:cNvPr id="30" name="Graphic 29" descr="Transfer with solid fill">
            <a:extLst>
              <a:ext uri="{FF2B5EF4-FFF2-40B4-BE49-F238E27FC236}">
                <a16:creationId xmlns:a16="http://schemas.microsoft.com/office/drawing/2014/main" id="{A840AF86-9B39-4E88-E187-EC6144E0E092}"/>
              </a:ext>
            </a:extLst>
          </p:cNvPr>
          <p:cNvPicPr>
            <a:picLocks noChangeAspect="1"/>
          </p:cNvPicPr>
          <p:nvPr/>
        </p:nvPicPr>
        <p:blipFill>
          <a:blip r:embed="rId11">
            <a:extLst>
              <a:ext uri="{96DAC541-7B7A-43D3-8B79-37D633B846F1}">
                <asvg:svgBlip xmlns:asvg="http://schemas.microsoft.com/office/drawing/2016/SVG/main" r:embed="rId14"/>
              </a:ext>
            </a:extLst>
          </a:blip>
          <a:stretch>
            <a:fillRect/>
          </a:stretch>
        </p:blipFill>
        <p:spPr>
          <a:xfrm>
            <a:off x="6150827" y="1788208"/>
            <a:ext cx="297000" cy="297000"/>
          </a:xfrm>
          <a:prstGeom prst="rect">
            <a:avLst/>
          </a:prstGeom>
        </p:spPr>
      </p:pic>
      <p:pic>
        <p:nvPicPr>
          <p:cNvPr id="11" name="Graphic 10" descr="Network with solid fill">
            <a:extLst>
              <a:ext uri="{FF2B5EF4-FFF2-40B4-BE49-F238E27FC236}">
                <a16:creationId xmlns:a16="http://schemas.microsoft.com/office/drawing/2014/main" id="{9FAB4448-4EFF-01D7-22FC-C0C3D9B6DB38}"/>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3283676" y="4085927"/>
            <a:ext cx="405000" cy="405000"/>
          </a:xfrm>
          <a:prstGeom prst="rect">
            <a:avLst/>
          </a:prstGeom>
        </p:spPr>
      </p:pic>
      <p:pic>
        <p:nvPicPr>
          <p:cNvPr id="14" name="Graphic 13" descr="Network with solid fill">
            <a:extLst>
              <a:ext uri="{FF2B5EF4-FFF2-40B4-BE49-F238E27FC236}">
                <a16:creationId xmlns:a16="http://schemas.microsoft.com/office/drawing/2014/main" id="{6415D453-BA1E-1984-C518-51C5ED1A36AD}"/>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7021525" y="2596933"/>
            <a:ext cx="216000" cy="216000"/>
          </a:xfrm>
          <a:prstGeom prst="rect">
            <a:avLst/>
          </a:prstGeom>
        </p:spPr>
      </p:pic>
      <p:pic>
        <p:nvPicPr>
          <p:cNvPr id="15" name="Graphic 14" descr="Network with solid fill">
            <a:extLst>
              <a:ext uri="{FF2B5EF4-FFF2-40B4-BE49-F238E27FC236}">
                <a16:creationId xmlns:a16="http://schemas.microsoft.com/office/drawing/2014/main" id="{6E09423F-19AE-4055-0C1A-EE0A2D1D6D78}"/>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2464112" y="2403695"/>
            <a:ext cx="270000" cy="270000"/>
          </a:xfrm>
          <a:prstGeom prst="rect">
            <a:avLst/>
          </a:prstGeom>
        </p:spPr>
      </p:pic>
      <p:pic>
        <p:nvPicPr>
          <p:cNvPr id="4" name="Graphic 3" descr="Cloud outline">
            <a:extLst>
              <a:ext uri="{FF2B5EF4-FFF2-40B4-BE49-F238E27FC236}">
                <a16:creationId xmlns:a16="http://schemas.microsoft.com/office/drawing/2014/main" id="{4FA6EB9A-E814-24A2-5ED6-46133E6A9C33}"/>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a:off x="819139" y="2368549"/>
            <a:ext cx="324000" cy="324000"/>
          </a:xfrm>
          <a:prstGeom prst="rect">
            <a:avLst/>
          </a:prstGeom>
        </p:spPr>
      </p:pic>
    </p:spTree>
    <p:extLst>
      <p:ext uri="{BB962C8B-B14F-4D97-AF65-F5344CB8AC3E}">
        <p14:creationId xmlns:p14="http://schemas.microsoft.com/office/powerpoint/2010/main" val="163709724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Freeform: Shape 25">
            <a:extLst>
              <a:ext uri="{FF2B5EF4-FFF2-40B4-BE49-F238E27FC236}">
                <a16:creationId xmlns:a16="http://schemas.microsoft.com/office/drawing/2014/main" id="{F82EDC84-3689-BD27-358D-7B6DCD696218}"/>
              </a:ext>
            </a:extLst>
          </p:cNvPr>
          <p:cNvSpPr/>
          <p:nvPr/>
        </p:nvSpPr>
        <p:spPr>
          <a:xfrm>
            <a:off x="5516499" y="1161838"/>
            <a:ext cx="1737790" cy="522446"/>
          </a:xfrm>
          <a:custGeom>
            <a:avLst/>
            <a:gdLst>
              <a:gd name="connsiteX0" fmla="*/ 0 w 2317053"/>
              <a:gd name="connsiteY0" fmla="*/ 0 h 696594"/>
              <a:gd name="connsiteX1" fmla="*/ 2317053 w 2317053"/>
              <a:gd name="connsiteY1" fmla="*/ 0 h 696594"/>
              <a:gd name="connsiteX2" fmla="*/ 2317053 w 2317053"/>
              <a:gd name="connsiteY2" fmla="*/ 696594 h 696594"/>
              <a:gd name="connsiteX3" fmla="*/ 0 w 2317053"/>
              <a:gd name="connsiteY3" fmla="*/ 696594 h 696594"/>
              <a:gd name="connsiteX4" fmla="*/ 0 w 2317053"/>
              <a:gd name="connsiteY4" fmla="*/ 0 h 6965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17053" h="696594">
                <a:moveTo>
                  <a:pt x="0" y="0"/>
                </a:moveTo>
                <a:lnTo>
                  <a:pt x="2317053" y="0"/>
                </a:lnTo>
                <a:lnTo>
                  <a:pt x="2317053" y="696594"/>
                </a:lnTo>
                <a:lnTo>
                  <a:pt x="0" y="696594"/>
                </a:lnTo>
                <a:lnTo>
                  <a:pt x="0" y="0"/>
                </a:lnTo>
                <a:close/>
              </a:path>
            </a:pathLst>
          </a:custGeom>
          <a:ln>
            <a:solidFill>
              <a:schemeClr val="tx1"/>
            </a:solidFill>
          </a:ln>
        </p:spPr>
        <p:style>
          <a:lnRef idx="2">
            <a:schemeClr val="accent5">
              <a:hueOff val="0"/>
              <a:satOff val="0"/>
              <a:lumOff val="0"/>
              <a:alphaOff val="0"/>
            </a:schemeClr>
          </a:lnRef>
          <a:fillRef idx="1">
            <a:schemeClr val="accent5">
              <a:hueOff val="0"/>
              <a:satOff val="0"/>
              <a:lumOff val="0"/>
              <a:alphaOff val="0"/>
            </a:schemeClr>
          </a:fillRef>
          <a:effectRef idx="0">
            <a:schemeClr val="accent5">
              <a:hueOff val="0"/>
              <a:satOff val="0"/>
              <a:lumOff val="0"/>
              <a:alphaOff val="0"/>
            </a:schemeClr>
          </a:effectRef>
          <a:fontRef idx="minor">
            <a:schemeClr val="lt1"/>
          </a:fontRef>
        </p:style>
        <p:txBody>
          <a:bodyPr spcFirstLastPara="0" vert="horz" wrap="square" lIns="106680" tIns="60960" rIns="106680" bIns="60960" numCol="1" spcCol="1270" anchor="ctr" anchorCtr="0">
            <a:noAutofit/>
          </a:bodyPr>
          <a:lstStyle/>
          <a:p>
            <a:pPr algn="ctr" defTabSz="666750">
              <a:lnSpc>
                <a:spcPct val="90000"/>
              </a:lnSpc>
              <a:spcBef>
                <a:spcPct val="0"/>
              </a:spcBef>
              <a:spcAft>
                <a:spcPct val="35000"/>
              </a:spcAft>
              <a:buClr>
                <a:srgbClr val="000000"/>
              </a:buClr>
            </a:pPr>
            <a:r>
              <a:rPr lang="en-IE" sz="1200" b="1">
                <a:solidFill>
                  <a:srgbClr val="FFFFFF"/>
                </a:solidFill>
                <a:latin typeface="Arial"/>
                <a:sym typeface="Arial"/>
              </a:rPr>
              <a:t>Data spaces (domain-specific)</a:t>
            </a:r>
          </a:p>
        </p:txBody>
      </p:sp>
      <p:sp>
        <p:nvSpPr>
          <p:cNvPr id="25" name="Freeform: Shape 24">
            <a:extLst>
              <a:ext uri="{FF2B5EF4-FFF2-40B4-BE49-F238E27FC236}">
                <a16:creationId xmlns:a16="http://schemas.microsoft.com/office/drawing/2014/main" id="{330603CA-FEB6-4E0D-4047-BDDA9EEC3729}"/>
              </a:ext>
            </a:extLst>
          </p:cNvPr>
          <p:cNvSpPr/>
          <p:nvPr/>
        </p:nvSpPr>
        <p:spPr>
          <a:xfrm>
            <a:off x="5355226" y="1226034"/>
            <a:ext cx="1737790" cy="522446"/>
          </a:xfrm>
          <a:custGeom>
            <a:avLst/>
            <a:gdLst>
              <a:gd name="connsiteX0" fmla="*/ 0 w 2317053"/>
              <a:gd name="connsiteY0" fmla="*/ 0 h 696594"/>
              <a:gd name="connsiteX1" fmla="*/ 2317053 w 2317053"/>
              <a:gd name="connsiteY1" fmla="*/ 0 h 696594"/>
              <a:gd name="connsiteX2" fmla="*/ 2317053 w 2317053"/>
              <a:gd name="connsiteY2" fmla="*/ 696594 h 696594"/>
              <a:gd name="connsiteX3" fmla="*/ 0 w 2317053"/>
              <a:gd name="connsiteY3" fmla="*/ 696594 h 696594"/>
              <a:gd name="connsiteX4" fmla="*/ 0 w 2317053"/>
              <a:gd name="connsiteY4" fmla="*/ 0 h 6965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17053" h="696594">
                <a:moveTo>
                  <a:pt x="0" y="0"/>
                </a:moveTo>
                <a:lnTo>
                  <a:pt x="2317053" y="0"/>
                </a:lnTo>
                <a:lnTo>
                  <a:pt x="2317053" y="696594"/>
                </a:lnTo>
                <a:lnTo>
                  <a:pt x="0" y="696594"/>
                </a:lnTo>
                <a:lnTo>
                  <a:pt x="0" y="0"/>
                </a:lnTo>
                <a:close/>
              </a:path>
            </a:pathLst>
          </a:custGeom>
          <a:ln>
            <a:solidFill>
              <a:schemeClr val="tx1"/>
            </a:solidFill>
          </a:ln>
        </p:spPr>
        <p:style>
          <a:lnRef idx="2">
            <a:schemeClr val="accent5">
              <a:hueOff val="0"/>
              <a:satOff val="0"/>
              <a:lumOff val="0"/>
              <a:alphaOff val="0"/>
            </a:schemeClr>
          </a:lnRef>
          <a:fillRef idx="1">
            <a:schemeClr val="accent5">
              <a:hueOff val="0"/>
              <a:satOff val="0"/>
              <a:lumOff val="0"/>
              <a:alphaOff val="0"/>
            </a:schemeClr>
          </a:fillRef>
          <a:effectRef idx="0">
            <a:schemeClr val="accent5">
              <a:hueOff val="0"/>
              <a:satOff val="0"/>
              <a:lumOff val="0"/>
              <a:alphaOff val="0"/>
            </a:schemeClr>
          </a:effectRef>
          <a:fontRef idx="minor">
            <a:schemeClr val="lt1"/>
          </a:fontRef>
        </p:style>
        <p:txBody>
          <a:bodyPr spcFirstLastPara="0" vert="horz" wrap="square" lIns="106680" tIns="60960" rIns="106680" bIns="60960" numCol="1" spcCol="1270" anchor="ctr" anchorCtr="0">
            <a:noAutofit/>
          </a:bodyPr>
          <a:lstStyle/>
          <a:p>
            <a:pPr algn="ctr" defTabSz="666750">
              <a:lnSpc>
                <a:spcPct val="90000"/>
              </a:lnSpc>
              <a:spcBef>
                <a:spcPct val="0"/>
              </a:spcBef>
              <a:spcAft>
                <a:spcPct val="35000"/>
              </a:spcAft>
              <a:buClr>
                <a:srgbClr val="000000"/>
              </a:buClr>
            </a:pPr>
            <a:r>
              <a:rPr lang="en-IE" sz="1200" b="1">
                <a:solidFill>
                  <a:srgbClr val="FFFFFF"/>
                </a:solidFill>
                <a:latin typeface="Arial"/>
                <a:sym typeface="Arial"/>
              </a:rPr>
              <a:t>Data spaces (domain-specific)</a:t>
            </a:r>
          </a:p>
        </p:txBody>
      </p:sp>
      <p:sp>
        <p:nvSpPr>
          <p:cNvPr id="2" name="Title 1">
            <a:extLst>
              <a:ext uri="{FF2B5EF4-FFF2-40B4-BE49-F238E27FC236}">
                <a16:creationId xmlns:a16="http://schemas.microsoft.com/office/drawing/2014/main" id="{5F229C4E-FBFD-BB6A-217B-321E82B64965}"/>
              </a:ext>
            </a:extLst>
          </p:cNvPr>
          <p:cNvSpPr>
            <a:spLocks noGrp="1"/>
          </p:cNvSpPr>
          <p:nvPr>
            <p:ph type="title"/>
          </p:nvPr>
        </p:nvSpPr>
        <p:spPr/>
        <p:txBody>
          <a:bodyPr/>
          <a:lstStyle/>
          <a:p>
            <a:r>
              <a:rPr lang="en-IE"/>
              <a:t>Importance of Semantics and Reference Data</a:t>
            </a:r>
          </a:p>
        </p:txBody>
      </p:sp>
      <p:pic>
        <p:nvPicPr>
          <p:cNvPr id="3" name="Graphic 2" descr="Network with solid fill">
            <a:extLst>
              <a:ext uri="{FF2B5EF4-FFF2-40B4-BE49-F238E27FC236}">
                <a16:creationId xmlns:a16="http://schemas.microsoft.com/office/drawing/2014/main" id="{F9512F50-1729-AE5B-668E-E878918FA8F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399617" y="3936913"/>
            <a:ext cx="405000" cy="405000"/>
          </a:xfrm>
          <a:prstGeom prst="rect">
            <a:avLst/>
          </a:prstGeom>
        </p:spPr>
      </p:pic>
      <p:pic>
        <p:nvPicPr>
          <p:cNvPr id="4" name="Graphic 3" descr="Magnifying glass with solid fill">
            <a:extLst>
              <a:ext uri="{FF2B5EF4-FFF2-40B4-BE49-F238E27FC236}">
                <a16:creationId xmlns:a16="http://schemas.microsoft.com/office/drawing/2014/main" id="{DC835F78-79BF-0708-AA9B-090608A30445}"/>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448011" y="3550618"/>
            <a:ext cx="405000" cy="405000"/>
          </a:xfrm>
          <a:prstGeom prst="rect">
            <a:avLst/>
          </a:prstGeom>
        </p:spPr>
      </p:pic>
      <p:sp>
        <p:nvSpPr>
          <p:cNvPr id="18" name="Freeform: Shape 17">
            <a:extLst>
              <a:ext uri="{FF2B5EF4-FFF2-40B4-BE49-F238E27FC236}">
                <a16:creationId xmlns:a16="http://schemas.microsoft.com/office/drawing/2014/main" id="{184620C5-8C74-BE58-B275-3ED1D7DE215B}"/>
              </a:ext>
            </a:extLst>
          </p:cNvPr>
          <p:cNvSpPr/>
          <p:nvPr/>
        </p:nvSpPr>
        <p:spPr>
          <a:xfrm>
            <a:off x="1270044" y="1318830"/>
            <a:ext cx="1737790" cy="522446"/>
          </a:xfrm>
          <a:custGeom>
            <a:avLst/>
            <a:gdLst>
              <a:gd name="connsiteX0" fmla="*/ 0 w 2317053"/>
              <a:gd name="connsiteY0" fmla="*/ 0 h 696594"/>
              <a:gd name="connsiteX1" fmla="*/ 2317053 w 2317053"/>
              <a:gd name="connsiteY1" fmla="*/ 0 h 696594"/>
              <a:gd name="connsiteX2" fmla="*/ 2317053 w 2317053"/>
              <a:gd name="connsiteY2" fmla="*/ 696594 h 696594"/>
              <a:gd name="connsiteX3" fmla="*/ 0 w 2317053"/>
              <a:gd name="connsiteY3" fmla="*/ 696594 h 696594"/>
              <a:gd name="connsiteX4" fmla="*/ 0 w 2317053"/>
              <a:gd name="connsiteY4" fmla="*/ 0 h 6965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17053" h="696594">
                <a:moveTo>
                  <a:pt x="0" y="0"/>
                </a:moveTo>
                <a:lnTo>
                  <a:pt x="2317053" y="0"/>
                </a:lnTo>
                <a:lnTo>
                  <a:pt x="2317053" y="696594"/>
                </a:lnTo>
                <a:lnTo>
                  <a:pt x="0" y="696594"/>
                </a:lnTo>
                <a:lnTo>
                  <a:pt x="0" y="0"/>
                </a:lnTo>
                <a:close/>
              </a:path>
            </a:pathLst>
          </a:custGeom>
          <a:ln/>
        </p:spPr>
        <p:style>
          <a:lnRef idx="2">
            <a:schemeClr val="accent5">
              <a:shade val="15000"/>
            </a:schemeClr>
          </a:lnRef>
          <a:fillRef idx="1">
            <a:schemeClr val="accent5"/>
          </a:fillRef>
          <a:effectRef idx="0">
            <a:schemeClr val="accent5"/>
          </a:effectRef>
          <a:fontRef idx="minor">
            <a:schemeClr val="lt1"/>
          </a:fontRef>
        </p:style>
        <p:txBody>
          <a:bodyPr spcFirstLastPara="0" vert="horz" wrap="square" lIns="106680" tIns="60960" rIns="106680" bIns="60960" numCol="1" spcCol="1270" anchor="ctr" anchorCtr="0">
            <a:noAutofit/>
          </a:bodyPr>
          <a:lstStyle/>
          <a:p>
            <a:pPr algn="ctr" defTabSz="666750">
              <a:lnSpc>
                <a:spcPct val="90000"/>
              </a:lnSpc>
              <a:spcBef>
                <a:spcPct val="0"/>
              </a:spcBef>
              <a:spcAft>
                <a:spcPct val="35000"/>
              </a:spcAft>
              <a:buClr>
                <a:srgbClr val="000000"/>
              </a:buClr>
            </a:pPr>
            <a:r>
              <a:rPr lang="en-IE" sz="1200" b="1">
                <a:solidFill>
                  <a:srgbClr val="FFFFFF"/>
                </a:solidFill>
                <a:latin typeface="Arial"/>
                <a:sym typeface="Arial"/>
              </a:rPr>
              <a:t>Reference data</a:t>
            </a:r>
          </a:p>
        </p:txBody>
      </p:sp>
      <p:sp>
        <p:nvSpPr>
          <p:cNvPr id="19" name="Freeform: Shape 18">
            <a:extLst>
              <a:ext uri="{FF2B5EF4-FFF2-40B4-BE49-F238E27FC236}">
                <a16:creationId xmlns:a16="http://schemas.microsoft.com/office/drawing/2014/main" id="{F7D37CEB-8396-D002-13AC-611CC9F9B207}"/>
              </a:ext>
            </a:extLst>
          </p:cNvPr>
          <p:cNvSpPr/>
          <p:nvPr/>
        </p:nvSpPr>
        <p:spPr>
          <a:xfrm>
            <a:off x="1270044" y="1841277"/>
            <a:ext cx="1737790" cy="1082829"/>
          </a:xfrm>
          <a:custGeom>
            <a:avLst/>
            <a:gdLst>
              <a:gd name="connsiteX0" fmla="*/ 0 w 2317053"/>
              <a:gd name="connsiteY0" fmla="*/ 0 h 1711335"/>
              <a:gd name="connsiteX1" fmla="*/ 2317053 w 2317053"/>
              <a:gd name="connsiteY1" fmla="*/ 0 h 1711335"/>
              <a:gd name="connsiteX2" fmla="*/ 2317053 w 2317053"/>
              <a:gd name="connsiteY2" fmla="*/ 1711335 h 1711335"/>
              <a:gd name="connsiteX3" fmla="*/ 0 w 2317053"/>
              <a:gd name="connsiteY3" fmla="*/ 1711335 h 1711335"/>
              <a:gd name="connsiteX4" fmla="*/ 0 w 2317053"/>
              <a:gd name="connsiteY4" fmla="*/ 0 h 17113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17053" h="1711335">
                <a:moveTo>
                  <a:pt x="0" y="0"/>
                </a:moveTo>
                <a:lnTo>
                  <a:pt x="2317053" y="0"/>
                </a:lnTo>
                <a:lnTo>
                  <a:pt x="2317053" y="1711335"/>
                </a:lnTo>
                <a:lnTo>
                  <a:pt x="0" y="1711335"/>
                </a:lnTo>
                <a:lnTo>
                  <a:pt x="0" y="0"/>
                </a:lnTo>
                <a:close/>
              </a:path>
            </a:pathLst>
          </a:custGeom>
          <a:solidFill>
            <a:schemeClr val="accent6">
              <a:lumMod val="20000"/>
              <a:lumOff val="80000"/>
              <a:alpha val="90000"/>
            </a:schemeClr>
          </a:solidFill>
          <a:ln>
            <a:solidFill>
              <a:schemeClr val="tx1">
                <a:alpha val="90000"/>
              </a:schemeClr>
            </a:solidFill>
          </a:ln>
        </p:spPr>
        <p:style>
          <a:lnRef idx="2">
            <a:schemeClr val="accent5">
              <a:alpha val="90000"/>
              <a:tint val="40000"/>
              <a:hueOff val="0"/>
              <a:satOff val="0"/>
              <a:lumOff val="0"/>
              <a:alphaOff val="0"/>
            </a:schemeClr>
          </a:lnRef>
          <a:fillRef idx="1">
            <a:schemeClr val="accent5">
              <a:alpha val="90000"/>
              <a:tint val="40000"/>
              <a:hueOff val="0"/>
              <a:satOff val="0"/>
              <a:lumOff val="0"/>
              <a:alphaOff val="0"/>
            </a:schemeClr>
          </a:fillRef>
          <a:effectRef idx="0">
            <a:schemeClr val="accent5">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80010" tIns="80010" rIns="106680" bIns="120015" numCol="1" spcCol="1270" anchor="t" anchorCtr="0">
            <a:noAutofit/>
          </a:bodyPr>
          <a:lstStyle/>
          <a:p>
            <a:pPr marL="171450" lvl="1" indent="-171450" defTabSz="666750">
              <a:lnSpc>
                <a:spcPct val="90000"/>
              </a:lnSpc>
              <a:spcBef>
                <a:spcPct val="0"/>
              </a:spcBef>
              <a:spcAft>
                <a:spcPct val="15000"/>
              </a:spcAft>
              <a:buClr>
                <a:srgbClr val="000000"/>
              </a:buClr>
              <a:buFont typeface="Arial"/>
              <a:buChar char="•"/>
            </a:pPr>
            <a:r>
              <a:rPr lang="en-IE" sz="1050">
                <a:solidFill>
                  <a:srgbClr val="4D4D4D">
                    <a:hueOff val="0"/>
                    <a:satOff val="0"/>
                    <a:lumOff val="0"/>
                    <a:alphaOff val="0"/>
                  </a:srgbClr>
                </a:solidFill>
                <a:latin typeface="Arial"/>
                <a:sym typeface="Arial"/>
              </a:rPr>
              <a:t>Code lists</a:t>
            </a:r>
          </a:p>
          <a:p>
            <a:pPr marL="171450" lvl="1" indent="-171450" defTabSz="666750">
              <a:lnSpc>
                <a:spcPct val="90000"/>
              </a:lnSpc>
              <a:spcBef>
                <a:spcPct val="0"/>
              </a:spcBef>
              <a:spcAft>
                <a:spcPct val="15000"/>
              </a:spcAft>
              <a:buClr>
                <a:srgbClr val="000000"/>
              </a:buClr>
              <a:buFont typeface="Arial"/>
              <a:buChar char="•"/>
            </a:pPr>
            <a:r>
              <a:rPr lang="en-IE" sz="1050">
                <a:solidFill>
                  <a:srgbClr val="4D4D4D">
                    <a:hueOff val="0"/>
                    <a:satOff val="0"/>
                    <a:lumOff val="0"/>
                    <a:alphaOff val="0"/>
                  </a:srgbClr>
                </a:solidFill>
                <a:latin typeface="Arial"/>
                <a:sym typeface="Arial"/>
              </a:rPr>
              <a:t>Identifiers</a:t>
            </a:r>
          </a:p>
          <a:p>
            <a:pPr marL="171450" lvl="1" indent="-171450" defTabSz="666750">
              <a:lnSpc>
                <a:spcPct val="90000"/>
              </a:lnSpc>
              <a:spcBef>
                <a:spcPct val="0"/>
              </a:spcBef>
              <a:spcAft>
                <a:spcPct val="15000"/>
              </a:spcAft>
              <a:buClr>
                <a:srgbClr val="000000"/>
              </a:buClr>
              <a:buFont typeface="Arial"/>
              <a:buChar char="•"/>
            </a:pPr>
            <a:r>
              <a:rPr lang="en-IE" sz="1050">
                <a:solidFill>
                  <a:srgbClr val="4D4D4D">
                    <a:hueOff val="0"/>
                    <a:satOff val="0"/>
                    <a:lumOff val="0"/>
                    <a:alphaOff val="0"/>
                  </a:srgbClr>
                </a:solidFill>
                <a:latin typeface="Arial"/>
                <a:sym typeface="Arial"/>
              </a:rPr>
              <a:t>…</a:t>
            </a:r>
          </a:p>
        </p:txBody>
      </p:sp>
      <p:sp>
        <p:nvSpPr>
          <p:cNvPr id="20" name="Freeform: Shape 19">
            <a:extLst>
              <a:ext uri="{FF2B5EF4-FFF2-40B4-BE49-F238E27FC236}">
                <a16:creationId xmlns:a16="http://schemas.microsoft.com/office/drawing/2014/main" id="{33753BBF-F880-EE27-365E-E50944971904}"/>
              </a:ext>
            </a:extLst>
          </p:cNvPr>
          <p:cNvSpPr/>
          <p:nvPr/>
        </p:nvSpPr>
        <p:spPr>
          <a:xfrm>
            <a:off x="3251126" y="1318830"/>
            <a:ext cx="1737790" cy="522446"/>
          </a:xfrm>
          <a:custGeom>
            <a:avLst/>
            <a:gdLst>
              <a:gd name="connsiteX0" fmla="*/ 0 w 2317053"/>
              <a:gd name="connsiteY0" fmla="*/ 0 h 696594"/>
              <a:gd name="connsiteX1" fmla="*/ 2317053 w 2317053"/>
              <a:gd name="connsiteY1" fmla="*/ 0 h 696594"/>
              <a:gd name="connsiteX2" fmla="*/ 2317053 w 2317053"/>
              <a:gd name="connsiteY2" fmla="*/ 696594 h 696594"/>
              <a:gd name="connsiteX3" fmla="*/ 0 w 2317053"/>
              <a:gd name="connsiteY3" fmla="*/ 696594 h 696594"/>
              <a:gd name="connsiteX4" fmla="*/ 0 w 2317053"/>
              <a:gd name="connsiteY4" fmla="*/ 0 h 6965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17053" h="696594">
                <a:moveTo>
                  <a:pt x="0" y="0"/>
                </a:moveTo>
                <a:lnTo>
                  <a:pt x="2317053" y="0"/>
                </a:lnTo>
                <a:lnTo>
                  <a:pt x="2317053" y="696594"/>
                </a:lnTo>
                <a:lnTo>
                  <a:pt x="0" y="696594"/>
                </a:lnTo>
                <a:lnTo>
                  <a:pt x="0" y="0"/>
                </a:lnTo>
                <a:close/>
              </a:path>
            </a:pathLst>
          </a:custGeom>
          <a:ln>
            <a:solidFill>
              <a:schemeClr val="tx1"/>
            </a:solidFill>
          </a:ln>
        </p:spPr>
        <p:style>
          <a:lnRef idx="2">
            <a:schemeClr val="accent5">
              <a:hueOff val="0"/>
              <a:satOff val="0"/>
              <a:lumOff val="0"/>
              <a:alphaOff val="0"/>
            </a:schemeClr>
          </a:lnRef>
          <a:fillRef idx="1">
            <a:schemeClr val="accent5">
              <a:hueOff val="0"/>
              <a:satOff val="0"/>
              <a:lumOff val="0"/>
              <a:alphaOff val="0"/>
            </a:schemeClr>
          </a:fillRef>
          <a:effectRef idx="0">
            <a:schemeClr val="accent5">
              <a:hueOff val="0"/>
              <a:satOff val="0"/>
              <a:lumOff val="0"/>
              <a:alphaOff val="0"/>
            </a:schemeClr>
          </a:effectRef>
          <a:fontRef idx="minor">
            <a:schemeClr val="lt1"/>
          </a:fontRef>
        </p:style>
        <p:txBody>
          <a:bodyPr spcFirstLastPara="0" vert="horz" wrap="square" lIns="106680" tIns="60960" rIns="106680" bIns="60960" numCol="1" spcCol="1270" anchor="ctr" anchorCtr="0">
            <a:noAutofit/>
          </a:bodyPr>
          <a:lstStyle/>
          <a:p>
            <a:pPr algn="ctr" defTabSz="666750">
              <a:lnSpc>
                <a:spcPct val="90000"/>
              </a:lnSpc>
              <a:spcBef>
                <a:spcPct val="0"/>
              </a:spcBef>
              <a:spcAft>
                <a:spcPct val="35000"/>
              </a:spcAft>
              <a:buClr>
                <a:srgbClr val="000000"/>
              </a:buClr>
            </a:pPr>
            <a:r>
              <a:rPr lang="en-IE" sz="1200" b="1">
                <a:solidFill>
                  <a:srgbClr val="FFFFFF"/>
                </a:solidFill>
                <a:latin typeface="Arial"/>
                <a:sym typeface="Arial"/>
              </a:rPr>
              <a:t>Cross-domain data</a:t>
            </a:r>
          </a:p>
        </p:txBody>
      </p:sp>
      <p:sp>
        <p:nvSpPr>
          <p:cNvPr id="21" name="Freeform: Shape 20">
            <a:extLst>
              <a:ext uri="{FF2B5EF4-FFF2-40B4-BE49-F238E27FC236}">
                <a16:creationId xmlns:a16="http://schemas.microsoft.com/office/drawing/2014/main" id="{BAD25B4D-25D8-3CEF-3CFC-6A1A3F0DF869}"/>
              </a:ext>
            </a:extLst>
          </p:cNvPr>
          <p:cNvSpPr/>
          <p:nvPr/>
        </p:nvSpPr>
        <p:spPr>
          <a:xfrm>
            <a:off x="3251126" y="1841277"/>
            <a:ext cx="1737790" cy="1082829"/>
          </a:xfrm>
          <a:custGeom>
            <a:avLst/>
            <a:gdLst>
              <a:gd name="connsiteX0" fmla="*/ 0 w 2317053"/>
              <a:gd name="connsiteY0" fmla="*/ 0 h 1711335"/>
              <a:gd name="connsiteX1" fmla="*/ 2317053 w 2317053"/>
              <a:gd name="connsiteY1" fmla="*/ 0 h 1711335"/>
              <a:gd name="connsiteX2" fmla="*/ 2317053 w 2317053"/>
              <a:gd name="connsiteY2" fmla="*/ 1711335 h 1711335"/>
              <a:gd name="connsiteX3" fmla="*/ 0 w 2317053"/>
              <a:gd name="connsiteY3" fmla="*/ 1711335 h 1711335"/>
              <a:gd name="connsiteX4" fmla="*/ 0 w 2317053"/>
              <a:gd name="connsiteY4" fmla="*/ 0 h 17113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17053" h="1711335">
                <a:moveTo>
                  <a:pt x="0" y="0"/>
                </a:moveTo>
                <a:lnTo>
                  <a:pt x="2317053" y="0"/>
                </a:lnTo>
                <a:lnTo>
                  <a:pt x="2317053" y="1711335"/>
                </a:lnTo>
                <a:lnTo>
                  <a:pt x="0" y="1711335"/>
                </a:lnTo>
                <a:lnTo>
                  <a:pt x="0" y="0"/>
                </a:lnTo>
                <a:close/>
              </a:path>
            </a:pathLst>
          </a:custGeom>
          <a:ln>
            <a:solidFill>
              <a:schemeClr val="tx1">
                <a:alpha val="90000"/>
              </a:schemeClr>
            </a:solidFill>
          </a:ln>
        </p:spPr>
        <p:style>
          <a:lnRef idx="2">
            <a:schemeClr val="accent5">
              <a:alpha val="90000"/>
              <a:tint val="40000"/>
              <a:hueOff val="0"/>
              <a:satOff val="0"/>
              <a:lumOff val="0"/>
              <a:alphaOff val="0"/>
            </a:schemeClr>
          </a:lnRef>
          <a:fillRef idx="1">
            <a:schemeClr val="accent5">
              <a:alpha val="90000"/>
              <a:tint val="40000"/>
              <a:hueOff val="0"/>
              <a:satOff val="0"/>
              <a:lumOff val="0"/>
              <a:alphaOff val="0"/>
            </a:schemeClr>
          </a:fillRef>
          <a:effectRef idx="0">
            <a:schemeClr val="accent5">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80010" tIns="80010" rIns="106680" bIns="120015" numCol="1" spcCol="1270" anchor="t" anchorCtr="0">
            <a:noAutofit/>
          </a:bodyPr>
          <a:lstStyle/>
          <a:p>
            <a:pPr marL="171450" lvl="1" indent="-171450" defTabSz="666750">
              <a:lnSpc>
                <a:spcPct val="90000"/>
              </a:lnSpc>
              <a:spcBef>
                <a:spcPct val="0"/>
              </a:spcBef>
              <a:spcAft>
                <a:spcPct val="15000"/>
              </a:spcAft>
              <a:buClr>
                <a:srgbClr val="000000"/>
              </a:buClr>
              <a:buFont typeface="Arial"/>
              <a:buChar char="•"/>
            </a:pPr>
            <a:r>
              <a:rPr lang="en-IE" sz="1050">
                <a:solidFill>
                  <a:srgbClr val="4D4D4D">
                    <a:hueOff val="0"/>
                    <a:satOff val="0"/>
                    <a:lumOff val="0"/>
                    <a:alphaOff val="0"/>
                  </a:srgbClr>
                </a:solidFill>
                <a:latin typeface="Arial"/>
                <a:sym typeface="Arial"/>
              </a:rPr>
              <a:t>Open data</a:t>
            </a:r>
          </a:p>
          <a:p>
            <a:pPr marL="171450" lvl="1" indent="-171450" defTabSz="666750">
              <a:lnSpc>
                <a:spcPct val="90000"/>
              </a:lnSpc>
              <a:spcBef>
                <a:spcPct val="0"/>
              </a:spcBef>
              <a:spcAft>
                <a:spcPct val="15000"/>
              </a:spcAft>
              <a:buClr>
                <a:srgbClr val="000000"/>
              </a:buClr>
              <a:buFont typeface="Arial"/>
              <a:buChar char="•"/>
            </a:pPr>
            <a:r>
              <a:rPr lang="en-IE" sz="1050">
                <a:solidFill>
                  <a:srgbClr val="4D4D4D">
                    <a:hueOff val="0"/>
                    <a:satOff val="0"/>
                    <a:lumOff val="0"/>
                    <a:alphaOff val="0"/>
                  </a:srgbClr>
                </a:solidFill>
                <a:latin typeface="Arial"/>
                <a:sym typeface="Arial"/>
              </a:rPr>
              <a:t>High-value data sets</a:t>
            </a:r>
          </a:p>
          <a:p>
            <a:pPr marL="171450" lvl="1" indent="-171450" defTabSz="666750">
              <a:lnSpc>
                <a:spcPct val="90000"/>
              </a:lnSpc>
              <a:spcBef>
                <a:spcPct val="0"/>
              </a:spcBef>
              <a:spcAft>
                <a:spcPct val="15000"/>
              </a:spcAft>
              <a:buClr>
                <a:srgbClr val="000000"/>
              </a:buClr>
              <a:buFont typeface="Arial"/>
              <a:buChar char="•"/>
            </a:pPr>
            <a:r>
              <a:rPr lang="en-IE" sz="1050">
                <a:solidFill>
                  <a:srgbClr val="4D4D4D">
                    <a:hueOff val="0"/>
                    <a:satOff val="0"/>
                    <a:lumOff val="0"/>
                    <a:alphaOff val="0"/>
                  </a:srgbClr>
                </a:solidFill>
                <a:latin typeface="Arial"/>
                <a:sym typeface="Arial"/>
              </a:rPr>
              <a:t>…</a:t>
            </a:r>
          </a:p>
        </p:txBody>
      </p:sp>
      <p:sp>
        <p:nvSpPr>
          <p:cNvPr id="22" name="Freeform: Shape 21">
            <a:extLst>
              <a:ext uri="{FF2B5EF4-FFF2-40B4-BE49-F238E27FC236}">
                <a16:creationId xmlns:a16="http://schemas.microsoft.com/office/drawing/2014/main" id="{4C46B38E-29AA-0191-DC5F-7C82CCD7247B}"/>
              </a:ext>
            </a:extLst>
          </p:cNvPr>
          <p:cNvSpPr/>
          <p:nvPr/>
        </p:nvSpPr>
        <p:spPr>
          <a:xfrm>
            <a:off x="5232207" y="1318830"/>
            <a:ext cx="1737790" cy="522446"/>
          </a:xfrm>
          <a:custGeom>
            <a:avLst/>
            <a:gdLst>
              <a:gd name="connsiteX0" fmla="*/ 0 w 2317053"/>
              <a:gd name="connsiteY0" fmla="*/ 0 h 696594"/>
              <a:gd name="connsiteX1" fmla="*/ 2317053 w 2317053"/>
              <a:gd name="connsiteY1" fmla="*/ 0 h 696594"/>
              <a:gd name="connsiteX2" fmla="*/ 2317053 w 2317053"/>
              <a:gd name="connsiteY2" fmla="*/ 696594 h 696594"/>
              <a:gd name="connsiteX3" fmla="*/ 0 w 2317053"/>
              <a:gd name="connsiteY3" fmla="*/ 696594 h 696594"/>
              <a:gd name="connsiteX4" fmla="*/ 0 w 2317053"/>
              <a:gd name="connsiteY4" fmla="*/ 0 h 6965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17053" h="696594">
                <a:moveTo>
                  <a:pt x="0" y="0"/>
                </a:moveTo>
                <a:lnTo>
                  <a:pt x="2317053" y="0"/>
                </a:lnTo>
                <a:lnTo>
                  <a:pt x="2317053" y="696594"/>
                </a:lnTo>
                <a:lnTo>
                  <a:pt x="0" y="696594"/>
                </a:lnTo>
                <a:lnTo>
                  <a:pt x="0" y="0"/>
                </a:lnTo>
                <a:close/>
              </a:path>
            </a:pathLst>
          </a:custGeom>
          <a:ln>
            <a:solidFill>
              <a:schemeClr val="tx1"/>
            </a:solidFill>
          </a:ln>
        </p:spPr>
        <p:style>
          <a:lnRef idx="2">
            <a:schemeClr val="accent5">
              <a:hueOff val="0"/>
              <a:satOff val="0"/>
              <a:lumOff val="0"/>
              <a:alphaOff val="0"/>
            </a:schemeClr>
          </a:lnRef>
          <a:fillRef idx="1">
            <a:schemeClr val="accent5">
              <a:hueOff val="0"/>
              <a:satOff val="0"/>
              <a:lumOff val="0"/>
              <a:alphaOff val="0"/>
            </a:schemeClr>
          </a:fillRef>
          <a:effectRef idx="0">
            <a:schemeClr val="accent5">
              <a:hueOff val="0"/>
              <a:satOff val="0"/>
              <a:lumOff val="0"/>
              <a:alphaOff val="0"/>
            </a:schemeClr>
          </a:effectRef>
          <a:fontRef idx="minor">
            <a:schemeClr val="lt1"/>
          </a:fontRef>
        </p:style>
        <p:txBody>
          <a:bodyPr spcFirstLastPara="0" vert="horz" wrap="square" lIns="106680" tIns="60960" rIns="106680" bIns="60960" numCol="1" spcCol="1270" anchor="ctr" anchorCtr="0">
            <a:noAutofit/>
          </a:bodyPr>
          <a:lstStyle/>
          <a:p>
            <a:pPr algn="ctr" defTabSz="666750">
              <a:lnSpc>
                <a:spcPct val="90000"/>
              </a:lnSpc>
              <a:spcBef>
                <a:spcPct val="0"/>
              </a:spcBef>
              <a:spcAft>
                <a:spcPct val="35000"/>
              </a:spcAft>
              <a:buClr>
                <a:srgbClr val="000000"/>
              </a:buClr>
            </a:pPr>
            <a:r>
              <a:rPr lang="en-IE" sz="1200" b="1">
                <a:solidFill>
                  <a:srgbClr val="FFFFFF"/>
                </a:solidFill>
                <a:latin typeface="Arial"/>
                <a:sym typeface="Arial"/>
              </a:rPr>
              <a:t>Data spaces (domain-specific)</a:t>
            </a:r>
          </a:p>
        </p:txBody>
      </p:sp>
      <p:sp>
        <p:nvSpPr>
          <p:cNvPr id="23" name="Freeform: Shape 22">
            <a:extLst>
              <a:ext uri="{FF2B5EF4-FFF2-40B4-BE49-F238E27FC236}">
                <a16:creationId xmlns:a16="http://schemas.microsoft.com/office/drawing/2014/main" id="{D34F11E2-7432-7EE6-E743-CC4AAF0005C5}"/>
              </a:ext>
            </a:extLst>
          </p:cNvPr>
          <p:cNvSpPr/>
          <p:nvPr/>
        </p:nvSpPr>
        <p:spPr>
          <a:xfrm>
            <a:off x="5232207" y="1841277"/>
            <a:ext cx="1737790" cy="1082829"/>
          </a:xfrm>
          <a:custGeom>
            <a:avLst/>
            <a:gdLst>
              <a:gd name="connsiteX0" fmla="*/ 0 w 2317053"/>
              <a:gd name="connsiteY0" fmla="*/ 0 h 1711335"/>
              <a:gd name="connsiteX1" fmla="*/ 2317053 w 2317053"/>
              <a:gd name="connsiteY1" fmla="*/ 0 h 1711335"/>
              <a:gd name="connsiteX2" fmla="*/ 2317053 w 2317053"/>
              <a:gd name="connsiteY2" fmla="*/ 1711335 h 1711335"/>
              <a:gd name="connsiteX3" fmla="*/ 0 w 2317053"/>
              <a:gd name="connsiteY3" fmla="*/ 1711335 h 1711335"/>
              <a:gd name="connsiteX4" fmla="*/ 0 w 2317053"/>
              <a:gd name="connsiteY4" fmla="*/ 0 h 17113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17053" h="1711335">
                <a:moveTo>
                  <a:pt x="0" y="0"/>
                </a:moveTo>
                <a:lnTo>
                  <a:pt x="2317053" y="0"/>
                </a:lnTo>
                <a:lnTo>
                  <a:pt x="2317053" y="1711335"/>
                </a:lnTo>
                <a:lnTo>
                  <a:pt x="0" y="1711335"/>
                </a:lnTo>
                <a:lnTo>
                  <a:pt x="0" y="0"/>
                </a:lnTo>
                <a:close/>
              </a:path>
            </a:pathLst>
          </a:custGeom>
          <a:ln>
            <a:solidFill>
              <a:schemeClr val="tx1">
                <a:alpha val="90000"/>
              </a:schemeClr>
            </a:solidFill>
          </a:ln>
        </p:spPr>
        <p:style>
          <a:lnRef idx="2">
            <a:schemeClr val="accent5">
              <a:alpha val="90000"/>
              <a:tint val="40000"/>
              <a:hueOff val="0"/>
              <a:satOff val="0"/>
              <a:lumOff val="0"/>
              <a:alphaOff val="0"/>
            </a:schemeClr>
          </a:lnRef>
          <a:fillRef idx="1">
            <a:schemeClr val="accent5">
              <a:alpha val="90000"/>
              <a:tint val="40000"/>
              <a:hueOff val="0"/>
              <a:satOff val="0"/>
              <a:lumOff val="0"/>
              <a:alphaOff val="0"/>
            </a:schemeClr>
          </a:fillRef>
          <a:effectRef idx="0">
            <a:schemeClr val="accent5">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80010" tIns="80010" rIns="106680" bIns="120015" numCol="1" spcCol="1270" anchor="t" anchorCtr="0">
            <a:noAutofit/>
          </a:bodyPr>
          <a:lstStyle/>
          <a:p>
            <a:pPr marL="171450" lvl="1" indent="-171450" defTabSz="666750">
              <a:lnSpc>
                <a:spcPct val="90000"/>
              </a:lnSpc>
              <a:spcBef>
                <a:spcPct val="0"/>
              </a:spcBef>
              <a:spcAft>
                <a:spcPct val="15000"/>
              </a:spcAft>
              <a:buClr>
                <a:srgbClr val="000000"/>
              </a:buClr>
              <a:buFont typeface="Arial"/>
              <a:buChar char="•"/>
            </a:pPr>
            <a:r>
              <a:rPr lang="en-IE" sz="1050">
                <a:solidFill>
                  <a:srgbClr val="4D4D4D">
                    <a:hueOff val="0"/>
                    <a:satOff val="0"/>
                    <a:lumOff val="0"/>
                    <a:alphaOff val="0"/>
                  </a:srgbClr>
                </a:solidFill>
                <a:latin typeface="Arial"/>
                <a:sym typeface="Arial"/>
              </a:rPr>
              <a:t>Master data</a:t>
            </a:r>
          </a:p>
          <a:p>
            <a:pPr marL="171450" lvl="1" indent="-171450" defTabSz="666750">
              <a:lnSpc>
                <a:spcPct val="90000"/>
              </a:lnSpc>
              <a:spcBef>
                <a:spcPct val="0"/>
              </a:spcBef>
              <a:spcAft>
                <a:spcPct val="15000"/>
              </a:spcAft>
              <a:buClr>
                <a:srgbClr val="000000"/>
              </a:buClr>
              <a:buFont typeface="Arial"/>
              <a:buChar char="•"/>
            </a:pPr>
            <a:r>
              <a:rPr lang="en-IE" sz="1050">
                <a:solidFill>
                  <a:srgbClr val="4D4D4D">
                    <a:hueOff val="0"/>
                    <a:satOff val="0"/>
                    <a:lumOff val="0"/>
                    <a:alphaOff val="0"/>
                  </a:srgbClr>
                </a:solidFill>
                <a:latin typeface="Arial"/>
                <a:sym typeface="Arial"/>
              </a:rPr>
              <a:t>Transactional data</a:t>
            </a:r>
          </a:p>
          <a:p>
            <a:pPr marL="171450" lvl="1" indent="-171450" defTabSz="666750">
              <a:lnSpc>
                <a:spcPct val="90000"/>
              </a:lnSpc>
              <a:spcBef>
                <a:spcPct val="0"/>
              </a:spcBef>
              <a:spcAft>
                <a:spcPct val="15000"/>
              </a:spcAft>
              <a:buClr>
                <a:srgbClr val="000000"/>
              </a:buClr>
              <a:buFont typeface="Arial"/>
              <a:buChar char="•"/>
            </a:pPr>
            <a:r>
              <a:rPr lang="en-IE" sz="1050">
                <a:solidFill>
                  <a:srgbClr val="4D4D4D">
                    <a:hueOff val="0"/>
                    <a:satOff val="0"/>
                    <a:lumOff val="0"/>
                    <a:alphaOff val="0"/>
                  </a:srgbClr>
                </a:solidFill>
                <a:latin typeface="Arial"/>
                <a:sym typeface="Arial"/>
              </a:rPr>
              <a:t>Event data (sensors, IoT)</a:t>
            </a:r>
          </a:p>
          <a:p>
            <a:pPr marL="171450" lvl="1" indent="-171450" defTabSz="666750">
              <a:lnSpc>
                <a:spcPct val="90000"/>
              </a:lnSpc>
              <a:spcBef>
                <a:spcPct val="0"/>
              </a:spcBef>
              <a:spcAft>
                <a:spcPct val="15000"/>
              </a:spcAft>
              <a:buClr>
                <a:srgbClr val="000000"/>
              </a:buClr>
              <a:buFont typeface="Arial"/>
              <a:buChar char="•"/>
            </a:pPr>
            <a:r>
              <a:rPr lang="en-IE" sz="1050">
                <a:solidFill>
                  <a:srgbClr val="4D4D4D">
                    <a:hueOff val="0"/>
                    <a:satOff val="0"/>
                    <a:lumOff val="0"/>
                    <a:alphaOff val="0"/>
                  </a:srgbClr>
                </a:solidFill>
                <a:latin typeface="Arial"/>
                <a:sym typeface="Arial"/>
              </a:rPr>
              <a:t>Multimedia data</a:t>
            </a:r>
          </a:p>
          <a:p>
            <a:pPr marL="171450" lvl="1" indent="-171450" defTabSz="666750">
              <a:lnSpc>
                <a:spcPct val="90000"/>
              </a:lnSpc>
              <a:spcBef>
                <a:spcPct val="0"/>
              </a:spcBef>
              <a:spcAft>
                <a:spcPct val="15000"/>
              </a:spcAft>
              <a:buClr>
                <a:srgbClr val="000000"/>
              </a:buClr>
              <a:buFont typeface="Arial"/>
              <a:buChar char="•"/>
            </a:pPr>
            <a:r>
              <a:rPr lang="en-IE" sz="1050">
                <a:solidFill>
                  <a:srgbClr val="4D4D4D">
                    <a:hueOff val="0"/>
                    <a:satOff val="0"/>
                    <a:lumOff val="0"/>
                    <a:alphaOff val="0"/>
                  </a:srgbClr>
                </a:solidFill>
                <a:latin typeface="Arial"/>
                <a:sym typeface="Arial"/>
              </a:rPr>
              <a:t>…</a:t>
            </a:r>
          </a:p>
        </p:txBody>
      </p:sp>
      <p:sp>
        <p:nvSpPr>
          <p:cNvPr id="10" name="Arrow: Right 9">
            <a:extLst>
              <a:ext uri="{FF2B5EF4-FFF2-40B4-BE49-F238E27FC236}">
                <a16:creationId xmlns:a16="http://schemas.microsoft.com/office/drawing/2014/main" id="{7C333513-ECB3-25A8-C3BF-BE217221A34E}"/>
              </a:ext>
            </a:extLst>
          </p:cNvPr>
          <p:cNvSpPr/>
          <p:nvPr/>
        </p:nvSpPr>
        <p:spPr>
          <a:xfrm>
            <a:off x="1907089" y="3647274"/>
            <a:ext cx="4809995" cy="121612"/>
          </a:xfrm>
          <a:prstGeom prst="rightArrow">
            <a:avLst/>
          </a:prstGeom>
          <a:solidFill>
            <a:schemeClr val="accent6">
              <a:lumMod val="60000"/>
              <a:lumOff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85800">
              <a:buClr>
                <a:srgbClr val="000000"/>
              </a:buClr>
            </a:pPr>
            <a:endParaRPr lang="en-IE" sz="1050" kern="0">
              <a:solidFill>
                <a:srgbClr val="FFFFFF"/>
              </a:solidFill>
              <a:latin typeface="Arial"/>
              <a:sym typeface="Arial"/>
            </a:endParaRPr>
          </a:p>
        </p:txBody>
      </p:sp>
      <p:sp>
        <p:nvSpPr>
          <p:cNvPr id="11" name="Arrow: Right 10">
            <a:extLst>
              <a:ext uri="{FF2B5EF4-FFF2-40B4-BE49-F238E27FC236}">
                <a16:creationId xmlns:a16="http://schemas.microsoft.com/office/drawing/2014/main" id="{9CF0728A-9523-0374-8656-BD0F6C00E830}"/>
              </a:ext>
            </a:extLst>
          </p:cNvPr>
          <p:cNvSpPr/>
          <p:nvPr/>
        </p:nvSpPr>
        <p:spPr>
          <a:xfrm>
            <a:off x="1901404" y="4072047"/>
            <a:ext cx="4809995" cy="121612"/>
          </a:xfrm>
          <a:prstGeom prst="rightArrow">
            <a:avLst/>
          </a:prstGeom>
          <a:solidFill>
            <a:schemeClr val="accent6">
              <a:lumMod val="60000"/>
              <a:lumOff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85800">
              <a:buClr>
                <a:srgbClr val="000000"/>
              </a:buClr>
            </a:pPr>
            <a:endParaRPr lang="en-IE" sz="1050" kern="0">
              <a:solidFill>
                <a:srgbClr val="FFFFFF"/>
              </a:solidFill>
              <a:latin typeface="Arial"/>
              <a:sym typeface="Arial"/>
            </a:endParaRPr>
          </a:p>
        </p:txBody>
      </p:sp>
      <p:sp>
        <p:nvSpPr>
          <p:cNvPr id="12" name="Star: 12 Points 11">
            <a:extLst>
              <a:ext uri="{FF2B5EF4-FFF2-40B4-BE49-F238E27FC236}">
                <a16:creationId xmlns:a16="http://schemas.microsoft.com/office/drawing/2014/main" id="{E2E9BB65-7A2E-CCD4-381A-689475CF19B5}"/>
              </a:ext>
            </a:extLst>
          </p:cNvPr>
          <p:cNvSpPr/>
          <p:nvPr/>
        </p:nvSpPr>
        <p:spPr>
          <a:xfrm>
            <a:off x="6904974" y="2976114"/>
            <a:ext cx="1855151" cy="1261213"/>
          </a:xfrm>
          <a:prstGeom prst="star12">
            <a:avLst/>
          </a:prstGeom>
        </p:spPr>
        <p:style>
          <a:lnRef idx="3">
            <a:schemeClr val="lt1"/>
          </a:lnRef>
          <a:fillRef idx="1">
            <a:schemeClr val="accent5"/>
          </a:fillRef>
          <a:effectRef idx="1">
            <a:schemeClr val="accent5"/>
          </a:effectRef>
          <a:fontRef idx="minor">
            <a:schemeClr val="lt1"/>
          </a:fontRef>
        </p:style>
        <p:txBody>
          <a:bodyPr rtlCol="0" anchor="ctr"/>
          <a:lstStyle/>
          <a:p>
            <a:pPr algn="ctr" defTabSz="685800">
              <a:buClr>
                <a:srgbClr val="000000"/>
              </a:buClr>
            </a:pPr>
            <a:r>
              <a:rPr lang="en-IE" sz="1200" b="1" kern="0">
                <a:solidFill>
                  <a:srgbClr val="FFFFFF"/>
                </a:solidFill>
                <a:latin typeface="Arial"/>
                <a:sym typeface="Arial"/>
              </a:rPr>
              <a:t>Use cases (value creation)</a:t>
            </a:r>
          </a:p>
        </p:txBody>
      </p:sp>
      <p:sp>
        <p:nvSpPr>
          <p:cNvPr id="27" name="TextBox 26">
            <a:extLst>
              <a:ext uri="{FF2B5EF4-FFF2-40B4-BE49-F238E27FC236}">
                <a16:creationId xmlns:a16="http://schemas.microsoft.com/office/drawing/2014/main" id="{28E7A4CE-ABB9-49C2-812B-ED2F19B7519E}"/>
              </a:ext>
            </a:extLst>
          </p:cNvPr>
          <p:cNvSpPr txBox="1"/>
          <p:nvPr/>
        </p:nvSpPr>
        <p:spPr>
          <a:xfrm>
            <a:off x="3711527" y="3768885"/>
            <a:ext cx="1520679" cy="253916"/>
          </a:xfrm>
          <a:prstGeom prst="rect">
            <a:avLst/>
          </a:prstGeom>
          <a:noFill/>
        </p:spPr>
        <p:txBody>
          <a:bodyPr wrap="square">
            <a:spAutoFit/>
          </a:bodyPr>
          <a:lstStyle/>
          <a:p>
            <a:pPr defTabSz="685800">
              <a:buClr>
                <a:srgbClr val="000000"/>
              </a:buClr>
            </a:pPr>
            <a:r>
              <a:rPr lang="en-IE" sz="1050" b="1" kern="0">
                <a:solidFill>
                  <a:srgbClr val="000000"/>
                </a:solidFill>
                <a:latin typeface="Arial"/>
                <a:cs typeface="Arial"/>
                <a:sym typeface="Arial"/>
              </a:rPr>
              <a:t>Catalogue metadata</a:t>
            </a:r>
            <a:endParaRPr lang="en-IE" sz="1050" kern="0">
              <a:solidFill>
                <a:srgbClr val="000000"/>
              </a:solidFill>
              <a:latin typeface="Arial"/>
              <a:cs typeface="Arial"/>
              <a:sym typeface="Arial"/>
            </a:endParaRPr>
          </a:p>
        </p:txBody>
      </p:sp>
      <p:sp>
        <p:nvSpPr>
          <p:cNvPr id="28" name="TextBox 27">
            <a:extLst>
              <a:ext uri="{FF2B5EF4-FFF2-40B4-BE49-F238E27FC236}">
                <a16:creationId xmlns:a16="http://schemas.microsoft.com/office/drawing/2014/main" id="{727AE2B0-9F26-F7F6-DD00-3002A77FE5B9}"/>
              </a:ext>
            </a:extLst>
          </p:cNvPr>
          <p:cNvSpPr txBox="1"/>
          <p:nvPr/>
        </p:nvSpPr>
        <p:spPr>
          <a:xfrm>
            <a:off x="4012635" y="3309135"/>
            <a:ext cx="1142968" cy="253916"/>
          </a:xfrm>
          <a:prstGeom prst="rect">
            <a:avLst/>
          </a:prstGeom>
          <a:noFill/>
        </p:spPr>
        <p:txBody>
          <a:bodyPr wrap="square">
            <a:spAutoFit/>
          </a:bodyPr>
          <a:lstStyle/>
          <a:p>
            <a:pPr defTabSz="685800">
              <a:buClr>
                <a:srgbClr val="000000"/>
              </a:buClr>
            </a:pPr>
            <a:r>
              <a:rPr lang="en-IE" sz="1050" b="1" kern="0">
                <a:solidFill>
                  <a:srgbClr val="000000"/>
                </a:solidFill>
                <a:latin typeface="Arial"/>
                <a:cs typeface="Arial"/>
                <a:sym typeface="Arial"/>
              </a:rPr>
              <a:t>Data </a:t>
            </a:r>
            <a:endParaRPr lang="en-IE" sz="1050" kern="0">
              <a:solidFill>
                <a:srgbClr val="000000"/>
              </a:solidFill>
              <a:latin typeface="Arial"/>
              <a:cs typeface="Arial"/>
              <a:sym typeface="Arial"/>
            </a:endParaRPr>
          </a:p>
        </p:txBody>
      </p:sp>
      <p:sp>
        <p:nvSpPr>
          <p:cNvPr id="5" name="Arrow: Right 4">
            <a:extLst>
              <a:ext uri="{FF2B5EF4-FFF2-40B4-BE49-F238E27FC236}">
                <a16:creationId xmlns:a16="http://schemas.microsoft.com/office/drawing/2014/main" id="{8C991447-99D5-AEF7-7842-667313A3D063}"/>
              </a:ext>
            </a:extLst>
          </p:cNvPr>
          <p:cNvSpPr/>
          <p:nvPr/>
        </p:nvSpPr>
        <p:spPr>
          <a:xfrm>
            <a:off x="1907089" y="3110282"/>
            <a:ext cx="4809995" cy="239901"/>
          </a:xfrm>
          <a:prstGeom prst="rightArrow">
            <a:avLst/>
          </a:prstGeom>
          <a:solidFill>
            <a:schemeClr val="accent5">
              <a:lumMod val="40000"/>
              <a:lumOff val="6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85800">
              <a:buClr>
                <a:srgbClr val="000000"/>
              </a:buClr>
            </a:pPr>
            <a:endParaRPr lang="en-IE" sz="1050" kern="0">
              <a:solidFill>
                <a:srgbClr val="FFFFFF"/>
              </a:solidFill>
              <a:latin typeface="Arial"/>
              <a:sym typeface="Arial"/>
            </a:endParaRPr>
          </a:p>
        </p:txBody>
      </p:sp>
      <p:sp>
        <p:nvSpPr>
          <p:cNvPr id="6" name="TextBox 5">
            <a:extLst>
              <a:ext uri="{FF2B5EF4-FFF2-40B4-BE49-F238E27FC236}">
                <a16:creationId xmlns:a16="http://schemas.microsoft.com/office/drawing/2014/main" id="{CEFF3BBB-704D-1107-001C-14CA2E614D12}"/>
              </a:ext>
            </a:extLst>
          </p:cNvPr>
          <p:cNvSpPr txBox="1"/>
          <p:nvPr/>
        </p:nvSpPr>
        <p:spPr>
          <a:xfrm>
            <a:off x="3823780" y="4171331"/>
            <a:ext cx="1520679" cy="253916"/>
          </a:xfrm>
          <a:prstGeom prst="rect">
            <a:avLst/>
          </a:prstGeom>
          <a:noFill/>
        </p:spPr>
        <p:txBody>
          <a:bodyPr wrap="square">
            <a:spAutoFit/>
          </a:bodyPr>
          <a:lstStyle/>
          <a:p>
            <a:pPr defTabSz="685800">
              <a:buClr>
                <a:srgbClr val="000000"/>
              </a:buClr>
            </a:pPr>
            <a:r>
              <a:rPr lang="en-IE" sz="1050" b="1" kern="0">
                <a:solidFill>
                  <a:srgbClr val="000000"/>
                </a:solidFill>
                <a:latin typeface="Arial"/>
                <a:cs typeface="Arial"/>
                <a:sym typeface="Arial"/>
              </a:rPr>
              <a:t>Data models</a:t>
            </a:r>
            <a:endParaRPr lang="en-IE" sz="1050" kern="0">
              <a:solidFill>
                <a:srgbClr val="000000"/>
              </a:solidFill>
              <a:latin typeface="Arial"/>
              <a:cs typeface="Arial"/>
              <a:sym typeface="Arial"/>
            </a:endParaRPr>
          </a:p>
        </p:txBody>
      </p:sp>
    </p:spTree>
    <p:extLst>
      <p:ext uri="{BB962C8B-B14F-4D97-AF65-F5344CB8AC3E}">
        <p14:creationId xmlns:p14="http://schemas.microsoft.com/office/powerpoint/2010/main" val="143503152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7D4F8D5-1D3F-90AD-F7E6-B47BEB356C41}"/>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7892895A-56AD-35C2-7079-CF9517F91097}"/>
              </a:ext>
            </a:extLst>
          </p:cNvPr>
          <p:cNvSpPr>
            <a:spLocks noGrp="1"/>
          </p:cNvSpPr>
          <p:nvPr>
            <p:ph type="ctrTitle"/>
          </p:nvPr>
        </p:nvSpPr>
        <p:spPr/>
        <p:txBody>
          <a:bodyPr/>
          <a:lstStyle/>
          <a:p>
            <a:r>
              <a:rPr lang="en-IE"/>
              <a:t>Health Data Space</a:t>
            </a:r>
            <a:endParaRPr lang="en-LU"/>
          </a:p>
        </p:txBody>
      </p:sp>
      <p:sp>
        <p:nvSpPr>
          <p:cNvPr id="3" name="Subtitle 2">
            <a:extLst>
              <a:ext uri="{FF2B5EF4-FFF2-40B4-BE49-F238E27FC236}">
                <a16:creationId xmlns:a16="http://schemas.microsoft.com/office/drawing/2014/main" id="{04C16B64-22EC-9A4C-41E8-CB9D466B2D1D}"/>
              </a:ext>
            </a:extLst>
          </p:cNvPr>
          <p:cNvSpPr>
            <a:spLocks noGrp="1"/>
          </p:cNvSpPr>
          <p:nvPr>
            <p:ph type="subTitle" idx="1"/>
          </p:nvPr>
        </p:nvSpPr>
        <p:spPr/>
        <p:txBody>
          <a:bodyPr vert="horz" lIns="91440" tIns="45720" rIns="91440" bIns="45720" rtlCol="0" anchor="t">
            <a:normAutofit/>
          </a:bodyPr>
          <a:lstStyle/>
          <a:p>
            <a:r>
              <a:rPr lang="en-IE">
                <a:ea typeface="Calibri"/>
                <a:cs typeface="Calibri"/>
              </a:rPr>
              <a:t>Natalia ZYLINSKA-PUTA </a:t>
            </a:r>
            <a:endParaRPr lang="en-US"/>
          </a:p>
        </p:txBody>
      </p:sp>
      <p:sp>
        <p:nvSpPr>
          <p:cNvPr id="4" name="Text Placeholder 3">
            <a:extLst>
              <a:ext uri="{FF2B5EF4-FFF2-40B4-BE49-F238E27FC236}">
                <a16:creationId xmlns:a16="http://schemas.microsoft.com/office/drawing/2014/main" id="{E6235AF5-3CC0-A845-EDF3-02A7086CC0D1}"/>
              </a:ext>
            </a:extLst>
          </p:cNvPr>
          <p:cNvSpPr>
            <a:spLocks noGrp="1"/>
          </p:cNvSpPr>
          <p:nvPr>
            <p:ph type="body" sz="quarter" idx="13"/>
          </p:nvPr>
        </p:nvSpPr>
        <p:spPr/>
        <p:txBody>
          <a:bodyPr/>
          <a:lstStyle/>
          <a:p>
            <a:endParaRPr lang="en-LU"/>
          </a:p>
        </p:txBody>
      </p:sp>
    </p:spTree>
    <p:extLst>
      <p:ext uri="{BB962C8B-B14F-4D97-AF65-F5344CB8AC3E}">
        <p14:creationId xmlns:p14="http://schemas.microsoft.com/office/powerpoint/2010/main" val="315279817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5DCF0E6D-DB7D-F499-6ECC-5EE6BE37BAA2}"/>
              </a:ext>
            </a:extLst>
          </p:cNvPr>
          <p:cNvSpPr txBox="1"/>
          <p:nvPr/>
        </p:nvSpPr>
        <p:spPr>
          <a:xfrm>
            <a:off x="2168259" y="338439"/>
            <a:ext cx="6606677" cy="461665"/>
          </a:xfrm>
          <a:prstGeom prst="rect">
            <a:avLst/>
          </a:prstGeom>
          <a:noFill/>
        </p:spPr>
        <p:txBody>
          <a:bodyPr wrap="square" rtlCol="0">
            <a:spAutoFit/>
          </a:bodyPr>
          <a:lstStyle/>
          <a:p>
            <a:pPr defTabSz="685800">
              <a:defRPr/>
            </a:pPr>
            <a:r>
              <a:rPr lang="en-IE" sz="2400" b="1">
                <a:solidFill>
                  <a:srgbClr val="001389"/>
                </a:solidFill>
                <a:latin typeface="Lato Black" panose="020F0502020204030203" pitchFamily="34" charset="0"/>
                <a:ea typeface="Lato Black" panose="020F0502020204030203" pitchFamily="34" charset="0"/>
                <a:cs typeface="Lato Black" panose="020F0502020204030203" pitchFamily="34" charset="0"/>
              </a:rPr>
              <a:t>European Health Data Space IT systems </a:t>
            </a:r>
            <a:endParaRPr lang="en-GB" sz="2400" b="1">
              <a:solidFill>
                <a:srgbClr val="001389"/>
              </a:solidFill>
              <a:latin typeface="Lato Black" panose="020F0502020204030203" pitchFamily="34" charset="0"/>
              <a:ea typeface="Lato Black" panose="020F0502020204030203" pitchFamily="34" charset="0"/>
              <a:cs typeface="Lato Black" panose="020F0502020204030203" pitchFamily="34" charset="0"/>
            </a:endParaRPr>
          </a:p>
        </p:txBody>
      </p:sp>
      <p:graphicFrame>
        <p:nvGraphicFramePr>
          <p:cNvPr id="8" name="Table 7">
            <a:extLst>
              <a:ext uri="{FF2B5EF4-FFF2-40B4-BE49-F238E27FC236}">
                <a16:creationId xmlns:a16="http://schemas.microsoft.com/office/drawing/2014/main" id="{41BFE075-BA49-50C2-0311-9E587EB67EFF}"/>
              </a:ext>
            </a:extLst>
          </p:cNvPr>
          <p:cNvGraphicFramePr>
            <a:graphicFrameLocks noGrp="1"/>
          </p:cNvGraphicFramePr>
          <p:nvPr>
            <p:extLst>
              <p:ext uri="{D42A27DB-BD31-4B8C-83A1-F6EECF244321}">
                <p14:modId xmlns:p14="http://schemas.microsoft.com/office/powerpoint/2010/main" val="663460501"/>
              </p:ext>
            </p:extLst>
          </p:nvPr>
        </p:nvGraphicFramePr>
        <p:xfrm>
          <a:off x="537429" y="989485"/>
          <a:ext cx="7724715" cy="3608070"/>
        </p:xfrm>
        <a:graphic>
          <a:graphicData uri="http://schemas.openxmlformats.org/drawingml/2006/table">
            <a:tbl>
              <a:tblPr firstRow="1" bandRow="1">
                <a:tableStyleId>{5940675A-B579-460E-94D1-54222C63F5DA}</a:tableStyleId>
              </a:tblPr>
              <a:tblGrid>
                <a:gridCol w="953567">
                  <a:extLst>
                    <a:ext uri="{9D8B030D-6E8A-4147-A177-3AD203B41FA5}">
                      <a16:colId xmlns:a16="http://schemas.microsoft.com/office/drawing/2014/main" val="334848159"/>
                    </a:ext>
                  </a:extLst>
                </a:gridCol>
                <a:gridCol w="2101949">
                  <a:extLst>
                    <a:ext uri="{9D8B030D-6E8A-4147-A177-3AD203B41FA5}">
                      <a16:colId xmlns:a16="http://schemas.microsoft.com/office/drawing/2014/main" val="607023436"/>
                    </a:ext>
                  </a:extLst>
                </a:gridCol>
                <a:gridCol w="1138127">
                  <a:extLst>
                    <a:ext uri="{9D8B030D-6E8A-4147-A177-3AD203B41FA5}">
                      <a16:colId xmlns:a16="http://schemas.microsoft.com/office/drawing/2014/main" val="2949346495"/>
                    </a:ext>
                  </a:extLst>
                </a:gridCol>
                <a:gridCol w="3531072">
                  <a:extLst>
                    <a:ext uri="{9D8B030D-6E8A-4147-A177-3AD203B41FA5}">
                      <a16:colId xmlns:a16="http://schemas.microsoft.com/office/drawing/2014/main" val="511333144"/>
                    </a:ext>
                  </a:extLst>
                </a:gridCol>
              </a:tblGrid>
              <a:tr h="388620">
                <a:tc>
                  <a:txBody>
                    <a:bodyPr/>
                    <a:lstStyle/>
                    <a:p>
                      <a:pPr algn="ctr"/>
                      <a:r>
                        <a:rPr lang="en-IE" sz="1100" b="1"/>
                        <a:t>Domain</a:t>
                      </a:r>
                    </a:p>
                  </a:txBody>
                  <a:tcPr marL="68580" marR="68580" marT="34290" marB="34290" anchor="ctr"/>
                </a:tc>
                <a:tc>
                  <a:txBody>
                    <a:bodyPr/>
                    <a:lstStyle/>
                    <a:p>
                      <a:pPr algn="ctr"/>
                      <a:r>
                        <a:rPr lang="en-IE" sz="1100" b="1"/>
                        <a:t>Union systems</a:t>
                      </a:r>
                    </a:p>
                  </a:txBody>
                  <a:tcPr marL="68580" marR="68580" marT="34290" marB="34290" anchor="ctr"/>
                </a:tc>
                <a:tc>
                  <a:txBody>
                    <a:bodyPr/>
                    <a:lstStyle/>
                    <a:p>
                      <a:pPr algn="ctr"/>
                      <a:r>
                        <a:rPr lang="en-IE" sz="1100" b="1"/>
                        <a:t>Union systems Status</a:t>
                      </a:r>
                    </a:p>
                  </a:txBody>
                  <a:tcPr marL="68580" marR="68580" marT="34290" marB="34290" anchor="ctr"/>
                </a:tc>
                <a:tc>
                  <a:txBody>
                    <a:bodyPr/>
                    <a:lstStyle/>
                    <a:p>
                      <a:pPr algn="ctr"/>
                      <a:r>
                        <a:rPr lang="en-IE" sz="1100" b="1"/>
                        <a:t>National Governments systems</a:t>
                      </a:r>
                    </a:p>
                  </a:txBody>
                  <a:tcPr marL="68580" marR="68580" marT="34290" marB="34290" anchor="ctr"/>
                </a:tc>
                <a:extLst>
                  <a:ext uri="{0D108BD9-81ED-4DB2-BD59-A6C34878D82A}">
                    <a16:rowId xmlns:a16="http://schemas.microsoft.com/office/drawing/2014/main" val="3135022808"/>
                  </a:ext>
                </a:extLst>
              </a:tr>
              <a:tr h="388620">
                <a:tc rowSpan="4">
                  <a:txBody>
                    <a:bodyPr/>
                    <a:lstStyle/>
                    <a:p>
                      <a:pPr algn="ctr"/>
                      <a:r>
                        <a:rPr lang="en-IE" sz="1100" b="1"/>
                        <a:t>Primary</a:t>
                      </a:r>
                    </a:p>
                  </a:txBody>
                  <a:tcPr marL="68580" marR="68580" marT="34290" marB="34290" anchor="ctr"/>
                </a:tc>
                <a:tc>
                  <a:txBody>
                    <a:bodyPr/>
                    <a:lstStyle/>
                    <a:p>
                      <a:pPr algn="ctr"/>
                      <a:r>
                        <a:rPr lang="en-IE" sz="1100" b="1" kern="1200">
                          <a:solidFill>
                            <a:srgbClr val="00B0F0"/>
                          </a:solidFill>
                          <a:latin typeface="+mn-lt"/>
                          <a:ea typeface="+mn-ea"/>
                          <a:cs typeface="+mn-cs"/>
                        </a:rPr>
                        <a:t>Central Terminology System (</a:t>
                      </a:r>
                      <a:r>
                        <a:rPr lang="en-IE" sz="1100" b="1" kern="1200" err="1">
                          <a:solidFill>
                            <a:srgbClr val="00B0F0"/>
                          </a:solidFill>
                          <a:latin typeface="+mn-lt"/>
                          <a:ea typeface="+mn-ea"/>
                          <a:cs typeface="+mn-cs"/>
                        </a:rPr>
                        <a:t>eHDSI</a:t>
                      </a:r>
                      <a:r>
                        <a:rPr lang="en-IE" sz="1100" b="1" kern="1200">
                          <a:solidFill>
                            <a:srgbClr val="00B0F0"/>
                          </a:solidFill>
                          <a:latin typeface="+mn-lt"/>
                          <a:ea typeface="+mn-ea"/>
                          <a:cs typeface="+mn-cs"/>
                        </a:rPr>
                        <a:t>)</a:t>
                      </a:r>
                    </a:p>
                  </a:txBody>
                  <a:tcPr marL="68580" marR="68580" marT="34290" marB="34290" anchor="ctr"/>
                </a:tc>
                <a:tc>
                  <a:txBody>
                    <a:bodyPr/>
                    <a:lstStyle/>
                    <a:p>
                      <a:pPr algn="ctr"/>
                      <a:r>
                        <a:rPr lang="en-IE" sz="1100"/>
                        <a:t>In production</a:t>
                      </a:r>
                    </a:p>
                  </a:txBody>
                  <a:tcPr marL="68580" marR="68580" marT="34290" marB="34290" anchor="ctr">
                    <a:solidFill>
                      <a:srgbClr val="92D050"/>
                    </a:solidFill>
                  </a:tcPr>
                </a:tc>
                <a:tc>
                  <a:txBody>
                    <a:bodyPr/>
                    <a:lstStyle/>
                    <a:p>
                      <a:pPr algn="ctr"/>
                      <a:r>
                        <a:rPr lang="en-IE" sz="1100"/>
                        <a:t>N/A</a:t>
                      </a:r>
                    </a:p>
                  </a:txBody>
                  <a:tcPr marL="68580" marR="68580" marT="34290" marB="34290" anchor="ctr"/>
                </a:tc>
                <a:extLst>
                  <a:ext uri="{0D108BD9-81ED-4DB2-BD59-A6C34878D82A}">
                    <a16:rowId xmlns:a16="http://schemas.microsoft.com/office/drawing/2014/main" val="2816689209"/>
                  </a:ext>
                </a:extLst>
              </a:tr>
              <a:tr h="388620">
                <a:tc vMerge="1">
                  <a:txBody>
                    <a:bodyPr/>
                    <a:lstStyle/>
                    <a:p>
                      <a:endParaRPr lang="en-IE"/>
                    </a:p>
                  </a:txBody>
                  <a:tcPr/>
                </a:tc>
                <a:tc>
                  <a:txBody>
                    <a:bodyPr/>
                    <a:lstStyle/>
                    <a:p>
                      <a:pPr algn="ctr"/>
                      <a:r>
                        <a:rPr lang="en-IE" sz="1100" b="1" kern="1200">
                          <a:solidFill>
                            <a:srgbClr val="00B0F0"/>
                          </a:solidFill>
                          <a:latin typeface="+mn-lt"/>
                          <a:ea typeface="+mn-ea"/>
                          <a:cs typeface="+mn-cs"/>
                        </a:rPr>
                        <a:t>Reference implementation of NCP (</a:t>
                      </a:r>
                      <a:r>
                        <a:rPr lang="en-IE" sz="1100" b="1" kern="1200" err="1">
                          <a:solidFill>
                            <a:srgbClr val="00B0F0"/>
                          </a:solidFill>
                          <a:latin typeface="+mn-lt"/>
                          <a:ea typeface="+mn-ea"/>
                          <a:cs typeface="+mn-cs"/>
                        </a:rPr>
                        <a:t>eHDSI</a:t>
                      </a:r>
                      <a:r>
                        <a:rPr lang="en-IE" sz="1100" b="1" kern="1200">
                          <a:solidFill>
                            <a:srgbClr val="00B0F0"/>
                          </a:solidFill>
                          <a:latin typeface="+mn-lt"/>
                          <a:ea typeface="+mn-ea"/>
                          <a:cs typeface="+mn-cs"/>
                        </a:rPr>
                        <a:t>)</a:t>
                      </a:r>
                    </a:p>
                  </a:txBody>
                  <a:tcPr marL="68580" marR="68580" marT="34290" marB="34290" anchor="ctr"/>
                </a:tc>
                <a:tc>
                  <a:txBody>
                    <a:bodyPr/>
                    <a:lstStyle/>
                    <a:p>
                      <a:pPr algn="ctr"/>
                      <a:r>
                        <a:rPr lang="en-IE" sz="1100"/>
                        <a:t>Delivered</a:t>
                      </a:r>
                    </a:p>
                  </a:txBody>
                  <a:tcPr marL="68580" marR="68580" marT="34290" marB="34290" anchor="ctr">
                    <a:solidFill>
                      <a:srgbClr val="92D050"/>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IE" sz="1100"/>
                        <a:t>eHealth National Contact Point in every Member State</a:t>
                      </a:r>
                    </a:p>
                    <a:p>
                      <a:pPr marL="0" marR="0" lvl="0" indent="0" algn="ctr" defTabSz="914400" rtl="0" eaLnBrk="1" fontAlgn="auto" latinLnBrk="0" hangingPunct="1">
                        <a:lnSpc>
                          <a:spcPct val="100000"/>
                        </a:lnSpc>
                        <a:spcBef>
                          <a:spcPts val="0"/>
                        </a:spcBef>
                        <a:spcAft>
                          <a:spcPts val="0"/>
                        </a:spcAft>
                        <a:buClrTx/>
                        <a:buSzTx/>
                        <a:buFontTx/>
                        <a:buNone/>
                        <a:tabLst/>
                        <a:defRPr/>
                      </a:pPr>
                      <a:r>
                        <a:rPr lang="en-IE" sz="1100"/>
                        <a:t>To be operational the latest as </a:t>
                      </a:r>
                      <a:r>
                        <a:rPr lang="en-IE" sz="1100" b="1"/>
                        <a:t>from 2029</a:t>
                      </a:r>
                    </a:p>
                  </a:txBody>
                  <a:tcPr marL="68580" marR="68580" marT="34290" marB="34290" anchor="ctr">
                    <a:solidFill>
                      <a:srgbClr val="C5E3F1"/>
                    </a:solidFill>
                  </a:tcPr>
                </a:tc>
                <a:extLst>
                  <a:ext uri="{0D108BD9-81ED-4DB2-BD59-A6C34878D82A}">
                    <a16:rowId xmlns:a16="http://schemas.microsoft.com/office/drawing/2014/main" val="692772649"/>
                  </a:ext>
                </a:extLst>
              </a:tr>
              <a:tr h="548640">
                <a:tc vMerge="1">
                  <a:txBody>
                    <a:bodyPr/>
                    <a:lstStyle/>
                    <a:p>
                      <a:endParaRPr lang="en-IE"/>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1" kern="1200">
                          <a:solidFill>
                            <a:srgbClr val="00B0F0"/>
                          </a:solidFill>
                          <a:latin typeface="+mn-lt"/>
                          <a:ea typeface="+mn-ea"/>
                          <a:cs typeface="+mn-cs"/>
                        </a:rPr>
                        <a:t>EU Database of EHR systems and wellness applications</a:t>
                      </a:r>
                    </a:p>
                  </a:txBody>
                  <a:tcPr marL="68580" marR="68580" marT="34290" marB="3429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kern="1200">
                          <a:solidFill>
                            <a:schemeClr val="tx1"/>
                          </a:solidFill>
                          <a:latin typeface="+mn-lt"/>
                          <a:ea typeface="+mn-ea"/>
                          <a:cs typeface="+mn-cs"/>
                        </a:rPr>
                        <a:t>In progress </a:t>
                      </a:r>
                    </a:p>
                    <a:p>
                      <a:pPr algn="ctr"/>
                      <a:r>
                        <a:rPr lang="en-IE" sz="1100" kern="1200">
                          <a:solidFill>
                            <a:schemeClr val="tx1"/>
                          </a:solidFill>
                          <a:latin typeface="+mn-lt"/>
                          <a:ea typeface="+mn-ea"/>
                          <a:cs typeface="+mn-cs"/>
                        </a:rPr>
                        <a:t>Production as </a:t>
                      </a:r>
                      <a:r>
                        <a:rPr lang="en-IE" sz="1100" b="1" kern="1200">
                          <a:solidFill>
                            <a:schemeClr val="tx1"/>
                          </a:solidFill>
                          <a:latin typeface="+mn-lt"/>
                          <a:ea typeface="+mn-ea"/>
                          <a:cs typeface="+mn-cs"/>
                        </a:rPr>
                        <a:t>from 2027</a:t>
                      </a:r>
                    </a:p>
                  </a:txBody>
                  <a:tcPr marL="68580" marR="68580" marT="34290" marB="34290" anchor="ctr">
                    <a:solidFill>
                      <a:srgbClr val="FFFF00"/>
                    </a:solidFill>
                  </a:tcPr>
                </a:tc>
                <a:tc>
                  <a:txBody>
                    <a:bodyPr/>
                    <a:lstStyle/>
                    <a:p>
                      <a:pPr algn="ctr"/>
                      <a:r>
                        <a:rPr lang="en-IE" sz="1100"/>
                        <a:t>N/A</a:t>
                      </a:r>
                      <a:endParaRPr lang="en-IE" sz="1100" b="1"/>
                    </a:p>
                  </a:txBody>
                  <a:tcPr marL="68580" marR="68580" marT="34290" marB="34290" anchor="ctr"/>
                </a:tc>
                <a:extLst>
                  <a:ext uri="{0D108BD9-81ED-4DB2-BD59-A6C34878D82A}">
                    <a16:rowId xmlns:a16="http://schemas.microsoft.com/office/drawing/2014/main" val="4260581401"/>
                  </a:ext>
                </a:extLst>
              </a:tr>
              <a:tr h="548640">
                <a:tc vMerge="1">
                  <a:txBody>
                    <a:bodyPr/>
                    <a:lstStyle/>
                    <a:p>
                      <a:endParaRPr lang="en-IE"/>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1" kern="1200">
                          <a:solidFill>
                            <a:srgbClr val="00B0F0"/>
                          </a:solidFill>
                          <a:latin typeface="+mn-lt"/>
                          <a:ea typeface="+mn-ea"/>
                          <a:cs typeface="+mn-cs"/>
                        </a:rPr>
                        <a:t>European Digital Testing Environment</a:t>
                      </a:r>
                    </a:p>
                  </a:txBody>
                  <a:tcPr marL="68580" marR="68580" marT="34290" marB="3429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kern="1200">
                          <a:solidFill>
                            <a:schemeClr val="tx1"/>
                          </a:solidFill>
                          <a:latin typeface="+mn-lt"/>
                          <a:ea typeface="+mn-ea"/>
                          <a:cs typeface="+mn-cs"/>
                        </a:rPr>
                        <a:t>In progress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kern="1200">
                          <a:solidFill>
                            <a:schemeClr val="tx1"/>
                          </a:solidFill>
                          <a:latin typeface="+mn-lt"/>
                          <a:ea typeface="+mn-ea"/>
                          <a:cs typeface="+mn-cs"/>
                        </a:rPr>
                        <a:t>To be delivered in </a:t>
                      </a:r>
                      <a:r>
                        <a:rPr lang="en-US" sz="1100" b="1" kern="1200">
                          <a:solidFill>
                            <a:schemeClr val="tx1"/>
                          </a:solidFill>
                          <a:latin typeface="+mn-lt"/>
                          <a:ea typeface="+mn-ea"/>
                          <a:cs typeface="+mn-cs"/>
                        </a:rPr>
                        <a:t>2027</a:t>
                      </a:r>
                    </a:p>
                  </a:txBody>
                  <a:tcPr marL="68580" marR="68580" marT="34290" marB="34290" anchor="ctr">
                    <a:solidFill>
                      <a:srgbClr val="FFFF00"/>
                    </a:solidFill>
                  </a:tcPr>
                </a:tc>
                <a:tc>
                  <a:txBody>
                    <a:bodyPr/>
                    <a:lstStyle/>
                    <a:p>
                      <a:pPr algn="ctr"/>
                      <a:r>
                        <a:rPr lang="en-IE" sz="1100"/>
                        <a:t>Digital Testing Environment in every Member State</a:t>
                      </a:r>
                    </a:p>
                    <a:p>
                      <a:pPr algn="ctr"/>
                      <a:r>
                        <a:rPr lang="en-IE" sz="1100"/>
                        <a:t>To be in operation as </a:t>
                      </a:r>
                      <a:r>
                        <a:rPr lang="en-IE" sz="1100" b="1"/>
                        <a:t>from 2029</a:t>
                      </a:r>
                    </a:p>
                  </a:txBody>
                  <a:tcPr marL="68580" marR="68580" marT="34290" marB="34290" anchor="ctr">
                    <a:solidFill>
                      <a:srgbClr val="C5E3F1"/>
                    </a:solidFill>
                  </a:tcPr>
                </a:tc>
                <a:extLst>
                  <a:ext uri="{0D108BD9-81ED-4DB2-BD59-A6C34878D82A}">
                    <a16:rowId xmlns:a16="http://schemas.microsoft.com/office/drawing/2014/main" val="3305835406"/>
                  </a:ext>
                </a:extLst>
              </a:tr>
              <a:tr h="548640">
                <a:tc rowSpan="3">
                  <a:txBody>
                    <a:bodyPr/>
                    <a:lstStyle/>
                    <a:p>
                      <a:pPr algn="ctr"/>
                      <a:r>
                        <a:rPr lang="en-IE" sz="1100" b="1"/>
                        <a:t>Secondary</a:t>
                      </a:r>
                    </a:p>
                  </a:txBody>
                  <a:tcPr marL="68580" marR="68580" marT="34290" marB="34290" anchor="ctr"/>
                </a:tc>
                <a:tc>
                  <a:txBody>
                    <a:bodyPr/>
                    <a:lstStyle/>
                    <a:p>
                      <a:pPr marL="0" algn="ctr" defTabSz="914400" rtl="0" eaLnBrk="1" latinLnBrk="0" hangingPunct="1"/>
                      <a:r>
                        <a:rPr lang="en-IE" sz="1100" b="1" kern="1200">
                          <a:solidFill>
                            <a:srgbClr val="00B0F0"/>
                          </a:solidFill>
                          <a:latin typeface="+mn-lt"/>
                          <a:ea typeface="+mn-ea"/>
                          <a:cs typeface="+mn-cs"/>
                        </a:rPr>
                        <a:t>HealthData@EU Central Platform</a:t>
                      </a:r>
                    </a:p>
                  </a:txBody>
                  <a:tcPr marL="68580" marR="68580" marT="34290" marB="34290" anchor="ctr"/>
                </a:tc>
                <a:tc>
                  <a:txBody>
                    <a:bodyPr/>
                    <a:lstStyle/>
                    <a:p>
                      <a:pPr algn="ctr"/>
                      <a:r>
                        <a:rPr lang="en-IE" sz="1100" kern="1200">
                          <a:solidFill>
                            <a:schemeClr val="tx1"/>
                          </a:solidFill>
                          <a:latin typeface="+mn-lt"/>
                          <a:ea typeface="+mn-ea"/>
                          <a:cs typeface="+mn-cs"/>
                        </a:rPr>
                        <a:t>In progress</a:t>
                      </a:r>
                    </a:p>
                    <a:p>
                      <a:pPr algn="ctr"/>
                      <a:r>
                        <a:rPr lang="en-IE" sz="1100" kern="1200">
                          <a:solidFill>
                            <a:schemeClr val="tx1"/>
                          </a:solidFill>
                          <a:latin typeface="+mn-lt"/>
                          <a:ea typeface="+mn-ea"/>
                          <a:cs typeface="+mn-cs"/>
                        </a:rPr>
                        <a:t>Production as </a:t>
                      </a:r>
                      <a:r>
                        <a:rPr lang="en-IE" sz="1100" b="1" kern="1200">
                          <a:solidFill>
                            <a:schemeClr val="tx1"/>
                          </a:solidFill>
                          <a:latin typeface="+mn-lt"/>
                          <a:ea typeface="+mn-ea"/>
                          <a:cs typeface="+mn-cs"/>
                        </a:rPr>
                        <a:t>from 2027</a:t>
                      </a:r>
                    </a:p>
                  </a:txBody>
                  <a:tcPr marL="68580" marR="68580" marT="34290" marB="34290" anchor="ctr">
                    <a:solidFill>
                      <a:srgbClr val="FFFF00"/>
                    </a:solidFill>
                  </a:tcPr>
                </a:tc>
                <a:tc rowSpan="2">
                  <a:txBody>
                    <a:bodyPr/>
                    <a:lstStyle/>
                    <a:p>
                      <a:pPr algn="ctr"/>
                      <a:r>
                        <a:rPr lang="en-IE" sz="1100"/>
                        <a:t>Health Data Access Body Portal or other system</a:t>
                      </a:r>
                    </a:p>
                    <a:p>
                      <a:pPr marL="0" marR="0" lvl="0" indent="0" algn="ctr" defTabSz="914400" rtl="0" eaLnBrk="1" fontAlgn="auto" latinLnBrk="0" hangingPunct="1">
                        <a:lnSpc>
                          <a:spcPct val="100000"/>
                        </a:lnSpc>
                        <a:spcBef>
                          <a:spcPts val="0"/>
                        </a:spcBef>
                        <a:spcAft>
                          <a:spcPts val="0"/>
                        </a:spcAft>
                        <a:buClrTx/>
                        <a:buSzTx/>
                        <a:buFontTx/>
                        <a:buNone/>
                        <a:tabLst/>
                        <a:defRPr/>
                      </a:pPr>
                      <a:r>
                        <a:rPr lang="en-IE" sz="1100"/>
                        <a:t>To be operational at the latest as </a:t>
                      </a:r>
                      <a:r>
                        <a:rPr lang="en-IE" sz="1100" b="1"/>
                        <a:t>from 2029</a:t>
                      </a:r>
                    </a:p>
                  </a:txBody>
                  <a:tcPr marL="68580" marR="68580" marT="34290" marB="34290" anchor="ctr">
                    <a:solidFill>
                      <a:srgbClr val="C5E3F1"/>
                    </a:solidFill>
                  </a:tcPr>
                </a:tc>
                <a:extLst>
                  <a:ext uri="{0D108BD9-81ED-4DB2-BD59-A6C34878D82A}">
                    <a16:rowId xmlns:a16="http://schemas.microsoft.com/office/drawing/2014/main" val="4287274417"/>
                  </a:ext>
                </a:extLst>
              </a:tr>
              <a:tr h="278130">
                <a:tc vMerge="1">
                  <a:txBody>
                    <a:bodyPr/>
                    <a:lstStyle/>
                    <a:p>
                      <a:endParaRPr lang="en-IE"/>
                    </a:p>
                  </a:txBody>
                  <a:tcPr/>
                </a:tc>
                <a:tc>
                  <a:txBody>
                    <a:bodyPr/>
                    <a:lstStyle/>
                    <a:p>
                      <a:pPr marL="0" algn="ctr" defTabSz="914400" rtl="0" eaLnBrk="1" latinLnBrk="0" hangingPunct="1"/>
                      <a:r>
                        <a:rPr lang="en-IE" sz="1100" b="1" kern="1200">
                          <a:solidFill>
                            <a:srgbClr val="00B0F0"/>
                          </a:solidFill>
                          <a:latin typeface="+mn-lt"/>
                          <a:ea typeface="+mn-ea"/>
                          <a:cs typeface="+mn-cs"/>
                        </a:rPr>
                        <a:t>Union Data Access Service</a:t>
                      </a:r>
                    </a:p>
                  </a:txBody>
                  <a:tcPr marL="68580" marR="68580" marT="34290" marB="34290" anchor="ctr"/>
                </a:tc>
                <a:tc row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IE" sz="1100" kern="1200">
                          <a:solidFill>
                            <a:schemeClr val="tx1"/>
                          </a:solidFill>
                          <a:latin typeface="+mn-lt"/>
                          <a:ea typeface="+mn-ea"/>
                          <a:cs typeface="+mn-cs"/>
                        </a:rPr>
                        <a:t>In planning</a:t>
                      </a:r>
                    </a:p>
                    <a:p>
                      <a:pPr marL="0" marR="0" lvl="0" indent="0" algn="ctr" defTabSz="914400" rtl="0" eaLnBrk="1" fontAlgn="auto" latinLnBrk="0" hangingPunct="1">
                        <a:lnSpc>
                          <a:spcPct val="100000"/>
                        </a:lnSpc>
                        <a:spcBef>
                          <a:spcPts val="0"/>
                        </a:spcBef>
                        <a:spcAft>
                          <a:spcPts val="0"/>
                        </a:spcAft>
                        <a:buClrTx/>
                        <a:buSzTx/>
                        <a:buFontTx/>
                        <a:buNone/>
                        <a:tabLst/>
                        <a:defRPr/>
                      </a:pPr>
                      <a:r>
                        <a:rPr lang="en-IE" sz="1100" kern="1200">
                          <a:solidFill>
                            <a:schemeClr val="tx1"/>
                          </a:solidFill>
                          <a:latin typeface="+mn-lt"/>
                          <a:ea typeface="+mn-ea"/>
                          <a:cs typeface="+mn-cs"/>
                        </a:rPr>
                        <a:t>Operations as </a:t>
                      </a:r>
                      <a:r>
                        <a:rPr lang="en-IE" sz="1100" b="1" kern="1200">
                          <a:solidFill>
                            <a:schemeClr val="tx1"/>
                          </a:solidFill>
                          <a:latin typeface="+mn-lt"/>
                          <a:ea typeface="+mn-ea"/>
                          <a:cs typeface="+mn-cs"/>
                        </a:rPr>
                        <a:t>from 2029</a:t>
                      </a:r>
                    </a:p>
                  </a:txBody>
                  <a:tcPr marL="68580" marR="68580" marT="34290" marB="34290" anchor="ctr"/>
                </a:tc>
                <a:tc vMerge="1">
                  <a:txBody>
                    <a:bodyPr/>
                    <a:lstStyle/>
                    <a:p>
                      <a:endParaRPr lang="en-IE"/>
                    </a:p>
                  </a:txBody>
                  <a:tcPr/>
                </a:tc>
                <a:extLst>
                  <a:ext uri="{0D108BD9-81ED-4DB2-BD59-A6C34878D82A}">
                    <a16:rowId xmlns:a16="http://schemas.microsoft.com/office/drawing/2014/main" val="1971706057"/>
                  </a:ext>
                </a:extLst>
              </a:tr>
              <a:tr h="388620">
                <a:tc vMerge="1">
                  <a:txBody>
                    <a:bodyPr/>
                    <a:lstStyle/>
                    <a:p>
                      <a:endParaRPr lang="en-IE"/>
                    </a:p>
                  </a:txBody>
                  <a:tcPr/>
                </a:tc>
                <a:tc>
                  <a:txBody>
                    <a:bodyPr/>
                    <a:lstStyle/>
                    <a:p>
                      <a:pPr marL="0" algn="ctr" defTabSz="914400" rtl="0" eaLnBrk="1" latinLnBrk="0" hangingPunct="1"/>
                      <a:r>
                        <a:rPr lang="en-IE" sz="1100" b="1" kern="1200">
                          <a:solidFill>
                            <a:srgbClr val="00B0F0"/>
                          </a:solidFill>
                          <a:latin typeface="+mn-lt"/>
                          <a:ea typeface="+mn-ea"/>
                          <a:cs typeface="+mn-cs"/>
                        </a:rPr>
                        <a:t>Union Secure Processing Environment</a:t>
                      </a:r>
                    </a:p>
                  </a:txBody>
                  <a:tcPr marL="68580" marR="68580" marT="34290" marB="34290" anchor="ctr"/>
                </a:tc>
                <a:tc vMerge="1">
                  <a:txBody>
                    <a:bodyPr/>
                    <a:lstStyle/>
                    <a:p>
                      <a:pPr algn="ctr"/>
                      <a:endParaRPr lang="en-IE" sz="1600"/>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IE" sz="1100"/>
                        <a:t>Secure Processing Environment in each country</a:t>
                      </a:r>
                    </a:p>
                    <a:p>
                      <a:pPr marL="0" marR="0" lvl="0" indent="0" algn="ctr" defTabSz="914400" rtl="0" eaLnBrk="1" fontAlgn="auto" latinLnBrk="0" hangingPunct="1">
                        <a:lnSpc>
                          <a:spcPct val="100000"/>
                        </a:lnSpc>
                        <a:spcBef>
                          <a:spcPts val="0"/>
                        </a:spcBef>
                        <a:spcAft>
                          <a:spcPts val="0"/>
                        </a:spcAft>
                        <a:buClrTx/>
                        <a:buSzTx/>
                        <a:buFontTx/>
                        <a:buNone/>
                        <a:tabLst/>
                        <a:defRPr/>
                      </a:pPr>
                      <a:r>
                        <a:rPr lang="en-IE" sz="1100"/>
                        <a:t>To be operational at the latest as </a:t>
                      </a:r>
                      <a:r>
                        <a:rPr lang="en-IE" sz="1100" b="1"/>
                        <a:t>from 2029</a:t>
                      </a:r>
                    </a:p>
                  </a:txBody>
                  <a:tcPr marL="68580" marR="68580" marT="34290" marB="34290" anchor="ctr">
                    <a:solidFill>
                      <a:srgbClr val="C5E3F1"/>
                    </a:solidFill>
                  </a:tcPr>
                </a:tc>
                <a:extLst>
                  <a:ext uri="{0D108BD9-81ED-4DB2-BD59-A6C34878D82A}">
                    <a16:rowId xmlns:a16="http://schemas.microsoft.com/office/drawing/2014/main" val="1369404105"/>
                  </a:ext>
                </a:extLst>
              </a:tr>
            </a:tbl>
          </a:graphicData>
        </a:graphic>
      </p:graphicFrame>
      <p:pic>
        <p:nvPicPr>
          <p:cNvPr id="9" name="Picture 8" descr="A logo with a heart and stars&#10;&#10;Description automatically generated">
            <a:extLst>
              <a:ext uri="{FF2B5EF4-FFF2-40B4-BE49-F238E27FC236}">
                <a16:creationId xmlns:a16="http://schemas.microsoft.com/office/drawing/2014/main" id="{DCCEFC91-0FBF-B095-3B22-8CF20F682BD0}"/>
              </a:ext>
            </a:extLst>
          </p:cNvPr>
          <p:cNvPicPr>
            <a:picLocks noChangeAspect="1"/>
          </p:cNvPicPr>
          <p:nvPr/>
        </p:nvPicPr>
        <p:blipFill>
          <a:blip r:embed="rId2"/>
          <a:stretch>
            <a:fillRect/>
          </a:stretch>
        </p:blipFill>
        <p:spPr>
          <a:xfrm>
            <a:off x="8368470" y="1421535"/>
            <a:ext cx="653095" cy="778446"/>
          </a:xfrm>
          <a:prstGeom prst="rect">
            <a:avLst/>
          </a:prstGeom>
        </p:spPr>
      </p:pic>
      <p:pic>
        <p:nvPicPr>
          <p:cNvPr id="10" name="Picture 9" descr="A logo with a heart and stars&#10;&#10;Description automatically generated">
            <a:extLst>
              <a:ext uri="{FF2B5EF4-FFF2-40B4-BE49-F238E27FC236}">
                <a16:creationId xmlns:a16="http://schemas.microsoft.com/office/drawing/2014/main" id="{D8B871AE-1F84-4432-3354-87AE4617462F}"/>
              </a:ext>
            </a:extLst>
          </p:cNvPr>
          <p:cNvPicPr>
            <a:picLocks noChangeAspect="1"/>
          </p:cNvPicPr>
          <p:nvPr/>
        </p:nvPicPr>
        <p:blipFill>
          <a:blip r:embed="rId3"/>
          <a:stretch>
            <a:fillRect/>
          </a:stretch>
        </p:blipFill>
        <p:spPr>
          <a:xfrm>
            <a:off x="8368470" y="3605270"/>
            <a:ext cx="594549" cy="708663"/>
          </a:xfrm>
          <a:prstGeom prst="rect">
            <a:avLst/>
          </a:prstGeom>
        </p:spPr>
      </p:pic>
      <p:pic>
        <p:nvPicPr>
          <p:cNvPr id="20" name="Picture 19">
            <a:extLst>
              <a:ext uri="{FF2B5EF4-FFF2-40B4-BE49-F238E27FC236}">
                <a16:creationId xmlns:a16="http://schemas.microsoft.com/office/drawing/2014/main" id="{EC2E1732-F736-6444-E6B3-57F3B6B0B6F9}"/>
              </a:ext>
            </a:extLst>
          </p:cNvPr>
          <p:cNvPicPr>
            <a:picLocks noChangeAspect="1"/>
          </p:cNvPicPr>
          <p:nvPr/>
        </p:nvPicPr>
        <p:blipFill>
          <a:blip r:embed="rId4"/>
          <a:stretch>
            <a:fillRect/>
          </a:stretch>
        </p:blipFill>
        <p:spPr>
          <a:xfrm>
            <a:off x="0" y="775802"/>
            <a:ext cx="9144000" cy="3991192"/>
          </a:xfrm>
          <a:prstGeom prst="rect">
            <a:avLst/>
          </a:prstGeom>
        </p:spPr>
      </p:pic>
    </p:spTree>
    <p:extLst>
      <p:ext uri="{BB962C8B-B14F-4D97-AF65-F5344CB8AC3E}">
        <p14:creationId xmlns:p14="http://schemas.microsoft.com/office/powerpoint/2010/main" val="176853317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9"/>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0"/>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0" presetClass="entr" presetSubtype="0" fill="hold" nodeType="clickEffect">
                                  <p:stCondLst>
                                    <p:cond delay="0"/>
                                  </p:stCondLst>
                                  <p:childTnLst>
                                    <p:set>
                                      <p:cBhvr>
                                        <p:cTn id="18" dur="1" fill="hold">
                                          <p:stCondLst>
                                            <p:cond delay="0"/>
                                          </p:stCondLst>
                                        </p:cTn>
                                        <p:tgtEl>
                                          <p:spTgt spid="20"/>
                                        </p:tgtEl>
                                        <p:attrNameLst>
                                          <p:attrName>style.visibility</p:attrName>
                                        </p:attrNameLst>
                                      </p:cBhvr>
                                      <p:to>
                                        <p:strVal val="visible"/>
                                      </p:to>
                                    </p:set>
                                    <p:animEffect transition="in" filter="fade">
                                      <p:cBhvr>
                                        <p:cTn id="19" dur="500"/>
                                        <p:tgtEl>
                                          <p:spTgt spid="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6" name="Group 45">
            <a:extLst>
              <a:ext uri="{FF2B5EF4-FFF2-40B4-BE49-F238E27FC236}">
                <a16:creationId xmlns:a16="http://schemas.microsoft.com/office/drawing/2014/main" id="{B3FB910E-3E78-4D59-DA1D-ED51C7F7B917}"/>
              </a:ext>
            </a:extLst>
          </p:cNvPr>
          <p:cNvGrpSpPr/>
          <p:nvPr/>
        </p:nvGrpSpPr>
        <p:grpSpPr>
          <a:xfrm>
            <a:off x="1493316" y="1972736"/>
            <a:ext cx="972479" cy="736035"/>
            <a:chOff x="1991087" y="2630313"/>
            <a:chExt cx="1296639" cy="981379"/>
          </a:xfrm>
        </p:grpSpPr>
        <p:sp>
          <p:nvSpPr>
            <p:cNvPr id="15" name="TextBox 14">
              <a:extLst>
                <a:ext uri="{FF2B5EF4-FFF2-40B4-BE49-F238E27FC236}">
                  <a16:creationId xmlns:a16="http://schemas.microsoft.com/office/drawing/2014/main" id="{2CE15ED8-FDF9-A25D-8911-8F3D33CA754E}"/>
                </a:ext>
              </a:extLst>
            </p:cNvPr>
            <p:cNvSpPr txBox="1"/>
            <p:nvPr/>
          </p:nvSpPr>
          <p:spPr>
            <a:xfrm>
              <a:off x="1991087" y="3180805"/>
              <a:ext cx="1119754" cy="430887"/>
            </a:xfrm>
            <a:prstGeom prst="rect">
              <a:avLst/>
            </a:prstGeom>
            <a:noFill/>
            <a:ln>
              <a:noFill/>
              <a:prstDash val="solid"/>
            </a:ln>
            <a:effectLst>
              <a:outerShdw blurRad="50800" dist="38100" dir="2700000" algn="tl" rotWithShape="0">
                <a:prstClr val="black">
                  <a:alpha val="40000"/>
                </a:prstClr>
              </a:outerShdw>
            </a:effectLst>
          </p:spPr>
          <p:txBody>
            <a:bodyPr wrap="square" anchor="ctr">
              <a:spAutoFit/>
            </a:bodyPr>
            <a:lstStyle/>
            <a:p>
              <a:pPr algn="ctr" defTabSz="685800">
                <a:defRPr/>
              </a:pPr>
              <a:r>
                <a:rPr lang="en-GB" sz="750" b="1">
                  <a:solidFill>
                    <a:prstClr val="black"/>
                  </a:solidFill>
                  <a:latin typeface="Calibri" panose="020F0502020204030204"/>
                </a:rPr>
                <a:t>HealthData@EU</a:t>
              </a:r>
            </a:p>
            <a:p>
              <a:pPr algn="ctr" defTabSz="685800">
                <a:defRPr/>
              </a:pPr>
              <a:r>
                <a:rPr lang="en-GB" sz="750" b="1">
                  <a:solidFill>
                    <a:prstClr val="black"/>
                  </a:solidFill>
                  <a:latin typeface="Calibri" panose="020F0502020204030204"/>
                </a:rPr>
                <a:t>HDAB P</a:t>
              </a:r>
              <a:r>
                <a:rPr lang="en-GB" sz="750" b="1" err="1">
                  <a:solidFill>
                    <a:prstClr val="black"/>
                  </a:solidFill>
                  <a:latin typeface="Calibri" panose="020F0502020204030204"/>
                </a:rPr>
                <a:t>ortal</a:t>
              </a:r>
              <a:endParaRPr lang="en-GB" sz="750" b="1">
                <a:solidFill>
                  <a:prstClr val="black"/>
                </a:solidFill>
                <a:latin typeface="Calibri" panose="020F0502020204030204"/>
              </a:endParaRPr>
            </a:p>
          </p:txBody>
        </p:sp>
        <p:pic>
          <p:nvPicPr>
            <p:cNvPr id="43" name="Graphic 42" descr="Database outline">
              <a:extLst>
                <a:ext uri="{FF2B5EF4-FFF2-40B4-BE49-F238E27FC236}">
                  <a16:creationId xmlns:a16="http://schemas.microsoft.com/office/drawing/2014/main" id="{0DAD1D29-62EA-743B-BA0C-5E169BE3CA6F}"/>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2897621" y="2876856"/>
              <a:ext cx="390105" cy="390105"/>
            </a:xfrm>
            <a:prstGeom prst="rect">
              <a:avLst/>
            </a:prstGeom>
          </p:spPr>
        </p:pic>
        <p:pic>
          <p:nvPicPr>
            <p:cNvPr id="45" name="Graphic 44" descr="Cloud Computing outline">
              <a:extLst>
                <a:ext uri="{FF2B5EF4-FFF2-40B4-BE49-F238E27FC236}">
                  <a16:creationId xmlns:a16="http://schemas.microsoft.com/office/drawing/2014/main" id="{AC16406A-1104-460A-198E-4B489436489F}"/>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2299539" y="2630313"/>
              <a:ext cx="710327" cy="710327"/>
            </a:xfrm>
            <a:prstGeom prst="rect">
              <a:avLst/>
            </a:prstGeom>
          </p:spPr>
        </p:pic>
      </p:grpSp>
      <p:grpSp>
        <p:nvGrpSpPr>
          <p:cNvPr id="55" name="Group 54">
            <a:extLst>
              <a:ext uri="{FF2B5EF4-FFF2-40B4-BE49-F238E27FC236}">
                <a16:creationId xmlns:a16="http://schemas.microsoft.com/office/drawing/2014/main" id="{8D182FDF-A21B-75F6-442E-BE00BC73C5C2}"/>
              </a:ext>
            </a:extLst>
          </p:cNvPr>
          <p:cNvGrpSpPr/>
          <p:nvPr/>
        </p:nvGrpSpPr>
        <p:grpSpPr>
          <a:xfrm>
            <a:off x="2793920" y="2743345"/>
            <a:ext cx="956225" cy="1046699"/>
            <a:chOff x="3725225" y="3657795"/>
            <a:chExt cx="1274967" cy="1395599"/>
          </a:xfrm>
        </p:grpSpPr>
        <p:sp>
          <p:nvSpPr>
            <p:cNvPr id="5" name="TextBox 4">
              <a:extLst>
                <a:ext uri="{FF2B5EF4-FFF2-40B4-BE49-F238E27FC236}">
                  <a16:creationId xmlns:a16="http://schemas.microsoft.com/office/drawing/2014/main" id="{5CFA95A9-74F7-B974-B06C-92025894566B}"/>
                </a:ext>
              </a:extLst>
            </p:cNvPr>
            <p:cNvSpPr txBox="1"/>
            <p:nvPr/>
          </p:nvSpPr>
          <p:spPr>
            <a:xfrm rot="5400000">
              <a:off x="3985683" y="4038884"/>
              <a:ext cx="754052" cy="1274967"/>
            </a:xfrm>
            <a:prstGeom prst="rect">
              <a:avLst/>
            </a:prstGeom>
            <a:noFill/>
            <a:ln>
              <a:noFill/>
              <a:prstDash val="solid"/>
            </a:ln>
            <a:effectLst>
              <a:outerShdw blurRad="50800" dist="38100" dir="2700000" algn="tl" rotWithShape="0">
                <a:prstClr val="black">
                  <a:alpha val="40000"/>
                </a:prstClr>
              </a:outerShdw>
            </a:effectLst>
          </p:spPr>
          <p:txBody>
            <a:bodyPr vert="vert270" wrap="square">
              <a:spAutoFit/>
            </a:bodyPr>
            <a:lstStyle/>
            <a:p>
              <a:pPr algn="ctr" defTabSz="685800">
                <a:defRPr/>
              </a:pPr>
              <a:r>
                <a:rPr lang="en-GB" sz="825" b="1">
                  <a:solidFill>
                    <a:prstClr val="black"/>
                  </a:solidFill>
                  <a:latin typeface="Calibri" panose="020F0502020204030204"/>
                </a:rPr>
                <a:t>HealthData@EU</a:t>
              </a:r>
            </a:p>
            <a:p>
              <a:pPr algn="ctr" defTabSz="685800">
                <a:defRPr/>
              </a:pPr>
              <a:r>
                <a:rPr lang="en-GB" sz="825" b="1">
                  <a:solidFill>
                    <a:prstClr val="black"/>
                  </a:solidFill>
                  <a:latin typeface="Calibri" panose="020F0502020204030204"/>
                </a:rPr>
                <a:t>HDAB Coordinator Portal</a:t>
              </a:r>
              <a:endParaRPr lang="en-GB" sz="825" b="1">
                <a:solidFill>
                  <a:prstClr val="black"/>
                </a:solidFill>
                <a:latin typeface="Calibri" panose="020F0502020204030204" pitchFamily="34" charset="0"/>
                <a:cs typeface="Calibri" panose="020F0502020204030204" pitchFamily="34" charset="0"/>
              </a:endParaRPr>
            </a:p>
          </p:txBody>
        </p:sp>
        <p:pic>
          <p:nvPicPr>
            <p:cNvPr id="7" name="Graphic 6" descr="Cloud Computing with solid fill">
              <a:extLst>
                <a:ext uri="{FF2B5EF4-FFF2-40B4-BE49-F238E27FC236}">
                  <a16:creationId xmlns:a16="http://schemas.microsoft.com/office/drawing/2014/main" id="{BB2D0B36-A7B5-A2EA-96C3-8DD1AFC91256}"/>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4101526" y="3657795"/>
              <a:ext cx="710327" cy="710327"/>
            </a:xfrm>
            <a:prstGeom prst="rect">
              <a:avLst/>
            </a:prstGeom>
          </p:spPr>
        </p:pic>
        <p:pic>
          <p:nvPicPr>
            <p:cNvPr id="8" name="Graphic 7" descr="Database outline">
              <a:extLst>
                <a:ext uri="{FF2B5EF4-FFF2-40B4-BE49-F238E27FC236}">
                  <a16:creationId xmlns:a16="http://schemas.microsoft.com/office/drawing/2014/main" id="{96673AE6-FEEE-D28E-528F-4A796BC49943}"/>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3824295" y="4039895"/>
              <a:ext cx="390105" cy="390105"/>
            </a:xfrm>
            <a:prstGeom prst="rect">
              <a:avLst/>
            </a:prstGeom>
          </p:spPr>
        </p:pic>
      </p:grpSp>
      <p:grpSp>
        <p:nvGrpSpPr>
          <p:cNvPr id="47" name="Group 46">
            <a:extLst>
              <a:ext uri="{FF2B5EF4-FFF2-40B4-BE49-F238E27FC236}">
                <a16:creationId xmlns:a16="http://schemas.microsoft.com/office/drawing/2014/main" id="{44642580-D1D6-52BA-8ED3-F6B847BAF679}"/>
              </a:ext>
            </a:extLst>
          </p:cNvPr>
          <p:cNvGrpSpPr/>
          <p:nvPr/>
        </p:nvGrpSpPr>
        <p:grpSpPr>
          <a:xfrm>
            <a:off x="1508932" y="2823248"/>
            <a:ext cx="940463" cy="754578"/>
            <a:chOff x="2011909" y="3764333"/>
            <a:chExt cx="1253951" cy="1006105"/>
          </a:xfrm>
        </p:grpSpPr>
        <p:pic>
          <p:nvPicPr>
            <p:cNvPr id="10" name="Graphic 9" descr="Database outline">
              <a:extLst>
                <a:ext uri="{FF2B5EF4-FFF2-40B4-BE49-F238E27FC236}">
                  <a16:creationId xmlns:a16="http://schemas.microsoft.com/office/drawing/2014/main" id="{B56ED1D7-68F8-F7FA-CCF6-48673D0B83E3}"/>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2875755" y="4027424"/>
              <a:ext cx="390105" cy="390105"/>
            </a:xfrm>
            <a:prstGeom prst="rect">
              <a:avLst/>
            </a:prstGeom>
          </p:spPr>
        </p:pic>
        <p:pic>
          <p:nvPicPr>
            <p:cNvPr id="11" name="Graphic 10" descr="Cloud Computing outline">
              <a:extLst>
                <a:ext uri="{FF2B5EF4-FFF2-40B4-BE49-F238E27FC236}">
                  <a16:creationId xmlns:a16="http://schemas.microsoft.com/office/drawing/2014/main" id="{BD6F7770-8BB4-5C07-2C09-7A922455668C}"/>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2269756" y="3764333"/>
              <a:ext cx="710327" cy="710327"/>
            </a:xfrm>
            <a:prstGeom prst="rect">
              <a:avLst/>
            </a:prstGeom>
          </p:spPr>
        </p:pic>
        <p:sp>
          <p:nvSpPr>
            <p:cNvPr id="14" name="TextBox 13">
              <a:extLst>
                <a:ext uri="{FF2B5EF4-FFF2-40B4-BE49-F238E27FC236}">
                  <a16:creationId xmlns:a16="http://schemas.microsoft.com/office/drawing/2014/main" id="{FC00B51C-352E-4CA8-4955-711E500018FE}"/>
                </a:ext>
              </a:extLst>
            </p:cNvPr>
            <p:cNvSpPr txBox="1"/>
            <p:nvPr/>
          </p:nvSpPr>
          <p:spPr>
            <a:xfrm>
              <a:off x="2011909" y="4339551"/>
              <a:ext cx="1119754" cy="430887"/>
            </a:xfrm>
            <a:prstGeom prst="rect">
              <a:avLst/>
            </a:prstGeom>
            <a:noFill/>
            <a:ln>
              <a:noFill/>
              <a:prstDash val="solid"/>
            </a:ln>
            <a:effectLst>
              <a:outerShdw blurRad="50800" dist="38100" dir="2700000" algn="tl" rotWithShape="0">
                <a:prstClr val="black">
                  <a:alpha val="40000"/>
                </a:prstClr>
              </a:outerShdw>
            </a:effectLst>
          </p:spPr>
          <p:txBody>
            <a:bodyPr wrap="square" anchor="ctr">
              <a:spAutoFit/>
            </a:bodyPr>
            <a:lstStyle/>
            <a:p>
              <a:pPr algn="ctr" defTabSz="685800">
                <a:defRPr/>
              </a:pPr>
              <a:r>
                <a:rPr lang="en-GB" sz="750" b="1">
                  <a:solidFill>
                    <a:prstClr val="black"/>
                  </a:solidFill>
                  <a:latin typeface="Calibri" panose="020F0502020204030204"/>
                </a:rPr>
                <a:t>HealthData@EU</a:t>
              </a:r>
            </a:p>
            <a:p>
              <a:pPr algn="ctr" defTabSz="685800">
                <a:defRPr/>
              </a:pPr>
              <a:r>
                <a:rPr lang="en-GB" sz="750" b="1">
                  <a:solidFill>
                    <a:prstClr val="black"/>
                  </a:solidFill>
                  <a:latin typeface="Calibri" panose="020F0502020204030204"/>
                </a:rPr>
                <a:t>HDAB P</a:t>
              </a:r>
              <a:r>
                <a:rPr lang="en-GB" sz="750" b="1" err="1">
                  <a:solidFill>
                    <a:prstClr val="black"/>
                  </a:solidFill>
                  <a:latin typeface="Calibri" panose="020F0502020204030204"/>
                </a:rPr>
                <a:t>ortal</a:t>
              </a:r>
              <a:endParaRPr lang="en-GB" sz="750" b="1">
                <a:solidFill>
                  <a:prstClr val="black"/>
                </a:solidFill>
                <a:latin typeface="Calibri" panose="020F0502020204030204"/>
              </a:endParaRPr>
            </a:p>
          </p:txBody>
        </p:sp>
      </p:grpSp>
      <p:grpSp>
        <p:nvGrpSpPr>
          <p:cNvPr id="44" name="Group 43">
            <a:extLst>
              <a:ext uri="{FF2B5EF4-FFF2-40B4-BE49-F238E27FC236}">
                <a16:creationId xmlns:a16="http://schemas.microsoft.com/office/drawing/2014/main" id="{8341B151-0E29-6FF0-222A-3BD3A6EA9E64}"/>
              </a:ext>
            </a:extLst>
          </p:cNvPr>
          <p:cNvGrpSpPr/>
          <p:nvPr/>
        </p:nvGrpSpPr>
        <p:grpSpPr>
          <a:xfrm>
            <a:off x="700783" y="3463145"/>
            <a:ext cx="1052358" cy="691428"/>
            <a:chOff x="934377" y="4617526"/>
            <a:chExt cx="1403144" cy="921904"/>
          </a:xfrm>
        </p:grpSpPr>
        <p:sp>
          <p:nvSpPr>
            <p:cNvPr id="16" name="TextBox 15">
              <a:extLst>
                <a:ext uri="{FF2B5EF4-FFF2-40B4-BE49-F238E27FC236}">
                  <a16:creationId xmlns:a16="http://schemas.microsoft.com/office/drawing/2014/main" id="{8738EDDE-075D-0C87-8C56-33A0CA6058BD}"/>
                </a:ext>
              </a:extLst>
            </p:cNvPr>
            <p:cNvSpPr txBox="1"/>
            <p:nvPr/>
          </p:nvSpPr>
          <p:spPr>
            <a:xfrm>
              <a:off x="934377" y="4923877"/>
              <a:ext cx="1403144" cy="615553"/>
            </a:xfrm>
            <a:prstGeom prst="rect">
              <a:avLst/>
            </a:prstGeom>
            <a:noFill/>
            <a:ln w="9525">
              <a:noFill/>
              <a:prstDash val="solid"/>
            </a:ln>
            <a:effectLst>
              <a:outerShdw blurRad="50800" dist="38100" dir="2700000" algn="tl" rotWithShape="0">
                <a:prstClr val="black">
                  <a:alpha val="40000"/>
                </a:prstClr>
              </a:outerShdw>
            </a:effectLst>
          </p:spPr>
          <p:txBody>
            <a:bodyPr wrap="square" lIns="0" rIns="0">
              <a:spAutoFit/>
            </a:bodyPr>
            <a:lstStyle/>
            <a:p>
              <a:pPr algn="ctr" defTabSz="685800">
                <a:defRPr/>
              </a:pPr>
              <a:endParaRPr lang="en-US" sz="600" b="1">
                <a:solidFill>
                  <a:prstClr val="black"/>
                </a:solidFill>
                <a:latin typeface="Calibri" panose="020F0502020204030204" pitchFamily="34" charset="0"/>
                <a:cs typeface="Calibri" panose="020F0502020204030204" pitchFamily="34" charset="0"/>
              </a:endParaRPr>
            </a:p>
            <a:p>
              <a:pPr algn="ctr" defTabSz="685800">
                <a:defRPr/>
              </a:pPr>
              <a:r>
                <a:rPr lang="en-US" sz="600" b="1">
                  <a:solidFill>
                    <a:prstClr val="black"/>
                  </a:solidFill>
                  <a:latin typeface="Calibri" panose="020F0502020204030204" pitchFamily="34" charset="0"/>
                  <a:cs typeface="Calibri" panose="020F0502020204030204" pitchFamily="34" charset="0"/>
                </a:rPr>
                <a:t>Data Holder systems </a:t>
              </a:r>
            </a:p>
            <a:p>
              <a:pPr algn="ctr" defTabSz="685800">
                <a:defRPr/>
              </a:pPr>
              <a:r>
                <a:rPr lang="en-US" sz="600" b="1">
                  <a:solidFill>
                    <a:prstClr val="black"/>
                  </a:solidFill>
                  <a:latin typeface="Calibri" panose="020F0502020204030204" pitchFamily="34" charset="0"/>
                  <a:cs typeface="Calibri" panose="020F0502020204030204" pitchFamily="34" charset="0"/>
                </a:rPr>
                <a:t>(Hospital Information Systems, </a:t>
              </a:r>
            </a:p>
            <a:p>
              <a:pPr algn="ctr" defTabSz="685800">
                <a:defRPr/>
              </a:pPr>
              <a:r>
                <a:rPr lang="en-US" sz="600" b="1">
                  <a:solidFill>
                    <a:prstClr val="black"/>
                  </a:solidFill>
                  <a:latin typeface="Calibri" panose="020F0502020204030204" pitchFamily="34" charset="0"/>
                  <a:cs typeface="Calibri" panose="020F0502020204030204" pitchFamily="34" charset="0"/>
                </a:rPr>
                <a:t>Registries)</a:t>
              </a:r>
            </a:p>
          </p:txBody>
        </p:sp>
        <p:pic>
          <p:nvPicPr>
            <p:cNvPr id="23" name="Graphic 22" descr="Database outline">
              <a:extLst>
                <a:ext uri="{FF2B5EF4-FFF2-40B4-BE49-F238E27FC236}">
                  <a16:creationId xmlns:a16="http://schemas.microsoft.com/office/drawing/2014/main" id="{6A8A7FAD-987F-D779-473E-8402C7B0255D}"/>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382996" y="4617526"/>
              <a:ext cx="480373" cy="480373"/>
            </a:xfrm>
            <a:prstGeom prst="rect">
              <a:avLst/>
            </a:prstGeom>
          </p:spPr>
        </p:pic>
      </p:grpSp>
      <p:cxnSp>
        <p:nvCxnSpPr>
          <p:cNvPr id="28" name="Straight Arrow Connector 27">
            <a:extLst>
              <a:ext uri="{FF2B5EF4-FFF2-40B4-BE49-F238E27FC236}">
                <a16:creationId xmlns:a16="http://schemas.microsoft.com/office/drawing/2014/main" id="{7899FED3-55AC-5A1D-0298-F319267F1CE1}"/>
              </a:ext>
            </a:extLst>
          </p:cNvPr>
          <p:cNvCxnSpPr>
            <a:cxnSpLocks/>
          </p:cNvCxnSpPr>
          <p:nvPr/>
        </p:nvCxnSpPr>
        <p:spPr>
          <a:xfrm>
            <a:off x="1026877" y="2304768"/>
            <a:ext cx="458316"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9" name="Straight Arrow Connector 28">
            <a:extLst>
              <a:ext uri="{FF2B5EF4-FFF2-40B4-BE49-F238E27FC236}">
                <a16:creationId xmlns:a16="http://schemas.microsoft.com/office/drawing/2014/main" id="{4CBA00E1-612D-81A1-4EDD-02E423DCF7BD}"/>
              </a:ext>
            </a:extLst>
          </p:cNvPr>
          <p:cNvCxnSpPr>
            <a:cxnSpLocks/>
          </p:cNvCxnSpPr>
          <p:nvPr/>
        </p:nvCxnSpPr>
        <p:spPr>
          <a:xfrm>
            <a:off x="1073882" y="3173666"/>
            <a:ext cx="458316"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0" name="Straight Arrow Connector 29">
            <a:extLst>
              <a:ext uri="{FF2B5EF4-FFF2-40B4-BE49-F238E27FC236}">
                <a16:creationId xmlns:a16="http://schemas.microsoft.com/office/drawing/2014/main" id="{424FDF82-16F5-ECD1-8802-C3BE94DDFB50}"/>
              </a:ext>
            </a:extLst>
          </p:cNvPr>
          <p:cNvCxnSpPr>
            <a:cxnSpLocks/>
            <a:endCxn id="5" idx="2"/>
          </p:cNvCxnSpPr>
          <p:nvPr/>
        </p:nvCxnSpPr>
        <p:spPr>
          <a:xfrm flipV="1">
            <a:off x="1487886" y="3507275"/>
            <a:ext cx="1306034" cy="24597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5" name="Straight Arrow Connector 34">
            <a:extLst>
              <a:ext uri="{FF2B5EF4-FFF2-40B4-BE49-F238E27FC236}">
                <a16:creationId xmlns:a16="http://schemas.microsoft.com/office/drawing/2014/main" id="{65AE3191-AD88-A92F-390C-A11D47F8EBFE}"/>
              </a:ext>
            </a:extLst>
          </p:cNvPr>
          <p:cNvCxnSpPr>
            <a:cxnSpLocks/>
          </p:cNvCxnSpPr>
          <p:nvPr/>
        </p:nvCxnSpPr>
        <p:spPr>
          <a:xfrm>
            <a:off x="2264712" y="2708369"/>
            <a:ext cx="502741" cy="35718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50" name="Title 2">
            <a:extLst>
              <a:ext uri="{FF2B5EF4-FFF2-40B4-BE49-F238E27FC236}">
                <a16:creationId xmlns:a16="http://schemas.microsoft.com/office/drawing/2014/main" id="{46087CCF-1D59-E41B-FCDA-81C9332393CD}"/>
              </a:ext>
            </a:extLst>
          </p:cNvPr>
          <p:cNvSpPr>
            <a:spLocks noGrp="1"/>
          </p:cNvSpPr>
          <p:nvPr>
            <p:ph type="title"/>
          </p:nvPr>
        </p:nvSpPr>
        <p:spPr>
          <a:xfrm>
            <a:off x="696630" y="353682"/>
            <a:ext cx="8270824" cy="445295"/>
          </a:xfrm>
        </p:spPr>
        <p:txBody>
          <a:bodyPr/>
          <a:lstStyle/>
          <a:p>
            <a:r>
              <a:rPr lang="en-GB" sz="2700"/>
              <a:t>HealthData@EU Central Platform ecosystem</a:t>
            </a:r>
            <a:endParaRPr lang="fr-BE" sz="2700"/>
          </a:p>
        </p:txBody>
      </p:sp>
      <p:grpSp>
        <p:nvGrpSpPr>
          <p:cNvPr id="89" name="Group 88">
            <a:extLst>
              <a:ext uri="{FF2B5EF4-FFF2-40B4-BE49-F238E27FC236}">
                <a16:creationId xmlns:a16="http://schemas.microsoft.com/office/drawing/2014/main" id="{ECBEFAE9-F17E-B249-380B-9140F349801C}"/>
              </a:ext>
            </a:extLst>
          </p:cNvPr>
          <p:cNvGrpSpPr/>
          <p:nvPr/>
        </p:nvGrpSpPr>
        <p:grpSpPr>
          <a:xfrm>
            <a:off x="-76895" y="1400731"/>
            <a:ext cx="3032049" cy="2972456"/>
            <a:chOff x="-93491" y="1883331"/>
            <a:chExt cx="4042732" cy="3963274"/>
          </a:xfrm>
        </p:grpSpPr>
        <p:sp>
          <p:nvSpPr>
            <p:cNvPr id="51" name="Rectangle: Rounded Corners 50">
              <a:extLst>
                <a:ext uri="{FF2B5EF4-FFF2-40B4-BE49-F238E27FC236}">
                  <a16:creationId xmlns:a16="http://schemas.microsoft.com/office/drawing/2014/main" id="{066F4772-F538-E5CF-B559-04AC6CDAB018}"/>
                </a:ext>
              </a:extLst>
            </p:cNvPr>
            <p:cNvSpPr/>
            <p:nvPr/>
          </p:nvSpPr>
          <p:spPr>
            <a:xfrm>
              <a:off x="333783" y="1883331"/>
              <a:ext cx="3257083" cy="3963274"/>
            </a:xfrm>
            <a:prstGeom prst="round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85800">
                <a:defRPr/>
              </a:pPr>
              <a:endParaRPr lang="en-IE" sz="1350">
                <a:solidFill>
                  <a:srgbClr val="FFFFFF"/>
                </a:solidFill>
                <a:latin typeface="Arial"/>
              </a:endParaRPr>
            </a:p>
          </p:txBody>
        </p:sp>
        <p:sp>
          <p:nvSpPr>
            <p:cNvPr id="54" name="TextBox 53">
              <a:extLst>
                <a:ext uri="{FF2B5EF4-FFF2-40B4-BE49-F238E27FC236}">
                  <a16:creationId xmlns:a16="http://schemas.microsoft.com/office/drawing/2014/main" id="{5C99B37F-98BB-0A91-65AB-DD5257424817}"/>
                </a:ext>
              </a:extLst>
            </p:cNvPr>
            <p:cNvSpPr txBox="1"/>
            <p:nvPr/>
          </p:nvSpPr>
          <p:spPr>
            <a:xfrm>
              <a:off x="-93491" y="1953650"/>
              <a:ext cx="4042732" cy="492443"/>
            </a:xfrm>
            <a:prstGeom prst="rect">
              <a:avLst/>
            </a:prstGeom>
            <a:noFill/>
          </p:spPr>
          <p:txBody>
            <a:bodyPr wrap="square">
              <a:spAutoFit/>
            </a:bodyPr>
            <a:lstStyle/>
            <a:p>
              <a:pPr algn="ctr" defTabSz="685800">
                <a:defRPr/>
              </a:pPr>
              <a:r>
                <a:rPr lang="en-GB" sz="900" b="1" kern="0">
                  <a:solidFill>
                    <a:prstClr val="black"/>
                  </a:solidFill>
                  <a:latin typeface="Arial"/>
                  <a:ea typeface="Tahoma" panose="020B0604030504040204" pitchFamily="34" charset="0"/>
                  <a:cs typeface="Tahoma" panose="020B0604030504040204" pitchFamily="34" charset="0"/>
                </a:rPr>
                <a:t>HealthData@EU National </a:t>
              </a:r>
            </a:p>
            <a:p>
              <a:pPr algn="ctr" defTabSz="685800">
                <a:defRPr/>
              </a:pPr>
              <a:r>
                <a:rPr lang="en-GB" sz="900" b="1" kern="0">
                  <a:solidFill>
                    <a:prstClr val="black"/>
                  </a:solidFill>
                  <a:latin typeface="Arial"/>
                  <a:ea typeface="Tahoma" panose="020B0604030504040204" pitchFamily="34" charset="0"/>
                  <a:cs typeface="Tahoma" panose="020B0604030504040204" pitchFamily="34" charset="0"/>
                </a:rPr>
                <a:t>Infrastructure </a:t>
              </a:r>
            </a:p>
          </p:txBody>
        </p:sp>
      </p:grpSp>
      <p:grpSp>
        <p:nvGrpSpPr>
          <p:cNvPr id="86" name="Group 85">
            <a:extLst>
              <a:ext uri="{FF2B5EF4-FFF2-40B4-BE49-F238E27FC236}">
                <a16:creationId xmlns:a16="http://schemas.microsoft.com/office/drawing/2014/main" id="{5749D777-3770-1026-024B-194CDBFC5C53}"/>
              </a:ext>
            </a:extLst>
          </p:cNvPr>
          <p:cNvGrpSpPr/>
          <p:nvPr/>
        </p:nvGrpSpPr>
        <p:grpSpPr>
          <a:xfrm>
            <a:off x="3348171" y="1091275"/>
            <a:ext cx="2985347" cy="3404854"/>
            <a:chOff x="4471767" y="1399177"/>
            <a:chExt cx="3980462" cy="4539805"/>
          </a:xfrm>
        </p:grpSpPr>
        <p:sp>
          <p:nvSpPr>
            <p:cNvPr id="52" name="Rectangle: Rounded Corners 51">
              <a:extLst>
                <a:ext uri="{FF2B5EF4-FFF2-40B4-BE49-F238E27FC236}">
                  <a16:creationId xmlns:a16="http://schemas.microsoft.com/office/drawing/2014/main" id="{C4514AC9-EBAF-7B16-033C-9A6247BE5088}"/>
                </a:ext>
              </a:extLst>
            </p:cNvPr>
            <p:cNvSpPr/>
            <p:nvPr/>
          </p:nvSpPr>
          <p:spPr>
            <a:xfrm>
              <a:off x="5415676" y="1399177"/>
              <a:ext cx="2138530" cy="4539805"/>
            </a:xfrm>
            <a:prstGeom prst="roundRect">
              <a:avLst/>
            </a:prstGeom>
            <a:solidFill>
              <a:schemeClr val="accent5">
                <a:lumMod val="60000"/>
                <a:lumOff val="4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85800">
                <a:defRPr/>
              </a:pPr>
              <a:endParaRPr lang="en-IE" sz="1350">
                <a:solidFill>
                  <a:srgbClr val="FFFFFF"/>
                </a:solidFill>
                <a:latin typeface="Arial"/>
              </a:endParaRPr>
            </a:p>
          </p:txBody>
        </p:sp>
        <p:sp>
          <p:nvSpPr>
            <p:cNvPr id="56" name="TextBox 55">
              <a:extLst>
                <a:ext uri="{FF2B5EF4-FFF2-40B4-BE49-F238E27FC236}">
                  <a16:creationId xmlns:a16="http://schemas.microsoft.com/office/drawing/2014/main" id="{D876EFD8-655C-908C-2634-65E681DDD21A}"/>
                </a:ext>
              </a:extLst>
            </p:cNvPr>
            <p:cNvSpPr txBox="1"/>
            <p:nvPr/>
          </p:nvSpPr>
          <p:spPr>
            <a:xfrm>
              <a:off x="4471767" y="1513245"/>
              <a:ext cx="3980462" cy="553997"/>
            </a:xfrm>
            <a:prstGeom prst="rect">
              <a:avLst/>
            </a:prstGeom>
            <a:noFill/>
          </p:spPr>
          <p:txBody>
            <a:bodyPr wrap="square">
              <a:spAutoFit/>
            </a:bodyPr>
            <a:lstStyle/>
            <a:p>
              <a:pPr algn="ctr" defTabSz="685800">
                <a:defRPr/>
              </a:pPr>
              <a:r>
                <a:rPr lang="en-GB" sz="1050" b="1" kern="0">
                  <a:solidFill>
                    <a:prstClr val="black"/>
                  </a:solidFill>
                  <a:latin typeface="Arial"/>
                  <a:ea typeface="Tahoma" panose="020B0604030504040204" pitchFamily="34" charset="0"/>
                  <a:cs typeface="Tahoma" panose="020B0604030504040204" pitchFamily="34" charset="0"/>
                </a:rPr>
                <a:t>HealthData@EU Cross-border </a:t>
              </a:r>
            </a:p>
            <a:p>
              <a:pPr algn="ctr" defTabSz="685800">
                <a:defRPr/>
              </a:pPr>
              <a:r>
                <a:rPr lang="en-GB" sz="1050" b="1" kern="0">
                  <a:solidFill>
                    <a:prstClr val="black"/>
                  </a:solidFill>
                  <a:latin typeface="Arial"/>
                  <a:ea typeface="Tahoma" panose="020B0604030504040204" pitchFamily="34" charset="0"/>
                  <a:cs typeface="Tahoma" panose="020B0604030504040204" pitchFamily="34" charset="0"/>
                </a:rPr>
                <a:t>Infrastructure</a:t>
              </a:r>
            </a:p>
          </p:txBody>
        </p:sp>
      </p:grpSp>
      <p:grpSp>
        <p:nvGrpSpPr>
          <p:cNvPr id="58" name="Group 57">
            <a:extLst>
              <a:ext uri="{FF2B5EF4-FFF2-40B4-BE49-F238E27FC236}">
                <a16:creationId xmlns:a16="http://schemas.microsoft.com/office/drawing/2014/main" id="{A267BD07-21F5-666A-8F20-7818E4636F1B}"/>
              </a:ext>
            </a:extLst>
          </p:cNvPr>
          <p:cNvGrpSpPr/>
          <p:nvPr/>
        </p:nvGrpSpPr>
        <p:grpSpPr>
          <a:xfrm>
            <a:off x="6327793" y="1337035"/>
            <a:ext cx="956225" cy="933350"/>
            <a:chOff x="8437057" y="1782713"/>
            <a:chExt cx="1274967" cy="1244466"/>
          </a:xfrm>
        </p:grpSpPr>
        <p:sp>
          <p:nvSpPr>
            <p:cNvPr id="34" name="TextBox 33">
              <a:extLst>
                <a:ext uri="{FF2B5EF4-FFF2-40B4-BE49-F238E27FC236}">
                  <a16:creationId xmlns:a16="http://schemas.microsoft.com/office/drawing/2014/main" id="{C1E9017F-2E47-072B-5642-38E884927CB2}"/>
                </a:ext>
              </a:extLst>
            </p:cNvPr>
            <p:cNvSpPr txBox="1"/>
            <p:nvPr/>
          </p:nvSpPr>
          <p:spPr>
            <a:xfrm rot="5400000">
              <a:off x="8782153" y="2097307"/>
              <a:ext cx="584776" cy="1274967"/>
            </a:xfrm>
            <a:prstGeom prst="rect">
              <a:avLst/>
            </a:prstGeom>
            <a:noFill/>
            <a:ln>
              <a:noFill/>
              <a:prstDash val="solid"/>
            </a:ln>
            <a:effectLst>
              <a:outerShdw blurRad="50800" dist="38100" dir="2700000" algn="tl" rotWithShape="0">
                <a:prstClr val="black">
                  <a:alpha val="40000"/>
                </a:prstClr>
              </a:outerShdw>
            </a:effectLst>
          </p:spPr>
          <p:txBody>
            <a:bodyPr vert="vert270" wrap="square">
              <a:spAutoFit/>
            </a:bodyPr>
            <a:lstStyle/>
            <a:p>
              <a:pPr algn="ctr" defTabSz="685800">
                <a:defRPr/>
              </a:pPr>
              <a:r>
                <a:rPr lang="en-GB" sz="825" b="1">
                  <a:solidFill>
                    <a:prstClr val="black"/>
                  </a:solidFill>
                  <a:latin typeface="Calibri" panose="020F0502020204030204"/>
                </a:rPr>
                <a:t>Union Data Access Service Portal</a:t>
              </a:r>
              <a:endParaRPr lang="en-GB" sz="825" b="1">
                <a:solidFill>
                  <a:prstClr val="black"/>
                </a:solidFill>
                <a:latin typeface="Calibri" panose="020F0502020204030204" pitchFamily="34" charset="0"/>
                <a:cs typeface="Calibri" panose="020F0502020204030204" pitchFamily="34" charset="0"/>
              </a:endParaRPr>
            </a:p>
          </p:txBody>
        </p:sp>
        <p:pic>
          <p:nvPicPr>
            <p:cNvPr id="36" name="Graphic 35" descr="Cloud Computing with solid fill">
              <a:extLst>
                <a:ext uri="{FF2B5EF4-FFF2-40B4-BE49-F238E27FC236}">
                  <a16:creationId xmlns:a16="http://schemas.microsoft.com/office/drawing/2014/main" id="{5F33006F-972E-6F76-EED8-939E8E9A44B0}"/>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8693367" y="1782713"/>
              <a:ext cx="710327" cy="710327"/>
            </a:xfrm>
            <a:prstGeom prst="rect">
              <a:avLst/>
            </a:prstGeom>
          </p:spPr>
        </p:pic>
        <p:pic>
          <p:nvPicPr>
            <p:cNvPr id="37" name="Graphic 36" descr="Database outline">
              <a:extLst>
                <a:ext uri="{FF2B5EF4-FFF2-40B4-BE49-F238E27FC236}">
                  <a16:creationId xmlns:a16="http://schemas.microsoft.com/office/drawing/2014/main" id="{DED41B52-469C-3E57-F5A9-3AFA08D577EE}"/>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171895" y="2149731"/>
              <a:ext cx="390105" cy="390105"/>
            </a:xfrm>
            <a:prstGeom prst="rect">
              <a:avLst/>
            </a:prstGeom>
          </p:spPr>
        </p:pic>
      </p:grpSp>
      <p:sp>
        <p:nvSpPr>
          <p:cNvPr id="38" name="Rectangle 105">
            <a:extLst>
              <a:ext uri="{FF2B5EF4-FFF2-40B4-BE49-F238E27FC236}">
                <a16:creationId xmlns:a16="http://schemas.microsoft.com/office/drawing/2014/main" id="{879BC04C-CC69-FD99-DD09-0449025E6AF9}"/>
              </a:ext>
            </a:extLst>
          </p:cNvPr>
          <p:cNvSpPr/>
          <p:nvPr/>
        </p:nvSpPr>
        <p:spPr>
          <a:xfrm>
            <a:off x="5583761" y="1521101"/>
            <a:ext cx="555239" cy="413578"/>
          </a:xfrm>
          <a:prstGeom prst="round2DiagRect">
            <a:avLst>
              <a:gd name="adj1" fmla="val 20130"/>
              <a:gd name="adj2" fmla="val 4617"/>
            </a:avLst>
          </a:prstGeom>
          <a:noFill/>
          <a:ln w="12700" cap="flat" cmpd="sng" algn="ctr">
            <a:solidFill>
              <a:srgbClr val="4472C4">
                <a:shade val="15000"/>
              </a:srgbClr>
            </a:solidFill>
            <a:prstDash val="solid"/>
            <a:miter lim="800000"/>
          </a:ln>
          <a:effectLst/>
        </p:spPr>
        <p:txBody>
          <a:bodyPr rtlCol="0" anchor="ctr"/>
          <a:lstStyle/>
          <a:p>
            <a:pPr algn="ctr" defTabSz="685800">
              <a:defRPr/>
            </a:pPr>
            <a:r>
              <a:rPr lang="en-US" sz="750" b="1">
                <a:solidFill>
                  <a:prstClr val="black"/>
                </a:solidFill>
                <a:latin typeface="Calibri" panose="020F0502020204030204" pitchFamily="34" charset="0"/>
                <a:cs typeface="Calibri" panose="020F0502020204030204" pitchFamily="34" charset="0"/>
              </a:rPr>
              <a:t>Union Contact Point</a:t>
            </a:r>
            <a:endParaRPr lang="en-GR" sz="750" b="1">
              <a:solidFill>
                <a:prstClr val="black"/>
              </a:solidFill>
              <a:latin typeface="Calibri" panose="020F0502020204030204" pitchFamily="34" charset="0"/>
              <a:cs typeface="Calibri" panose="020F0502020204030204" pitchFamily="34" charset="0"/>
            </a:endParaRPr>
          </a:p>
        </p:txBody>
      </p:sp>
      <p:grpSp>
        <p:nvGrpSpPr>
          <p:cNvPr id="65" name="Group 64">
            <a:extLst>
              <a:ext uri="{FF2B5EF4-FFF2-40B4-BE49-F238E27FC236}">
                <a16:creationId xmlns:a16="http://schemas.microsoft.com/office/drawing/2014/main" id="{7B67F207-EDF1-AFF7-F0D8-3EA86DCCB337}"/>
              </a:ext>
            </a:extLst>
          </p:cNvPr>
          <p:cNvGrpSpPr/>
          <p:nvPr/>
        </p:nvGrpSpPr>
        <p:grpSpPr>
          <a:xfrm>
            <a:off x="7439124" y="1337116"/>
            <a:ext cx="903596" cy="806310"/>
            <a:chOff x="9918832" y="1782821"/>
            <a:chExt cx="1204794" cy="1075079"/>
          </a:xfrm>
        </p:grpSpPr>
        <p:sp>
          <p:nvSpPr>
            <p:cNvPr id="39" name="TextBox 38">
              <a:extLst>
                <a:ext uri="{FF2B5EF4-FFF2-40B4-BE49-F238E27FC236}">
                  <a16:creationId xmlns:a16="http://schemas.microsoft.com/office/drawing/2014/main" id="{42FE4436-E656-9C50-D0AD-304B084690E0}"/>
                </a:ext>
              </a:extLst>
            </p:cNvPr>
            <p:cNvSpPr txBox="1"/>
            <p:nvPr/>
          </p:nvSpPr>
          <p:spPr>
            <a:xfrm>
              <a:off x="9918832" y="2119237"/>
              <a:ext cx="1204794" cy="738663"/>
            </a:xfrm>
            <a:prstGeom prst="rect">
              <a:avLst/>
            </a:prstGeom>
            <a:noFill/>
            <a:ln w="9525">
              <a:noFill/>
              <a:prstDash val="solid"/>
            </a:ln>
            <a:effectLst>
              <a:outerShdw blurRad="50800" dist="38100" dir="2700000" algn="tl" rotWithShape="0">
                <a:prstClr val="black">
                  <a:alpha val="40000"/>
                </a:prstClr>
              </a:outerShdw>
            </a:effectLst>
          </p:spPr>
          <p:txBody>
            <a:bodyPr wrap="square" lIns="0" rIns="0">
              <a:spAutoFit/>
            </a:bodyPr>
            <a:lstStyle/>
            <a:p>
              <a:pPr algn="ctr" defTabSz="685800">
                <a:defRPr/>
              </a:pPr>
              <a:endParaRPr lang="en-US" sz="600" b="1">
                <a:solidFill>
                  <a:prstClr val="black"/>
                </a:solidFill>
                <a:latin typeface="Calibri" panose="020F0502020204030204" pitchFamily="34" charset="0"/>
                <a:cs typeface="Calibri" panose="020F0502020204030204" pitchFamily="34" charset="0"/>
              </a:endParaRPr>
            </a:p>
            <a:p>
              <a:pPr algn="ctr" defTabSz="685800">
                <a:defRPr/>
              </a:pPr>
              <a:r>
                <a:rPr lang="en-US" sz="600" b="1">
                  <a:solidFill>
                    <a:prstClr val="black"/>
                  </a:solidFill>
                  <a:latin typeface="Calibri" panose="020F0502020204030204" pitchFamily="34" charset="0"/>
                  <a:cs typeface="Calibri" panose="020F0502020204030204" pitchFamily="34" charset="0"/>
                </a:rPr>
                <a:t>Data Holder systems </a:t>
              </a:r>
            </a:p>
            <a:p>
              <a:pPr algn="ctr" defTabSz="685800">
                <a:defRPr/>
              </a:pPr>
              <a:r>
                <a:rPr lang="en-US" sz="600" b="1">
                  <a:solidFill>
                    <a:prstClr val="black"/>
                  </a:solidFill>
                  <a:latin typeface="Calibri" panose="020F0502020204030204" pitchFamily="34" charset="0"/>
                  <a:cs typeface="Calibri" panose="020F0502020204030204" pitchFamily="34" charset="0"/>
                </a:rPr>
                <a:t>(Union bodies, such as: EMA, ECDC, SANTE)</a:t>
              </a:r>
            </a:p>
            <a:p>
              <a:pPr algn="ctr" defTabSz="685800">
                <a:defRPr/>
              </a:pPr>
              <a:endParaRPr lang="en-US" sz="600" b="1">
                <a:solidFill>
                  <a:prstClr val="black"/>
                </a:solidFill>
                <a:latin typeface="Calibri" panose="020F0502020204030204" pitchFamily="34" charset="0"/>
                <a:cs typeface="Calibri" panose="020F0502020204030204" pitchFamily="34" charset="0"/>
              </a:endParaRPr>
            </a:p>
          </p:txBody>
        </p:sp>
        <p:pic>
          <p:nvPicPr>
            <p:cNvPr id="42" name="Graphic 41" descr="Database outline">
              <a:extLst>
                <a:ext uri="{FF2B5EF4-FFF2-40B4-BE49-F238E27FC236}">
                  <a16:creationId xmlns:a16="http://schemas.microsoft.com/office/drawing/2014/main" id="{C5185471-3C87-C632-0BF6-1ECCA9EC2DF2}"/>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270746" y="1782821"/>
              <a:ext cx="480373" cy="480373"/>
            </a:xfrm>
            <a:prstGeom prst="rect">
              <a:avLst/>
            </a:prstGeom>
          </p:spPr>
        </p:pic>
      </p:grpSp>
      <p:grpSp>
        <p:nvGrpSpPr>
          <p:cNvPr id="33" name="Group 32">
            <a:extLst>
              <a:ext uri="{FF2B5EF4-FFF2-40B4-BE49-F238E27FC236}">
                <a16:creationId xmlns:a16="http://schemas.microsoft.com/office/drawing/2014/main" id="{353D2BA7-251F-D68A-C659-E7AFA6D77547}"/>
              </a:ext>
            </a:extLst>
          </p:cNvPr>
          <p:cNvGrpSpPr/>
          <p:nvPr/>
        </p:nvGrpSpPr>
        <p:grpSpPr>
          <a:xfrm>
            <a:off x="34198" y="2834587"/>
            <a:ext cx="1052358" cy="725711"/>
            <a:chOff x="45597" y="3779449"/>
            <a:chExt cx="1403144" cy="967614"/>
          </a:xfrm>
        </p:grpSpPr>
        <p:pic>
          <p:nvPicPr>
            <p:cNvPr id="40" name="Graphic 39" descr="Database outline">
              <a:extLst>
                <a:ext uri="{FF2B5EF4-FFF2-40B4-BE49-F238E27FC236}">
                  <a16:creationId xmlns:a16="http://schemas.microsoft.com/office/drawing/2014/main" id="{084EF039-9054-93B1-68B9-7DA4EB87C543}"/>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485593" y="3779449"/>
              <a:ext cx="480373" cy="480373"/>
            </a:xfrm>
            <a:prstGeom prst="rect">
              <a:avLst/>
            </a:prstGeom>
          </p:spPr>
        </p:pic>
        <p:sp>
          <p:nvSpPr>
            <p:cNvPr id="75" name="TextBox 74">
              <a:extLst>
                <a:ext uri="{FF2B5EF4-FFF2-40B4-BE49-F238E27FC236}">
                  <a16:creationId xmlns:a16="http://schemas.microsoft.com/office/drawing/2014/main" id="{5D15607A-18BC-7246-C817-25F8282EBD73}"/>
                </a:ext>
              </a:extLst>
            </p:cNvPr>
            <p:cNvSpPr txBox="1"/>
            <p:nvPr/>
          </p:nvSpPr>
          <p:spPr>
            <a:xfrm>
              <a:off x="45597" y="4131510"/>
              <a:ext cx="1403144" cy="615553"/>
            </a:xfrm>
            <a:prstGeom prst="rect">
              <a:avLst/>
            </a:prstGeom>
            <a:noFill/>
            <a:ln w="9525">
              <a:noFill/>
              <a:prstDash val="solid"/>
            </a:ln>
            <a:effectLst>
              <a:outerShdw blurRad="50800" dist="38100" dir="2700000" algn="tl" rotWithShape="0">
                <a:prstClr val="black">
                  <a:alpha val="40000"/>
                </a:prstClr>
              </a:outerShdw>
            </a:effectLst>
          </p:spPr>
          <p:txBody>
            <a:bodyPr wrap="square" lIns="0" rIns="0">
              <a:spAutoFit/>
            </a:bodyPr>
            <a:lstStyle/>
            <a:p>
              <a:pPr algn="ctr" defTabSz="685800">
                <a:defRPr/>
              </a:pPr>
              <a:endParaRPr lang="en-US" sz="600" b="1">
                <a:solidFill>
                  <a:prstClr val="black"/>
                </a:solidFill>
                <a:latin typeface="Calibri" panose="020F0502020204030204" pitchFamily="34" charset="0"/>
                <a:cs typeface="Calibri" panose="020F0502020204030204" pitchFamily="34" charset="0"/>
              </a:endParaRPr>
            </a:p>
            <a:p>
              <a:pPr algn="ctr" defTabSz="685800">
                <a:defRPr/>
              </a:pPr>
              <a:r>
                <a:rPr lang="en-US" sz="600" b="1">
                  <a:solidFill>
                    <a:prstClr val="black"/>
                  </a:solidFill>
                  <a:latin typeface="Calibri" panose="020F0502020204030204" pitchFamily="34" charset="0"/>
                  <a:cs typeface="Calibri" panose="020F0502020204030204" pitchFamily="34" charset="0"/>
                </a:rPr>
                <a:t>Data Holder systems </a:t>
              </a:r>
            </a:p>
            <a:p>
              <a:pPr algn="ctr" defTabSz="685800">
                <a:defRPr/>
              </a:pPr>
              <a:r>
                <a:rPr lang="en-US" sz="600" b="1">
                  <a:solidFill>
                    <a:prstClr val="black"/>
                  </a:solidFill>
                  <a:latin typeface="Calibri" panose="020F0502020204030204" pitchFamily="34" charset="0"/>
                  <a:cs typeface="Calibri" panose="020F0502020204030204" pitchFamily="34" charset="0"/>
                </a:rPr>
                <a:t>(Hospital Information Systems, </a:t>
              </a:r>
            </a:p>
            <a:p>
              <a:pPr algn="ctr" defTabSz="685800">
                <a:defRPr/>
              </a:pPr>
              <a:r>
                <a:rPr lang="en-US" sz="600" b="1">
                  <a:solidFill>
                    <a:prstClr val="black"/>
                  </a:solidFill>
                  <a:latin typeface="Calibri" panose="020F0502020204030204" pitchFamily="34" charset="0"/>
                  <a:cs typeface="Calibri" panose="020F0502020204030204" pitchFamily="34" charset="0"/>
                </a:rPr>
                <a:t>Registries)</a:t>
              </a:r>
            </a:p>
          </p:txBody>
        </p:sp>
      </p:grpSp>
      <p:grpSp>
        <p:nvGrpSpPr>
          <p:cNvPr id="32" name="Group 31">
            <a:extLst>
              <a:ext uri="{FF2B5EF4-FFF2-40B4-BE49-F238E27FC236}">
                <a16:creationId xmlns:a16="http://schemas.microsoft.com/office/drawing/2014/main" id="{6D826FFC-9EF6-F94B-561D-536F377CAC7D}"/>
              </a:ext>
            </a:extLst>
          </p:cNvPr>
          <p:cNvGrpSpPr/>
          <p:nvPr/>
        </p:nvGrpSpPr>
        <p:grpSpPr>
          <a:xfrm>
            <a:off x="18043" y="1922572"/>
            <a:ext cx="1052358" cy="691551"/>
            <a:chOff x="24057" y="2563429"/>
            <a:chExt cx="1403144" cy="922068"/>
          </a:xfrm>
        </p:grpSpPr>
        <p:pic>
          <p:nvPicPr>
            <p:cNvPr id="17" name="Graphic 16" descr="Database outline">
              <a:extLst>
                <a:ext uri="{FF2B5EF4-FFF2-40B4-BE49-F238E27FC236}">
                  <a16:creationId xmlns:a16="http://schemas.microsoft.com/office/drawing/2014/main" id="{AC7C87F0-A377-7822-A135-20FC799E2360}"/>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454905" y="2563429"/>
              <a:ext cx="480373" cy="480373"/>
            </a:xfrm>
            <a:prstGeom prst="rect">
              <a:avLst/>
            </a:prstGeom>
          </p:spPr>
        </p:pic>
        <p:sp>
          <p:nvSpPr>
            <p:cNvPr id="76" name="TextBox 75">
              <a:extLst>
                <a:ext uri="{FF2B5EF4-FFF2-40B4-BE49-F238E27FC236}">
                  <a16:creationId xmlns:a16="http://schemas.microsoft.com/office/drawing/2014/main" id="{7A2700ED-BFA1-65FB-4805-801CBFCFFA09}"/>
                </a:ext>
              </a:extLst>
            </p:cNvPr>
            <p:cNvSpPr txBox="1"/>
            <p:nvPr/>
          </p:nvSpPr>
          <p:spPr>
            <a:xfrm>
              <a:off x="24057" y="2869944"/>
              <a:ext cx="1403144" cy="615553"/>
            </a:xfrm>
            <a:prstGeom prst="rect">
              <a:avLst/>
            </a:prstGeom>
            <a:noFill/>
            <a:ln w="9525">
              <a:noFill/>
              <a:prstDash val="solid"/>
            </a:ln>
            <a:effectLst>
              <a:outerShdw blurRad="50800" dist="38100" dir="2700000" algn="tl" rotWithShape="0">
                <a:prstClr val="black">
                  <a:alpha val="40000"/>
                </a:prstClr>
              </a:outerShdw>
            </a:effectLst>
          </p:spPr>
          <p:txBody>
            <a:bodyPr wrap="square" lIns="0" rIns="0">
              <a:spAutoFit/>
            </a:bodyPr>
            <a:lstStyle/>
            <a:p>
              <a:pPr algn="ctr" defTabSz="685800">
                <a:defRPr/>
              </a:pPr>
              <a:endParaRPr lang="en-US" sz="600" b="1">
                <a:solidFill>
                  <a:prstClr val="black"/>
                </a:solidFill>
                <a:latin typeface="Calibri" panose="020F0502020204030204" pitchFamily="34" charset="0"/>
                <a:cs typeface="Calibri" panose="020F0502020204030204" pitchFamily="34" charset="0"/>
              </a:endParaRPr>
            </a:p>
            <a:p>
              <a:pPr algn="ctr" defTabSz="685800">
                <a:defRPr/>
              </a:pPr>
              <a:r>
                <a:rPr lang="en-US" sz="600" b="1">
                  <a:solidFill>
                    <a:prstClr val="black"/>
                  </a:solidFill>
                  <a:latin typeface="Calibri" panose="020F0502020204030204" pitchFamily="34" charset="0"/>
                  <a:cs typeface="Calibri" panose="020F0502020204030204" pitchFamily="34" charset="0"/>
                </a:rPr>
                <a:t>Data Holder systems </a:t>
              </a:r>
            </a:p>
            <a:p>
              <a:pPr algn="ctr" defTabSz="685800">
                <a:defRPr/>
              </a:pPr>
              <a:r>
                <a:rPr lang="en-US" sz="600" b="1">
                  <a:solidFill>
                    <a:prstClr val="black"/>
                  </a:solidFill>
                  <a:latin typeface="Calibri" panose="020F0502020204030204" pitchFamily="34" charset="0"/>
                  <a:cs typeface="Calibri" panose="020F0502020204030204" pitchFamily="34" charset="0"/>
                </a:rPr>
                <a:t>(Hospital Information Systems, </a:t>
              </a:r>
            </a:p>
            <a:p>
              <a:pPr algn="ctr" defTabSz="685800">
                <a:defRPr/>
              </a:pPr>
              <a:r>
                <a:rPr lang="en-US" sz="600" b="1">
                  <a:solidFill>
                    <a:prstClr val="black"/>
                  </a:solidFill>
                  <a:latin typeface="Calibri" panose="020F0502020204030204" pitchFamily="34" charset="0"/>
                  <a:cs typeface="Calibri" panose="020F0502020204030204" pitchFamily="34" charset="0"/>
                </a:rPr>
                <a:t>Registries)</a:t>
              </a:r>
            </a:p>
          </p:txBody>
        </p:sp>
      </p:grpSp>
      <p:grpSp>
        <p:nvGrpSpPr>
          <p:cNvPr id="87" name="Group 86">
            <a:extLst>
              <a:ext uri="{FF2B5EF4-FFF2-40B4-BE49-F238E27FC236}">
                <a16:creationId xmlns:a16="http://schemas.microsoft.com/office/drawing/2014/main" id="{04125523-270C-F58E-F3A6-DC7D6A3EA020}"/>
              </a:ext>
            </a:extLst>
          </p:cNvPr>
          <p:cNvGrpSpPr/>
          <p:nvPr/>
        </p:nvGrpSpPr>
        <p:grpSpPr>
          <a:xfrm>
            <a:off x="6694540" y="884755"/>
            <a:ext cx="3032049" cy="1701038"/>
            <a:chOff x="8926053" y="1179673"/>
            <a:chExt cx="4042732" cy="2268051"/>
          </a:xfrm>
        </p:grpSpPr>
        <p:sp>
          <p:nvSpPr>
            <p:cNvPr id="78" name="Rectangle: Rounded Corners 77">
              <a:extLst>
                <a:ext uri="{FF2B5EF4-FFF2-40B4-BE49-F238E27FC236}">
                  <a16:creationId xmlns:a16="http://schemas.microsoft.com/office/drawing/2014/main" id="{893C0A04-C7FA-3E98-E213-C6F897C96D2F}"/>
                </a:ext>
              </a:extLst>
            </p:cNvPr>
            <p:cNvSpPr/>
            <p:nvPr/>
          </p:nvSpPr>
          <p:spPr>
            <a:xfrm>
              <a:off x="9694462" y="1179673"/>
              <a:ext cx="2418443" cy="2268051"/>
            </a:xfrm>
            <a:prstGeom prst="round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85800">
                <a:defRPr/>
              </a:pPr>
              <a:endParaRPr lang="en-IE" sz="1350">
                <a:solidFill>
                  <a:srgbClr val="FFFFFF"/>
                </a:solidFill>
                <a:latin typeface="Arial"/>
              </a:endParaRPr>
            </a:p>
          </p:txBody>
        </p:sp>
        <p:sp>
          <p:nvSpPr>
            <p:cNvPr id="79" name="TextBox 78">
              <a:extLst>
                <a:ext uri="{FF2B5EF4-FFF2-40B4-BE49-F238E27FC236}">
                  <a16:creationId xmlns:a16="http://schemas.microsoft.com/office/drawing/2014/main" id="{17609B1F-8251-F1EE-09EE-6393D01FB3E6}"/>
                </a:ext>
              </a:extLst>
            </p:cNvPr>
            <p:cNvSpPr txBox="1"/>
            <p:nvPr/>
          </p:nvSpPr>
          <p:spPr>
            <a:xfrm>
              <a:off x="8926053" y="1185398"/>
              <a:ext cx="4042732" cy="492443"/>
            </a:xfrm>
            <a:prstGeom prst="rect">
              <a:avLst/>
            </a:prstGeom>
            <a:noFill/>
          </p:spPr>
          <p:txBody>
            <a:bodyPr wrap="square">
              <a:spAutoFit/>
            </a:bodyPr>
            <a:lstStyle/>
            <a:p>
              <a:pPr algn="ctr" defTabSz="685800">
                <a:defRPr/>
              </a:pPr>
              <a:r>
                <a:rPr lang="en-GB" sz="900" b="1" kern="0">
                  <a:solidFill>
                    <a:prstClr val="black"/>
                  </a:solidFill>
                  <a:latin typeface="Arial"/>
                  <a:ea typeface="Tahoma" panose="020B0604030504040204" pitchFamily="34" charset="0"/>
                  <a:cs typeface="Tahoma" panose="020B0604030504040204" pitchFamily="34" charset="0"/>
                </a:rPr>
                <a:t>HealthData@EU Union </a:t>
              </a:r>
            </a:p>
            <a:p>
              <a:pPr algn="ctr" defTabSz="685800">
                <a:defRPr/>
              </a:pPr>
              <a:r>
                <a:rPr lang="en-GB" sz="900" b="1" kern="0">
                  <a:solidFill>
                    <a:prstClr val="black"/>
                  </a:solidFill>
                  <a:latin typeface="Arial"/>
                  <a:ea typeface="Tahoma" panose="020B0604030504040204" pitchFamily="34" charset="0"/>
                  <a:cs typeface="Tahoma" panose="020B0604030504040204" pitchFamily="34" charset="0"/>
                </a:rPr>
                <a:t>Infrastructure </a:t>
              </a:r>
            </a:p>
          </p:txBody>
        </p:sp>
      </p:grpSp>
      <p:grpSp>
        <p:nvGrpSpPr>
          <p:cNvPr id="66" name="Group 65">
            <a:extLst>
              <a:ext uri="{FF2B5EF4-FFF2-40B4-BE49-F238E27FC236}">
                <a16:creationId xmlns:a16="http://schemas.microsoft.com/office/drawing/2014/main" id="{7750676E-6F9D-DA58-225A-044F09B0464A}"/>
              </a:ext>
            </a:extLst>
          </p:cNvPr>
          <p:cNvGrpSpPr/>
          <p:nvPr/>
        </p:nvGrpSpPr>
        <p:grpSpPr>
          <a:xfrm>
            <a:off x="8128042" y="1821105"/>
            <a:ext cx="903596" cy="814623"/>
            <a:chOff x="10837389" y="2428140"/>
            <a:chExt cx="1204794" cy="1086163"/>
          </a:xfrm>
        </p:grpSpPr>
        <p:pic>
          <p:nvPicPr>
            <p:cNvPr id="48" name="Graphic 47" descr="Database outline">
              <a:extLst>
                <a:ext uri="{FF2B5EF4-FFF2-40B4-BE49-F238E27FC236}">
                  <a16:creationId xmlns:a16="http://schemas.microsoft.com/office/drawing/2014/main" id="{BE5CBE55-F2AD-5B5F-F3EA-2FB59216EECD}"/>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1189491" y="2428140"/>
              <a:ext cx="480373" cy="480373"/>
            </a:xfrm>
            <a:prstGeom prst="rect">
              <a:avLst/>
            </a:prstGeom>
          </p:spPr>
        </p:pic>
        <p:sp>
          <p:nvSpPr>
            <p:cNvPr id="80" name="TextBox 79">
              <a:extLst>
                <a:ext uri="{FF2B5EF4-FFF2-40B4-BE49-F238E27FC236}">
                  <a16:creationId xmlns:a16="http://schemas.microsoft.com/office/drawing/2014/main" id="{06E27CB6-DA4A-81C5-4335-602FF1B74C10}"/>
                </a:ext>
              </a:extLst>
            </p:cNvPr>
            <p:cNvSpPr txBox="1"/>
            <p:nvPr/>
          </p:nvSpPr>
          <p:spPr>
            <a:xfrm>
              <a:off x="10837389" y="2775640"/>
              <a:ext cx="1204794" cy="738663"/>
            </a:xfrm>
            <a:prstGeom prst="rect">
              <a:avLst/>
            </a:prstGeom>
            <a:noFill/>
            <a:ln w="9525">
              <a:noFill/>
              <a:prstDash val="solid"/>
            </a:ln>
            <a:effectLst>
              <a:outerShdw blurRad="50800" dist="38100" dir="2700000" algn="tl" rotWithShape="0">
                <a:prstClr val="black">
                  <a:alpha val="40000"/>
                </a:prstClr>
              </a:outerShdw>
            </a:effectLst>
          </p:spPr>
          <p:txBody>
            <a:bodyPr wrap="square" lIns="0" rIns="0">
              <a:spAutoFit/>
            </a:bodyPr>
            <a:lstStyle/>
            <a:p>
              <a:pPr algn="ctr" defTabSz="685800">
                <a:defRPr/>
              </a:pPr>
              <a:endParaRPr lang="en-US" sz="600" b="1">
                <a:solidFill>
                  <a:prstClr val="black"/>
                </a:solidFill>
                <a:latin typeface="Calibri" panose="020F0502020204030204" pitchFamily="34" charset="0"/>
                <a:cs typeface="Calibri" panose="020F0502020204030204" pitchFamily="34" charset="0"/>
              </a:endParaRPr>
            </a:p>
            <a:p>
              <a:pPr algn="ctr" defTabSz="685800">
                <a:defRPr/>
              </a:pPr>
              <a:r>
                <a:rPr lang="en-US" sz="600" b="1">
                  <a:solidFill>
                    <a:prstClr val="black"/>
                  </a:solidFill>
                  <a:latin typeface="Calibri" panose="020F0502020204030204" pitchFamily="34" charset="0"/>
                  <a:cs typeface="Calibri" panose="020F0502020204030204" pitchFamily="34" charset="0"/>
                </a:rPr>
                <a:t>Data Holder systems </a:t>
              </a:r>
            </a:p>
            <a:p>
              <a:pPr algn="ctr" defTabSz="685800">
                <a:defRPr/>
              </a:pPr>
              <a:r>
                <a:rPr lang="en-US" sz="600" b="1">
                  <a:solidFill>
                    <a:prstClr val="black"/>
                  </a:solidFill>
                  <a:latin typeface="Calibri" panose="020F0502020204030204" pitchFamily="34" charset="0"/>
                  <a:cs typeface="Calibri" panose="020F0502020204030204" pitchFamily="34" charset="0"/>
                </a:rPr>
                <a:t>(Union bodies, such as: EMA, ECDC, SANTE)</a:t>
              </a:r>
            </a:p>
            <a:p>
              <a:pPr algn="ctr" defTabSz="685800">
                <a:defRPr/>
              </a:pPr>
              <a:endParaRPr lang="en-US" sz="600" b="1">
                <a:solidFill>
                  <a:prstClr val="black"/>
                </a:solidFill>
                <a:latin typeface="Calibri" panose="020F0502020204030204" pitchFamily="34" charset="0"/>
                <a:cs typeface="Calibri" panose="020F0502020204030204" pitchFamily="34" charset="0"/>
              </a:endParaRPr>
            </a:p>
          </p:txBody>
        </p:sp>
      </p:grpSp>
      <p:grpSp>
        <p:nvGrpSpPr>
          <p:cNvPr id="72" name="Group 71">
            <a:extLst>
              <a:ext uri="{FF2B5EF4-FFF2-40B4-BE49-F238E27FC236}">
                <a16:creationId xmlns:a16="http://schemas.microsoft.com/office/drawing/2014/main" id="{D07976F4-CA9B-D63F-F6B0-2FABDFB3A480}"/>
              </a:ext>
            </a:extLst>
          </p:cNvPr>
          <p:cNvGrpSpPr/>
          <p:nvPr/>
        </p:nvGrpSpPr>
        <p:grpSpPr>
          <a:xfrm>
            <a:off x="2100138" y="1867297"/>
            <a:ext cx="862059" cy="2331318"/>
            <a:chOff x="2800183" y="2489730"/>
            <a:chExt cx="978599" cy="3108423"/>
          </a:xfrm>
        </p:grpSpPr>
        <p:sp>
          <p:nvSpPr>
            <p:cNvPr id="3" name="TextBox 2">
              <a:extLst>
                <a:ext uri="{FF2B5EF4-FFF2-40B4-BE49-F238E27FC236}">
                  <a16:creationId xmlns:a16="http://schemas.microsoft.com/office/drawing/2014/main" id="{304C35CE-5B58-43A1-8988-7FFFD7ED9C0B}"/>
                </a:ext>
              </a:extLst>
            </p:cNvPr>
            <p:cNvSpPr txBox="1"/>
            <p:nvPr/>
          </p:nvSpPr>
          <p:spPr>
            <a:xfrm>
              <a:off x="3213459" y="2489730"/>
              <a:ext cx="565323" cy="553997"/>
            </a:xfrm>
            <a:prstGeom prst="rect">
              <a:avLst/>
            </a:prstGeom>
            <a:ln w="19050">
              <a:solidFill>
                <a:srgbClr val="92D050"/>
              </a:solidFill>
            </a:ln>
          </p:spPr>
          <p:style>
            <a:lnRef idx="2">
              <a:schemeClr val="accent3"/>
            </a:lnRef>
            <a:fillRef idx="1">
              <a:schemeClr val="lt1"/>
            </a:fillRef>
            <a:effectRef idx="0">
              <a:schemeClr val="accent3"/>
            </a:effectRef>
            <a:fontRef idx="minor">
              <a:schemeClr val="dk1"/>
            </a:fontRef>
          </p:style>
          <p:txBody>
            <a:bodyPr wrap="square" rtlCol="0">
              <a:spAutoFit/>
            </a:bodyPr>
            <a:lstStyle/>
            <a:p>
              <a:pPr defTabSz="685800">
                <a:defRPr/>
              </a:pPr>
              <a:r>
                <a:rPr lang="en-IE" sz="1050">
                  <a:solidFill>
                    <a:srgbClr val="4D4D4D"/>
                  </a:solidFill>
                  <a:latin typeface="Arial"/>
                </a:rPr>
                <a:t>SPE</a:t>
              </a:r>
            </a:p>
          </p:txBody>
        </p:sp>
        <p:cxnSp>
          <p:nvCxnSpPr>
            <p:cNvPr id="12" name="Straight Connector 11">
              <a:extLst>
                <a:ext uri="{FF2B5EF4-FFF2-40B4-BE49-F238E27FC236}">
                  <a16:creationId xmlns:a16="http://schemas.microsoft.com/office/drawing/2014/main" id="{5D9975C6-78F2-C254-F145-A3558E301B35}"/>
                </a:ext>
              </a:extLst>
            </p:cNvPr>
            <p:cNvCxnSpPr>
              <a:cxnSpLocks/>
              <a:endCxn id="3" idx="1"/>
            </p:cNvCxnSpPr>
            <p:nvPr/>
          </p:nvCxnSpPr>
          <p:spPr>
            <a:xfrm>
              <a:off x="2906370" y="2704927"/>
              <a:ext cx="307089" cy="61801"/>
            </a:xfrm>
            <a:prstGeom prst="line">
              <a:avLst/>
            </a:prstGeom>
          </p:spPr>
          <p:style>
            <a:lnRef idx="1">
              <a:schemeClr val="accent1"/>
            </a:lnRef>
            <a:fillRef idx="0">
              <a:schemeClr val="accent1"/>
            </a:fillRef>
            <a:effectRef idx="0">
              <a:schemeClr val="accent1"/>
            </a:effectRef>
            <a:fontRef idx="minor">
              <a:schemeClr val="tx1"/>
            </a:fontRef>
          </p:style>
        </p:cxnSp>
        <p:grpSp>
          <p:nvGrpSpPr>
            <p:cNvPr id="71" name="Group 70">
              <a:extLst>
                <a:ext uri="{FF2B5EF4-FFF2-40B4-BE49-F238E27FC236}">
                  <a16:creationId xmlns:a16="http://schemas.microsoft.com/office/drawing/2014/main" id="{3D23EEE2-06A0-6534-98A5-FDED5A35D94B}"/>
                </a:ext>
              </a:extLst>
            </p:cNvPr>
            <p:cNvGrpSpPr/>
            <p:nvPr/>
          </p:nvGrpSpPr>
          <p:grpSpPr>
            <a:xfrm>
              <a:off x="2800183" y="4735770"/>
              <a:ext cx="654716" cy="862383"/>
              <a:chOff x="2800183" y="4735770"/>
              <a:chExt cx="654716" cy="862383"/>
            </a:xfrm>
          </p:grpSpPr>
          <p:sp>
            <p:nvSpPr>
              <p:cNvPr id="4" name="TextBox 3">
                <a:extLst>
                  <a:ext uri="{FF2B5EF4-FFF2-40B4-BE49-F238E27FC236}">
                    <a16:creationId xmlns:a16="http://schemas.microsoft.com/office/drawing/2014/main" id="{68CB7792-6E71-6686-5076-82C243193A8F}"/>
                  </a:ext>
                </a:extLst>
              </p:cNvPr>
              <p:cNvSpPr txBox="1"/>
              <p:nvPr/>
            </p:nvSpPr>
            <p:spPr>
              <a:xfrm>
                <a:off x="2889576" y="5044156"/>
                <a:ext cx="565323" cy="553997"/>
              </a:xfrm>
              <a:prstGeom prst="rect">
                <a:avLst/>
              </a:prstGeom>
              <a:ln w="19050">
                <a:solidFill>
                  <a:srgbClr val="92D050"/>
                </a:solidFill>
              </a:ln>
            </p:spPr>
            <p:style>
              <a:lnRef idx="2">
                <a:schemeClr val="accent3"/>
              </a:lnRef>
              <a:fillRef idx="1">
                <a:schemeClr val="lt1"/>
              </a:fillRef>
              <a:effectRef idx="0">
                <a:schemeClr val="accent3"/>
              </a:effectRef>
              <a:fontRef idx="minor">
                <a:schemeClr val="dk1"/>
              </a:fontRef>
            </p:style>
            <p:txBody>
              <a:bodyPr wrap="square" rtlCol="0">
                <a:spAutoFit/>
              </a:bodyPr>
              <a:lstStyle/>
              <a:p>
                <a:pPr defTabSz="685800">
                  <a:defRPr/>
                </a:pPr>
                <a:r>
                  <a:rPr lang="en-IE" sz="1050">
                    <a:solidFill>
                      <a:srgbClr val="4D4D4D"/>
                    </a:solidFill>
                    <a:latin typeface="Arial"/>
                  </a:rPr>
                  <a:t>SPE</a:t>
                </a:r>
              </a:p>
            </p:txBody>
          </p:sp>
          <p:cxnSp>
            <p:nvCxnSpPr>
              <p:cNvPr id="13" name="Straight Connector 12">
                <a:extLst>
                  <a:ext uri="{FF2B5EF4-FFF2-40B4-BE49-F238E27FC236}">
                    <a16:creationId xmlns:a16="http://schemas.microsoft.com/office/drawing/2014/main" id="{E1E34BDA-D06C-A26A-9EC7-AA59B3CC7EE0}"/>
                  </a:ext>
                </a:extLst>
              </p:cNvPr>
              <p:cNvCxnSpPr>
                <a:cxnSpLocks/>
              </p:cNvCxnSpPr>
              <p:nvPr/>
            </p:nvCxnSpPr>
            <p:spPr>
              <a:xfrm>
                <a:off x="2800183" y="4735770"/>
                <a:ext cx="212373" cy="281332"/>
              </a:xfrm>
              <a:prstGeom prst="line">
                <a:avLst/>
              </a:prstGeom>
            </p:spPr>
            <p:style>
              <a:lnRef idx="1">
                <a:schemeClr val="accent1"/>
              </a:lnRef>
              <a:fillRef idx="0">
                <a:schemeClr val="accent1"/>
              </a:fillRef>
              <a:effectRef idx="0">
                <a:schemeClr val="accent1"/>
              </a:effectRef>
              <a:fontRef idx="minor">
                <a:schemeClr val="tx1"/>
              </a:fontRef>
            </p:style>
          </p:cxnSp>
        </p:grpSp>
      </p:grpSp>
      <p:grpSp>
        <p:nvGrpSpPr>
          <p:cNvPr id="70" name="Group 69">
            <a:extLst>
              <a:ext uri="{FF2B5EF4-FFF2-40B4-BE49-F238E27FC236}">
                <a16:creationId xmlns:a16="http://schemas.microsoft.com/office/drawing/2014/main" id="{26D3E556-F7FE-F80A-4DAB-3245D223BA8A}"/>
              </a:ext>
            </a:extLst>
          </p:cNvPr>
          <p:cNvGrpSpPr/>
          <p:nvPr/>
        </p:nvGrpSpPr>
        <p:grpSpPr>
          <a:xfrm>
            <a:off x="3087193" y="2311692"/>
            <a:ext cx="571432" cy="482011"/>
            <a:chOff x="4116257" y="3082255"/>
            <a:chExt cx="565323" cy="642681"/>
          </a:xfrm>
        </p:grpSpPr>
        <p:sp>
          <p:nvSpPr>
            <p:cNvPr id="2" name="TextBox 1">
              <a:extLst>
                <a:ext uri="{FF2B5EF4-FFF2-40B4-BE49-F238E27FC236}">
                  <a16:creationId xmlns:a16="http://schemas.microsoft.com/office/drawing/2014/main" id="{2848AEDA-223B-B48A-BABA-535E7319FB6C}"/>
                </a:ext>
              </a:extLst>
            </p:cNvPr>
            <p:cNvSpPr txBox="1"/>
            <p:nvPr/>
          </p:nvSpPr>
          <p:spPr>
            <a:xfrm>
              <a:off x="4116257" y="3082255"/>
              <a:ext cx="565323" cy="553997"/>
            </a:xfrm>
            <a:prstGeom prst="rect">
              <a:avLst/>
            </a:prstGeom>
            <a:ln w="19050">
              <a:solidFill>
                <a:srgbClr val="92D050"/>
              </a:solidFill>
            </a:ln>
          </p:spPr>
          <p:style>
            <a:lnRef idx="2">
              <a:schemeClr val="accent3"/>
            </a:lnRef>
            <a:fillRef idx="1">
              <a:schemeClr val="lt1"/>
            </a:fillRef>
            <a:effectRef idx="0">
              <a:schemeClr val="accent3"/>
            </a:effectRef>
            <a:fontRef idx="minor">
              <a:schemeClr val="dk1"/>
            </a:fontRef>
          </p:style>
          <p:txBody>
            <a:bodyPr wrap="square" rtlCol="0">
              <a:spAutoFit/>
            </a:bodyPr>
            <a:lstStyle/>
            <a:p>
              <a:pPr defTabSz="685800">
                <a:defRPr/>
              </a:pPr>
              <a:r>
                <a:rPr lang="en-IE" sz="1050">
                  <a:solidFill>
                    <a:srgbClr val="4D4D4D"/>
                  </a:solidFill>
                  <a:latin typeface="Arial"/>
                </a:rPr>
                <a:t>SPE</a:t>
              </a:r>
            </a:p>
          </p:txBody>
        </p:sp>
        <p:cxnSp>
          <p:nvCxnSpPr>
            <p:cNvPr id="20" name="Straight Connector 19">
              <a:extLst>
                <a:ext uri="{FF2B5EF4-FFF2-40B4-BE49-F238E27FC236}">
                  <a16:creationId xmlns:a16="http://schemas.microsoft.com/office/drawing/2014/main" id="{CC58B085-803F-0EDD-9D5F-7E602B0E6FEB}"/>
                </a:ext>
              </a:extLst>
            </p:cNvPr>
            <p:cNvCxnSpPr>
              <a:cxnSpLocks/>
            </p:cNvCxnSpPr>
            <p:nvPr/>
          </p:nvCxnSpPr>
          <p:spPr>
            <a:xfrm flipV="1">
              <a:off x="4367949" y="3429000"/>
              <a:ext cx="0" cy="295936"/>
            </a:xfrm>
            <a:prstGeom prst="line">
              <a:avLst/>
            </a:prstGeom>
          </p:spPr>
          <p:style>
            <a:lnRef idx="1">
              <a:schemeClr val="accent1"/>
            </a:lnRef>
            <a:fillRef idx="0">
              <a:schemeClr val="accent1"/>
            </a:fillRef>
            <a:effectRef idx="0">
              <a:schemeClr val="accent1"/>
            </a:effectRef>
            <a:fontRef idx="minor">
              <a:schemeClr val="tx1"/>
            </a:fontRef>
          </p:style>
        </p:cxnSp>
      </p:grpSp>
      <p:sp>
        <p:nvSpPr>
          <p:cNvPr id="49" name="Rectangle 105">
            <a:extLst>
              <a:ext uri="{FF2B5EF4-FFF2-40B4-BE49-F238E27FC236}">
                <a16:creationId xmlns:a16="http://schemas.microsoft.com/office/drawing/2014/main" id="{AC34F828-267C-5EA6-CEB7-C4DF90D0804A}"/>
              </a:ext>
            </a:extLst>
          </p:cNvPr>
          <p:cNvSpPr/>
          <p:nvPr/>
        </p:nvSpPr>
        <p:spPr>
          <a:xfrm>
            <a:off x="5553372" y="3498231"/>
            <a:ext cx="743156" cy="413578"/>
          </a:xfrm>
          <a:prstGeom prst="round2DiagRect">
            <a:avLst>
              <a:gd name="adj1" fmla="val 20130"/>
              <a:gd name="adj2" fmla="val 4617"/>
            </a:avLst>
          </a:prstGeom>
          <a:noFill/>
          <a:ln w="12700" cap="flat" cmpd="sng" algn="ctr">
            <a:solidFill>
              <a:srgbClr val="4472C4">
                <a:shade val="15000"/>
              </a:srgbClr>
            </a:solidFill>
            <a:prstDash val="solid"/>
            <a:miter lim="800000"/>
          </a:ln>
          <a:effectLst/>
        </p:spPr>
        <p:txBody>
          <a:bodyPr rtlCol="0" anchor="ctr"/>
          <a:lstStyle/>
          <a:p>
            <a:pPr algn="ctr" defTabSz="685800">
              <a:defRPr/>
            </a:pPr>
            <a:r>
              <a:rPr lang="en-US" sz="750" b="1">
                <a:solidFill>
                  <a:prstClr val="black"/>
                </a:solidFill>
                <a:latin typeface="Calibri" panose="020F0502020204030204" pitchFamily="34" charset="0"/>
                <a:cs typeface="Calibri" panose="020F0502020204030204" pitchFamily="34" charset="0"/>
              </a:rPr>
              <a:t>Contact Point</a:t>
            </a:r>
            <a:endParaRPr lang="en-GR" sz="750" b="1">
              <a:solidFill>
                <a:prstClr val="black"/>
              </a:solidFill>
              <a:latin typeface="Calibri" panose="020F0502020204030204" pitchFamily="34" charset="0"/>
              <a:cs typeface="Calibri" panose="020F0502020204030204" pitchFamily="34" charset="0"/>
            </a:endParaRPr>
          </a:p>
        </p:txBody>
      </p:sp>
      <p:grpSp>
        <p:nvGrpSpPr>
          <p:cNvPr id="57" name="Group 56">
            <a:extLst>
              <a:ext uri="{FF2B5EF4-FFF2-40B4-BE49-F238E27FC236}">
                <a16:creationId xmlns:a16="http://schemas.microsoft.com/office/drawing/2014/main" id="{2B5FE0C2-E8F2-AD00-C967-BA34D7A71056}"/>
              </a:ext>
            </a:extLst>
          </p:cNvPr>
          <p:cNvGrpSpPr/>
          <p:nvPr/>
        </p:nvGrpSpPr>
        <p:grpSpPr>
          <a:xfrm>
            <a:off x="4123757" y="1558806"/>
            <a:ext cx="1285124" cy="1109751"/>
            <a:chOff x="5517617" y="2426963"/>
            <a:chExt cx="1713499" cy="1479668"/>
          </a:xfrm>
        </p:grpSpPr>
        <p:pic>
          <p:nvPicPr>
            <p:cNvPr id="41" name="Graphic 40" descr="Database outline">
              <a:extLst>
                <a:ext uri="{FF2B5EF4-FFF2-40B4-BE49-F238E27FC236}">
                  <a16:creationId xmlns:a16="http://schemas.microsoft.com/office/drawing/2014/main" id="{CC728D03-68F3-9AB0-21F8-343AE81A62A8}"/>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517617" y="2749429"/>
              <a:ext cx="492597" cy="492597"/>
            </a:xfrm>
            <a:prstGeom prst="rect">
              <a:avLst/>
            </a:prstGeom>
          </p:spPr>
        </p:pic>
        <p:sp>
          <p:nvSpPr>
            <p:cNvPr id="62" name="Rectangle 105">
              <a:extLst>
                <a:ext uri="{FF2B5EF4-FFF2-40B4-BE49-F238E27FC236}">
                  <a16:creationId xmlns:a16="http://schemas.microsoft.com/office/drawing/2014/main" id="{7F1893D7-AD6C-55A9-558E-CEEF84997E5A}"/>
                </a:ext>
              </a:extLst>
            </p:cNvPr>
            <p:cNvSpPr/>
            <p:nvPr/>
          </p:nvSpPr>
          <p:spPr>
            <a:xfrm>
              <a:off x="5692880" y="3174943"/>
              <a:ext cx="1538236" cy="731688"/>
            </a:xfrm>
            <a:prstGeom prst="round2DiagRect">
              <a:avLst>
                <a:gd name="adj1" fmla="val 18888"/>
                <a:gd name="adj2" fmla="val 0"/>
              </a:avLst>
            </a:prstGeom>
            <a:noFill/>
            <a:ln w="12700" cap="flat" cmpd="sng" algn="ctr">
              <a:noFill/>
              <a:prstDash val="solid"/>
              <a:miter lim="800000"/>
            </a:ln>
            <a:effectLst/>
          </p:spPr>
          <p:txBody>
            <a:bodyPr rtlCol="0" anchor="t"/>
            <a:lstStyle/>
            <a:p>
              <a:pPr algn="ctr" defTabSz="685800">
                <a:defRPr/>
              </a:pPr>
              <a:r>
                <a:rPr lang="en-GB" sz="1050" b="1" kern="0">
                  <a:solidFill>
                    <a:prstClr val="black"/>
                  </a:solidFill>
                  <a:latin typeface="Calibri" panose="020F0502020204030204" pitchFamily="34" charset="0"/>
                  <a:cs typeface="Calibri" panose="020F0502020204030204" pitchFamily="34" charset="0"/>
                </a:rPr>
                <a:t>HealthData@EU Central Platform</a:t>
              </a:r>
            </a:p>
            <a:p>
              <a:pPr algn="ctr" defTabSz="685800">
                <a:defRPr/>
              </a:pPr>
              <a:r>
                <a:rPr lang="en-GB" sz="1050" b="1" kern="0">
                  <a:solidFill>
                    <a:prstClr val="black"/>
                  </a:solidFill>
                  <a:latin typeface="Calibri" panose="020F0502020204030204" pitchFamily="34" charset="0"/>
                  <a:cs typeface="Calibri" panose="020F0502020204030204" pitchFamily="34" charset="0"/>
                </a:rPr>
                <a:t>EU Dataset Catalogue</a:t>
              </a:r>
            </a:p>
          </p:txBody>
        </p:sp>
        <p:pic>
          <p:nvPicPr>
            <p:cNvPr id="63" name="Graphic 62" descr="Tablet with solid fill">
              <a:extLst>
                <a:ext uri="{FF2B5EF4-FFF2-40B4-BE49-F238E27FC236}">
                  <a16:creationId xmlns:a16="http://schemas.microsoft.com/office/drawing/2014/main" id="{B8C546E5-4193-E59A-A725-7710E2F9D3AB}"/>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5967663" y="2426963"/>
              <a:ext cx="896516" cy="896516"/>
            </a:xfrm>
            <a:prstGeom prst="rect">
              <a:avLst/>
            </a:prstGeom>
          </p:spPr>
        </p:pic>
      </p:grpSp>
      <p:cxnSp>
        <p:nvCxnSpPr>
          <p:cNvPr id="73" name="Straight Arrow Connector 72">
            <a:extLst>
              <a:ext uri="{FF2B5EF4-FFF2-40B4-BE49-F238E27FC236}">
                <a16:creationId xmlns:a16="http://schemas.microsoft.com/office/drawing/2014/main" id="{C79DB083-9923-1587-C620-E01B18D5ACE3}"/>
              </a:ext>
            </a:extLst>
          </p:cNvPr>
          <p:cNvCxnSpPr>
            <a:cxnSpLocks/>
          </p:cNvCxnSpPr>
          <p:nvPr/>
        </p:nvCxnSpPr>
        <p:spPr>
          <a:xfrm flipH="1">
            <a:off x="6205740" y="1722867"/>
            <a:ext cx="266842"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82" name="Straight Arrow Connector 81">
            <a:extLst>
              <a:ext uri="{FF2B5EF4-FFF2-40B4-BE49-F238E27FC236}">
                <a16:creationId xmlns:a16="http://schemas.microsoft.com/office/drawing/2014/main" id="{5469D55C-06EF-B40B-1189-9539D0B08B00}"/>
              </a:ext>
            </a:extLst>
          </p:cNvPr>
          <p:cNvCxnSpPr>
            <a:cxnSpLocks/>
          </p:cNvCxnSpPr>
          <p:nvPr/>
        </p:nvCxnSpPr>
        <p:spPr>
          <a:xfrm flipH="1">
            <a:off x="6339161" y="3747735"/>
            <a:ext cx="266842"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grpSp>
        <p:nvGrpSpPr>
          <p:cNvPr id="88" name="Group 87">
            <a:extLst>
              <a:ext uri="{FF2B5EF4-FFF2-40B4-BE49-F238E27FC236}">
                <a16:creationId xmlns:a16="http://schemas.microsoft.com/office/drawing/2014/main" id="{3C21F36F-026E-C79C-30FB-2319E000535D}"/>
              </a:ext>
            </a:extLst>
          </p:cNvPr>
          <p:cNvGrpSpPr/>
          <p:nvPr/>
        </p:nvGrpSpPr>
        <p:grpSpPr>
          <a:xfrm>
            <a:off x="6655198" y="2929974"/>
            <a:ext cx="2488802" cy="1607648"/>
            <a:chOff x="8873598" y="3906632"/>
            <a:chExt cx="3318402" cy="2143530"/>
          </a:xfrm>
        </p:grpSpPr>
        <p:sp>
          <p:nvSpPr>
            <p:cNvPr id="84" name="TextBox 83">
              <a:extLst>
                <a:ext uri="{FF2B5EF4-FFF2-40B4-BE49-F238E27FC236}">
                  <a16:creationId xmlns:a16="http://schemas.microsoft.com/office/drawing/2014/main" id="{903E5D06-B565-DE2E-9D06-A46F5DB14CB1}"/>
                </a:ext>
              </a:extLst>
            </p:cNvPr>
            <p:cNvSpPr txBox="1"/>
            <p:nvPr/>
          </p:nvSpPr>
          <p:spPr>
            <a:xfrm>
              <a:off x="9130230" y="4026649"/>
              <a:ext cx="2656674" cy="492443"/>
            </a:xfrm>
            <a:prstGeom prst="rect">
              <a:avLst/>
            </a:prstGeom>
            <a:noFill/>
          </p:spPr>
          <p:txBody>
            <a:bodyPr wrap="square">
              <a:spAutoFit/>
            </a:bodyPr>
            <a:lstStyle/>
            <a:p>
              <a:pPr algn="ctr" defTabSz="685800">
                <a:defRPr/>
              </a:pPr>
              <a:r>
                <a:rPr lang="en-GB" sz="900" b="1" kern="0">
                  <a:solidFill>
                    <a:prstClr val="black"/>
                  </a:solidFill>
                  <a:latin typeface="Arial"/>
                  <a:ea typeface="Tahoma" panose="020B0604030504040204" pitchFamily="34" charset="0"/>
                  <a:cs typeface="Tahoma" panose="020B0604030504040204" pitchFamily="34" charset="0"/>
                </a:rPr>
                <a:t>HealthData@EU other authorised participants</a:t>
              </a:r>
            </a:p>
          </p:txBody>
        </p:sp>
        <p:sp>
          <p:nvSpPr>
            <p:cNvPr id="85" name="Rectangle: Rounded Corners 84">
              <a:extLst>
                <a:ext uri="{FF2B5EF4-FFF2-40B4-BE49-F238E27FC236}">
                  <a16:creationId xmlns:a16="http://schemas.microsoft.com/office/drawing/2014/main" id="{3FF3849B-AD92-D299-43AB-C31256D3F791}"/>
                </a:ext>
              </a:extLst>
            </p:cNvPr>
            <p:cNvSpPr/>
            <p:nvPr/>
          </p:nvSpPr>
          <p:spPr>
            <a:xfrm>
              <a:off x="8873598" y="3906632"/>
              <a:ext cx="3318402" cy="2143530"/>
            </a:xfrm>
            <a:prstGeom prst="round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85800">
                <a:defRPr/>
              </a:pPr>
              <a:endParaRPr lang="en-IE" sz="1350">
                <a:solidFill>
                  <a:srgbClr val="FFFFFF"/>
                </a:solidFill>
                <a:latin typeface="Arial"/>
              </a:endParaRPr>
            </a:p>
          </p:txBody>
        </p:sp>
      </p:grpSp>
      <p:cxnSp>
        <p:nvCxnSpPr>
          <p:cNvPr id="91" name="Straight Arrow Connector 90">
            <a:extLst>
              <a:ext uri="{FF2B5EF4-FFF2-40B4-BE49-F238E27FC236}">
                <a16:creationId xmlns:a16="http://schemas.microsoft.com/office/drawing/2014/main" id="{DF592FB6-C4F5-C0E5-DC09-BB8EED33F90F}"/>
              </a:ext>
            </a:extLst>
          </p:cNvPr>
          <p:cNvCxnSpPr>
            <a:cxnSpLocks/>
          </p:cNvCxnSpPr>
          <p:nvPr/>
        </p:nvCxnSpPr>
        <p:spPr>
          <a:xfrm>
            <a:off x="2509250" y="3259679"/>
            <a:ext cx="268526" cy="2053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94" name="Rectangle 105">
            <a:extLst>
              <a:ext uri="{FF2B5EF4-FFF2-40B4-BE49-F238E27FC236}">
                <a16:creationId xmlns:a16="http://schemas.microsoft.com/office/drawing/2014/main" id="{02A3C14C-921C-0819-23A6-F38E2DDD089F}"/>
              </a:ext>
            </a:extLst>
          </p:cNvPr>
          <p:cNvSpPr/>
          <p:nvPr/>
        </p:nvSpPr>
        <p:spPr>
          <a:xfrm>
            <a:off x="4385555" y="2846805"/>
            <a:ext cx="799807" cy="413578"/>
          </a:xfrm>
          <a:prstGeom prst="round2DiagRect">
            <a:avLst>
              <a:gd name="adj1" fmla="val 20130"/>
              <a:gd name="adj2" fmla="val 4617"/>
            </a:avLst>
          </a:prstGeom>
          <a:noFill/>
          <a:ln w="12700" cap="flat" cmpd="sng" algn="ctr">
            <a:solidFill>
              <a:srgbClr val="4472C4">
                <a:shade val="15000"/>
              </a:srgbClr>
            </a:solidFill>
            <a:prstDash val="solid"/>
            <a:miter lim="800000"/>
          </a:ln>
          <a:effectLst/>
        </p:spPr>
        <p:txBody>
          <a:bodyPr rtlCol="0" anchor="ctr"/>
          <a:lstStyle/>
          <a:p>
            <a:pPr algn="ctr" defTabSz="685800">
              <a:defRPr/>
            </a:pPr>
            <a:r>
              <a:rPr lang="en-US" sz="750" b="1">
                <a:solidFill>
                  <a:prstClr val="black"/>
                </a:solidFill>
                <a:latin typeface="Calibri" panose="020F0502020204030204" pitchFamily="34" charset="0"/>
                <a:cs typeface="Calibri" panose="020F0502020204030204" pitchFamily="34" charset="0"/>
              </a:rPr>
              <a:t>Cross border Gateway – Central node</a:t>
            </a:r>
            <a:endParaRPr lang="en-GR" sz="750" b="1">
              <a:solidFill>
                <a:prstClr val="black"/>
              </a:solidFill>
              <a:latin typeface="Calibri" panose="020F0502020204030204" pitchFamily="34" charset="0"/>
              <a:cs typeface="Calibri" panose="020F0502020204030204" pitchFamily="34" charset="0"/>
            </a:endParaRPr>
          </a:p>
        </p:txBody>
      </p:sp>
      <p:cxnSp>
        <p:nvCxnSpPr>
          <p:cNvPr id="96" name="Straight Arrow Connector 95">
            <a:extLst>
              <a:ext uri="{FF2B5EF4-FFF2-40B4-BE49-F238E27FC236}">
                <a16:creationId xmlns:a16="http://schemas.microsoft.com/office/drawing/2014/main" id="{3FBD6409-1CB5-989A-7B32-1BEE873AF1C4}"/>
              </a:ext>
            </a:extLst>
          </p:cNvPr>
          <p:cNvCxnSpPr>
            <a:cxnSpLocks/>
          </p:cNvCxnSpPr>
          <p:nvPr/>
        </p:nvCxnSpPr>
        <p:spPr>
          <a:xfrm flipH="1">
            <a:off x="5183412" y="2001244"/>
            <a:ext cx="577460" cy="764393"/>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98" name="Straight Arrow Connector 97">
            <a:extLst>
              <a:ext uri="{FF2B5EF4-FFF2-40B4-BE49-F238E27FC236}">
                <a16:creationId xmlns:a16="http://schemas.microsoft.com/office/drawing/2014/main" id="{AF10AE4D-4762-EFEA-25E8-F7D24F97BABA}"/>
              </a:ext>
            </a:extLst>
          </p:cNvPr>
          <p:cNvCxnSpPr>
            <a:cxnSpLocks/>
          </p:cNvCxnSpPr>
          <p:nvPr/>
        </p:nvCxnSpPr>
        <p:spPr>
          <a:xfrm>
            <a:off x="5148135" y="3285996"/>
            <a:ext cx="362605" cy="273427"/>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02" name="Straight Arrow Connector 101">
            <a:extLst>
              <a:ext uri="{FF2B5EF4-FFF2-40B4-BE49-F238E27FC236}">
                <a16:creationId xmlns:a16="http://schemas.microsoft.com/office/drawing/2014/main" id="{EBBAF3AD-C2FB-0354-4302-5FA047E6850C}"/>
              </a:ext>
            </a:extLst>
          </p:cNvPr>
          <p:cNvCxnSpPr>
            <a:cxnSpLocks/>
            <a:stCxn id="21" idx="0"/>
          </p:cNvCxnSpPr>
          <p:nvPr/>
        </p:nvCxnSpPr>
        <p:spPr>
          <a:xfrm>
            <a:off x="4128692" y="2915931"/>
            <a:ext cx="249956" cy="137663"/>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grpSp>
        <p:nvGrpSpPr>
          <p:cNvPr id="60" name="Group 59">
            <a:extLst>
              <a:ext uri="{FF2B5EF4-FFF2-40B4-BE49-F238E27FC236}">
                <a16:creationId xmlns:a16="http://schemas.microsoft.com/office/drawing/2014/main" id="{3996029E-AA0F-4377-5959-419052B28DB5}"/>
              </a:ext>
            </a:extLst>
          </p:cNvPr>
          <p:cNvGrpSpPr/>
          <p:nvPr/>
        </p:nvGrpSpPr>
        <p:grpSpPr>
          <a:xfrm>
            <a:off x="7697842" y="3559424"/>
            <a:ext cx="917720" cy="989739"/>
            <a:chOff x="10263790" y="4745897"/>
            <a:chExt cx="1223626" cy="1319652"/>
          </a:xfrm>
        </p:grpSpPr>
        <p:sp>
          <p:nvSpPr>
            <p:cNvPr id="18" name="TextBox 17">
              <a:extLst>
                <a:ext uri="{FF2B5EF4-FFF2-40B4-BE49-F238E27FC236}">
                  <a16:creationId xmlns:a16="http://schemas.microsoft.com/office/drawing/2014/main" id="{25A5359B-7487-C9E6-174E-BA69582C4EB3}"/>
                </a:ext>
              </a:extLst>
            </p:cNvPr>
            <p:cNvSpPr txBox="1"/>
            <p:nvPr/>
          </p:nvSpPr>
          <p:spPr>
            <a:xfrm>
              <a:off x="10263790" y="5326885"/>
              <a:ext cx="1119753" cy="738664"/>
            </a:xfrm>
            <a:prstGeom prst="rect">
              <a:avLst/>
            </a:prstGeom>
            <a:noFill/>
            <a:ln>
              <a:noFill/>
              <a:prstDash val="solid"/>
            </a:ln>
            <a:effectLst>
              <a:outerShdw blurRad="50800" dist="38100" dir="2700000" algn="tl" rotWithShape="0">
                <a:prstClr val="black">
                  <a:alpha val="40000"/>
                </a:prstClr>
              </a:outerShdw>
            </a:effectLst>
          </p:spPr>
          <p:txBody>
            <a:bodyPr wrap="square" anchor="ctr">
              <a:spAutoFit/>
            </a:bodyPr>
            <a:lstStyle/>
            <a:p>
              <a:pPr algn="ctr" defTabSz="685800">
                <a:defRPr/>
              </a:pPr>
              <a:r>
                <a:rPr lang="en-GB" sz="750" b="1">
                  <a:solidFill>
                    <a:prstClr val="black"/>
                  </a:solidFill>
                  <a:latin typeface="Calibri" panose="020F0502020204030204"/>
                </a:rPr>
                <a:t>Health-related research infrastructures Portal</a:t>
              </a:r>
            </a:p>
          </p:txBody>
        </p:sp>
        <p:pic>
          <p:nvPicPr>
            <p:cNvPr id="19" name="Graphic 18" descr="Database outline">
              <a:extLst>
                <a:ext uri="{FF2B5EF4-FFF2-40B4-BE49-F238E27FC236}">
                  <a16:creationId xmlns:a16="http://schemas.microsoft.com/office/drawing/2014/main" id="{B181BB06-3062-55E7-A785-0C3458D1DA1F}"/>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1097311" y="4996980"/>
              <a:ext cx="390105" cy="390105"/>
            </a:xfrm>
            <a:prstGeom prst="rect">
              <a:avLst/>
            </a:prstGeom>
          </p:spPr>
        </p:pic>
        <p:pic>
          <p:nvPicPr>
            <p:cNvPr id="22" name="Graphic 21" descr="Cloud Computing outline">
              <a:extLst>
                <a:ext uri="{FF2B5EF4-FFF2-40B4-BE49-F238E27FC236}">
                  <a16:creationId xmlns:a16="http://schemas.microsoft.com/office/drawing/2014/main" id="{368E0E2A-32E9-99DD-25BE-56A07BC434E9}"/>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0528412" y="4745897"/>
              <a:ext cx="710327" cy="710327"/>
            </a:xfrm>
            <a:prstGeom prst="rect">
              <a:avLst/>
            </a:prstGeom>
          </p:spPr>
        </p:pic>
      </p:grpSp>
      <p:grpSp>
        <p:nvGrpSpPr>
          <p:cNvPr id="59" name="Group 58">
            <a:extLst>
              <a:ext uri="{FF2B5EF4-FFF2-40B4-BE49-F238E27FC236}">
                <a16:creationId xmlns:a16="http://schemas.microsoft.com/office/drawing/2014/main" id="{305BC923-4881-278C-4E44-E23411E55968}"/>
              </a:ext>
            </a:extLst>
          </p:cNvPr>
          <p:cNvGrpSpPr/>
          <p:nvPr/>
        </p:nvGrpSpPr>
        <p:grpSpPr>
          <a:xfrm>
            <a:off x="6655199" y="3545951"/>
            <a:ext cx="956227" cy="1091746"/>
            <a:chOff x="8873596" y="4727934"/>
            <a:chExt cx="1274969" cy="1455661"/>
          </a:xfrm>
        </p:grpSpPr>
        <p:pic>
          <p:nvPicPr>
            <p:cNvPr id="61" name="Graphic 60" descr="Database outline">
              <a:extLst>
                <a:ext uri="{FF2B5EF4-FFF2-40B4-BE49-F238E27FC236}">
                  <a16:creationId xmlns:a16="http://schemas.microsoft.com/office/drawing/2014/main" id="{71BA1DDA-9B4A-813A-30F2-D8DA6DA136BE}"/>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758460" y="5082030"/>
              <a:ext cx="390105" cy="390105"/>
            </a:xfrm>
            <a:prstGeom prst="rect">
              <a:avLst/>
            </a:prstGeom>
          </p:spPr>
        </p:pic>
        <p:sp>
          <p:nvSpPr>
            <p:cNvPr id="67" name="TextBox 66">
              <a:extLst>
                <a:ext uri="{FF2B5EF4-FFF2-40B4-BE49-F238E27FC236}">
                  <a16:creationId xmlns:a16="http://schemas.microsoft.com/office/drawing/2014/main" id="{1F855E92-11D1-E27A-8870-B52E5F457B82}"/>
                </a:ext>
              </a:extLst>
            </p:cNvPr>
            <p:cNvSpPr txBox="1"/>
            <p:nvPr/>
          </p:nvSpPr>
          <p:spPr>
            <a:xfrm rot="5400000">
              <a:off x="9064633" y="5099664"/>
              <a:ext cx="892894" cy="1274967"/>
            </a:xfrm>
            <a:prstGeom prst="rect">
              <a:avLst/>
            </a:prstGeom>
            <a:noFill/>
            <a:ln>
              <a:noFill/>
              <a:prstDash val="solid"/>
            </a:ln>
            <a:effectLst>
              <a:outerShdw blurRad="50800" dist="38100" dir="2700000" algn="tl" rotWithShape="0">
                <a:prstClr val="black">
                  <a:alpha val="40000"/>
                </a:prstClr>
              </a:outerShdw>
            </a:effectLst>
          </p:spPr>
          <p:txBody>
            <a:bodyPr vert="vert270" wrap="square">
              <a:spAutoFit/>
            </a:bodyPr>
            <a:lstStyle/>
            <a:p>
              <a:pPr algn="ctr" defTabSz="685800">
                <a:defRPr/>
              </a:pPr>
              <a:r>
                <a:rPr lang="en-GB" sz="788" b="1">
                  <a:solidFill>
                    <a:prstClr val="black"/>
                  </a:solidFill>
                  <a:latin typeface="Calibri" panose="020F0502020204030204"/>
                </a:rPr>
                <a:t>Third country or international organisation </a:t>
              </a:r>
            </a:p>
            <a:p>
              <a:pPr algn="ctr" defTabSz="685800">
                <a:defRPr/>
              </a:pPr>
              <a:r>
                <a:rPr lang="en-GB" sz="788" b="1">
                  <a:solidFill>
                    <a:prstClr val="black"/>
                  </a:solidFill>
                  <a:latin typeface="Calibri" panose="020F0502020204030204"/>
                </a:rPr>
                <a:t>Portal</a:t>
              </a:r>
              <a:endParaRPr lang="en-GB" sz="788" b="1">
                <a:solidFill>
                  <a:prstClr val="black"/>
                </a:solidFill>
                <a:latin typeface="Calibri" panose="020F0502020204030204" pitchFamily="34" charset="0"/>
                <a:cs typeface="Calibri" panose="020F0502020204030204" pitchFamily="34" charset="0"/>
              </a:endParaRPr>
            </a:p>
          </p:txBody>
        </p:sp>
        <p:pic>
          <p:nvPicPr>
            <p:cNvPr id="6" name="Graphic 5" descr="Cloud Computing outline">
              <a:extLst>
                <a:ext uri="{FF2B5EF4-FFF2-40B4-BE49-F238E27FC236}">
                  <a16:creationId xmlns:a16="http://schemas.microsoft.com/office/drawing/2014/main" id="{8D92C112-D552-30F4-39D3-656A5453EC4C}"/>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9219860" y="4727934"/>
              <a:ext cx="710327" cy="710327"/>
            </a:xfrm>
            <a:prstGeom prst="rect">
              <a:avLst/>
            </a:prstGeom>
          </p:spPr>
        </p:pic>
      </p:grpSp>
      <p:grpSp>
        <p:nvGrpSpPr>
          <p:cNvPr id="69" name="Group 68">
            <a:extLst>
              <a:ext uri="{FF2B5EF4-FFF2-40B4-BE49-F238E27FC236}">
                <a16:creationId xmlns:a16="http://schemas.microsoft.com/office/drawing/2014/main" id="{43B19E6F-D9DF-3C3D-DF3E-AE123F3C5EE1}"/>
              </a:ext>
            </a:extLst>
          </p:cNvPr>
          <p:cNvGrpSpPr/>
          <p:nvPr/>
        </p:nvGrpSpPr>
        <p:grpSpPr>
          <a:xfrm>
            <a:off x="6570371" y="2223046"/>
            <a:ext cx="868753" cy="2923312"/>
            <a:chOff x="8760494" y="2964061"/>
            <a:chExt cx="951529" cy="3897748"/>
          </a:xfrm>
        </p:grpSpPr>
        <p:sp>
          <p:nvSpPr>
            <p:cNvPr id="64" name="TextBox 63">
              <a:extLst>
                <a:ext uri="{FF2B5EF4-FFF2-40B4-BE49-F238E27FC236}">
                  <a16:creationId xmlns:a16="http://schemas.microsoft.com/office/drawing/2014/main" id="{E62EDC8B-BE29-727C-C0EC-DD829AF383AB}"/>
                </a:ext>
              </a:extLst>
            </p:cNvPr>
            <p:cNvSpPr txBox="1"/>
            <p:nvPr/>
          </p:nvSpPr>
          <p:spPr>
            <a:xfrm>
              <a:off x="8760494" y="3220152"/>
              <a:ext cx="565322" cy="553997"/>
            </a:xfrm>
            <a:prstGeom prst="rect">
              <a:avLst/>
            </a:prstGeom>
            <a:ln w="19050">
              <a:solidFill>
                <a:srgbClr val="92D050"/>
              </a:solidFill>
            </a:ln>
          </p:spPr>
          <p:style>
            <a:lnRef idx="2">
              <a:schemeClr val="accent3"/>
            </a:lnRef>
            <a:fillRef idx="1">
              <a:schemeClr val="lt1"/>
            </a:fillRef>
            <a:effectRef idx="0">
              <a:schemeClr val="accent3"/>
            </a:effectRef>
            <a:fontRef idx="minor">
              <a:schemeClr val="dk1"/>
            </a:fontRef>
          </p:style>
          <p:txBody>
            <a:bodyPr wrap="square" rtlCol="0">
              <a:spAutoFit/>
            </a:bodyPr>
            <a:lstStyle/>
            <a:p>
              <a:pPr defTabSz="685800">
                <a:defRPr/>
              </a:pPr>
              <a:r>
                <a:rPr lang="en-IE" sz="1050">
                  <a:solidFill>
                    <a:srgbClr val="4D4D4D"/>
                  </a:solidFill>
                  <a:latin typeface="Arial"/>
                </a:rPr>
                <a:t>SPE</a:t>
              </a:r>
            </a:p>
          </p:txBody>
        </p:sp>
        <p:cxnSp>
          <p:nvCxnSpPr>
            <p:cNvPr id="27" name="Straight Connector 26">
              <a:extLst>
                <a:ext uri="{FF2B5EF4-FFF2-40B4-BE49-F238E27FC236}">
                  <a16:creationId xmlns:a16="http://schemas.microsoft.com/office/drawing/2014/main" id="{0E072F8E-3F80-C693-1AC5-783192244918}"/>
                </a:ext>
              </a:extLst>
            </p:cNvPr>
            <p:cNvCxnSpPr>
              <a:cxnSpLocks/>
            </p:cNvCxnSpPr>
            <p:nvPr/>
          </p:nvCxnSpPr>
          <p:spPr>
            <a:xfrm flipH="1">
              <a:off x="9024856" y="2964061"/>
              <a:ext cx="2371" cy="217141"/>
            </a:xfrm>
            <a:prstGeom prst="line">
              <a:avLst/>
            </a:prstGeom>
          </p:spPr>
          <p:style>
            <a:lnRef idx="1">
              <a:schemeClr val="accent1"/>
            </a:lnRef>
            <a:fillRef idx="0">
              <a:schemeClr val="accent1"/>
            </a:fillRef>
            <a:effectRef idx="0">
              <a:schemeClr val="accent1"/>
            </a:effectRef>
            <a:fontRef idx="minor">
              <a:schemeClr val="tx1"/>
            </a:fontRef>
          </p:style>
        </p:cxnSp>
        <p:grpSp>
          <p:nvGrpSpPr>
            <p:cNvPr id="68" name="Group 67">
              <a:extLst>
                <a:ext uri="{FF2B5EF4-FFF2-40B4-BE49-F238E27FC236}">
                  <a16:creationId xmlns:a16="http://schemas.microsoft.com/office/drawing/2014/main" id="{EC1DA7CD-575E-65AC-360B-6F93E604E434}"/>
                </a:ext>
              </a:extLst>
            </p:cNvPr>
            <p:cNvGrpSpPr/>
            <p:nvPr/>
          </p:nvGrpSpPr>
          <p:grpSpPr>
            <a:xfrm>
              <a:off x="9146700" y="6051720"/>
              <a:ext cx="565323" cy="810089"/>
              <a:chOff x="9146700" y="6051720"/>
              <a:chExt cx="565323" cy="810089"/>
            </a:xfrm>
          </p:grpSpPr>
          <p:sp>
            <p:nvSpPr>
              <p:cNvPr id="24" name="TextBox 23">
                <a:extLst>
                  <a:ext uri="{FF2B5EF4-FFF2-40B4-BE49-F238E27FC236}">
                    <a16:creationId xmlns:a16="http://schemas.microsoft.com/office/drawing/2014/main" id="{ACE2B882-EA1C-1D07-150A-4170A7C1D4AD}"/>
                  </a:ext>
                </a:extLst>
              </p:cNvPr>
              <p:cNvSpPr txBox="1"/>
              <p:nvPr/>
            </p:nvSpPr>
            <p:spPr>
              <a:xfrm>
                <a:off x="9146700" y="6307811"/>
                <a:ext cx="565323" cy="553998"/>
              </a:xfrm>
              <a:prstGeom prst="rect">
                <a:avLst/>
              </a:prstGeom>
              <a:ln w="19050">
                <a:solidFill>
                  <a:srgbClr val="92D050"/>
                </a:solidFill>
              </a:ln>
            </p:spPr>
            <p:style>
              <a:lnRef idx="2">
                <a:schemeClr val="accent3"/>
              </a:lnRef>
              <a:fillRef idx="1">
                <a:schemeClr val="lt1"/>
              </a:fillRef>
              <a:effectRef idx="0">
                <a:schemeClr val="accent3"/>
              </a:effectRef>
              <a:fontRef idx="minor">
                <a:schemeClr val="dk1"/>
              </a:fontRef>
            </p:style>
            <p:txBody>
              <a:bodyPr wrap="square" rtlCol="0">
                <a:spAutoFit/>
              </a:bodyPr>
              <a:lstStyle/>
              <a:p>
                <a:pPr defTabSz="685800">
                  <a:defRPr/>
                </a:pPr>
                <a:r>
                  <a:rPr lang="en-IE" sz="1050">
                    <a:solidFill>
                      <a:srgbClr val="4D4D4D"/>
                    </a:solidFill>
                    <a:latin typeface="Arial"/>
                  </a:rPr>
                  <a:t>SPE</a:t>
                </a:r>
              </a:p>
            </p:txBody>
          </p:sp>
          <p:cxnSp>
            <p:nvCxnSpPr>
              <p:cNvPr id="25" name="Straight Connector 24">
                <a:extLst>
                  <a:ext uri="{FF2B5EF4-FFF2-40B4-BE49-F238E27FC236}">
                    <a16:creationId xmlns:a16="http://schemas.microsoft.com/office/drawing/2014/main" id="{680DA356-58E5-DF75-C49F-EB56EFA39AAA}"/>
                  </a:ext>
                </a:extLst>
              </p:cNvPr>
              <p:cNvCxnSpPr>
                <a:cxnSpLocks/>
              </p:cNvCxnSpPr>
              <p:nvPr/>
            </p:nvCxnSpPr>
            <p:spPr>
              <a:xfrm flipH="1">
                <a:off x="9411062" y="6051720"/>
                <a:ext cx="2371" cy="217141"/>
              </a:xfrm>
              <a:prstGeom prst="line">
                <a:avLst/>
              </a:prstGeom>
            </p:spPr>
            <p:style>
              <a:lnRef idx="1">
                <a:schemeClr val="accent1"/>
              </a:lnRef>
              <a:fillRef idx="0">
                <a:schemeClr val="accent1"/>
              </a:fillRef>
              <a:effectRef idx="0">
                <a:schemeClr val="accent1"/>
              </a:effectRef>
              <a:fontRef idx="minor">
                <a:schemeClr val="tx1"/>
              </a:fontRef>
            </p:style>
          </p:cxnSp>
        </p:grpSp>
      </p:grpSp>
      <p:sp>
        <p:nvSpPr>
          <p:cNvPr id="21" name="Rectangle 105">
            <a:extLst>
              <a:ext uri="{FF2B5EF4-FFF2-40B4-BE49-F238E27FC236}">
                <a16:creationId xmlns:a16="http://schemas.microsoft.com/office/drawing/2014/main" id="{36E3A192-685C-7B31-440E-2B9FAC4E5A65}"/>
              </a:ext>
            </a:extLst>
          </p:cNvPr>
          <p:cNvSpPr/>
          <p:nvPr/>
        </p:nvSpPr>
        <p:spPr>
          <a:xfrm>
            <a:off x="3525919" y="2709141"/>
            <a:ext cx="602773" cy="413578"/>
          </a:xfrm>
          <a:prstGeom prst="round2DiagRect">
            <a:avLst>
              <a:gd name="adj1" fmla="val 20130"/>
              <a:gd name="adj2" fmla="val 4617"/>
            </a:avLst>
          </a:prstGeom>
          <a:noFill/>
          <a:ln w="12700" cap="flat" cmpd="sng" algn="ctr">
            <a:solidFill>
              <a:srgbClr val="4472C4">
                <a:shade val="15000"/>
              </a:srgbClr>
            </a:solidFill>
            <a:prstDash val="solid"/>
            <a:miter lim="800000"/>
          </a:ln>
          <a:effectLst/>
        </p:spPr>
        <p:txBody>
          <a:bodyPr rtlCol="0" anchor="ctr"/>
          <a:lstStyle/>
          <a:p>
            <a:pPr algn="ctr" defTabSz="685800">
              <a:defRPr/>
            </a:pPr>
            <a:r>
              <a:rPr lang="en-US" sz="750" b="1">
                <a:solidFill>
                  <a:prstClr val="black"/>
                </a:solidFill>
                <a:latin typeface="Calibri" panose="020F0502020204030204" pitchFamily="34" charset="0"/>
                <a:cs typeface="Calibri" panose="020F0502020204030204" pitchFamily="34" charset="0"/>
              </a:rPr>
              <a:t>National Contact Point</a:t>
            </a:r>
            <a:endParaRPr lang="en-GR" sz="750" b="1">
              <a:solidFill>
                <a:prstClr val="black"/>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65125846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9"/>
                                        </p:tgtEl>
                                        <p:attrNameLst>
                                          <p:attrName>style.visibility</p:attrName>
                                        </p:attrNameLst>
                                      </p:cBhvr>
                                      <p:to>
                                        <p:strVal val="visible"/>
                                      </p:to>
                                    </p:set>
                                    <p:animEffect transition="in" filter="fade">
                                      <p:cBhvr>
                                        <p:cTn id="7" dur="500"/>
                                        <p:tgtEl>
                                          <p:spTgt spid="89"/>
                                        </p:tgtEl>
                                      </p:cBhvr>
                                    </p:animEffect>
                                  </p:childTnLst>
                                </p:cTn>
                              </p:par>
                            </p:childTnLst>
                          </p:cTn>
                        </p:par>
                      </p:childTnLst>
                    </p:cTn>
                  </p:par>
                  <p:par>
                    <p:cTn id="8" fill="hold">
                      <p:stCondLst>
                        <p:cond delay="indefinite"/>
                      </p:stCondLst>
                      <p:childTnLst>
                        <p:par>
                          <p:cTn id="9" fill="hold">
                            <p:stCondLst>
                              <p:cond delay="0"/>
                            </p:stCondLst>
                            <p:childTnLst>
                              <p:par>
                                <p:cTn id="10" presetID="42" presetClass="entr" presetSubtype="0" fill="hold" nodeType="clickEffect">
                                  <p:stCondLst>
                                    <p:cond delay="0"/>
                                  </p:stCondLst>
                                  <p:childTnLst>
                                    <p:set>
                                      <p:cBhvr>
                                        <p:cTn id="11" dur="1" fill="hold">
                                          <p:stCondLst>
                                            <p:cond delay="0"/>
                                          </p:stCondLst>
                                        </p:cTn>
                                        <p:tgtEl>
                                          <p:spTgt spid="44"/>
                                        </p:tgtEl>
                                        <p:attrNameLst>
                                          <p:attrName>style.visibility</p:attrName>
                                        </p:attrNameLst>
                                      </p:cBhvr>
                                      <p:to>
                                        <p:strVal val="visible"/>
                                      </p:to>
                                    </p:set>
                                    <p:animEffect transition="in" filter="fade">
                                      <p:cBhvr>
                                        <p:cTn id="12" dur="1000"/>
                                        <p:tgtEl>
                                          <p:spTgt spid="44"/>
                                        </p:tgtEl>
                                      </p:cBhvr>
                                    </p:animEffect>
                                    <p:anim calcmode="lin" valueType="num">
                                      <p:cBhvr>
                                        <p:cTn id="13" dur="1000" fill="hold"/>
                                        <p:tgtEl>
                                          <p:spTgt spid="44"/>
                                        </p:tgtEl>
                                        <p:attrNameLst>
                                          <p:attrName>ppt_x</p:attrName>
                                        </p:attrNameLst>
                                      </p:cBhvr>
                                      <p:tavLst>
                                        <p:tav tm="0">
                                          <p:val>
                                            <p:strVal val="#ppt_x"/>
                                          </p:val>
                                        </p:tav>
                                        <p:tav tm="100000">
                                          <p:val>
                                            <p:strVal val="#ppt_x"/>
                                          </p:val>
                                        </p:tav>
                                      </p:tavLst>
                                    </p:anim>
                                    <p:anim calcmode="lin" valueType="num">
                                      <p:cBhvr>
                                        <p:cTn id="14" dur="1000" fill="hold"/>
                                        <p:tgtEl>
                                          <p:spTgt spid="44"/>
                                        </p:tgtEl>
                                        <p:attrNameLst>
                                          <p:attrName>ppt_y</p:attrName>
                                        </p:attrNameLst>
                                      </p:cBhvr>
                                      <p:tavLst>
                                        <p:tav tm="0">
                                          <p:val>
                                            <p:strVal val="#ppt_y+.1"/>
                                          </p:val>
                                        </p:tav>
                                        <p:tav tm="100000">
                                          <p:val>
                                            <p:strVal val="#ppt_y"/>
                                          </p:val>
                                        </p:tav>
                                      </p:tavLst>
                                    </p:anim>
                                  </p:childTnLst>
                                </p:cTn>
                              </p:par>
                              <p:par>
                                <p:cTn id="15" presetID="42" presetClass="entr" presetSubtype="0" fill="hold" nodeType="withEffect">
                                  <p:stCondLst>
                                    <p:cond delay="0"/>
                                  </p:stCondLst>
                                  <p:childTnLst>
                                    <p:set>
                                      <p:cBhvr>
                                        <p:cTn id="16" dur="1" fill="hold">
                                          <p:stCondLst>
                                            <p:cond delay="0"/>
                                          </p:stCondLst>
                                        </p:cTn>
                                        <p:tgtEl>
                                          <p:spTgt spid="33"/>
                                        </p:tgtEl>
                                        <p:attrNameLst>
                                          <p:attrName>style.visibility</p:attrName>
                                        </p:attrNameLst>
                                      </p:cBhvr>
                                      <p:to>
                                        <p:strVal val="visible"/>
                                      </p:to>
                                    </p:set>
                                    <p:animEffect transition="in" filter="fade">
                                      <p:cBhvr>
                                        <p:cTn id="17" dur="1000"/>
                                        <p:tgtEl>
                                          <p:spTgt spid="33"/>
                                        </p:tgtEl>
                                      </p:cBhvr>
                                    </p:animEffect>
                                    <p:anim calcmode="lin" valueType="num">
                                      <p:cBhvr>
                                        <p:cTn id="18" dur="1000" fill="hold"/>
                                        <p:tgtEl>
                                          <p:spTgt spid="33"/>
                                        </p:tgtEl>
                                        <p:attrNameLst>
                                          <p:attrName>ppt_x</p:attrName>
                                        </p:attrNameLst>
                                      </p:cBhvr>
                                      <p:tavLst>
                                        <p:tav tm="0">
                                          <p:val>
                                            <p:strVal val="#ppt_x"/>
                                          </p:val>
                                        </p:tav>
                                        <p:tav tm="100000">
                                          <p:val>
                                            <p:strVal val="#ppt_x"/>
                                          </p:val>
                                        </p:tav>
                                      </p:tavLst>
                                    </p:anim>
                                    <p:anim calcmode="lin" valueType="num">
                                      <p:cBhvr>
                                        <p:cTn id="19" dur="1000" fill="hold"/>
                                        <p:tgtEl>
                                          <p:spTgt spid="33"/>
                                        </p:tgtEl>
                                        <p:attrNameLst>
                                          <p:attrName>ppt_y</p:attrName>
                                        </p:attrNameLst>
                                      </p:cBhvr>
                                      <p:tavLst>
                                        <p:tav tm="0">
                                          <p:val>
                                            <p:strVal val="#ppt_y+.1"/>
                                          </p:val>
                                        </p:tav>
                                        <p:tav tm="100000">
                                          <p:val>
                                            <p:strVal val="#ppt_y"/>
                                          </p:val>
                                        </p:tav>
                                      </p:tavLst>
                                    </p:anim>
                                  </p:childTnLst>
                                </p:cTn>
                              </p:par>
                              <p:par>
                                <p:cTn id="20" presetID="42" presetClass="entr" presetSubtype="0" fill="hold" nodeType="withEffect">
                                  <p:stCondLst>
                                    <p:cond delay="0"/>
                                  </p:stCondLst>
                                  <p:childTnLst>
                                    <p:set>
                                      <p:cBhvr>
                                        <p:cTn id="21" dur="1" fill="hold">
                                          <p:stCondLst>
                                            <p:cond delay="0"/>
                                          </p:stCondLst>
                                        </p:cTn>
                                        <p:tgtEl>
                                          <p:spTgt spid="32"/>
                                        </p:tgtEl>
                                        <p:attrNameLst>
                                          <p:attrName>style.visibility</p:attrName>
                                        </p:attrNameLst>
                                      </p:cBhvr>
                                      <p:to>
                                        <p:strVal val="visible"/>
                                      </p:to>
                                    </p:set>
                                    <p:animEffect transition="in" filter="fade">
                                      <p:cBhvr>
                                        <p:cTn id="22" dur="1000"/>
                                        <p:tgtEl>
                                          <p:spTgt spid="32"/>
                                        </p:tgtEl>
                                      </p:cBhvr>
                                    </p:animEffect>
                                    <p:anim calcmode="lin" valueType="num">
                                      <p:cBhvr>
                                        <p:cTn id="23" dur="1000" fill="hold"/>
                                        <p:tgtEl>
                                          <p:spTgt spid="32"/>
                                        </p:tgtEl>
                                        <p:attrNameLst>
                                          <p:attrName>ppt_x</p:attrName>
                                        </p:attrNameLst>
                                      </p:cBhvr>
                                      <p:tavLst>
                                        <p:tav tm="0">
                                          <p:val>
                                            <p:strVal val="#ppt_x"/>
                                          </p:val>
                                        </p:tav>
                                        <p:tav tm="100000">
                                          <p:val>
                                            <p:strVal val="#ppt_x"/>
                                          </p:val>
                                        </p:tav>
                                      </p:tavLst>
                                    </p:anim>
                                    <p:anim calcmode="lin" valueType="num">
                                      <p:cBhvr>
                                        <p:cTn id="24" dur="1000" fill="hold"/>
                                        <p:tgtEl>
                                          <p:spTgt spid="32"/>
                                        </p:tgtEl>
                                        <p:attrNameLst>
                                          <p:attrName>ppt_y</p:attrName>
                                        </p:attrNameLst>
                                      </p:cBhvr>
                                      <p:tavLst>
                                        <p:tav tm="0">
                                          <p:val>
                                            <p:strVal val="#ppt_y+.1"/>
                                          </p:val>
                                        </p:tav>
                                        <p:tav tm="100000">
                                          <p:val>
                                            <p:strVal val="#ppt_y"/>
                                          </p:val>
                                        </p:tav>
                                      </p:tavLst>
                                    </p:anim>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nodeType="clickEffect">
                                  <p:stCondLst>
                                    <p:cond delay="0"/>
                                  </p:stCondLst>
                                  <p:childTnLst>
                                    <p:set>
                                      <p:cBhvr>
                                        <p:cTn id="28" dur="1" fill="hold">
                                          <p:stCondLst>
                                            <p:cond delay="0"/>
                                          </p:stCondLst>
                                        </p:cTn>
                                        <p:tgtEl>
                                          <p:spTgt spid="28"/>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29"/>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0" presetClass="entr" presetSubtype="0" fill="hold" nodeType="clickEffect">
                                  <p:stCondLst>
                                    <p:cond delay="0"/>
                                  </p:stCondLst>
                                  <p:childTnLst>
                                    <p:set>
                                      <p:cBhvr>
                                        <p:cTn id="34" dur="1" fill="hold">
                                          <p:stCondLst>
                                            <p:cond delay="0"/>
                                          </p:stCondLst>
                                        </p:cTn>
                                        <p:tgtEl>
                                          <p:spTgt spid="46"/>
                                        </p:tgtEl>
                                        <p:attrNameLst>
                                          <p:attrName>style.visibility</p:attrName>
                                        </p:attrNameLst>
                                      </p:cBhvr>
                                      <p:to>
                                        <p:strVal val="visible"/>
                                      </p:to>
                                    </p:set>
                                    <p:animEffect transition="in" filter="fade">
                                      <p:cBhvr>
                                        <p:cTn id="35" dur="500"/>
                                        <p:tgtEl>
                                          <p:spTgt spid="46"/>
                                        </p:tgtEl>
                                      </p:cBhvr>
                                    </p:animEffect>
                                  </p:childTnLst>
                                </p:cTn>
                              </p:par>
                              <p:par>
                                <p:cTn id="36" presetID="10" presetClass="entr" presetSubtype="0" fill="hold" nodeType="withEffect">
                                  <p:stCondLst>
                                    <p:cond delay="0"/>
                                  </p:stCondLst>
                                  <p:childTnLst>
                                    <p:set>
                                      <p:cBhvr>
                                        <p:cTn id="37" dur="1" fill="hold">
                                          <p:stCondLst>
                                            <p:cond delay="0"/>
                                          </p:stCondLst>
                                        </p:cTn>
                                        <p:tgtEl>
                                          <p:spTgt spid="47"/>
                                        </p:tgtEl>
                                        <p:attrNameLst>
                                          <p:attrName>style.visibility</p:attrName>
                                        </p:attrNameLst>
                                      </p:cBhvr>
                                      <p:to>
                                        <p:strVal val="visible"/>
                                      </p:to>
                                    </p:set>
                                    <p:animEffect transition="in" filter="fade">
                                      <p:cBhvr>
                                        <p:cTn id="38" dur="500"/>
                                        <p:tgtEl>
                                          <p:spTgt spid="47"/>
                                        </p:tgtEl>
                                      </p:cBhvr>
                                    </p:animEffect>
                                  </p:childTnLst>
                                </p:cTn>
                              </p:par>
                            </p:childTnLst>
                          </p:cTn>
                        </p:par>
                      </p:childTnLst>
                    </p:cTn>
                  </p:par>
                  <p:par>
                    <p:cTn id="39" fill="hold">
                      <p:stCondLst>
                        <p:cond delay="indefinite"/>
                      </p:stCondLst>
                      <p:childTnLst>
                        <p:par>
                          <p:cTn id="40" fill="hold">
                            <p:stCondLst>
                              <p:cond delay="0"/>
                            </p:stCondLst>
                            <p:childTnLst>
                              <p:par>
                                <p:cTn id="41" presetID="10" presetClass="entr" presetSubtype="0" fill="hold" nodeType="clickEffect">
                                  <p:stCondLst>
                                    <p:cond delay="0"/>
                                  </p:stCondLst>
                                  <p:childTnLst>
                                    <p:set>
                                      <p:cBhvr>
                                        <p:cTn id="42" dur="1" fill="hold">
                                          <p:stCondLst>
                                            <p:cond delay="0"/>
                                          </p:stCondLst>
                                        </p:cTn>
                                        <p:tgtEl>
                                          <p:spTgt spid="35"/>
                                        </p:tgtEl>
                                        <p:attrNameLst>
                                          <p:attrName>style.visibility</p:attrName>
                                        </p:attrNameLst>
                                      </p:cBhvr>
                                      <p:to>
                                        <p:strVal val="visible"/>
                                      </p:to>
                                    </p:set>
                                    <p:animEffect transition="in" filter="fade">
                                      <p:cBhvr>
                                        <p:cTn id="43" dur="500"/>
                                        <p:tgtEl>
                                          <p:spTgt spid="35"/>
                                        </p:tgtEl>
                                      </p:cBhvr>
                                    </p:animEffect>
                                  </p:childTnLst>
                                </p:cTn>
                              </p:par>
                              <p:par>
                                <p:cTn id="44" presetID="10" presetClass="entr" presetSubtype="0" fill="hold" nodeType="withEffect">
                                  <p:stCondLst>
                                    <p:cond delay="0"/>
                                  </p:stCondLst>
                                  <p:childTnLst>
                                    <p:set>
                                      <p:cBhvr>
                                        <p:cTn id="45" dur="1" fill="hold">
                                          <p:stCondLst>
                                            <p:cond delay="0"/>
                                          </p:stCondLst>
                                        </p:cTn>
                                        <p:tgtEl>
                                          <p:spTgt spid="91"/>
                                        </p:tgtEl>
                                        <p:attrNameLst>
                                          <p:attrName>style.visibility</p:attrName>
                                        </p:attrNameLst>
                                      </p:cBhvr>
                                      <p:to>
                                        <p:strVal val="visible"/>
                                      </p:to>
                                    </p:set>
                                    <p:animEffect transition="in" filter="fade">
                                      <p:cBhvr>
                                        <p:cTn id="46" dur="500"/>
                                        <p:tgtEl>
                                          <p:spTgt spid="91"/>
                                        </p:tgtEl>
                                      </p:cBhvr>
                                    </p:animEffect>
                                  </p:childTnLst>
                                </p:cTn>
                              </p:par>
                              <p:par>
                                <p:cTn id="47" presetID="10" presetClass="entr" presetSubtype="0" fill="hold" nodeType="withEffect">
                                  <p:stCondLst>
                                    <p:cond delay="0"/>
                                  </p:stCondLst>
                                  <p:childTnLst>
                                    <p:set>
                                      <p:cBhvr>
                                        <p:cTn id="48" dur="1" fill="hold">
                                          <p:stCondLst>
                                            <p:cond delay="0"/>
                                          </p:stCondLst>
                                        </p:cTn>
                                        <p:tgtEl>
                                          <p:spTgt spid="55"/>
                                        </p:tgtEl>
                                        <p:attrNameLst>
                                          <p:attrName>style.visibility</p:attrName>
                                        </p:attrNameLst>
                                      </p:cBhvr>
                                      <p:to>
                                        <p:strVal val="visible"/>
                                      </p:to>
                                    </p:set>
                                    <p:animEffect transition="in" filter="fade">
                                      <p:cBhvr>
                                        <p:cTn id="49" dur="500"/>
                                        <p:tgtEl>
                                          <p:spTgt spid="55"/>
                                        </p:tgtEl>
                                      </p:cBhvr>
                                    </p:animEffect>
                                  </p:childTnLst>
                                </p:cTn>
                              </p:par>
                            </p:childTnLst>
                          </p:cTn>
                        </p:par>
                      </p:childTnLst>
                    </p:cTn>
                  </p:par>
                  <p:par>
                    <p:cTn id="50" fill="hold">
                      <p:stCondLst>
                        <p:cond delay="indefinite"/>
                      </p:stCondLst>
                      <p:childTnLst>
                        <p:par>
                          <p:cTn id="51" fill="hold">
                            <p:stCondLst>
                              <p:cond delay="0"/>
                            </p:stCondLst>
                            <p:childTnLst>
                              <p:par>
                                <p:cTn id="52" presetID="2" presetClass="entr" presetSubtype="4" fill="hold" nodeType="clickEffect">
                                  <p:stCondLst>
                                    <p:cond delay="0"/>
                                  </p:stCondLst>
                                  <p:childTnLst>
                                    <p:set>
                                      <p:cBhvr>
                                        <p:cTn id="53" dur="1" fill="hold">
                                          <p:stCondLst>
                                            <p:cond delay="0"/>
                                          </p:stCondLst>
                                        </p:cTn>
                                        <p:tgtEl>
                                          <p:spTgt spid="30"/>
                                        </p:tgtEl>
                                        <p:attrNameLst>
                                          <p:attrName>style.visibility</p:attrName>
                                        </p:attrNameLst>
                                      </p:cBhvr>
                                      <p:to>
                                        <p:strVal val="visible"/>
                                      </p:to>
                                    </p:set>
                                    <p:anim calcmode="lin" valueType="num">
                                      <p:cBhvr additive="base">
                                        <p:cTn id="54" dur="500" fill="hold"/>
                                        <p:tgtEl>
                                          <p:spTgt spid="30"/>
                                        </p:tgtEl>
                                        <p:attrNameLst>
                                          <p:attrName>ppt_x</p:attrName>
                                        </p:attrNameLst>
                                      </p:cBhvr>
                                      <p:tavLst>
                                        <p:tav tm="0">
                                          <p:val>
                                            <p:strVal val="#ppt_x"/>
                                          </p:val>
                                        </p:tav>
                                        <p:tav tm="100000">
                                          <p:val>
                                            <p:strVal val="#ppt_x"/>
                                          </p:val>
                                        </p:tav>
                                      </p:tavLst>
                                    </p:anim>
                                    <p:anim calcmode="lin" valueType="num">
                                      <p:cBhvr additive="base">
                                        <p:cTn id="55" dur="500" fill="hold"/>
                                        <p:tgtEl>
                                          <p:spTgt spid="30"/>
                                        </p:tgtEl>
                                        <p:attrNameLst>
                                          <p:attrName>ppt_y</p:attrName>
                                        </p:attrNameLst>
                                      </p:cBhvr>
                                      <p:tavLst>
                                        <p:tav tm="0">
                                          <p:val>
                                            <p:strVal val="1+#ppt_h/2"/>
                                          </p:val>
                                        </p:tav>
                                        <p:tav tm="100000">
                                          <p:val>
                                            <p:strVal val="#ppt_y"/>
                                          </p:val>
                                        </p:tav>
                                      </p:tavLst>
                                    </p:anim>
                                  </p:childTnLst>
                                </p:cTn>
                              </p:par>
                            </p:childTnLst>
                          </p:cTn>
                        </p:par>
                      </p:childTnLst>
                    </p:cTn>
                  </p:par>
                  <p:par>
                    <p:cTn id="56" fill="hold">
                      <p:stCondLst>
                        <p:cond delay="indefinite"/>
                      </p:stCondLst>
                      <p:childTnLst>
                        <p:par>
                          <p:cTn id="57" fill="hold">
                            <p:stCondLst>
                              <p:cond delay="0"/>
                            </p:stCondLst>
                            <p:childTnLst>
                              <p:par>
                                <p:cTn id="58" presetID="16" presetClass="entr" presetSubtype="21" fill="hold" grpId="0" nodeType="clickEffect">
                                  <p:stCondLst>
                                    <p:cond delay="0"/>
                                  </p:stCondLst>
                                  <p:childTnLst>
                                    <p:set>
                                      <p:cBhvr>
                                        <p:cTn id="59" dur="1" fill="hold">
                                          <p:stCondLst>
                                            <p:cond delay="0"/>
                                          </p:stCondLst>
                                        </p:cTn>
                                        <p:tgtEl>
                                          <p:spTgt spid="21"/>
                                        </p:tgtEl>
                                        <p:attrNameLst>
                                          <p:attrName>style.visibility</p:attrName>
                                        </p:attrNameLst>
                                      </p:cBhvr>
                                      <p:to>
                                        <p:strVal val="visible"/>
                                      </p:to>
                                    </p:set>
                                    <p:animEffect transition="in" filter="barn(inVertical)">
                                      <p:cBhvr>
                                        <p:cTn id="60" dur="500"/>
                                        <p:tgtEl>
                                          <p:spTgt spid="21"/>
                                        </p:tgtEl>
                                      </p:cBhvr>
                                    </p:animEffect>
                                  </p:childTnLst>
                                </p:cTn>
                              </p:par>
                            </p:childTnLst>
                          </p:cTn>
                        </p:par>
                      </p:childTnLst>
                    </p:cTn>
                  </p:par>
                  <p:par>
                    <p:cTn id="61" fill="hold">
                      <p:stCondLst>
                        <p:cond delay="indefinite"/>
                      </p:stCondLst>
                      <p:childTnLst>
                        <p:par>
                          <p:cTn id="62" fill="hold">
                            <p:stCondLst>
                              <p:cond delay="0"/>
                            </p:stCondLst>
                            <p:childTnLst>
                              <p:par>
                                <p:cTn id="63" presetID="2" presetClass="entr" presetSubtype="4" fill="hold" nodeType="clickEffect">
                                  <p:stCondLst>
                                    <p:cond delay="0"/>
                                  </p:stCondLst>
                                  <p:childTnLst>
                                    <p:set>
                                      <p:cBhvr>
                                        <p:cTn id="64" dur="1" fill="hold">
                                          <p:stCondLst>
                                            <p:cond delay="0"/>
                                          </p:stCondLst>
                                        </p:cTn>
                                        <p:tgtEl>
                                          <p:spTgt spid="86"/>
                                        </p:tgtEl>
                                        <p:attrNameLst>
                                          <p:attrName>style.visibility</p:attrName>
                                        </p:attrNameLst>
                                      </p:cBhvr>
                                      <p:to>
                                        <p:strVal val="visible"/>
                                      </p:to>
                                    </p:set>
                                    <p:anim calcmode="lin" valueType="num">
                                      <p:cBhvr additive="base">
                                        <p:cTn id="65" dur="500" fill="hold"/>
                                        <p:tgtEl>
                                          <p:spTgt spid="86"/>
                                        </p:tgtEl>
                                        <p:attrNameLst>
                                          <p:attrName>ppt_x</p:attrName>
                                        </p:attrNameLst>
                                      </p:cBhvr>
                                      <p:tavLst>
                                        <p:tav tm="0">
                                          <p:val>
                                            <p:strVal val="#ppt_x"/>
                                          </p:val>
                                        </p:tav>
                                        <p:tav tm="100000">
                                          <p:val>
                                            <p:strVal val="#ppt_x"/>
                                          </p:val>
                                        </p:tav>
                                      </p:tavLst>
                                    </p:anim>
                                    <p:anim calcmode="lin" valueType="num">
                                      <p:cBhvr additive="base">
                                        <p:cTn id="66" dur="500" fill="hold"/>
                                        <p:tgtEl>
                                          <p:spTgt spid="86"/>
                                        </p:tgtEl>
                                        <p:attrNameLst>
                                          <p:attrName>ppt_y</p:attrName>
                                        </p:attrNameLst>
                                      </p:cBhvr>
                                      <p:tavLst>
                                        <p:tav tm="0">
                                          <p:val>
                                            <p:strVal val="1+#ppt_h/2"/>
                                          </p:val>
                                        </p:tav>
                                        <p:tav tm="100000">
                                          <p:val>
                                            <p:strVal val="#ppt_y"/>
                                          </p:val>
                                        </p:tav>
                                      </p:tavLst>
                                    </p:anim>
                                  </p:childTnLst>
                                </p:cTn>
                              </p:par>
                              <p:par>
                                <p:cTn id="67" presetID="2" presetClass="entr" presetSubtype="4" fill="hold" grpId="0" nodeType="withEffect">
                                  <p:stCondLst>
                                    <p:cond delay="0"/>
                                  </p:stCondLst>
                                  <p:childTnLst>
                                    <p:set>
                                      <p:cBhvr>
                                        <p:cTn id="68" dur="1" fill="hold">
                                          <p:stCondLst>
                                            <p:cond delay="0"/>
                                          </p:stCondLst>
                                        </p:cTn>
                                        <p:tgtEl>
                                          <p:spTgt spid="94"/>
                                        </p:tgtEl>
                                        <p:attrNameLst>
                                          <p:attrName>style.visibility</p:attrName>
                                        </p:attrNameLst>
                                      </p:cBhvr>
                                      <p:to>
                                        <p:strVal val="visible"/>
                                      </p:to>
                                    </p:set>
                                    <p:anim calcmode="lin" valueType="num">
                                      <p:cBhvr additive="base">
                                        <p:cTn id="69" dur="500" fill="hold"/>
                                        <p:tgtEl>
                                          <p:spTgt spid="94"/>
                                        </p:tgtEl>
                                        <p:attrNameLst>
                                          <p:attrName>ppt_x</p:attrName>
                                        </p:attrNameLst>
                                      </p:cBhvr>
                                      <p:tavLst>
                                        <p:tav tm="0">
                                          <p:val>
                                            <p:strVal val="#ppt_x"/>
                                          </p:val>
                                        </p:tav>
                                        <p:tav tm="100000">
                                          <p:val>
                                            <p:strVal val="#ppt_x"/>
                                          </p:val>
                                        </p:tav>
                                      </p:tavLst>
                                    </p:anim>
                                    <p:anim calcmode="lin" valueType="num">
                                      <p:cBhvr additive="base">
                                        <p:cTn id="70" dur="500" fill="hold"/>
                                        <p:tgtEl>
                                          <p:spTgt spid="94"/>
                                        </p:tgtEl>
                                        <p:attrNameLst>
                                          <p:attrName>ppt_y</p:attrName>
                                        </p:attrNameLst>
                                      </p:cBhvr>
                                      <p:tavLst>
                                        <p:tav tm="0">
                                          <p:val>
                                            <p:strVal val="1+#ppt_h/2"/>
                                          </p:val>
                                        </p:tav>
                                        <p:tav tm="100000">
                                          <p:val>
                                            <p:strVal val="#ppt_y"/>
                                          </p:val>
                                        </p:tav>
                                      </p:tavLst>
                                    </p:anim>
                                  </p:childTnLst>
                                </p:cTn>
                              </p:par>
                            </p:childTnLst>
                          </p:cTn>
                        </p:par>
                      </p:childTnLst>
                    </p:cTn>
                  </p:par>
                  <p:par>
                    <p:cTn id="71" fill="hold">
                      <p:stCondLst>
                        <p:cond delay="indefinite"/>
                      </p:stCondLst>
                      <p:childTnLst>
                        <p:par>
                          <p:cTn id="72" fill="hold">
                            <p:stCondLst>
                              <p:cond delay="0"/>
                            </p:stCondLst>
                            <p:childTnLst>
                              <p:par>
                                <p:cTn id="73" presetID="1" presetClass="entr" presetSubtype="0" fill="hold" nodeType="clickEffect">
                                  <p:stCondLst>
                                    <p:cond delay="0"/>
                                  </p:stCondLst>
                                  <p:childTnLst>
                                    <p:set>
                                      <p:cBhvr>
                                        <p:cTn id="74" dur="1" fill="hold">
                                          <p:stCondLst>
                                            <p:cond delay="0"/>
                                          </p:stCondLst>
                                        </p:cTn>
                                        <p:tgtEl>
                                          <p:spTgt spid="102"/>
                                        </p:tgtEl>
                                        <p:attrNameLst>
                                          <p:attrName>style.visibility</p:attrName>
                                        </p:attrNameLst>
                                      </p:cBhvr>
                                      <p:to>
                                        <p:strVal val="visible"/>
                                      </p:to>
                                    </p:set>
                                  </p:childTnLst>
                                </p:cTn>
                              </p:par>
                            </p:childTnLst>
                          </p:cTn>
                        </p:par>
                      </p:childTnLst>
                    </p:cTn>
                  </p:par>
                  <p:par>
                    <p:cTn id="75" fill="hold">
                      <p:stCondLst>
                        <p:cond delay="indefinite"/>
                      </p:stCondLst>
                      <p:childTnLst>
                        <p:par>
                          <p:cTn id="76" fill="hold">
                            <p:stCondLst>
                              <p:cond delay="0"/>
                            </p:stCondLst>
                            <p:childTnLst>
                              <p:par>
                                <p:cTn id="77" presetID="21" presetClass="entr" presetSubtype="1" fill="hold" nodeType="clickEffect">
                                  <p:stCondLst>
                                    <p:cond delay="0"/>
                                  </p:stCondLst>
                                  <p:childTnLst>
                                    <p:set>
                                      <p:cBhvr>
                                        <p:cTn id="78" dur="1" fill="hold">
                                          <p:stCondLst>
                                            <p:cond delay="0"/>
                                          </p:stCondLst>
                                        </p:cTn>
                                        <p:tgtEl>
                                          <p:spTgt spid="57"/>
                                        </p:tgtEl>
                                        <p:attrNameLst>
                                          <p:attrName>style.visibility</p:attrName>
                                        </p:attrNameLst>
                                      </p:cBhvr>
                                      <p:to>
                                        <p:strVal val="visible"/>
                                      </p:to>
                                    </p:set>
                                    <p:animEffect transition="in" filter="wheel(1)">
                                      <p:cBhvr>
                                        <p:cTn id="79" dur="2000"/>
                                        <p:tgtEl>
                                          <p:spTgt spid="57"/>
                                        </p:tgtEl>
                                      </p:cBhvr>
                                    </p:animEffect>
                                  </p:childTnLst>
                                </p:cTn>
                              </p:par>
                            </p:childTnLst>
                          </p:cTn>
                        </p:par>
                      </p:childTnLst>
                    </p:cTn>
                  </p:par>
                  <p:par>
                    <p:cTn id="80" fill="hold">
                      <p:stCondLst>
                        <p:cond delay="indefinite"/>
                      </p:stCondLst>
                      <p:childTnLst>
                        <p:par>
                          <p:cTn id="81" fill="hold">
                            <p:stCondLst>
                              <p:cond delay="0"/>
                            </p:stCondLst>
                            <p:childTnLst>
                              <p:par>
                                <p:cTn id="82" presetID="1" presetClass="entr" presetSubtype="0" fill="hold" nodeType="clickEffect">
                                  <p:stCondLst>
                                    <p:cond delay="0"/>
                                  </p:stCondLst>
                                  <p:childTnLst>
                                    <p:set>
                                      <p:cBhvr>
                                        <p:cTn id="83" dur="1" fill="hold">
                                          <p:stCondLst>
                                            <p:cond delay="0"/>
                                          </p:stCondLst>
                                        </p:cTn>
                                        <p:tgtEl>
                                          <p:spTgt spid="87"/>
                                        </p:tgtEl>
                                        <p:attrNameLst>
                                          <p:attrName>style.visibility</p:attrName>
                                        </p:attrNameLst>
                                      </p:cBhvr>
                                      <p:to>
                                        <p:strVal val="visible"/>
                                      </p:to>
                                    </p:set>
                                  </p:childTnLst>
                                </p:cTn>
                              </p:par>
                            </p:childTnLst>
                          </p:cTn>
                        </p:par>
                      </p:childTnLst>
                    </p:cTn>
                  </p:par>
                  <p:par>
                    <p:cTn id="84" fill="hold">
                      <p:stCondLst>
                        <p:cond delay="indefinite"/>
                      </p:stCondLst>
                      <p:childTnLst>
                        <p:par>
                          <p:cTn id="85" fill="hold">
                            <p:stCondLst>
                              <p:cond delay="0"/>
                            </p:stCondLst>
                            <p:childTnLst>
                              <p:par>
                                <p:cTn id="86" presetID="2" presetClass="entr" presetSubtype="4" fill="hold" nodeType="clickEffect">
                                  <p:stCondLst>
                                    <p:cond delay="0"/>
                                  </p:stCondLst>
                                  <p:childTnLst>
                                    <p:set>
                                      <p:cBhvr>
                                        <p:cTn id="87" dur="1" fill="hold">
                                          <p:stCondLst>
                                            <p:cond delay="0"/>
                                          </p:stCondLst>
                                        </p:cTn>
                                        <p:tgtEl>
                                          <p:spTgt spid="65"/>
                                        </p:tgtEl>
                                        <p:attrNameLst>
                                          <p:attrName>style.visibility</p:attrName>
                                        </p:attrNameLst>
                                      </p:cBhvr>
                                      <p:to>
                                        <p:strVal val="visible"/>
                                      </p:to>
                                    </p:set>
                                    <p:anim calcmode="lin" valueType="num">
                                      <p:cBhvr additive="base">
                                        <p:cTn id="88" dur="500" fill="hold"/>
                                        <p:tgtEl>
                                          <p:spTgt spid="65"/>
                                        </p:tgtEl>
                                        <p:attrNameLst>
                                          <p:attrName>ppt_x</p:attrName>
                                        </p:attrNameLst>
                                      </p:cBhvr>
                                      <p:tavLst>
                                        <p:tav tm="0">
                                          <p:val>
                                            <p:strVal val="#ppt_x"/>
                                          </p:val>
                                        </p:tav>
                                        <p:tav tm="100000">
                                          <p:val>
                                            <p:strVal val="#ppt_x"/>
                                          </p:val>
                                        </p:tav>
                                      </p:tavLst>
                                    </p:anim>
                                    <p:anim calcmode="lin" valueType="num">
                                      <p:cBhvr additive="base">
                                        <p:cTn id="89" dur="500" fill="hold"/>
                                        <p:tgtEl>
                                          <p:spTgt spid="65"/>
                                        </p:tgtEl>
                                        <p:attrNameLst>
                                          <p:attrName>ppt_y</p:attrName>
                                        </p:attrNameLst>
                                      </p:cBhvr>
                                      <p:tavLst>
                                        <p:tav tm="0">
                                          <p:val>
                                            <p:strVal val="1+#ppt_h/2"/>
                                          </p:val>
                                        </p:tav>
                                        <p:tav tm="100000">
                                          <p:val>
                                            <p:strVal val="#ppt_y"/>
                                          </p:val>
                                        </p:tav>
                                      </p:tavLst>
                                    </p:anim>
                                  </p:childTnLst>
                                </p:cTn>
                              </p:par>
                              <p:par>
                                <p:cTn id="90" presetID="2" presetClass="entr" presetSubtype="4" fill="hold" nodeType="withEffect">
                                  <p:stCondLst>
                                    <p:cond delay="0"/>
                                  </p:stCondLst>
                                  <p:childTnLst>
                                    <p:set>
                                      <p:cBhvr>
                                        <p:cTn id="91" dur="1" fill="hold">
                                          <p:stCondLst>
                                            <p:cond delay="0"/>
                                          </p:stCondLst>
                                        </p:cTn>
                                        <p:tgtEl>
                                          <p:spTgt spid="66"/>
                                        </p:tgtEl>
                                        <p:attrNameLst>
                                          <p:attrName>style.visibility</p:attrName>
                                        </p:attrNameLst>
                                      </p:cBhvr>
                                      <p:to>
                                        <p:strVal val="visible"/>
                                      </p:to>
                                    </p:set>
                                    <p:anim calcmode="lin" valueType="num">
                                      <p:cBhvr additive="base">
                                        <p:cTn id="92" dur="500" fill="hold"/>
                                        <p:tgtEl>
                                          <p:spTgt spid="66"/>
                                        </p:tgtEl>
                                        <p:attrNameLst>
                                          <p:attrName>ppt_x</p:attrName>
                                        </p:attrNameLst>
                                      </p:cBhvr>
                                      <p:tavLst>
                                        <p:tav tm="0">
                                          <p:val>
                                            <p:strVal val="#ppt_x"/>
                                          </p:val>
                                        </p:tav>
                                        <p:tav tm="100000">
                                          <p:val>
                                            <p:strVal val="#ppt_x"/>
                                          </p:val>
                                        </p:tav>
                                      </p:tavLst>
                                    </p:anim>
                                    <p:anim calcmode="lin" valueType="num">
                                      <p:cBhvr additive="base">
                                        <p:cTn id="93" dur="500" fill="hold"/>
                                        <p:tgtEl>
                                          <p:spTgt spid="66"/>
                                        </p:tgtEl>
                                        <p:attrNameLst>
                                          <p:attrName>ppt_y</p:attrName>
                                        </p:attrNameLst>
                                      </p:cBhvr>
                                      <p:tavLst>
                                        <p:tav tm="0">
                                          <p:val>
                                            <p:strVal val="1+#ppt_h/2"/>
                                          </p:val>
                                        </p:tav>
                                        <p:tav tm="100000">
                                          <p:val>
                                            <p:strVal val="#ppt_y"/>
                                          </p:val>
                                        </p:tav>
                                      </p:tavLst>
                                    </p:anim>
                                  </p:childTnLst>
                                </p:cTn>
                              </p:par>
                            </p:childTnLst>
                          </p:cTn>
                        </p:par>
                      </p:childTnLst>
                    </p:cTn>
                  </p:par>
                  <p:par>
                    <p:cTn id="94" fill="hold">
                      <p:stCondLst>
                        <p:cond delay="indefinite"/>
                      </p:stCondLst>
                      <p:childTnLst>
                        <p:par>
                          <p:cTn id="95" fill="hold">
                            <p:stCondLst>
                              <p:cond delay="0"/>
                            </p:stCondLst>
                            <p:childTnLst>
                              <p:par>
                                <p:cTn id="96" presetID="16" presetClass="entr" presetSubtype="21" fill="hold" nodeType="clickEffect">
                                  <p:stCondLst>
                                    <p:cond delay="0"/>
                                  </p:stCondLst>
                                  <p:childTnLst>
                                    <p:set>
                                      <p:cBhvr>
                                        <p:cTn id="97" dur="1" fill="hold">
                                          <p:stCondLst>
                                            <p:cond delay="0"/>
                                          </p:stCondLst>
                                        </p:cTn>
                                        <p:tgtEl>
                                          <p:spTgt spid="58"/>
                                        </p:tgtEl>
                                        <p:attrNameLst>
                                          <p:attrName>style.visibility</p:attrName>
                                        </p:attrNameLst>
                                      </p:cBhvr>
                                      <p:to>
                                        <p:strVal val="visible"/>
                                      </p:to>
                                    </p:set>
                                    <p:animEffect transition="in" filter="barn(inVertical)">
                                      <p:cBhvr>
                                        <p:cTn id="98" dur="500"/>
                                        <p:tgtEl>
                                          <p:spTgt spid="58"/>
                                        </p:tgtEl>
                                      </p:cBhvr>
                                    </p:animEffect>
                                  </p:childTnLst>
                                </p:cTn>
                              </p:par>
                            </p:childTnLst>
                          </p:cTn>
                        </p:par>
                      </p:childTnLst>
                    </p:cTn>
                  </p:par>
                  <p:par>
                    <p:cTn id="99" fill="hold">
                      <p:stCondLst>
                        <p:cond delay="indefinite"/>
                      </p:stCondLst>
                      <p:childTnLst>
                        <p:par>
                          <p:cTn id="100" fill="hold">
                            <p:stCondLst>
                              <p:cond delay="0"/>
                            </p:stCondLst>
                            <p:childTnLst>
                              <p:par>
                                <p:cTn id="101" presetID="10" presetClass="entr" presetSubtype="0" fill="hold" nodeType="clickEffect">
                                  <p:stCondLst>
                                    <p:cond delay="0"/>
                                  </p:stCondLst>
                                  <p:childTnLst>
                                    <p:set>
                                      <p:cBhvr>
                                        <p:cTn id="102" dur="1" fill="hold">
                                          <p:stCondLst>
                                            <p:cond delay="0"/>
                                          </p:stCondLst>
                                        </p:cTn>
                                        <p:tgtEl>
                                          <p:spTgt spid="73"/>
                                        </p:tgtEl>
                                        <p:attrNameLst>
                                          <p:attrName>style.visibility</p:attrName>
                                        </p:attrNameLst>
                                      </p:cBhvr>
                                      <p:to>
                                        <p:strVal val="visible"/>
                                      </p:to>
                                    </p:set>
                                    <p:animEffect transition="in" filter="fade">
                                      <p:cBhvr>
                                        <p:cTn id="103" dur="500"/>
                                        <p:tgtEl>
                                          <p:spTgt spid="73"/>
                                        </p:tgtEl>
                                      </p:cBhvr>
                                    </p:animEffect>
                                  </p:childTnLst>
                                </p:cTn>
                              </p:par>
                              <p:par>
                                <p:cTn id="104" presetID="10" presetClass="entr" presetSubtype="0" fill="hold" grpId="0" nodeType="withEffect">
                                  <p:stCondLst>
                                    <p:cond delay="0"/>
                                  </p:stCondLst>
                                  <p:childTnLst>
                                    <p:set>
                                      <p:cBhvr>
                                        <p:cTn id="105" dur="1" fill="hold">
                                          <p:stCondLst>
                                            <p:cond delay="0"/>
                                          </p:stCondLst>
                                        </p:cTn>
                                        <p:tgtEl>
                                          <p:spTgt spid="38"/>
                                        </p:tgtEl>
                                        <p:attrNameLst>
                                          <p:attrName>style.visibility</p:attrName>
                                        </p:attrNameLst>
                                      </p:cBhvr>
                                      <p:to>
                                        <p:strVal val="visible"/>
                                      </p:to>
                                    </p:set>
                                    <p:animEffect transition="in" filter="fade">
                                      <p:cBhvr>
                                        <p:cTn id="106" dur="500"/>
                                        <p:tgtEl>
                                          <p:spTgt spid="38"/>
                                        </p:tgtEl>
                                      </p:cBhvr>
                                    </p:animEffect>
                                  </p:childTnLst>
                                </p:cTn>
                              </p:par>
                              <p:par>
                                <p:cTn id="107" presetID="10" presetClass="entr" presetSubtype="0" fill="hold" nodeType="withEffect">
                                  <p:stCondLst>
                                    <p:cond delay="0"/>
                                  </p:stCondLst>
                                  <p:childTnLst>
                                    <p:set>
                                      <p:cBhvr>
                                        <p:cTn id="108" dur="1" fill="hold">
                                          <p:stCondLst>
                                            <p:cond delay="0"/>
                                          </p:stCondLst>
                                        </p:cTn>
                                        <p:tgtEl>
                                          <p:spTgt spid="96"/>
                                        </p:tgtEl>
                                        <p:attrNameLst>
                                          <p:attrName>style.visibility</p:attrName>
                                        </p:attrNameLst>
                                      </p:cBhvr>
                                      <p:to>
                                        <p:strVal val="visible"/>
                                      </p:to>
                                    </p:set>
                                    <p:animEffect transition="in" filter="fade">
                                      <p:cBhvr>
                                        <p:cTn id="109" dur="500"/>
                                        <p:tgtEl>
                                          <p:spTgt spid="96"/>
                                        </p:tgtEl>
                                      </p:cBhvr>
                                    </p:animEffect>
                                  </p:childTnLst>
                                </p:cTn>
                              </p:par>
                            </p:childTnLst>
                          </p:cTn>
                        </p:par>
                      </p:childTnLst>
                    </p:cTn>
                  </p:par>
                  <p:par>
                    <p:cTn id="110" fill="hold">
                      <p:stCondLst>
                        <p:cond delay="indefinite"/>
                      </p:stCondLst>
                      <p:childTnLst>
                        <p:par>
                          <p:cTn id="111" fill="hold">
                            <p:stCondLst>
                              <p:cond delay="0"/>
                            </p:stCondLst>
                            <p:childTnLst>
                              <p:par>
                                <p:cTn id="112" presetID="1" presetClass="entr" presetSubtype="0" fill="hold" nodeType="clickEffect">
                                  <p:stCondLst>
                                    <p:cond delay="0"/>
                                  </p:stCondLst>
                                  <p:childTnLst>
                                    <p:set>
                                      <p:cBhvr>
                                        <p:cTn id="113" dur="1" fill="hold">
                                          <p:stCondLst>
                                            <p:cond delay="0"/>
                                          </p:stCondLst>
                                        </p:cTn>
                                        <p:tgtEl>
                                          <p:spTgt spid="88"/>
                                        </p:tgtEl>
                                        <p:attrNameLst>
                                          <p:attrName>style.visibility</p:attrName>
                                        </p:attrNameLst>
                                      </p:cBhvr>
                                      <p:to>
                                        <p:strVal val="visible"/>
                                      </p:to>
                                    </p:set>
                                  </p:childTnLst>
                                </p:cTn>
                              </p:par>
                            </p:childTnLst>
                          </p:cTn>
                        </p:par>
                      </p:childTnLst>
                    </p:cTn>
                  </p:par>
                  <p:par>
                    <p:cTn id="114" fill="hold">
                      <p:stCondLst>
                        <p:cond delay="indefinite"/>
                      </p:stCondLst>
                      <p:childTnLst>
                        <p:par>
                          <p:cTn id="115" fill="hold">
                            <p:stCondLst>
                              <p:cond delay="0"/>
                            </p:stCondLst>
                            <p:childTnLst>
                              <p:par>
                                <p:cTn id="116" presetID="2" presetClass="entr" presetSubtype="4" fill="hold" nodeType="clickEffect">
                                  <p:stCondLst>
                                    <p:cond delay="0"/>
                                  </p:stCondLst>
                                  <p:childTnLst>
                                    <p:set>
                                      <p:cBhvr>
                                        <p:cTn id="117" dur="1" fill="hold">
                                          <p:stCondLst>
                                            <p:cond delay="0"/>
                                          </p:stCondLst>
                                        </p:cTn>
                                        <p:tgtEl>
                                          <p:spTgt spid="59"/>
                                        </p:tgtEl>
                                        <p:attrNameLst>
                                          <p:attrName>style.visibility</p:attrName>
                                        </p:attrNameLst>
                                      </p:cBhvr>
                                      <p:to>
                                        <p:strVal val="visible"/>
                                      </p:to>
                                    </p:set>
                                    <p:anim calcmode="lin" valueType="num">
                                      <p:cBhvr additive="base">
                                        <p:cTn id="118" dur="500" fill="hold"/>
                                        <p:tgtEl>
                                          <p:spTgt spid="59"/>
                                        </p:tgtEl>
                                        <p:attrNameLst>
                                          <p:attrName>ppt_x</p:attrName>
                                        </p:attrNameLst>
                                      </p:cBhvr>
                                      <p:tavLst>
                                        <p:tav tm="0">
                                          <p:val>
                                            <p:strVal val="#ppt_x"/>
                                          </p:val>
                                        </p:tav>
                                        <p:tav tm="100000">
                                          <p:val>
                                            <p:strVal val="#ppt_x"/>
                                          </p:val>
                                        </p:tav>
                                      </p:tavLst>
                                    </p:anim>
                                    <p:anim calcmode="lin" valueType="num">
                                      <p:cBhvr additive="base">
                                        <p:cTn id="119" dur="500" fill="hold"/>
                                        <p:tgtEl>
                                          <p:spTgt spid="59"/>
                                        </p:tgtEl>
                                        <p:attrNameLst>
                                          <p:attrName>ppt_y</p:attrName>
                                        </p:attrNameLst>
                                      </p:cBhvr>
                                      <p:tavLst>
                                        <p:tav tm="0">
                                          <p:val>
                                            <p:strVal val="1+#ppt_h/2"/>
                                          </p:val>
                                        </p:tav>
                                        <p:tav tm="100000">
                                          <p:val>
                                            <p:strVal val="#ppt_y"/>
                                          </p:val>
                                        </p:tav>
                                      </p:tavLst>
                                    </p:anim>
                                  </p:childTnLst>
                                </p:cTn>
                              </p:par>
                              <p:par>
                                <p:cTn id="120" presetID="2" presetClass="entr" presetSubtype="4" fill="hold" nodeType="withEffect">
                                  <p:stCondLst>
                                    <p:cond delay="0"/>
                                  </p:stCondLst>
                                  <p:childTnLst>
                                    <p:set>
                                      <p:cBhvr>
                                        <p:cTn id="121" dur="1" fill="hold">
                                          <p:stCondLst>
                                            <p:cond delay="0"/>
                                          </p:stCondLst>
                                        </p:cTn>
                                        <p:tgtEl>
                                          <p:spTgt spid="60"/>
                                        </p:tgtEl>
                                        <p:attrNameLst>
                                          <p:attrName>style.visibility</p:attrName>
                                        </p:attrNameLst>
                                      </p:cBhvr>
                                      <p:to>
                                        <p:strVal val="visible"/>
                                      </p:to>
                                    </p:set>
                                    <p:anim calcmode="lin" valueType="num">
                                      <p:cBhvr additive="base">
                                        <p:cTn id="122" dur="500" fill="hold"/>
                                        <p:tgtEl>
                                          <p:spTgt spid="60"/>
                                        </p:tgtEl>
                                        <p:attrNameLst>
                                          <p:attrName>ppt_x</p:attrName>
                                        </p:attrNameLst>
                                      </p:cBhvr>
                                      <p:tavLst>
                                        <p:tav tm="0">
                                          <p:val>
                                            <p:strVal val="#ppt_x"/>
                                          </p:val>
                                        </p:tav>
                                        <p:tav tm="100000">
                                          <p:val>
                                            <p:strVal val="#ppt_x"/>
                                          </p:val>
                                        </p:tav>
                                      </p:tavLst>
                                    </p:anim>
                                    <p:anim calcmode="lin" valueType="num">
                                      <p:cBhvr additive="base">
                                        <p:cTn id="123" dur="500" fill="hold"/>
                                        <p:tgtEl>
                                          <p:spTgt spid="60"/>
                                        </p:tgtEl>
                                        <p:attrNameLst>
                                          <p:attrName>ppt_y</p:attrName>
                                        </p:attrNameLst>
                                      </p:cBhvr>
                                      <p:tavLst>
                                        <p:tav tm="0">
                                          <p:val>
                                            <p:strVal val="1+#ppt_h/2"/>
                                          </p:val>
                                        </p:tav>
                                        <p:tav tm="100000">
                                          <p:val>
                                            <p:strVal val="#ppt_y"/>
                                          </p:val>
                                        </p:tav>
                                      </p:tavLst>
                                    </p:anim>
                                  </p:childTnLst>
                                </p:cTn>
                              </p:par>
                              <p:par>
                                <p:cTn id="124" presetID="16" presetClass="entr" presetSubtype="21" fill="hold" nodeType="withEffect">
                                  <p:stCondLst>
                                    <p:cond delay="0"/>
                                  </p:stCondLst>
                                  <p:childTnLst>
                                    <p:set>
                                      <p:cBhvr>
                                        <p:cTn id="125" dur="1" fill="hold">
                                          <p:stCondLst>
                                            <p:cond delay="0"/>
                                          </p:stCondLst>
                                        </p:cTn>
                                        <p:tgtEl>
                                          <p:spTgt spid="82"/>
                                        </p:tgtEl>
                                        <p:attrNameLst>
                                          <p:attrName>style.visibility</p:attrName>
                                        </p:attrNameLst>
                                      </p:cBhvr>
                                      <p:to>
                                        <p:strVal val="visible"/>
                                      </p:to>
                                    </p:set>
                                    <p:animEffect transition="in" filter="barn(inVertical)">
                                      <p:cBhvr>
                                        <p:cTn id="126" dur="500"/>
                                        <p:tgtEl>
                                          <p:spTgt spid="82"/>
                                        </p:tgtEl>
                                      </p:cBhvr>
                                    </p:animEffect>
                                  </p:childTnLst>
                                </p:cTn>
                              </p:par>
                              <p:par>
                                <p:cTn id="127" presetID="16" presetClass="entr" presetSubtype="21" fill="hold" grpId="0" nodeType="withEffect">
                                  <p:stCondLst>
                                    <p:cond delay="0"/>
                                  </p:stCondLst>
                                  <p:childTnLst>
                                    <p:set>
                                      <p:cBhvr>
                                        <p:cTn id="128" dur="1" fill="hold">
                                          <p:stCondLst>
                                            <p:cond delay="0"/>
                                          </p:stCondLst>
                                        </p:cTn>
                                        <p:tgtEl>
                                          <p:spTgt spid="49"/>
                                        </p:tgtEl>
                                        <p:attrNameLst>
                                          <p:attrName>style.visibility</p:attrName>
                                        </p:attrNameLst>
                                      </p:cBhvr>
                                      <p:to>
                                        <p:strVal val="visible"/>
                                      </p:to>
                                    </p:set>
                                    <p:animEffect transition="in" filter="barn(inVertical)">
                                      <p:cBhvr>
                                        <p:cTn id="129" dur="500"/>
                                        <p:tgtEl>
                                          <p:spTgt spid="49"/>
                                        </p:tgtEl>
                                      </p:cBhvr>
                                    </p:animEffect>
                                  </p:childTnLst>
                                </p:cTn>
                              </p:par>
                              <p:par>
                                <p:cTn id="130" presetID="16" presetClass="entr" presetSubtype="21" fill="hold" nodeType="withEffect">
                                  <p:stCondLst>
                                    <p:cond delay="0"/>
                                  </p:stCondLst>
                                  <p:childTnLst>
                                    <p:set>
                                      <p:cBhvr>
                                        <p:cTn id="131" dur="1" fill="hold">
                                          <p:stCondLst>
                                            <p:cond delay="0"/>
                                          </p:stCondLst>
                                        </p:cTn>
                                        <p:tgtEl>
                                          <p:spTgt spid="98"/>
                                        </p:tgtEl>
                                        <p:attrNameLst>
                                          <p:attrName>style.visibility</p:attrName>
                                        </p:attrNameLst>
                                      </p:cBhvr>
                                      <p:to>
                                        <p:strVal val="visible"/>
                                      </p:to>
                                    </p:set>
                                    <p:animEffect transition="in" filter="barn(inVertical)">
                                      <p:cBhvr>
                                        <p:cTn id="132" dur="500"/>
                                        <p:tgtEl>
                                          <p:spTgt spid="98"/>
                                        </p:tgtEl>
                                      </p:cBhvr>
                                    </p:animEffect>
                                  </p:childTnLst>
                                </p:cTn>
                              </p:par>
                            </p:childTnLst>
                          </p:cTn>
                        </p:par>
                      </p:childTnLst>
                    </p:cTn>
                  </p:par>
                  <p:par>
                    <p:cTn id="133" fill="hold">
                      <p:stCondLst>
                        <p:cond delay="indefinite"/>
                      </p:stCondLst>
                      <p:childTnLst>
                        <p:par>
                          <p:cTn id="134" fill="hold">
                            <p:stCondLst>
                              <p:cond delay="0"/>
                            </p:stCondLst>
                            <p:childTnLst>
                              <p:par>
                                <p:cTn id="135" presetID="14" presetClass="entr" presetSubtype="10" fill="hold" nodeType="clickEffect">
                                  <p:stCondLst>
                                    <p:cond delay="0"/>
                                  </p:stCondLst>
                                  <p:childTnLst>
                                    <p:set>
                                      <p:cBhvr>
                                        <p:cTn id="136" dur="1" fill="hold">
                                          <p:stCondLst>
                                            <p:cond delay="0"/>
                                          </p:stCondLst>
                                        </p:cTn>
                                        <p:tgtEl>
                                          <p:spTgt spid="72"/>
                                        </p:tgtEl>
                                        <p:attrNameLst>
                                          <p:attrName>style.visibility</p:attrName>
                                        </p:attrNameLst>
                                      </p:cBhvr>
                                      <p:to>
                                        <p:strVal val="visible"/>
                                      </p:to>
                                    </p:set>
                                    <p:animEffect transition="in" filter="randombar(horizontal)">
                                      <p:cBhvr>
                                        <p:cTn id="137" dur="500"/>
                                        <p:tgtEl>
                                          <p:spTgt spid="72"/>
                                        </p:tgtEl>
                                      </p:cBhvr>
                                    </p:animEffect>
                                  </p:childTnLst>
                                </p:cTn>
                              </p:par>
                              <p:par>
                                <p:cTn id="138" presetID="14" presetClass="entr" presetSubtype="10" fill="hold" nodeType="withEffect">
                                  <p:stCondLst>
                                    <p:cond delay="0"/>
                                  </p:stCondLst>
                                  <p:childTnLst>
                                    <p:set>
                                      <p:cBhvr>
                                        <p:cTn id="139" dur="1" fill="hold">
                                          <p:stCondLst>
                                            <p:cond delay="0"/>
                                          </p:stCondLst>
                                        </p:cTn>
                                        <p:tgtEl>
                                          <p:spTgt spid="70"/>
                                        </p:tgtEl>
                                        <p:attrNameLst>
                                          <p:attrName>style.visibility</p:attrName>
                                        </p:attrNameLst>
                                      </p:cBhvr>
                                      <p:to>
                                        <p:strVal val="visible"/>
                                      </p:to>
                                    </p:set>
                                    <p:animEffect transition="in" filter="randombar(horizontal)">
                                      <p:cBhvr>
                                        <p:cTn id="140" dur="500"/>
                                        <p:tgtEl>
                                          <p:spTgt spid="70"/>
                                        </p:tgtEl>
                                      </p:cBhvr>
                                    </p:animEffect>
                                  </p:childTnLst>
                                </p:cTn>
                              </p:par>
                              <p:par>
                                <p:cTn id="141" presetID="14" presetClass="entr" presetSubtype="10" fill="hold" nodeType="withEffect">
                                  <p:stCondLst>
                                    <p:cond delay="0"/>
                                  </p:stCondLst>
                                  <p:childTnLst>
                                    <p:set>
                                      <p:cBhvr>
                                        <p:cTn id="142" dur="1" fill="hold">
                                          <p:stCondLst>
                                            <p:cond delay="0"/>
                                          </p:stCondLst>
                                        </p:cTn>
                                        <p:tgtEl>
                                          <p:spTgt spid="69"/>
                                        </p:tgtEl>
                                        <p:attrNameLst>
                                          <p:attrName>style.visibility</p:attrName>
                                        </p:attrNameLst>
                                      </p:cBhvr>
                                      <p:to>
                                        <p:strVal val="visible"/>
                                      </p:to>
                                    </p:set>
                                    <p:animEffect transition="in" filter="randombar(horizontal)">
                                      <p:cBhvr>
                                        <p:cTn id="143" dur="500"/>
                                        <p:tgtEl>
                                          <p:spTgt spid="6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8" grpId="0" animBg="1"/>
      <p:bldP spid="49" grpId="0" animBg="1"/>
      <p:bldP spid="94" grpId="0" animBg="1"/>
      <p:bldP spid="21" grpId="0" animBg="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69124CB8-CB01-BD11-4685-BA3BA70DE983}"/>
              </a:ext>
            </a:extLst>
          </p:cNvPr>
          <p:cNvSpPr>
            <a:spLocks noGrp="1"/>
          </p:cNvSpPr>
          <p:nvPr>
            <p:ph type="title"/>
          </p:nvPr>
        </p:nvSpPr>
        <p:spPr>
          <a:xfrm>
            <a:off x="742181" y="173857"/>
            <a:ext cx="7886700" cy="586768"/>
          </a:xfrm>
        </p:spPr>
        <p:txBody>
          <a:bodyPr/>
          <a:lstStyle/>
          <a:p>
            <a:r>
              <a:rPr lang="en-IE"/>
              <a:t>Potential of data in EHDS</a:t>
            </a:r>
          </a:p>
        </p:txBody>
      </p:sp>
      <p:graphicFrame>
        <p:nvGraphicFramePr>
          <p:cNvPr id="8" name="Diagram 7">
            <a:extLst>
              <a:ext uri="{FF2B5EF4-FFF2-40B4-BE49-F238E27FC236}">
                <a16:creationId xmlns:a16="http://schemas.microsoft.com/office/drawing/2014/main" id="{69F15A50-C672-CED3-E967-DA84CDC41080}"/>
              </a:ext>
            </a:extLst>
          </p:cNvPr>
          <p:cNvGraphicFramePr/>
          <p:nvPr>
            <p:extLst>
              <p:ext uri="{D42A27DB-BD31-4B8C-83A1-F6EECF244321}">
                <p14:modId xmlns:p14="http://schemas.microsoft.com/office/powerpoint/2010/main" val="884911761"/>
              </p:ext>
            </p:extLst>
          </p:nvPr>
        </p:nvGraphicFramePr>
        <p:xfrm>
          <a:off x="2304964" y="865828"/>
          <a:ext cx="4853233" cy="40640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cxnSp>
        <p:nvCxnSpPr>
          <p:cNvPr id="3" name="Straight Arrow Connector 2">
            <a:extLst>
              <a:ext uri="{FF2B5EF4-FFF2-40B4-BE49-F238E27FC236}">
                <a16:creationId xmlns:a16="http://schemas.microsoft.com/office/drawing/2014/main" id="{BC8C5BBE-3D5C-E7CE-3BEE-6AA6D1CFCDC3}"/>
              </a:ext>
            </a:extLst>
          </p:cNvPr>
          <p:cNvCxnSpPr/>
          <p:nvPr/>
        </p:nvCxnSpPr>
        <p:spPr>
          <a:xfrm flipV="1">
            <a:off x="2495750" y="1161463"/>
            <a:ext cx="0" cy="3768365"/>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91D3622C-86E0-C483-4BB1-75EAC1CF6CEE}"/>
              </a:ext>
            </a:extLst>
          </p:cNvPr>
          <p:cNvSpPr txBox="1"/>
          <p:nvPr/>
        </p:nvSpPr>
        <p:spPr>
          <a:xfrm>
            <a:off x="476373" y="3973263"/>
            <a:ext cx="2124675" cy="473206"/>
          </a:xfrm>
          <a:prstGeom prst="rect">
            <a:avLst/>
          </a:prstGeom>
          <a:noFill/>
        </p:spPr>
        <p:txBody>
          <a:bodyPr wrap="square" rtlCol="0">
            <a:spAutoFit/>
          </a:bodyPr>
          <a:lstStyle/>
          <a:p>
            <a:pPr marL="128588" indent="-128588" defTabSz="685800">
              <a:buFont typeface="Wingdings" panose="05000000000000000000" pitchFamily="2" charset="2"/>
              <a:buChar char="ü"/>
            </a:pPr>
            <a:r>
              <a:rPr lang="en-IE" sz="825" b="1">
                <a:solidFill>
                  <a:srgbClr val="4BC5DE"/>
                </a:solidFill>
                <a:latin typeface="Arial"/>
              </a:rPr>
              <a:t>Introducing unified metadata properties in datasets – with cooperation with DIGIT SEMIC</a:t>
            </a:r>
          </a:p>
        </p:txBody>
      </p:sp>
      <p:cxnSp>
        <p:nvCxnSpPr>
          <p:cNvPr id="5" name="Straight Arrow Connector 4">
            <a:extLst>
              <a:ext uri="{FF2B5EF4-FFF2-40B4-BE49-F238E27FC236}">
                <a16:creationId xmlns:a16="http://schemas.microsoft.com/office/drawing/2014/main" id="{231626A6-A7AA-ACB3-A930-05B5D2149292}"/>
              </a:ext>
            </a:extLst>
          </p:cNvPr>
          <p:cNvCxnSpPr/>
          <p:nvPr/>
        </p:nvCxnSpPr>
        <p:spPr>
          <a:xfrm flipV="1">
            <a:off x="6878927" y="1060911"/>
            <a:ext cx="0" cy="3768365"/>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sp>
        <p:nvSpPr>
          <p:cNvPr id="11" name="TextBox 10">
            <a:extLst>
              <a:ext uri="{FF2B5EF4-FFF2-40B4-BE49-F238E27FC236}">
                <a16:creationId xmlns:a16="http://schemas.microsoft.com/office/drawing/2014/main" id="{F8B21CB0-04F1-304D-58A0-584B1BA85DCA}"/>
              </a:ext>
            </a:extLst>
          </p:cNvPr>
          <p:cNvSpPr txBox="1"/>
          <p:nvPr/>
        </p:nvSpPr>
        <p:spPr>
          <a:xfrm>
            <a:off x="6967410" y="1583417"/>
            <a:ext cx="629239" cy="276999"/>
          </a:xfrm>
          <a:prstGeom prst="rect">
            <a:avLst/>
          </a:prstGeom>
          <a:noFill/>
        </p:spPr>
        <p:txBody>
          <a:bodyPr wrap="square" rtlCol="0">
            <a:spAutoFit/>
          </a:bodyPr>
          <a:lstStyle/>
          <a:p>
            <a:pPr defTabSz="685800"/>
            <a:r>
              <a:rPr lang="en-IE" sz="1200">
                <a:solidFill>
                  <a:srgbClr val="4D4D4D"/>
                </a:solidFill>
                <a:latin typeface="Arial"/>
              </a:rPr>
              <a:t>2029</a:t>
            </a:r>
          </a:p>
        </p:txBody>
      </p:sp>
      <p:sp>
        <p:nvSpPr>
          <p:cNvPr id="12" name="TextBox 11">
            <a:extLst>
              <a:ext uri="{FF2B5EF4-FFF2-40B4-BE49-F238E27FC236}">
                <a16:creationId xmlns:a16="http://schemas.microsoft.com/office/drawing/2014/main" id="{242977E8-B7AD-7200-F576-A191D19CE967}"/>
              </a:ext>
            </a:extLst>
          </p:cNvPr>
          <p:cNvSpPr txBox="1"/>
          <p:nvPr/>
        </p:nvSpPr>
        <p:spPr>
          <a:xfrm>
            <a:off x="6976051" y="1068931"/>
            <a:ext cx="629239" cy="276999"/>
          </a:xfrm>
          <a:prstGeom prst="rect">
            <a:avLst/>
          </a:prstGeom>
          <a:noFill/>
        </p:spPr>
        <p:txBody>
          <a:bodyPr wrap="square" rtlCol="0">
            <a:spAutoFit/>
          </a:bodyPr>
          <a:lstStyle/>
          <a:p>
            <a:pPr defTabSz="685800"/>
            <a:r>
              <a:rPr lang="en-IE" sz="1200">
                <a:solidFill>
                  <a:srgbClr val="4D4D4D"/>
                </a:solidFill>
                <a:latin typeface="Arial"/>
              </a:rPr>
              <a:t>2030</a:t>
            </a:r>
          </a:p>
        </p:txBody>
      </p:sp>
      <p:sp>
        <p:nvSpPr>
          <p:cNvPr id="13" name="TextBox 12">
            <a:extLst>
              <a:ext uri="{FF2B5EF4-FFF2-40B4-BE49-F238E27FC236}">
                <a16:creationId xmlns:a16="http://schemas.microsoft.com/office/drawing/2014/main" id="{3B6F5EBD-C8F8-FF21-99D7-EE2A3EC57737}"/>
              </a:ext>
            </a:extLst>
          </p:cNvPr>
          <p:cNvSpPr txBox="1"/>
          <p:nvPr/>
        </p:nvSpPr>
        <p:spPr>
          <a:xfrm>
            <a:off x="6967410" y="4575361"/>
            <a:ext cx="629239" cy="276999"/>
          </a:xfrm>
          <a:prstGeom prst="rect">
            <a:avLst/>
          </a:prstGeom>
          <a:noFill/>
        </p:spPr>
        <p:txBody>
          <a:bodyPr wrap="square" rtlCol="0">
            <a:spAutoFit/>
          </a:bodyPr>
          <a:lstStyle/>
          <a:p>
            <a:pPr defTabSz="685800"/>
            <a:r>
              <a:rPr lang="en-IE" sz="1200">
                <a:solidFill>
                  <a:srgbClr val="4D4D4D"/>
                </a:solidFill>
                <a:latin typeface="Arial"/>
              </a:rPr>
              <a:t>2025</a:t>
            </a:r>
          </a:p>
        </p:txBody>
      </p:sp>
      <p:sp>
        <p:nvSpPr>
          <p:cNvPr id="14" name="TextBox 13">
            <a:extLst>
              <a:ext uri="{FF2B5EF4-FFF2-40B4-BE49-F238E27FC236}">
                <a16:creationId xmlns:a16="http://schemas.microsoft.com/office/drawing/2014/main" id="{2AF331E2-E3C1-877A-070C-F675418C65D3}"/>
              </a:ext>
            </a:extLst>
          </p:cNvPr>
          <p:cNvSpPr txBox="1"/>
          <p:nvPr/>
        </p:nvSpPr>
        <p:spPr>
          <a:xfrm>
            <a:off x="6976050" y="2296958"/>
            <a:ext cx="629239" cy="276999"/>
          </a:xfrm>
          <a:prstGeom prst="rect">
            <a:avLst/>
          </a:prstGeom>
          <a:noFill/>
        </p:spPr>
        <p:txBody>
          <a:bodyPr wrap="square" rtlCol="0">
            <a:spAutoFit/>
          </a:bodyPr>
          <a:lstStyle/>
          <a:p>
            <a:pPr defTabSz="685800"/>
            <a:r>
              <a:rPr lang="en-IE" sz="1200">
                <a:solidFill>
                  <a:srgbClr val="4D4D4D"/>
                </a:solidFill>
                <a:latin typeface="Arial"/>
              </a:rPr>
              <a:t>2027</a:t>
            </a:r>
          </a:p>
        </p:txBody>
      </p:sp>
      <p:cxnSp>
        <p:nvCxnSpPr>
          <p:cNvPr id="15" name="Straight Connector 14">
            <a:extLst>
              <a:ext uri="{FF2B5EF4-FFF2-40B4-BE49-F238E27FC236}">
                <a16:creationId xmlns:a16="http://schemas.microsoft.com/office/drawing/2014/main" id="{A8BC43E8-D7F2-9F7C-A10A-E5023339F93C}"/>
              </a:ext>
            </a:extLst>
          </p:cNvPr>
          <p:cNvCxnSpPr/>
          <p:nvPr/>
        </p:nvCxnSpPr>
        <p:spPr>
          <a:xfrm flipV="1">
            <a:off x="7197081" y="2550873"/>
            <a:ext cx="0" cy="1951517"/>
          </a:xfrm>
          <a:prstGeom prst="line">
            <a:avLst/>
          </a:prstGeom>
          <a:ln w="19050" cap="flat" cmpd="sng" algn="ctr">
            <a:solidFill>
              <a:schemeClr val="accent1"/>
            </a:solidFill>
            <a:prstDash val="dashDot"/>
            <a:round/>
            <a:headEnd type="none" w="med" len="med"/>
            <a:tailEnd type="arrow" w="med" len="med"/>
          </a:ln>
        </p:spPr>
        <p:style>
          <a:lnRef idx="0">
            <a:scrgbClr r="0" g="0" b="0"/>
          </a:lnRef>
          <a:fillRef idx="0">
            <a:scrgbClr r="0" g="0" b="0"/>
          </a:fillRef>
          <a:effectRef idx="0">
            <a:scrgbClr r="0" g="0" b="0"/>
          </a:effectRef>
          <a:fontRef idx="minor">
            <a:schemeClr val="tx1"/>
          </a:fontRef>
        </p:style>
      </p:cxnSp>
      <p:sp>
        <p:nvSpPr>
          <p:cNvPr id="16" name="TextBox 15">
            <a:extLst>
              <a:ext uri="{FF2B5EF4-FFF2-40B4-BE49-F238E27FC236}">
                <a16:creationId xmlns:a16="http://schemas.microsoft.com/office/drawing/2014/main" id="{3D1DA7BC-1412-140D-5CD8-305FCA37C402}"/>
              </a:ext>
            </a:extLst>
          </p:cNvPr>
          <p:cNvSpPr txBox="1"/>
          <p:nvPr/>
        </p:nvSpPr>
        <p:spPr>
          <a:xfrm>
            <a:off x="480358" y="3195760"/>
            <a:ext cx="2124675" cy="473206"/>
          </a:xfrm>
          <a:prstGeom prst="rect">
            <a:avLst/>
          </a:prstGeom>
          <a:noFill/>
        </p:spPr>
        <p:txBody>
          <a:bodyPr wrap="square" rtlCol="0">
            <a:spAutoFit/>
          </a:bodyPr>
          <a:lstStyle/>
          <a:p>
            <a:pPr marL="128588" indent="-128588" defTabSz="685800">
              <a:buFont typeface="Wingdings" panose="05000000000000000000" pitchFamily="2" charset="2"/>
              <a:buChar char="ü"/>
            </a:pPr>
            <a:r>
              <a:rPr lang="en-IE" sz="825" b="1">
                <a:solidFill>
                  <a:srgbClr val="1EC08A"/>
                </a:solidFill>
                <a:latin typeface="Arial"/>
              </a:rPr>
              <a:t>Validating unified metadata properties in datasets – with DIGIT Interoperability Test Bed</a:t>
            </a:r>
          </a:p>
        </p:txBody>
      </p:sp>
      <p:sp>
        <p:nvSpPr>
          <p:cNvPr id="17" name="TextBox 16">
            <a:extLst>
              <a:ext uri="{FF2B5EF4-FFF2-40B4-BE49-F238E27FC236}">
                <a16:creationId xmlns:a16="http://schemas.microsoft.com/office/drawing/2014/main" id="{DA79B416-AD74-8A69-D419-5B0266AAEB43}"/>
              </a:ext>
            </a:extLst>
          </p:cNvPr>
          <p:cNvSpPr txBox="1"/>
          <p:nvPr/>
        </p:nvSpPr>
        <p:spPr>
          <a:xfrm>
            <a:off x="476373" y="2474207"/>
            <a:ext cx="2124675" cy="346249"/>
          </a:xfrm>
          <a:prstGeom prst="rect">
            <a:avLst/>
          </a:prstGeom>
          <a:noFill/>
        </p:spPr>
        <p:txBody>
          <a:bodyPr wrap="square" rtlCol="0">
            <a:spAutoFit/>
          </a:bodyPr>
          <a:lstStyle/>
          <a:p>
            <a:pPr marL="128588" indent="-128588" defTabSz="685800">
              <a:buFont typeface="Wingdings" panose="05000000000000000000" pitchFamily="2" charset="2"/>
              <a:buChar char="ü"/>
            </a:pPr>
            <a:r>
              <a:rPr lang="en-IE" sz="825" b="1">
                <a:solidFill>
                  <a:srgbClr val="ED8D2F"/>
                </a:solidFill>
                <a:latin typeface="Arial"/>
              </a:rPr>
              <a:t>Creating metadata properties in datasets – using AI chatbot</a:t>
            </a:r>
          </a:p>
        </p:txBody>
      </p:sp>
      <p:sp>
        <p:nvSpPr>
          <p:cNvPr id="19" name="TextBox 18">
            <a:extLst>
              <a:ext uri="{FF2B5EF4-FFF2-40B4-BE49-F238E27FC236}">
                <a16:creationId xmlns:a16="http://schemas.microsoft.com/office/drawing/2014/main" id="{E2DBA2DF-F207-3DC0-F834-8209B5A288F0}"/>
              </a:ext>
            </a:extLst>
          </p:cNvPr>
          <p:cNvSpPr txBox="1"/>
          <p:nvPr/>
        </p:nvSpPr>
        <p:spPr>
          <a:xfrm>
            <a:off x="412114" y="1770288"/>
            <a:ext cx="2124675" cy="346249"/>
          </a:xfrm>
          <a:prstGeom prst="rect">
            <a:avLst/>
          </a:prstGeom>
          <a:noFill/>
        </p:spPr>
        <p:txBody>
          <a:bodyPr wrap="square" rtlCol="0">
            <a:spAutoFit/>
          </a:bodyPr>
          <a:lstStyle/>
          <a:p>
            <a:pPr marL="128588" indent="-128588" defTabSz="685800">
              <a:buFont typeface="Wingdings" panose="05000000000000000000" pitchFamily="2" charset="2"/>
              <a:buChar char="ü"/>
            </a:pPr>
            <a:r>
              <a:rPr lang="en-IE" sz="825" b="1">
                <a:solidFill>
                  <a:srgbClr val="E76C53"/>
                </a:solidFill>
                <a:latin typeface="Arial"/>
              </a:rPr>
              <a:t>Using potential of data discovery supported with AI chatbot</a:t>
            </a:r>
          </a:p>
        </p:txBody>
      </p:sp>
      <p:sp>
        <p:nvSpPr>
          <p:cNvPr id="20" name="TextBox 19">
            <a:extLst>
              <a:ext uri="{FF2B5EF4-FFF2-40B4-BE49-F238E27FC236}">
                <a16:creationId xmlns:a16="http://schemas.microsoft.com/office/drawing/2014/main" id="{4093990F-6EC0-10DC-8F99-F4828B31EB42}"/>
              </a:ext>
            </a:extLst>
          </p:cNvPr>
          <p:cNvSpPr txBox="1"/>
          <p:nvPr/>
        </p:nvSpPr>
        <p:spPr>
          <a:xfrm>
            <a:off x="412114" y="1024043"/>
            <a:ext cx="2124675" cy="704039"/>
          </a:xfrm>
          <a:prstGeom prst="rect">
            <a:avLst/>
          </a:prstGeom>
          <a:noFill/>
        </p:spPr>
        <p:txBody>
          <a:bodyPr wrap="square" lIns="68580" tIns="34290" rIns="68580" bIns="34290" rtlCol="0" anchor="t">
            <a:spAutoFit/>
          </a:bodyPr>
          <a:lstStyle/>
          <a:p>
            <a:pPr marL="128588" indent="-128588" defTabSz="685800">
              <a:buFont typeface="Wingdings" panose="05000000000000000000" pitchFamily="2" charset="2"/>
              <a:buChar char="ü"/>
            </a:pPr>
            <a:r>
              <a:rPr lang="en-IE" sz="825" b="1">
                <a:solidFill>
                  <a:srgbClr val="4BC5DE"/>
                </a:solidFill>
                <a:latin typeface="Arial"/>
              </a:rPr>
              <a:t>Enabling analytical models learning by granting permits to use the same SPEs and reusing existing knowledge of the models – Big Data Platforms and AI models</a:t>
            </a:r>
          </a:p>
        </p:txBody>
      </p:sp>
      <p:cxnSp>
        <p:nvCxnSpPr>
          <p:cNvPr id="2" name="Straight Connector 1">
            <a:extLst>
              <a:ext uri="{FF2B5EF4-FFF2-40B4-BE49-F238E27FC236}">
                <a16:creationId xmlns:a16="http://schemas.microsoft.com/office/drawing/2014/main" id="{46C2394F-7B48-7B82-BC3B-8F83479A3A33}"/>
              </a:ext>
            </a:extLst>
          </p:cNvPr>
          <p:cNvCxnSpPr>
            <a:cxnSpLocks/>
          </p:cNvCxnSpPr>
          <p:nvPr/>
        </p:nvCxnSpPr>
        <p:spPr>
          <a:xfrm flipV="1">
            <a:off x="7197081" y="1837333"/>
            <a:ext cx="0" cy="508664"/>
          </a:xfrm>
          <a:prstGeom prst="line">
            <a:avLst/>
          </a:prstGeom>
          <a:ln w="19050" cap="flat" cmpd="sng" algn="ctr">
            <a:solidFill>
              <a:schemeClr val="accent1"/>
            </a:solidFill>
            <a:prstDash val="dashDot"/>
            <a:round/>
            <a:headEnd type="none" w="med" len="med"/>
            <a:tailEnd type="arrow" w="med" len="med"/>
          </a:ln>
        </p:spPr>
        <p:style>
          <a:lnRef idx="0">
            <a:scrgbClr r="0" g="0" b="0"/>
          </a:lnRef>
          <a:fillRef idx="0">
            <a:scrgbClr r="0" g="0" b="0"/>
          </a:fillRef>
          <a:effectRef idx="0">
            <a:scrgbClr r="0" g="0" b="0"/>
          </a:effectRef>
          <a:fontRef idx="minor">
            <a:schemeClr val="tx1"/>
          </a:fontRef>
        </p:style>
      </p:cxnSp>
      <p:cxnSp>
        <p:nvCxnSpPr>
          <p:cNvPr id="10" name="Straight Connector 9">
            <a:extLst>
              <a:ext uri="{FF2B5EF4-FFF2-40B4-BE49-F238E27FC236}">
                <a16:creationId xmlns:a16="http://schemas.microsoft.com/office/drawing/2014/main" id="{DC4E85C2-4317-05E4-7745-103FB2CEFCFD}"/>
              </a:ext>
            </a:extLst>
          </p:cNvPr>
          <p:cNvCxnSpPr>
            <a:cxnSpLocks/>
          </p:cNvCxnSpPr>
          <p:nvPr/>
        </p:nvCxnSpPr>
        <p:spPr>
          <a:xfrm flipV="1">
            <a:off x="7197081" y="1322847"/>
            <a:ext cx="0" cy="260570"/>
          </a:xfrm>
          <a:prstGeom prst="line">
            <a:avLst/>
          </a:prstGeom>
          <a:ln w="19050" cap="flat" cmpd="sng" algn="ctr">
            <a:solidFill>
              <a:schemeClr val="accent1"/>
            </a:solidFill>
            <a:prstDash val="dashDot"/>
            <a:round/>
            <a:headEnd type="none" w="med" len="med"/>
            <a:tailEnd type="arrow" w="med" len="med"/>
          </a:ln>
        </p:spPr>
        <p:style>
          <a:lnRef idx="0">
            <a:scrgbClr r="0" g="0" b="0"/>
          </a:lnRef>
          <a:fillRef idx="0">
            <a:scrgbClr r="0" g="0" b="0"/>
          </a:fillRef>
          <a:effectRef idx="0">
            <a:scrgbClr r="0" g="0" b="0"/>
          </a:effectRef>
          <a:fontRef idx="minor">
            <a:schemeClr val="tx1"/>
          </a:fontRef>
        </p:style>
      </p:cxnSp>
      <p:cxnSp>
        <p:nvCxnSpPr>
          <p:cNvPr id="23" name="Straight Connector 22">
            <a:extLst>
              <a:ext uri="{FF2B5EF4-FFF2-40B4-BE49-F238E27FC236}">
                <a16:creationId xmlns:a16="http://schemas.microsoft.com/office/drawing/2014/main" id="{D82D9A0B-DBFB-504E-8B78-0A7A16D8E6E2}"/>
              </a:ext>
            </a:extLst>
          </p:cNvPr>
          <p:cNvCxnSpPr>
            <a:cxnSpLocks/>
          </p:cNvCxnSpPr>
          <p:nvPr/>
        </p:nvCxnSpPr>
        <p:spPr>
          <a:xfrm flipV="1">
            <a:off x="7197081" y="865827"/>
            <a:ext cx="0" cy="203104"/>
          </a:xfrm>
          <a:prstGeom prst="line">
            <a:avLst/>
          </a:prstGeom>
          <a:ln w="19050" cap="flat" cmpd="sng" algn="ctr">
            <a:solidFill>
              <a:schemeClr val="accent1"/>
            </a:solidFill>
            <a:prstDash val="dashDot"/>
            <a:round/>
            <a:headEnd type="none" w="med" len="med"/>
            <a:tailEnd type="arrow" w="med" len="med"/>
          </a:ln>
        </p:spPr>
        <p:style>
          <a:lnRef idx="0">
            <a:scrgbClr r="0" g="0" b="0"/>
          </a:lnRef>
          <a:fillRef idx="0">
            <a:scrgbClr r="0" g="0" b="0"/>
          </a:fillRef>
          <a:effectRef idx="0">
            <a:scrgbClr r="0" g="0" b="0"/>
          </a:effectRef>
          <a:fontRef idx="minor">
            <a:schemeClr val="tx1"/>
          </a:fontRef>
        </p:style>
      </p:cxnSp>
    </p:spTree>
    <p:extLst>
      <p:ext uri="{BB962C8B-B14F-4D97-AF65-F5344CB8AC3E}">
        <p14:creationId xmlns:p14="http://schemas.microsoft.com/office/powerpoint/2010/main" val="199576076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11"/>
                                        </p:tgtEl>
                                        <p:attrNameLst>
                                          <p:attrName>style.visibility</p:attrName>
                                        </p:attrNameLst>
                                      </p:cBhvr>
                                      <p:to>
                                        <p:strVal val="visible"/>
                                      </p:to>
                                    </p:set>
                                    <p:anim calcmode="lin" valueType="num">
                                      <p:cBhvr additive="base">
                                        <p:cTn id="7" dur="500" fill="hold"/>
                                        <p:tgtEl>
                                          <p:spTgt spid="11"/>
                                        </p:tgtEl>
                                        <p:attrNameLst>
                                          <p:attrName>ppt_x</p:attrName>
                                        </p:attrNameLst>
                                      </p:cBhvr>
                                      <p:tavLst>
                                        <p:tav tm="0">
                                          <p:val>
                                            <p:strVal val="#ppt_x"/>
                                          </p:val>
                                        </p:tav>
                                        <p:tav tm="100000">
                                          <p:val>
                                            <p:strVal val="#ppt_x"/>
                                          </p:val>
                                        </p:tav>
                                      </p:tavLst>
                                    </p:anim>
                                    <p:anim calcmode="lin" valueType="num">
                                      <p:cBhvr additive="base">
                                        <p:cTn id="8" dur="500" fill="hold"/>
                                        <p:tgtEl>
                                          <p:spTgt spid="11"/>
                                        </p:tgtEl>
                                        <p:attrNameLst>
                                          <p:attrName>ppt_y</p:attrName>
                                        </p:attrNameLst>
                                      </p:cBhvr>
                                      <p:tavLst>
                                        <p:tav tm="0">
                                          <p:val>
                                            <p:strVal val="1+#ppt_h/2"/>
                                          </p:val>
                                        </p:tav>
                                        <p:tav tm="100000">
                                          <p:val>
                                            <p:strVal val="#ppt_y"/>
                                          </p:val>
                                        </p:tav>
                                      </p:tavLst>
                                    </p:anim>
                                  </p:childTnLst>
                                </p:cTn>
                              </p:par>
                              <p:par>
                                <p:cTn id="9" presetID="2" presetClass="entr" presetSubtype="4" fill="hold" grpId="0" nodeType="withEffect">
                                  <p:stCondLst>
                                    <p:cond delay="0"/>
                                  </p:stCondLst>
                                  <p:childTnLst>
                                    <p:set>
                                      <p:cBhvr>
                                        <p:cTn id="10" dur="1" fill="hold">
                                          <p:stCondLst>
                                            <p:cond delay="0"/>
                                          </p:stCondLst>
                                        </p:cTn>
                                        <p:tgtEl>
                                          <p:spTgt spid="12"/>
                                        </p:tgtEl>
                                        <p:attrNameLst>
                                          <p:attrName>style.visibility</p:attrName>
                                        </p:attrNameLst>
                                      </p:cBhvr>
                                      <p:to>
                                        <p:strVal val="visible"/>
                                      </p:to>
                                    </p:set>
                                    <p:anim calcmode="lin" valueType="num">
                                      <p:cBhvr additive="base">
                                        <p:cTn id="11" dur="500" fill="hold"/>
                                        <p:tgtEl>
                                          <p:spTgt spid="12"/>
                                        </p:tgtEl>
                                        <p:attrNameLst>
                                          <p:attrName>ppt_x</p:attrName>
                                        </p:attrNameLst>
                                      </p:cBhvr>
                                      <p:tavLst>
                                        <p:tav tm="0">
                                          <p:val>
                                            <p:strVal val="#ppt_x"/>
                                          </p:val>
                                        </p:tav>
                                        <p:tav tm="100000">
                                          <p:val>
                                            <p:strVal val="#ppt_x"/>
                                          </p:val>
                                        </p:tav>
                                      </p:tavLst>
                                    </p:anim>
                                    <p:anim calcmode="lin" valueType="num">
                                      <p:cBhvr additive="base">
                                        <p:cTn id="12" dur="500" fill="hold"/>
                                        <p:tgtEl>
                                          <p:spTgt spid="12"/>
                                        </p:tgtEl>
                                        <p:attrNameLst>
                                          <p:attrName>ppt_y</p:attrName>
                                        </p:attrNameLst>
                                      </p:cBhvr>
                                      <p:tavLst>
                                        <p:tav tm="0">
                                          <p:val>
                                            <p:strVal val="1+#ppt_h/2"/>
                                          </p:val>
                                        </p:tav>
                                        <p:tav tm="100000">
                                          <p:val>
                                            <p:strVal val="#ppt_y"/>
                                          </p:val>
                                        </p:tav>
                                      </p:tavLst>
                                    </p:anim>
                                  </p:childTnLst>
                                </p:cTn>
                              </p:par>
                              <p:par>
                                <p:cTn id="13" presetID="2" presetClass="entr" presetSubtype="4" fill="hold" grpId="0" nodeType="withEffect">
                                  <p:stCondLst>
                                    <p:cond delay="0"/>
                                  </p:stCondLst>
                                  <p:childTnLst>
                                    <p:set>
                                      <p:cBhvr>
                                        <p:cTn id="14" dur="1" fill="hold">
                                          <p:stCondLst>
                                            <p:cond delay="0"/>
                                          </p:stCondLst>
                                        </p:cTn>
                                        <p:tgtEl>
                                          <p:spTgt spid="13"/>
                                        </p:tgtEl>
                                        <p:attrNameLst>
                                          <p:attrName>style.visibility</p:attrName>
                                        </p:attrNameLst>
                                      </p:cBhvr>
                                      <p:to>
                                        <p:strVal val="visible"/>
                                      </p:to>
                                    </p:set>
                                    <p:anim calcmode="lin" valueType="num">
                                      <p:cBhvr additive="base">
                                        <p:cTn id="15" dur="500" fill="hold"/>
                                        <p:tgtEl>
                                          <p:spTgt spid="13"/>
                                        </p:tgtEl>
                                        <p:attrNameLst>
                                          <p:attrName>ppt_x</p:attrName>
                                        </p:attrNameLst>
                                      </p:cBhvr>
                                      <p:tavLst>
                                        <p:tav tm="0">
                                          <p:val>
                                            <p:strVal val="#ppt_x"/>
                                          </p:val>
                                        </p:tav>
                                        <p:tav tm="100000">
                                          <p:val>
                                            <p:strVal val="#ppt_x"/>
                                          </p:val>
                                        </p:tav>
                                      </p:tavLst>
                                    </p:anim>
                                    <p:anim calcmode="lin" valueType="num">
                                      <p:cBhvr additive="base">
                                        <p:cTn id="16" dur="500" fill="hold"/>
                                        <p:tgtEl>
                                          <p:spTgt spid="13"/>
                                        </p:tgtEl>
                                        <p:attrNameLst>
                                          <p:attrName>ppt_y</p:attrName>
                                        </p:attrNameLst>
                                      </p:cBhvr>
                                      <p:tavLst>
                                        <p:tav tm="0">
                                          <p:val>
                                            <p:strVal val="1+#ppt_h/2"/>
                                          </p:val>
                                        </p:tav>
                                        <p:tav tm="100000">
                                          <p:val>
                                            <p:strVal val="#ppt_y"/>
                                          </p:val>
                                        </p:tav>
                                      </p:tavLst>
                                    </p:anim>
                                  </p:childTnLst>
                                </p:cTn>
                              </p:par>
                              <p:par>
                                <p:cTn id="17" presetID="2" presetClass="entr" presetSubtype="4" fill="hold" grpId="0" nodeType="withEffect">
                                  <p:stCondLst>
                                    <p:cond delay="0"/>
                                  </p:stCondLst>
                                  <p:childTnLst>
                                    <p:set>
                                      <p:cBhvr>
                                        <p:cTn id="18" dur="1" fill="hold">
                                          <p:stCondLst>
                                            <p:cond delay="0"/>
                                          </p:stCondLst>
                                        </p:cTn>
                                        <p:tgtEl>
                                          <p:spTgt spid="14"/>
                                        </p:tgtEl>
                                        <p:attrNameLst>
                                          <p:attrName>style.visibility</p:attrName>
                                        </p:attrNameLst>
                                      </p:cBhvr>
                                      <p:to>
                                        <p:strVal val="visible"/>
                                      </p:to>
                                    </p:set>
                                    <p:anim calcmode="lin" valueType="num">
                                      <p:cBhvr additive="base">
                                        <p:cTn id="19" dur="500" fill="hold"/>
                                        <p:tgtEl>
                                          <p:spTgt spid="14"/>
                                        </p:tgtEl>
                                        <p:attrNameLst>
                                          <p:attrName>ppt_x</p:attrName>
                                        </p:attrNameLst>
                                      </p:cBhvr>
                                      <p:tavLst>
                                        <p:tav tm="0">
                                          <p:val>
                                            <p:strVal val="#ppt_x"/>
                                          </p:val>
                                        </p:tav>
                                        <p:tav tm="100000">
                                          <p:val>
                                            <p:strVal val="#ppt_x"/>
                                          </p:val>
                                        </p:tav>
                                      </p:tavLst>
                                    </p:anim>
                                    <p:anim calcmode="lin" valueType="num">
                                      <p:cBhvr additive="base">
                                        <p:cTn id="20" dur="500" fill="hold"/>
                                        <p:tgtEl>
                                          <p:spTgt spid="14"/>
                                        </p:tgtEl>
                                        <p:attrNameLst>
                                          <p:attrName>ppt_y</p:attrName>
                                        </p:attrNameLst>
                                      </p:cBhvr>
                                      <p:tavLst>
                                        <p:tav tm="0">
                                          <p:val>
                                            <p:strVal val="1+#ppt_h/2"/>
                                          </p:val>
                                        </p:tav>
                                        <p:tav tm="100000">
                                          <p:val>
                                            <p:strVal val="#ppt_y"/>
                                          </p:val>
                                        </p:tav>
                                      </p:tavLst>
                                    </p:anim>
                                  </p:childTnLst>
                                </p:cTn>
                              </p:par>
                              <p:par>
                                <p:cTn id="21" presetID="2" presetClass="entr" presetSubtype="4" fill="hold" nodeType="withEffect">
                                  <p:stCondLst>
                                    <p:cond delay="0"/>
                                  </p:stCondLst>
                                  <p:childTnLst>
                                    <p:set>
                                      <p:cBhvr>
                                        <p:cTn id="22" dur="1" fill="hold">
                                          <p:stCondLst>
                                            <p:cond delay="0"/>
                                          </p:stCondLst>
                                        </p:cTn>
                                        <p:tgtEl>
                                          <p:spTgt spid="15"/>
                                        </p:tgtEl>
                                        <p:attrNameLst>
                                          <p:attrName>style.visibility</p:attrName>
                                        </p:attrNameLst>
                                      </p:cBhvr>
                                      <p:to>
                                        <p:strVal val="visible"/>
                                      </p:to>
                                    </p:set>
                                    <p:anim calcmode="lin" valueType="num">
                                      <p:cBhvr additive="base">
                                        <p:cTn id="23" dur="500" fill="hold"/>
                                        <p:tgtEl>
                                          <p:spTgt spid="15"/>
                                        </p:tgtEl>
                                        <p:attrNameLst>
                                          <p:attrName>ppt_x</p:attrName>
                                        </p:attrNameLst>
                                      </p:cBhvr>
                                      <p:tavLst>
                                        <p:tav tm="0">
                                          <p:val>
                                            <p:strVal val="#ppt_x"/>
                                          </p:val>
                                        </p:tav>
                                        <p:tav tm="100000">
                                          <p:val>
                                            <p:strVal val="#ppt_x"/>
                                          </p:val>
                                        </p:tav>
                                      </p:tavLst>
                                    </p:anim>
                                    <p:anim calcmode="lin" valueType="num">
                                      <p:cBhvr additive="base">
                                        <p:cTn id="24" dur="500" fill="hold"/>
                                        <p:tgtEl>
                                          <p:spTgt spid="15"/>
                                        </p:tgtEl>
                                        <p:attrNameLst>
                                          <p:attrName>ppt_y</p:attrName>
                                        </p:attrNameLst>
                                      </p:cBhvr>
                                      <p:tavLst>
                                        <p:tav tm="0">
                                          <p:val>
                                            <p:strVal val="1+#ppt_h/2"/>
                                          </p:val>
                                        </p:tav>
                                        <p:tav tm="100000">
                                          <p:val>
                                            <p:strVal val="#ppt_y"/>
                                          </p:val>
                                        </p:tav>
                                      </p:tavLst>
                                    </p:anim>
                                  </p:childTnLst>
                                </p:cTn>
                              </p:par>
                              <p:par>
                                <p:cTn id="25" presetID="2" presetClass="entr" presetSubtype="4" fill="hold" nodeType="withEffect">
                                  <p:stCondLst>
                                    <p:cond delay="0"/>
                                  </p:stCondLst>
                                  <p:childTnLst>
                                    <p:set>
                                      <p:cBhvr>
                                        <p:cTn id="26" dur="1" fill="hold">
                                          <p:stCondLst>
                                            <p:cond delay="0"/>
                                          </p:stCondLst>
                                        </p:cTn>
                                        <p:tgtEl>
                                          <p:spTgt spid="2"/>
                                        </p:tgtEl>
                                        <p:attrNameLst>
                                          <p:attrName>style.visibility</p:attrName>
                                        </p:attrNameLst>
                                      </p:cBhvr>
                                      <p:to>
                                        <p:strVal val="visible"/>
                                      </p:to>
                                    </p:set>
                                    <p:anim calcmode="lin" valueType="num">
                                      <p:cBhvr additive="base">
                                        <p:cTn id="27" dur="500" fill="hold"/>
                                        <p:tgtEl>
                                          <p:spTgt spid="2"/>
                                        </p:tgtEl>
                                        <p:attrNameLst>
                                          <p:attrName>ppt_x</p:attrName>
                                        </p:attrNameLst>
                                      </p:cBhvr>
                                      <p:tavLst>
                                        <p:tav tm="0">
                                          <p:val>
                                            <p:strVal val="#ppt_x"/>
                                          </p:val>
                                        </p:tav>
                                        <p:tav tm="100000">
                                          <p:val>
                                            <p:strVal val="#ppt_x"/>
                                          </p:val>
                                        </p:tav>
                                      </p:tavLst>
                                    </p:anim>
                                    <p:anim calcmode="lin" valueType="num">
                                      <p:cBhvr additive="base">
                                        <p:cTn id="28" dur="500" fill="hold"/>
                                        <p:tgtEl>
                                          <p:spTgt spid="2"/>
                                        </p:tgtEl>
                                        <p:attrNameLst>
                                          <p:attrName>ppt_y</p:attrName>
                                        </p:attrNameLst>
                                      </p:cBhvr>
                                      <p:tavLst>
                                        <p:tav tm="0">
                                          <p:val>
                                            <p:strVal val="1+#ppt_h/2"/>
                                          </p:val>
                                        </p:tav>
                                        <p:tav tm="100000">
                                          <p:val>
                                            <p:strVal val="#ppt_y"/>
                                          </p:val>
                                        </p:tav>
                                      </p:tavLst>
                                    </p:anim>
                                  </p:childTnLst>
                                </p:cTn>
                              </p:par>
                              <p:par>
                                <p:cTn id="29" presetID="2" presetClass="entr" presetSubtype="4" fill="hold" nodeType="withEffect">
                                  <p:stCondLst>
                                    <p:cond delay="0"/>
                                  </p:stCondLst>
                                  <p:childTnLst>
                                    <p:set>
                                      <p:cBhvr>
                                        <p:cTn id="30" dur="1" fill="hold">
                                          <p:stCondLst>
                                            <p:cond delay="0"/>
                                          </p:stCondLst>
                                        </p:cTn>
                                        <p:tgtEl>
                                          <p:spTgt spid="10"/>
                                        </p:tgtEl>
                                        <p:attrNameLst>
                                          <p:attrName>style.visibility</p:attrName>
                                        </p:attrNameLst>
                                      </p:cBhvr>
                                      <p:to>
                                        <p:strVal val="visible"/>
                                      </p:to>
                                    </p:set>
                                    <p:anim calcmode="lin" valueType="num">
                                      <p:cBhvr additive="base">
                                        <p:cTn id="31" dur="500" fill="hold"/>
                                        <p:tgtEl>
                                          <p:spTgt spid="10"/>
                                        </p:tgtEl>
                                        <p:attrNameLst>
                                          <p:attrName>ppt_x</p:attrName>
                                        </p:attrNameLst>
                                      </p:cBhvr>
                                      <p:tavLst>
                                        <p:tav tm="0">
                                          <p:val>
                                            <p:strVal val="#ppt_x"/>
                                          </p:val>
                                        </p:tav>
                                        <p:tav tm="100000">
                                          <p:val>
                                            <p:strVal val="#ppt_x"/>
                                          </p:val>
                                        </p:tav>
                                      </p:tavLst>
                                    </p:anim>
                                    <p:anim calcmode="lin" valueType="num">
                                      <p:cBhvr additive="base">
                                        <p:cTn id="32" dur="500" fill="hold"/>
                                        <p:tgtEl>
                                          <p:spTgt spid="10"/>
                                        </p:tgtEl>
                                        <p:attrNameLst>
                                          <p:attrName>ppt_y</p:attrName>
                                        </p:attrNameLst>
                                      </p:cBhvr>
                                      <p:tavLst>
                                        <p:tav tm="0">
                                          <p:val>
                                            <p:strVal val="1+#ppt_h/2"/>
                                          </p:val>
                                        </p:tav>
                                        <p:tav tm="100000">
                                          <p:val>
                                            <p:strVal val="#ppt_y"/>
                                          </p:val>
                                        </p:tav>
                                      </p:tavLst>
                                    </p:anim>
                                  </p:childTnLst>
                                </p:cTn>
                              </p:par>
                              <p:par>
                                <p:cTn id="33" presetID="2" presetClass="entr" presetSubtype="4" fill="hold" nodeType="withEffect">
                                  <p:stCondLst>
                                    <p:cond delay="0"/>
                                  </p:stCondLst>
                                  <p:childTnLst>
                                    <p:set>
                                      <p:cBhvr>
                                        <p:cTn id="34" dur="1" fill="hold">
                                          <p:stCondLst>
                                            <p:cond delay="0"/>
                                          </p:stCondLst>
                                        </p:cTn>
                                        <p:tgtEl>
                                          <p:spTgt spid="23"/>
                                        </p:tgtEl>
                                        <p:attrNameLst>
                                          <p:attrName>style.visibility</p:attrName>
                                        </p:attrNameLst>
                                      </p:cBhvr>
                                      <p:to>
                                        <p:strVal val="visible"/>
                                      </p:to>
                                    </p:set>
                                    <p:anim calcmode="lin" valueType="num">
                                      <p:cBhvr additive="base">
                                        <p:cTn id="35" dur="500" fill="hold"/>
                                        <p:tgtEl>
                                          <p:spTgt spid="23"/>
                                        </p:tgtEl>
                                        <p:attrNameLst>
                                          <p:attrName>ppt_x</p:attrName>
                                        </p:attrNameLst>
                                      </p:cBhvr>
                                      <p:tavLst>
                                        <p:tav tm="0">
                                          <p:val>
                                            <p:strVal val="#ppt_x"/>
                                          </p:val>
                                        </p:tav>
                                        <p:tav tm="100000">
                                          <p:val>
                                            <p:strVal val="#ppt_x"/>
                                          </p:val>
                                        </p:tav>
                                      </p:tavLst>
                                    </p:anim>
                                    <p:anim calcmode="lin" valueType="num">
                                      <p:cBhvr additive="base">
                                        <p:cTn id="36" dur="500" fill="hold"/>
                                        <p:tgtEl>
                                          <p:spTgt spid="23"/>
                                        </p:tgtEl>
                                        <p:attrNameLst>
                                          <p:attrName>ppt_y</p:attrName>
                                        </p:attrNameLst>
                                      </p:cBhvr>
                                      <p:tavLst>
                                        <p:tav tm="0">
                                          <p:val>
                                            <p:strVal val="1+#ppt_h/2"/>
                                          </p:val>
                                        </p:tav>
                                        <p:tav tm="100000">
                                          <p:val>
                                            <p:strVal val="#ppt_y"/>
                                          </p:val>
                                        </p:tav>
                                      </p:tavLst>
                                    </p:anim>
                                  </p:childTnLst>
                                </p:cTn>
                              </p:par>
                              <p:par>
                                <p:cTn id="37" presetID="2" presetClass="entr" presetSubtype="4" fill="hold" nodeType="withEffect">
                                  <p:stCondLst>
                                    <p:cond delay="0"/>
                                  </p:stCondLst>
                                  <p:childTnLst>
                                    <p:set>
                                      <p:cBhvr>
                                        <p:cTn id="38" dur="1" fill="hold">
                                          <p:stCondLst>
                                            <p:cond delay="0"/>
                                          </p:stCondLst>
                                        </p:cTn>
                                        <p:tgtEl>
                                          <p:spTgt spid="5"/>
                                        </p:tgtEl>
                                        <p:attrNameLst>
                                          <p:attrName>style.visibility</p:attrName>
                                        </p:attrNameLst>
                                      </p:cBhvr>
                                      <p:to>
                                        <p:strVal val="visible"/>
                                      </p:to>
                                    </p:set>
                                    <p:anim calcmode="lin" valueType="num">
                                      <p:cBhvr additive="base">
                                        <p:cTn id="39" dur="500" fill="hold"/>
                                        <p:tgtEl>
                                          <p:spTgt spid="5"/>
                                        </p:tgtEl>
                                        <p:attrNameLst>
                                          <p:attrName>ppt_x</p:attrName>
                                        </p:attrNameLst>
                                      </p:cBhvr>
                                      <p:tavLst>
                                        <p:tav tm="0">
                                          <p:val>
                                            <p:strVal val="#ppt_x"/>
                                          </p:val>
                                        </p:tav>
                                        <p:tav tm="100000">
                                          <p:val>
                                            <p:strVal val="#ppt_x"/>
                                          </p:val>
                                        </p:tav>
                                      </p:tavLst>
                                    </p:anim>
                                    <p:anim calcmode="lin" valueType="num">
                                      <p:cBhvr additive="base">
                                        <p:cTn id="40" dur="500" fill="hold"/>
                                        <p:tgtEl>
                                          <p:spTgt spid="5"/>
                                        </p:tgtEl>
                                        <p:attrNameLst>
                                          <p:attrName>ppt_y</p:attrName>
                                        </p:attrNameLst>
                                      </p:cBhvr>
                                      <p:tavLst>
                                        <p:tav tm="0">
                                          <p:val>
                                            <p:strVal val="1+#ppt_h/2"/>
                                          </p:val>
                                        </p:tav>
                                        <p:tav tm="100000">
                                          <p:val>
                                            <p:strVal val="#ppt_y"/>
                                          </p:val>
                                        </p:tav>
                                      </p:tavLst>
                                    </p:anim>
                                  </p:childTnLst>
                                </p:cTn>
                              </p:par>
                              <p:par>
                                <p:cTn id="41" presetID="2" presetClass="entr" presetSubtype="4" fill="hold" nodeType="withEffect">
                                  <p:stCondLst>
                                    <p:cond delay="0"/>
                                  </p:stCondLst>
                                  <p:childTnLst>
                                    <p:set>
                                      <p:cBhvr>
                                        <p:cTn id="42" dur="1" fill="hold">
                                          <p:stCondLst>
                                            <p:cond delay="0"/>
                                          </p:stCondLst>
                                        </p:cTn>
                                        <p:tgtEl>
                                          <p:spTgt spid="3"/>
                                        </p:tgtEl>
                                        <p:attrNameLst>
                                          <p:attrName>style.visibility</p:attrName>
                                        </p:attrNameLst>
                                      </p:cBhvr>
                                      <p:to>
                                        <p:strVal val="visible"/>
                                      </p:to>
                                    </p:set>
                                    <p:anim calcmode="lin" valueType="num">
                                      <p:cBhvr additive="base">
                                        <p:cTn id="43" dur="500" fill="hold"/>
                                        <p:tgtEl>
                                          <p:spTgt spid="3"/>
                                        </p:tgtEl>
                                        <p:attrNameLst>
                                          <p:attrName>ppt_x</p:attrName>
                                        </p:attrNameLst>
                                      </p:cBhvr>
                                      <p:tavLst>
                                        <p:tav tm="0">
                                          <p:val>
                                            <p:strVal val="#ppt_x"/>
                                          </p:val>
                                        </p:tav>
                                        <p:tav tm="100000">
                                          <p:val>
                                            <p:strVal val="#ppt_x"/>
                                          </p:val>
                                        </p:tav>
                                      </p:tavLst>
                                    </p:anim>
                                    <p:anim calcmode="lin" valueType="num">
                                      <p:cBhvr additive="base">
                                        <p:cTn id="44" dur="500" fill="hold"/>
                                        <p:tgtEl>
                                          <p:spTgt spid="3"/>
                                        </p:tgtEl>
                                        <p:attrNameLst>
                                          <p:attrName>ppt_y</p:attrName>
                                        </p:attrNameLst>
                                      </p:cBhvr>
                                      <p:tavLst>
                                        <p:tav tm="0">
                                          <p:val>
                                            <p:strVal val="1+#ppt_h/2"/>
                                          </p:val>
                                        </p:tav>
                                        <p:tav tm="100000">
                                          <p:val>
                                            <p:strVal val="#ppt_y"/>
                                          </p:val>
                                        </p:tav>
                                      </p:tavLst>
                                    </p:anim>
                                  </p:childTnLst>
                                </p:cTn>
                              </p:par>
                            </p:childTnLst>
                          </p:cTn>
                        </p:par>
                      </p:childTnLst>
                    </p:cTn>
                  </p:par>
                  <p:par>
                    <p:cTn id="45" fill="hold">
                      <p:stCondLst>
                        <p:cond delay="indefinite"/>
                      </p:stCondLst>
                      <p:childTnLst>
                        <p:par>
                          <p:cTn id="46" fill="hold">
                            <p:stCondLst>
                              <p:cond delay="0"/>
                            </p:stCondLst>
                            <p:childTnLst>
                              <p:par>
                                <p:cTn id="47" presetID="6" presetClass="entr" presetSubtype="16" fill="hold" grpId="0" nodeType="clickEffect">
                                  <p:stCondLst>
                                    <p:cond delay="0"/>
                                  </p:stCondLst>
                                  <p:childTnLst>
                                    <p:set>
                                      <p:cBhvr>
                                        <p:cTn id="48" dur="1" fill="hold">
                                          <p:stCondLst>
                                            <p:cond delay="0"/>
                                          </p:stCondLst>
                                        </p:cTn>
                                        <p:tgtEl>
                                          <p:spTgt spid="8"/>
                                        </p:tgtEl>
                                        <p:attrNameLst>
                                          <p:attrName>style.visibility</p:attrName>
                                        </p:attrNameLst>
                                      </p:cBhvr>
                                      <p:to>
                                        <p:strVal val="visible"/>
                                      </p:to>
                                    </p:set>
                                    <p:animEffect transition="in" filter="circle(in)">
                                      <p:cBhvr>
                                        <p:cTn id="49" dur="2000"/>
                                        <p:tgtEl>
                                          <p:spTgt spid="8"/>
                                        </p:tgtEl>
                                      </p:cBhvr>
                                    </p:animEffect>
                                  </p:childTnLst>
                                </p:cTn>
                              </p:par>
                            </p:childTnLst>
                          </p:cTn>
                        </p:par>
                      </p:childTnLst>
                    </p:cTn>
                  </p:par>
                  <p:par>
                    <p:cTn id="50" fill="hold">
                      <p:stCondLst>
                        <p:cond delay="indefinite"/>
                      </p:stCondLst>
                      <p:childTnLst>
                        <p:par>
                          <p:cTn id="51" fill="hold">
                            <p:stCondLst>
                              <p:cond delay="0"/>
                            </p:stCondLst>
                            <p:childTnLst>
                              <p:par>
                                <p:cTn id="52" presetID="10" presetClass="entr" presetSubtype="0" fill="hold" grpId="0" nodeType="clickEffect">
                                  <p:stCondLst>
                                    <p:cond delay="0"/>
                                  </p:stCondLst>
                                  <p:childTnLst>
                                    <p:set>
                                      <p:cBhvr>
                                        <p:cTn id="53" dur="1" fill="hold">
                                          <p:stCondLst>
                                            <p:cond delay="0"/>
                                          </p:stCondLst>
                                        </p:cTn>
                                        <p:tgtEl>
                                          <p:spTgt spid="9"/>
                                        </p:tgtEl>
                                        <p:attrNameLst>
                                          <p:attrName>style.visibility</p:attrName>
                                        </p:attrNameLst>
                                      </p:cBhvr>
                                      <p:to>
                                        <p:strVal val="visible"/>
                                      </p:to>
                                    </p:set>
                                    <p:animEffect transition="in" filter="fade">
                                      <p:cBhvr>
                                        <p:cTn id="54" dur="500"/>
                                        <p:tgtEl>
                                          <p:spTgt spid="9"/>
                                        </p:tgtEl>
                                      </p:cBhvr>
                                    </p:animEffect>
                                  </p:childTnLst>
                                </p:cTn>
                              </p:par>
                            </p:childTnLst>
                          </p:cTn>
                        </p:par>
                      </p:childTnLst>
                    </p:cTn>
                  </p:par>
                  <p:par>
                    <p:cTn id="55" fill="hold">
                      <p:stCondLst>
                        <p:cond delay="indefinite"/>
                      </p:stCondLst>
                      <p:childTnLst>
                        <p:par>
                          <p:cTn id="56" fill="hold">
                            <p:stCondLst>
                              <p:cond delay="0"/>
                            </p:stCondLst>
                            <p:childTnLst>
                              <p:par>
                                <p:cTn id="57" presetID="10" presetClass="entr" presetSubtype="0" fill="hold" grpId="0" nodeType="clickEffect">
                                  <p:stCondLst>
                                    <p:cond delay="0"/>
                                  </p:stCondLst>
                                  <p:childTnLst>
                                    <p:set>
                                      <p:cBhvr>
                                        <p:cTn id="58" dur="1" fill="hold">
                                          <p:stCondLst>
                                            <p:cond delay="0"/>
                                          </p:stCondLst>
                                        </p:cTn>
                                        <p:tgtEl>
                                          <p:spTgt spid="16"/>
                                        </p:tgtEl>
                                        <p:attrNameLst>
                                          <p:attrName>style.visibility</p:attrName>
                                        </p:attrNameLst>
                                      </p:cBhvr>
                                      <p:to>
                                        <p:strVal val="visible"/>
                                      </p:to>
                                    </p:set>
                                    <p:animEffect transition="in" filter="fade">
                                      <p:cBhvr>
                                        <p:cTn id="59" dur="500"/>
                                        <p:tgtEl>
                                          <p:spTgt spid="16"/>
                                        </p:tgtEl>
                                      </p:cBhvr>
                                    </p:animEffect>
                                  </p:childTnLst>
                                </p:cTn>
                              </p:par>
                            </p:childTnLst>
                          </p:cTn>
                        </p:par>
                      </p:childTnLst>
                    </p:cTn>
                  </p:par>
                  <p:par>
                    <p:cTn id="60" fill="hold">
                      <p:stCondLst>
                        <p:cond delay="indefinite"/>
                      </p:stCondLst>
                      <p:childTnLst>
                        <p:par>
                          <p:cTn id="61" fill="hold">
                            <p:stCondLst>
                              <p:cond delay="0"/>
                            </p:stCondLst>
                            <p:childTnLst>
                              <p:par>
                                <p:cTn id="62" presetID="10" presetClass="entr" presetSubtype="0" fill="hold" grpId="0" nodeType="clickEffect">
                                  <p:stCondLst>
                                    <p:cond delay="0"/>
                                  </p:stCondLst>
                                  <p:childTnLst>
                                    <p:set>
                                      <p:cBhvr>
                                        <p:cTn id="63" dur="1" fill="hold">
                                          <p:stCondLst>
                                            <p:cond delay="0"/>
                                          </p:stCondLst>
                                        </p:cTn>
                                        <p:tgtEl>
                                          <p:spTgt spid="17"/>
                                        </p:tgtEl>
                                        <p:attrNameLst>
                                          <p:attrName>style.visibility</p:attrName>
                                        </p:attrNameLst>
                                      </p:cBhvr>
                                      <p:to>
                                        <p:strVal val="visible"/>
                                      </p:to>
                                    </p:set>
                                    <p:animEffect transition="in" filter="fade">
                                      <p:cBhvr>
                                        <p:cTn id="64" dur="500"/>
                                        <p:tgtEl>
                                          <p:spTgt spid="17"/>
                                        </p:tgtEl>
                                      </p:cBhvr>
                                    </p:animEffect>
                                  </p:childTnLst>
                                </p:cTn>
                              </p:par>
                            </p:childTnLst>
                          </p:cTn>
                        </p:par>
                      </p:childTnLst>
                    </p:cTn>
                  </p:par>
                  <p:par>
                    <p:cTn id="65" fill="hold">
                      <p:stCondLst>
                        <p:cond delay="indefinite"/>
                      </p:stCondLst>
                      <p:childTnLst>
                        <p:par>
                          <p:cTn id="66" fill="hold">
                            <p:stCondLst>
                              <p:cond delay="0"/>
                            </p:stCondLst>
                            <p:childTnLst>
                              <p:par>
                                <p:cTn id="67" presetID="10" presetClass="entr" presetSubtype="0" fill="hold" grpId="0" nodeType="clickEffect">
                                  <p:stCondLst>
                                    <p:cond delay="0"/>
                                  </p:stCondLst>
                                  <p:childTnLst>
                                    <p:set>
                                      <p:cBhvr>
                                        <p:cTn id="68" dur="1" fill="hold">
                                          <p:stCondLst>
                                            <p:cond delay="0"/>
                                          </p:stCondLst>
                                        </p:cTn>
                                        <p:tgtEl>
                                          <p:spTgt spid="19"/>
                                        </p:tgtEl>
                                        <p:attrNameLst>
                                          <p:attrName>style.visibility</p:attrName>
                                        </p:attrNameLst>
                                      </p:cBhvr>
                                      <p:to>
                                        <p:strVal val="visible"/>
                                      </p:to>
                                    </p:set>
                                    <p:animEffect transition="in" filter="fade">
                                      <p:cBhvr>
                                        <p:cTn id="69" dur="500"/>
                                        <p:tgtEl>
                                          <p:spTgt spid="19"/>
                                        </p:tgtEl>
                                      </p:cBhvr>
                                    </p:animEffect>
                                  </p:childTnLst>
                                </p:cTn>
                              </p:par>
                            </p:childTnLst>
                          </p:cTn>
                        </p:par>
                      </p:childTnLst>
                    </p:cTn>
                  </p:par>
                  <p:par>
                    <p:cTn id="70" fill="hold">
                      <p:stCondLst>
                        <p:cond delay="indefinite"/>
                      </p:stCondLst>
                      <p:childTnLst>
                        <p:par>
                          <p:cTn id="71" fill="hold">
                            <p:stCondLst>
                              <p:cond delay="0"/>
                            </p:stCondLst>
                            <p:childTnLst>
                              <p:par>
                                <p:cTn id="72" presetID="10" presetClass="entr" presetSubtype="0" fill="hold" grpId="0" nodeType="clickEffect">
                                  <p:stCondLst>
                                    <p:cond delay="0"/>
                                  </p:stCondLst>
                                  <p:childTnLst>
                                    <p:set>
                                      <p:cBhvr>
                                        <p:cTn id="73" dur="1" fill="hold">
                                          <p:stCondLst>
                                            <p:cond delay="0"/>
                                          </p:stCondLst>
                                        </p:cTn>
                                        <p:tgtEl>
                                          <p:spTgt spid="20"/>
                                        </p:tgtEl>
                                        <p:attrNameLst>
                                          <p:attrName>style.visibility</p:attrName>
                                        </p:attrNameLst>
                                      </p:cBhvr>
                                      <p:to>
                                        <p:strVal val="visible"/>
                                      </p:to>
                                    </p:set>
                                    <p:animEffect transition="in" filter="fade">
                                      <p:cBhvr>
                                        <p:cTn id="74" dur="500"/>
                                        <p:tgtEl>
                                          <p:spTgt spid="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8" grpId="0">
        <p:bldAsOne/>
      </p:bldGraphic>
      <p:bldP spid="9" grpId="0"/>
      <p:bldP spid="11" grpId="0"/>
      <p:bldP spid="12" grpId="0"/>
      <p:bldP spid="13" grpId="0"/>
      <p:bldP spid="14" grpId="0"/>
      <p:bldP spid="16" grpId="0"/>
      <p:bldP spid="17" grpId="0"/>
      <p:bldP spid="19" grpId="0"/>
      <p:bldP spid="20" grpId="0"/>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5E8B3122-5666-425E-EE5A-DCE1EFE10D52}"/>
              </a:ext>
            </a:extLst>
          </p:cNvPr>
          <p:cNvSpPr>
            <a:spLocks noGrp="1"/>
          </p:cNvSpPr>
          <p:nvPr>
            <p:ph type="title"/>
          </p:nvPr>
        </p:nvSpPr>
        <p:spPr/>
        <p:txBody>
          <a:bodyPr/>
          <a:lstStyle/>
          <a:p>
            <a:r>
              <a:rPr lang="en-IE"/>
              <a:t>HealthData@EU Central Platform</a:t>
            </a:r>
          </a:p>
        </p:txBody>
      </p:sp>
      <p:sp>
        <p:nvSpPr>
          <p:cNvPr id="6" name="Content Placeholder 5">
            <a:extLst>
              <a:ext uri="{FF2B5EF4-FFF2-40B4-BE49-F238E27FC236}">
                <a16:creationId xmlns:a16="http://schemas.microsoft.com/office/drawing/2014/main" id="{AC3D6D0B-CBC7-C208-3094-B5415FB1ECEC}"/>
              </a:ext>
            </a:extLst>
          </p:cNvPr>
          <p:cNvSpPr>
            <a:spLocks noGrp="1"/>
          </p:cNvSpPr>
          <p:nvPr>
            <p:ph idx="1"/>
          </p:nvPr>
        </p:nvSpPr>
        <p:spPr>
          <a:xfrm>
            <a:off x="628650" y="1369220"/>
            <a:ext cx="7886700" cy="2415972"/>
          </a:xfrm>
        </p:spPr>
        <p:txBody>
          <a:bodyPr/>
          <a:lstStyle/>
          <a:p>
            <a:r>
              <a:rPr lang="en-US" b="0" i="0">
                <a:solidFill>
                  <a:srgbClr val="515560"/>
                </a:solidFill>
                <a:effectLst/>
                <a:latin typeface="arial" panose="020B0604020202020204" pitchFamily="34" charset="0"/>
              </a:rPr>
              <a:t>The HealthData@EU Central Platform is a pivotal digital system being developed by the European Commission to meet the requirements of the upcoming European Health Data Space Regulation. </a:t>
            </a:r>
          </a:p>
          <a:p>
            <a:r>
              <a:rPr lang="en-US" b="0" i="0">
                <a:solidFill>
                  <a:srgbClr val="515560"/>
                </a:solidFill>
                <a:effectLst/>
                <a:latin typeface="arial" panose="020B0604020202020204" pitchFamily="34" charset="0"/>
              </a:rPr>
              <a:t>This platform hosts the Dataset Catalogue, which compiles metadata from member states, European institutions, third countries, and research infrastructures. </a:t>
            </a:r>
          </a:p>
          <a:p>
            <a:r>
              <a:rPr lang="en-US" b="0" i="0">
                <a:solidFill>
                  <a:srgbClr val="515560"/>
                </a:solidFill>
                <a:effectLst/>
                <a:latin typeface="arial" panose="020B0604020202020204" pitchFamily="34" charset="0"/>
              </a:rPr>
              <a:t>Additionally, the key functionalities include completing and submitting Data Access and Data Request applications for assessment and decision-making by relevant Health Data Access Bodies.</a:t>
            </a:r>
          </a:p>
          <a:p>
            <a:endParaRPr lang="en-US">
              <a:solidFill>
                <a:srgbClr val="515560"/>
              </a:solidFill>
              <a:latin typeface="arial" panose="020B0604020202020204" pitchFamily="34" charset="0"/>
            </a:endParaRPr>
          </a:p>
          <a:p>
            <a:pPr marL="0" indent="0">
              <a:buNone/>
            </a:pPr>
            <a:r>
              <a:rPr lang="en-US" sz="2100">
                <a:solidFill>
                  <a:srgbClr val="515560"/>
                </a:solidFill>
                <a:latin typeface="arial" panose="020B0604020202020204" pitchFamily="34" charset="0"/>
              </a:rPr>
              <a:t>Link to system: </a:t>
            </a:r>
            <a:r>
              <a:rPr lang="en-IE" sz="2100">
                <a:hlinkClick r:id="rId2"/>
              </a:rPr>
              <a:t>HealthData@EU</a:t>
            </a:r>
            <a:endParaRPr lang="en-IE" sz="2100"/>
          </a:p>
          <a:p>
            <a:pPr marL="0" indent="0">
              <a:buNone/>
            </a:pPr>
            <a:endParaRPr lang="en-IE" sz="2100"/>
          </a:p>
        </p:txBody>
      </p:sp>
    </p:spTree>
    <p:extLst>
      <p:ext uri="{BB962C8B-B14F-4D97-AF65-F5344CB8AC3E}">
        <p14:creationId xmlns:p14="http://schemas.microsoft.com/office/powerpoint/2010/main" val="327808635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105">
            <a:extLst>
              <a:ext uri="{FF2B5EF4-FFF2-40B4-BE49-F238E27FC236}">
                <a16:creationId xmlns:a16="http://schemas.microsoft.com/office/drawing/2014/main" id="{E6019E96-5E53-1DEE-36EE-D2EE77D1FB2E}"/>
              </a:ext>
            </a:extLst>
          </p:cNvPr>
          <p:cNvSpPr/>
          <p:nvPr/>
        </p:nvSpPr>
        <p:spPr>
          <a:xfrm>
            <a:off x="7695973" y="1894768"/>
            <a:ext cx="1063652" cy="1697423"/>
          </a:xfrm>
          <a:prstGeom prst="round2DiagRect">
            <a:avLst>
              <a:gd name="adj1" fmla="val 18888"/>
              <a:gd name="adj2" fmla="val 0"/>
            </a:avLst>
          </a:prstGeom>
          <a:solidFill>
            <a:schemeClr val="accent2">
              <a:lumMod val="75000"/>
            </a:schemeClr>
          </a:solidFill>
          <a:ln w="12700" cap="flat" cmpd="sng" algn="ctr">
            <a:solidFill>
              <a:srgbClr val="4472C4">
                <a:shade val="15000"/>
              </a:srgbClr>
            </a:solidFill>
            <a:prstDash val="solid"/>
            <a:miter lim="800000"/>
          </a:ln>
          <a:effectLst/>
        </p:spPr>
        <p:txBody>
          <a:bodyPr rtlCol="0" anchor="t"/>
          <a:lstStyle/>
          <a:p>
            <a:pPr algn="ctr" defTabSz="685800">
              <a:defRPr/>
            </a:pPr>
            <a:r>
              <a:rPr lang="en-GB" sz="788" b="1" kern="0">
                <a:solidFill>
                  <a:prstClr val="black"/>
                </a:solidFill>
                <a:latin typeface="Calibri" panose="020F0502020204030204" pitchFamily="34" charset="0"/>
                <a:cs typeface="Calibri" panose="020F0502020204030204" pitchFamily="34" charset="0"/>
              </a:rPr>
              <a:t>HealthData@EU Central Platform</a:t>
            </a:r>
          </a:p>
        </p:txBody>
      </p:sp>
      <p:cxnSp>
        <p:nvCxnSpPr>
          <p:cNvPr id="10" name="Straight Arrow Connector 14">
            <a:extLst>
              <a:ext uri="{FF2B5EF4-FFF2-40B4-BE49-F238E27FC236}">
                <a16:creationId xmlns:a16="http://schemas.microsoft.com/office/drawing/2014/main" id="{36112BFC-5386-DD76-1BA6-D6E53F84A6F3}"/>
              </a:ext>
            </a:extLst>
          </p:cNvPr>
          <p:cNvCxnSpPr>
            <a:cxnSpLocks/>
          </p:cNvCxnSpPr>
          <p:nvPr/>
        </p:nvCxnSpPr>
        <p:spPr>
          <a:xfrm>
            <a:off x="1222280" y="2168614"/>
            <a:ext cx="358310" cy="0"/>
          </a:xfrm>
          <a:prstGeom prst="straightConnector1">
            <a:avLst/>
          </a:prstGeom>
          <a:noFill/>
          <a:ln w="15875" cap="flat" cmpd="sng" algn="ctr">
            <a:solidFill>
              <a:srgbClr val="4472C4"/>
            </a:solidFill>
            <a:prstDash val="dash"/>
            <a:miter lim="800000"/>
            <a:tailEnd type="triangle"/>
          </a:ln>
          <a:effectLst/>
        </p:spPr>
      </p:cxnSp>
      <p:sp>
        <p:nvSpPr>
          <p:cNvPr id="11" name="Rectangle: Rounded Corners 10">
            <a:extLst>
              <a:ext uri="{FF2B5EF4-FFF2-40B4-BE49-F238E27FC236}">
                <a16:creationId xmlns:a16="http://schemas.microsoft.com/office/drawing/2014/main" id="{9A36BB8F-4D55-8186-5599-8315B782E892}"/>
              </a:ext>
            </a:extLst>
          </p:cNvPr>
          <p:cNvSpPr/>
          <p:nvPr/>
        </p:nvSpPr>
        <p:spPr>
          <a:xfrm>
            <a:off x="7800829" y="2602557"/>
            <a:ext cx="853937" cy="381500"/>
          </a:xfrm>
          <a:prstGeom prst="roundRect">
            <a:avLst/>
          </a:prstGeom>
          <a:solidFill>
            <a:schemeClr val="accent2">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defTabSz="685800">
              <a:defRPr/>
            </a:pPr>
            <a:r>
              <a:rPr lang="en-US" sz="825" b="1">
                <a:solidFill>
                  <a:srgbClr val="ED8D2F">
                    <a:lumMod val="75000"/>
                  </a:srgbClr>
                </a:solidFill>
                <a:latin typeface="Calibri" panose="020F0502020204030204" pitchFamily="34" charset="0"/>
                <a:cs typeface="Calibri" panose="020F0502020204030204" pitchFamily="34" charset="0"/>
              </a:rPr>
              <a:t>Display and Search of EU Dataset Catalogue</a:t>
            </a:r>
            <a:endParaRPr lang="fr-BE" sz="825" b="1">
              <a:solidFill>
                <a:srgbClr val="ED8D2F">
                  <a:lumMod val="75000"/>
                </a:srgbClr>
              </a:solidFill>
              <a:latin typeface="Calibri" panose="020F0502020204030204" pitchFamily="34" charset="0"/>
              <a:cs typeface="Calibri" panose="020F0502020204030204" pitchFamily="34" charset="0"/>
            </a:endParaRPr>
          </a:p>
        </p:txBody>
      </p:sp>
      <p:sp>
        <p:nvSpPr>
          <p:cNvPr id="13" name="TextBox 12">
            <a:extLst>
              <a:ext uri="{FF2B5EF4-FFF2-40B4-BE49-F238E27FC236}">
                <a16:creationId xmlns:a16="http://schemas.microsoft.com/office/drawing/2014/main" id="{F3F7069B-E83D-62AD-2762-2224C6547517}"/>
              </a:ext>
            </a:extLst>
          </p:cNvPr>
          <p:cNvSpPr txBox="1"/>
          <p:nvPr/>
        </p:nvSpPr>
        <p:spPr>
          <a:xfrm>
            <a:off x="473442" y="1908526"/>
            <a:ext cx="745769" cy="473206"/>
          </a:xfrm>
          <a:prstGeom prst="rect">
            <a:avLst/>
          </a:prstGeom>
          <a:solidFill>
            <a:schemeClr val="accent4">
              <a:lumMod val="60000"/>
              <a:lumOff val="40000"/>
            </a:schemeClr>
          </a:solidFill>
          <a:ln w="9525">
            <a:solidFill>
              <a:schemeClr val="tx1"/>
            </a:solidFill>
            <a:prstDash val="solid"/>
          </a:ln>
          <a:effectLst>
            <a:outerShdw blurRad="50800" dist="38100" dir="2700000" algn="tl" rotWithShape="0">
              <a:prstClr val="black">
                <a:alpha val="40000"/>
              </a:prstClr>
            </a:outerShdw>
          </a:effectLst>
        </p:spPr>
        <p:txBody>
          <a:bodyPr wrap="square" lIns="0" rIns="0">
            <a:spAutoFit/>
          </a:bodyPr>
          <a:lstStyle/>
          <a:p>
            <a:pPr algn="ctr" defTabSz="685800">
              <a:defRPr/>
            </a:pPr>
            <a:endParaRPr lang="en-US" sz="825" b="1">
              <a:solidFill>
                <a:prstClr val="black"/>
              </a:solidFill>
              <a:latin typeface="Calibri" panose="020F0502020204030204" pitchFamily="34" charset="0"/>
              <a:cs typeface="Calibri" panose="020F0502020204030204" pitchFamily="34" charset="0"/>
            </a:endParaRPr>
          </a:p>
          <a:p>
            <a:pPr algn="ctr" defTabSz="685800">
              <a:defRPr/>
            </a:pPr>
            <a:r>
              <a:rPr lang="en-US" sz="825" b="1">
                <a:solidFill>
                  <a:prstClr val="black"/>
                </a:solidFill>
                <a:latin typeface="Calibri" panose="020F0502020204030204" pitchFamily="34" charset="0"/>
                <a:cs typeface="Calibri" panose="020F0502020204030204" pitchFamily="34" charset="0"/>
              </a:rPr>
              <a:t>National Data </a:t>
            </a:r>
          </a:p>
          <a:p>
            <a:pPr algn="ctr" defTabSz="685800">
              <a:defRPr/>
            </a:pPr>
            <a:r>
              <a:rPr lang="en-US" sz="825" b="1">
                <a:solidFill>
                  <a:prstClr val="black"/>
                </a:solidFill>
                <a:latin typeface="Calibri" panose="020F0502020204030204" pitchFamily="34" charset="0"/>
                <a:cs typeface="Calibri" panose="020F0502020204030204" pitchFamily="34" charset="0"/>
              </a:rPr>
              <a:t>Holder systems</a:t>
            </a:r>
          </a:p>
        </p:txBody>
      </p:sp>
      <p:sp>
        <p:nvSpPr>
          <p:cNvPr id="20" name="Rectangle 105">
            <a:extLst>
              <a:ext uri="{FF2B5EF4-FFF2-40B4-BE49-F238E27FC236}">
                <a16:creationId xmlns:a16="http://schemas.microsoft.com/office/drawing/2014/main" id="{4C2A9501-2592-7477-9AF5-8A8FEAFFE616}"/>
              </a:ext>
            </a:extLst>
          </p:cNvPr>
          <p:cNvSpPr/>
          <p:nvPr/>
        </p:nvSpPr>
        <p:spPr>
          <a:xfrm>
            <a:off x="5933326" y="1777162"/>
            <a:ext cx="1063652" cy="793760"/>
          </a:xfrm>
          <a:prstGeom prst="round2DiagRect">
            <a:avLst>
              <a:gd name="adj1" fmla="val 26354"/>
              <a:gd name="adj2" fmla="val 0"/>
            </a:avLst>
          </a:prstGeom>
          <a:solidFill>
            <a:schemeClr val="tx2">
              <a:lumMod val="40000"/>
              <a:lumOff val="60000"/>
            </a:schemeClr>
          </a:solidFill>
          <a:ln w="12700" cap="flat" cmpd="sng" algn="ctr">
            <a:solidFill>
              <a:srgbClr val="4472C4">
                <a:shade val="15000"/>
              </a:srgbClr>
            </a:solidFill>
            <a:prstDash val="solid"/>
            <a:miter lim="800000"/>
          </a:ln>
          <a:effectLst/>
        </p:spPr>
        <p:txBody>
          <a:bodyPr lIns="0" rIns="0" rtlCol="0" anchor="ctr"/>
          <a:lstStyle/>
          <a:p>
            <a:pPr algn="ctr" defTabSz="685800">
              <a:defRPr/>
            </a:pPr>
            <a:r>
              <a:rPr lang="en-GB" sz="600" b="1" kern="0">
                <a:solidFill>
                  <a:prstClr val="black"/>
                </a:solidFill>
                <a:latin typeface="Calibri" panose="020F0502020204030204" pitchFamily="34" charset="0"/>
                <a:cs typeface="Calibri" panose="020F0502020204030204" pitchFamily="34" charset="0"/>
              </a:rPr>
              <a:t>Cross-border Gateway </a:t>
            </a:r>
          </a:p>
          <a:p>
            <a:pPr algn="ctr" defTabSz="685800">
              <a:defRPr/>
            </a:pPr>
            <a:r>
              <a:rPr lang="en-GB" sz="600" b="1" kern="0">
                <a:solidFill>
                  <a:prstClr val="black"/>
                </a:solidFill>
                <a:latin typeface="Calibri" panose="020F0502020204030204" pitchFamily="34" charset="0"/>
                <a:cs typeface="Calibri" panose="020F0502020204030204" pitchFamily="34" charset="0"/>
              </a:rPr>
              <a:t>eDelivery</a:t>
            </a:r>
          </a:p>
        </p:txBody>
      </p:sp>
      <p:sp>
        <p:nvSpPr>
          <p:cNvPr id="21" name="Rectangle 105">
            <a:extLst>
              <a:ext uri="{FF2B5EF4-FFF2-40B4-BE49-F238E27FC236}">
                <a16:creationId xmlns:a16="http://schemas.microsoft.com/office/drawing/2014/main" id="{36E3A192-685C-7B31-440E-2B9FAC4E5A65}"/>
              </a:ext>
            </a:extLst>
          </p:cNvPr>
          <p:cNvSpPr/>
          <p:nvPr/>
        </p:nvSpPr>
        <p:spPr>
          <a:xfrm>
            <a:off x="4763325" y="1625313"/>
            <a:ext cx="965710" cy="1097241"/>
          </a:xfrm>
          <a:prstGeom prst="round2DiagRect">
            <a:avLst>
              <a:gd name="adj1" fmla="val 20130"/>
              <a:gd name="adj2" fmla="val 0"/>
            </a:avLst>
          </a:prstGeom>
          <a:solidFill>
            <a:schemeClr val="tx2">
              <a:lumMod val="40000"/>
              <a:lumOff val="60000"/>
            </a:schemeClr>
          </a:solidFill>
          <a:ln w="12700" cap="flat" cmpd="sng" algn="ctr">
            <a:solidFill>
              <a:srgbClr val="4472C4">
                <a:shade val="15000"/>
              </a:srgbClr>
            </a:solidFill>
            <a:prstDash val="solid"/>
            <a:miter lim="800000"/>
          </a:ln>
          <a:effectLst/>
        </p:spPr>
        <p:txBody>
          <a:bodyPr rtlCol="0" anchor="ctr"/>
          <a:lstStyle/>
          <a:p>
            <a:pPr algn="ctr" defTabSz="685800">
              <a:defRPr/>
            </a:pPr>
            <a:r>
              <a:rPr lang="en-US" sz="788" b="1">
                <a:solidFill>
                  <a:prstClr val="black"/>
                </a:solidFill>
                <a:latin typeface="Calibri" panose="020F0502020204030204" pitchFamily="34" charset="0"/>
                <a:cs typeface="Calibri" panose="020F0502020204030204" pitchFamily="34" charset="0"/>
              </a:rPr>
              <a:t>National Contact Point</a:t>
            </a:r>
          </a:p>
          <a:p>
            <a:pPr algn="ctr" defTabSz="685800">
              <a:defRPr/>
            </a:pPr>
            <a:endParaRPr lang="en-US" sz="788" b="1">
              <a:solidFill>
                <a:prstClr val="black"/>
              </a:solidFill>
              <a:latin typeface="Calibri" panose="020F0502020204030204" pitchFamily="34" charset="0"/>
              <a:cs typeface="Calibri" panose="020F0502020204030204" pitchFamily="34" charset="0"/>
            </a:endParaRPr>
          </a:p>
          <a:p>
            <a:pPr algn="ctr" defTabSz="685800">
              <a:defRPr/>
            </a:pPr>
            <a:endParaRPr lang="en-GR" sz="788" b="1">
              <a:solidFill>
                <a:prstClr val="black"/>
              </a:solidFill>
              <a:latin typeface="Calibri" panose="020F0502020204030204" pitchFamily="34" charset="0"/>
              <a:cs typeface="Calibri" panose="020F0502020204030204" pitchFamily="34" charset="0"/>
            </a:endParaRPr>
          </a:p>
        </p:txBody>
      </p:sp>
      <p:cxnSp>
        <p:nvCxnSpPr>
          <p:cNvPr id="22" name="Straight Arrow Connector 21">
            <a:extLst>
              <a:ext uri="{FF2B5EF4-FFF2-40B4-BE49-F238E27FC236}">
                <a16:creationId xmlns:a16="http://schemas.microsoft.com/office/drawing/2014/main" id="{E0DA4D41-9BAE-1A82-48C4-24A5D6B7A345}"/>
              </a:ext>
            </a:extLst>
          </p:cNvPr>
          <p:cNvCxnSpPr>
            <a:cxnSpLocks/>
            <a:stCxn id="21" idx="0"/>
            <a:endCxn id="20" idx="2"/>
          </p:cNvCxnSpPr>
          <p:nvPr/>
        </p:nvCxnSpPr>
        <p:spPr>
          <a:xfrm>
            <a:off x="5729034" y="2173934"/>
            <a:ext cx="204292" cy="109"/>
          </a:xfrm>
          <a:prstGeom prst="straightConnector1">
            <a:avLst/>
          </a:prstGeom>
          <a:noFill/>
          <a:ln w="19050" cap="flat" cmpd="sng" algn="ctr">
            <a:solidFill>
              <a:srgbClr val="0070C0"/>
            </a:solidFill>
            <a:prstDash val="dash"/>
            <a:miter lim="800000"/>
            <a:headEnd type="none" w="med" len="med"/>
            <a:tailEnd type="triangle" w="med" len="med"/>
          </a:ln>
          <a:effectLst/>
        </p:spPr>
      </p:cxnSp>
      <p:cxnSp>
        <p:nvCxnSpPr>
          <p:cNvPr id="23" name="Straight Arrow Connector 22">
            <a:extLst>
              <a:ext uri="{FF2B5EF4-FFF2-40B4-BE49-F238E27FC236}">
                <a16:creationId xmlns:a16="http://schemas.microsoft.com/office/drawing/2014/main" id="{5EADE6EC-ED61-0220-D2C1-53CFAB67D60C}"/>
              </a:ext>
            </a:extLst>
          </p:cNvPr>
          <p:cNvCxnSpPr>
            <a:cxnSpLocks/>
          </p:cNvCxnSpPr>
          <p:nvPr/>
        </p:nvCxnSpPr>
        <p:spPr>
          <a:xfrm>
            <a:off x="6996978" y="2170407"/>
            <a:ext cx="626231" cy="736544"/>
          </a:xfrm>
          <a:prstGeom prst="straightConnector1">
            <a:avLst/>
          </a:prstGeom>
          <a:noFill/>
          <a:ln w="19050" cap="flat" cmpd="sng" algn="ctr">
            <a:solidFill>
              <a:srgbClr val="0070C0"/>
            </a:solidFill>
            <a:prstDash val="dash"/>
            <a:miter lim="800000"/>
            <a:headEnd type="none" w="med" len="med"/>
            <a:tailEnd type="triangle" w="med" len="med"/>
          </a:ln>
          <a:effectLst/>
        </p:spPr>
      </p:cxnSp>
      <p:sp>
        <p:nvSpPr>
          <p:cNvPr id="24" name="Rectangle: Rounded Corners 23">
            <a:extLst>
              <a:ext uri="{FF2B5EF4-FFF2-40B4-BE49-F238E27FC236}">
                <a16:creationId xmlns:a16="http://schemas.microsoft.com/office/drawing/2014/main" id="{112169A0-61B8-05C2-4C0B-CC10C38A237E}"/>
              </a:ext>
            </a:extLst>
          </p:cNvPr>
          <p:cNvSpPr/>
          <p:nvPr/>
        </p:nvSpPr>
        <p:spPr>
          <a:xfrm>
            <a:off x="4832558" y="2235195"/>
            <a:ext cx="827241" cy="407782"/>
          </a:xfrm>
          <a:prstGeom prst="roundRect">
            <a:avLst/>
          </a:prstGeom>
          <a:solidFill>
            <a:schemeClr val="bg2">
              <a:lumMod val="9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r>
              <a:rPr lang="en-US" sz="675" b="1">
                <a:solidFill>
                  <a:prstClr val="black">
                    <a:lumMod val="95000"/>
                    <a:lumOff val="5000"/>
                  </a:prstClr>
                </a:solidFill>
                <a:latin typeface="Calibri" panose="020F0502020204030204" pitchFamily="34" charset="0"/>
                <a:cs typeface="Calibri" panose="020F0502020204030204" pitchFamily="34" charset="0"/>
              </a:rPr>
              <a:t>Cross Border Engine – Message format Alignment</a:t>
            </a:r>
            <a:endParaRPr lang="fr-BE" sz="675" b="1">
              <a:solidFill>
                <a:prstClr val="black">
                  <a:lumMod val="95000"/>
                  <a:lumOff val="5000"/>
                </a:prstClr>
              </a:solidFill>
              <a:latin typeface="Calibri" panose="020F0502020204030204" pitchFamily="34" charset="0"/>
              <a:cs typeface="Calibri" panose="020F0502020204030204" pitchFamily="34" charset="0"/>
            </a:endParaRPr>
          </a:p>
        </p:txBody>
      </p:sp>
      <p:sp>
        <p:nvSpPr>
          <p:cNvPr id="30" name="Pentagon 44">
            <a:extLst>
              <a:ext uri="{FF2B5EF4-FFF2-40B4-BE49-F238E27FC236}">
                <a16:creationId xmlns:a16="http://schemas.microsoft.com/office/drawing/2014/main" id="{FF898B44-B0A7-AEA0-3B00-E2BD54F04EFF}"/>
              </a:ext>
            </a:extLst>
          </p:cNvPr>
          <p:cNvSpPr/>
          <p:nvPr/>
        </p:nvSpPr>
        <p:spPr>
          <a:xfrm>
            <a:off x="6021047" y="2272510"/>
            <a:ext cx="846299" cy="255491"/>
          </a:xfrm>
          <a:prstGeom prst="roundRect">
            <a:avLst/>
          </a:prstGeom>
          <a:solidFill>
            <a:schemeClr val="tx2">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685800">
              <a:defRPr/>
            </a:pPr>
            <a:r>
              <a:rPr lang="en-US" sz="675" b="1">
                <a:solidFill>
                  <a:prstClr val="black">
                    <a:lumMod val="95000"/>
                    <a:lumOff val="5000"/>
                  </a:prstClr>
                </a:solidFill>
                <a:latin typeface="Calibri" panose="020F0502020204030204" pitchFamily="34" charset="0"/>
                <a:cs typeface="Calibri" panose="020F0502020204030204" pitchFamily="34" charset="0"/>
              </a:rPr>
              <a:t>Secure AS 4 Message </a:t>
            </a:r>
          </a:p>
          <a:p>
            <a:pPr algn="ctr" defTabSz="685800">
              <a:defRPr/>
            </a:pPr>
            <a:r>
              <a:rPr lang="en-US" sz="675" b="1">
                <a:solidFill>
                  <a:prstClr val="black">
                    <a:lumMod val="95000"/>
                    <a:lumOff val="5000"/>
                  </a:prstClr>
                </a:solidFill>
                <a:latin typeface="Calibri" panose="020F0502020204030204" pitchFamily="34" charset="0"/>
                <a:cs typeface="Calibri" panose="020F0502020204030204" pitchFamily="34" charset="0"/>
              </a:rPr>
              <a:t>Exchange</a:t>
            </a:r>
            <a:endParaRPr lang="en-GR" sz="675" b="1">
              <a:solidFill>
                <a:prstClr val="black">
                  <a:lumMod val="95000"/>
                  <a:lumOff val="5000"/>
                </a:prstClr>
              </a:solidFill>
              <a:latin typeface="Calibri" panose="020F0502020204030204" pitchFamily="34" charset="0"/>
              <a:cs typeface="Calibri" panose="020F0502020204030204" pitchFamily="34" charset="0"/>
            </a:endParaRPr>
          </a:p>
        </p:txBody>
      </p:sp>
      <p:sp>
        <p:nvSpPr>
          <p:cNvPr id="32" name="TextBox 53">
            <a:extLst>
              <a:ext uri="{FF2B5EF4-FFF2-40B4-BE49-F238E27FC236}">
                <a16:creationId xmlns:a16="http://schemas.microsoft.com/office/drawing/2014/main" id="{8B1B75D2-0A58-AC34-A230-8991FE8946DD}"/>
              </a:ext>
            </a:extLst>
          </p:cNvPr>
          <p:cNvSpPr txBox="1"/>
          <p:nvPr/>
        </p:nvSpPr>
        <p:spPr>
          <a:xfrm>
            <a:off x="384376" y="2350590"/>
            <a:ext cx="974736" cy="577338"/>
          </a:xfrm>
          <a:prstGeom prst="rect">
            <a:avLst/>
          </a:prstGeom>
          <a:noFill/>
        </p:spPr>
        <p:txBody>
          <a:bodyPr wrap="square" rtlCol="0">
            <a:spAutoFit/>
          </a:bodyPr>
          <a:lstStyle/>
          <a:p>
            <a:pPr algn="ctr" defTabSz="685800">
              <a:defRPr/>
            </a:pPr>
            <a:r>
              <a:rPr lang="en-GB" sz="788" i="1">
                <a:solidFill>
                  <a:prstClr val="black"/>
                </a:solidFill>
                <a:latin typeface="Calibri" panose="020F0502020204030204" pitchFamily="34" charset="0"/>
                <a:cs typeface="Calibri" panose="020F0502020204030204" pitchFamily="34" charset="0"/>
              </a:rPr>
              <a:t>Prepare and provide Health Metadata</a:t>
            </a:r>
          </a:p>
          <a:p>
            <a:pPr algn="ctr" defTabSz="685800">
              <a:defRPr/>
            </a:pPr>
            <a:r>
              <a:rPr lang="en-GB" sz="788" i="1">
                <a:solidFill>
                  <a:prstClr val="black"/>
                </a:solidFill>
                <a:latin typeface="Calibri" panose="020F0502020204030204" pitchFamily="34" charset="0"/>
                <a:cs typeface="Calibri" panose="020F0502020204030204" pitchFamily="34" charset="0"/>
              </a:rPr>
              <a:t>Records</a:t>
            </a:r>
            <a:endParaRPr lang="en-GR" sz="788" i="1">
              <a:solidFill>
                <a:prstClr val="black"/>
              </a:solidFill>
              <a:latin typeface="Calibri" panose="020F0502020204030204" pitchFamily="34" charset="0"/>
              <a:cs typeface="Calibri" panose="020F0502020204030204" pitchFamily="34" charset="0"/>
            </a:endParaRPr>
          </a:p>
        </p:txBody>
      </p:sp>
      <p:sp>
        <p:nvSpPr>
          <p:cNvPr id="14" name="TextBox 13">
            <a:extLst>
              <a:ext uri="{FF2B5EF4-FFF2-40B4-BE49-F238E27FC236}">
                <a16:creationId xmlns:a16="http://schemas.microsoft.com/office/drawing/2014/main" id="{5F27345A-3A73-3BCF-AE27-8D25ECB90649}"/>
              </a:ext>
            </a:extLst>
          </p:cNvPr>
          <p:cNvSpPr txBox="1"/>
          <p:nvPr/>
        </p:nvSpPr>
        <p:spPr>
          <a:xfrm>
            <a:off x="1718032" y="1376721"/>
            <a:ext cx="829493" cy="1615827"/>
          </a:xfrm>
          <a:prstGeom prst="rect">
            <a:avLst/>
          </a:prstGeom>
          <a:solidFill>
            <a:schemeClr val="accent5">
              <a:lumMod val="60000"/>
              <a:lumOff val="40000"/>
            </a:schemeClr>
          </a:solidFill>
          <a:ln>
            <a:solidFill>
              <a:schemeClr val="tx1"/>
            </a:solidFill>
            <a:prstDash val="solid"/>
          </a:ln>
          <a:effectLst>
            <a:outerShdw blurRad="50800" dist="38100" dir="2700000" algn="tl" rotWithShape="0">
              <a:prstClr val="black">
                <a:alpha val="40000"/>
              </a:prstClr>
            </a:outerShdw>
          </a:effectLst>
        </p:spPr>
        <p:txBody>
          <a:bodyPr wrap="square" anchor="ctr">
            <a:spAutoFit/>
          </a:bodyPr>
          <a:lstStyle/>
          <a:p>
            <a:pPr algn="ctr" defTabSz="685800">
              <a:defRPr/>
            </a:pPr>
            <a:endParaRPr lang="en-GB" sz="900" b="1">
              <a:solidFill>
                <a:prstClr val="black"/>
              </a:solidFill>
              <a:latin typeface="Calibri" panose="020F0502020204030204"/>
            </a:endParaRPr>
          </a:p>
          <a:p>
            <a:pPr algn="ctr" defTabSz="685800">
              <a:defRPr/>
            </a:pPr>
            <a:endParaRPr lang="en-GB" sz="900" b="1">
              <a:solidFill>
                <a:prstClr val="black"/>
              </a:solidFill>
              <a:latin typeface="Calibri" panose="020F0502020204030204"/>
            </a:endParaRPr>
          </a:p>
          <a:p>
            <a:pPr algn="ctr" defTabSz="685800">
              <a:defRPr/>
            </a:pPr>
            <a:endParaRPr lang="en-GB" sz="900" b="1">
              <a:solidFill>
                <a:prstClr val="black"/>
              </a:solidFill>
              <a:latin typeface="Calibri" panose="020F0502020204030204"/>
            </a:endParaRPr>
          </a:p>
          <a:p>
            <a:pPr algn="ctr" defTabSz="685800">
              <a:defRPr/>
            </a:pPr>
            <a:endParaRPr lang="en-GB" sz="900" b="1">
              <a:solidFill>
                <a:prstClr val="black"/>
              </a:solidFill>
              <a:latin typeface="Calibri" panose="020F0502020204030204"/>
            </a:endParaRPr>
          </a:p>
          <a:p>
            <a:pPr algn="ctr" defTabSz="685800">
              <a:defRPr/>
            </a:pPr>
            <a:endParaRPr lang="en-GB" sz="900" b="1">
              <a:solidFill>
                <a:prstClr val="black"/>
              </a:solidFill>
              <a:latin typeface="Calibri" panose="020F0502020204030204"/>
            </a:endParaRPr>
          </a:p>
          <a:p>
            <a:pPr algn="ctr" defTabSz="685800">
              <a:defRPr/>
            </a:pPr>
            <a:endParaRPr lang="en-GB" sz="900" b="1">
              <a:solidFill>
                <a:prstClr val="black"/>
              </a:solidFill>
              <a:latin typeface="Calibri" panose="020F0502020204030204"/>
            </a:endParaRPr>
          </a:p>
          <a:p>
            <a:pPr algn="ctr" defTabSz="685800">
              <a:defRPr/>
            </a:pPr>
            <a:endParaRPr lang="en-GB" sz="900" b="1">
              <a:solidFill>
                <a:prstClr val="black"/>
              </a:solidFill>
              <a:latin typeface="Calibri" panose="020F0502020204030204"/>
            </a:endParaRPr>
          </a:p>
          <a:p>
            <a:pPr algn="ctr" defTabSz="685800">
              <a:defRPr/>
            </a:pPr>
            <a:endParaRPr lang="en-GB" sz="900" b="1">
              <a:solidFill>
                <a:prstClr val="black"/>
              </a:solidFill>
              <a:latin typeface="Calibri" panose="020F0502020204030204"/>
            </a:endParaRPr>
          </a:p>
          <a:p>
            <a:pPr algn="ctr" defTabSz="685800">
              <a:defRPr/>
            </a:pPr>
            <a:endParaRPr lang="en-GB" sz="900" b="1">
              <a:solidFill>
                <a:prstClr val="black"/>
              </a:solidFill>
              <a:latin typeface="Calibri" panose="020F0502020204030204"/>
            </a:endParaRPr>
          </a:p>
          <a:p>
            <a:pPr algn="ctr" defTabSz="685800">
              <a:defRPr/>
            </a:pPr>
            <a:endParaRPr lang="en-GB" sz="900" b="1">
              <a:solidFill>
                <a:prstClr val="black"/>
              </a:solidFill>
              <a:latin typeface="Calibri" panose="020F0502020204030204"/>
            </a:endParaRPr>
          </a:p>
          <a:p>
            <a:pPr algn="ctr" defTabSz="685800">
              <a:defRPr/>
            </a:pPr>
            <a:endParaRPr lang="en-GB" sz="900" b="1">
              <a:solidFill>
                <a:prstClr val="black"/>
              </a:solidFill>
              <a:latin typeface="Calibri" panose="020F0502020204030204"/>
            </a:endParaRPr>
          </a:p>
        </p:txBody>
      </p:sp>
      <p:sp>
        <p:nvSpPr>
          <p:cNvPr id="15" name="TextBox 14">
            <a:extLst>
              <a:ext uri="{FF2B5EF4-FFF2-40B4-BE49-F238E27FC236}">
                <a16:creationId xmlns:a16="http://schemas.microsoft.com/office/drawing/2014/main" id="{2CE15ED8-FDF9-A25D-8911-8F3D33CA754E}"/>
              </a:ext>
            </a:extLst>
          </p:cNvPr>
          <p:cNvSpPr txBox="1"/>
          <p:nvPr/>
        </p:nvSpPr>
        <p:spPr>
          <a:xfrm>
            <a:off x="1603599" y="1264557"/>
            <a:ext cx="857627" cy="1592744"/>
          </a:xfrm>
          <a:prstGeom prst="rect">
            <a:avLst/>
          </a:prstGeom>
          <a:solidFill>
            <a:schemeClr val="accent5">
              <a:lumMod val="60000"/>
              <a:lumOff val="40000"/>
            </a:schemeClr>
          </a:solidFill>
          <a:ln>
            <a:solidFill>
              <a:schemeClr val="tx1"/>
            </a:solidFill>
            <a:prstDash val="solid"/>
          </a:ln>
          <a:effectLst>
            <a:outerShdw blurRad="50800" dist="38100" dir="2700000" algn="tl" rotWithShape="0">
              <a:prstClr val="black">
                <a:alpha val="40000"/>
              </a:prstClr>
            </a:outerShdw>
          </a:effectLst>
        </p:spPr>
        <p:txBody>
          <a:bodyPr wrap="square" anchor="ctr">
            <a:spAutoFit/>
          </a:bodyPr>
          <a:lstStyle/>
          <a:p>
            <a:pPr algn="ctr" defTabSz="685800">
              <a:defRPr/>
            </a:pPr>
            <a:endParaRPr lang="en-GB" sz="900" b="1">
              <a:solidFill>
                <a:prstClr val="black"/>
              </a:solidFill>
              <a:latin typeface="Calibri" panose="020F0502020204030204"/>
            </a:endParaRPr>
          </a:p>
          <a:p>
            <a:pPr algn="ctr" defTabSz="685800">
              <a:defRPr/>
            </a:pPr>
            <a:r>
              <a:rPr lang="en-GB" sz="825" b="1">
                <a:solidFill>
                  <a:prstClr val="black"/>
                </a:solidFill>
                <a:latin typeface="Calibri" panose="020F0502020204030204"/>
              </a:rPr>
              <a:t>HealthData@EU HDAB po</a:t>
            </a:r>
            <a:r>
              <a:rPr lang="en-GB" sz="825" b="1" err="1">
                <a:solidFill>
                  <a:prstClr val="black"/>
                </a:solidFill>
                <a:latin typeface="Calibri" panose="020F0502020204030204"/>
              </a:rPr>
              <a:t>rtal</a:t>
            </a:r>
            <a:endParaRPr lang="en-GB" sz="825" b="1">
              <a:solidFill>
                <a:prstClr val="black"/>
              </a:solidFill>
              <a:latin typeface="Calibri" panose="020F0502020204030204"/>
            </a:endParaRPr>
          </a:p>
          <a:p>
            <a:pPr algn="ctr" defTabSz="685800">
              <a:defRPr/>
            </a:pPr>
            <a:endParaRPr lang="en-GB" sz="900" b="1">
              <a:solidFill>
                <a:prstClr val="black"/>
              </a:solidFill>
              <a:latin typeface="Calibri" panose="020F0502020204030204"/>
            </a:endParaRPr>
          </a:p>
          <a:p>
            <a:pPr algn="ctr" defTabSz="685800">
              <a:defRPr/>
            </a:pPr>
            <a:endParaRPr lang="en-GB" sz="900" b="1">
              <a:solidFill>
                <a:prstClr val="black"/>
              </a:solidFill>
              <a:latin typeface="Calibri" panose="020F0502020204030204"/>
            </a:endParaRPr>
          </a:p>
          <a:p>
            <a:pPr algn="ctr" defTabSz="685800">
              <a:defRPr/>
            </a:pPr>
            <a:endParaRPr lang="en-GB" sz="900" b="1">
              <a:solidFill>
                <a:prstClr val="black"/>
              </a:solidFill>
              <a:latin typeface="Calibri" panose="020F0502020204030204"/>
            </a:endParaRPr>
          </a:p>
          <a:p>
            <a:pPr algn="ctr" defTabSz="685800">
              <a:defRPr/>
            </a:pPr>
            <a:endParaRPr lang="en-GB" sz="900" b="1">
              <a:solidFill>
                <a:prstClr val="black"/>
              </a:solidFill>
              <a:latin typeface="Calibri" panose="020F0502020204030204"/>
            </a:endParaRPr>
          </a:p>
          <a:p>
            <a:pPr algn="ctr" defTabSz="685800">
              <a:defRPr/>
            </a:pPr>
            <a:endParaRPr lang="en-GB" sz="900" b="1">
              <a:solidFill>
                <a:prstClr val="black"/>
              </a:solidFill>
              <a:latin typeface="Calibri" panose="020F0502020204030204"/>
            </a:endParaRPr>
          </a:p>
          <a:p>
            <a:pPr algn="ctr" defTabSz="685800">
              <a:defRPr/>
            </a:pPr>
            <a:endParaRPr lang="en-GB" sz="900" b="1">
              <a:solidFill>
                <a:prstClr val="black"/>
              </a:solidFill>
              <a:latin typeface="Calibri" panose="020F0502020204030204"/>
            </a:endParaRPr>
          </a:p>
          <a:p>
            <a:pPr algn="ctr" defTabSz="685800">
              <a:defRPr/>
            </a:pPr>
            <a:endParaRPr lang="en-GB" sz="900" b="1">
              <a:solidFill>
                <a:prstClr val="black"/>
              </a:solidFill>
              <a:latin typeface="Calibri" panose="020F0502020204030204"/>
            </a:endParaRPr>
          </a:p>
          <a:p>
            <a:pPr algn="ctr" defTabSz="685800">
              <a:defRPr/>
            </a:pPr>
            <a:endParaRPr lang="en-GB" sz="900" b="1">
              <a:solidFill>
                <a:prstClr val="black"/>
              </a:solidFill>
              <a:latin typeface="Calibri" panose="020F0502020204030204"/>
            </a:endParaRPr>
          </a:p>
        </p:txBody>
      </p:sp>
      <p:cxnSp>
        <p:nvCxnSpPr>
          <p:cNvPr id="16" name="Straight Arrow Connector 14">
            <a:extLst>
              <a:ext uri="{FF2B5EF4-FFF2-40B4-BE49-F238E27FC236}">
                <a16:creationId xmlns:a16="http://schemas.microsoft.com/office/drawing/2014/main" id="{2AD46F36-F47A-0A90-BE9D-C2256814D46E}"/>
              </a:ext>
            </a:extLst>
          </p:cNvPr>
          <p:cNvCxnSpPr>
            <a:cxnSpLocks/>
            <a:stCxn id="14" idx="3"/>
            <a:endCxn id="5" idx="2"/>
          </p:cNvCxnSpPr>
          <p:nvPr/>
        </p:nvCxnSpPr>
        <p:spPr>
          <a:xfrm flipV="1">
            <a:off x="2547525" y="2173934"/>
            <a:ext cx="378252" cy="10701"/>
          </a:xfrm>
          <a:prstGeom prst="straightConnector1">
            <a:avLst/>
          </a:prstGeom>
          <a:noFill/>
          <a:ln w="15875" cap="flat" cmpd="sng" algn="ctr">
            <a:solidFill>
              <a:srgbClr val="4472C4"/>
            </a:solidFill>
            <a:prstDash val="dash"/>
            <a:miter lim="800000"/>
            <a:tailEnd type="triangle"/>
          </a:ln>
          <a:effectLst/>
        </p:spPr>
      </p:cxnSp>
      <p:sp>
        <p:nvSpPr>
          <p:cNvPr id="35" name="Pentagon 44">
            <a:extLst>
              <a:ext uri="{FF2B5EF4-FFF2-40B4-BE49-F238E27FC236}">
                <a16:creationId xmlns:a16="http://schemas.microsoft.com/office/drawing/2014/main" id="{93C907C2-0FCA-EC04-10AC-78A44512A3F6}"/>
              </a:ext>
            </a:extLst>
          </p:cNvPr>
          <p:cNvSpPr/>
          <p:nvPr/>
        </p:nvSpPr>
        <p:spPr>
          <a:xfrm>
            <a:off x="1666185" y="1998451"/>
            <a:ext cx="780691" cy="372366"/>
          </a:xfrm>
          <a:prstGeom prst="roundRect">
            <a:avLst/>
          </a:prstGeom>
          <a:solidFill>
            <a:schemeClr val="accent5">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685800">
              <a:defRPr/>
            </a:pPr>
            <a:r>
              <a:rPr lang="en-US" sz="675" b="1">
                <a:solidFill>
                  <a:prstClr val="black">
                    <a:lumMod val="95000"/>
                    <a:lumOff val="5000"/>
                  </a:prstClr>
                </a:solidFill>
                <a:latin typeface="Calibri" panose="020F0502020204030204" pitchFamily="34" charset="0"/>
                <a:cs typeface="Calibri" panose="020F0502020204030204" pitchFamily="34" charset="0"/>
              </a:rPr>
              <a:t>Message Trust &amp;</a:t>
            </a:r>
          </a:p>
          <a:p>
            <a:pPr algn="ctr" defTabSz="685800">
              <a:defRPr/>
            </a:pPr>
            <a:r>
              <a:rPr lang="en-US" sz="675" b="1">
                <a:solidFill>
                  <a:prstClr val="black">
                    <a:lumMod val="95000"/>
                    <a:lumOff val="5000"/>
                  </a:prstClr>
                </a:solidFill>
                <a:latin typeface="Calibri" panose="020F0502020204030204" pitchFamily="34" charset="0"/>
                <a:cs typeface="Calibri" panose="020F0502020204030204" pitchFamily="34" charset="0"/>
              </a:rPr>
              <a:t> Data Compliance</a:t>
            </a:r>
            <a:endParaRPr lang="en-GR" sz="675" b="1">
              <a:solidFill>
                <a:prstClr val="black">
                  <a:lumMod val="95000"/>
                  <a:lumOff val="5000"/>
                </a:prstClr>
              </a:solidFill>
              <a:latin typeface="Calibri" panose="020F0502020204030204" pitchFamily="34" charset="0"/>
              <a:cs typeface="Calibri" panose="020F0502020204030204" pitchFamily="34" charset="0"/>
            </a:endParaRPr>
          </a:p>
        </p:txBody>
      </p:sp>
      <p:sp>
        <p:nvSpPr>
          <p:cNvPr id="5" name="TextBox 4">
            <a:extLst>
              <a:ext uri="{FF2B5EF4-FFF2-40B4-BE49-F238E27FC236}">
                <a16:creationId xmlns:a16="http://schemas.microsoft.com/office/drawing/2014/main" id="{5CFA95A9-74F7-B974-B06C-92025894566B}"/>
              </a:ext>
            </a:extLst>
          </p:cNvPr>
          <p:cNvSpPr txBox="1"/>
          <p:nvPr/>
        </p:nvSpPr>
        <p:spPr>
          <a:xfrm rot="5400000">
            <a:off x="2619307" y="1562845"/>
            <a:ext cx="1835118" cy="1222178"/>
          </a:xfrm>
          <a:prstGeom prst="rect">
            <a:avLst/>
          </a:prstGeom>
          <a:solidFill>
            <a:schemeClr val="accent5">
              <a:lumMod val="60000"/>
              <a:lumOff val="40000"/>
            </a:schemeClr>
          </a:solidFill>
          <a:ln>
            <a:solidFill>
              <a:schemeClr val="tx1"/>
            </a:solidFill>
            <a:prstDash val="solid"/>
          </a:ln>
          <a:effectLst>
            <a:outerShdw blurRad="50800" dist="38100" dir="2700000" algn="tl" rotWithShape="0">
              <a:prstClr val="black">
                <a:alpha val="40000"/>
              </a:prstClr>
            </a:outerShdw>
          </a:effectLst>
        </p:spPr>
        <p:txBody>
          <a:bodyPr vert="vert270" wrap="square">
            <a:spAutoFit/>
          </a:bodyPr>
          <a:lstStyle/>
          <a:p>
            <a:pPr algn="ctr" defTabSz="685800">
              <a:defRPr/>
            </a:pPr>
            <a:r>
              <a:rPr lang="en-GB" sz="825" b="1">
                <a:solidFill>
                  <a:prstClr val="black"/>
                </a:solidFill>
                <a:latin typeface="Calibri" panose="020F0502020204030204"/>
              </a:rPr>
              <a:t>HealthData@EU HDAB Coordinator portal</a:t>
            </a:r>
            <a:endParaRPr lang="en-GB" sz="825" b="1">
              <a:solidFill>
                <a:prstClr val="black"/>
              </a:solidFill>
              <a:latin typeface="Calibri" panose="020F0502020204030204" pitchFamily="34" charset="0"/>
              <a:cs typeface="Calibri" panose="020F0502020204030204" pitchFamily="34" charset="0"/>
            </a:endParaRPr>
          </a:p>
          <a:p>
            <a:pPr algn="ctr" defTabSz="685800">
              <a:defRPr/>
            </a:pPr>
            <a:endParaRPr lang="en-GB" sz="825" b="1">
              <a:solidFill>
                <a:prstClr val="black"/>
              </a:solidFill>
              <a:latin typeface="Calibri" panose="020F0502020204030204" pitchFamily="34" charset="0"/>
              <a:cs typeface="Calibri" panose="020F0502020204030204" pitchFamily="34" charset="0"/>
            </a:endParaRPr>
          </a:p>
          <a:p>
            <a:pPr algn="ctr" defTabSz="685800">
              <a:defRPr/>
            </a:pPr>
            <a:endParaRPr lang="en-GB" sz="825" b="1">
              <a:solidFill>
                <a:prstClr val="black"/>
              </a:solidFill>
              <a:latin typeface="Calibri" panose="020F0502020204030204" pitchFamily="34" charset="0"/>
              <a:cs typeface="Calibri" panose="020F0502020204030204" pitchFamily="34" charset="0"/>
            </a:endParaRPr>
          </a:p>
          <a:p>
            <a:pPr algn="ctr" defTabSz="685800">
              <a:defRPr/>
            </a:pPr>
            <a:endParaRPr lang="en-GB" sz="825" b="1">
              <a:solidFill>
                <a:prstClr val="black"/>
              </a:solidFill>
              <a:latin typeface="Calibri" panose="020F0502020204030204" pitchFamily="34" charset="0"/>
              <a:cs typeface="Calibri" panose="020F0502020204030204" pitchFamily="34" charset="0"/>
            </a:endParaRPr>
          </a:p>
          <a:p>
            <a:pPr algn="ctr" defTabSz="685800">
              <a:defRPr/>
            </a:pPr>
            <a:endParaRPr lang="en-GB" sz="825" b="1">
              <a:solidFill>
                <a:prstClr val="black"/>
              </a:solidFill>
              <a:latin typeface="Calibri" panose="020F0502020204030204" pitchFamily="34" charset="0"/>
              <a:cs typeface="Calibri" panose="020F0502020204030204" pitchFamily="34" charset="0"/>
            </a:endParaRPr>
          </a:p>
          <a:p>
            <a:pPr algn="ctr" defTabSz="685800">
              <a:defRPr/>
            </a:pPr>
            <a:endParaRPr lang="en-GB" sz="825" b="1">
              <a:solidFill>
                <a:prstClr val="black"/>
              </a:solidFill>
              <a:latin typeface="Calibri" panose="020F0502020204030204" pitchFamily="34" charset="0"/>
              <a:cs typeface="Calibri" panose="020F0502020204030204" pitchFamily="34" charset="0"/>
            </a:endParaRPr>
          </a:p>
          <a:p>
            <a:pPr algn="ctr" defTabSz="685800">
              <a:defRPr/>
            </a:pPr>
            <a:endParaRPr lang="en-GB" sz="825" b="1">
              <a:solidFill>
                <a:prstClr val="black"/>
              </a:solidFill>
              <a:latin typeface="Calibri" panose="020F0502020204030204" pitchFamily="34" charset="0"/>
              <a:cs typeface="Calibri" panose="020F0502020204030204" pitchFamily="34" charset="0"/>
            </a:endParaRPr>
          </a:p>
          <a:p>
            <a:pPr algn="ctr" defTabSz="685800">
              <a:defRPr/>
            </a:pPr>
            <a:endParaRPr lang="en-GB" sz="825" b="1">
              <a:solidFill>
                <a:prstClr val="black"/>
              </a:solidFill>
              <a:latin typeface="Calibri" panose="020F0502020204030204" pitchFamily="34" charset="0"/>
              <a:cs typeface="Calibri" panose="020F0502020204030204" pitchFamily="34" charset="0"/>
            </a:endParaRPr>
          </a:p>
          <a:p>
            <a:pPr algn="ctr" defTabSz="685800">
              <a:defRPr/>
            </a:pPr>
            <a:endParaRPr lang="en-GB" sz="825" b="1">
              <a:solidFill>
                <a:prstClr val="black"/>
              </a:solidFill>
              <a:latin typeface="Calibri" panose="020F0502020204030204" pitchFamily="34" charset="0"/>
              <a:cs typeface="Calibri" panose="020F0502020204030204" pitchFamily="34" charset="0"/>
            </a:endParaRPr>
          </a:p>
          <a:p>
            <a:pPr algn="ctr" defTabSz="685800">
              <a:defRPr/>
            </a:pPr>
            <a:endParaRPr lang="en-GB" sz="825" b="1">
              <a:solidFill>
                <a:prstClr val="black"/>
              </a:solidFill>
              <a:latin typeface="Calibri" panose="020F0502020204030204" pitchFamily="34" charset="0"/>
              <a:cs typeface="Calibri" panose="020F0502020204030204" pitchFamily="34" charset="0"/>
            </a:endParaRPr>
          </a:p>
          <a:p>
            <a:pPr algn="ctr" defTabSz="685800">
              <a:defRPr/>
            </a:pPr>
            <a:endParaRPr lang="en-GB" sz="825" b="1">
              <a:solidFill>
                <a:prstClr val="black"/>
              </a:solidFill>
              <a:latin typeface="Calibri" panose="020F0502020204030204" pitchFamily="34" charset="0"/>
              <a:cs typeface="Calibri" panose="020F0502020204030204" pitchFamily="34" charset="0"/>
            </a:endParaRPr>
          </a:p>
          <a:p>
            <a:pPr algn="ctr" defTabSz="685800">
              <a:defRPr/>
            </a:pPr>
            <a:endParaRPr lang="en-GB" sz="825" b="1">
              <a:solidFill>
                <a:prstClr val="black"/>
              </a:solidFill>
              <a:latin typeface="Calibri" panose="020F0502020204030204" pitchFamily="34" charset="0"/>
              <a:cs typeface="Calibri" panose="020F0502020204030204" pitchFamily="34" charset="0"/>
            </a:endParaRPr>
          </a:p>
        </p:txBody>
      </p:sp>
      <p:cxnSp>
        <p:nvCxnSpPr>
          <p:cNvPr id="19" name="Straight Arrow Connector 18">
            <a:extLst>
              <a:ext uri="{FF2B5EF4-FFF2-40B4-BE49-F238E27FC236}">
                <a16:creationId xmlns:a16="http://schemas.microsoft.com/office/drawing/2014/main" id="{97A823DD-6011-171B-6696-B9619ACF3120}"/>
              </a:ext>
            </a:extLst>
          </p:cNvPr>
          <p:cNvCxnSpPr>
            <a:cxnSpLocks/>
            <a:stCxn id="5" idx="0"/>
            <a:endCxn id="21" idx="2"/>
          </p:cNvCxnSpPr>
          <p:nvPr/>
        </p:nvCxnSpPr>
        <p:spPr>
          <a:xfrm>
            <a:off x="4147955" y="2173934"/>
            <a:ext cx="615370" cy="0"/>
          </a:xfrm>
          <a:prstGeom prst="straightConnector1">
            <a:avLst/>
          </a:prstGeom>
          <a:noFill/>
          <a:ln w="19050" cap="flat" cmpd="sng" algn="ctr">
            <a:solidFill>
              <a:srgbClr val="0070C0"/>
            </a:solidFill>
            <a:prstDash val="dash"/>
            <a:miter lim="800000"/>
            <a:headEnd type="none" w="med" len="med"/>
            <a:tailEnd type="triangle" w="med" len="med"/>
          </a:ln>
          <a:effectLst/>
        </p:spPr>
      </p:cxnSp>
      <p:sp>
        <p:nvSpPr>
          <p:cNvPr id="25" name="Rectangle: Rounded Corners 24">
            <a:extLst>
              <a:ext uri="{FF2B5EF4-FFF2-40B4-BE49-F238E27FC236}">
                <a16:creationId xmlns:a16="http://schemas.microsoft.com/office/drawing/2014/main" id="{FFD60055-9927-496F-3F9F-92133102BE09}"/>
              </a:ext>
            </a:extLst>
          </p:cNvPr>
          <p:cNvSpPr/>
          <p:nvPr/>
        </p:nvSpPr>
        <p:spPr>
          <a:xfrm>
            <a:off x="3144906" y="1701265"/>
            <a:ext cx="829273" cy="410819"/>
          </a:xfrm>
          <a:prstGeom prst="roundRect">
            <a:avLst/>
          </a:prstGeom>
          <a:solidFill>
            <a:schemeClr val="accent5">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685800">
              <a:defRPr/>
            </a:pPr>
            <a:r>
              <a:rPr lang="en-US" sz="675" b="1">
                <a:solidFill>
                  <a:prstClr val="black">
                    <a:lumMod val="95000"/>
                    <a:lumOff val="5000"/>
                  </a:prstClr>
                </a:solidFill>
                <a:latin typeface="Calibri" panose="020F0502020204030204" pitchFamily="34" charset="0"/>
                <a:cs typeface="Calibri" panose="020F0502020204030204" pitchFamily="34" charset="0"/>
              </a:rPr>
              <a:t>Message sender/recipient configuration management</a:t>
            </a:r>
            <a:endParaRPr lang="fr-BE" sz="675" b="1">
              <a:solidFill>
                <a:prstClr val="black">
                  <a:lumMod val="95000"/>
                  <a:lumOff val="5000"/>
                </a:prstClr>
              </a:solidFill>
              <a:latin typeface="Calibri" panose="020F0502020204030204" pitchFamily="34" charset="0"/>
              <a:cs typeface="Calibri" panose="020F0502020204030204" pitchFamily="34" charset="0"/>
            </a:endParaRPr>
          </a:p>
        </p:txBody>
      </p:sp>
      <p:sp>
        <p:nvSpPr>
          <p:cNvPr id="31" name="Rectangle: Rounded Corners 30">
            <a:extLst>
              <a:ext uri="{FF2B5EF4-FFF2-40B4-BE49-F238E27FC236}">
                <a16:creationId xmlns:a16="http://schemas.microsoft.com/office/drawing/2014/main" id="{4FC03F2F-45DB-E6FE-553A-11E5FFC6BAC9}"/>
              </a:ext>
            </a:extLst>
          </p:cNvPr>
          <p:cNvSpPr/>
          <p:nvPr/>
        </p:nvSpPr>
        <p:spPr>
          <a:xfrm>
            <a:off x="3144906" y="2275615"/>
            <a:ext cx="829273" cy="326942"/>
          </a:xfrm>
          <a:prstGeom prst="roundRect">
            <a:avLst/>
          </a:prstGeom>
          <a:solidFill>
            <a:schemeClr val="accent5">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685800">
              <a:defRPr/>
            </a:pPr>
            <a:r>
              <a:rPr lang="en-US" sz="675" b="1">
                <a:solidFill>
                  <a:srgbClr val="ED8D2F">
                    <a:lumMod val="75000"/>
                  </a:srgbClr>
                </a:solidFill>
                <a:latin typeface="Calibri" panose="020F0502020204030204" pitchFamily="34" charset="0"/>
                <a:cs typeface="Calibri" panose="020F0502020204030204" pitchFamily="34" charset="0"/>
              </a:rPr>
              <a:t>Display and search of National Dataset Catalogue</a:t>
            </a:r>
          </a:p>
        </p:txBody>
      </p:sp>
      <p:cxnSp>
        <p:nvCxnSpPr>
          <p:cNvPr id="62" name="Straight Arrow Connector 14">
            <a:extLst>
              <a:ext uri="{FF2B5EF4-FFF2-40B4-BE49-F238E27FC236}">
                <a16:creationId xmlns:a16="http://schemas.microsoft.com/office/drawing/2014/main" id="{BA06C995-E62E-7093-308F-95D23125575D}"/>
              </a:ext>
            </a:extLst>
          </p:cNvPr>
          <p:cNvCxnSpPr>
            <a:cxnSpLocks/>
          </p:cNvCxnSpPr>
          <p:nvPr/>
        </p:nvCxnSpPr>
        <p:spPr>
          <a:xfrm>
            <a:off x="2566543" y="4111937"/>
            <a:ext cx="358310" cy="0"/>
          </a:xfrm>
          <a:prstGeom prst="straightConnector1">
            <a:avLst/>
          </a:prstGeom>
          <a:noFill/>
          <a:ln w="15875" cap="flat" cmpd="sng" algn="ctr">
            <a:solidFill>
              <a:srgbClr val="4472C4"/>
            </a:solidFill>
            <a:prstDash val="dash"/>
            <a:miter lim="800000"/>
            <a:tailEnd type="triangle"/>
          </a:ln>
          <a:effectLst/>
        </p:spPr>
      </p:cxnSp>
      <p:sp>
        <p:nvSpPr>
          <p:cNvPr id="63" name="TextBox 62">
            <a:extLst>
              <a:ext uri="{FF2B5EF4-FFF2-40B4-BE49-F238E27FC236}">
                <a16:creationId xmlns:a16="http://schemas.microsoft.com/office/drawing/2014/main" id="{E286C185-0213-E572-C667-5F6B4A718464}"/>
              </a:ext>
            </a:extLst>
          </p:cNvPr>
          <p:cNvSpPr txBox="1"/>
          <p:nvPr/>
        </p:nvSpPr>
        <p:spPr>
          <a:xfrm>
            <a:off x="1817704" y="3851849"/>
            <a:ext cx="745769" cy="346249"/>
          </a:xfrm>
          <a:prstGeom prst="rect">
            <a:avLst/>
          </a:prstGeom>
          <a:solidFill>
            <a:schemeClr val="accent4">
              <a:lumMod val="60000"/>
              <a:lumOff val="40000"/>
            </a:schemeClr>
          </a:solidFill>
          <a:ln w="9525">
            <a:solidFill>
              <a:schemeClr val="tx1"/>
            </a:solidFill>
            <a:prstDash val="solid"/>
          </a:ln>
          <a:effectLst>
            <a:outerShdw blurRad="50800" dist="38100" dir="2700000" algn="tl" rotWithShape="0">
              <a:prstClr val="black">
                <a:alpha val="40000"/>
              </a:prstClr>
            </a:outerShdw>
          </a:effectLst>
        </p:spPr>
        <p:txBody>
          <a:bodyPr wrap="square" lIns="0" rIns="0">
            <a:spAutoFit/>
          </a:bodyPr>
          <a:lstStyle/>
          <a:p>
            <a:pPr algn="ctr" defTabSz="685800">
              <a:defRPr/>
            </a:pPr>
            <a:r>
              <a:rPr lang="en-US" sz="825" b="1">
                <a:solidFill>
                  <a:prstClr val="black"/>
                </a:solidFill>
                <a:latin typeface="Calibri" panose="020F0502020204030204" pitchFamily="34" charset="0"/>
                <a:cs typeface="Calibri" panose="020F0502020204030204" pitchFamily="34" charset="0"/>
              </a:rPr>
              <a:t>Union Data </a:t>
            </a:r>
          </a:p>
          <a:p>
            <a:pPr algn="ctr" defTabSz="685800">
              <a:defRPr/>
            </a:pPr>
            <a:r>
              <a:rPr lang="en-US" sz="825" b="1">
                <a:solidFill>
                  <a:prstClr val="black"/>
                </a:solidFill>
                <a:latin typeface="Calibri" panose="020F0502020204030204" pitchFamily="34" charset="0"/>
                <a:cs typeface="Calibri" panose="020F0502020204030204" pitchFamily="34" charset="0"/>
              </a:rPr>
              <a:t>Holder systems</a:t>
            </a:r>
          </a:p>
        </p:txBody>
      </p:sp>
      <p:sp>
        <p:nvSpPr>
          <p:cNvPr id="64" name="Rectangle 105">
            <a:extLst>
              <a:ext uri="{FF2B5EF4-FFF2-40B4-BE49-F238E27FC236}">
                <a16:creationId xmlns:a16="http://schemas.microsoft.com/office/drawing/2014/main" id="{D12E8747-35E0-7D54-4A37-1D3C2DDC76F2}"/>
              </a:ext>
            </a:extLst>
          </p:cNvPr>
          <p:cNvSpPr/>
          <p:nvPr/>
        </p:nvSpPr>
        <p:spPr>
          <a:xfrm>
            <a:off x="5941408" y="3669439"/>
            <a:ext cx="1063652" cy="793760"/>
          </a:xfrm>
          <a:prstGeom prst="round2DiagRect">
            <a:avLst>
              <a:gd name="adj1" fmla="val 26354"/>
              <a:gd name="adj2" fmla="val 0"/>
            </a:avLst>
          </a:prstGeom>
          <a:solidFill>
            <a:schemeClr val="tx2">
              <a:lumMod val="40000"/>
              <a:lumOff val="60000"/>
            </a:schemeClr>
          </a:solidFill>
          <a:ln w="12700" cap="flat" cmpd="sng" algn="ctr">
            <a:solidFill>
              <a:srgbClr val="4472C4">
                <a:shade val="15000"/>
              </a:srgbClr>
            </a:solidFill>
            <a:prstDash val="solid"/>
            <a:miter lim="800000"/>
          </a:ln>
          <a:effectLst/>
        </p:spPr>
        <p:txBody>
          <a:bodyPr lIns="0" rIns="0" rtlCol="0" anchor="ctr"/>
          <a:lstStyle/>
          <a:p>
            <a:pPr algn="ctr" defTabSz="685800">
              <a:defRPr/>
            </a:pPr>
            <a:r>
              <a:rPr lang="en-GB" sz="600" b="1" kern="0">
                <a:solidFill>
                  <a:prstClr val="black"/>
                </a:solidFill>
                <a:latin typeface="Calibri" panose="020F0502020204030204" pitchFamily="34" charset="0"/>
                <a:cs typeface="Calibri" panose="020F0502020204030204" pitchFamily="34" charset="0"/>
              </a:rPr>
              <a:t>Cross-border Gateway </a:t>
            </a:r>
          </a:p>
          <a:p>
            <a:pPr algn="ctr" defTabSz="685800">
              <a:defRPr/>
            </a:pPr>
            <a:r>
              <a:rPr lang="en-GB" sz="600" b="1" kern="0">
                <a:solidFill>
                  <a:prstClr val="black"/>
                </a:solidFill>
                <a:latin typeface="Calibri" panose="020F0502020204030204" pitchFamily="34" charset="0"/>
                <a:cs typeface="Calibri" panose="020F0502020204030204" pitchFamily="34" charset="0"/>
              </a:rPr>
              <a:t>eDelivery</a:t>
            </a:r>
          </a:p>
        </p:txBody>
      </p:sp>
      <p:sp>
        <p:nvSpPr>
          <p:cNvPr id="65" name="Rectangle 105">
            <a:extLst>
              <a:ext uri="{FF2B5EF4-FFF2-40B4-BE49-F238E27FC236}">
                <a16:creationId xmlns:a16="http://schemas.microsoft.com/office/drawing/2014/main" id="{04B73397-D45E-806F-ABBF-6C7969F31E62}"/>
              </a:ext>
            </a:extLst>
          </p:cNvPr>
          <p:cNvSpPr/>
          <p:nvPr/>
        </p:nvSpPr>
        <p:spPr>
          <a:xfrm>
            <a:off x="4771406" y="3517589"/>
            <a:ext cx="965710" cy="1097241"/>
          </a:xfrm>
          <a:prstGeom prst="round2DiagRect">
            <a:avLst>
              <a:gd name="adj1" fmla="val 20130"/>
              <a:gd name="adj2" fmla="val 0"/>
            </a:avLst>
          </a:prstGeom>
          <a:solidFill>
            <a:schemeClr val="tx2">
              <a:lumMod val="40000"/>
              <a:lumOff val="60000"/>
            </a:schemeClr>
          </a:solidFill>
          <a:ln w="12700" cap="flat" cmpd="sng" algn="ctr">
            <a:solidFill>
              <a:srgbClr val="4472C4">
                <a:shade val="15000"/>
              </a:srgbClr>
            </a:solidFill>
            <a:prstDash val="solid"/>
            <a:miter lim="800000"/>
          </a:ln>
          <a:effectLst/>
        </p:spPr>
        <p:txBody>
          <a:bodyPr rtlCol="0" anchor="ctr"/>
          <a:lstStyle/>
          <a:p>
            <a:pPr algn="ctr" defTabSz="685800">
              <a:defRPr/>
            </a:pPr>
            <a:r>
              <a:rPr lang="en-US" sz="788" b="1">
                <a:solidFill>
                  <a:prstClr val="black"/>
                </a:solidFill>
                <a:latin typeface="Calibri" panose="020F0502020204030204" pitchFamily="34" charset="0"/>
                <a:cs typeface="Calibri" panose="020F0502020204030204" pitchFamily="34" charset="0"/>
              </a:rPr>
              <a:t>Union Contact Point</a:t>
            </a:r>
          </a:p>
          <a:p>
            <a:pPr algn="ctr" defTabSz="685800">
              <a:defRPr/>
            </a:pPr>
            <a:endParaRPr lang="en-US" sz="788" b="1">
              <a:solidFill>
                <a:prstClr val="black"/>
              </a:solidFill>
              <a:latin typeface="Calibri" panose="020F0502020204030204" pitchFamily="34" charset="0"/>
              <a:cs typeface="Calibri" panose="020F0502020204030204" pitchFamily="34" charset="0"/>
            </a:endParaRPr>
          </a:p>
          <a:p>
            <a:pPr algn="ctr" defTabSz="685800">
              <a:defRPr/>
            </a:pPr>
            <a:endParaRPr lang="en-GR" sz="788" b="1">
              <a:solidFill>
                <a:prstClr val="black"/>
              </a:solidFill>
              <a:latin typeface="Calibri" panose="020F0502020204030204" pitchFamily="34" charset="0"/>
              <a:cs typeface="Calibri" panose="020F0502020204030204" pitchFamily="34" charset="0"/>
            </a:endParaRPr>
          </a:p>
        </p:txBody>
      </p:sp>
      <p:cxnSp>
        <p:nvCxnSpPr>
          <p:cNvPr id="66" name="Straight Arrow Connector 65">
            <a:extLst>
              <a:ext uri="{FF2B5EF4-FFF2-40B4-BE49-F238E27FC236}">
                <a16:creationId xmlns:a16="http://schemas.microsoft.com/office/drawing/2014/main" id="{922C72BC-ECEB-DAF4-DDA9-0A7EDC106374}"/>
              </a:ext>
            </a:extLst>
          </p:cNvPr>
          <p:cNvCxnSpPr>
            <a:cxnSpLocks/>
            <a:stCxn id="65" idx="0"/>
            <a:endCxn id="64" idx="2"/>
          </p:cNvCxnSpPr>
          <p:nvPr/>
        </p:nvCxnSpPr>
        <p:spPr>
          <a:xfrm>
            <a:off x="5737116" y="4066210"/>
            <a:ext cx="204292" cy="109"/>
          </a:xfrm>
          <a:prstGeom prst="straightConnector1">
            <a:avLst/>
          </a:prstGeom>
          <a:noFill/>
          <a:ln w="19050" cap="flat" cmpd="sng" algn="ctr">
            <a:solidFill>
              <a:srgbClr val="0070C0"/>
            </a:solidFill>
            <a:prstDash val="dash"/>
            <a:miter lim="800000"/>
            <a:headEnd type="none" w="med" len="med"/>
            <a:tailEnd type="triangle" w="med" len="med"/>
          </a:ln>
          <a:effectLst/>
        </p:spPr>
      </p:cxnSp>
      <p:sp>
        <p:nvSpPr>
          <p:cNvPr id="67" name="Rectangle: Rounded Corners 66">
            <a:extLst>
              <a:ext uri="{FF2B5EF4-FFF2-40B4-BE49-F238E27FC236}">
                <a16:creationId xmlns:a16="http://schemas.microsoft.com/office/drawing/2014/main" id="{EE40B2A6-EC4B-08BB-9CE5-90A37E39C399}"/>
              </a:ext>
            </a:extLst>
          </p:cNvPr>
          <p:cNvSpPr/>
          <p:nvPr/>
        </p:nvSpPr>
        <p:spPr>
          <a:xfrm>
            <a:off x="4840640" y="4127472"/>
            <a:ext cx="827241" cy="407782"/>
          </a:xfrm>
          <a:prstGeom prst="roundRect">
            <a:avLst/>
          </a:prstGeom>
          <a:solidFill>
            <a:schemeClr val="bg2">
              <a:lumMod val="9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r>
              <a:rPr lang="en-US" sz="675" b="1">
                <a:solidFill>
                  <a:prstClr val="black">
                    <a:lumMod val="95000"/>
                    <a:lumOff val="5000"/>
                  </a:prstClr>
                </a:solidFill>
                <a:latin typeface="Calibri" panose="020F0502020204030204" pitchFamily="34" charset="0"/>
                <a:cs typeface="Calibri" panose="020F0502020204030204" pitchFamily="34" charset="0"/>
              </a:rPr>
              <a:t>Cross Border Engine – Message format alignment</a:t>
            </a:r>
            <a:endParaRPr lang="fr-BE" sz="675" b="1">
              <a:solidFill>
                <a:prstClr val="black">
                  <a:lumMod val="95000"/>
                  <a:lumOff val="5000"/>
                </a:prstClr>
              </a:solidFill>
              <a:latin typeface="Calibri" panose="020F0502020204030204" pitchFamily="34" charset="0"/>
              <a:cs typeface="Calibri" panose="020F0502020204030204" pitchFamily="34" charset="0"/>
            </a:endParaRPr>
          </a:p>
        </p:txBody>
      </p:sp>
      <p:sp>
        <p:nvSpPr>
          <p:cNvPr id="68" name="Pentagon 44">
            <a:extLst>
              <a:ext uri="{FF2B5EF4-FFF2-40B4-BE49-F238E27FC236}">
                <a16:creationId xmlns:a16="http://schemas.microsoft.com/office/drawing/2014/main" id="{41CCA936-05ED-4A40-4108-48FBC3ABB3F4}"/>
              </a:ext>
            </a:extLst>
          </p:cNvPr>
          <p:cNvSpPr/>
          <p:nvPr/>
        </p:nvSpPr>
        <p:spPr>
          <a:xfrm>
            <a:off x="6029128" y="4164786"/>
            <a:ext cx="846299" cy="255491"/>
          </a:xfrm>
          <a:prstGeom prst="roundRect">
            <a:avLst/>
          </a:prstGeom>
          <a:solidFill>
            <a:schemeClr val="tx2">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685800">
              <a:defRPr/>
            </a:pPr>
            <a:r>
              <a:rPr lang="en-US" sz="675" b="1">
                <a:solidFill>
                  <a:prstClr val="black">
                    <a:lumMod val="95000"/>
                    <a:lumOff val="5000"/>
                  </a:prstClr>
                </a:solidFill>
                <a:latin typeface="Calibri" panose="020F0502020204030204" pitchFamily="34" charset="0"/>
                <a:cs typeface="Calibri" panose="020F0502020204030204" pitchFamily="34" charset="0"/>
              </a:rPr>
              <a:t>Secure AS 4 Message </a:t>
            </a:r>
          </a:p>
          <a:p>
            <a:pPr algn="ctr" defTabSz="685800">
              <a:defRPr/>
            </a:pPr>
            <a:r>
              <a:rPr lang="en-US" sz="675" b="1">
                <a:solidFill>
                  <a:prstClr val="black">
                    <a:lumMod val="95000"/>
                    <a:lumOff val="5000"/>
                  </a:prstClr>
                </a:solidFill>
                <a:latin typeface="Calibri" panose="020F0502020204030204" pitchFamily="34" charset="0"/>
                <a:cs typeface="Calibri" panose="020F0502020204030204" pitchFamily="34" charset="0"/>
              </a:rPr>
              <a:t>Exchange</a:t>
            </a:r>
            <a:endParaRPr lang="en-GR" sz="675" b="1">
              <a:solidFill>
                <a:prstClr val="black">
                  <a:lumMod val="95000"/>
                  <a:lumOff val="5000"/>
                </a:prstClr>
              </a:solidFill>
              <a:latin typeface="Calibri" panose="020F0502020204030204" pitchFamily="34" charset="0"/>
              <a:cs typeface="Calibri" panose="020F0502020204030204" pitchFamily="34" charset="0"/>
            </a:endParaRPr>
          </a:p>
        </p:txBody>
      </p:sp>
      <p:sp>
        <p:nvSpPr>
          <p:cNvPr id="69" name="TextBox 53">
            <a:extLst>
              <a:ext uri="{FF2B5EF4-FFF2-40B4-BE49-F238E27FC236}">
                <a16:creationId xmlns:a16="http://schemas.microsoft.com/office/drawing/2014/main" id="{E1F353FE-36E7-2A57-152D-D0253EBC5916}"/>
              </a:ext>
            </a:extLst>
          </p:cNvPr>
          <p:cNvSpPr txBox="1"/>
          <p:nvPr/>
        </p:nvSpPr>
        <p:spPr>
          <a:xfrm>
            <a:off x="1728638" y="4293913"/>
            <a:ext cx="974736" cy="577338"/>
          </a:xfrm>
          <a:prstGeom prst="rect">
            <a:avLst/>
          </a:prstGeom>
          <a:noFill/>
        </p:spPr>
        <p:txBody>
          <a:bodyPr wrap="square" rtlCol="0">
            <a:spAutoFit/>
          </a:bodyPr>
          <a:lstStyle/>
          <a:p>
            <a:pPr algn="ctr" defTabSz="685800">
              <a:defRPr/>
            </a:pPr>
            <a:r>
              <a:rPr lang="en-GB" sz="788" i="1">
                <a:solidFill>
                  <a:prstClr val="black"/>
                </a:solidFill>
                <a:latin typeface="Calibri" panose="020F0502020204030204" pitchFamily="34" charset="0"/>
                <a:cs typeface="Calibri" panose="020F0502020204030204" pitchFamily="34" charset="0"/>
              </a:rPr>
              <a:t>Prepare and provide Health Metadata</a:t>
            </a:r>
          </a:p>
          <a:p>
            <a:pPr algn="ctr" defTabSz="685800">
              <a:defRPr/>
            </a:pPr>
            <a:r>
              <a:rPr lang="en-GB" sz="788" i="1">
                <a:solidFill>
                  <a:prstClr val="black"/>
                </a:solidFill>
                <a:latin typeface="Calibri" panose="020F0502020204030204" pitchFamily="34" charset="0"/>
                <a:cs typeface="Calibri" panose="020F0502020204030204" pitchFamily="34" charset="0"/>
              </a:rPr>
              <a:t>Records</a:t>
            </a:r>
            <a:endParaRPr lang="en-GR" sz="788" i="1">
              <a:solidFill>
                <a:prstClr val="black"/>
              </a:solidFill>
              <a:latin typeface="Calibri" panose="020F0502020204030204" pitchFamily="34" charset="0"/>
              <a:cs typeface="Calibri" panose="020F0502020204030204" pitchFamily="34" charset="0"/>
            </a:endParaRPr>
          </a:p>
        </p:txBody>
      </p:sp>
      <p:sp>
        <p:nvSpPr>
          <p:cNvPr id="75" name="TextBox 74">
            <a:extLst>
              <a:ext uri="{FF2B5EF4-FFF2-40B4-BE49-F238E27FC236}">
                <a16:creationId xmlns:a16="http://schemas.microsoft.com/office/drawing/2014/main" id="{E13106F8-27CA-76AF-BE30-547E26507BB5}"/>
              </a:ext>
            </a:extLst>
          </p:cNvPr>
          <p:cNvSpPr txBox="1"/>
          <p:nvPr/>
        </p:nvSpPr>
        <p:spPr>
          <a:xfrm rot="5400000">
            <a:off x="2641265" y="3455121"/>
            <a:ext cx="1835118" cy="1222178"/>
          </a:xfrm>
          <a:prstGeom prst="rect">
            <a:avLst/>
          </a:prstGeom>
          <a:solidFill>
            <a:schemeClr val="accent6">
              <a:lumMod val="40000"/>
              <a:lumOff val="60000"/>
            </a:schemeClr>
          </a:solidFill>
          <a:ln>
            <a:solidFill>
              <a:schemeClr val="tx1"/>
            </a:solidFill>
            <a:prstDash val="solid"/>
          </a:ln>
          <a:effectLst>
            <a:outerShdw blurRad="50800" dist="38100" dir="2700000" algn="tl" rotWithShape="0">
              <a:prstClr val="black">
                <a:alpha val="40000"/>
              </a:prstClr>
            </a:outerShdw>
          </a:effectLst>
        </p:spPr>
        <p:txBody>
          <a:bodyPr vert="vert270" wrap="square">
            <a:spAutoFit/>
          </a:bodyPr>
          <a:lstStyle/>
          <a:p>
            <a:pPr algn="ctr" defTabSz="685800">
              <a:defRPr/>
            </a:pPr>
            <a:r>
              <a:rPr lang="en-GB" sz="825" b="1">
                <a:solidFill>
                  <a:prstClr val="black"/>
                </a:solidFill>
                <a:latin typeface="Calibri" panose="020F0502020204030204"/>
              </a:rPr>
              <a:t>Union Data Access Service portal</a:t>
            </a:r>
            <a:endParaRPr lang="en-GB" sz="825" b="1">
              <a:solidFill>
                <a:prstClr val="black"/>
              </a:solidFill>
              <a:latin typeface="Calibri" panose="020F0502020204030204" pitchFamily="34" charset="0"/>
              <a:cs typeface="Calibri" panose="020F0502020204030204" pitchFamily="34" charset="0"/>
            </a:endParaRPr>
          </a:p>
          <a:p>
            <a:pPr algn="ctr" defTabSz="685800">
              <a:defRPr/>
            </a:pPr>
            <a:endParaRPr lang="en-GB" sz="825" b="1">
              <a:solidFill>
                <a:prstClr val="black"/>
              </a:solidFill>
              <a:latin typeface="Calibri" panose="020F0502020204030204" pitchFamily="34" charset="0"/>
              <a:cs typeface="Calibri" panose="020F0502020204030204" pitchFamily="34" charset="0"/>
            </a:endParaRPr>
          </a:p>
          <a:p>
            <a:pPr algn="ctr" defTabSz="685800">
              <a:defRPr/>
            </a:pPr>
            <a:endParaRPr lang="en-GB" sz="825" b="1">
              <a:solidFill>
                <a:prstClr val="black"/>
              </a:solidFill>
              <a:latin typeface="Calibri" panose="020F0502020204030204" pitchFamily="34" charset="0"/>
              <a:cs typeface="Calibri" panose="020F0502020204030204" pitchFamily="34" charset="0"/>
            </a:endParaRPr>
          </a:p>
          <a:p>
            <a:pPr algn="ctr" defTabSz="685800">
              <a:defRPr/>
            </a:pPr>
            <a:endParaRPr lang="en-GB" sz="825" b="1">
              <a:solidFill>
                <a:prstClr val="black"/>
              </a:solidFill>
              <a:latin typeface="Calibri" panose="020F0502020204030204" pitchFamily="34" charset="0"/>
              <a:cs typeface="Calibri" panose="020F0502020204030204" pitchFamily="34" charset="0"/>
            </a:endParaRPr>
          </a:p>
          <a:p>
            <a:pPr algn="ctr" defTabSz="685800">
              <a:defRPr/>
            </a:pPr>
            <a:endParaRPr lang="en-GB" sz="825" b="1">
              <a:solidFill>
                <a:prstClr val="black"/>
              </a:solidFill>
              <a:latin typeface="Calibri" panose="020F0502020204030204" pitchFamily="34" charset="0"/>
              <a:cs typeface="Calibri" panose="020F0502020204030204" pitchFamily="34" charset="0"/>
            </a:endParaRPr>
          </a:p>
          <a:p>
            <a:pPr algn="ctr" defTabSz="685800">
              <a:defRPr/>
            </a:pPr>
            <a:endParaRPr lang="en-GB" sz="825" b="1">
              <a:solidFill>
                <a:prstClr val="black"/>
              </a:solidFill>
              <a:latin typeface="Calibri" panose="020F0502020204030204" pitchFamily="34" charset="0"/>
              <a:cs typeface="Calibri" panose="020F0502020204030204" pitchFamily="34" charset="0"/>
            </a:endParaRPr>
          </a:p>
          <a:p>
            <a:pPr algn="ctr" defTabSz="685800">
              <a:defRPr/>
            </a:pPr>
            <a:endParaRPr lang="en-GB" sz="825" b="1">
              <a:solidFill>
                <a:prstClr val="black"/>
              </a:solidFill>
              <a:latin typeface="Calibri" panose="020F0502020204030204" pitchFamily="34" charset="0"/>
              <a:cs typeface="Calibri" panose="020F0502020204030204" pitchFamily="34" charset="0"/>
            </a:endParaRPr>
          </a:p>
          <a:p>
            <a:pPr algn="ctr" defTabSz="685800">
              <a:defRPr/>
            </a:pPr>
            <a:endParaRPr lang="en-GB" sz="825" b="1">
              <a:solidFill>
                <a:prstClr val="black"/>
              </a:solidFill>
              <a:latin typeface="Calibri" panose="020F0502020204030204" pitchFamily="34" charset="0"/>
              <a:cs typeface="Calibri" panose="020F0502020204030204" pitchFamily="34" charset="0"/>
            </a:endParaRPr>
          </a:p>
          <a:p>
            <a:pPr algn="ctr" defTabSz="685800">
              <a:defRPr/>
            </a:pPr>
            <a:endParaRPr lang="en-GB" sz="825" b="1">
              <a:solidFill>
                <a:prstClr val="black"/>
              </a:solidFill>
              <a:latin typeface="Calibri" panose="020F0502020204030204" pitchFamily="34" charset="0"/>
              <a:cs typeface="Calibri" panose="020F0502020204030204" pitchFamily="34" charset="0"/>
            </a:endParaRPr>
          </a:p>
          <a:p>
            <a:pPr algn="ctr" defTabSz="685800">
              <a:defRPr/>
            </a:pPr>
            <a:endParaRPr lang="en-GB" sz="825" b="1">
              <a:solidFill>
                <a:prstClr val="black"/>
              </a:solidFill>
              <a:latin typeface="Calibri" panose="020F0502020204030204" pitchFamily="34" charset="0"/>
              <a:cs typeface="Calibri" panose="020F0502020204030204" pitchFamily="34" charset="0"/>
            </a:endParaRPr>
          </a:p>
          <a:p>
            <a:pPr algn="ctr" defTabSz="685800">
              <a:defRPr/>
            </a:pPr>
            <a:endParaRPr lang="en-GB" sz="825" b="1">
              <a:solidFill>
                <a:prstClr val="black"/>
              </a:solidFill>
              <a:latin typeface="Calibri" panose="020F0502020204030204" pitchFamily="34" charset="0"/>
              <a:cs typeface="Calibri" panose="020F0502020204030204" pitchFamily="34" charset="0"/>
            </a:endParaRPr>
          </a:p>
          <a:p>
            <a:pPr algn="ctr" defTabSz="685800">
              <a:defRPr/>
            </a:pPr>
            <a:endParaRPr lang="en-GB" sz="825" b="1">
              <a:solidFill>
                <a:prstClr val="black"/>
              </a:solidFill>
              <a:latin typeface="Calibri" panose="020F0502020204030204" pitchFamily="34" charset="0"/>
              <a:cs typeface="Calibri" panose="020F0502020204030204" pitchFamily="34" charset="0"/>
            </a:endParaRPr>
          </a:p>
        </p:txBody>
      </p:sp>
      <p:cxnSp>
        <p:nvCxnSpPr>
          <p:cNvPr id="76" name="Straight Arrow Connector 75">
            <a:extLst>
              <a:ext uri="{FF2B5EF4-FFF2-40B4-BE49-F238E27FC236}">
                <a16:creationId xmlns:a16="http://schemas.microsoft.com/office/drawing/2014/main" id="{5F312DD0-1F50-4C40-68B4-84D277CBF346}"/>
              </a:ext>
            </a:extLst>
          </p:cNvPr>
          <p:cNvCxnSpPr>
            <a:cxnSpLocks/>
            <a:stCxn id="75" idx="0"/>
            <a:endCxn id="65" idx="2"/>
          </p:cNvCxnSpPr>
          <p:nvPr/>
        </p:nvCxnSpPr>
        <p:spPr>
          <a:xfrm>
            <a:off x="4169913" y="4066210"/>
            <a:ext cx="601493" cy="0"/>
          </a:xfrm>
          <a:prstGeom prst="straightConnector1">
            <a:avLst/>
          </a:prstGeom>
          <a:noFill/>
          <a:ln w="19050" cap="flat" cmpd="sng" algn="ctr">
            <a:solidFill>
              <a:srgbClr val="0070C0"/>
            </a:solidFill>
            <a:prstDash val="dash"/>
            <a:miter lim="800000"/>
            <a:headEnd type="none" w="med" len="med"/>
            <a:tailEnd type="triangle" w="med" len="med"/>
          </a:ln>
          <a:effectLst/>
        </p:spPr>
      </p:cxnSp>
      <p:sp>
        <p:nvSpPr>
          <p:cNvPr id="77" name="Rectangle: Rounded Corners 76">
            <a:extLst>
              <a:ext uri="{FF2B5EF4-FFF2-40B4-BE49-F238E27FC236}">
                <a16:creationId xmlns:a16="http://schemas.microsoft.com/office/drawing/2014/main" id="{C50707DC-DC9A-6F2F-92D7-B77B660DA5A7}"/>
              </a:ext>
            </a:extLst>
          </p:cNvPr>
          <p:cNvSpPr/>
          <p:nvPr/>
        </p:nvSpPr>
        <p:spPr>
          <a:xfrm>
            <a:off x="3152987" y="3593542"/>
            <a:ext cx="829273" cy="410819"/>
          </a:xfrm>
          <a:prstGeom prst="roundRect">
            <a:avLst/>
          </a:prstGeom>
          <a:solidFill>
            <a:schemeClr val="accent6">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685800">
              <a:defRPr/>
            </a:pPr>
            <a:r>
              <a:rPr lang="en-US" sz="675" b="1">
                <a:solidFill>
                  <a:prstClr val="black">
                    <a:lumMod val="95000"/>
                    <a:lumOff val="5000"/>
                  </a:prstClr>
                </a:solidFill>
                <a:latin typeface="Calibri" panose="020F0502020204030204" pitchFamily="34" charset="0"/>
                <a:cs typeface="Calibri" panose="020F0502020204030204" pitchFamily="34" charset="0"/>
              </a:rPr>
              <a:t>Message sender/recipient configuration management</a:t>
            </a:r>
            <a:endParaRPr lang="fr-BE" sz="675" b="1">
              <a:solidFill>
                <a:prstClr val="black">
                  <a:lumMod val="95000"/>
                  <a:lumOff val="5000"/>
                </a:prstClr>
              </a:solidFill>
              <a:latin typeface="Calibri" panose="020F0502020204030204" pitchFamily="34" charset="0"/>
              <a:cs typeface="Calibri" panose="020F0502020204030204" pitchFamily="34" charset="0"/>
            </a:endParaRPr>
          </a:p>
        </p:txBody>
      </p:sp>
      <p:sp>
        <p:nvSpPr>
          <p:cNvPr id="79" name="Rectangle: Rounded Corners 78">
            <a:extLst>
              <a:ext uri="{FF2B5EF4-FFF2-40B4-BE49-F238E27FC236}">
                <a16:creationId xmlns:a16="http://schemas.microsoft.com/office/drawing/2014/main" id="{8EB73C49-A1C9-68E0-969F-CF26053D6F05}"/>
              </a:ext>
            </a:extLst>
          </p:cNvPr>
          <p:cNvSpPr/>
          <p:nvPr/>
        </p:nvSpPr>
        <p:spPr>
          <a:xfrm>
            <a:off x="3152987" y="4129060"/>
            <a:ext cx="829273" cy="326942"/>
          </a:xfrm>
          <a:prstGeom prst="roundRect">
            <a:avLst/>
          </a:prstGeom>
          <a:solidFill>
            <a:schemeClr val="accent6">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685800">
              <a:defRPr/>
            </a:pPr>
            <a:r>
              <a:rPr lang="en-US" sz="675" b="1">
                <a:solidFill>
                  <a:srgbClr val="ED8D2F">
                    <a:lumMod val="75000"/>
                  </a:srgbClr>
                </a:solidFill>
                <a:latin typeface="Calibri" panose="020F0502020204030204" pitchFamily="34" charset="0"/>
                <a:cs typeface="Calibri" panose="020F0502020204030204" pitchFamily="34" charset="0"/>
              </a:rPr>
              <a:t>Display and search of Union Dataset Catalogue</a:t>
            </a:r>
          </a:p>
        </p:txBody>
      </p:sp>
      <p:cxnSp>
        <p:nvCxnSpPr>
          <p:cNvPr id="80" name="Straight Arrow Connector 79">
            <a:extLst>
              <a:ext uri="{FF2B5EF4-FFF2-40B4-BE49-F238E27FC236}">
                <a16:creationId xmlns:a16="http://schemas.microsoft.com/office/drawing/2014/main" id="{EC89802D-F74D-663A-7253-21B32C8454E4}"/>
              </a:ext>
            </a:extLst>
          </p:cNvPr>
          <p:cNvCxnSpPr>
            <a:cxnSpLocks/>
          </p:cNvCxnSpPr>
          <p:nvPr/>
        </p:nvCxnSpPr>
        <p:spPr>
          <a:xfrm flipV="1">
            <a:off x="7005060" y="3103470"/>
            <a:ext cx="618149" cy="973440"/>
          </a:xfrm>
          <a:prstGeom prst="straightConnector1">
            <a:avLst/>
          </a:prstGeom>
          <a:noFill/>
          <a:ln w="19050" cap="flat" cmpd="sng" algn="ctr">
            <a:solidFill>
              <a:srgbClr val="0070C0"/>
            </a:solidFill>
            <a:prstDash val="dash"/>
            <a:miter lim="800000"/>
            <a:headEnd type="none" w="med" len="med"/>
            <a:tailEnd type="triangle" w="med" len="med"/>
          </a:ln>
          <a:effectLst/>
        </p:spPr>
      </p:cxnSp>
      <p:sp>
        <p:nvSpPr>
          <p:cNvPr id="7" name="Title 6">
            <a:extLst>
              <a:ext uri="{FF2B5EF4-FFF2-40B4-BE49-F238E27FC236}">
                <a16:creationId xmlns:a16="http://schemas.microsoft.com/office/drawing/2014/main" id="{36497CF5-225E-2C33-3773-BC9676F2F1C7}"/>
              </a:ext>
            </a:extLst>
          </p:cNvPr>
          <p:cNvSpPr>
            <a:spLocks noGrp="1"/>
          </p:cNvSpPr>
          <p:nvPr>
            <p:ph type="title"/>
          </p:nvPr>
        </p:nvSpPr>
        <p:spPr>
          <a:xfrm>
            <a:off x="728041" y="362145"/>
            <a:ext cx="8415959" cy="586768"/>
          </a:xfrm>
        </p:spPr>
        <p:txBody>
          <a:bodyPr/>
          <a:lstStyle/>
          <a:p>
            <a:r>
              <a:rPr lang="en-US" sz="2700"/>
              <a:t>Process of creating the EU Dataset Catalogue</a:t>
            </a:r>
            <a:endParaRPr lang="en-IE" sz="2700"/>
          </a:p>
        </p:txBody>
      </p:sp>
    </p:spTree>
    <p:extLst>
      <p:ext uri="{BB962C8B-B14F-4D97-AF65-F5344CB8AC3E}">
        <p14:creationId xmlns:p14="http://schemas.microsoft.com/office/powerpoint/2010/main" val="300686322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13"/>
                                        </p:tgtEl>
                                        <p:attrNameLst>
                                          <p:attrName>style.visibility</p:attrName>
                                        </p:attrNameLst>
                                      </p:cBhvr>
                                      <p:to>
                                        <p:strVal val="visible"/>
                                      </p:to>
                                    </p:set>
                                    <p:anim calcmode="lin" valueType="num">
                                      <p:cBhvr additive="base">
                                        <p:cTn id="7" dur="500" fill="hold"/>
                                        <p:tgtEl>
                                          <p:spTgt spid="13"/>
                                        </p:tgtEl>
                                        <p:attrNameLst>
                                          <p:attrName>ppt_x</p:attrName>
                                        </p:attrNameLst>
                                      </p:cBhvr>
                                      <p:tavLst>
                                        <p:tav tm="0">
                                          <p:val>
                                            <p:strVal val="#ppt_x"/>
                                          </p:val>
                                        </p:tav>
                                        <p:tav tm="100000">
                                          <p:val>
                                            <p:strVal val="#ppt_x"/>
                                          </p:val>
                                        </p:tav>
                                      </p:tavLst>
                                    </p:anim>
                                    <p:anim calcmode="lin" valueType="num">
                                      <p:cBhvr additive="base">
                                        <p:cTn id="8" dur="500" fill="hold"/>
                                        <p:tgtEl>
                                          <p:spTgt spid="13"/>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10" presetClass="entr" presetSubtype="0" fill="hold" grpId="0" nodeType="clickEffect">
                                  <p:stCondLst>
                                    <p:cond delay="0"/>
                                  </p:stCondLst>
                                  <p:childTnLst>
                                    <p:set>
                                      <p:cBhvr>
                                        <p:cTn id="12" dur="1" fill="hold">
                                          <p:stCondLst>
                                            <p:cond delay="0"/>
                                          </p:stCondLst>
                                        </p:cTn>
                                        <p:tgtEl>
                                          <p:spTgt spid="32"/>
                                        </p:tgtEl>
                                        <p:attrNameLst>
                                          <p:attrName>style.visibility</p:attrName>
                                        </p:attrNameLst>
                                      </p:cBhvr>
                                      <p:to>
                                        <p:strVal val="visible"/>
                                      </p:to>
                                    </p:set>
                                    <p:animEffect transition="in" filter="fade">
                                      <p:cBhvr>
                                        <p:cTn id="13" dur="500"/>
                                        <p:tgtEl>
                                          <p:spTgt spid="32"/>
                                        </p:tgtEl>
                                      </p:cBhvr>
                                    </p:animEffect>
                                  </p:childTnLst>
                                </p:cTn>
                              </p:par>
                            </p:childTnLst>
                          </p:cTn>
                        </p:par>
                      </p:childTnLst>
                    </p:cTn>
                  </p:par>
                  <p:par>
                    <p:cTn id="14" fill="hold">
                      <p:stCondLst>
                        <p:cond delay="indefinite"/>
                      </p:stCondLst>
                      <p:childTnLst>
                        <p:par>
                          <p:cTn id="15" fill="hold">
                            <p:stCondLst>
                              <p:cond delay="0"/>
                            </p:stCondLst>
                            <p:childTnLst>
                              <p:par>
                                <p:cTn id="16" presetID="16" presetClass="entr" presetSubtype="21" fill="hold" nodeType="clickEffect">
                                  <p:stCondLst>
                                    <p:cond delay="0"/>
                                  </p:stCondLst>
                                  <p:childTnLst>
                                    <p:set>
                                      <p:cBhvr>
                                        <p:cTn id="17" dur="1" fill="hold">
                                          <p:stCondLst>
                                            <p:cond delay="0"/>
                                          </p:stCondLst>
                                        </p:cTn>
                                        <p:tgtEl>
                                          <p:spTgt spid="10"/>
                                        </p:tgtEl>
                                        <p:attrNameLst>
                                          <p:attrName>style.visibility</p:attrName>
                                        </p:attrNameLst>
                                      </p:cBhvr>
                                      <p:to>
                                        <p:strVal val="visible"/>
                                      </p:to>
                                    </p:set>
                                    <p:animEffect transition="in" filter="barn(inVertical)">
                                      <p:cBhvr>
                                        <p:cTn id="18" dur="500"/>
                                        <p:tgtEl>
                                          <p:spTgt spid="10"/>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15"/>
                                        </p:tgtEl>
                                        <p:attrNameLst>
                                          <p:attrName>style.visibility</p:attrName>
                                        </p:attrNameLst>
                                      </p:cBhvr>
                                      <p:to>
                                        <p:strVal val="visible"/>
                                      </p:to>
                                    </p:set>
                                    <p:animEffect transition="in" filter="fade">
                                      <p:cBhvr>
                                        <p:cTn id="23" dur="500"/>
                                        <p:tgtEl>
                                          <p:spTgt spid="15"/>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14"/>
                                        </p:tgtEl>
                                        <p:attrNameLst>
                                          <p:attrName>style.visibility</p:attrName>
                                        </p:attrNameLst>
                                      </p:cBhvr>
                                      <p:to>
                                        <p:strVal val="visible"/>
                                      </p:to>
                                    </p:set>
                                    <p:animEffect transition="in" filter="fade">
                                      <p:cBhvr>
                                        <p:cTn id="26" dur="500"/>
                                        <p:tgtEl>
                                          <p:spTgt spid="14"/>
                                        </p:tgtEl>
                                      </p:cBhvr>
                                    </p:animEffect>
                                  </p:childTnLst>
                                </p:cTn>
                              </p:par>
                              <p:par>
                                <p:cTn id="27" presetID="10" presetClass="entr" presetSubtype="0" fill="hold" grpId="0" nodeType="withEffect">
                                  <p:stCondLst>
                                    <p:cond delay="0"/>
                                  </p:stCondLst>
                                  <p:childTnLst>
                                    <p:set>
                                      <p:cBhvr>
                                        <p:cTn id="28" dur="1" fill="hold">
                                          <p:stCondLst>
                                            <p:cond delay="0"/>
                                          </p:stCondLst>
                                        </p:cTn>
                                        <p:tgtEl>
                                          <p:spTgt spid="35"/>
                                        </p:tgtEl>
                                        <p:attrNameLst>
                                          <p:attrName>style.visibility</p:attrName>
                                        </p:attrNameLst>
                                      </p:cBhvr>
                                      <p:to>
                                        <p:strVal val="visible"/>
                                      </p:to>
                                    </p:set>
                                    <p:animEffect transition="in" filter="fade">
                                      <p:cBhvr>
                                        <p:cTn id="29" dur="500"/>
                                        <p:tgtEl>
                                          <p:spTgt spid="35"/>
                                        </p:tgtEl>
                                      </p:cBhvr>
                                    </p:animEffect>
                                  </p:childTnLst>
                                </p:cTn>
                              </p:par>
                            </p:childTnLst>
                          </p:cTn>
                        </p:par>
                      </p:childTnLst>
                    </p:cTn>
                  </p:par>
                  <p:par>
                    <p:cTn id="30" fill="hold">
                      <p:stCondLst>
                        <p:cond delay="indefinite"/>
                      </p:stCondLst>
                      <p:childTnLst>
                        <p:par>
                          <p:cTn id="31" fill="hold">
                            <p:stCondLst>
                              <p:cond delay="0"/>
                            </p:stCondLst>
                            <p:childTnLst>
                              <p:par>
                                <p:cTn id="32" presetID="16" presetClass="entr" presetSubtype="21" fill="hold" nodeType="clickEffect">
                                  <p:stCondLst>
                                    <p:cond delay="0"/>
                                  </p:stCondLst>
                                  <p:childTnLst>
                                    <p:set>
                                      <p:cBhvr>
                                        <p:cTn id="33" dur="1" fill="hold">
                                          <p:stCondLst>
                                            <p:cond delay="0"/>
                                          </p:stCondLst>
                                        </p:cTn>
                                        <p:tgtEl>
                                          <p:spTgt spid="16"/>
                                        </p:tgtEl>
                                        <p:attrNameLst>
                                          <p:attrName>style.visibility</p:attrName>
                                        </p:attrNameLst>
                                      </p:cBhvr>
                                      <p:to>
                                        <p:strVal val="visible"/>
                                      </p:to>
                                    </p:set>
                                    <p:animEffect transition="in" filter="barn(inVertical)">
                                      <p:cBhvr>
                                        <p:cTn id="34" dur="500"/>
                                        <p:tgtEl>
                                          <p:spTgt spid="16"/>
                                        </p:tgtEl>
                                      </p:cBhvr>
                                    </p:animEffect>
                                  </p:childTnLst>
                                </p:cTn>
                              </p:par>
                            </p:childTnLst>
                          </p:cTn>
                        </p:par>
                      </p:childTnLst>
                    </p:cTn>
                  </p:par>
                  <p:par>
                    <p:cTn id="35" fill="hold">
                      <p:stCondLst>
                        <p:cond delay="indefinite"/>
                      </p:stCondLst>
                      <p:childTnLst>
                        <p:par>
                          <p:cTn id="36" fill="hold">
                            <p:stCondLst>
                              <p:cond delay="0"/>
                            </p:stCondLst>
                            <p:childTnLst>
                              <p:par>
                                <p:cTn id="37" presetID="2" presetClass="entr" presetSubtype="4" fill="hold" grpId="0" nodeType="clickEffect">
                                  <p:stCondLst>
                                    <p:cond delay="0"/>
                                  </p:stCondLst>
                                  <p:childTnLst>
                                    <p:set>
                                      <p:cBhvr>
                                        <p:cTn id="38" dur="1" fill="hold">
                                          <p:stCondLst>
                                            <p:cond delay="0"/>
                                          </p:stCondLst>
                                        </p:cTn>
                                        <p:tgtEl>
                                          <p:spTgt spid="5"/>
                                        </p:tgtEl>
                                        <p:attrNameLst>
                                          <p:attrName>style.visibility</p:attrName>
                                        </p:attrNameLst>
                                      </p:cBhvr>
                                      <p:to>
                                        <p:strVal val="visible"/>
                                      </p:to>
                                    </p:set>
                                    <p:anim calcmode="lin" valueType="num">
                                      <p:cBhvr additive="base">
                                        <p:cTn id="39" dur="500" fill="hold"/>
                                        <p:tgtEl>
                                          <p:spTgt spid="5"/>
                                        </p:tgtEl>
                                        <p:attrNameLst>
                                          <p:attrName>ppt_x</p:attrName>
                                        </p:attrNameLst>
                                      </p:cBhvr>
                                      <p:tavLst>
                                        <p:tav tm="0">
                                          <p:val>
                                            <p:strVal val="#ppt_x"/>
                                          </p:val>
                                        </p:tav>
                                        <p:tav tm="100000">
                                          <p:val>
                                            <p:strVal val="#ppt_x"/>
                                          </p:val>
                                        </p:tav>
                                      </p:tavLst>
                                    </p:anim>
                                    <p:anim calcmode="lin" valueType="num">
                                      <p:cBhvr additive="base">
                                        <p:cTn id="40" dur="500" fill="hold"/>
                                        <p:tgtEl>
                                          <p:spTgt spid="5"/>
                                        </p:tgtEl>
                                        <p:attrNameLst>
                                          <p:attrName>ppt_y</p:attrName>
                                        </p:attrNameLst>
                                      </p:cBhvr>
                                      <p:tavLst>
                                        <p:tav tm="0">
                                          <p:val>
                                            <p:strVal val="1+#ppt_h/2"/>
                                          </p:val>
                                        </p:tav>
                                        <p:tav tm="100000">
                                          <p:val>
                                            <p:strVal val="#ppt_y"/>
                                          </p:val>
                                        </p:tav>
                                      </p:tavLst>
                                    </p:anim>
                                  </p:childTnLst>
                                </p:cTn>
                              </p:par>
                              <p:par>
                                <p:cTn id="41" presetID="10" presetClass="entr" presetSubtype="0" fill="hold" grpId="0" nodeType="withEffect">
                                  <p:stCondLst>
                                    <p:cond delay="0"/>
                                  </p:stCondLst>
                                  <p:childTnLst>
                                    <p:set>
                                      <p:cBhvr>
                                        <p:cTn id="42" dur="1" fill="hold">
                                          <p:stCondLst>
                                            <p:cond delay="0"/>
                                          </p:stCondLst>
                                        </p:cTn>
                                        <p:tgtEl>
                                          <p:spTgt spid="25"/>
                                        </p:tgtEl>
                                        <p:attrNameLst>
                                          <p:attrName>style.visibility</p:attrName>
                                        </p:attrNameLst>
                                      </p:cBhvr>
                                      <p:to>
                                        <p:strVal val="visible"/>
                                      </p:to>
                                    </p:set>
                                    <p:animEffect transition="in" filter="fade">
                                      <p:cBhvr>
                                        <p:cTn id="43" dur="500"/>
                                        <p:tgtEl>
                                          <p:spTgt spid="25"/>
                                        </p:tgtEl>
                                      </p:cBhvr>
                                    </p:animEffect>
                                  </p:childTnLst>
                                </p:cTn>
                              </p:par>
                            </p:childTnLst>
                          </p:cTn>
                        </p:par>
                      </p:childTnLst>
                    </p:cTn>
                  </p:par>
                  <p:par>
                    <p:cTn id="44" fill="hold">
                      <p:stCondLst>
                        <p:cond delay="indefinite"/>
                      </p:stCondLst>
                      <p:childTnLst>
                        <p:par>
                          <p:cTn id="45" fill="hold">
                            <p:stCondLst>
                              <p:cond delay="0"/>
                            </p:stCondLst>
                            <p:childTnLst>
                              <p:par>
                                <p:cTn id="46" presetID="53" presetClass="entr" presetSubtype="16" fill="hold" grpId="0" nodeType="clickEffect">
                                  <p:stCondLst>
                                    <p:cond delay="0"/>
                                  </p:stCondLst>
                                  <p:childTnLst>
                                    <p:set>
                                      <p:cBhvr>
                                        <p:cTn id="47" dur="1" fill="hold">
                                          <p:stCondLst>
                                            <p:cond delay="0"/>
                                          </p:stCondLst>
                                        </p:cTn>
                                        <p:tgtEl>
                                          <p:spTgt spid="31"/>
                                        </p:tgtEl>
                                        <p:attrNameLst>
                                          <p:attrName>style.visibility</p:attrName>
                                        </p:attrNameLst>
                                      </p:cBhvr>
                                      <p:to>
                                        <p:strVal val="visible"/>
                                      </p:to>
                                    </p:set>
                                    <p:anim calcmode="lin" valueType="num">
                                      <p:cBhvr>
                                        <p:cTn id="48" dur="500" fill="hold"/>
                                        <p:tgtEl>
                                          <p:spTgt spid="31"/>
                                        </p:tgtEl>
                                        <p:attrNameLst>
                                          <p:attrName>ppt_w</p:attrName>
                                        </p:attrNameLst>
                                      </p:cBhvr>
                                      <p:tavLst>
                                        <p:tav tm="0">
                                          <p:val>
                                            <p:fltVal val="0"/>
                                          </p:val>
                                        </p:tav>
                                        <p:tav tm="100000">
                                          <p:val>
                                            <p:strVal val="#ppt_w"/>
                                          </p:val>
                                        </p:tav>
                                      </p:tavLst>
                                    </p:anim>
                                    <p:anim calcmode="lin" valueType="num">
                                      <p:cBhvr>
                                        <p:cTn id="49" dur="500" fill="hold"/>
                                        <p:tgtEl>
                                          <p:spTgt spid="31"/>
                                        </p:tgtEl>
                                        <p:attrNameLst>
                                          <p:attrName>ppt_h</p:attrName>
                                        </p:attrNameLst>
                                      </p:cBhvr>
                                      <p:tavLst>
                                        <p:tav tm="0">
                                          <p:val>
                                            <p:fltVal val="0"/>
                                          </p:val>
                                        </p:tav>
                                        <p:tav tm="100000">
                                          <p:val>
                                            <p:strVal val="#ppt_h"/>
                                          </p:val>
                                        </p:tav>
                                      </p:tavLst>
                                    </p:anim>
                                    <p:animEffect transition="in" filter="fade">
                                      <p:cBhvr>
                                        <p:cTn id="50" dur="500"/>
                                        <p:tgtEl>
                                          <p:spTgt spid="31"/>
                                        </p:tgtEl>
                                      </p:cBhvr>
                                    </p:animEffect>
                                  </p:childTnLst>
                                </p:cTn>
                              </p:par>
                            </p:childTnLst>
                          </p:cTn>
                        </p:par>
                      </p:childTnLst>
                    </p:cTn>
                  </p:par>
                  <p:par>
                    <p:cTn id="51" fill="hold">
                      <p:stCondLst>
                        <p:cond delay="indefinite"/>
                      </p:stCondLst>
                      <p:childTnLst>
                        <p:par>
                          <p:cTn id="52" fill="hold">
                            <p:stCondLst>
                              <p:cond delay="0"/>
                            </p:stCondLst>
                            <p:childTnLst>
                              <p:par>
                                <p:cTn id="53" presetID="16" presetClass="entr" presetSubtype="21" fill="hold" nodeType="clickEffect">
                                  <p:stCondLst>
                                    <p:cond delay="0"/>
                                  </p:stCondLst>
                                  <p:childTnLst>
                                    <p:set>
                                      <p:cBhvr>
                                        <p:cTn id="54" dur="1" fill="hold">
                                          <p:stCondLst>
                                            <p:cond delay="0"/>
                                          </p:stCondLst>
                                        </p:cTn>
                                        <p:tgtEl>
                                          <p:spTgt spid="19"/>
                                        </p:tgtEl>
                                        <p:attrNameLst>
                                          <p:attrName>style.visibility</p:attrName>
                                        </p:attrNameLst>
                                      </p:cBhvr>
                                      <p:to>
                                        <p:strVal val="visible"/>
                                      </p:to>
                                    </p:set>
                                    <p:animEffect transition="in" filter="barn(inVertical)">
                                      <p:cBhvr>
                                        <p:cTn id="55" dur="500"/>
                                        <p:tgtEl>
                                          <p:spTgt spid="19"/>
                                        </p:tgtEl>
                                      </p:cBhvr>
                                    </p:animEffect>
                                  </p:childTnLst>
                                </p:cTn>
                              </p:par>
                            </p:childTnLst>
                          </p:cTn>
                        </p:par>
                      </p:childTnLst>
                    </p:cTn>
                  </p:par>
                  <p:par>
                    <p:cTn id="56" fill="hold">
                      <p:stCondLst>
                        <p:cond delay="indefinite"/>
                      </p:stCondLst>
                      <p:childTnLst>
                        <p:par>
                          <p:cTn id="57" fill="hold">
                            <p:stCondLst>
                              <p:cond delay="0"/>
                            </p:stCondLst>
                            <p:childTnLst>
                              <p:par>
                                <p:cTn id="58" presetID="42" presetClass="entr" presetSubtype="0" fill="hold" grpId="0" nodeType="clickEffect">
                                  <p:stCondLst>
                                    <p:cond delay="0"/>
                                  </p:stCondLst>
                                  <p:childTnLst>
                                    <p:set>
                                      <p:cBhvr>
                                        <p:cTn id="59" dur="1" fill="hold">
                                          <p:stCondLst>
                                            <p:cond delay="0"/>
                                          </p:stCondLst>
                                        </p:cTn>
                                        <p:tgtEl>
                                          <p:spTgt spid="21"/>
                                        </p:tgtEl>
                                        <p:attrNameLst>
                                          <p:attrName>style.visibility</p:attrName>
                                        </p:attrNameLst>
                                      </p:cBhvr>
                                      <p:to>
                                        <p:strVal val="visible"/>
                                      </p:to>
                                    </p:set>
                                    <p:animEffect transition="in" filter="fade">
                                      <p:cBhvr>
                                        <p:cTn id="60" dur="1000"/>
                                        <p:tgtEl>
                                          <p:spTgt spid="21"/>
                                        </p:tgtEl>
                                      </p:cBhvr>
                                    </p:animEffect>
                                    <p:anim calcmode="lin" valueType="num">
                                      <p:cBhvr>
                                        <p:cTn id="61" dur="1000" fill="hold"/>
                                        <p:tgtEl>
                                          <p:spTgt spid="21"/>
                                        </p:tgtEl>
                                        <p:attrNameLst>
                                          <p:attrName>ppt_x</p:attrName>
                                        </p:attrNameLst>
                                      </p:cBhvr>
                                      <p:tavLst>
                                        <p:tav tm="0">
                                          <p:val>
                                            <p:strVal val="#ppt_x"/>
                                          </p:val>
                                        </p:tav>
                                        <p:tav tm="100000">
                                          <p:val>
                                            <p:strVal val="#ppt_x"/>
                                          </p:val>
                                        </p:tav>
                                      </p:tavLst>
                                    </p:anim>
                                    <p:anim calcmode="lin" valueType="num">
                                      <p:cBhvr>
                                        <p:cTn id="62" dur="1000" fill="hold"/>
                                        <p:tgtEl>
                                          <p:spTgt spid="21"/>
                                        </p:tgtEl>
                                        <p:attrNameLst>
                                          <p:attrName>ppt_y</p:attrName>
                                        </p:attrNameLst>
                                      </p:cBhvr>
                                      <p:tavLst>
                                        <p:tav tm="0">
                                          <p:val>
                                            <p:strVal val="#ppt_y+.1"/>
                                          </p:val>
                                        </p:tav>
                                        <p:tav tm="100000">
                                          <p:val>
                                            <p:strVal val="#ppt_y"/>
                                          </p:val>
                                        </p:tav>
                                      </p:tavLst>
                                    </p:anim>
                                  </p:childTnLst>
                                </p:cTn>
                              </p:par>
                            </p:childTnLst>
                          </p:cTn>
                        </p:par>
                      </p:childTnLst>
                    </p:cTn>
                  </p:par>
                  <p:par>
                    <p:cTn id="63" fill="hold">
                      <p:stCondLst>
                        <p:cond delay="indefinite"/>
                      </p:stCondLst>
                      <p:childTnLst>
                        <p:par>
                          <p:cTn id="64" fill="hold">
                            <p:stCondLst>
                              <p:cond delay="0"/>
                            </p:stCondLst>
                            <p:childTnLst>
                              <p:par>
                                <p:cTn id="65" presetID="10" presetClass="entr" presetSubtype="0" fill="hold" grpId="0" nodeType="clickEffect">
                                  <p:stCondLst>
                                    <p:cond delay="0"/>
                                  </p:stCondLst>
                                  <p:childTnLst>
                                    <p:set>
                                      <p:cBhvr>
                                        <p:cTn id="66" dur="1" fill="hold">
                                          <p:stCondLst>
                                            <p:cond delay="0"/>
                                          </p:stCondLst>
                                        </p:cTn>
                                        <p:tgtEl>
                                          <p:spTgt spid="24"/>
                                        </p:tgtEl>
                                        <p:attrNameLst>
                                          <p:attrName>style.visibility</p:attrName>
                                        </p:attrNameLst>
                                      </p:cBhvr>
                                      <p:to>
                                        <p:strVal val="visible"/>
                                      </p:to>
                                    </p:set>
                                    <p:animEffect transition="in" filter="fade">
                                      <p:cBhvr>
                                        <p:cTn id="67" dur="500"/>
                                        <p:tgtEl>
                                          <p:spTgt spid="24"/>
                                        </p:tgtEl>
                                      </p:cBhvr>
                                    </p:animEffect>
                                  </p:childTnLst>
                                </p:cTn>
                              </p:par>
                            </p:childTnLst>
                          </p:cTn>
                        </p:par>
                      </p:childTnLst>
                    </p:cTn>
                  </p:par>
                  <p:par>
                    <p:cTn id="68" fill="hold">
                      <p:stCondLst>
                        <p:cond delay="indefinite"/>
                      </p:stCondLst>
                      <p:childTnLst>
                        <p:par>
                          <p:cTn id="69" fill="hold">
                            <p:stCondLst>
                              <p:cond delay="0"/>
                            </p:stCondLst>
                            <p:childTnLst>
                              <p:par>
                                <p:cTn id="70" presetID="53" presetClass="entr" presetSubtype="16" fill="hold" nodeType="clickEffect">
                                  <p:stCondLst>
                                    <p:cond delay="0"/>
                                  </p:stCondLst>
                                  <p:childTnLst>
                                    <p:set>
                                      <p:cBhvr>
                                        <p:cTn id="71" dur="1" fill="hold">
                                          <p:stCondLst>
                                            <p:cond delay="0"/>
                                          </p:stCondLst>
                                        </p:cTn>
                                        <p:tgtEl>
                                          <p:spTgt spid="22"/>
                                        </p:tgtEl>
                                        <p:attrNameLst>
                                          <p:attrName>style.visibility</p:attrName>
                                        </p:attrNameLst>
                                      </p:cBhvr>
                                      <p:to>
                                        <p:strVal val="visible"/>
                                      </p:to>
                                    </p:set>
                                    <p:anim calcmode="lin" valueType="num">
                                      <p:cBhvr>
                                        <p:cTn id="72" dur="500" fill="hold"/>
                                        <p:tgtEl>
                                          <p:spTgt spid="22"/>
                                        </p:tgtEl>
                                        <p:attrNameLst>
                                          <p:attrName>ppt_w</p:attrName>
                                        </p:attrNameLst>
                                      </p:cBhvr>
                                      <p:tavLst>
                                        <p:tav tm="0">
                                          <p:val>
                                            <p:fltVal val="0"/>
                                          </p:val>
                                        </p:tav>
                                        <p:tav tm="100000">
                                          <p:val>
                                            <p:strVal val="#ppt_w"/>
                                          </p:val>
                                        </p:tav>
                                      </p:tavLst>
                                    </p:anim>
                                    <p:anim calcmode="lin" valueType="num">
                                      <p:cBhvr>
                                        <p:cTn id="73" dur="500" fill="hold"/>
                                        <p:tgtEl>
                                          <p:spTgt spid="22"/>
                                        </p:tgtEl>
                                        <p:attrNameLst>
                                          <p:attrName>ppt_h</p:attrName>
                                        </p:attrNameLst>
                                      </p:cBhvr>
                                      <p:tavLst>
                                        <p:tav tm="0">
                                          <p:val>
                                            <p:fltVal val="0"/>
                                          </p:val>
                                        </p:tav>
                                        <p:tav tm="100000">
                                          <p:val>
                                            <p:strVal val="#ppt_h"/>
                                          </p:val>
                                        </p:tav>
                                      </p:tavLst>
                                    </p:anim>
                                    <p:animEffect transition="in" filter="fade">
                                      <p:cBhvr>
                                        <p:cTn id="74" dur="500"/>
                                        <p:tgtEl>
                                          <p:spTgt spid="22"/>
                                        </p:tgtEl>
                                      </p:cBhvr>
                                    </p:animEffect>
                                  </p:childTnLst>
                                </p:cTn>
                              </p:par>
                              <p:par>
                                <p:cTn id="75" presetID="53" presetClass="entr" presetSubtype="16" fill="hold" grpId="0" nodeType="withEffect">
                                  <p:stCondLst>
                                    <p:cond delay="0"/>
                                  </p:stCondLst>
                                  <p:childTnLst>
                                    <p:set>
                                      <p:cBhvr>
                                        <p:cTn id="76" dur="1" fill="hold">
                                          <p:stCondLst>
                                            <p:cond delay="0"/>
                                          </p:stCondLst>
                                        </p:cTn>
                                        <p:tgtEl>
                                          <p:spTgt spid="20"/>
                                        </p:tgtEl>
                                        <p:attrNameLst>
                                          <p:attrName>style.visibility</p:attrName>
                                        </p:attrNameLst>
                                      </p:cBhvr>
                                      <p:to>
                                        <p:strVal val="visible"/>
                                      </p:to>
                                    </p:set>
                                    <p:anim calcmode="lin" valueType="num">
                                      <p:cBhvr>
                                        <p:cTn id="77" dur="500" fill="hold"/>
                                        <p:tgtEl>
                                          <p:spTgt spid="20"/>
                                        </p:tgtEl>
                                        <p:attrNameLst>
                                          <p:attrName>ppt_w</p:attrName>
                                        </p:attrNameLst>
                                      </p:cBhvr>
                                      <p:tavLst>
                                        <p:tav tm="0">
                                          <p:val>
                                            <p:fltVal val="0"/>
                                          </p:val>
                                        </p:tav>
                                        <p:tav tm="100000">
                                          <p:val>
                                            <p:strVal val="#ppt_w"/>
                                          </p:val>
                                        </p:tav>
                                      </p:tavLst>
                                    </p:anim>
                                    <p:anim calcmode="lin" valueType="num">
                                      <p:cBhvr>
                                        <p:cTn id="78" dur="500" fill="hold"/>
                                        <p:tgtEl>
                                          <p:spTgt spid="20"/>
                                        </p:tgtEl>
                                        <p:attrNameLst>
                                          <p:attrName>ppt_h</p:attrName>
                                        </p:attrNameLst>
                                      </p:cBhvr>
                                      <p:tavLst>
                                        <p:tav tm="0">
                                          <p:val>
                                            <p:fltVal val="0"/>
                                          </p:val>
                                        </p:tav>
                                        <p:tav tm="100000">
                                          <p:val>
                                            <p:strVal val="#ppt_h"/>
                                          </p:val>
                                        </p:tav>
                                      </p:tavLst>
                                    </p:anim>
                                    <p:animEffect transition="in" filter="fade">
                                      <p:cBhvr>
                                        <p:cTn id="79" dur="500"/>
                                        <p:tgtEl>
                                          <p:spTgt spid="20"/>
                                        </p:tgtEl>
                                      </p:cBhvr>
                                    </p:animEffect>
                                  </p:childTnLst>
                                </p:cTn>
                              </p:par>
                              <p:par>
                                <p:cTn id="80" presetID="53" presetClass="entr" presetSubtype="16" fill="hold" grpId="0" nodeType="withEffect">
                                  <p:stCondLst>
                                    <p:cond delay="0"/>
                                  </p:stCondLst>
                                  <p:childTnLst>
                                    <p:set>
                                      <p:cBhvr>
                                        <p:cTn id="81" dur="1" fill="hold">
                                          <p:stCondLst>
                                            <p:cond delay="0"/>
                                          </p:stCondLst>
                                        </p:cTn>
                                        <p:tgtEl>
                                          <p:spTgt spid="30"/>
                                        </p:tgtEl>
                                        <p:attrNameLst>
                                          <p:attrName>style.visibility</p:attrName>
                                        </p:attrNameLst>
                                      </p:cBhvr>
                                      <p:to>
                                        <p:strVal val="visible"/>
                                      </p:to>
                                    </p:set>
                                    <p:anim calcmode="lin" valueType="num">
                                      <p:cBhvr>
                                        <p:cTn id="82" dur="500" fill="hold"/>
                                        <p:tgtEl>
                                          <p:spTgt spid="30"/>
                                        </p:tgtEl>
                                        <p:attrNameLst>
                                          <p:attrName>ppt_w</p:attrName>
                                        </p:attrNameLst>
                                      </p:cBhvr>
                                      <p:tavLst>
                                        <p:tav tm="0">
                                          <p:val>
                                            <p:fltVal val="0"/>
                                          </p:val>
                                        </p:tav>
                                        <p:tav tm="100000">
                                          <p:val>
                                            <p:strVal val="#ppt_w"/>
                                          </p:val>
                                        </p:tav>
                                      </p:tavLst>
                                    </p:anim>
                                    <p:anim calcmode="lin" valueType="num">
                                      <p:cBhvr>
                                        <p:cTn id="83" dur="500" fill="hold"/>
                                        <p:tgtEl>
                                          <p:spTgt spid="30"/>
                                        </p:tgtEl>
                                        <p:attrNameLst>
                                          <p:attrName>ppt_h</p:attrName>
                                        </p:attrNameLst>
                                      </p:cBhvr>
                                      <p:tavLst>
                                        <p:tav tm="0">
                                          <p:val>
                                            <p:fltVal val="0"/>
                                          </p:val>
                                        </p:tav>
                                        <p:tav tm="100000">
                                          <p:val>
                                            <p:strVal val="#ppt_h"/>
                                          </p:val>
                                        </p:tav>
                                      </p:tavLst>
                                    </p:anim>
                                    <p:animEffect transition="in" filter="fade">
                                      <p:cBhvr>
                                        <p:cTn id="84" dur="500"/>
                                        <p:tgtEl>
                                          <p:spTgt spid="30"/>
                                        </p:tgtEl>
                                      </p:cBhvr>
                                    </p:animEffect>
                                  </p:childTnLst>
                                </p:cTn>
                              </p:par>
                              <p:par>
                                <p:cTn id="85" presetID="53" presetClass="entr" presetSubtype="16" fill="hold" nodeType="withEffect">
                                  <p:stCondLst>
                                    <p:cond delay="0"/>
                                  </p:stCondLst>
                                  <p:childTnLst>
                                    <p:set>
                                      <p:cBhvr>
                                        <p:cTn id="86" dur="1" fill="hold">
                                          <p:stCondLst>
                                            <p:cond delay="0"/>
                                          </p:stCondLst>
                                        </p:cTn>
                                        <p:tgtEl>
                                          <p:spTgt spid="23"/>
                                        </p:tgtEl>
                                        <p:attrNameLst>
                                          <p:attrName>style.visibility</p:attrName>
                                        </p:attrNameLst>
                                      </p:cBhvr>
                                      <p:to>
                                        <p:strVal val="visible"/>
                                      </p:to>
                                    </p:set>
                                    <p:anim calcmode="lin" valueType="num">
                                      <p:cBhvr>
                                        <p:cTn id="87" dur="500" fill="hold"/>
                                        <p:tgtEl>
                                          <p:spTgt spid="23"/>
                                        </p:tgtEl>
                                        <p:attrNameLst>
                                          <p:attrName>ppt_w</p:attrName>
                                        </p:attrNameLst>
                                      </p:cBhvr>
                                      <p:tavLst>
                                        <p:tav tm="0">
                                          <p:val>
                                            <p:fltVal val="0"/>
                                          </p:val>
                                        </p:tav>
                                        <p:tav tm="100000">
                                          <p:val>
                                            <p:strVal val="#ppt_w"/>
                                          </p:val>
                                        </p:tav>
                                      </p:tavLst>
                                    </p:anim>
                                    <p:anim calcmode="lin" valueType="num">
                                      <p:cBhvr>
                                        <p:cTn id="88" dur="500" fill="hold"/>
                                        <p:tgtEl>
                                          <p:spTgt spid="23"/>
                                        </p:tgtEl>
                                        <p:attrNameLst>
                                          <p:attrName>ppt_h</p:attrName>
                                        </p:attrNameLst>
                                      </p:cBhvr>
                                      <p:tavLst>
                                        <p:tav tm="0">
                                          <p:val>
                                            <p:fltVal val="0"/>
                                          </p:val>
                                        </p:tav>
                                        <p:tav tm="100000">
                                          <p:val>
                                            <p:strVal val="#ppt_h"/>
                                          </p:val>
                                        </p:tav>
                                      </p:tavLst>
                                    </p:anim>
                                    <p:animEffect transition="in" filter="fade">
                                      <p:cBhvr>
                                        <p:cTn id="89" dur="500"/>
                                        <p:tgtEl>
                                          <p:spTgt spid="23"/>
                                        </p:tgtEl>
                                      </p:cBhvr>
                                    </p:animEffect>
                                  </p:childTnLst>
                                </p:cTn>
                              </p:par>
                            </p:childTnLst>
                          </p:cTn>
                        </p:par>
                      </p:childTnLst>
                    </p:cTn>
                  </p:par>
                  <p:par>
                    <p:cTn id="90" fill="hold">
                      <p:stCondLst>
                        <p:cond delay="indefinite"/>
                      </p:stCondLst>
                      <p:childTnLst>
                        <p:par>
                          <p:cTn id="91" fill="hold">
                            <p:stCondLst>
                              <p:cond delay="0"/>
                            </p:stCondLst>
                            <p:childTnLst>
                              <p:par>
                                <p:cTn id="92" presetID="42" presetClass="entr" presetSubtype="0" fill="hold" grpId="0" nodeType="clickEffect">
                                  <p:stCondLst>
                                    <p:cond delay="0"/>
                                  </p:stCondLst>
                                  <p:childTnLst>
                                    <p:set>
                                      <p:cBhvr>
                                        <p:cTn id="93" dur="1" fill="hold">
                                          <p:stCondLst>
                                            <p:cond delay="0"/>
                                          </p:stCondLst>
                                        </p:cTn>
                                        <p:tgtEl>
                                          <p:spTgt spid="9"/>
                                        </p:tgtEl>
                                        <p:attrNameLst>
                                          <p:attrName>style.visibility</p:attrName>
                                        </p:attrNameLst>
                                      </p:cBhvr>
                                      <p:to>
                                        <p:strVal val="visible"/>
                                      </p:to>
                                    </p:set>
                                    <p:animEffect transition="in" filter="fade">
                                      <p:cBhvr>
                                        <p:cTn id="94" dur="1000"/>
                                        <p:tgtEl>
                                          <p:spTgt spid="9"/>
                                        </p:tgtEl>
                                      </p:cBhvr>
                                    </p:animEffect>
                                    <p:anim calcmode="lin" valueType="num">
                                      <p:cBhvr>
                                        <p:cTn id="95" dur="1000" fill="hold"/>
                                        <p:tgtEl>
                                          <p:spTgt spid="9"/>
                                        </p:tgtEl>
                                        <p:attrNameLst>
                                          <p:attrName>ppt_x</p:attrName>
                                        </p:attrNameLst>
                                      </p:cBhvr>
                                      <p:tavLst>
                                        <p:tav tm="0">
                                          <p:val>
                                            <p:strVal val="#ppt_x"/>
                                          </p:val>
                                        </p:tav>
                                        <p:tav tm="100000">
                                          <p:val>
                                            <p:strVal val="#ppt_x"/>
                                          </p:val>
                                        </p:tav>
                                      </p:tavLst>
                                    </p:anim>
                                    <p:anim calcmode="lin" valueType="num">
                                      <p:cBhvr>
                                        <p:cTn id="96" dur="1000" fill="hold"/>
                                        <p:tgtEl>
                                          <p:spTgt spid="9"/>
                                        </p:tgtEl>
                                        <p:attrNameLst>
                                          <p:attrName>ppt_y</p:attrName>
                                        </p:attrNameLst>
                                      </p:cBhvr>
                                      <p:tavLst>
                                        <p:tav tm="0">
                                          <p:val>
                                            <p:strVal val="#ppt_y+.1"/>
                                          </p:val>
                                        </p:tav>
                                        <p:tav tm="100000">
                                          <p:val>
                                            <p:strVal val="#ppt_y"/>
                                          </p:val>
                                        </p:tav>
                                      </p:tavLst>
                                    </p:anim>
                                  </p:childTnLst>
                                </p:cTn>
                              </p:par>
                            </p:childTnLst>
                          </p:cTn>
                        </p:par>
                      </p:childTnLst>
                    </p:cTn>
                  </p:par>
                  <p:par>
                    <p:cTn id="97" fill="hold">
                      <p:stCondLst>
                        <p:cond delay="indefinite"/>
                      </p:stCondLst>
                      <p:childTnLst>
                        <p:par>
                          <p:cTn id="98" fill="hold">
                            <p:stCondLst>
                              <p:cond delay="0"/>
                            </p:stCondLst>
                            <p:childTnLst>
                              <p:par>
                                <p:cTn id="99" presetID="53" presetClass="entr" presetSubtype="16" fill="hold" grpId="0" nodeType="clickEffect">
                                  <p:stCondLst>
                                    <p:cond delay="0"/>
                                  </p:stCondLst>
                                  <p:childTnLst>
                                    <p:set>
                                      <p:cBhvr>
                                        <p:cTn id="100" dur="1" fill="hold">
                                          <p:stCondLst>
                                            <p:cond delay="0"/>
                                          </p:stCondLst>
                                        </p:cTn>
                                        <p:tgtEl>
                                          <p:spTgt spid="11"/>
                                        </p:tgtEl>
                                        <p:attrNameLst>
                                          <p:attrName>style.visibility</p:attrName>
                                        </p:attrNameLst>
                                      </p:cBhvr>
                                      <p:to>
                                        <p:strVal val="visible"/>
                                      </p:to>
                                    </p:set>
                                    <p:anim calcmode="lin" valueType="num">
                                      <p:cBhvr>
                                        <p:cTn id="101" dur="500" fill="hold"/>
                                        <p:tgtEl>
                                          <p:spTgt spid="11"/>
                                        </p:tgtEl>
                                        <p:attrNameLst>
                                          <p:attrName>ppt_w</p:attrName>
                                        </p:attrNameLst>
                                      </p:cBhvr>
                                      <p:tavLst>
                                        <p:tav tm="0">
                                          <p:val>
                                            <p:fltVal val="0"/>
                                          </p:val>
                                        </p:tav>
                                        <p:tav tm="100000">
                                          <p:val>
                                            <p:strVal val="#ppt_w"/>
                                          </p:val>
                                        </p:tav>
                                      </p:tavLst>
                                    </p:anim>
                                    <p:anim calcmode="lin" valueType="num">
                                      <p:cBhvr>
                                        <p:cTn id="102" dur="500" fill="hold"/>
                                        <p:tgtEl>
                                          <p:spTgt spid="11"/>
                                        </p:tgtEl>
                                        <p:attrNameLst>
                                          <p:attrName>ppt_h</p:attrName>
                                        </p:attrNameLst>
                                      </p:cBhvr>
                                      <p:tavLst>
                                        <p:tav tm="0">
                                          <p:val>
                                            <p:fltVal val="0"/>
                                          </p:val>
                                        </p:tav>
                                        <p:tav tm="100000">
                                          <p:val>
                                            <p:strVal val="#ppt_h"/>
                                          </p:val>
                                        </p:tav>
                                      </p:tavLst>
                                    </p:anim>
                                    <p:animEffect transition="in" filter="fade">
                                      <p:cBhvr>
                                        <p:cTn id="103" dur="500"/>
                                        <p:tgtEl>
                                          <p:spTgt spid="11"/>
                                        </p:tgtEl>
                                      </p:cBhvr>
                                    </p:animEffect>
                                  </p:childTnLst>
                                </p:cTn>
                              </p:par>
                            </p:childTnLst>
                          </p:cTn>
                        </p:par>
                      </p:childTnLst>
                    </p:cTn>
                  </p:par>
                  <p:par>
                    <p:cTn id="104" fill="hold">
                      <p:stCondLst>
                        <p:cond delay="indefinite"/>
                      </p:stCondLst>
                      <p:childTnLst>
                        <p:par>
                          <p:cTn id="105" fill="hold">
                            <p:stCondLst>
                              <p:cond delay="0"/>
                            </p:stCondLst>
                            <p:childTnLst>
                              <p:par>
                                <p:cTn id="106" presetID="2" presetClass="entr" presetSubtype="4" fill="hold" grpId="0" nodeType="clickEffect">
                                  <p:stCondLst>
                                    <p:cond delay="0"/>
                                  </p:stCondLst>
                                  <p:childTnLst>
                                    <p:set>
                                      <p:cBhvr>
                                        <p:cTn id="107" dur="1" fill="hold">
                                          <p:stCondLst>
                                            <p:cond delay="0"/>
                                          </p:stCondLst>
                                        </p:cTn>
                                        <p:tgtEl>
                                          <p:spTgt spid="63"/>
                                        </p:tgtEl>
                                        <p:attrNameLst>
                                          <p:attrName>style.visibility</p:attrName>
                                        </p:attrNameLst>
                                      </p:cBhvr>
                                      <p:to>
                                        <p:strVal val="visible"/>
                                      </p:to>
                                    </p:set>
                                    <p:anim calcmode="lin" valueType="num">
                                      <p:cBhvr additive="base">
                                        <p:cTn id="108" dur="500" fill="hold"/>
                                        <p:tgtEl>
                                          <p:spTgt spid="63"/>
                                        </p:tgtEl>
                                        <p:attrNameLst>
                                          <p:attrName>ppt_x</p:attrName>
                                        </p:attrNameLst>
                                      </p:cBhvr>
                                      <p:tavLst>
                                        <p:tav tm="0">
                                          <p:val>
                                            <p:strVal val="#ppt_x"/>
                                          </p:val>
                                        </p:tav>
                                        <p:tav tm="100000">
                                          <p:val>
                                            <p:strVal val="#ppt_x"/>
                                          </p:val>
                                        </p:tav>
                                      </p:tavLst>
                                    </p:anim>
                                    <p:anim calcmode="lin" valueType="num">
                                      <p:cBhvr additive="base">
                                        <p:cTn id="109" dur="500" fill="hold"/>
                                        <p:tgtEl>
                                          <p:spTgt spid="63"/>
                                        </p:tgtEl>
                                        <p:attrNameLst>
                                          <p:attrName>ppt_y</p:attrName>
                                        </p:attrNameLst>
                                      </p:cBhvr>
                                      <p:tavLst>
                                        <p:tav tm="0">
                                          <p:val>
                                            <p:strVal val="1+#ppt_h/2"/>
                                          </p:val>
                                        </p:tav>
                                        <p:tav tm="100000">
                                          <p:val>
                                            <p:strVal val="#ppt_y"/>
                                          </p:val>
                                        </p:tav>
                                      </p:tavLst>
                                    </p:anim>
                                  </p:childTnLst>
                                </p:cTn>
                              </p:par>
                            </p:childTnLst>
                          </p:cTn>
                        </p:par>
                      </p:childTnLst>
                    </p:cTn>
                  </p:par>
                  <p:par>
                    <p:cTn id="110" fill="hold">
                      <p:stCondLst>
                        <p:cond delay="indefinite"/>
                      </p:stCondLst>
                      <p:childTnLst>
                        <p:par>
                          <p:cTn id="111" fill="hold">
                            <p:stCondLst>
                              <p:cond delay="0"/>
                            </p:stCondLst>
                            <p:childTnLst>
                              <p:par>
                                <p:cTn id="112" presetID="10" presetClass="entr" presetSubtype="0" fill="hold" grpId="0" nodeType="clickEffect">
                                  <p:stCondLst>
                                    <p:cond delay="0"/>
                                  </p:stCondLst>
                                  <p:childTnLst>
                                    <p:set>
                                      <p:cBhvr>
                                        <p:cTn id="113" dur="1" fill="hold">
                                          <p:stCondLst>
                                            <p:cond delay="0"/>
                                          </p:stCondLst>
                                        </p:cTn>
                                        <p:tgtEl>
                                          <p:spTgt spid="69"/>
                                        </p:tgtEl>
                                        <p:attrNameLst>
                                          <p:attrName>style.visibility</p:attrName>
                                        </p:attrNameLst>
                                      </p:cBhvr>
                                      <p:to>
                                        <p:strVal val="visible"/>
                                      </p:to>
                                    </p:set>
                                    <p:animEffect transition="in" filter="fade">
                                      <p:cBhvr>
                                        <p:cTn id="114" dur="500"/>
                                        <p:tgtEl>
                                          <p:spTgt spid="69"/>
                                        </p:tgtEl>
                                      </p:cBhvr>
                                    </p:animEffect>
                                  </p:childTnLst>
                                </p:cTn>
                              </p:par>
                            </p:childTnLst>
                          </p:cTn>
                        </p:par>
                      </p:childTnLst>
                    </p:cTn>
                  </p:par>
                  <p:par>
                    <p:cTn id="115" fill="hold">
                      <p:stCondLst>
                        <p:cond delay="indefinite"/>
                      </p:stCondLst>
                      <p:childTnLst>
                        <p:par>
                          <p:cTn id="116" fill="hold">
                            <p:stCondLst>
                              <p:cond delay="0"/>
                            </p:stCondLst>
                            <p:childTnLst>
                              <p:par>
                                <p:cTn id="117" presetID="16" presetClass="entr" presetSubtype="21" fill="hold" nodeType="clickEffect">
                                  <p:stCondLst>
                                    <p:cond delay="0"/>
                                  </p:stCondLst>
                                  <p:childTnLst>
                                    <p:set>
                                      <p:cBhvr>
                                        <p:cTn id="118" dur="1" fill="hold">
                                          <p:stCondLst>
                                            <p:cond delay="0"/>
                                          </p:stCondLst>
                                        </p:cTn>
                                        <p:tgtEl>
                                          <p:spTgt spid="62"/>
                                        </p:tgtEl>
                                        <p:attrNameLst>
                                          <p:attrName>style.visibility</p:attrName>
                                        </p:attrNameLst>
                                      </p:cBhvr>
                                      <p:to>
                                        <p:strVal val="visible"/>
                                      </p:to>
                                    </p:set>
                                    <p:animEffect transition="in" filter="barn(inVertical)">
                                      <p:cBhvr>
                                        <p:cTn id="119" dur="500"/>
                                        <p:tgtEl>
                                          <p:spTgt spid="62"/>
                                        </p:tgtEl>
                                      </p:cBhvr>
                                    </p:animEffect>
                                  </p:childTnLst>
                                </p:cTn>
                              </p:par>
                            </p:childTnLst>
                          </p:cTn>
                        </p:par>
                      </p:childTnLst>
                    </p:cTn>
                  </p:par>
                  <p:par>
                    <p:cTn id="120" fill="hold">
                      <p:stCondLst>
                        <p:cond delay="indefinite"/>
                      </p:stCondLst>
                      <p:childTnLst>
                        <p:par>
                          <p:cTn id="121" fill="hold">
                            <p:stCondLst>
                              <p:cond delay="0"/>
                            </p:stCondLst>
                            <p:childTnLst>
                              <p:par>
                                <p:cTn id="122" presetID="2" presetClass="entr" presetSubtype="4" fill="hold" grpId="0" nodeType="clickEffect">
                                  <p:stCondLst>
                                    <p:cond delay="0"/>
                                  </p:stCondLst>
                                  <p:childTnLst>
                                    <p:set>
                                      <p:cBhvr>
                                        <p:cTn id="123" dur="1" fill="hold">
                                          <p:stCondLst>
                                            <p:cond delay="0"/>
                                          </p:stCondLst>
                                        </p:cTn>
                                        <p:tgtEl>
                                          <p:spTgt spid="75"/>
                                        </p:tgtEl>
                                        <p:attrNameLst>
                                          <p:attrName>style.visibility</p:attrName>
                                        </p:attrNameLst>
                                      </p:cBhvr>
                                      <p:to>
                                        <p:strVal val="visible"/>
                                      </p:to>
                                    </p:set>
                                    <p:anim calcmode="lin" valueType="num">
                                      <p:cBhvr additive="base">
                                        <p:cTn id="124" dur="500" fill="hold"/>
                                        <p:tgtEl>
                                          <p:spTgt spid="75"/>
                                        </p:tgtEl>
                                        <p:attrNameLst>
                                          <p:attrName>ppt_x</p:attrName>
                                        </p:attrNameLst>
                                      </p:cBhvr>
                                      <p:tavLst>
                                        <p:tav tm="0">
                                          <p:val>
                                            <p:strVal val="#ppt_x"/>
                                          </p:val>
                                        </p:tav>
                                        <p:tav tm="100000">
                                          <p:val>
                                            <p:strVal val="#ppt_x"/>
                                          </p:val>
                                        </p:tav>
                                      </p:tavLst>
                                    </p:anim>
                                    <p:anim calcmode="lin" valueType="num">
                                      <p:cBhvr additive="base">
                                        <p:cTn id="125" dur="500" fill="hold"/>
                                        <p:tgtEl>
                                          <p:spTgt spid="75"/>
                                        </p:tgtEl>
                                        <p:attrNameLst>
                                          <p:attrName>ppt_y</p:attrName>
                                        </p:attrNameLst>
                                      </p:cBhvr>
                                      <p:tavLst>
                                        <p:tav tm="0">
                                          <p:val>
                                            <p:strVal val="1+#ppt_h/2"/>
                                          </p:val>
                                        </p:tav>
                                        <p:tav tm="100000">
                                          <p:val>
                                            <p:strVal val="#ppt_y"/>
                                          </p:val>
                                        </p:tav>
                                      </p:tavLst>
                                    </p:anim>
                                  </p:childTnLst>
                                </p:cTn>
                              </p:par>
                              <p:par>
                                <p:cTn id="126" presetID="10" presetClass="entr" presetSubtype="0" fill="hold" grpId="0" nodeType="withEffect">
                                  <p:stCondLst>
                                    <p:cond delay="0"/>
                                  </p:stCondLst>
                                  <p:childTnLst>
                                    <p:set>
                                      <p:cBhvr>
                                        <p:cTn id="127" dur="1" fill="hold">
                                          <p:stCondLst>
                                            <p:cond delay="0"/>
                                          </p:stCondLst>
                                        </p:cTn>
                                        <p:tgtEl>
                                          <p:spTgt spid="77"/>
                                        </p:tgtEl>
                                        <p:attrNameLst>
                                          <p:attrName>style.visibility</p:attrName>
                                        </p:attrNameLst>
                                      </p:cBhvr>
                                      <p:to>
                                        <p:strVal val="visible"/>
                                      </p:to>
                                    </p:set>
                                    <p:animEffect transition="in" filter="fade">
                                      <p:cBhvr>
                                        <p:cTn id="128" dur="500"/>
                                        <p:tgtEl>
                                          <p:spTgt spid="77"/>
                                        </p:tgtEl>
                                      </p:cBhvr>
                                    </p:animEffect>
                                  </p:childTnLst>
                                </p:cTn>
                              </p:par>
                            </p:childTnLst>
                          </p:cTn>
                        </p:par>
                      </p:childTnLst>
                    </p:cTn>
                  </p:par>
                  <p:par>
                    <p:cTn id="129" fill="hold">
                      <p:stCondLst>
                        <p:cond delay="indefinite"/>
                      </p:stCondLst>
                      <p:childTnLst>
                        <p:par>
                          <p:cTn id="130" fill="hold">
                            <p:stCondLst>
                              <p:cond delay="0"/>
                            </p:stCondLst>
                            <p:childTnLst>
                              <p:par>
                                <p:cTn id="131" presetID="53" presetClass="entr" presetSubtype="16" fill="hold" grpId="0" nodeType="clickEffect">
                                  <p:stCondLst>
                                    <p:cond delay="0"/>
                                  </p:stCondLst>
                                  <p:childTnLst>
                                    <p:set>
                                      <p:cBhvr>
                                        <p:cTn id="132" dur="1" fill="hold">
                                          <p:stCondLst>
                                            <p:cond delay="0"/>
                                          </p:stCondLst>
                                        </p:cTn>
                                        <p:tgtEl>
                                          <p:spTgt spid="79"/>
                                        </p:tgtEl>
                                        <p:attrNameLst>
                                          <p:attrName>style.visibility</p:attrName>
                                        </p:attrNameLst>
                                      </p:cBhvr>
                                      <p:to>
                                        <p:strVal val="visible"/>
                                      </p:to>
                                    </p:set>
                                    <p:anim calcmode="lin" valueType="num">
                                      <p:cBhvr>
                                        <p:cTn id="133" dur="500" fill="hold"/>
                                        <p:tgtEl>
                                          <p:spTgt spid="79"/>
                                        </p:tgtEl>
                                        <p:attrNameLst>
                                          <p:attrName>ppt_w</p:attrName>
                                        </p:attrNameLst>
                                      </p:cBhvr>
                                      <p:tavLst>
                                        <p:tav tm="0">
                                          <p:val>
                                            <p:fltVal val="0"/>
                                          </p:val>
                                        </p:tav>
                                        <p:tav tm="100000">
                                          <p:val>
                                            <p:strVal val="#ppt_w"/>
                                          </p:val>
                                        </p:tav>
                                      </p:tavLst>
                                    </p:anim>
                                    <p:anim calcmode="lin" valueType="num">
                                      <p:cBhvr>
                                        <p:cTn id="134" dur="500" fill="hold"/>
                                        <p:tgtEl>
                                          <p:spTgt spid="79"/>
                                        </p:tgtEl>
                                        <p:attrNameLst>
                                          <p:attrName>ppt_h</p:attrName>
                                        </p:attrNameLst>
                                      </p:cBhvr>
                                      <p:tavLst>
                                        <p:tav tm="0">
                                          <p:val>
                                            <p:fltVal val="0"/>
                                          </p:val>
                                        </p:tav>
                                        <p:tav tm="100000">
                                          <p:val>
                                            <p:strVal val="#ppt_h"/>
                                          </p:val>
                                        </p:tav>
                                      </p:tavLst>
                                    </p:anim>
                                    <p:animEffect transition="in" filter="fade">
                                      <p:cBhvr>
                                        <p:cTn id="135" dur="500"/>
                                        <p:tgtEl>
                                          <p:spTgt spid="79"/>
                                        </p:tgtEl>
                                      </p:cBhvr>
                                    </p:animEffect>
                                  </p:childTnLst>
                                </p:cTn>
                              </p:par>
                            </p:childTnLst>
                          </p:cTn>
                        </p:par>
                      </p:childTnLst>
                    </p:cTn>
                  </p:par>
                  <p:par>
                    <p:cTn id="136" fill="hold">
                      <p:stCondLst>
                        <p:cond delay="indefinite"/>
                      </p:stCondLst>
                      <p:childTnLst>
                        <p:par>
                          <p:cTn id="137" fill="hold">
                            <p:stCondLst>
                              <p:cond delay="0"/>
                            </p:stCondLst>
                            <p:childTnLst>
                              <p:par>
                                <p:cTn id="138" presetID="16" presetClass="entr" presetSubtype="21" fill="hold" nodeType="clickEffect">
                                  <p:stCondLst>
                                    <p:cond delay="0"/>
                                  </p:stCondLst>
                                  <p:childTnLst>
                                    <p:set>
                                      <p:cBhvr>
                                        <p:cTn id="139" dur="1" fill="hold">
                                          <p:stCondLst>
                                            <p:cond delay="0"/>
                                          </p:stCondLst>
                                        </p:cTn>
                                        <p:tgtEl>
                                          <p:spTgt spid="76"/>
                                        </p:tgtEl>
                                        <p:attrNameLst>
                                          <p:attrName>style.visibility</p:attrName>
                                        </p:attrNameLst>
                                      </p:cBhvr>
                                      <p:to>
                                        <p:strVal val="visible"/>
                                      </p:to>
                                    </p:set>
                                    <p:animEffect transition="in" filter="barn(inVertical)">
                                      <p:cBhvr>
                                        <p:cTn id="140" dur="500"/>
                                        <p:tgtEl>
                                          <p:spTgt spid="76"/>
                                        </p:tgtEl>
                                      </p:cBhvr>
                                    </p:animEffect>
                                  </p:childTnLst>
                                </p:cTn>
                              </p:par>
                            </p:childTnLst>
                          </p:cTn>
                        </p:par>
                      </p:childTnLst>
                    </p:cTn>
                  </p:par>
                  <p:par>
                    <p:cTn id="141" fill="hold">
                      <p:stCondLst>
                        <p:cond delay="indefinite"/>
                      </p:stCondLst>
                      <p:childTnLst>
                        <p:par>
                          <p:cTn id="142" fill="hold">
                            <p:stCondLst>
                              <p:cond delay="0"/>
                            </p:stCondLst>
                            <p:childTnLst>
                              <p:par>
                                <p:cTn id="143" presetID="42" presetClass="entr" presetSubtype="0" fill="hold" grpId="0" nodeType="clickEffect">
                                  <p:stCondLst>
                                    <p:cond delay="0"/>
                                  </p:stCondLst>
                                  <p:childTnLst>
                                    <p:set>
                                      <p:cBhvr>
                                        <p:cTn id="144" dur="1" fill="hold">
                                          <p:stCondLst>
                                            <p:cond delay="0"/>
                                          </p:stCondLst>
                                        </p:cTn>
                                        <p:tgtEl>
                                          <p:spTgt spid="65"/>
                                        </p:tgtEl>
                                        <p:attrNameLst>
                                          <p:attrName>style.visibility</p:attrName>
                                        </p:attrNameLst>
                                      </p:cBhvr>
                                      <p:to>
                                        <p:strVal val="visible"/>
                                      </p:to>
                                    </p:set>
                                    <p:animEffect transition="in" filter="fade">
                                      <p:cBhvr>
                                        <p:cTn id="145" dur="1000"/>
                                        <p:tgtEl>
                                          <p:spTgt spid="65"/>
                                        </p:tgtEl>
                                      </p:cBhvr>
                                    </p:animEffect>
                                    <p:anim calcmode="lin" valueType="num">
                                      <p:cBhvr>
                                        <p:cTn id="146" dur="1000" fill="hold"/>
                                        <p:tgtEl>
                                          <p:spTgt spid="65"/>
                                        </p:tgtEl>
                                        <p:attrNameLst>
                                          <p:attrName>ppt_x</p:attrName>
                                        </p:attrNameLst>
                                      </p:cBhvr>
                                      <p:tavLst>
                                        <p:tav tm="0">
                                          <p:val>
                                            <p:strVal val="#ppt_x"/>
                                          </p:val>
                                        </p:tav>
                                        <p:tav tm="100000">
                                          <p:val>
                                            <p:strVal val="#ppt_x"/>
                                          </p:val>
                                        </p:tav>
                                      </p:tavLst>
                                    </p:anim>
                                    <p:anim calcmode="lin" valueType="num">
                                      <p:cBhvr>
                                        <p:cTn id="147" dur="1000" fill="hold"/>
                                        <p:tgtEl>
                                          <p:spTgt spid="65"/>
                                        </p:tgtEl>
                                        <p:attrNameLst>
                                          <p:attrName>ppt_y</p:attrName>
                                        </p:attrNameLst>
                                      </p:cBhvr>
                                      <p:tavLst>
                                        <p:tav tm="0">
                                          <p:val>
                                            <p:strVal val="#ppt_y+.1"/>
                                          </p:val>
                                        </p:tav>
                                        <p:tav tm="100000">
                                          <p:val>
                                            <p:strVal val="#ppt_y"/>
                                          </p:val>
                                        </p:tav>
                                      </p:tavLst>
                                    </p:anim>
                                  </p:childTnLst>
                                </p:cTn>
                              </p:par>
                            </p:childTnLst>
                          </p:cTn>
                        </p:par>
                      </p:childTnLst>
                    </p:cTn>
                  </p:par>
                  <p:par>
                    <p:cTn id="148" fill="hold">
                      <p:stCondLst>
                        <p:cond delay="indefinite"/>
                      </p:stCondLst>
                      <p:childTnLst>
                        <p:par>
                          <p:cTn id="149" fill="hold">
                            <p:stCondLst>
                              <p:cond delay="0"/>
                            </p:stCondLst>
                            <p:childTnLst>
                              <p:par>
                                <p:cTn id="150" presetID="10" presetClass="entr" presetSubtype="0" fill="hold" grpId="0" nodeType="clickEffect">
                                  <p:stCondLst>
                                    <p:cond delay="0"/>
                                  </p:stCondLst>
                                  <p:childTnLst>
                                    <p:set>
                                      <p:cBhvr>
                                        <p:cTn id="151" dur="1" fill="hold">
                                          <p:stCondLst>
                                            <p:cond delay="0"/>
                                          </p:stCondLst>
                                        </p:cTn>
                                        <p:tgtEl>
                                          <p:spTgt spid="67"/>
                                        </p:tgtEl>
                                        <p:attrNameLst>
                                          <p:attrName>style.visibility</p:attrName>
                                        </p:attrNameLst>
                                      </p:cBhvr>
                                      <p:to>
                                        <p:strVal val="visible"/>
                                      </p:to>
                                    </p:set>
                                    <p:animEffect transition="in" filter="fade">
                                      <p:cBhvr>
                                        <p:cTn id="152" dur="500"/>
                                        <p:tgtEl>
                                          <p:spTgt spid="67"/>
                                        </p:tgtEl>
                                      </p:cBhvr>
                                    </p:animEffect>
                                  </p:childTnLst>
                                </p:cTn>
                              </p:par>
                            </p:childTnLst>
                          </p:cTn>
                        </p:par>
                      </p:childTnLst>
                    </p:cTn>
                  </p:par>
                  <p:par>
                    <p:cTn id="153" fill="hold">
                      <p:stCondLst>
                        <p:cond delay="indefinite"/>
                      </p:stCondLst>
                      <p:childTnLst>
                        <p:par>
                          <p:cTn id="154" fill="hold">
                            <p:stCondLst>
                              <p:cond delay="0"/>
                            </p:stCondLst>
                            <p:childTnLst>
                              <p:par>
                                <p:cTn id="155" presetID="53" presetClass="entr" presetSubtype="16" fill="hold" nodeType="clickEffect">
                                  <p:stCondLst>
                                    <p:cond delay="0"/>
                                  </p:stCondLst>
                                  <p:childTnLst>
                                    <p:set>
                                      <p:cBhvr>
                                        <p:cTn id="156" dur="1" fill="hold">
                                          <p:stCondLst>
                                            <p:cond delay="0"/>
                                          </p:stCondLst>
                                        </p:cTn>
                                        <p:tgtEl>
                                          <p:spTgt spid="66"/>
                                        </p:tgtEl>
                                        <p:attrNameLst>
                                          <p:attrName>style.visibility</p:attrName>
                                        </p:attrNameLst>
                                      </p:cBhvr>
                                      <p:to>
                                        <p:strVal val="visible"/>
                                      </p:to>
                                    </p:set>
                                    <p:anim calcmode="lin" valueType="num">
                                      <p:cBhvr>
                                        <p:cTn id="157" dur="500" fill="hold"/>
                                        <p:tgtEl>
                                          <p:spTgt spid="66"/>
                                        </p:tgtEl>
                                        <p:attrNameLst>
                                          <p:attrName>ppt_w</p:attrName>
                                        </p:attrNameLst>
                                      </p:cBhvr>
                                      <p:tavLst>
                                        <p:tav tm="0">
                                          <p:val>
                                            <p:fltVal val="0"/>
                                          </p:val>
                                        </p:tav>
                                        <p:tav tm="100000">
                                          <p:val>
                                            <p:strVal val="#ppt_w"/>
                                          </p:val>
                                        </p:tav>
                                      </p:tavLst>
                                    </p:anim>
                                    <p:anim calcmode="lin" valueType="num">
                                      <p:cBhvr>
                                        <p:cTn id="158" dur="500" fill="hold"/>
                                        <p:tgtEl>
                                          <p:spTgt spid="66"/>
                                        </p:tgtEl>
                                        <p:attrNameLst>
                                          <p:attrName>ppt_h</p:attrName>
                                        </p:attrNameLst>
                                      </p:cBhvr>
                                      <p:tavLst>
                                        <p:tav tm="0">
                                          <p:val>
                                            <p:fltVal val="0"/>
                                          </p:val>
                                        </p:tav>
                                        <p:tav tm="100000">
                                          <p:val>
                                            <p:strVal val="#ppt_h"/>
                                          </p:val>
                                        </p:tav>
                                      </p:tavLst>
                                    </p:anim>
                                    <p:animEffect transition="in" filter="fade">
                                      <p:cBhvr>
                                        <p:cTn id="159" dur="500"/>
                                        <p:tgtEl>
                                          <p:spTgt spid="66"/>
                                        </p:tgtEl>
                                      </p:cBhvr>
                                    </p:animEffect>
                                  </p:childTnLst>
                                </p:cTn>
                              </p:par>
                              <p:par>
                                <p:cTn id="160" presetID="53" presetClass="entr" presetSubtype="16" fill="hold" grpId="0" nodeType="withEffect">
                                  <p:stCondLst>
                                    <p:cond delay="0"/>
                                  </p:stCondLst>
                                  <p:childTnLst>
                                    <p:set>
                                      <p:cBhvr>
                                        <p:cTn id="161" dur="1" fill="hold">
                                          <p:stCondLst>
                                            <p:cond delay="0"/>
                                          </p:stCondLst>
                                        </p:cTn>
                                        <p:tgtEl>
                                          <p:spTgt spid="64"/>
                                        </p:tgtEl>
                                        <p:attrNameLst>
                                          <p:attrName>style.visibility</p:attrName>
                                        </p:attrNameLst>
                                      </p:cBhvr>
                                      <p:to>
                                        <p:strVal val="visible"/>
                                      </p:to>
                                    </p:set>
                                    <p:anim calcmode="lin" valueType="num">
                                      <p:cBhvr>
                                        <p:cTn id="162" dur="500" fill="hold"/>
                                        <p:tgtEl>
                                          <p:spTgt spid="64"/>
                                        </p:tgtEl>
                                        <p:attrNameLst>
                                          <p:attrName>ppt_w</p:attrName>
                                        </p:attrNameLst>
                                      </p:cBhvr>
                                      <p:tavLst>
                                        <p:tav tm="0">
                                          <p:val>
                                            <p:fltVal val="0"/>
                                          </p:val>
                                        </p:tav>
                                        <p:tav tm="100000">
                                          <p:val>
                                            <p:strVal val="#ppt_w"/>
                                          </p:val>
                                        </p:tav>
                                      </p:tavLst>
                                    </p:anim>
                                    <p:anim calcmode="lin" valueType="num">
                                      <p:cBhvr>
                                        <p:cTn id="163" dur="500" fill="hold"/>
                                        <p:tgtEl>
                                          <p:spTgt spid="64"/>
                                        </p:tgtEl>
                                        <p:attrNameLst>
                                          <p:attrName>ppt_h</p:attrName>
                                        </p:attrNameLst>
                                      </p:cBhvr>
                                      <p:tavLst>
                                        <p:tav tm="0">
                                          <p:val>
                                            <p:fltVal val="0"/>
                                          </p:val>
                                        </p:tav>
                                        <p:tav tm="100000">
                                          <p:val>
                                            <p:strVal val="#ppt_h"/>
                                          </p:val>
                                        </p:tav>
                                      </p:tavLst>
                                    </p:anim>
                                    <p:animEffect transition="in" filter="fade">
                                      <p:cBhvr>
                                        <p:cTn id="164" dur="500"/>
                                        <p:tgtEl>
                                          <p:spTgt spid="64"/>
                                        </p:tgtEl>
                                      </p:cBhvr>
                                    </p:animEffect>
                                  </p:childTnLst>
                                </p:cTn>
                              </p:par>
                              <p:par>
                                <p:cTn id="165" presetID="53" presetClass="entr" presetSubtype="16" fill="hold" grpId="0" nodeType="withEffect">
                                  <p:stCondLst>
                                    <p:cond delay="0"/>
                                  </p:stCondLst>
                                  <p:childTnLst>
                                    <p:set>
                                      <p:cBhvr>
                                        <p:cTn id="166" dur="1" fill="hold">
                                          <p:stCondLst>
                                            <p:cond delay="0"/>
                                          </p:stCondLst>
                                        </p:cTn>
                                        <p:tgtEl>
                                          <p:spTgt spid="68"/>
                                        </p:tgtEl>
                                        <p:attrNameLst>
                                          <p:attrName>style.visibility</p:attrName>
                                        </p:attrNameLst>
                                      </p:cBhvr>
                                      <p:to>
                                        <p:strVal val="visible"/>
                                      </p:to>
                                    </p:set>
                                    <p:anim calcmode="lin" valueType="num">
                                      <p:cBhvr>
                                        <p:cTn id="167" dur="500" fill="hold"/>
                                        <p:tgtEl>
                                          <p:spTgt spid="68"/>
                                        </p:tgtEl>
                                        <p:attrNameLst>
                                          <p:attrName>ppt_w</p:attrName>
                                        </p:attrNameLst>
                                      </p:cBhvr>
                                      <p:tavLst>
                                        <p:tav tm="0">
                                          <p:val>
                                            <p:fltVal val="0"/>
                                          </p:val>
                                        </p:tav>
                                        <p:tav tm="100000">
                                          <p:val>
                                            <p:strVal val="#ppt_w"/>
                                          </p:val>
                                        </p:tav>
                                      </p:tavLst>
                                    </p:anim>
                                    <p:anim calcmode="lin" valueType="num">
                                      <p:cBhvr>
                                        <p:cTn id="168" dur="500" fill="hold"/>
                                        <p:tgtEl>
                                          <p:spTgt spid="68"/>
                                        </p:tgtEl>
                                        <p:attrNameLst>
                                          <p:attrName>ppt_h</p:attrName>
                                        </p:attrNameLst>
                                      </p:cBhvr>
                                      <p:tavLst>
                                        <p:tav tm="0">
                                          <p:val>
                                            <p:fltVal val="0"/>
                                          </p:val>
                                        </p:tav>
                                        <p:tav tm="100000">
                                          <p:val>
                                            <p:strVal val="#ppt_h"/>
                                          </p:val>
                                        </p:tav>
                                      </p:tavLst>
                                    </p:anim>
                                    <p:animEffect transition="in" filter="fade">
                                      <p:cBhvr>
                                        <p:cTn id="169" dur="500"/>
                                        <p:tgtEl>
                                          <p:spTgt spid="68"/>
                                        </p:tgtEl>
                                      </p:cBhvr>
                                    </p:animEffect>
                                  </p:childTnLst>
                                </p:cTn>
                              </p:par>
                              <p:par>
                                <p:cTn id="170" presetID="53" presetClass="entr" presetSubtype="16" fill="hold" nodeType="withEffect">
                                  <p:stCondLst>
                                    <p:cond delay="0"/>
                                  </p:stCondLst>
                                  <p:childTnLst>
                                    <p:set>
                                      <p:cBhvr>
                                        <p:cTn id="171" dur="1" fill="hold">
                                          <p:stCondLst>
                                            <p:cond delay="0"/>
                                          </p:stCondLst>
                                        </p:cTn>
                                        <p:tgtEl>
                                          <p:spTgt spid="80"/>
                                        </p:tgtEl>
                                        <p:attrNameLst>
                                          <p:attrName>style.visibility</p:attrName>
                                        </p:attrNameLst>
                                      </p:cBhvr>
                                      <p:to>
                                        <p:strVal val="visible"/>
                                      </p:to>
                                    </p:set>
                                    <p:anim calcmode="lin" valueType="num">
                                      <p:cBhvr>
                                        <p:cTn id="172" dur="500" fill="hold"/>
                                        <p:tgtEl>
                                          <p:spTgt spid="80"/>
                                        </p:tgtEl>
                                        <p:attrNameLst>
                                          <p:attrName>ppt_w</p:attrName>
                                        </p:attrNameLst>
                                      </p:cBhvr>
                                      <p:tavLst>
                                        <p:tav tm="0">
                                          <p:val>
                                            <p:fltVal val="0"/>
                                          </p:val>
                                        </p:tav>
                                        <p:tav tm="100000">
                                          <p:val>
                                            <p:strVal val="#ppt_w"/>
                                          </p:val>
                                        </p:tav>
                                      </p:tavLst>
                                    </p:anim>
                                    <p:anim calcmode="lin" valueType="num">
                                      <p:cBhvr>
                                        <p:cTn id="173" dur="500" fill="hold"/>
                                        <p:tgtEl>
                                          <p:spTgt spid="80"/>
                                        </p:tgtEl>
                                        <p:attrNameLst>
                                          <p:attrName>ppt_h</p:attrName>
                                        </p:attrNameLst>
                                      </p:cBhvr>
                                      <p:tavLst>
                                        <p:tav tm="0">
                                          <p:val>
                                            <p:fltVal val="0"/>
                                          </p:val>
                                        </p:tav>
                                        <p:tav tm="100000">
                                          <p:val>
                                            <p:strVal val="#ppt_h"/>
                                          </p:val>
                                        </p:tav>
                                      </p:tavLst>
                                    </p:anim>
                                    <p:animEffect transition="in" filter="fade">
                                      <p:cBhvr>
                                        <p:cTn id="174" dur="500"/>
                                        <p:tgtEl>
                                          <p:spTgt spid="8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11" grpId="0" animBg="1"/>
      <p:bldP spid="13" grpId="0" animBg="1"/>
      <p:bldP spid="20" grpId="0" animBg="1"/>
      <p:bldP spid="21" grpId="0" animBg="1"/>
      <p:bldP spid="24" grpId="0" animBg="1"/>
      <p:bldP spid="30" grpId="0" animBg="1"/>
      <p:bldP spid="32" grpId="0"/>
      <p:bldP spid="14" grpId="0" animBg="1"/>
      <p:bldP spid="15" grpId="0" animBg="1"/>
      <p:bldP spid="35" grpId="0" animBg="1"/>
      <p:bldP spid="5" grpId="0" animBg="1"/>
      <p:bldP spid="25" grpId="0" animBg="1"/>
      <p:bldP spid="31" grpId="0" animBg="1"/>
      <p:bldP spid="63" grpId="0" animBg="1"/>
      <p:bldP spid="64" grpId="0" animBg="1"/>
      <p:bldP spid="65" grpId="0" animBg="1"/>
      <p:bldP spid="67" grpId="0" animBg="1"/>
      <p:bldP spid="68" grpId="0" animBg="1"/>
      <p:bldP spid="69" grpId="0"/>
      <p:bldP spid="75" grpId="0" animBg="1"/>
      <p:bldP spid="77" grpId="0" animBg="1"/>
      <p:bldP spid="79" grpId="0" animBg="1"/>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311CBB8F-FACB-546A-B0CE-8FA25FF57C9C}"/>
              </a:ext>
            </a:extLst>
          </p:cNvPr>
          <p:cNvSpPr>
            <a:spLocks noGrp="1"/>
          </p:cNvSpPr>
          <p:nvPr>
            <p:ph type="sldNum" sz="quarter" idx="12"/>
          </p:nvPr>
        </p:nvSpPr>
        <p:spPr/>
        <p:txBody>
          <a:bodyPr/>
          <a:lstStyle/>
          <a:p>
            <a:fld id="{F46C79FD-C571-418B-AB0F-5EE936C85276}" type="slidenum">
              <a:rPr lang="en-GB" smtClean="0"/>
              <a:t>19</a:t>
            </a:fld>
            <a:endParaRPr lang="en-GB"/>
          </a:p>
        </p:txBody>
      </p:sp>
      <p:pic>
        <p:nvPicPr>
          <p:cNvPr id="5" name="Picture 4">
            <a:extLst>
              <a:ext uri="{FF2B5EF4-FFF2-40B4-BE49-F238E27FC236}">
                <a16:creationId xmlns:a16="http://schemas.microsoft.com/office/drawing/2014/main" id="{D6BF9F60-2B0A-08B3-DA0F-63CE44EAFFC5}"/>
              </a:ext>
            </a:extLst>
          </p:cNvPr>
          <p:cNvPicPr>
            <a:picLocks noChangeAspect="1"/>
          </p:cNvPicPr>
          <p:nvPr/>
        </p:nvPicPr>
        <p:blipFill>
          <a:blip r:embed="rId2"/>
          <a:stretch>
            <a:fillRect/>
          </a:stretch>
        </p:blipFill>
        <p:spPr>
          <a:xfrm>
            <a:off x="1754137" y="0"/>
            <a:ext cx="5635727" cy="5143500"/>
          </a:xfrm>
          <a:prstGeom prst="rect">
            <a:avLst/>
          </a:prstGeom>
        </p:spPr>
      </p:pic>
    </p:spTree>
    <p:extLst>
      <p:ext uri="{BB962C8B-B14F-4D97-AF65-F5344CB8AC3E}">
        <p14:creationId xmlns:p14="http://schemas.microsoft.com/office/powerpoint/2010/main" val="293672348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69445FCD-05C7-42DD-96A2-35963C23D072}"/>
              </a:ext>
            </a:extLst>
          </p:cNvPr>
          <p:cNvSpPr>
            <a:spLocks noGrp="1"/>
          </p:cNvSpPr>
          <p:nvPr>
            <p:ph type="body" sz="quarter" idx="13"/>
          </p:nvPr>
        </p:nvSpPr>
        <p:spPr/>
        <p:txBody>
          <a:bodyPr/>
          <a:lstStyle/>
          <a:p>
            <a:endParaRPr lang="en-US"/>
          </a:p>
        </p:txBody>
      </p:sp>
      <p:pic>
        <p:nvPicPr>
          <p:cNvPr id="6" name="Picture 5">
            <a:extLst>
              <a:ext uri="{FF2B5EF4-FFF2-40B4-BE49-F238E27FC236}">
                <a16:creationId xmlns:a16="http://schemas.microsoft.com/office/drawing/2014/main" id="{82181789-C7B0-A81B-C8A1-D40AD4BAEA0E}"/>
              </a:ext>
            </a:extLst>
          </p:cNvPr>
          <p:cNvPicPr>
            <a:picLocks noChangeAspect="1"/>
          </p:cNvPicPr>
          <p:nvPr/>
        </p:nvPicPr>
        <p:blipFill>
          <a:blip r:embed="rId2"/>
          <a:stretch>
            <a:fillRect/>
          </a:stretch>
        </p:blipFill>
        <p:spPr>
          <a:xfrm>
            <a:off x="2959" y="0"/>
            <a:ext cx="9138082" cy="5143500"/>
          </a:xfrm>
          <a:prstGeom prst="rect">
            <a:avLst/>
          </a:prstGeom>
        </p:spPr>
      </p:pic>
    </p:spTree>
    <p:extLst>
      <p:ext uri="{BB962C8B-B14F-4D97-AF65-F5344CB8AC3E}">
        <p14:creationId xmlns:p14="http://schemas.microsoft.com/office/powerpoint/2010/main" val="322414034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311CBB8F-FACB-546A-B0CE-8FA25FF57C9C}"/>
              </a:ext>
            </a:extLst>
          </p:cNvPr>
          <p:cNvSpPr>
            <a:spLocks noGrp="1"/>
          </p:cNvSpPr>
          <p:nvPr>
            <p:ph type="sldNum" sz="quarter" idx="12"/>
          </p:nvPr>
        </p:nvSpPr>
        <p:spPr/>
        <p:txBody>
          <a:bodyPr/>
          <a:lstStyle/>
          <a:p>
            <a:fld id="{F46C79FD-C571-418B-AB0F-5EE936C85276}" type="slidenum">
              <a:rPr lang="en-GB" smtClean="0"/>
              <a:t>20</a:t>
            </a:fld>
            <a:endParaRPr lang="en-GB"/>
          </a:p>
        </p:txBody>
      </p:sp>
      <p:pic>
        <p:nvPicPr>
          <p:cNvPr id="4" name="Picture 3">
            <a:extLst>
              <a:ext uri="{FF2B5EF4-FFF2-40B4-BE49-F238E27FC236}">
                <a16:creationId xmlns:a16="http://schemas.microsoft.com/office/drawing/2014/main" id="{020C7E8A-BD88-4388-7D28-97106E5303A7}"/>
              </a:ext>
            </a:extLst>
          </p:cNvPr>
          <p:cNvPicPr>
            <a:picLocks noChangeAspect="1"/>
          </p:cNvPicPr>
          <p:nvPr/>
        </p:nvPicPr>
        <p:blipFill>
          <a:blip r:embed="rId2"/>
          <a:stretch>
            <a:fillRect/>
          </a:stretch>
        </p:blipFill>
        <p:spPr>
          <a:xfrm>
            <a:off x="1581721" y="0"/>
            <a:ext cx="5980558" cy="5143500"/>
          </a:xfrm>
          <a:prstGeom prst="rect">
            <a:avLst/>
          </a:prstGeom>
        </p:spPr>
      </p:pic>
    </p:spTree>
    <p:extLst>
      <p:ext uri="{BB962C8B-B14F-4D97-AF65-F5344CB8AC3E}">
        <p14:creationId xmlns:p14="http://schemas.microsoft.com/office/powerpoint/2010/main" val="168723262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3BFE9418-C013-7D59-F28C-DAA969DEC57D}"/>
              </a:ext>
            </a:extLst>
          </p:cNvPr>
          <p:cNvSpPr>
            <a:spLocks noGrp="1"/>
          </p:cNvSpPr>
          <p:nvPr>
            <p:ph type="sldNum" sz="quarter" idx="12"/>
          </p:nvPr>
        </p:nvSpPr>
        <p:spPr>
          <a:xfrm>
            <a:off x="628650" y="3990432"/>
            <a:ext cx="2057400" cy="273844"/>
          </a:xfrm>
        </p:spPr>
        <p:txBody>
          <a:bodyPr/>
          <a:lstStyle/>
          <a:p>
            <a:fld id="{F46C79FD-C571-418B-AB0F-5EE936C85276}" type="slidenum">
              <a:rPr lang="en-GB" smtClean="0"/>
              <a:t>21</a:t>
            </a:fld>
            <a:endParaRPr lang="en-GB"/>
          </a:p>
        </p:txBody>
      </p:sp>
      <p:sp>
        <p:nvSpPr>
          <p:cNvPr id="5" name="Title 4">
            <a:extLst>
              <a:ext uri="{FF2B5EF4-FFF2-40B4-BE49-F238E27FC236}">
                <a16:creationId xmlns:a16="http://schemas.microsoft.com/office/drawing/2014/main" id="{8905B0AF-A577-356A-7E80-8CE9E10D366B}"/>
              </a:ext>
            </a:extLst>
          </p:cNvPr>
          <p:cNvSpPr>
            <a:spLocks noGrp="1"/>
          </p:cNvSpPr>
          <p:nvPr>
            <p:ph type="title"/>
          </p:nvPr>
        </p:nvSpPr>
        <p:spPr/>
        <p:txBody>
          <a:bodyPr/>
          <a:lstStyle/>
          <a:p>
            <a:r>
              <a:rPr lang="en-IE"/>
              <a:t>Open-source Release timeline</a:t>
            </a:r>
          </a:p>
        </p:txBody>
      </p:sp>
      <p:graphicFrame>
        <p:nvGraphicFramePr>
          <p:cNvPr id="6" name="Diagram 5">
            <a:extLst>
              <a:ext uri="{FF2B5EF4-FFF2-40B4-BE49-F238E27FC236}">
                <a16:creationId xmlns:a16="http://schemas.microsoft.com/office/drawing/2014/main" id="{C9E23822-0DAF-C0C6-5654-AC875015ADAB}"/>
              </a:ext>
            </a:extLst>
          </p:cNvPr>
          <p:cNvGraphicFramePr/>
          <p:nvPr>
            <p:extLst>
              <p:ext uri="{D42A27DB-BD31-4B8C-83A1-F6EECF244321}">
                <p14:modId xmlns:p14="http://schemas.microsoft.com/office/powerpoint/2010/main" val="3111373967"/>
              </p:ext>
            </p:extLst>
          </p:nvPr>
        </p:nvGraphicFramePr>
        <p:xfrm>
          <a:off x="1873828" y="968219"/>
          <a:ext cx="6075218" cy="135071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7" name="TextBox 6">
            <a:extLst>
              <a:ext uri="{FF2B5EF4-FFF2-40B4-BE49-F238E27FC236}">
                <a16:creationId xmlns:a16="http://schemas.microsoft.com/office/drawing/2014/main" id="{D02C3DE5-9212-EF57-EFAA-34C03DAE8096}"/>
              </a:ext>
            </a:extLst>
          </p:cNvPr>
          <p:cNvSpPr txBox="1"/>
          <p:nvPr/>
        </p:nvSpPr>
        <p:spPr>
          <a:xfrm>
            <a:off x="3801680" y="2460938"/>
            <a:ext cx="2399623" cy="1546577"/>
          </a:xfrm>
          <a:prstGeom prst="rect">
            <a:avLst/>
          </a:prstGeom>
          <a:solidFill>
            <a:srgbClr val="6BA42C"/>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0">
            <a:scrgbClr r="0" g="0" b="0"/>
          </a:lnRef>
          <a:fillRef idx="0">
            <a:scrgbClr r="0" g="0" b="0"/>
          </a:fillRef>
          <a:effectRef idx="0">
            <a:scrgbClr r="0" g="0" b="0"/>
          </a:effectRef>
          <a:fontRef idx="minor">
            <a:schemeClr val="lt1"/>
          </a:fontRef>
        </p:style>
        <p:txBody>
          <a:bodyPr wrap="square" rtlCol="0">
            <a:spAutoFit/>
          </a:bodyPr>
          <a:lstStyle/>
          <a:p>
            <a:r>
              <a:rPr lang="en-IE" sz="1050">
                <a:latin typeface="Lato" panose="020F0502020204030203" pitchFamily="34" charset="0"/>
                <a:ea typeface="Lato" panose="020F0502020204030203" pitchFamily="34" charset="0"/>
                <a:cs typeface="Lato" panose="020F0502020204030203" pitchFamily="34" charset="0"/>
              </a:rPr>
              <a:t>Scope:</a:t>
            </a:r>
          </a:p>
          <a:p>
            <a:pPr marL="214313" indent="-214313">
              <a:buFontTx/>
              <a:buChar char="-"/>
            </a:pPr>
            <a:r>
              <a:rPr lang="en-IE" sz="1050">
                <a:latin typeface="Lato" panose="020F0502020204030203" pitchFamily="34" charset="0"/>
                <a:ea typeface="Lato" panose="020F0502020204030203" pitchFamily="34" charset="0"/>
                <a:cs typeface="Lato" panose="020F0502020204030203" pitchFamily="34" charset="0"/>
              </a:rPr>
              <a:t>Multilingual platform (</a:t>
            </a:r>
            <a:r>
              <a:rPr lang="en-IE" sz="1050" err="1">
                <a:latin typeface="Lato" panose="020F0502020204030203" pitchFamily="34" charset="0"/>
                <a:ea typeface="Lato" panose="020F0502020204030203" pitchFamily="34" charset="0"/>
                <a:cs typeface="Lato" panose="020F0502020204030203" pitchFamily="34" charset="0"/>
              </a:rPr>
              <a:t>eTranslation</a:t>
            </a:r>
            <a:r>
              <a:rPr lang="en-IE" sz="1050">
                <a:latin typeface="Lato" panose="020F0502020204030203" pitchFamily="34" charset="0"/>
                <a:ea typeface="Lato" panose="020F0502020204030203" pitchFamily="34" charset="0"/>
                <a:cs typeface="Lato" panose="020F0502020204030203" pitchFamily="34" charset="0"/>
              </a:rPr>
              <a:t>)</a:t>
            </a:r>
          </a:p>
          <a:p>
            <a:pPr marL="214313" indent="-214313">
              <a:buFontTx/>
              <a:buChar char="-"/>
            </a:pPr>
            <a:r>
              <a:rPr lang="en-IE" sz="1050">
                <a:latin typeface="Lato" panose="020F0502020204030203" pitchFamily="34" charset="0"/>
                <a:ea typeface="Lato" panose="020F0502020204030203" pitchFamily="34" charset="0"/>
                <a:cs typeface="Lato" panose="020F0502020204030203" pitchFamily="34" charset="0"/>
              </a:rPr>
              <a:t>Data permit decision</a:t>
            </a:r>
          </a:p>
          <a:p>
            <a:pPr marL="214313" indent="-214313">
              <a:buFontTx/>
              <a:buChar char="-"/>
            </a:pPr>
            <a:r>
              <a:rPr lang="en-IE" sz="1050">
                <a:latin typeface="Lato" panose="020F0502020204030203" pitchFamily="34" charset="0"/>
                <a:ea typeface="Lato" panose="020F0502020204030203" pitchFamily="34" charset="0"/>
                <a:cs typeface="Lato" panose="020F0502020204030203" pitchFamily="34" charset="0"/>
              </a:rPr>
              <a:t>Autonomous tests for Member States in the Interoperability Test Bed</a:t>
            </a:r>
          </a:p>
          <a:p>
            <a:pPr marL="214313" indent="-214313">
              <a:buFontTx/>
              <a:buChar char="-"/>
            </a:pPr>
            <a:r>
              <a:rPr lang="en-IE" sz="1050">
                <a:latin typeface="Lato" panose="020F0502020204030203" pitchFamily="34" charset="0"/>
                <a:ea typeface="Lato" panose="020F0502020204030203" pitchFamily="34" charset="0"/>
                <a:cs typeface="Lato" panose="020F0502020204030203" pitchFamily="34" charset="0"/>
              </a:rPr>
              <a:t>Improvement of previous functionalities</a:t>
            </a:r>
          </a:p>
        </p:txBody>
      </p:sp>
      <p:sp>
        <p:nvSpPr>
          <p:cNvPr id="8" name="TextBox 7">
            <a:extLst>
              <a:ext uri="{FF2B5EF4-FFF2-40B4-BE49-F238E27FC236}">
                <a16:creationId xmlns:a16="http://schemas.microsoft.com/office/drawing/2014/main" id="{7B924AA2-1E48-6FC3-45F0-9CA937A46700}"/>
              </a:ext>
            </a:extLst>
          </p:cNvPr>
          <p:cNvSpPr txBox="1"/>
          <p:nvPr/>
        </p:nvSpPr>
        <p:spPr>
          <a:xfrm>
            <a:off x="6320083" y="2460938"/>
            <a:ext cx="2339009" cy="900246"/>
          </a:xfrm>
          <a:prstGeom prst="rect">
            <a:avLst/>
          </a:prstGeom>
          <a:solidFill>
            <a:schemeClr val="accent4">
              <a:lumMod val="75000"/>
            </a:scheme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0">
            <a:scrgbClr r="0" g="0" b="0"/>
          </a:lnRef>
          <a:fillRef idx="0">
            <a:scrgbClr r="0" g="0" b="0"/>
          </a:fillRef>
          <a:effectRef idx="0">
            <a:scrgbClr r="0" g="0" b="0"/>
          </a:effectRef>
          <a:fontRef idx="minor">
            <a:schemeClr val="lt1"/>
          </a:fontRef>
        </p:style>
        <p:txBody>
          <a:bodyPr wrap="square" rtlCol="0">
            <a:spAutoFit/>
          </a:bodyPr>
          <a:lstStyle/>
          <a:p>
            <a:r>
              <a:rPr lang="en-US" sz="1050">
                <a:latin typeface="Lato" panose="020F0502020204030203" pitchFamily="34" charset="0"/>
                <a:ea typeface="Lato" panose="020F0502020204030203" pitchFamily="34" charset="0"/>
                <a:cs typeface="Lato" panose="020F0502020204030203" pitchFamily="34" charset="0"/>
              </a:rPr>
              <a:t>Scope:</a:t>
            </a:r>
          </a:p>
          <a:p>
            <a:pPr marL="214313" indent="-214313">
              <a:buFontTx/>
              <a:buChar char="-"/>
            </a:pPr>
            <a:r>
              <a:rPr lang="en-US" sz="1050" err="1">
                <a:latin typeface="Lato" panose="020F0502020204030203" pitchFamily="34" charset="0"/>
                <a:ea typeface="Lato" panose="020F0502020204030203" pitchFamily="34" charset="0"/>
                <a:cs typeface="Lato" panose="020F0502020204030203" pitchFamily="34" charset="0"/>
              </a:rPr>
              <a:t>eTranslation</a:t>
            </a:r>
            <a:r>
              <a:rPr lang="en-US" sz="1050">
                <a:latin typeface="Lato" panose="020F0502020204030203" pitchFamily="34" charset="0"/>
                <a:ea typeface="Lato" panose="020F0502020204030203" pitchFamily="34" charset="0"/>
                <a:cs typeface="Lato" panose="020F0502020204030203" pitchFamily="34" charset="0"/>
              </a:rPr>
              <a:t> of received and sent messages</a:t>
            </a:r>
          </a:p>
          <a:p>
            <a:pPr marL="214313" indent="-214313">
              <a:buFontTx/>
              <a:buChar char="-"/>
            </a:pPr>
            <a:r>
              <a:rPr lang="en-US" sz="1050">
                <a:latin typeface="Lato" panose="020F0502020204030203" pitchFamily="34" charset="0"/>
                <a:ea typeface="Lato" panose="020F0502020204030203" pitchFamily="34" charset="0"/>
                <a:cs typeface="Lato" panose="020F0502020204030203" pitchFamily="34" charset="0"/>
              </a:rPr>
              <a:t>Biennial Reporting</a:t>
            </a:r>
          </a:p>
          <a:p>
            <a:pPr marL="214313" indent="-214313">
              <a:buFontTx/>
              <a:buChar char="-"/>
            </a:pPr>
            <a:r>
              <a:rPr lang="en-US" sz="1050">
                <a:latin typeface="Lato" panose="020F0502020204030203" pitchFamily="34" charset="0"/>
                <a:ea typeface="Lato" panose="020F0502020204030203" pitchFamily="34" charset="0"/>
                <a:cs typeface="Lato" panose="020F0502020204030203" pitchFamily="34" charset="0"/>
              </a:rPr>
              <a:t>Analysis Results Catalogue</a:t>
            </a:r>
            <a:endParaRPr lang="en-IE" sz="1050">
              <a:latin typeface="Lato" panose="020F0502020204030203" pitchFamily="34" charset="0"/>
              <a:ea typeface="Lato" panose="020F0502020204030203" pitchFamily="34" charset="0"/>
              <a:cs typeface="Lato" panose="020F0502020204030203" pitchFamily="34" charset="0"/>
            </a:endParaRPr>
          </a:p>
        </p:txBody>
      </p:sp>
      <p:cxnSp>
        <p:nvCxnSpPr>
          <p:cNvPr id="9" name="Straight Connector 8">
            <a:extLst>
              <a:ext uri="{FF2B5EF4-FFF2-40B4-BE49-F238E27FC236}">
                <a16:creationId xmlns:a16="http://schemas.microsoft.com/office/drawing/2014/main" id="{F4C35335-3136-0E0D-926A-CDC023BCB612}"/>
              </a:ext>
            </a:extLst>
          </p:cNvPr>
          <p:cNvCxnSpPr/>
          <p:nvPr/>
        </p:nvCxnSpPr>
        <p:spPr>
          <a:xfrm>
            <a:off x="4152901" y="1910220"/>
            <a:ext cx="0" cy="550718"/>
          </a:xfrm>
          <a:prstGeom prst="line">
            <a:avLst/>
          </a:prstGeom>
          <a:ln>
            <a:solidFill>
              <a:srgbClr val="6BA42C"/>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656FB070-1E36-6CE9-503C-558B0B33DF4B}"/>
              </a:ext>
            </a:extLst>
          </p:cNvPr>
          <p:cNvCxnSpPr/>
          <p:nvPr/>
        </p:nvCxnSpPr>
        <p:spPr>
          <a:xfrm>
            <a:off x="6431974" y="1910220"/>
            <a:ext cx="0" cy="550718"/>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pic>
        <p:nvPicPr>
          <p:cNvPr id="11" name="Picture 10">
            <a:extLst>
              <a:ext uri="{FF2B5EF4-FFF2-40B4-BE49-F238E27FC236}">
                <a16:creationId xmlns:a16="http://schemas.microsoft.com/office/drawing/2014/main" id="{B684FC2F-1A72-980F-A666-B7096FF322A7}"/>
              </a:ext>
            </a:extLst>
          </p:cNvPr>
          <p:cNvPicPr>
            <a:picLocks noChangeAspect="1"/>
          </p:cNvPicPr>
          <p:nvPr/>
        </p:nvPicPr>
        <p:blipFill>
          <a:blip r:embed="rId7"/>
          <a:stretch>
            <a:fillRect/>
          </a:stretch>
        </p:blipFill>
        <p:spPr>
          <a:xfrm>
            <a:off x="385084" y="2196216"/>
            <a:ext cx="3297815" cy="2283770"/>
          </a:xfrm>
          <a:prstGeom prst="rect">
            <a:avLst/>
          </a:prstGeom>
        </p:spPr>
      </p:pic>
      <p:cxnSp>
        <p:nvCxnSpPr>
          <p:cNvPr id="2" name="Straight Connector 1">
            <a:extLst>
              <a:ext uri="{FF2B5EF4-FFF2-40B4-BE49-F238E27FC236}">
                <a16:creationId xmlns:a16="http://schemas.microsoft.com/office/drawing/2014/main" id="{34F6B510-42F8-4A22-477B-75BDA3F954B5}"/>
              </a:ext>
            </a:extLst>
          </p:cNvPr>
          <p:cNvCxnSpPr>
            <a:cxnSpLocks/>
          </p:cNvCxnSpPr>
          <p:nvPr/>
        </p:nvCxnSpPr>
        <p:spPr>
          <a:xfrm>
            <a:off x="2266951" y="1920858"/>
            <a:ext cx="0" cy="275359"/>
          </a:xfrm>
          <a:prstGeom prst="line">
            <a:avLst/>
          </a:prstGeom>
          <a:ln>
            <a:solidFill>
              <a:srgbClr val="6BA42C"/>
            </a:solidFill>
          </a:ln>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46D6051E-EDEE-FE24-1D2E-6DF676D1275C}"/>
              </a:ext>
            </a:extLst>
          </p:cNvPr>
          <p:cNvSpPr txBox="1"/>
          <p:nvPr/>
        </p:nvSpPr>
        <p:spPr>
          <a:xfrm>
            <a:off x="138889" y="4550522"/>
            <a:ext cx="8028024" cy="461665"/>
          </a:xfrm>
          <a:prstGeom prst="rect">
            <a:avLst/>
          </a:prstGeom>
          <a:noFill/>
        </p:spPr>
        <p:txBody>
          <a:bodyPr wrap="square">
            <a:spAutoFit/>
          </a:bodyPr>
          <a:lstStyle/>
          <a:p>
            <a:r>
              <a:rPr lang="en-IE" sz="1200">
                <a:effectLst/>
                <a:latin typeface="Aptos" panose="020B0004020202020204" pitchFamily="34" charset="0"/>
                <a:ea typeface="Calibri" panose="020F0502020204030204" pitchFamily="34" charset="0"/>
                <a:cs typeface="Aptos" panose="020B0004020202020204" pitchFamily="34" charset="0"/>
              </a:rPr>
              <a:t>For more information and to access the open-source components, visit:</a:t>
            </a:r>
            <a:r>
              <a:rPr lang="en-IE" sz="1200">
                <a:effectLst/>
                <a:latin typeface="Calibri" panose="020F0502020204030204" pitchFamily="34" charset="0"/>
                <a:ea typeface="Calibri" panose="020F0502020204030204" pitchFamily="34" charset="0"/>
                <a:cs typeface="Aptos" panose="020B0004020202020204" pitchFamily="34" charset="0"/>
              </a:rPr>
              <a:t> </a:t>
            </a:r>
            <a:r>
              <a:rPr lang="en-GB" sz="1200" i="1" u="sng">
                <a:solidFill>
                  <a:srgbClr val="0070C0"/>
                </a:solidFill>
                <a:effectLst/>
                <a:latin typeface="Calibri" panose="020F0502020204030204" pitchFamily="34" charset="0"/>
                <a:ea typeface="Calibri" panose="020F0502020204030204" pitchFamily="34" charset="0"/>
                <a:cs typeface="Aptos" panose="020B0004020202020204" pitchFamily="34" charset="0"/>
                <a:hlinkClick r:id="rId8"/>
              </a:rPr>
              <a:t>https://code.europa.eu/HealthDataEU</a:t>
            </a:r>
            <a:endParaRPr lang="en-IE" sz="1200">
              <a:effectLst/>
              <a:latin typeface="Aptos" panose="020B0004020202020204" pitchFamily="34" charset="0"/>
              <a:ea typeface="Calibri" panose="020F0502020204030204" pitchFamily="34" charset="0"/>
              <a:cs typeface="Aptos" panose="020B0004020202020204" pitchFamily="34" charset="0"/>
            </a:endParaRPr>
          </a:p>
          <a:p>
            <a:r>
              <a:rPr lang="en-IE" sz="1200">
                <a:effectLst/>
                <a:latin typeface="Aptos" panose="020B0004020202020204" pitchFamily="34" charset="0"/>
                <a:ea typeface="Calibri" panose="020F0502020204030204" pitchFamily="34" charset="0"/>
                <a:cs typeface="Aptos" panose="020B0004020202020204" pitchFamily="34" charset="0"/>
              </a:rPr>
              <a:t>For the documentation - </a:t>
            </a:r>
            <a:r>
              <a:rPr lang="en-GB" sz="1200" u="sng">
                <a:solidFill>
                  <a:srgbClr val="467886"/>
                </a:solidFill>
                <a:effectLst/>
                <a:latin typeface="Aptos" panose="020B0004020202020204" pitchFamily="34" charset="0"/>
                <a:ea typeface="Calibri" panose="020F0502020204030204" pitchFamily="34" charset="0"/>
                <a:cs typeface="Aptos" panose="020B0004020202020204" pitchFamily="34" charset="0"/>
                <a:hlinkClick r:id="rId9"/>
              </a:rPr>
              <a:t>HealthData@EU central platform - Publications Office of the EU</a:t>
            </a:r>
            <a:endParaRPr lang="en-IE" sz="1200">
              <a:effectLst/>
              <a:latin typeface="Aptos" panose="020B0004020202020204" pitchFamily="34" charset="0"/>
              <a:ea typeface="Calibri" panose="020F0502020204030204" pitchFamily="34" charset="0"/>
              <a:cs typeface="Aptos" panose="020B0004020202020204" pitchFamily="34" charset="0"/>
            </a:endParaRPr>
          </a:p>
        </p:txBody>
      </p:sp>
    </p:spTree>
    <p:extLst>
      <p:ext uri="{BB962C8B-B14F-4D97-AF65-F5344CB8AC3E}">
        <p14:creationId xmlns:p14="http://schemas.microsoft.com/office/powerpoint/2010/main" val="342585385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500" fill="hold"/>
                                        <p:tgtEl>
                                          <p:spTgt spid="6"/>
                                        </p:tgtEl>
                                        <p:attrNameLst>
                                          <p:attrName>ppt_x</p:attrName>
                                        </p:attrNameLst>
                                      </p:cBhvr>
                                      <p:tavLst>
                                        <p:tav tm="0">
                                          <p:val>
                                            <p:strVal val="#ppt_x"/>
                                          </p:val>
                                        </p:tav>
                                        <p:tav tm="100000">
                                          <p:val>
                                            <p:strVal val="#ppt_x"/>
                                          </p:val>
                                        </p:tav>
                                      </p:tavLst>
                                    </p:anim>
                                    <p:anim calcmode="lin" valueType="num">
                                      <p:cBhvr additive="base">
                                        <p:cTn id="8" dur="500" fill="hold"/>
                                        <p:tgtEl>
                                          <p:spTgt spid="6"/>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10" presetClass="entr" presetSubtype="0" fill="hold" nodeType="clickEffect">
                                  <p:stCondLst>
                                    <p:cond delay="0"/>
                                  </p:stCondLst>
                                  <p:childTnLst>
                                    <p:set>
                                      <p:cBhvr>
                                        <p:cTn id="12" dur="1" fill="hold">
                                          <p:stCondLst>
                                            <p:cond delay="0"/>
                                          </p:stCondLst>
                                        </p:cTn>
                                        <p:tgtEl>
                                          <p:spTgt spid="2"/>
                                        </p:tgtEl>
                                        <p:attrNameLst>
                                          <p:attrName>style.visibility</p:attrName>
                                        </p:attrNameLst>
                                      </p:cBhvr>
                                      <p:to>
                                        <p:strVal val="visible"/>
                                      </p:to>
                                    </p:set>
                                    <p:animEffect transition="in" filter="fade">
                                      <p:cBhvr>
                                        <p:cTn id="13" dur="500"/>
                                        <p:tgtEl>
                                          <p:spTgt spid="2"/>
                                        </p:tgtEl>
                                      </p:cBhvr>
                                    </p:animEffect>
                                  </p:childTnLst>
                                </p:cTn>
                              </p:par>
                            </p:childTnLst>
                          </p:cTn>
                        </p:par>
                      </p:childTnLst>
                    </p:cTn>
                  </p:par>
                  <p:par>
                    <p:cTn id="14" fill="hold">
                      <p:stCondLst>
                        <p:cond delay="indefinite"/>
                      </p:stCondLst>
                      <p:childTnLst>
                        <p:par>
                          <p:cTn id="15" fill="hold">
                            <p:stCondLst>
                              <p:cond delay="0"/>
                            </p:stCondLst>
                            <p:childTnLst>
                              <p:par>
                                <p:cTn id="16" presetID="1" presetClass="entr" presetSubtype="0" fill="hold" nodeType="clickEffect">
                                  <p:stCondLst>
                                    <p:cond delay="0"/>
                                  </p:stCondLst>
                                  <p:childTnLst>
                                    <p:set>
                                      <p:cBhvr>
                                        <p:cTn id="17" dur="1" fill="hold">
                                          <p:stCondLst>
                                            <p:cond delay="0"/>
                                          </p:stCondLst>
                                        </p:cTn>
                                        <p:tgtEl>
                                          <p:spTgt spid="11"/>
                                        </p:tgtEl>
                                        <p:attrNameLst>
                                          <p:attrName>style.visibility</p:attrName>
                                        </p:attrNameLst>
                                      </p:cBhvr>
                                      <p:to>
                                        <p:strVal val="visible"/>
                                      </p:to>
                                    </p:se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9"/>
                                        </p:tgtEl>
                                        <p:attrNameLst>
                                          <p:attrName>style.visibility</p:attrName>
                                        </p:attrNameLst>
                                      </p:cBhvr>
                                      <p:to>
                                        <p:strVal val="visible"/>
                                      </p:to>
                                    </p:set>
                                    <p:animEffect transition="in" filter="fade">
                                      <p:cBhvr>
                                        <p:cTn id="22" dur="500"/>
                                        <p:tgtEl>
                                          <p:spTgt spid="9"/>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7"/>
                                        </p:tgtEl>
                                        <p:attrNameLst>
                                          <p:attrName>style.visibility</p:attrName>
                                        </p:attrNameLst>
                                      </p:cBhvr>
                                      <p:to>
                                        <p:strVal val="visible"/>
                                      </p:to>
                                    </p:set>
                                    <p:animEffect transition="in" filter="fade">
                                      <p:cBhvr>
                                        <p:cTn id="25" dur="500"/>
                                        <p:tgtEl>
                                          <p:spTgt spid="7"/>
                                        </p:tgtEl>
                                      </p:cBhvr>
                                    </p:animEffect>
                                  </p:childTnLst>
                                </p:cTn>
                              </p:par>
                            </p:childTnLst>
                          </p:cTn>
                        </p:par>
                      </p:childTnLst>
                    </p:cTn>
                  </p:par>
                  <p:par>
                    <p:cTn id="26" fill="hold">
                      <p:stCondLst>
                        <p:cond delay="indefinite"/>
                      </p:stCondLst>
                      <p:childTnLst>
                        <p:par>
                          <p:cTn id="27" fill="hold">
                            <p:stCondLst>
                              <p:cond delay="0"/>
                            </p:stCondLst>
                            <p:childTnLst>
                              <p:par>
                                <p:cTn id="28" presetID="10" presetClass="entr" presetSubtype="0" fill="hold" nodeType="clickEffect">
                                  <p:stCondLst>
                                    <p:cond delay="0"/>
                                  </p:stCondLst>
                                  <p:childTnLst>
                                    <p:set>
                                      <p:cBhvr>
                                        <p:cTn id="29" dur="1" fill="hold">
                                          <p:stCondLst>
                                            <p:cond delay="0"/>
                                          </p:stCondLst>
                                        </p:cTn>
                                        <p:tgtEl>
                                          <p:spTgt spid="10"/>
                                        </p:tgtEl>
                                        <p:attrNameLst>
                                          <p:attrName>style.visibility</p:attrName>
                                        </p:attrNameLst>
                                      </p:cBhvr>
                                      <p:to>
                                        <p:strVal val="visible"/>
                                      </p:to>
                                    </p:set>
                                    <p:animEffect transition="in" filter="fade">
                                      <p:cBhvr>
                                        <p:cTn id="30" dur="500"/>
                                        <p:tgtEl>
                                          <p:spTgt spid="10"/>
                                        </p:tgtEl>
                                      </p:cBhvr>
                                    </p:animEffect>
                                  </p:childTnLst>
                                </p:cTn>
                              </p:par>
                              <p:par>
                                <p:cTn id="31" presetID="10" presetClass="entr" presetSubtype="0" fill="hold" grpId="0" nodeType="withEffect">
                                  <p:stCondLst>
                                    <p:cond delay="0"/>
                                  </p:stCondLst>
                                  <p:childTnLst>
                                    <p:set>
                                      <p:cBhvr>
                                        <p:cTn id="32" dur="1" fill="hold">
                                          <p:stCondLst>
                                            <p:cond delay="0"/>
                                          </p:stCondLst>
                                        </p:cTn>
                                        <p:tgtEl>
                                          <p:spTgt spid="8"/>
                                        </p:tgtEl>
                                        <p:attrNameLst>
                                          <p:attrName>style.visibility</p:attrName>
                                        </p:attrNameLst>
                                      </p:cBhvr>
                                      <p:to>
                                        <p:strVal val="visible"/>
                                      </p:to>
                                    </p:set>
                                    <p:animEffect transition="in" filter="fade">
                                      <p:cBhvr>
                                        <p:cTn id="33"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6" grpId="0">
        <p:bldAsOne/>
      </p:bldGraphic>
      <p:bldP spid="7" grpId="0" animBg="1"/>
      <p:bldP spid="8" grpId="0" animBg="1"/>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C9C41B-A5CA-A012-1EAF-A4B53DC1B381}"/>
              </a:ext>
            </a:extLst>
          </p:cNvPr>
          <p:cNvSpPr>
            <a:spLocks noGrp="1"/>
          </p:cNvSpPr>
          <p:nvPr>
            <p:ph type="ctrTitle"/>
          </p:nvPr>
        </p:nvSpPr>
        <p:spPr/>
        <p:txBody>
          <a:bodyPr/>
          <a:lstStyle/>
          <a:p>
            <a:r>
              <a:rPr lang="en-IE"/>
              <a:t>Legal Data Space</a:t>
            </a:r>
            <a:endParaRPr lang="en-LU"/>
          </a:p>
        </p:txBody>
      </p:sp>
      <p:sp>
        <p:nvSpPr>
          <p:cNvPr id="3" name="Subtitle 2">
            <a:extLst>
              <a:ext uri="{FF2B5EF4-FFF2-40B4-BE49-F238E27FC236}">
                <a16:creationId xmlns:a16="http://schemas.microsoft.com/office/drawing/2014/main" id="{3CF5DA15-EA76-1932-7361-C47D78E0ADE0}"/>
              </a:ext>
            </a:extLst>
          </p:cNvPr>
          <p:cNvSpPr>
            <a:spLocks noGrp="1"/>
          </p:cNvSpPr>
          <p:nvPr>
            <p:ph type="subTitle" idx="1"/>
          </p:nvPr>
        </p:nvSpPr>
        <p:spPr/>
        <p:txBody>
          <a:bodyPr vert="horz" lIns="91440" tIns="45720" rIns="91440" bIns="45720" rtlCol="0" anchor="t">
            <a:normAutofit/>
          </a:bodyPr>
          <a:lstStyle/>
          <a:p>
            <a:r>
              <a:rPr lang="en-IE"/>
              <a:t>Žilvinas </a:t>
            </a:r>
            <a:r>
              <a:rPr lang="en-IE" err="1"/>
              <a:t>Bubnys</a:t>
            </a:r>
            <a:r>
              <a:rPr lang="en-IE"/>
              <a:t>, Publications Office</a:t>
            </a:r>
            <a:endParaRPr lang="en-LU"/>
          </a:p>
        </p:txBody>
      </p:sp>
      <p:sp>
        <p:nvSpPr>
          <p:cNvPr id="4" name="Text Placeholder 3">
            <a:extLst>
              <a:ext uri="{FF2B5EF4-FFF2-40B4-BE49-F238E27FC236}">
                <a16:creationId xmlns:a16="http://schemas.microsoft.com/office/drawing/2014/main" id="{AD34D0B7-9977-65B8-C2A6-657840EBF59C}"/>
              </a:ext>
            </a:extLst>
          </p:cNvPr>
          <p:cNvSpPr>
            <a:spLocks noGrp="1"/>
          </p:cNvSpPr>
          <p:nvPr>
            <p:ph type="body" sz="quarter" idx="13"/>
          </p:nvPr>
        </p:nvSpPr>
        <p:spPr/>
        <p:txBody>
          <a:bodyPr/>
          <a:lstStyle/>
          <a:p>
            <a:endParaRPr lang="en-LU"/>
          </a:p>
        </p:txBody>
      </p:sp>
    </p:spTree>
    <p:extLst>
      <p:ext uri="{BB962C8B-B14F-4D97-AF65-F5344CB8AC3E}">
        <p14:creationId xmlns:p14="http://schemas.microsoft.com/office/powerpoint/2010/main" val="36762257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0187E644-98AE-92A1-51E1-99EE4D6CBA69}"/>
              </a:ext>
            </a:extLst>
          </p:cNvPr>
          <p:cNvSpPr>
            <a:spLocks noGrp="1"/>
          </p:cNvSpPr>
          <p:nvPr>
            <p:ph type="body" sz="quarter" idx="13"/>
          </p:nvPr>
        </p:nvSpPr>
        <p:spPr/>
        <p:txBody>
          <a:bodyPr/>
          <a:lstStyle/>
          <a:p>
            <a:endParaRPr lang="en-IE"/>
          </a:p>
        </p:txBody>
      </p:sp>
      <p:pic>
        <p:nvPicPr>
          <p:cNvPr id="5" name="Picture 4">
            <a:extLst>
              <a:ext uri="{FF2B5EF4-FFF2-40B4-BE49-F238E27FC236}">
                <a16:creationId xmlns:a16="http://schemas.microsoft.com/office/drawing/2014/main" id="{56F1A428-64DB-98CB-38D6-58C82CD17ABD}"/>
              </a:ext>
            </a:extLst>
          </p:cNvPr>
          <p:cNvPicPr>
            <a:picLocks noChangeAspect="1"/>
          </p:cNvPicPr>
          <p:nvPr/>
        </p:nvPicPr>
        <p:blipFill rotWithShape="1">
          <a:blip r:embed="rId3"/>
          <a:srcRect l="4557" r="12664"/>
          <a:stretch/>
        </p:blipFill>
        <p:spPr>
          <a:xfrm>
            <a:off x="-1" y="0"/>
            <a:ext cx="6386513" cy="5143500"/>
          </a:xfrm>
          <a:prstGeom prst="rect">
            <a:avLst/>
          </a:prstGeom>
        </p:spPr>
      </p:pic>
      <p:sp>
        <p:nvSpPr>
          <p:cNvPr id="7" name="Rectangle 6">
            <a:extLst>
              <a:ext uri="{FF2B5EF4-FFF2-40B4-BE49-F238E27FC236}">
                <a16:creationId xmlns:a16="http://schemas.microsoft.com/office/drawing/2014/main" id="{A3DA9677-E1F4-B038-24F6-CA0F52D47985}"/>
              </a:ext>
            </a:extLst>
          </p:cNvPr>
          <p:cNvSpPr/>
          <p:nvPr/>
        </p:nvSpPr>
        <p:spPr>
          <a:xfrm>
            <a:off x="6386511" y="0"/>
            <a:ext cx="2757488" cy="5143500"/>
          </a:xfrm>
          <a:prstGeom prst="rect">
            <a:avLst/>
          </a:prstGeom>
          <a:solidFill>
            <a:srgbClr val="010F2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6" name="TextBox 5">
            <a:extLst>
              <a:ext uri="{FF2B5EF4-FFF2-40B4-BE49-F238E27FC236}">
                <a16:creationId xmlns:a16="http://schemas.microsoft.com/office/drawing/2014/main" id="{01E6FF05-44DC-7945-AE0B-7E16D736B7BF}"/>
              </a:ext>
            </a:extLst>
          </p:cNvPr>
          <p:cNvSpPr txBox="1"/>
          <p:nvPr/>
        </p:nvSpPr>
        <p:spPr>
          <a:xfrm>
            <a:off x="6432946" y="171093"/>
            <a:ext cx="2664619" cy="4801314"/>
          </a:xfrm>
          <a:prstGeom prst="rect">
            <a:avLst/>
          </a:prstGeom>
          <a:noFill/>
        </p:spPr>
        <p:txBody>
          <a:bodyPr wrap="square">
            <a:spAutoFit/>
          </a:bodyPr>
          <a:lstStyle/>
          <a:p>
            <a:r>
              <a:rPr lang="en-IE" sz="1800">
                <a:solidFill>
                  <a:schemeClr val="bg1"/>
                </a:solidFill>
                <a:effectLst/>
                <a:latin typeface="Calibri" panose="020F0502020204030204" pitchFamily="34" charset="0"/>
                <a:ea typeface="Calibri" panose="020F0502020204030204" pitchFamily="34" charset="0"/>
                <a:cs typeface="Times New Roman" panose="02020603050405020304" pitchFamily="18" charset="0"/>
              </a:rPr>
              <a:t>…aims at providing </a:t>
            </a:r>
            <a:r>
              <a:rPr lang="en-IE" sz="1800">
                <a:solidFill>
                  <a:schemeClr val="bg1"/>
                </a:solidFill>
                <a:effectLst>
                  <a:glow rad="101600">
                    <a:srgbClr val="F15C23">
                      <a:alpha val="60000"/>
                    </a:srgbClr>
                  </a:glow>
                </a:effectLst>
                <a:latin typeface="Calibri" panose="020F0502020204030204" pitchFamily="34" charset="0"/>
                <a:ea typeface="Calibri" panose="020F0502020204030204" pitchFamily="34" charset="0"/>
                <a:cs typeface="Times New Roman" panose="02020603050405020304" pitchFamily="18" charset="0"/>
              </a:rPr>
              <a:t>easily accessible, reusable, interoperable </a:t>
            </a:r>
            <a:r>
              <a:rPr lang="en-IE" sz="1800">
                <a:solidFill>
                  <a:schemeClr val="bg1"/>
                </a:solidFill>
                <a:effectLst/>
                <a:latin typeface="Calibri" panose="020F0502020204030204" pitchFamily="34" charset="0"/>
                <a:ea typeface="Calibri" panose="020F0502020204030204" pitchFamily="34" charset="0"/>
                <a:cs typeface="Times New Roman" panose="02020603050405020304" pitchFamily="18" charset="0"/>
              </a:rPr>
              <a:t>data in the area of </a:t>
            </a:r>
            <a:r>
              <a:rPr lang="en-IE">
                <a:solidFill>
                  <a:schemeClr val="bg1"/>
                </a:solidFill>
                <a:effectLst>
                  <a:glow rad="101600">
                    <a:srgbClr val="F15C23">
                      <a:alpha val="60000"/>
                    </a:srgbClr>
                  </a:glow>
                </a:effectLst>
                <a:latin typeface="Calibri" panose="020F0502020204030204" pitchFamily="34" charset="0"/>
                <a:cs typeface="Times New Roman" panose="02020603050405020304" pitchFamily="18" charset="0"/>
              </a:rPr>
              <a:t>legislation</a:t>
            </a:r>
            <a:r>
              <a:rPr lang="en-IE" sz="1800">
                <a:solidFill>
                  <a:schemeClr val="bg1"/>
                </a:solidFill>
                <a:effectLst/>
                <a:latin typeface="Calibri" panose="020F0502020204030204" pitchFamily="34" charset="0"/>
                <a:ea typeface="Calibri" panose="020F0502020204030204" pitchFamily="34" charset="0"/>
                <a:cs typeface="Times New Roman" panose="02020603050405020304" pitchFamily="18" charset="0"/>
              </a:rPr>
              <a:t> and </a:t>
            </a:r>
            <a:r>
              <a:rPr lang="en-IE">
                <a:solidFill>
                  <a:schemeClr val="bg1"/>
                </a:solidFill>
                <a:effectLst>
                  <a:glow rad="101600">
                    <a:srgbClr val="F15C23">
                      <a:alpha val="60000"/>
                    </a:srgbClr>
                  </a:glow>
                </a:effectLst>
                <a:latin typeface="Calibri" panose="020F0502020204030204" pitchFamily="34" charset="0"/>
                <a:cs typeface="Times New Roman" panose="02020603050405020304" pitchFamily="18" charset="0"/>
              </a:rPr>
              <a:t>case-law</a:t>
            </a:r>
            <a:r>
              <a:rPr lang="en-IE" sz="1800">
                <a:solidFill>
                  <a:schemeClr val="bg1"/>
                </a:solidFill>
                <a:effectLst/>
                <a:latin typeface="Calibri" panose="020F0502020204030204" pitchFamily="34" charset="0"/>
                <a:ea typeface="Calibri" panose="020F0502020204030204" pitchFamily="34" charset="0"/>
                <a:cs typeface="Times New Roman" panose="02020603050405020304" pitchFamily="18" charset="0"/>
              </a:rPr>
              <a:t> </a:t>
            </a:r>
            <a:r>
              <a:rPr lang="en-IE">
                <a:solidFill>
                  <a:schemeClr val="bg1"/>
                </a:solidFill>
                <a:effectLst>
                  <a:glow rad="101600">
                    <a:srgbClr val="F15C23">
                      <a:alpha val="60000"/>
                    </a:srgbClr>
                  </a:glow>
                </a:effectLst>
                <a:latin typeface="Calibri" panose="020F0502020204030204" pitchFamily="34" charset="0"/>
                <a:cs typeface="Times New Roman" panose="02020603050405020304" pitchFamily="18" charset="0"/>
              </a:rPr>
              <a:t>across the EU</a:t>
            </a:r>
            <a:r>
              <a:rPr lang="en-IE" sz="1800">
                <a:solidFill>
                  <a:schemeClr val="bg1"/>
                </a:solidFill>
                <a:effectLst/>
                <a:latin typeface="Calibri" panose="020F0502020204030204" pitchFamily="34" charset="0"/>
                <a:ea typeface="Calibri" panose="020F0502020204030204" pitchFamily="34" charset="0"/>
                <a:cs typeface="Times New Roman" panose="02020603050405020304" pitchFamily="18" charset="0"/>
              </a:rPr>
              <a:t>. These data can be then </a:t>
            </a:r>
            <a:r>
              <a:rPr lang="en-IE">
                <a:solidFill>
                  <a:schemeClr val="bg1"/>
                </a:solidFill>
                <a:effectLst>
                  <a:glow rad="101600">
                    <a:srgbClr val="F15C23">
                      <a:alpha val="60000"/>
                    </a:srgbClr>
                  </a:glow>
                </a:effectLst>
                <a:latin typeface="Calibri" panose="020F0502020204030204" pitchFamily="34" charset="0"/>
                <a:cs typeface="Times New Roman" panose="02020603050405020304" pitchFamily="18" charset="0"/>
              </a:rPr>
              <a:t>used in decision-making</a:t>
            </a:r>
            <a:r>
              <a:rPr lang="en-IE" sz="1800">
                <a:solidFill>
                  <a:schemeClr val="bg1"/>
                </a:solidFill>
                <a:effectLst/>
                <a:latin typeface="Calibri" panose="020F0502020204030204" pitchFamily="34" charset="0"/>
                <a:ea typeface="Calibri" panose="020F0502020204030204" pitchFamily="34" charset="0"/>
                <a:cs typeface="Times New Roman" panose="02020603050405020304" pitchFamily="18" charset="0"/>
              </a:rPr>
              <a:t>, </a:t>
            </a:r>
            <a:r>
              <a:rPr lang="en-IE">
                <a:solidFill>
                  <a:schemeClr val="bg1"/>
                </a:solidFill>
                <a:effectLst>
                  <a:glow rad="101600">
                    <a:srgbClr val="F15C23">
                      <a:alpha val="60000"/>
                    </a:srgbClr>
                  </a:glow>
                </a:effectLst>
                <a:latin typeface="Calibri" panose="020F0502020204030204" pitchFamily="34" charset="0"/>
                <a:cs typeface="Times New Roman" panose="02020603050405020304" pitchFamily="18" charset="0"/>
              </a:rPr>
              <a:t>research</a:t>
            </a:r>
            <a:r>
              <a:rPr lang="en-IE" sz="1800">
                <a:solidFill>
                  <a:schemeClr val="bg1"/>
                </a:solidFill>
                <a:effectLst/>
                <a:latin typeface="Calibri" panose="020F0502020204030204" pitchFamily="34" charset="0"/>
                <a:ea typeface="Calibri" panose="020F0502020204030204" pitchFamily="34" charset="0"/>
                <a:cs typeface="Times New Roman" panose="02020603050405020304" pitchFamily="18" charset="0"/>
              </a:rPr>
              <a:t> and </a:t>
            </a:r>
            <a:r>
              <a:rPr lang="en-IE">
                <a:solidFill>
                  <a:schemeClr val="bg1"/>
                </a:solidFill>
                <a:effectLst>
                  <a:glow rad="101600">
                    <a:srgbClr val="F15C23">
                      <a:alpha val="60000"/>
                    </a:srgbClr>
                  </a:glow>
                </a:effectLst>
                <a:latin typeface="Calibri" panose="020F0502020204030204" pitchFamily="34" charset="0"/>
                <a:cs typeface="Times New Roman" panose="02020603050405020304" pitchFamily="18" charset="0"/>
              </a:rPr>
              <a:t>the development of innovative legal tools</a:t>
            </a:r>
            <a:r>
              <a:rPr lang="en-IE" sz="1800">
                <a:solidFill>
                  <a:schemeClr val="bg1"/>
                </a:solidFill>
                <a:effectLst/>
                <a:latin typeface="Calibri" panose="020F0502020204030204" pitchFamily="34" charset="0"/>
                <a:ea typeface="Calibri" panose="020F0502020204030204" pitchFamily="34" charset="0"/>
                <a:cs typeface="Times New Roman" panose="02020603050405020304" pitchFamily="18" charset="0"/>
              </a:rPr>
              <a:t>.</a:t>
            </a:r>
          </a:p>
          <a:p>
            <a:r>
              <a:rPr lang="en-IE" sz="1800">
                <a:solidFill>
                  <a:schemeClr val="bg1"/>
                </a:solidFill>
                <a:effectLst/>
                <a:latin typeface="Calibri" panose="020F0502020204030204" pitchFamily="34" charset="0"/>
                <a:ea typeface="Calibri" panose="020F0502020204030204" pitchFamily="34" charset="0"/>
                <a:cs typeface="Times New Roman" panose="02020603050405020304" pitchFamily="18" charset="0"/>
              </a:rPr>
              <a:t>The legal data space will </a:t>
            </a:r>
            <a:r>
              <a:rPr lang="en-IE">
                <a:solidFill>
                  <a:schemeClr val="bg1"/>
                </a:solidFill>
                <a:effectLst>
                  <a:glow rad="101600">
                    <a:srgbClr val="F15C23">
                      <a:alpha val="60000"/>
                    </a:srgbClr>
                  </a:glow>
                </a:effectLst>
                <a:latin typeface="Calibri" panose="020F0502020204030204" pitchFamily="34" charset="0"/>
                <a:cs typeface="Times New Roman" panose="02020603050405020304" pitchFamily="18" charset="0"/>
              </a:rPr>
              <a:t>support legal practitioners</a:t>
            </a:r>
            <a:r>
              <a:rPr lang="en-IE" sz="1800">
                <a:solidFill>
                  <a:schemeClr val="bg1"/>
                </a:solidFill>
                <a:effectLst/>
                <a:latin typeface="Calibri" panose="020F0502020204030204" pitchFamily="34" charset="0"/>
                <a:ea typeface="Calibri" panose="020F0502020204030204" pitchFamily="34" charset="0"/>
                <a:cs typeface="Times New Roman" panose="02020603050405020304" pitchFamily="18" charset="0"/>
              </a:rPr>
              <a:t>, </a:t>
            </a:r>
            <a:r>
              <a:rPr lang="en-IE">
                <a:solidFill>
                  <a:schemeClr val="bg1"/>
                </a:solidFill>
                <a:effectLst>
                  <a:glow rad="101600">
                    <a:srgbClr val="F15C23">
                      <a:alpha val="60000"/>
                    </a:srgbClr>
                  </a:glow>
                </a:effectLst>
                <a:latin typeface="Calibri" panose="020F0502020204030204" pitchFamily="34" charset="0"/>
                <a:cs typeface="Times New Roman" panose="02020603050405020304" pitchFamily="18" charset="0"/>
              </a:rPr>
              <a:t>public administrations </a:t>
            </a:r>
            <a:r>
              <a:rPr lang="en-IE" sz="1800">
                <a:solidFill>
                  <a:schemeClr val="bg1"/>
                </a:solidFill>
                <a:effectLst/>
                <a:latin typeface="Calibri" panose="020F0502020204030204" pitchFamily="34" charset="0"/>
                <a:ea typeface="Calibri" panose="020F0502020204030204" pitchFamily="34" charset="0"/>
                <a:cs typeface="Times New Roman" panose="02020603050405020304" pitchFamily="18" charset="0"/>
              </a:rPr>
              <a:t>and </a:t>
            </a:r>
            <a:r>
              <a:rPr lang="en-IE">
                <a:solidFill>
                  <a:schemeClr val="bg1"/>
                </a:solidFill>
                <a:effectLst>
                  <a:glow rad="101600">
                    <a:srgbClr val="F15C23">
                      <a:alpha val="60000"/>
                    </a:srgbClr>
                  </a:glow>
                </a:effectLst>
                <a:latin typeface="Calibri" panose="020F0502020204030204" pitchFamily="34" charset="0"/>
                <a:cs typeface="Times New Roman" panose="02020603050405020304" pitchFamily="18" charset="0"/>
              </a:rPr>
              <a:t>society in general </a:t>
            </a:r>
            <a:r>
              <a:rPr lang="en-IE" sz="1800">
                <a:solidFill>
                  <a:schemeClr val="bg1"/>
                </a:solidFill>
                <a:effectLst/>
                <a:latin typeface="Calibri" panose="020F0502020204030204" pitchFamily="34" charset="0"/>
                <a:ea typeface="Calibri" panose="020F0502020204030204" pitchFamily="34" charset="0"/>
                <a:cs typeface="Times New Roman" panose="02020603050405020304" pitchFamily="18" charset="0"/>
              </a:rPr>
              <a:t>as well as further uphold justice and the rule of law.</a:t>
            </a:r>
            <a:endParaRPr lang="en-IE">
              <a:solidFill>
                <a:schemeClr val="bg1"/>
              </a:solidFill>
            </a:endParaRPr>
          </a:p>
        </p:txBody>
      </p:sp>
      <p:sp>
        <p:nvSpPr>
          <p:cNvPr id="9" name="TextBox 8">
            <a:extLst>
              <a:ext uri="{FF2B5EF4-FFF2-40B4-BE49-F238E27FC236}">
                <a16:creationId xmlns:a16="http://schemas.microsoft.com/office/drawing/2014/main" id="{FDCA5F38-C8EE-2D03-BB3F-4F9C5A98B920}"/>
              </a:ext>
            </a:extLst>
          </p:cNvPr>
          <p:cNvSpPr txBox="1"/>
          <p:nvPr/>
        </p:nvSpPr>
        <p:spPr>
          <a:xfrm>
            <a:off x="-1" y="4849457"/>
            <a:ext cx="1440873" cy="261610"/>
          </a:xfrm>
          <a:prstGeom prst="rect">
            <a:avLst/>
          </a:prstGeom>
          <a:noFill/>
        </p:spPr>
        <p:txBody>
          <a:bodyPr wrap="square" rtlCol="0">
            <a:spAutoFit/>
          </a:bodyPr>
          <a:lstStyle/>
          <a:p>
            <a:r>
              <a:rPr lang="en-US" sz="1100">
                <a:solidFill>
                  <a:schemeClr val="accent2">
                    <a:lumMod val="60000"/>
                    <a:lumOff val="40000"/>
                  </a:schemeClr>
                </a:solidFill>
              </a:rPr>
              <a:t>AI generated image</a:t>
            </a:r>
            <a:endParaRPr lang="en-IE" sz="1100">
              <a:solidFill>
                <a:schemeClr val="accent2">
                  <a:lumMod val="60000"/>
                  <a:lumOff val="40000"/>
                </a:schemeClr>
              </a:solidFill>
            </a:endParaRPr>
          </a:p>
        </p:txBody>
      </p:sp>
    </p:spTree>
    <p:extLst>
      <p:ext uri="{BB962C8B-B14F-4D97-AF65-F5344CB8AC3E}">
        <p14:creationId xmlns:p14="http://schemas.microsoft.com/office/powerpoint/2010/main" val="348159695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12BD632-9EBB-1AD3-2F61-D3BEA31BD7A7}"/>
              </a:ext>
            </a:extLst>
          </p:cNvPr>
          <p:cNvSpPr>
            <a:spLocks noGrp="1"/>
          </p:cNvSpPr>
          <p:nvPr>
            <p:ph type="title"/>
          </p:nvPr>
        </p:nvSpPr>
        <p:spPr/>
        <p:txBody>
          <a:bodyPr/>
          <a:lstStyle/>
          <a:p>
            <a:r>
              <a:rPr lang="en-US"/>
              <a:t>Standards</a:t>
            </a:r>
            <a:endParaRPr lang="en-IE"/>
          </a:p>
        </p:txBody>
      </p:sp>
      <p:pic>
        <p:nvPicPr>
          <p:cNvPr id="8" name="Content Placeholder 7" descr="A logo with a flag and stars&#10;&#10;Description automatically generated with medium confidence">
            <a:extLst>
              <a:ext uri="{FF2B5EF4-FFF2-40B4-BE49-F238E27FC236}">
                <a16:creationId xmlns:a16="http://schemas.microsoft.com/office/drawing/2014/main" id="{16812882-1F05-180C-DC0A-0AD456C2EFE4}"/>
              </a:ext>
            </a:extLst>
          </p:cNvPr>
          <p:cNvPicPr>
            <a:picLocks noGrp="1" noChangeAspect="1"/>
          </p:cNvPicPr>
          <p:nvPr>
            <p:ph idx="1"/>
          </p:nvPr>
        </p:nvPicPr>
        <p:blipFill rotWithShape="1">
          <a:blip r:embed="rId3"/>
          <a:srcRect l="14641" t="27985" r="12185" b="24843"/>
          <a:stretch/>
        </p:blipFill>
        <p:spPr>
          <a:xfrm>
            <a:off x="589936" y="3730019"/>
            <a:ext cx="1247686" cy="574448"/>
          </a:xfrm>
        </p:spPr>
      </p:pic>
      <p:sp>
        <p:nvSpPr>
          <p:cNvPr id="4" name="Text Placeholder 3">
            <a:extLst>
              <a:ext uri="{FF2B5EF4-FFF2-40B4-BE49-F238E27FC236}">
                <a16:creationId xmlns:a16="http://schemas.microsoft.com/office/drawing/2014/main" id="{5E1875CA-47C4-394D-ADF5-D3B0C17FC7B5}"/>
              </a:ext>
            </a:extLst>
          </p:cNvPr>
          <p:cNvSpPr>
            <a:spLocks noGrp="1"/>
          </p:cNvSpPr>
          <p:nvPr>
            <p:ph type="body" sz="quarter" idx="13"/>
          </p:nvPr>
        </p:nvSpPr>
        <p:spPr/>
        <p:txBody>
          <a:bodyPr/>
          <a:lstStyle/>
          <a:p>
            <a:endParaRPr lang="en-IE"/>
          </a:p>
        </p:txBody>
      </p:sp>
      <p:sp>
        <p:nvSpPr>
          <p:cNvPr id="10" name="Oval 9">
            <a:extLst>
              <a:ext uri="{FF2B5EF4-FFF2-40B4-BE49-F238E27FC236}">
                <a16:creationId xmlns:a16="http://schemas.microsoft.com/office/drawing/2014/main" id="{A48514B1-7360-827B-3F9D-E01796AFCAC7}"/>
              </a:ext>
            </a:extLst>
          </p:cNvPr>
          <p:cNvSpPr/>
          <p:nvPr/>
        </p:nvSpPr>
        <p:spPr>
          <a:xfrm>
            <a:off x="2718317" y="1934417"/>
            <a:ext cx="1738366" cy="1610723"/>
          </a:xfrm>
          <a:prstGeom prst="ellipse">
            <a:avLst/>
          </a:prstGeom>
          <a:solidFill>
            <a:srgbClr val="F15C23">
              <a:alpha val="67059"/>
            </a:srgbClr>
          </a:solidFill>
          <a:ln w="28575">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b="1">
                <a:latin typeface="Aptos Display" panose="020B0004020202020204" pitchFamily="34" charset="0"/>
              </a:rPr>
              <a:t>ELI Ontology</a:t>
            </a:r>
            <a:endParaRPr lang="en-IE" b="1">
              <a:latin typeface="Aptos Display" panose="020B0004020202020204" pitchFamily="34" charset="0"/>
            </a:endParaRPr>
          </a:p>
        </p:txBody>
      </p:sp>
      <p:sp>
        <p:nvSpPr>
          <p:cNvPr id="11" name="Oval 10">
            <a:extLst>
              <a:ext uri="{FF2B5EF4-FFF2-40B4-BE49-F238E27FC236}">
                <a16:creationId xmlns:a16="http://schemas.microsoft.com/office/drawing/2014/main" id="{F9398612-3C33-98E5-E080-2A08E79A8C73}"/>
              </a:ext>
            </a:extLst>
          </p:cNvPr>
          <p:cNvSpPr/>
          <p:nvPr/>
        </p:nvSpPr>
        <p:spPr>
          <a:xfrm>
            <a:off x="1837622" y="2759412"/>
            <a:ext cx="1561251" cy="1449412"/>
          </a:xfrm>
          <a:prstGeom prst="ellipse">
            <a:avLst/>
          </a:prstGeom>
          <a:solidFill>
            <a:srgbClr val="F15C23">
              <a:alpha val="67059"/>
            </a:srgbClr>
          </a:solidFill>
          <a:ln w="28575">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b="1">
                <a:latin typeface="Aptos Display" panose="020B0004020202020204" pitchFamily="34" charset="0"/>
              </a:rPr>
              <a:t>ELI Impact</a:t>
            </a:r>
            <a:br>
              <a:rPr lang="en-US" b="1">
                <a:latin typeface="Aptos Display" panose="020B0004020202020204" pitchFamily="34" charset="0"/>
              </a:rPr>
            </a:br>
            <a:r>
              <a:rPr lang="en-US" b="1">
                <a:latin typeface="Aptos Display" panose="020B0004020202020204" pitchFamily="34" charset="0"/>
              </a:rPr>
              <a:t>Ontology</a:t>
            </a:r>
            <a:endParaRPr lang="en-IE" b="1">
              <a:latin typeface="Aptos Display" panose="020B0004020202020204" pitchFamily="34" charset="0"/>
            </a:endParaRPr>
          </a:p>
        </p:txBody>
      </p:sp>
      <p:sp>
        <p:nvSpPr>
          <p:cNvPr id="12" name="Oval 11">
            <a:extLst>
              <a:ext uri="{FF2B5EF4-FFF2-40B4-BE49-F238E27FC236}">
                <a16:creationId xmlns:a16="http://schemas.microsoft.com/office/drawing/2014/main" id="{82E223FE-2BAA-047B-8877-BBAC758E51BF}"/>
              </a:ext>
            </a:extLst>
          </p:cNvPr>
          <p:cNvSpPr/>
          <p:nvPr/>
        </p:nvSpPr>
        <p:spPr>
          <a:xfrm>
            <a:off x="1515346" y="1156506"/>
            <a:ext cx="1988132" cy="1838040"/>
          </a:xfrm>
          <a:prstGeom prst="ellipse">
            <a:avLst/>
          </a:prstGeom>
          <a:solidFill>
            <a:srgbClr val="F15C23">
              <a:alpha val="67059"/>
            </a:srgbClr>
          </a:solidFill>
          <a:ln w="28575">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b="1">
                <a:latin typeface="Aptos Display" panose="020B0004020202020204" pitchFamily="34" charset="0"/>
              </a:rPr>
              <a:t>ELI Draft Legislation Ontology</a:t>
            </a:r>
            <a:endParaRPr lang="en-IE" b="1">
              <a:latin typeface="Aptos Display" panose="020B0004020202020204" pitchFamily="34" charset="0"/>
            </a:endParaRPr>
          </a:p>
        </p:txBody>
      </p:sp>
      <p:sp>
        <p:nvSpPr>
          <p:cNvPr id="13" name="Oval 12">
            <a:extLst>
              <a:ext uri="{FF2B5EF4-FFF2-40B4-BE49-F238E27FC236}">
                <a16:creationId xmlns:a16="http://schemas.microsoft.com/office/drawing/2014/main" id="{7899F208-78C5-03D1-2877-A231CD0D1E5C}"/>
              </a:ext>
            </a:extLst>
          </p:cNvPr>
          <p:cNvSpPr/>
          <p:nvPr/>
        </p:nvSpPr>
        <p:spPr>
          <a:xfrm>
            <a:off x="3682124" y="2962423"/>
            <a:ext cx="1708494" cy="1453695"/>
          </a:xfrm>
          <a:prstGeom prst="ellipse">
            <a:avLst/>
          </a:prstGeom>
          <a:solidFill>
            <a:srgbClr val="F15C23">
              <a:alpha val="67059"/>
            </a:srgbClr>
          </a:solidFill>
          <a:ln w="28575">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000" b="1" err="1">
                <a:latin typeface="Aptos Display" panose="020B0004020202020204" pitchFamily="34" charset="0"/>
              </a:rPr>
              <a:t>Euvoc</a:t>
            </a:r>
            <a:br>
              <a:rPr lang="en-US" sz="2000" b="1">
                <a:latin typeface="Aptos Display" panose="020B0004020202020204" pitchFamily="34" charset="0"/>
              </a:rPr>
            </a:br>
            <a:r>
              <a:rPr lang="en-US" sz="2000" b="1">
                <a:latin typeface="Aptos Display" panose="020B0004020202020204" pitchFamily="34" charset="0"/>
              </a:rPr>
              <a:t>Ontology</a:t>
            </a:r>
            <a:endParaRPr lang="en-IE" sz="2000" b="1">
              <a:latin typeface="Aptos Display" panose="020B0004020202020204" pitchFamily="34" charset="0"/>
            </a:endParaRPr>
          </a:p>
        </p:txBody>
      </p:sp>
      <p:sp>
        <p:nvSpPr>
          <p:cNvPr id="16" name="Oval 15">
            <a:extLst>
              <a:ext uri="{FF2B5EF4-FFF2-40B4-BE49-F238E27FC236}">
                <a16:creationId xmlns:a16="http://schemas.microsoft.com/office/drawing/2014/main" id="{72137071-2390-45E3-2CE9-52294C6564D7}"/>
              </a:ext>
            </a:extLst>
          </p:cNvPr>
          <p:cNvSpPr/>
          <p:nvPr/>
        </p:nvSpPr>
        <p:spPr>
          <a:xfrm>
            <a:off x="3894100" y="1135009"/>
            <a:ext cx="1708494" cy="1630793"/>
          </a:xfrm>
          <a:prstGeom prst="ellipse">
            <a:avLst/>
          </a:prstGeom>
          <a:solidFill>
            <a:srgbClr val="F15C23">
              <a:alpha val="67059"/>
            </a:srgbClr>
          </a:solidFill>
          <a:ln w="28575">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000" b="1">
                <a:latin typeface="Aptos Display" panose="020B0004020202020204" pitchFamily="34" charset="0"/>
              </a:rPr>
              <a:t>AKN4EU format</a:t>
            </a:r>
            <a:endParaRPr lang="en-IE" sz="2000" b="1">
              <a:latin typeface="Aptos Display" panose="020B0004020202020204" pitchFamily="34" charset="0"/>
            </a:endParaRPr>
          </a:p>
        </p:txBody>
      </p:sp>
      <p:sp>
        <p:nvSpPr>
          <p:cNvPr id="20" name="Oval 19">
            <a:extLst>
              <a:ext uri="{FF2B5EF4-FFF2-40B4-BE49-F238E27FC236}">
                <a16:creationId xmlns:a16="http://schemas.microsoft.com/office/drawing/2014/main" id="{4B7583DA-4AE5-2019-6E7F-BC0B87932580}"/>
              </a:ext>
            </a:extLst>
          </p:cNvPr>
          <p:cNvSpPr/>
          <p:nvPr/>
        </p:nvSpPr>
        <p:spPr>
          <a:xfrm>
            <a:off x="5569231" y="930195"/>
            <a:ext cx="1555536" cy="1555536"/>
          </a:xfrm>
          <a:prstGeom prst="ellipse">
            <a:avLst/>
          </a:prstGeom>
          <a:solidFill>
            <a:srgbClr val="F15C23">
              <a:alpha val="67059"/>
            </a:srgbClr>
          </a:solidFill>
          <a:ln w="28575">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b="1">
                <a:latin typeface="Aptos Display" panose="020B0004020202020204" pitchFamily="34" charset="0"/>
              </a:rPr>
              <a:t>Authority tables</a:t>
            </a:r>
            <a:endParaRPr lang="en-IE" b="1">
              <a:latin typeface="Aptos Display" panose="020B0004020202020204" pitchFamily="34" charset="0"/>
            </a:endParaRPr>
          </a:p>
        </p:txBody>
      </p:sp>
      <p:sp>
        <p:nvSpPr>
          <p:cNvPr id="14" name="Oval 13">
            <a:extLst>
              <a:ext uri="{FF2B5EF4-FFF2-40B4-BE49-F238E27FC236}">
                <a16:creationId xmlns:a16="http://schemas.microsoft.com/office/drawing/2014/main" id="{208A25DF-F260-D662-745B-8B485323C6D6}"/>
              </a:ext>
            </a:extLst>
          </p:cNvPr>
          <p:cNvSpPr/>
          <p:nvPr/>
        </p:nvSpPr>
        <p:spPr>
          <a:xfrm>
            <a:off x="6467348" y="2075526"/>
            <a:ext cx="1622551" cy="631322"/>
          </a:xfrm>
          <a:prstGeom prst="ellipse">
            <a:avLst/>
          </a:prstGeom>
          <a:solidFill>
            <a:srgbClr val="F15C23">
              <a:alpha val="67059"/>
            </a:srgbClr>
          </a:solidFill>
          <a:ln w="28575">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100" b="1">
                <a:latin typeface="Aptos Display" panose="020B0004020202020204" pitchFamily="34" charset="0"/>
              </a:rPr>
              <a:t>Subdivision</a:t>
            </a:r>
            <a:endParaRPr lang="en-IE" sz="1100" b="1">
              <a:latin typeface="Aptos Display" panose="020B0004020202020204" pitchFamily="34" charset="0"/>
            </a:endParaRPr>
          </a:p>
        </p:txBody>
      </p:sp>
      <p:sp>
        <p:nvSpPr>
          <p:cNvPr id="21" name="Oval 20">
            <a:extLst>
              <a:ext uri="{FF2B5EF4-FFF2-40B4-BE49-F238E27FC236}">
                <a16:creationId xmlns:a16="http://schemas.microsoft.com/office/drawing/2014/main" id="{134056E9-2EC2-F26D-98C6-84304850759A}"/>
              </a:ext>
            </a:extLst>
          </p:cNvPr>
          <p:cNvSpPr/>
          <p:nvPr/>
        </p:nvSpPr>
        <p:spPr>
          <a:xfrm>
            <a:off x="6184600" y="2536569"/>
            <a:ext cx="1622551" cy="631322"/>
          </a:xfrm>
          <a:prstGeom prst="ellipse">
            <a:avLst/>
          </a:prstGeom>
          <a:solidFill>
            <a:srgbClr val="F15C23">
              <a:alpha val="67059"/>
            </a:srgbClr>
          </a:solidFill>
          <a:ln w="28575">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100" b="1">
                <a:latin typeface="Aptos Display" panose="020B0004020202020204" pitchFamily="34" charset="0"/>
              </a:rPr>
              <a:t>Place</a:t>
            </a:r>
            <a:endParaRPr lang="en-IE" sz="1100" b="1">
              <a:latin typeface="Aptos Display" panose="020B0004020202020204" pitchFamily="34" charset="0"/>
            </a:endParaRPr>
          </a:p>
        </p:txBody>
      </p:sp>
      <p:sp>
        <p:nvSpPr>
          <p:cNvPr id="22" name="Oval 21">
            <a:extLst>
              <a:ext uri="{FF2B5EF4-FFF2-40B4-BE49-F238E27FC236}">
                <a16:creationId xmlns:a16="http://schemas.microsoft.com/office/drawing/2014/main" id="{31749E23-EAA0-9423-9DEE-02F1DA92FB4E}"/>
              </a:ext>
            </a:extLst>
          </p:cNvPr>
          <p:cNvSpPr/>
          <p:nvPr/>
        </p:nvSpPr>
        <p:spPr>
          <a:xfrm>
            <a:off x="6938402" y="2915506"/>
            <a:ext cx="1622551" cy="631322"/>
          </a:xfrm>
          <a:prstGeom prst="ellipse">
            <a:avLst/>
          </a:prstGeom>
          <a:solidFill>
            <a:srgbClr val="F15C23">
              <a:alpha val="67059"/>
            </a:srgbClr>
          </a:solidFill>
          <a:ln w="28575">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100" b="1">
                <a:latin typeface="Aptos Display" panose="020B0004020202020204" pitchFamily="34" charset="0"/>
              </a:rPr>
              <a:t>Modification type</a:t>
            </a:r>
            <a:endParaRPr lang="en-IE" sz="1100" b="1">
              <a:latin typeface="Aptos Display" panose="020B0004020202020204" pitchFamily="34" charset="0"/>
            </a:endParaRPr>
          </a:p>
        </p:txBody>
      </p:sp>
      <p:sp>
        <p:nvSpPr>
          <p:cNvPr id="23" name="Oval 22">
            <a:extLst>
              <a:ext uri="{FF2B5EF4-FFF2-40B4-BE49-F238E27FC236}">
                <a16:creationId xmlns:a16="http://schemas.microsoft.com/office/drawing/2014/main" id="{519FF46A-307A-C13F-E006-DC5F39155BAF}"/>
              </a:ext>
            </a:extLst>
          </p:cNvPr>
          <p:cNvSpPr/>
          <p:nvPr/>
        </p:nvSpPr>
        <p:spPr>
          <a:xfrm>
            <a:off x="5892384" y="3208253"/>
            <a:ext cx="1622551" cy="631322"/>
          </a:xfrm>
          <a:prstGeom prst="ellipse">
            <a:avLst/>
          </a:prstGeom>
          <a:solidFill>
            <a:srgbClr val="F15C23">
              <a:alpha val="67059"/>
            </a:srgbClr>
          </a:solidFill>
          <a:ln w="28575">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100" b="1">
                <a:latin typeface="Aptos Display" panose="020B0004020202020204" pitchFamily="34" charset="0"/>
              </a:rPr>
              <a:t>Corporate body</a:t>
            </a:r>
            <a:endParaRPr lang="en-IE" sz="1100" b="1">
              <a:latin typeface="Aptos Display" panose="020B0004020202020204" pitchFamily="34" charset="0"/>
            </a:endParaRPr>
          </a:p>
        </p:txBody>
      </p:sp>
      <p:sp>
        <p:nvSpPr>
          <p:cNvPr id="24" name="Oval 23">
            <a:extLst>
              <a:ext uri="{FF2B5EF4-FFF2-40B4-BE49-F238E27FC236}">
                <a16:creationId xmlns:a16="http://schemas.microsoft.com/office/drawing/2014/main" id="{DBBA65E3-43AB-D4F0-0914-DE447E037A4D}"/>
              </a:ext>
            </a:extLst>
          </p:cNvPr>
          <p:cNvSpPr/>
          <p:nvPr/>
        </p:nvSpPr>
        <p:spPr>
          <a:xfrm>
            <a:off x="6995875" y="3546828"/>
            <a:ext cx="1622551" cy="631322"/>
          </a:xfrm>
          <a:prstGeom prst="ellipse">
            <a:avLst/>
          </a:prstGeom>
          <a:solidFill>
            <a:srgbClr val="F15C23">
              <a:alpha val="67059"/>
            </a:srgbClr>
          </a:solidFill>
          <a:ln w="28575">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100" b="1">
                <a:latin typeface="Aptos Display" panose="020B0004020202020204" pitchFamily="34" charset="0"/>
              </a:rPr>
              <a:t>Resource type</a:t>
            </a:r>
            <a:endParaRPr lang="en-IE" sz="1100" b="1">
              <a:latin typeface="Aptos Display" panose="020B0004020202020204" pitchFamily="34" charset="0"/>
            </a:endParaRPr>
          </a:p>
        </p:txBody>
      </p:sp>
      <p:sp>
        <p:nvSpPr>
          <p:cNvPr id="3" name="Oval 2">
            <a:extLst>
              <a:ext uri="{FF2B5EF4-FFF2-40B4-BE49-F238E27FC236}">
                <a16:creationId xmlns:a16="http://schemas.microsoft.com/office/drawing/2014/main" id="{E252D252-EBEC-822C-3590-8AD49E90E2ED}"/>
              </a:ext>
            </a:extLst>
          </p:cNvPr>
          <p:cNvSpPr/>
          <p:nvPr/>
        </p:nvSpPr>
        <p:spPr>
          <a:xfrm>
            <a:off x="4819007" y="2622930"/>
            <a:ext cx="797995" cy="678985"/>
          </a:xfrm>
          <a:prstGeom prst="ellipse">
            <a:avLst/>
          </a:prstGeom>
          <a:solidFill>
            <a:srgbClr val="F15C23">
              <a:alpha val="67059"/>
            </a:srgbClr>
          </a:solidFill>
          <a:ln w="28575">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000" b="1">
                <a:latin typeface="Aptos Display" panose="020B0004020202020204" pitchFamily="34" charset="0"/>
              </a:rPr>
              <a:t>…</a:t>
            </a:r>
            <a:endParaRPr lang="en-IE" sz="2000" b="1">
              <a:latin typeface="Aptos Display" panose="020B0004020202020204" pitchFamily="34" charset="0"/>
            </a:endParaRPr>
          </a:p>
        </p:txBody>
      </p:sp>
      <p:sp>
        <p:nvSpPr>
          <p:cNvPr id="5" name="Oval 4">
            <a:extLst>
              <a:ext uri="{FF2B5EF4-FFF2-40B4-BE49-F238E27FC236}">
                <a16:creationId xmlns:a16="http://schemas.microsoft.com/office/drawing/2014/main" id="{D29809DC-3648-1FEC-C305-1A42D990CCAE}"/>
              </a:ext>
            </a:extLst>
          </p:cNvPr>
          <p:cNvSpPr/>
          <p:nvPr/>
        </p:nvSpPr>
        <p:spPr>
          <a:xfrm>
            <a:off x="6467716" y="4017243"/>
            <a:ext cx="1110932" cy="340066"/>
          </a:xfrm>
          <a:prstGeom prst="ellipse">
            <a:avLst/>
          </a:prstGeom>
          <a:solidFill>
            <a:srgbClr val="F15C23">
              <a:alpha val="67059"/>
            </a:srgbClr>
          </a:solidFill>
          <a:ln w="28575">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000" b="1">
                <a:latin typeface="Aptos Display" panose="020B0004020202020204" pitchFamily="34" charset="0"/>
              </a:rPr>
              <a:t>…</a:t>
            </a:r>
            <a:endParaRPr lang="en-IE" sz="2000" b="1">
              <a:latin typeface="Aptos Display" panose="020B0004020202020204" pitchFamily="34" charset="0"/>
            </a:endParaRPr>
          </a:p>
        </p:txBody>
      </p:sp>
      <p:sp>
        <p:nvSpPr>
          <p:cNvPr id="6" name="Oval 5">
            <a:extLst>
              <a:ext uri="{FF2B5EF4-FFF2-40B4-BE49-F238E27FC236}">
                <a16:creationId xmlns:a16="http://schemas.microsoft.com/office/drawing/2014/main" id="{6BD49A6C-A590-27B5-6708-96D37CE14F83}"/>
              </a:ext>
            </a:extLst>
          </p:cNvPr>
          <p:cNvSpPr/>
          <p:nvPr/>
        </p:nvSpPr>
        <p:spPr>
          <a:xfrm>
            <a:off x="3250759" y="3726460"/>
            <a:ext cx="797995" cy="678985"/>
          </a:xfrm>
          <a:prstGeom prst="ellipse">
            <a:avLst/>
          </a:prstGeom>
          <a:solidFill>
            <a:srgbClr val="F15C23">
              <a:alpha val="67059"/>
            </a:srgbClr>
          </a:solidFill>
          <a:ln w="28575">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000" b="1">
                <a:latin typeface="Aptos Display" panose="020B0004020202020204" pitchFamily="34" charset="0"/>
              </a:rPr>
              <a:t>…</a:t>
            </a:r>
            <a:endParaRPr lang="en-IE" sz="2000" b="1">
              <a:latin typeface="Aptos Display" panose="020B0004020202020204" pitchFamily="34" charset="0"/>
            </a:endParaRPr>
          </a:p>
        </p:txBody>
      </p:sp>
    </p:spTree>
    <p:extLst>
      <p:ext uri="{BB962C8B-B14F-4D97-AF65-F5344CB8AC3E}">
        <p14:creationId xmlns:p14="http://schemas.microsoft.com/office/powerpoint/2010/main" val="65041683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941D6-0FE8-6E3F-701A-0348DD35693D}"/>
              </a:ext>
            </a:extLst>
          </p:cNvPr>
          <p:cNvSpPr>
            <a:spLocks noGrp="1"/>
          </p:cNvSpPr>
          <p:nvPr>
            <p:ph type="title"/>
          </p:nvPr>
        </p:nvSpPr>
        <p:spPr/>
        <p:txBody>
          <a:bodyPr/>
          <a:lstStyle/>
          <a:p>
            <a:r>
              <a:rPr lang="en-US"/>
              <a:t>Landing page – data.europa.eu/ELDS</a:t>
            </a:r>
            <a:endParaRPr lang="en-IE"/>
          </a:p>
        </p:txBody>
      </p:sp>
      <p:sp>
        <p:nvSpPr>
          <p:cNvPr id="4" name="Text Placeholder 3">
            <a:extLst>
              <a:ext uri="{FF2B5EF4-FFF2-40B4-BE49-F238E27FC236}">
                <a16:creationId xmlns:a16="http://schemas.microsoft.com/office/drawing/2014/main" id="{28E98D4E-0AEC-4803-9947-75FD1776E6C2}"/>
              </a:ext>
            </a:extLst>
          </p:cNvPr>
          <p:cNvSpPr>
            <a:spLocks noGrp="1"/>
          </p:cNvSpPr>
          <p:nvPr>
            <p:ph type="body" sz="quarter" idx="13"/>
          </p:nvPr>
        </p:nvSpPr>
        <p:spPr/>
        <p:txBody>
          <a:bodyPr/>
          <a:lstStyle/>
          <a:p>
            <a:endParaRPr lang="en-IE"/>
          </a:p>
        </p:txBody>
      </p:sp>
      <p:pic>
        <p:nvPicPr>
          <p:cNvPr id="6" name="Picture 5">
            <a:hlinkClick r:id="rId3"/>
            <a:extLst>
              <a:ext uri="{FF2B5EF4-FFF2-40B4-BE49-F238E27FC236}">
                <a16:creationId xmlns:a16="http://schemas.microsoft.com/office/drawing/2014/main" id="{EA482AC4-8E10-957C-F775-834EAADC13ED}"/>
              </a:ext>
            </a:extLst>
          </p:cNvPr>
          <p:cNvPicPr>
            <a:picLocks noChangeAspect="1"/>
          </p:cNvPicPr>
          <p:nvPr/>
        </p:nvPicPr>
        <p:blipFill rotWithShape="1">
          <a:blip r:embed="rId4"/>
          <a:srcRect t="10853" b="10549"/>
          <a:stretch/>
        </p:blipFill>
        <p:spPr>
          <a:xfrm>
            <a:off x="900186" y="989955"/>
            <a:ext cx="6415014" cy="3356949"/>
          </a:xfrm>
          <a:prstGeom prst="rect">
            <a:avLst/>
          </a:prstGeom>
        </p:spPr>
      </p:pic>
      <p:grpSp>
        <p:nvGrpSpPr>
          <p:cNvPr id="13" name="Group 12">
            <a:extLst>
              <a:ext uri="{FF2B5EF4-FFF2-40B4-BE49-F238E27FC236}">
                <a16:creationId xmlns:a16="http://schemas.microsoft.com/office/drawing/2014/main" id="{11CE623A-2424-9E11-644B-D58E01D470E6}"/>
              </a:ext>
            </a:extLst>
          </p:cNvPr>
          <p:cNvGrpSpPr/>
          <p:nvPr/>
        </p:nvGrpSpPr>
        <p:grpSpPr>
          <a:xfrm>
            <a:off x="7716584" y="989955"/>
            <a:ext cx="1040605" cy="3471313"/>
            <a:chOff x="7704368" y="720149"/>
            <a:chExt cx="1040605" cy="3471313"/>
          </a:xfrm>
        </p:grpSpPr>
        <p:sp>
          <p:nvSpPr>
            <p:cNvPr id="7" name="Rectangle 6">
              <a:extLst>
                <a:ext uri="{FF2B5EF4-FFF2-40B4-BE49-F238E27FC236}">
                  <a16:creationId xmlns:a16="http://schemas.microsoft.com/office/drawing/2014/main" id="{606B622C-0B3F-AA43-1986-5D16C9BB8FDA}"/>
                </a:ext>
              </a:extLst>
            </p:cNvPr>
            <p:cNvSpPr/>
            <p:nvPr/>
          </p:nvSpPr>
          <p:spPr>
            <a:xfrm>
              <a:off x="7704368" y="1208685"/>
              <a:ext cx="1040605" cy="2982777"/>
            </a:xfrm>
            <a:prstGeom prst="rect">
              <a:avLst/>
            </a:prstGeom>
            <a:solidFill>
              <a:schemeClr val="accent2">
                <a:lumMod val="60000"/>
                <a:lumOff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9" name="TextBox 8">
              <a:extLst>
                <a:ext uri="{FF2B5EF4-FFF2-40B4-BE49-F238E27FC236}">
                  <a16:creationId xmlns:a16="http://schemas.microsoft.com/office/drawing/2014/main" id="{ABFCEC14-D885-457F-8BC0-799AE69E5E37}"/>
                </a:ext>
              </a:extLst>
            </p:cNvPr>
            <p:cNvSpPr txBox="1"/>
            <p:nvPr/>
          </p:nvSpPr>
          <p:spPr>
            <a:xfrm>
              <a:off x="7739761" y="1729249"/>
              <a:ext cx="969819" cy="2462213"/>
            </a:xfrm>
            <a:prstGeom prst="rect">
              <a:avLst/>
            </a:prstGeom>
            <a:noFill/>
          </p:spPr>
          <p:txBody>
            <a:bodyPr wrap="square" rtlCol="0">
              <a:spAutoFit/>
            </a:bodyPr>
            <a:lstStyle/>
            <a:p>
              <a:pPr algn="ctr"/>
              <a:r>
                <a:rPr lang="en-US" sz="1100" b="0" i="0">
                  <a:solidFill>
                    <a:srgbClr val="000000"/>
                  </a:solidFill>
                  <a:effectLst/>
                  <a:latin typeface="Aptos Display" panose="020B0004020202020204" pitchFamily="34" charset="0"/>
                </a:rPr>
                <a:t>Web page describing the key elements (standards, access points, data </a:t>
              </a:r>
              <a:r>
                <a:rPr lang="en-US" sz="1100" b="0" i="0" err="1">
                  <a:solidFill>
                    <a:srgbClr val="000000"/>
                  </a:solidFill>
                  <a:effectLst/>
                  <a:latin typeface="Aptos Display" panose="020B0004020202020204" pitchFamily="34" charset="0"/>
                </a:rPr>
                <a:t>oj</a:t>
              </a:r>
              <a:r>
                <a:rPr lang="en-US" sz="1100" b="0" i="0">
                  <a:solidFill>
                    <a:srgbClr val="000000"/>
                  </a:solidFill>
                  <a:effectLst/>
                  <a:latin typeface="Aptos Display" panose="020B0004020202020204" pitchFamily="34" charset="0"/>
                </a:rPr>
                <a:t> justice systems) of the Legal Data Space</a:t>
              </a:r>
            </a:p>
            <a:p>
              <a:pPr algn="ctr"/>
              <a:endParaRPr lang="en-US" sz="1100">
                <a:solidFill>
                  <a:srgbClr val="000000"/>
                </a:solidFill>
                <a:latin typeface="Aptos Display" panose="020B0004020202020204" pitchFamily="34" charset="0"/>
              </a:endParaRPr>
            </a:p>
            <a:p>
              <a:pPr algn="ctr"/>
              <a:r>
                <a:rPr lang="en-US" sz="1100" b="0" i="1">
                  <a:solidFill>
                    <a:srgbClr val="F15C23"/>
                  </a:solidFill>
                  <a:effectLst/>
                  <a:latin typeface="Aptos Display" panose="020B0004020202020204" pitchFamily="34" charset="0"/>
                </a:rPr>
                <a:t>work in progress</a:t>
              </a:r>
            </a:p>
          </p:txBody>
        </p:sp>
        <p:sp>
          <p:nvSpPr>
            <p:cNvPr id="10" name="Oval 9">
              <a:extLst>
                <a:ext uri="{FF2B5EF4-FFF2-40B4-BE49-F238E27FC236}">
                  <a16:creationId xmlns:a16="http://schemas.microsoft.com/office/drawing/2014/main" id="{7A9C4ECC-3DCE-88D6-9CE6-89D94B9AAEF3}"/>
                </a:ext>
              </a:extLst>
            </p:cNvPr>
            <p:cNvSpPr/>
            <p:nvPr/>
          </p:nvSpPr>
          <p:spPr>
            <a:xfrm>
              <a:off x="7739761" y="720149"/>
              <a:ext cx="969819" cy="969819"/>
            </a:xfrm>
            <a:prstGeom prst="ellipse">
              <a:avLst/>
            </a:prstGeom>
            <a:solidFill>
              <a:srgbClr val="F15C23"/>
            </a:solidFill>
            <a:ln w="76200">
              <a:solidFill>
                <a:srgbClr val="80808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00" b="1">
                  <a:latin typeface="Aptos Display" panose="020B0004020202020204" pitchFamily="34" charset="0"/>
                </a:rPr>
                <a:t>March</a:t>
              </a:r>
              <a:br>
                <a:rPr lang="en-US" sz="1000" b="1">
                  <a:latin typeface="Aptos Display" panose="020B0004020202020204" pitchFamily="34" charset="0"/>
                </a:rPr>
              </a:br>
              <a:r>
                <a:rPr lang="en-US" sz="1000" b="1">
                  <a:latin typeface="Aptos Display" panose="020B0004020202020204" pitchFamily="34" charset="0"/>
                </a:rPr>
                <a:t>2025</a:t>
              </a:r>
              <a:endParaRPr lang="en-IE" sz="1000" b="1">
                <a:latin typeface="Aptos Display" panose="020B0004020202020204" pitchFamily="34" charset="0"/>
              </a:endParaRPr>
            </a:p>
          </p:txBody>
        </p:sp>
      </p:grpSp>
    </p:spTree>
    <p:extLst>
      <p:ext uri="{BB962C8B-B14F-4D97-AF65-F5344CB8AC3E}">
        <p14:creationId xmlns:p14="http://schemas.microsoft.com/office/powerpoint/2010/main" val="21796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1157A5-A8DC-C338-E485-8F0EA5FF4835}"/>
              </a:ext>
            </a:extLst>
          </p:cNvPr>
          <p:cNvSpPr>
            <a:spLocks noGrp="1"/>
          </p:cNvSpPr>
          <p:nvPr>
            <p:ph type="title"/>
          </p:nvPr>
        </p:nvSpPr>
        <p:spPr/>
        <p:txBody>
          <a:bodyPr/>
          <a:lstStyle/>
          <a:p>
            <a:r>
              <a:rPr lang="en-US"/>
              <a:t>Dataset</a:t>
            </a:r>
            <a:endParaRPr lang="en-IE"/>
          </a:p>
        </p:txBody>
      </p:sp>
      <p:pic>
        <p:nvPicPr>
          <p:cNvPr id="6" name="Content Placeholder 5">
            <a:extLst>
              <a:ext uri="{FF2B5EF4-FFF2-40B4-BE49-F238E27FC236}">
                <a16:creationId xmlns:a16="http://schemas.microsoft.com/office/drawing/2014/main" id="{D5D0A38C-C18C-91FF-DFAC-E04C4E48259B}"/>
              </a:ext>
            </a:extLst>
          </p:cNvPr>
          <p:cNvPicPr>
            <a:picLocks noGrp="1" noChangeAspect="1"/>
          </p:cNvPicPr>
          <p:nvPr>
            <p:ph idx="1"/>
          </p:nvPr>
        </p:nvPicPr>
        <p:blipFill>
          <a:blip r:embed="rId3"/>
          <a:stretch>
            <a:fillRect/>
          </a:stretch>
        </p:blipFill>
        <p:spPr>
          <a:xfrm>
            <a:off x="1037851" y="1000013"/>
            <a:ext cx="5845635" cy="3616325"/>
          </a:xfrm>
        </p:spPr>
      </p:pic>
      <p:sp>
        <p:nvSpPr>
          <p:cNvPr id="4" name="Text Placeholder 3">
            <a:extLst>
              <a:ext uri="{FF2B5EF4-FFF2-40B4-BE49-F238E27FC236}">
                <a16:creationId xmlns:a16="http://schemas.microsoft.com/office/drawing/2014/main" id="{B0824D21-6506-B20D-D746-FA3E60280AD4}"/>
              </a:ext>
            </a:extLst>
          </p:cNvPr>
          <p:cNvSpPr>
            <a:spLocks noGrp="1"/>
          </p:cNvSpPr>
          <p:nvPr>
            <p:ph type="body" sz="quarter" idx="13"/>
          </p:nvPr>
        </p:nvSpPr>
        <p:spPr/>
        <p:txBody>
          <a:bodyPr/>
          <a:lstStyle/>
          <a:p>
            <a:endParaRPr lang="en-IE"/>
          </a:p>
        </p:txBody>
      </p:sp>
      <p:grpSp>
        <p:nvGrpSpPr>
          <p:cNvPr id="16" name="Group 15">
            <a:extLst>
              <a:ext uri="{FF2B5EF4-FFF2-40B4-BE49-F238E27FC236}">
                <a16:creationId xmlns:a16="http://schemas.microsoft.com/office/drawing/2014/main" id="{D8CBBD82-9863-4B5D-26AB-3308FE855B8C}"/>
              </a:ext>
            </a:extLst>
          </p:cNvPr>
          <p:cNvGrpSpPr/>
          <p:nvPr/>
        </p:nvGrpSpPr>
        <p:grpSpPr>
          <a:xfrm>
            <a:off x="7704368" y="720149"/>
            <a:ext cx="1040605" cy="3703202"/>
            <a:chOff x="7704368" y="425454"/>
            <a:chExt cx="1040605" cy="3703202"/>
          </a:xfrm>
        </p:grpSpPr>
        <p:sp>
          <p:nvSpPr>
            <p:cNvPr id="10" name="Rectangle 9">
              <a:extLst>
                <a:ext uri="{FF2B5EF4-FFF2-40B4-BE49-F238E27FC236}">
                  <a16:creationId xmlns:a16="http://schemas.microsoft.com/office/drawing/2014/main" id="{092969A8-D6FD-7B30-FA71-2BD7C5999C74}"/>
                </a:ext>
              </a:extLst>
            </p:cNvPr>
            <p:cNvSpPr/>
            <p:nvPr/>
          </p:nvSpPr>
          <p:spPr>
            <a:xfrm>
              <a:off x="7704368" y="913990"/>
              <a:ext cx="1040605" cy="3214666"/>
            </a:xfrm>
            <a:prstGeom prst="rect">
              <a:avLst/>
            </a:prstGeom>
            <a:solidFill>
              <a:schemeClr val="accent2">
                <a:lumMod val="60000"/>
                <a:lumOff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E"/>
            </a:p>
          </p:txBody>
        </p:sp>
        <p:grpSp>
          <p:nvGrpSpPr>
            <p:cNvPr id="11" name="Content Placeholder 9" descr="User with solid fill">
              <a:extLst>
                <a:ext uri="{FF2B5EF4-FFF2-40B4-BE49-F238E27FC236}">
                  <a16:creationId xmlns:a16="http://schemas.microsoft.com/office/drawing/2014/main" id="{247C0AA4-04E7-3E59-AC42-7B59568BFA16}"/>
                </a:ext>
              </a:extLst>
            </p:cNvPr>
            <p:cNvGrpSpPr/>
            <p:nvPr/>
          </p:nvGrpSpPr>
          <p:grpSpPr>
            <a:xfrm>
              <a:off x="8091464" y="3766770"/>
              <a:ext cx="266411" cy="283062"/>
              <a:chOff x="900108" y="3105120"/>
              <a:chExt cx="266411" cy="283062"/>
            </a:xfrm>
            <a:solidFill>
              <a:srgbClr val="F15C23"/>
            </a:solidFill>
          </p:grpSpPr>
          <p:sp>
            <p:nvSpPr>
              <p:cNvPr id="14" name="Freeform: Shape 13">
                <a:extLst>
                  <a:ext uri="{FF2B5EF4-FFF2-40B4-BE49-F238E27FC236}">
                    <a16:creationId xmlns:a16="http://schemas.microsoft.com/office/drawing/2014/main" id="{280CF554-F8ED-C6B6-4F73-C3081E0CBB8C}"/>
                  </a:ext>
                </a:extLst>
              </p:cNvPr>
              <p:cNvSpPr/>
              <p:nvPr/>
            </p:nvSpPr>
            <p:spPr>
              <a:xfrm>
                <a:off x="966711" y="3105120"/>
                <a:ext cx="133205" cy="133205"/>
              </a:xfrm>
              <a:custGeom>
                <a:avLst/>
                <a:gdLst>
                  <a:gd name="connsiteX0" fmla="*/ 133206 w 133205"/>
                  <a:gd name="connsiteY0" fmla="*/ 66603 h 133205"/>
                  <a:gd name="connsiteX1" fmla="*/ 66603 w 133205"/>
                  <a:gd name="connsiteY1" fmla="*/ 133206 h 133205"/>
                  <a:gd name="connsiteX2" fmla="*/ 0 w 133205"/>
                  <a:gd name="connsiteY2" fmla="*/ 66603 h 133205"/>
                  <a:gd name="connsiteX3" fmla="*/ 66603 w 133205"/>
                  <a:gd name="connsiteY3" fmla="*/ 0 h 133205"/>
                  <a:gd name="connsiteX4" fmla="*/ 133206 w 133205"/>
                  <a:gd name="connsiteY4" fmla="*/ 66603 h 1332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205" h="133205">
                    <a:moveTo>
                      <a:pt x="133206" y="66603"/>
                    </a:moveTo>
                    <a:cubicBezTo>
                      <a:pt x="133206" y="103387"/>
                      <a:pt x="103387" y="133206"/>
                      <a:pt x="66603" y="133206"/>
                    </a:cubicBezTo>
                    <a:cubicBezTo>
                      <a:pt x="29819" y="133206"/>
                      <a:pt x="0" y="103387"/>
                      <a:pt x="0" y="66603"/>
                    </a:cubicBezTo>
                    <a:cubicBezTo>
                      <a:pt x="0" y="29819"/>
                      <a:pt x="29819" y="0"/>
                      <a:pt x="66603" y="0"/>
                    </a:cubicBezTo>
                    <a:cubicBezTo>
                      <a:pt x="103387" y="0"/>
                      <a:pt x="133206" y="29819"/>
                      <a:pt x="133206" y="66603"/>
                    </a:cubicBezTo>
                    <a:close/>
                  </a:path>
                </a:pathLst>
              </a:custGeom>
              <a:solidFill>
                <a:srgbClr val="F15C23"/>
              </a:solidFill>
              <a:ln w="9525" cap="flat">
                <a:noFill/>
                <a:prstDash val="solid"/>
                <a:miter/>
              </a:ln>
            </p:spPr>
            <p:txBody>
              <a:bodyPr rtlCol="0" anchor="ctr"/>
              <a:lstStyle/>
              <a:p>
                <a:endParaRPr lang="en-IE"/>
              </a:p>
            </p:txBody>
          </p:sp>
          <p:sp>
            <p:nvSpPr>
              <p:cNvPr id="15" name="Freeform: Shape 14">
                <a:extLst>
                  <a:ext uri="{FF2B5EF4-FFF2-40B4-BE49-F238E27FC236}">
                    <a16:creationId xmlns:a16="http://schemas.microsoft.com/office/drawing/2014/main" id="{9DACCAAD-9B2D-F887-F040-119D4FB7F621}"/>
                  </a:ext>
                </a:extLst>
              </p:cNvPr>
              <p:cNvSpPr/>
              <p:nvPr/>
            </p:nvSpPr>
            <p:spPr>
              <a:xfrm>
                <a:off x="900108" y="3254976"/>
                <a:ext cx="266411" cy="133205"/>
              </a:xfrm>
              <a:custGeom>
                <a:avLst/>
                <a:gdLst>
                  <a:gd name="connsiteX0" fmla="*/ 266411 w 266411"/>
                  <a:gd name="connsiteY0" fmla="*/ 133206 h 133205"/>
                  <a:gd name="connsiteX1" fmla="*/ 266411 w 266411"/>
                  <a:gd name="connsiteY1" fmla="*/ 66603 h 133205"/>
                  <a:gd name="connsiteX2" fmla="*/ 253091 w 266411"/>
                  <a:gd name="connsiteY2" fmla="*/ 39962 h 133205"/>
                  <a:gd name="connsiteX3" fmla="*/ 188153 w 266411"/>
                  <a:gd name="connsiteY3" fmla="*/ 8325 h 133205"/>
                  <a:gd name="connsiteX4" fmla="*/ 133206 w 266411"/>
                  <a:gd name="connsiteY4" fmla="*/ 0 h 133205"/>
                  <a:gd name="connsiteX5" fmla="*/ 78258 w 266411"/>
                  <a:gd name="connsiteY5" fmla="*/ 8325 h 133205"/>
                  <a:gd name="connsiteX6" fmla="*/ 13321 w 266411"/>
                  <a:gd name="connsiteY6" fmla="*/ 39962 h 133205"/>
                  <a:gd name="connsiteX7" fmla="*/ 0 w 266411"/>
                  <a:gd name="connsiteY7" fmla="*/ 66603 h 133205"/>
                  <a:gd name="connsiteX8" fmla="*/ 0 w 266411"/>
                  <a:gd name="connsiteY8" fmla="*/ 133206 h 133205"/>
                  <a:gd name="connsiteX9" fmla="*/ 266411 w 266411"/>
                  <a:gd name="connsiteY9" fmla="*/ 133206 h 1332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6411" h="133205">
                    <a:moveTo>
                      <a:pt x="266411" y="133206"/>
                    </a:moveTo>
                    <a:lnTo>
                      <a:pt x="266411" y="66603"/>
                    </a:lnTo>
                    <a:cubicBezTo>
                      <a:pt x="266411" y="56612"/>
                      <a:pt x="261416" y="46622"/>
                      <a:pt x="253091" y="39962"/>
                    </a:cubicBezTo>
                    <a:cubicBezTo>
                      <a:pt x="234775" y="24976"/>
                      <a:pt x="211464" y="14986"/>
                      <a:pt x="188153" y="8325"/>
                    </a:cubicBezTo>
                    <a:cubicBezTo>
                      <a:pt x="171502" y="3330"/>
                      <a:pt x="153187" y="0"/>
                      <a:pt x="133206" y="0"/>
                    </a:cubicBezTo>
                    <a:cubicBezTo>
                      <a:pt x="114890" y="0"/>
                      <a:pt x="96574" y="3330"/>
                      <a:pt x="78258" y="8325"/>
                    </a:cubicBezTo>
                    <a:cubicBezTo>
                      <a:pt x="54947" y="14986"/>
                      <a:pt x="31636" y="26641"/>
                      <a:pt x="13321" y="39962"/>
                    </a:cubicBezTo>
                    <a:cubicBezTo>
                      <a:pt x="4995" y="46622"/>
                      <a:pt x="0" y="56612"/>
                      <a:pt x="0" y="66603"/>
                    </a:cubicBezTo>
                    <a:lnTo>
                      <a:pt x="0" y="133206"/>
                    </a:lnTo>
                    <a:lnTo>
                      <a:pt x="266411" y="133206"/>
                    </a:lnTo>
                    <a:close/>
                  </a:path>
                </a:pathLst>
              </a:custGeom>
              <a:solidFill>
                <a:srgbClr val="F15C23"/>
              </a:solidFill>
              <a:ln w="9525" cap="flat">
                <a:noFill/>
                <a:prstDash val="solid"/>
                <a:miter/>
              </a:ln>
            </p:spPr>
            <p:txBody>
              <a:bodyPr rtlCol="0" anchor="ctr"/>
              <a:lstStyle/>
              <a:p>
                <a:endParaRPr lang="en-IE"/>
              </a:p>
            </p:txBody>
          </p:sp>
        </p:grpSp>
        <p:sp>
          <p:nvSpPr>
            <p:cNvPr id="12" name="TextBox 11">
              <a:extLst>
                <a:ext uri="{FF2B5EF4-FFF2-40B4-BE49-F238E27FC236}">
                  <a16:creationId xmlns:a16="http://schemas.microsoft.com/office/drawing/2014/main" id="{C51DA43F-FBDB-2185-CBBA-FB22931067AC}"/>
                </a:ext>
              </a:extLst>
            </p:cNvPr>
            <p:cNvSpPr txBox="1"/>
            <p:nvPr/>
          </p:nvSpPr>
          <p:spPr>
            <a:xfrm>
              <a:off x="7739761" y="1434554"/>
              <a:ext cx="969819" cy="2292935"/>
            </a:xfrm>
            <a:prstGeom prst="rect">
              <a:avLst/>
            </a:prstGeom>
            <a:noFill/>
          </p:spPr>
          <p:txBody>
            <a:bodyPr wrap="square" rtlCol="0">
              <a:spAutoFit/>
            </a:bodyPr>
            <a:lstStyle/>
            <a:p>
              <a:pPr algn="ctr"/>
              <a:r>
                <a:rPr lang="en-US" sz="1100" b="0" i="0">
                  <a:solidFill>
                    <a:srgbClr val="000000"/>
                  </a:solidFill>
                  <a:effectLst/>
                  <a:latin typeface="Aptos Display" panose="020B0004020202020204" pitchFamily="34" charset="0"/>
                </a:rPr>
                <a:t>List of 28 distributions describing EU and each EU Member State’s official Legislation Databases for human access (HTML format)</a:t>
              </a:r>
            </a:p>
          </p:txBody>
        </p:sp>
        <p:sp>
          <p:nvSpPr>
            <p:cNvPr id="13" name="Oval 12">
              <a:extLst>
                <a:ext uri="{FF2B5EF4-FFF2-40B4-BE49-F238E27FC236}">
                  <a16:creationId xmlns:a16="http://schemas.microsoft.com/office/drawing/2014/main" id="{157BFCF8-7972-0F35-A0FB-2CA5EA64C279}"/>
                </a:ext>
              </a:extLst>
            </p:cNvPr>
            <p:cNvSpPr/>
            <p:nvPr/>
          </p:nvSpPr>
          <p:spPr>
            <a:xfrm>
              <a:off x="7739761" y="425454"/>
              <a:ext cx="969819" cy="969819"/>
            </a:xfrm>
            <a:prstGeom prst="ellipse">
              <a:avLst/>
            </a:prstGeom>
            <a:solidFill>
              <a:srgbClr val="F15C23"/>
            </a:solidFill>
            <a:ln w="76200">
              <a:solidFill>
                <a:srgbClr val="80808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00" b="1">
                  <a:latin typeface="Aptos Display" panose="020B0004020202020204" pitchFamily="34" charset="0"/>
                </a:rPr>
                <a:t>March</a:t>
              </a:r>
              <a:br>
                <a:rPr lang="en-US" sz="1000" b="1">
                  <a:latin typeface="Aptos Display" panose="020B0004020202020204" pitchFamily="34" charset="0"/>
                </a:rPr>
              </a:br>
              <a:r>
                <a:rPr lang="en-US" sz="1000" b="1">
                  <a:latin typeface="Aptos Display" panose="020B0004020202020204" pitchFamily="34" charset="0"/>
                </a:rPr>
                <a:t>2025</a:t>
              </a:r>
              <a:endParaRPr lang="en-IE" sz="1000" b="1">
                <a:latin typeface="Aptos Display" panose="020B0004020202020204" pitchFamily="34" charset="0"/>
              </a:endParaRPr>
            </a:p>
          </p:txBody>
        </p:sp>
      </p:grpSp>
    </p:spTree>
    <p:extLst>
      <p:ext uri="{BB962C8B-B14F-4D97-AF65-F5344CB8AC3E}">
        <p14:creationId xmlns:p14="http://schemas.microsoft.com/office/powerpoint/2010/main" val="222835833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0" name="Freeform: Shape 79">
            <a:extLst>
              <a:ext uri="{FF2B5EF4-FFF2-40B4-BE49-F238E27FC236}">
                <a16:creationId xmlns:a16="http://schemas.microsoft.com/office/drawing/2014/main" id="{EB1D4FD0-DE9E-B35D-07B5-03E43F1D8064}"/>
              </a:ext>
            </a:extLst>
          </p:cNvPr>
          <p:cNvSpPr/>
          <p:nvPr/>
        </p:nvSpPr>
        <p:spPr>
          <a:xfrm>
            <a:off x="755073" y="1704108"/>
            <a:ext cx="7640782" cy="1420097"/>
          </a:xfrm>
          <a:custGeom>
            <a:avLst/>
            <a:gdLst>
              <a:gd name="connsiteX0" fmla="*/ 0 w 7640782"/>
              <a:gd name="connsiteY0" fmla="*/ 34637 h 1420097"/>
              <a:gd name="connsiteX1" fmla="*/ 1046018 w 7640782"/>
              <a:gd name="connsiteY1" fmla="*/ 1420092 h 1420097"/>
              <a:gd name="connsiteX2" fmla="*/ 2147454 w 7640782"/>
              <a:gd name="connsiteY2" fmla="*/ 20783 h 1420097"/>
              <a:gd name="connsiteX3" fmla="*/ 3241963 w 7640782"/>
              <a:gd name="connsiteY3" fmla="*/ 872837 h 1420097"/>
              <a:gd name="connsiteX4" fmla="*/ 4322618 w 7640782"/>
              <a:gd name="connsiteY4" fmla="*/ 27710 h 1420097"/>
              <a:gd name="connsiteX5" fmla="*/ 5472545 w 7640782"/>
              <a:gd name="connsiteY5" fmla="*/ 1163783 h 1420097"/>
              <a:gd name="connsiteX6" fmla="*/ 6546272 w 7640782"/>
              <a:gd name="connsiteY6" fmla="*/ 1 h 1420097"/>
              <a:gd name="connsiteX7" fmla="*/ 7640782 w 7640782"/>
              <a:gd name="connsiteY7" fmla="*/ 1156856 h 1420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640782" h="1420097">
                <a:moveTo>
                  <a:pt x="0" y="34637"/>
                </a:moveTo>
                <a:cubicBezTo>
                  <a:pt x="344054" y="728519"/>
                  <a:pt x="688109" y="1422401"/>
                  <a:pt x="1046018" y="1420092"/>
                </a:cubicBezTo>
                <a:cubicBezTo>
                  <a:pt x="1403927" y="1417783"/>
                  <a:pt x="1781463" y="111992"/>
                  <a:pt x="2147454" y="20783"/>
                </a:cubicBezTo>
                <a:cubicBezTo>
                  <a:pt x="2513445" y="-70426"/>
                  <a:pt x="2879436" y="871683"/>
                  <a:pt x="3241963" y="872837"/>
                </a:cubicBezTo>
                <a:cubicBezTo>
                  <a:pt x="3604490" y="873991"/>
                  <a:pt x="3950854" y="-20781"/>
                  <a:pt x="4322618" y="27710"/>
                </a:cubicBezTo>
                <a:cubicBezTo>
                  <a:pt x="4694382" y="76201"/>
                  <a:pt x="5101936" y="1168401"/>
                  <a:pt x="5472545" y="1163783"/>
                </a:cubicBezTo>
                <a:cubicBezTo>
                  <a:pt x="5843154" y="1159165"/>
                  <a:pt x="6184899" y="1155"/>
                  <a:pt x="6546272" y="1"/>
                </a:cubicBezTo>
                <a:cubicBezTo>
                  <a:pt x="6907645" y="-1153"/>
                  <a:pt x="7274213" y="577851"/>
                  <a:pt x="7640782" y="1156856"/>
                </a:cubicBezTo>
              </a:path>
            </a:pathLst>
          </a:custGeom>
          <a:noFill/>
          <a:ln w="76200">
            <a:solidFill>
              <a:schemeClr val="tx1">
                <a:lumMod val="75000"/>
                <a:lumOff val="2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2" name="Title 1">
            <a:extLst>
              <a:ext uri="{FF2B5EF4-FFF2-40B4-BE49-F238E27FC236}">
                <a16:creationId xmlns:a16="http://schemas.microsoft.com/office/drawing/2014/main" id="{BCF5E78E-C5D3-6B9F-5017-4A5BA2495697}"/>
              </a:ext>
            </a:extLst>
          </p:cNvPr>
          <p:cNvSpPr>
            <a:spLocks noGrp="1"/>
          </p:cNvSpPr>
          <p:nvPr>
            <p:ph type="title"/>
          </p:nvPr>
        </p:nvSpPr>
        <p:spPr/>
        <p:txBody>
          <a:bodyPr/>
          <a:lstStyle/>
          <a:p>
            <a:r>
              <a:rPr lang="en-US"/>
              <a:t>Implementation timeline</a:t>
            </a:r>
            <a:endParaRPr lang="en-IE"/>
          </a:p>
        </p:txBody>
      </p:sp>
      <p:sp>
        <p:nvSpPr>
          <p:cNvPr id="4" name="Text Placeholder 3">
            <a:extLst>
              <a:ext uri="{FF2B5EF4-FFF2-40B4-BE49-F238E27FC236}">
                <a16:creationId xmlns:a16="http://schemas.microsoft.com/office/drawing/2014/main" id="{9C104E1F-70C6-74C2-A495-6CBC26003C92}"/>
              </a:ext>
            </a:extLst>
          </p:cNvPr>
          <p:cNvSpPr>
            <a:spLocks noGrp="1"/>
          </p:cNvSpPr>
          <p:nvPr>
            <p:ph type="body" sz="quarter" idx="13"/>
          </p:nvPr>
        </p:nvSpPr>
        <p:spPr/>
        <p:txBody>
          <a:bodyPr/>
          <a:lstStyle/>
          <a:p>
            <a:endParaRPr lang="en-IE"/>
          </a:p>
        </p:txBody>
      </p:sp>
      <p:sp>
        <p:nvSpPr>
          <p:cNvPr id="6" name="Arrow: Pentagon 5">
            <a:extLst>
              <a:ext uri="{FF2B5EF4-FFF2-40B4-BE49-F238E27FC236}">
                <a16:creationId xmlns:a16="http://schemas.microsoft.com/office/drawing/2014/main" id="{03AD87C6-6D19-5CD4-F17A-297F531076DB}"/>
              </a:ext>
            </a:extLst>
          </p:cNvPr>
          <p:cNvSpPr/>
          <p:nvPr/>
        </p:nvSpPr>
        <p:spPr>
          <a:xfrm>
            <a:off x="0" y="778099"/>
            <a:ext cx="3519055" cy="170432"/>
          </a:xfrm>
          <a:prstGeom prst="homePlate">
            <a:avLst>
              <a:gd name="adj" fmla="val 224775"/>
            </a:avLst>
          </a:prstGeom>
          <a:gradFill flip="none" rotWithShape="1">
            <a:gsLst>
              <a:gs pos="0">
                <a:srgbClr val="808080"/>
              </a:gs>
              <a:gs pos="100000">
                <a:srgbClr val="808080">
                  <a:alpha val="0"/>
                </a:srgbClr>
              </a:gs>
            </a:gsLst>
            <a:lin ang="108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b="1">
                <a:latin typeface="Aptos" panose="020B0004020202020204" pitchFamily="34" charset="0"/>
              </a:rPr>
              <a:t>2025</a:t>
            </a:r>
            <a:endParaRPr lang="en-IE" sz="1200" b="1">
              <a:latin typeface="Aptos" panose="020B0004020202020204" pitchFamily="34" charset="0"/>
            </a:endParaRPr>
          </a:p>
        </p:txBody>
      </p:sp>
      <p:sp>
        <p:nvSpPr>
          <p:cNvPr id="7" name="Arrow: Chevron 6">
            <a:extLst>
              <a:ext uri="{FF2B5EF4-FFF2-40B4-BE49-F238E27FC236}">
                <a16:creationId xmlns:a16="http://schemas.microsoft.com/office/drawing/2014/main" id="{A338D819-770C-049B-06D7-EFBD6EE2968F}"/>
              </a:ext>
            </a:extLst>
          </p:cNvPr>
          <p:cNvSpPr/>
          <p:nvPr/>
        </p:nvSpPr>
        <p:spPr>
          <a:xfrm>
            <a:off x="3318164" y="778099"/>
            <a:ext cx="2890405" cy="170432"/>
          </a:xfrm>
          <a:prstGeom prst="chevron">
            <a:avLst>
              <a:gd name="adj" fmla="val 236968"/>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b="1">
                <a:latin typeface="Aptos" panose="020B0004020202020204" pitchFamily="34" charset="0"/>
              </a:rPr>
              <a:t>2026</a:t>
            </a:r>
            <a:endParaRPr lang="en-IE" sz="1200" b="1">
              <a:latin typeface="Aptos" panose="020B0004020202020204" pitchFamily="34" charset="0"/>
            </a:endParaRPr>
          </a:p>
        </p:txBody>
      </p:sp>
      <p:sp>
        <p:nvSpPr>
          <p:cNvPr id="8" name="Arrow: Chevron 7">
            <a:extLst>
              <a:ext uri="{FF2B5EF4-FFF2-40B4-BE49-F238E27FC236}">
                <a16:creationId xmlns:a16="http://schemas.microsoft.com/office/drawing/2014/main" id="{FD9ED21B-4945-3721-3110-5B1C28529824}"/>
              </a:ext>
            </a:extLst>
          </p:cNvPr>
          <p:cNvSpPr/>
          <p:nvPr/>
        </p:nvSpPr>
        <p:spPr>
          <a:xfrm>
            <a:off x="6007677" y="778099"/>
            <a:ext cx="3136323" cy="170432"/>
          </a:xfrm>
          <a:prstGeom prst="chevron">
            <a:avLst>
              <a:gd name="adj" fmla="val 236968"/>
            </a:avLst>
          </a:prstGeom>
          <a:gradFill flip="none" rotWithShape="1">
            <a:gsLst>
              <a:gs pos="0">
                <a:srgbClr val="808080"/>
              </a:gs>
              <a:gs pos="100000">
                <a:srgbClr val="808080">
                  <a:alpha val="0"/>
                </a:srgbClr>
              </a:gs>
            </a:gsLst>
            <a:lin ang="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b="1">
                <a:latin typeface="Aptos" panose="020B0004020202020204" pitchFamily="34" charset="0"/>
              </a:rPr>
              <a:t>2027</a:t>
            </a:r>
            <a:endParaRPr lang="en-IE" sz="1200" b="1">
              <a:latin typeface="Aptos" panose="020B0004020202020204" pitchFamily="34" charset="0"/>
            </a:endParaRPr>
          </a:p>
        </p:txBody>
      </p:sp>
      <p:grpSp>
        <p:nvGrpSpPr>
          <p:cNvPr id="79" name="Group 78">
            <a:extLst>
              <a:ext uri="{FF2B5EF4-FFF2-40B4-BE49-F238E27FC236}">
                <a16:creationId xmlns:a16="http://schemas.microsoft.com/office/drawing/2014/main" id="{05A6D928-A0A3-5FB6-98CB-9DC11A1451ED}"/>
              </a:ext>
            </a:extLst>
          </p:cNvPr>
          <p:cNvGrpSpPr/>
          <p:nvPr/>
        </p:nvGrpSpPr>
        <p:grpSpPr>
          <a:xfrm>
            <a:off x="232825" y="1268417"/>
            <a:ext cx="1040605" cy="2018684"/>
            <a:chOff x="509589" y="1077499"/>
            <a:chExt cx="1040605" cy="2018684"/>
          </a:xfrm>
        </p:grpSpPr>
        <p:sp>
          <p:nvSpPr>
            <p:cNvPr id="56" name="Rectangle 55">
              <a:extLst>
                <a:ext uri="{FF2B5EF4-FFF2-40B4-BE49-F238E27FC236}">
                  <a16:creationId xmlns:a16="http://schemas.microsoft.com/office/drawing/2014/main" id="{BA65ECB8-FE94-0CF2-59EF-64D2E8D68C00}"/>
                </a:ext>
              </a:extLst>
            </p:cNvPr>
            <p:cNvSpPr/>
            <p:nvPr/>
          </p:nvSpPr>
          <p:spPr>
            <a:xfrm>
              <a:off x="509589" y="1566034"/>
              <a:ext cx="1040605" cy="1530149"/>
            </a:xfrm>
            <a:prstGeom prst="rect">
              <a:avLst/>
            </a:prstGeom>
            <a:solidFill>
              <a:schemeClr val="accent2">
                <a:lumMod val="60000"/>
                <a:lumOff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E"/>
            </a:p>
          </p:txBody>
        </p:sp>
        <p:grpSp>
          <p:nvGrpSpPr>
            <p:cNvPr id="12" name="Content Placeholder 9" descr="User with solid fill">
              <a:extLst>
                <a:ext uri="{FF2B5EF4-FFF2-40B4-BE49-F238E27FC236}">
                  <a16:creationId xmlns:a16="http://schemas.microsoft.com/office/drawing/2014/main" id="{AAA0DCFF-F2B1-C8E8-53E0-E70143BD01F8}"/>
                </a:ext>
              </a:extLst>
            </p:cNvPr>
            <p:cNvGrpSpPr/>
            <p:nvPr/>
          </p:nvGrpSpPr>
          <p:grpSpPr>
            <a:xfrm>
              <a:off x="896686" y="2724304"/>
              <a:ext cx="266411" cy="283062"/>
              <a:chOff x="900108" y="3105120"/>
              <a:chExt cx="266411" cy="283062"/>
            </a:xfrm>
            <a:solidFill>
              <a:srgbClr val="F15C23"/>
            </a:solidFill>
          </p:grpSpPr>
          <p:sp>
            <p:nvSpPr>
              <p:cNvPr id="13" name="Freeform: Shape 12">
                <a:extLst>
                  <a:ext uri="{FF2B5EF4-FFF2-40B4-BE49-F238E27FC236}">
                    <a16:creationId xmlns:a16="http://schemas.microsoft.com/office/drawing/2014/main" id="{216422D6-B4EB-B653-BA28-C1E125488F50}"/>
                  </a:ext>
                </a:extLst>
              </p:cNvPr>
              <p:cNvSpPr/>
              <p:nvPr/>
            </p:nvSpPr>
            <p:spPr>
              <a:xfrm>
                <a:off x="966711" y="3105120"/>
                <a:ext cx="133205" cy="133205"/>
              </a:xfrm>
              <a:custGeom>
                <a:avLst/>
                <a:gdLst>
                  <a:gd name="connsiteX0" fmla="*/ 133206 w 133205"/>
                  <a:gd name="connsiteY0" fmla="*/ 66603 h 133205"/>
                  <a:gd name="connsiteX1" fmla="*/ 66603 w 133205"/>
                  <a:gd name="connsiteY1" fmla="*/ 133206 h 133205"/>
                  <a:gd name="connsiteX2" fmla="*/ 0 w 133205"/>
                  <a:gd name="connsiteY2" fmla="*/ 66603 h 133205"/>
                  <a:gd name="connsiteX3" fmla="*/ 66603 w 133205"/>
                  <a:gd name="connsiteY3" fmla="*/ 0 h 133205"/>
                  <a:gd name="connsiteX4" fmla="*/ 133206 w 133205"/>
                  <a:gd name="connsiteY4" fmla="*/ 66603 h 1332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205" h="133205">
                    <a:moveTo>
                      <a:pt x="133206" y="66603"/>
                    </a:moveTo>
                    <a:cubicBezTo>
                      <a:pt x="133206" y="103387"/>
                      <a:pt x="103387" y="133206"/>
                      <a:pt x="66603" y="133206"/>
                    </a:cubicBezTo>
                    <a:cubicBezTo>
                      <a:pt x="29819" y="133206"/>
                      <a:pt x="0" y="103387"/>
                      <a:pt x="0" y="66603"/>
                    </a:cubicBezTo>
                    <a:cubicBezTo>
                      <a:pt x="0" y="29819"/>
                      <a:pt x="29819" y="0"/>
                      <a:pt x="66603" y="0"/>
                    </a:cubicBezTo>
                    <a:cubicBezTo>
                      <a:pt x="103387" y="0"/>
                      <a:pt x="133206" y="29819"/>
                      <a:pt x="133206" y="66603"/>
                    </a:cubicBezTo>
                    <a:close/>
                  </a:path>
                </a:pathLst>
              </a:custGeom>
              <a:solidFill>
                <a:srgbClr val="F15C23"/>
              </a:solidFill>
              <a:ln w="9525" cap="flat">
                <a:noFill/>
                <a:prstDash val="solid"/>
                <a:miter/>
              </a:ln>
            </p:spPr>
            <p:txBody>
              <a:bodyPr rtlCol="0" anchor="ctr"/>
              <a:lstStyle/>
              <a:p>
                <a:endParaRPr lang="en-IE"/>
              </a:p>
            </p:txBody>
          </p:sp>
          <p:sp>
            <p:nvSpPr>
              <p:cNvPr id="14" name="Freeform: Shape 13">
                <a:extLst>
                  <a:ext uri="{FF2B5EF4-FFF2-40B4-BE49-F238E27FC236}">
                    <a16:creationId xmlns:a16="http://schemas.microsoft.com/office/drawing/2014/main" id="{7420C80A-C022-4394-C51B-F92DDFB0169E}"/>
                  </a:ext>
                </a:extLst>
              </p:cNvPr>
              <p:cNvSpPr/>
              <p:nvPr/>
            </p:nvSpPr>
            <p:spPr>
              <a:xfrm>
                <a:off x="900108" y="3254976"/>
                <a:ext cx="266411" cy="133205"/>
              </a:xfrm>
              <a:custGeom>
                <a:avLst/>
                <a:gdLst>
                  <a:gd name="connsiteX0" fmla="*/ 266411 w 266411"/>
                  <a:gd name="connsiteY0" fmla="*/ 133206 h 133205"/>
                  <a:gd name="connsiteX1" fmla="*/ 266411 w 266411"/>
                  <a:gd name="connsiteY1" fmla="*/ 66603 h 133205"/>
                  <a:gd name="connsiteX2" fmla="*/ 253091 w 266411"/>
                  <a:gd name="connsiteY2" fmla="*/ 39962 h 133205"/>
                  <a:gd name="connsiteX3" fmla="*/ 188153 w 266411"/>
                  <a:gd name="connsiteY3" fmla="*/ 8325 h 133205"/>
                  <a:gd name="connsiteX4" fmla="*/ 133206 w 266411"/>
                  <a:gd name="connsiteY4" fmla="*/ 0 h 133205"/>
                  <a:gd name="connsiteX5" fmla="*/ 78258 w 266411"/>
                  <a:gd name="connsiteY5" fmla="*/ 8325 h 133205"/>
                  <a:gd name="connsiteX6" fmla="*/ 13321 w 266411"/>
                  <a:gd name="connsiteY6" fmla="*/ 39962 h 133205"/>
                  <a:gd name="connsiteX7" fmla="*/ 0 w 266411"/>
                  <a:gd name="connsiteY7" fmla="*/ 66603 h 133205"/>
                  <a:gd name="connsiteX8" fmla="*/ 0 w 266411"/>
                  <a:gd name="connsiteY8" fmla="*/ 133206 h 133205"/>
                  <a:gd name="connsiteX9" fmla="*/ 266411 w 266411"/>
                  <a:gd name="connsiteY9" fmla="*/ 133206 h 1332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6411" h="133205">
                    <a:moveTo>
                      <a:pt x="266411" y="133206"/>
                    </a:moveTo>
                    <a:lnTo>
                      <a:pt x="266411" y="66603"/>
                    </a:lnTo>
                    <a:cubicBezTo>
                      <a:pt x="266411" y="56612"/>
                      <a:pt x="261416" y="46622"/>
                      <a:pt x="253091" y="39962"/>
                    </a:cubicBezTo>
                    <a:cubicBezTo>
                      <a:pt x="234775" y="24976"/>
                      <a:pt x="211464" y="14986"/>
                      <a:pt x="188153" y="8325"/>
                    </a:cubicBezTo>
                    <a:cubicBezTo>
                      <a:pt x="171502" y="3330"/>
                      <a:pt x="153187" y="0"/>
                      <a:pt x="133206" y="0"/>
                    </a:cubicBezTo>
                    <a:cubicBezTo>
                      <a:pt x="114890" y="0"/>
                      <a:pt x="96574" y="3330"/>
                      <a:pt x="78258" y="8325"/>
                    </a:cubicBezTo>
                    <a:cubicBezTo>
                      <a:pt x="54947" y="14986"/>
                      <a:pt x="31636" y="26641"/>
                      <a:pt x="13321" y="39962"/>
                    </a:cubicBezTo>
                    <a:cubicBezTo>
                      <a:pt x="4995" y="46622"/>
                      <a:pt x="0" y="56612"/>
                      <a:pt x="0" y="66603"/>
                    </a:cubicBezTo>
                    <a:lnTo>
                      <a:pt x="0" y="133206"/>
                    </a:lnTo>
                    <a:lnTo>
                      <a:pt x="266411" y="133206"/>
                    </a:lnTo>
                    <a:close/>
                  </a:path>
                </a:pathLst>
              </a:custGeom>
              <a:solidFill>
                <a:srgbClr val="F15C23"/>
              </a:solidFill>
              <a:ln w="9525" cap="flat">
                <a:noFill/>
                <a:prstDash val="solid"/>
                <a:miter/>
              </a:ln>
            </p:spPr>
            <p:txBody>
              <a:bodyPr rtlCol="0" anchor="ctr"/>
              <a:lstStyle/>
              <a:p>
                <a:endParaRPr lang="en-IE"/>
              </a:p>
            </p:txBody>
          </p:sp>
        </p:grpSp>
        <p:sp>
          <p:nvSpPr>
            <p:cNvPr id="5" name="TextBox 4">
              <a:extLst>
                <a:ext uri="{FF2B5EF4-FFF2-40B4-BE49-F238E27FC236}">
                  <a16:creationId xmlns:a16="http://schemas.microsoft.com/office/drawing/2014/main" id="{D969BF29-3B32-F900-4C51-364952783546}"/>
                </a:ext>
              </a:extLst>
            </p:cNvPr>
            <p:cNvSpPr txBox="1"/>
            <p:nvPr/>
          </p:nvSpPr>
          <p:spPr>
            <a:xfrm>
              <a:off x="544982" y="2086599"/>
              <a:ext cx="969819" cy="600164"/>
            </a:xfrm>
            <a:prstGeom prst="rect">
              <a:avLst/>
            </a:prstGeom>
            <a:noFill/>
          </p:spPr>
          <p:txBody>
            <a:bodyPr wrap="square" rtlCol="0">
              <a:spAutoFit/>
            </a:bodyPr>
            <a:lstStyle/>
            <a:p>
              <a:pPr algn="ctr"/>
              <a:r>
                <a:rPr lang="en-US" sz="1100" b="0" i="0">
                  <a:solidFill>
                    <a:srgbClr val="000000"/>
                  </a:solidFill>
                  <a:effectLst/>
                  <a:latin typeface="Aptos Display" panose="020B0004020202020204" pitchFamily="34" charset="0"/>
                </a:rPr>
                <a:t>List of EU and</a:t>
              </a:r>
              <a:br>
                <a:rPr lang="en-US" sz="1100" b="0" i="0">
                  <a:solidFill>
                    <a:srgbClr val="000000"/>
                  </a:solidFill>
                  <a:effectLst/>
                  <a:latin typeface="Aptos Display" panose="020B0004020202020204" pitchFamily="34" charset="0"/>
                </a:rPr>
              </a:br>
              <a:r>
                <a:rPr lang="en-US" sz="1100" b="0" i="0">
                  <a:solidFill>
                    <a:srgbClr val="000000"/>
                  </a:solidFill>
                  <a:effectLst/>
                  <a:latin typeface="Aptos Display" panose="020B0004020202020204" pitchFamily="34" charset="0"/>
                </a:rPr>
                <a:t>national legal depositories</a:t>
              </a:r>
            </a:p>
          </p:txBody>
        </p:sp>
        <p:sp>
          <p:nvSpPr>
            <p:cNvPr id="11" name="Oval 10">
              <a:extLst>
                <a:ext uri="{FF2B5EF4-FFF2-40B4-BE49-F238E27FC236}">
                  <a16:creationId xmlns:a16="http://schemas.microsoft.com/office/drawing/2014/main" id="{E19FE177-679A-3C7A-0E7F-49A847136402}"/>
                </a:ext>
              </a:extLst>
            </p:cNvPr>
            <p:cNvSpPr/>
            <p:nvPr/>
          </p:nvSpPr>
          <p:spPr>
            <a:xfrm>
              <a:off x="544982" y="1077499"/>
              <a:ext cx="969819" cy="969819"/>
            </a:xfrm>
            <a:prstGeom prst="ellipse">
              <a:avLst/>
            </a:prstGeom>
            <a:solidFill>
              <a:srgbClr val="F15C23"/>
            </a:solidFill>
            <a:ln w="76200">
              <a:solidFill>
                <a:srgbClr val="80808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00" b="1">
                  <a:latin typeface="Aptos Display" panose="020B0004020202020204" pitchFamily="34" charset="0"/>
                </a:rPr>
                <a:t>March</a:t>
              </a:r>
              <a:br>
                <a:rPr lang="en-US" sz="1000" b="1">
                  <a:latin typeface="Aptos Display" panose="020B0004020202020204" pitchFamily="34" charset="0"/>
                </a:rPr>
              </a:br>
              <a:r>
                <a:rPr lang="en-US" sz="1000" b="1">
                  <a:latin typeface="Aptos Display" panose="020B0004020202020204" pitchFamily="34" charset="0"/>
                </a:rPr>
                <a:t>2025</a:t>
              </a:r>
              <a:endParaRPr lang="en-IE" sz="1000" b="1">
                <a:latin typeface="Aptos Display" panose="020B0004020202020204" pitchFamily="34" charset="0"/>
              </a:endParaRPr>
            </a:p>
          </p:txBody>
        </p:sp>
      </p:grpSp>
      <p:grpSp>
        <p:nvGrpSpPr>
          <p:cNvPr id="78" name="Group 77">
            <a:extLst>
              <a:ext uri="{FF2B5EF4-FFF2-40B4-BE49-F238E27FC236}">
                <a16:creationId xmlns:a16="http://schemas.microsoft.com/office/drawing/2014/main" id="{E833D03B-7CA9-9D81-2661-28FA5941333F}"/>
              </a:ext>
            </a:extLst>
          </p:cNvPr>
          <p:cNvGrpSpPr/>
          <p:nvPr/>
        </p:nvGrpSpPr>
        <p:grpSpPr>
          <a:xfrm>
            <a:off x="1323173" y="2711169"/>
            <a:ext cx="1040605" cy="1855204"/>
            <a:chOff x="1278739" y="2724304"/>
            <a:chExt cx="1040605" cy="1855204"/>
          </a:xfrm>
        </p:grpSpPr>
        <p:sp>
          <p:nvSpPr>
            <p:cNvPr id="71" name="Rectangle 70">
              <a:extLst>
                <a:ext uri="{FF2B5EF4-FFF2-40B4-BE49-F238E27FC236}">
                  <a16:creationId xmlns:a16="http://schemas.microsoft.com/office/drawing/2014/main" id="{C1C5E91E-70F2-AB2B-BE41-1EAC76AA6A3C}"/>
                </a:ext>
              </a:extLst>
            </p:cNvPr>
            <p:cNvSpPr/>
            <p:nvPr/>
          </p:nvSpPr>
          <p:spPr>
            <a:xfrm>
              <a:off x="1278739" y="3191349"/>
              <a:ext cx="1040605" cy="1388159"/>
            </a:xfrm>
            <a:prstGeom prst="rect">
              <a:avLst/>
            </a:prstGeom>
            <a:solidFill>
              <a:schemeClr val="accent2">
                <a:lumMod val="60000"/>
                <a:lumOff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18" name="TextBox 17">
              <a:extLst>
                <a:ext uri="{FF2B5EF4-FFF2-40B4-BE49-F238E27FC236}">
                  <a16:creationId xmlns:a16="http://schemas.microsoft.com/office/drawing/2014/main" id="{A2E54AF7-E0F5-779E-0CE3-BC549BB43E3C}"/>
                </a:ext>
              </a:extLst>
            </p:cNvPr>
            <p:cNvSpPr txBox="1"/>
            <p:nvPr/>
          </p:nvSpPr>
          <p:spPr>
            <a:xfrm>
              <a:off x="1315549" y="3733404"/>
              <a:ext cx="969819" cy="430887"/>
            </a:xfrm>
            <a:prstGeom prst="rect">
              <a:avLst/>
            </a:prstGeom>
            <a:noFill/>
          </p:spPr>
          <p:txBody>
            <a:bodyPr wrap="square" rtlCol="0">
              <a:spAutoFit/>
            </a:bodyPr>
            <a:lstStyle/>
            <a:p>
              <a:pPr algn="ctr"/>
              <a:r>
                <a:rPr lang="en-US" sz="1100" b="0" i="0">
                  <a:solidFill>
                    <a:srgbClr val="000000"/>
                  </a:solidFill>
                  <a:effectLst/>
                  <a:latin typeface="Aptos Display" panose="020B0004020202020204" pitchFamily="34" charset="0"/>
                </a:rPr>
                <a:t>EU Law data dump service</a:t>
              </a:r>
            </a:p>
          </p:txBody>
        </p:sp>
        <p:sp>
          <p:nvSpPr>
            <p:cNvPr id="19" name="Oval 18">
              <a:extLst>
                <a:ext uri="{FF2B5EF4-FFF2-40B4-BE49-F238E27FC236}">
                  <a16:creationId xmlns:a16="http://schemas.microsoft.com/office/drawing/2014/main" id="{0CEECA2C-7DFB-3EED-5D9A-DB040F48E75E}"/>
                </a:ext>
              </a:extLst>
            </p:cNvPr>
            <p:cNvSpPr/>
            <p:nvPr/>
          </p:nvSpPr>
          <p:spPr>
            <a:xfrm>
              <a:off x="1315549" y="2724304"/>
              <a:ext cx="969819" cy="969819"/>
            </a:xfrm>
            <a:prstGeom prst="ellipse">
              <a:avLst/>
            </a:prstGeom>
            <a:solidFill>
              <a:srgbClr val="F15C23"/>
            </a:solidFill>
            <a:ln w="76200">
              <a:solidFill>
                <a:srgbClr val="80808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00" b="1">
                  <a:latin typeface="Aptos Display" panose="020B0004020202020204" pitchFamily="34" charset="0"/>
                </a:rPr>
                <a:t>April</a:t>
              </a:r>
              <a:br>
                <a:rPr lang="en-US" sz="1000" b="1">
                  <a:latin typeface="Aptos Display" panose="020B0004020202020204" pitchFamily="34" charset="0"/>
                </a:rPr>
              </a:br>
              <a:r>
                <a:rPr lang="en-US" sz="1000" b="1">
                  <a:latin typeface="Aptos Display" panose="020B0004020202020204" pitchFamily="34" charset="0"/>
                </a:rPr>
                <a:t>2025</a:t>
              </a:r>
              <a:endParaRPr lang="en-IE" sz="1000" b="1">
                <a:latin typeface="Aptos Display" panose="020B0004020202020204" pitchFamily="34" charset="0"/>
              </a:endParaRPr>
            </a:p>
          </p:txBody>
        </p:sp>
        <p:pic>
          <p:nvPicPr>
            <p:cNvPr id="23" name="Graphic 22" descr="Robot with solid fill">
              <a:extLst>
                <a:ext uri="{FF2B5EF4-FFF2-40B4-BE49-F238E27FC236}">
                  <a16:creationId xmlns:a16="http://schemas.microsoft.com/office/drawing/2014/main" id="{3DB1B1C5-290D-7595-F4F7-6829EE2D479E}"/>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572068" y="4101948"/>
              <a:ext cx="456779" cy="456779"/>
            </a:xfrm>
            <a:prstGeom prst="rect">
              <a:avLst/>
            </a:prstGeom>
          </p:spPr>
        </p:pic>
      </p:grpSp>
      <p:grpSp>
        <p:nvGrpSpPr>
          <p:cNvPr id="77" name="Group 76">
            <a:extLst>
              <a:ext uri="{FF2B5EF4-FFF2-40B4-BE49-F238E27FC236}">
                <a16:creationId xmlns:a16="http://schemas.microsoft.com/office/drawing/2014/main" id="{7815BEC6-96FB-001A-034D-8969206EBD4B}"/>
              </a:ext>
            </a:extLst>
          </p:cNvPr>
          <p:cNvGrpSpPr/>
          <p:nvPr/>
        </p:nvGrpSpPr>
        <p:grpSpPr>
          <a:xfrm>
            <a:off x="2413521" y="1268417"/>
            <a:ext cx="1040605" cy="2588801"/>
            <a:chOff x="2220442" y="1181540"/>
            <a:chExt cx="1040605" cy="2588801"/>
          </a:xfrm>
        </p:grpSpPr>
        <p:sp>
          <p:nvSpPr>
            <p:cNvPr id="65" name="Rectangle 64">
              <a:extLst>
                <a:ext uri="{FF2B5EF4-FFF2-40B4-BE49-F238E27FC236}">
                  <a16:creationId xmlns:a16="http://schemas.microsoft.com/office/drawing/2014/main" id="{0EF367E8-044A-21FA-E767-C47D07807530}"/>
                </a:ext>
              </a:extLst>
            </p:cNvPr>
            <p:cNvSpPr/>
            <p:nvPr/>
          </p:nvSpPr>
          <p:spPr>
            <a:xfrm>
              <a:off x="2220442" y="1666449"/>
              <a:ext cx="1040605" cy="2103892"/>
            </a:xfrm>
            <a:prstGeom prst="rect">
              <a:avLst/>
            </a:prstGeom>
            <a:solidFill>
              <a:schemeClr val="accent2">
                <a:lumMod val="60000"/>
                <a:lumOff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24" name="TextBox 23">
              <a:extLst>
                <a:ext uri="{FF2B5EF4-FFF2-40B4-BE49-F238E27FC236}">
                  <a16:creationId xmlns:a16="http://schemas.microsoft.com/office/drawing/2014/main" id="{F71463FB-5C83-4300-61BD-06BE1E527D5D}"/>
                </a:ext>
              </a:extLst>
            </p:cNvPr>
            <p:cNvSpPr txBox="1"/>
            <p:nvPr/>
          </p:nvSpPr>
          <p:spPr>
            <a:xfrm>
              <a:off x="2249208" y="2190640"/>
              <a:ext cx="969819" cy="1107996"/>
            </a:xfrm>
            <a:prstGeom prst="rect">
              <a:avLst/>
            </a:prstGeom>
            <a:noFill/>
          </p:spPr>
          <p:txBody>
            <a:bodyPr wrap="square" rtlCol="0">
              <a:spAutoFit/>
            </a:bodyPr>
            <a:lstStyle/>
            <a:p>
              <a:pPr algn="ctr"/>
              <a:r>
                <a:rPr lang="en-US" sz="1100" b="0" i="0">
                  <a:solidFill>
                    <a:srgbClr val="000000"/>
                  </a:solidFill>
                  <a:effectLst/>
                  <a:latin typeface="Aptos Display" panose="020B0004020202020204" pitchFamily="34" charset="0"/>
                </a:rPr>
                <a:t>Standards and protocols in national legal depositories described</a:t>
              </a:r>
            </a:p>
          </p:txBody>
        </p:sp>
        <p:sp>
          <p:nvSpPr>
            <p:cNvPr id="25" name="Oval 24">
              <a:extLst>
                <a:ext uri="{FF2B5EF4-FFF2-40B4-BE49-F238E27FC236}">
                  <a16:creationId xmlns:a16="http://schemas.microsoft.com/office/drawing/2014/main" id="{B1354582-8257-5197-8487-6DFAEC75E200}"/>
                </a:ext>
              </a:extLst>
            </p:cNvPr>
            <p:cNvSpPr/>
            <p:nvPr/>
          </p:nvSpPr>
          <p:spPr>
            <a:xfrm>
              <a:off x="2249208" y="1181540"/>
              <a:ext cx="969819" cy="969819"/>
            </a:xfrm>
            <a:prstGeom prst="ellipse">
              <a:avLst/>
            </a:prstGeom>
            <a:solidFill>
              <a:srgbClr val="F15C23"/>
            </a:solidFill>
            <a:ln w="76200">
              <a:solidFill>
                <a:srgbClr val="80808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00" b="1">
                  <a:latin typeface="Aptos Display" panose="020B0004020202020204" pitchFamily="34" charset="0"/>
                </a:rPr>
                <a:t>May</a:t>
              </a:r>
              <a:br>
                <a:rPr lang="en-US" sz="1000" b="1">
                  <a:latin typeface="Aptos Display" panose="020B0004020202020204" pitchFamily="34" charset="0"/>
                </a:rPr>
              </a:br>
              <a:r>
                <a:rPr lang="en-US" sz="1000" b="1">
                  <a:latin typeface="Aptos Display" panose="020B0004020202020204" pitchFamily="34" charset="0"/>
                </a:rPr>
                <a:t>2025</a:t>
              </a:r>
              <a:endParaRPr lang="en-IE" sz="1000" b="1">
                <a:latin typeface="Aptos Display" panose="020B0004020202020204" pitchFamily="34" charset="0"/>
              </a:endParaRPr>
            </a:p>
          </p:txBody>
        </p:sp>
        <p:pic>
          <p:nvPicPr>
            <p:cNvPr id="26" name="Graphic 25" descr="Robot with solid fill">
              <a:extLst>
                <a:ext uri="{FF2B5EF4-FFF2-40B4-BE49-F238E27FC236}">
                  <a16:creationId xmlns:a16="http://schemas.microsoft.com/office/drawing/2014/main" id="{D68A4DF8-0884-287D-733D-850BA10B0F6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505727" y="3285879"/>
              <a:ext cx="456779" cy="456779"/>
            </a:xfrm>
            <a:prstGeom prst="rect">
              <a:avLst/>
            </a:prstGeom>
          </p:spPr>
        </p:pic>
      </p:grpSp>
      <p:grpSp>
        <p:nvGrpSpPr>
          <p:cNvPr id="91" name="Group 90">
            <a:extLst>
              <a:ext uri="{FF2B5EF4-FFF2-40B4-BE49-F238E27FC236}">
                <a16:creationId xmlns:a16="http://schemas.microsoft.com/office/drawing/2014/main" id="{7A6E5F70-4EB7-73C1-E04A-92075E6AA89B}"/>
              </a:ext>
            </a:extLst>
          </p:cNvPr>
          <p:cNvGrpSpPr/>
          <p:nvPr/>
        </p:nvGrpSpPr>
        <p:grpSpPr>
          <a:xfrm>
            <a:off x="3503869" y="1860854"/>
            <a:ext cx="1040605" cy="2705519"/>
            <a:chOff x="3503869" y="2061745"/>
            <a:chExt cx="1040605" cy="2705519"/>
          </a:xfrm>
        </p:grpSpPr>
        <p:sp>
          <p:nvSpPr>
            <p:cNvPr id="66" name="Rectangle 65">
              <a:extLst>
                <a:ext uri="{FF2B5EF4-FFF2-40B4-BE49-F238E27FC236}">
                  <a16:creationId xmlns:a16="http://schemas.microsoft.com/office/drawing/2014/main" id="{17C87F35-F58C-50DC-0522-93B8A72991DE}"/>
                </a:ext>
              </a:extLst>
            </p:cNvPr>
            <p:cNvSpPr/>
            <p:nvPr/>
          </p:nvSpPr>
          <p:spPr>
            <a:xfrm>
              <a:off x="3503869" y="2482140"/>
              <a:ext cx="1040605" cy="2285124"/>
            </a:xfrm>
            <a:prstGeom prst="rect">
              <a:avLst/>
            </a:prstGeom>
            <a:solidFill>
              <a:schemeClr val="accent2">
                <a:lumMod val="60000"/>
                <a:lumOff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27" name="TextBox 26">
              <a:extLst>
                <a:ext uri="{FF2B5EF4-FFF2-40B4-BE49-F238E27FC236}">
                  <a16:creationId xmlns:a16="http://schemas.microsoft.com/office/drawing/2014/main" id="{6FD76076-1F12-0878-9A5A-E71F68F62AA7}"/>
                </a:ext>
              </a:extLst>
            </p:cNvPr>
            <p:cNvSpPr txBox="1"/>
            <p:nvPr/>
          </p:nvSpPr>
          <p:spPr>
            <a:xfrm>
              <a:off x="3542384" y="3070845"/>
              <a:ext cx="969819" cy="1277273"/>
            </a:xfrm>
            <a:prstGeom prst="rect">
              <a:avLst/>
            </a:prstGeom>
            <a:noFill/>
          </p:spPr>
          <p:txBody>
            <a:bodyPr wrap="square" rtlCol="0">
              <a:spAutoFit/>
            </a:bodyPr>
            <a:lstStyle/>
            <a:p>
              <a:pPr algn="ctr"/>
              <a:r>
                <a:rPr lang="en-US" sz="1100" b="0" i="0">
                  <a:solidFill>
                    <a:srgbClr val="000000"/>
                  </a:solidFill>
                  <a:effectLst/>
                  <a:latin typeface="Aptos Display" panose="020B0004020202020204" pitchFamily="34" charset="0"/>
                </a:rPr>
                <a:t>Case-law databases of EU and Member States are identified and described </a:t>
              </a:r>
            </a:p>
          </p:txBody>
        </p:sp>
        <p:sp>
          <p:nvSpPr>
            <p:cNvPr id="28" name="Oval 27">
              <a:extLst>
                <a:ext uri="{FF2B5EF4-FFF2-40B4-BE49-F238E27FC236}">
                  <a16:creationId xmlns:a16="http://schemas.microsoft.com/office/drawing/2014/main" id="{E951DFDD-74C2-1BB4-2898-0B95069DAFCF}"/>
                </a:ext>
              </a:extLst>
            </p:cNvPr>
            <p:cNvSpPr/>
            <p:nvPr/>
          </p:nvSpPr>
          <p:spPr>
            <a:xfrm>
              <a:off x="3542384" y="2061745"/>
              <a:ext cx="969819" cy="969819"/>
            </a:xfrm>
            <a:prstGeom prst="ellipse">
              <a:avLst/>
            </a:prstGeom>
            <a:solidFill>
              <a:srgbClr val="F15C23"/>
            </a:solidFill>
            <a:ln w="76200">
              <a:solidFill>
                <a:srgbClr val="80808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800" b="1">
                  <a:latin typeface="Aptos Display" panose="020B0004020202020204" pitchFamily="34" charset="0"/>
                </a:rPr>
                <a:t>November</a:t>
              </a:r>
              <a:br>
                <a:rPr lang="en-US" sz="800" b="1">
                  <a:latin typeface="Aptos Display" panose="020B0004020202020204" pitchFamily="34" charset="0"/>
                </a:rPr>
              </a:br>
              <a:r>
                <a:rPr lang="en-US" sz="1000" b="1">
                  <a:latin typeface="Aptos Display" panose="020B0004020202020204" pitchFamily="34" charset="0"/>
                </a:rPr>
                <a:t>2025</a:t>
              </a:r>
              <a:endParaRPr lang="en-IE" sz="1000" b="1">
                <a:latin typeface="Aptos Display" panose="020B0004020202020204" pitchFamily="34" charset="0"/>
              </a:endParaRPr>
            </a:p>
          </p:txBody>
        </p:sp>
        <p:pic>
          <p:nvPicPr>
            <p:cNvPr id="29" name="Graphic 28" descr="Robot with solid fill">
              <a:extLst>
                <a:ext uri="{FF2B5EF4-FFF2-40B4-BE49-F238E27FC236}">
                  <a16:creationId xmlns:a16="http://schemas.microsoft.com/office/drawing/2014/main" id="{22D2C27D-3C9E-EBB5-1BDD-E354656FAB4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955110" y="4304210"/>
              <a:ext cx="456779" cy="456779"/>
            </a:xfrm>
            <a:prstGeom prst="rect">
              <a:avLst/>
            </a:prstGeom>
          </p:spPr>
        </p:pic>
        <p:grpSp>
          <p:nvGrpSpPr>
            <p:cNvPr id="33" name="Content Placeholder 9" descr="User with solid fill">
              <a:extLst>
                <a:ext uri="{FF2B5EF4-FFF2-40B4-BE49-F238E27FC236}">
                  <a16:creationId xmlns:a16="http://schemas.microsoft.com/office/drawing/2014/main" id="{C5C4A363-2706-D960-19CC-8344B679BEB7}"/>
                </a:ext>
              </a:extLst>
            </p:cNvPr>
            <p:cNvGrpSpPr/>
            <p:nvPr/>
          </p:nvGrpSpPr>
          <p:grpSpPr>
            <a:xfrm>
              <a:off x="3746649" y="4410892"/>
              <a:ext cx="266411" cy="283061"/>
              <a:chOff x="900108" y="3105120"/>
              <a:chExt cx="266411" cy="283061"/>
            </a:xfrm>
            <a:solidFill>
              <a:srgbClr val="F15C23"/>
            </a:solidFill>
          </p:grpSpPr>
          <p:sp>
            <p:nvSpPr>
              <p:cNvPr id="34" name="Freeform: Shape 33">
                <a:extLst>
                  <a:ext uri="{FF2B5EF4-FFF2-40B4-BE49-F238E27FC236}">
                    <a16:creationId xmlns:a16="http://schemas.microsoft.com/office/drawing/2014/main" id="{21970ED4-64A2-CFFA-8D8F-33AFA9F5AEA0}"/>
                  </a:ext>
                </a:extLst>
              </p:cNvPr>
              <p:cNvSpPr/>
              <p:nvPr/>
            </p:nvSpPr>
            <p:spPr>
              <a:xfrm>
                <a:off x="966711" y="3105120"/>
                <a:ext cx="133205" cy="133205"/>
              </a:xfrm>
              <a:custGeom>
                <a:avLst/>
                <a:gdLst>
                  <a:gd name="connsiteX0" fmla="*/ 133206 w 133205"/>
                  <a:gd name="connsiteY0" fmla="*/ 66603 h 133205"/>
                  <a:gd name="connsiteX1" fmla="*/ 66603 w 133205"/>
                  <a:gd name="connsiteY1" fmla="*/ 133206 h 133205"/>
                  <a:gd name="connsiteX2" fmla="*/ 0 w 133205"/>
                  <a:gd name="connsiteY2" fmla="*/ 66603 h 133205"/>
                  <a:gd name="connsiteX3" fmla="*/ 66603 w 133205"/>
                  <a:gd name="connsiteY3" fmla="*/ 0 h 133205"/>
                  <a:gd name="connsiteX4" fmla="*/ 133206 w 133205"/>
                  <a:gd name="connsiteY4" fmla="*/ 66603 h 1332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205" h="133205">
                    <a:moveTo>
                      <a:pt x="133206" y="66603"/>
                    </a:moveTo>
                    <a:cubicBezTo>
                      <a:pt x="133206" y="103387"/>
                      <a:pt x="103387" y="133206"/>
                      <a:pt x="66603" y="133206"/>
                    </a:cubicBezTo>
                    <a:cubicBezTo>
                      <a:pt x="29819" y="133206"/>
                      <a:pt x="0" y="103387"/>
                      <a:pt x="0" y="66603"/>
                    </a:cubicBezTo>
                    <a:cubicBezTo>
                      <a:pt x="0" y="29819"/>
                      <a:pt x="29819" y="0"/>
                      <a:pt x="66603" y="0"/>
                    </a:cubicBezTo>
                    <a:cubicBezTo>
                      <a:pt x="103387" y="0"/>
                      <a:pt x="133206" y="29819"/>
                      <a:pt x="133206" y="66603"/>
                    </a:cubicBezTo>
                    <a:close/>
                  </a:path>
                </a:pathLst>
              </a:custGeom>
              <a:solidFill>
                <a:srgbClr val="F15C23"/>
              </a:solidFill>
              <a:ln w="9525" cap="flat">
                <a:noFill/>
                <a:prstDash val="solid"/>
                <a:miter/>
              </a:ln>
            </p:spPr>
            <p:txBody>
              <a:bodyPr rtlCol="0" anchor="ctr"/>
              <a:lstStyle/>
              <a:p>
                <a:endParaRPr lang="en-IE"/>
              </a:p>
            </p:txBody>
          </p:sp>
          <p:sp>
            <p:nvSpPr>
              <p:cNvPr id="35" name="Freeform: Shape 34">
                <a:extLst>
                  <a:ext uri="{FF2B5EF4-FFF2-40B4-BE49-F238E27FC236}">
                    <a16:creationId xmlns:a16="http://schemas.microsoft.com/office/drawing/2014/main" id="{ABEDF1AD-CE8F-23B8-EF69-28B6F7155407}"/>
                  </a:ext>
                </a:extLst>
              </p:cNvPr>
              <p:cNvSpPr/>
              <p:nvPr/>
            </p:nvSpPr>
            <p:spPr>
              <a:xfrm>
                <a:off x="900108" y="3254976"/>
                <a:ext cx="266411" cy="133205"/>
              </a:xfrm>
              <a:custGeom>
                <a:avLst/>
                <a:gdLst>
                  <a:gd name="connsiteX0" fmla="*/ 266411 w 266411"/>
                  <a:gd name="connsiteY0" fmla="*/ 133206 h 133205"/>
                  <a:gd name="connsiteX1" fmla="*/ 266411 w 266411"/>
                  <a:gd name="connsiteY1" fmla="*/ 66603 h 133205"/>
                  <a:gd name="connsiteX2" fmla="*/ 253091 w 266411"/>
                  <a:gd name="connsiteY2" fmla="*/ 39962 h 133205"/>
                  <a:gd name="connsiteX3" fmla="*/ 188153 w 266411"/>
                  <a:gd name="connsiteY3" fmla="*/ 8325 h 133205"/>
                  <a:gd name="connsiteX4" fmla="*/ 133206 w 266411"/>
                  <a:gd name="connsiteY4" fmla="*/ 0 h 133205"/>
                  <a:gd name="connsiteX5" fmla="*/ 78258 w 266411"/>
                  <a:gd name="connsiteY5" fmla="*/ 8325 h 133205"/>
                  <a:gd name="connsiteX6" fmla="*/ 13321 w 266411"/>
                  <a:gd name="connsiteY6" fmla="*/ 39962 h 133205"/>
                  <a:gd name="connsiteX7" fmla="*/ 0 w 266411"/>
                  <a:gd name="connsiteY7" fmla="*/ 66603 h 133205"/>
                  <a:gd name="connsiteX8" fmla="*/ 0 w 266411"/>
                  <a:gd name="connsiteY8" fmla="*/ 133206 h 133205"/>
                  <a:gd name="connsiteX9" fmla="*/ 266411 w 266411"/>
                  <a:gd name="connsiteY9" fmla="*/ 133206 h 1332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6411" h="133205">
                    <a:moveTo>
                      <a:pt x="266411" y="133206"/>
                    </a:moveTo>
                    <a:lnTo>
                      <a:pt x="266411" y="66603"/>
                    </a:lnTo>
                    <a:cubicBezTo>
                      <a:pt x="266411" y="56612"/>
                      <a:pt x="261416" y="46622"/>
                      <a:pt x="253091" y="39962"/>
                    </a:cubicBezTo>
                    <a:cubicBezTo>
                      <a:pt x="234775" y="24976"/>
                      <a:pt x="211464" y="14986"/>
                      <a:pt x="188153" y="8325"/>
                    </a:cubicBezTo>
                    <a:cubicBezTo>
                      <a:pt x="171502" y="3330"/>
                      <a:pt x="153187" y="0"/>
                      <a:pt x="133206" y="0"/>
                    </a:cubicBezTo>
                    <a:cubicBezTo>
                      <a:pt x="114890" y="0"/>
                      <a:pt x="96574" y="3330"/>
                      <a:pt x="78258" y="8325"/>
                    </a:cubicBezTo>
                    <a:cubicBezTo>
                      <a:pt x="54947" y="14986"/>
                      <a:pt x="31636" y="26641"/>
                      <a:pt x="13321" y="39962"/>
                    </a:cubicBezTo>
                    <a:cubicBezTo>
                      <a:pt x="4995" y="46622"/>
                      <a:pt x="0" y="56612"/>
                      <a:pt x="0" y="66603"/>
                    </a:cubicBezTo>
                    <a:lnTo>
                      <a:pt x="0" y="133206"/>
                    </a:lnTo>
                    <a:lnTo>
                      <a:pt x="266411" y="133206"/>
                    </a:lnTo>
                    <a:close/>
                  </a:path>
                </a:pathLst>
              </a:custGeom>
              <a:solidFill>
                <a:srgbClr val="F15C23"/>
              </a:solidFill>
              <a:ln w="9525" cap="flat">
                <a:noFill/>
                <a:prstDash val="solid"/>
                <a:miter/>
              </a:ln>
            </p:spPr>
            <p:txBody>
              <a:bodyPr rtlCol="0" anchor="ctr"/>
              <a:lstStyle/>
              <a:p>
                <a:endParaRPr lang="en-IE"/>
              </a:p>
            </p:txBody>
          </p:sp>
        </p:grpSp>
      </p:grpSp>
      <p:grpSp>
        <p:nvGrpSpPr>
          <p:cNvPr id="75" name="Group 74">
            <a:extLst>
              <a:ext uri="{FF2B5EF4-FFF2-40B4-BE49-F238E27FC236}">
                <a16:creationId xmlns:a16="http://schemas.microsoft.com/office/drawing/2014/main" id="{A63A2FA4-FE04-D42B-16A6-2B5B99254DCE}"/>
              </a:ext>
            </a:extLst>
          </p:cNvPr>
          <p:cNvGrpSpPr/>
          <p:nvPr/>
        </p:nvGrpSpPr>
        <p:grpSpPr>
          <a:xfrm>
            <a:off x="4594217" y="1268908"/>
            <a:ext cx="1040605" cy="2316459"/>
            <a:chOff x="4092100" y="1181540"/>
            <a:chExt cx="1040605" cy="2316459"/>
          </a:xfrm>
        </p:grpSpPr>
        <p:sp>
          <p:nvSpPr>
            <p:cNvPr id="67" name="Rectangle 66">
              <a:extLst>
                <a:ext uri="{FF2B5EF4-FFF2-40B4-BE49-F238E27FC236}">
                  <a16:creationId xmlns:a16="http://schemas.microsoft.com/office/drawing/2014/main" id="{9FF85796-8ACD-875A-FC4F-C4719934F363}"/>
                </a:ext>
              </a:extLst>
            </p:cNvPr>
            <p:cNvSpPr/>
            <p:nvPr/>
          </p:nvSpPr>
          <p:spPr>
            <a:xfrm>
              <a:off x="4092100" y="1649697"/>
              <a:ext cx="1040605" cy="1848302"/>
            </a:xfrm>
            <a:prstGeom prst="rect">
              <a:avLst/>
            </a:prstGeom>
            <a:solidFill>
              <a:schemeClr val="accent2">
                <a:lumMod val="60000"/>
                <a:lumOff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30" name="TextBox 29">
              <a:extLst>
                <a:ext uri="{FF2B5EF4-FFF2-40B4-BE49-F238E27FC236}">
                  <a16:creationId xmlns:a16="http://schemas.microsoft.com/office/drawing/2014/main" id="{FD1AE55C-BC21-DF7A-F9EF-7F4EFFB70C93}"/>
                </a:ext>
              </a:extLst>
            </p:cNvPr>
            <p:cNvSpPr txBox="1"/>
            <p:nvPr/>
          </p:nvSpPr>
          <p:spPr>
            <a:xfrm>
              <a:off x="4129978" y="2190640"/>
              <a:ext cx="969819" cy="769441"/>
            </a:xfrm>
            <a:prstGeom prst="rect">
              <a:avLst/>
            </a:prstGeom>
            <a:noFill/>
          </p:spPr>
          <p:txBody>
            <a:bodyPr wrap="square" rtlCol="0">
              <a:spAutoFit/>
            </a:bodyPr>
            <a:lstStyle/>
            <a:p>
              <a:pPr algn="ctr"/>
              <a:r>
                <a:rPr lang="en-US" sz="1100" b="0" i="0">
                  <a:solidFill>
                    <a:srgbClr val="000000"/>
                  </a:solidFill>
                  <a:effectLst/>
                  <a:latin typeface="Aptos Display" panose="020B0004020202020204" pitchFamily="34" charset="0"/>
                </a:rPr>
                <a:t>ELI-based search extended beyond 3 MS</a:t>
              </a:r>
            </a:p>
          </p:txBody>
        </p:sp>
        <p:sp>
          <p:nvSpPr>
            <p:cNvPr id="31" name="Oval 30">
              <a:extLst>
                <a:ext uri="{FF2B5EF4-FFF2-40B4-BE49-F238E27FC236}">
                  <a16:creationId xmlns:a16="http://schemas.microsoft.com/office/drawing/2014/main" id="{903EA87A-47F8-5362-CD05-47BBAC1B8161}"/>
                </a:ext>
              </a:extLst>
            </p:cNvPr>
            <p:cNvSpPr/>
            <p:nvPr/>
          </p:nvSpPr>
          <p:spPr>
            <a:xfrm>
              <a:off x="4129978" y="1181540"/>
              <a:ext cx="969819" cy="969819"/>
            </a:xfrm>
            <a:prstGeom prst="ellipse">
              <a:avLst/>
            </a:prstGeom>
            <a:solidFill>
              <a:srgbClr val="F15C23"/>
            </a:solidFill>
            <a:ln w="76200">
              <a:solidFill>
                <a:srgbClr val="80808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800" b="1">
                  <a:latin typeface="Aptos Display" panose="020B0004020202020204" pitchFamily="34" charset="0"/>
                </a:rPr>
                <a:t>December</a:t>
              </a:r>
              <a:br>
                <a:rPr lang="en-US" sz="800" b="1">
                  <a:latin typeface="Aptos Display" panose="020B0004020202020204" pitchFamily="34" charset="0"/>
                </a:rPr>
              </a:br>
              <a:r>
                <a:rPr lang="en-US" sz="1000" b="1">
                  <a:latin typeface="Aptos Display" panose="020B0004020202020204" pitchFamily="34" charset="0"/>
                </a:rPr>
                <a:t>2025</a:t>
              </a:r>
              <a:endParaRPr lang="en-IE" sz="1000" b="1">
                <a:latin typeface="Aptos Display" panose="020B0004020202020204" pitchFamily="34" charset="0"/>
              </a:endParaRPr>
            </a:p>
          </p:txBody>
        </p:sp>
        <p:pic>
          <p:nvPicPr>
            <p:cNvPr id="40" name="Graphic 39" descr="Robot with solid fill">
              <a:extLst>
                <a:ext uri="{FF2B5EF4-FFF2-40B4-BE49-F238E27FC236}">
                  <a16:creationId xmlns:a16="http://schemas.microsoft.com/office/drawing/2014/main" id="{30001ECB-726A-C940-B594-133D2EE1CC7B}"/>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555700" y="3030881"/>
              <a:ext cx="456779" cy="456779"/>
            </a:xfrm>
            <a:prstGeom prst="rect">
              <a:avLst/>
            </a:prstGeom>
          </p:spPr>
        </p:pic>
        <p:grpSp>
          <p:nvGrpSpPr>
            <p:cNvPr id="41" name="Content Placeholder 9" descr="User with solid fill">
              <a:extLst>
                <a:ext uri="{FF2B5EF4-FFF2-40B4-BE49-F238E27FC236}">
                  <a16:creationId xmlns:a16="http://schemas.microsoft.com/office/drawing/2014/main" id="{F91E7792-F03D-644C-79A1-941B3BCCEC41}"/>
                </a:ext>
              </a:extLst>
            </p:cNvPr>
            <p:cNvGrpSpPr/>
            <p:nvPr/>
          </p:nvGrpSpPr>
          <p:grpSpPr>
            <a:xfrm>
              <a:off x="4347239" y="3137563"/>
              <a:ext cx="266411" cy="283062"/>
              <a:chOff x="900108" y="3105120"/>
              <a:chExt cx="266411" cy="283062"/>
            </a:xfrm>
            <a:solidFill>
              <a:srgbClr val="F15C23"/>
            </a:solidFill>
          </p:grpSpPr>
          <p:sp>
            <p:nvSpPr>
              <p:cNvPr id="42" name="Freeform: Shape 41">
                <a:extLst>
                  <a:ext uri="{FF2B5EF4-FFF2-40B4-BE49-F238E27FC236}">
                    <a16:creationId xmlns:a16="http://schemas.microsoft.com/office/drawing/2014/main" id="{D3DF7ECE-A494-C35E-4970-357AA68E6457}"/>
                  </a:ext>
                </a:extLst>
              </p:cNvPr>
              <p:cNvSpPr/>
              <p:nvPr/>
            </p:nvSpPr>
            <p:spPr>
              <a:xfrm>
                <a:off x="966711" y="3105120"/>
                <a:ext cx="133205" cy="133205"/>
              </a:xfrm>
              <a:custGeom>
                <a:avLst/>
                <a:gdLst>
                  <a:gd name="connsiteX0" fmla="*/ 133206 w 133205"/>
                  <a:gd name="connsiteY0" fmla="*/ 66603 h 133205"/>
                  <a:gd name="connsiteX1" fmla="*/ 66603 w 133205"/>
                  <a:gd name="connsiteY1" fmla="*/ 133206 h 133205"/>
                  <a:gd name="connsiteX2" fmla="*/ 0 w 133205"/>
                  <a:gd name="connsiteY2" fmla="*/ 66603 h 133205"/>
                  <a:gd name="connsiteX3" fmla="*/ 66603 w 133205"/>
                  <a:gd name="connsiteY3" fmla="*/ 0 h 133205"/>
                  <a:gd name="connsiteX4" fmla="*/ 133206 w 133205"/>
                  <a:gd name="connsiteY4" fmla="*/ 66603 h 1332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205" h="133205">
                    <a:moveTo>
                      <a:pt x="133206" y="66603"/>
                    </a:moveTo>
                    <a:cubicBezTo>
                      <a:pt x="133206" y="103387"/>
                      <a:pt x="103387" y="133206"/>
                      <a:pt x="66603" y="133206"/>
                    </a:cubicBezTo>
                    <a:cubicBezTo>
                      <a:pt x="29819" y="133206"/>
                      <a:pt x="0" y="103387"/>
                      <a:pt x="0" y="66603"/>
                    </a:cubicBezTo>
                    <a:cubicBezTo>
                      <a:pt x="0" y="29819"/>
                      <a:pt x="29819" y="0"/>
                      <a:pt x="66603" y="0"/>
                    </a:cubicBezTo>
                    <a:cubicBezTo>
                      <a:pt x="103387" y="0"/>
                      <a:pt x="133206" y="29819"/>
                      <a:pt x="133206" y="66603"/>
                    </a:cubicBezTo>
                    <a:close/>
                  </a:path>
                </a:pathLst>
              </a:custGeom>
              <a:solidFill>
                <a:srgbClr val="F15C23"/>
              </a:solidFill>
              <a:ln w="9525" cap="flat">
                <a:noFill/>
                <a:prstDash val="solid"/>
                <a:miter/>
              </a:ln>
            </p:spPr>
            <p:txBody>
              <a:bodyPr rtlCol="0" anchor="ctr"/>
              <a:lstStyle/>
              <a:p>
                <a:endParaRPr lang="en-IE"/>
              </a:p>
            </p:txBody>
          </p:sp>
          <p:sp>
            <p:nvSpPr>
              <p:cNvPr id="43" name="Freeform: Shape 42">
                <a:extLst>
                  <a:ext uri="{FF2B5EF4-FFF2-40B4-BE49-F238E27FC236}">
                    <a16:creationId xmlns:a16="http://schemas.microsoft.com/office/drawing/2014/main" id="{69920DBE-3686-6C92-50F9-D49C919520A9}"/>
                  </a:ext>
                </a:extLst>
              </p:cNvPr>
              <p:cNvSpPr/>
              <p:nvPr/>
            </p:nvSpPr>
            <p:spPr>
              <a:xfrm>
                <a:off x="900108" y="3254976"/>
                <a:ext cx="266411" cy="133205"/>
              </a:xfrm>
              <a:custGeom>
                <a:avLst/>
                <a:gdLst>
                  <a:gd name="connsiteX0" fmla="*/ 266411 w 266411"/>
                  <a:gd name="connsiteY0" fmla="*/ 133206 h 133205"/>
                  <a:gd name="connsiteX1" fmla="*/ 266411 w 266411"/>
                  <a:gd name="connsiteY1" fmla="*/ 66603 h 133205"/>
                  <a:gd name="connsiteX2" fmla="*/ 253091 w 266411"/>
                  <a:gd name="connsiteY2" fmla="*/ 39962 h 133205"/>
                  <a:gd name="connsiteX3" fmla="*/ 188153 w 266411"/>
                  <a:gd name="connsiteY3" fmla="*/ 8325 h 133205"/>
                  <a:gd name="connsiteX4" fmla="*/ 133206 w 266411"/>
                  <a:gd name="connsiteY4" fmla="*/ 0 h 133205"/>
                  <a:gd name="connsiteX5" fmla="*/ 78258 w 266411"/>
                  <a:gd name="connsiteY5" fmla="*/ 8325 h 133205"/>
                  <a:gd name="connsiteX6" fmla="*/ 13321 w 266411"/>
                  <a:gd name="connsiteY6" fmla="*/ 39962 h 133205"/>
                  <a:gd name="connsiteX7" fmla="*/ 0 w 266411"/>
                  <a:gd name="connsiteY7" fmla="*/ 66603 h 133205"/>
                  <a:gd name="connsiteX8" fmla="*/ 0 w 266411"/>
                  <a:gd name="connsiteY8" fmla="*/ 133206 h 133205"/>
                  <a:gd name="connsiteX9" fmla="*/ 266411 w 266411"/>
                  <a:gd name="connsiteY9" fmla="*/ 133206 h 1332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6411" h="133205">
                    <a:moveTo>
                      <a:pt x="266411" y="133206"/>
                    </a:moveTo>
                    <a:lnTo>
                      <a:pt x="266411" y="66603"/>
                    </a:lnTo>
                    <a:cubicBezTo>
                      <a:pt x="266411" y="56612"/>
                      <a:pt x="261416" y="46622"/>
                      <a:pt x="253091" y="39962"/>
                    </a:cubicBezTo>
                    <a:cubicBezTo>
                      <a:pt x="234775" y="24976"/>
                      <a:pt x="211464" y="14986"/>
                      <a:pt x="188153" y="8325"/>
                    </a:cubicBezTo>
                    <a:cubicBezTo>
                      <a:pt x="171502" y="3330"/>
                      <a:pt x="153187" y="0"/>
                      <a:pt x="133206" y="0"/>
                    </a:cubicBezTo>
                    <a:cubicBezTo>
                      <a:pt x="114890" y="0"/>
                      <a:pt x="96574" y="3330"/>
                      <a:pt x="78258" y="8325"/>
                    </a:cubicBezTo>
                    <a:cubicBezTo>
                      <a:pt x="54947" y="14986"/>
                      <a:pt x="31636" y="26641"/>
                      <a:pt x="13321" y="39962"/>
                    </a:cubicBezTo>
                    <a:cubicBezTo>
                      <a:pt x="4995" y="46622"/>
                      <a:pt x="0" y="56612"/>
                      <a:pt x="0" y="66603"/>
                    </a:cubicBezTo>
                    <a:lnTo>
                      <a:pt x="0" y="133206"/>
                    </a:lnTo>
                    <a:lnTo>
                      <a:pt x="266411" y="133206"/>
                    </a:lnTo>
                    <a:close/>
                  </a:path>
                </a:pathLst>
              </a:custGeom>
              <a:solidFill>
                <a:srgbClr val="F15C23"/>
              </a:solidFill>
              <a:ln w="9525" cap="flat">
                <a:noFill/>
                <a:prstDash val="solid"/>
                <a:miter/>
              </a:ln>
            </p:spPr>
            <p:txBody>
              <a:bodyPr rtlCol="0" anchor="ctr"/>
              <a:lstStyle/>
              <a:p>
                <a:endParaRPr lang="en-IE"/>
              </a:p>
            </p:txBody>
          </p:sp>
        </p:grpSp>
      </p:grpSp>
      <p:grpSp>
        <p:nvGrpSpPr>
          <p:cNvPr id="74" name="Group 73">
            <a:extLst>
              <a:ext uri="{FF2B5EF4-FFF2-40B4-BE49-F238E27FC236}">
                <a16:creationId xmlns:a16="http://schemas.microsoft.com/office/drawing/2014/main" id="{AE1FBCEA-4DAC-C524-A505-5D3FEA8B15CE}"/>
              </a:ext>
            </a:extLst>
          </p:cNvPr>
          <p:cNvGrpSpPr/>
          <p:nvPr/>
        </p:nvGrpSpPr>
        <p:grpSpPr>
          <a:xfrm>
            <a:off x="5684565" y="2335996"/>
            <a:ext cx="1040605" cy="2230377"/>
            <a:chOff x="5116261" y="2037546"/>
            <a:chExt cx="1040605" cy="2230377"/>
          </a:xfrm>
        </p:grpSpPr>
        <p:sp>
          <p:nvSpPr>
            <p:cNvPr id="68" name="Rectangle 67">
              <a:extLst>
                <a:ext uri="{FF2B5EF4-FFF2-40B4-BE49-F238E27FC236}">
                  <a16:creationId xmlns:a16="http://schemas.microsoft.com/office/drawing/2014/main" id="{1CC59F2F-3801-5148-49F7-0B6ABFC8C16B}"/>
                </a:ext>
              </a:extLst>
            </p:cNvPr>
            <p:cNvSpPr/>
            <p:nvPr/>
          </p:nvSpPr>
          <p:spPr>
            <a:xfrm>
              <a:off x="5116261" y="2489295"/>
              <a:ext cx="1040605" cy="1778628"/>
            </a:xfrm>
            <a:prstGeom prst="rect">
              <a:avLst/>
            </a:prstGeom>
            <a:solidFill>
              <a:schemeClr val="accent2">
                <a:lumMod val="60000"/>
                <a:lumOff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44" name="TextBox 43">
              <a:extLst>
                <a:ext uri="{FF2B5EF4-FFF2-40B4-BE49-F238E27FC236}">
                  <a16:creationId xmlns:a16="http://schemas.microsoft.com/office/drawing/2014/main" id="{A82CB40C-386A-772F-B464-E4B2D9B828AE}"/>
                </a:ext>
              </a:extLst>
            </p:cNvPr>
            <p:cNvSpPr txBox="1"/>
            <p:nvPr/>
          </p:nvSpPr>
          <p:spPr>
            <a:xfrm>
              <a:off x="5158665" y="3046646"/>
              <a:ext cx="969819" cy="769441"/>
            </a:xfrm>
            <a:prstGeom prst="rect">
              <a:avLst/>
            </a:prstGeom>
            <a:noFill/>
          </p:spPr>
          <p:txBody>
            <a:bodyPr wrap="square" rtlCol="0">
              <a:spAutoFit/>
            </a:bodyPr>
            <a:lstStyle/>
            <a:p>
              <a:pPr algn="ctr"/>
              <a:r>
                <a:rPr lang="en-US" sz="1100" b="0" i="0">
                  <a:solidFill>
                    <a:srgbClr val="000000"/>
                  </a:solidFill>
                  <a:effectLst/>
                  <a:latin typeface="Aptos Display" panose="020B0004020202020204" pitchFamily="34" charset="0"/>
                </a:rPr>
                <a:t>New</a:t>
              </a:r>
              <a:br>
                <a:rPr lang="en-US" sz="1100" b="0" i="0">
                  <a:solidFill>
                    <a:srgbClr val="000000"/>
                  </a:solidFill>
                  <a:effectLst/>
                  <a:latin typeface="Aptos Display" panose="020B0004020202020204" pitchFamily="34" charset="0"/>
                </a:rPr>
              </a:br>
              <a:r>
                <a:rPr lang="en-US" sz="1100" b="0" i="0">
                  <a:solidFill>
                    <a:srgbClr val="000000"/>
                  </a:solidFill>
                  <a:effectLst/>
                  <a:latin typeface="Aptos Display" panose="020B0004020202020204" pitchFamily="34" charset="0"/>
                </a:rPr>
                <a:t>ELI-based search features</a:t>
              </a:r>
            </a:p>
          </p:txBody>
        </p:sp>
        <p:sp>
          <p:nvSpPr>
            <p:cNvPr id="45" name="Oval 44">
              <a:extLst>
                <a:ext uri="{FF2B5EF4-FFF2-40B4-BE49-F238E27FC236}">
                  <a16:creationId xmlns:a16="http://schemas.microsoft.com/office/drawing/2014/main" id="{DA15710D-BDFA-5ED5-BF07-A2F8675F6D8A}"/>
                </a:ext>
              </a:extLst>
            </p:cNvPr>
            <p:cNvSpPr/>
            <p:nvPr/>
          </p:nvSpPr>
          <p:spPr>
            <a:xfrm>
              <a:off x="5158665" y="2037546"/>
              <a:ext cx="969819" cy="969819"/>
            </a:xfrm>
            <a:prstGeom prst="ellipse">
              <a:avLst/>
            </a:prstGeom>
            <a:solidFill>
              <a:srgbClr val="F15C23"/>
            </a:solidFill>
            <a:ln w="76200">
              <a:solidFill>
                <a:srgbClr val="80808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00" b="1">
                  <a:latin typeface="Aptos Display" panose="020B0004020202020204" pitchFamily="34" charset="0"/>
                </a:rPr>
                <a:t>2026</a:t>
              </a:r>
              <a:endParaRPr lang="en-IE" sz="1000" b="1">
                <a:latin typeface="Aptos Display" panose="020B0004020202020204" pitchFamily="34" charset="0"/>
              </a:endParaRPr>
            </a:p>
          </p:txBody>
        </p:sp>
        <p:pic>
          <p:nvPicPr>
            <p:cNvPr id="46" name="Graphic 45" descr="Robot with solid fill">
              <a:extLst>
                <a:ext uri="{FF2B5EF4-FFF2-40B4-BE49-F238E27FC236}">
                  <a16:creationId xmlns:a16="http://schemas.microsoft.com/office/drawing/2014/main" id="{1B4A03AD-B699-FF45-4120-4C7D8D6BF5C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614599" y="3770341"/>
              <a:ext cx="456779" cy="456779"/>
            </a:xfrm>
            <a:prstGeom prst="rect">
              <a:avLst/>
            </a:prstGeom>
          </p:spPr>
        </p:pic>
        <p:grpSp>
          <p:nvGrpSpPr>
            <p:cNvPr id="47" name="Content Placeholder 9" descr="User with solid fill">
              <a:extLst>
                <a:ext uri="{FF2B5EF4-FFF2-40B4-BE49-F238E27FC236}">
                  <a16:creationId xmlns:a16="http://schemas.microsoft.com/office/drawing/2014/main" id="{249AC7DA-0509-AEF7-11FD-3101C70D0DC7}"/>
                </a:ext>
              </a:extLst>
            </p:cNvPr>
            <p:cNvGrpSpPr/>
            <p:nvPr/>
          </p:nvGrpSpPr>
          <p:grpSpPr>
            <a:xfrm>
              <a:off x="5406138" y="3877023"/>
              <a:ext cx="266411" cy="283062"/>
              <a:chOff x="900108" y="3105120"/>
              <a:chExt cx="266411" cy="283062"/>
            </a:xfrm>
            <a:solidFill>
              <a:srgbClr val="F15C23"/>
            </a:solidFill>
          </p:grpSpPr>
          <p:sp>
            <p:nvSpPr>
              <p:cNvPr id="48" name="Freeform: Shape 47">
                <a:extLst>
                  <a:ext uri="{FF2B5EF4-FFF2-40B4-BE49-F238E27FC236}">
                    <a16:creationId xmlns:a16="http://schemas.microsoft.com/office/drawing/2014/main" id="{DD57011F-766C-B604-AA56-FB9A44763B2E}"/>
                  </a:ext>
                </a:extLst>
              </p:cNvPr>
              <p:cNvSpPr/>
              <p:nvPr/>
            </p:nvSpPr>
            <p:spPr>
              <a:xfrm>
                <a:off x="966711" y="3105120"/>
                <a:ext cx="133205" cy="133205"/>
              </a:xfrm>
              <a:custGeom>
                <a:avLst/>
                <a:gdLst>
                  <a:gd name="connsiteX0" fmla="*/ 133206 w 133205"/>
                  <a:gd name="connsiteY0" fmla="*/ 66603 h 133205"/>
                  <a:gd name="connsiteX1" fmla="*/ 66603 w 133205"/>
                  <a:gd name="connsiteY1" fmla="*/ 133206 h 133205"/>
                  <a:gd name="connsiteX2" fmla="*/ 0 w 133205"/>
                  <a:gd name="connsiteY2" fmla="*/ 66603 h 133205"/>
                  <a:gd name="connsiteX3" fmla="*/ 66603 w 133205"/>
                  <a:gd name="connsiteY3" fmla="*/ 0 h 133205"/>
                  <a:gd name="connsiteX4" fmla="*/ 133206 w 133205"/>
                  <a:gd name="connsiteY4" fmla="*/ 66603 h 1332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205" h="133205">
                    <a:moveTo>
                      <a:pt x="133206" y="66603"/>
                    </a:moveTo>
                    <a:cubicBezTo>
                      <a:pt x="133206" y="103387"/>
                      <a:pt x="103387" y="133206"/>
                      <a:pt x="66603" y="133206"/>
                    </a:cubicBezTo>
                    <a:cubicBezTo>
                      <a:pt x="29819" y="133206"/>
                      <a:pt x="0" y="103387"/>
                      <a:pt x="0" y="66603"/>
                    </a:cubicBezTo>
                    <a:cubicBezTo>
                      <a:pt x="0" y="29819"/>
                      <a:pt x="29819" y="0"/>
                      <a:pt x="66603" y="0"/>
                    </a:cubicBezTo>
                    <a:cubicBezTo>
                      <a:pt x="103387" y="0"/>
                      <a:pt x="133206" y="29819"/>
                      <a:pt x="133206" y="66603"/>
                    </a:cubicBezTo>
                    <a:close/>
                  </a:path>
                </a:pathLst>
              </a:custGeom>
              <a:solidFill>
                <a:srgbClr val="F15C23"/>
              </a:solidFill>
              <a:ln w="9525" cap="flat">
                <a:noFill/>
                <a:prstDash val="solid"/>
                <a:miter/>
              </a:ln>
            </p:spPr>
            <p:txBody>
              <a:bodyPr rtlCol="0" anchor="ctr"/>
              <a:lstStyle/>
              <a:p>
                <a:endParaRPr lang="en-IE"/>
              </a:p>
            </p:txBody>
          </p:sp>
          <p:sp>
            <p:nvSpPr>
              <p:cNvPr id="49" name="Freeform: Shape 48">
                <a:extLst>
                  <a:ext uri="{FF2B5EF4-FFF2-40B4-BE49-F238E27FC236}">
                    <a16:creationId xmlns:a16="http://schemas.microsoft.com/office/drawing/2014/main" id="{20956634-5AE6-5A29-8334-5857B7A196B2}"/>
                  </a:ext>
                </a:extLst>
              </p:cNvPr>
              <p:cNvSpPr/>
              <p:nvPr/>
            </p:nvSpPr>
            <p:spPr>
              <a:xfrm>
                <a:off x="900108" y="3254976"/>
                <a:ext cx="266411" cy="133205"/>
              </a:xfrm>
              <a:custGeom>
                <a:avLst/>
                <a:gdLst>
                  <a:gd name="connsiteX0" fmla="*/ 266411 w 266411"/>
                  <a:gd name="connsiteY0" fmla="*/ 133206 h 133205"/>
                  <a:gd name="connsiteX1" fmla="*/ 266411 w 266411"/>
                  <a:gd name="connsiteY1" fmla="*/ 66603 h 133205"/>
                  <a:gd name="connsiteX2" fmla="*/ 253091 w 266411"/>
                  <a:gd name="connsiteY2" fmla="*/ 39962 h 133205"/>
                  <a:gd name="connsiteX3" fmla="*/ 188153 w 266411"/>
                  <a:gd name="connsiteY3" fmla="*/ 8325 h 133205"/>
                  <a:gd name="connsiteX4" fmla="*/ 133206 w 266411"/>
                  <a:gd name="connsiteY4" fmla="*/ 0 h 133205"/>
                  <a:gd name="connsiteX5" fmla="*/ 78258 w 266411"/>
                  <a:gd name="connsiteY5" fmla="*/ 8325 h 133205"/>
                  <a:gd name="connsiteX6" fmla="*/ 13321 w 266411"/>
                  <a:gd name="connsiteY6" fmla="*/ 39962 h 133205"/>
                  <a:gd name="connsiteX7" fmla="*/ 0 w 266411"/>
                  <a:gd name="connsiteY7" fmla="*/ 66603 h 133205"/>
                  <a:gd name="connsiteX8" fmla="*/ 0 w 266411"/>
                  <a:gd name="connsiteY8" fmla="*/ 133206 h 133205"/>
                  <a:gd name="connsiteX9" fmla="*/ 266411 w 266411"/>
                  <a:gd name="connsiteY9" fmla="*/ 133206 h 1332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6411" h="133205">
                    <a:moveTo>
                      <a:pt x="266411" y="133206"/>
                    </a:moveTo>
                    <a:lnTo>
                      <a:pt x="266411" y="66603"/>
                    </a:lnTo>
                    <a:cubicBezTo>
                      <a:pt x="266411" y="56612"/>
                      <a:pt x="261416" y="46622"/>
                      <a:pt x="253091" y="39962"/>
                    </a:cubicBezTo>
                    <a:cubicBezTo>
                      <a:pt x="234775" y="24976"/>
                      <a:pt x="211464" y="14986"/>
                      <a:pt x="188153" y="8325"/>
                    </a:cubicBezTo>
                    <a:cubicBezTo>
                      <a:pt x="171502" y="3330"/>
                      <a:pt x="153187" y="0"/>
                      <a:pt x="133206" y="0"/>
                    </a:cubicBezTo>
                    <a:cubicBezTo>
                      <a:pt x="114890" y="0"/>
                      <a:pt x="96574" y="3330"/>
                      <a:pt x="78258" y="8325"/>
                    </a:cubicBezTo>
                    <a:cubicBezTo>
                      <a:pt x="54947" y="14986"/>
                      <a:pt x="31636" y="26641"/>
                      <a:pt x="13321" y="39962"/>
                    </a:cubicBezTo>
                    <a:cubicBezTo>
                      <a:pt x="4995" y="46622"/>
                      <a:pt x="0" y="56612"/>
                      <a:pt x="0" y="66603"/>
                    </a:cubicBezTo>
                    <a:lnTo>
                      <a:pt x="0" y="133206"/>
                    </a:lnTo>
                    <a:lnTo>
                      <a:pt x="266411" y="133206"/>
                    </a:lnTo>
                    <a:close/>
                  </a:path>
                </a:pathLst>
              </a:custGeom>
              <a:solidFill>
                <a:srgbClr val="F15C23"/>
              </a:solidFill>
              <a:ln w="9525" cap="flat">
                <a:noFill/>
                <a:prstDash val="solid"/>
                <a:miter/>
              </a:ln>
            </p:spPr>
            <p:txBody>
              <a:bodyPr rtlCol="0" anchor="ctr"/>
              <a:lstStyle/>
              <a:p>
                <a:endParaRPr lang="en-IE"/>
              </a:p>
            </p:txBody>
          </p:sp>
        </p:grpSp>
      </p:grpSp>
      <p:grpSp>
        <p:nvGrpSpPr>
          <p:cNvPr id="73" name="Group 72">
            <a:extLst>
              <a:ext uri="{FF2B5EF4-FFF2-40B4-BE49-F238E27FC236}">
                <a16:creationId xmlns:a16="http://schemas.microsoft.com/office/drawing/2014/main" id="{9E7274E7-4189-A574-1948-807CA96C2CC5}"/>
              </a:ext>
            </a:extLst>
          </p:cNvPr>
          <p:cNvGrpSpPr/>
          <p:nvPr/>
        </p:nvGrpSpPr>
        <p:grpSpPr>
          <a:xfrm>
            <a:off x="6774913" y="1268417"/>
            <a:ext cx="1040605" cy="2251452"/>
            <a:chOff x="6128155" y="1203257"/>
            <a:chExt cx="1040605" cy="2251452"/>
          </a:xfrm>
        </p:grpSpPr>
        <p:sp>
          <p:nvSpPr>
            <p:cNvPr id="69" name="Rectangle 68">
              <a:extLst>
                <a:ext uri="{FF2B5EF4-FFF2-40B4-BE49-F238E27FC236}">
                  <a16:creationId xmlns:a16="http://schemas.microsoft.com/office/drawing/2014/main" id="{3608C53A-F5CA-E5E7-4BBA-FA6A776C45CB}"/>
                </a:ext>
              </a:extLst>
            </p:cNvPr>
            <p:cNvSpPr/>
            <p:nvPr/>
          </p:nvSpPr>
          <p:spPr>
            <a:xfrm>
              <a:off x="6128155" y="1716785"/>
              <a:ext cx="1040605" cy="1737924"/>
            </a:xfrm>
            <a:prstGeom prst="rect">
              <a:avLst/>
            </a:prstGeom>
            <a:solidFill>
              <a:schemeClr val="accent2">
                <a:lumMod val="60000"/>
                <a:lumOff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50" name="TextBox 49">
              <a:extLst>
                <a:ext uri="{FF2B5EF4-FFF2-40B4-BE49-F238E27FC236}">
                  <a16:creationId xmlns:a16="http://schemas.microsoft.com/office/drawing/2014/main" id="{0BB99D25-6AEF-EBD3-5462-349DF4988A03}"/>
                </a:ext>
              </a:extLst>
            </p:cNvPr>
            <p:cNvSpPr txBox="1"/>
            <p:nvPr/>
          </p:nvSpPr>
          <p:spPr>
            <a:xfrm>
              <a:off x="6165483" y="2212357"/>
              <a:ext cx="969819" cy="769441"/>
            </a:xfrm>
            <a:prstGeom prst="rect">
              <a:avLst/>
            </a:prstGeom>
            <a:noFill/>
          </p:spPr>
          <p:txBody>
            <a:bodyPr wrap="square" rtlCol="0">
              <a:spAutoFit/>
            </a:bodyPr>
            <a:lstStyle/>
            <a:p>
              <a:pPr algn="ctr"/>
              <a:r>
                <a:rPr lang="en-US" sz="1100" b="0" i="0">
                  <a:solidFill>
                    <a:srgbClr val="000000"/>
                  </a:solidFill>
                  <a:effectLst/>
                  <a:latin typeface="Aptos Display" panose="020B0004020202020204" pitchFamily="34" charset="0"/>
                </a:rPr>
                <a:t>Semantic meaning of the legal act content</a:t>
              </a:r>
            </a:p>
          </p:txBody>
        </p:sp>
        <p:sp>
          <p:nvSpPr>
            <p:cNvPr id="51" name="Oval 50">
              <a:extLst>
                <a:ext uri="{FF2B5EF4-FFF2-40B4-BE49-F238E27FC236}">
                  <a16:creationId xmlns:a16="http://schemas.microsoft.com/office/drawing/2014/main" id="{3BE6035E-8010-81F7-97EA-9E399A5A1127}"/>
                </a:ext>
              </a:extLst>
            </p:cNvPr>
            <p:cNvSpPr/>
            <p:nvPr/>
          </p:nvSpPr>
          <p:spPr>
            <a:xfrm>
              <a:off x="6165483" y="1203257"/>
              <a:ext cx="969819" cy="969819"/>
            </a:xfrm>
            <a:prstGeom prst="ellipse">
              <a:avLst/>
            </a:prstGeom>
            <a:solidFill>
              <a:srgbClr val="F15C23"/>
            </a:solidFill>
            <a:ln w="76200">
              <a:solidFill>
                <a:srgbClr val="80808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00" b="1">
                  <a:latin typeface="Aptos Display" panose="020B0004020202020204" pitchFamily="34" charset="0"/>
                </a:rPr>
                <a:t>2026</a:t>
              </a:r>
              <a:endParaRPr lang="en-IE" sz="1000" b="1">
                <a:latin typeface="Aptos Display" panose="020B0004020202020204" pitchFamily="34" charset="0"/>
              </a:endParaRPr>
            </a:p>
          </p:txBody>
        </p:sp>
        <p:pic>
          <p:nvPicPr>
            <p:cNvPr id="52" name="Graphic 51" descr="Robot with solid fill">
              <a:extLst>
                <a:ext uri="{FF2B5EF4-FFF2-40B4-BE49-F238E27FC236}">
                  <a16:creationId xmlns:a16="http://schemas.microsoft.com/office/drawing/2014/main" id="{07C952C6-EDDB-2590-D683-02B5681E60B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448234" y="2936052"/>
              <a:ext cx="456779" cy="456779"/>
            </a:xfrm>
            <a:prstGeom prst="rect">
              <a:avLst/>
            </a:prstGeom>
          </p:spPr>
        </p:pic>
      </p:grpSp>
      <p:grpSp>
        <p:nvGrpSpPr>
          <p:cNvPr id="82" name="Group 81">
            <a:extLst>
              <a:ext uri="{FF2B5EF4-FFF2-40B4-BE49-F238E27FC236}">
                <a16:creationId xmlns:a16="http://schemas.microsoft.com/office/drawing/2014/main" id="{EB57560C-630C-FBB4-A8CB-B5CDFA2DF1E6}"/>
              </a:ext>
            </a:extLst>
          </p:cNvPr>
          <p:cNvGrpSpPr/>
          <p:nvPr/>
        </p:nvGrpSpPr>
        <p:grpSpPr>
          <a:xfrm>
            <a:off x="7865261" y="2164621"/>
            <a:ext cx="1040605" cy="2401752"/>
            <a:chOff x="7865261" y="2371900"/>
            <a:chExt cx="1040605" cy="2401752"/>
          </a:xfrm>
        </p:grpSpPr>
        <p:sp>
          <p:nvSpPr>
            <p:cNvPr id="70" name="Rectangle 69">
              <a:extLst>
                <a:ext uri="{FF2B5EF4-FFF2-40B4-BE49-F238E27FC236}">
                  <a16:creationId xmlns:a16="http://schemas.microsoft.com/office/drawing/2014/main" id="{70A0DDF5-D691-A901-5EE6-064E5EC5D71F}"/>
                </a:ext>
              </a:extLst>
            </p:cNvPr>
            <p:cNvSpPr/>
            <p:nvPr/>
          </p:nvSpPr>
          <p:spPr>
            <a:xfrm>
              <a:off x="7865261" y="2856809"/>
              <a:ext cx="1040605" cy="1916843"/>
            </a:xfrm>
            <a:prstGeom prst="rect">
              <a:avLst/>
            </a:prstGeom>
            <a:solidFill>
              <a:schemeClr val="accent2">
                <a:lumMod val="60000"/>
                <a:lumOff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59" name="TextBox 58">
              <a:extLst>
                <a:ext uri="{FF2B5EF4-FFF2-40B4-BE49-F238E27FC236}">
                  <a16:creationId xmlns:a16="http://schemas.microsoft.com/office/drawing/2014/main" id="{0D9BE7D4-A9BB-BBD5-ABB7-D2A2E0D9A199}"/>
                </a:ext>
              </a:extLst>
            </p:cNvPr>
            <p:cNvSpPr txBox="1"/>
            <p:nvPr/>
          </p:nvSpPr>
          <p:spPr>
            <a:xfrm>
              <a:off x="7900655" y="3381000"/>
              <a:ext cx="969819" cy="261610"/>
            </a:xfrm>
            <a:prstGeom prst="rect">
              <a:avLst/>
            </a:prstGeom>
            <a:noFill/>
          </p:spPr>
          <p:txBody>
            <a:bodyPr wrap="square" rtlCol="0">
              <a:spAutoFit/>
            </a:bodyPr>
            <a:lstStyle/>
            <a:p>
              <a:pPr algn="ctr"/>
              <a:endParaRPr lang="en-US" sz="1100" b="0" i="0">
                <a:solidFill>
                  <a:srgbClr val="000000"/>
                </a:solidFill>
                <a:effectLst/>
                <a:latin typeface="Aptos Display" panose="020B0004020202020204" pitchFamily="34" charset="0"/>
              </a:endParaRPr>
            </a:p>
          </p:txBody>
        </p:sp>
        <p:sp>
          <p:nvSpPr>
            <p:cNvPr id="60" name="Oval 59">
              <a:extLst>
                <a:ext uri="{FF2B5EF4-FFF2-40B4-BE49-F238E27FC236}">
                  <a16:creationId xmlns:a16="http://schemas.microsoft.com/office/drawing/2014/main" id="{E4A372D9-3F1C-E243-0051-40FA16EF5C09}"/>
                </a:ext>
              </a:extLst>
            </p:cNvPr>
            <p:cNvSpPr/>
            <p:nvPr/>
          </p:nvSpPr>
          <p:spPr>
            <a:xfrm>
              <a:off x="7900655" y="2371900"/>
              <a:ext cx="969819" cy="969819"/>
            </a:xfrm>
            <a:prstGeom prst="ellipse">
              <a:avLst/>
            </a:prstGeom>
            <a:solidFill>
              <a:srgbClr val="F15C23"/>
            </a:solidFill>
            <a:ln w="76200">
              <a:solidFill>
                <a:srgbClr val="80808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00" b="1">
                  <a:latin typeface="Aptos Display" panose="020B0004020202020204" pitchFamily="34" charset="0"/>
                </a:rPr>
                <a:t>2026</a:t>
              </a:r>
              <a:endParaRPr lang="en-IE" sz="1000" b="1">
                <a:latin typeface="Aptos Display" panose="020B0004020202020204" pitchFamily="34" charset="0"/>
              </a:endParaRPr>
            </a:p>
          </p:txBody>
        </p:sp>
        <p:pic>
          <p:nvPicPr>
            <p:cNvPr id="61" name="Graphic 60" descr="Robot with solid fill">
              <a:extLst>
                <a:ext uri="{FF2B5EF4-FFF2-40B4-BE49-F238E27FC236}">
                  <a16:creationId xmlns:a16="http://schemas.microsoft.com/office/drawing/2014/main" id="{14ECF6A2-0C72-AD17-65A2-1783BF90CB5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167464" y="4290210"/>
              <a:ext cx="456779" cy="456779"/>
            </a:xfrm>
            <a:prstGeom prst="rect">
              <a:avLst/>
            </a:prstGeom>
          </p:spPr>
        </p:pic>
        <p:sp>
          <p:nvSpPr>
            <p:cNvPr id="81" name="TextBox 80">
              <a:extLst>
                <a:ext uri="{FF2B5EF4-FFF2-40B4-BE49-F238E27FC236}">
                  <a16:creationId xmlns:a16="http://schemas.microsoft.com/office/drawing/2014/main" id="{D38F3427-1900-D021-A07A-709C38B08BDF}"/>
                </a:ext>
              </a:extLst>
            </p:cNvPr>
            <p:cNvSpPr txBox="1"/>
            <p:nvPr/>
          </p:nvSpPr>
          <p:spPr>
            <a:xfrm>
              <a:off x="7910945" y="3401385"/>
              <a:ext cx="969819" cy="938719"/>
            </a:xfrm>
            <a:prstGeom prst="rect">
              <a:avLst/>
            </a:prstGeom>
            <a:noFill/>
          </p:spPr>
          <p:txBody>
            <a:bodyPr wrap="square" rtlCol="0">
              <a:spAutoFit/>
            </a:bodyPr>
            <a:lstStyle/>
            <a:p>
              <a:pPr algn="ctr"/>
              <a:r>
                <a:rPr lang="en-US" sz="1100" b="0" i="0">
                  <a:solidFill>
                    <a:srgbClr val="000000"/>
                  </a:solidFill>
                  <a:effectLst/>
                  <a:latin typeface="Aptos Display" panose="020B0004020202020204" pitchFamily="34" charset="0"/>
                </a:rPr>
                <a:t>Metadata at subdivision level (AKN4EU + ELI)</a:t>
              </a:r>
            </a:p>
          </p:txBody>
        </p:sp>
      </p:grpSp>
    </p:spTree>
    <p:extLst>
      <p:ext uri="{BB962C8B-B14F-4D97-AF65-F5344CB8AC3E}">
        <p14:creationId xmlns:p14="http://schemas.microsoft.com/office/powerpoint/2010/main" val="2054403952"/>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13" descr="A map of europe with lines and a blue and yellow flag&#10;&#10;Description automatically generated">
            <a:extLst>
              <a:ext uri="{FF2B5EF4-FFF2-40B4-BE49-F238E27FC236}">
                <a16:creationId xmlns:a16="http://schemas.microsoft.com/office/drawing/2014/main" id="{B1FC3E41-E1FB-A440-7855-95F4192576FE}"/>
              </a:ext>
            </a:extLst>
          </p:cNvPr>
          <p:cNvPicPr>
            <a:picLocks noChangeAspect="1"/>
          </p:cNvPicPr>
          <p:nvPr/>
        </p:nvPicPr>
        <p:blipFill rotWithShape="1">
          <a:blip r:embed="rId3">
            <a:alphaModFix amt="70000"/>
          </a:blip>
          <a:srcRect t="25008" b="18518"/>
          <a:stretch/>
        </p:blipFill>
        <p:spPr>
          <a:xfrm>
            <a:off x="864362" y="0"/>
            <a:ext cx="8279638" cy="4675909"/>
          </a:xfrm>
          <a:prstGeom prst="rect">
            <a:avLst/>
          </a:prstGeom>
        </p:spPr>
      </p:pic>
      <p:sp>
        <p:nvSpPr>
          <p:cNvPr id="2" name="Title 1">
            <a:extLst>
              <a:ext uri="{FF2B5EF4-FFF2-40B4-BE49-F238E27FC236}">
                <a16:creationId xmlns:a16="http://schemas.microsoft.com/office/drawing/2014/main" id="{B7DE7997-3F77-8CF3-A1B3-00AB99482297}"/>
              </a:ext>
            </a:extLst>
          </p:cNvPr>
          <p:cNvSpPr>
            <a:spLocks noGrp="1"/>
          </p:cNvSpPr>
          <p:nvPr>
            <p:ph type="title"/>
          </p:nvPr>
        </p:nvSpPr>
        <p:spPr/>
        <p:txBody>
          <a:bodyPr/>
          <a:lstStyle/>
          <a:p>
            <a:r>
              <a:rPr lang="en-US"/>
              <a:t>Continuous activities</a:t>
            </a:r>
            <a:endParaRPr lang="en-IE"/>
          </a:p>
        </p:txBody>
      </p:sp>
      <p:sp>
        <p:nvSpPr>
          <p:cNvPr id="4" name="Text Placeholder 3">
            <a:extLst>
              <a:ext uri="{FF2B5EF4-FFF2-40B4-BE49-F238E27FC236}">
                <a16:creationId xmlns:a16="http://schemas.microsoft.com/office/drawing/2014/main" id="{E249527F-2AD5-EEEC-6EF6-0541B964B9AF}"/>
              </a:ext>
            </a:extLst>
          </p:cNvPr>
          <p:cNvSpPr>
            <a:spLocks noGrp="1"/>
          </p:cNvSpPr>
          <p:nvPr>
            <p:ph type="body" sz="quarter" idx="13"/>
          </p:nvPr>
        </p:nvSpPr>
        <p:spPr/>
        <p:txBody>
          <a:bodyPr/>
          <a:lstStyle/>
          <a:p>
            <a:endParaRPr lang="en-IE"/>
          </a:p>
        </p:txBody>
      </p:sp>
      <p:sp>
        <p:nvSpPr>
          <p:cNvPr id="8" name="Oval 7">
            <a:extLst>
              <a:ext uri="{FF2B5EF4-FFF2-40B4-BE49-F238E27FC236}">
                <a16:creationId xmlns:a16="http://schemas.microsoft.com/office/drawing/2014/main" id="{8BEFE45B-0F52-4643-7FC8-563AE98F06F2}"/>
              </a:ext>
            </a:extLst>
          </p:cNvPr>
          <p:cNvSpPr/>
          <p:nvPr/>
        </p:nvSpPr>
        <p:spPr>
          <a:xfrm>
            <a:off x="458643" y="3105150"/>
            <a:ext cx="2516332" cy="1395621"/>
          </a:xfrm>
          <a:prstGeom prst="ellipse">
            <a:avLst/>
          </a:prstGeom>
          <a:solidFill>
            <a:srgbClr val="F15C23"/>
          </a:solidFill>
          <a:ln w="28575">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lvl="0" algn="ctr">
              <a:lnSpc>
                <a:spcPct val="107000"/>
              </a:lnSpc>
              <a:spcAft>
                <a:spcPts val="1200"/>
              </a:spcAft>
            </a:pPr>
            <a:r>
              <a:rPr lang="en-IE" sz="1200" b="1" kern="100">
                <a:solidFill>
                  <a:schemeClr val="bg1"/>
                </a:solidFill>
                <a:effectLst/>
                <a:latin typeface="Aptos" panose="020B0004020202020204" pitchFamily="34" charset="0"/>
                <a:ea typeface="Calibri" panose="020F0502020204030204" pitchFamily="34" charset="0"/>
                <a:cs typeface="Times New Roman" panose="02020603050405020304" pitchFamily="18" charset="0"/>
              </a:rPr>
              <a:t>Promote further standardisation across MS</a:t>
            </a:r>
            <a:br>
              <a:rPr lang="en-IE" sz="1200" b="1" kern="100">
                <a:solidFill>
                  <a:schemeClr val="bg1"/>
                </a:solidFill>
                <a:effectLst/>
                <a:latin typeface="Aptos" panose="020B0004020202020204" pitchFamily="34" charset="0"/>
                <a:ea typeface="Calibri" panose="020F0502020204030204" pitchFamily="34" charset="0"/>
                <a:cs typeface="Times New Roman" panose="02020603050405020304" pitchFamily="18" charset="0"/>
              </a:rPr>
            </a:br>
            <a:r>
              <a:rPr lang="en-IE" sz="1200" b="1" kern="100">
                <a:solidFill>
                  <a:schemeClr val="bg1"/>
                </a:solidFill>
                <a:effectLst/>
                <a:latin typeface="Aptos" panose="020B0004020202020204" pitchFamily="34" charset="0"/>
                <a:ea typeface="Calibri" panose="020F0502020204030204" pitchFamily="34" charset="0"/>
                <a:cs typeface="Times New Roman" panose="02020603050405020304" pitchFamily="18" charset="0"/>
              </a:rPr>
              <a:t>(ELI, ECLI, DCAT-AP)</a:t>
            </a:r>
            <a:endParaRPr lang="en-IE" sz="1100" b="1" kern="10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9" name="Oval 8">
            <a:extLst>
              <a:ext uri="{FF2B5EF4-FFF2-40B4-BE49-F238E27FC236}">
                <a16:creationId xmlns:a16="http://schemas.microsoft.com/office/drawing/2014/main" id="{E6146281-AC09-9263-03E7-A1577D89E93D}"/>
              </a:ext>
            </a:extLst>
          </p:cNvPr>
          <p:cNvSpPr/>
          <p:nvPr/>
        </p:nvSpPr>
        <p:spPr>
          <a:xfrm>
            <a:off x="1201881" y="1157684"/>
            <a:ext cx="2516332" cy="1147469"/>
          </a:xfrm>
          <a:prstGeom prst="ellipse">
            <a:avLst/>
          </a:prstGeom>
          <a:solidFill>
            <a:srgbClr val="F15C23"/>
          </a:solidFill>
          <a:ln w="28575">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lvl="0" algn="ctr">
              <a:lnSpc>
                <a:spcPct val="107000"/>
              </a:lnSpc>
              <a:spcAft>
                <a:spcPts val="1200"/>
              </a:spcAft>
            </a:pPr>
            <a:r>
              <a:rPr lang="en-US" sz="1200" b="1" kern="100">
                <a:solidFill>
                  <a:schemeClr val="bg1"/>
                </a:solidFill>
                <a:effectLst/>
                <a:latin typeface="Aptos" panose="020B0004020202020204" pitchFamily="34" charset="0"/>
                <a:ea typeface="Calibri" panose="020F0502020204030204" pitchFamily="34" charset="0"/>
                <a:cs typeface="Times New Roman" panose="02020603050405020304" pitchFamily="18" charset="0"/>
              </a:rPr>
              <a:t>Identify and implement specific business cases</a:t>
            </a:r>
          </a:p>
        </p:txBody>
      </p:sp>
      <p:sp>
        <p:nvSpPr>
          <p:cNvPr id="10" name="Oval 9">
            <a:extLst>
              <a:ext uri="{FF2B5EF4-FFF2-40B4-BE49-F238E27FC236}">
                <a16:creationId xmlns:a16="http://schemas.microsoft.com/office/drawing/2014/main" id="{191D7CF4-A57A-3B6E-4FD2-136539536387}"/>
              </a:ext>
            </a:extLst>
          </p:cNvPr>
          <p:cNvSpPr/>
          <p:nvPr/>
        </p:nvSpPr>
        <p:spPr>
          <a:xfrm>
            <a:off x="6061364" y="2988289"/>
            <a:ext cx="2516332" cy="1147469"/>
          </a:xfrm>
          <a:prstGeom prst="ellipse">
            <a:avLst/>
          </a:prstGeom>
          <a:solidFill>
            <a:srgbClr val="F15C23"/>
          </a:solidFill>
          <a:ln w="28575">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lvl="0" algn="ctr">
              <a:lnSpc>
                <a:spcPct val="107000"/>
              </a:lnSpc>
              <a:spcAft>
                <a:spcPts val="1200"/>
              </a:spcAft>
            </a:pPr>
            <a:r>
              <a:rPr lang="en-US" sz="1200" b="1" kern="100">
                <a:solidFill>
                  <a:schemeClr val="bg1"/>
                </a:solidFill>
                <a:effectLst/>
                <a:latin typeface="Aptos" panose="020B0004020202020204" pitchFamily="34" charset="0"/>
                <a:ea typeface="Calibri" panose="020F0502020204030204" pitchFamily="34" charset="0"/>
                <a:cs typeface="Times New Roman" panose="02020603050405020304" pitchFamily="18" charset="0"/>
              </a:rPr>
              <a:t>Define and continuously evaluate the scope of the data space</a:t>
            </a:r>
          </a:p>
        </p:txBody>
      </p:sp>
      <p:sp>
        <p:nvSpPr>
          <p:cNvPr id="11" name="Oval 10">
            <a:extLst>
              <a:ext uri="{FF2B5EF4-FFF2-40B4-BE49-F238E27FC236}">
                <a16:creationId xmlns:a16="http://schemas.microsoft.com/office/drawing/2014/main" id="{002DD7D5-DE57-7D35-2B8D-0D23B6AC0001}"/>
              </a:ext>
            </a:extLst>
          </p:cNvPr>
          <p:cNvSpPr/>
          <p:nvPr/>
        </p:nvSpPr>
        <p:spPr>
          <a:xfrm>
            <a:off x="3403889" y="1990763"/>
            <a:ext cx="2108345" cy="1995053"/>
          </a:xfrm>
          <a:prstGeom prst="ellipse">
            <a:avLst/>
          </a:prstGeom>
          <a:solidFill>
            <a:srgbClr val="F15C23"/>
          </a:solidFill>
          <a:ln w="28575">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lvl="0" algn="ctr">
              <a:lnSpc>
                <a:spcPct val="107000"/>
              </a:lnSpc>
              <a:spcAft>
                <a:spcPts val="1200"/>
              </a:spcAft>
            </a:pPr>
            <a:r>
              <a:rPr lang="en-US" sz="1200" b="1" kern="100">
                <a:solidFill>
                  <a:schemeClr val="bg1"/>
                </a:solidFill>
                <a:effectLst/>
                <a:latin typeface="Aptos" panose="020B0004020202020204" pitchFamily="34" charset="0"/>
                <a:ea typeface="Calibri" panose="020F0502020204030204" pitchFamily="34" charset="0"/>
                <a:cs typeface="Times New Roman" panose="02020603050405020304" pitchFamily="18" charset="0"/>
              </a:rPr>
              <a:t>Further promote ELI as a key standard for the Data Space, aim to connect all MSs by 2030</a:t>
            </a:r>
          </a:p>
        </p:txBody>
      </p:sp>
      <p:sp>
        <p:nvSpPr>
          <p:cNvPr id="12" name="Oval 11">
            <a:extLst>
              <a:ext uri="{FF2B5EF4-FFF2-40B4-BE49-F238E27FC236}">
                <a16:creationId xmlns:a16="http://schemas.microsoft.com/office/drawing/2014/main" id="{3B1C2A50-6DD0-3049-2AB6-2C874281EAFB}"/>
              </a:ext>
            </a:extLst>
          </p:cNvPr>
          <p:cNvSpPr/>
          <p:nvPr/>
        </p:nvSpPr>
        <p:spPr>
          <a:xfrm>
            <a:off x="5626172" y="637745"/>
            <a:ext cx="2015837" cy="1995053"/>
          </a:xfrm>
          <a:prstGeom prst="ellipse">
            <a:avLst/>
          </a:prstGeom>
          <a:solidFill>
            <a:srgbClr val="F15C23"/>
          </a:solidFill>
          <a:ln w="28575">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lvl="0" algn="ctr">
              <a:lnSpc>
                <a:spcPct val="107000"/>
              </a:lnSpc>
              <a:spcAft>
                <a:spcPts val="1200"/>
              </a:spcAft>
            </a:pPr>
            <a:r>
              <a:rPr lang="en-US" sz="1200" b="1" kern="100">
                <a:solidFill>
                  <a:schemeClr val="bg1"/>
                </a:solidFill>
                <a:effectLst/>
                <a:latin typeface="Aptos" panose="020B0004020202020204" pitchFamily="34" charset="0"/>
                <a:ea typeface="Calibri" panose="020F0502020204030204" pitchFamily="34" charset="0"/>
                <a:cs typeface="Times New Roman" panose="02020603050405020304" pitchFamily="18" charset="0"/>
              </a:rPr>
              <a:t>Promote use and access to </a:t>
            </a:r>
            <a:r>
              <a:rPr lang="en-US" sz="1200" b="1" kern="100" err="1">
                <a:solidFill>
                  <a:schemeClr val="bg1"/>
                </a:solidFill>
                <a:effectLst/>
                <a:latin typeface="Aptos" panose="020B0004020202020204" pitchFamily="34" charset="0"/>
                <a:ea typeface="Calibri" panose="020F0502020204030204" pitchFamily="34" charset="0"/>
                <a:cs typeface="Times New Roman" panose="02020603050405020304" pitchFamily="18" charset="0"/>
              </a:rPr>
              <a:t>standardised</a:t>
            </a:r>
            <a:r>
              <a:rPr lang="en-US" sz="1200" b="1" kern="100">
                <a:solidFill>
                  <a:schemeClr val="bg1"/>
                </a:solidFill>
                <a:effectLst/>
                <a:latin typeface="Aptos" panose="020B0004020202020204" pitchFamily="34" charset="0"/>
                <a:ea typeface="Calibri" panose="020F0502020204030204" pitchFamily="34" charset="0"/>
                <a:cs typeface="Times New Roman" panose="02020603050405020304" pitchFamily="18" charset="0"/>
              </a:rPr>
              <a:t> reference data related to legal concepts</a:t>
            </a:r>
          </a:p>
        </p:txBody>
      </p:sp>
    </p:spTree>
    <p:extLst>
      <p:ext uri="{BB962C8B-B14F-4D97-AF65-F5344CB8AC3E}">
        <p14:creationId xmlns:p14="http://schemas.microsoft.com/office/powerpoint/2010/main" val="2024420044"/>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Graphic 5">
            <a:extLst>
              <a:ext uri="{FF2B5EF4-FFF2-40B4-BE49-F238E27FC236}">
                <a16:creationId xmlns:a16="http://schemas.microsoft.com/office/drawing/2014/main" id="{8E6FE4CE-78FC-D62A-5675-8D9D0D5EDB4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728213" y="481808"/>
            <a:ext cx="5405258" cy="4280856"/>
          </a:xfrm>
          <a:prstGeom prst="rect">
            <a:avLst/>
          </a:prstGeom>
        </p:spPr>
      </p:pic>
      <p:sp>
        <p:nvSpPr>
          <p:cNvPr id="4" name="Text Placeholder 3">
            <a:extLst>
              <a:ext uri="{FF2B5EF4-FFF2-40B4-BE49-F238E27FC236}">
                <a16:creationId xmlns:a16="http://schemas.microsoft.com/office/drawing/2014/main" id="{B97C4F2A-EB4F-EDF1-7EE8-DAC9C1C08358}"/>
              </a:ext>
            </a:extLst>
          </p:cNvPr>
          <p:cNvSpPr>
            <a:spLocks noGrp="1"/>
          </p:cNvSpPr>
          <p:nvPr>
            <p:ph type="body" sz="quarter" idx="13"/>
          </p:nvPr>
        </p:nvSpPr>
        <p:spPr/>
        <p:txBody>
          <a:bodyPr/>
          <a:lstStyle/>
          <a:p>
            <a:endParaRPr lang="en-US"/>
          </a:p>
        </p:txBody>
      </p:sp>
      <p:grpSp>
        <p:nvGrpSpPr>
          <p:cNvPr id="13" name="Group 12">
            <a:extLst>
              <a:ext uri="{FF2B5EF4-FFF2-40B4-BE49-F238E27FC236}">
                <a16:creationId xmlns:a16="http://schemas.microsoft.com/office/drawing/2014/main" id="{51306E34-ABEA-C85B-543F-BE08F05E5903}"/>
              </a:ext>
            </a:extLst>
          </p:cNvPr>
          <p:cNvGrpSpPr/>
          <p:nvPr/>
        </p:nvGrpSpPr>
        <p:grpSpPr>
          <a:xfrm>
            <a:off x="1296395" y="1395218"/>
            <a:ext cx="903839" cy="265813"/>
            <a:chOff x="2308862" y="1586356"/>
            <a:chExt cx="903839" cy="265813"/>
          </a:xfrm>
        </p:grpSpPr>
        <p:pic>
          <p:nvPicPr>
            <p:cNvPr id="8" name="Graphic 7" descr="Greek Pillar with solid fill">
              <a:extLst>
                <a:ext uri="{FF2B5EF4-FFF2-40B4-BE49-F238E27FC236}">
                  <a16:creationId xmlns:a16="http://schemas.microsoft.com/office/drawing/2014/main" id="{B3F99F66-EE65-33A3-BA08-9E03A3FCD3A1}"/>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2308862" y="1586356"/>
              <a:ext cx="265813" cy="265813"/>
            </a:xfrm>
            <a:prstGeom prst="rect">
              <a:avLst/>
            </a:prstGeom>
          </p:spPr>
        </p:pic>
        <p:pic>
          <p:nvPicPr>
            <p:cNvPr id="9" name="Graphic 8" descr="Greek Pillar with solid fill">
              <a:extLst>
                <a:ext uri="{FF2B5EF4-FFF2-40B4-BE49-F238E27FC236}">
                  <a16:creationId xmlns:a16="http://schemas.microsoft.com/office/drawing/2014/main" id="{16D37483-9B3E-37BD-06E8-1879FF52E08F}"/>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2560823" y="1586356"/>
              <a:ext cx="265813" cy="265813"/>
            </a:xfrm>
            <a:prstGeom prst="rect">
              <a:avLst/>
            </a:prstGeom>
          </p:spPr>
        </p:pic>
        <p:pic>
          <p:nvPicPr>
            <p:cNvPr id="10" name="Graphic 9" descr="Greek Pillar with solid fill">
              <a:extLst>
                <a:ext uri="{FF2B5EF4-FFF2-40B4-BE49-F238E27FC236}">
                  <a16:creationId xmlns:a16="http://schemas.microsoft.com/office/drawing/2014/main" id="{3F936C11-10DD-BB87-E85B-8C8A347ADB06}"/>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2812784" y="1586356"/>
              <a:ext cx="265813" cy="265813"/>
            </a:xfrm>
            <a:prstGeom prst="rect">
              <a:avLst/>
            </a:prstGeom>
          </p:spPr>
        </p:pic>
        <p:pic>
          <p:nvPicPr>
            <p:cNvPr id="12" name="Graphic 11" descr="Add with solid fill">
              <a:extLst>
                <a:ext uri="{FF2B5EF4-FFF2-40B4-BE49-F238E27FC236}">
                  <a16:creationId xmlns:a16="http://schemas.microsoft.com/office/drawing/2014/main" id="{D351243D-4594-0C9F-AE83-716291434703}"/>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3064745" y="1645284"/>
              <a:ext cx="147956" cy="147956"/>
            </a:xfrm>
            <a:prstGeom prst="rect">
              <a:avLst/>
            </a:prstGeom>
          </p:spPr>
        </p:pic>
      </p:grpSp>
      <p:sp>
        <p:nvSpPr>
          <p:cNvPr id="3" name="Content Placeholder 2">
            <a:extLst>
              <a:ext uri="{FF2B5EF4-FFF2-40B4-BE49-F238E27FC236}">
                <a16:creationId xmlns:a16="http://schemas.microsoft.com/office/drawing/2014/main" id="{B38E1297-FE4B-10A1-8626-D19AF45248CA}"/>
              </a:ext>
            </a:extLst>
          </p:cNvPr>
          <p:cNvSpPr>
            <a:spLocks noGrp="1"/>
          </p:cNvSpPr>
          <p:nvPr>
            <p:ph idx="1"/>
          </p:nvPr>
        </p:nvSpPr>
        <p:spPr>
          <a:xfrm>
            <a:off x="628650" y="1016000"/>
            <a:ext cx="7886700" cy="1636667"/>
          </a:xfrm>
        </p:spPr>
        <p:txBody>
          <a:bodyPr/>
          <a:lstStyle/>
          <a:p>
            <a:r>
              <a:rPr lang="en-US" sz="1800" b="1"/>
              <a:t>19</a:t>
            </a:r>
            <a:r>
              <a:rPr lang="en-US" sz="1800"/>
              <a:t> EU Member States</a:t>
            </a:r>
          </a:p>
          <a:p>
            <a:r>
              <a:rPr lang="en-US" sz="1800" b="1"/>
              <a:t>14</a:t>
            </a:r>
            <a:r>
              <a:rPr lang="en-US" sz="1800"/>
              <a:t>:</a:t>
            </a:r>
          </a:p>
          <a:p>
            <a:r>
              <a:rPr lang="en-US" sz="1800" b="1"/>
              <a:t>6</a:t>
            </a:r>
            <a:r>
              <a:rPr lang="en-US" sz="1800"/>
              <a:t> not yet implemented</a:t>
            </a:r>
          </a:p>
        </p:txBody>
      </p:sp>
      <p:sp>
        <p:nvSpPr>
          <p:cNvPr id="2" name="Title 1">
            <a:extLst>
              <a:ext uri="{FF2B5EF4-FFF2-40B4-BE49-F238E27FC236}">
                <a16:creationId xmlns:a16="http://schemas.microsoft.com/office/drawing/2014/main" id="{32345726-2CEC-E1C7-7C19-30EC02DAA291}"/>
              </a:ext>
            </a:extLst>
          </p:cNvPr>
          <p:cNvSpPr>
            <a:spLocks noGrp="1"/>
          </p:cNvSpPr>
          <p:nvPr>
            <p:ph type="title"/>
          </p:nvPr>
        </p:nvSpPr>
        <p:spPr/>
        <p:txBody>
          <a:bodyPr/>
          <a:lstStyle/>
          <a:p>
            <a:r>
              <a:rPr lang="en-US"/>
              <a:t>ELI implementation status</a:t>
            </a:r>
          </a:p>
        </p:txBody>
      </p:sp>
      <p:grpSp>
        <p:nvGrpSpPr>
          <p:cNvPr id="33" name="Group 32">
            <a:extLst>
              <a:ext uri="{FF2B5EF4-FFF2-40B4-BE49-F238E27FC236}">
                <a16:creationId xmlns:a16="http://schemas.microsoft.com/office/drawing/2014/main" id="{B835716C-6AC8-9EF2-D2DC-91960F026E53}"/>
              </a:ext>
            </a:extLst>
          </p:cNvPr>
          <p:cNvGrpSpPr/>
          <p:nvPr/>
        </p:nvGrpSpPr>
        <p:grpSpPr>
          <a:xfrm>
            <a:off x="925356" y="2711595"/>
            <a:ext cx="470754" cy="1451895"/>
            <a:chOff x="798550" y="3100887"/>
            <a:chExt cx="470754" cy="1451895"/>
          </a:xfrm>
        </p:grpSpPr>
        <p:pic>
          <p:nvPicPr>
            <p:cNvPr id="28" name="Graphic 27" descr="Greek Pillar with solid fill">
              <a:extLst>
                <a:ext uri="{FF2B5EF4-FFF2-40B4-BE49-F238E27FC236}">
                  <a16:creationId xmlns:a16="http://schemas.microsoft.com/office/drawing/2014/main" id="{81E6CBB5-6045-B035-C014-D2645E244C72}"/>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98550" y="4082032"/>
              <a:ext cx="470754" cy="470750"/>
            </a:xfrm>
            <a:prstGeom prst="rect">
              <a:avLst/>
            </a:prstGeom>
          </p:spPr>
        </p:pic>
        <p:sp>
          <p:nvSpPr>
            <p:cNvPr id="29" name="TextBox 28">
              <a:extLst>
                <a:ext uri="{FF2B5EF4-FFF2-40B4-BE49-F238E27FC236}">
                  <a16:creationId xmlns:a16="http://schemas.microsoft.com/office/drawing/2014/main" id="{B7A1B77B-73FA-A450-B5EF-5802CE7E2B56}"/>
                </a:ext>
              </a:extLst>
            </p:cNvPr>
            <p:cNvSpPr txBox="1"/>
            <p:nvPr/>
          </p:nvSpPr>
          <p:spPr>
            <a:xfrm rot="16200000">
              <a:off x="495007" y="3490767"/>
              <a:ext cx="1056759" cy="276999"/>
            </a:xfrm>
            <a:prstGeom prst="rect">
              <a:avLst/>
            </a:prstGeom>
            <a:noFill/>
          </p:spPr>
          <p:txBody>
            <a:bodyPr wrap="square" rtlCol="0">
              <a:spAutoFit/>
            </a:bodyPr>
            <a:lstStyle/>
            <a:p>
              <a:r>
                <a:rPr lang="en-US" sz="1200"/>
                <a:t>Identifier</a:t>
              </a:r>
              <a:endParaRPr lang="en-IE" sz="1200"/>
            </a:p>
          </p:txBody>
        </p:sp>
      </p:grpSp>
      <p:grpSp>
        <p:nvGrpSpPr>
          <p:cNvPr id="34" name="Group 33">
            <a:extLst>
              <a:ext uri="{FF2B5EF4-FFF2-40B4-BE49-F238E27FC236}">
                <a16:creationId xmlns:a16="http://schemas.microsoft.com/office/drawing/2014/main" id="{AA4DD2FB-E77A-B98D-0FD6-2C1EC6590E51}"/>
              </a:ext>
            </a:extLst>
          </p:cNvPr>
          <p:cNvGrpSpPr/>
          <p:nvPr/>
        </p:nvGrpSpPr>
        <p:grpSpPr>
          <a:xfrm>
            <a:off x="1458606" y="2626957"/>
            <a:ext cx="470754" cy="1536534"/>
            <a:chOff x="1426530" y="3016249"/>
            <a:chExt cx="470754" cy="1536534"/>
          </a:xfrm>
        </p:grpSpPr>
        <p:pic>
          <p:nvPicPr>
            <p:cNvPr id="24" name="Graphic 23" descr="Greek Pillar with solid fill">
              <a:extLst>
                <a:ext uri="{FF2B5EF4-FFF2-40B4-BE49-F238E27FC236}">
                  <a16:creationId xmlns:a16="http://schemas.microsoft.com/office/drawing/2014/main" id="{5B781770-F0EB-B8EC-6A48-B8CD4AFBFF52}"/>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426530" y="4082033"/>
              <a:ext cx="470754" cy="470750"/>
            </a:xfrm>
            <a:prstGeom prst="rect">
              <a:avLst/>
            </a:prstGeom>
          </p:spPr>
        </p:pic>
        <p:sp>
          <p:nvSpPr>
            <p:cNvPr id="30" name="TextBox 29">
              <a:extLst>
                <a:ext uri="{FF2B5EF4-FFF2-40B4-BE49-F238E27FC236}">
                  <a16:creationId xmlns:a16="http://schemas.microsoft.com/office/drawing/2014/main" id="{B8EE487A-BF21-B477-AF76-26D5A0DEBD00}"/>
                </a:ext>
              </a:extLst>
            </p:cNvPr>
            <p:cNvSpPr txBox="1"/>
            <p:nvPr/>
          </p:nvSpPr>
          <p:spPr>
            <a:xfrm rot="16200000">
              <a:off x="1090966" y="3356114"/>
              <a:ext cx="1141395" cy="461665"/>
            </a:xfrm>
            <a:prstGeom prst="rect">
              <a:avLst/>
            </a:prstGeom>
            <a:noFill/>
          </p:spPr>
          <p:txBody>
            <a:bodyPr wrap="square" rtlCol="0">
              <a:spAutoFit/>
            </a:bodyPr>
            <a:lstStyle/>
            <a:p>
              <a:r>
                <a:rPr lang="en-US" sz="1200"/>
                <a:t>Metadata/ ontology</a:t>
              </a:r>
              <a:endParaRPr lang="en-IE" sz="1200"/>
            </a:p>
          </p:txBody>
        </p:sp>
      </p:grpSp>
      <p:grpSp>
        <p:nvGrpSpPr>
          <p:cNvPr id="35" name="Group 34">
            <a:extLst>
              <a:ext uri="{FF2B5EF4-FFF2-40B4-BE49-F238E27FC236}">
                <a16:creationId xmlns:a16="http://schemas.microsoft.com/office/drawing/2014/main" id="{F9E3E43E-52D8-9F99-530C-99B00E1643E6}"/>
              </a:ext>
            </a:extLst>
          </p:cNvPr>
          <p:cNvGrpSpPr/>
          <p:nvPr/>
        </p:nvGrpSpPr>
        <p:grpSpPr>
          <a:xfrm>
            <a:off x="1991856" y="2711595"/>
            <a:ext cx="470754" cy="1451896"/>
            <a:chOff x="1912415" y="3100887"/>
            <a:chExt cx="470754" cy="1451896"/>
          </a:xfrm>
        </p:grpSpPr>
        <p:pic>
          <p:nvPicPr>
            <p:cNvPr id="25" name="Graphic 24" descr="Greek Pillar with solid fill">
              <a:extLst>
                <a:ext uri="{FF2B5EF4-FFF2-40B4-BE49-F238E27FC236}">
                  <a16:creationId xmlns:a16="http://schemas.microsoft.com/office/drawing/2014/main" id="{17CAB171-80F3-FF98-FF9D-4B234A58C8B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912415" y="4082033"/>
              <a:ext cx="470754" cy="470750"/>
            </a:xfrm>
            <a:prstGeom prst="rect">
              <a:avLst/>
            </a:prstGeom>
          </p:spPr>
        </p:pic>
        <p:sp>
          <p:nvSpPr>
            <p:cNvPr id="31" name="TextBox 30">
              <a:extLst>
                <a:ext uri="{FF2B5EF4-FFF2-40B4-BE49-F238E27FC236}">
                  <a16:creationId xmlns:a16="http://schemas.microsoft.com/office/drawing/2014/main" id="{0E169B10-5AAA-2697-D443-497F0848F430}"/>
                </a:ext>
              </a:extLst>
            </p:cNvPr>
            <p:cNvSpPr txBox="1"/>
            <p:nvPr/>
          </p:nvSpPr>
          <p:spPr>
            <a:xfrm rot="16200000">
              <a:off x="1616246" y="3398433"/>
              <a:ext cx="1056758" cy="461665"/>
            </a:xfrm>
            <a:prstGeom prst="rect">
              <a:avLst/>
            </a:prstGeom>
            <a:noFill/>
          </p:spPr>
          <p:txBody>
            <a:bodyPr wrap="square" rtlCol="0">
              <a:spAutoFit/>
            </a:bodyPr>
            <a:lstStyle/>
            <a:p>
              <a:r>
                <a:rPr lang="en-US" sz="1200"/>
                <a:t>Semantic web publication</a:t>
              </a:r>
              <a:endParaRPr lang="en-IE" sz="1200"/>
            </a:p>
          </p:txBody>
        </p:sp>
      </p:grpSp>
      <p:grpSp>
        <p:nvGrpSpPr>
          <p:cNvPr id="36" name="Group 35">
            <a:extLst>
              <a:ext uri="{FF2B5EF4-FFF2-40B4-BE49-F238E27FC236}">
                <a16:creationId xmlns:a16="http://schemas.microsoft.com/office/drawing/2014/main" id="{224EAB7E-B8F4-37FE-39FD-CBD7371A3C3F}"/>
              </a:ext>
            </a:extLst>
          </p:cNvPr>
          <p:cNvGrpSpPr/>
          <p:nvPr/>
        </p:nvGrpSpPr>
        <p:grpSpPr>
          <a:xfrm>
            <a:off x="2525105" y="2263375"/>
            <a:ext cx="479254" cy="1900115"/>
            <a:chOff x="2398299" y="2652667"/>
            <a:chExt cx="479254" cy="1900115"/>
          </a:xfrm>
        </p:grpSpPr>
        <p:pic>
          <p:nvPicPr>
            <p:cNvPr id="26" name="Graphic 25" descr="Greek Pillar with solid fill">
              <a:extLst>
                <a:ext uri="{FF2B5EF4-FFF2-40B4-BE49-F238E27FC236}">
                  <a16:creationId xmlns:a16="http://schemas.microsoft.com/office/drawing/2014/main" id="{F8AA3465-19D9-646E-6268-A737D8D48306}"/>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2398299" y="4082032"/>
              <a:ext cx="470754" cy="470750"/>
            </a:xfrm>
            <a:prstGeom prst="rect">
              <a:avLst/>
            </a:prstGeom>
          </p:spPr>
        </p:pic>
        <p:sp>
          <p:nvSpPr>
            <p:cNvPr id="32" name="TextBox 31">
              <a:extLst>
                <a:ext uri="{FF2B5EF4-FFF2-40B4-BE49-F238E27FC236}">
                  <a16:creationId xmlns:a16="http://schemas.microsoft.com/office/drawing/2014/main" id="{A34E40E8-B742-F22C-ED0C-035433F86C8D}"/>
                </a:ext>
              </a:extLst>
            </p:cNvPr>
            <p:cNvSpPr txBox="1"/>
            <p:nvPr/>
          </p:nvSpPr>
          <p:spPr>
            <a:xfrm rot="16200000">
              <a:off x="1909103" y="3159452"/>
              <a:ext cx="1475236" cy="461665"/>
            </a:xfrm>
            <a:prstGeom prst="rect">
              <a:avLst/>
            </a:prstGeom>
            <a:noFill/>
          </p:spPr>
          <p:txBody>
            <a:bodyPr wrap="square" rtlCol="0">
              <a:spAutoFit/>
            </a:bodyPr>
            <a:lstStyle/>
            <a:p>
              <a:r>
                <a:rPr lang="en-US" sz="1200"/>
                <a:t>Metadata </a:t>
              </a:r>
              <a:r>
                <a:rPr lang="en-US" sz="1200" err="1"/>
                <a:t>synchronisation</a:t>
              </a:r>
              <a:endParaRPr lang="en-IE" sz="1200"/>
            </a:p>
          </p:txBody>
        </p:sp>
      </p:grpSp>
      <p:grpSp>
        <p:nvGrpSpPr>
          <p:cNvPr id="27" name="Group 26">
            <a:extLst>
              <a:ext uri="{FF2B5EF4-FFF2-40B4-BE49-F238E27FC236}">
                <a16:creationId xmlns:a16="http://schemas.microsoft.com/office/drawing/2014/main" id="{625A7FBF-2C46-4E45-1249-6A1564888B1E}"/>
              </a:ext>
            </a:extLst>
          </p:cNvPr>
          <p:cNvGrpSpPr/>
          <p:nvPr/>
        </p:nvGrpSpPr>
        <p:grpSpPr>
          <a:xfrm>
            <a:off x="4269452" y="2247806"/>
            <a:ext cx="4556449" cy="1915684"/>
            <a:chOff x="4269452" y="2247806"/>
            <a:chExt cx="4556449" cy="1915684"/>
          </a:xfrm>
        </p:grpSpPr>
        <p:cxnSp>
          <p:nvCxnSpPr>
            <p:cNvPr id="11" name="Straight Arrow Connector 10">
              <a:extLst>
                <a:ext uri="{FF2B5EF4-FFF2-40B4-BE49-F238E27FC236}">
                  <a16:creationId xmlns:a16="http://schemas.microsoft.com/office/drawing/2014/main" id="{92F8C207-7BD8-CA73-A4E6-92AEE872137E}"/>
                </a:ext>
              </a:extLst>
            </p:cNvPr>
            <p:cNvCxnSpPr>
              <a:cxnSpLocks/>
            </p:cNvCxnSpPr>
            <p:nvPr/>
          </p:nvCxnSpPr>
          <p:spPr>
            <a:xfrm flipH="1">
              <a:off x="5631873" y="2946461"/>
              <a:ext cx="2549236" cy="156957"/>
            </a:xfrm>
            <a:prstGeom prst="straightConnector1">
              <a:avLst/>
            </a:prstGeom>
            <a:ln>
              <a:solidFill>
                <a:srgbClr val="F15C23"/>
              </a:solidFill>
              <a:tailEnd type="triangle"/>
            </a:ln>
          </p:spPr>
          <p:style>
            <a:lnRef idx="3">
              <a:schemeClr val="accent6"/>
            </a:lnRef>
            <a:fillRef idx="0">
              <a:schemeClr val="accent6"/>
            </a:fillRef>
            <a:effectRef idx="2">
              <a:schemeClr val="accent6"/>
            </a:effectRef>
            <a:fontRef idx="minor">
              <a:schemeClr val="tx1"/>
            </a:fontRef>
          </p:style>
        </p:cxnSp>
        <p:cxnSp>
          <p:nvCxnSpPr>
            <p:cNvPr id="16" name="Straight Arrow Connector 15">
              <a:extLst>
                <a:ext uri="{FF2B5EF4-FFF2-40B4-BE49-F238E27FC236}">
                  <a16:creationId xmlns:a16="http://schemas.microsoft.com/office/drawing/2014/main" id="{06606849-2A46-B995-DFD4-15A0B31A3EA8}"/>
                </a:ext>
              </a:extLst>
            </p:cNvPr>
            <p:cNvCxnSpPr>
              <a:cxnSpLocks/>
            </p:cNvCxnSpPr>
            <p:nvPr/>
          </p:nvCxnSpPr>
          <p:spPr>
            <a:xfrm flipH="1">
              <a:off x="4680043" y="2951061"/>
              <a:ext cx="3452265" cy="1212429"/>
            </a:xfrm>
            <a:prstGeom prst="straightConnector1">
              <a:avLst/>
            </a:prstGeom>
            <a:ln>
              <a:solidFill>
                <a:srgbClr val="F15C23"/>
              </a:solidFill>
              <a:tailEnd type="triangle"/>
            </a:ln>
          </p:spPr>
          <p:style>
            <a:lnRef idx="3">
              <a:schemeClr val="accent6"/>
            </a:lnRef>
            <a:fillRef idx="0">
              <a:schemeClr val="accent6"/>
            </a:fillRef>
            <a:effectRef idx="2">
              <a:schemeClr val="accent6"/>
            </a:effectRef>
            <a:fontRef idx="minor">
              <a:schemeClr val="tx1"/>
            </a:fontRef>
          </p:style>
        </p:cxnSp>
        <p:cxnSp>
          <p:nvCxnSpPr>
            <p:cNvPr id="21" name="Straight Arrow Connector 20">
              <a:extLst>
                <a:ext uri="{FF2B5EF4-FFF2-40B4-BE49-F238E27FC236}">
                  <a16:creationId xmlns:a16="http://schemas.microsoft.com/office/drawing/2014/main" id="{CFA2D6CD-DF8A-8A69-67A9-6371794BD952}"/>
                </a:ext>
              </a:extLst>
            </p:cNvPr>
            <p:cNvCxnSpPr>
              <a:cxnSpLocks/>
            </p:cNvCxnSpPr>
            <p:nvPr/>
          </p:nvCxnSpPr>
          <p:spPr>
            <a:xfrm flipH="1">
              <a:off x="4269452" y="2963684"/>
              <a:ext cx="3862856" cy="1087702"/>
            </a:xfrm>
            <a:prstGeom prst="straightConnector1">
              <a:avLst/>
            </a:prstGeom>
            <a:ln>
              <a:solidFill>
                <a:srgbClr val="F15C23"/>
              </a:solidFill>
              <a:tailEnd type="triangle"/>
            </a:ln>
          </p:spPr>
          <p:style>
            <a:lnRef idx="3">
              <a:schemeClr val="accent6"/>
            </a:lnRef>
            <a:fillRef idx="0">
              <a:schemeClr val="accent6"/>
            </a:fillRef>
            <a:effectRef idx="2">
              <a:schemeClr val="accent6"/>
            </a:effectRef>
            <a:fontRef idx="minor">
              <a:schemeClr val="tx1"/>
            </a:fontRef>
          </p:style>
        </p:cxnSp>
        <p:sp>
          <p:nvSpPr>
            <p:cNvPr id="5" name="Oval 4">
              <a:extLst>
                <a:ext uri="{FF2B5EF4-FFF2-40B4-BE49-F238E27FC236}">
                  <a16:creationId xmlns:a16="http://schemas.microsoft.com/office/drawing/2014/main" id="{D625B500-66DE-8509-D999-9E670A89EFB9}"/>
                </a:ext>
              </a:extLst>
            </p:cNvPr>
            <p:cNvSpPr/>
            <p:nvPr/>
          </p:nvSpPr>
          <p:spPr>
            <a:xfrm>
              <a:off x="7438715" y="2247806"/>
              <a:ext cx="1387186" cy="1415710"/>
            </a:xfrm>
            <a:prstGeom prst="ellipse">
              <a:avLst/>
            </a:prstGeom>
            <a:solidFill>
              <a:srgbClr val="F15C23"/>
            </a:solidFill>
            <a:ln w="76200">
              <a:solidFill>
                <a:srgbClr val="80808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lvl="0" algn="ctr">
                <a:lnSpc>
                  <a:spcPct val="107000"/>
                </a:lnSpc>
                <a:spcAft>
                  <a:spcPts val="1200"/>
                </a:spcAft>
              </a:pPr>
              <a:r>
                <a:rPr lang="en-US" sz="1200" b="1" kern="100">
                  <a:solidFill>
                    <a:schemeClr val="bg1"/>
                  </a:solidFill>
                  <a:effectLst/>
                  <a:latin typeface="Aptos" panose="020B0004020202020204" pitchFamily="34" charset="0"/>
                  <a:ea typeface="Calibri" panose="020F0502020204030204" pitchFamily="34" charset="0"/>
                  <a:cs typeface="Times New Roman" panose="02020603050405020304" pitchFamily="18" charset="0"/>
                </a:rPr>
                <a:t>ELI search prototype</a:t>
              </a:r>
            </a:p>
          </p:txBody>
        </p:sp>
      </p:grpSp>
      <p:sp>
        <p:nvSpPr>
          <p:cNvPr id="38" name="TextBox 37">
            <a:extLst>
              <a:ext uri="{FF2B5EF4-FFF2-40B4-BE49-F238E27FC236}">
                <a16:creationId xmlns:a16="http://schemas.microsoft.com/office/drawing/2014/main" id="{D18E9CD6-6857-7EFE-0CF1-FB113496BE54}"/>
              </a:ext>
            </a:extLst>
          </p:cNvPr>
          <p:cNvSpPr txBox="1"/>
          <p:nvPr/>
        </p:nvSpPr>
        <p:spPr>
          <a:xfrm>
            <a:off x="628650" y="4438185"/>
            <a:ext cx="4051302" cy="261610"/>
          </a:xfrm>
          <a:prstGeom prst="rect">
            <a:avLst/>
          </a:prstGeom>
          <a:noFill/>
        </p:spPr>
        <p:txBody>
          <a:bodyPr wrap="square" rtlCol="0">
            <a:spAutoFit/>
          </a:bodyPr>
          <a:lstStyle/>
          <a:p>
            <a:r>
              <a:rPr lang="en-US" sz="1050">
                <a:solidFill>
                  <a:srgbClr val="F15C23"/>
                </a:solidFill>
              </a:rPr>
              <a:t>Source: </a:t>
            </a:r>
            <a:r>
              <a:rPr lang="en-IE" sz="1050">
                <a:hlinkClick r:id="rId9"/>
              </a:rPr>
              <a:t>ELI implementation overview - EUR-Lex</a:t>
            </a:r>
            <a:endParaRPr lang="en-IE" sz="1050"/>
          </a:p>
        </p:txBody>
      </p:sp>
    </p:spTree>
    <p:extLst>
      <p:ext uri="{BB962C8B-B14F-4D97-AF65-F5344CB8AC3E}">
        <p14:creationId xmlns:p14="http://schemas.microsoft.com/office/powerpoint/2010/main" val="388908047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6" presetClass="emph" presetSubtype="0" fill="hold" nodeType="clickEffect">
                                  <p:stCondLst>
                                    <p:cond delay="0"/>
                                  </p:stCondLst>
                                  <p:childTnLst>
                                    <p:animEffect transition="out" filter="fade">
                                      <p:cBhvr>
                                        <p:cTn id="6" dur="500" tmFilter="0, 0; .2, .5; .8, .5; 1, 0"/>
                                        <p:tgtEl>
                                          <p:spTgt spid="27"/>
                                        </p:tgtEl>
                                      </p:cBhvr>
                                    </p:animEffect>
                                    <p:animScale>
                                      <p:cBhvr>
                                        <p:cTn id="7" dur="250" autoRev="1" fill="hold"/>
                                        <p:tgtEl>
                                          <p:spTgt spid="27"/>
                                        </p:tgtEl>
                                      </p:cBhvr>
                                      <p:by x="105000" y="10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DC17DA8C-7A09-42B8-9C3A-19B3484ACEF4}"/>
              </a:ext>
            </a:extLst>
          </p:cNvPr>
          <p:cNvSpPr>
            <a:spLocks noGrp="1"/>
          </p:cNvSpPr>
          <p:nvPr>
            <p:ph type="body" sz="quarter" idx="13"/>
          </p:nvPr>
        </p:nvSpPr>
        <p:spPr/>
        <p:txBody>
          <a:bodyPr/>
          <a:lstStyle/>
          <a:p>
            <a:endParaRPr lang="en-US"/>
          </a:p>
        </p:txBody>
      </p:sp>
      <p:pic>
        <p:nvPicPr>
          <p:cNvPr id="3" name="Picture 2">
            <a:extLst>
              <a:ext uri="{FF2B5EF4-FFF2-40B4-BE49-F238E27FC236}">
                <a16:creationId xmlns:a16="http://schemas.microsoft.com/office/drawing/2014/main" id="{6DC0A521-8C7C-1CBC-9DA7-83036EC1CECE}"/>
              </a:ext>
            </a:extLst>
          </p:cNvPr>
          <p:cNvPicPr>
            <a:picLocks noChangeAspect="1"/>
          </p:cNvPicPr>
          <p:nvPr/>
        </p:nvPicPr>
        <p:blipFill>
          <a:blip r:embed="rId2"/>
          <a:stretch>
            <a:fillRect/>
          </a:stretch>
        </p:blipFill>
        <p:spPr>
          <a:xfrm>
            <a:off x="2959" y="0"/>
            <a:ext cx="9138082" cy="5143500"/>
          </a:xfrm>
          <a:prstGeom prst="rect">
            <a:avLst/>
          </a:prstGeom>
        </p:spPr>
      </p:pic>
    </p:spTree>
    <p:extLst>
      <p:ext uri="{BB962C8B-B14F-4D97-AF65-F5344CB8AC3E}">
        <p14:creationId xmlns:p14="http://schemas.microsoft.com/office/powerpoint/2010/main" val="352779992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203B7EC-F66B-4BD1-DB1A-72E88AB0F593}"/>
              </a:ext>
            </a:extLst>
          </p:cNvPr>
          <p:cNvSpPr>
            <a:spLocks noGrp="1"/>
          </p:cNvSpPr>
          <p:nvPr>
            <p:ph idx="1"/>
          </p:nvPr>
        </p:nvSpPr>
        <p:spPr>
          <a:xfrm>
            <a:off x="628650" y="1016000"/>
            <a:ext cx="3835400" cy="3616325"/>
          </a:xfrm>
        </p:spPr>
        <p:txBody>
          <a:bodyPr/>
          <a:lstStyle/>
          <a:p>
            <a:r>
              <a:rPr lang="en-US" sz="1800" b="1"/>
              <a:t>18</a:t>
            </a:r>
            <a:r>
              <a:rPr lang="en-US" sz="1800"/>
              <a:t> EU Member States</a:t>
            </a:r>
          </a:p>
          <a:p>
            <a:pPr marL="0" indent="0">
              <a:buNone/>
            </a:pPr>
            <a:endParaRPr lang="en-IE"/>
          </a:p>
        </p:txBody>
      </p:sp>
      <p:sp>
        <p:nvSpPr>
          <p:cNvPr id="4" name="Text Placeholder 3">
            <a:extLst>
              <a:ext uri="{FF2B5EF4-FFF2-40B4-BE49-F238E27FC236}">
                <a16:creationId xmlns:a16="http://schemas.microsoft.com/office/drawing/2014/main" id="{E4B3D91C-18CB-4390-4D5C-70BC5C11E0AC}"/>
              </a:ext>
            </a:extLst>
          </p:cNvPr>
          <p:cNvSpPr>
            <a:spLocks noGrp="1"/>
          </p:cNvSpPr>
          <p:nvPr>
            <p:ph type="body" sz="quarter" idx="13"/>
          </p:nvPr>
        </p:nvSpPr>
        <p:spPr/>
        <p:txBody>
          <a:bodyPr/>
          <a:lstStyle/>
          <a:p>
            <a:endParaRPr lang="en-IE"/>
          </a:p>
        </p:txBody>
      </p:sp>
      <p:pic>
        <p:nvPicPr>
          <p:cNvPr id="5" name="Content Placeholder 9">
            <a:extLst>
              <a:ext uri="{FF2B5EF4-FFF2-40B4-BE49-F238E27FC236}">
                <a16:creationId xmlns:a16="http://schemas.microsoft.com/office/drawing/2014/main" id="{94974698-5626-1CC7-2B02-C7FC26A3C1B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613150" y="355599"/>
            <a:ext cx="5539071" cy="4502641"/>
          </a:xfrm>
          <a:prstGeom prst="rect">
            <a:avLst/>
          </a:prstGeom>
        </p:spPr>
      </p:pic>
      <p:sp>
        <p:nvSpPr>
          <p:cNvPr id="2" name="Title 1">
            <a:extLst>
              <a:ext uri="{FF2B5EF4-FFF2-40B4-BE49-F238E27FC236}">
                <a16:creationId xmlns:a16="http://schemas.microsoft.com/office/drawing/2014/main" id="{A8F91205-23F7-04C8-9D33-212C2E18B4CF}"/>
              </a:ext>
            </a:extLst>
          </p:cNvPr>
          <p:cNvSpPr>
            <a:spLocks noGrp="1"/>
          </p:cNvSpPr>
          <p:nvPr>
            <p:ph type="title"/>
          </p:nvPr>
        </p:nvSpPr>
        <p:spPr/>
        <p:txBody>
          <a:bodyPr/>
          <a:lstStyle/>
          <a:p>
            <a:r>
              <a:rPr lang="en-US"/>
              <a:t>ECLI implementation status</a:t>
            </a:r>
            <a:endParaRPr lang="en-IE"/>
          </a:p>
        </p:txBody>
      </p:sp>
      <p:sp>
        <p:nvSpPr>
          <p:cNvPr id="6" name="TextBox 5">
            <a:extLst>
              <a:ext uri="{FF2B5EF4-FFF2-40B4-BE49-F238E27FC236}">
                <a16:creationId xmlns:a16="http://schemas.microsoft.com/office/drawing/2014/main" id="{2BCEE237-DB00-FE07-45A8-8DCE65FCD609}"/>
              </a:ext>
            </a:extLst>
          </p:cNvPr>
          <p:cNvSpPr txBox="1"/>
          <p:nvPr/>
        </p:nvSpPr>
        <p:spPr>
          <a:xfrm>
            <a:off x="628650" y="4438185"/>
            <a:ext cx="4051302" cy="261610"/>
          </a:xfrm>
          <a:prstGeom prst="rect">
            <a:avLst/>
          </a:prstGeom>
          <a:noFill/>
        </p:spPr>
        <p:txBody>
          <a:bodyPr wrap="square" rtlCol="0">
            <a:spAutoFit/>
          </a:bodyPr>
          <a:lstStyle/>
          <a:p>
            <a:r>
              <a:rPr lang="en-US" sz="1050">
                <a:solidFill>
                  <a:srgbClr val="F15C23"/>
                </a:solidFill>
              </a:rPr>
              <a:t>Source: </a:t>
            </a:r>
            <a:r>
              <a:rPr lang="en-IE" sz="1050">
                <a:hlinkClick r:id="rId5"/>
              </a:rPr>
              <a:t>Home | European e-Justice Portal</a:t>
            </a:r>
            <a:endParaRPr lang="en-IE" sz="1050"/>
          </a:p>
        </p:txBody>
      </p:sp>
    </p:spTree>
    <p:extLst>
      <p:ext uri="{BB962C8B-B14F-4D97-AF65-F5344CB8AC3E}">
        <p14:creationId xmlns:p14="http://schemas.microsoft.com/office/powerpoint/2010/main" val="1691663993"/>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414BCDE-39F1-7C1F-2085-2A67FFF1D7FB}"/>
              </a:ext>
            </a:extLst>
          </p:cNvPr>
          <p:cNvSpPr>
            <a:spLocks noGrp="1"/>
          </p:cNvSpPr>
          <p:nvPr>
            <p:ph type="title"/>
          </p:nvPr>
        </p:nvSpPr>
        <p:spPr/>
        <p:txBody>
          <a:bodyPr/>
          <a:lstStyle/>
          <a:p>
            <a:r>
              <a:rPr lang="en-US"/>
              <a:t>European Legal Data Space</a:t>
            </a:r>
            <a:endParaRPr lang="en-IE"/>
          </a:p>
        </p:txBody>
      </p:sp>
      <p:sp>
        <p:nvSpPr>
          <p:cNvPr id="3" name="Content Placeholder 2">
            <a:extLst>
              <a:ext uri="{FF2B5EF4-FFF2-40B4-BE49-F238E27FC236}">
                <a16:creationId xmlns:a16="http://schemas.microsoft.com/office/drawing/2014/main" id="{1B7EBD5A-A8C2-B9D7-D57F-533F94F893E8}"/>
              </a:ext>
            </a:extLst>
          </p:cNvPr>
          <p:cNvSpPr>
            <a:spLocks noGrp="1"/>
          </p:cNvSpPr>
          <p:nvPr>
            <p:ph idx="1"/>
          </p:nvPr>
        </p:nvSpPr>
        <p:spPr>
          <a:xfrm>
            <a:off x="628650" y="3263107"/>
            <a:ext cx="7886700" cy="738836"/>
          </a:xfrm>
        </p:spPr>
        <p:txBody>
          <a:bodyPr/>
          <a:lstStyle/>
          <a:p>
            <a:pPr marL="0" indent="0" algn="ctr">
              <a:buNone/>
            </a:pPr>
            <a:r>
              <a:rPr lang="en-IE">
                <a:hlinkClick r:id="rId3"/>
              </a:rPr>
              <a:t>https://data.europa.eu/ELDS</a:t>
            </a:r>
            <a:endParaRPr lang="en-IE"/>
          </a:p>
          <a:p>
            <a:endParaRPr lang="en-IE"/>
          </a:p>
        </p:txBody>
      </p:sp>
      <p:sp>
        <p:nvSpPr>
          <p:cNvPr id="4" name="Text Placeholder 3">
            <a:extLst>
              <a:ext uri="{FF2B5EF4-FFF2-40B4-BE49-F238E27FC236}">
                <a16:creationId xmlns:a16="http://schemas.microsoft.com/office/drawing/2014/main" id="{64D94DB3-AC56-4704-390E-0A77ECB369C9}"/>
              </a:ext>
            </a:extLst>
          </p:cNvPr>
          <p:cNvSpPr>
            <a:spLocks noGrp="1"/>
          </p:cNvSpPr>
          <p:nvPr>
            <p:ph type="body" sz="quarter" idx="13"/>
          </p:nvPr>
        </p:nvSpPr>
        <p:spPr/>
        <p:txBody>
          <a:bodyPr/>
          <a:lstStyle/>
          <a:p>
            <a:endParaRPr lang="en-IE"/>
          </a:p>
        </p:txBody>
      </p:sp>
      <p:pic>
        <p:nvPicPr>
          <p:cNvPr id="8" name="Graphic 7" descr="Internet outline">
            <a:extLst>
              <a:ext uri="{FF2B5EF4-FFF2-40B4-BE49-F238E27FC236}">
                <a16:creationId xmlns:a16="http://schemas.microsoft.com/office/drawing/2014/main" id="{3F1D8BCE-2EC6-7F6C-0911-4F7A388BE920}"/>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422072" y="1332669"/>
            <a:ext cx="2299856" cy="2299856"/>
          </a:xfrm>
          <a:prstGeom prst="rect">
            <a:avLst/>
          </a:prstGeom>
        </p:spPr>
      </p:pic>
      <p:pic>
        <p:nvPicPr>
          <p:cNvPr id="10" name="Picture 9" descr="A qr code with black dots&#10;&#10;Description automatically generated">
            <a:extLst>
              <a:ext uri="{FF2B5EF4-FFF2-40B4-BE49-F238E27FC236}">
                <a16:creationId xmlns:a16="http://schemas.microsoft.com/office/drawing/2014/main" id="{D9F84245-C61D-D62E-31F9-CFB1C9255F6E}"/>
              </a:ext>
            </a:extLst>
          </p:cNvPr>
          <p:cNvPicPr>
            <a:picLocks noChangeAspect="1"/>
          </p:cNvPicPr>
          <p:nvPr/>
        </p:nvPicPr>
        <p:blipFill>
          <a:blip r:embed="rId6"/>
          <a:stretch>
            <a:fillRect/>
          </a:stretch>
        </p:blipFill>
        <p:spPr>
          <a:xfrm>
            <a:off x="6885708" y="140457"/>
            <a:ext cx="1848715" cy="1848715"/>
          </a:xfrm>
          <a:prstGeom prst="rect">
            <a:avLst/>
          </a:prstGeom>
        </p:spPr>
      </p:pic>
    </p:spTree>
    <p:extLst>
      <p:ext uri="{BB962C8B-B14F-4D97-AF65-F5344CB8AC3E}">
        <p14:creationId xmlns:p14="http://schemas.microsoft.com/office/powerpoint/2010/main" val="3539504810"/>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C9C41B-A5CA-A012-1EAF-A4B53DC1B381}"/>
              </a:ext>
            </a:extLst>
          </p:cNvPr>
          <p:cNvSpPr>
            <a:spLocks noGrp="1"/>
          </p:cNvSpPr>
          <p:nvPr>
            <p:ph type="ctrTitle"/>
          </p:nvPr>
        </p:nvSpPr>
        <p:spPr/>
        <p:txBody>
          <a:bodyPr/>
          <a:lstStyle/>
          <a:p>
            <a:r>
              <a:rPr lang="en-IE"/>
              <a:t>Public Procurement Data Space</a:t>
            </a:r>
            <a:endParaRPr lang="en-LU"/>
          </a:p>
        </p:txBody>
      </p:sp>
      <p:sp>
        <p:nvSpPr>
          <p:cNvPr id="3" name="Subtitle 2">
            <a:extLst>
              <a:ext uri="{FF2B5EF4-FFF2-40B4-BE49-F238E27FC236}">
                <a16:creationId xmlns:a16="http://schemas.microsoft.com/office/drawing/2014/main" id="{3CF5DA15-EA76-1932-7361-C47D78E0ADE0}"/>
              </a:ext>
            </a:extLst>
          </p:cNvPr>
          <p:cNvSpPr>
            <a:spLocks noGrp="1"/>
          </p:cNvSpPr>
          <p:nvPr>
            <p:ph type="subTitle" idx="1"/>
          </p:nvPr>
        </p:nvSpPr>
        <p:spPr/>
        <p:txBody>
          <a:bodyPr/>
          <a:lstStyle/>
          <a:p>
            <a:r>
              <a:rPr lang="en-LU"/>
              <a:t>Marc Christopher</a:t>
            </a:r>
            <a:r>
              <a:rPr lang="de-DE"/>
              <a:t> SCHMIDT</a:t>
            </a:r>
            <a:r>
              <a:rPr lang="en-IE"/>
              <a:t>, DG Grow</a:t>
            </a:r>
            <a:endParaRPr lang="en-LU"/>
          </a:p>
        </p:txBody>
      </p:sp>
      <p:sp>
        <p:nvSpPr>
          <p:cNvPr id="4" name="Text Placeholder 3">
            <a:extLst>
              <a:ext uri="{FF2B5EF4-FFF2-40B4-BE49-F238E27FC236}">
                <a16:creationId xmlns:a16="http://schemas.microsoft.com/office/drawing/2014/main" id="{AD34D0B7-9977-65B8-C2A6-657840EBF59C}"/>
              </a:ext>
            </a:extLst>
          </p:cNvPr>
          <p:cNvSpPr>
            <a:spLocks noGrp="1"/>
          </p:cNvSpPr>
          <p:nvPr>
            <p:ph type="body" sz="quarter" idx="13"/>
          </p:nvPr>
        </p:nvSpPr>
        <p:spPr/>
        <p:txBody>
          <a:bodyPr/>
          <a:lstStyle/>
          <a:p>
            <a:endParaRPr lang="en-LU"/>
          </a:p>
        </p:txBody>
      </p:sp>
    </p:spTree>
    <p:extLst>
      <p:ext uri="{BB962C8B-B14F-4D97-AF65-F5344CB8AC3E}">
        <p14:creationId xmlns:p14="http://schemas.microsoft.com/office/powerpoint/2010/main" val="3271346550"/>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AE0C064-E28A-EBD9-0145-32735A19B34D}"/>
            </a:ext>
          </a:extLst>
        </p:cNvPr>
        <p:cNvGrpSpPr/>
        <p:nvPr/>
      </p:nvGrpSpPr>
      <p:grpSpPr>
        <a:xfrm>
          <a:off x="0" y="0"/>
          <a:ext cx="0" cy="0"/>
          <a:chOff x="0" y="0"/>
          <a:chExt cx="0" cy="0"/>
        </a:xfrm>
      </p:grpSpPr>
      <p:sp>
        <p:nvSpPr>
          <p:cNvPr id="2" name="Título 1">
            <a:extLst>
              <a:ext uri="{FF2B5EF4-FFF2-40B4-BE49-F238E27FC236}">
                <a16:creationId xmlns:a16="http://schemas.microsoft.com/office/drawing/2014/main" id="{4BED8F10-8710-EC44-A96A-0F68868C1E06}"/>
              </a:ext>
            </a:extLst>
          </p:cNvPr>
          <p:cNvSpPr>
            <a:spLocks noGrp="1"/>
          </p:cNvSpPr>
          <p:nvPr>
            <p:ph type="title"/>
          </p:nvPr>
        </p:nvSpPr>
        <p:spPr/>
        <p:txBody>
          <a:bodyPr/>
          <a:lstStyle/>
          <a:p>
            <a:r>
              <a:rPr lang="en-US"/>
              <a:t>Why we need the PPDS?</a:t>
            </a:r>
          </a:p>
        </p:txBody>
      </p:sp>
      <p:sp>
        <p:nvSpPr>
          <p:cNvPr id="7" name="Oval 6">
            <a:extLst>
              <a:ext uri="{FF2B5EF4-FFF2-40B4-BE49-F238E27FC236}">
                <a16:creationId xmlns:a16="http://schemas.microsoft.com/office/drawing/2014/main" id="{2673ACFB-C8EE-0E6F-8414-CC6BB2004D8C}"/>
              </a:ext>
            </a:extLst>
          </p:cNvPr>
          <p:cNvSpPr/>
          <p:nvPr/>
        </p:nvSpPr>
        <p:spPr>
          <a:xfrm>
            <a:off x="2104470" y="1965052"/>
            <a:ext cx="1679419" cy="1680452"/>
          </a:xfrm>
          <a:prstGeom prst="ellipse">
            <a:avLst/>
          </a:prstGeom>
          <a:solidFill>
            <a:srgbClr val="FFFF00"/>
          </a:solidFill>
          <a:ln>
            <a:solidFill>
              <a:schemeClr val="accent5"/>
            </a:solid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r>
              <a:rPr lang="en-US" sz="1500" b="1">
                <a:solidFill>
                  <a:schemeClr val="tx2"/>
                </a:solidFill>
              </a:rPr>
              <a:t>EUR 2 Trillion </a:t>
            </a:r>
          </a:p>
          <a:p>
            <a:pPr algn="ctr"/>
            <a:r>
              <a:rPr lang="en-US" sz="1500" b="1">
                <a:solidFill>
                  <a:schemeClr val="tx2"/>
                </a:solidFill>
              </a:rPr>
              <a:t>per year</a:t>
            </a:r>
          </a:p>
          <a:p>
            <a:pPr algn="ctr"/>
            <a:r>
              <a:rPr lang="en-US" sz="1500">
                <a:solidFill>
                  <a:schemeClr val="tx2"/>
                </a:solidFill>
              </a:rPr>
              <a:t>(13,6% of GDP)</a:t>
            </a:r>
          </a:p>
        </p:txBody>
      </p:sp>
      <p:cxnSp>
        <p:nvCxnSpPr>
          <p:cNvPr id="16" name="Straight Arrow Connector 15">
            <a:extLst>
              <a:ext uri="{FF2B5EF4-FFF2-40B4-BE49-F238E27FC236}">
                <a16:creationId xmlns:a16="http://schemas.microsoft.com/office/drawing/2014/main" id="{81C901E1-3A18-B4BB-8FBF-BACE3A2079E5}"/>
              </a:ext>
            </a:extLst>
          </p:cNvPr>
          <p:cNvCxnSpPr>
            <a:cxnSpLocks/>
            <a:endCxn id="17" idx="1"/>
          </p:cNvCxnSpPr>
          <p:nvPr/>
        </p:nvCxnSpPr>
        <p:spPr>
          <a:xfrm flipV="1">
            <a:off x="6945804" y="1977057"/>
            <a:ext cx="806980" cy="209494"/>
          </a:xfrm>
          <a:prstGeom prst="straightConnector1">
            <a:avLst/>
          </a:prstGeom>
          <a:ln w="38100">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DEE4E18E-5DDF-4BF2-8BB2-BFD86B681EA6}"/>
              </a:ext>
            </a:extLst>
          </p:cNvPr>
          <p:cNvSpPr txBox="1"/>
          <p:nvPr/>
        </p:nvSpPr>
        <p:spPr>
          <a:xfrm>
            <a:off x="7752784" y="1584642"/>
            <a:ext cx="1158300" cy="784830"/>
          </a:xfrm>
          <a:prstGeom prst="rect">
            <a:avLst/>
          </a:prstGeom>
          <a:noFill/>
        </p:spPr>
        <p:txBody>
          <a:bodyPr wrap="square" lIns="0" tIns="0" rIns="0" bIns="0" rtlCol="0">
            <a:spAutoFit/>
          </a:bodyPr>
          <a:lstStyle/>
          <a:p>
            <a:pPr algn="ctr"/>
            <a:r>
              <a:rPr lang="en-US" sz="2700" b="1">
                <a:solidFill>
                  <a:schemeClr val="tx2"/>
                </a:solidFill>
              </a:rPr>
              <a:t>20%</a:t>
            </a:r>
          </a:p>
          <a:p>
            <a:pPr algn="ctr"/>
            <a:r>
              <a:rPr lang="en-US" sz="1200" b="1">
                <a:solidFill>
                  <a:schemeClr val="tx2"/>
                </a:solidFill>
              </a:rPr>
              <a:t>Available data</a:t>
            </a:r>
          </a:p>
          <a:p>
            <a:pPr algn="ctr"/>
            <a:r>
              <a:rPr lang="en-US" sz="1200" b="1">
                <a:solidFill>
                  <a:schemeClr val="tx2"/>
                </a:solidFill>
              </a:rPr>
              <a:t>through TED</a:t>
            </a:r>
          </a:p>
        </p:txBody>
      </p:sp>
      <p:cxnSp>
        <p:nvCxnSpPr>
          <p:cNvPr id="18" name="Straight Arrow Connector 17">
            <a:extLst>
              <a:ext uri="{FF2B5EF4-FFF2-40B4-BE49-F238E27FC236}">
                <a16:creationId xmlns:a16="http://schemas.microsoft.com/office/drawing/2014/main" id="{8335E7DB-773D-F449-FAFC-79D40B7EAA59}"/>
              </a:ext>
            </a:extLst>
          </p:cNvPr>
          <p:cNvCxnSpPr>
            <a:cxnSpLocks/>
            <a:endCxn id="22" idx="1"/>
          </p:cNvCxnSpPr>
          <p:nvPr/>
        </p:nvCxnSpPr>
        <p:spPr>
          <a:xfrm>
            <a:off x="6828922" y="3367182"/>
            <a:ext cx="873406" cy="275322"/>
          </a:xfrm>
          <a:prstGeom prst="straightConnector1">
            <a:avLst/>
          </a:prstGeom>
          <a:ln w="38100">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22" name="TextBox 21">
            <a:extLst>
              <a:ext uri="{FF2B5EF4-FFF2-40B4-BE49-F238E27FC236}">
                <a16:creationId xmlns:a16="http://schemas.microsoft.com/office/drawing/2014/main" id="{599BF0A2-4AC1-FB63-D5F6-CB38168CC7BA}"/>
              </a:ext>
            </a:extLst>
          </p:cNvPr>
          <p:cNvSpPr txBox="1"/>
          <p:nvPr/>
        </p:nvSpPr>
        <p:spPr>
          <a:xfrm>
            <a:off x="7702328" y="3157756"/>
            <a:ext cx="1259213" cy="969496"/>
          </a:xfrm>
          <a:prstGeom prst="rect">
            <a:avLst/>
          </a:prstGeom>
          <a:noFill/>
        </p:spPr>
        <p:txBody>
          <a:bodyPr wrap="square" lIns="0" tIns="0" rIns="0" bIns="0" rtlCol="0">
            <a:spAutoFit/>
          </a:bodyPr>
          <a:lstStyle/>
          <a:p>
            <a:pPr algn="ctr"/>
            <a:r>
              <a:rPr lang="en-US" sz="2700" b="1">
                <a:solidFill>
                  <a:schemeClr val="tx2"/>
                </a:solidFill>
              </a:rPr>
              <a:t>80%</a:t>
            </a:r>
          </a:p>
          <a:p>
            <a:pPr algn="ctr"/>
            <a:r>
              <a:rPr lang="en-US" sz="1200" b="1">
                <a:solidFill>
                  <a:schemeClr val="tx2"/>
                </a:solidFill>
              </a:rPr>
              <a:t>Data spread</a:t>
            </a:r>
          </a:p>
          <a:p>
            <a:pPr algn="ctr"/>
            <a:r>
              <a:rPr lang="en-US" sz="1200" b="1">
                <a:solidFill>
                  <a:schemeClr val="tx2"/>
                </a:solidFill>
              </a:rPr>
              <a:t>in different formats in MS</a:t>
            </a:r>
          </a:p>
        </p:txBody>
      </p:sp>
      <p:sp>
        <p:nvSpPr>
          <p:cNvPr id="76" name="Oval 75">
            <a:extLst>
              <a:ext uri="{FF2B5EF4-FFF2-40B4-BE49-F238E27FC236}">
                <a16:creationId xmlns:a16="http://schemas.microsoft.com/office/drawing/2014/main" id="{FDBF12CA-272C-CF2A-A2E0-F95A3FB1EEED}"/>
              </a:ext>
            </a:extLst>
          </p:cNvPr>
          <p:cNvSpPr/>
          <p:nvPr/>
        </p:nvSpPr>
        <p:spPr>
          <a:xfrm>
            <a:off x="375826" y="2232028"/>
            <a:ext cx="1149346" cy="1149885"/>
          </a:xfrm>
          <a:prstGeom prst="ellipse">
            <a:avLst/>
          </a:prstGeom>
          <a:solidFill>
            <a:srgbClr val="FFFF00"/>
          </a:solidFill>
          <a:ln>
            <a:solidFill>
              <a:schemeClr val="accent5"/>
            </a:solid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r>
              <a:rPr lang="en-US" sz="1500" b="1">
                <a:solidFill>
                  <a:schemeClr val="tx2"/>
                </a:solidFill>
              </a:rPr>
              <a:t>250.000</a:t>
            </a:r>
            <a:r>
              <a:rPr lang="en-US" sz="1500">
                <a:solidFill>
                  <a:schemeClr val="tx2"/>
                </a:solidFill>
              </a:rPr>
              <a:t> </a:t>
            </a:r>
            <a:r>
              <a:rPr lang="en-GB" sz="1500">
                <a:solidFill>
                  <a:schemeClr val="tx2"/>
                </a:solidFill>
              </a:rPr>
              <a:t>B</a:t>
            </a:r>
            <a:r>
              <a:rPr lang="en-US" sz="1500" err="1">
                <a:solidFill>
                  <a:schemeClr val="tx2"/>
                </a:solidFill>
              </a:rPr>
              <a:t>uyers</a:t>
            </a:r>
            <a:endParaRPr lang="en-US" sz="1500">
              <a:solidFill>
                <a:schemeClr val="tx2"/>
              </a:solidFill>
            </a:endParaRPr>
          </a:p>
        </p:txBody>
      </p:sp>
      <p:cxnSp>
        <p:nvCxnSpPr>
          <p:cNvPr id="77" name="Straight Arrow Connector 76">
            <a:extLst>
              <a:ext uri="{FF2B5EF4-FFF2-40B4-BE49-F238E27FC236}">
                <a16:creationId xmlns:a16="http://schemas.microsoft.com/office/drawing/2014/main" id="{E2395D9A-E23A-671C-CD1A-6EF4A110F344}"/>
              </a:ext>
            </a:extLst>
          </p:cNvPr>
          <p:cNvCxnSpPr>
            <a:cxnSpLocks/>
            <a:stCxn id="76" idx="6"/>
            <a:endCxn id="7" idx="2"/>
          </p:cNvCxnSpPr>
          <p:nvPr/>
        </p:nvCxnSpPr>
        <p:spPr>
          <a:xfrm flipV="1">
            <a:off x="1525172" y="2805278"/>
            <a:ext cx="579298" cy="1692"/>
          </a:xfrm>
          <a:prstGeom prst="straightConnector1">
            <a:avLst/>
          </a:prstGeom>
          <a:ln w="38100">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78" name="TextBox 77">
            <a:extLst>
              <a:ext uri="{FF2B5EF4-FFF2-40B4-BE49-F238E27FC236}">
                <a16:creationId xmlns:a16="http://schemas.microsoft.com/office/drawing/2014/main" id="{A122C35A-5C65-152E-AB1C-6194231429B6}"/>
              </a:ext>
            </a:extLst>
          </p:cNvPr>
          <p:cNvSpPr txBox="1"/>
          <p:nvPr/>
        </p:nvSpPr>
        <p:spPr>
          <a:xfrm>
            <a:off x="1445876" y="2536138"/>
            <a:ext cx="661746" cy="253916"/>
          </a:xfrm>
          <a:prstGeom prst="rect">
            <a:avLst/>
          </a:prstGeom>
          <a:noFill/>
        </p:spPr>
        <p:txBody>
          <a:bodyPr wrap="square" rtlCol="0">
            <a:spAutoFit/>
          </a:bodyPr>
          <a:lstStyle/>
          <a:p>
            <a:pPr algn="ctr"/>
            <a:r>
              <a:rPr lang="en-US" sz="1050" b="1">
                <a:solidFill>
                  <a:schemeClr val="tx2"/>
                </a:solidFill>
              </a:rPr>
              <a:t>spend</a:t>
            </a:r>
            <a:endParaRPr lang="en-US" sz="900" b="1">
              <a:solidFill>
                <a:schemeClr val="tx2"/>
              </a:solidFill>
            </a:endParaRPr>
          </a:p>
        </p:txBody>
      </p:sp>
      <p:grpSp>
        <p:nvGrpSpPr>
          <p:cNvPr id="63" name="Group 62">
            <a:extLst>
              <a:ext uri="{FF2B5EF4-FFF2-40B4-BE49-F238E27FC236}">
                <a16:creationId xmlns:a16="http://schemas.microsoft.com/office/drawing/2014/main" id="{FFDDF214-D7C0-A9A2-1CE1-1CFEAD77C868}"/>
              </a:ext>
            </a:extLst>
          </p:cNvPr>
          <p:cNvGrpSpPr/>
          <p:nvPr/>
        </p:nvGrpSpPr>
        <p:grpSpPr>
          <a:xfrm>
            <a:off x="4325980" y="1402994"/>
            <a:ext cx="2812205" cy="2827175"/>
            <a:chOff x="5631788" y="2044154"/>
            <a:chExt cx="3749607" cy="3769567"/>
          </a:xfrm>
          <a:solidFill>
            <a:srgbClr val="FFFF00"/>
          </a:solidFill>
        </p:grpSpPr>
        <p:sp>
          <p:nvSpPr>
            <p:cNvPr id="26" name="Oval 25">
              <a:extLst>
                <a:ext uri="{FF2B5EF4-FFF2-40B4-BE49-F238E27FC236}">
                  <a16:creationId xmlns:a16="http://schemas.microsoft.com/office/drawing/2014/main" id="{AC6C668A-8981-3A91-7532-B6C0E8F61097}"/>
                </a:ext>
              </a:extLst>
            </p:cNvPr>
            <p:cNvSpPr>
              <a:spLocks noChangeAspect="1"/>
            </p:cNvSpPr>
            <p:nvPr/>
          </p:nvSpPr>
          <p:spPr>
            <a:xfrm>
              <a:off x="5631788" y="2044154"/>
              <a:ext cx="3749607" cy="3749607"/>
            </a:xfrm>
            <a:prstGeom prst="ellipse">
              <a:avLst/>
            </a:prstGeom>
            <a:grpFill/>
            <a:ln w="12700">
              <a:solidFill>
                <a:schemeClr val="tx1"/>
              </a:solidFill>
            </a:ln>
          </p:spPr>
          <p:style>
            <a:lnRef idx="0">
              <a:scrgbClr r="0" g="0" b="0"/>
            </a:lnRef>
            <a:fillRef idx="0">
              <a:scrgbClr r="0" g="0" b="0"/>
            </a:fillRef>
            <a:effectRef idx="0">
              <a:scrgbClr r="0" g="0" b="0"/>
            </a:effectRef>
            <a:fontRef idx="minor">
              <a:schemeClr val="lt1"/>
            </a:fontRef>
          </p:style>
          <p:txBody>
            <a:bodyPr rtlCol="0" anchor="ctr"/>
            <a:lstStyle/>
            <a:p>
              <a:pPr algn="ctr"/>
              <a:endParaRPr lang="en-DE" sz="1350"/>
            </a:p>
          </p:txBody>
        </p:sp>
        <p:pic>
          <p:nvPicPr>
            <p:cNvPr id="27" name="Picture 26">
              <a:extLst>
                <a:ext uri="{FF2B5EF4-FFF2-40B4-BE49-F238E27FC236}">
                  <a16:creationId xmlns:a16="http://schemas.microsoft.com/office/drawing/2014/main" id="{7B457C8B-47B8-38BD-FBA3-5A8799F97374}"/>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097713" y="2107506"/>
              <a:ext cx="762894" cy="836426"/>
            </a:xfrm>
            <a:prstGeom prst="rect">
              <a:avLst/>
            </a:prstGeom>
            <a:grpFill/>
          </p:spPr>
        </p:pic>
        <p:pic>
          <p:nvPicPr>
            <p:cNvPr id="28" name="Picture 27">
              <a:extLst>
                <a:ext uri="{FF2B5EF4-FFF2-40B4-BE49-F238E27FC236}">
                  <a16:creationId xmlns:a16="http://schemas.microsoft.com/office/drawing/2014/main" id="{A13AB0EB-9074-3B24-88BD-427B528F82FA}"/>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026496" y="3809681"/>
              <a:ext cx="877443" cy="961813"/>
            </a:xfrm>
            <a:prstGeom prst="rect">
              <a:avLst/>
            </a:prstGeom>
            <a:grpFill/>
          </p:spPr>
        </p:pic>
        <p:pic>
          <p:nvPicPr>
            <p:cNvPr id="30" name="Picture 29">
              <a:extLst>
                <a:ext uri="{FF2B5EF4-FFF2-40B4-BE49-F238E27FC236}">
                  <a16:creationId xmlns:a16="http://schemas.microsoft.com/office/drawing/2014/main" id="{880C944B-E07B-BCAE-BCC2-2DC02E40A369}"/>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820673" y="2684435"/>
              <a:ext cx="871884" cy="955719"/>
            </a:xfrm>
            <a:prstGeom prst="rect">
              <a:avLst/>
            </a:prstGeom>
            <a:noFill/>
          </p:spPr>
        </p:pic>
        <p:pic>
          <p:nvPicPr>
            <p:cNvPr id="32" name="Picture 31">
              <a:extLst>
                <a:ext uri="{FF2B5EF4-FFF2-40B4-BE49-F238E27FC236}">
                  <a16:creationId xmlns:a16="http://schemas.microsoft.com/office/drawing/2014/main" id="{23D361B6-FB3E-A84A-ECE0-A644D7D2BC52}"/>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8341385" y="3890369"/>
              <a:ext cx="783153" cy="932426"/>
            </a:xfrm>
            <a:prstGeom prst="rect">
              <a:avLst/>
            </a:prstGeom>
            <a:grpFill/>
          </p:spPr>
        </p:pic>
        <p:pic>
          <p:nvPicPr>
            <p:cNvPr id="33" name="Picture 32">
              <a:extLst>
                <a:ext uri="{FF2B5EF4-FFF2-40B4-BE49-F238E27FC236}">
                  <a16:creationId xmlns:a16="http://schemas.microsoft.com/office/drawing/2014/main" id="{4738AF3A-C317-6150-B8DC-755DFF89E1FA}"/>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8318505" y="2762830"/>
              <a:ext cx="651764" cy="651764"/>
            </a:xfrm>
            <a:prstGeom prst="rect">
              <a:avLst/>
            </a:prstGeom>
            <a:grpFill/>
          </p:spPr>
        </p:pic>
        <p:pic>
          <p:nvPicPr>
            <p:cNvPr id="35" name="Picture 34">
              <a:extLst>
                <a:ext uri="{FF2B5EF4-FFF2-40B4-BE49-F238E27FC236}">
                  <a16:creationId xmlns:a16="http://schemas.microsoft.com/office/drawing/2014/main" id="{7A65760B-17F9-A935-B281-A5B7424DECFD}"/>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7120210" y="4623207"/>
              <a:ext cx="855747" cy="938031"/>
            </a:xfrm>
            <a:prstGeom prst="rect">
              <a:avLst/>
            </a:prstGeom>
            <a:grpFill/>
          </p:spPr>
        </p:pic>
        <p:sp>
          <p:nvSpPr>
            <p:cNvPr id="36" name="TextBox 35">
              <a:extLst>
                <a:ext uri="{FF2B5EF4-FFF2-40B4-BE49-F238E27FC236}">
                  <a16:creationId xmlns:a16="http://schemas.microsoft.com/office/drawing/2014/main" id="{69C704C1-A04A-F44D-03EA-771CE99BF677}"/>
                </a:ext>
              </a:extLst>
            </p:cNvPr>
            <p:cNvSpPr txBox="1"/>
            <p:nvPr/>
          </p:nvSpPr>
          <p:spPr>
            <a:xfrm>
              <a:off x="6060935" y="4705457"/>
              <a:ext cx="895373" cy="400109"/>
            </a:xfrm>
            <a:prstGeom prst="rect">
              <a:avLst/>
            </a:prstGeom>
            <a:grpFill/>
          </p:spPr>
          <p:txBody>
            <a:bodyPr wrap="none" rtlCol="0">
              <a:spAutoFit/>
            </a:bodyPr>
            <a:lstStyle/>
            <a:p>
              <a:r>
                <a:rPr lang="en-DE" sz="1350" b="1">
                  <a:solidFill>
                    <a:schemeClr val="tx2"/>
                  </a:solidFill>
                </a:rPr>
                <a:t>Energy</a:t>
              </a:r>
            </a:p>
          </p:txBody>
        </p:sp>
        <p:sp>
          <p:nvSpPr>
            <p:cNvPr id="37" name="TextBox 36">
              <a:extLst>
                <a:ext uri="{FF2B5EF4-FFF2-40B4-BE49-F238E27FC236}">
                  <a16:creationId xmlns:a16="http://schemas.microsoft.com/office/drawing/2014/main" id="{750AF892-4758-EC79-8F6A-E485DEF5E5AE}"/>
                </a:ext>
              </a:extLst>
            </p:cNvPr>
            <p:cNvSpPr txBox="1"/>
            <p:nvPr/>
          </p:nvSpPr>
          <p:spPr>
            <a:xfrm>
              <a:off x="7976227" y="3398458"/>
              <a:ext cx="1336013" cy="677108"/>
            </a:xfrm>
            <a:prstGeom prst="rect">
              <a:avLst/>
            </a:prstGeom>
            <a:grpFill/>
          </p:spPr>
          <p:txBody>
            <a:bodyPr wrap="square" rtlCol="0">
              <a:spAutoFit/>
            </a:bodyPr>
            <a:lstStyle/>
            <a:p>
              <a:pPr algn="ctr"/>
              <a:r>
                <a:rPr lang="en-DE" sz="1350" b="1">
                  <a:solidFill>
                    <a:schemeClr val="tx2"/>
                  </a:solidFill>
                </a:rPr>
                <a:t>Social protection</a:t>
              </a:r>
            </a:p>
          </p:txBody>
        </p:sp>
        <p:sp>
          <p:nvSpPr>
            <p:cNvPr id="38" name="TextBox 37">
              <a:extLst>
                <a:ext uri="{FF2B5EF4-FFF2-40B4-BE49-F238E27FC236}">
                  <a16:creationId xmlns:a16="http://schemas.microsoft.com/office/drawing/2014/main" id="{2247CA37-BB64-7B59-7538-2037714BE963}"/>
                </a:ext>
              </a:extLst>
            </p:cNvPr>
            <p:cNvSpPr txBox="1"/>
            <p:nvPr/>
          </p:nvSpPr>
          <p:spPr>
            <a:xfrm>
              <a:off x="5721175" y="3458051"/>
              <a:ext cx="1194687" cy="400109"/>
            </a:xfrm>
            <a:prstGeom prst="rect">
              <a:avLst/>
            </a:prstGeom>
            <a:grpFill/>
          </p:spPr>
          <p:txBody>
            <a:bodyPr wrap="none" rtlCol="0">
              <a:spAutoFit/>
            </a:bodyPr>
            <a:lstStyle/>
            <a:p>
              <a:r>
                <a:rPr lang="en-DE" sz="1350" b="1">
                  <a:solidFill>
                    <a:schemeClr val="tx2"/>
                  </a:solidFill>
                </a:rPr>
                <a:t>Education</a:t>
              </a:r>
            </a:p>
          </p:txBody>
        </p:sp>
        <p:sp>
          <p:nvSpPr>
            <p:cNvPr id="39" name="TextBox 38">
              <a:extLst>
                <a:ext uri="{FF2B5EF4-FFF2-40B4-BE49-F238E27FC236}">
                  <a16:creationId xmlns:a16="http://schemas.microsoft.com/office/drawing/2014/main" id="{4E80B7FB-ECCC-A50A-CFAC-D9E443EFBA79}"/>
                </a:ext>
              </a:extLst>
            </p:cNvPr>
            <p:cNvSpPr txBox="1"/>
            <p:nvPr/>
          </p:nvSpPr>
          <p:spPr>
            <a:xfrm>
              <a:off x="6652761" y="2883175"/>
              <a:ext cx="1559915" cy="400109"/>
            </a:xfrm>
            <a:prstGeom prst="rect">
              <a:avLst/>
            </a:prstGeom>
            <a:grpFill/>
          </p:spPr>
          <p:txBody>
            <a:bodyPr wrap="none" rtlCol="0">
              <a:spAutoFit/>
            </a:bodyPr>
            <a:lstStyle/>
            <a:p>
              <a:r>
                <a:rPr lang="en-DE" sz="1350" b="1">
                  <a:solidFill>
                    <a:schemeClr val="tx2"/>
                  </a:solidFill>
                </a:rPr>
                <a:t>Infrastructure</a:t>
              </a:r>
            </a:p>
          </p:txBody>
        </p:sp>
        <p:sp>
          <p:nvSpPr>
            <p:cNvPr id="40" name="TextBox 39">
              <a:extLst>
                <a:ext uri="{FF2B5EF4-FFF2-40B4-BE49-F238E27FC236}">
                  <a16:creationId xmlns:a16="http://schemas.microsoft.com/office/drawing/2014/main" id="{DD72A856-49F6-58A0-326B-900E0EC761A9}"/>
                </a:ext>
              </a:extLst>
            </p:cNvPr>
            <p:cNvSpPr txBox="1"/>
            <p:nvPr/>
          </p:nvSpPr>
          <p:spPr>
            <a:xfrm>
              <a:off x="7097391" y="5413612"/>
              <a:ext cx="841597" cy="400109"/>
            </a:xfrm>
            <a:prstGeom prst="rect">
              <a:avLst/>
            </a:prstGeom>
            <a:noFill/>
          </p:spPr>
          <p:txBody>
            <a:bodyPr wrap="none" rtlCol="0">
              <a:spAutoFit/>
            </a:bodyPr>
            <a:lstStyle/>
            <a:p>
              <a:r>
                <a:rPr lang="en-DE" sz="1350" b="1">
                  <a:solidFill>
                    <a:schemeClr val="tx2"/>
                  </a:solidFill>
                </a:rPr>
                <a:t>Waste</a:t>
              </a:r>
            </a:p>
          </p:txBody>
        </p:sp>
        <p:sp>
          <p:nvSpPr>
            <p:cNvPr id="41" name="TextBox 40">
              <a:extLst>
                <a:ext uri="{FF2B5EF4-FFF2-40B4-BE49-F238E27FC236}">
                  <a16:creationId xmlns:a16="http://schemas.microsoft.com/office/drawing/2014/main" id="{3C69C7A5-DCD4-327F-02CB-A13C142D235E}"/>
                </a:ext>
              </a:extLst>
            </p:cNvPr>
            <p:cNvSpPr txBox="1"/>
            <p:nvPr/>
          </p:nvSpPr>
          <p:spPr>
            <a:xfrm>
              <a:off x="8150802" y="4631073"/>
              <a:ext cx="881011" cy="400109"/>
            </a:xfrm>
            <a:prstGeom prst="rect">
              <a:avLst/>
            </a:prstGeom>
            <a:grpFill/>
          </p:spPr>
          <p:txBody>
            <a:bodyPr wrap="none" rtlCol="0">
              <a:spAutoFit/>
            </a:bodyPr>
            <a:lstStyle/>
            <a:p>
              <a:r>
                <a:rPr lang="en-DE" sz="1350" b="1">
                  <a:solidFill>
                    <a:schemeClr val="tx2"/>
                  </a:solidFill>
                </a:rPr>
                <a:t>Health</a:t>
              </a:r>
            </a:p>
          </p:txBody>
        </p:sp>
      </p:grpSp>
      <p:cxnSp>
        <p:nvCxnSpPr>
          <p:cNvPr id="44" name="Straight Arrow Connector 43">
            <a:extLst>
              <a:ext uri="{FF2B5EF4-FFF2-40B4-BE49-F238E27FC236}">
                <a16:creationId xmlns:a16="http://schemas.microsoft.com/office/drawing/2014/main" id="{12A47D3E-CE02-0065-6654-9A731AFE6743}"/>
              </a:ext>
            </a:extLst>
          </p:cNvPr>
          <p:cNvCxnSpPr>
            <a:cxnSpLocks/>
            <a:stCxn id="7" idx="6"/>
            <a:endCxn id="26" idx="2"/>
          </p:cNvCxnSpPr>
          <p:nvPr/>
        </p:nvCxnSpPr>
        <p:spPr>
          <a:xfrm>
            <a:off x="3783888" y="2805279"/>
            <a:ext cx="542092" cy="3818"/>
          </a:xfrm>
          <a:prstGeom prst="straightConnector1">
            <a:avLst/>
          </a:prstGeom>
          <a:ln w="38100">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45" name="TextBox 44">
            <a:extLst>
              <a:ext uri="{FF2B5EF4-FFF2-40B4-BE49-F238E27FC236}">
                <a16:creationId xmlns:a16="http://schemas.microsoft.com/office/drawing/2014/main" id="{D3365BF5-0B70-8453-9621-4C8D548303BE}"/>
              </a:ext>
            </a:extLst>
          </p:cNvPr>
          <p:cNvSpPr txBox="1"/>
          <p:nvPr/>
        </p:nvSpPr>
        <p:spPr>
          <a:xfrm>
            <a:off x="3671270" y="2540757"/>
            <a:ext cx="661746" cy="253916"/>
          </a:xfrm>
          <a:prstGeom prst="rect">
            <a:avLst/>
          </a:prstGeom>
          <a:noFill/>
        </p:spPr>
        <p:txBody>
          <a:bodyPr wrap="square" rtlCol="0">
            <a:spAutoFit/>
          </a:bodyPr>
          <a:lstStyle/>
          <a:p>
            <a:pPr algn="ctr"/>
            <a:r>
              <a:rPr lang="en-US" sz="1050" b="1">
                <a:solidFill>
                  <a:schemeClr val="tx2"/>
                </a:solidFill>
              </a:rPr>
              <a:t>in</a:t>
            </a:r>
            <a:endParaRPr lang="en-US" sz="900" b="1">
              <a:solidFill>
                <a:schemeClr val="tx2"/>
              </a:solidFill>
            </a:endParaRPr>
          </a:p>
        </p:txBody>
      </p:sp>
    </p:spTree>
    <p:extLst>
      <p:ext uri="{BB962C8B-B14F-4D97-AF65-F5344CB8AC3E}">
        <p14:creationId xmlns:p14="http://schemas.microsoft.com/office/powerpoint/2010/main" val="95360762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8A6458FE-E5D5-CCB0-A2B4-4C589E8DD33E}"/>
              </a:ext>
            </a:extLst>
          </p:cNvPr>
          <p:cNvSpPr>
            <a:spLocks noGrp="1"/>
          </p:cNvSpPr>
          <p:nvPr>
            <p:ph idx="1"/>
          </p:nvPr>
        </p:nvSpPr>
        <p:spPr>
          <a:xfrm>
            <a:off x="628650" y="1369219"/>
            <a:ext cx="8179274" cy="2911428"/>
          </a:xfrm>
        </p:spPr>
        <p:txBody>
          <a:bodyPr/>
          <a:lstStyle/>
          <a:p>
            <a:r>
              <a:rPr lang="en-US" noProof="0"/>
              <a:t>Having </a:t>
            </a:r>
            <a:r>
              <a:rPr lang="en-US" b="1" noProof="0"/>
              <a:t>access to more procurement data</a:t>
            </a:r>
            <a:endParaRPr lang="en-US" noProof="0"/>
          </a:p>
          <a:p>
            <a:r>
              <a:rPr lang="en-US"/>
              <a:t>Improves </a:t>
            </a:r>
            <a:r>
              <a:rPr lang="en-US" b="1"/>
              <a:t>monitoring of public procurement</a:t>
            </a:r>
            <a:endParaRPr lang="en-US"/>
          </a:p>
          <a:p>
            <a:r>
              <a:rPr lang="en-US" b="1"/>
              <a:t>Reinforces transparency</a:t>
            </a:r>
          </a:p>
          <a:p>
            <a:r>
              <a:rPr lang="en-GB"/>
              <a:t>S</a:t>
            </a:r>
            <a:r>
              <a:rPr lang="en-US" err="1"/>
              <a:t>upport</a:t>
            </a:r>
            <a:r>
              <a:rPr lang="en-GB"/>
              <a:t>s</a:t>
            </a:r>
            <a:r>
              <a:rPr lang="en-US"/>
              <a:t> </a:t>
            </a:r>
            <a:r>
              <a:rPr lang="en-US" b="1"/>
              <a:t>improv</a:t>
            </a:r>
            <a:r>
              <a:rPr lang="en-GB" b="1"/>
              <a:t>ing</a:t>
            </a:r>
            <a:r>
              <a:rPr lang="en-US" b="1"/>
              <a:t> data quality</a:t>
            </a:r>
          </a:p>
          <a:p>
            <a:r>
              <a:rPr lang="en-US" b="1" noProof="0"/>
              <a:t>Supports cooperation </a:t>
            </a:r>
            <a:r>
              <a:rPr lang="en-US" noProof="0"/>
              <a:t>between Member States and Commission</a:t>
            </a:r>
          </a:p>
          <a:p>
            <a:pPr marL="0" indent="0">
              <a:buNone/>
            </a:pPr>
            <a:endParaRPr lang="en-US"/>
          </a:p>
          <a:p>
            <a:endParaRPr lang="en-US"/>
          </a:p>
          <a:p>
            <a:endParaRPr lang="en-DE"/>
          </a:p>
        </p:txBody>
      </p:sp>
      <p:sp>
        <p:nvSpPr>
          <p:cNvPr id="6" name="Título 1">
            <a:extLst>
              <a:ext uri="{FF2B5EF4-FFF2-40B4-BE49-F238E27FC236}">
                <a16:creationId xmlns:a16="http://schemas.microsoft.com/office/drawing/2014/main" id="{FF026D53-669E-AB37-72BF-074ED3C8923D}"/>
              </a:ext>
            </a:extLst>
          </p:cNvPr>
          <p:cNvSpPr>
            <a:spLocks noGrp="1"/>
          </p:cNvSpPr>
          <p:nvPr>
            <p:ph type="title"/>
          </p:nvPr>
        </p:nvSpPr>
        <p:spPr>
          <a:xfrm>
            <a:off x="728042" y="362145"/>
            <a:ext cx="7886700" cy="586768"/>
          </a:xfrm>
        </p:spPr>
        <p:txBody>
          <a:bodyPr/>
          <a:lstStyle/>
          <a:p>
            <a:r>
              <a:rPr lang="en-US"/>
              <a:t>The PPDS</a:t>
            </a:r>
          </a:p>
        </p:txBody>
      </p:sp>
    </p:spTree>
    <p:custDataLst>
      <p:tags r:id="rId1"/>
    </p:custDataLst>
    <p:extLst>
      <p:ext uri="{BB962C8B-B14F-4D97-AF65-F5344CB8AC3E}">
        <p14:creationId xmlns:p14="http://schemas.microsoft.com/office/powerpoint/2010/main" val="92529929"/>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DCFFCBC4-FFB3-F1D4-B418-372E176FFB79}"/>
              </a:ext>
            </a:extLst>
          </p:cNvPr>
          <p:cNvSpPr>
            <a:spLocks noGrp="1"/>
          </p:cNvSpPr>
          <p:nvPr>
            <p:ph type="title"/>
          </p:nvPr>
        </p:nvSpPr>
        <p:spPr/>
        <p:txBody>
          <a:bodyPr/>
          <a:lstStyle/>
          <a:p>
            <a:r>
              <a:rPr lang="en-US"/>
              <a:t>PPDS State-of-Play  </a:t>
            </a:r>
          </a:p>
        </p:txBody>
      </p:sp>
      <p:grpSp>
        <p:nvGrpSpPr>
          <p:cNvPr id="16" name="Group 205">
            <a:extLst>
              <a:ext uri="{FF2B5EF4-FFF2-40B4-BE49-F238E27FC236}">
                <a16:creationId xmlns:a16="http://schemas.microsoft.com/office/drawing/2014/main" id="{77F25CE5-10CF-25DA-E881-492B7D54685B}"/>
              </a:ext>
            </a:extLst>
          </p:cNvPr>
          <p:cNvGrpSpPr>
            <a:grpSpLocks/>
          </p:cNvGrpSpPr>
          <p:nvPr/>
        </p:nvGrpSpPr>
        <p:grpSpPr bwMode="auto">
          <a:xfrm>
            <a:off x="896771" y="1300547"/>
            <a:ext cx="4339291" cy="3105185"/>
            <a:chOff x="33" y="578"/>
            <a:chExt cx="8195" cy="5445"/>
          </a:xfrm>
        </p:grpSpPr>
        <p:sp>
          <p:nvSpPr>
            <p:cNvPr id="19" name="Freeform 8">
              <a:extLst>
                <a:ext uri="{FF2B5EF4-FFF2-40B4-BE49-F238E27FC236}">
                  <a16:creationId xmlns:a16="http://schemas.microsoft.com/office/drawing/2014/main" id="{703EE38C-4546-6870-0A94-68A4B17CE777}"/>
                </a:ext>
              </a:extLst>
            </p:cNvPr>
            <p:cNvSpPr>
              <a:spLocks noEditPoints="1"/>
            </p:cNvSpPr>
            <p:nvPr/>
          </p:nvSpPr>
          <p:spPr bwMode="auto">
            <a:xfrm>
              <a:off x="5195" y="4734"/>
              <a:ext cx="218" cy="421"/>
            </a:xfrm>
            <a:custGeom>
              <a:avLst/>
              <a:gdLst>
                <a:gd name="T0" fmla="*/ 27 w 218"/>
                <a:gd name="T1" fmla="*/ 312 h 421"/>
                <a:gd name="T2" fmla="*/ 16 w 218"/>
                <a:gd name="T3" fmla="*/ 120 h 421"/>
                <a:gd name="T4" fmla="*/ 44 w 218"/>
                <a:gd name="T5" fmla="*/ 13 h 421"/>
                <a:gd name="T6" fmla="*/ 57 w 218"/>
                <a:gd name="T7" fmla="*/ 24 h 421"/>
                <a:gd name="T8" fmla="*/ 73 w 218"/>
                <a:gd name="T9" fmla="*/ 13 h 421"/>
                <a:gd name="T10" fmla="*/ 89 w 218"/>
                <a:gd name="T11" fmla="*/ 18 h 421"/>
                <a:gd name="T12" fmla="*/ 97 w 218"/>
                <a:gd name="T13" fmla="*/ 34 h 421"/>
                <a:gd name="T14" fmla="*/ 110 w 218"/>
                <a:gd name="T15" fmla="*/ 40 h 421"/>
                <a:gd name="T16" fmla="*/ 133 w 218"/>
                <a:gd name="T17" fmla="*/ 57 h 421"/>
                <a:gd name="T18" fmla="*/ 140 w 218"/>
                <a:gd name="T19" fmla="*/ 74 h 421"/>
                <a:gd name="T20" fmla="*/ 143 w 218"/>
                <a:gd name="T21" fmla="*/ 97 h 421"/>
                <a:gd name="T22" fmla="*/ 140 w 218"/>
                <a:gd name="T23" fmla="*/ 115 h 421"/>
                <a:gd name="T24" fmla="*/ 146 w 218"/>
                <a:gd name="T25" fmla="*/ 141 h 421"/>
                <a:gd name="T26" fmla="*/ 141 w 218"/>
                <a:gd name="T27" fmla="*/ 154 h 421"/>
                <a:gd name="T28" fmla="*/ 146 w 218"/>
                <a:gd name="T29" fmla="*/ 174 h 421"/>
                <a:gd name="T30" fmla="*/ 151 w 218"/>
                <a:gd name="T31" fmla="*/ 195 h 421"/>
                <a:gd name="T32" fmla="*/ 180 w 218"/>
                <a:gd name="T33" fmla="*/ 234 h 421"/>
                <a:gd name="T34" fmla="*/ 203 w 218"/>
                <a:gd name="T35" fmla="*/ 231 h 421"/>
                <a:gd name="T36" fmla="*/ 218 w 218"/>
                <a:gd name="T37" fmla="*/ 266 h 421"/>
                <a:gd name="T38" fmla="*/ 211 w 218"/>
                <a:gd name="T39" fmla="*/ 291 h 421"/>
                <a:gd name="T40" fmla="*/ 193 w 218"/>
                <a:gd name="T41" fmla="*/ 305 h 421"/>
                <a:gd name="T42" fmla="*/ 188 w 218"/>
                <a:gd name="T43" fmla="*/ 328 h 421"/>
                <a:gd name="T44" fmla="*/ 179 w 218"/>
                <a:gd name="T45" fmla="*/ 353 h 421"/>
                <a:gd name="T46" fmla="*/ 157 w 218"/>
                <a:gd name="T47" fmla="*/ 366 h 421"/>
                <a:gd name="T48" fmla="*/ 159 w 218"/>
                <a:gd name="T49" fmla="*/ 385 h 421"/>
                <a:gd name="T50" fmla="*/ 149 w 218"/>
                <a:gd name="T51" fmla="*/ 396 h 421"/>
                <a:gd name="T52" fmla="*/ 146 w 218"/>
                <a:gd name="T53" fmla="*/ 414 h 421"/>
                <a:gd name="T54" fmla="*/ 125 w 218"/>
                <a:gd name="T55" fmla="*/ 416 h 421"/>
                <a:gd name="T56" fmla="*/ 118 w 218"/>
                <a:gd name="T57" fmla="*/ 408 h 421"/>
                <a:gd name="T58" fmla="*/ 117 w 218"/>
                <a:gd name="T59" fmla="*/ 400 h 421"/>
                <a:gd name="T60" fmla="*/ 109 w 218"/>
                <a:gd name="T61" fmla="*/ 390 h 421"/>
                <a:gd name="T62" fmla="*/ 102 w 218"/>
                <a:gd name="T63" fmla="*/ 375 h 421"/>
                <a:gd name="T64" fmla="*/ 89 w 218"/>
                <a:gd name="T65" fmla="*/ 367 h 421"/>
                <a:gd name="T66" fmla="*/ 79 w 218"/>
                <a:gd name="T67" fmla="*/ 362 h 421"/>
                <a:gd name="T68" fmla="*/ 60 w 218"/>
                <a:gd name="T69" fmla="*/ 354 h 421"/>
                <a:gd name="T70" fmla="*/ 44 w 218"/>
                <a:gd name="T71" fmla="*/ 343 h 421"/>
                <a:gd name="T72" fmla="*/ 31 w 218"/>
                <a:gd name="T73" fmla="*/ 325 h 421"/>
                <a:gd name="T74" fmla="*/ 44 w 218"/>
                <a:gd name="T75" fmla="*/ 330 h 421"/>
                <a:gd name="T76" fmla="*/ 50 w 218"/>
                <a:gd name="T77" fmla="*/ 327 h 421"/>
                <a:gd name="T78" fmla="*/ 44 w 218"/>
                <a:gd name="T79" fmla="*/ 314 h 421"/>
                <a:gd name="T80" fmla="*/ 32 w 218"/>
                <a:gd name="T81" fmla="*/ 297 h 421"/>
                <a:gd name="T82" fmla="*/ 31 w 218"/>
                <a:gd name="T83" fmla="*/ 291 h 421"/>
                <a:gd name="T84" fmla="*/ 32 w 218"/>
                <a:gd name="T85" fmla="*/ 275 h 421"/>
                <a:gd name="T86" fmla="*/ 34 w 218"/>
                <a:gd name="T87" fmla="*/ 255 h 421"/>
                <a:gd name="T88" fmla="*/ 35 w 218"/>
                <a:gd name="T89" fmla="*/ 240 h 421"/>
                <a:gd name="T90" fmla="*/ 39 w 218"/>
                <a:gd name="T91" fmla="*/ 216 h 421"/>
                <a:gd name="T92" fmla="*/ 32 w 218"/>
                <a:gd name="T93" fmla="*/ 195 h 421"/>
                <a:gd name="T94" fmla="*/ 24 w 218"/>
                <a:gd name="T95" fmla="*/ 182 h 421"/>
                <a:gd name="T96" fmla="*/ 29 w 218"/>
                <a:gd name="T97" fmla="*/ 179 h 421"/>
                <a:gd name="T98" fmla="*/ 27 w 218"/>
                <a:gd name="T99" fmla="*/ 157 h 421"/>
                <a:gd name="T100" fmla="*/ 42 w 218"/>
                <a:gd name="T101" fmla="*/ 149 h 421"/>
                <a:gd name="T102" fmla="*/ 39 w 218"/>
                <a:gd name="T103" fmla="*/ 146 h 421"/>
                <a:gd name="T104" fmla="*/ 39 w 218"/>
                <a:gd name="T105" fmla="*/ 131 h 421"/>
                <a:gd name="T106" fmla="*/ 39 w 218"/>
                <a:gd name="T107" fmla="*/ 123 h 421"/>
                <a:gd name="T108" fmla="*/ 21 w 218"/>
                <a:gd name="T109" fmla="*/ 115 h 421"/>
                <a:gd name="T110" fmla="*/ 11 w 218"/>
                <a:gd name="T111" fmla="*/ 113 h 421"/>
                <a:gd name="T112" fmla="*/ 14 w 218"/>
                <a:gd name="T113" fmla="*/ 97 h 421"/>
                <a:gd name="T114" fmla="*/ 19 w 218"/>
                <a:gd name="T115" fmla="*/ 97 h 421"/>
                <a:gd name="T116" fmla="*/ 13 w 218"/>
                <a:gd name="T117" fmla="*/ 87 h 421"/>
                <a:gd name="T118" fmla="*/ 13 w 218"/>
                <a:gd name="T119" fmla="*/ 45 h 421"/>
                <a:gd name="T120" fmla="*/ 24 w 218"/>
                <a:gd name="T121" fmla="*/ 22 h 421"/>
                <a:gd name="T122" fmla="*/ 37 w 218"/>
                <a:gd name="T123" fmla="*/ 1 h 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18" h="421">
                  <a:moveTo>
                    <a:pt x="117" y="406"/>
                  </a:moveTo>
                  <a:lnTo>
                    <a:pt x="117" y="405"/>
                  </a:lnTo>
                  <a:lnTo>
                    <a:pt x="117" y="406"/>
                  </a:lnTo>
                  <a:close/>
                  <a:moveTo>
                    <a:pt x="27" y="312"/>
                  </a:moveTo>
                  <a:lnTo>
                    <a:pt x="29" y="314"/>
                  </a:lnTo>
                  <a:lnTo>
                    <a:pt x="27" y="315"/>
                  </a:lnTo>
                  <a:lnTo>
                    <a:pt x="27" y="317"/>
                  </a:lnTo>
                  <a:lnTo>
                    <a:pt x="26" y="314"/>
                  </a:lnTo>
                  <a:lnTo>
                    <a:pt x="26" y="312"/>
                  </a:lnTo>
                  <a:lnTo>
                    <a:pt x="24" y="312"/>
                  </a:lnTo>
                  <a:lnTo>
                    <a:pt x="26" y="312"/>
                  </a:lnTo>
                  <a:lnTo>
                    <a:pt x="26" y="310"/>
                  </a:lnTo>
                  <a:lnTo>
                    <a:pt x="26" y="312"/>
                  </a:lnTo>
                  <a:lnTo>
                    <a:pt x="27" y="312"/>
                  </a:lnTo>
                  <a:close/>
                  <a:moveTo>
                    <a:pt x="39" y="130"/>
                  </a:moveTo>
                  <a:lnTo>
                    <a:pt x="37" y="130"/>
                  </a:lnTo>
                  <a:lnTo>
                    <a:pt x="39" y="130"/>
                  </a:lnTo>
                  <a:lnTo>
                    <a:pt x="37" y="130"/>
                  </a:lnTo>
                  <a:lnTo>
                    <a:pt x="39" y="130"/>
                  </a:lnTo>
                  <a:lnTo>
                    <a:pt x="39" y="128"/>
                  </a:lnTo>
                  <a:lnTo>
                    <a:pt x="40" y="130"/>
                  </a:lnTo>
                  <a:lnTo>
                    <a:pt x="39" y="130"/>
                  </a:lnTo>
                  <a:close/>
                  <a:moveTo>
                    <a:pt x="42" y="127"/>
                  </a:moveTo>
                  <a:lnTo>
                    <a:pt x="40" y="127"/>
                  </a:lnTo>
                  <a:lnTo>
                    <a:pt x="42" y="127"/>
                  </a:lnTo>
                  <a:close/>
                  <a:moveTo>
                    <a:pt x="16" y="120"/>
                  </a:moveTo>
                  <a:lnTo>
                    <a:pt x="14" y="120"/>
                  </a:lnTo>
                  <a:lnTo>
                    <a:pt x="16" y="120"/>
                  </a:lnTo>
                  <a:close/>
                  <a:moveTo>
                    <a:pt x="26" y="118"/>
                  </a:moveTo>
                  <a:lnTo>
                    <a:pt x="24" y="118"/>
                  </a:lnTo>
                  <a:lnTo>
                    <a:pt x="22" y="118"/>
                  </a:lnTo>
                  <a:lnTo>
                    <a:pt x="22" y="117"/>
                  </a:lnTo>
                  <a:lnTo>
                    <a:pt x="24" y="118"/>
                  </a:lnTo>
                  <a:lnTo>
                    <a:pt x="26" y="118"/>
                  </a:lnTo>
                  <a:close/>
                  <a:moveTo>
                    <a:pt x="42" y="3"/>
                  </a:moveTo>
                  <a:lnTo>
                    <a:pt x="42" y="5"/>
                  </a:lnTo>
                  <a:lnTo>
                    <a:pt x="42" y="6"/>
                  </a:lnTo>
                  <a:lnTo>
                    <a:pt x="44" y="8"/>
                  </a:lnTo>
                  <a:lnTo>
                    <a:pt x="45" y="9"/>
                  </a:lnTo>
                  <a:lnTo>
                    <a:pt x="44" y="11"/>
                  </a:lnTo>
                  <a:lnTo>
                    <a:pt x="42" y="13"/>
                  </a:lnTo>
                  <a:lnTo>
                    <a:pt x="44" y="13"/>
                  </a:lnTo>
                  <a:lnTo>
                    <a:pt x="44" y="14"/>
                  </a:lnTo>
                  <a:lnTo>
                    <a:pt x="42" y="16"/>
                  </a:lnTo>
                  <a:lnTo>
                    <a:pt x="44" y="18"/>
                  </a:lnTo>
                  <a:lnTo>
                    <a:pt x="44" y="19"/>
                  </a:lnTo>
                  <a:lnTo>
                    <a:pt x="45" y="19"/>
                  </a:lnTo>
                  <a:lnTo>
                    <a:pt x="45" y="22"/>
                  </a:lnTo>
                  <a:lnTo>
                    <a:pt x="47" y="22"/>
                  </a:lnTo>
                  <a:lnTo>
                    <a:pt x="48" y="24"/>
                  </a:lnTo>
                  <a:lnTo>
                    <a:pt x="50" y="26"/>
                  </a:lnTo>
                  <a:lnTo>
                    <a:pt x="52" y="26"/>
                  </a:lnTo>
                  <a:lnTo>
                    <a:pt x="53" y="26"/>
                  </a:lnTo>
                  <a:lnTo>
                    <a:pt x="53" y="24"/>
                  </a:lnTo>
                  <a:lnTo>
                    <a:pt x="55" y="24"/>
                  </a:lnTo>
                  <a:lnTo>
                    <a:pt x="57" y="24"/>
                  </a:lnTo>
                  <a:lnTo>
                    <a:pt x="57" y="22"/>
                  </a:lnTo>
                  <a:lnTo>
                    <a:pt x="58" y="21"/>
                  </a:lnTo>
                  <a:lnTo>
                    <a:pt x="60" y="22"/>
                  </a:lnTo>
                  <a:lnTo>
                    <a:pt x="60" y="21"/>
                  </a:lnTo>
                  <a:lnTo>
                    <a:pt x="60" y="19"/>
                  </a:lnTo>
                  <a:lnTo>
                    <a:pt x="61" y="19"/>
                  </a:lnTo>
                  <a:lnTo>
                    <a:pt x="63" y="18"/>
                  </a:lnTo>
                  <a:lnTo>
                    <a:pt x="65" y="18"/>
                  </a:lnTo>
                  <a:lnTo>
                    <a:pt x="66" y="18"/>
                  </a:lnTo>
                  <a:lnTo>
                    <a:pt x="68" y="18"/>
                  </a:lnTo>
                  <a:lnTo>
                    <a:pt x="71" y="18"/>
                  </a:lnTo>
                  <a:lnTo>
                    <a:pt x="71" y="14"/>
                  </a:lnTo>
                  <a:lnTo>
                    <a:pt x="71" y="13"/>
                  </a:lnTo>
                  <a:lnTo>
                    <a:pt x="73" y="13"/>
                  </a:lnTo>
                  <a:lnTo>
                    <a:pt x="74" y="11"/>
                  </a:lnTo>
                  <a:lnTo>
                    <a:pt x="76" y="11"/>
                  </a:lnTo>
                  <a:lnTo>
                    <a:pt x="76" y="9"/>
                  </a:lnTo>
                  <a:lnTo>
                    <a:pt x="78" y="11"/>
                  </a:lnTo>
                  <a:lnTo>
                    <a:pt x="79" y="11"/>
                  </a:lnTo>
                  <a:lnTo>
                    <a:pt x="79" y="13"/>
                  </a:lnTo>
                  <a:lnTo>
                    <a:pt x="81" y="13"/>
                  </a:lnTo>
                  <a:lnTo>
                    <a:pt x="81" y="14"/>
                  </a:lnTo>
                  <a:lnTo>
                    <a:pt x="83" y="14"/>
                  </a:lnTo>
                  <a:lnTo>
                    <a:pt x="86" y="14"/>
                  </a:lnTo>
                  <a:lnTo>
                    <a:pt x="86" y="16"/>
                  </a:lnTo>
                  <a:lnTo>
                    <a:pt x="87" y="16"/>
                  </a:lnTo>
                  <a:lnTo>
                    <a:pt x="87" y="18"/>
                  </a:lnTo>
                  <a:lnTo>
                    <a:pt x="89" y="18"/>
                  </a:lnTo>
                  <a:lnTo>
                    <a:pt x="89" y="19"/>
                  </a:lnTo>
                  <a:lnTo>
                    <a:pt x="89" y="21"/>
                  </a:lnTo>
                  <a:lnTo>
                    <a:pt x="91" y="21"/>
                  </a:lnTo>
                  <a:lnTo>
                    <a:pt x="91" y="24"/>
                  </a:lnTo>
                  <a:lnTo>
                    <a:pt x="92" y="24"/>
                  </a:lnTo>
                  <a:lnTo>
                    <a:pt x="94" y="24"/>
                  </a:lnTo>
                  <a:lnTo>
                    <a:pt x="94" y="26"/>
                  </a:lnTo>
                  <a:lnTo>
                    <a:pt x="96" y="27"/>
                  </a:lnTo>
                  <a:lnTo>
                    <a:pt x="94" y="29"/>
                  </a:lnTo>
                  <a:lnTo>
                    <a:pt x="94" y="31"/>
                  </a:lnTo>
                  <a:lnTo>
                    <a:pt x="96" y="31"/>
                  </a:lnTo>
                  <a:lnTo>
                    <a:pt x="96" y="32"/>
                  </a:lnTo>
                  <a:lnTo>
                    <a:pt x="97" y="32"/>
                  </a:lnTo>
                  <a:lnTo>
                    <a:pt x="97" y="34"/>
                  </a:lnTo>
                  <a:lnTo>
                    <a:pt x="99" y="35"/>
                  </a:lnTo>
                  <a:lnTo>
                    <a:pt x="99" y="37"/>
                  </a:lnTo>
                  <a:lnTo>
                    <a:pt x="97" y="37"/>
                  </a:lnTo>
                  <a:lnTo>
                    <a:pt x="99" y="39"/>
                  </a:lnTo>
                  <a:lnTo>
                    <a:pt x="99" y="40"/>
                  </a:lnTo>
                  <a:lnTo>
                    <a:pt x="100" y="42"/>
                  </a:lnTo>
                  <a:lnTo>
                    <a:pt x="102" y="42"/>
                  </a:lnTo>
                  <a:lnTo>
                    <a:pt x="104" y="40"/>
                  </a:lnTo>
                  <a:lnTo>
                    <a:pt x="105" y="40"/>
                  </a:lnTo>
                  <a:lnTo>
                    <a:pt x="107" y="40"/>
                  </a:lnTo>
                  <a:lnTo>
                    <a:pt x="107" y="39"/>
                  </a:lnTo>
                  <a:lnTo>
                    <a:pt x="109" y="39"/>
                  </a:lnTo>
                  <a:lnTo>
                    <a:pt x="110" y="39"/>
                  </a:lnTo>
                  <a:lnTo>
                    <a:pt x="110" y="40"/>
                  </a:lnTo>
                  <a:lnTo>
                    <a:pt x="110" y="42"/>
                  </a:lnTo>
                  <a:lnTo>
                    <a:pt x="114" y="42"/>
                  </a:lnTo>
                  <a:lnTo>
                    <a:pt x="115" y="42"/>
                  </a:lnTo>
                  <a:lnTo>
                    <a:pt x="117" y="42"/>
                  </a:lnTo>
                  <a:lnTo>
                    <a:pt x="117" y="44"/>
                  </a:lnTo>
                  <a:lnTo>
                    <a:pt x="120" y="45"/>
                  </a:lnTo>
                  <a:lnTo>
                    <a:pt x="122" y="45"/>
                  </a:lnTo>
                  <a:lnTo>
                    <a:pt x="123" y="45"/>
                  </a:lnTo>
                  <a:lnTo>
                    <a:pt x="125" y="47"/>
                  </a:lnTo>
                  <a:lnTo>
                    <a:pt x="127" y="48"/>
                  </a:lnTo>
                  <a:lnTo>
                    <a:pt x="128" y="48"/>
                  </a:lnTo>
                  <a:lnTo>
                    <a:pt x="128" y="50"/>
                  </a:lnTo>
                  <a:lnTo>
                    <a:pt x="131" y="53"/>
                  </a:lnTo>
                  <a:lnTo>
                    <a:pt x="133" y="57"/>
                  </a:lnTo>
                  <a:lnTo>
                    <a:pt x="133" y="58"/>
                  </a:lnTo>
                  <a:lnTo>
                    <a:pt x="135" y="60"/>
                  </a:lnTo>
                  <a:lnTo>
                    <a:pt x="133" y="60"/>
                  </a:lnTo>
                  <a:lnTo>
                    <a:pt x="135" y="61"/>
                  </a:lnTo>
                  <a:lnTo>
                    <a:pt x="136" y="61"/>
                  </a:lnTo>
                  <a:lnTo>
                    <a:pt x="135" y="61"/>
                  </a:lnTo>
                  <a:lnTo>
                    <a:pt x="136" y="63"/>
                  </a:lnTo>
                  <a:lnTo>
                    <a:pt x="136" y="65"/>
                  </a:lnTo>
                  <a:lnTo>
                    <a:pt x="136" y="66"/>
                  </a:lnTo>
                  <a:lnTo>
                    <a:pt x="138" y="68"/>
                  </a:lnTo>
                  <a:lnTo>
                    <a:pt x="136" y="70"/>
                  </a:lnTo>
                  <a:lnTo>
                    <a:pt x="136" y="71"/>
                  </a:lnTo>
                  <a:lnTo>
                    <a:pt x="138" y="73"/>
                  </a:lnTo>
                  <a:lnTo>
                    <a:pt x="140" y="74"/>
                  </a:lnTo>
                  <a:lnTo>
                    <a:pt x="141" y="74"/>
                  </a:lnTo>
                  <a:lnTo>
                    <a:pt x="141" y="78"/>
                  </a:lnTo>
                  <a:lnTo>
                    <a:pt x="143" y="78"/>
                  </a:lnTo>
                  <a:lnTo>
                    <a:pt x="143" y="79"/>
                  </a:lnTo>
                  <a:lnTo>
                    <a:pt x="144" y="83"/>
                  </a:lnTo>
                  <a:lnTo>
                    <a:pt x="144" y="84"/>
                  </a:lnTo>
                  <a:lnTo>
                    <a:pt x="146" y="84"/>
                  </a:lnTo>
                  <a:lnTo>
                    <a:pt x="146" y="86"/>
                  </a:lnTo>
                  <a:lnTo>
                    <a:pt x="146" y="87"/>
                  </a:lnTo>
                  <a:lnTo>
                    <a:pt x="146" y="89"/>
                  </a:lnTo>
                  <a:lnTo>
                    <a:pt x="144" y="91"/>
                  </a:lnTo>
                  <a:lnTo>
                    <a:pt x="143" y="92"/>
                  </a:lnTo>
                  <a:lnTo>
                    <a:pt x="141" y="94"/>
                  </a:lnTo>
                  <a:lnTo>
                    <a:pt x="143" y="97"/>
                  </a:lnTo>
                  <a:lnTo>
                    <a:pt x="144" y="97"/>
                  </a:lnTo>
                  <a:lnTo>
                    <a:pt x="144" y="99"/>
                  </a:lnTo>
                  <a:lnTo>
                    <a:pt x="143" y="99"/>
                  </a:lnTo>
                  <a:lnTo>
                    <a:pt x="141" y="100"/>
                  </a:lnTo>
                  <a:lnTo>
                    <a:pt x="141" y="102"/>
                  </a:lnTo>
                  <a:lnTo>
                    <a:pt x="141" y="104"/>
                  </a:lnTo>
                  <a:lnTo>
                    <a:pt x="141" y="105"/>
                  </a:lnTo>
                  <a:lnTo>
                    <a:pt x="141" y="107"/>
                  </a:lnTo>
                  <a:lnTo>
                    <a:pt x="143" y="110"/>
                  </a:lnTo>
                  <a:lnTo>
                    <a:pt x="143" y="112"/>
                  </a:lnTo>
                  <a:lnTo>
                    <a:pt x="141" y="112"/>
                  </a:lnTo>
                  <a:lnTo>
                    <a:pt x="141" y="113"/>
                  </a:lnTo>
                  <a:lnTo>
                    <a:pt x="140" y="113"/>
                  </a:lnTo>
                  <a:lnTo>
                    <a:pt x="140" y="115"/>
                  </a:lnTo>
                  <a:lnTo>
                    <a:pt x="140" y="117"/>
                  </a:lnTo>
                  <a:lnTo>
                    <a:pt x="140" y="118"/>
                  </a:lnTo>
                  <a:lnTo>
                    <a:pt x="138" y="122"/>
                  </a:lnTo>
                  <a:lnTo>
                    <a:pt x="140" y="122"/>
                  </a:lnTo>
                  <a:lnTo>
                    <a:pt x="140" y="125"/>
                  </a:lnTo>
                  <a:lnTo>
                    <a:pt x="141" y="125"/>
                  </a:lnTo>
                  <a:lnTo>
                    <a:pt x="141" y="127"/>
                  </a:lnTo>
                  <a:lnTo>
                    <a:pt x="141" y="130"/>
                  </a:lnTo>
                  <a:lnTo>
                    <a:pt x="140" y="130"/>
                  </a:lnTo>
                  <a:lnTo>
                    <a:pt x="141" y="131"/>
                  </a:lnTo>
                  <a:lnTo>
                    <a:pt x="141" y="133"/>
                  </a:lnTo>
                  <a:lnTo>
                    <a:pt x="143" y="135"/>
                  </a:lnTo>
                  <a:lnTo>
                    <a:pt x="144" y="138"/>
                  </a:lnTo>
                  <a:lnTo>
                    <a:pt x="146" y="141"/>
                  </a:lnTo>
                  <a:lnTo>
                    <a:pt x="143" y="143"/>
                  </a:lnTo>
                  <a:lnTo>
                    <a:pt x="141" y="144"/>
                  </a:lnTo>
                  <a:lnTo>
                    <a:pt x="140" y="146"/>
                  </a:lnTo>
                  <a:lnTo>
                    <a:pt x="138" y="146"/>
                  </a:lnTo>
                  <a:lnTo>
                    <a:pt x="136" y="146"/>
                  </a:lnTo>
                  <a:lnTo>
                    <a:pt x="136" y="148"/>
                  </a:lnTo>
                  <a:lnTo>
                    <a:pt x="138" y="148"/>
                  </a:lnTo>
                  <a:lnTo>
                    <a:pt x="138" y="149"/>
                  </a:lnTo>
                  <a:lnTo>
                    <a:pt x="136" y="149"/>
                  </a:lnTo>
                  <a:lnTo>
                    <a:pt x="136" y="151"/>
                  </a:lnTo>
                  <a:lnTo>
                    <a:pt x="136" y="153"/>
                  </a:lnTo>
                  <a:lnTo>
                    <a:pt x="138" y="153"/>
                  </a:lnTo>
                  <a:lnTo>
                    <a:pt x="140" y="154"/>
                  </a:lnTo>
                  <a:lnTo>
                    <a:pt x="141" y="154"/>
                  </a:lnTo>
                  <a:lnTo>
                    <a:pt x="143" y="157"/>
                  </a:lnTo>
                  <a:lnTo>
                    <a:pt x="143" y="159"/>
                  </a:lnTo>
                  <a:lnTo>
                    <a:pt x="143" y="161"/>
                  </a:lnTo>
                  <a:lnTo>
                    <a:pt x="144" y="162"/>
                  </a:lnTo>
                  <a:lnTo>
                    <a:pt x="146" y="162"/>
                  </a:lnTo>
                  <a:lnTo>
                    <a:pt x="148" y="164"/>
                  </a:lnTo>
                  <a:lnTo>
                    <a:pt x="149" y="164"/>
                  </a:lnTo>
                  <a:lnTo>
                    <a:pt x="149" y="166"/>
                  </a:lnTo>
                  <a:lnTo>
                    <a:pt x="149" y="167"/>
                  </a:lnTo>
                  <a:lnTo>
                    <a:pt x="149" y="169"/>
                  </a:lnTo>
                  <a:lnTo>
                    <a:pt x="149" y="170"/>
                  </a:lnTo>
                  <a:lnTo>
                    <a:pt x="148" y="172"/>
                  </a:lnTo>
                  <a:lnTo>
                    <a:pt x="148" y="174"/>
                  </a:lnTo>
                  <a:lnTo>
                    <a:pt x="146" y="174"/>
                  </a:lnTo>
                  <a:lnTo>
                    <a:pt x="148" y="175"/>
                  </a:lnTo>
                  <a:lnTo>
                    <a:pt x="146" y="177"/>
                  </a:lnTo>
                  <a:lnTo>
                    <a:pt x="146" y="175"/>
                  </a:lnTo>
                  <a:lnTo>
                    <a:pt x="144" y="175"/>
                  </a:lnTo>
                  <a:lnTo>
                    <a:pt x="143" y="177"/>
                  </a:lnTo>
                  <a:lnTo>
                    <a:pt x="146" y="180"/>
                  </a:lnTo>
                  <a:lnTo>
                    <a:pt x="146" y="183"/>
                  </a:lnTo>
                  <a:lnTo>
                    <a:pt x="146" y="187"/>
                  </a:lnTo>
                  <a:lnTo>
                    <a:pt x="148" y="188"/>
                  </a:lnTo>
                  <a:lnTo>
                    <a:pt x="148" y="190"/>
                  </a:lnTo>
                  <a:lnTo>
                    <a:pt x="148" y="192"/>
                  </a:lnTo>
                  <a:lnTo>
                    <a:pt x="149" y="192"/>
                  </a:lnTo>
                  <a:lnTo>
                    <a:pt x="149" y="193"/>
                  </a:lnTo>
                  <a:lnTo>
                    <a:pt x="151" y="195"/>
                  </a:lnTo>
                  <a:lnTo>
                    <a:pt x="151" y="196"/>
                  </a:lnTo>
                  <a:lnTo>
                    <a:pt x="153" y="196"/>
                  </a:lnTo>
                  <a:lnTo>
                    <a:pt x="154" y="198"/>
                  </a:lnTo>
                  <a:lnTo>
                    <a:pt x="156" y="201"/>
                  </a:lnTo>
                  <a:lnTo>
                    <a:pt x="157" y="203"/>
                  </a:lnTo>
                  <a:lnTo>
                    <a:pt x="157" y="205"/>
                  </a:lnTo>
                  <a:lnTo>
                    <a:pt x="157" y="206"/>
                  </a:lnTo>
                  <a:lnTo>
                    <a:pt x="157" y="208"/>
                  </a:lnTo>
                  <a:lnTo>
                    <a:pt x="159" y="209"/>
                  </a:lnTo>
                  <a:lnTo>
                    <a:pt x="167" y="209"/>
                  </a:lnTo>
                  <a:lnTo>
                    <a:pt x="169" y="213"/>
                  </a:lnTo>
                  <a:lnTo>
                    <a:pt x="174" y="226"/>
                  </a:lnTo>
                  <a:lnTo>
                    <a:pt x="177" y="234"/>
                  </a:lnTo>
                  <a:lnTo>
                    <a:pt x="180" y="234"/>
                  </a:lnTo>
                  <a:lnTo>
                    <a:pt x="183" y="234"/>
                  </a:lnTo>
                  <a:lnTo>
                    <a:pt x="185" y="234"/>
                  </a:lnTo>
                  <a:lnTo>
                    <a:pt x="187" y="234"/>
                  </a:lnTo>
                  <a:lnTo>
                    <a:pt x="187" y="232"/>
                  </a:lnTo>
                  <a:lnTo>
                    <a:pt x="187" y="231"/>
                  </a:lnTo>
                  <a:lnTo>
                    <a:pt x="188" y="231"/>
                  </a:lnTo>
                  <a:lnTo>
                    <a:pt x="188" y="229"/>
                  </a:lnTo>
                  <a:lnTo>
                    <a:pt x="188" y="227"/>
                  </a:lnTo>
                  <a:lnTo>
                    <a:pt x="190" y="227"/>
                  </a:lnTo>
                  <a:lnTo>
                    <a:pt x="195" y="229"/>
                  </a:lnTo>
                  <a:lnTo>
                    <a:pt x="196" y="229"/>
                  </a:lnTo>
                  <a:lnTo>
                    <a:pt x="198" y="229"/>
                  </a:lnTo>
                  <a:lnTo>
                    <a:pt x="200" y="229"/>
                  </a:lnTo>
                  <a:lnTo>
                    <a:pt x="203" y="231"/>
                  </a:lnTo>
                  <a:lnTo>
                    <a:pt x="205" y="232"/>
                  </a:lnTo>
                  <a:lnTo>
                    <a:pt x="205" y="234"/>
                  </a:lnTo>
                  <a:lnTo>
                    <a:pt x="205" y="237"/>
                  </a:lnTo>
                  <a:lnTo>
                    <a:pt x="206" y="247"/>
                  </a:lnTo>
                  <a:lnTo>
                    <a:pt x="205" y="248"/>
                  </a:lnTo>
                  <a:lnTo>
                    <a:pt x="205" y="250"/>
                  </a:lnTo>
                  <a:lnTo>
                    <a:pt x="203" y="250"/>
                  </a:lnTo>
                  <a:lnTo>
                    <a:pt x="208" y="252"/>
                  </a:lnTo>
                  <a:lnTo>
                    <a:pt x="208" y="253"/>
                  </a:lnTo>
                  <a:lnTo>
                    <a:pt x="209" y="255"/>
                  </a:lnTo>
                  <a:lnTo>
                    <a:pt x="213" y="257"/>
                  </a:lnTo>
                  <a:lnTo>
                    <a:pt x="216" y="261"/>
                  </a:lnTo>
                  <a:lnTo>
                    <a:pt x="216" y="263"/>
                  </a:lnTo>
                  <a:lnTo>
                    <a:pt x="218" y="266"/>
                  </a:lnTo>
                  <a:lnTo>
                    <a:pt x="218" y="270"/>
                  </a:lnTo>
                  <a:lnTo>
                    <a:pt x="216" y="271"/>
                  </a:lnTo>
                  <a:lnTo>
                    <a:pt x="218" y="273"/>
                  </a:lnTo>
                  <a:lnTo>
                    <a:pt x="216" y="275"/>
                  </a:lnTo>
                  <a:lnTo>
                    <a:pt x="218" y="276"/>
                  </a:lnTo>
                  <a:lnTo>
                    <a:pt x="218" y="278"/>
                  </a:lnTo>
                  <a:lnTo>
                    <a:pt x="218" y="279"/>
                  </a:lnTo>
                  <a:lnTo>
                    <a:pt x="216" y="279"/>
                  </a:lnTo>
                  <a:lnTo>
                    <a:pt x="214" y="279"/>
                  </a:lnTo>
                  <a:lnTo>
                    <a:pt x="213" y="283"/>
                  </a:lnTo>
                  <a:lnTo>
                    <a:pt x="211" y="284"/>
                  </a:lnTo>
                  <a:lnTo>
                    <a:pt x="213" y="288"/>
                  </a:lnTo>
                  <a:lnTo>
                    <a:pt x="213" y="289"/>
                  </a:lnTo>
                  <a:lnTo>
                    <a:pt x="211" y="291"/>
                  </a:lnTo>
                  <a:lnTo>
                    <a:pt x="209" y="292"/>
                  </a:lnTo>
                  <a:lnTo>
                    <a:pt x="208" y="294"/>
                  </a:lnTo>
                  <a:lnTo>
                    <a:pt x="206" y="294"/>
                  </a:lnTo>
                  <a:lnTo>
                    <a:pt x="205" y="292"/>
                  </a:lnTo>
                  <a:lnTo>
                    <a:pt x="201" y="292"/>
                  </a:lnTo>
                  <a:lnTo>
                    <a:pt x="200" y="292"/>
                  </a:lnTo>
                  <a:lnTo>
                    <a:pt x="198" y="292"/>
                  </a:lnTo>
                  <a:lnTo>
                    <a:pt x="196" y="292"/>
                  </a:lnTo>
                  <a:lnTo>
                    <a:pt x="196" y="299"/>
                  </a:lnTo>
                  <a:lnTo>
                    <a:pt x="195" y="299"/>
                  </a:lnTo>
                  <a:lnTo>
                    <a:pt x="193" y="301"/>
                  </a:lnTo>
                  <a:lnTo>
                    <a:pt x="193" y="302"/>
                  </a:lnTo>
                  <a:lnTo>
                    <a:pt x="193" y="304"/>
                  </a:lnTo>
                  <a:lnTo>
                    <a:pt x="193" y="305"/>
                  </a:lnTo>
                  <a:lnTo>
                    <a:pt x="193" y="307"/>
                  </a:lnTo>
                  <a:lnTo>
                    <a:pt x="193" y="310"/>
                  </a:lnTo>
                  <a:lnTo>
                    <a:pt x="192" y="312"/>
                  </a:lnTo>
                  <a:lnTo>
                    <a:pt x="192" y="314"/>
                  </a:lnTo>
                  <a:lnTo>
                    <a:pt x="190" y="314"/>
                  </a:lnTo>
                  <a:lnTo>
                    <a:pt x="190" y="315"/>
                  </a:lnTo>
                  <a:lnTo>
                    <a:pt x="192" y="317"/>
                  </a:lnTo>
                  <a:lnTo>
                    <a:pt x="190" y="318"/>
                  </a:lnTo>
                  <a:lnTo>
                    <a:pt x="188" y="318"/>
                  </a:lnTo>
                  <a:lnTo>
                    <a:pt x="188" y="320"/>
                  </a:lnTo>
                  <a:lnTo>
                    <a:pt x="187" y="323"/>
                  </a:lnTo>
                  <a:lnTo>
                    <a:pt x="187" y="325"/>
                  </a:lnTo>
                  <a:lnTo>
                    <a:pt x="188" y="327"/>
                  </a:lnTo>
                  <a:lnTo>
                    <a:pt x="188" y="328"/>
                  </a:lnTo>
                  <a:lnTo>
                    <a:pt x="188" y="330"/>
                  </a:lnTo>
                  <a:lnTo>
                    <a:pt x="188" y="331"/>
                  </a:lnTo>
                  <a:lnTo>
                    <a:pt x="188" y="333"/>
                  </a:lnTo>
                  <a:lnTo>
                    <a:pt x="187" y="335"/>
                  </a:lnTo>
                  <a:lnTo>
                    <a:pt x="185" y="336"/>
                  </a:lnTo>
                  <a:lnTo>
                    <a:pt x="185" y="340"/>
                  </a:lnTo>
                  <a:lnTo>
                    <a:pt x="187" y="341"/>
                  </a:lnTo>
                  <a:lnTo>
                    <a:pt x="185" y="346"/>
                  </a:lnTo>
                  <a:lnTo>
                    <a:pt x="187" y="349"/>
                  </a:lnTo>
                  <a:lnTo>
                    <a:pt x="185" y="351"/>
                  </a:lnTo>
                  <a:lnTo>
                    <a:pt x="182" y="351"/>
                  </a:lnTo>
                  <a:lnTo>
                    <a:pt x="180" y="351"/>
                  </a:lnTo>
                  <a:lnTo>
                    <a:pt x="180" y="353"/>
                  </a:lnTo>
                  <a:lnTo>
                    <a:pt x="179" y="353"/>
                  </a:lnTo>
                  <a:lnTo>
                    <a:pt x="179" y="354"/>
                  </a:lnTo>
                  <a:lnTo>
                    <a:pt x="177" y="354"/>
                  </a:lnTo>
                  <a:lnTo>
                    <a:pt x="175" y="356"/>
                  </a:lnTo>
                  <a:lnTo>
                    <a:pt x="172" y="356"/>
                  </a:lnTo>
                  <a:lnTo>
                    <a:pt x="169" y="354"/>
                  </a:lnTo>
                  <a:lnTo>
                    <a:pt x="167" y="356"/>
                  </a:lnTo>
                  <a:lnTo>
                    <a:pt x="166" y="357"/>
                  </a:lnTo>
                  <a:lnTo>
                    <a:pt x="164" y="357"/>
                  </a:lnTo>
                  <a:lnTo>
                    <a:pt x="162" y="356"/>
                  </a:lnTo>
                  <a:lnTo>
                    <a:pt x="161" y="356"/>
                  </a:lnTo>
                  <a:lnTo>
                    <a:pt x="159" y="359"/>
                  </a:lnTo>
                  <a:lnTo>
                    <a:pt x="159" y="361"/>
                  </a:lnTo>
                  <a:lnTo>
                    <a:pt x="159" y="362"/>
                  </a:lnTo>
                  <a:lnTo>
                    <a:pt x="157" y="366"/>
                  </a:lnTo>
                  <a:lnTo>
                    <a:pt x="157" y="367"/>
                  </a:lnTo>
                  <a:lnTo>
                    <a:pt x="156" y="367"/>
                  </a:lnTo>
                  <a:lnTo>
                    <a:pt x="154" y="369"/>
                  </a:lnTo>
                  <a:lnTo>
                    <a:pt x="151" y="369"/>
                  </a:lnTo>
                  <a:lnTo>
                    <a:pt x="149" y="369"/>
                  </a:lnTo>
                  <a:lnTo>
                    <a:pt x="148" y="369"/>
                  </a:lnTo>
                  <a:lnTo>
                    <a:pt x="149" y="372"/>
                  </a:lnTo>
                  <a:lnTo>
                    <a:pt x="151" y="375"/>
                  </a:lnTo>
                  <a:lnTo>
                    <a:pt x="153" y="375"/>
                  </a:lnTo>
                  <a:lnTo>
                    <a:pt x="153" y="379"/>
                  </a:lnTo>
                  <a:lnTo>
                    <a:pt x="154" y="380"/>
                  </a:lnTo>
                  <a:lnTo>
                    <a:pt x="156" y="383"/>
                  </a:lnTo>
                  <a:lnTo>
                    <a:pt x="157" y="383"/>
                  </a:lnTo>
                  <a:lnTo>
                    <a:pt x="159" y="385"/>
                  </a:lnTo>
                  <a:lnTo>
                    <a:pt x="159" y="387"/>
                  </a:lnTo>
                  <a:lnTo>
                    <a:pt x="161" y="388"/>
                  </a:lnTo>
                  <a:lnTo>
                    <a:pt x="162" y="390"/>
                  </a:lnTo>
                  <a:lnTo>
                    <a:pt x="162" y="393"/>
                  </a:lnTo>
                  <a:lnTo>
                    <a:pt x="161" y="395"/>
                  </a:lnTo>
                  <a:lnTo>
                    <a:pt x="161" y="396"/>
                  </a:lnTo>
                  <a:lnTo>
                    <a:pt x="161" y="398"/>
                  </a:lnTo>
                  <a:lnTo>
                    <a:pt x="159" y="398"/>
                  </a:lnTo>
                  <a:lnTo>
                    <a:pt x="157" y="398"/>
                  </a:lnTo>
                  <a:lnTo>
                    <a:pt x="156" y="396"/>
                  </a:lnTo>
                  <a:lnTo>
                    <a:pt x="154" y="396"/>
                  </a:lnTo>
                  <a:lnTo>
                    <a:pt x="153" y="395"/>
                  </a:lnTo>
                  <a:lnTo>
                    <a:pt x="151" y="395"/>
                  </a:lnTo>
                  <a:lnTo>
                    <a:pt x="149" y="396"/>
                  </a:lnTo>
                  <a:lnTo>
                    <a:pt x="151" y="400"/>
                  </a:lnTo>
                  <a:lnTo>
                    <a:pt x="149" y="401"/>
                  </a:lnTo>
                  <a:lnTo>
                    <a:pt x="149" y="403"/>
                  </a:lnTo>
                  <a:lnTo>
                    <a:pt x="151" y="403"/>
                  </a:lnTo>
                  <a:lnTo>
                    <a:pt x="151" y="405"/>
                  </a:lnTo>
                  <a:lnTo>
                    <a:pt x="153" y="406"/>
                  </a:lnTo>
                  <a:lnTo>
                    <a:pt x="154" y="406"/>
                  </a:lnTo>
                  <a:lnTo>
                    <a:pt x="151" y="410"/>
                  </a:lnTo>
                  <a:lnTo>
                    <a:pt x="149" y="411"/>
                  </a:lnTo>
                  <a:lnTo>
                    <a:pt x="148" y="411"/>
                  </a:lnTo>
                  <a:lnTo>
                    <a:pt x="148" y="413"/>
                  </a:lnTo>
                  <a:lnTo>
                    <a:pt x="149" y="416"/>
                  </a:lnTo>
                  <a:lnTo>
                    <a:pt x="148" y="416"/>
                  </a:lnTo>
                  <a:lnTo>
                    <a:pt x="146" y="414"/>
                  </a:lnTo>
                  <a:lnTo>
                    <a:pt x="144" y="414"/>
                  </a:lnTo>
                  <a:lnTo>
                    <a:pt x="144" y="416"/>
                  </a:lnTo>
                  <a:lnTo>
                    <a:pt x="144" y="418"/>
                  </a:lnTo>
                  <a:lnTo>
                    <a:pt x="144" y="419"/>
                  </a:lnTo>
                  <a:lnTo>
                    <a:pt x="143" y="421"/>
                  </a:lnTo>
                  <a:lnTo>
                    <a:pt x="141" y="421"/>
                  </a:lnTo>
                  <a:lnTo>
                    <a:pt x="140" y="421"/>
                  </a:lnTo>
                  <a:lnTo>
                    <a:pt x="136" y="419"/>
                  </a:lnTo>
                  <a:lnTo>
                    <a:pt x="135" y="419"/>
                  </a:lnTo>
                  <a:lnTo>
                    <a:pt x="133" y="419"/>
                  </a:lnTo>
                  <a:lnTo>
                    <a:pt x="130" y="418"/>
                  </a:lnTo>
                  <a:lnTo>
                    <a:pt x="128" y="416"/>
                  </a:lnTo>
                  <a:lnTo>
                    <a:pt x="128" y="418"/>
                  </a:lnTo>
                  <a:lnTo>
                    <a:pt x="125" y="416"/>
                  </a:lnTo>
                  <a:lnTo>
                    <a:pt x="123" y="416"/>
                  </a:lnTo>
                  <a:lnTo>
                    <a:pt x="120" y="416"/>
                  </a:lnTo>
                  <a:lnTo>
                    <a:pt x="120" y="418"/>
                  </a:lnTo>
                  <a:lnTo>
                    <a:pt x="118" y="418"/>
                  </a:lnTo>
                  <a:lnTo>
                    <a:pt x="117" y="418"/>
                  </a:lnTo>
                  <a:lnTo>
                    <a:pt x="117" y="416"/>
                  </a:lnTo>
                  <a:lnTo>
                    <a:pt x="117" y="413"/>
                  </a:lnTo>
                  <a:lnTo>
                    <a:pt x="118" y="413"/>
                  </a:lnTo>
                  <a:lnTo>
                    <a:pt x="118" y="410"/>
                  </a:lnTo>
                  <a:lnTo>
                    <a:pt x="117" y="410"/>
                  </a:lnTo>
                  <a:lnTo>
                    <a:pt x="117" y="411"/>
                  </a:lnTo>
                  <a:lnTo>
                    <a:pt x="117" y="410"/>
                  </a:lnTo>
                  <a:lnTo>
                    <a:pt x="118" y="410"/>
                  </a:lnTo>
                  <a:lnTo>
                    <a:pt x="118" y="408"/>
                  </a:lnTo>
                  <a:lnTo>
                    <a:pt x="117" y="408"/>
                  </a:lnTo>
                  <a:lnTo>
                    <a:pt x="117" y="410"/>
                  </a:lnTo>
                  <a:lnTo>
                    <a:pt x="115" y="410"/>
                  </a:lnTo>
                  <a:lnTo>
                    <a:pt x="115" y="408"/>
                  </a:lnTo>
                  <a:lnTo>
                    <a:pt x="115" y="406"/>
                  </a:lnTo>
                  <a:lnTo>
                    <a:pt x="117" y="406"/>
                  </a:lnTo>
                  <a:lnTo>
                    <a:pt x="117" y="405"/>
                  </a:lnTo>
                  <a:lnTo>
                    <a:pt x="118" y="406"/>
                  </a:lnTo>
                  <a:lnTo>
                    <a:pt x="117" y="405"/>
                  </a:lnTo>
                  <a:lnTo>
                    <a:pt x="118" y="405"/>
                  </a:lnTo>
                  <a:lnTo>
                    <a:pt x="117" y="403"/>
                  </a:lnTo>
                  <a:lnTo>
                    <a:pt x="117" y="401"/>
                  </a:lnTo>
                  <a:lnTo>
                    <a:pt x="118" y="401"/>
                  </a:lnTo>
                  <a:lnTo>
                    <a:pt x="117" y="400"/>
                  </a:lnTo>
                  <a:lnTo>
                    <a:pt x="118" y="400"/>
                  </a:lnTo>
                  <a:lnTo>
                    <a:pt x="118" y="398"/>
                  </a:lnTo>
                  <a:lnTo>
                    <a:pt x="117" y="396"/>
                  </a:lnTo>
                  <a:lnTo>
                    <a:pt x="118" y="395"/>
                  </a:lnTo>
                  <a:lnTo>
                    <a:pt x="118" y="393"/>
                  </a:lnTo>
                  <a:lnTo>
                    <a:pt x="117" y="392"/>
                  </a:lnTo>
                  <a:lnTo>
                    <a:pt x="115" y="392"/>
                  </a:lnTo>
                  <a:lnTo>
                    <a:pt x="114" y="392"/>
                  </a:lnTo>
                  <a:lnTo>
                    <a:pt x="112" y="392"/>
                  </a:lnTo>
                  <a:lnTo>
                    <a:pt x="112" y="390"/>
                  </a:lnTo>
                  <a:lnTo>
                    <a:pt x="110" y="390"/>
                  </a:lnTo>
                  <a:lnTo>
                    <a:pt x="110" y="388"/>
                  </a:lnTo>
                  <a:lnTo>
                    <a:pt x="109" y="388"/>
                  </a:lnTo>
                  <a:lnTo>
                    <a:pt x="109" y="390"/>
                  </a:lnTo>
                  <a:lnTo>
                    <a:pt x="109" y="388"/>
                  </a:lnTo>
                  <a:lnTo>
                    <a:pt x="107" y="388"/>
                  </a:lnTo>
                  <a:lnTo>
                    <a:pt x="105" y="388"/>
                  </a:lnTo>
                  <a:lnTo>
                    <a:pt x="105" y="387"/>
                  </a:lnTo>
                  <a:lnTo>
                    <a:pt x="107" y="385"/>
                  </a:lnTo>
                  <a:lnTo>
                    <a:pt x="109" y="385"/>
                  </a:lnTo>
                  <a:lnTo>
                    <a:pt x="107" y="385"/>
                  </a:lnTo>
                  <a:lnTo>
                    <a:pt x="109" y="383"/>
                  </a:lnTo>
                  <a:lnTo>
                    <a:pt x="107" y="383"/>
                  </a:lnTo>
                  <a:lnTo>
                    <a:pt x="107" y="382"/>
                  </a:lnTo>
                  <a:lnTo>
                    <a:pt x="105" y="380"/>
                  </a:lnTo>
                  <a:lnTo>
                    <a:pt x="105" y="379"/>
                  </a:lnTo>
                  <a:lnTo>
                    <a:pt x="104" y="377"/>
                  </a:lnTo>
                  <a:lnTo>
                    <a:pt x="102" y="375"/>
                  </a:lnTo>
                  <a:lnTo>
                    <a:pt x="102" y="374"/>
                  </a:lnTo>
                  <a:lnTo>
                    <a:pt x="100" y="374"/>
                  </a:lnTo>
                  <a:lnTo>
                    <a:pt x="100" y="372"/>
                  </a:lnTo>
                  <a:lnTo>
                    <a:pt x="99" y="372"/>
                  </a:lnTo>
                  <a:lnTo>
                    <a:pt x="97" y="370"/>
                  </a:lnTo>
                  <a:lnTo>
                    <a:pt x="97" y="369"/>
                  </a:lnTo>
                  <a:lnTo>
                    <a:pt x="96" y="369"/>
                  </a:lnTo>
                  <a:lnTo>
                    <a:pt x="94" y="369"/>
                  </a:lnTo>
                  <a:lnTo>
                    <a:pt x="92" y="369"/>
                  </a:lnTo>
                  <a:lnTo>
                    <a:pt x="91" y="369"/>
                  </a:lnTo>
                  <a:lnTo>
                    <a:pt x="91" y="370"/>
                  </a:lnTo>
                  <a:lnTo>
                    <a:pt x="91" y="369"/>
                  </a:lnTo>
                  <a:lnTo>
                    <a:pt x="91" y="367"/>
                  </a:lnTo>
                  <a:lnTo>
                    <a:pt x="89" y="367"/>
                  </a:lnTo>
                  <a:lnTo>
                    <a:pt x="89" y="366"/>
                  </a:lnTo>
                  <a:lnTo>
                    <a:pt x="87" y="367"/>
                  </a:lnTo>
                  <a:lnTo>
                    <a:pt x="89" y="369"/>
                  </a:lnTo>
                  <a:lnTo>
                    <a:pt x="87" y="369"/>
                  </a:lnTo>
                  <a:lnTo>
                    <a:pt x="87" y="367"/>
                  </a:lnTo>
                  <a:lnTo>
                    <a:pt x="87" y="366"/>
                  </a:lnTo>
                  <a:lnTo>
                    <a:pt x="86" y="366"/>
                  </a:lnTo>
                  <a:lnTo>
                    <a:pt x="84" y="366"/>
                  </a:lnTo>
                  <a:lnTo>
                    <a:pt x="84" y="364"/>
                  </a:lnTo>
                  <a:lnTo>
                    <a:pt x="86" y="364"/>
                  </a:lnTo>
                  <a:lnTo>
                    <a:pt x="84" y="362"/>
                  </a:lnTo>
                  <a:lnTo>
                    <a:pt x="83" y="362"/>
                  </a:lnTo>
                  <a:lnTo>
                    <a:pt x="81" y="362"/>
                  </a:lnTo>
                  <a:lnTo>
                    <a:pt x="79" y="362"/>
                  </a:lnTo>
                  <a:lnTo>
                    <a:pt x="79" y="361"/>
                  </a:lnTo>
                  <a:lnTo>
                    <a:pt x="78" y="361"/>
                  </a:lnTo>
                  <a:lnTo>
                    <a:pt x="76" y="361"/>
                  </a:lnTo>
                  <a:lnTo>
                    <a:pt x="74" y="361"/>
                  </a:lnTo>
                  <a:lnTo>
                    <a:pt x="73" y="361"/>
                  </a:lnTo>
                  <a:lnTo>
                    <a:pt x="73" y="359"/>
                  </a:lnTo>
                  <a:lnTo>
                    <a:pt x="71" y="359"/>
                  </a:lnTo>
                  <a:lnTo>
                    <a:pt x="71" y="357"/>
                  </a:lnTo>
                  <a:lnTo>
                    <a:pt x="70" y="357"/>
                  </a:lnTo>
                  <a:lnTo>
                    <a:pt x="68" y="356"/>
                  </a:lnTo>
                  <a:lnTo>
                    <a:pt x="66" y="356"/>
                  </a:lnTo>
                  <a:lnTo>
                    <a:pt x="65" y="356"/>
                  </a:lnTo>
                  <a:lnTo>
                    <a:pt x="61" y="354"/>
                  </a:lnTo>
                  <a:lnTo>
                    <a:pt x="60" y="354"/>
                  </a:lnTo>
                  <a:lnTo>
                    <a:pt x="58" y="353"/>
                  </a:lnTo>
                  <a:lnTo>
                    <a:pt x="57" y="353"/>
                  </a:lnTo>
                  <a:lnTo>
                    <a:pt x="55" y="353"/>
                  </a:lnTo>
                  <a:lnTo>
                    <a:pt x="55" y="351"/>
                  </a:lnTo>
                  <a:lnTo>
                    <a:pt x="53" y="351"/>
                  </a:lnTo>
                  <a:lnTo>
                    <a:pt x="52" y="351"/>
                  </a:lnTo>
                  <a:lnTo>
                    <a:pt x="52" y="349"/>
                  </a:lnTo>
                  <a:lnTo>
                    <a:pt x="50" y="349"/>
                  </a:lnTo>
                  <a:lnTo>
                    <a:pt x="48" y="348"/>
                  </a:lnTo>
                  <a:lnTo>
                    <a:pt x="48" y="346"/>
                  </a:lnTo>
                  <a:lnTo>
                    <a:pt x="47" y="346"/>
                  </a:lnTo>
                  <a:lnTo>
                    <a:pt x="47" y="344"/>
                  </a:lnTo>
                  <a:lnTo>
                    <a:pt x="45" y="344"/>
                  </a:lnTo>
                  <a:lnTo>
                    <a:pt x="44" y="343"/>
                  </a:lnTo>
                  <a:lnTo>
                    <a:pt x="44" y="341"/>
                  </a:lnTo>
                  <a:lnTo>
                    <a:pt x="42" y="341"/>
                  </a:lnTo>
                  <a:lnTo>
                    <a:pt x="40" y="340"/>
                  </a:lnTo>
                  <a:lnTo>
                    <a:pt x="40" y="338"/>
                  </a:lnTo>
                  <a:lnTo>
                    <a:pt x="40" y="336"/>
                  </a:lnTo>
                  <a:lnTo>
                    <a:pt x="39" y="335"/>
                  </a:lnTo>
                  <a:lnTo>
                    <a:pt x="39" y="333"/>
                  </a:lnTo>
                  <a:lnTo>
                    <a:pt x="37" y="331"/>
                  </a:lnTo>
                  <a:lnTo>
                    <a:pt x="35" y="330"/>
                  </a:lnTo>
                  <a:lnTo>
                    <a:pt x="35" y="328"/>
                  </a:lnTo>
                  <a:lnTo>
                    <a:pt x="34" y="328"/>
                  </a:lnTo>
                  <a:lnTo>
                    <a:pt x="34" y="327"/>
                  </a:lnTo>
                  <a:lnTo>
                    <a:pt x="32" y="327"/>
                  </a:lnTo>
                  <a:lnTo>
                    <a:pt x="31" y="325"/>
                  </a:lnTo>
                  <a:lnTo>
                    <a:pt x="29" y="323"/>
                  </a:lnTo>
                  <a:lnTo>
                    <a:pt x="31" y="323"/>
                  </a:lnTo>
                  <a:lnTo>
                    <a:pt x="31" y="322"/>
                  </a:lnTo>
                  <a:lnTo>
                    <a:pt x="32" y="320"/>
                  </a:lnTo>
                  <a:lnTo>
                    <a:pt x="32" y="322"/>
                  </a:lnTo>
                  <a:lnTo>
                    <a:pt x="34" y="322"/>
                  </a:lnTo>
                  <a:lnTo>
                    <a:pt x="35" y="322"/>
                  </a:lnTo>
                  <a:lnTo>
                    <a:pt x="37" y="323"/>
                  </a:lnTo>
                  <a:lnTo>
                    <a:pt x="39" y="325"/>
                  </a:lnTo>
                  <a:lnTo>
                    <a:pt x="40" y="325"/>
                  </a:lnTo>
                  <a:lnTo>
                    <a:pt x="40" y="327"/>
                  </a:lnTo>
                  <a:lnTo>
                    <a:pt x="42" y="327"/>
                  </a:lnTo>
                  <a:lnTo>
                    <a:pt x="42" y="328"/>
                  </a:lnTo>
                  <a:lnTo>
                    <a:pt x="44" y="330"/>
                  </a:lnTo>
                  <a:lnTo>
                    <a:pt x="44" y="331"/>
                  </a:lnTo>
                  <a:lnTo>
                    <a:pt x="44" y="333"/>
                  </a:lnTo>
                  <a:lnTo>
                    <a:pt x="44" y="335"/>
                  </a:lnTo>
                  <a:lnTo>
                    <a:pt x="45" y="335"/>
                  </a:lnTo>
                  <a:lnTo>
                    <a:pt x="45" y="336"/>
                  </a:lnTo>
                  <a:lnTo>
                    <a:pt x="47" y="336"/>
                  </a:lnTo>
                  <a:lnTo>
                    <a:pt x="48" y="335"/>
                  </a:lnTo>
                  <a:lnTo>
                    <a:pt x="50" y="335"/>
                  </a:lnTo>
                  <a:lnTo>
                    <a:pt x="50" y="333"/>
                  </a:lnTo>
                  <a:lnTo>
                    <a:pt x="52" y="331"/>
                  </a:lnTo>
                  <a:lnTo>
                    <a:pt x="52" y="330"/>
                  </a:lnTo>
                  <a:lnTo>
                    <a:pt x="50" y="330"/>
                  </a:lnTo>
                  <a:lnTo>
                    <a:pt x="50" y="328"/>
                  </a:lnTo>
                  <a:lnTo>
                    <a:pt x="50" y="327"/>
                  </a:lnTo>
                  <a:lnTo>
                    <a:pt x="52" y="327"/>
                  </a:lnTo>
                  <a:lnTo>
                    <a:pt x="50" y="325"/>
                  </a:lnTo>
                  <a:lnTo>
                    <a:pt x="50" y="323"/>
                  </a:lnTo>
                  <a:lnTo>
                    <a:pt x="50" y="322"/>
                  </a:lnTo>
                  <a:lnTo>
                    <a:pt x="50" y="320"/>
                  </a:lnTo>
                  <a:lnTo>
                    <a:pt x="52" y="320"/>
                  </a:lnTo>
                  <a:lnTo>
                    <a:pt x="52" y="318"/>
                  </a:lnTo>
                  <a:lnTo>
                    <a:pt x="50" y="317"/>
                  </a:lnTo>
                  <a:lnTo>
                    <a:pt x="48" y="317"/>
                  </a:lnTo>
                  <a:lnTo>
                    <a:pt x="47" y="315"/>
                  </a:lnTo>
                  <a:lnTo>
                    <a:pt x="45" y="314"/>
                  </a:lnTo>
                  <a:lnTo>
                    <a:pt x="44" y="314"/>
                  </a:lnTo>
                  <a:lnTo>
                    <a:pt x="44" y="312"/>
                  </a:lnTo>
                  <a:lnTo>
                    <a:pt x="44" y="314"/>
                  </a:lnTo>
                  <a:lnTo>
                    <a:pt x="44" y="312"/>
                  </a:lnTo>
                  <a:lnTo>
                    <a:pt x="42" y="310"/>
                  </a:lnTo>
                  <a:lnTo>
                    <a:pt x="40" y="310"/>
                  </a:lnTo>
                  <a:lnTo>
                    <a:pt x="39" y="309"/>
                  </a:lnTo>
                  <a:lnTo>
                    <a:pt x="39" y="307"/>
                  </a:lnTo>
                  <a:lnTo>
                    <a:pt x="37" y="307"/>
                  </a:lnTo>
                  <a:lnTo>
                    <a:pt x="37" y="305"/>
                  </a:lnTo>
                  <a:lnTo>
                    <a:pt x="37" y="304"/>
                  </a:lnTo>
                  <a:lnTo>
                    <a:pt x="35" y="302"/>
                  </a:lnTo>
                  <a:lnTo>
                    <a:pt x="34" y="299"/>
                  </a:lnTo>
                  <a:lnTo>
                    <a:pt x="35" y="301"/>
                  </a:lnTo>
                  <a:lnTo>
                    <a:pt x="35" y="299"/>
                  </a:lnTo>
                  <a:lnTo>
                    <a:pt x="34" y="299"/>
                  </a:lnTo>
                  <a:lnTo>
                    <a:pt x="32" y="297"/>
                  </a:lnTo>
                  <a:lnTo>
                    <a:pt x="32" y="296"/>
                  </a:lnTo>
                  <a:lnTo>
                    <a:pt x="29" y="292"/>
                  </a:lnTo>
                  <a:lnTo>
                    <a:pt x="29" y="291"/>
                  </a:lnTo>
                  <a:lnTo>
                    <a:pt x="31" y="291"/>
                  </a:lnTo>
                  <a:lnTo>
                    <a:pt x="31" y="289"/>
                  </a:lnTo>
                  <a:lnTo>
                    <a:pt x="32" y="289"/>
                  </a:lnTo>
                  <a:lnTo>
                    <a:pt x="34" y="289"/>
                  </a:lnTo>
                  <a:lnTo>
                    <a:pt x="35" y="289"/>
                  </a:lnTo>
                  <a:lnTo>
                    <a:pt x="37" y="289"/>
                  </a:lnTo>
                  <a:lnTo>
                    <a:pt x="37" y="291"/>
                  </a:lnTo>
                  <a:lnTo>
                    <a:pt x="37" y="289"/>
                  </a:lnTo>
                  <a:lnTo>
                    <a:pt x="32" y="288"/>
                  </a:lnTo>
                  <a:lnTo>
                    <a:pt x="31" y="289"/>
                  </a:lnTo>
                  <a:lnTo>
                    <a:pt x="31" y="291"/>
                  </a:lnTo>
                  <a:lnTo>
                    <a:pt x="29" y="291"/>
                  </a:lnTo>
                  <a:lnTo>
                    <a:pt x="29" y="292"/>
                  </a:lnTo>
                  <a:lnTo>
                    <a:pt x="27" y="292"/>
                  </a:lnTo>
                  <a:lnTo>
                    <a:pt x="27" y="291"/>
                  </a:lnTo>
                  <a:lnTo>
                    <a:pt x="27" y="289"/>
                  </a:lnTo>
                  <a:lnTo>
                    <a:pt x="29" y="289"/>
                  </a:lnTo>
                  <a:lnTo>
                    <a:pt x="29" y="288"/>
                  </a:lnTo>
                  <a:lnTo>
                    <a:pt x="31" y="286"/>
                  </a:lnTo>
                  <a:lnTo>
                    <a:pt x="31" y="284"/>
                  </a:lnTo>
                  <a:lnTo>
                    <a:pt x="32" y="283"/>
                  </a:lnTo>
                  <a:lnTo>
                    <a:pt x="32" y="281"/>
                  </a:lnTo>
                  <a:lnTo>
                    <a:pt x="32" y="279"/>
                  </a:lnTo>
                  <a:lnTo>
                    <a:pt x="32" y="276"/>
                  </a:lnTo>
                  <a:lnTo>
                    <a:pt x="32" y="275"/>
                  </a:lnTo>
                  <a:lnTo>
                    <a:pt x="32" y="271"/>
                  </a:lnTo>
                  <a:lnTo>
                    <a:pt x="32" y="270"/>
                  </a:lnTo>
                  <a:lnTo>
                    <a:pt x="32" y="268"/>
                  </a:lnTo>
                  <a:lnTo>
                    <a:pt x="32" y="266"/>
                  </a:lnTo>
                  <a:lnTo>
                    <a:pt x="31" y="266"/>
                  </a:lnTo>
                  <a:lnTo>
                    <a:pt x="32" y="266"/>
                  </a:lnTo>
                  <a:lnTo>
                    <a:pt x="31" y="265"/>
                  </a:lnTo>
                  <a:lnTo>
                    <a:pt x="32" y="265"/>
                  </a:lnTo>
                  <a:lnTo>
                    <a:pt x="32" y="263"/>
                  </a:lnTo>
                  <a:lnTo>
                    <a:pt x="34" y="261"/>
                  </a:lnTo>
                  <a:lnTo>
                    <a:pt x="34" y="260"/>
                  </a:lnTo>
                  <a:lnTo>
                    <a:pt x="34" y="255"/>
                  </a:lnTo>
                  <a:lnTo>
                    <a:pt x="34" y="253"/>
                  </a:lnTo>
                  <a:lnTo>
                    <a:pt x="34" y="255"/>
                  </a:lnTo>
                  <a:lnTo>
                    <a:pt x="35" y="253"/>
                  </a:lnTo>
                  <a:lnTo>
                    <a:pt x="34" y="252"/>
                  </a:lnTo>
                  <a:lnTo>
                    <a:pt x="34" y="253"/>
                  </a:lnTo>
                  <a:lnTo>
                    <a:pt x="34" y="252"/>
                  </a:lnTo>
                  <a:lnTo>
                    <a:pt x="35" y="250"/>
                  </a:lnTo>
                  <a:lnTo>
                    <a:pt x="35" y="248"/>
                  </a:lnTo>
                  <a:lnTo>
                    <a:pt x="37" y="248"/>
                  </a:lnTo>
                  <a:lnTo>
                    <a:pt x="39" y="247"/>
                  </a:lnTo>
                  <a:lnTo>
                    <a:pt x="40" y="245"/>
                  </a:lnTo>
                  <a:lnTo>
                    <a:pt x="40" y="244"/>
                  </a:lnTo>
                  <a:lnTo>
                    <a:pt x="40" y="242"/>
                  </a:lnTo>
                  <a:lnTo>
                    <a:pt x="39" y="240"/>
                  </a:lnTo>
                  <a:lnTo>
                    <a:pt x="37" y="240"/>
                  </a:lnTo>
                  <a:lnTo>
                    <a:pt x="35" y="240"/>
                  </a:lnTo>
                  <a:lnTo>
                    <a:pt x="35" y="237"/>
                  </a:lnTo>
                  <a:lnTo>
                    <a:pt x="35" y="235"/>
                  </a:lnTo>
                  <a:lnTo>
                    <a:pt x="35" y="234"/>
                  </a:lnTo>
                  <a:lnTo>
                    <a:pt x="35" y="232"/>
                  </a:lnTo>
                  <a:lnTo>
                    <a:pt x="37" y="229"/>
                  </a:lnTo>
                  <a:lnTo>
                    <a:pt x="35" y="226"/>
                  </a:lnTo>
                  <a:lnTo>
                    <a:pt x="35" y="222"/>
                  </a:lnTo>
                  <a:lnTo>
                    <a:pt x="35" y="221"/>
                  </a:lnTo>
                  <a:lnTo>
                    <a:pt x="34" y="221"/>
                  </a:lnTo>
                  <a:lnTo>
                    <a:pt x="34" y="219"/>
                  </a:lnTo>
                  <a:lnTo>
                    <a:pt x="35" y="218"/>
                  </a:lnTo>
                  <a:lnTo>
                    <a:pt x="37" y="218"/>
                  </a:lnTo>
                  <a:lnTo>
                    <a:pt x="37" y="216"/>
                  </a:lnTo>
                  <a:lnTo>
                    <a:pt x="39" y="216"/>
                  </a:lnTo>
                  <a:lnTo>
                    <a:pt x="37" y="216"/>
                  </a:lnTo>
                  <a:lnTo>
                    <a:pt x="37" y="214"/>
                  </a:lnTo>
                  <a:lnTo>
                    <a:pt x="37" y="213"/>
                  </a:lnTo>
                  <a:lnTo>
                    <a:pt x="37" y="211"/>
                  </a:lnTo>
                  <a:lnTo>
                    <a:pt x="39" y="209"/>
                  </a:lnTo>
                  <a:lnTo>
                    <a:pt x="39" y="208"/>
                  </a:lnTo>
                  <a:lnTo>
                    <a:pt x="40" y="206"/>
                  </a:lnTo>
                  <a:lnTo>
                    <a:pt x="40" y="205"/>
                  </a:lnTo>
                  <a:lnTo>
                    <a:pt x="40" y="201"/>
                  </a:lnTo>
                  <a:lnTo>
                    <a:pt x="40" y="200"/>
                  </a:lnTo>
                  <a:lnTo>
                    <a:pt x="39" y="198"/>
                  </a:lnTo>
                  <a:lnTo>
                    <a:pt x="35" y="195"/>
                  </a:lnTo>
                  <a:lnTo>
                    <a:pt x="34" y="195"/>
                  </a:lnTo>
                  <a:lnTo>
                    <a:pt x="32" y="195"/>
                  </a:lnTo>
                  <a:lnTo>
                    <a:pt x="32" y="196"/>
                  </a:lnTo>
                  <a:lnTo>
                    <a:pt x="32" y="195"/>
                  </a:lnTo>
                  <a:lnTo>
                    <a:pt x="32" y="196"/>
                  </a:lnTo>
                  <a:lnTo>
                    <a:pt x="31" y="195"/>
                  </a:lnTo>
                  <a:lnTo>
                    <a:pt x="29" y="195"/>
                  </a:lnTo>
                  <a:lnTo>
                    <a:pt x="29" y="193"/>
                  </a:lnTo>
                  <a:lnTo>
                    <a:pt x="29" y="192"/>
                  </a:lnTo>
                  <a:lnTo>
                    <a:pt x="27" y="192"/>
                  </a:lnTo>
                  <a:lnTo>
                    <a:pt x="27" y="188"/>
                  </a:lnTo>
                  <a:lnTo>
                    <a:pt x="27" y="187"/>
                  </a:lnTo>
                  <a:lnTo>
                    <a:pt x="27" y="185"/>
                  </a:lnTo>
                  <a:lnTo>
                    <a:pt x="26" y="183"/>
                  </a:lnTo>
                  <a:lnTo>
                    <a:pt x="24" y="183"/>
                  </a:lnTo>
                  <a:lnTo>
                    <a:pt x="24" y="182"/>
                  </a:lnTo>
                  <a:lnTo>
                    <a:pt x="26" y="182"/>
                  </a:lnTo>
                  <a:lnTo>
                    <a:pt x="26" y="183"/>
                  </a:lnTo>
                  <a:lnTo>
                    <a:pt x="27" y="183"/>
                  </a:lnTo>
                  <a:lnTo>
                    <a:pt x="29" y="183"/>
                  </a:lnTo>
                  <a:lnTo>
                    <a:pt x="29" y="182"/>
                  </a:lnTo>
                  <a:lnTo>
                    <a:pt x="31" y="182"/>
                  </a:lnTo>
                  <a:lnTo>
                    <a:pt x="29" y="182"/>
                  </a:lnTo>
                  <a:lnTo>
                    <a:pt x="31" y="180"/>
                  </a:lnTo>
                  <a:lnTo>
                    <a:pt x="31" y="179"/>
                  </a:lnTo>
                  <a:lnTo>
                    <a:pt x="31" y="180"/>
                  </a:lnTo>
                  <a:lnTo>
                    <a:pt x="31" y="179"/>
                  </a:lnTo>
                  <a:lnTo>
                    <a:pt x="29" y="180"/>
                  </a:lnTo>
                  <a:lnTo>
                    <a:pt x="29" y="182"/>
                  </a:lnTo>
                  <a:lnTo>
                    <a:pt x="29" y="179"/>
                  </a:lnTo>
                  <a:lnTo>
                    <a:pt x="31" y="177"/>
                  </a:lnTo>
                  <a:lnTo>
                    <a:pt x="32" y="177"/>
                  </a:lnTo>
                  <a:lnTo>
                    <a:pt x="32" y="175"/>
                  </a:lnTo>
                  <a:lnTo>
                    <a:pt x="34" y="172"/>
                  </a:lnTo>
                  <a:lnTo>
                    <a:pt x="35" y="170"/>
                  </a:lnTo>
                  <a:lnTo>
                    <a:pt x="35" y="167"/>
                  </a:lnTo>
                  <a:lnTo>
                    <a:pt x="35" y="164"/>
                  </a:lnTo>
                  <a:lnTo>
                    <a:pt x="35" y="162"/>
                  </a:lnTo>
                  <a:lnTo>
                    <a:pt x="34" y="162"/>
                  </a:lnTo>
                  <a:lnTo>
                    <a:pt x="32" y="162"/>
                  </a:lnTo>
                  <a:lnTo>
                    <a:pt x="31" y="161"/>
                  </a:lnTo>
                  <a:lnTo>
                    <a:pt x="29" y="161"/>
                  </a:lnTo>
                  <a:lnTo>
                    <a:pt x="29" y="159"/>
                  </a:lnTo>
                  <a:lnTo>
                    <a:pt x="27" y="157"/>
                  </a:lnTo>
                  <a:lnTo>
                    <a:pt x="27" y="156"/>
                  </a:lnTo>
                  <a:lnTo>
                    <a:pt x="29" y="157"/>
                  </a:lnTo>
                  <a:lnTo>
                    <a:pt x="31" y="157"/>
                  </a:lnTo>
                  <a:lnTo>
                    <a:pt x="32" y="157"/>
                  </a:lnTo>
                  <a:lnTo>
                    <a:pt x="34" y="157"/>
                  </a:lnTo>
                  <a:lnTo>
                    <a:pt x="35" y="157"/>
                  </a:lnTo>
                  <a:lnTo>
                    <a:pt x="37" y="157"/>
                  </a:lnTo>
                  <a:lnTo>
                    <a:pt x="39" y="157"/>
                  </a:lnTo>
                  <a:lnTo>
                    <a:pt x="39" y="156"/>
                  </a:lnTo>
                  <a:lnTo>
                    <a:pt x="40" y="156"/>
                  </a:lnTo>
                  <a:lnTo>
                    <a:pt x="40" y="154"/>
                  </a:lnTo>
                  <a:lnTo>
                    <a:pt x="40" y="153"/>
                  </a:lnTo>
                  <a:lnTo>
                    <a:pt x="42" y="151"/>
                  </a:lnTo>
                  <a:lnTo>
                    <a:pt x="42" y="149"/>
                  </a:lnTo>
                  <a:lnTo>
                    <a:pt x="42" y="148"/>
                  </a:lnTo>
                  <a:lnTo>
                    <a:pt x="42" y="149"/>
                  </a:lnTo>
                  <a:lnTo>
                    <a:pt x="42" y="151"/>
                  </a:lnTo>
                  <a:lnTo>
                    <a:pt x="44" y="151"/>
                  </a:lnTo>
                  <a:lnTo>
                    <a:pt x="44" y="149"/>
                  </a:lnTo>
                  <a:lnTo>
                    <a:pt x="44" y="148"/>
                  </a:lnTo>
                  <a:lnTo>
                    <a:pt x="40" y="146"/>
                  </a:lnTo>
                  <a:lnTo>
                    <a:pt x="40" y="148"/>
                  </a:lnTo>
                  <a:lnTo>
                    <a:pt x="40" y="149"/>
                  </a:lnTo>
                  <a:lnTo>
                    <a:pt x="40" y="148"/>
                  </a:lnTo>
                  <a:lnTo>
                    <a:pt x="40" y="146"/>
                  </a:lnTo>
                  <a:lnTo>
                    <a:pt x="40" y="148"/>
                  </a:lnTo>
                  <a:lnTo>
                    <a:pt x="40" y="146"/>
                  </a:lnTo>
                  <a:lnTo>
                    <a:pt x="39" y="146"/>
                  </a:lnTo>
                  <a:lnTo>
                    <a:pt x="39" y="144"/>
                  </a:lnTo>
                  <a:lnTo>
                    <a:pt x="40" y="143"/>
                  </a:lnTo>
                  <a:lnTo>
                    <a:pt x="39" y="143"/>
                  </a:lnTo>
                  <a:lnTo>
                    <a:pt x="39" y="144"/>
                  </a:lnTo>
                  <a:lnTo>
                    <a:pt x="39" y="143"/>
                  </a:lnTo>
                  <a:lnTo>
                    <a:pt x="40" y="140"/>
                  </a:lnTo>
                  <a:lnTo>
                    <a:pt x="40" y="136"/>
                  </a:lnTo>
                  <a:lnTo>
                    <a:pt x="39" y="135"/>
                  </a:lnTo>
                  <a:lnTo>
                    <a:pt x="39" y="133"/>
                  </a:lnTo>
                  <a:lnTo>
                    <a:pt x="39" y="131"/>
                  </a:lnTo>
                  <a:lnTo>
                    <a:pt x="40" y="131"/>
                  </a:lnTo>
                  <a:lnTo>
                    <a:pt x="39" y="131"/>
                  </a:lnTo>
                  <a:lnTo>
                    <a:pt x="37" y="131"/>
                  </a:lnTo>
                  <a:lnTo>
                    <a:pt x="39" y="131"/>
                  </a:lnTo>
                  <a:lnTo>
                    <a:pt x="39" y="130"/>
                  </a:lnTo>
                  <a:lnTo>
                    <a:pt x="40" y="130"/>
                  </a:lnTo>
                  <a:lnTo>
                    <a:pt x="42" y="130"/>
                  </a:lnTo>
                  <a:lnTo>
                    <a:pt x="42" y="128"/>
                  </a:lnTo>
                  <a:lnTo>
                    <a:pt x="42" y="127"/>
                  </a:lnTo>
                  <a:lnTo>
                    <a:pt x="42" y="125"/>
                  </a:lnTo>
                  <a:lnTo>
                    <a:pt x="40" y="125"/>
                  </a:lnTo>
                  <a:lnTo>
                    <a:pt x="40" y="127"/>
                  </a:lnTo>
                  <a:lnTo>
                    <a:pt x="40" y="128"/>
                  </a:lnTo>
                  <a:lnTo>
                    <a:pt x="40" y="130"/>
                  </a:lnTo>
                  <a:lnTo>
                    <a:pt x="40" y="128"/>
                  </a:lnTo>
                  <a:lnTo>
                    <a:pt x="40" y="127"/>
                  </a:lnTo>
                  <a:lnTo>
                    <a:pt x="40" y="125"/>
                  </a:lnTo>
                  <a:lnTo>
                    <a:pt x="39" y="123"/>
                  </a:lnTo>
                  <a:lnTo>
                    <a:pt x="39" y="122"/>
                  </a:lnTo>
                  <a:lnTo>
                    <a:pt x="39" y="123"/>
                  </a:lnTo>
                  <a:lnTo>
                    <a:pt x="37" y="123"/>
                  </a:lnTo>
                  <a:lnTo>
                    <a:pt x="34" y="122"/>
                  </a:lnTo>
                  <a:lnTo>
                    <a:pt x="32" y="120"/>
                  </a:lnTo>
                  <a:lnTo>
                    <a:pt x="31" y="118"/>
                  </a:lnTo>
                  <a:lnTo>
                    <a:pt x="31" y="120"/>
                  </a:lnTo>
                  <a:lnTo>
                    <a:pt x="26" y="118"/>
                  </a:lnTo>
                  <a:lnTo>
                    <a:pt x="26" y="117"/>
                  </a:lnTo>
                  <a:lnTo>
                    <a:pt x="26" y="118"/>
                  </a:lnTo>
                  <a:lnTo>
                    <a:pt x="24" y="117"/>
                  </a:lnTo>
                  <a:lnTo>
                    <a:pt x="24" y="115"/>
                  </a:lnTo>
                  <a:lnTo>
                    <a:pt x="22" y="115"/>
                  </a:lnTo>
                  <a:lnTo>
                    <a:pt x="21" y="115"/>
                  </a:lnTo>
                  <a:lnTo>
                    <a:pt x="21" y="117"/>
                  </a:lnTo>
                  <a:lnTo>
                    <a:pt x="22" y="117"/>
                  </a:lnTo>
                  <a:lnTo>
                    <a:pt x="22" y="118"/>
                  </a:lnTo>
                  <a:lnTo>
                    <a:pt x="19" y="117"/>
                  </a:lnTo>
                  <a:lnTo>
                    <a:pt x="18" y="118"/>
                  </a:lnTo>
                  <a:lnTo>
                    <a:pt x="16" y="120"/>
                  </a:lnTo>
                  <a:lnTo>
                    <a:pt x="14" y="120"/>
                  </a:lnTo>
                  <a:lnTo>
                    <a:pt x="14" y="118"/>
                  </a:lnTo>
                  <a:lnTo>
                    <a:pt x="14" y="117"/>
                  </a:lnTo>
                  <a:lnTo>
                    <a:pt x="16" y="115"/>
                  </a:lnTo>
                  <a:lnTo>
                    <a:pt x="14" y="115"/>
                  </a:lnTo>
                  <a:lnTo>
                    <a:pt x="14" y="113"/>
                  </a:lnTo>
                  <a:lnTo>
                    <a:pt x="13" y="113"/>
                  </a:lnTo>
                  <a:lnTo>
                    <a:pt x="11" y="113"/>
                  </a:lnTo>
                  <a:lnTo>
                    <a:pt x="11" y="112"/>
                  </a:lnTo>
                  <a:lnTo>
                    <a:pt x="13" y="110"/>
                  </a:lnTo>
                  <a:lnTo>
                    <a:pt x="14" y="110"/>
                  </a:lnTo>
                  <a:lnTo>
                    <a:pt x="13" y="109"/>
                  </a:lnTo>
                  <a:lnTo>
                    <a:pt x="11" y="109"/>
                  </a:lnTo>
                  <a:lnTo>
                    <a:pt x="11" y="107"/>
                  </a:lnTo>
                  <a:lnTo>
                    <a:pt x="11" y="105"/>
                  </a:lnTo>
                  <a:lnTo>
                    <a:pt x="14" y="104"/>
                  </a:lnTo>
                  <a:lnTo>
                    <a:pt x="14" y="102"/>
                  </a:lnTo>
                  <a:lnTo>
                    <a:pt x="13" y="102"/>
                  </a:lnTo>
                  <a:lnTo>
                    <a:pt x="14" y="100"/>
                  </a:lnTo>
                  <a:lnTo>
                    <a:pt x="13" y="100"/>
                  </a:lnTo>
                  <a:lnTo>
                    <a:pt x="14" y="99"/>
                  </a:lnTo>
                  <a:lnTo>
                    <a:pt x="14" y="97"/>
                  </a:lnTo>
                  <a:lnTo>
                    <a:pt x="16" y="97"/>
                  </a:lnTo>
                  <a:lnTo>
                    <a:pt x="18" y="97"/>
                  </a:lnTo>
                  <a:lnTo>
                    <a:pt x="18" y="99"/>
                  </a:lnTo>
                  <a:lnTo>
                    <a:pt x="18" y="100"/>
                  </a:lnTo>
                  <a:lnTo>
                    <a:pt x="19" y="100"/>
                  </a:lnTo>
                  <a:lnTo>
                    <a:pt x="19" y="99"/>
                  </a:lnTo>
                  <a:lnTo>
                    <a:pt x="21" y="99"/>
                  </a:lnTo>
                  <a:lnTo>
                    <a:pt x="19" y="99"/>
                  </a:lnTo>
                  <a:lnTo>
                    <a:pt x="21" y="97"/>
                  </a:lnTo>
                  <a:lnTo>
                    <a:pt x="22" y="97"/>
                  </a:lnTo>
                  <a:lnTo>
                    <a:pt x="22" y="96"/>
                  </a:lnTo>
                  <a:lnTo>
                    <a:pt x="21" y="96"/>
                  </a:lnTo>
                  <a:lnTo>
                    <a:pt x="21" y="97"/>
                  </a:lnTo>
                  <a:lnTo>
                    <a:pt x="19" y="97"/>
                  </a:lnTo>
                  <a:lnTo>
                    <a:pt x="19" y="99"/>
                  </a:lnTo>
                  <a:lnTo>
                    <a:pt x="19" y="100"/>
                  </a:lnTo>
                  <a:lnTo>
                    <a:pt x="18" y="100"/>
                  </a:lnTo>
                  <a:lnTo>
                    <a:pt x="18" y="99"/>
                  </a:lnTo>
                  <a:lnTo>
                    <a:pt x="18" y="97"/>
                  </a:lnTo>
                  <a:lnTo>
                    <a:pt x="16" y="97"/>
                  </a:lnTo>
                  <a:lnTo>
                    <a:pt x="14" y="97"/>
                  </a:lnTo>
                  <a:lnTo>
                    <a:pt x="14" y="99"/>
                  </a:lnTo>
                  <a:lnTo>
                    <a:pt x="13" y="99"/>
                  </a:lnTo>
                  <a:lnTo>
                    <a:pt x="13" y="97"/>
                  </a:lnTo>
                  <a:lnTo>
                    <a:pt x="11" y="96"/>
                  </a:lnTo>
                  <a:lnTo>
                    <a:pt x="11" y="92"/>
                  </a:lnTo>
                  <a:lnTo>
                    <a:pt x="13" y="91"/>
                  </a:lnTo>
                  <a:lnTo>
                    <a:pt x="13" y="87"/>
                  </a:lnTo>
                  <a:lnTo>
                    <a:pt x="14" y="84"/>
                  </a:lnTo>
                  <a:lnTo>
                    <a:pt x="5" y="78"/>
                  </a:lnTo>
                  <a:lnTo>
                    <a:pt x="0" y="74"/>
                  </a:lnTo>
                  <a:lnTo>
                    <a:pt x="6" y="65"/>
                  </a:lnTo>
                  <a:lnTo>
                    <a:pt x="6" y="63"/>
                  </a:lnTo>
                  <a:lnTo>
                    <a:pt x="9" y="58"/>
                  </a:lnTo>
                  <a:lnTo>
                    <a:pt x="9" y="57"/>
                  </a:lnTo>
                  <a:lnTo>
                    <a:pt x="11" y="55"/>
                  </a:lnTo>
                  <a:lnTo>
                    <a:pt x="11" y="53"/>
                  </a:lnTo>
                  <a:lnTo>
                    <a:pt x="13" y="52"/>
                  </a:lnTo>
                  <a:lnTo>
                    <a:pt x="11" y="50"/>
                  </a:lnTo>
                  <a:lnTo>
                    <a:pt x="11" y="48"/>
                  </a:lnTo>
                  <a:lnTo>
                    <a:pt x="11" y="47"/>
                  </a:lnTo>
                  <a:lnTo>
                    <a:pt x="13" y="45"/>
                  </a:lnTo>
                  <a:lnTo>
                    <a:pt x="13" y="44"/>
                  </a:lnTo>
                  <a:lnTo>
                    <a:pt x="14" y="44"/>
                  </a:lnTo>
                  <a:lnTo>
                    <a:pt x="16" y="42"/>
                  </a:lnTo>
                  <a:lnTo>
                    <a:pt x="18" y="40"/>
                  </a:lnTo>
                  <a:lnTo>
                    <a:pt x="18" y="39"/>
                  </a:lnTo>
                  <a:lnTo>
                    <a:pt x="18" y="37"/>
                  </a:lnTo>
                  <a:lnTo>
                    <a:pt x="19" y="35"/>
                  </a:lnTo>
                  <a:lnTo>
                    <a:pt x="21" y="34"/>
                  </a:lnTo>
                  <a:lnTo>
                    <a:pt x="21" y="32"/>
                  </a:lnTo>
                  <a:lnTo>
                    <a:pt x="22" y="31"/>
                  </a:lnTo>
                  <a:lnTo>
                    <a:pt x="22" y="29"/>
                  </a:lnTo>
                  <a:lnTo>
                    <a:pt x="24" y="27"/>
                  </a:lnTo>
                  <a:lnTo>
                    <a:pt x="24" y="24"/>
                  </a:lnTo>
                  <a:lnTo>
                    <a:pt x="24" y="22"/>
                  </a:lnTo>
                  <a:lnTo>
                    <a:pt x="27" y="21"/>
                  </a:lnTo>
                  <a:lnTo>
                    <a:pt x="27" y="19"/>
                  </a:lnTo>
                  <a:lnTo>
                    <a:pt x="29" y="19"/>
                  </a:lnTo>
                  <a:lnTo>
                    <a:pt x="29" y="18"/>
                  </a:lnTo>
                  <a:lnTo>
                    <a:pt x="29" y="16"/>
                  </a:lnTo>
                  <a:lnTo>
                    <a:pt x="29" y="14"/>
                  </a:lnTo>
                  <a:lnTo>
                    <a:pt x="29" y="13"/>
                  </a:lnTo>
                  <a:lnTo>
                    <a:pt x="32" y="6"/>
                  </a:lnTo>
                  <a:lnTo>
                    <a:pt x="34" y="6"/>
                  </a:lnTo>
                  <a:lnTo>
                    <a:pt x="34" y="5"/>
                  </a:lnTo>
                  <a:lnTo>
                    <a:pt x="35" y="5"/>
                  </a:lnTo>
                  <a:lnTo>
                    <a:pt x="35" y="3"/>
                  </a:lnTo>
                  <a:lnTo>
                    <a:pt x="35" y="1"/>
                  </a:lnTo>
                  <a:lnTo>
                    <a:pt x="37" y="1"/>
                  </a:lnTo>
                  <a:lnTo>
                    <a:pt x="39" y="0"/>
                  </a:lnTo>
                  <a:lnTo>
                    <a:pt x="39" y="1"/>
                  </a:lnTo>
                  <a:lnTo>
                    <a:pt x="40" y="3"/>
                  </a:lnTo>
                  <a:lnTo>
                    <a:pt x="42" y="3"/>
                  </a:lnTo>
                  <a:close/>
                </a:path>
              </a:pathLst>
            </a:custGeom>
            <a:solidFill>
              <a:srgbClr val="E5E5E5"/>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20" name="Freeform 9">
              <a:extLst>
                <a:ext uri="{FF2B5EF4-FFF2-40B4-BE49-F238E27FC236}">
                  <a16:creationId xmlns:a16="http://schemas.microsoft.com/office/drawing/2014/main" id="{F3602B38-782E-F1FF-C542-031030CD4F0F}"/>
                </a:ext>
              </a:extLst>
            </p:cNvPr>
            <p:cNvSpPr>
              <a:spLocks noEditPoints="1"/>
            </p:cNvSpPr>
            <p:nvPr/>
          </p:nvSpPr>
          <p:spPr bwMode="auto">
            <a:xfrm>
              <a:off x="7709" y="4124"/>
              <a:ext cx="332" cy="226"/>
            </a:xfrm>
            <a:custGeom>
              <a:avLst/>
              <a:gdLst>
                <a:gd name="T0" fmla="*/ 229 w 332"/>
                <a:gd name="T1" fmla="*/ 68 h 226"/>
                <a:gd name="T2" fmla="*/ 158 w 332"/>
                <a:gd name="T3" fmla="*/ 9 h 226"/>
                <a:gd name="T4" fmla="*/ 158 w 332"/>
                <a:gd name="T5" fmla="*/ 21 h 226"/>
                <a:gd name="T6" fmla="*/ 164 w 332"/>
                <a:gd name="T7" fmla="*/ 24 h 226"/>
                <a:gd name="T8" fmla="*/ 176 w 332"/>
                <a:gd name="T9" fmla="*/ 27 h 226"/>
                <a:gd name="T10" fmla="*/ 190 w 332"/>
                <a:gd name="T11" fmla="*/ 21 h 226"/>
                <a:gd name="T12" fmla="*/ 202 w 332"/>
                <a:gd name="T13" fmla="*/ 24 h 226"/>
                <a:gd name="T14" fmla="*/ 221 w 332"/>
                <a:gd name="T15" fmla="*/ 29 h 226"/>
                <a:gd name="T16" fmla="*/ 215 w 332"/>
                <a:gd name="T17" fmla="*/ 52 h 226"/>
                <a:gd name="T18" fmla="*/ 215 w 332"/>
                <a:gd name="T19" fmla="*/ 70 h 226"/>
                <a:gd name="T20" fmla="*/ 226 w 332"/>
                <a:gd name="T21" fmla="*/ 78 h 226"/>
                <a:gd name="T22" fmla="*/ 246 w 332"/>
                <a:gd name="T23" fmla="*/ 88 h 226"/>
                <a:gd name="T24" fmla="*/ 270 w 332"/>
                <a:gd name="T25" fmla="*/ 89 h 226"/>
                <a:gd name="T26" fmla="*/ 293 w 332"/>
                <a:gd name="T27" fmla="*/ 91 h 226"/>
                <a:gd name="T28" fmla="*/ 299 w 332"/>
                <a:gd name="T29" fmla="*/ 107 h 226"/>
                <a:gd name="T30" fmla="*/ 296 w 332"/>
                <a:gd name="T31" fmla="*/ 128 h 226"/>
                <a:gd name="T32" fmla="*/ 277 w 332"/>
                <a:gd name="T33" fmla="*/ 138 h 226"/>
                <a:gd name="T34" fmla="*/ 288 w 332"/>
                <a:gd name="T35" fmla="*/ 143 h 226"/>
                <a:gd name="T36" fmla="*/ 301 w 332"/>
                <a:gd name="T37" fmla="*/ 149 h 226"/>
                <a:gd name="T38" fmla="*/ 329 w 332"/>
                <a:gd name="T39" fmla="*/ 154 h 226"/>
                <a:gd name="T40" fmla="*/ 329 w 332"/>
                <a:gd name="T41" fmla="*/ 203 h 226"/>
                <a:gd name="T42" fmla="*/ 316 w 332"/>
                <a:gd name="T43" fmla="*/ 188 h 226"/>
                <a:gd name="T44" fmla="*/ 301 w 332"/>
                <a:gd name="T45" fmla="*/ 200 h 226"/>
                <a:gd name="T46" fmla="*/ 293 w 332"/>
                <a:gd name="T47" fmla="*/ 211 h 226"/>
                <a:gd name="T48" fmla="*/ 275 w 332"/>
                <a:gd name="T49" fmla="*/ 214 h 226"/>
                <a:gd name="T50" fmla="*/ 260 w 332"/>
                <a:gd name="T51" fmla="*/ 216 h 226"/>
                <a:gd name="T52" fmla="*/ 250 w 332"/>
                <a:gd name="T53" fmla="*/ 205 h 226"/>
                <a:gd name="T54" fmla="*/ 229 w 332"/>
                <a:gd name="T55" fmla="*/ 205 h 226"/>
                <a:gd name="T56" fmla="*/ 208 w 332"/>
                <a:gd name="T57" fmla="*/ 223 h 226"/>
                <a:gd name="T58" fmla="*/ 195 w 332"/>
                <a:gd name="T59" fmla="*/ 216 h 226"/>
                <a:gd name="T60" fmla="*/ 184 w 332"/>
                <a:gd name="T61" fmla="*/ 216 h 226"/>
                <a:gd name="T62" fmla="*/ 172 w 332"/>
                <a:gd name="T63" fmla="*/ 208 h 226"/>
                <a:gd name="T64" fmla="*/ 156 w 332"/>
                <a:gd name="T65" fmla="*/ 203 h 226"/>
                <a:gd name="T66" fmla="*/ 138 w 332"/>
                <a:gd name="T67" fmla="*/ 203 h 226"/>
                <a:gd name="T68" fmla="*/ 127 w 332"/>
                <a:gd name="T69" fmla="*/ 211 h 226"/>
                <a:gd name="T70" fmla="*/ 114 w 332"/>
                <a:gd name="T71" fmla="*/ 219 h 226"/>
                <a:gd name="T72" fmla="*/ 96 w 332"/>
                <a:gd name="T73" fmla="*/ 223 h 226"/>
                <a:gd name="T74" fmla="*/ 81 w 332"/>
                <a:gd name="T75" fmla="*/ 224 h 226"/>
                <a:gd name="T76" fmla="*/ 78 w 332"/>
                <a:gd name="T77" fmla="*/ 213 h 226"/>
                <a:gd name="T78" fmla="*/ 70 w 332"/>
                <a:gd name="T79" fmla="*/ 203 h 226"/>
                <a:gd name="T80" fmla="*/ 57 w 332"/>
                <a:gd name="T81" fmla="*/ 193 h 226"/>
                <a:gd name="T82" fmla="*/ 47 w 332"/>
                <a:gd name="T83" fmla="*/ 182 h 226"/>
                <a:gd name="T84" fmla="*/ 52 w 332"/>
                <a:gd name="T85" fmla="*/ 171 h 226"/>
                <a:gd name="T86" fmla="*/ 52 w 332"/>
                <a:gd name="T87" fmla="*/ 153 h 226"/>
                <a:gd name="T88" fmla="*/ 50 w 332"/>
                <a:gd name="T89" fmla="*/ 140 h 226"/>
                <a:gd name="T90" fmla="*/ 37 w 332"/>
                <a:gd name="T91" fmla="*/ 127 h 226"/>
                <a:gd name="T92" fmla="*/ 16 w 332"/>
                <a:gd name="T93" fmla="*/ 112 h 226"/>
                <a:gd name="T94" fmla="*/ 3 w 332"/>
                <a:gd name="T95" fmla="*/ 97 h 226"/>
                <a:gd name="T96" fmla="*/ 24 w 332"/>
                <a:gd name="T97" fmla="*/ 88 h 226"/>
                <a:gd name="T98" fmla="*/ 42 w 332"/>
                <a:gd name="T99" fmla="*/ 70 h 226"/>
                <a:gd name="T100" fmla="*/ 63 w 332"/>
                <a:gd name="T101" fmla="*/ 58 h 226"/>
                <a:gd name="T102" fmla="*/ 75 w 332"/>
                <a:gd name="T103" fmla="*/ 47 h 226"/>
                <a:gd name="T104" fmla="*/ 93 w 332"/>
                <a:gd name="T105" fmla="*/ 44 h 226"/>
                <a:gd name="T106" fmla="*/ 99 w 332"/>
                <a:gd name="T107" fmla="*/ 39 h 226"/>
                <a:gd name="T108" fmla="*/ 107 w 332"/>
                <a:gd name="T109" fmla="*/ 29 h 226"/>
                <a:gd name="T110" fmla="*/ 122 w 332"/>
                <a:gd name="T111" fmla="*/ 23 h 226"/>
                <a:gd name="T112" fmla="*/ 130 w 332"/>
                <a:gd name="T113" fmla="*/ 19 h 226"/>
                <a:gd name="T114" fmla="*/ 125 w 332"/>
                <a:gd name="T115" fmla="*/ 11 h 226"/>
                <a:gd name="T116" fmla="*/ 140 w 332"/>
                <a:gd name="T117" fmla="*/ 0 h 226"/>
                <a:gd name="T118" fmla="*/ 153 w 332"/>
                <a:gd name="T119" fmla="*/ 36 h 226"/>
                <a:gd name="T120" fmla="*/ 148 w 332"/>
                <a:gd name="T121" fmla="*/ 34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32" h="226">
                  <a:moveTo>
                    <a:pt x="228" y="70"/>
                  </a:moveTo>
                  <a:lnTo>
                    <a:pt x="224" y="66"/>
                  </a:lnTo>
                  <a:lnTo>
                    <a:pt x="223" y="65"/>
                  </a:lnTo>
                  <a:lnTo>
                    <a:pt x="223" y="63"/>
                  </a:lnTo>
                  <a:lnTo>
                    <a:pt x="224" y="60"/>
                  </a:lnTo>
                  <a:lnTo>
                    <a:pt x="224" y="58"/>
                  </a:lnTo>
                  <a:lnTo>
                    <a:pt x="226" y="58"/>
                  </a:lnTo>
                  <a:lnTo>
                    <a:pt x="228" y="58"/>
                  </a:lnTo>
                  <a:lnTo>
                    <a:pt x="229" y="60"/>
                  </a:lnTo>
                  <a:lnTo>
                    <a:pt x="231" y="62"/>
                  </a:lnTo>
                  <a:lnTo>
                    <a:pt x="231" y="65"/>
                  </a:lnTo>
                  <a:lnTo>
                    <a:pt x="229" y="66"/>
                  </a:lnTo>
                  <a:lnTo>
                    <a:pt x="229" y="68"/>
                  </a:lnTo>
                  <a:lnTo>
                    <a:pt x="229" y="70"/>
                  </a:lnTo>
                  <a:lnTo>
                    <a:pt x="228" y="70"/>
                  </a:lnTo>
                  <a:close/>
                  <a:moveTo>
                    <a:pt x="146" y="11"/>
                  </a:moveTo>
                  <a:lnTo>
                    <a:pt x="145" y="13"/>
                  </a:lnTo>
                  <a:lnTo>
                    <a:pt x="146" y="14"/>
                  </a:lnTo>
                  <a:lnTo>
                    <a:pt x="148" y="14"/>
                  </a:lnTo>
                  <a:lnTo>
                    <a:pt x="148" y="13"/>
                  </a:lnTo>
                  <a:lnTo>
                    <a:pt x="150" y="13"/>
                  </a:lnTo>
                  <a:lnTo>
                    <a:pt x="150" y="14"/>
                  </a:lnTo>
                  <a:lnTo>
                    <a:pt x="151" y="14"/>
                  </a:lnTo>
                  <a:lnTo>
                    <a:pt x="153" y="13"/>
                  </a:lnTo>
                  <a:lnTo>
                    <a:pt x="155" y="9"/>
                  </a:lnTo>
                  <a:lnTo>
                    <a:pt x="158" y="9"/>
                  </a:lnTo>
                  <a:lnTo>
                    <a:pt x="159" y="9"/>
                  </a:lnTo>
                  <a:lnTo>
                    <a:pt x="159" y="11"/>
                  </a:lnTo>
                  <a:lnTo>
                    <a:pt x="161" y="11"/>
                  </a:lnTo>
                  <a:lnTo>
                    <a:pt x="163" y="11"/>
                  </a:lnTo>
                  <a:lnTo>
                    <a:pt x="164" y="11"/>
                  </a:lnTo>
                  <a:lnTo>
                    <a:pt x="166" y="11"/>
                  </a:lnTo>
                  <a:lnTo>
                    <a:pt x="166" y="13"/>
                  </a:lnTo>
                  <a:lnTo>
                    <a:pt x="166" y="18"/>
                  </a:lnTo>
                  <a:lnTo>
                    <a:pt x="164" y="18"/>
                  </a:lnTo>
                  <a:lnTo>
                    <a:pt x="161" y="19"/>
                  </a:lnTo>
                  <a:lnTo>
                    <a:pt x="161" y="21"/>
                  </a:lnTo>
                  <a:lnTo>
                    <a:pt x="159" y="21"/>
                  </a:lnTo>
                  <a:lnTo>
                    <a:pt x="158" y="21"/>
                  </a:lnTo>
                  <a:lnTo>
                    <a:pt x="158" y="23"/>
                  </a:lnTo>
                  <a:lnTo>
                    <a:pt x="158" y="24"/>
                  </a:lnTo>
                  <a:lnTo>
                    <a:pt x="158" y="26"/>
                  </a:lnTo>
                  <a:lnTo>
                    <a:pt x="158" y="27"/>
                  </a:lnTo>
                  <a:lnTo>
                    <a:pt x="158" y="29"/>
                  </a:lnTo>
                  <a:lnTo>
                    <a:pt x="158" y="31"/>
                  </a:lnTo>
                  <a:lnTo>
                    <a:pt x="158" y="32"/>
                  </a:lnTo>
                  <a:lnTo>
                    <a:pt x="159" y="32"/>
                  </a:lnTo>
                  <a:lnTo>
                    <a:pt x="161" y="29"/>
                  </a:lnTo>
                  <a:lnTo>
                    <a:pt x="163" y="29"/>
                  </a:lnTo>
                  <a:lnTo>
                    <a:pt x="164" y="29"/>
                  </a:lnTo>
                  <a:lnTo>
                    <a:pt x="164" y="26"/>
                  </a:lnTo>
                  <a:lnTo>
                    <a:pt x="164" y="24"/>
                  </a:lnTo>
                  <a:lnTo>
                    <a:pt x="164" y="23"/>
                  </a:lnTo>
                  <a:lnTo>
                    <a:pt x="166" y="23"/>
                  </a:lnTo>
                  <a:lnTo>
                    <a:pt x="168" y="24"/>
                  </a:lnTo>
                  <a:lnTo>
                    <a:pt x="168" y="26"/>
                  </a:lnTo>
                  <a:lnTo>
                    <a:pt x="168" y="27"/>
                  </a:lnTo>
                  <a:lnTo>
                    <a:pt x="169" y="27"/>
                  </a:lnTo>
                  <a:lnTo>
                    <a:pt x="169" y="26"/>
                  </a:lnTo>
                  <a:lnTo>
                    <a:pt x="169" y="27"/>
                  </a:lnTo>
                  <a:lnTo>
                    <a:pt x="169" y="26"/>
                  </a:lnTo>
                  <a:lnTo>
                    <a:pt x="171" y="26"/>
                  </a:lnTo>
                  <a:lnTo>
                    <a:pt x="174" y="26"/>
                  </a:lnTo>
                  <a:lnTo>
                    <a:pt x="174" y="27"/>
                  </a:lnTo>
                  <a:lnTo>
                    <a:pt x="176" y="27"/>
                  </a:lnTo>
                  <a:lnTo>
                    <a:pt x="177" y="27"/>
                  </a:lnTo>
                  <a:lnTo>
                    <a:pt x="179" y="27"/>
                  </a:lnTo>
                  <a:lnTo>
                    <a:pt x="181" y="27"/>
                  </a:lnTo>
                  <a:lnTo>
                    <a:pt x="181" y="26"/>
                  </a:lnTo>
                  <a:lnTo>
                    <a:pt x="182" y="24"/>
                  </a:lnTo>
                  <a:lnTo>
                    <a:pt x="182" y="23"/>
                  </a:lnTo>
                  <a:lnTo>
                    <a:pt x="184" y="24"/>
                  </a:lnTo>
                  <a:lnTo>
                    <a:pt x="185" y="26"/>
                  </a:lnTo>
                  <a:lnTo>
                    <a:pt x="187" y="24"/>
                  </a:lnTo>
                  <a:lnTo>
                    <a:pt x="189" y="24"/>
                  </a:lnTo>
                  <a:lnTo>
                    <a:pt x="190" y="24"/>
                  </a:lnTo>
                  <a:lnTo>
                    <a:pt x="190" y="23"/>
                  </a:lnTo>
                  <a:lnTo>
                    <a:pt x="190" y="21"/>
                  </a:lnTo>
                  <a:lnTo>
                    <a:pt x="192" y="21"/>
                  </a:lnTo>
                  <a:lnTo>
                    <a:pt x="194" y="19"/>
                  </a:lnTo>
                  <a:lnTo>
                    <a:pt x="195" y="19"/>
                  </a:lnTo>
                  <a:lnTo>
                    <a:pt x="197" y="19"/>
                  </a:lnTo>
                  <a:lnTo>
                    <a:pt x="197" y="23"/>
                  </a:lnTo>
                  <a:lnTo>
                    <a:pt x="197" y="24"/>
                  </a:lnTo>
                  <a:lnTo>
                    <a:pt x="197" y="26"/>
                  </a:lnTo>
                  <a:lnTo>
                    <a:pt x="198" y="26"/>
                  </a:lnTo>
                  <a:lnTo>
                    <a:pt x="198" y="24"/>
                  </a:lnTo>
                  <a:lnTo>
                    <a:pt x="200" y="24"/>
                  </a:lnTo>
                  <a:lnTo>
                    <a:pt x="200" y="23"/>
                  </a:lnTo>
                  <a:lnTo>
                    <a:pt x="202" y="23"/>
                  </a:lnTo>
                  <a:lnTo>
                    <a:pt x="202" y="24"/>
                  </a:lnTo>
                  <a:lnTo>
                    <a:pt x="203" y="24"/>
                  </a:lnTo>
                  <a:lnTo>
                    <a:pt x="205" y="27"/>
                  </a:lnTo>
                  <a:lnTo>
                    <a:pt x="207" y="27"/>
                  </a:lnTo>
                  <a:lnTo>
                    <a:pt x="208" y="26"/>
                  </a:lnTo>
                  <a:lnTo>
                    <a:pt x="210" y="26"/>
                  </a:lnTo>
                  <a:lnTo>
                    <a:pt x="210" y="27"/>
                  </a:lnTo>
                  <a:lnTo>
                    <a:pt x="213" y="27"/>
                  </a:lnTo>
                  <a:lnTo>
                    <a:pt x="216" y="27"/>
                  </a:lnTo>
                  <a:lnTo>
                    <a:pt x="216" y="29"/>
                  </a:lnTo>
                  <a:lnTo>
                    <a:pt x="218" y="29"/>
                  </a:lnTo>
                  <a:lnTo>
                    <a:pt x="218" y="27"/>
                  </a:lnTo>
                  <a:lnTo>
                    <a:pt x="220" y="27"/>
                  </a:lnTo>
                  <a:lnTo>
                    <a:pt x="221" y="29"/>
                  </a:lnTo>
                  <a:lnTo>
                    <a:pt x="221" y="31"/>
                  </a:lnTo>
                  <a:lnTo>
                    <a:pt x="223" y="32"/>
                  </a:lnTo>
                  <a:lnTo>
                    <a:pt x="223" y="34"/>
                  </a:lnTo>
                  <a:lnTo>
                    <a:pt x="223" y="36"/>
                  </a:lnTo>
                  <a:lnTo>
                    <a:pt x="221" y="37"/>
                  </a:lnTo>
                  <a:lnTo>
                    <a:pt x="223" y="40"/>
                  </a:lnTo>
                  <a:lnTo>
                    <a:pt x="221" y="44"/>
                  </a:lnTo>
                  <a:lnTo>
                    <a:pt x="220" y="44"/>
                  </a:lnTo>
                  <a:lnTo>
                    <a:pt x="220" y="45"/>
                  </a:lnTo>
                  <a:lnTo>
                    <a:pt x="220" y="47"/>
                  </a:lnTo>
                  <a:lnTo>
                    <a:pt x="218" y="47"/>
                  </a:lnTo>
                  <a:lnTo>
                    <a:pt x="216" y="50"/>
                  </a:lnTo>
                  <a:lnTo>
                    <a:pt x="215" y="52"/>
                  </a:lnTo>
                  <a:lnTo>
                    <a:pt x="213" y="53"/>
                  </a:lnTo>
                  <a:lnTo>
                    <a:pt x="211" y="55"/>
                  </a:lnTo>
                  <a:lnTo>
                    <a:pt x="211" y="57"/>
                  </a:lnTo>
                  <a:lnTo>
                    <a:pt x="211" y="58"/>
                  </a:lnTo>
                  <a:lnTo>
                    <a:pt x="211" y="60"/>
                  </a:lnTo>
                  <a:lnTo>
                    <a:pt x="211" y="62"/>
                  </a:lnTo>
                  <a:lnTo>
                    <a:pt x="211" y="63"/>
                  </a:lnTo>
                  <a:lnTo>
                    <a:pt x="210" y="65"/>
                  </a:lnTo>
                  <a:lnTo>
                    <a:pt x="211" y="66"/>
                  </a:lnTo>
                  <a:lnTo>
                    <a:pt x="211" y="68"/>
                  </a:lnTo>
                  <a:lnTo>
                    <a:pt x="211" y="70"/>
                  </a:lnTo>
                  <a:lnTo>
                    <a:pt x="213" y="70"/>
                  </a:lnTo>
                  <a:lnTo>
                    <a:pt x="215" y="70"/>
                  </a:lnTo>
                  <a:lnTo>
                    <a:pt x="216" y="70"/>
                  </a:lnTo>
                  <a:lnTo>
                    <a:pt x="216" y="71"/>
                  </a:lnTo>
                  <a:lnTo>
                    <a:pt x="216" y="73"/>
                  </a:lnTo>
                  <a:lnTo>
                    <a:pt x="218" y="73"/>
                  </a:lnTo>
                  <a:lnTo>
                    <a:pt x="218" y="75"/>
                  </a:lnTo>
                  <a:lnTo>
                    <a:pt x="220" y="73"/>
                  </a:lnTo>
                  <a:lnTo>
                    <a:pt x="221" y="73"/>
                  </a:lnTo>
                  <a:lnTo>
                    <a:pt x="223" y="73"/>
                  </a:lnTo>
                  <a:lnTo>
                    <a:pt x="224" y="73"/>
                  </a:lnTo>
                  <a:lnTo>
                    <a:pt x="224" y="75"/>
                  </a:lnTo>
                  <a:lnTo>
                    <a:pt x="224" y="76"/>
                  </a:lnTo>
                  <a:lnTo>
                    <a:pt x="224" y="78"/>
                  </a:lnTo>
                  <a:lnTo>
                    <a:pt x="226" y="78"/>
                  </a:lnTo>
                  <a:lnTo>
                    <a:pt x="224" y="79"/>
                  </a:lnTo>
                  <a:lnTo>
                    <a:pt x="224" y="81"/>
                  </a:lnTo>
                  <a:lnTo>
                    <a:pt x="226" y="83"/>
                  </a:lnTo>
                  <a:lnTo>
                    <a:pt x="228" y="84"/>
                  </a:lnTo>
                  <a:lnTo>
                    <a:pt x="229" y="84"/>
                  </a:lnTo>
                  <a:lnTo>
                    <a:pt x="231" y="86"/>
                  </a:lnTo>
                  <a:lnTo>
                    <a:pt x="233" y="84"/>
                  </a:lnTo>
                  <a:lnTo>
                    <a:pt x="233" y="86"/>
                  </a:lnTo>
                  <a:lnTo>
                    <a:pt x="236" y="86"/>
                  </a:lnTo>
                  <a:lnTo>
                    <a:pt x="239" y="88"/>
                  </a:lnTo>
                  <a:lnTo>
                    <a:pt x="242" y="89"/>
                  </a:lnTo>
                  <a:lnTo>
                    <a:pt x="244" y="89"/>
                  </a:lnTo>
                  <a:lnTo>
                    <a:pt x="246" y="88"/>
                  </a:lnTo>
                  <a:lnTo>
                    <a:pt x="247" y="88"/>
                  </a:lnTo>
                  <a:lnTo>
                    <a:pt x="249" y="89"/>
                  </a:lnTo>
                  <a:lnTo>
                    <a:pt x="252" y="89"/>
                  </a:lnTo>
                  <a:lnTo>
                    <a:pt x="254" y="89"/>
                  </a:lnTo>
                  <a:lnTo>
                    <a:pt x="254" y="91"/>
                  </a:lnTo>
                  <a:lnTo>
                    <a:pt x="255" y="92"/>
                  </a:lnTo>
                  <a:lnTo>
                    <a:pt x="257" y="91"/>
                  </a:lnTo>
                  <a:lnTo>
                    <a:pt x="260" y="91"/>
                  </a:lnTo>
                  <a:lnTo>
                    <a:pt x="262" y="91"/>
                  </a:lnTo>
                  <a:lnTo>
                    <a:pt x="264" y="91"/>
                  </a:lnTo>
                  <a:lnTo>
                    <a:pt x="265" y="89"/>
                  </a:lnTo>
                  <a:lnTo>
                    <a:pt x="267" y="89"/>
                  </a:lnTo>
                  <a:lnTo>
                    <a:pt x="270" y="89"/>
                  </a:lnTo>
                  <a:lnTo>
                    <a:pt x="272" y="91"/>
                  </a:lnTo>
                  <a:lnTo>
                    <a:pt x="273" y="89"/>
                  </a:lnTo>
                  <a:lnTo>
                    <a:pt x="275" y="89"/>
                  </a:lnTo>
                  <a:lnTo>
                    <a:pt x="277" y="89"/>
                  </a:lnTo>
                  <a:lnTo>
                    <a:pt x="280" y="89"/>
                  </a:lnTo>
                  <a:lnTo>
                    <a:pt x="281" y="89"/>
                  </a:lnTo>
                  <a:lnTo>
                    <a:pt x="283" y="89"/>
                  </a:lnTo>
                  <a:lnTo>
                    <a:pt x="285" y="89"/>
                  </a:lnTo>
                  <a:lnTo>
                    <a:pt x="286" y="88"/>
                  </a:lnTo>
                  <a:lnTo>
                    <a:pt x="288" y="88"/>
                  </a:lnTo>
                  <a:lnTo>
                    <a:pt x="290" y="88"/>
                  </a:lnTo>
                  <a:lnTo>
                    <a:pt x="291" y="89"/>
                  </a:lnTo>
                  <a:lnTo>
                    <a:pt x="293" y="91"/>
                  </a:lnTo>
                  <a:lnTo>
                    <a:pt x="291" y="92"/>
                  </a:lnTo>
                  <a:lnTo>
                    <a:pt x="290" y="92"/>
                  </a:lnTo>
                  <a:lnTo>
                    <a:pt x="291" y="92"/>
                  </a:lnTo>
                  <a:lnTo>
                    <a:pt x="294" y="94"/>
                  </a:lnTo>
                  <a:lnTo>
                    <a:pt x="296" y="94"/>
                  </a:lnTo>
                  <a:lnTo>
                    <a:pt x="298" y="97"/>
                  </a:lnTo>
                  <a:lnTo>
                    <a:pt x="298" y="99"/>
                  </a:lnTo>
                  <a:lnTo>
                    <a:pt x="298" y="101"/>
                  </a:lnTo>
                  <a:lnTo>
                    <a:pt x="299" y="102"/>
                  </a:lnTo>
                  <a:lnTo>
                    <a:pt x="298" y="104"/>
                  </a:lnTo>
                  <a:lnTo>
                    <a:pt x="298" y="105"/>
                  </a:lnTo>
                  <a:lnTo>
                    <a:pt x="299" y="105"/>
                  </a:lnTo>
                  <a:lnTo>
                    <a:pt x="299" y="107"/>
                  </a:lnTo>
                  <a:lnTo>
                    <a:pt x="301" y="109"/>
                  </a:lnTo>
                  <a:lnTo>
                    <a:pt x="298" y="110"/>
                  </a:lnTo>
                  <a:lnTo>
                    <a:pt x="298" y="114"/>
                  </a:lnTo>
                  <a:lnTo>
                    <a:pt x="296" y="114"/>
                  </a:lnTo>
                  <a:lnTo>
                    <a:pt x="296" y="115"/>
                  </a:lnTo>
                  <a:lnTo>
                    <a:pt x="298" y="115"/>
                  </a:lnTo>
                  <a:lnTo>
                    <a:pt x="298" y="117"/>
                  </a:lnTo>
                  <a:lnTo>
                    <a:pt x="298" y="120"/>
                  </a:lnTo>
                  <a:lnTo>
                    <a:pt x="299" y="120"/>
                  </a:lnTo>
                  <a:lnTo>
                    <a:pt x="299" y="125"/>
                  </a:lnTo>
                  <a:lnTo>
                    <a:pt x="299" y="127"/>
                  </a:lnTo>
                  <a:lnTo>
                    <a:pt x="298" y="127"/>
                  </a:lnTo>
                  <a:lnTo>
                    <a:pt x="296" y="128"/>
                  </a:lnTo>
                  <a:lnTo>
                    <a:pt x="296" y="130"/>
                  </a:lnTo>
                  <a:lnTo>
                    <a:pt x="296" y="131"/>
                  </a:lnTo>
                  <a:lnTo>
                    <a:pt x="293" y="130"/>
                  </a:lnTo>
                  <a:lnTo>
                    <a:pt x="291" y="130"/>
                  </a:lnTo>
                  <a:lnTo>
                    <a:pt x="290" y="130"/>
                  </a:lnTo>
                  <a:lnTo>
                    <a:pt x="288" y="131"/>
                  </a:lnTo>
                  <a:lnTo>
                    <a:pt x="286" y="131"/>
                  </a:lnTo>
                  <a:lnTo>
                    <a:pt x="285" y="131"/>
                  </a:lnTo>
                  <a:lnTo>
                    <a:pt x="283" y="133"/>
                  </a:lnTo>
                  <a:lnTo>
                    <a:pt x="281" y="135"/>
                  </a:lnTo>
                  <a:lnTo>
                    <a:pt x="280" y="133"/>
                  </a:lnTo>
                  <a:lnTo>
                    <a:pt x="278" y="135"/>
                  </a:lnTo>
                  <a:lnTo>
                    <a:pt x="277" y="138"/>
                  </a:lnTo>
                  <a:lnTo>
                    <a:pt x="275" y="138"/>
                  </a:lnTo>
                  <a:lnTo>
                    <a:pt x="273" y="140"/>
                  </a:lnTo>
                  <a:lnTo>
                    <a:pt x="273" y="141"/>
                  </a:lnTo>
                  <a:lnTo>
                    <a:pt x="273" y="143"/>
                  </a:lnTo>
                  <a:lnTo>
                    <a:pt x="273" y="144"/>
                  </a:lnTo>
                  <a:lnTo>
                    <a:pt x="275" y="144"/>
                  </a:lnTo>
                  <a:lnTo>
                    <a:pt x="275" y="146"/>
                  </a:lnTo>
                  <a:lnTo>
                    <a:pt x="277" y="146"/>
                  </a:lnTo>
                  <a:lnTo>
                    <a:pt x="278" y="144"/>
                  </a:lnTo>
                  <a:lnTo>
                    <a:pt x="280" y="143"/>
                  </a:lnTo>
                  <a:lnTo>
                    <a:pt x="281" y="143"/>
                  </a:lnTo>
                  <a:lnTo>
                    <a:pt x="285" y="141"/>
                  </a:lnTo>
                  <a:lnTo>
                    <a:pt x="288" y="143"/>
                  </a:lnTo>
                  <a:lnTo>
                    <a:pt x="290" y="143"/>
                  </a:lnTo>
                  <a:lnTo>
                    <a:pt x="291" y="143"/>
                  </a:lnTo>
                  <a:lnTo>
                    <a:pt x="291" y="141"/>
                  </a:lnTo>
                  <a:lnTo>
                    <a:pt x="293" y="141"/>
                  </a:lnTo>
                  <a:lnTo>
                    <a:pt x="294" y="141"/>
                  </a:lnTo>
                  <a:lnTo>
                    <a:pt x="296" y="141"/>
                  </a:lnTo>
                  <a:lnTo>
                    <a:pt x="298" y="141"/>
                  </a:lnTo>
                  <a:lnTo>
                    <a:pt x="298" y="143"/>
                  </a:lnTo>
                  <a:lnTo>
                    <a:pt x="298" y="144"/>
                  </a:lnTo>
                  <a:lnTo>
                    <a:pt x="298" y="146"/>
                  </a:lnTo>
                  <a:lnTo>
                    <a:pt x="299" y="146"/>
                  </a:lnTo>
                  <a:lnTo>
                    <a:pt x="299" y="148"/>
                  </a:lnTo>
                  <a:lnTo>
                    <a:pt x="301" y="149"/>
                  </a:lnTo>
                  <a:lnTo>
                    <a:pt x="303" y="149"/>
                  </a:lnTo>
                  <a:lnTo>
                    <a:pt x="304" y="153"/>
                  </a:lnTo>
                  <a:lnTo>
                    <a:pt x="306" y="154"/>
                  </a:lnTo>
                  <a:lnTo>
                    <a:pt x="309" y="153"/>
                  </a:lnTo>
                  <a:lnTo>
                    <a:pt x="311" y="153"/>
                  </a:lnTo>
                  <a:lnTo>
                    <a:pt x="312" y="154"/>
                  </a:lnTo>
                  <a:lnTo>
                    <a:pt x="314" y="154"/>
                  </a:lnTo>
                  <a:lnTo>
                    <a:pt x="317" y="154"/>
                  </a:lnTo>
                  <a:lnTo>
                    <a:pt x="320" y="153"/>
                  </a:lnTo>
                  <a:lnTo>
                    <a:pt x="322" y="151"/>
                  </a:lnTo>
                  <a:lnTo>
                    <a:pt x="324" y="151"/>
                  </a:lnTo>
                  <a:lnTo>
                    <a:pt x="325" y="153"/>
                  </a:lnTo>
                  <a:lnTo>
                    <a:pt x="329" y="154"/>
                  </a:lnTo>
                  <a:lnTo>
                    <a:pt x="330" y="154"/>
                  </a:lnTo>
                  <a:lnTo>
                    <a:pt x="332" y="156"/>
                  </a:lnTo>
                  <a:lnTo>
                    <a:pt x="332" y="216"/>
                  </a:lnTo>
                  <a:lnTo>
                    <a:pt x="330" y="216"/>
                  </a:lnTo>
                  <a:lnTo>
                    <a:pt x="329" y="216"/>
                  </a:lnTo>
                  <a:lnTo>
                    <a:pt x="329" y="214"/>
                  </a:lnTo>
                  <a:lnTo>
                    <a:pt x="329" y="211"/>
                  </a:lnTo>
                  <a:lnTo>
                    <a:pt x="327" y="210"/>
                  </a:lnTo>
                  <a:lnTo>
                    <a:pt x="327" y="208"/>
                  </a:lnTo>
                  <a:lnTo>
                    <a:pt x="327" y="206"/>
                  </a:lnTo>
                  <a:lnTo>
                    <a:pt x="329" y="206"/>
                  </a:lnTo>
                  <a:lnTo>
                    <a:pt x="329" y="205"/>
                  </a:lnTo>
                  <a:lnTo>
                    <a:pt x="329" y="203"/>
                  </a:lnTo>
                  <a:lnTo>
                    <a:pt x="329" y="201"/>
                  </a:lnTo>
                  <a:lnTo>
                    <a:pt x="327" y="200"/>
                  </a:lnTo>
                  <a:lnTo>
                    <a:pt x="325" y="200"/>
                  </a:lnTo>
                  <a:lnTo>
                    <a:pt x="325" y="198"/>
                  </a:lnTo>
                  <a:lnTo>
                    <a:pt x="325" y="197"/>
                  </a:lnTo>
                  <a:lnTo>
                    <a:pt x="324" y="197"/>
                  </a:lnTo>
                  <a:lnTo>
                    <a:pt x="324" y="195"/>
                  </a:lnTo>
                  <a:lnTo>
                    <a:pt x="322" y="193"/>
                  </a:lnTo>
                  <a:lnTo>
                    <a:pt x="322" y="192"/>
                  </a:lnTo>
                  <a:lnTo>
                    <a:pt x="320" y="192"/>
                  </a:lnTo>
                  <a:lnTo>
                    <a:pt x="319" y="190"/>
                  </a:lnTo>
                  <a:lnTo>
                    <a:pt x="317" y="190"/>
                  </a:lnTo>
                  <a:lnTo>
                    <a:pt x="316" y="188"/>
                  </a:lnTo>
                  <a:lnTo>
                    <a:pt x="312" y="188"/>
                  </a:lnTo>
                  <a:lnTo>
                    <a:pt x="311" y="188"/>
                  </a:lnTo>
                  <a:lnTo>
                    <a:pt x="311" y="190"/>
                  </a:lnTo>
                  <a:lnTo>
                    <a:pt x="309" y="188"/>
                  </a:lnTo>
                  <a:lnTo>
                    <a:pt x="307" y="190"/>
                  </a:lnTo>
                  <a:lnTo>
                    <a:pt x="306" y="190"/>
                  </a:lnTo>
                  <a:lnTo>
                    <a:pt x="306" y="192"/>
                  </a:lnTo>
                  <a:lnTo>
                    <a:pt x="306" y="193"/>
                  </a:lnTo>
                  <a:lnTo>
                    <a:pt x="304" y="193"/>
                  </a:lnTo>
                  <a:lnTo>
                    <a:pt x="304" y="195"/>
                  </a:lnTo>
                  <a:lnTo>
                    <a:pt x="303" y="198"/>
                  </a:lnTo>
                  <a:lnTo>
                    <a:pt x="301" y="198"/>
                  </a:lnTo>
                  <a:lnTo>
                    <a:pt x="301" y="200"/>
                  </a:lnTo>
                  <a:lnTo>
                    <a:pt x="299" y="200"/>
                  </a:lnTo>
                  <a:lnTo>
                    <a:pt x="298" y="200"/>
                  </a:lnTo>
                  <a:lnTo>
                    <a:pt x="296" y="200"/>
                  </a:lnTo>
                  <a:lnTo>
                    <a:pt x="296" y="201"/>
                  </a:lnTo>
                  <a:lnTo>
                    <a:pt x="296" y="203"/>
                  </a:lnTo>
                  <a:lnTo>
                    <a:pt x="298" y="203"/>
                  </a:lnTo>
                  <a:lnTo>
                    <a:pt x="298" y="205"/>
                  </a:lnTo>
                  <a:lnTo>
                    <a:pt x="296" y="205"/>
                  </a:lnTo>
                  <a:lnTo>
                    <a:pt x="294" y="205"/>
                  </a:lnTo>
                  <a:lnTo>
                    <a:pt x="294" y="206"/>
                  </a:lnTo>
                  <a:lnTo>
                    <a:pt x="294" y="208"/>
                  </a:lnTo>
                  <a:lnTo>
                    <a:pt x="294" y="210"/>
                  </a:lnTo>
                  <a:lnTo>
                    <a:pt x="293" y="211"/>
                  </a:lnTo>
                  <a:lnTo>
                    <a:pt x="291" y="213"/>
                  </a:lnTo>
                  <a:lnTo>
                    <a:pt x="291" y="214"/>
                  </a:lnTo>
                  <a:lnTo>
                    <a:pt x="291" y="216"/>
                  </a:lnTo>
                  <a:lnTo>
                    <a:pt x="290" y="214"/>
                  </a:lnTo>
                  <a:lnTo>
                    <a:pt x="288" y="216"/>
                  </a:lnTo>
                  <a:lnTo>
                    <a:pt x="286" y="214"/>
                  </a:lnTo>
                  <a:lnTo>
                    <a:pt x="285" y="214"/>
                  </a:lnTo>
                  <a:lnTo>
                    <a:pt x="283" y="214"/>
                  </a:lnTo>
                  <a:lnTo>
                    <a:pt x="281" y="213"/>
                  </a:lnTo>
                  <a:lnTo>
                    <a:pt x="281" y="214"/>
                  </a:lnTo>
                  <a:lnTo>
                    <a:pt x="278" y="214"/>
                  </a:lnTo>
                  <a:lnTo>
                    <a:pt x="275" y="216"/>
                  </a:lnTo>
                  <a:lnTo>
                    <a:pt x="275" y="214"/>
                  </a:lnTo>
                  <a:lnTo>
                    <a:pt x="273" y="214"/>
                  </a:lnTo>
                  <a:lnTo>
                    <a:pt x="272" y="214"/>
                  </a:lnTo>
                  <a:lnTo>
                    <a:pt x="270" y="214"/>
                  </a:lnTo>
                  <a:lnTo>
                    <a:pt x="268" y="213"/>
                  </a:lnTo>
                  <a:lnTo>
                    <a:pt x="268" y="210"/>
                  </a:lnTo>
                  <a:lnTo>
                    <a:pt x="267" y="210"/>
                  </a:lnTo>
                  <a:lnTo>
                    <a:pt x="267" y="208"/>
                  </a:lnTo>
                  <a:lnTo>
                    <a:pt x="264" y="210"/>
                  </a:lnTo>
                  <a:lnTo>
                    <a:pt x="264" y="211"/>
                  </a:lnTo>
                  <a:lnTo>
                    <a:pt x="262" y="211"/>
                  </a:lnTo>
                  <a:lnTo>
                    <a:pt x="260" y="213"/>
                  </a:lnTo>
                  <a:lnTo>
                    <a:pt x="260" y="214"/>
                  </a:lnTo>
                  <a:lnTo>
                    <a:pt x="260" y="216"/>
                  </a:lnTo>
                  <a:lnTo>
                    <a:pt x="260" y="218"/>
                  </a:lnTo>
                  <a:lnTo>
                    <a:pt x="259" y="218"/>
                  </a:lnTo>
                  <a:lnTo>
                    <a:pt x="257" y="218"/>
                  </a:lnTo>
                  <a:lnTo>
                    <a:pt x="255" y="218"/>
                  </a:lnTo>
                  <a:lnTo>
                    <a:pt x="255" y="216"/>
                  </a:lnTo>
                  <a:lnTo>
                    <a:pt x="254" y="214"/>
                  </a:lnTo>
                  <a:lnTo>
                    <a:pt x="254" y="213"/>
                  </a:lnTo>
                  <a:lnTo>
                    <a:pt x="254" y="211"/>
                  </a:lnTo>
                  <a:lnTo>
                    <a:pt x="254" y="210"/>
                  </a:lnTo>
                  <a:lnTo>
                    <a:pt x="252" y="210"/>
                  </a:lnTo>
                  <a:lnTo>
                    <a:pt x="252" y="208"/>
                  </a:lnTo>
                  <a:lnTo>
                    <a:pt x="252" y="206"/>
                  </a:lnTo>
                  <a:lnTo>
                    <a:pt x="250" y="205"/>
                  </a:lnTo>
                  <a:lnTo>
                    <a:pt x="249" y="205"/>
                  </a:lnTo>
                  <a:lnTo>
                    <a:pt x="247" y="203"/>
                  </a:lnTo>
                  <a:lnTo>
                    <a:pt x="244" y="201"/>
                  </a:lnTo>
                  <a:lnTo>
                    <a:pt x="241" y="198"/>
                  </a:lnTo>
                  <a:lnTo>
                    <a:pt x="239" y="198"/>
                  </a:lnTo>
                  <a:lnTo>
                    <a:pt x="236" y="198"/>
                  </a:lnTo>
                  <a:lnTo>
                    <a:pt x="233" y="197"/>
                  </a:lnTo>
                  <a:lnTo>
                    <a:pt x="233" y="198"/>
                  </a:lnTo>
                  <a:lnTo>
                    <a:pt x="231" y="200"/>
                  </a:lnTo>
                  <a:lnTo>
                    <a:pt x="231" y="201"/>
                  </a:lnTo>
                  <a:lnTo>
                    <a:pt x="231" y="203"/>
                  </a:lnTo>
                  <a:lnTo>
                    <a:pt x="229" y="203"/>
                  </a:lnTo>
                  <a:lnTo>
                    <a:pt x="229" y="205"/>
                  </a:lnTo>
                  <a:lnTo>
                    <a:pt x="229" y="206"/>
                  </a:lnTo>
                  <a:lnTo>
                    <a:pt x="228" y="208"/>
                  </a:lnTo>
                  <a:lnTo>
                    <a:pt x="228" y="210"/>
                  </a:lnTo>
                  <a:lnTo>
                    <a:pt x="226" y="211"/>
                  </a:lnTo>
                  <a:lnTo>
                    <a:pt x="224" y="213"/>
                  </a:lnTo>
                  <a:lnTo>
                    <a:pt x="221" y="213"/>
                  </a:lnTo>
                  <a:lnTo>
                    <a:pt x="220" y="211"/>
                  </a:lnTo>
                  <a:lnTo>
                    <a:pt x="218" y="211"/>
                  </a:lnTo>
                  <a:lnTo>
                    <a:pt x="218" y="214"/>
                  </a:lnTo>
                  <a:lnTo>
                    <a:pt x="213" y="218"/>
                  </a:lnTo>
                  <a:lnTo>
                    <a:pt x="210" y="221"/>
                  </a:lnTo>
                  <a:lnTo>
                    <a:pt x="208" y="221"/>
                  </a:lnTo>
                  <a:lnTo>
                    <a:pt x="208" y="223"/>
                  </a:lnTo>
                  <a:lnTo>
                    <a:pt x="207" y="223"/>
                  </a:lnTo>
                  <a:lnTo>
                    <a:pt x="205" y="221"/>
                  </a:lnTo>
                  <a:lnTo>
                    <a:pt x="205" y="219"/>
                  </a:lnTo>
                  <a:lnTo>
                    <a:pt x="203" y="219"/>
                  </a:lnTo>
                  <a:lnTo>
                    <a:pt x="203" y="221"/>
                  </a:lnTo>
                  <a:lnTo>
                    <a:pt x="202" y="219"/>
                  </a:lnTo>
                  <a:lnTo>
                    <a:pt x="200" y="218"/>
                  </a:lnTo>
                  <a:lnTo>
                    <a:pt x="198" y="218"/>
                  </a:lnTo>
                  <a:lnTo>
                    <a:pt x="198" y="219"/>
                  </a:lnTo>
                  <a:lnTo>
                    <a:pt x="197" y="219"/>
                  </a:lnTo>
                  <a:lnTo>
                    <a:pt x="197" y="218"/>
                  </a:lnTo>
                  <a:lnTo>
                    <a:pt x="197" y="216"/>
                  </a:lnTo>
                  <a:lnTo>
                    <a:pt x="195" y="216"/>
                  </a:lnTo>
                  <a:lnTo>
                    <a:pt x="195" y="218"/>
                  </a:lnTo>
                  <a:lnTo>
                    <a:pt x="194" y="218"/>
                  </a:lnTo>
                  <a:lnTo>
                    <a:pt x="192" y="216"/>
                  </a:lnTo>
                  <a:lnTo>
                    <a:pt x="190" y="216"/>
                  </a:lnTo>
                  <a:lnTo>
                    <a:pt x="189" y="216"/>
                  </a:lnTo>
                  <a:lnTo>
                    <a:pt x="187" y="218"/>
                  </a:lnTo>
                  <a:lnTo>
                    <a:pt x="187" y="216"/>
                  </a:lnTo>
                  <a:lnTo>
                    <a:pt x="189" y="216"/>
                  </a:lnTo>
                  <a:lnTo>
                    <a:pt x="189" y="214"/>
                  </a:lnTo>
                  <a:lnTo>
                    <a:pt x="187" y="214"/>
                  </a:lnTo>
                  <a:lnTo>
                    <a:pt x="187" y="216"/>
                  </a:lnTo>
                  <a:lnTo>
                    <a:pt x="185" y="216"/>
                  </a:lnTo>
                  <a:lnTo>
                    <a:pt x="184" y="216"/>
                  </a:lnTo>
                  <a:lnTo>
                    <a:pt x="184" y="214"/>
                  </a:lnTo>
                  <a:lnTo>
                    <a:pt x="184" y="213"/>
                  </a:lnTo>
                  <a:lnTo>
                    <a:pt x="184" y="211"/>
                  </a:lnTo>
                  <a:lnTo>
                    <a:pt x="182" y="211"/>
                  </a:lnTo>
                  <a:lnTo>
                    <a:pt x="182" y="213"/>
                  </a:lnTo>
                  <a:lnTo>
                    <a:pt x="181" y="211"/>
                  </a:lnTo>
                  <a:lnTo>
                    <a:pt x="179" y="211"/>
                  </a:lnTo>
                  <a:lnTo>
                    <a:pt x="177" y="211"/>
                  </a:lnTo>
                  <a:lnTo>
                    <a:pt x="177" y="210"/>
                  </a:lnTo>
                  <a:lnTo>
                    <a:pt x="177" y="208"/>
                  </a:lnTo>
                  <a:lnTo>
                    <a:pt x="176" y="208"/>
                  </a:lnTo>
                  <a:lnTo>
                    <a:pt x="174" y="206"/>
                  </a:lnTo>
                  <a:lnTo>
                    <a:pt x="172" y="208"/>
                  </a:lnTo>
                  <a:lnTo>
                    <a:pt x="172" y="206"/>
                  </a:lnTo>
                  <a:lnTo>
                    <a:pt x="171" y="206"/>
                  </a:lnTo>
                  <a:lnTo>
                    <a:pt x="169" y="205"/>
                  </a:lnTo>
                  <a:lnTo>
                    <a:pt x="168" y="205"/>
                  </a:lnTo>
                  <a:lnTo>
                    <a:pt x="168" y="203"/>
                  </a:lnTo>
                  <a:lnTo>
                    <a:pt x="166" y="203"/>
                  </a:lnTo>
                  <a:lnTo>
                    <a:pt x="164" y="203"/>
                  </a:lnTo>
                  <a:lnTo>
                    <a:pt x="163" y="205"/>
                  </a:lnTo>
                  <a:lnTo>
                    <a:pt x="163" y="203"/>
                  </a:lnTo>
                  <a:lnTo>
                    <a:pt x="159" y="203"/>
                  </a:lnTo>
                  <a:lnTo>
                    <a:pt x="158" y="201"/>
                  </a:lnTo>
                  <a:lnTo>
                    <a:pt x="156" y="201"/>
                  </a:lnTo>
                  <a:lnTo>
                    <a:pt x="156" y="203"/>
                  </a:lnTo>
                  <a:lnTo>
                    <a:pt x="155" y="203"/>
                  </a:lnTo>
                  <a:lnTo>
                    <a:pt x="153" y="203"/>
                  </a:lnTo>
                  <a:lnTo>
                    <a:pt x="151" y="203"/>
                  </a:lnTo>
                  <a:lnTo>
                    <a:pt x="150" y="201"/>
                  </a:lnTo>
                  <a:lnTo>
                    <a:pt x="148" y="201"/>
                  </a:lnTo>
                  <a:lnTo>
                    <a:pt x="146" y="203"/>
                  </a:lnTo>
                  <a:lnTo>
                    <a:pt x="146" y="201"/>
                  </a:lnTo>
                  <a:lnTo>
                    <a:pt x="145" y="201"/>
                  </a:lnTo>
                  <a:lnTo>
                    <a:pt x="145" y="203"/>
                  </a:lnTo>
                  <a:lnTo>
                    <a:pt x="143" y="203"/>
                  </a:lnTo>
                  <a:lnTo>
                    <a:pt x="142" y="203"/>
                  </a:lnTo>
                  <a:lnTo>
                    <a:pt x="140" y="203"/>
                  </a:lnTo>
                  <a:lnTo>
                    <a:pt x="138" y="203"/>
                  </a:lnTo>
                  <a:lnTo>
                    <a:pt x="138" y="205"/>
                  </a:lnTo>
                  <a:lnTo>
                    <a:pt x="137" y="205"/>
                  </a:lnTo>
                  <a:lnTo>
                    <a:pt x="137" y="206"/>
                  </a:lnTo>
                  <a:lnTo>
                    <a:pt x="137" y="208"/>
                  </a:lnTo>
                  <a:lnTo>
                    <a:pt x="135" y="208"/>
                  </a:lnTo>
                  <a:lnTo>
                    <a:pt x="133" y="208"/>
                  </a:lnTo>
                  <a:lnTo>
                    <a:pt x="133" y="210"/>
                  </a:lnTo>
                  <a:lnTo>
                    <a:pt x="132" y="211"/>
                  </a:lnTo>
                  <a:lnTo>
                    <a:pt x="132" y="210"/>
                  </a:lnTo>
                  <a:lnTo>
                    <a:pt x="130" y="211"/>
                  </a:lnTo>
                  <a:lnTo>
                    <a:pt x="129" y="211"/>
                  </a:lnTo>
                  <a:lnTo>
                    <a:pt x="129" y="213"/>
                  </a:lnTo>
                  <a:lnTo>
                    <a:pt x="127" y="211"/>
                  </a:lnTo>
                  <a:lnTo>
                    <a:pt x="127" y="213"/>
                  </a:lnTo>
                  <a:lnTo>
                    <a:pt x="125" y="213"/>
                  </a:lnTo>
                  <a:lnTo>
                    <a:pt x="124" y="214"/>
                  </a:lnTo>
                  <a:lnTo>
                    <a:pt x="122" y="214"/>
                  </a:lnTo>
                  <a:lnTo>
                    <a:pt x="122" y="216"/>
                  </a:lnTo>
                  <a:lnTo>
                    <a:pt x="120" y="216"/>
                  </a:lnTo>
                  <a:lnTo>
                    <a:pt x="119" y="216"/>
                  </a:lnTo>
                  <a:lnTo>
                    <a:pt x="119" y="218"/>
                  </a:lnTo>
                  <a:lnTo>
                    <a:pt x="117" y="218"/>
                  </a:lnTo>
                  <a:lnTo>
                    <a:pt x="117" y="219"/>
                  </a:lnTo>
                  <a:lnTo>
                    <a:pt x="116" y="219"/>
                  </a:lnTo>
                  <a:lnTo>
                    <a:pt x="116" y="218"/>
                  </a:lnTo>
                  <a:lnTo>
                    <a:pt x="114" y="219"/>
                  </a:lnTo>
                  <a:lnTo>
                    <a:pt x="114" y="221"/>
                  </a:lnTo>
                  <a:lnTo>
                    <a:pt x="112" y="221"/>
                  </a:lnTo>
                  <a:lnTo>
                    <a:pt x="111" y="223"/>
                  </a:lnTo>
                  <a:lnTo>
                    <a:pt x="109" y="223"/>
                  </a:lnTo>
                  <a:lnTo>
                    <a:pt x="107" y="224"/>
                  </a:lnTo>
                  <a:lnTo>
                    <a:pt x="106" y="224"/>
                  </a:lnTo>
                  <a:lnTo>
                    <a:pt x="104" y="224"/>
                  </a:lnTo>
                  <a:lnTo>
                    <a:pt x="102" y="224"/>
                  </a:lnTo>
                  <a:lnTo>
                    <a:pt x="101" y="224"/>
                  </a:lnTo>
                  <a:lnTo>
                    <a:pt x="99" y="224"/>
                  </a:lnTo>
                  <a:lnTo>
                    <a:pt x="98" y="224"/>
                  </a:lnTo>
                  <a:lnTo>
                    <a:pt x="96" y="224"/>
                  </a:lnTo>
                  <a:lnTo>
                    <a:pt x="96" y="223"/>
                  </a:lnTo>
                  <a:lnTo>
                    <a:pt x="94" y="224"/>
                  </a:lnTo>
                  <a:lnTo>
                    <a:pt x="93" y="223"/>
                  </a:lnTo>
                  <a:lnTo>
                    <a:pt x="93" y="224"/>
                  </a:lnTo>
                  <a:lnTo>
                    <a:pt x="91" y="223"/>
                  </a:lnTo>
                  <a:lnTo>
                    <a:pt x="89" y="223"/>
                  </a:lnTo>
                  <a:lnTo>
                    <a:pt x="88" y="224"/>
                  </a:lnTo>
                  <a:lnTo>
                    <a:pt x="86" y="224"/>
                  </a:lnTo>
                  <a:lnTo>
                    <a:pt x="86" y="226"/>
                  </a:lnTo>
                  <a:lnTo>
                    <a:pt x="85" y="224"/>
                  </a:lnTo>
                  <a:lnTo>
                    <a:pt x="85" y="226"/>
                  </a:lnTo>
                  <a:lnTo>
                    <a:pt x="83" y="226"/>
                  </a:lnTo>
                  <a:lnTo>
                    <a:pt x="83" y="224"/>
                  </a:lnTo>
                  <a:lnTo>
                    <a:pt x="81" y="224"/>
                  </a:lnTo>
                  <a:lnTo>
                    <a:pt x="80" y="226"/>
                  </a:lnTo>
                  <a:lnTo>
                    <a:pt x="80" y="224"/>
                  </a:lnTo>
                  <a:lnTo>
                    <a:pt x="78" y="224"/>
                  </a:lnTo>
                  <a:lnTo>
                    <a:pt x="76" y="224"/>
                  </a:lnTo>
                  <a:lnTo>
                    <a:pt x="76" y="223"/>
                  </a:lnTo>
                  <a:lnTo>
                    <a:pt x="75" y="223"/>
                  </a:lnTo>
                  <a:lnTo>
                    <a:pt x="75" y="221"/>
                  </a:lnTo>
                  <a:lnTo>
                    <a:pt x="75" y="219"/>
                  </a:lnTo>
                  <a:lnTo>
                    <a:pt x="75" y="218"/>
                  </a:lnTo>
                  <a:lnTo>
                    <a:pt x="76" y="216"/>
                  </a:lnTo>
                  <a:lnTo>
                    <a:pt x="78" y="216"/>
                  </a:lnTo>
                  <a:lnTo>
                    <a:pt x="80" y="214"/>
                  </a:lnTo>
                  <a:lnTo>
                    <a:pt x="78" y="213"/>
                  </a:lnTo>
                  <a:lnTo>
                    <a:pt x="76" y="213"/>
                  </a:lnTo>
                  <a:lnTo>
                    <a:pt x="76" y="211"/>
                  </a:lnTo>
                  <a:lnTo>
                    <a:pt x="75" y="211"/>
                  </a:lnTo>
                  <a:lnTo>
                    <a:pt x="73" y="211"/>
                  </a:lnTo>
                  <a:lnTo>
                    <a:pt x="72" y="210"/>
                  </a:lnTo>
                  <a:lnTo>
                    <a:pt x="70" y="210"/>
                  </a:lnTo>
                  <a:lnTo>
                    <a:pt x="72" y="208"/>
                  </a:lnTo>
                  <a:lnTo>
                    <a:pt x="73" y="208"/>
                  </a:lnTo>
                  <a:lnTo>
                    <a:pt x="72" y="208"/>
                  </a:lnTo>
                  <a:lnTo>
                    <a:pt x="72" y="206"/>
                  </a:lnTo>
                  <a:lnTo>
                    <a:pt x="72" y="205"/>
                  </a:lnTo>
                  <a:lnTo>
                    <a:pt x="72" y="203"/>
                  </a:lnTo>
                  <a:lnTo>
                    <a:pt x="70" y="203"/>
                  </a:lnTo>
                  <a:lnTo>
                    <a:pt x="68" y="203"/>
                  </a:lnTo>
                  <a:lnTo>
                    <a:pt x="67" y="203"/>
                  </a:lnTo>
                  <a:lnTo>
                    <a:pt x="65" y="203"/>
                  </a:lnTo>
                  <a:lnTo>
                    <a:pt x="65" y="201"/>
                  </a:lnTo>
                  <a:lnTo>
                    <a:pt x="63" y="201"/>
                  </a:lnTo>
                  <a:lnTo>
                    <a:pt x="63" y="200"/>
                  </a:lnTo>
                  <a:lnTo>
                    <a:pt x="62" y="200"/>
                  </a:lnTo>
                  <a:lnTo>
                    <a:pt x="60" y="198"/>
                  </a:lnTo>
                  <a:lnTo>
                    <a:pt x="59" y="198"/>
                  </a:lnTo>
                  <a:lnTo>
                    <a:pt x="59" y="197"/>
                  </a:lnTo>
                  <a:lnTo>
                    <a:pt x="57" y="197"/>
                  </a:lnTo>
                  <a:lnTo>
                    <a:pt x="57" y="195"/>
                  </a:lnTo>
                  <a:lnTo>
                    <a:pt x="57" y="193"/>
                  </a:lnTo>
                  <a:lnTo>
                    <a:pt x="57" y="192"/>
                  </a:lnTo>
                  <a:lnTo>
                    <a:pt x="57" y="190"/>
                  </a:lnTo>
                  <a:lnTo>
                    <a:pt x="57" y="188"/>
                  </a:lnTo>
                  <a:lnTo>
                    <a:pt x="57" y="187"/>
                  </a:lnTo>
                  <a:lnTo>
                    <a:pt x="55" y="187"/>
                  </a:lnTo>
                  <a:lnTo>
                    <a:pt x="55" y="185"/>
                  </a:lnTo>
                  <a:lnTo>
                    <a:pt x="54" y="184"/>
                  </a:lnTo>
                  <a:lnTo>
                    <a:pt x="52" y="184"/>
                  </a:lnTo>
                  <a:lnTo>
                    <a:pt x="50" y="184"/>
                  </a:lnTo>
                  <a:lnTo>
                    <a:pt x="50" y="182"/>
                  </a:lnTo>
                  <a:lnTo>
                    <a:pt x="49" y="182"/>
                  </a:lnTo>
                  <a:lnTo>
                    <a:pt x="47" y="184"/>
                  </a:lnTo>
                  <a:lnTo>
                    <a:pt x="47" y="182"/>
                  </a:lnTo>
                  <a:lnTo>
                    <a:pt x="46" y="182"/>
                  </a:lnTo>
                  <a:lnTo>
                    <a:pt x="46" y="180"/>
                  </a:lnTo>
                  <a:lnTo>
                    <a:pt x="46" y="179"/>
                  </a:lnTo>
                  <a:lnTo>
                    <a:pt x="46" y="177"/>
                  </a:lnTo>
                  <a:lnTo>
                    <a:pt x="47" y="177"/>
                  </a:lnTo>
                  <a:lnTo>
                    <a:pt x="46" y="177"/>
                  </a:lnTo>
                  <a:lnTo>
                    <a:pt x="47" y="175"/>
                  </a:lnTo>
                  <a:lnTo>
                    <a:pt x="49" y="174"/>
                  </a:lnTo>
                  <a:lnTo>
                    <a:pt x="50" y="172"/>
                  </a:lnTo>
                  <a:lnTo>
                    <a:pt x="50" y="171"/>
                  </a:lnTo>
                  <a:lnTo>
                    <a:pt x="50" y="172"/>
                  </a:lnTo>
                  <a:lnTo>
                    <a:pt x="52" y="172"/>
                  </a:lnTo>
                  <a:lnTo>
                    <a:pt x="52" y="171"/>
                  </a:lnTo>
                  <a:lnTo>
                    <a:pt x="50" y="171"/>
                  </a:lnTo>
                  <a:lnTo>
                    <a:pt x="50" y="169"/>
                  </a:lnTo>
                  <a:lnTo>
                    <a:pt x="52" y="169"/>
                  </a:lnTo>
                  <a:lnTo>
                    <a:pt x="52" y="167"/>
                  </a:lnTo>
                  <a:lnTo>
                    <a:pt x="50" y="167"/>
                  </a:lnTo>
                  <a:lnTo>
                    <a:pt x="50" y="166"/>
                  </a:lnTo>
                  <a:lnTo>
                    <a:pt x="50" y="164"/>
                  </a:lnTo>
                  <a:lnTo>
                    <a:pt x="52" y="164"/>
                  </a:lnTo>
                  <a:lnTo>
                    <a:pt x="52" y="162"/>
                  </a:lnTo>
                  <a:lnTo>
                    <a:pt x="52" y="161"/>
                  </a:lnTo>
                  <a:lnTo>
                    <a:pt x="52" y="156"/>
                  </a:lnTo>
                  <a:lnTo>
                    <a:pt x="52" y="154"/>
                  </a:lnTo>
                  <a:lnTo>
                    <a:pt x="52" y="153"/>
                  </a:lnTo>
                  <a:lnTo>
                    <a:pt x="54" y="151"/>
                  </a:lnTo>
                  <a:lnTo>
                    <a:pt x="52" y="151"/>
                  </a:lnTo>
                  <a:lnTo>
                    <a:pt x="52" y="149"/>
                  </a:lnTo>
                  <a:lnTo>
                    <a:pt x="52" y="148"/>
                  </a:lnTo>
                  <a:lnTo>
                    <a:pt x="54" y="148"/>
                  </a:lnTo>
                  <a:lnTo>
                    <a:pt x="54" y="146"/>
                  </a:lnTo>
                  <a:lnTo>
                    <a:pt x="52" y="146"/>
                  </a:lnTo>
                  <a:lnTo>
                    <a:pt x="54" y="144"/>
                  </a:lnTo>
                  <a:lnTo>
                    <a:pt x="52" y="144"/>
                  </a:lnTo>
                  <a:lnTo>
                    <a:pt x="52" y="143"/>
                  </a:lnTo>
                  <a:lnTo>
                    <a:pt x="52" y="141"/>
                  </a:lnTo>
                  <a:lnTo>
                    <a:pt x="50" y="141"/>
                  </a:lnTo>
                  <a:lnTo>
                    <a:pt x="50" y="140"/>
                  </a:lnTo>
                  <a:lnTo>
                    <a:pt x="50" y="138"/>
                  </a:lnTo>
                  <a:lnTo>
                    <a:pt x="49" y="136"/>
                  </a:lnTo>
                  <a:lnTo>
                    <a:pt x="47" y="135"/>
                  </a:lnTo>
                  <a:lnTo>
                    <a:pt x="47" y="133"/>
                  </a:lnTo>
                  <a:lnTo>
                    <a:pt x="46" y="133"/>
                  </a:lnTo>
                  <a:lnTo>
                    <a:pt x="46" y="131"/>
                  </a:lnTo>
                  <a:lnTo>
                    <a:pt x="44" y="131"/>
                  </a:lnTo>
                  <a:lnTo>
                    <a:pt x="44" y="130"/>
                  </a:lnTo>
                  <a:lnTo>
                    <a:pt x="42" y="130"/>
                  </a:lnTo>
                  <a:lnTo>
                    <a:pt x="41" y="128"/>
                  </a:lnTo>
                  <a:lnTo>
                    <a:pt x="41" y="127"/>
                  </a:lnTo>
                  <a:lnTo>
                    <a:pt x="39" y="127"/>
                  </a:lnTo>
                  <a:lnTo>
                    <a:pt x="37" y="127"/>
                  </a:lnTo>
                  <a:lnTo>
                    <a:pt x="37" y="125"/>
                  </a:lnTo>
                  <a:lnTo>
                    <a:pt x="36" y="123"/>
                  </a:lnTo>
                  <a:lnTo>
                    <a:pt x="36" y="122"/>
                  </a:lnTo>
                  <a:lnTo>
                    <a:pt x="34" y="120"/>
                  </a:lnTo>
                  <a:lnTo>
                    <a:pt x="34" y="118"/>
                  </a:lnTo>
                  <a:lnTo>
                    <a:pt x="33" y="117"/>
                  </a:lnTo>
                  <a:lnTo>
                    <a:pt x="33" y="115"/>
                  </a:lnTo>
                  <a:lnTo>
                    <a:pt x="33" y="114"/>
                  </a:lnTo>
                  <a:lnTo>
                    <a:pt x="31" y="114"/>
                  </a:lnTo>
                  <a:lnTo>
                    <a:pt x="29" y="114"/>
                  </a:lnTo>
                  <a:lnTo>
                    <a:pt x="23" y="112"/>
                  </a:lnTo>
                  <a:lnTo>
                    <a:pt x="18" y="112"/>
                  </a:lnTo>
                  <a:lnTo>
                    <a:pt x="16" y="112"/>
                  </a:lnTo>
                  <a:lnTo>
                    <a:pt x="11" y="112"/>
                  </a:lnTo>
                  <a:lnTo>
                    <a:pt x="10" y="112"/>
                  </a:lnTo>
                  <a:lnTo>
                    <a:pt x="8" y="112"/>
                  </a:lnTo>
                  <a:lnTo>
                    <a:pt x="7" y="112"/>
                  </a:lnTo>
                  <a:lnTo>
                    <a:pt x="7" y="110"/>
                  </a:lnTo>
                  <a:lnTo>
                    <a:pt x="5" y="109"/>
                  </a:lnTo>
                  <a:lnTo>
                    <a:pt x="5" y="107"/>
                  </a:lnTo>
                  <a:lnTo>
                    <a:pt x="5" y="105"/>
                  </a:lnTo>
                  <a:lnTo>
                    <a:pt x="3" y="105"/>
                  </a:lnTo>
                  <a:lnTo>
                    <a:pt x="0" y="104"/>
                  </a:lnTo>
                  <a:lnTo>
                    <a:pt x="0" y="101"/>
                  </a:lnTo>
                  <a:lnTo>
                    <a:pt x="2" y="99"/>
                  </a:lnTo>
                  <a:lnTo>
                    <a:pt x="3" y="97"/>
                  </a:lnTo>
                  <a:lnTo>
                    <a:pt x="5" y="96"/>
                  </a:lnTo>
                  <a:lnTo>
                    <a:pt x="7" y="94"/>
                  </a:lnTo>
                  <a:lnTo>
                    <a:pt x="8" y="92"/>
                  </a:lnTo>
                  <a:lnTo>
                    <a:pt x="11" y="91"/>
                  </a:lnTo>
                  <a:lnTo>
                    <a:pt x="13" y="92"/>
                  </a:lnTo>
                  <a:lnTo>
                    <a:pt x="16" y="91"/>
                  </a:lnTo>
                  <a:lnTo>
                    <a:pt x="18" y="91"/>
                  </a:lnTo>
                  <a:lnTo>
                    <a:pt x="18" y="89"/>
                  </a:lnTo>
                  <a:lnTo>
                    <a:pt x="20" y="89"/>
                  </a:lnTo>
                  <a:lnTo>
                    <a:pt x="20" y="88"/>
                  </a:lnTo>
                  <a:lnTo>
                    <a:pt x="21" y="88"/>
                  </a:lnTo>
                  <a:lnTo>
                    <a:pt x="23" y="88"/>
                  </a:lnTo>
                  <a:lnTo>
                    <a:pt x="24" y="88"/>
                  </a:lnTo>
                  <a:lnTo>
                    <a:pt x="26" y="88"/>
                  </a:lnTo>
                  <a:lnTo>
                    <a:pt x="28" y="88"/>
                  </a:lnTo>
                  <a:lnTo>
                    <a:pt x="29" y="88"/>
                  </a:lnTo>
                  <a:lnTo>
                    <a:pt x="29" y="84"/>
                  </a:lnTo>
                  <a:lnTo>
                    <a:pt x="31" y="83"/>
                  </a:lnTo>
                  <a:lnTo>
                    <a:pt x="33" y="79"/>
                  </a:lnTo>
                  <a:lnTo>
                    <a:pt x="34" y="78"/>
                  </a:lnTo>
                  <a:lnTo>
                    <a:pt x="34" y="76"/>
                  </a:lnTo>
                  <a:lnTo>
                    <a:pt x="36" y="76"/>
                  </a:lnTo>
                  <a:lnTo>
                    <a:pt x="37" y="75"/>
                  </a:lnTo>
                  <a:lnTo>
                    <a:pt x="39" y="73"/>
                  </a:lnTo>
                  <a:lnTo>
                    <a:pt x="41" y="71"/>
                  </a:lnTo>
                  <a:lnTo>
                    <a:pt x="42" y="70"/>
                  </a:lnTo>
                  <a:lnTo>
                    <a:pt x="44" y="70"/>
                  </a:lnTo>
                  <a:lnTo>
                    <a:pt x="46" y="70"/>
                  </a:lnTo>
                  <a:lnTo>
                    <a:pt x="47" y="68"/>
                  </a:lnTo>
                  <a:lnTo>
                    <a:pt x="49" y="65"/>
                  </a:lnTo>
                  <a:lnTo>
                    <a:pt x="50" y="65"/>
                  </a:lnTo>
                  <a:lnTo>
                    <a:pt x="54" y="63"/>
                  </a:lnTo>
                  <a:lnTo>
                    <a:pt x="54" y="62"/>
                  </a:lnTo>
                  <a:lnTo>
                    <a:pt x="55" y="60"/>
                  </a:lnTo>
                  <a:lnTo>
                    <a:pt x="57" y="60"/>
                  </a:lnTo>
                  <a:lnTo>
                    <a:pt x="59" y="60"/>
                  </a:lnTo>
                  <a:lnTo>
                    <a:pt x="60" y="60"/>
                  </a:lnTo>
                  <a:lnTo>
                    <a:pt x="62" y="58"/>
                  </a:lnTo>
                  <a:lnTo>
                    <a:pt x="63" y="58"/>
                  </a:lnTo>
                  <a:lnTo>
                    <a:pt x="63" y="57"/>
                  </a:lnTo>
                  <a:lnTo>
                    <a:pt x="63" y="53"/>
                  </a:lnTo>
                  <a:lnTo>
                    <a:pt x="63" y="50"/>
                  </a:lnTo>
                  <a:lnTo>
                    <a:pt x="62" y="50"/>
                  </a:lnTo>
                  <a:lnTo>
                    <a:pt x="62" y="49"/>
                  </a:lnTo>
                  <a:lnTo>
                    <a:pt x="65" y="49"/>
                  </a:lnTo>
                  <a:lnTo>
                    <a:pt x="67" y="49"/>
                  </a:lnTo>
                  <a:lnTo>
                    <a:pt x="68" y="49"/>
                  </a:lnTo>
                  <a:lnTo>
                    <a:pt x="68" y="47"/>
                  </a:lnTo>
                  <a:lnTo>
                    <a:pt x="72" y="49"/>
                  </a:lnTo>
                  <a:lnTo>
                    <a:pt x="73" y="49"/>
                  </a:lnTo>
                  <a:lnTo>
                    <a:pt x="75" y="49"/>
                  </a:lnTo>
                  <a:lnTo>
                    <a:pt x="75" y="47"/>
                  </a:lnTo>
                  <a:lnTo>
                    <a:pt x="76" y="47"/>
                  </a:lnTo>
                  <a:lnTo>
                    <a:pt x="78" y="47"/>
                  </a:lnTo>
                  <a:lnTo>
                    <a:pt x="80" y="47"/>
                  </a:lnTo>
                  <a:lnTo>
                    <a:pt x="80" y="45"/>
                  </a:lnTo>
                  <a:lnTo>
                    <a:pt x="80" y="44"/>
                  </a:lnTo>
                  <a:lnTo>
                    <a:pt x="80" y="42"/>
                  </a:lnTo>
                  <a:lnTo>
                    <a:pt x="81" y="42"/>
                  </a:lnTo>
                  <a:lnTo>
                    <a:pt x="81" y="44"/>
                  </a:lnTo>
                  <a:lnTo>
                    <a:pt x="85" y="42"/>
                  </a:lnTo>
                  <a:lnTo>
                    <a:pt x="86" y="44"/>
                  </a:lnTo>
                  <a:lnTo>
                    <a:pt x="89" y="44"/>
                  </a:lnTo>
                  <a:lnTo>
                    <a:pt x="91" y="44"/>
                  </a:lnTo>
                  <a:lnTo>
                    <a:pt x="93" y="44"/>
                  </a:lnTo>
                  <a:lnTo>
                    <a:pt x="94" y="44"/>
                  </a:lnTo>
                  <a:lnTo>
                    <a:pt x="94" y="42"/>
                  </a:lnTo>
                  <a:lnTo>
                    <a:pt x="96" y="40"/>
                  </a:lnTo>
                  <a:lnTo>
                    <a:pt x="96" y="39"/>
                  </a:lnTo>
                  <a:lnTo>
                    <a:pt x="96" y="37"/>
                  </a:lnTo>
                  <a:lnTo>
                    <a:pt x="98" y="37"/>
                  </a:lnTo>
                  <a:lnTo>
                    <a:pt x="98" y="36"/>
                  </a:lnTo>
                  <a:lnTo>
                    <a:pt x="98" y="34"/>
                  </a:lnTo>
                  <a:lnTo>
                    <a:pt x="99" y="34"/>
                  </a:lnTo>
                  <a:lnTo>
                    <a:pt x="98" y="36"/>
                  </a:lnTo>
                  <a:lnTo>
                    <a:pt x="99" y="36"/>
                  </a:lnTo>
                  <a:lnTo>
                    <a:pt x="99" y="37"/>
                  </a:lnTo>
                  <a:lnTo>
                    <a:pt x="99" y="39"/>
                  </a:lnTo>
                  <a:lnTo>
                    <a:pt x="101" y="39"/>
                  </a:lnTo>
                  <a:lnTo>
                    <a:pt x="101" y="37"/>
                  </a:lnTo>
                  <a:lnTo>
                    <a:pt x="101" y="36"/>
                  </a:lnTo>
                  <a:lnTo>
                    <a:pt x="102" y="36"/>
                  </a:lnTo>
                  <a:lnTo>
                    <a:pt x="102" y="34"/>
                  </a:lnTo>
                  <a:lnTo>
                    <a:pt x="104" y="34"/>
                  </a:lnTo>
                  <a:lnTo>
                    <a:pt x="104" y="36"/>
                  </a:lnTo>
                  <a:lnTo>
                    <a:pt x="106" y="34"/>
                  </a:lnTo>
                  <a:lnTo>
                    <a:pt x="104" y="34"/>
                  </a:lnTo>
                  <a:lnTo>
                    <a:pt x="104" y="32"/>
                  </a:lnTo>
                  <a:lnTo>
                    <a:pt x="104" y="31"/>
                  </a:lnTo>
                  <a:lnTo>
                    <a:pt x="104" y="29"/>
                  </a:lnTo>
                  <a:lnTo>
                    <a:pt x="107" y="29"/>
                  </a:lnTo>
                  <a:lnTo>
                    <a:pt x="107" y="27"/>
                  </a:lnTo>
                  <a:lnTo>
                    <a:pt x="109" y="27"/>
                  </a:lnTo>
                  <a:lnTo>
                    <a:pt x="111" y="26"/>
                  </a:lnTo>
                  <a:lnTo>
                    <a:pt x="111" y="27"/>
                  </a:lnTo>
                  <a:lnTo>
                    <a:pt x="112" y="27"/>
                  </a:lnTo>
                  <a:lnTo>
                    <a:pt x="114" y="27"/>
                  </a:lnTo>
                  <a:lnTo>
                    <a:pt x="116" y="26"/>
                  </a:lnTo>
                  <a:lnTo>
                    <a:pt x="116" y="27"/>
                  </a:lnTo>
                  <a:lnTo>
                    <a:pt x="117" y="27"/>
                  </a:lnTo>
                  <a:lnTo>
                    <a:pt x="117" y="26"/>
                  </a:lnTo>
                  <a:lnTo>
                    <a:pt x="119" y="26"/>
                  </a:lnTo>
                  <a:lnTo>
                    <a:pt x="120" y="24"/>
                  </a:lnTo>
                  <a:lnTo>
                    <a:pt x="122" y="23"/>
                  </a:lnTo>
                  <a:lnTo>
                    <a:pt x="122" y="21"/>
                  </a:lnTo>
                  <a:lnTo>
                    <a:pt x="124" y="21"/>
                  </a:lnTo>
                  <a:lnTo>
                    <a:pt x="124" y="23"/>
                  </a:lnTo>
                  <a:lnTo>
                    <a:pt x="125" y="23"/>
                  </a:lnTo>
                  <a:lnTo>
                    <a:pt x="127" y="21"/>
                  </a:lnTo>
                  <a:lnTo>
                    <a:pt x="129" y="21"/>
                  </a:lnTo>
                  <a:lnTo>
                    <a:pt x="130" y="21"/>
                  </a:lnTo>
                  <a:lnTo>
                    <a:pt x="132" y="21"/>
                  </a:lnTo>
                  <a:lnTo>
                    <a:pt x="133" y="19"/>
                  </a:lnTo>
                  <a:lnTo>
                    <a:pt x="133" y="18"/>
                  </a:lnTo>
                  <a:lnTo>
                    <a:pt x="132" y="18"/>
                  </a:lnTo>
                  <a:lnTo>
                    <a:pt x="130" y="18"/>
                  </a:lnTo>
                  <a:lnTo>
                    <a:pt x="130" y="19"/>
                  </a:lnTo>
                  <a:lnTo>
                    <a:pt x="129" y="19"/>
                  </a:lnTo>
                  <a:lnTo>
                    <a:pt x="127" y="19"/>
                  </a:lnTo>
                  <a:lnTo>
                    <a:pt x="125" y="19"/>
                  </a:lnTo>
                  <a:lnTo>
                    <a:pt x="124" y="19"/>
                  </a:lnTo>
                  <a:lnTo>
                    <a:pt x="122" y="18"/>
                  </a:lnTo>
                  <a:lnTo>
                    <a:pt x="120" y="18"/>
                  </a:lnTo>
                  <a:lnTo>
                    <a:pt x="120" y="16"/>
                  </a:lnTo>
                  <a:lnTo>
                    <a:pt x="120" y="14"/>
                  </a:lnTo>
                  <a:lnTo>
                    <a:pt x="120" y="13"/>
                  </a:lnTo>
                  <a:lnTo>
                    <a:pt x="120" y="11"/>
                  </a:lnTo>
                  <a:lnTo>
                    <a:pt x="122" y="11"/>
                  </a:lnTo>
                  <a:lnTo>
                    <a:pt x="124" y="11"/>
                  </a:lnTo>
                  <a:lnTo>
                    <a:pt x="125" y="11"/>
                  </a:lnTo>
                  <a:lnTo>
                    <a:pt x="125" y="13"/>
                  </a:lnTo>
                  <a:lnTo>
                    <a:pt x="127" y="11"/>
                  </a:lnTo>
                  <a:lnTo>
                    <a:pt x="129" y="11"/>
                  </a:lnTo>
                  <a:lnTo>
                    <a:pt x="130" y="11"/>
                  </a:lnTo>
                  <a:lnTo>
                    <a:pt x="132" y="11"/>
                  </a:lnTo>
                  <a:lnTo>
                    <a:pt x="133" y="11"/>
                  </a:lnTo>
                  <a:lnTo>
                    <a:pt x="135" y="9"/>
                  </a:lnTo>
                  <a:lnTo>
                    <a:pt x="137" y="9"/>
                  </a:lnTo>
                  <a:lnTo>
                    <a:pt x="137" y="8"/>
                  </a:lnTo>
                  <a:lnTo>
                    <a:pt x="137" y="6"/>
                  </a:lnTo>
                  <a:lnTo>
                    <a:pt x="138" y="3"/>
                  </a:lnTo>
                  <a:lnTo>
                    <a:pt x="140" y="1"/>
                  </a:lnTo>
                  <a:lnTo>
                    <a:pt x="140" y="0"/>
                  </a:lnTo>
                  <a:lnTo>
                    <a:pt x="140" y="1"/>
                  </a:lnTo>
                  <a:lnTo>
                    <a:pt x="140" y="3"/>
                  </a:lnTo>
                  <a:lnTo>
                    <a:pt x="143" y="5"/>
                  </a:lnTo>
                  <a:lnTo>
                    <a:pt x="145" y="5"/>
                  </a:lnTo>
                  <a:lnTo>
                    <a:pt x="146" y="6"/>
                  </a:lnTo>
                  <a:lnTo>
                    <a:pt x="146" y="8"/>
                  </a:lnTo>
                  <a:lnTo>
                    <a:pt x="148" y="8"/>
                  </a:lnTo>
                  <a:lnTo>
                    <a:pt x="148" y="9"/>
                  </a:lnTo>
                  <a:lnTo>
                    <a:pt x="148" y="11"/>
                  </a:lnTo>
                  <a:lnTo>
                    <a:pt x="146" y="11"/>
                  </a:lnTo>
                  <a:close/>
                  <a:moveTo>
                    <a:pt x="150" y="34"/>
                  </a:moveTo>
                  <a:lnTo>
                    <a:pt x="151" y="34"/>
                  </a:lnTo>
                  <a:lnTo>
                    <a:pt x="153" y="36"/>
                  </a:lnTo>
                  <a:lnTo>
                    <a:pt x="153" y="37"/>
                  </a:lnTo>
                  <a:lnTo>
                    <a:pt x="155" y="37"/>
                  </a:lnTo>
                  <a:lnTo>
                    <a:pt x="155" y="36"/>
                  </a:lnTo>
                  <a:lnTo>
                    <a:pt x="156" y="36"/>
                  </a:lnTo>
                  <a:lnTo>
                    <a:pt x="156" y="34"/>
                  </a:lnTo>
                  <a:lnTo>
                    <a:pt x="156" y="31"/>
                  </a:lnTo>
                  <a:lnTo>
                    <a:pt x="155" y="31"/>
                  </a:lnTo>
                  <a:lnTo>
                    <a:pt x="153" y="29"/>
                  </a:lnTo>
                  <a:lnTo>
                    <a:pt x="151" y="29"/>
                  </a:lnTo>
                  <a:lnTo>
                    <a:pt x="150" y="29"/>
                  </a:lnTo>
                  <a:lnTo>
                    <a:pt x="150" y="31"/>
                  </a:lnTo>
                  <a:lnTo>
                    <a:pt x="148" y="32"/>
                  </a:lnTo>
                  <a:lnTo>
                    <a:pt x="148" y="34"/>
                  </a:lnTo>
                  <a:lnTo>
                    <a:pt x="150" y="34"/>
                  </a:lnTo>
                  <a:close/>
                  <a:moveTo>
                    <a:pt x="220" y="201"/>
                  </a:moveTo>
                  <a:lnTo>
                    <a:pt x="220" y="203"/>
                  </a:lnTo>
                  <a:lnTo>
                    <a:pt x="223" y="205"/>
                  </a:lnTo>
                  <a:lnTo>
                    <a:pt x="224" y="205"/>
                  </a:lnTo>
                  <a:lnTo>
                    <a:pt x="224" y="203"/>
                  </a:lnTo>
                  <a:lnTo>
                    <a:pt x="224" y="201"/>
                  </a:lnTo>
                  <a:lnTo>
                    <a:pt x="223" y="200"/>
                  </a:lnTo>
                  <a:lnTo>
                    <a:pt x="221" y="201"/>
                  </a:lnTo>
                  <a:lnTo>
                    <a:pt x="220" y="201"/>
                  </a:lnTo>
                  <a:close/>
                </a:path>
              </a:pathLst>
            </a:custGeom>
            <a:solidFill>
              <a:srgbClr val="E5E5E5"/>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21" name="Freeform 10">
              <a:extLst>
                <a:ext uri="{FF2B5EF4-FFF2-40B4-BE49-F238E27FC236}">
                  <a16:creationId xmlns:a16="http://schemas.microsoft.com/office/drawing/2014/main" id="{2CCCEDEC-7287-2961-1C50-CC62BE73213C}"/>
                </a:ext>
              </a:extLst>
            </p:cNvPr>
            <p:cNvSpPr>
              <a:spLocks/>
            </p:cNvSpPr>
            <p:nvPr/>
          </p:nvSpPr>
          <p:spPr bwMode="auto">
            <a:xfrm>
              <a:off x="4160" y="3875"/>
              <a:ext cx="734" cy="380"/>
            </a:xfrm>
            <a:custGeom>
              <a:avLst/>
              <a:gdLst>
                <a:gd name="T0" fmla="*/ 543 w 734"/>
                <a:gd name="T1" fmla="*/ 3 h 380"/>
                <a:gd name="T2" fmla="*/ 584 w 734"/>
                <a:gd name="T3" fmla="*/ 18 h 380"/>
                <a:gd name="T4" fmla="*/ 609 w 734"/>
                <a:gd name="T5" fmla="*/ 21 h 380"/>
                <a:gd name="T6" fmla="*/ 654 w 734"/>
                <a:gd name="T7" fmla="*/ 26 h 380"/>
                <a:gd name="T8" fmla="*/ 685 w 734"/>
                <a:gd name="T9" fmla="*/ 28 h 380"/>
                <a:gd name="T10" fmla="*/ 705 w 734"/>
                <a:gd name="T11" fmla="*/ 44 h 380"/>
                <a:gd name="T12" fmla="*/ 698 w 734"/>
                <a:gd name="T13" fmla="*/ 73 h 380"/>
                <a:gd name="T14" fmla="*/ 709 w 734"/>
                <a:gd name="T15" fmla="*/ 97 h 380"/>
                <a:gd name="T16" fmla="*/ 731 w 734"/>
                <a:gd name="T17" fmla="*/ 130 h 380"/>
                <a:gd name="T18" fmla="*/ 727 w 734"/>
                <a:gd name="T19" fmla="*/ 161 h 380"/>
                <a:gd name="T20" fmla="*/ 683 w 734"/>
                <a:gd name="T21" fmla="*/ 169 h 380"/>
                <a:gd name="T22" fmla="*/ 682 w 734"/>
                <a:gd name="T23" fmla="*/ 189 h 380"/>
                <a:gd name="T24" fmla="*/ 688 w 734"/>
                <a:gd name="T25" fmla="*/ 215 h 380"/>
                <a:gd name="T26" fmla="*/ 674 w 734"/>
                <a:gd name="T27" fmla="*/ 247 h 380"/>
                <a:gd name="T28" fmla="*/ 680 w 734"/>
                <a:gd name="T29" fmla="*/ 267 h 380"/>
                <a:gd name="T30" fmla="*/ 667 w 734"/>
                <a:gd name="T31" fmla="*/ 278 h 380"/>
                <a:gd name="T32" fmla="*/ 638 w 734"/>
                <a:gd name="T33" fmla="*/ 306 h 380"/>
                <a:gd name="T34" fmla="*/ 626 w 734"/>
                <a:gd name="T35" fmla="*/ 324 h 380"/>
                <a:gd name="T36" fmla="*/ 592 w 734"/>
                <a:gd name="T37" fmla="*/ 337 h 380"/>
                <a:gd name="T38" fmla="*/ 552 w 734"/>
                <a:gd name="T39" fmla="*/ 337 h 380"/>
                <a:gd name="T40" fmla="*/ 526 w 734"/>
                <a:gd name="T41" fmla="*/ 350 h 380"/>
                <a:gd name="T42" fmla="*/ 501 w 734"/>
                <a:gd name="T43" fmla="*/ 372 h 380"/>
                <a:gd name="T44" fmla="*/ 469 w 734"/>
                <a:gd name="T45" fmla="*/ 372 h 380"/>
                <a:gd name="T46" fmla="*/ 431 w 734"/>
                <a:gd name="T47" fmla="*/ 364 h 380"/>
                <a:gd name="T48" fmla="*/ 379 w 734"/>
                <a:gd name="T49" fmla="*/ 359 h 380"/>
                <a:gd name="T50" fmla="*/ 322 w 734"/>
                <a:gd name="T51" fmla="*/ 353 h 380"/>
                <a:gd name="T52" fmla="*/ 285 w 734"/>
                <a:gd name="T53" fmla="*/ 345 h 380"/>
                <a:gd name="T54" fmla="*/ 257 w 734"/>
                <a:gd name="T55" fmla="*/ 312 h 380"/>
                <a:gd name="T56" fmla="*/ 249 w 734"/>
                <a:gd name="T57" fmla="*/ 294 h 380"/>
                <a:gd name="T58" fmla="*/ 208 w 734"/>
                <a:gd name="T59" fmla="*/ 304 h 380"/>
                <a:gd name="T60" fmla="*/ 168 w 734"/>
                <a:gd name="T61" fmla="*/ 309 h 380"/>
                <a:gd name="T62" fmla="*/ 145 w 734"/>
                <a:gd name="T63" fmla="*/ 338 h 380"/>
                <a:gd name="T64" fmla="*/ 117 w 734"/>
                <a:gd name="T65" fmla="*/ 328 h 380"/>
                <a:gd name="T66" fmla="*/ 88 w 734"/>
                <a:gd name="T67" fmla="*/ 311 h 380"/>
                <a:gd name="T68" fmla="*/ 65 w 734"/>
                <a:gd name="T69" fmla="*/ 325 h 380"/>
                <a:gd name="T70" fmla="*/ 34 w 734"/>
                <a:gd name="T71" fmla="*/ 306 h 380"/>
                <a:gd name="T72" fmla="*/ 8 w 734"/>
                <a:gd name="T73" fmla="*/ 289 h 380"/>
                <a:gd name="T74" fmla="*/ 7 w 734"/>
                <a:gd name="T75" fmla="*/ 255 h 380"/>
                <a:gd name="T76" fmla="*/ 23 w 734"/>
                <a:gd name="T77" fmla="*/ 221 h 380"/>
                <a:gd name="T78" fmla="*/ 47 w 734"/>
                <a:gd name="T79" fmla="*/ 236 h 380"/>
                <a:gd name="T80" fmla="*/ 69 w 734"/>
                <a:gd name="T81" fmla="*/ 252 h 380"/>
                <a:gd name="T82" fmla="*/ 82 w 734"/>
                <a:gd name="T83" fmla="*/ 255 h 380"/>
                <a:gd name="T84" fmla="*/ 91 w 734"/>
                <a:gd name="T85" fmla="*/ 221 h 380"/>
                <a:gd name="T86" fmla="*/ 124 w 734"/>
                <a:gd name="T87" fmla="*/ 231 h 380"/>
                <a:gd name="T88" fmla="*/ 147 w 734"/>
                <a:gd name="T89" fmla="*/ 247 h 380"/>
                <a:gd name="T90" fmla="*/ 182 w 734"/>
                <a:gd name="T91" fmla="*/ 237 h 380"/>
                <a:gd name="T92" fmla="*/ 213 w 734"/>
                <a:gd name="T93" fmla="*/ 218 h 380"/>
                <a:gd name="T94" fmla="*/ 261 w 734"/>
                <a:gd name="T95" fmla="*/ 215 h 380"/>
                <a:gd name="T96" fmla="*/ 275 w 734"/>
                <a:gd name="T97" fmla="*/ 203 h 380"/>
                <a:gd name="T98" fmla="*/ 308 w 734"/>
                <a:gd name="T99" fmla="*/ 203 h 380"/>
                <a:gd name="T100" fmla="*/ 335 w 734"/>
                <a:gd name="T101" fmla="*/ 231 h 380"/>
                <a:gd name="T102" fmla="*/ 339 w 734"/>
                <a:gd name="T103" fmla="*/ 195 h 380"/>
                <a:gd name="T104" fmla="*/ 329 w 734"/>
                <a:gd name="T105" fmla="*/ 166 h 380"/>
                <a:gd name="T106" fmla="*/ 316 w 734"/>
                <a:gd name="T107" fmla="*/ 135 h 380"/>
                <a:gd name="T108" fmla="*/ 352 w 734"/>
                <a:gd name="T109" fmla="*/ 114 h 380"/>
                <a:gd name="T110" fmla="*/ 381 w 734"/>
                <a:gd name="T111" fmla="*/ 70 h 380"/>
                <a:gd name="T112" fmla="*/ 409 w 734"/>
                <a:gd name="T113" fmla="*/ 60 h 380"/>
                <a:gd name="T114" fmla="*/ 431 w 734"/>
                <a:gd name="T115" fmla="*/ 55 h 380"/>
                <a:gd name="T116" fmla="*/ 454 w 734"/>
                <a:gd name="T117" fmla="*/ 68 h 380"/>
                <a:gd name="T118" fmla="*/ 478 w 734"/>
                <a:gd name="T119" fmla="*/ 60 h 380"/>
                <a:gd name="T120" fmla="*/ 500 w 734"/>
                <a:gd name="T121" fmla="*/ 44 h 380"/>
                <a:gd name="T122" fmla="*/ 517 w 734"/>
                <a:gd name="T123" fmla="*/ 24 h 3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734" h="380">
                  <a:moveTo>
                    <a:pt x="519" y="0"/>
                  </a:moveTo>
                  <a:lnTo>
                    <a:pt x="521" y="2"/>
                  </a:lnTo>
                  <a:lnTo>
                    <a:pt x="521" y="0"/>
                  </a:lnTo>
                  <a:lnTo>
                    <a:pt x="522" y="0"/>
                  </a:lnTo>
                  <a:lnTo>
                    <a:pt x="524" y="0"/>
                  </a:lnTo>
                  <a:lnTo>
                    <a:pt x="524" y="2"/>
                  </a:lnTo>
                  <a:lnTo>
                    <a:pt x="526" y="3"/>
                  </a:lnTo>
                  <a:lnTo>
                    <a:pt x="527" y="3"/>
                  </a:lnTo>
                  <a:lnTo>
                    <a:pt x="527" y="2"/>
                  </a:lnTo>
                  <a:lnTo>
                    <a:pt x="529" y="2"/>
                  </a:lnTo>
                  <a:lnTo>
                    <a:pt x="530" y="2"/>
                  </a:lnTo>
                  <a:lnTo>
                    <a:pt x="532" y="3"/>
                  </a:lnTo>
                  <a:lnTo>
                    <a:pt x="532" y="5"/>
                  </a:lnTo>
                  <a:lnTo>
                    <a:pt x="534" y="6"/>
                  </a:lnTo>
                  <a:lnTo>
                    <a:pt x="534" y="8"/>
                  </a:lnTo>
                  <a:lnTo>
                    <a:pt x="532" y="8"/>
                  </a:lnTo>
                  <a:lnTo>
                    <a:pt x="532" y="10"/>
                  </a:lnTo>
                  <a:lnTo>
                    <a:pt x="534" y="10"/>
                  </a:lnTo>
                  <a:lnTo>
                    <a:pt x="535" y="10"/>
                  </a:lnTo>
                  <a:lnTo>
                    <a:pt x="535" y="8"/>
                  </a:lnTo>
                  <a:lnTo>
                    <a:pt x="537" y="8"/>
                  </a:lnTo>
                  <a:lnTo>
                    <a:pt x="540" y="6"/>
                  </a:lnTo>
                  <a:lnTo>
                    <a:pt x="542" y="6"/>
                  </a:lnTo>
                  <a:lnTo>
                    <a:pt x="543" y="5"/>
                  </a:lnTo>
                  <a:lnTo>
                    <a:pt x="543" y="3"/>
                  </a:lnTo>
                  <a:lnTo>
                    <a:pt x="543" y="2"/>
                  </a:lnTo>
                  <a:lnTo>
                    <a:pt x="545" y="3"/>
                  </a:lnTo>
                  <a:lnTo>
                    <a:pt x="547" y="3"/>
                  </a:lnTo>
                  <a:lnTo>
                    <a:pt x="548" y="3"/>
                  </a:lnTo>
                  <a:lnTo>
                    <a:pt x="550" y="3"/>
                  </a:lnTo>
                  <a:lnTo>
                    <a:pt x="553" y="3"/>
                  </a:lnTo>
                  <a:lnTo>
                    <a:pt x="555" y="5"/>
                  </a:lnTo>
                  <a:lnTo>
                    <a:pt x="557" y="6"/>
                  </a:lnTo>
                  <a:lnTo>
                    <a:pt x="558" y="6"/>
                  </a:lnTo>
                  <a:lnTo>
                    <a:pt x="560" y="6"/>
                  </a:lnTo>
                  <a:lnTo>
                    <a:pt x="560" y="8"/>
                  </a:lnTo>
                  <a:lnTo>
                    <a:pt x="561" y="8"/>
                  </a:lnTo>
                  <a:lnTo>
                    <a:pt x="561" y="6"/>
                  </a:lnTo>
                  <a:lnTo>
                    <a:pt x="563" y="8"/>
                  </a:lnTo>
                  <a:lnTo>
                    <a:pt x="565" y="8"/>
                  </a:lnTo>
                  <a:lnTo>
                    <a:pt x="566" y="11"/>
                  </a:lnTo>
                  <a:lnTo>
                    <a:pt x="568" y="11"/>
                  </a:lnTo>
                  <a:lnTo>
                    <a:pt x="570" y="13"/>
                  </a:lnTo>
                  <a:lnTo>
                    <a:pt x="571" y="13"/>
                  </a:lnTo>
                  <a:lnTo>
                    <a:pt x="573" y="13"/>
                  </a:lnTo>
                  <a:lnTo>
                    <a:pt x="576" y="13"/>
                  </a:lnTo>
                  <a:lnTo>
                    <a:pt x="578" y="15"/>
                  </a:lnTo>
                  <a:lnTo>
                    <a:pt x="579" y="15"/>
                  </a:lnTo>
                  <a:lnTo>
                    <a:pt x="583" y="18"/>
                  </a:lnTo>
                  <a:lnTo>
                    <a:pt x="584" y="18"/>
                  </a:lnTo>
                  <a:lnTo>
                    <a:pt x="586" y="18"/>
                  </a:lnTo>
                  <a:lnTo>
                    <a:pt x="587" y="18"/>
                  </a:lnTo>
                  <a:lnTo>
                    <a:pt x="589" y="19"/>
                  </a:lnTo>
                  <a:lnTo>
                    <a:pt x="591" y="18"/>
                  </a:lnTo>
                  <a:lnTo>
                    <a:pt x="592" y="16"/>
                  </a:lnTo>
                  <a:lnTo>
                    <a:pt x="594" y="15"/>
                  </a:lnTo>
                  <a:lnTo>
                    <a:pt x="597" y="15"/>
                  </a:lnTo>
                  <a:lnTo>
                    <a:pt x="599" y="16"/>
                  </a:lnTo>
                  <a:lnTo>
                    <a:pt x="597" y="16"/>
                  </a:lnTo>
                  <a:lnTo>
                    <a:pt x="599" y="18"/>
                  </a:lnTo>
                  <a:lnTo>
                    <a:pt x="600" y="18"/>
                  </a:lnTo>
                  <a:lnTo>
                    <a:pt x="600" y="16"/>
                  </a:lnTo>
                  <a:lnTo>
                    <a:pt x="602" y="18"/>
                  </a:lnTo>
                  <a:lnTo>
                    <a:pt x="602" y="19"/>
                  </a:lnTo>
                  <a:lnTo>
                    <a:pt x="602" y="18"/>
                  </a:lnTo>
                  <a:lnTo>
                    <a:pt x="604" y="18"/>
                  </a:lnTo>
                  <a:lnTo>
                    <a:pt x="604" y="19"/>
                  </a:lnTo>
                  <a:lnTo>
                    <a:pt x="602" y="19"/>
                  </a:lnTo>
                  <a:lnTo>
                    <a:pt x="604" y="19"/>
                  </a:lnTo>
                  <a:lnTo>
                    <a:pt x="605" y="19"/>
                  </a:lnTo>
                  <a:lnTo>
                    <a:pt x="607" y="19"/>
                  </a:lnTo>
                  <a:lnTo>
                    <a:pt x="605" y="21"/>
                  </a:lnTo>
                  <a:lnTo>
                    <a:pt x="607" y="23"/>
                  </a:lnTo>
                  <a:lnTo>
                    <a:pt x="607" y="21"/>
                  </a:lnTo>
                  <a:lnTo>
                    <a:pt x="609" y="21"/>
                  </a:lnTo>
                  <a:lnTo>
                    <a:pt x="609" y="23"/>
                  </a:lnTo>
                  <a:lnTo>
                    <a:pt x="613" y="28"/>
                  </a:lnTo>
                  <a:lnTo>
                    <a:pt x="615" y="28"/>
                  </a:lnTo>
                  <a:lnTo>
                    <a:pt x="620" y="29"/>
                  </a:lnTo>
                  <a:lnTo>
                    <a:pt x="623" y="31"/>
                  </a:lnTo>
                  <a:lnTo>
                    <a:pt x="625" y="31"/>
                  </a:lnTo>
                  <a:lnTo>
                    <a:pt x="626" y="31"/>
                  </a:lnTo>
                  <a:lnTo>
                    <a:pt x="628" y="31"/>
                  </a:lnTo>
                  <a:lnTo>
                    <a:pt x="630" y="31"/>
                  </a:lnTo>
                  <a:lnTo>
                    <a:pt x="638" y="31"/>
                  </a:lnTo>
                  <a:lnTo>
                    <a:pt x="639" y="31"/>
                  </a:lnTo>
                  <a:lnTo>
                    <a:pt x="641" y="31"/>
                  </a:lnTo>
                  <a:lnTo>
                    <a:pt x="643" y="31"/>
                  </a:lnTo>
                  <a:lnTo>
                    <a:pt x="644" y="31"/>
                  </a:lnTo>
                  <a:lnTo>
                    <a:pt x="646" y="31"/>
                  </a:lnTo>
                  <a:lnTo>
                    <a:pt x="646" y="29"/>
                  </a:lnTo>
                  <a:lnTo>
                    <a:pt x="648" y="31"/>
                  </a:lnTo>
                  <a:lnTo>
                    <a:pt x="648" y="32"/>
                  </a:lnTo>
                  <a:lnTo>
                    <a:pt x="649" y="32"/>
                  </a:lnTo>
                  <a:lnTo>
                    <a:pt x="649" y="31"/>
                  </a:lnTo>
                  <a:lnTo>
                    <a:pt x="651" y="31"/>
                  </a:lnTo>
                  <a:lnTo>
                    <a:pt x="652" y="29"/>
                  </a:lnTo>
                  <a:lnTo>
                    <a:pt x="652" y="28"/>
                  </a:lnTo>
                  <a:lnTo>
                    <a:pt x="654" y="28"/>
                  </a:lnTo>
                  <a:lnTo>
                    <a:pt x="654" y="26"/>
                  </a:lnTo>
                  <a:lnTo>
                    <a:pt x="654" y="24"/>
                  </a:lnTo>
                  <a:lnTo>
                    <a:pt x="656" y="21"/>
                  </a:lnTo>
                  <a:lnTo>
                    <a:pt x="656" y="19"/>
                  </a:lnTo>
                  <a:lnTo>
                    <a:pt x="657" y="19"/>
                  </a:lnTo>
                  <a:lnTo>
                    <a:pt x="659" y="19"/>
                  </a:lnTo>
                  <a:lnTo>
                    <a:pt x="662" y="19"/>
                  </a:lnTo>
                  <a:lnTo>
                    <a:pt x="664" y="19"/>
                  </a:lnTo>
                  <a:lnTo>
                    <a:pt x="664" y="18"/>
                  </a:lnTo>
                  <a:lnTo>
                    <a:pt x="665" y="19"/>
                  </a:lnTo>
                  <a:lnTo>
                    <a:pt x="667" y="21"/>
                  </a:lnTo>
                  <a:lnTo>
                    <a:pt x="669" y="21"/>
                  </a:lnTo>
                  <a:lnTo>
                    <a:pt x="670" y="21"/>
                  </a:lnTo>
                  <a:lnTo>
                    <a:pt x="670" y="23"/>
                  </a:lnTo>
                  <a:lnTo>
                    <a:pt x="672" y="23"/>
                  </a:lnTo>
                  <a:lnTo>
                    <a:pt x="674" y="21"/>
                  </a:lnTo>
                  <a:lnTo>
                    <a:pt x="675" y="21"/>
                  </a:lnTo>
                  <a:lnTo>
                    <a:pt x="677" y="23"/>
                  </a:lnTo>
                  <a:lnTo>
                    <a:pt x="678" y="24"/>
                  </a:lnTo>
                  <a:lnTo>
                    <a:pt x="678" y="26"/>
                  </a:lnTo>
                  <a:lnTo>
                    <a:pt x="678" y="28"/>
                  </a:lnTo>
                  <a:lnTo>
                    <a:pt x="678" y="29"/>
                  </a:lnTo>
                  <a:lnTo>
                    <a:pt x="680" y="28"/>
                  </a:lnTo>
                  <a:lnTo>
                    <a:pt x="682" y="28"/>
                  </a:lnTo>
                  <a:lnTo>
                    <a:pt x="683" y="28"/>
                  </a:lnTo>
                  <a:lnTo>
                    <a:pt x="685" y="28"/>
                  </a:lnTo>
                  <a:lnTo>
                    <a:pt x="685" y="29"/>
                  </a:lnTo>
                  <a:lnTo>
                    <a:pt x="687" y="31"/>
                  </a:lnTo>
                  <a:lnTo>
                    <a:pt x="688" y="29"/>
                  </a:lnTo>
                  <a:lnTo>
                    <a:pt x="690" y="29"/>
                  </a:lnTo>
                  <a:lnTo>
                    <a:pt x="690" y="31"/>
                  </a:lnTo>
                  <a:lnTo>
                    <a:pt x="691" y="29"/>
                  </a:lnTo>
                  <a:lnTo>
                    <a:pt x="693" y="29"/>
                  </a:lnTo>
                  <a:lnTo>
                    <a:pt x="695" y="29"/>
                  </a:lnTo>
                  <a:lnTo>
                    <a:pt x="696" y="29"/>
                  </a:lnTo>
                  <a:lnTo>
                    <a:pt x="698" y="28"/>
                  </a:lnTo>
                  <a:lnTo>
                    <a:pt x="698" y="29"/>
                  </a:lnTo>
                  <a:lnTo>
                    <a:pt x="700" y="29"/>
                  </a:lnTo>
                  <a:lnTo>
                    <a:pt x="701" y="31"/>
                  </a:lnTo>
                  <a:lnTo>
                    <a:pt x="701" y="32"/>
                  </a:lnTo>
                  <a:lnTo>
                    <a:pt x="701" y="34"/>
                  </a:lnTo>
                  <a:lnTo>
                    <a:pt x="703" y="36"/>
                  </a:lnTo>
                  <a:lnTo>
                    <a:pt x="701" y="36"/>
                  </a:lnTo>
                  <a:lnTo>
                    <a:pt x="703" y="36"/>
                  </a:lnTo>
                  <a:lnTo>
                    <a:pt x="703" y="37"/>
                  </a:lnTo>
                  <a:lnTo>
                    <a:pt x="701" y="39"/>
                  </a:lnTo>
                  <a:lnTo>
                    <a:pt x="703" y="39"/>
                  </a:lnTo>
                  <a:lnTo>
                    <a:pt x="703" y="41"/>
                  </a:lnTo>
                  <a:lnTo>
                    <a:pt x="703" y="42"/>
                  </a:lnTo>
                  <a:lnTo>
                    <a:pt x="705" y="42"/>
                  </a:lnTo>
                  <a:lnTo>
                    <a:pt x="705" y="44"/>
                  </a:lnTo>
                  <a:lnTo>
                    <a:pt x="705" y="45"/>
                  </a:lnTo>
                  <a:lnTo>
                    <a:pt x="705" y="47"/>
                  </a:lnTo>
                  <a:lnTo>
                    <a:pt x="705" y="49"/>
                  </a:lnTo>
                  <a:lnTo>
                    <a:pt x="705" y="50"/>
                  </a:lnTo>
                  <a:lnTo>
                    <a:pt x="706" y="50"/>
                  </a:lnTo>
                  <a:lnTo>
                    <a:pt x="706" y="52"/>
                  </a:lnTo>
                  <a:lnTo>
                    <a:pt x="706" y="54"/>
                  </a:lnTo>
                  <a:lnTo>
                    <a:pt x="706" y="55"/>
                  </a:lnTo>
                  <a:lnTo>
                    <a:pt x="706" y="57"/>
                  </a:lnTo>
                  <a:lnTo>
                    <a:pt x="705" y="57"/>
                  </a:lnTo>
                  <a:lnTo>
                    <a:pt x="705" y="58"/>
                  </a:lnTo>
                  <a:lnTo>
                    <a:pt x="703" y="58"/>
                  </a:lnTo>
                  <a:lnTo>
                    <a:pt x="703" y="60"/>
                  </a:lnTo>
                  <a:lnTo>
                    <a:pt x="705" y="60"/>
                  </a:lnTo>
                  <a:lnTo>
                    <a:pt x="703" y="60"/>
                  </a:lnTo>
                  <a:lnTo>
                    <a:pt x="701" y="60"/>
                  </a:lnTo>
                  <a:lnTo>
                    <a:pt x="701" y="62"/>
                  </a:lnTo>
                  <a:lnTo>
                    <a:pt x="701" y="63"/>
                  </a:lnTo>
                  <a:lnTo>
                    <a:pt x="700" y="65"/>
                  </a:lnTo>
                  <a:lnTo>
                    <a:pt x="698" y="67"/>
                  </a:lnTo>
                  <a:lnTo>
                    <a:pt x="700" y="67"/>
                  </a:lnTo>
                  <a:lnTo>
                    <a:pt x="698" y="67"/>
                  </a:lnTo>
                  <a:lnTo>
                    <a:pt x="698" y="70"/>
                  </a:lnTo>
                  <a:lnTo>
                    <a:pt x="700" y="71"/>
                  </a:lnTo>
                  <a:lnTo>
                    <a:pt x="698" y="73"/>
                  </a:lnTo>
                  <a:lnTo>
                    <a:pt x="700" y="75"/>
                  </a:lnTo>
                  <a:lnTo>
                    <a:pt x="700" y="76"/>
                  </a:lnTo>
                  <a:lnTo>
                    <a:pt x="698" y="76"/>
                  </a:lnTo>
                  <a:lnTo>
                    <a:pt x="698" y="78"/>
                  </a:lnTo>
                  <a:lnTo>
                    <a:pt x="698" y="80"/>
                  </a:lnTo>
                  <a:lnTo>
                    <a:pt x="698" y="81"/>
                  </a:lnTo>
                  <a:lnTo>
                    <a:pt x="700" y="81"/>
                  </a:lnTo>
                  <a:lnTo>
                    <a:pt x="701" y="81"/>
                  </a:lnTo>
                  <a:lnTo>
                    <a:pt x="701" y="83"/>
                  </a:lnTo>
                  <a:lnTo>
                    <a:pt x="703" y="83"/>
                  </a:lnTo>
                  <a:lnTo>
                    <a:pt x="703" y="84"/>
                  </a:lnTo>
                  <a:lnTo>
                    <a:pt x="705" y="84"/>
                  </a:lnTo>
                  <a:lnTo>
                    <a:pt x="706" y="84"/>
                  </a:lnTo>
                  <a:lnTo>
                    <a:pt x="705" y="86"/>
                  </a:lnTo>
                  <a:lnTo>
                    <a:pt x="705" y="88"/>
                  </a:lnTo>
                  <a:lnTo>
                    <a:pt x="705" y="89"/>
                  </a:lnTo>
                  <a:lnTo>
                    <a:pt x="706" y="89"/>
                  </a:lnTo>
                  <a:lnTo>
                    <a:pt x="706" y="91"/>
                  </a:lnTo>
                  <a:lnTo>
                    <a:pt x="708" y="91"/>
                  </a:lnTo>
                  <a:lnTo>
                    <a:pt x="708" y="93"/>
                  </a:lnTo>
                  <a:lnTo>
                    <a:pt x="709" y="93"/>
                  </a:lnTo>
                  <a:lnTo>
                    <a:pt x="711" y="93"/>
                  </a:lnTo>
                  <a:lnTo>
                    <a:pt x="711" y="94"/>
                  </a:lnTo>
                  <a:lnTo>
                    <a:pt x="709" y="96"/>
                  </a:lnTo>
                  <a:lnTo>
                    <a:pt x="709" y="97"/>
                  </a:lnTo>
                  <a:lnTo>
                    <a:pt x="711" y="99"/>
                  </a:lnTo>
                  <a:lnTo>
                    <a:pt x="711" y="101"/>
                  </a:lnTo>
                  <a:lnTo>
                    <a:pt x="713" y="102"/>
                  </a:lnTo>
                  <a:lnTo>
                    <a:pt x="714" y="104"/>
                  </a:lnTo>
                  <a:lnTo>
                    <a:pt x="714" y="106"/>
                  </a:lnTo>
                  <a:lnTo>
                    <a:pt x="718" y="109"/>
                  </a:lnTo>
                  <a:lnTo>
                    <a:pt x="719" y="110"/>
                  </a:lnTo>
                  <a:lnTo>
                    <a:pt x="722" y="109"/>
                  </a:lnTo>
                  <a:lnTo>
                    <a:pt x="722" y="112"/>
                  </a:lnTo>
                  <a:lnTo>
                    <a:pt x="724" y="112"/>
                  </a:lnTo>
                  <a:lnTo>
                    <a:pt x="724" y="114"/>
                  </a:lnTo>
                  <a:lnTo>
                    <a:pt x="726" y="115"/>
                  </a:lnTo>
                  <a:lnTo>
                    <a:pt x="726" y="117"/>
                  </a:lnTo>
                  <a:lnTo>
                    <a:pt x="724" y="119"/>
                  </a:lnTo>
                  <a:lnTo>
                    <a:pt x="726" y="120"/>
                  </a:lnTo>
                  <a:lnTo>
                    <a:pt x="724" y="122"/>
                  </a:lnTo>
                  <a:lnTo>
                    <a:pt x="726" y="122"/>
                  </a:lnTo>
                  <a:lnTo>
                    <a:pt x="726" y="124"/>
                  </a:lnTo>
                  <a:lnTo>
                    <a:pt x="724" y="125"/>
                  </a:lnTo>
                  <a:lnTo>
                    <a:pt x="726" y="127"/>
                  </a:lnTo>
                  <a:lnTo>
                    <a:pt x="727" y="127"/>
                  </a:lnTo>
                  <a:lnTo>
                    <a:pt x="729" y="125"/>
                  </a:lnTo>
                  <a:lnTo>
                    <a:pt x="731" y="125"/>
                  </a:lnTo>
                  <a:lnTo>
                    <a:pt x="734" y="128"/>
                  </a:lnTo>
                  <a:lnTo>
                    <a:pt x="731" y="130"/>
                  </a:lnTo>
                  <a:lnTo>
                    <a:pt x="731" y="132"/>
                  </a:lnTo>
                  <a:lnTo>
                    <a:pt x="729" y="132"/>
                  </a:lnTo>
                  <a:lnTo>
                    <a:pt x="727" y="133"/>
                  </a:lnTo>
                  <a:lnTo>
                    <a:pt x="729" y="133"/>
                  </a:lnTo>
                  <a:lnTo>
                    <a:pt x="731" y="135"/>
                  </a:lnTo>
                  <a:lnTo>
                    <a:pt x="727" y="138"/>
                  </a:lnTo>
                  <a:lnTo>
                    <a:pt x="729" y="140"/>
                  </a:lnTo>
                  <a:lnTo>
                    <a:pt x="731" y="140"/>
                  </a:lnTo>
                  <a:lnTo>
                    <a:pt x="729" y="141"/>
                  </a:lnTo>
                  <a:lnTo>
                    <a:pt x="729" y="143"/>
                  </a:lnTo>
                  <a:lnTo>
                    <a:pt x="729" y="146"/>
                  </a:lnTo>
                  <a:lnTo>
                    <a:pt x="727" y="148"/>
                  </a:lnTo>
                  <a:lnTo>
                    <a:pt x="727" y="146"/>
                  </a:lnTo>
                  <a:lnTo>
                    <a:pt x="727" y="148"/>
                  </a:lnTo>
                  <a:lnTo>
                    <a:pt x="726" y="148"/>
                  </a:lnTo>
                  <a:lnTo>
                    <a:pt x="724" y="148"/>
                  </a:lnTo>
                  <a:lnTo>
                    <a:pt x="722" y="150"/>
                  </a:lnTo>
                  <a:lnTo>
                    <a:pt x="721" y="150"/>
                  </a:lnTo>
                  <a:lnTo>
                    <a:pt x="722" y="150"/>
                  </a:lnTo>
                  <a:lnTo>
                    <a:pt x="724" y="153"/>
                  </a:lnTo>
                  <a:lnTo>
                    <a:pt x="726" y="154"/>
                  </a:lnTo>
                  <a:lnTo>
                    <a:pt x="727" y="156"/>
                  </a:lnTo>
                  <a:lnTo>
                    <a:pt x="726" y="158"/>
                  </a:lnTo>
                  <a:lnTo>
                    <a:pt x="726" y="159"/>
                  </a:lnTo>
                  <a:lnTo>
                    <a:pt x="727" y="161"/>
                  </a:lnTo>
                  <a:lnTo>
                    <a:pt x="729" y="164"/>
                  </a:lnTo>
                  <a:lnTo>
                    <a:pt x="729" y="167"/>
                  </a:lnTo>
                  <a:lnTo>
                    <a:pt x="729" y="169"/>
                  </a:lnTo>
                  <a:lnTo>
                    <a:pt x="731" y="171"/>
                  </a:lnTo>
                  <a:lnTo>
                    <a:pt x="726" y="172"/>
                  </a:lnTo>
                  <a:lnTo>
                    <a:pt x="719" y="174"/>
                  </a:lnTo>
                  <a:lnTo>
                    <a:pt x="714" y="176"/>
                  </a:lnTo>
                  <a:lnTo>
                    <a:pt x="711" y="176"/>
                  </a:lnTo>
                  <a:lnTo>
                    <a:pt x="709" y="176"/>
                  </a:lnTo>
                  <a:lnTo>
                    <a:pt x="709" y="171"/>
                  </a:lnTo>
                  <a:lnTo>
                    <a:pt x="708" y="174"/>
                  </a:lnTo>
                  <a:lnTo>
                    <a:pt x="706" y="174"/>
                  </a:lnTo>
                  <a:lnTo>
                    <a:pt x="706" y="177"/>
                  </a:lnTo>
                  <a:lnTo>
                    <a:pt x="705" y="177"/>
                  </a:lnTo>
                  <a:lnTo>
                    <a:pt x="701" y="177"/>
                  </a:lnTo>
                  <a:lnTo>
                    <a:pt x="700" y="177"/>
                  </a:lnTo>
                  <a:lnTo>
                    <a:pt x="698" y="177"/>
                  </a:lnTo>
                  <a:lnTo>
                    <a:pt x="696" y="176"/>
                  </a:lnTo>
                  <a:lnTo>
                    <a:pt x="695" y="171"/>
                  </a:lnTo>
                  <a:lnTo>
                    <a:pt x="693" y="171"/>
                  </a:lnTo>
                  <a:lnTo>
                    <a:pt x="691" y="171"/>
                  </a:lnTo>
                  <a:lnTo>
                    <a:pt x="688" y="169"/>
                  </a:lnTo>
                  <a:lnTo>
                    <a:pt x="687" y="169"/>
                  </a:lnTo>
                  <a:lnTo>
                    <a:pt x="683" y="167"/>
                  </a:lnTo>
                  <a:lnTo>
                    <a:pt x="683" y="169"/>
                  </a:lnTo>
                  <a:lnTo>
                    <a:pt x="682" y="169"/>
                  </a:lnTo>
                  <a:lnTo>
                    <a:pt x="680" y="169"/>
                  </a:lnTo>
                  <a:lnTo>
                    <a:pt x="678" y="169"/>
                  </a:lnTo>
                  <a:lnTo>
                    <a:pt x="678" y="171"/>
                  </a:lnTo>
                  <a:lnTo>
                    <a:pt x="677" y="172"/>
                  </a:lnTo>
                  <a:lnTo>
                    <a:pt x="678" y="174"/>
                  </a:lnTo>
                  <a:lnTo>
                    <a:pt x="678" y="176"/>
                  </a:lnTo>
                  <a:lnTo>
                    <a:pt x="677" y="176"/>
                  </a:lnTo>
                  <a:lnTo>
                    <a:pt x="675" y="176"/>
                  </a:lnTo>
                  <a:lnTo>
                    <a:pt x="675" y="177"/>
                  </a:lnTo>
                  <a:lnTo>
                    <a:pt x="674" y="177"/>
                  </a:lnTo>
                  <a:lnTo>
                    <a:pt x="672" y="179"/>
                  </a:lnTo>
                  <a:lnTo>
                    <a:pt x="672" y="180"/>
                  </a:lnTo>
                  <a:lnTo>
                    <a:pt x="670" y="180"/>
                  </a:lnTo>
                  <a:lnTo>
                    <a:pt x="670" y="179"/>
                  </a:lnTo>
                  <a:lnTo>
                    <a:pt x="669" y="179"/>
                  </a:lnTo>
                  <a:lnTo>
                    <a:pt x="669" y="182"/>
                  </a:lnTo>
                  <a:lnTo>
                    <a:pt x="667" y="182"/>
                  </a:lnTo>
                  <a:lnTo>
                    <a:pt x="667" y="184"/>
                  </a:lnTo>
                  <a:lnTo>
                    <a:pt x="669" y="184"/>
                  </a:lnTo>
                  <a:lnTo>
                    <a:pt x="672" y="185"/>
                  </a:lnTo>
                  <a:lnTo>
                    <a:pt x="674" y="185"/>
                  </a:lnTo>
                  <a:lnTo>
                    <a:pt x="675" y="185"/>
                  </a:lnTo>
                  <a:lnTo>
                    <a:pt x="677" y="185"/>
                  </a:lnTo>
                  <a:lnTo>
                    <a:pt x="682" y="189"/>
                  </a:lnTo>
                  <a:lnTo>
                    <a:pt x="683" y="189"/>
                  </a:lnTo>
                  <a:lnTo>
                    <a:pt x="685" y="189"/>
                  </a:lnTo>
                  <a:lnTo>
                    <a:pt x="687" y="187"/>
                  </a:lnTo>
                  <a:lnTo>
                    <a:pt x="688" y="187"/>
                  </a:lnTo>
                  <a:lnTo>
                    <a:pt x="690" y="187"/>
                  </a:lnTo>
                  <a:lnTo>
                    <a:pt x="691" y="192"/>
                  </a:lnTo>
                  <a:lnTo>
                    <a:pt x="693" y="193"/>
                  </a:lnTo>
                  <a:lnTo>
                    <a:pt x="691" y="195"/>
                  </a:lnTo>
                  <a:lnTo>
                    <a:pt x="693" y="195"/>
                  </a:lnTo>
                  <a:lnTo>
                    <a:pt x="695" y="197"/>
                  </a:lnTo>
                  <a:lnTo>
                    <a:pt x="696" y="198"/>
                  </a:lnTo>
                  <a:lnTo>
                    <a:pt x="696" y="200"/>
                  </a:lnTo>
                  <a:lnTo>
                    <a:pt x="696" y="202"/>
                  </a:lnTo>
                  <a:lnTo>
                    <a:pt x="695" y="202"/>
                  </a:lnTo>
                  <a:lnTo>
                    <a:pt x="695" y="203"/>
                  </a:lnTo>
                  <a:lnTo>
                    <a:pt x="693" y="203"/>
                  </a:lnTo>
                  <a:lnTo>
                    <a:pt x="691" y="203"/>
                  </a:lnTo>
                  <a:lnTo>
                    <a:pt x="691" y="205"/>
                  </a:lnTo>
                  <a:lnTo>
                    <a:pt x="693" y="208"/>
                  </a:lnTo>
                  <a:lnTo>
                    <a:pt x="693" y="211"/>
                  </a:lnTo>
                  <a:lnTo>
                    <a:pt x="691" y="211"/>
                  </a:lnTo>
                  <a:lnTo>
                    <a:pt x="691" y="213"/>
                  </a:lnTo>
                  <a:lnTo>
                    <a:pt x="690" y="213"/>
                  </a:lnTo>
                  <a:lnTo>
                    <a:pt x="690" y="215"/>
                  </a:lnTo>
                  <a:lnTo>
                    <a:pt x="688" y="215"/>
                  </a:lnTo>
                  <a:lnTo>
                    <a:pt x="687" y="216"/>
                  </a:lnTo>
                  <a:lnTo>
                    <a:pt x="685" y="218"/>
                  </a:lnTo>
                  <a:lnTo>
                    <a:pt x="685" y="219"/>
                  </a:lnTo>
                  <a:lnTo>
                    <a:pt x="683" y="219"/>
                  </a:lnTo>
                  <a:lnTo>
                    <a:pt x="680" y="218"/>
                  </a:lnTo>
                  <a:lnTo>
                    <a:pt x="678" y="219"/>
                  </a:lnTo>
                  <a:lnTo>
                    <a:pt x="678" y="221"/>
                  </a:lnTo>
                  <a:lnTo>
                    <a:pt x="677" y="221"/>
                  </a:lnTo>
                  <a:lnTo>
                    <a:pt x="677" y="219"/>
                  </a:lnTo>
                  <a:lnTo>
                    <a:pt x="675" y="219"/>
                  </a:lnTo>
                  <a:lnTo>
                    <a:pt x="674" y="219"/>
                  </a:lnTo>
                  <a:lnTo>
                    <a:pt x="674" y="221"/>
                  </a:lnTo>
                  <a:lnTo>
                    <a:pt x="674" y="223"/>
                  </a:lnTo>
                  <a:lnTo>
                    <a:pt x="674" y="224"/>
                  </a:lnTo>
                  <a:lnTo>
                    <a:pt x="674" y="226"/>
                  </a:lnTo>
                  <a:lnTo>
                    <a:pt x="672" y="228"/>
                  </a:lnTo>
                  <a:lnTo>
                    <a:pt x="675" y="231"/>
                  </a:lnTo>
                  <a:lnTo>
                    <a:pt x="678" y="237"/>
                  </a:lnTo>
                  <a:lnTo>
                    <a:pt x="677" y="237"/>
                  </a:lnTo>
                  <a:lnTo>
                    <a:pt x="677" y="239"/>
                  </a:lnTo>
                  <a:lnTo>
                    <a:pt x="677" y="241"/>
                  </a:lnTo>
                  <a:lnTo>
                    <a:pt x="675" y="241"/>
                  </a:lnTo>
                  <a:lnTo>
                    <a:pt x="674" y="242"/>
                  </a:lnTo>
                  <a:lnTo>
                    <a:pt x="674" y="244"/>
                  </a:lnTo>
                  <a:lnTo>
                    <a:pt x="674" y="247"/>
                  </a:lnTo>
                  <a:lnTo>
                    <a:pt x="674" y="249"/>
                  </a:lnTo>
                  <a:lnTo>
                    <a:pt x="672" y="247"/>
                  </a:lnTo>
                  <a:lnTo>
                    <a:pt x="672" y="249"/>
                  </a:lnTo>
                  <a:lnTo>
                    <a:pt x="674" y="250"/>
                  </a:lnTo>
                  <a:lnTo>
                    <a:pt x="674" y="252"/>
                  </a:lnTo>
                  <a:lnTo>
                    <a:pt x="675" y="252"/>
                  </a:lnTo>
                  <a:lnTo>
                    <a:pt x="675" y="250"/>
                  </a:lnTo>
                  <a:lnTo>
                    <a:pt x="675" y="252"/>
                  </a:lnTo>
                  <a:lnTo>
                    <a:pt x="677" y="252"/>
                  </a:lnTo>
                  <a:lnTo>
                    <a:pt x="677" y="254"/>
                  </a:lnTo>
                  <a:lnTo>
                    <a:pt x="677" y="255"/>
                  </a:lnTo>
                  <a:lnTo>
                    <a:pt x="677" y="257"/>
                  </a:lnTo>
                  <a:lnTo>
                    <a:pt x="680" y="255"/>
                  </a:lnTo>
                  <a:lnTo>
                    <a:pt x="682" y="255"/>
                  </a:lnTo>
                  <a:lnTo>
                    <a:pt x="683" y="257"/>
                  </a:lnTo>
                  <a:lnTo>
                    <a:pt x="683" y="258"/>
                  </a:lnTo>
                  <a:lnTo>
                    <a:pt x="682" y="260"/>
                  </a:lnTo>
                  <a:lnTo>
                    <a:pt x="682" y="262"/>
                  </a:lnTo>
                  <a:lnTo>
                    <a:pt x="680" y="262"/>
                  </a:lnTo>
                  <a:lnTo>
                    <a:pt x="680" y="263"/>
                  </a:lnTo>
                  <a:lnTo>
                    <a:pt x="678" y="262"/>
                  </a:lnTo>
                  <a:lnTo>
                    <a:pt x="678" y="263"/>
                  </a:lnTo>
                  <a:lnTo>
                    <a:pt x="678" y="265"/>
                  </a:lnTo>
                  <a:lnTo>
                    <a:pt x="678" y="267"/>
                  </a:lnTo>
                  <a:lnTo>
                    <a:pt x="680" y="267"/>
                  </a:lnTo>
                  <a:lnTo>
                    <a:pt x="682" y="268"/>
                  </a:lnTo>
                  <a:lnTo>
                    <a:pt x="683" y="268"/>
                  </a:lnTo>
                  <a:lnTo>
                    <a:pt x="683" y="270"/>
                  </a:lnTo>
                  <a:lnTo>
                    <a:pt x="682" y="272"/>
                  </a:lnTo>
                  <a:lnTo>
                    <a:pt x="680" y="272"/>
                  </a:lnTo>
                  <a:lnTo>
                    <a:pt x="678" y="272"/>
                  </a:lnTo>
                  <a:lnTo>
                    <a:pt x="677" y="273"/>
                  </a:lnTo>
                  <a:lnTo>
                    <a:pt x="677" y="275"/>
                  </a:lnTo>
                  <a:lnTo>
                    <a:pt x="678" y="273"/>
                  </a:lnTo>
                  <a:lnTo>
                    <a:pt x="680" y="273"/>
                  </a:lnTo>
                  <a:lnTo>
                    <a:pt x="680" y="275"/>
                  </a:lnTo>
                  <a:lnTo>
                    <a:pt x="682" y="276"/>
                  </a:lnTo>
                  <a:lnTo>
                    <a:pt x="683" y="276"/>
                  </a:lnTo>
                  <a:lnTo>
                    <a:pt x="683" y="278"/>
                  </a:lnTo>
                  <a:lnTo>
                    <a:pt x="682" y="278"/>
                  </a:lnTo>
                  <a:lnTo>
                    <a:pt x="680" y="278"/>
                  </a:lnTo>
                  <a:lnTo>
                    <a:pt x="678" y="278"/>
                  </a:lnTo>
                  <a:lnTo>
                    <a:pt x="677" y="278"/>
                  </a:lnTo>
                  <a:lnTo>
                    <a:pt x="677" y="280"/>
                  </a:lnTo>
                  <a:lnTo>
                    <a:pt x="675" y="280"/>
                  </a:lnTo>
                  <a:lnTo>
                    <a:pt x="674" y="278"/>
                  </a:lnTo>
                  <a:lnTo>
                    <a:pt x="672" y="278"/>
                  </a:lnTo>
                  <a:lnTo>
                    <a:pt x="670" y="278"/>
                  </a:lnTo>
                  <a:lnTo>
                    <a:pt x="669" y="278"/>
                  </a:lnTo>
                  <a:lnTo>
                    <a:pt x="667" y="278"/>
                  </a:lnTo>
                  <a:lnTo>
                    <a:pt x="667" y="280"/>
                  </a:lnTo>
                  <a:lnTo>
                    <a:pt x="665" y="278"/>
                  </a:lnTo>
                  <a:lnTo>
                    <a:pt x="664" y="280"/>
                  </a:lnTo>
                  <a:lnTo>
                    <a:pt x="662" y="278"/>
                  </a:lnTo>
                  <a:lnTo>
                    <a:pt x="661" y="281"/>
                  </a:lnTo>
                  <a:lnTo>
                    <a:pt x="661" y="283"/>
                  </a:lnTo>
                  <a:lnTo>
                    <a:pt x="661" y="285"/>
                  </a:lnTo>
                  <a:lnTo>
                    <a:pt x="659" y="285"/>
                  </a:lnTo>
                  <a:lnTo>
                    <a:pt x="659" y="286"/>
                  </a:lnTo>
                  <a:lnTo>
                    <a:pt x="659" y="288"/>
                  </a:lnTo>
                  <a:lnTo>
                    <a:pt x="657" y="288"/>
                  </a:lnTo>
                  <a:lnTo>
                    <a:pt x="657" y="289"/>
                  </a:lnTo>
                  <a:lnTo>
                    <a:pt x="656" y="288"/>
                  </a:lnTo>
                  <a:lnTo>
                    <a:pt x="656" y="289"/>
                  </a:lnTo>
                  <a:lnTo>
                    <a:pt x="654" y="289"/>
                  </a:lnTo>
                  <a:lnTo>
                    <a:pt x="652" y="293"/>
                  </a:lnTo>
                  <a:lnTo>
                    <a:pt x="652" y="294"/>
                  </a:lnTo>
                  <a:lnTo>
                    <a:pt x="651" y="294"/>
                  </a:lnTo>
                  <a:lnTo>
                    <a:pt x="648" y="298"/>
                  </a:lnTo>
                  <a:lnTo>
                    <a:pt x="648" y="299"/>
                  </a:lnTo>
                  <a:lnTo>
                    <a:pt x="646" y="301"/>
                  </a:lnTo>
                  <a:lnTo>
                    <a:pt x="644" y="301"/>
                  </a:lnTo>
                  <a:lnTo>
                    <a:pt x="641" y="304"/>
                  </a:lnTo>
                  <a:lnTo>
                    <a:pt x="639" y="304"/>
                  </a:lnTo>
                  <a:lnTo>
                    <a:pt x="638" y="306"/>
                  </a:lnTo>
                  <a:lnTo>
                    <a:pt x="636" y="306"/>
                  </a:lnTo>
                  <a:lnTo>
                    <a:pt x="635" y="307"/>
                  </a:lnTo>
                  <a:lnTo>
                    <a:pt x="635" y="309"/>
                  </a:lnTo>
                  <a:lnTo>
                    <a:pt x="635" y="311"/>
                  </a:lnTo>
                  <a:lnTo>
                    <a:pt x="636" y="312"/>
                  </a:lnTo>
                  <a:lnTo>
                    <a:pt x="635" y="314"/>
                  </a:lnTo>
                  <a:lnTo>
                    <a:pt x="635" y="317"/>
                  </a:lnTo>
                  <a:lnTo>
                    <a:pt x="636" y="320"/>
                  </a:lnTo>
                  <a:lnTo>
                    <a:pt x="636" y="322"/>
                  </a:lnTo>
                  <a:lnTo>
                    <a:pt x="638" y="322"/>
                  </a:lnTo>
                  <a:lnTo>
                    <a:pt x="639" y="322"/>
                  </a:lnTo>
                  <a:lnTo>
                    <a:pt x="641" y="327"/>
                  </a:lnTo>
                  <a:lnTo>
                    <a:pt x="643" y="330"/>
                  </a:lnTo>
                  <a:lnTo>
                    <a:pt x="641" y="330"/>
                  </a:lnTo>
                  <a:lnTo>
                    <a:pt x="639" y="330"/>
                  </a:lnTo>
                  <a:lnTo>
                    <a:pt x="638" y="330"/>
                  </a:lnTo>
                  <a:lnTo>
                    <a:pt x="638" y="328"/>
                  </a:lnTo>
                  <a:lnTo>
                    <a:pt x="638" y="327"/>
                  </a:lnTo>
                  <a:lnTo>
                    <a:pt x="636" y="327"/>
                  </a:lnTo>
                  <a:lnTo>
                    <a:pt x="635" y="327"/>
                  </a:lnTo>
                  <a:lnTo>
                    <a:pt x="633" y="327"/>
                  </a:lnTo>
                  <a:lnTo>
                    <a:pt x="631" y="327"/>
                  </a:lnTo>
                  <a:lnTo>
                    <a:pt x="631" y="325"/>
                  </a:lnTo>
                  <a:lnTo>
                    <a:pt x="628" y="324"/>
                  </a:lnTo>
                  <a:lnTo>
                    <a:pt x="626" y="324"/>
                  </a:lnTo>
                  <a:lnTo>
                    <a:pt x="625" y="322"/>
                  </a:lnTo>
                  <a:lnTo>
                    <a:pt x="623" y="322"/>
                  </a:lnTo>
                  <a:lnTo>
                    <a:pt x="620" y="322"/>
                  </a:lnTo>
                  <a:lnTo>
                    <a:pt x="618" y="324"/>
                  </a:lnTo>
                  <a:lnTo>
                    <a:pt x="617" y="324"/>
                  </a:lnTo>
                  <a:lnTo>
                    <a:pt x="615" y="325"/>
                  </a:lnTo>
                  <a:lnTo>
                    <a:pt x="615" y="327"/>
                  </a:lnTo>
                  <a:lnTo>
                    <a:pt x="613" y="327"/>
                  </a:lnTo>
                  <a:lnTo>
                    <a:pt x="612" y="327"/>
                  </a:lnTo>
                  <a:lnTo>
                    <a:pt x="610" y="327"/>
                  </a:lnTo>
                  <a:lnTo>
                    <a:pt x="609" y="327"/>
                  </a:lnTo>
                  <a:lnTo>
                    <a:pt x="607" y="327"/>
                  </a:lnTo>
                  <a:lnTo>
                    <a:pt x="605" y="325"/>
                  </a:lnTo>
                  <a:lnTo>
                    <a:pt x="604" y="327"/>
                  </a:lnTo>
                  <a:lnTo>
                    <a:pt x="602" y="327"/>
                  </a:lnTo>
                  <a:lnTo>
                    <a:pt x="602" y="328"/>
                  </a:lnTo>
                  <a:lnTo>
                    <a:pt x="600" y="328"/>
                  </a:lnTo>
                  <a:lnTo>
                    <a:pt x="599" y="328"/>
                  </a:lnTo>
                  <a:lnTo>
                    <a:pt x="597" y="328"/>
                  </a:lnTo>
                  <a:lnTo>
                    <a:pt x="597" y="330"/>
                  </a:lnTo>
                  <a:lnTo>
                    <a:pt x="596" y="330"/>
                  </a:lnTo>
                  <a:lnTo>
                    <a:pt x="594" y="332"/>
                  </a:lnTo>
                  <a:lnTo>
                    <a:pt x="592" y="332"/>
                  </a:lnTo>
                  <a:lnTo>
                    <a:pt x="594" y="335"/>
                  </a:lnTo>
                  <a:lnTo>
                    <a:pt x="592" y="337"/>
                  </a:lnTo>
                  <a:lnTo>
                    <a:pt x="592" y="338"/>
                  </a:lnTo>
                  <a:lnTo>
                    <a:pt x="591" y="338"/>
                  </a:lnTo>
                  <a:lnTo>
                    <a:pt x="591" y="340"/>
                  </a:lnTo>
                  <a:lnTo>
                    <a:pt x="589" y="340"/>
                  </a:lnTo>
                  <a:lnTo>
                    <a:pt x="587" y="340"/>
                  </a:lnTo>
                  <a:lnTo>
                    <a:pt x="586" y="340"/>
                  </a:lnTo>
                  <a:lnTo>
                    <a:pt x="583" y="337"/>
                  </a:lnTo>
                  <a:lnTo>
                    <a:pt x="581" y="337"/>
                  </a:lnTo>
                  <a:lnTo>
                    <a:pt x="581" y="335"/>
                  </a:lnTo>
                  <a:lnTo>
                    <a:pt x="579" y="335"/>
                  </a:lnTo>
                  <a:lnTo>
                    <a:pt x="574" y="337"/>
                  </a:lnTo>
                  <a:lnTo>
                    <a:pt x="573" y="337"/>
                  </a:lnTo>
                  <a:lnTo>
                    <a:pt x="571" y="337"/>
                  </a:lnTo>
                  <a:lnTo>
                    <a:pt x="570" y="337"/>
                  </a:lnTo>
                  <a:lnTo>
                    <a:pt x="568" y="337"/>
                  </a:lnTo>
                  <a:lnTo>
                    <a:pt x="566" y="338"/>
                  </a:lnTo>
                  <a:lnTo>
                    <a:pt x="565" y="338"/>
                  </a:lnTo>
                  <a:lnTo>
                    <a:pt x="563" y="338"/>
                  </a:lnTo>
                  <a:lnTo>
                    <a:pt x="560" y="338"/>
                  </a:lnTo>
                  <a:lnTo>
                    <a:pt x="558" y="338"/>
                  </a:lnTo>
                  <a:lnTo>
                    <a:pt x="558" y="337"/>
                  </a:lnTo>
                  <a:lnTo>
                    <a:pt x="557" y="337"/>
                  </a:lnTo>
                  <a:lnTo>
                    <a:pt x="555" y="337"/>
                  </a:lnTo>
                  <a:lnTo>
                    <a:pt x="553" y="337"/>
                  </a:lnTo>
                  <a:lnTo>
                    <a:pt x="552" y="337"/>
                  </a:lnTo>
                  <a:lnTo>
                    <a:pt x="550" y="337"/>
                  </a:lnTo>
                  <a:lnTo>
                    <a:pt x="550" y="338"/>
                  </a:lnTo>
                  <a:lnTo>
                    <a:pt x="548" y="340"/>
                  </a:lnTo>
                  <a:lnTo>
                    <a:pt x="547" y="340"/>
                  </a:lnTo>
                  <a:lnTo>
                    <a:pt x="547" y="338"/>
                  </a:lnTo>
                  <a:lnTo>
                    <a:pt x="545" y="338"/>
                  </a:lnTo>
                  <a:lnTo>
                    <a:pt x="543" y="338"/>
                  </a:lnTo>
                  <a:lnTo>
                    <a:pt x="542" y="340"/>
                  </a:lnTo>
                  <a:lnTo>
                    <a:pt x="540" y="341"/>
                  </a:lnTo>
                  <a:lnTo>
                    <a:pt x="539" y="343"/>
                  </a:lnTo>
                  <a:lnTo>
                    <a:pt x="539" y="345"/>
                  </a:lnTo>
                  <a:lnTo>
                    <a:pt x="537" y="346"/>
                  </a:lnTo>
                  <a:lnTo>
                    <a:pt x="535" y="346"/>
                  </a:lnTo>
                  <a:lnTo>
                    <a:pt x="535" y="343"/>
                  </a:lnTo>
                  <a:lnTo>
                    <a:pt x="534" y="343"/>
                  </a:lnTo>
                  <a:lnTo>
                    <a:pt x="532" y="343"/>
                  </a:lnTo>
                  <a:lnTo>
                    <a:pt x="532" y="345"/>
                  </a:lnTo>
                  <a:lnTo>
                    <a:pt x="532" y="346"/>
                  </a:lnTo>
                  <a:lnTo>
                    <a:pt x="530" y="346"/>
                  </a:lnTo>
                  <a:lnTo>
                    <a:pt x="529" y="345"/>
                  </a:lnTo>
                  <a:lnTo>
                    <a:pt x="527" y="345"/>
                  </a:lnTo>
                  <a:lnTo>
                    <a:pt x="527" y="346"/>
                  </a:lnTo>
                  <a:lnTo>
                    <a:pt x="526" y="346"/>
                  </a:lnTo>
                  <a:lnTo>
                    <a:pt x="526" y="348"/>
                  </a:lnTo>
                  <a:lnTo>
                    <a:pt x="526" y="350"/>
                  </a:lnTo>
                  <a:lnTo>
                    <a:pt x="524" y="351"/>
                  </a:lnTo>
                  <a:lnTo>
                    <a:pt x="524" y="354"/>
                  </a:lnTo>
                  <a:lnTo>
                    <a:pt x="524" y="356"/>
                  </a:lnTo>
                  <a:lnTo>
                    <a:pt x="522" y="356"/>
                  </a:lnTo>
                  <a:lnTo>
                    <a:pt x="524" y="358"/>
                  </a:lnTo>
                  <a:lnTo>
                    <a:pt x="522" y="358"/>
                  </a:lnTo>
                  <a:lnTo>
                    <a:pt x="522" y="359"/>
                  </a:lnTo>
                  <a:lnTo>
                    <a:pt x="522" y="361"/>
                  </a:lnTo>
                  <a:lnTo>
                    <a:pt x="519" y="361"/>
                  </a:lnTo>
                  <a:lnTo>
                    <a:pt x="517" y="361"/>
                  </a:lnTo>
                  <a:lnTo>
                    <a:pt x="516" y="363"/>
                  </a:lnTo>
                  <a:lnTo>
                    <a:pt x="514" y="361"/>
                  </a:lnTo>
                  <a:lnTo>
                    <a:pt x="514" y="363"/>
                  </a:lnTo>
                  <a:lnTo>
                    <a:pt x="513" y="363"/>
                  </a:lnTo>
                  <a:lnTo>
                    <a:pt x="513" y="364"/>
                  </a:lnTo>
                  <a:lnTo>
                    <a:pt x="511" y="366"/>
                  </a:lnTo>
                  <a:lnTo>
                    <a:pt x="511" y="367"/>
                  </a:lnTo>
                  <a:lnTo>
                    <a:pt x="509" y="367"/>
                  </a:lnTo>
                  <a:lnTo>
                    <a:pt x="509" y="369"/>
                  </a:lnTo>
                  <a:lnTo>
                    <a:pt x="508" y="369"/>
                  </a:lnTo>
                  <a:lnTo>
                    <a:pt x="508" y="371"/>
                  </a:lnTo>
                  <a:lnTo>
                    <a:pt x="506" y="371"/>
                  </a:lnTo>
                  <a:lnTo>
                    <a:pt x="504" y="371"/>
                  </a:lnTo>
                  <a:lnTo>
                    <a:pt x="503" y="371"/>
                  </a:lnTo>
                  <a:lnTo>
                    <a:pt x="501" y="372"/>
                  </a:lnTo>
                  <a:lnTo>
                    <a:pt x="500" y="372"/>
                  </a:lnTo>
                  <a:lnTo>
                    <a:pt x="500" y="374"/>
                  </a:lnTo>
                  <a:lnTo>
                    <a:pt x="501" y="376"/>
                  </a:lnTo>
                  <a:lnTo>
                    <a:pt x="501" y="379"/>
                  </a:lnTo>
                  <a:lnTo>
                    <a:pt x="500" y="380"/>
                  </a:lnTo>
                  <a:lnTo>
                    <a:pt x="498" y="380"/>
                  </a:lnTo>
                  <a:lnTo>
                    <a:pt x="498" y="379"/>
                  </a:lnTo>
                  <a:lnTo>
                    <a:pt x="496" y="377"/>
                  </a:lnTo>
                  <a:lnTo>
                    <a:pt x="496" y="376"/>
                  </a:lnTo>
                  <a:lnTo>
                    <a:pt x="493" y="374"/>
                  </a:lnTo>
                  <a:lnTo>
                    <a:pt x="491" y="374"/>
                  </a:lnTo>
                  <a:lnTo>
                    <a:pt x="491" y="376"/>
                  </a:lnTo>
                  <a:lnTo>
                    <a:pt x="488" y="376"/>
                  </a:lnTo>
                  <a:lnTo>
                    <a:pt x="487" y="374"/>
                  </a:lnTo>
                  <a:lnTo>
                    <a:pt x="485" y="374"/>
                  </a:lnTo>
                  <a:lnTo>
                    <a:pt x="485" y="372"/>
                  </a:lnTo>
                  <a:lnTo>
                    <a:pt x="482" y="372"/>
                  </a:lnTo>
                  <a:lnTo>
                    <a:pt x="480" y="372"/>
                  </a:lnTo>
                  <a:lnTo>
                    <a:pt x="478" y="372"/>
                  </a:lnTo>
                  <a:lnTo>
                    <a:pt x="477" y="374"/>
                  </a:lnTo>
                  <a:lnTo>
                    <a:pt x="475" y="374"/>
                  </a:lnTo>
                  <a:lnTo>
                    <a:pt x="474" y="374"/>
                  </a:lnTo>
                  <a:lnTo>
                    <a:pt x="472" y="374"/>
                  </a:lnTo>
                  <a:lnTo>
                    <a:pt x="470" y="372"/>
                  </a:lnTo>
                  <a:lnTo>
                    <a:pt x="469" y="372"/>
                  </a:lnTo>
                  <a:lnTo>
                    <a:pt x="465" y="374"/>
                  </a:lnTo>
                  <a:lnTo>
                    <a:pt x="464" y="374"/>
                  </a:lnTo>
                  <a:lnTo>
                    <a:pt x="462" y="374"/>
                  </a:lnTo>
                  <a:lnTo>
                    <a:pt x="461" y="374"/>
                  </a:lnTo>
                  <a:lnTo>
                    <a:pt x="459" y="376"/>
                  </a:lnTo>
                  <a:lnTo>
                    <a:pt x="457" y="376"/>
                  </a:lnTo>
                  <a:lnTo>
                    <a:pt x="457" y="374"/>
                  </a:lnTo>
                  <a:lnTo>
                    <a:pt x="456" y="372"/>
                  </a:lnTo>
                  <a:lnTo>
                    <a:pt x="456" y="371"/>
                  </a:lnTo>
                  <a:lnTo>
                    <a:pt x="454" y="369"/>
                  </a:lnTo>
                  <a:lnTo>
                    <a:pt x="451" y="367"/>
                  </a:lnTo>
                  <a:lnTo>
                    <a:pt x="449" y="367"/>
                  </a:lnTo>
                  <a:lnTo>
                    <a:pt x="448" y="367"/>
                  </a:lnTo>
                  <a:lnTo>
                    <a:pt x="446" y="367"/>
                  </a:lnTo>
                  <a:lnTo>
                    <a:pt x="444" y="367"/>
                  </a:lnTo>
                  <a:lnTo>
                    <a:pt x="444" y="369"/>
                  </a:lnTo>
                  <a:lnTo>
                    <a:pt x="443" y="369"/>
                  </a:lnTo>
                  <a:lnTo>
                    <a:pt x="441" y="367"/>
                  </a:lnTo>
                  <a:lnTo>
                    <a:pt x="439" y="367"/>
                  </a:lnTo>
                  <a:lnTo>
                    <a:pt x="438" y="366"/>
                  </a:lnTo>
                  <a:lnTo>
                    <a:pt x="436" y="366"/>
                  </a:lnTo>
                  <a:lnTo>
                    <a:pt x="436" y="364"/>
                  </a:lnTo>
                  <a:lnTo>
                    <a:pt x="435" y="364"/>
                  </a:lnTo>
                  <a:lnTo>
                    <a:pt x="433" y="364"/>
                  </a:lnTo>
                  <a:lnTo>
                    <a:pt x="431" y="364"/>
                  </a:lnTo>
                  <a:lnTo>
                    <a:pt x="430" y="364"/>
                  </a:lnTo>
                  <a:lnTo>
                    <a:pt x="428" y="364"/>
                  </a:lnTo>
                  <a:lnTo>
                    <a:pt x="425" y="364"/>
                  </a:lnTo>
                  <a:lnTo>
                    <a:pt x="423" y="366"/>
                  </a:lnTo>
                  <a:lnTo>
                    <a:pt x="422" y="366"/>
                  </a:lnTo>
                  <a:lnTo>
                    <a:pt x="418" y="366"/>
                  </a:lnTo>
                  <a:lnTo>
                    <a:pt x="415" y="364"/>
                  </a:lnTo>
                  <a:lnTo>
                    <a:pt x="413" y="364"/>
                  </a:lnTo>
                  <a:lnTo>
                    <a:pt x="412" y="364"/>
                  </a:lnTo>
                  <a:lnTo>
                    <a:pt x="409" y="364"/>
                  </a:lnTo>
                  <a:lnTo>
                    <a:pt x="405" y="363"/>
                  </a:lnTo>
                  <a:lnTo>
                    <a:pt x="400" y="363"/>
                  </a:lnTo>
                  <a:lnTo>
                    <a:pt x="399" y="363"/>
                  </a:lnTo>
                  <a:lnTo>
                    <a:pt x="399" y="361"/>
                  </a:lnTo>
                  <a:lnTo>
                    <a:pt x="397" y="361"/>
                  </a:lnTo>
                  <a:lnTo>
                    <a:pt x="395" y="361"/>
                  </a:lnTo>
                  <a:lnTo>
                    <a:pt x="394" y="363"/>
                  </a:lnTo>
                  <a:lnTo>
                    <a:pt x="392" y="361"/>
                  </a:lnTo>
                  <a:lnTo>
                    <a:pt x="392" y="359"/>
                  </a:lnTo>
                  <a:lnTo>
                    <a:pt x="389" y="361"/>
                  </a:lnTo>
                  <a:lnTo>
                    <a:pt x="386" y="361"/>
                  </a:lnTo>
                  <a:lnTo>
                    <a:pt x="382" y="361"/>
                  </a:lnTo>
                  <a:lnTo>
                    <a:pt x="382" y="359"/>
                  </a:lnTo>
                  <a:lnTo>
                    <a:pt x="379" y="358"/>
                  </a:lnTo>
                  <a:lnTo>
                    <a:pt x="379" y="359"/>
                  </a:lnTo>
                  <a:lnTo>
                    <a:pt x="376" y="359"/>
                  </a:lnTo>
                  <a:lnTo>
                    <a:pt x="374" y="363"/>
                  </a:lnTo>
                  <a:lnTo>
                    <a:pt x="371" y="361"/>
                  </a:lnTo>
                  <a:lnTo>
                    <a:pt x="369" y="361"/>
                  </a:lnTo>
                  <a:lnTo>
                    <a:pt x="368" y="361"/>
                  </a:lnTo>
                  <a:lnTo>
                    <a:pt x="366" y="363"/>
                  </a:lnTo>
                  <a:lnTo>
                    <a:pt x="365" y="361"/>
                  </a:lnTo>
                  <a:lnTo>
                    <a:pt x="363" y="359"/>
                  </a:lnTo>
                  <a:lnTo>
                    <a:pt x="361" y="359"/>
                  </a:lnTo>
                  <a:lnTo>
                    <a:pt x="360" y="358"/>
                  </a:lnTo>
                  <a:lnTo>
                    <a:pt x="356" y="358"/>
                  </a:lnTo>
                  <a:lnTo>
                    <a:pt x="353" y="358"/>
                  </a:lnTo>
                  <a:lnTo>
                    <a:pt x="350" y="356"/>
                  </a:lnTo>
                  <a:lnTo>
                    <a:pt x="347" y="358"/>
                  </a:lnTo>
                  <a:lnTo>
                    <a:pt x="342" y="356"/>
                  </a:lnTo>
                  <a:lnTo>
                    <a:pt x="340" y="356"/>
                  </a:lnTo>
                  <a:lnTo>
                    <a:pt x="335" y="356"/>
                  </a:lnTo>
                  <a:lnTo>
                    <a:pt x="334" y="356"/>
                  </a:lnTo>
                  <a:lnTo>
                    <a:pt x="330" y="356"/>
                  </a:lnTo>
                  <a:lnTo>
                    <a:pt x="329" y="356"/>
                  </a:lnTo>
                  <a:lnTo>
                    <a:pt x="327" y="356"/>
                  </a:lnTo>
                  <a:lnTo>
                    <a:pt x="326" y="356"/>
                  </a:lnTo>
                  <a:lnTo>
                    <a:pt x="326" y="353"/>
                  </a:lnTo>
                  <a:lnTo>
                    <a:pt x="324" y="353"/>
                  </a:lnTo>
                  <a:lnTo>
                    <a:pt x="322" y="353"/>
                  </a:lnTo>
                  <a:lnTo>
                    <a:pt x="322" y="351"/>
                  </a:lnTo>
                  <a:lnTo>
                    <a:pt x="321" y="351"/>
                  </a:lnTo>
                  <a:lnTo>
                    <a:pt x="319" y="351"/>
                  </a:lnTo>
                  <a:lnTo>
                    <a:pt x="317" y="351"/>
                  </a:lnTo>
                  <a:lnTo>
                    <a:pt x="316" y="353"/>
                  </a:lnTo>
                  <a:lnTo>
                    <a:pt x="314" y="351"/>
                  </a:lnTo>
                  <a:lnTo>
                    <a:pt x="313" y="350"/>
                  </a:lnTo>
                  <a:lnTo>
                    <a:pt x="311" y="350"/>
                  </a:lnTo>
                  <a:lnTo>
                    <a:pt x="309" y="350"/>
                  </a:lnTo>
                  <a:lnTo>
                    <a:pt x="308" y="350"/>
                  </a:lnTo>
                  <a:lnTo>
                    <a:pt x="308" y="351"/>
                  </a:lnTo>
                  <a:lnTo>
                    <a:pt x="306" y="351"/>
                  </a:lnTo>
                  <a:lnTo>
                    <a:pt x="306" y="350"/>
                  </a:lnTo>
                  <a:lnTo>
                    <a:pt x="304" y="350"/>
                  </a:lnTo>
                  <a:lnTo>
                    <a:pt x="303" y="350"/>
                  </a:lnTo>
                  <a:lnTo>
                    <a:pt x="300" y="351"/>
                  </a:lnTo>
                  <a:lnTo>
                    <a:pt x="298" y="350"/>
                  </a:lnTo>
                  <a:lnTo>
                    <a:pt x="295" y="348"/>
                  </a:lnTo>
                  <a:lnTo>
                    <a:pt x="293" y="346"/>
                  </a:lnTo>
                  <a:lnTo>
                    <a:pt x="291" y="348"/>
                  </a:lnTo>
                  <a:lnTo>
                    <a:pt x="290" y="348"/>
                  </a:lnTo>
                  <a:lnTo>
                    <a:pt x="290" y="346"/>
                  </a:lnTo>
                  <a:lnTo>
                    <a:pt x="288" y="346"/>
                  </a:lnTo>
                  <a:lnTo>
                    <a:pt x="287" y="346"/>
                  </a:lnTo>
                  <a:lnTo>
                    <a:pt x="285" y="345"/>
                  </a:lnTo>
                  <a:lnTo>
                    <a:pt x="283" y="343"/>
                  </a:lnTo>
                  <a:lnTo>
                    <a:pt x="282" y="343"/>
                  </a:lnTo>
                  <a:lnTo>
                    <a:pt x="280" y="341"/>
                  </a:lnTo>
                  <a:lnTo>
                    <a:pt x="278" y="333"/>
                  </a:lnTo>
                  <a:lnTo>
                    <a:pt x="274" y="333"/>
                  </a:lnTo>
                  <a:lnTo>
                    <a:pt x="270" y="333"/>
                  </a:lnTo>
                  <a:lnTo>
                    <a:pt x="270" y="332"/>
                  </a:lnTo>
                  <a:lnTo>
                    <a:pt x="272" y="330"/>
                  </a:lnTo>
                  <a:lnTo>
                    <a:pt x="270" y="328"/>
                  </a:lnTo>
                  <a:lnTo>
                    <a:pt x="274" y="325"/>
                  </a:lnTo>
                  <a:lnTo>
                    <a:pt x="272" y="325"/>
                  </a:lnTo>
                  <a:lnTo>
                    <a:pt x="272" y="324"/>
                  </a:lnTo>
                  <a:lnTo>
                    <a:pt x="270" y="320"/>
                  </a:lnTo>
                  <a:lnTo>
                    <a:pt x="270" y="319"/>
                  </a:lnTo>
                  <a:lnTo>
                    <a:pt x="269" y="319"/>
                  </a:lnTo>
                  <a:lnTo>
                    <a:pt x="265" y="317"/>
                  </a:lnTo>
                  <a:lnTo>
                    <a:pt x="265" y="319"/>
                  </a:lnTo>
                  <a:lnTo>
                    <a:pt x="264" y="320"/>
                  </a:lnTo>
                  <a:lnTo>
                    <a:pt x="262" y="319"/>
                  </a:lnTo>
                  <a:lnTo>
                    <a:pt x="262" y="317"/>
                  </a:lnTo>
                  <a:lnTo>
                    <a:pt x="262" y="315"/>
                  </a:lnTo>
                  <a:lnTo>
                    <a:pt x="261" y="315"/>
                  </a:lnTo>
                  <a:lnTo>
                    <a:pt x="257" y="315"/>
                  </a:lnTo>
                  <a:lnTo>
                    <a:pt x="257" y="314"/>
                  </a:lnTo>
                  <a:lnTo>
                    <a:pt x="257" y="312"/>
                  </a:lnTo>
                  <a:lnTo>
                    <a:pt x="259" y="312"/>
                  </a:lnTo>
                  <a:lnTo>
                    <a:pt x="259" y="311"/>
                  </a:lnTo>
                  <a:lnTo>
                    <a:pt x="257" y="309"/>
                  </a:lnTo>
                  <a:lnTo>
                    <a:pt x="256" y="309"/>
                  </a:lnTo>
                  <a:lnTo>
                    <a:pt x="256" y="307"/>
                  </a:lnTo>
                  <a:lnTo>
                    <a:pt x="256" y="304"/>
                  </a:lnTo>
                  <a:lnTo>
                    <a:pt x="254" y="301"/>
                  </a:lnTo>
                  <a:lnTo>
                    <a:pt x="254" y="299"/>
                  </a:lnTo>
                  <a:lnTo>
                    <a:pt x="256" y="299"/>
                  </a:lnTo>
                  <a:lnTo>
                    <a:pt x="257" y="299"/>
                  </a:lnTo>
                  <a:lnTo>
                    <a:pt x="259" y="299"/>
                  </a:lnTo>
                  <a:lnTo>
                    <a:pt x="262" y="298"/>
                  </a:lnTo>
                  <a:lnTo>
                    <a:pt x="262" y="296"/>
                  </a:lnTo>
                  <a:lnTo>
                    <a:pt x="264" y="294"/>
                  </a:lnTo>
                  <a:lnTo>
                    <a:pt x="264" y="293"/>
                  </a:lnTo>
                  <a:lnTo>
                    <a:pt x="265" y="293"/>
                  </a:lnTo>
                  <a:lnTo>
                    <a:pt x="264" y="291"/>
                  </a:lnTo>
                  <a:lnTo>
                    <a:pt x="262" y="289"/>
                  </a:lnTo>
                  <a:lnTo>
                    <a:pt x="261" y="289"/>
                  </a:lnTo>
                  <a:lnTo>
                    <a:pt x="259" y="289"/>
                  </a:lnTo>
                  <a:lnTo>
                    <a:pt x="257" y="291"/>
                  </a:lnTo>
                  <a:lnTo>
                    <a:pt x="256" y="291"/>
                  </a:lnTo>
                  <a:lnTo>
                    <a:pt x="254" y="291"/>
                  </a:lnTo>
                  <a:lnTo>
                    <a:pt x="251" y="291"/>
                  </a:lnTo>
                  <a:lnTo>
                    <a:pt x="249" y="294"/>
                  </a:lnTo>
                  <a:lnTo>
                    <a:pt x="247" y="294"/>
                  </a:lnTo>
                  <a:lnTo>
                    <a:pt x="246" y="294"/>
                  </a:lnTo>
                  <a:lnTo>
                    <a:pt x="244" y="296"/>
                  </a:lnTo>
                  <a:lnTo>
                    <a:pt x="243" y="296"/>
                  </a:lnTo>
                  <a:lnTo>
                    <a:pt x="239" y="296"/>
                  </a:lnTo>
                  <a:lnTo>
                    <a:pt x="238" y="298"/>
                  </a:lnTo>
                  <a:lnTo>
                    <a:pt x="238" y="296"/>
                  </a:lnTo>
                  <a:lnTo>
                    <a:pt x="236" y="298"/>
                  </a:lnTo>
                  <a:lnTo>
                    <a:pt x="234" y="298"/>
                  </a:lnTo>
                  <a:lnTo>
                    <a:pt x="233" y="299"/>
                  </a:lnTo>
                  <a:lnTo>
                    <a:pt x="231" y="301"/>
                  </a:lnTo>
                  <a:lnTo>
                    <a:pt x="230" y="301"/>
                  </a:lnTo>
                  <a:lnTo>
                    <a:pt x="228" y="302"/>
                  </a:lnTo>
                  <a:lnTo>
                    <a:pt x="226" y="302"/>
                  </a:lnTo>
                  <a:lnTo>
                    <a:pt x="226" y="304"/>
                  </a:lnTo>
                  <a:lnTo>
                    <a:pt x="223" y="304"/>
                  </a:lnTo>
                  <a:lnTo>
                    <a:pt x="221" y="304"/>
                  </a:lnTo>
                  <a:lnTo>
                    <a:pt x="220" y="306"/>
                  </a:lnTo>
                  <a:lnTo>
                    <a:pt x="218" y="307"/>
                  </a:lnTo>
                  <a:lnTo>
                    <a:pt x="217" y="307"/>
                  </a:lnTo>
                  <a:lnTo>
                    <a:pt x="215" y="307"/>
                  </a:lnTo>
                  <a:lnTo>
                    <a:pt x="213" y="304"/>
                  </a:lnTo>
                  <a:lnTo>
                    <a:pt x="212" y="304"/>
                  </a:lnTo>
                  <a:lnTo>
                    <a:pt x="210" y="304"/>
                  </a:lnTo>
                  <a:lnTo>
                    <a:pt x="208" y="304"/>
                  </a:lnTo>
                  <a:lnTo>
                    <a:pt x="205" y="302"/>
                  </a:lnTo>
                  <a:lnTo>
                    <a:pt x="205" y="301"/>
                  </a:lnTo>
                  <a:lnTo>
                    <a:pt x="204" y="302"/>
                  </a:lnTo>
                  <a:lnTo>
                    <a:pt x="202" y="302"/>
                  </a:lnTo>
                  <a:lnTo>
                    <a:pt x="200" y="304"/>
                  </a:lnTo>
                  <a:lnTo>
                    <a:pt x="197" y="306"/>
                  </a:lnTo>
                  <a:lnTo>
                    <a:pt x="195" y="304"/>
                  </a:lnTo>
                  <a:lnTo>
                    <a:pt x="192" y="302"/>
                  </a:lnTo>
                  <a:lnTo>
                    <a:pt x="191" y="302"/>
                  </a:lnTo>
                  <a:lnTo>
                    <a:pt x="189" y="304"/>
                  </a:lnTo>
                  <a:lnTo>
                    <a:pt x="189" y="306"/>
                  </a:lnTo>
                  <a:lnTo>
                    <a:pt x="187" y="306"/>
                  </a:lnTo>
                  <a:lnTo>
                    <a:pt x="187" y="307"/>
                  </a:lnTo>
                  <a:lnTo>
                    <a:pt x="186" y="309"/>
                  </a:lnTo>
                  <a:lnTo>
                    <a:pt x="184" y="309"/>
                  </a:lnTo>
                  <a:lnTo>
                    <a:pt x="182" y="309"/>
                  </a:lnTo>
                  <a:lnTo>
                    <a:pt x="181" y="307"/>
                  </a:lnTo>
                  <a:lnTo>
                    <a:pt x="179" y="306"/>
                  </a:lnTo>
                  <a:lnTo>
                    <a:pt x="178" y="306"/>
                  </a:lnTo>
                  <a:lnTo>
                    <a:pt x="176" y="306"/>
                  </a:lnTo>
                  <a:lnTo>
                    <a:pt x="174" y="306"/>
                  </a:lnTo>
                  <a:lnTo>
                    <a:pt x="173" y="306"/>
                  </a:lnTo>
                  <a:lnTo>
                    <a:pt x="171" y="307"/>
                  </a:lnTo>
                  <a:lnTo>
                    <a:pt x="169" y="307"/>
                  </a:lnTo>
                  <a:lnTo>
                    <a:pt x="168" y="309"/>
                  </a:lnTo>
                  <a:lnTo>
                    <a:pt x="166" y="309"/>
                  </a:lnTo>
                  <a:lnTo>
                    <a:pt x="165" y="309"/>
                  </a:lnTo>
                  <a:lnTo>
                    <a:pt x="163" y="309"/>
                  </a:lnTo>
                  <a:lnTo>
                    <a:pt x="161" y="309"/>
                  </a:lnTo>
                  <a:lnTo>
                    <a:pt x="160" y="309"/>
                  </a:lnTo>
                  <a:lnTo>
                    <a:pt x="160" y="312"/>
                  </a:lnTo>
                  <a:lnTo>
                    <a:pt x="160" y="314"/>
                  </a:lnTo>
                  <a:lnTo>
                    <a:pt x="158" y="314"/>
                  </a:lnTo>
                  <a:lnTo>
                    <a:pt x="156" y="315"/>
                  </a:lnTo>
                  <a:lnTo>
                    <a:pt x="155" y="314"/>
                  </a:lnTo>
                  <a:lnTo>
                    <a:pt x="155" y="315"/>
                  </a:lnTo>
                  <a:lnTo>
                    <a:pt x="155" y="317"/>
                  </a:lnTo>
                  <a:lnTo>
                    <a:pt x="153" y="317"/>
                  </a:lnTo>
                  <a:lnTo>
                    <a:pt x="153" y="319"/>
                  </a:lnTo>
                  <a:lnTo>
                    <a:pt x="155" y="320"/>
                  </a:lnTo>
                  <a:lnTo>
                    <a:pt x="153" y="322"/>
                  </a:lnTo>
                  <a:lnTo>
                    <a:pt x="152" y="325"/>
                  </a:lnTo>
                  <a:lnTo>
                    <a:pt x="152" y="327"/>
                  </a:lnTo>
                  <a:lnTo>
                    <a:pt x="152" y="330"/>
                  </a:lnTo>
                  <a:lnTo>
                    <a:pt x="150" y="332"/>
                  </a:lnTo>
                  <a:lnTo>
                    <a:pt x="148" y="332"/>
                  </a:lnTo>
                  <a:lnTo>
                    <a:pt x="148" y="333"/>
                  </a:lnTo>
                  <a:lnTo>
                    <a:pt x="147" y="337"/>
                  </a:lnTo>
                  <a:lnTo>
                    <a:pt x="147" y="338"/>
                  </a:lnTo>
                  <a:lnTo>
                    <a:pt x="145" y="338"/>
                  </a:lnTo>
                  <a:lnTo>
                    <a:pt x="143" y="338"/>
                  </a:lnTo>
                  <a:lnTo>
                    <a:pt x="142" y="337"/>
                  </a:lnTo>
                  <a:lnTo>
                    <a:pt x="140" y="337"/>
                  </a:lnTo>
                  <a:lnTo>
                    <a:pt x="139" y="337"/>
                  </a:lnTo>
                  <a:lnTo>
                    <a:pt x="137" y="337"/>
                  </a:lnTo>
                  <a:lnTo>
                    <a:pt x="134" y="338"/>
                  </a:lnTo>
                  <a:lnTo>
                    <a:pt x="132" y="338"/>
                  </a:lnTo>
                  <a:lnTo>
                    <a:pt x="130" y="338"/>
                  </a:lnTo>
                  <a:lnTo>
                    <a:pt x="130" y="337"/>
                  </a:lnTo>
                  <a:lnTo>
                    <a:pt x="129" y="337"/>
                  </a:lnTo>
                  <a:lnTo>
                    <a:pt x="127" y="337"/>
                  </a:lnTo>
                  <a:lnTo>
                    <a:pt x="126" y="337"/>
                  </a:lnTo>
                  <a:lnTo>
                    <a:pt x="124" y="335"/>
                  </a:lnTo>
                  <a:lnTo>
                    <a:pt x="124" y="333"/>
                  </a:lnTo>
                  <a:lnTo>
                    <a:pt x="122" y="335"/>
                  </a:lnTo>
                  <a:lnTo>
                    <a:pt x="121" y="335"/>
                  </a:lnTo>
                  <a:lnTo>
                    <a:pt x="119" y="335"/>
                  </a:lnTo>
                  <a:lnTo>
                    <a:pt x="117" y="335"/>
                  </a:lnTo>
                  <a:lnTo>
                    <a:pt x="117" y="333"/>
                  </a:lnTo>
                  <a:lnTo>
                    <a:pt x="119" y="333"/>
                  </a:lnTo>
                  <a:lnTo>
                    <a:pt x="119" y="332"/>
                  </a:lnTo>
                  <a:lnTo>
                    <a:pt x="121" y="332"/>
                  </a:lnTo>
                  <a:lnTo>
                    <a:pt x="121" y="330"/>
                  </a:lnTo>
                  <a:lnTo>
                    <a:pt x="119" y="328"/>
                  </a:lnTo>
                  <a:lnTo>
                    <a:pt x="117" y="328"/>
                  </a:lnTo>
                  <a:lnTo>
                    <a:pt x="116" y="327"/>
                  </a:lnTo>
                  <a:lnTo>
                    <a:pt x="114" y="327"/>
                  </a:lnTo>
                  <a:lnTo>
                    <a:pt x="114" y="325"/>
                  </a:lnTo>
                  <a:lnTo>
                    <a:pt x="114" y="324"/>
                  </a:lnTo>
                  <a:lnTo>
                    <a:pt x="111" y="324"/>
                  </a:lnTo>
                  <a:lnTo>
                    <a:pt x="109" y="324"/>
                  </a:lnTo>
                  <a:lnTo>
                    <a:pt x="108" y="325"/>
                  </a:lnTo>
                  <a:lnTo>
                    <a:pt x="104" y="325"/>
                  </a:lnTo>
                  <a:lnTo>
                    <a:pt x="104" y="327"/>
                  </a:lnTo>
                  <a:lnTo>
                    <a:pt x="103" y="327"/>
                  </a:lnTo>
                  <a:lnTo>
                    <a:pt x="101" y="327"/>
                  </a:lnTo>
                  <a:lnTo>
                    <a:pt x="99" y="327"/>
                  </a:lnTo>
                  <a:lnTo>
                    <a:pt x="98" y="327"/>
                  </a:lnTo>
                  <a:lnTo>
                    <a:pt x="96" y="327"/>
                  </a:lnTo>
                  <a:lnTo>
                    <a:pt x="95" y="325"/>
                  </a:lnTo>
                  <a:lnTo>
                    <a:pt x="91" y="325"/>
                  </a:lnTo>
                  <a:lnTo>
                    <a:pt x="91" y="322"/>
                  </a:lnTo>
                  <a:lnTo>
                    <a:pt x="93" y="320"/>
                  </a:lnTo>
                  <a:lnTo>
                    <a:pt x="93" y="319"/>
                  </a:lnTo>
                  <a:lnTo>
                    <a:pt x="93" y="317"/>
                  </a:lnTo>
                  <a:lnTo>
                    <a:pt x="93" y="315"/>
                  </a:lnTo>
                  <a:lnTo>
                    <a:pt x="93" y="314"/>
                  </a:lnTo>
                  <a:lnTo>
                    <a:pt x="91" y="312"/>
                  </a:lnTo>
                  <a:lnTo>
                    <a:pt x="90" y="312"/>
                  </a:lnTo>
                  <a:lnTo>
                    <a:pt x="88" y="311"/>
                  </a:lnTo>
                  <a:lnTo>
                    <a:pt x="88" y="309"/>
                  </a:lnTo>
                  <a:lnTo>
                    <a:pt x="86" y="309"/>
                  </a:lnTo>
                  <a:lnTo>
                    <a:pt x="85" y="307"/>
                  </a:lnTo>
                  <a:lnTo>
                    <a:pt x="85" y="306"/>
                  </a:lnTo>
                  <a:lnTo>
                    <a:pt x="83" y="306"/>
                  </a:lnTo>
                  <a:lnTo>
                    <a:pt x="82" y="307"/>
                  </a:lnTo>
                  <a:lnTo>
                    <a:pt x="80" y="306"/>
                  </a:lnTo>
                  <a:lnTo>
                    <a:pt x="80" y="307"/>
                  </a:lnTo>
                  <a:lnTo>
                    <a:pt x="78" y="311"/>
                  </a:lnTo>
                  <a:lnTo>
                    <a:pt x="78" y="312"/>
                  </a:lnTo>
                  <a:lnTo>
                    <a:pt x="77" y="312"/>
                  </a:lnTo>
                  <a:lnTo>
                    <a:pt x="75" y="314"/>
                  </a:lnTo>
                  <a:lnTo>
                    <a:pt x="77" y="315"/>
                  </a:lnTo>
                  <a:lnTo>
                    <a:pt x="75" y="315"/>
                  </a:lnTo>
                  <a:lnTo>
                    <a:pt x="75" y="317"/>
                  </a:lnTo>
                  <a:lnTo>
                    <a:pt x="72" y="315"/>
                  </a:lnTo>
                  <a:lnTo>
                    <a:pt x="70" y="315"/>
                  </a:lnTo>
                  <a:lnTo>
                    <a:pt x="69" y="315"/>
                  </a:lnTo>
                  <a:lnTo>
                    <a:pt x="70" y="317"/>
                  </a:lnTo>
                  <a:lnTo>
                    <a:pt x="69" y="317"/>
                  </a:lnTo>
                  <a:lnTo>
                    <a:pt x="69" y="319"/>
                  </a:lnTo>
                  <a:lnTo>
                    <a:pt x="69" y="320"/>
                  </a:lnTo>
                  <a:lnTo>
                    <a:pt x="69" y="322"/>
                  </a:lnTo>
                  <a:lnTo>
                    <a:pt x="69" y="324"/>
                  </a:lnTo>
                  <a:lnTo>
                    <a:pt x="65" y="325"/>
                  </a:lnTo>
                  <a:lnTo>
                    <a:pt x="64" y="325"/>
                  </a:lnTo>
                  <a:lnTo>
                    <a:pt x="62" y="327"/>
                  </a:lnTo>
                  <a:lnTo>
                    <a:pt x="60" y="327"/>
                  </a:lnTo>
                  <a:lnTo>
                    <a:pt x="56" y="327"/>
                  </a:lnTo>
                  <a:lnTo>
                    <a:pt x="54" y="325"/>
                  </a:lnTo>
                  <a:lnTo>
                    <a:pt x="52" y="325"/>
                  </a:lnTo>
                  <a:lnTo>
                    <a:pt x="51" y="325"/>
                  </a:lnTo>
                  <a:lnTo>
                    <a:pt x="51" y="324"/>
                  </a:lnTo>
                  <a:lnTo>
                    <a:pt x="49" y="322"/>
                  </a:lnTo>
                  <a:lnTo>
                    <a:pt x="47" y="320"/>
                  </a:lnTo>
                  <a:lnTo>
                    <a:pt x="46" y="320"/>
                  </a:lnTo>
                  <a:lnTo>
                    <a:pt x="44" y="319"/>
                  </a:lnTo>
                  <a:lnTo>
                    <a:pt x="44" y="317"/>
                  </a:lnTo>
                  <a:lnTo>
                    <a:pt x="43" y="317"/>
                  </a:lnTo>
                  <a:lnTo>
                    <a:pt x="41" y="317"/>
                  </a:lnTo>
                  <a:lnTo>
                    <a:pt x="39" y="317"/>
                  </a:lnTo>
                  <a:lnTo>
                    <a:pt x="38" y="317"/>
                  </a:lnTo>
                  <a:lnTo>
                    <a:pt x="36" y="315"/>
                  </a:lnTo>
                  <a:lnTo>
                    <a:pt x="34" y="315"/>
                  </a:lnTo>
                  <a:lnTo>
                    <a:pt x="34" y="314"/>
                  </a:lnTo>
                  <a:lnTo>
                    <a:pt x="33" y="312"/>
                  </a:lnTo>
                  <a:lnTo>
                    <a:pt x="33" y="311"/>
                  </a:lnTo>
                  <a:lnTo>
                    <a:pt x="34" y="309"/>
                  </a:lnTo>
                  <a:lnTo>
                    <a:pt x="34" y="307"/>
                  </a:lnTo>
                  <a:lnTo>
                    <a:pt x="34" y="306"/>
                  </a:lnTo>
                  <a:lnTo>
                    <a:pt x="33" y="304"/>
                  </a:lnTo>
                  <a:lnTo>
                    <a:pt x="34" y="302"/>
                  </a:lnTo>
                  <a:lnTo>
                    <a:pt x="34" y="301"/>
                  </a:lnTo>
                  <a:lnTo>
                    <a:pt x="33" y="301"/>
                  </a:lnTo>
                  <a:lnTo>
                    <a:pt x="31" y="302"/>
                  </a:lnTo>
                  <a:lnTo>
                    <a:pt x="30" y="302"/>
                  </a:lnTo>
                  <a:lnTo>
                    <a:pt x="28" y="302"/>
                  </a:lnTo>
                  <a:lnTo>
                    <a:pt x="26" y="301"/>
                  </a:lnTo>
                  <a:lnTo>
                    <a:pt x="25" y="299"/>
                  </a:lnTo>
                  <a:lnTo>
                    <a:pt x="23" y="299"/>
                  </a:lnTo>
                  <a:lnTo>
                    <a:pt x="21" y="299"/>
                  </a:lnTo>
                  <a:lnTo>
                    <a:pt x="18" y="298"/>
                  </a:lnTo>
                  <a:lnTo>
                    <a:pt x="17" y="298"/>
                  </a:lnTo>
                  <a:lnTo>
                    <a:pt x="15" y="296"/>
                  </a:lnTo>
                  <a:lnTo>
                    <a:pt x="12" y="298"/>
                  </a:lnTo>
                  <a:lnTo>
                    <a:pt x="12" y="296"/>
                  </a:lnTo>
                  <a:lnTo>
                    <a:pt x="10" y="298"/>
                  </a:lnTo>
                  <a:lnTo>
                    <a:pt x="8" y="298"/>
                  </a:lnTo>
                  <a:lnTo>
                    <a:pt x="7" y="298"/>
                  </a:lnTo>
                  <a:lnTo>
                    <a:pt x="7" y="296"/>
                  </a:lnTo>
                  <a:lnTo>
                    <a:pt x="8" y="296"/>
                  </a:lnTo>
                  <a:lnTo>
                    <a:pt x="8" y="294"/>
                  </a:lnTo>
                  <a:lnTo>
                    <a:pt x="10" y="293"/>
                  </a:lnTo>
                  <a:lnTo>
                    <a:pt x="10" y="291"/>
                  </a:lnTo>
                  <a:lnTo>
                    <a:pt x="8" y="289"/>
                  </a:lnTo>
                  <a:lnTo>
                    <a:pt x="8" y="288"/>
                  </a:lnTo>
                  <a:lnTo>
                    <a:pt x="10" y="288"/>
                  </a:lnTo>
                  <a:lnTo>
                    <a:pt x="10" y="286"/>
                  </a:lnTo>
                  <a:lnTo>
                    <a:pt x="8" y="286"/>
                  </a:lnTo>
                  <a:lnTo>
                    <a:pt x="8" y="285"/>
                  </a:lnTo>
                  <a:lnTo>
                    <a:pt x="7" y="285"/>
                  </a:lnTo>
                  <a:lnTo>
                    <a:pt x="7" y="283"/>
                  </a:lnTo>
                  <a:lnTo>
                    <a:pt x="7" y="281"/>
                  </a:lnTo>
                  <a:lnTo>
                    <a:pt x="5" y="281"/>
                  </a:lnTo>
                  <a:lnTo>
                    <a:pt x="4" y="281"/>
                  </a:lnTo>
                  <a:lnTo>
                    <a:pt x="4" y="280"/>
                  </a:lnTo>
                  <a:lnTo>
                    <a:pt x="5" y="278"/>
                  </a:lnTo>
                  <a:lnTo>
                    <a:pt x="5" y="276"/>
                  </a:lnTo>
                  <a:lnTo>
                    <a:pt x="5" y="275"/>
                  </a:lnTo>
                  <a:lnTo>
                    <a:pt x="2" y="273"/>
                  </a:lnTo>
                  <a:lnTo>
                    <a:pt x="4" y="272"/>
                  </a:lnTo>
                  <a:lnTo>
                    <a:pt x="4" y="270"/>
                  </a:lnTo>
                  <a:lnTo>
                    <a:pt x="4" y="268"/>
                  </a:lnTo>
                  <a:lnTo>
                    <a:pt x="2" y="267"/>
                  </a:lnTo>
                  <a:lnTo>
                    <a:pt x="0" y="267"/>
                  </a:lnTo>
                  <a:lnTo>
                    <a:pt x="2" y="265"/>
                  </a:lnTo>
                  <a:lnTo>
                    <a:pt x="2" y="263"/>
                  </a:lnTo>
                  <a:lnTo>
                    <a:pt x="2" y="262"/>
                  </a:lnTo>
                  <a:lnTo>
                    <a:pt x="5" y="260"/>
                  </a:lnTo>
                  <a:lnTo>
                    <a:pt x="7" y="255"/>
                  </a:lnTo>
                  <a:lnTo>
                    <a:pt x="8" y="254"/>
                  </a:lnTo>
                  <a:lnTo>
                    <a:pt x="10" y="252"/>
                  </a:lnTo>
                  <a:lnTo>
                    <a:pt x="12" y="252"/>
                  </a:lnTo>
                  <a:lnTo>
                    <a:pt x="13" y="252"/>
                  </a:lnTo>
                  <a:lnTo>
                    <a:pt x="13" y="250"/>
                  </a:lnTo>
                  <a:lnTo>
                    <a:pt x="13" y="249"/>
                  </a:lnTo>
                  <a:lnTo>
                    <a:pt x="12" y="247"/>
                  </a:lnTo>
                  <a:lnTo>
                    <a:pt x="12" y="244"/>
                  </a:lnTo>
                  <a:lnTo>
                    <a:pt x="12" y="242"/>
                  </a:lnTo>
                  <a:lnTo>
                    <a:pt x="12" y="241"/>
                  </a:lnTo>
                  <a:lnTo>
                    <a:pt x="8" y="239"/>
                  </a:lnTo>
                  <a:lnTo>
                    <a:pt x="8" y="237"/>
                  </a:lnTo>
                  <a:lnTo>
                    <a:pt x="7" y="237"/>
                  </a:lnTo>
                  <a:lnTo>
                    <a:pt x="7" y="239"/>
                  </a:lnTo>
                  <a:lnTo>
                    <a:pt x="5" y="236"/>
                  </a:lnTo>
                  <a:lnTo>
                    <a:pt x="4" y="234"/>
                  </a:lnTo>
                  <a:lnTo>
                    <a:pt x="4" y="228"/>
                  </a:lnTo>
                  <a:lnTo>
                    <a:pt x="17" y="231"/>
                  </a:lnTo>
                  <a:lnTo>
                    <a:pt x="18" y="231"/>
                  </a:lnTo>
                  <a:lnTo>
                    <a:pt x="20" y="229"/>
                  </a:lnTo>
                  <a:lnTo>
                    <a:pt x="21" y="228"/>
                  </a:lnTo>
                  <a:lnTo>
                    <a:pt x="21" y="226"/>
                  </a:lnTo>
                  <a:lnTo>
                    <a:pt x="21" y="224"/>
                  </a:lnTo>
                  <a:lnTo>
                    <a:pt x="21" y="223"/>
                  </a:lnTo>
                  <a:lnTo>
                    <a:pt x="23" y="221"/>
                  </a:lnTo>
                  <a:lnTo>
                    <a:pt x="26" y="221"/>
                  </a:lnTo>
                  <a:lnTo>
                    <a:pt x="28" y="221"/>
                  </a:lnTo>
                  <a:lnTo>
                    <a:pt x="30" y="221"/>
                  </a:lnTo>
                  <a:lnTo>
                    <a:pt x="30" y="223"/>
                  </a:lnTo>
                  <a:lnTo>
                    <a:pt x="30" y="224"/>
                  </a:lnTo>
                  <a:lnTo>
                    <a:pt x="28" y="226"/>
                  </a:lnTo>
                  <a:lnTo>
                    <a:pt x="28" y="228"/>
                  </a:lnTo>
                  <a:lnTo>
                    <a:pt x="31" y="228"/>
                  </a:lnTo>
                  <a:lnTo>
                    <a:pt x="31" y="229"/>
                  </a:lnTo>
                  <a:lnTo>
                    <a:pt x="33" y="229"/>
                  </a:lnTo>
                  <a:lnTo>
                    <a:pt x="34" y="229"/>
                  </a:lnTo>
                  <a:lnTo>
                    <a:pt x="34" y="228"/>
                  </a:lnTo>
                  <a:lnTo>
                    <a:pt x="36" y="228"/>
                  </a:lnTo>
                  <a:lnTo>
                    <a:pt x="38" y="228"/>
                  </a:lnTo>
                  <a:lnTo>
                    <a:pt x="38" y="229"/>
                  </a:lnTo>
                  <a:lnTo>
                    <a:pt x="39" y="228"/>
                  </a:lnTo>
                  <a:lnTo>
                    <a:pt x="41" y="229"/>
                  </a:lnTo>
                  <a:lnTo>
                    <a:pt x="43" y="228"/>
                  </a:lnTo>
                  <a:lnTo>
                    <a:pt x="44" y="228"/>
                  </a:lnTo>
                  <a:lnTo>
                    <a:pt x="43" y="229"/>
                  </a:lnTo>
                  <a:lnTo>
                    <a:pt x="43" y="231"/>
                  </a:lnTo>
                  <a:lnTo>
                    <a:pt x="44" y="232"/>
                  </a:lnTo>
                  <a:lnTo>
                    <a:pt x="46" y="234"/>
                  </a:lnTo>
                  <a:lnTo>
                    <a:pt x="46" y="236"/>
                  </a:lnTo>
                  <a:lnTo>
                    <a:pt x="47" y="236"/>
                  </a:lnTo>
                  <a:lnTo>
                    <a:pt x="49" y="236"/>
                  </a:lnTo>
                  <a:lnTo>
                    <a:pt x="51" y="236"/>
                  </a:lnTo>
                  <a:lnTo>
                    <a:pt x="51" y="237"/>
                  </a:lnTo>
                  <a:lnTo>
                    <a:pt x="51" y="239"/>
                  </a:lnTo>
                  <a:lnTo>
                    <a:pt x="52" y="239"/>
                  </a:lnTo>
                  <a:lnTo>
                    <a:pt x="54" y="239"/>
                  </a:lnTo>
                  <a:lnTo>
                    <a:pt x="54" y="241"/>
                  </a:lnTo>
                  <a:lnTo>
                    <a:pt x="56" y="242"/>
                  </a:lnTo>
                  <a:lnTo>
                    <a:pt x="56" y="244"/>
                  </a:lnTo>
                  <a:lnTo>
                    <a:pt x="56" y="245"/>
                  </a:lnTo>
                  <a:lnTo>
                    <a:pt x="52" y="245"/>
                  </a:lnTo>
                  <a:lnTo>
                    <a:pt x="52" y="247"/>
                  </a:lnTo>
                  <a:lnTo>
                    <a:pt x="54" y="249"/>
                  </a:lnTo>
                  <a:lnTo>
                    <a:pt x="54" y="250"/>
                  </a:lnTo>
                  <a:lnTo>
                    <a:pt x="56" y="255"/>
                  </a:lnTo>
                  <a:lnTo>
                    <a:pt x="57" y="252"/>
                  </a:lnTo>
                  <a:lnTo>
                    <a:pt x="59" y="252"/>
                  </a:lnTo>
                  <a:lnTo>
                    <a:pt x="62" y="252"/>
                  </a:lnTo>
                  <a:lnTo>
                    <a:pt x="62" y="250"/>
                  </a:lnTo>
                  <a:lnTo>
                    <a:pt x="64" y="249"/>
                  </a:lnTo>
                  <a:lnTo>
                    <a:pt x="65" y="249"/>
                  </a:lnTo>
                  <a:lnTo>
                    <a:pt x="65" y="250"/>
                  </a:lnTo>
                  <a:lnTo>
                    <a:pt x="67" y="250"/>
                  </a:lnTo>
                  <a:lnTo>
                    <a:pt x="69" y="250"/>
                  </a:lnTo>
                  <a:lnTo>
                    <a:pt x="69" y="252"/>
                  </a:lnTo>
                  <a:lnTo>
                    <a:pt x="69" y="254"/>
                  </a:lnTo>
                  <a:lnTo>
                    <a:pt x="67" y="254"/>
                  </a:lnTo>
                  <a:lnTo>
                    <a:pt x="65" y="257"/>
                  </a:lnTo>
                  <a:lnTo>
                    <a:pt x="65" y="258"/>
                  </a:lnTo>
                  <a:lnTo>
                    <a:pt x="67" y="260"/>
                  </a:lnTo>
                  <a:lnTo>
                    <a:pt x="65" y="262"/>
                  </a:lnTo>
                  <a:lnTo>
                    <a:pt x="65" y="263"/>
                  </a:lnTo>
                  <a:lnTo>
                    <a:pt x="64" y="263"/>
                  </a:lnTo>
                  <a:lnTo>
                    <a:pt x="62" y="263"/>
                  </a:lnTo>
                  <a:lnTo>
                    <a:pt x="62" y="267"/>
                  </a:lnTo>
                  <a:lnTo>
                    <a:pt x="64" y="267"/>
                  </a:lnTo>
                  <a:lnTo>
                    <a:pt x="65" y="267"/>
                  </a:lnTo>
                  <a:lnTo>
                    <a:pt x="65" y="265"/>
                  </a:lnTo>
                  <a:lnTo>
                    <a:pt x="67" y="265"/>
                  </a:lnTo>
                  <a:lnTo>
                    <a:pt x="69" y="267"/>
                  </a:lnTo>
                  <a:lnTo>
                    <a:pt x="70" y="265"/>
                  </a:lnTo>
                  <a:lnTo>
                    <a:pt x="72" y="265"/>
                  </a:lnTo>
                  <a:lnTo>
                    <a:pt x="73" y="263"/>
                  </a:lnTo>
                  <a:lnTo>
                    <a:pt x="75" y="262"/>
                  </a:lnTo>
                  <a:lnTo>
                    <a:pt x="77" y="262"/>
                  </a:lnTo>
                  <a:lnTo>
                    <a:pt x="78" y="262"/>
                  </a:lnTo>
                  <a:lnTo>
                    <a:pt x="78" y="260"/>
                  </a:lnTo>
                  <a:lnTo>
                    <a:pt x="80" y="260"/>
                  </a:lnTo>
                  <a:lnTo>
                    <a:pt x="80" y="257"/>
                  </a:lnTo>
                  <a:lnTo>
                    <a:pt x="82" y="255"/>
                  </a:lnTo>
                  <a:lnTo>
                    <a:pt x="83" y="254"/>
                  </a:lnTo>
                  <a:lnTo>
                    <a:pt x="85" y="252"/>
                  </a:lnTo>
                  <a:lnTo>
                    <a:pt x="86" y="250"/>
                  </a:lnTo>
                  <a:lnTo>
                    <a:pt x="88" y="250"/>
                  </a:lnTo>
                  <a:lnTo>
                    <a:pt x="88" y="247"/>
                  </a:lnTo>
                  <a:lnTo>
                    <a:pt x="88" y="245"/>
                  </a:lnTo>
                  <a:lnTo>
                    <a:pt x="90" y="245"/>
                  </a:lnTo>
                  <a:lnTo>
                    <a:pt x="91" y="244"/>
                  </a:lnTo>
                  <a:lnTo>
                    <a:pt x="91" y="242"/>
                  </a:lnTo>
                  <a:lnTo>
                    <a:pt x="91" y="241"/>
                  </a:lnTo>
                  <a:lnTo>
                    <a:pt x="91" y="237"/>
                  </a:lnTo>
                  <a:lnTo>
                    <a:pt x="91" y="236"/>
                  </a:lnTo>
                  <a:lnTo>
                    <a:pt x="90" y="236"/>
                  </a:lnTo>
                  <a:lnTo>
                    <a:pt x="88" y="236"/>
                  </a:lnTo>
                  <a:lnTo>
                    <a:pt x="88" y="234"/>
                  </a:lnTo>
                  <a:lnTo>
                    <a:pt x="88" y="232"/>
                  </a:lnTo>
                  <a:lnTo>
                    <a:pt x="88" y="231"/>
                  </a:lnTo>
                  <a:lnTo>
                    <a:pt x="88" y="229"/>
                  </a:lnTo>
                  <a:lnTo>
                    <a:pt x="90" y="226"/>
                  </a:lnTo>
                  <a:lnTo>
                    <a:pt x="90" y="224"/>
                  </a:lnTo>
                  <a:lnTo>
                    <a:pt x="86" y="223"/>
                  </a:lnTo>
                  <a:lnTo>
                    <a:pt x="86" y="221"/>
                  </a:lnTo>
                  <a:lnTo>
                    <a:pt x="88" y="221"/>
                  </a:lnTo>
                  <a:lnTo>
                    <a:pt x="90" y="221"/>
                  </a:lnTo>
                  <a:lnTo>
                    <a:pt x="91" y="221"/>
                  </a:lnTo>
                  <a:lnTo>
                    <a:pt x="93" y="221"/>
                  </a:lnTo>
                  <a:lnTo>
                    <a:pt x="93" y="223"/>
                  </a:lnTo>
                  <a:lnTo>
                    <a:pt x="91" y="223"/>
                  </a:lnTo>
                  <a:lnTo>
                    <a:pt x="91" y="224"/>
                  </a:lnTo>
                  <a:lnTo>
                    <a:pt x="90" y="224"/>
                  </a:lnTo>
                  <a:lnTo>
                    <a:pt x="90" y="226"/>
                  </a:lnTo>
                  <a:lnTo>
                    <a:pt x="95" y="228"/>
                  </a:lnTo>
                  <a:lnTo>
                    <a:pt x="99" y="228"/>
                  </a:lnTo>
                  <a:lnTo>
                    <a:pt x="101" y="229"/>
                  </a:lnTo>
                  <a:lnTo>
                    <a:pt x="101" y="228"/>
                  </a:lnTo>
                  <a:lnTo>
                    <a:pt x="103" y="228"/>
                  </a:lnTo>
                  <a:lnTo>
                    <a:pt x="103" y="226"/>
                  </a:lnTo>
                  <a:lnTo>
                    <a:pt x="103" y="224"/>
                  </a:lnTo>
                  <a:lnTo>
                    <a:pt x="104" y="224"/>
                  </a:lnTo>
                  <a:lnTo>
                    <a:pt x="106" y="224"/>
                  </a:lnTo>
                  <a:lnTo>
                    <a:pt x="108" y="224"/>
                  </a:lnTo>
                  <a:lnTo>
                    <a:pt x="109" y="224"/>
                  </a:lnTo>
                  <a:lnTo>
                    <a:pt x="111" y="224"/>
                  </a:lnTo>
                  <a:lnTo>
                    <a:pt x="114" y="228"/>
                  </a:lnTo>
                  <a:lnTo>
                    <a:pt x="116" y="228"/>
                  </a:lnTo>
                  <a:lnTo>
                    <a:pt x="117" y="228"/>
                  </a:lnTo>
                  <a:lnTo>
                    <a:pt x="119" y="228"/>
                  </a:lnTo>
                  <a:lnTo>
                    <a:pt x="119" y="229"/>
                  </a:lnTo>
                  <a:lnTo>
                    <a:pt x="121" y="231"/>
                  </a:lnTo>
                  <a:lnTo>
                    <a:pt x="124" y="231"/>
                  </a:lnTo>
                  <a:lnTo>
                    <a:pt x="124" y="229"/>
                  </a:lnTo>
                  <a:lnTo>
                    <a:pt x="126" y="229"/>
                  </a:lnTo>
                  <a:lnTo>
                    <a:pt x="127" y="229"/>
                  </a:lnTo>
                  <a:lnTo>
                    <a:pt x="129" y="228"/>
                  </a:lnTo>
                  <a:lnTo>
                    <a:pt x="132" y="228"/>
                  </a:lnTo>
                  <a:lnTo>
                    <a:pt x="134" y="229"/>
                  </a:lnTo>
                  <a:lnTo>
                    <a:pt x="135" y="231"/>
                  </a:lnTo>
                  <a:lnTo>
                    <a:pt x="134" y="231"/>
                  </a:lnTo>
                  <a:lnTo>
                    <a:pt x="134" y="232"/>
                  </a:lnTo>
                  <a:lnTo>
                    <a:pt x="132" y="232"/>
                  </a:lnTo>
                  <a:lnTo>
                    <a:pt x="130" y="232"/>
                  </a:lnTo>
                  <a:lnTo>
                    <a:pt x="130" y="236"/>
                  </a:lnTo>
                  <a:lnTo>
                    <a:pt x="132" y="236"/>
                  </a:lnTo>
                  <a:lnTo>
                    <a:pt x="134" y="236"/>
                  </a:lnTo>
                  <a:lnTo>
                    <a:pt x="135" y="236"/>
                  </a:lnTo>
                  <a:lnTo>
                    <a:pt x="137" y="236"/>
                  </a:lnTo>
                  <a:lnTo>
                    <a:pt x="137" y="237"/>
                  </a:lnTo>
                  <a:lnTo>
                    <a:pt x="139" y="239"/>
                  </a:lnTo>
                  <a:lnTo>
                    <a:pt x="142" y="242"/>
                  </a:lnTo>
                  <a:lnTo>
                    <a:pt x="142" y="244"/>
                  </a:lnTo>
                  <a:lnTo>
                    <a:pt x="140" y="245"/>
                  </a:lnTo>
                  <a:lnTo>
                    <a:pt x="140" y="247"/>
                  </a:lnTo>
                  <a:lnTo>
                    <a:pt x="143" y="247"/>
                  </a:lnTo>
                  <a:lnTo>
                    <a:pt x="143" y="249"/>
                  </a:lnTo>
                  <a:lnTo>
                    <a:pt x="147" y="247"/>
                  </a:lnTo>
                  <a:lnTo>
                    <a:pt x="150" y="249"/>
                  </a:lnTo>
                  <a:lnTo>
                    <a:pt x="152" y="247"/>
                  </a:lnTo>
                  <a:lnTo>
                    <a:pt x="153" y="247"/>
                  </a:lnTo>
                  <a:lnTo>
                    <a:pt x="155" y="247"/>
                  </a:lnTo>
                  <a:lnTo>
                    <a:pt x="155" y="245"/>
                  </a:lnTo>
                  <a:lnTo>
                    <a:pt x="156" y="245"/>
                  </a:lnTo>
                  <a:lnTo>
                    <a:pt x="158" y="244"/>
                  </a:lnTo>
                  <a:lnTo>
                    <a:pt x="161" y="244"/>
                  </a:lnTo>
                  <a:lnTo>
                    <a:pt x="163" y="242"/>
                  </a:lnTo>
                  <a:lnTo>
                    <a:pt x="165" y="242"/>
                  </a:lnTo>
                  <a:lnTo>
                    <a:pt x="168" y="242"/>
                  </a:lnTo>
                  <a:lnTo>
                    <a:pt x="166" y="244"/>
                  </a:lnTo>
                  <a:lnTo>
                    <a:pt x="166" y="245"/>
                  </a:lnTo>
                  <a:lnTo>
                    <a:pt x="165" y="247"/>
                  </a:lnTo>
                  <a:lnTo>
                    <a:pt x="168" y="247"/>
                  </a:lnTo>
                  <a:lnTo>
                    <a:pt x="169" y="247"/>
                  </a:lnTo>
                  <a:lnTo>
                    <a:pt x="171" y="245"/>
                  </a:lnTo>
                  <a:lnTo>
                    <a:pt x="171" y="244"/>
                  </a:lnTo>
                  <a:lnTo>
                    <a:pt x="173" y="242"/>
                  </a:lnTo>
                  <a:lnTo>
                    <a:pt x="174" y="242"/>
                  </a:lnTo>
                  <a:lnTo>
                    <a:pt x="176" y="241"/>
                  </a:lnTo>
                  <a:lnTo>
                    <a:pt x="178" y="241"/>
                  </a:lnTo>
                  <a:lnTo>
                    <a:pt x="182" y="241"/>
                  </a:lnTo>
                  <a:lnTo>
                    <a:pt x="182" y="239"/>
                  </a:lnTo>
                  <a:lnTo>
                    <a:pt x="182" y="237"/>
                  </a:lnTo>
                  <a:lnTo>
                    <a:pt x="181" y="236"/>
                  </a:lnTo>
                  <a:lnTo>
                    <a:pt x="182" y="234"/>
                  </a:lnTo>
                  <a:lnTo>
                    <a:pt x="182" y="232"/>
                  </a:lnTo>
                  <a:lnTo>
                    <a:pt x="184" y="231"/>
                  </a:lnTo>
                  <a:lnTo>
                    <a:pt x="186" y="231"/>
                  </a:lnTo>
                  <a:lnTo>
                    <a:pt x="186" y="229"/>
                  </a:lnTo>
                  <a:lnTo>
                    <a:pt x="187" y="231"/>
                  </a:lnTo>
                  <a:lnTo>
                    <a:pt x="189" y="231"/>
                  </a:lnTo>
                  <a:lnTo>
                    <a:pt x="191" y="231"/>
                  </a:lnTo>
                  <a:lnTo>
                    <a:pt x="192" y="231"/>
                  </a:lnTo>
                  <a:lnTo>
                    <a:pt x="195" y="231"/>
                  </a:lnTo>
                  <a:lnTo>
                    <a:pt x="197" y="231"/>
                  </a:lnTo>
                  <a:lnTo>
                    <a:pt x="199" y="229"/>
                  </a:lnTo>
                  <a:lnTo>
                    <a:pt x="200" y="229"/>
                  </a:lnTo>
                  <a:lnTo>
                    <a:pt x="200" y="228"/>
                  </a:lnTo>
                  <a:lnTo>
                    <a:pt x="200" y="224"/>
                  </a:lnTo>
                  <a:lnTo>
                    <a:pt x="200" y="223"/>
                  </a:lnTo>
                  <a:lnTo>
                    <a:pt x="202" y="221"/>
                  </a:lnTo>
                  <a:lnTo>
                    <a:pt x="204" y="221"/>
                  </a:lnTo>
                  <a:lnTo>
                    <a:pt x="204" y="218"/>
                  </a:lnTo>
                  <a:lnTo>
                    <a:pt x="205" y="218"/>
                  </a:lnTo>
                  <a:lnTo>
                    <a:pt x="207" y="219"/>
                  </a:lnTo>
                  <a:lnTo>
                    <a:pt x="208" y="219"/>
                  </a:lnTo>
                  <a:lnTo>
                    <a:pt x="212" y="218"/>
                  </a:lnTo>
                  <a:lnTo>
                    <a:pt x="213" y="218"/>
                  </a:lnTo>
                  <a:lnTo>
                    <a:pt x="215" y="219"/>
                  </a:lnTo>
                  <a:lnTo>
                    <a:pt x="218" y="218"/>
                  </a:lnTo>
                  <a:lnTo>
                    <a:pt x="220" y="218"/>
                  </a:lnTo>
                  <a:lnTo>
                    <a:pt x="221" y="219"/>
                  </a:lnTo>
                  <a:lnTo>
                    <a:pt x="225" y="219"/>
                  </a:lnTo>
                  <a:lnTo>
                    <a:pt x="225" y="218"/>
                  </a:lnTo>
                  <a:lnTo>
                    <a:pt x="228" y="216"/>
                  </a:lnTo>
                  <a:lnTo>
                    <a:pt x="230" y="216"/>
                  </a:lnTo>
                  <a:lnTo>
                    <a:pt x="233" y="215"/>
                  </a:lnTo>
                  <a:lnTo>
                    <a:pt x="234" y="215"/>
                  </a:lnTo>
                  <a:lnTo>
                    <a:pt x="238" y="215"/>
                  </a:lnTo>
                  <a:lnTo>
                    <a:pt x="241" y="213"/>
                  </a:lnTo>
                  <a:lnTo>
                    <a:pt x="243" y="215"/>
                  </a:lnTo>
                  <a:lnTo>
                    <a:pt x="244" y="215"/>
                  </a:lnTo>
                  <a:lnTo>
                    <a:pt x="246" y="215"/>
                  </a:lnTo>
                  <a:lnTo>
                    <a:pt x="247" y="215"/>
                  </a:lnTo>
                  <a:lnTo>
                    <a:pt x="249" y="215"/>
                  </a:lnTo>
                  <a:lnTo>
                    <a:pt x="252" y="215"/>
                  </a:lnTo>
                  <a:lnTo>
                    <a:pt x="254" y="215"/>
                  </a:lnTo>
                  <a:lnTo>
                    <a:pt x="256" y="215"/>
                  </a:lnTo>
                  <a:lnTo>
                    <a:pt x="257" y="215"/>
                  </a:lnTo>
                  <a:lnTo>
                    <a:pt x="257" y="216"/>
                  </a:lnTo>
                  <a:lnTo>
                    <a:pt x="259" y="216"/>
                  </a:lnTo>
                  <a:lnTo>
                    <a:pt x="259" y="215"/>
                  </a:lnTo>
                  <a:lnTo>
                    <a:pt x="261" y="215"/>
                  </a:lnTo>
                  <a:lnTo>
                    <a:pt x="259" y="213"/>
                  </a:lnTo>
                  <a:lnTo>
                    <a:pt x="259" y="211"/>
                  </a:lnTo>
                  <a:lnTo>
                    <a:pt x="259" y="210"/>
                  </a:lnTo>
                  <a:lnTo>
                    <a:pt x="257" y="208"/>
                  </a:lnTo>
                  <a:lnTo>
                    <a:pt x="257" y="206"/>
                  </a:lnTo>
                  <a:lnTo>
                    <a:pt x="256" y="205"/>
                  </a:lnTo>
                  <a:lnTo>
                    <a:pt x="256" y="203"/>
                  </a:lnTo>
                  <a:lnTo>
                    <a:pt x="256" y="202"/>
                  </a:lnTo>
                  <a:lnTo>
                    <a:pt x="257" y="202"/>
                  </a:lnTo>
                  <a:lnTo>
                    <a:pt x="261" y="200"/>
                  </a:lnTo>
                  <a:lnTo>
                    <a:pt x="262" y="198"/>
                  </a:lnTo>
                  <a:lnTo>
                    <a:pt x="264" y="195"/>
                  </a:lnTo>
                  <a:lnTo>
                    <a:pt x="265" y="197"/>
                  </a:lnTo>
                  <a:lnTo>
                    <a:pt x="264" y="198"/>
                  </a:lnTo>
                  <a:lnTo>
                    <a:pt x="262" y="202"/>
                  </a:lnTo>
                  <a:lnTo>
                    <a:pt x="262" y="203"/>
                  </a:lnTo>
                  <a:lnTo>
                    <a:pt x="264" y="203"/>
                  </a:lnTo>
                  <a:lnTo>
                    <a:pt x="264" y="205"/>
                  </a:lnTo>
                  <a:lnTo>
                    <a:pt x="265" y="205"/>
                  </a:lnTo>
                  <a:lnTo>
                    <a:pt x="267" y="203"/>
                  </a:lnTo>
                  <a:lnTo>
                    <a:pt x="269" y="203"/>
                  </a:lnTo>
                  <a:lnTo>
                    <a:pt x="272" y="202"/>
                  </a:lnTo>
                  <a:lnTo>
                    <a:pt x="272" y="203"/>
                  </a:lnTo>
                  <a:lnTo>
                    <a:pt x="274" y="203"/>
                  </a:lnTo>
                  <a:lnTo>
                    <a:pt x="275" y="203"/>
                  </a:lnTo>
                  <a:lnTo>
                    <a:pt x="277" y="203"/>
                  </a:lnTo>
                  <a:lnTo>
                    <a:pt x="278" y="203"/>
                  </a:lnTo>
                  <a:lnTo>
                    <a:pt x="282" y="202"/>
                  </a:lnTo>
                  <a:lnTo>
                    <a:pt x="282" y="203"/>
                  </a:lnTo>
                  <a:lnTo>
                    <a:pt x="282" y="205"/>
                  </a:lnTo>
                  <a:lnTo>
                    <a:pt x="285" y="208"/>
                  </a:lnTo>
                  <a:lnTo>
                    <a:pt x="287" y="210"/>
                  </a:lnTo>
                  <a:lnTo>
                    <a:pt x="288" y="211"/>
                  </a:lnTo>
                  <a:lnTo>
                    <a:pt x="290" y="211"/>
                  </a:lnTo>
                  <a:lnTo>
                    <a:pt x="291" y="210"/>
                  </a:lnTo>
                  <a:lnTo>
                    <a:pt x="293" y="210"/>
                  </a:lnTo>
                  <a:lnTo>
                    <a:pt x="295" y="211"/>
                  </a:lnTo>
                  <a:lnTo>
                    <a:pt x="295" y="210"/>
                  </a:lnTo>
                  <a:lnTo>
                    <a:pt x="296" y="210"/>
                  </a:lnTo>
                  <a:lnTo>
                    <a:pt x="296" y="208"/>
                  </a:lnTo>
                  <a:lnTo>
                    <a:pt x="296" y="206"/>
                  </a:lnTo>
                  <a:lnTo>
                    <a:pt x="296" y="205"/>
                  </a:lnTo>
                  <a:lnTo>
                    <a:pt x="298" y="205"/>
                  </a:lnTo>
                  <a:lnTo>
                    <a:pt x="300" y="205"/>
                  </a:lnTo>
                  <a:lnTo>
                    <a:pt x="300" y="203"/>
                  </a:lnTo>
                  <a:lnTo>
                    <a:pt x="301" y="205"/>
                  </a:lnTo>
                  <a:lnTo>
                    <a:pt x="303" y="205"/>
                  </a:lnTo>
                  <a:lnTo>
                    <a:pt x="303" y="203"/>
                  </a:lnTo>
                  <a:lnTo>
                    <a:pt x="304" y="203"/>
                  </a:lnTo>
                  <a:lnTo>
                    <a:pt x="308" y="203"/>
                  </a:lnTo>
                  <a:lnTo>
                    <a:pt x="309" y="203"/>
                  </a:lnTo>
                  <a:lnTo>
                    <a:pt x="311" y="203"/>
                  </a:lnTo>
                  <a:lnTo>
                    <a:pt x="313" y="205"/>
                  </a:lnTo>
                  <a:lnTo>
                    <a:pt x="314" y="205"/>
                  </a:lnTo>
                  <a:lnTo>
                    <a:pt x="316" y="205"/>
                  </a:lnTo>
                  <a:lnTo>
                    <a:pt x="314" y="206"/>
                  </a:lnTo>
                  <a:lnTo>
                    <a:pt x="313" y="206"/>
                  </a:lnTo>
                  <a:lnTo>
                    <a:pt x="313" y="208"/>
                  </a:lnTo>
                  <a:lnTo>
                    <a:pt x="314" y="210"/>
                  </a:lnTo>
                  <a:lnTo>
                    <a:pt x="316" y="210"/>
                  </a:lnTo>
                  <a:lnTo>
                    <a:pt x="319" y="213"/>
                  </a:lnTo>
                  <a:lnTo>
                    <a:pt x="317" y="213"/>
                  </a:lnTo>
                  <a:lnTo>
                    <a:pt x="316" y="215"/>
                  </a:lnTo>
                  <a:lnTo>
                    <a:pt x="316" y="218"/>
                  </a:lnTo>
                  <a:lnTo>
                    <a:pt x="317" y="221"/>
                  </a:lnTo>
                  <a:lnTo>
                    <a:pt x="319" y="221"/>
                  </a:lnTo>
                  <a:lnTo>
                    <a:pt x="321" y="223"/>
                  </a:lnTo>
                  <a:lnTo>
                    <a:pt x="322" y="221"/>
                  </a:lnTo>
                  <a:lnTo>
                    <a:pt x="322" y="223"/>
                  </a:lnTo>
                  <a:lnTo>
                    <a:pt x="322" y="224"/>
                  </a:lnTo>
                  <a:lnTo>
                    <a:pt x="324" y="224"/>
                  </a:lnTo>
                  <a:lnTo>
                    <a:pt x="326" y="226"/>
                  </a:lnTo>
                  <a:lnTo>
                    <a:pt x="327" y="228"/>
                  </a:lnTo>
                  <a:lnTo>
                    <a:pt x="332" y="231"/>
                  </a:lnTo>
                  <a:lnTo>
                    <a:pt x="335" y="231"/>
                  </a:lnTo>
                  <a:lnTo>
                    <a:pt x="337" y="232"/>
                  </a:lnTo>
                  <a:lnTo>
                    <a:pt x="339" y="232"/>
                  </a:lnTo>
                  <a:lnTo>
                    <a:pt x="340" y="229"/>
                  </a:lnTo>
                  <a:lnTo>
                    <a:pt x="342" y="229"/>
                  </a:lnTo>
                  <a:lnTo>
                    <a:pt x="342" y="228"/>
                  </a:lnTo>
                  <a:lnTo>
                    <a:pt x="342" y="226"/>
                  </a:lnTo>
                  <a:lnTo>
                    <a:pt x="342" y="224"/>
                  </a:lnTo>
                  <a:lnTo>
                    <a:pt x="340" y="223"/>
                  </a:lnTo>
                  <a:lnTo>
                    <a:pt x="340" y="221"/>
                  </a:lnTo>
                  <a:lnTo>
                    <a:pt x="342" y="219"/>
                  </a:lnTo>
                  <a:lnTo>
                    <a:pt x="342" y="218"/>
                  </a:lnTo>
                  <a:lnTo>
                    <a:pt x="340" y="216"/>
                  </a:lnTo>
                  <a:lnTo>
                    <a:pt x="342" y="216"/>
                  </a:lnTo>
                  <a:lnTo>
                    <a:pt x="342" y="215"/>
                  </a:lnTo>
                  <a:lnTo>
                    <a:pt x="343" y="215"/>
                  </a:lnTo>
                  <a:lnTo>
                    <a:pt x="343" y="213"/>
                  </a:lnTo>
                  <a:lnTo>
                    <a:pt x="343" y="211"/>
                  </a:lnTo>
                  <a:lnTo>
                    <a:pt x="345" y="208"/>
                  </a:lnTo>
                  <a:lnTo>
                    <a:pt x="345" y="206"/>
                  </a:lnTo>
                  <a:lnTo>
                    <a:pt x="343" y="203"/>
                  </a:lnTo>
                  <a:lnTo>
                    <a:pt x="343" y="202"/>
                  </a:lnTo>
                  <a:lnTo>
                    <a:pt x="342" y="200"/>
                  </a:lnTo>
                  <a:lnTo>
                    <a:pt x="342" y="198"/>
                  </a:lnTo>
                  <a:lnTo>
                    <a:pt x="339" y="197"/>
                  </a:lnTo>
                  <a:lnTo>
                    <a:pt x="339" y="195"/>
                  </a:lnTo>
                  <a:lnTo>
                    <a:pt x="337" y="195"/>
                  </a:lnTo>
                  <a:lnTo>
                    <a:pt x="337" y="197"/>
                  </a:lnTo>
                  <a:lnTo>
                    <a:pt x="335" y="197"/>
                  </a:lnTo>
                  <a:lnTo>
                    <a:pt x="335" y="198"/>
                  </a:lnTo>
                  <a:lnTo>
                    <a:pt x="334" y="198"/>
                  </a:lnTo>
                  <a:lnTo>
                    <a:pt x="332" y="198"/>
                  </a:lnTo>
                  <a:lnTo>
                    <a:pt x="330" y="198"/>
                  </a:lnTo>
                  <a:lnTo>
                    <a:pt x="329" y="197"/>
                  </a:lnTo>
                  <a:lnTo>
                    <a:pt x="327" y="197"/>
                  </a:lnTo>
                  <a:lnTo>
                    <a:pt x="327" y="195"/>
                  </a:lnTo>
                  <a:lnTo>
                    <a:pt x="329" y="192"/>
                  </a:lnTo>
                  <a:lnTo>
                    <a:pt x="330" y="190"/>
                  </a:lnTo>
                  <a:lnTo>
                    <a:pt x="330" y="189"/>
                  </a:lnTo>
                  <a:lnTo>
                    <a:pt x="330" y="187"/>
                  </a:lnTo>
                  <a:lnTo>
                    <a:pt x="332" y="185"/>
                  </a:lnTo>
                  <a:lnTo>
                    <a:pt x="334" y="182"/>
                  </a:lnTo>
                  <a:lnTo>
                    <a:pt x="334" y="180"/>
                  </a:lnTo>
                  <a:lnTo>
                    <a:pt x="335" y="179"/>
                  </a:lnTo>
                  <a:lnTo>
                    <a:pt x="335" y="177"/>
                  </a:lnTo>
                  <a:lnTo>
                    <a:pt x="334" y="174"/>
                  </a:lnTo>
                  <a:lnTo>
                    <a:pt x="332" y="171"/>
                  </a:lnTo>
                  <a:lnTo>
                    <a:pt x="330" y="169"/>
                  </a:lnTo>
                  <a:lnTo>
                    <a:pt x="330" y="167"/>
                  </a:lnTo>
                  <a:lnTo>
                    <a:pt x="329" y="167"/>
                  </a:lnTo>
                  <a:lnTo>
                    <a:pt x="329" y="166"/>
                  </a:lnTo>
                  <a:lnTo>
                    <a:pt x="329" y="164"/>
                  </a:lnTo>
                  <a:lnTo>
                    <a:pt x="329" y="166"/>
                  </a:lnTo>
                  <a:lnTo>
                    <a:pt x="327" y="166"/>
                  </a:lnTo>
                  <a:lnTo>
                    <a:pt x="327" y="164"/>
                  </a:lnTo>
                  <a:lnTo>
                    <a:pt x="327" y="163"/>
                  </a:lnTo>
                  <a:lnTo>
                    <a:pt x="326" y="163"/>
                  </a:lnTo>
                  <a:lnTo>
                    <a:pt x="324" y="163"/>
                  </a:lnTo>
                  <a:lnTo>
                    <a:pt x="322" y="163"/>
                  </a:lnTo>
                  <a:lnTo>
                    <a:pt x="322" y="161"/>
                  </a:lnTo>
                  <a:lnTo>
                    <a:pt x="321" y="158"/>
                  </a:lnTo>
                  <a:lnTo>
                    <a:pt x="321" y="156"/>
                  </a:lnTo>
                  <a:lnTo>
                    <a:pt x="319" y="154"/>
                  </a:lnTo>
                  <a:lnTo>
                    <a:pt x="319" y="153"/>
                  </a:lnTo>
                  <a:lnTo>
                    <a:pt x="317" y="153"/>
                  </a:lnTo>
                  <a:lnTo>
                    <a:pt x="316" y="151"/>
                  </a:lnTo>
                  <a:lnTo>
                    <a:pt x="314" y="150"/>
                  </a:lnTo>
                  <a:lnTo>
                    <a:pt x="313" y="148"/>
                  </a:lnTo>
                  <a:lnTo>
                    <a:pt x="311" y="146"/>
                  </a:lnTo>
                  <a:lnTo>
                    <a:pt x="311" y="145"/>
                  </a:lnTo>
                  <a:lnTo>
                    <a:pt x="309" y="141"/>
                  </a:lnTo>
                  <a:lnTo>
                    <a:pt x="311" y="140"/>
                  </a:lnTo>
                  <a:lnTo>
                    <a:pt x="311" y="138"/>
                  </a:lnTo>
                  <a:lnTo>
                    <a:pt x="313" y="140"/>
                  </a:lnTo>
                  <a:lnTo>
                    <a:pt x="314" y="137"/>
                  </a:lnTo>
                  <a:lnTo>
                    <a:pt x="316" y="135"/>
                  </a:lnTo>
                  <a:lnTo>
                    <a:pt x="317" y="135"/>
                  </a:lnTo>
                  <a:lnTo>
                    <a:pt x="317" y="133"/>
                  </a:lnTo>
                  <a:lnTo>
                    <a:pt x="319" y="133"/>
                  </a:lnTo>
                  <a:lnTo>
                    <a:pt x="319" y="132"/>
                  </a:lnTo>
                  <a:lnTo>
                    <a:pt x="321" y="130"/>
                  </a:lnTo>
                  <a:lnTo>
                    <a:pt x="321" y="128"/>
                  </a:lnTo>
                  <a:lnTo>
                    <a:pt x="324" y="127"/>
                  </a:lnTo>
                  <a:lnTo>
                    <a:pt x="326" y="127"/>
                  </a:lnTo>
                  <a:lnTo>
                    <a:pt x="327" y="127"/>
                  </a:lnTo>
                  <a:lnTo>
                    <a:pt x="329" y="127"/>
                  </a:lnTo>
                  <a:lnTo>
                    <a:pt x="332" y="124"/>
                  </a:lnTo>
                  <a:lnTo>
                    <a:pt x="334" y="122"/>
                  </a:lnTo>
                  <a:lnTo>
                    <a:pt x="334" y="120"/>
                  </a:lnTo>
                  <a:lnTo>
                    <a:pt x="335" y="119"/>
                  </a:lnTo>
                  <a:lnTo>
                    <a:pt x="339" y="119"/>
                  </a:lnTo>
                  <a:lnTo>
                    <a:pt x="339" y="117"/>
                  </a:lnTo>
                  <a:lnTo>
                    <a:pt x="340" y="117"/>
                  </a:lnTo>
                  <a:lnTo>
                    <a:pt x="340" y="115"/>
                  </a:lnTo>
                  <a:lnTo>
                    <a:pt x="342" y="115"/>
                  </a:lnTo>
                  <a:lnTo>
                    <a:pt x="343" y="115"/>
                  </a:lnTo>
                  <a:lnTo>
                    <a:pt x="345" y="115"/>
                  </a:lnTo>
                  <a:lnTo>
                    <a:pt x="347" y="115"/>
                  </a:lnTo>
                  <a:lnTo>
                    <a:pt x="348" y="114"/>
                  </a:lnTo>
                  <a:lnTo>
                    <a:pt x="350" y="114"/>
                  </a:lnTo>
                  <a:lnTo>
                    <a:pt x="352" y="114"/>
                  </a:lnTo>
                  <a:lnTo>
                    <a:pt x="356" y="114"/>
                  </a:lnTo>
                  <a:lnTo>
                    <a:pt x="358" y="112"/>
                  </a:lnTo>
                  <a:lnTo>
                    <a:pt x="360" y="112"/>
                  </a:lnTo>
                  <a:lnTo>
                    <a:pt x="361" y="110"/>
                  </a:lnTo>
                  <a:lnTo>
                    <a:pt x="363" y="109"/>
                  </a:lnTo>
                  <a:lnTo>
                    <a:pt x="366" y="106"/>
                  </a:lnTo>
                  <a:lnTo>
                    <a:pt x="368" y="104"/>
                  </a:lnTo>
                  <a:lnTo>
                    <a:pt x="371" y="101"/>
                  </a:lnTo>
                  <a:lnTo>
                    <a:pt x="373" y="96"/>
                  </a:lnTo>
                  <a:lnTo>
                    <a:pt x="374" y="93"/>
                  </a:lnTo>
                  <a:lnTo>
                    <a:pt x="373" y="91"/>
                  </a:lnTo>
                  <a:lnTo>
                    <a:pt x="373" y="89"/>
                  </a:lnTo>
                  <a:lnTo>
                    <a:pt x="373" y="86"/>
                  </a:lnTo>
                  <a:lnTo>
                    <a:pt x="374" y="84"/>
                  </a:lnTo>
                  <a:lnTo>
                    <a:pt x="374" y="83"/>
                  </a:lnTo>
                  <a:lnTo>
                    <a:pt x="374" y="81"/>
                  </a:lnTo>
                  <a:lnTo>
                    <a:pt x="374" y="80"/>
                  </a:lnTo>
                  <a:lnTo>
                    <a:pt x="374" y="78"/>
                  </a:lnTo>
                  <a:lnTo>
                    <a:pt x="373" y="76"/>
                  </a:lnTo>
                  <a:lnTo>
                    <a:pt x="373" y="75"/>
                  </a:lnTo>
                  <a:lnTo>
                    <a:pt x="374" y="73"/>
                  </a:lnTo>
                  <a:lnTo>
                    <a:pt x="378" y="71"/>
                  </a:lnTo>
                  <a:lnTo>
                    <a:pt x="379" y="71"/>
                  </a:lnTo>
                  <a:lnTo>
                    <a:pt x="379" y="70"/>
                  </a:lnTo>
                  <a:lnTo>
                    <a:pt x="381" y="70"/>
                  </a:lnTo>
                  <a:lnTo>
                    <a:pt x="382" y="71"/>
                  </a:lnTo>
                  <a:lnTo>
                    <a:pt x="386" y="73"/>
                  </a:lnTo>
                  <a:lnTo>
                    <a:pt x="387" y="73"/>
                  </a:lnTo>
                  <a:lnTo>
                    <a:pt x="389" y="73"/>
                  </a:lnTo>
                  <a:lnTo>
                    <a:pt x="391" y="73"/>
                  </a:lnTo>
                  <a:lnTo>
                    <a:pt x="391" y="75"/>
                  </a:lnTo>
                  <a:lnTo>
                    <a:pt x="392" y="75"/>
                  </a:lnTo>
                  <a:lnTo>
                    <a:pt x="394" y="75"/>
                  </a:lnTo>
                  <a:lnTo>
                    <a:pt x="394" y="76"/>
                  </a:lnTo>
                  <a:lnTo>
                    <a:pt x="395" y="76"/>
                  </a:lnTo>
                  <a:lnTo>
                    <a:pt x="397" y="78"/>
                  </a:lnTo>
                  <a:lnTo>
                    <a:pt x="399" y="80"/>
                  </a:lnTo>
                  <a:lnTo>
                    <a:pt x="400" y="80"/>
                  </a:lnTo>
                  <a:lnTo>
                    <a:pt x="402" y="78"/>
                  </a:lnTo>
                  <a:lnTo>
                    <a:pt x="402" y="76"/>
                  </a:lnTo>
                  <a:lnTo>
                    <a:pt x="402" y="75"/>
                  </a:lnTo>
                  <a:lnTo>
                    <a:pt x="402" y="73"/>
                  </a:lnTo>
                  <a:lnTo>
                    <a:pt x="404" y="71"/>
                  </a:lnTo>
                  <a:lnTo>
                    <a:pt x="404" y="73"/>
                  </a:lnTo>
                  <a:lnTo>
                    <a:pt x="407" y="70"/>
                  </a:lnTo>
                  <a:lnTo>
                    <a:pt x="407" y="68"/>
                  </a:lnTo>
                  <a:lnTo>
                    <a:pt x="409" y="65"/>
                  </a:lnTo>
                  <a:lnTo>
                    <a:pt x="409" y="63"/>
                  </a:lnTo>
                  <a:lnTo>
                    <a:pt x="409" y="62"/>
                  </a:lnTo>
                  <a:lnTo>
                    <a:pt x="409" y="60"/>
                  </a:lnTo>
                  <a:lnTo>
                    <a:pt x="409" y="58"/>
                  </a:lnTo>
                  <a:lnTo>
                    <a:pt x="409" y="57"/>
                  </a:lnTo>
                  <a:lnTo>
                    <a:pt x="409" y="54"/>
                  </a:lnTo>
                  <a:lnTo>
                    <a:pt x="410" y="54"/>
                  </a:lnTo>
                  <a:lnTo>
                    <a:pt x="409" y="52"/>
                  </a:lnTo>
                  <a:lnTo>
                    <a:pt x="407" y="52"/>
                  </a:lnTo>
                  <a:lnTo>
                    <a:pt x="405" y="50"/>
                  </a:lnTo>
                  <a:lnTo>
                    <a:pt x="407" y="49"/>
                  </a:lnTo>
                  <a:lnTo>
                    <a:pt x="407" y="47"/>
                  </a:lnTo>
                  <a:lnTo>
                    <a:pt x="409" y="44"/>
                  </a:lnTo>
                  <a:lnTo>
                    <a:pt x="410" y="44"/>
                  </a:lnTo>
                  <a:lnTo>
                    <a:pt x="410" y="42"/>
                  </a:lnTo>
                  <a:lnTo>
                    <a:pt x="412" y="42"/>
                  </a:lnTo>
                  <a:lnTo>
                    <a:pt x="413" y="44"/>
                  </a:lnTo>
                  <a:lnTo>
                    <a:pt x="415" y="44"/>
                  </a:lnTo>
                  <a:lnTo>
                    <a:pt x="418" y="49"/>
                  </a:lnTo>
                  <a:lnTo>
                    <a:pt x="420" y="49"/>
                  </a:lnTo>
                  <a:lnTo>
                    <a:pt x="422" y="50"/>
                  </a:lnTo>
                  <a:lnTo>
                    <a:pt x="425" y="50"/>
                  </a:lnTo>
                  <a:lnTo>
                    <a:pt x="426" y="50"/>
                  </a:lnTo>
                  <a:lnTo>
                    <a:pt x="426" y="52"/>
                  </a:lnTo>
                  <a:lnTo>
                    <a:pt x="428" y="52"/>
                  </a:lnTo>
                  <a:lnTo>
                    <a:pt x="428" y="55"/>
                  </a:lnTo>
                  <a:lnTo>
                    <a:pt x="430" y="55"/>
                  </a:lnTo>
                  <a:lnTo>
                    <a:pt x="431" y="55"/>
                  </a:lnTo>
                  <a:lnTo>
                    <a:pt x="431" y="57"/>
                  </a:lnTo>
                  <a:lnTo>
                    <a:pt x="431" y="58"/>
                  </a:lnTo>
                  <a:lnTo>
                    <a:pt x="430" y="58"/>
                  </a:lnTo>
                  <a:lnTo>
                    <a:pt x="430" y="57"/>
                  </a:lnTo>
                  <a:lnTo>
                    <a:pt x="428" y="57"/>
                  </a:lnTo>
                  <a:lnTo>
                    <a:pt x="428" y="58"/>
                  </a:lnTo>
                  <a:lnTo>
                    <a:pt x="426" y="60"/>
                  </a:lnTo>
                  <a:lnTo>
                    <a:pt x="428" y="60"/>
                  </a:lnTo>
                  <a:lnTo>
                    <a:pt x="430" y="62"/>
                  </a:lnTo>
                  <a:lnTo>
                    <a:pt x="430" y="63"/>
                  </a:lnTo>
                  <a:lnTo>
                    <a:pt x="431" y="65"/>
                  </a:lnTo>
                  <a:lnTo>
                    <a:pt x="433" y="65"/>
                  </a:lnTo>
                  <a:lnTo>
                    <a:pt x="431" y="67"/>
                  </a:lnTo>
                  <a:lnTo>
                    <a:pt x="433" y="67"/>
                  </a:lnTo>
                  <a:lnTo>
                    <a:pt x="435" y="65"/>
                  </a:lnTo>
                  <a:lnTo>
                    <a:pt x="436" y="67"/>
                  </a:lnTo>
                  <a:lnTo>
                    <a:pt x="438" y="67"/>
                  </a:lnTo>
                  <a:lnTo>
                    <a:pt x="441" y="67"/>
                  </a:lnTo>
                  <a:lnTo>
                    <a:pt x="443" y="67"/>
                  </a:lnTo>
                  <a:lnTo>
                    <a:pt x="446" y="67"/>
                  </a:lnTo>
                  <a:lnTo>
                    <a:pt x="448" y="67"/>
                  </a:lnTo>
                  <a:lnTo>
                    <a:pt x="449" y="68"/>
                  </a:lnTo>
                  <a:lnTo>
                    <a:pt x="449" y="67"/>
                  </a:lnTo>
                  <a:lnTo>
                    <a:pt x="451" y="67"/>
                  </a:lnTo>
                  <a:lnTo>
                    <a:pt x="454" y="68"/>
                  </a:lnTo>
                  <a:lnTo>
                    <a:pt x="457" y="70"/>
                  </a:lnTo>
                  <a:lnTo>
                    <a:pt x="457" y="71"/>
                  </a:lnTo>
                  <a:lnTo>
                    <a:pt x="459" y="71"/>
                  </a:lnTo>
                  <a:lnTo>
                    <a:pt x="459" y="70"/>
                  </a:lnTo>
                  <a:lnTo>
                    <a:pt x="459" y="68"/>
                  </a:lnTo>
                  <a:lnTo>
                    <a:pt x="461" y="68"/>
                  </a:lnTo>
                  <a:lnTo>
                    <a:pt x="462" y="68"/>
                  </a:lnTo>
                  <a:lnTo>
                    <a:pt x="464" y="67"/>
                  </a:lnTo>
                  <a:lnTo>
                    <a:pt x="462" y="67"/>
                  </a:lnTo>
                  <a:lnTo>
                    <a:pt x="462" y="65"/>
                  </a:lnTo>
                  <a:lnTo>
                    <a:pt x="464" y="65"/>
                  </a:lnTo>
                  <a:lnTo>
                    <a:pt x="467" y="65"/>
                  </a:lnTo>
                  <a:lnTo>
                    <a:pt x="467" y="63"/>
                  </a:lnTo>
                  <a:lnTo>
                    <a:pt x="469" y="62"/>
                  </a:lnTo>
                  <a:lnTo>
                    <a:pt x="469" y="60"/>
                  </a:lnTo>
                  <a:lnTo>
                    <a:pt x="469" y="58"/>
                  </a:lnTo>
                  <a:lnTo>
                    <a:pt x="467" y="58"/>
                  </a:lnTo>
                  <a:lnTo>
                    <a:pt x="469" y="57"/>
                  </a:lnTo>
                  <a:lnTo>
                    <a:pt x="470" y="57"/>
                  </a:lnTo>
                  <a:lnTo>
                    <a:pt x="472" y="58"/>
                  </a:lnTo>
                  <a:lnTo>
                    <a:pt x="474" y="60"/>
                  </a:lnTo>
                  <a:lnTo>
                    <a:pt x="472" y="60"/>
                  </a:lnTo>
                  <a:lnTo>
                    <a:pt x="474" y="60"/>
                  </a:lnTo>
                  <a:lnTo>
                    <a:pt x="475" y="60"/>
                  </a:lnTo>
                  <a:lnTo>
                    <a:pt x="478" y="60"/>
                  </a:lnTo>
                  <a:lnTo>
                    <a:pt x="478" y="62"/>
                  </a:lnTo>
                  <a:lnTo>
                    <a:pt x="480" y="62"/>
                  </a:lnTo>
                  <a:lnTo>
                    <a:pt x="482" y="60"/>
                  </a:lnTo>
                  <a:lnTo>
                    <a:pt x="483" y="58"/>
                  </a:lnTo>
                  <a:lnTo>
                    <a:pt x="485" y="60"/>
                  </a:lnTo>
                  <a:lnTo>
                    <a:pt x="485" y="62"/>
                  </a:lnTo>
                  <a:lnTo>
                    <a:pt x="487" y="60"/>
                  </a:lnTo>
                  <a:lnTo>
                    <a:pt x="488" y="62"/>
                  </a:lnTo>
                  <a:lnTo>
                    <a:pt x="488" y="63"/>
                  </a:lnTo>
                  <a:lnTo>
                    <a:pt x="490" y="65"/>
                  </a:lnTo>
                  <a:lnTo>
                    <a:pt x="491" y="65"/>
                  </a:lnTo>
                  <a:lnTo>
                    <a:pt x="493" y="65"/>
                  </a:lnTo>
                  <a:lnTo>
                    <a:pt x="493" y="63"/>
                  </a:lnTo>
                  <a:lnTo>
                    <a:pt x="495" y="62"/>
                  </a:lnTo>
                  <a:lnTo>
                    <a:pt x="493" y="60"/>
                  </a:lnTo>
                  <a:lnTo>
                    <a:pt x="493" y="58"/>
                  </a:lnTo>
                  <a:lnTo>
                    <a:pt x="493" y="57"/>
                  </a:lnTo>
                  <a:lnTo>
                    <a:pt x="493" y="55"/>
                  </a:lnTo>
                  <a:lnTo>
                    <a:pt x="493" y="54"/>
                  </a:lnTo>
                  <a:lnTo>
                    <a:pt x="493" y="52"/>
                  </a:lnTo>
                  <a:lnTo>
                    <a:pt x="495" y="47"/>
                  </a:lnTo>
                  <a:lnTo>
                    <a:pt x="496" y="47"/>
                  </a:lnTo>
                  <a:lnTo>
                    <a:pt x="498" y="47"/>
                  </a:lnTo>
                  <a:lnTo>
                    <a:pt x="498" y="45"/>
                  </a:lnTo>
                  <a:lnTo>
                    <a:pt x="500" y="44"/>
                  </a:lnTo>
                  <a:lnTo>
                    <a:pt x="501" y="42"/>
                  </a:lnTo>
                  <a:lnTo>
                    <a:pt x="501" y="41"/>
                  </a:lnTo>
                  <a:lnTo>
                    <a:pt x="501" y="39"/>
                  </a:lnTo>
                  <a:lnTo>
                    <a:pt x="501" y="37"/>
                  </a:lnTo>
                  <a:lnTo>
                    <a:pt x="501" y="36"/>
                  </a:lnTo>
                  <a:lnTo>
                    <a:pt x="503" y="34"/>
                  </a:lnTo>
                  <a:lnTo>
                    <a:pt x="504" y="34"/>
                  </a:lnTo>
                  <a:lnTo>
                    <a:pt x="504" y="36"/>
                  </a:lnTo>
                  <a:lnTo>
                    <a:pt x="506" y="36"/>
                  </a:lnTo>
                  <a:lnTo>
                    <a:pt x="508" y="34"/>
                  </a:lnTo>
                  <a:lnTo>
                    <a:pt x="508" y="36"/>
                  </a:lnTo>
                  <a:lnTo>
                    <a:pt x="511" y="36"/>
                  </a:lnTo>
                  <a:lnTo>
                    <a:pt x="513" y="36"/>
                  </a:lnTo>
                  <a:lnTo>
                    <a:pt x="514" y="37"/>
                  </a:lnTo>
                  <a:lnTo>
                    <a:pt x="516" y="37"/>
                  </a:lnTo>
                  <a:lnTo>
                    <a:pt x="517" y="36"/>
                  </a:lnTo>
                  <a:lnTo>
                    <a:pt x="517" y="34"/>
                  </a:lnTo>
                  <a:lnTo>
                    <a:pt x="516" y="34"/>
                  </a:lnTo>
                  <a:lnTo>
                    <a:pt x="514" y="32"/>
                  </a:lnTo>
                  <a:lnTo>
                    <a:pt x="514" y="29"/>
                  </a:lnTo>
                  <a:lnTo>
                    <a:pt x="516" y="29"/>
                  </a:lnTo>
                  <a:lnTo>
                    <a:pt x="516" y="28"/>
                  </a:lnTo>
                  <a:lnTo>
                    <a:pt x="516" y="26"/>
                  </a:lnTo>
                  <a:lnTo>
                    <a:pt x="516" y="24"/>
                  </a:lnTo>
                  <a:lnTo>
                    <a:pt x="517" y="24"/>
                  </a:lnTo>
                  <a:lnTo>
                    <a:pt x="516" y="23"/>
                  </a:lnTo>
                  <a:lnTo>
                    <a:pt x="516" y="21"/>
                  </a:lnTo>
                  <a:lnTo>
                    <a:pt x="517" y="21"/>
                  </a:lnTo>
                  <a:lnTo>
                    <a:pt x="516" y="19"/>
                  </a:lnTo>
                  <a:lnTo>
                    <a:pt x="517" y="16"/>
                  </a:lnTo>
                  <a:lnTo>
                    <a:pt x="516" y="13"/>
                  </a:lnTo>
                  <a:lnTo>
                    <a:pt x="516" y="11"/>
                  </a:lnTo>
                  <a:lnTo>
                    <a:pt x="516" y="10"/>
                  </a:lnTo>
                  <a:lnTo>
                    <a:pt x="516" y="8"/>
                  </a:lnTo>
                  <a:lnTo>
                    <a:pt x="516" y="6"/>
                  </a:lnTo>
                  <a:lnTo>
                    <a:pt x="516" y="5"/>
                  </a:lnTo>
                  <a:lnTo>
                    <a:pt x="516" y="3"/>
                  </a:lnTo>
                  <a:lnTo>
                    <a:pt x="517" y="3"/>
                  </a:lnTo>
                  <a:lnTo>
                    <a:pt x="517" y="2"/>
                  </a:lnTo>
                  <a:lnTo>
                    <a:pt x="516" y="2"/>
                  </a:lnTo>
                  <a:lnTo>
                    <a:pt x="516" y="0"/>
                  </a:lnTo>
                  <a:lnTo>
                    <a:pt x="517" y="2"/>
                  </a:lnTo>
                  <a:lnTo>
                    <a:pt x="517" y="0"/>
                  </a:lnTo>
                  <a:lnTo>
                    <a:pt x="519" y="0"/>
                  </a:lnTo>
                  <a:close/>
                </a:path>
              </a:pathLst>
            </a:custGeom>
            <a:solidFill>
              <a:srgbClr val="0070C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22" name="Freeform 11">
              <a:extLst>
                <a:ext uri="{FF2B5EF4-FFF2-40B4-BE49-F238E27FC236}">
                  <a16:creationId xmlns:a16="http://schemas.microsoft.com/office/drawing/2014/main" id="{A5833D35-1FB8-085D-4E98-1DFAEFB4F622}"/>
                </a:ext>
              </a:extLst>
            </p:cNvPr>
            <p:cNvSpPr>
              <a:spLocks noEditPoints="1"/>
            </p:cNvSpPr>
            <p:nvPr/>
          </p:nvSpPr>
          <p:spPr bwMode="auto">
            <a:xfrm>
              <a:off x="4790" y="4394"/>
              <a:ext cx="410" cy="371"/>
            </a:xfrm>
            <a:custGeom>
              <a:avLst/>
              <a:gdLst>
                <a:gd name="T0" fmla="*/ 122 w 410"/>
                <a:gd name="T1" fmla="*/ 6 h 371"/>
                <a:gd name="T2" fmla="*/ 125 w 410"/>
                <a:gd name="T3" fmla="*/ 8 h 371"/>
                <a:gd name="T4" fmla="*/ 144 w 410"/>
                <a:gd name="T5" fmla="*/ 16 h 371"/>
                <a:gd name="T6" fmla="*/ 159 w 410"/>
                <a:gd name="T7" fmla="*/ 14 h 371"/>
                <a:gd name="T8" fmla="*/ 175 w 410"/>
                <a:gd name="T9" fmla="*/ 16 h 371"/>
                <a:gd name="T10" fmla="*/ 187 w 410"/>
                <a:gd name="T11" fmla="*/ 18 h 371"/>
                <a:gd name="T12" fmla="*/ 206 w 410"/>
                <a:gd name="T13" fmla="*/ 21 h 371"/>
                <a:gd name="T14" fmla="*/ 224 w 410"/>
                <a:gd name="T15" fmla="*/ 11 h 371"/>
                <a:gd name="T16" fmla="*/ 237 w 410"/>
                <a:gd name="T17" fmla="*/ 14 h 371"/>
                <a:gd name="T18" fmla="*/ 249 w 410"/>
                <a:gd name="T19" fmla="*/ 8 h 371"/>
                <a:gd name="T20" fmla="*/ 275 w 410"/>
                <a:gd name="T21" fmla="*/ 13 h 371"/>
                <a:gd name="T22" fmla="*/ 284 w 410"/>
                <a:gd name="T23" fmla="*/ 11 h 371"/>
                <a:gd name="T24" fmla="*/ 289 w 410"/>
                <a:gd name="T25" fmla="*/ 13 h 371"/>
                <a:gd name="T26" fmla="*/ 301 w 410"/>
                <a:gd name="T27" fmla="*/ 16 h 371"/>
                <a:gd name="T28" fmla="*/ 309 w 410"/>
                <a:gd name="T29" fmla="*/ 29 h 371"/>
                <a:gd name="T30" fmla="*/ 322 w 410"/>
                <a:gd name="T31" fmla="*/ 39 h 371"/>
                <a:gd name="T32" fmla="*/ 346 w 410"/>
                <a:gd name="T33" fmla="*/ 29 h 371"/>
                <a:gd name="T34" fmla="*/ 362 w 410"/>
                <a:gd name="T35" fmla="*/ 27 h 371"/>
                <a:gd name="T36" fmla="*/ 367 w 410"/>
                <a:gd name="T37" fmla="*/ 42 h 371"/>
                <a:gd name="T38" fmla="*/ 366 w 410"/>
                <a:gd name="T39" fmla="*/ 55 h 371"/>
                <a:gd name="T40" fmla="*/ 359 w 410"/>
                <a:gd name="T41" fmla="*/ 73 h 371"/>
                <a:gd name="T42" fmla="*/ 349 w 410"/>
                <a:gd name="T43" fmla="*/ 88 h 371"/>
                <a:gd name="T44" fmla="*/ 351 w 410"/>
                <a:gd name="T45" fmla="*/ 105 h 371"/>
                <a:gd name="T46" fmla="*/ 364 w 410"/>
                <a:gd name="T47" fmla="*/ 118 h 371"/>
                <a:gd name="T48" fmla="*/ 379 w 410"/>
                <a:gd name="T49" fmla="*/ 127 h 371"/>
                <a:gd name="T50" fmla="*/ 393 w 410"/>
                <a:gd name="T51" fmla="*/ 133 h 371"/>
                <a:gd name="T52" fmla="*/ 405 w 410"/>
                <a:gd name="T53" fmla="*/ 141 h 371"/>
                <a:gd name="T54" fmla="*/ 401 w 410"/>
                <a:gd name="T55" fmla="*/ 159 h 371"/>
                <a:gd name="T56" fmla="*/ 379 w 410"/>
                <a:gd name="T57" fmla="*/ 156 h 371"/>
                <a:gd name="T58" fmla="*/ 377 w 410"/>
                <a:gd name="T59" fmla="*/ 169 h 371"/>
                <a:gd name="T60" fmla="*/ 400 w 410"/>
                <a:gd name="T61" fmla="*/ 187 h 371"/>
                <a:gd name="T62" fmla="*/ 401 w 410"/>
                <a:gd name="T63" fmla="*/ 205 h 371"/>
                <a:gd name="T64" fmla="*/ 392 w 410"/>
                <a:gd name="T65" fmla="*/ 213 h 371"/>
                <a:gd name="T66" fmla="*/ 359 w 410"/>
                <a:gd name="T67" fmla="*/ 226 h 371"/>
                <a:gd name="T68" fmla="*/ 356 w 410"/>
                <a:gd name="T69" fmla="*/ 236 h 371"/>
                <a:gd name="T70" fmla="*/ 362 w 410"/>
                <a:gd name="T71" fmla="*/ 260 h 371"/>
                <a:gd name="T72" fmla="*/ 353 w 410"/>
                <a:gd name="T73" fmla="*/ 257 h 371"/>
                <a:gd name="T74" fmla="*/ 327 w 410"/>
                <a:gd name="T75" fmla="*/ 268 h 371"/>
                <a:gd name="T76" fmla="*/ 312 w 410"/>
                <a:gd name="T77" fmla="*/ 309 h 371"/>
                <a:gd name="T78" fmla="*/ 314 w 410"/>
                <a:gd name="T79" fmla="*/ 345 h 371"/>
                <a:gd name="T80" fmla="*/ 304 w 410"/>
                <a:gd name="T81" fmla="*/ 364 h 371"/>
                <a:gd name="T82" fmla="*/ 279 w 410"/>
                <a:gd name="T83" fmla="*/ 359 h 371"/>
                <a:gd name="T84" fmla="*/ 244 w 410"/>
                <a:gd name="T85" fmla="*/ 330 h 371"/>
                <a:gd name="T86" fmla="*/ 213 w 410"/>
                <a:gd name="T87" fmla="*/ 328 h 371"/>
                <a:gd name="T88" fmla="*/ 229 w 410"/>
                <a:gd name="T89" fmla="*/ 320 h 371"/>
                <a:gd name="T90" fmla="*/ 200 w 410"/>
                <a:gd name="T91" fmla="*/ 292 h 371"/>
                <a:gd name="T92" fmla="*/ 175 w 410"/>
                <a:gd name="T93" fmla="*/ 255 h 371"/>
                <a:gd name="T94" fmla="*/ 107 w 410"/>
                <a:gd name="T95" fmla="*/ 201 h 371"/>
                <a:gd name="T96" fmla="*/ 84 w 410"/>
                <a:gd name="T97" fmla="*/ 184 h 371"/>
                <a:gd name="T98" fmla="*/ 58 w 410"/>
                <a:gd name="T99" fmla="*/ 159 h 371"/>
                <a:gd name="T100" fmla="*/ 50 w 410"/>
                <a:gd name="T101" fmla="*/ 135 h 371"/>
                <a:gd name="T102" fmla="*/ 37 w 410"/>
                <a:gd name="T103" fmla="*/ 112 h 371"/>
                <a:gd name="T104" fmla="*/ 11 w 410"/>
                <a:gd name="T105" fmla="*/ 76 h 371"/>
                <a:gd name="T106" fmla="*/ 1 w 410"/>
                <a:gd name="T107" fmla="*/ 39 h 371"/>
                <a:gd name="T108" fmla="*/ 14 w 410"/>
                <a:gd name="T109" fmla="*/ 16 h 371"/>
                <a:gd name="T110" fmla="*/ 35 w 410"/>
                <a:gd name="T111" fmla="*/ 34 h 371"/>
                <a:gd name="T112" fmla="*/ 58 w 410"/>
                <a:gd name="T113" fmla="*/ 45 h 371"/>
                <a:gd name="T114" fmla="*/ 66 w 410"/>
                <a:gd name="T115" fmla="*/ 31 h 371"/>
                <a:gd name="T116" fmla="*/ 78 w 410"/>
                <a:gd name="T117" fmla="*/ 11 h 371"/>
                <a:gd name="T118" fmla="*/ 102 w 410"/>
                <a:gd name="T119" fmla="*/ 14 h 371"/>
                <a:gd name="T120" fmla="*/ 114 w 410"/>
                <a:gd name="T121" fmla="*/ 5 h 3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10" h="371">
                  <a:moveTo>
                    <a:pt x="398" y="218"/>
                  </a:moveTo>
                  <a:lnTo>
                    <a:pt x="397" y="218"/>
                  </a:lnTo>
                  <a:lnTo>
                    <a:pt x="395" y="218"/>
                  </a:lnTo>
                  <a:lnTo>
                    <a:pt x="395" y="216"/>
                  </a:lnTo>
                  <a:lnTo>
                    <a:pt x="395" y="214"/>
                  </a:lnTo>
                  <a:lnTo>
                    <a:pt x="397" y="214"/>
                  </a:lnTo>
                  <a:lnTo>
                    <a:pt x="398" y="214"/>
                  </a:lnTo>
                  <a:lnTo>
                    <a:pt x="398" y="216"/>
                  </a:lnTo>
                  <a:lnTo>
                    <a:pt x="398" y="218"/>
                  </a:lnTo>
                  <a:close/>
                  <a:moveTo>
                    <a:pt x="118" y="6"/>
                  </a:moveTo>
                  <a:lnTo>
                    <a:pt x="118" y="8"/>
                  </a:lnTo>
                  <a:lnTo>
                    <a:pt x="118" y="6"/>
                  </a:lnTo>
                  <a:lnTo>
                    <a:pt x="120" y="6"/>
                  </a:lnTo>
                  <a:lnTo>
                    <a:pt x="122" y="6"/>
                  </a:lnTo>
                  <a:lnTo>
                    <a:pt x="122" y="5"/>
                  </a:lnTo>
                  <a:lnTo>
                    <a:pt x="120" y="5"/>
                  </a:lnTo>
                  <a:lnTo>
                    <a:pt x="120" y="3"/>
                  </a:lnTo>
                  <a:lnTo>
                    <a:pt x="122" y="3"/>
                  </a:lnTo>
                  <a:lnTo>
                    <a:pt x="122" y="5"/>
                  </a:lnTo>
                  <a:lnTo>
                    <a:pt x="123" y="5"/>
                  </a:lnTo>
                  <a:lnTo>
                    <a:pt x="122" y="6"/>
                  </a:lnTo>
                  <a:lnTo>
                    <a:pt x="123" y="8"/>
                  </a:lnTo>
                  <a:lnTo>
                    <a:pt x="125" y="8"/>
                  </a:lnTo>
                  <a:lnTo>
                    <a:pt x="125" y="6"/>
                  </a:lnTo>
                  <a:lnTo>
                    <a:pt x="125" y="5"/>
                  </a:lnTo>
                  <a:lnTo>
                    <a:pt x="127" y="5"/>
                  </a:lnTo>
                  <a:lnTo>
                    <a:pt x="125" y="6"/>
                  </a:lnTo>
                  <a:lnTo>
                    <a:pt x="125" y="8"/>
                  </a:lnTo>
                  <a:lnTo>
                    <a:pt x="127" y="8"/>
                  </a:lnTo>
                  <a:lnTo>
                    <a:pt x="128" y="8"/>
                  </a:lnTo>
                  <a:lnTo>
                    <a:pt x="128" y="6"/>
                  </a:lnTo>
                  <a:lnTo>
                    <a:pt x="128" y="9"/>
                  </a:lnTo>
                  <a:lnTo>
                    <a:pt x="130" y="9"/>
                  </a:lnTo>
                  <a:lnTo>
                    <a:pt x="131" y="9"/>
                  </a:lnTo>
                  <a:lnTo>
                    <a:pt x="131" y="11"/>
                  </a:lnTo>
                  <a:lnTo>
                    <a:pt x="133" y="11"/>
                  </a:lnTo>
                  <a:lnTo>
                    <a:pt x="135" y="13"/>
                  </a:lnTo>
                  <a:lnTo>
                    <a:pt x="136" y="13"/>
                  </a:lnTo>
                  <a:lnTo>
                    <a:pt x="138" y="14"/>
                  </a:lnTo>
                  <a:lnTo>
                    <a:pt x="140" y="14"/>
                  </a:lnTo>
                  <a:lnTo>
                    <a:pt x="143" y="16"/>
                  </a:lnTo>
                  <a:lnTo>
                    <a:pt x="144" y="16"/>
                  </a:lnTo>
                  <a:lnTo>
                    <a:pt x="146" y="16"/>
                  </a:lnTo>
                  <a:lnTo>
                    <a:pt x="148" y="16"/>
                  </a:lnTo>
                  <a:lnTo>
                    <a:pt x="149" y="16"/>
                  </a:lnTo>
                  <a:lnTo>
                    <a:pt x="151" y="16"/>
                  </a:lnTo>
                  <a:lnTo>
                    <a:pt x="151" y="14"/>
                  </a:lnTo>
                  <a:lnTo>
                    <a:pt x="151" y="13"/>
                  </a:lnTo>
                  <a:lnTo>
                    <a:pt x="153" y="9"/>
                  </a:lnTo>
                  <a:lnTo>
                    <a:pt x="153" y="11"/>
                  </a:lnTo>
                  <a:lnTo>
                    <a:pt x="154" y="11"/>
                  </a:lnTo>
                  <a:lnTo>
                    <a:pt x="156" y="11"/>
                  </a:lnTo>
                  <a:lnTo>
                    <a:pt x="156" y="13"/>
                  </a:lnTo>
                  <a:lnTo>
                    <a:pt x="157" y="13"/>
                  </a:lnTo>
                  <a:lnTo>
                    <a:pt x="159" y="13"/>
                  </a:lnTo>
                  <a:lnTo>
                    <a:pt x="159" y="14"/>
                  </a:lnTo>
                  <a:lnTo>
                    <a:pt x="161" y="16"/>
                  </a:lnTo>
                  <a:lnTo>
                    <a:pt x="164" y="16"/>
                  </a:lnTo>
                  <a:lnTo>
                    <a:pt x="166" y="16"/>
                  </a:lnTo>
                  <a:lnTo>
                    <a:pt x="167" y="16"/>
                  </a:lnTo>
                  <a:lnTo>
                    <a:pt x="169" y="14"/>
                  </a:lnTo>
                  <a:lnTo>
                    <a:pt x="169" y="13"/>
                  </a:lnTo>
                  <a:lnTo>
                    <a:pt x="170" y="11"/>
                  </a:lnTo>
                  <a:lnTo>
                    <a:pt x="170" y="13"/>
                  </a:lnTo>
                  <a:lnTo>
                    <a:pt x="172" y="14"/>
                  </a:lnTo>
                  <a:lnTo>
                    <a:pt x="170" y="16"/>
                  </a:lnTo>
                  <a:lnTo>
                    <a:pt x="172" y="16"/>
                  </a:lnTo>
                  <a:lnTo>
                    <a:pt x="174" y="16"/>
                  </a:lnTo>
                  <a:lnTo>
                    <a:pt x="175" y="14"/>
                  </a:lnTo>
                  <a:lnTo>
                    <a:pt x="175" y="16"/>
                  </a:lnTo>
                  <a:lnTo>
                    <a:pt x="174" y="18"/>
                  </a:lnTo>
                  <a:lnTo>
                    <a:pt x="174" y="19"/>
                  </a:lnTo>
                  <a:lnTo>
                    <a:pt x="175" y="19"/>
                  </a:lnTo>
                  <a:lnTo>
                    <a:pt x="177" y="18"/>
                  </a:lnTo>
                  <a:lnTo>
                    <a:pt x="177" y="19"/>
                  </a:lnTo>
                  <a:lnTo>
                    <a:pt x="180" y="18"/>
                  </a:lnTo>
                  <a:lnTo>
                    <a:pt x="180" y="16"/>
                  </a:lnTo>
                  <a:lnTo>
                    <a:pt x="180" y="14"/>
                  </a:lnTo>
                  <a:lnTo>
                    <a:pt x="182" y="16"/>
                  </a:lnTo>
                  <a:lnTo>
                    <a:pt x="182" y="18"/>
                  </a:lnTo>
                  <a:lnTo>
                    <a:pt x="183" y="18"/>
                  </a:lnTo>
                  <a:lnTo>
                    <a:pt x="183" y="16"/>
                  </a:lnTo>
                  <a:lnTo>
                    <a:pt x="185" y="18"/>
                  </a:lnTo>
                  <a:lnTo>
                    <a:pt x="187" y="18"/>
                  </a:lnTo>
                  <a:lnTo>
                    <a:pt x="188" y="16"/>
                  </a:lnTo>
                  <a:lnTo>
                    <a:pt x="190" y="16"/>
                  </a:lnTo>
                  <a:lnTo>
                    <a:pt x="190" y="14"/>
                  </a:lnTo>
                  <a:lnTo>
                    <a:pt x="192" y="13"/>
                  </a:lnTo>
                  <a:lnTo>
                    <a:pt x="193" y="13"/>
                  </a:lnTo>
                  <a:lnTo>
                    <a:pt x="195" y="14"/>
                  </a:lnTo>
                  <a:lnTo>
                    <a:pt x="195" y="16"/>
                  </a:lnTo>
                  <a:lnTo>
                    <a:pt x="196" y="16"/>
                  </a:lnTo>
                  <a:lnTo>
                    <a:pt x="198" y="16"/>
                  </a:lnTo>
                  <a:lnTo>
                    <a:pt x="200" y="18"/>
                  </a:lnTo>
                  <a:lnTo>
                    <a:pt x="203" y="19"/>
                  </a:lnTo>
                  <a:lnTo>
                    <a:pt x="205" y="19"/>
                  </a:lnTo>
                  <a:lnTo>
                    <a:pt x="206" y="19"/>
                  </a:lnTo>
                  <a:lnTo>
                    <a:pt x="206" y="21"/>
                  </a:lnTo>
                  <a:lnTo>
                    <a:pt x="208" y="22"/>
                  </a:lnTo>
                  <a:lnTo>
                    <a:pt x="211" y="24"/>
                  </a:lnTo>
                  <a:lnTo>
                    <a:pt x="213" y="24"/>
                  </a:lnTo>
                  <a:lnTo>
                    <a:pt x="214" y="24"/>
                  </a:lnTo>
                  <a:lnTo>
                    <a:pt x="218" y="21"/>
                  </a:lnTo>
                  <a:lnTo>
                    <a:pt x="219" y="19"/>
                  </a:lnTo>
                  <a:lnTo>
                    <a:pt x="221" y="18"/>
                  </a:lnTo>
                  <a:lnTo>
                    <a:pt x="219" y="16"/>
                  </a:lnTo>
                  <a:lnTo>
                    <a:pt x="219" y="14"/>
                  </a:lnTo>
                  <a:lnTo>
                    <a:pt x="221" y="14"/>
                  </a:lnTo>
                  <a:lnTo>
                    <a:pt x="221" y="13"/>
                  </a:lnTo>
                  <a:lnTo>
                    <a:pt x="223" y="13"/>
                  </a:lnTo>
                  <a:lnTo>
                    <a:pt x="224" y="13"/>
                  </a:lnTo>
                  <a:lnTo>
                    <a:pt x="224" y="11"/>
                  </a:lnTo>
                  <a:lnTo>
                    <a:pt x="224" y="9"/>
                  </a:lnTo>
                  <a:lnTo>
                    <a:pt x="226" y="8"/>
                  </a:lnTo>
                  <a:lnTo>
                    <a:pt x="227" y="8"/>
                  </a:lnTo>
                  <a:lnTo>
                    <a:pt x="229" y="8"/>
                  </a:lnTo>
                  <a:lnTo>
                    <a:pt x="229" y="9"/>
                  </a:lnTo>
                  <a:lnTo>
                    <a:pt x="231" y="11"/>
                  </a:lnTo>
                  <a:lnTo>
                    <a:pt x="231" y="9"/>
                  </a:lnTo>
                  <a:lnTo>
                    <a:pt x="231" y="8"/>
                  </a:lnTo>
                  <a:lnTo>
                    <a:pt x="232" y="8"/>
                  </a:lnTo>
                  <a:lnTo>
                    <a:pt x="234" y="8"/>
                  </a:lnTo>
                  <a:lnTo>
                    <a:pt x="234" y="9"/>
                  </a:lnTo>
                  <a:lnTo>
                    <a:pt x="236" y="11"/>
                  </a:lnTo>
                  <a:lnTo>
                    <a:pt x="234" y="13"/>
                  </a:lnTo>
                  <a:lnTo>
                    <a:pt x="237" y="14"/>
                  </a:lnTo>
                  <a:lnTo>
                    <a:pt x="237" y="16"/>
                  </a:lnTo>
                  <a:lnTo>
                    <a:pt x="239" y="16"/>
                  </a:lnTo>
                  <a:lnTo>
                    <a:pt x="240" y="16"/>
                  </a:lnTo>
                  <a:lnTo>
                    <a:pt x="242" y="14"/>
                  </a:lnTo>
                  <a:lnTo>
                    <a:pt x="244" y="16"/>
                  </a:lnTo>
                  <a:lnTo>
                    <a:pt x="245" y="16"/>
                  </a:lnTo>
                  <a:lnTo>
                    <a:pt x="247" y="16"/>
                  </a:lnTo>
                  <a:lnTo>
                    <a:pt x="249" y="13"/>
                  </a:lnTo>
                  <a:lnTo>
                    <a:pt x="250" y="13"/>
                  </a:lnTo>
                  <a:lnTo>
                    <a:pt x="249" y="13"/>
                  </a:lnTo>
                  <a:lnTo>
                    <a:pt x="249" y="11"/>
                  </a:lnTo>
                  <a:lnTo>
                    <a:pt x="247" y="9"/>
                  </a:lnTo>
                  <a:lnTo>
                    <a:pt x="249" y="9"/>
                  </a:lnTo>
                  <a:lnTo>
                    <a:pt x="249" y="8"/>
                  </a:lnTo>
                  <a:lnTo>
                    <a:pt x="250" y="8"/>
                  </a:lnTo>
                  <a:lnTo>
                    <a:pt x="252" y="6"/>
                  </a:lnTo>
                  <a:lnTo>
                    <a:pt x="253" y="6"/>
                  </a:lnTo>
                  <a:lnTo>
                    <a:pt x="255" y="8"/>
                  </a:lnTo>
                  <a:lnTo>
                    <a:pt x="255" y="9"/>
                  </a:lnTo>
                  <a:lnTo>
                    <a:pt x="258" y="9"/>
                  </a:lnTo>
                  <a:lnTo>
                    <a:pt x="258" y="11"/>
                  </a:lnTo>
                  <a:lnTo>
                    <a:pt x="260" y="11"/>
                  </a:lnTo>
                  <a:lnTo>
                    <a:pt x="268" y="9"/>
                  </a:lnTo>
                  <a:lnTo>
                    <a:pt x="270" y="9"/>
                  </a:lnTo>
                  <a:lnTo>
                    <a:pt x="271" y="9"/>
                  </a:lnTo>
                  <a:lnTo>
                    <a:pt x="271" y="11"/>
                  </a:lnTo>
                  <a:lnTo>
                    <a:pt x="273" y="13"/>
                  </a:lnTo>
                  <a:lnTo>
                    <a:pt x="275" y="13"/>
                  </a:lnTo>
                  <a:lnTo>
                    <a:pt x="275" y="14"/>
                  </a:lnTo>
                  <a:lnTo>
                    <a:pt x="276" y="14"/>
                  </a:lnTo>
                  <a:lnTo>
                    <a:pt x="278" y="14"/>
                  </a:lnTo>
                  <a:lnTo>
                    <a:pt x="279" y="14"/>
                  </a:lnTo>
                  <a:lnTo>
                    <a:pt x="281" y="14"/>
                  </a:lnTo>
                  <a:lnTo>
                    <a:pt x="281" y="16"/>
                  </a:lnTo>
                  <a:lnTo>
                    <a:pt x="283" y="16"/>
                  </a:lnTo>
                  <a:lnTo>
                    <a:pt x="281" y="14"/>
                  </a:lnTo>
                  <a:lnTo>
                    <a:pt x="283" y="13"/>
                  </a:lnTo>
                  <a:lnTo>
                    <a:pt x="283" y="11"/>
                  </a:lnTo>
                  <a:lnTo>
                    <a:pt x="281" y="11"/>
                  </a:lnTo>
                  <a:lnTo>
                    <a:pt x="281" y="9"/>
                  </a:lnTo>
                  <a:lnTo>
                    <a:pt x="283" y="9"/>
                  </a:lnTo>
                  <a:lnTo>
                    <a:pt x="284" y="11"/>
                  </a:lnTo>
                  <a:lnTo>
                    <a:pt x="284" y="13"/>
                  </a:lnTo>
                  <a:lnTo>
                    <a:pt x="286" y="13"/>
                  </a:lnTo>
                  <a:lnTo>
                    <a:pt x="286" y="11"/>
                  </a:lnTo>
                  <a:lnTo>
                    <a:pt x="284" y="9"/>
                  </a:lnTo>
                  <a:lnTo>
                    <a:pt x="286" y="9"/>
                  </a:lnTo>
                  <a:lnTo>
                    <a:pt x="288" y="11"/>
                  </a:lnTo>
                  <a:lnTo>
                    <a:pt x="289" y="11"/>
                  </a:lnTo>
                  <a:lnTo>
                    <a:pt x="289" y="9"/>
                  </a:lnTo>
                  <a:lnTo>
                    <a:pt x="289" y="8"/>
                  </a:lnTo>
                  <a:lnTo>
                    <a:pt x="291" y="8"/>
                  </a:lnTo>
                  <a:lnTo>
                    <a:pt x="291" y="9"/>
                  </a:lnTo>
                  <a:lnTo>
                    <a:pt x="291" y="11"/>
                  </a:lnTo>
                  <a:lnTo>
                    <a:pt x="289" y="11"/>
                  </a:lnTo>
                  <a:lnTo>
                    <a:pt x="289" y="13"/>
                  </a:lnTo>
                  <a:lnTo>
                    <a:pt x="292" y="13"/>
                  </a:lnTo>
                  <a:lnTo>
                    <a:pt x="294" y="13"/>
                  </a:lnTo>
                  <a:lnTo>
                    <a:pt x="294" y="11"/>
                  </a:lnTo>
                  <a:lnTo>
                    <a:pt x="292" y="9"/>
                  </a:lnTo>
                  <a:lnTo>
                    <a:pt x="294" y="9"/>
                  </a:lnTo>
                  <a:lnTo>
                    <a:pt x="294" y="8"/>
                  </a:lnTo>
                  <a:lnTo>
                    <a:pt x="296" y="8"/>
                  </a:lnTo>
                  <a:lnTo>
                    <a:pt x="297" y="9"/>
                  </a:lnTo>
                  <a:lnTo>
                    <a:pt x="297" y="11"/>
                  </a:lnTo>
                  <a:lnTo>
                    <a:pt x="296" y="11"/>
                  </a:lnTo>
                  <a:lnTo>
                    <a:pt x="296" y="13"/>
                  </a:lnTo>
                  <a:lnTo>
                    <a:pt x="297" y="16"/>
                  </a:lnTo>
                  <a:lnTo>
                    <a:pt x="299" y="16"/>
                  </a:lnTo>
                  <a:lnTo>
                    <a:pt x="301" y="16"/>
                  </a:lnTo>
                  <a:lnTo>
                    <a:pt x="301" y="18"/>
                  </a:lnTo>
                  <a:lnTo>
                    <a:pt x="302" y="18"/>
                  </a:lnTo>
                  <a:lnTo>
                    <a:pt x="302" y="19"/>
                  </a:lnTo>
                  <a:lnTo>
                    <a:pt x="302" y="21"/>
                  </a:lnTo>
                  <a:lnTo>
                    <a:pt x="304" y="21"/>
                  </a:lnTo>
                  <a:lnTo>
                    <a:pt x="305" y="21"/>
                  </a:lnTo>
                  <a:lnTo>
                    <a:pt x="309" y="21"/>
                  </a:lnTo>
                  <a:lnTo>
                    <a:pt x="309" y="22"/>
                  </a:lnTo>
                  <a:lnTo>
                    <a:pt x="309" y="24"/>
                  </a:lnTo>
                  <a:lnTo>
                    <a:pt x="309" y="26"/>
                  </a:lnTo>
                  <a:lnTo>
                    <a:pt x="309" y="27"/>
                  </a:lnTo>
                  <a:lnTo>
                    <a:pt x="310" y="27"/>
                  </a:lnTo>
                  <a:lnTo>
                    <a:pt x="310" y="29"/>
                  </a:lnTo>
                  <a:lnTo>
                    <a:pt x="309" y="29"/>
                  </a:lnTo>
                  <a:lnTo>
                    <a:pt x="307" y="29"/>
                  </a:lnTo>
                  <a:lnTo>
                    <a:pt x="307" y="27"/>
                  </a:lnTo>
                  <a:lnTo>
                    <a:pt x="305" y="29"/>
                  </a:lnTo>
                  <a:lnTo>
                    <a:pt x="305" y="31"/>
                  </a:lnTo>
                  <a:lnTo>
                    <a:pt x="307" y="31"/>
                  </a:lnTo>
                  <a:lnTo>
                    <a:pt x="307" y="32"/>
                  </a:lnTo>
                  <a:lnTo>
                    <a:pt x="307" y="34"/>
                  </a:lnTo>
                  <a:lnTo>
                    <a:pt x="309" y="34"/>
                  </a:lnTo>
                  <a:lnTo>
                    <a:pt x="310" y="36"/>
                  </a:lnTo>
                  <a:lnTo>
                    <a:pt x="314" y="37"/>
                  </a:lnTo>
                  <a:lnTo>
                    <a:pt x="315" y="39"/>
                  </a:lnTo>
                  <a:lnTo>
                    <a:pt x="317" y="40"/>
                  </a:lnTo>
                  <a:lnTo>
                    <a:pt x="318" y="40"/>
                  </a:lnTo>
                  <a:lnTo>
                    <a:pt x="322" y="39"/>
                  </a:lnTo>
                  <a:lnTo>
                    <a:pt x="325" y="39"/>
                  </a:lnTo>
                  <a:lnTo>
                    <a:pt x="330" y="39"/>
                  </a:lnTo>
                  <a:lnTo>
                    <a:pt x="331" y="37"/>
                  </a:lnTo>
                  <a:lnTo>
                    <a:pt x="333" y="37"/>
                  </a:lnTo>
                  <a:lnTo>
                    <a:pt x="335" y="37"/>
                  </a:lnTo>
                  <a:lnTo>
                    <a:pt x="336" y="37"/>
                  </a:lnTo>
                  <a:lnTo>
                    <a:pt x="338" y="37"/>
                  </a:lnTo>
                  <a:lnTo>
                    <a:pt x="338" y="36"/>
                  </a:lnTo>
                  <a:lnTo>
                    <a:pt x="340" y="36"/>
                  </a:lnTo>
                  <a:lnTo>
                    <a:pt x="340" y="34"/>
                  </a:lnTo>
                  <a:lnTo>
                    <a:pt x="341" y="32"/>
                  </a:lnTo>
                  <a:lnTo>
                    <a:pt x="343" y="32"/>
                  </a:lnTo>
                  <a:lnTo>
                    <a:pt x="344" y="31"/>
                  </a:lnTo>
                  <a:lnTo>
                    <a:pt x="346" y="29"/>
                  </a:lnTo>
                  <a:lnTo>
                    <a:pt x="348" y="27"/>
                  </a:lnTo>
                  <a:lnTo>
                    <a:pt x="348" y="26"/>
                  </a:lnTo>
                  <a:lnTo>
                    <a:pt x="349" y="26"/>
                  </a:lnTo>
                  <a:lnTo>
                    <a:pt x="351" y="26"/>
                  </a:lnTo>
                  <a:lnTo>
                    <a:pt x="351" y="27"/>
                  </a:lnTo>
                  <a:lnTo>
                    <a:pt x="353" y="29"/>
                  </a:lnTo>
                  <a:lnTo>
                    <a:pt x="354" y="29"/>
                  </a:lnTo>
                  <a:lnTo>
                    <a:pt x="356" y="27"/>
                  </a:lnTo>
                  <a:lnTo>
                    <a:pt x="357" y="26"/>
                  </a:lnTo>
                  <a:lnTo>
                    <a:pt x="357" y="27"/>
                  </a:lnTo>
                  <a:lnTo>
                    <a:pt x="359" y="27"/>
                  </a:lnTo>
                  <a:lnTo>
                    <a:pt x="361" y="27"/>
                  </a:lnTo>
                  <a:lnTo>
                    <a:pt x="362" y="26"/>
                  </a:lnTo>
                  <a:lnTo>
                    <a:pt x="362" y="27"/>
                  </a:lnTo>
                  <a:lnTo>
                    <a:pt x="364" y="27"/>
                  </a:lnTo>
                  <a:lnTo>
                    <a:pt x="366" y="27"/>
                  </a:lnTo>
                  <a:lnTo>
                    <a:pt x="366" y="29"/>
                  </a:lnTo>
                  <a:lnTo>
                    <a:pt x="367" y="29"/>
                  </a:lnTo>
                  <a:lnTo>
                    <a:pt x="369" y="29"/>
                  </a:lnTo>
                  <a:lnTo>
                    <a:pt x="369" y="31"/>
                  </a:lnTo>
                  <a:lnTo>
                    <a:pt x="369" y="32"/>
                  </a:lnTo>
                  <a:lnTo>
                    <a:pt x="369" y="34"/>
                  </a:lnTo>
                  <a:lnTo>
                    <a:pt x="369" y="36"/>
                  </a:lnTo>
                  <a:lnTo>
                    <a:pt x="369" y="37"/>
                  </a:lnTo>
                  <a:lnTo>
                    <a:pt x="367" y="37"/>
                  </a:lnTo>
                  <a:lnTo>
                    <a:pt x="367" y="39"/>
                  </a:lnTo>
                  <a:lnTo>
                    <a:pt x="369" y="40"/>
                  </a:lnTo>
                  <a:lnTo>
                    <a:pt x="367" y="42"/>
                  </a:lnTo>
                  <a:lnTo>
                    <a:pt x="369" y="42"/>
                  </a:lnTo>
                  <a:lnTo>
                    <a:pt x="369" y="44"/>
                  </a:lnTo>
                  <a:lnTo>
                    <a:pt x="367" y="44"/>
                  </a:lnTo>
                  <a:lnTo>
                    <a:pt x="367" y="45"/>
                  </a:lnTo>
                  <a:lnTo>
                    <a:pt x="366" y="45"/>
                  </a:lnTo>
                  <a:lnTo>
                    <a:pt x="366" y="47"/>
                  </a:lnTo>
                  <a:lnTo>
                    <a:pt x="367" y="47"/>
                  </a:lnTo>
                  <a:lnTo>
                    <a:pt x="367" y="49"/>
                  </a:lnTo>
                  <a:lnTo>
                    <a:pt x="369" y="50"/>
                  </a:lnTo>
                  <a:lnTo>
                    <a:pt x="367" y="50"/>
                  </a:lnTo>
                  <a:lnTo>
                    <a:pt x="367" y="52"/>
                  </a:lnTo>
                  <a:lnTo>
                    <a:pt x="367" y="53"/>
                  </a:lnTo>
                  <a:lnTo>
                    <a:pt x="366" y="53"/>
                  </a:lnTo>
                  <a:lnTo>
                    <a:pt x="366" y="55"/>
                  </a:lnTo>
                  <a:lnTo>
                    <a:pt x="366" y="57"/>
                  </a:lnTo>
                  <a:lnTo>
                    <a:pt x="364" y="57"/>
                  </a:lnTo>
                  <a:lnTo>
                    <a:pt x="366" y="58"/>
                  </a:lnTo>
                  <a:lnTo>
                    <a:pt x="364" y="58"/>
                  </a:lnTo>
                  <a:lnTo>
                    <a:pt x="362" y="58"/>
                  </a:lnTo>
                  <a:lnTo>
                    <a:pt x="362" y="60"/>
                  </a:lnTo>
                  <a:lnTo>
                    <a:pt x="362" y="62"/>
                  </a:lnTo>
                  <a:lnTo>
                    <a:pt x="361" y="63"/>
                  </a:lnTo>
                  <a:lnTo>
                    <a:pt x="361" y="65"/>
                  </a:lnTo>
                  <a:lnTo>
                    <a:pt x="361" y="66"/>
                  </a:lnTo>
                  <a:lnTo>
                    <a:pt x="361" y="70"/>
                  </a:lnTo>
                  <a:lnTo>
                    <a:pt x="359" y="70"/>
                  </a:lnTo>
                  <a:lnTo>
                    <a:pt x="359" y="71"/>
                  </a:lnTo>
                  <a:lnTo>
                    <a:pt x="359" y="73"/>
                  </a:lnTo>
                  <a:lnTo>
                    <a:pt x="357" y="73"/>
                  </a:lnTo>
                  <a:lnTo>
                    <a:pt x="356" y="73"/>
                  </a:lnTo>
                  <a:lnTo>
                    <a:pt x="356" y="76"/>
                  </a:lnTo>
                  <a:lnTo>
                    <a:pt x="356" y="78"/>
                  </a:lnTo>
                  <a:lnTo>
                    <a:pt x="357" y="78"/>
                  </a:lnTo>
                  <a:lnTo>
                    <a:pt x="356" y="79"/>
                  </a:lnTo>
                  <a:lnTo>
                    <a:pt x="354" y="81"/>
                  </a:lnTo>
                  <a:lnTo>
                    <a:pt x="354" y="83"/>
                  </a:lnTo>
                  <a:lnTo>
                    <a:pt x="353" y="83"/>
                  </a:lnTo>
                  <a:lnTo>
                    <a:pt x="351" y="83"/>
                  </a:lnTo>
                  <a:lnTo>
                    <a:pt x="351" y="84"/>
                  </a:lnTo>
                  <a:lnTo>
                    <a:pt x="351" y="86"/>
                  </a:lnTo>
                  <a:lnTo>
                    <a:pt x="349" y="86"/>
                  </a:lnTo>
                  <a:lnTo>
                    <a:pt x="349" y="88"/>
                  </a:lnTo>
                  <a:lnTo>
                    <a:pt x="351" y="88"/>
                  </a:lnTo>
                  <a:lnTo>
                    <a:pt x="351" y="89"/>
                  </a:lnTo>
                  <a:lnTo>
                    <a:pt x="353" y="91"/>
                  </a:lnTo>
                  <a:lnTo>
                    <a:pt x="353" y="92"/>
                  </a:lnTo>
                  <a:lnTo>
                    <a:pt x="354" y="92"/>
                  </a:lnTo>
                  <a:lnTo>
                    <a:pt x="354" y="94"/>
                  </a:lnTo>
                  <a:lnTo>
                    <a:pt x="354" y="96"/>
                  </a:lnTo>
                  <a:lnTo>
                    <a:pt x="354" y="97"/>
                  </a:lnTo>
                  <a:lnTo>
                    <a:pt x="354" y="99"/>
                  </a:lnTo>
                  <a:lnTo>
                    <a:pt x="353" y="99"/>
                  </a:lnTo>
                  <a:lnTo>
                    <a:pt x="351" y="101"/>
                  </a:lnTo>
                  <a:lnTo>
                    <a:pt x="351" y="102"/>
                  </a:lnTo>
                  <a:lnTo>
                    <a:pt x="351" y="104"/>
                  </a:lnTo>
                  <a:lnTo>
                    <a:pt x="351" y="105"/>
                  </a:lnTo>
                  <a:lnTo>
                    <a:pt x="353" y="105"/>
                  </a:lnTo>
                  <a:lnTo>
                    <a:pt x="353" y="107"/>
                  </a:lnTo>
                  <a:lnTo>
                    <a:pt x="351" y="107"/>
                  </a:lnTo>
                  <a:lnTo>
                    <a:pt x="351" y="109"/>
                  </a:lnTo>
                  <a:lnTo>
                    <a:pt x="353" y="109"/>
                  </a:lnTo>
                  <a:lnTo>
                    <a:pt x="354" y="110"/>
                  </a:lnTo>
                  <a:lnTo>
                    <a:pt x="354" y="112"/>
                  </a:lnTo>
                  <a:lnTo>
                    <a:pt x="354" y="114"/>
                  </a:lnTo>
                  <a:lnTo>
                    <a:pt x="356" y="115"/>
                  </a:lnTo>
                  <a:lnTo>
                    <a:pt x="357" y="117"/>
                  </a:lnTo>
                  <a:lnTo>
                    <a:pt x="361" y="117"/>
                  </a:lnTo>
                  <a:lnTo>
                    <a:pt x="362" y="115"/>
                  </a:lnTo>
                  <a:lnTo>
                    <a:pt x="364" y="117"/>
                  </a:lnTo>
                  <a:lnTo>
                    <a:pt x="364" y="118"/>
                  </a:lnTo>
                  <a:lnTo>
                    <a:pt x="366" y="120"/>
                  </a:lnTo>
                  <a:lnTo>
                    <a:pt x="367" y="118"/>
                  </a:lnTo>
                  <a:lnTo>
                    <a:pt x="369" y="118"/>
                  </a:lnTo>
                  <a:lnTo>
                    <a:pt x="369" y="117"/>
                  </a:lnTo>
                  <a:lnTo>
                    <a:pt x="371" y="117"/>
                  </a:lnTo>
                  <a:lnTo>
                    <a:pt x="372" y="117"/>
                  </a:lnTo>
                  <a:lnTo>
                    <a:pt x="374" y="117"/>
                  </a:lnTo>
                  <a:lnTo>
                    <a:pt x="375" y="117"/>
                  </a:lnTo>
                  <a:lnTo>
                    <a:pt x="375" y="120"/>
                  </a:lnTo>
                  <a:lnTo>
                    <a:pt x="377" y="120"/>
                  </a:lnTo>
                  <a:lnTo>
                    <a:pt x="377" y="122"/>
                  </a:lnTo>
                  <a:lnTo>
                    <a:pt x="377" y="123"/>
                  </a:lnTo>
                  <a:lnTo>
                    <a:pt x="379" y="125"/>
                  </a:lnTo>
                  <a:lnTo>
                    <a:pt x="379" y="127"/>
                  </a:lnTo>
                  <a:lnTo>
                    <a:pt x="380" y="128"/>
                  </a:lnTo>
                  <a:lnTo>
                    <a:pt x="380" y="130"/>
                  </a:lnTo>
                  <a:lnTo>
                    <a:pt x="382" y="128"/>
                  </a:lnTo>
                  <a:lnTo>
                    <a:pt x="384" y="130"/>
                  </a:lnTo>
                  <a:lnTo>
                    <a:pt x="385" y="130"/>
                  </a:lnTo>
                  <a:lnTo>
                    <a:pt x="385" y="131"/>
                  </a:lnTo>
                  <a:lnTo>
                    <a:pt x="385" y="133"/>
                  </a:lnTo>
                  <a:lnTo>
                    <a:pt x="387" y="133"/>
                  </a:lnTo>
                  <a:lnTo>
                    <a:pt x="388" y="135"/>
                  </a:lnTo>
                  <a:lnTo>
                    <a:pt x="390" y="135"/>
                  </a:lnTo>
                  <a:lnTo>
                    <a:pt x="390" y="133"/>
                  </a:lnTo>
                  <a:lnTo>
                    <a:pt x="392" y="133"/>
                  </a:lnTo>
                  <a:lnTo>
                    <a:pt x="392" y="131"/>
                  </a:lnTo>
                  <a:lnTo>
                    <a:pt x="393" y="133"/>
                  </a:lnTo>
                  <a:lnTo>
                    <a:pt x="392" y="135"/>
                  </a:lnTo>
                  <a:lnTo>
                    <a:pt x="392" y="136"/>
                  </a:lnTo>
                  <a:lnTo>
                    <a:pt x="393" y="136"/>
                  </a:lnTo>
                  <a:lnTo>
                    <a:pt x="395" y="136"/>
                  </a:lnTo>
                  <a:lnTo>
                    <a:pt x="395" y="138"/>
                  </a:lnTo>
                  <a:lnTo>
                    <a:pt x="397" y="140"/>
                  </a:lnTo>
                  <a:lnTo>
                    <a:pt x="397" y="141"/>
                  </a:lnTo>
                  <a:lnTo>
                    <a:pt x="401" y="143"/>
                  </a:lnTo>
                  <a:lnTo>
                    <a:pt x="403" y="143"/>
                  </a:lnTo>
                  <a:lnTo>
                    <a:pt x="403" y="144"/>
                  </a:lnTo>
                  <a:lnTo>
                    <a:pt x="405" y="146"/>
                  </a:lnTo>
                  <a:lnTo>
                    <a:pt x="405" y="144"/>
                  </a:lnTo>
                  <a:lnTo>
                    <a:pt x="405" y="143"/>
                  </a:lnTo>
                  <a:lnTo>
                    <a:pt x="405" y="141"/>
                  </a:lnTo>
                  <a:lnTo>
                    <a:pt x="406" y="141"/>
                  </a:lnTo>
                  <a:lnTo>
                    <a:pt x="406" y="144"/>
                  </a:lnTo>
                  <a:lnTo>
                    <a:pt x="408" y="144"/>
                  </a:lnTo>
                  <a:lnTo>
                    <a:pt x="410" y="144"/>
                  </a:lnTo>
                  <a:lnTo>
                    <a:pt x="408" y="146"/>
                  </a:lnTo>
                  <a:lnTo>
                    <a:pt x="410" y="148"/>
                  </a:lnTo>
                  <a:lnTo>
                    <a:pt x="410" y="149"/>
                  </a:lnTo>
                  <a:lnTo>
                    <a:pt x="408" y="151"/>
                  </a:lnTo>
                  <a:lnTo>
                    <a:pt x="406" y="151"/>
                  </a:lnTo>
                  <a:lnTo>
                    <a:pt x="403" y="153"/>
                  </a:lnTo>
                  <a:lnTo>
                    <a:pt x="405" y="154"/>
                  </a:lnTo>
                  <a:lnTo>
                    <a:pt x="403" y="156"/>
                  </a:lnTo>
                  <a:lnTo>
                    <a:pt x="401" y="156"/>
                  </a:lnTo>
                  <a:lnTo>
                    <a:pt x="401" y="159"/>
                  </a:lnTo>
                  <a:lnTo>
                    <a:pt x="400" y="159"/>
                  </a:lnTo>
                  <a:lnTo>
                    <a:pt x="397" y="159"/>
                  </a:lnTo>
                  <a:lnTo>
                    <a:pt x="393" y="159"/>
                  </a:lnTo>
                  <a:lnTo>
                    <a:pt x="392" y="159"/>
                  </a:lnTo>
                  <a:lnTo>
                    <a:pt x="392" y="161"/>
                  </a:lnTo>
                  <a:lnTo>
                    <a:pt x="390" y="159"/>
                  </a:lnTo>
                  <a:lnTo>
                    <a:pt x="388" y="159"/>
                  </a:lnTo>
                  <a:lnTo>
                    <a:pt x="387" y="159"/>
                  </a:lnTo>
                  <a:lnTo>
                    <a:pt x="387" y="161"/>
                  </a:lnTo>
                  <a:lnTo>
                    <a:pt x="385" y="159"/>
                  </a:lnTo>
                  <a:lnTo>
                    <a:pt x="384" y="159"/>
                  </a:lnTo>
                  <a:lnTo>
                    <a:pt x="382" y="157"/>
                  </a:lnTo>
                  <a:lnTo>
                    <a:pt x="380" y="157"/>
                  </a:lnTo>
                  <a:lnTo>
                    <a:pt x="379" y="156"/>
                  </a:lnTo>
                  <a:lnTo>
                    <a:pt x="377" y="156"/>
                  </a:lnTo>
                  <a:lnTo>
                    <a:pt x="375" y="156"/>
                  </a:lnTo>
                  <a:lnTo>
                    <a:pt x="374" y="156"/>
                  </a:lnTo>
                  <a:lnTo>
                    <a:pt x="372" y="156"/>
                  </a:lnTo>
                  <a:lnTo>
                    <a:pt x="372" y="154"/>
                  </a:lnTo>
                  <a:lnTo>
                    <a:pt x="371" y="154"/>
                  </a:lnTo>
                  <a:lnTo>
                    <a:pt x="369" y="154"/>
                  </a:lnTo>
                  <a:lnTo>
                    <a:pt x="371" y="157"/>
                  </a:lnTo>
                  <a:lnTo>
                    <a:pt x="371" y="159"/>
                  </a:lnTo>
                  <a:lnTo>
                    <a:pt x="372" y="161"/>
                  </a:lnTo>
                  <a:lnTo>
                    <a:pt x="372" y="162"/>
                  </a:lnTo>
                  <a:lnTo>
                    <a:pt x="372" y="164"/>
                  </a:lnTo>
                  <a:lnTo>
                    <a:pt x="374" y="166"/>
                  </a:lnTo>
                  <a:lnTo>
                    <a:pt x="377" y="169"/>
                  </a:lnTo>
                  <a:lnTo>
                    <a:pt x="380" y="170"/>
                  </a:lnTo>
                  <a:lnTo>
                    <a:pt x="382" y="172"/>
                  </a:lnTo>
                  <a:lnTo>
                    <a:pt x="384" y="174"/>
                  </a:lnTo>
                  <a:lnTo>
                    <a:pt x="384" y="175"/>
                  </a:lnTo>
                  <a:lnTo>
                    <a:pt x="385" y="177"/>
                  </a:lnTo>
                  <a:lnTo>
                    <a:pt x="387" y="179"/>
                  </a:lnTo>
                  <a:lnTo>
                    <a:pt x="387" y="180"/>
                  </a:lnTo>
                  <a:lnTo>
                    <a:pt x="390" y="184"/>
                  </a:lnTo>
                  <a:lnTo>
                    <a:pt x="392" y="185"/>
                  </a:lnTo>
                  <a:lnTo>
                    <a:pt x="393" y="185"/>
                  </a:lnTo>
                  <a:lnTo>
                    <a:pt x="397" y="185"/>
                  </a:lnTo>
                  <a:lnTo>
                    <a:pt x="398" y="185"/>
                  </a:lnTo>
                  <a:lnTo>
                    <a:pt x="398" y="187"/>
                  </a:lnTo>
                  <a:lnTo>
                    <a:pt x="400" y="187"/>
                  </a:lnTo>
                  <a:lnTo>
                    <a:pt x="400" y="188"/>
                  </a:lnTo>
                  <a:lnTo>
                    <a:pt x="400" y="190"/>
                  </a:lnTo>
                  <a:lnTo>
                    <a:pt x="400" y="192"/>
                  </a:lnTo>
                  <a:lnTo>
                    <a:pt x="401" y="192"/>
                  </a:lnTo>
                  <a:lnTo>
                    <a:pt x="405" y="193"/>
                  </a:lnTo>
                  <a:lnTo>
                    <a:pt x="405" y="197"/>
                  </a:lnTo>
                  <a:lnTo>
                    <a:pt x="405" y="198"/>
                  </a:lnTo>
                  <a:lnTo>
                    <a:pt x="406" y="200"/>
                  </a:lnTo>
                  <a:lnTo>
                    <a:pt x="408" y="200"/>
                  </a:lnTo>
                  <a:lnTo>
                    <a:pt x="408" y="201"/>
                  </a:lnTo>
                  <a:lnTo>
                    <a:pt x="405" y="203"/>
                  </a:lnTo>
                  <a:lnTo>
                    <a:pt x="405" y="205"/>
                  </a:lnTo>
                  <a:lnTo>
                    <a:pt x="403" y="205"/>
                  </a:lnTo>
                  <a:lnTo>
                    <a:pt x="401" y="205"/>
                  </a:lnTo>
                  <a:lnTo>
                    <a:pt x="401" y="206"/>
                  </a:lnTo>
                  <a:lnTo>
                    <a:pt x="403" y="206"/>
                  </a:lnTo>
                  <a:lnTo>
                    <a:pt x="403" y="208"/>
                  </a:lnTo>
                  <a:lnTo>
                    <a:pt x="403" y="210"/>
                  </a:lnTo>
                  <a:lnTo>
                    <a:pt x="403" y="211"/>
                  </a:lnTo>
                  <a:lnTo>
                    <a:pt x="403" y="210"/>
                  </a:lnTo>
                  <a:lnTo>
                    <a:pt x="405" y="211"/>
                  </a:lnTo>
                  <a:lnTo>
                    <a:pt x="403" y="213"/>
                  </a:lnTo>
                  <a:lnTo>
                    <a:pt x="400" y="213"/>
                  </a:lnTo>
                  <a:lnTo>
                    <a:pt x="398" y="213"/>
                  </a:lnTo>
                  <a:lnTo>
                    <a:pt x="397" y="213"/>
                  </a:lnTo>
                  <a:lnTo>
                    <a:pt x="395" y="213"/>
                  </a:lnTo>
                  <a:lnTo>
                    <a:pt x="393" y="213"/>
                  </a:lnTo>
                  <a:lnTo>
                    <a:pt x="392" y="213"/>
                  </a:lnTo>
                  <a:lnTo>
                    <a:pt x="392" y="211"/>
                  </a:lnTo>
                  <a:lnTo>
                    <a:pt x="390" y="213"/>
                  </a:lnTo>
                  <a:lnTo>
                    <a:pt x="387" y="213"/>
                  </a:lnTo>
                  <a:lnTo>
                    <a:pt x="384" y="214"/>
                  </a:lnTo>
                  <a:lnTo>
                    <a:pt x="379" y="211"/>
                  </a:lnTo>
                  <a:lnTo>
                    <a:pt x="377" y="214"/>
                  </a:lnTo>
                  <a:lnTo>
                    <a:pt x="377" y="218"/>
                  </a:lnTo>
                  <a:lnTo>
                    <a:pt x="375" y="221"/>
                  </a:lnTo>
                  <a:lnTo>
                    <a:pt x="375" y="223"/>
                  </a:lnTo>
                  <a:lnTo>
                    <a:pt x="375" y="224"/>
                  </a:lnTo>
                  <a:lnTo>
                    <a:pt x="372" y="224"/>
                  </a:lnTo>
                  <a:lnTo>
                    <a:pt x="369" y="226"/>
                  </a:lnTo>
                  <a:lnTo>
                    <a:pt x="362" y="226"/>
                  </a:lnTo>
                  <a:lnTo>
                    <a:pt x="359" y="226"/>
                  </a:lnTo>
                  <a:lnTo>
                    <a:pt x="357" y="224"/>
                  </a:lnTo>
                  <a:lnTo>
                    <a:pt x="356" y="223"/>
                  </a:lnTo>
                  <a:lnTo>
                    <a:pt x="353" y="223"/>
                  </a:lnTo>
                  <a:lnTo>
                    <a:pt x="351" y="223"/>
                  </a:lnTo>
                  <a:lnTo>
                    <a:pt x="351" y="227"/>
                  </a:lnTo>
                  <a:lnTo>
                    <a:pt x="349" y="229"/>
                  </a:lnTo>
                  <a:lnTo>
                    <a:pt x="349" y="231"/>
                  </a:lnTo>
                  <a:lnTo>
                    <a:pt x="348" y="232"/>
                  </a:lnTo>
                  <a:lnTo>
                    <a:pt x="349" y="234"/>
                  </a:lnTo>
                  <a:lnTo>
                    <a:pt x="351" y="234"/>
                  </a:lnTo>
                  <a:lnTo>
                    <a:pt x="351" y="236"/>
                  </a:lnTo>
                  <a:lnTo>
                    <a:pt x="353" y="237"/>
                  </a:lnTo>
                  <a:lnTo>
                    <a:pt x="354" y="236"/>
                  </a:lnTo>
                  <a:lnTo>
                    <a:pt x="356" y="236"/>
                  </a:lnTo>
                  <a:lnTo>
                    <a:pt x="357" y="237"/>
                  </a:lnTo>
                  <a:lnTo>
                    <a:pt x="359" y="240"/>
                  </a:lnTo>
                  <a:lnTo>
                    <a:pt x="359" y="244"/>
                  </a:lnTo>
                  <a:lnTo>
                    <a:pt x="359" y="247"/>
                  </a:lnTo>
                  <a:lnTo>
                    <a:pt x="361" y="249"/>
                  </a:lnTo>
                  <a:lnTo>
                    <a:pt x="361" y="250"/>
                  </a:lnTo>
                  <a:lnTo>
                    <a:pt x="362" y="252"/>
                  </a:lnTo>
                  <a:lnTo>
                    <a:pt x="364" y="253"/>
                  </a:lnTo>
                  <a:lnTo>
                    <a:pt x="366" y="253"/>
                  </a:lnTo>
                  <a:lnTo>
                    <a:pt x="366" y="255"/>
                  </a:lnTo>
                  <a:lnTo>
                    <a:pt x="364" y="257"/>
                  </a:lnTo>
                  <a:lnTo>
                    <a:pt x="361" y="257"/>
                  </a:lnTo>
                  <a:lnTo>
                    <a:pt x="361" y="258"/>
                  </a:lnTo>
                  <a:lnTo>
                    <a:pt x="362" y="260"/>
                  </a:lnTo>
                  <a:lnTo>
                    <a:pt x="362" y="263"/>
                  </a:lnTo>
                  <a:lnTo>
                    <a:pt x="362" y="265"/>
                  </a:lnTo>
                  <a:lnTo>
                    <a:pt x="361" y="266"/>
                  </a:lnTo>
                  <a:lnTo>
                    <a:pt x="361" y="268"/>
                  </a:lnTo>
                  <a:lnTo>
                    <a:pt x="359" y="266"/>
                  </a:lnTo>
                  <a:lnTo>
                    <a:pt x="357" y="266"/>
                  </a:lnTo>
                  <a:lnTo>
                    <a:pt x="356" y="265"/>
                  </a:lnTo>
                  <a:lnTo>
                    <a:pt x="356" y="263"/>
                  </a:lnTo>
                  <a:lnTo>
                    <a:pt x="356" y="262"/>
                  </a:lnTo>
                  <a:lnTo>
                    <a:pt x="354" y="262"/>
                  </a:lnTo>
                  <a:lnTo>
                    <a:pt x="353" y="262"/>
                  </a:lnTo>
                  <a:lnTo>
                    <a:pt x="351" y="260"/>
                  </a:lnTo>
                  <a:lnTo>
                    <a:pt x="353" y="258"/>
                  </a:lnTo>
                  <a:lnTo>
                    <a:pt x="353" y="257"/>
                  </a:lnTo>
                  <a:lnTo>
                    <a:pt x="351" y="255"/>
                  </a:lnTo>
                  <a:lnTo>
                    <a:pt x="349" y="253"/>
                  </a:lnTo>
                  <a:lnTo>
                    <a:pt x="348" y="252"/>
                  </a:lnTo>
                  <a:lnTo>
                    <a:pt x="346" y="252"/>
                  </a:lnTo>
                  <a:lnTo>
                    <a:pt x="343" y="252"/>
                  </a:lnTo>
                  <a:lnTo>
                    <a:pt x="343" y="253"/>
                  </a:lnTo>
                  <a:lnTo>
                    <a:pt x="341" y="253"/>
                  </a:lnTo>
                  <a:lnTo>
                    <a:pt x="340" y="253"/>
                  </a:lnTo>
                  <a:lnTo>
                    <a:pt x="340" y="255"/>
                  </a:lnTo>
                  <a:lnTo>
                    <a:pt x="341" y="257"/>
                  </a:lnTo>
                  <a:lnTo>
                    <a:pt x="335" y="262"/>
                  </a:lnTo>
                  <a:lnTo>
                    <a:pt x="330" y="265"/>
                  </a:lnTo>
                  <a:lnTo>
                    <a:pt x="327" y="266"/>
                  </a:lnTo>
                  <a:lnTo>
                    <a:pt x="327" y="268"/>
                  </a:lnTo>
                  <a:lnTo>
                    <a:pt x="327" y="270"/>
                  </a:lnTo>
                  <a:lnTo>
                    <a:pt x="328" y="271"/>
                  </a:lnTo>
                  <a:lnTo>
                    <a:pt x="328" y="273"/>
                  </a:lnTo>
                  <a:lnTo>
                    <a:pt x="327" y="273"/>
                  </a:lnTo>
                  <a:lnTo>
                    <a:pt x="323" y="281"/>
                  </a:lnTo>
                  <a:lnTo>
                    <a:pt x="323" y="283"/>
                  </a:lnTo>
                  <a:lnTo>
                    <a:pt x="323" y="291"/>
                  </a:lnTo>
                  <a:lnTo>
                    <a:pt x="325" y="294"/>
                  </a:lnTo>
                  <a:lnTo>
                    <a:pt x="325" y="299"/>
                  </a:lnTo>
                  <a:lnTo>
                    <a:pt x="323" y="301"/>
                  </a:lnTo>
                  <a:lnTo>
                    <a:pt x="317" y="304"/>
                  </a:lnTo>
                  <a:lnTo>
                    <a:pt x="314" y="305"/>
                  </a:lnTo>
                  <a:lnTo>
                    <a:pt x="312" y="307"/>
                  </a:lnTo>
                  <a:lnTo>
                    <a:pt x="312" y="309"/>
                  </a:lnTo>
                  <a:lnTo>
                    <a:pt x="314" y="318"/>
                  </a:lnTo>
                  <a:lnTo>
                    <a:pt x="314" y="322"/>
                  </a:lnTo>
                  <a:lnTo>
                    <a:pt x="314" y="323"/>
                  </a:lnTo>
                  <a:lnTo>
                    <a:pt x="309" y="330"/>
                  </a:lnTo>
                  <a:lnTo>
                    <a:pt x="307" y="332"/>
                  </a:lnTo>
                  <a:lnTo>
                    <a:pt x="307" y="333"/>
                  </a:lnTo>
                  <a:lnTo>
                    <a:pt x="309" y="335"/>
                  </a:lnTo>
                  <a:lnTo>
                    <a:pt x="309" y="336"/>
                  </a:lnTo>
                  <a:lnTo>
                    <a:pt x="309" y="338"/>
                  </a:lnTo>
                  <a:lnTo>
                    <a:pt x="310" y="340"/>
                  </a:lnTo>
                  <a:lnTo>
                    <a:pt x="310" y="341"/>
                  </a:lnTo>
                  <a:lnTo>
                    <a:pt x="310" y="343"/>
                  </a:lnTo>
                  <a:lnTo>
                    <a:pt x="312" y="343"/>
                  </a:lnTo>
                  <a:lnTo>
                    <a:pt x="314" y="345"/>
                  </a:lnTo>
                  <a:lnTo>
                    <a:pt x="320" y="345"/>
                  </a:lnTo>
                  <a:lnTo>
                    <a:pt x="320" y="348"/>
                  </a:lnTo>
                  <a:lnTo>
                    <a:pt x="320" y="349"/>
                  </a:lnTo>
                  <a:lnTo>
                    <a:pt x="323" y="354"/>
                  </a:lnTo>
                  <a:lnTo>
                    <a:pt x="323" y="358"/>
                  </a:lnTo>
                  <a:lnTo>
                    <a:pt x="325" y="359"/>
                  </a:lnTo>
                  <a:lnTo>
                    <a:pt x="323" y="359"/>
                  </a:lnTo>
                  <a:lnTo>
                    <a:pt x="322" y="359"/>
                  </a:lnTo>
                  <a:lnTo>
                    <a:pt x="320" y="362"/>
                  </a:lnTo>
                  <a:lnTo>
                    <a:pt x="312" y="367"/>
                  </a:lnTo>
                  <a:lnTo>
                    <a:pt x="310" y="369"/>
                  </a:lnTo>
                  <a:lnTo>
                    <a:pt x="310" y="371"/>
                  </a:lnTo>
                  <a:lnTo>
                    <a:pt x="307" y="369"/>
                  </a:lnTo>
                  <a:lnTo>
                    <a:pt x="304" y="364"/>
                  </a:lnTo>
                  <a:lnTo>
                    <a:pt x="302" y="364"/>
                  </a:lnTo>
                  <a:lnTo>
                    <a:pt x="301" y="362"/>
                  </a:lnTo>
                  <a:lnTo>
                    <a:pt x="299" y="362"/>
                  </a:lnTo>
                  <a:lnTo>
                    <a:pt x="297" y="362"/>
                  </a:lnTo>
                  <a:lnTo>
                    <a:pt x="296" y="362"/>
                  </a:lnTo>
                  <a:lnTo>
                    <a:pt x="294" y="364"/>
                  </a:lnTo>
                  <a:lnTo>
                    <a:pt x="292" y="364"/>
                  </a:lnTo>
                  <a:lnTo>
                    <a:pt x="292" y="366"/>
                  </a:lnTo>
                  <a:lnTo>
                    <a:pt x="289" y="362"/>
                  </a:lnTo>
                  <a:lnTo>
                    <a:pt x="288" y="362"/>
                  </a:lnTo>
                  <a:lnTo>
                    <a:pt x="286" y="361"/>
                  </a:lnTo>
                  <a:lnTo>
                    <a:pt x="284" y="361"/>
                  </a:lnTo>
                  <a:lnTo>
                    <a:pt x="283" y="359"/>
                  </a:lnTo>
                  <a:lnTo>
                    <a:pt x="279" y="359"/>
                  </a:lnTo>
                  <a:lnTo>
                    <a:pt x="276" y="358"/>
                  </a:lnTo>
                  <a:lnTo>
                    <a:pt x="275" y="354"/>
                  </a:lnTo>
                  <a:lnTo>
                    <a:pt x="263" y="348"/>
                  </a:lnTo>
                  <a:lnTo>
                    <a:pt x="262" y="348"/>
                  </a:lnTo>
                  <a:lnTo>
                    <a:pt x="260" y="346"/>
                  </a:lnTo>
                  <a:lnTo>
                    <a:pt x="257" y="346"/>
                  </a:lnTo>
                  <a:lnTo>
                    <a:pt x="250" y="341"/>
                  </a:lnTo>
                  <a:lnTo>
                    <a:pt x="249" y="340"/>
                  </a:lnTo>
                  <a:lnTo>
                    <a:pt x="247" y="338"/>
                  </a:lnTo>
                  <a:lnTo>
                    <a:pt x="247" y="336"/>
                  </a:lnTo>
                  <a:lnTo>
                    <a:pt x="245" y="335"/>
                  </a:lnTo>
                  <a:lnTo>
                    <a:pt x="245" y="333"/>
                  </a:lnTo>
                  <a:lnTo>
                    <a:pt x="245" y="332"/>
                  </a:lnTo>
                  <a:lnTo>
                    <a:pt x="244" y="330"/>
                  </a:lnTo>
                  <a:lnTo>
                    <a:pt x="242" y="328"/>
                  </a:lnTo>
                  <a:lnTo>
                    <a:pt x="240" y="328"/>
                  </a:lnTo>
                  <a:lnTo>
                    <a:pt x="237" y="328"/>
                  </a:lnTo>
                  <a:lnTo>
                    <a:pt x="231" y="327"/>
                  </a:lnTo>
                  <a:lnTo>
                    <a:pt x="229" y="327"/>
                  </a:lnTo>
                  <a:lnTo>
                    <a:pt x="229" y="328"/>
                  </a:lnTo>
                  <a:lnTo>
                    <a:pt x="227" y="328"/>
                  </a:lnTo>
                  <a:lnTo>
                    <a:pt x="223" y="333"/>
                  </a:lnTo>
                  <a:lnTo>
                    <a:pt x="221" y="333"/>
                  </a:lnTo>
                  <a:lnTo>
                    <a:pt x="221" y="332"/>
                  </a:lnTo>
                  <a:lnTo>
                    <a:pt x="219" y="332"/>
                  </a:lnTo>
                  <a:lnTo>
                    <a:pt x="218" y="330"/>
                  </a:lnTo>
                  <a:lnTo>
                    <a:pt x="214" y="330"/>
                  </a:lnTo>
                  <a:lnTo>
                    <a:pt x="213" y="328"/>
                  </a:lnTo>
                  <a:lnTo>
                    <a:pt x="211" y="328"/>
                  </a:lnTo>
                  <a:lnTo>
                    <a:pt x="213" y="328"/>
                  </a:lnTo>
                  <a:lnTo>
                    <a:pt x="214" y="328"/>
                  </a:lnTo>
                  <a:lnTo>
                    <a:pt x="216" y="330"/>
                  </a:lnTo>
                  <a:lnTo>
                    <a:pt x="219" y="330"/>
                  </a:lnTo>
                  <a:lnTo>
                    <a:pt x="218" y="330"/>
                  </a:lnTo>
                  <a:lnTo>
                    <a:pt x="218" y="328"/>
                  </a:lnTo>
                  <a:lnTo>
                    <a:pt x="216" y="328"/>
                  </a:lnTo>
                  <a:lnTo>
                    <a:pt x="216" y="327"/>
                  </a:lnTo>
                  <a:lnTo>
                    <a:pt x="214" y="327"/>
                  </a:lnTo>
                  <a:lnTo>
                    <a:pt x="216" y="327"/>
                  </a:lnTo>
                  <a:lnTo>
                    <a:pt x="221" y="325"/>
                  </a:lnTo>
                  <a:lnTo>
                    <a:pt x="223" y="323"/>
                  </a:lnTo>
                  <a:lnTo>
                    <a:pt x="229" y="320"/>
                  </a:lnTo>
                  <a:lnTo>
                    <a:pt x="226" y="314"/>
                  </a:lnTo>
                  <a:lnTo>
                    <a:pt x="224" y="309"/>
                  </a:lnTo>
                  <a:lnTo>
                    <a:pt x="226" y="309"/>
                  </a:lnTo>
                  <a:lnTo>
                    <a:pt x="226" y="307"/>
                  </a:lnTo>
                  <a:lnTo>
                    <a:pt x="224" y="305"/>
                  </a:lnTo>
                  <a:lnTo>
                    <a:pt x="226" y="307"/>
                  </a:lnTo>
                  <a:lnTo>
                    <a:pt x="224" y="309"/>
                  </a:lnTo>
                  <a:lnTo>
                    <a:pt x="223" y="307"/>
                  </a:lnTo>
                  <a:lnTo>
                    <a:pt x="219" y="304"/>
                  </a:lnTo>
                  <a:lnTo>
                    <a:pt x="219" y="302"/>
                  </a:lnTo>
                  <a:lnTo>
                    <a:pt x="213" y="301"/>
                  </a:lnTo>
                  <a:lnTo>
                    <a:pt x="201" y="296"/>
                  </a:lnTo>
                  <a:lnTo>
                    <a:pt x="200" y="294"/>
                  </a:lnTo>
                  <a:lnTo>
                    <a:pt x="200" y="292"/>
                  </a:lnTo>
                  <a:lnTo>
                    <a:pt x="198" y="291"/>
                  </a:lnTo>
                  <a:lnTo>
                    <a:pt x="195" y="288"/>
                  </a:lnTo>
                  <a:lnTo>
                    <a:pt x="193" y="286"/>
                  </a:lnTo>
                  <a:lnTo>
                    <a:pt x="192" y="286"/>
                  </a:lnTo>
                  <a:lnTo>
                    <a:pt x="188" y="286"/>
                  </a:lnTo>
                  <a:lnTo>
                    <a:pt x="187" y="286"/>
                  </a:lnTo>
                  <a:lnTo>
                    <a:pt x="185" y="284"/>
                  </a:lnTo>
                  <a:lnTo>
                    <a:pt x="183" y="279"/>
                  </a:lnTo>
                  <a:lnTo>
                    <a:pt x="180" y="273"/>
                  </a:lnTo>
                  <a:lnTo>
                    <a:pt x="179" y="271"/>
                  </a:lnTo>
                  <a:lnTo>
                    <a:pt x="177" y="270"/>
                  </a:lnTo>
                  <a:lnTo>
                    <a:pt x="177" y="266"/>
                  </a:lnTo>
                  <a:lnTo>
                    <a:pt x="175" y="263"/>
                  </a:lnTo>
                  <a:lnTo>
                    <a:pt x="175" y="255"/>
                  </a:lnTo>
                  <a:lnTo>
                    <a:pt x="175" y="253"/>
                  </a:lnTo>
                  <a:lnTo>
                    <a:pt x="174" y="253"/>
                  </a:lnTo>
                  <a:lnTo>
                    <a:pt x="167" y="253"/>
                  </a:lnTo>
                  <a:lnTo>
                    <a:pt x="166" y="253"/>
                  </a:lnTo>
                  <a:lnTo>
                    <a:pt x="164" y="253"/>
                  </a:lnTo>
                  <a:lnTo>
                    <a:pt x="128" y="224"/>
                  </a:lnTo>
                  <a:lnTo>
                    <a:pt x="117" y="216"/>
                  </a:lnTo>
                  <a:lnTo>
                    <a:pt x="117" y="214"/>
                  </a:lnTo>
                  <a:lnTo>
                    <a:pt x="114" y="211"/>
                  </a:lnTo>
                  <a:lnTo>
                    <a:pt x="114" y="210"/>
                  </a:lnTo>
                  <a:lnTo>
                    <a:pt x="114" y="206"/>
                  </a:lnTo>
                  <a:lnTo>
                    <a:pt x="112" y="205"/>
                  </a:lnTo>
                  <a:lnTo>
                    <a:pt x="109" y="203"/>
                  </a:lnTo>
                  <a:lnTo>
                    <a:pt x="107" y="201"/>
                  </a:lnTo>
                  <a:lnTo>
                    <a:pt x="105" y="201"/>
                  </a:lnTo>
                  <a:lnTo>
                    <a:pt x="105" y="200"/>
                  </a:lnTo>
                  <a:lnTo>
                    <a:pt x="104" y="198"/>
                  </a:lnTo>
                  <a:lnTo>
                    <a:pt x="102" y="197"/>
                  </a:lnTo>
                  <a:lnTo>
                    <a:pt x="99" y="193"/>
                  </a:lnTo>
                  <a:lnTo>
                    <a:pt x="94" y="192"/>
                  </a:lnTo>
                  <a:lnTo>
                    <a:pt x="94" y="190"/>
                  </a:lnTo>
                  <a:lnTo>
                    <a:pt x="92" y="188"/>
                  </a:lnTo>
                  <a:lnTo>
                    <a:pt x="91" y="187"/>
                  </a:lnTo>
                  <a:lnTo>
                    <a:pt x="91" y="185"/>
                  </a:lnTo>
                  <a:lnTo>
                    <a:pt x="89" y="184"/>
                  </a:lnTo>
                  <a:lnTo>
                    <a:pt x="88" y="184"/>
                  </a:lnTo>
                  <a:lnTo>
                    <a:pt x="86" y="184"/>
                  </a:lnTo>
                  <a:lnTo>
                    <a:pt x="84" y="184"/>
                  </a:lnTo>
                  <a:lnTo>
                    <a:pt x="83" y="184"/>
                  </a:lnTo>
                  <a:lnTo>
                    <a:pt x="79" y="177"/>
                  </a:lnTo>
                  <a:lnTo>
                    <a:pt x="79" y="175"/>
                  </a:lnTo>
                  <a:lnTo>
                    <a:pt x="76" y="175"/>
                  </a:lnTo>
                  <a:lnTo>
                    <a:pt x="75" y="175"/>
                  </a:lnTo>
                  <a:lnTo>
                    <a:pt x="75" y="174"/>
                  </a:lnTo>
                  <a:lnTo>
                    <a:pt x="70" y="172"/>
                  </a:lnTo>
                  <a:lnTo>
                    <a:pt x="70" y="170"/>
                  </a:lnTo>
                  <a:lnTo>
                    <a:pt x="68" y="169"/>
                  </a:lnTo>
                  <a:lnTo>
                    <a:pt x="68" y="167"/>
                  </a:lnTo>
                  <a:lnTo>
                    <a:pt x="66" y="166"/>
                  </a:lnTo>
                  <a:lnTo>
                    <a:pt x="63" y="161"/>
                  </a:lnTo>
                  <a:lnTo>
                    <a:pt x="60" y="159"/>
                  </a:lnTo>
                  <a:lnTo>
                    <a:pt x="58" y="159"/>
                  </a:lnTo>
                  <a:lnTo>
                    <a:pt x="57" y="156"/>
                  </a:lnTo>
                  <a:lnTo>
                    <a:pt x="55" y="154"/>
                  </a:lnTo>
                  <a:lnTo>
                    <a:pt x="53" y="153"/>
                  </a:lnTo>
                  <a:lnTo>
                    <a:pt x="52" y="151"/>
                  </a:lnTo>
                  <a:lnTo>
                    <a:pt x="52" y="149"/>
                  </a:lnTo>
                  <a:lnTo>
                    <a:pt x="52" y="146"/>
                  </a:lnTo>
                  <a:lnTo>
                    <a:pt x="52" y="144"/>
                  </a:lnTo>
                  <a:lnTo>
                    <a:pt x="53" y="144"/>
                  </a:lnTo>
                  <a:lnTo>
                    <a:pt x="53" y="141"/>
                  </a:lnTo>
                  <a:lnTo>
                    <a:pt x="55" y="140"/>
                  </a:lnTo>
                  <a:lnTo>
                    <a:pt x="55" y="138"/>
                  </a:lnTo>
                  <a:lnTo>
                    <a:pt x="53" y="136"/>
                  </a:lnTo>
                  <a:lnTo>
                    <a:pt x="52" y="135"/>
                  </a:lnTo>
                  <a:lnTo>
                    <a:pt x="50" y="135"/>
                  </a:lnTo>
                  <a:lnTo>
                    <a:pt x="48" y="133"/>
                  </a:lnTo>
                  <a:lnTo>
                    <a:pt x="47" y="130"/>
                  </a:lnTo>
                  <a:lnTo>
                    <a:pt x="47" y="128"/>
                  </a:lnTo>
                  <a:lnTo>
                    <a:pt x="47" y="127"/>
                  </a:lnTo>
                  <a:lnTo>
                    <a:pt x="47" y="125"/>
                  </a:lnTo>
                  <a:lnTo>
                    <a:pt x="45" y="125"/>
                  </a:lnTo>
                  <a:lnTo>
                    <a:pt x="45" y="123"/>
                  </a:lnTo>
                  <a:lnTo>
                    <a:pt x="45" y="122"/>
                  </a:lnTo>
                  <a:lnTo>
                    <a:pt x="47" y="120"/>
                  </a:lnTo>
                  <a:lnTo>
                    <a:pt x="45" y="120"/>
                  </a:lnTo>
                  <a:lnTo>
                    <a:pt x="45" y="118"/>
                  </a:lnTo>
                  <a:lnTo>
                    <a:pt x="44" y="115"/>
                  </a:lnTo>
                  <a:lnTo>
                    <a:pt x="39" y="114"/>
                  </a:lnTo>
                  <a:lnTo>
                    <a:pt x="37" y="112"/>
                  </a:lnTo>
                  <a:lnTo>
                    <a:pt x="35" y="112"/>
                  </a:lnTo>
                  <a:lnTo>
                    <a:pt x="32" y="102"/>
                  </a:lnTo>
                  <a:lnTo>
                    <a:pt x="27" y="96"/>
                  </a:lnTo>
                  <a:lnTo>
                    <a:pt x="26" y="94"/>
                  </a:lnTo>
                  <a:lnTo>
                    <a:pt x="26" y="92"/>
                  </a:lnTo>
                  <a:lnTo>
                    <a:pt x="24" y="91"/>
                  </a:lnTo>
                  <a:lnTo>
                    <a:pt x="24" y="89"/>
                  </a:lnTo>
                  <a:lnTo>
                    <a:pt x="22" y="89"/>
                  </a:lnTo>
                  <a:lnTo>
                    <a:pt x="21" y="89"/>
                  </a:lnTo>
                  <a:lnTo>
                    <a:pt x="21" y="88"/>
                  </a:lnTo>
                  <a:lnTo>
                    <a:pt x="19" y="86"/>
                  </a:lnTo>
                  <a:lnTo>
                    <a:pt x="18" y="83"/>
                  </a:lnTo>
                  <a:lnTo>
                    <a:pt x="14" y="79"/>
                  </a:lnTo>
                  <a:lnTo>
                    <a:pt x="11" y="76"/>
                  </a:lnTo>
                  <a:lnTo>
                    <a:pt x="9" y="75"/>
                  </a:lnTo>
                  <a:lnTo>
                    <a:pt x="8" y="73"/>
                  </a:lnTo>
                  <a:lnTo>
                    <a:pt x="6" y="71"/>
                  </a:lnTo>
                  <a:lnTo>
                    <a:pt x="3" y="68"/>
                  </a:lnTo>
                  <a:lnTo>
                    <a:pt x="1" y="65"/>
                  </a:lnTo>
                  <a:lnTo>
                    <a:pt x="0" y="60"/>
                  </a:lnTo>
                  <a:lnTo>
                    <a:pt x="0" y="57"/>
                  </a:lnTo>
                  <a:lnTo>
                    <a:pt x="0" y="55"/>
                  </a:lnTo>
                  <a:lnTo>
                    <a:pt x="1" y="53"/>
                  </a:lnTo>
                  <a:lnTo>
                    <a:pt x="1" y="52"/>
                  </a:lnTo>
                  <a:lnTo>
                    <a:pt x="0" y="42"/>
                  </a:lnTo>
                  <a:lnTo>
                    <a:pt x="0" y="40"/>
                  </a:lnTo>
                  <a:lnTo>
                    <a:pt x="1" y="40"/>
                  </a:lnTo>
                  <a:lnTo>
                    <a:pt x="1" y="39"/>
                  </a:lnTo>
                  <a:lnTo>
                    <a:pt x="1" y="36"/>
                  </a:lnTo>
                  <a:lnTo>
                    <a:pt x="3" y="34"/>
                  </a:lnTo>
                  <a:lnTo>
                    <a:pt x="3" y="26"/>
                  </a:lnTo>
                  <a:lnTo>
                    <a:pt x="3" y="24"/>
                  </a:lnTo>
                  <a:lnTo>
                    <a:pt x="3" y="22"/>
                  </a:lnTo>
                  <a:lnTo>
                    <a:pt x="3" y="21"/>
                  </a:lnTo>
                  <a:lnTo>
                    <a:pt x="6" y="21"/>
                  </a:lnTo>
                  <a:lnTo>
                    <a:pt x="6" y="19"/>
                  </a:lnTo>
                  <a:lnTo>
                    <a:pt x="6" y="18"/>
                  </a:lnTo>
                  <a:lnTo>
                    <a:pt x="8" y="18"/>
                  </a:lnTo>
                  <a:lnTo>
                    <a:pt x="9" y="18"/>
                  </a:lnTo>
                  <a:lnTo>
                    <a:pt x="11" y="18"/>
                  </a:lnTo>
                  <a:lnTo>
                    <a:pt x="13" y="18"/>
                  </a:lnTo>
                  <a:lnTo>
                    <a:pt x="14" y="16"/>
                  </a:lnTo>
                  <a:lnTo>
                    <a:pt x="14" y="18"/>
                  </a:lnTo>
                  <a:lnTo>
                    <a:pt x="14" y="19"/>
                  </a:lnTo>
                  <a:lnTo>
                    <a:pt x="16" y="19"/>
                  </a:lnTo>
                  <a:lnTo>
                    <a:pt x="18" y="19"/>
                  </a:lnTo>
                  <a:lnTo>
                    <a:pt x="19" y="19"/>
                  </a:lnTo>
                  <a:lnTo>
                    <a:pt x="21" y="18"/>
                  </a:lnTo>
                  <a:lnTo>
                    <a:pt x="22" y="19"/>
                  </a:lnTo>
                  <a:lnTo>
                    <a:pt x="24" y="22"/>
                  </a:lnTo>
                  <a:lnTo>
                    <a:pt x="26" y="22"/>
                  </a:lnTo>
                  <a:lnTo>
                    <a:pt x="27" y="22"/>
                  </a:lnTo>
                  <a:lnTo>
                    <a:pt x="29" y="24"/>
                  </a:lnTo>
                  <a:lnTo>
                    <a:pt x="31" y="27"/>
                  </a:lnTo>
                  <a:lnTo>
                    <a:pt x="34" y="32"/>
                  </a:lnTo>
                  <a:lnTo>
                    <a:pt x="35" y="34"/>
                  </a:lnTo>
                  <a:lnTo>
                    <a:pt x="37" y="34"/>
                  </a:lnTo>
                  <a:lnTo>
                    <a:pt x="39" y="36"/>
                  </a:lnTo>
                  <a:lnTo>
                    <a:pt x="42" y="36"/>
                  </a:lnTo>
                  <a:lnTo>
                    <a:pt x="44" y="39"/>
                  </a:lnTo>
                  <a:lnTo>
                    <a:pt x="45" y="40"/>
                  </a:lnTo>
                  <a:lnTo>
                    <a:pt x="45" y="42"/>
                  </a:lnTo>
                  <a:lnTo>
                    <a:pt x="47" y="42"/>
                  </a:lnTo>
                  <a:lnTo>
                    <a:pt x="48" y="42"/>
                  </a:lnTo>
                  <a:lnTo>
                    <a:pt x="50" y="44"/>
                  </a:lnTo>
                  <a:lnTo>
                    <a:pt x="53" y="47"/>
                  </a:lnTo>
                  <a:lnTo>
                    <a:pt x="55" y="47"/>
                  </a:lnTo>
                  <a:lnTo>
                    <a:pt x="55" y="45"/>
                  </a:lnTo>
                  <a:lnTo>
                    <a:pt x="57" y="45"/>
                  </a:lnTo>
                  <a:lnTo>
                    <a:pt x="58" y="45"/>
                  </a:lnTo>
                  <a:lnTo>
                    <a:pt x="60" y="45"/>
                  </a:lnTo>
                  <a:lnTo>
                    <a:pt x="61" y="45"/>
                  </a:lnTo>
                  <a:lnTo>
                    <a:pt x="61" y="44"/>
                  </a:lnTo>
                  <a:lnTo>
                    <a:pt x="61" y="42"/>
                  </a:lnTo>
                  <a:lnTo>
                    <a:pt x="61" y="40"/>
                  </a:lnTo>
                  <a:lnTo>
                    <a:pt x="61" y="39"/>
                  </a:lnTo>
                  <a:lnTo>
                    <a:pt x="63" y="39"/>
                  </a:lnTo>
                  <a:lnTo>
                    <a:pt x="63" y="37"/>
                  </a:lnTo>
                  <a:lnTo>
                    <a:pt x="65" y="37"/>
                  </a:lnTo>
                  <a:lnTo>
                    <a:pt x="65" y="36"/>
                  </a:lnTo>
                  <a:lnTo>
                    <a:pt x="65" y="34"/>
                  </a:lnTo>
                  <a:lnTo>
                    <a:pt x="65" y="32"/>
                  </a:lnTo>
                  <a:lnTo>
                    <a:pt x="66" y="32"/>
                  </a:lnTo>
                  <a:lnTo>
                    <a:pt x="66" y="31"/>
                  </a:lnTo>
                  <a:lnTo>
                    <a:pt x="65" y="31"/>
                  </a:lnTo>
                  <a:lnTo>
                    <a:pt x="65" y="29"/>
                  </a:lnTo>
                  <a:lnTo>
                    <a:pt x="65" y="27"/>
                  </a:lnTo>
                  <a:lnTo>
                    <a:pt x="66" y="27"/>
                  </a:lnTo>
                  <a:lnTo>
                    <a:pt x="68" y="26"/>
                  </a:lnTo>
                  <a:lnTo>
                    <a:pt x="70" y="26"/>
                  </a:lnTo>
                  <a:lnTo>
                    <a:pt x="71" y="24"/>
                  </a:lnTo>
                  <a:lnTo>
                    <a:pt x="73" y="21"/>
                  </a:lnTo>
                  <a:lnTo>
                    <a:pt x="71" y="18"/>
                  </a:lnTo>
                  <a:lnTo>
                    <a:pt x="73" y="16"/>
                  </a:lnTo>
                  <a:lnTo>
                    <a:pt x="73" y="14"/>
                  </a:lnTo>
                  <a:lnTo>
                    <a:pt x="73" y="13"/>
                  </a:lnTo>
                  <a:lnTo>
                    <a:pt x="75" y="13"/>
                  </a:lnTo>
                  <a:lnTo>
                    <a:pt x="78" y="11"/>
                  </a:lnTo>
                  <a:lnTo>
                    <a:pt x="79" y="11"/>
                  </a:lnTo>
                  <a:lnTo>
                    <a:pt x="83" y="11"/>
                  </a:lnTo>
                  <a:lnTo>
                    <a:pt x="84" y="9"/>
                  </a:lnTo>
                  <a:lnTo>
                    <a:pt x="86" y="11"/>
                  </a:lnTo>
                  <a:lnTo>
                    <a:pt x="88" y="13"/>
                  </a:lnTo>
                  <a:lnTo>
                    <a:pt x="89" y="13"/>
                  </a:lnTo>
                  <a:lnTo>
                    <a:pt x="91" y="13"/>
                  </a:lnTo>
                  <a:lnTo>
                    <a:pt x="92" y="13"/>
                  </a:lnTo>
                  <a:lnTo>
                    <a:pt x="94" y="14"/>
                  </a:lnTo>
                  <a:lnTo>
                    <a:pt x="96" y="13"/>
                  </a:lnTo>
                  <a:lnTo>
                    <a:pt x="97" y="13"/>
                  </a:lnTo>
                  <a:lnTo>
                    <a:pt x="99" y="13"/>
                  </a:lnTo>
                  <a:lnTo>
                    <a:pt x="101" y="13"/>
                  </a:lnTo>
                  <a:lnTo>
                    <a:pt x="102" y="14"/>
                  </a:lnTo>
                  <a:lnTo>
                    <a:pt x="104" y="14"/>
                  </a:lnTo>
                  <a:lnTo>
                    <a:pt x="105" y="14"/>
                  </a:lnTo>
                  <a:lnTo>
                    <a:pt x="107" y="14"/>
                  </a:lnTo>
                  <a:lnTo>
                    <a:pt x="109" y="13"/>
                  </a:lnTo>
                  <a:lnTo>
                    <a:pt x="109" y="11"/>
                  </a:lnTo>
                  <a:lnTo>
                    <a:pt x="107" y="9"/>
                  </a:lnTo>
                  <a:lnTo>
                    <a:pt x="109" y="9"/>
                  </a:lnTo>
                  <a:lnTo>
                    <a:pt x="109" y="8"/>
                  </a:lnTo>
                  <a:lnTo>
                    <a:pt x="110" y="8"/>
                  </a:lnTo>
                  <a:lnTo>
                    <a:pt x="110" y="6"/>
                  </a:lnTo>
                  <a:lnTo>
                    <a:pt x="112" y="6"/>
                  </a:lnTo>
                  <a:lnTo>
                    <a:pt x="112" y="8"/>
                  </a:lnTo>
                  <a:lnTo>
                    <a:pt x="112" y="6"/>
                  </a:lnTo>
                  <a:lnTo>
                    <a:pt x="114" y="5"/>
                  </a:lnTo>
                  <a:lnTo>
                    <a:pt x="115" y="5"/>
                  </a:lnTo>
                  <a:lnTo>
                    <a:pt x="115" y="3"/>
                  </a:lnTo>
                  <a:lnTo>
                    <a:pt x="115" y="1"/>
                  </a:lnTo>
                  <a:lnTo>
                    <a:pt x="117" y="0"/>
                  </a:lnTo>
                  <a:lnTo>
                    <a:pt x="118" y="1"/>
                  </a:lnTo>
                  <a:lnTo>
                    <a:pt x="118" y="3"/>
                  </a:lnTo>
                  <a:lnTo>
                    <a:pt x="120" y="3"/>
                  </a:lnTo>
                  <a:lnTo>
                    <a:pt x="118" y="5"/>
                  </a:lnTo>
                  <a:lnTo>
                    <a:pt x="117" y="6"/>
                  </a:lnTo>
                  <a:lnTo>
                    <a:pt x="118" y="6"/>
                  </a:lnTo>
                  <a:close/>
                </a:path>
              </a:pathLst>
            </a:custGeom>
            <a:solidFill>
              <a:srgbClr val="E5E5E5"/>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23" name="Freeform 12">
              <a:extLst>
                <a:ext uri="{FF2B5EF4-FFF2-40B4-BE49-F238E27FC236}">
                  <a16:creationId xmlns:a16="http://schemas.microsoft.com/office/drawing/2014/main" id="{5FA4AF31-3098-6AD3-8C05-505CF4B7B809}"/>
                </a:ext>
              </a:extLst>
            </p:cNvPr>
            <p:cNvSpPr>
              <a:spLocks noEditPoints="1"/>
            </p:cNvSpPr>
            <p:nvPr/>
          </p:nvSpPr>
          <p:spPr bwMode="auto">
            <a:xfrm>
              <a:off x="3534" y="3519"/>
              <a:ext cx="342" cy="289"/>
            </a:xfrm>
            <a:custGeom>
              <a:avLst/>
              <a:gdLst>
                <a:gd name="T0" fmla="*/ 215 w 342"/>
                <a:gd name="T1" fmla="*/ 14 h 289"/>
                <a:gd name="T2" fmla="*/ 234 w 342"/>
                <a:gd name="T3" fmla="*/ 21 h 289"/>
                <a:gd name="T4" fmla="*/ 262 w 342"/>
                <a:gd name="T5" fmla="*/ 35 h 289"/>
                <a:gd name="T6" fmla="*/ 283 w 342"/>
                <a:gd name="T7" fmla="*/ 50 h 289"/>
                <a:gd name="T8" fmla="*/ 295 w 342"/>
                <a:gd name="T9" fmla="*/ 60 h 289"/>
                <a:gd name="T10" fmla="*/ 290 w 342"/>
                <a:gd name="T11" fmla="*/ 73 h 289"/>
                <a:gd name="T12" fmla="*/ 283 w 342"/>
                <a:gd name="T13" fmla="*/ 89 h 289"/>
                <a:gd name="T14" fmla="*/ 281 w 342"/>
                <a:gd name="T15" fmla="*/ 105 h 289"/>
                <a:gd name="T16" fmla="*/ 295 w 342"/>
                <a:gd name="T17" fmla="*/ 112 h 289"/>
                <a:gd name="T18" fmla="*/ 316 w 342"/>
                <a:gd name="T19" fmla="*/ 118 h 289"/>
                <a:gd name="T20" fmla="*/ 332 w 342"/>
                <a:gd name="T21" fmla="*/ 133 h 289"/>
                <a:gd name="T22" fmla="*/ 327 w 342"/>
                <a:gd name="T23" fmla="*/ 151 h 289"/>
                <a:gd name="T24" fmla="*/ 338 w 342"/>
                <a:gd name="T25" fmla="*/ 166 h 289"/>
                <a:gd name="T26" fmla="*/ 330 w 342"/>
                <a:gd name="T27" fmla="*/ 180 h 289"/>
                <a:gd name="T28" fmla="*/ 317 w 342"/>
                <a:gd name="T29" fmla="*/ 200 h 289"/>
                <a:gd name="T30" fmla="*/ 301 w 342"/>
                <a:gd name="T31" fmla="*/ 197 h 289"/>
                <a:gd name="T32" fmla="*/ 288 w 342"/>
                <a:gd name="T33" fmla="*/ 218 h 289"/>
                <a:gd name="T34" fmla="*/ 280 w 342"/>
                <a:gd name="T35" fmla="*/ 236 h 289"/>
                <a:gd name="T36" fmla="*/ 281 w 342"/>
                <a:gd name="T37" fmla="*/ 252 h 289"/>
                <a:gd name="T38" fmla="*/ 291 w 342"/>
                <a:gd name="T39" fmla="*/ 268 h 289"/>
                <a:gd name="T40" fmla="*/ 285 w 342"/>
                <a:gd name="T41" fmla="*/ 284 h 289"/>
                <a:gd name="T42" fmla="*/ 267 w 342"/>
                <a:gd name="T43" fmla="*/ 284 h 289"/>
                <a:gd name="T44" fmla="*/ 249 w 342"/>
                <a:gd name="T45" fmla="*/ 284 h 289"/>
                <a:gd name="T46" fmla="*/ 236 w 342"/>
                <a:gd name="T47" fmla="*/ 268 h 289"/>
                <a:gd name="T48" fmla="*/ 221 w 342"/>
                <a:gd name="T49" fmla="*/ 258 h 289"/>
                <a:gd name="T50" fmla="*/ 199 w 342"/>
                <a:gd name="T51" fmla="*/ 245 h 289"/>
                <a:gd name="T52" fmla="*/ 194 w 342"/>
                <a:gd name="T53" fmla="*/ 221 h 289"/>
                <a:gd name="T54" fmla="*/ 197 w 342"/>
                <a:gd name="T55" fmla="*/ 200 h 289"/>
                <a:gd name="T56" fmla="*/ 187 w 342"/>
                <a:gd name="T57" fmla="*/ 198 h 289"/>
                <a:gd name="T58" fmla="*/ 169 w 342"/>
                <a:gd name="T59" fmla="*/ 218 h 289"/>
                <a:gd name="T60" fmla="*/ 140 w 342"/>
                <a:gd name="T61" fmla="*/ 216 h 289"/>
                <a:gd name="T62" fmla="*/ 133 w 342"/>
                <a:gd name="T63" fmla="*/ 203 h 289"/>
                <a:gd name="T64" fmla="*/ 133 w 342"/>
                <a:gd name="T65" fmla="*/ 192 h 289"/>
                <a:gd name="T66" fmla="*/ 138 w 342"/>
                <a:gd name="T67" fmla="*/ 170 h 289"/>
                <a:gd name="T68" fmla="*/ 129 w 342"/>
                <a:gd name="T69" fmla="*/ 162 h 289"/>
                <a:gd name="T70" fmla="*/ 107 w 342"/>
                <a:gd name="T71" fmla="*/ 157 h 289"/>
                <a:gd name="T72" fmla="*/ 93 w 342"/>
                <a:gd name="T73" fmla="*/ 159 h 289"/>
                <a:gd name="T74" fmla="*/ 90 w 342"/>
                <a:gd name="T75" fmla="*/ 138 h 289"/>
                <a:gd name="T76" fmla="*/ 72 w 342"/>
                <a:gd name="T77" fmla="*/ 131 h 289"/>
                <a:gd name="T78" fmla="*/ 57 w 342"/>
                <a:gd name="T79" fmla="*/ 110 h 289"/>
                <a:gd name="T80" fmla="*/ 39 w 342"/>
                <a:gd name="T81" fmla="*/ 91 h 289"/>
                <a:gd name="T82" fmla="*/ 20 w 342"/>
                <a:gd name="T83" fmla="*/ 96 h 289"/>
                <a:gd name="T84" fmla="*/ 2 w 342"/>
                <a:gd name="T85" fmla="*/ 76 h 289"/>
                <a:gd name="T86" fmla="*/ 2 w 342"/>
                <a:gd name="T87" fmla="*/ 50 h 289"/>
                <a:gd name="T88" fmla="*/ 36 w 342"/>
                <a:gd name="T89" fmla="*/ 22 h 289"/>
                <a:gd name="T90" fmla="*/ 62 w 342"/>
                <a:gd name="T91" fmla="*/ 9 h 289"/>
                <a:gd name="T92" fmla="*/ 65 w 342"/>
                <a:gd name="T93" fmla="*/ 9 h 289"/>
                <a:gd name="T94" fmla="*/ 77 w 342"/>
                <a:gd name="T95" fmla="*/ 18 h 289"/>
                <a:gd name="T96" fmla="*/ 101 w 342"/>
                <a:gd name="T97" fmla="*/ 22 h 289"/>
                <a:gd name="T98" fmla="*/ 119 w 342"/>
                <a:gd name="T99" fmla="*/ 35 h 289"/>
                <a:gd name="T100" fmla="*/ 135 w 342"/>
                <a:gd name="T101" fmla="*/ 31 h 289"/>
                <a:gd name="T102" fmla="*/ 158 w 342"/>
                <a:gd name="T103" fmla="*/ 31 h 289"/>
                <a:gd name="T104" fmla="*/ 161 w 342"/>
                <a:gd name="T105" fmla="*/ 45 h 289"/>
                <a:gd name="T106" fmla="*/ 148 w 342"/>
                <a:gd name="T107" fmla="*/ 60 h 289"/>
                <a:gd name="T108" fmla="*/ 155 w 342"/>
                <a:gd name="T109" fmla="*/ 52 h 289"/>
                <a:gd name="T110" fmla="*/ 161 w 342"/>
                <a:gd name="T111" fmla="*/ 55 h 289"/>
                <a:gd name="T112" fmla="*/ 163 w 342"/>
                <a:gd name="T113" fmla="*/ 40 h 289"/>
                <a:gd name="T114" fmla="*/ 158 w 342"/>
                <a:gd name="T115" fmla="*/ 21 h 289"/>
                <a:gd name="T116" fmla="*/ 173 w 342"/>
                <a:gd name="T117" fmla="*/ 16 h 289"/>
                <a:gd name="T118" fmla="*/ 186 w 342"/>
                <a:gd name="T119" fmla="*/ 8 h 289"/>
                <a:gd name="T120" fmla="*/ 208 w 342"/>
                <a:gd name="T121" fmla="*/ 8 h 289"/>
                <a:gd name="T122" fmla="*/ 218 w 342"/>
                <a:gd name="T123" fmla="*/ 9 h 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42" h="289">
                  <a:moveTo>
                    <a:pt x="208" y="9"/>
                  </a:moveTo>
                  <a:lnTo>
                    <a:pt x="208" y="11"/>
                  </a:lnTo>
                  <a:lnTo>
                    <a:pt x="210" y="11"/>
                  </a:lnTo>
                  <a:lnTo>
                    <a:pt x="208" y="11"/>
                  </a:lnTo>
                  <a:lnTo>
                    <a:pt x="207" y="11"/>
                  </a:lnTo>
                  <a:lnTo>
                    <a:pt x="205" y="9"/>
                  </a:lnTo>
                  <a:lnTo>
                    <a:pt x="203" y="9"/>
                  </a:lnTo>
                  <a:lnTo>
                    <a:pt x="203" y="11"/>
                  </a:lnTo>
                  <a:lnTo>
                    <a:pt x="205" y="13"/>
                  </a:lnTo>
                  <a:lnTo>
                    <a:pt x="207" y="13"/>
                  </a:lnTo>
                  <a:lnTo>
                    <a:pt x="208" y="13"/>
                  </a:lnTo>
                  <a:lnTo>
                    <a:pt x="210" y="13"/>
                  </a:lnTo>
                  <a:lnTo>
                    <a:pt x="212" y="13"/>
                  </a:lnTo>
                  <a:lnTo>
                    <a:pt x="213" y="13"/>
                  </a:lnTo>
                  <a:lnTo>
                    <a:pt x="215" y="13"/>
                  </a:lnTo>
                  <a:lnTo>
                    <a:pt x="215" y="14"/>
                  </a:lnTo>
                  <a:lnTo>
                    <a:pt x="216" y="16"/>
                  </a:lnTo>
                  <a:lnTo>
                    <a:pt x="220" y="13"/>
                  </a:lnTo>
                  <a:lnTo>
                    <a:pt x="223" y="9"/>
                  </a:lnTo>
                  <a:lnTo>
                    <a:pt x="225" y="9"/>
                  </a:lnTo>
                  <a:lnTo>
                    <a:pt x="225" y="8"/>
                  </a:lnTo>
                  <a:lnTo>
                    <a:pt x="225" y="5"/>
                  </a:lnTo>
                  <a:lnTo>
                    <a:pt x="226" y="5"/>
                  </a:lnTo>
                  <a:lnTo>
                    <a:pt x="226" y="3"/>
                  </a:lnTo>
                  <a:lnTo>
                    <a:pt x="228" y="3"/>
                  </a:lnTo>
                  <a:lnTo>
                    <a:pt x="228" y="5"/>
                  </a:lnTo>
                  <a:lnTo>
                    <a:pt x="228" y="6"/>
                  </a:lnTo>
                  <a:lnTo>
                    <a:pt x="231" y="6"/>
                  </a:lnTo>
                  <a:lnTo>
                    <a:pt x="233" y="11"/>
                  </a:lnTo>
                  <a:lnTo>
                    <a:pt x="233" y="13"/>
                  </a:lnTo>
                  <a:lnTo>
                    <a:pt x="229" y="16"/>
                  </a:lnTo>
                  <a:lnTo>
                    <a:pt x="234" y="21"/>
                  </a:lnTo>
                  <a:lnTo>
                    <a:pt x="234" y="22"/>
                  </a:lnTo>
                  <a:lnTo>
                    <a:pt x="234" y="24"/>
                  </a:lnTo>
                  <a:lnTo>
                    <a:pt x="234" y="27"/>
                  </a:lnTo>
                  <a:lnTo>
                    <a:pt x="236" y="29"/>
                  </a:lnTo>
                  <a:lnTo>
                    <a:pt x="238" y="29"/>
                  </a:lnTo>
                  <a:lnTo>
                    <a:pt x="239" y="29"/>
                  </a:lnTo>
                  <a:lnTo>
                    <a:pt x="241" y="27"/>
                  </a:lnTo>
                  <a:lnTo>
                    <a:pt x="244" y="31"/>
                  </a:lnTo>
                  <a:lnTo>
                    <a:pt x="242" y="35"/>
                  </a:lnTo>
                  <a:lnTo>
                    <a:pt x="244" y="37"/>
                  </a:lnTo>
                  <a:lnTo>
                    <a:pt x="246" y="35"/>
                  </a:lnTo>
                  <a:lnTo>
                    <a:pt x="249" y="37"/>
                  </a:lnTo>
                  <a:lnTo>
                    <a:pt x="252" y="37"/>
                  </a:lnTo>
                  <a:lnTo>
                    <a:pt x="254" y="35"/>
                  </a:lnTo>
                  <a:lnTo>
                    <a:pt x="260" y="37"/>
                  </a:lnTo>
                  <a:lnTo>
                    <a:pt x="262" y="35"/>
                  </a:lnTo>
                  <a:lnTo>
                    <a:pt x="264" y="34"/>
                  </a:lnTo>
                  <a:lnTo>
                    <a:pt x="265" y="34"/>
                  </a:lnTo>
                  <a:lnTo>
                    <a:pt x="265" y="32"/>
                  </a:lnTo>
                  <a:lnTo>
                    <a:pt x="267" y="32"/>
                  </a:lnTo>
                  <a:lnTo>
                    <a:pt x="268" y="34"/>
                  </a:lnTo>
                  <a:lnTo>
                    <a:pt x="270" y="35"/>
                  </a:lnTo>
                  <a:lnTo>
                    <a:pt x="272" y="37"/>
                  </a:lnTo>
                  <a:lnTo>
                    <a:pt x="272" y="42"/>
                  </a:lnTo>
                  <a:lnTo>
                    <a:pt x="272" y="44"/>
                  </a:lnTo>
                  <a:lnTo>
                    <a:pt x="273" y="44"/>
                  </a:lnTo>
                  <a:lnTo>
                    <a:pt x="277" y="47"/>
                  </a:lnTo>
                  <a:lnTo>
                    <a:pt x="280" y="47"/>
                  </a:lnTo>
                  <a:lnTo>
                    <a:pt x="280" y="48"/>
                  </a:lnTo>
                  <a:lnTo>
                    <a:pt x="280" y="50"/>
                  </a:lnTo>
                  <a:lnTo>
                    <a:pt x="281" y="50"/>
                  </a:lnTo>
                  <a:lnTo>
                    <a:pt x="283" y="50"/>
                  </a:lnTo>
                  <a:lnTo>
                    <a:pt x="285" y="50"/>
                  </a:lnTo>
                  <a:lnTo>
                    <a:pt x="285" y="52"/>
                  </a:lnTo>
                  <a:lnTo>
                    <a:pt x="286" y="50"/>
                  </a:lnTo>
                  <a:lnTo>
                    <a:pt x="288" y="50"/>
                  </a:lnTo>
                  <a:lnTo>
                    <a:pt x="290" y="50"/>
                  </a:lnTo>
                  <a:lnTo>
                    <a:pt x="291" y="52"/>
                  </a:lnTo>
                  <a:lnTo>
                    <a:pt x="290" y="53"/>
                  </a:lnTo>
                  <a:lnTo>
                    <a:pt x="291" y="53"/>
                  </a:lnTo>
                  <a:lnTo>
                    <a:pt x="291" y="55"/>
                  </a:lnTo>
                  <a:lnTo>
                    <a:pt x="293" y="55"/>
                  </a:lnTo>
                  <a:lnTo>
                    <a:pt x="295" y="53"/>
                  </a:lnTo>
                  <a:lnTo>
                    <a:pt x="296" y="53"/>
                  </a:lnTo>
                  <a:lnTo>
                    <a:pt x="296" y="55"/>
                  </a:lnTo>
                  <a:lnTo>
                    <a:pt x="298" y="57"/>
                  </a:lnTo>
                  <a:lnTo>
                    <a:pt x="296" y="58"/>
                  </a:lnTo>
                  <a:lnTo>
                    <a:pt x="295" y="60"/>
                  </a:lnTo>
                  <a:lnTo>
                    <a:pt x="293" y="62"/>
                  </a:lnTo>
                  <a:lnTo>
                    <a:pt x="295" y="62"/>
                  </a:lnTo>
                  <a:lnTo>
                    <a:pt x="296" y="62"/>
                  </a:lnTo>
                  <a:lnTo>
                    <a:pt x="296" y="63"/>
                  </a:lnTo>
                  <a:lnTo>
                    <a:pt x="295" y="65"/>
                  </a:lnTo>
                  <a:lnTo>
                    <a:pt x="295" y="63"/>
                  </a:lnTo>
                  <a:lnTo>
                    <a:pt x="293" y="63"/>
                  </a:lnTo>
                  <a:lnTo>
                    <a:pt x="293" y="65"/>
                  </a:lnTo>
                  <a:lnTo>
                    <a:pt x="293" y="66"/>
                  </a:lnTo>
                  <a:lnTo>
                    <a:pt x="293" y="68"/>
                  </a:lnTo>
                  <a:lnTo>
                    <a:pt x="291" y="68"/>
                  </a:lnTo>
                  <a:lnTo>
                    <a:pt x="290" y="68"/>
                  </a:lnTo>
                  <a:lnTo>
                    <a:pt x="290" y="70"/>
                  </a:lnTo>
                  <a:lnTo>
                    <a:pt x="288" y="71"/>
                  </a:lnTo>
                  <a:lnTo>
                    <a:pt x="288" y="73"/>
                  </a:lnTo>
                  <a:lnTo>
                    <a:pt x="290" y="73"/>
                  </a:lnTo>
                  <a:lnTo>
                    <a:pt x="290" y="75"/>
                  </a:lnTo>
                  <a:lnTo>
                    <a:pt x="290" y="76"/>
                  </a:lnTo>
                  <a:lnTo>
                    <a:pt x="290" y="78"/>
                  </a:lnTo>
                  <a:lnTo>
                    <a:pt x="288" y="78"/>
                  </a:lnTo>
                  <a:lnTo>
                    <a:pt x="286" y="79"/>
                  </a:lnTo>
                  <a:lnTo>
                    <a:pt x="286" y="81"/>
                  </a:lnTo>
                  <a:lnTo>
                    <a:pt x="285" y="81"/>
                  </a:lnTo>
                  <a:lnTo>
                    <a:pt x="285" y="83"/>
                  </a:lnTo>
                  <a:lnTo>
                    <a:pt x="286" y="83"/>
                  </a:lnTo>
                  <a:lnTo>
                    <a:pt x="288" y="83"/>
                  </a:lnTo>
                  <a:lnTo>
                    <a:pt x="288" y="84"/>
                  </a:lnTo>
                  <a:lnTo>
                    <a:pt x="286" y="84"/>
                  </a:lnTo>
                  <a:lnTo>
                    <a:pt x="286" y="86"/>
                  </a:lnTo>
                  <a:lnTo>
                    <a:pt x="285" y="88"/>
                  </a:lnTo>
                  <a:lnTo>
                    <a:pt x="285" y="89"/>
                  </a:lnTo>
                  <a:lnTo>
                    <a:pt x="283" y="89"/>
                  </a:lnTo>
                  <a:lnTo>
                    <a:pt x="281" y="89"/>
                  </a:lnTo>
                  <a:lnTo>
                    <a:pt x="281" y="91"/>
                  </a:lnTo>
                  <a:lnTo>
                    <a:pt x="281" y="92"/>
                  </a:lnTo>
                  <a:lnTo>
                    <a:pt x="280" y="92"/>
                  </a:lnTo>
                  <a:lnTo>
                    <a:pt x="280" y="94"/>
                  </a:lnTo>
                  <a:lnTo>
                    <a:pt x="278" y="94"/>
                  </a:lnTo>
                  <a:lnTo>
                    <a:pt x="277" y="96"/>
                  </a:lnTo>
                  <a:lnTo>
                    <a:pt x="277" y="97"/>
                  </a:lnTo>
                  <a:lnTo>
                    <a:pt x="277" y="99"/>
                  </a:lnTo>
                  <a:lnTo>
                    <a:pt x="277" y="101"/>
                  </a:lnTo>
                  <a:lnTo>
                    <a:pt x="277" y="102"/>
                  </a:lnTo>
                  <a:lnTo>
                    <a:pt x="278" y="102"/>
                  </a:lnTo>
                  <a:lnTo>
                    <a:pt x="280" y="102"/>
                  </a:lnTo>
                  <a:lnTo>
                    <a:pt x="280" y="104"/>
                  </a:lnTo>
                  <a:lnTo>
                    <a:pt x="281" y="104"/>
                  </a:lnTo>
                  <a:lnTo>
                    <a:pt x="281" y="105"/>
                  </a:lnTo>
                  <a:lnTo>
                    <a:pt x="281" y="109"/>
                  </a:lnTo>
                  <a:lnTo>
                    <a:pt x="280" y="109"/>
                  </a:lnTo>
                  <a:lnTo>
                    <a:pt x="280" y="110"/>
                  </a:lnTo>
                  <a:lnTo>
                    <a:pt x="280" y="112"/>
                  </a:lnTo>
                  <a:lnTo>
                    <a:pt x="281" y="112"/>
                  </a:lnTo>
                  <a:lnTo>
                    <a:pt x="283" y="110"/>
                  </a:lnTo>
                  <a:lnTo>
                    <a:pt x="283" y="112"/>
                  </a:lnTo>
                  <a:lnTo>
                    <a:pt x="285" y="112"/>
                  </a:lnTo>
                  <a:lnTo>
                    <a:pt x="285" y="110"/>
                  </a:lnTo>
                  <a:lnTo>
                    <a:pt x="288" y="109"/>
                  </a:lnTo>
                  <a:lnTo>
                    <a:pt x="288" y="110"/>
                  </a:lnTo>
                  <a:lnTo>
                    <a:pt x="290" y="110"/>
                  </a:lnTo>
                  <a:lnTo>
                    <a:pt x="291" y="112"/>
                  </a:lnTo>
                  <a:lnTo>
                    <a:pt x="293" y="112"/>
                  </a:lnTo>
                  <a:lnTo>
                    <a:pt x="295" y="110"/>
                  </a:lnTo>
                  <a:lnTo>
                    <a:pt x="295" y="112"/>
                  </a:lnTo>
                  <a:lnTo>
                    <a:pt x="298" y="110"/>
                  </a:lnTo>
                  <a:lnTo>
                    <a:pt x="298" y="112"/>
                  </a:lnTo>
                  <a:lnTo>
                    <a:pt x="298" y="114"/>
                  </a:lnTo>
                  <a:lnTo>
                    <a:pt x="299" y="114"/>
                  </a:lnTo>
                  <a:lnTo>
                    <a:pt x="301" y="114"/>
                  </a:lnTo>
                  <a:lnTo>
                    <a:pt x="304" y="112"/>
                  </a:lnTo>
                  <a:lnTo>
                    <a:pt x="306" y="112"/>
                  </a:lnTo>
                  <a:lnTo>
                    <a:pt x="306" y="114"/>
                  </a:lnTo>
                  <a:lnTo>
                    <a:pt x="308" y="114"/>
                  </a:lnTo>
                  <a:lnTo>
                    <a:pt x="309" y="114"/>
                  </a:lnTo>
                  <a:lnTo>
                    <a:pt x="311" y="115"/>
                  </a:lnTo>
                  <a:lnTo>
                    <a:pt x="311" y="118"/>
                  </a:lnTo>
                  <a:lnTo>
                    <a:pt x="312" y="118"/>
                  </a:lnTo>
                  <a:lnTo>
                    <a:pt x="312" y="117"/>
                  </a:lnTo>
                  <a:lnTo>
                    <a:pt x="314" y="118"/>
                  </a:lnTo>
                  <a:lnTo>
                    <a:pt x="316" y="118"/>
                  </a:lnTo>
                  <a:lnTo>
                    <a:pt x="319" y="118"/>
                  </a:lnTo>
                  <a:lnTo>
                    <a:pt x="319" y="120"/>
                  </a:lnTo>
                  <a:lnTo>
                    <a:pt x="319" y="122"/>
                  </a:lnTo>
                  <a:lnTo>
                    <a:pt x="321" y="125"/>
                  </a:lnTo>
                  <a:lnTo>
                    <a:pt x="322" y="127"/>
                  </a:lnTo>
                  <a:lnTo>
                    <a:pt x="322" y="128"/>
                  </a:lnTo>
                  <a:lnTo>
                    <a:pt x="324" y="128"/>
                  </a:lnTo>
                  <a:lnTo>
                    <a:pt x="322" y="130"/>
                  </a:lnTo>
                  <a:lnTo>
                    <a:pt x="324" y="131"/>
                  </a:lnTo>
                  <a:lnTo>
                    <a:pt x="324" y="133"/>
                  </a:lnTo>
                  <a:lnTo>
                    <a:pt x="324" y="131"/>
                  </a:lnTo>
                  <a:lnTo>
                    <a:pt x="325" y="131"/>
                  </a:lnTo>
                  <a:lnTo>
                    <a:pt x="327" y="133"/>
                  </a:lnTo>
                  <a:lnTo>
                    <a:pt x="329" y="133"/>
                  </a:lnTo>
                  <a:lnTo>
                    <a:pt x="330" y="133"/>
                  </a:lnTo>
                  <a:lnTo>
                    <a:pt x="332" y="133"/>
                  </a:lnTo>
                  <a:lnTo>
                    <a:pt x="332" y="135"/>
                  </a:lnTo>
                  <a:lnTo>
                    <a:pt x="330" y="136"/>
                  </a:lnTo>
                  <a:lnTo>
                    <a:pt x="330" y="138"/>
                  </a:lnTo>
                  <a:lnTo>
                    <a:pt x="329" y="138"/>
                  </a:lnTo>
                  <a:lnTo>
                    <a:pt x="327" y="138"/>
                  </a:lnTo>
                  <a:lnTo>
                    <a:pt x="325" y="141"/>
                  </a:lnTo>
                  <a:lnTo>
                    <a:pt x="324" y="141"/>
                  </a:lnTo>
                  <a:lnTo>
                    <a:pt x="322" y="141"/>
                  </a:lnTo>
                  <a:lnTo>
                    <a:pt x="322" y="143"/>
                  </a:lnTo>
                  <a:lnTo>
                    <a:pt x="322" y="144"/>
                  </a:lnTo>
                  <a:lnTo>
                    <a:pt x="324" y="144"/>
                  </a:lnTo>
                  <a:lnTo>
                    <a:pt x="324" y="146"/>
                  </a:lnTo>
                  <a:lnTo>
                    <a:pt x="324" y="148"/>
                  </a:lnTo>
                  <a:lnTo>
                    <a:pt x="325" y="149"/>
                  </a:lnTo>
                  <a:lnTo>
                    <a:pt x="325" y="151"/>
                  </a:lnTo>
                  <a:lnTo>
                    <a:pt x="327" y="151"/>
                  </a:lnTo>
                  <a:lnTo>
                    <a:pt x="329" y="151"/>
                  </a:lnTo>
                  <a:lnTo>
                    <a:pt x="330" y="151"/>
                  </a:lnTo>
                  <a:lnTo>
                    <a:pt x="332" y="151"/>
                  </a:lnTo>
                  <a:lnTo>
                    <a:pt x="334" y="153"/>
                  </a:lnTo>
                  <a:lnTo>
                    <a:pt x="334" y="151"/>
                  </a:lnTo>
                  <a:lnTo>
                    <a:pt x="335" y="153"/>
                  </a:lnTo>
                  <a:lnTo>
                    <a:pt x="337" y="153"/>
                  </a:lnTo>
                  <a:lnTo>
                    <a:pt x="337" y="154"/>
                  </a:lnTo>
                  <a:lnTo>
                    <a:pt x="337" y="156"/>
                  </a:lnTo>
                  <a:lnTo>
                    <a:pt x="337" y="157"/>
                  </a:lnTo>
                  <a:lnTo>
                    <a:pt x="338" y="157"/>
                  </a:lnTo>
                  <a:lnTo>
                    <a:pt x="340" y="157"/>
                  </a:lnTo>
                  <a:lnTo>
                    <a:pt x="340" y="159"/>
                  </a:lnTo>
                  <a:lnTo>
                    <a:pt x="340" y="161"/>
                  </a:lnTo>
                  <a:lnTo>
                    <a:pt x="338" y="162"/>
                  </a:lnTo>
                  <a:lnTo>
                    <a:pt x="338" y="166"/>
                  </a:lnTo>
                  <a:lnTo>
                    <a:pt x="337" y="167"/>
                  </a:lnTo>
                  <a:lnTo>
                    <a:pt x="335" y="169"/>
                  </a:lnTo>
                  <a:lnTo>
                    <a:pt x="338" y="172"/>
                  </a:lnTo>
                  <a:lnTo>
                    <a:pt x="340" y="174"/>
                  </a:lnTo>
                  <a:lnTo>
                    <a:pt x="342" y="175"/>
                  </a:lnTo>
                  <a:lnTo>
                    <a:pt x="342" y="177"/>
                  </a:lnTo>
                  <a:lnTo>
                    <a:pt x="340" y="177"/>
                  </a:lnTo>
                  <a:lnTo>
                    <a:pt x="338" y="177"/>
                  </a:lnTo>
                  <a:lnTo>
                    <a:pt x="338" y="179"/>
                  </a:lnTo>
                  <a:lnTo>
                    <a:pt x="337" y="179"/>
                  </a:lnTo>
                  <a:lnTo>
                    <a:pt x="335" y="177"/>
                  </a:lnTo>
                  <a:lnTo>
                    <a:pt x="334" y="177"/>
                  </a:lnTo>
                  <a:lnTo>
                    <a:pt x="332" y="177"/>
                  </a:lnTo>
                  <a:lnTo>
                    <a:pt x="334" y="179"/>
                  </a:lnTo>
                  <a:lnTo>
                    <a:pt x="332" y="179"/>
                  </a:lnTo>
                  <a:lnTo>
                    <a:pt x="330" y="180"/>
                  </a:lnTo>
                  <a:lnTo>
                    <a:pt x="330" y="182"/>
                  </a:lnTo>
                  <a:lnTo>
                    <a:pt x="330" y="183"/>
                  </a:lnTo>
                  <a:lnTo>
                    <a:pt x="327" y="183"/>
                  </a:lnTo>
                  <a:lnTo>
                    <a:pt x="325" y="185"/>
                  </a:lnTo>
                  <a:lnTo>
                    <a:pt x="324" y="185"/>
                  </a:lnTo>
                  <a:lnTo>
                    <a:pt x="322" y="188"/>
                  </a:lnTo>
                  <a:lnTo>
                    <a:pt x="321" y="188"/>
                  </a:lnTo>
                  <a:lnTo>
                    <a:pt x="321" y="190"/>
                  </a:lnTo>
                  <a:lnTo>
                    <a:pt x="321" y="192"/>
                  </a:lnTo>
                  <a:lnTo>
                    <a:pt x="321" y="193"/>
                  </a:lnTo>
                  <a:lnTo>
                    <a:pt x="321" y="197"/>
                  </a:lnTo>
                  <a:lnTo>
                    <a:pt x="319" y="197"/>
                  </a:lnTo>
                  <a:lnTo>
                    <a:pt x="317" y="197"/>
                  </a:lnTo>
                  <a:lnTo>
                    <a:pt x="316" y="198"/>
                  </a:lnTo>
                  <a:lnTo>
                    <a:pt x="317" y="198"/>
                  </a:lnTo>
                  <a:lnTo>
                    <a:pt x="317" y="200"/>
                  </a:lnTo>
                  <a:lnTo>
                    <a:pt x="316" y="200"/>
                  </a:lnTo>
                  <a:lnTo>
                    <a:pt x="317" y="201"/>
                  </a:lnTo>
                  <a:lnTo>
                    <a:pt x="316" y="203"/>
                  </a:lnTo>
                  <a:lnTo>
                    <a:pt x="314" y="203"/>
                  </a:lnTo>
                  <a:lnTo>
                    <a:pt x="312" y="201"/>
                  </a:lnTo>
                  <a:lnTo>
                    <a:pt x="314" y="200"/>
                  </a:lnTo>
                  <a:lnTo>
                    <a:pt x="314" y="198"/>
                  </a:lnTo>
                  <a:lnTo>
                    <a:pt x="311" y="197"/>
                  </a:lnTo>
                  <a:lnTo>
                    <a:pt x="309" y="198"/>
                  </a:lnTo>
                  <a:lnTo>
                    <a:pt x="309" y="200"/>
                  </a:lnTo>
                  <a:lnTo>
                    <a:pt x="306" y="198"/>
                  </a:lnTo>
                  <a:lnTo>
                    <a:pt x="306" y="197"/>
                  </a:lnTo>
                  <a:lnTo>
                    <a:pt x="306" y="195"/>
                  </a:lnTo>
                  <a:lnTo>
                    <a:pt x="304" y="195"/>
                  </a:lnTo>
                  <a:lnTo>
                    <a:pt x="303" y="197"/>
                  </a:lnTo>
                  <a:lnTo>
                    <a:pt x="301" y="197"/>
                  </a:lnTo>
                  <a:lnTo>
                    <a:pt x="299" y="197"/>
                  </a:lnTo>
                  <a:lnTo>
                    <a:pt x="299" y="198"/>
                  </a:lnTo>
                  <a:lnTo>
                    <a:pt x="301" y="200"/>
                  </a:lnTo>
                  <a:lnTo>
                    <a:pt x="299" y="200"/>
                  </a:lnTo>
                  <a:lnTo>
                    <a:pt x="299" y="201"/>
                  </a:lnTo>
                  <a:lnTo>
                    <a:pt x="295" y="205"/>
                  </a:lnTo>
                  <a:lnTo>
                    <a:pt x="293" y="206"/>
                  </a:lnTo>
                  <a:lnTo>
                    <a:pt x="293" y="208"/>
                  </a:lnTo>
                  <a:lnTo>
                    <a:pt x="293" y="210"/>
                  </a:lnTo>
                  <a:lnTo>
                    <a:pt x="291" y="210"/>
                  </a:lnTo>
                  <a:lnTo>
                    <a:pt x="291" y="211"/>
                  </a:lnTo>
                  <a:lnTo>
                    <a:pt x="290" y="211"/>
                  </a:lnTo>
                  <a:lnTo>
                    <a:pt x="290" y="213"/>
                  </a:lnTo>
                  <a:lnTo>
                    <a:pt x="291" y="214"/>
                  </a:lnTo>
                  <a:lnTo>
                    <a:pt x="290" y="216"/>
                  </a:lnTo>
                  <a:lnTo>
                    <a:pt x="288" y="218"/>
                  </a:lnTo>
                  <a:lnTo>
                    <a:pt x="286" y="218"/>
                  </a:lnTo>
                  <a:lnTo>
                    <a:pt x="286" y="219"/>
                  </a:lnTo>
                  <a:lnTo>
                    <a:pt x="286" y="221"/>
                  </a:lnTo>
                  <a:lnTo>
                    <a:pt x="286" y="223"/>
                  </a:lnTo>
                  <a:lnTo>
                    <a:pt x="286" y="224"/>
                  </a:lnTo>
                  <a:lnTo>
                    <a:pt x="285" y="224"/>
                  </a:lnTo>
                  <a:lnTo>
                    <a:pt x="285" y="226"/>
                  </a:lnTo>
                  <a:lnTo>
                    <a:pt x="283" y="226"/>
                  </a:lnTo>
                  <a:lnTo>
                    <a:pt x="281" y="226"/>
                  </a:lnTo>
                  <a:lnTo>
                    <a:pt x="280" y="229"/>
                  </a:lnTo>
                  <a:lnTo>
                    <a:pt x="280" y="231"/>
                  </a:lnTo>
                  <a:lnTo>
                    <a:pt x="280" y="232"/>
                  </a:lnTo>
                  <a:lnTo>
                    <a:pt x="278" y="232"/>
                  </a:lnTo>
                  <a:lnTo>
                    <a:pt x="277" y="234"/>
                  </a:lnTo>
                  <a:lnTo>
                    <a:pt x="278" y="236"/>
                  </a:lnTo>
                  <a:lnTo>
                    <a:pt x="280" y="236"/>
                  </a:lnTo>
                  <a:lnTo>
                    <a:pt x="281" y="237"/>
                  </a:lnTo>
                  <a:lnTo>
                    <a:pt x="281" y="239"/>
                  </a:lnTo>
                  <a:lnTo>
                    <a:pt x="280" y="239"/>
                  </a:lnTo>
                  <a:lnTo>
                    <a:pt x="278" y="239"/>
                  </a:lnTo>
                  <a:lnTo>
                    <a:pt x="278" y="240"/>
                  </a:lnTo>
                  <a:lnTo>
                    <a:pt x="278" y="242"/>
                  </a:lnTo>
                  <a:lnTo>
                    <a:pt x="278" y="244"/>
                  </a:lnTo>
                  <a:lnTo>
                    <a:pt x="277" y="244"/>
                  </a:lnTo>
                  <a:lnTo>
                    <a:pt x="278" y="245"/>
                  </a:lnTo>
                  <a:lnTo>
                    <a:pt x="277" y="245"/>
                  </a:lnTo>
                  <a:lnTo>
                    <a:pt x="277" y="247"/>
                  </a:lnTo>
                  <a:lnTo>
                    <a:pt x="278" y="247"/>
                  </a:lnTo>
                  <a:lnTo>
                    <a:pt x="278" y="250"/>
                  </a:lnTo>
                  <a:lnTo>
                    <a:pt x="280" y="250"/>
                  </a:lnTo>
                  <a:lnTo>
                    <a:pt x="281" y="250"/>
                  </a:lnTo>
                  <a:lnTo>
                    <a:pt x="281" y="252"/>
                  </a:lnTo>
                  <a:lnTo>
                    <a:pt x="283" y="253"/>
                  </a:lnTo>
                  <a:lnTo>
                    <a:pt x="283" y="255"/>
                  </a:lnTo>
                  <a:lnTo>
                    <a:pt x="283" y="257"/>
                  </a:lnTo>
                  <a:lnTo>
                    <a:pt x="285" y="257"/>
                  </a:lnTo>
                  <a:lnTo>
                    <a:pt x="285" y="258"/>
                  </a:lnTo>
                  <a:lnTo>
                    <a:pt x="283" y="260"/>
                  </a:lnTo>
                  <a:lnTo>
                    <a:pt x="286" y="260"/>
                  </a:lnTo>
                  <a:lnTo>
                    <a:pt x="288" y="260"/>
                  </a:lnTo>
                  <a:lnTo>
                    <a:pt x="290" y="262"/>
                  </a:lnTo>
                  <a:lnTo>
                    <a:pt x="290" y="263"/>
                  </a:lnTo>
                  <a:lnTo>
                    <a:pt x="288" y="263"/>
                  </a:lnTo>
                  <a:lnTo>
                    <a:pt x="288" y="265"/>
                  </a:lnTo>
                  <a:lnTo>
                    <a:pt x="286" y="266"/>
                  </a:lnTo>
                  <a:lnTo>
                    <a:pt x="288" y="266"/>
                  </a:lnTo>
                  <a:lnTo>
                    <a:pt x="288" y="268"/>
                  </a:lnTo>
                  <a:lnTo>
                    <a:pt x="291" y="268"/>
                  </a:lnTo>
                  <a:lnTo>
                    <a:pt x="291" y="270"/>
                  </a:lnTo>
                  <a:lnTo>
                    <a:pt x="291" y="271"/>
                  </a:lnTo>
                  <a:lnTo>
                    <a:pt x="291" y="273"/>
                  </a:lnTo>
                  <a:lnTo>
                    <a:pt x="290" y="273"/>
                  </a:lnTo>
                  <a:lnTo>
                    <a:pt x="288" y="273"/>
                  </a:lnTo>
                  <a:lnTo>
                    <a:pt x="288" y="275"/>
                  </a:lnTo>
                  <a:lnTo>
                    <a:pt x="288" y="276"/>
                  </a:lnTo>
                  <a:lnTo>
                    <a:pt x="285" y="278"/>
                  </a:lnTo>
                  <a:lnTo>
                    <a:pt x="285" y="279"/>
                  </a:lnTo>
                  <a:lnTo>
                    <a:pt x="286" y="279"/>
                  </a:lnTo>
                  <a:lnTo>
                    <a:pt x="288" y="279"/>
                  </a:lnTo>
                  <a:lnTo>
                    <a:pt x="288" y="281"/>
                  </a:lnTo>
                  <a:lnTo>
                    <a:pt x="286" y="281"/>
                  </a:lnTo>
                  <a:lnTo>
                    <a:pt x="286" y="283"/>
                  </a:lnTo>
                  <a:lnTo>
                    <a:pt x="285" y="283"/>
                  </a:lnTo>
                  <a:lnTo>
                    <a:pt x="285" y="284"/>
                  </a:lnTo>
                  <a:lnTo>
                    <a:pt x="283" y="284"/>
                  </a:lnTo>
                  <a:lnTo>
                    <a:pt x="281" y="286"/>
                  </a:lnTo>
                  <a:lnTo>
                    <a:pt x="281" y="284"/>
                  </a:lnTo>
                  <a:lnTo>
                    <a:pt x="280" y="284"/>
                  </a:lnTo>
                  <a:lnTo>
                    <a:pt x="278" y="284"/>
                  </a:lnTo>
                  <a:lnTo>
                    <a:pt x="278" y="283"/>
                  </a:lnTo>
                  <a:lnTo>
                    <a:pt x="277" y="283"/>
                  </a:lnTo>
                  <a:lnTo>
                    <a:pt x="277" y="284"/>
                  </a:lnTo>
                  <a:lnTo>
                    <a:pt x="277" y="286"/>
                  </a:lnTo>
                  <a:lnTo>
                    <a:pt x="275" y="286"/>
                  </a:lnTo>
                  <a:lnTo>
                    <a:pt x="273" y="286"/>
                  </a:lnTo>
                  <a:lnTo>
                    <a:pt x="272" y="284"/>
                  </a:lnTo>
                  <a:lnTo>
                    <a:pt x="270" y="286"/>
                  </a:lnTo>
                  <a:lnTo>
                    <a:pt x="270" y="284"/>
                  </a:lnTo>
                  <a:lnTo>
                    <a:pt x="268" y="284"/>
                  </a:lnTo>
                  <a:lnTo>
                    <a:pt x="267" y="284"/>
                  </a:lnTo>
                  <a:lnTo>
                    <a:pt x="265" y="284"/>
                  </a:lnTo>
                  <a:lnTo>
                    <a:pt x="264" y="286"/>
                  </a:lnTo>
                  <a:lnTo>
                    <a:pt x="264" y="288"/>
                  </a:lnTo>
                  <a:lnTo>
                    <a:pt x="264" y="289"/>
                  </a:lnTo>
                  <a:lnTo>
                    <a:pt x="262" y="289"/>
                  </a:lnTo>
                  <a:lnTo>
                    <a:pt x="262" y="288"/>
                  </a:lnTo>
                  <a:lnTo>
                    <a:pt x="260" y="288"/>
                  </a:lnTo>
                  <a:lnTo>
                    <a:pt x="259" y="286"/>
                  </a:lnTo>
                  <a:lnTo>
                    <a:pt x="257" y="286"/>
                  </a:lnTo>
                  <a:lnTo>
                    <a:pt x="255" y="288"/>
                  </a:lnTo>
                  <a:lnTo>
                    <a:pt x="252" y="289"/>
                  </a:lnTo>
                  <a:lnTo>
                    <a:pt x="251" y="289"/>
                  </a:lnTo>
                  <a:lnTo>
                    <a:pt x="249" y="289"/>
                  </a:lnTo>
                  <a:lnTo>
                    <a:pt x="247" y="288"/>
                  </a:lnTo>
                  <a:lnTo>
                    <a:pt x="249" y="286"/>
                  </a:lnTo>
                  <a:lnTo>
                    <a:pt x="249" y="284"/>
                  </a:lnTo>
                  <a:lnTo>
                    <a:pt x="247" y="283"/>
                  </a:lnTo>
                  <a:lnTo>
                    <a:pt x="247" y="281"/>
                  </a:lnTo>
                  <a:lnTo>
                    <a:pt x="247" y="279"/>
                  </a:lnTo>
                  <a:lnTo>
                    <a:pt x="246" y="279"/>
                  </a:lnTo>
                  <a:lnTo>
                    <a:pt x="246" y="278"/>
                  </a:lnTo>
                  <a:lnTo>
                    <a:pt x="246" y="276"/>
                  </a:lnTo>
                  <a:lnTo>
                    <a:pt x="246" y="275"/>
                  </a:lnTo>
                  <a:lnTo>
                    <a:pt x="242" y="273"/>
                  </a:lnTo>
                  <a:lnTo>
                    <a:pt x="242" y="271"/>
                  </a:lnTo>
                  <a:lnTo>
                    <a:pt x="239" y="270"/>
                  </a:lnTo>
                  <a:lnTo>
                    <a:pt x="238" y="271"/>
                  </a:lnTo>
                  <a:lnTo>
                    <a:pt x="238" y="273"/>
                  </a:lnTo>
                  <a:lnTo>
                    <a:pt x="236" y="273"/>
                  </a:lnTo>
                  <a:lnTo>
                    <a:pt x="234" y="270"/>
                  </a:lnTo>
                  <a:lnTo>
                    <a:pt x="236" y="270"/>
                  </a:lnTo>
                  <a:lnTo>
                    <a:pt x="236" y="268"/>
                  </a:lnTo>
                  <a:lnTo>
                    <a:pt x="238" y="266"/>
                  </a:lnTo>
                  <a:lnTo>
                    <a:pt x="236" y="265"/>
                  </a:lnTo>
                  <a:lnTo>
                    <a:pt x="234" y="263"/>
                  </a:lnTo>
                  <a:lnTo>
                    <a:pt x="233" y="263"/>
                  </a:lnTo>
                  <a:lnTo>
                    <a:pt x="233" y="262"/>
                  </a:lnTo>
                  <a:lnTo>
                    <a:pt x="231" y="260"/>
                  </a:lnTo>
                  <a:lnTo>
                    <a:pt x="229" y="262"/>
                  </a:lnTo>
                  <a:lnTo>
                    <a:pt x="228" y="262"/>
                  </a:lnTo>
                  <a:lnTo>
                    <a:pt x="226" y="260"/>
                  </a:lnTo>
                  <a:lnTo>
                    <a:pt x="225" y="260"/>
                  </a:lnTo>
                  <a:lnTo>
                    <a:pt x="221" y="260"/>
                  </a:lnTo>
                  <a:lnTo>
                    <a:pt x="221" y="258"/>
                  </a:lnTo>
                  <a:lnTo>
                    <a:pt x="223" y="258"/>
                  </a:lnTo>
                  <a:lnTo>
                    <a:pt x="223" y="257"/>
                  </a:lnTo>
                  <a:lnTo>
                    <a:pt x="221" y="257"/>
                  </a:lnTo>
                  <a:lnTo>
                    <a:pt x="221" y="258"/>
                  </a:lnTo>
                  <a:lnTo>
                    <a:pt x="220" y="257"/>
                  </a:lnTo>
                  <a:lnTo>
                    <a:pt x="218" y="257"/>
                  </a:lnTo>
                  <a:lnTo>
                    <a:pt x="218" y="253"/>
                  </a:lnTo>
                  <a:lnTo>
                    <a:pt x="216" y="250"/>
                  </a:lnTo>
                  <a:lnTo>
                    <a:pt x="215" y="250"/>
                  </a:lnTo>
                  <a:lnTo>
                    <a:pt x="213" y="250"/>
                  </a:lnTo>
                  <a:lnTo>
                    <a:pt x="213" y="249"/>
                  </a:lnTo>
                  <a:lnTo>
                    <a:pt x="208" y="247"/>
                  </a:lnTo>
                  <a:lnTo>
                    <a:pt x="208" y="245"/>
                  </a:lnTo>
                  <a:lnTo>
                    <a:pt x="208" y="244"/>
                  </a:lnTo>
                  <a:lnTo>
                    <a:pt x="205" y="244"/>
                  </a:lnTo>
                  <a:lnTo>
                    <a:pt x="203" y="244"/>
                  </a:lnTo>
                  <a:lnTo>
                    <a:pt x="203" y="245"/>
                  </a:lnTo>
                  <a:lnTo>
                    <a:pt x="202" y="245"/>
                  </a:lnTo>
                  <a:lnTo>
                    <a:pt x="200" y="245"/>
                  </a:lnTo>
                  <a:lnTo>
                    <a:pt x="199" y="245"/>
                  </a:lnTo>
                  <a:lnTo>
                    <a:pt x="197" y="244"/>
                  </a:lnTo>
                  <a:lnTo>
                    <a:pt x="195" y="244"/>
                  </a:lnTo>
                  <a:lnTo>
                    <a:pt x="197" y="240"/>
                  </a:lnTo>
                  <a:lnTo>
                    <a:pt x="197" y="239"/>
                  </a:lnTo>
                  <a:lnTo>
                    <a:pt x="195" y="237"/>
                  </a:lnTo>
                  <a:lnTo>
                    <a:pt x="195" y="236"/>
                  </a:lnTo>
                  <a:lnTo>
                    <a:pt x="195" y="234"/>
                  </a:lnTo>
                  <a:lnTo>
                    <a:pt x="195" y="232"/>
                  </a:lnTo>
                  <a:lnTo>
                    <a:pt x="197" y="231"/>
                  </a:lnTo>
                  <a:lnTo>
                    <a:pt x="199" y="229"/>
                  </a:lnTo>
                  <a:lnTo>
                    <a:pt x="199" y="227"/>
                  </a:lnTo>
                  <a:lnTo>
                    <a:pt x="199" y="226"/>
                  </a:lnTo>
                  <a:lnTo>
                    <a:pt x="197" y="226"/>
                  </a:lnTo>
                  <a:lnTo>
                    <a:pt x="197" y="224"/>
                  </a:lnTo>
                  <a:lnTo>
                    <a:pt x="195" y="221"/>
                  </a:lnTo>
                  <a:lnTo>
                    <a:pt x="194" y="221"/>
                  </a:lnTo>
                  <a:lnTo>
                    <a:pt x="192" y="221"/>
                  </a:lnTo>
                  <a:lnTo>
                    <a:pt x="190" y="221"/>
                  </a:lnTo>
                  <a:lnTo>
                    <a:pt x="190" y="218"/>
                  </a:lnTo>
                  <a:lnTo>
                    <a:pt x="190" y="216"/>
                  </a:lnTo>
                  <a:lnTo>
                    <a:pt x="192" y="216"/>
                  </a:lnTo>
                  <a:lnTo>
                    <a:pt x="194" y="214"/>
                  </a:lnTo>
                  <a:lnTo>
                    <a:pt x="194" y="211"/>
                  </a:lnTo>
                  <a:lnTo>
                    <a:pt x="195" y="211"/>
                  </a:lnTo>
                  <a:lnTo>
                    <a:pt x="195" y="210"/>
                  </a:lnTo>
                  <a:lnTo>
                    <a:pt x="195" y="208"/>
                  </a:lnTo>
                  <a:lnTo>
                    <a:pt x="194" y="206"/>
                  </a:lnTo>
                  <a:lnTo>
                    <a:pt x="195" y="205"/>
                  </a:lnTo>
                  <a:lnTo>
                    <a:pt x="195" y="203"/>
                  </a:lnTo>
                  <a:lnTo>
                    <a:pt x="197" y="203"/>
                  </a:lnTo>
                  <a:lnTo>
                    <a:pt x="195" y="201"/>
                  </a:lnTo>
                  <a:lnTo>
                    <a:pt x="197" y="200"/>
                  </a:lnTo>
                  <a:lnTo>
                    <a:pt x="199" y="201"/>
                  </a:lnTo>
                  <a:lnTo>
                    <a:pt x="200" y="201"/>
                  </a:lnTo>
                  <a:lnTo>
                    <a:pt x="199" y="201"/>
                  </a:lnTo>
                  <a:lnTo>
                    <a:pt x="199" y="200"/>
                  </a:lnTo>
                  <a:lnTo>
                    <a:pt x="199" y="198"/>
                  </a:lnTo>
                  <a:lnTo>
                    <a:pt x="199" y="197"/>
                  </a:lnTo>
                  <a:lnTo>
                    <a:pt x="200" y="197"/>
                  </a:lnTo>
                  <a:lnTo>
                    <a:pt x="202" y="197"/>
                  </a:lnTo>
                  <a:lnTo>
                    <a:pt x="202" y="195"/>
                  </a:lnTo>
                  <a:lnTo>
                    <a:pt x="200" y="193"/>
                  </a:lnTo>
                  <a:lnTo>
                    <a:pt x="197" y="193"/>
                  </a:lnTo>
                  <a:lnTo>
                    <a:pt x="195" y="192"/>
                  </a:lnTo>
                  <a:lnTo>
                    <a:pt x="190" y="195"/>
                  </a:lnTo>
                  <a:lnTo>
                    <a:pt x="189" y="195"/>
                  </a:lnTo>
                  <a:lnTo>
                    <a:pt x="189" y="197"/>
                  </a:lnTo>
                  <a:lnTo>
                    <a:pt x="187" y="198"/>
                  </a:lnTo>
                  <a:lnTo>
                    <a:pt x="186" y="200"/>
                  </a:lnTo>
                  <a:lnTo>
                    <a:pt x="184" y="200"/>
                  </a:lnTo>
                  <a:lnTo>
                    <a:pt x="182" y="201"/>
                  </a:lnTo>
                  <a:lnTo>
                    <a:pt x="182" y="203"/>
                  </a:lnTo>
                  <a:lnTo>
                    <a:pt x="182" y="206"/>
                  </a:lnTo>
                  <a:lnTo>
                    <a:pt x="182" y="208"/>
                  </a:lnTo>
                  <a:lnTo>
                    <a:pt x="182" y="210"/>
                  </a:lnTo>
                  <a:lnTo>
                    <a:pt x="181" y="211"/>
                  </a:lnTo>
                  <a:lnTo>
                    <a:pt x="181" y="213"/>
                  </a:lnTo>
                  <a:lnTo>
                    <a:pt x="181" y="214"/>
                  </a:lnTo>
                  <a:lnTo>
                    <a:pt x="179" y="214"/>
                  </a:lnTo>
                  <a:lnTo>
                    <a:pt x="176" y="214"/>
                  </a:lnTo>
                  <a:lnTo>
                    <a:pt x="173" y="214"/>
                  </a:lnTo>
                  <a:lnTo>
                    <a:pt x="171" y="216"/>
                  </a:lnTo>
                  <a:lnTo>
                    <a:pt x="169" y="216"/>
                  </a:lnTo>
                  <a:lnTo>
                    <a:pt x="169" y="218"/>
                  </a:lnTo>
                  <a:lnTo>
                    <a:pt x="168" y="218"/>
                  </a:lnTo>
                  <a:lnTo>
                    <a:pt x="164" y="219"/>
                  </a:lnTo>
                  <a:lnTo>
                    <a:pt x="161" y="219"/>
                  </a:lnTo>
                  <a:lnTo>
                    <a:pt x="160" y="221"/>
                  </a:lnTo>
                  <a:lnTo>
                    <a:pt x="158" y="221"/>
                  </a:lnTo>
                  <a:lnTo>
                    <a:pt x="156" y="219"/>
                  </a:lnTo>
                  <a:lnTo>
                    <a:pt x="153" y="219"/>
                  </a:lnTo>
                  <a:lnTo>
                    <a:pt x="153" y="218"/>
                  </a:lnTo>
                  <a:lnTo>
                    <a:pt x="151" y="218"/>
                  </a:lnTo>
                  <a:lnTo>
                    <a:pt x="150" y="218"/>
                  </a:lnTo>
                  <a:lnTo>
                    <a:pt x="148" y="216"/>
                  </a:lnTo>
                  <a:lnTo>
                    <a:pt x="147" y="216"/>
                  </a:lnTo>
                  <a:lnTo>
                    <a:pt x="145" y="216"/>
                  </a:lnTo>
                  <a:lnTo>
                    <a:pt x="143" y="216"/>
                  </a:lnTo>
                  <a:lnTo>
                    <a:pt x="142" y="216"/>
                  </a:lnTo>
                  <a:lnTo>
                    <a:pt x="140" y="216"/>
                  </a:lnTo>
                  <a:lnTo>
                    <a:pt x="138" y="216"/>
                  </a:lnTo>
                  <a:lnTo>
                    <a:pt x="137" y="216"/>
                  </a:lnTo>
                  <a:lnTo>
                    <a:pt x="135" y="216"/>
                  </a:lnTo>
                  <a:lnTo>
                    <a:pt x="135" y="214"/>
                  </a:lnTo>
                  <a:lnTo>
                    <a:pt x="133" y="214"/>
                  </a:lnTo>
                  <a:lnTo>
                    <a:pt x="132" y="213"/>
                  </a:lnTo>
                  <a:lnTo>
                    <a:pt x="130" y="213"/>
                  </a:lnTo>
                  <a:lnTo>
                    <a:pt x="132" y="211"/>
                  </a:lnTo>
                  <a:lnTo>
                    <a:pt x="133" y="210"/>
                  </a:lnTo>
                  <a:lnTo>
                    <a:pt x="132" y="210"/>
                  </a:lnTo>
                  <a:lnTo>
                    <a:pt x="130" y="210"/>
                  </a:lnTo>
                  <a:lnTo>
                    <a:pt x="130" y="208"/>
                  </a:lnTo>
                  <a:lnTo>
                    <a:pt x="130" y="206"/>
                  </a:lnTo>
                  <a:lnTo>
                    <a:pt x="132" y="206"/>
                  </a:lnTo>
                  <a:lnTo>
                    <a:pt x="132" y="205"/>
                  </a:lnTo>
                  <a:lnTo>
                    <a:pt x="133" y="203"/>
                  </a:lnTo>
                  <a:lnTo>
                    <a:pt x="135" y="203"/>
                  </a:lnTo>
                  <a:lnTo>
                    <a:pt x="137" y="203"/>
                  </a:lnTo>
                  <a:lnTo>
                    <a:pt x="137" y="201"/>
                  </a:lnTo>
                  <a:lnTo>
                    <a:pt x="138" y="201"/>
                  </a:lnTo>
                  <a:lnTo>
                    <a:pt x="140" y="200"/>
                  </a:lnTo>
                  <a:lnTo>
                    <a:pt x="140" y="198"/>
                  </a:lnTo>
                  <a:lnTo>
                    <a:pt x="138" y="198"/>
                  </a:lnTo>
                  <a:lnTo>
                    <a:pt x="138" y="197"/>
                  </a:lnTo>
                  <a:lnTo>
                    <a:pt x="138" y="195"/>
                  </a:lnTo>
                  <a:lnTo>
                    <a:pt x="137" y="195"/>
                  </a:lnTo>
                  <a:lnTo>
                    <a:pt x="138" y="193"/>
                  </a:lnTo>
                  <a:lnTo>
                    <a:pt x="138" y="192"/>
                  </a:lnTo>
                  <a:lnTo>
                    <a:pt x="137" y="192"/>
                  </a:lnTo>
                  <a:lnTo>
                    <a:pt x="135" y="192"/>
                  </a:lnTo>
                  <a:lnTo>
                    <a:pt x="133" y="190"/>
                  </a:lnTo>
                  <a:lnTo>
                    <a:pt x="133" y="192"/>
                  </a:lnTo>
                  <a:lnTo>
                    <a:pt x="132" y="192"/>
                  </a:lnTo>
                  <a:lnTo>
                    <a:pt x="130" y="192"/>
                  </a:lnTo>
                  <a:lnTo>
                    <a:pt x="132" y="190"/>
                  </a:lnTo>
                  <a:lnTo>
                    <a:pt x="132" y="188"/>
                  </a:lnTo>
                  <a:lnTo>
                    <a:pt x="132" y="187"/>
                  </a:lnTo>
                  <a:lnTo>
                    <a:pt x="133" y="187"/>
                  </a:lnTo>
                  <a:lnTo>
                    <a:pt x="133" y="185"/>
                  </a:lnTo>
                  <a:lnTo>
                    <a:pt x="135" y="182"/>
                  </a:lnTo>
                  <a:lnTo>
                    <a:pt x="135" y="180"/>
                  </a:lnTo>
                  <a:lnTo>
                    <a:pt x="135" y="179"/>
                  </a:lnTo>
                  <a:lnTo>
                    <a:pt x="137" y="179"/>
                  </a:lnTo>
                  <a:lnTo>
                    <a:pt x="137" y="177"/>
                  </a:lnTo>
                  <a:lnTo>
                    <a:pt x="140" y="175"/>
                  </a:lnTo>
                  <a:lnTo>
                    <a:pt x="142" y="174"/>
                  </a:lnTo>
                  <a:lnTo>
                    <a:pt x="140" y="172"/>
                  </a:lnTo>
                  <a:lnTo>
                    <a:pt x="138" y="170"/>
                  </a:lnTo>
                  <a:lnTo>
                    <a:pt x="137" y="170"/>
                  </a:lnTo>
                  <a:lnTo>
                    <a:pt x="137" y="169"/>
                  </a:lnTo>
                  <a:lnTo>
                    <a:pt x="135" y="169"/>
                  </a:lnTo>
                  <a:lnTo>
                    <a:pt x="135" y="170"/>
                  </a:lnTo>
                  <a:lnTo>
                    <a:pt x="137" y="170"/>
                  </a:lnTo>
                  <a:lnTo>
                    <a:pt x="137" y="172"/>
                  </a:lnTo>
                  <a:lnTo>
                    <a:pt x="135" y="172"/>
                  </a:lnTo>
                  <a:lnTo>
                    <a:pt x="133" y="172"/>
                  </a:lnTo>
                  <a:lnTo>
                    <a:pt x="133" y="170"/>
                  </a:lnTo>
                  <a:lnTo>
                    <a:pt x="132" y="170"/>
                  </a:lnTo>
                  <a:lnTo>
                    <a:pt x="133" y="167"/>
                  </a:lnTo>
                  <a:lnTo>
                    <a:pt x="132" y="166"/>
                  </a:lnTo>
                  <a:lnTo>
                    <a:pt x="130" y="164"/>
                  </a:lnTo>
                  <a:lnTo>
                    <a:pt x="129" y="166"/>
                  </a:lnTo>
                  <a:lnTo>
                    <a:pt x="129" y="164"/>
                  </a:lnTo>
                  <a:lnTo>
                    <a:pt x="129" y="162"/>
                  </a:lnTo>
                  <a:lnTo>
                    <a:pt x="127" y="162"/>
                  </a:lnTo>
                  <a:lnTo>
                    <a:pt x="127" y="161"/>
                  </a:lnTo>
                  <a:lnTo>
                    <a:pt x="125" y="159"/>
                  </a:lnTo>
                  <a:lnTo>
                    <a:pt x="125" y="157"/>
                  </a:lnTo>
                  <a:lnTo>
                    <a:pt x="124" y="157"/>
                  </a:lnTo>
                  <a:lnTo>
                    <a:pt x="124" y="159"/>
                  </a:lnTo>
                  <a:lnTo>
                    <a:pt x="122" y="159"/>
                  </a:lnTo>
                  <a:lnTo>
                    <a:pt x="120" y="159"/>
                  </a:lnTo>
                  <a:lnTo>
                    <a:pt x="119" y="159"/>
                  </a:lnTo>
                  <a:lnTo>
                    <a:pt x="114" y="161"/>
                  </a:lnTo>
                  <a:lnTo>
                    <a:pt x="112" y="161"/>
                  </a:lnTo>
                  <a:lnTo>
                    <a:pt x="111" y="161"/>
                  </a:lnTo>
                  <a:lnTo>
                    <a:pt x="111" y="159"/>
                  </a:lnTo>
                  <a:lnTo>
                    <a:pt x="109" y="159"/>
                  </a:lnTo>
                  <a:lnTo>
                    <a:pt x="109" y="157"/>
                  </a:lnTo>
                  <a:lnTo>
                    <a:pt x="107" y="157"/>
                  </a:lnTo>
                  <a:lnTo>
                    <a:pt x="106" y="157"/>
                  </a:lnTo>
                  <a:lnTo>
                    <a:pt x="104" y="157"/>
                  </a:lnTo>
                  <a:lnTo>
                    <a:pt x="104" y="156"/>
                  </a:lnTo>
                  <a:lnTo>
                    <a:pt x="104" y="157"/>
                  </a:lnTo>
                  <a:lnTo>
                    <a:pt x="99" y="157"/>
                  </a:lnTo>
                  <a:lnTo>
                    <a:pt x="98" y="157"/>
                  </a:lnTo>
                  <a:lnTo>
                    <a:pt x="98" y="159"/>
                  </a:lnTo>
                  <a:lnTo>
                    <a:pt x="96" y="161"/>
                  </a:lnTo>
                  <a:lnTo>
                    <a:pt x="96" y="162"/>
                  </a:lnTo>
                  <a:lnTo>
                    <a:pt x="96" y="161"/>
                  </a:lnTo>
                  <a:lnTo>
                    <a:pt x="94" y="161"/>
                  </a:lnTo>
                  <a:lnTo>
                    <a:pt x="94" y="162"/>
                  </a:lnTo>
                  <a:lnTo>
                    <a:pt x="93" y="161"/>
                  </a:lnTo>
                  <a:lnTo>
                    <a:pt x="94" y="161"/>
                  </a:lnTo>
                  <a:lnTo>
                    <a:pt x="94" y="159"/>
                  </a:lnTo>
                  <a:lnTo>
                    <a:pt x="93" y="159"/>
                  </a:lnTo>
                  <a:lnTo>
                    <a:pt x="91" y="159"/>
                  </a:lnTo>
                  <a:lnTo>
                    <a:pt x="91" y="157"/>
                  </a:lnTo>
                  <a:lnTo>
                    <a:pt x="91" y="156"/>
                  </a:lnTo>
                  <a:lnTo>
                    <a:pt x="91" y="154"/>
                  </a:lnTo>
                  <a:lnTo>
                    <a:pt x="91" y="153"/>
                  </a:lnTo>
                  <a:lnTo>
                    <a:pt x="91" y="151"/>
                  </a:lnTo>
                  <a:lnTo>
                    <a:pt x="93" y="151"/>
                  </a:lnTo>
                  <a:lnTo>
                    <a:pt x="91" y="148"/>
                  </a:lnTo>
                  <a:lnTo>
                    <a:pt x="91" y="146"/>
                  </a:lnTo>
                  <a:lnTo>
                    <a:pt x="93" y="144"/>
                  </a:lnTo>
                  <a:lnTo>
                    <a:pt x="93" y="143"/>
                  </a:lnTo>
                  <a:lnTo>
                    <a:pt x="91" y="143"/>
                  </a:lnTo>
                  <a:lnTo>
                    <a:pt x="91" y="141"/>
                  </a:lnTo>
                  <a:lnTo>
                    <a:pt x="91" y="140"/>
                  </a:lnTo>
                  <a:lnTo>
                    <a:pt x="90" y="140"/>
                  </a:lnTo>
                  <a:lnTo>
                    <a:pt x="90" y="138"/>
                  </a:lnTo>
                  <a:lnTo>
                    <a:pt x="88" y="135"/>
                  </a:lnTo>
                  <a:lnTo>
                    <a:pt x="86" y="136"/>
                  </a:lnTo>
                  <a:lnTo>
                    <a:pt x="85" y="135"/>
                  </a:lnTo>
                  <a:lnTo>
                    <a:pt x="85" y="133"/>
                  </a:lnTo>
                  <a:lnTo>
                    <a:pt x="83" y="135"/>
                  </a:lnTo>
                  <a:lnTo>
                    <a:pt x="81" y="135"/>
                  </a:lnTo>
                  <a:lnTo>
                    <a:pt x="80" y="135"/>
                  </a:lnTo>
                  <a:lnTo>
                    <a:pt x="78" y="135"/>
                  </a:lnTo>
                  <a:lnTo>
                    <a:pt x="77" y="133"/>
                  </a:lnTo>
                  <a:lnTo>
                    <a:pt x="80" y="131"/>
                  </a:lnTo>
                  <a:lnTo>
                    <a:pt x="80" y="130"/>
                  </a:lnTo>
                  <a:lnTo>
                    <a:pt x="78" y="128"/>
                  </a:lnTo>
                  <a:lnTo>
                    <a:pt x="77" y="128"/>
                  </a:lnTo>
                  <a:lnTo>
                    <a:pt x="75" y="128"/>
                  </a:lnTo>
                  <a:lnTo>
                    <a:pt x="73" y="131"/>
                  </a:lnTo>
                  <a:lnTo>
                    <a:pt x="72" y="131"/>
                  </a:lnTo>
                  <a:lnTo>
                    <a:pt x="68" y="133"/>
                  </a:lnTo>
                  <a:lnTo>
                    <a:pt x="67" y="133"/>
                  </a:lnTo>
                  <a:lnTo>
                    <a:pt x="65" y="131"/>
                  </a:lnTo>
                  <a:lnTo>
                    <a:pt x="64" y="131"/>
                  </a:lnTo>
                  <a:lnTo>
                    <a:pt x="62" y="130"/>
                  </a:lnTo>
                  <a:lnTo>
                    <a:pt x="60" y="130"/>
                  </a:lnTo>
                  <a:lnTo>
                    <a:pt x="59" y="128"/>
                  </a:lnTo>
                  <a:lnTo>
                    <a:pt x="59" y="127"/>
                  </a:lnTo>
                  <a:lnTo>
                    <a:pt x="59" y="125"/>
                  </a:lnTo>
                  <a:lnTo>
                    <a:pt x="59" y="123"/>
                  </a:lnTo>
                  <a:lnTo>
                    <a:pt x="59" y="120"/>
                  </a:lnTo>
                  <a:lnTo>
                    <a:pt x="59" y="117"/>
                  </a:lnTo>
                  <a:lnTo>
                    <a:pt x="59" y="115"/>
                  </a:lnTo>
                  <a:lnTo>
                    <a:pt x="57" y="114"/>
                  </a:lnTo>
                  <a:lnTo>
                    <a:pt x="57" y="112"/>
                  </a:lnTo>
                  <a:lnTo>
                    <a:pt x="57" y="110"/>
                  </a:lnTo>
                  <a:lnTo>
                    <a:pt x="57" y="107"/>
                  </a:lnTo>
                  <a:lnTo>
                    <a:pt x="59" y="105"/>
                  </a:lnTo>
                  <a:lnTo>
                    <a:pt x="59" y="104"/>
                  </a:lnTo>
                  <a:lnTo>
                    <a:pt x="59" y="102"/>
                  </a:lnTo>
                  <a:lnTo>
                    <a:pt x="57" y="101"/>
                  </a:lnTo>
                  <a:lnTo>
                    <a:pt x="55" y="101"/>
                  </a:lnTo>
                  <a:lnTo>
                    <a:pt x="54" y="101"/>
                  </a:lnTo>
                  <a:lnTo>
                    <a:pt x="52" y="97"/>
                  </a:lnTo>
                  <a:lnTo>
                    <a:pt x="52" y="94"/>
                  </a:lnTo>
                  <a:lnTo>
                    <a:pt x="51" y="91"/>
                  </a:lnTo>
                  <a:lnTo>
                    <a:pt x="51" y="89"/>
                  </a:lnTo>
                  <a:lnTo>
                    <a:pt x="49" y="89"/>
                  </a:lnTo>
                  <a:lnTo>
                    <a:pt x="47" y="89"/>
                  </a:lnTo>
                  <a:lnTo>
                    <a:pt x="44" y="91"/>
                  </a:lnTo>
                  <a:lnTo>
                    <a:pt x="42" y="89"/>
                  </a:lnTo>
                  <a:lnTo>
                    <a:pt x="39" y="91"/>
                  </a:lnTo>
                  <a:lnTo>
                    <a:pt x="38" y="91"/>
                  </a:lnTo>
                  <a:lnTo>
                    <a:pt x="36" y="91"/>
                  </a:lnTo>
                  <a:lnTo>
                    <a:pt x="34" y="92"/>
                  </a:lnTo>
                  <a:lnTo>
                    <a:pt x="31" y="92"/>
                  </a:lnTo>
                  <a:lnTo>
                    <a:pt x="31" y="94"/>
                  </a:lnTo>
                  <a:lnTo>
                    <a:pt x="31" y="96"/>
                  </a:lnTo>
                  <a:lnTo>
                    <a:pt x="29" y="96"/>
                  </a:lnTo>
                  <a:lnTo>
                    <a:pt x="29" y="97"/>
                  </a:lnTo>
                  <a:lnTo>
                    <a:pt x="29" y="99"/>
                  </a:lnTo>
                  <a:lnTo>
                    <a:pt x="28" y="99"/>
                  </a:lnTo>
                  <a:lnTo>
                    <a:pt x="28" y="101"/>
                  </a:lnTo>
                  <a:lnTo>
                    <a:pt x="26" y="101"/>
                  </a:lnTo>
                  <a:lnTo>
                    <a:pt x="23" y="99"/>
                  </a:lnTo>
                  <a:lnTo>
                    <a:pt x="23" y="97"/>
                  </a:lnTo>
                  <a:lnTo>
                    <a:pt x="21" y="96"/>
                  </a:lnTo>
                  <a:lnTo>
                    <a:pt x="20" y="96"/>
                  </a:lnTo>
                  <a:lnTo>
                    <a:pt x="16" y="94"/>
                  </a:lnTo>
                  <a:lnTo>
                    <a:pt x="16" y="92"/>
                  </a:lnTo>
                  <a:lnTo>
                    <a:pt x="16" y="91"/>
                  </a:lnTo>
                  <a:lnTo>
                    <a:pt x="15" y="91"/>
                  </a:lnTo>
                  <a:lnTo>
                    <a:pt x="15" y="89"/>
                  </a:lnTo>
                  <a:lnTo>
                    <a:pt x="15" y="88"/>
                  </a:lnTo>
                  <a:lnTo>
                    <a:pt x="13" y="86"/>
                  </a:lnTo>
                  <a:lnTo>
                    <a:pt x="12" y="84"/>
                  </a:lnTo>
                  <a:lnTo>
                    <a:pt x="12" y="83"/>
                  </a:lnTo>
                  <a:lnTo>
                    <a:pt x="12" y="81"/>
                  </a:lnTo>
                  <a:lnTo>
                    <a:pt x="8" y="81"/>
                  </a:lnTo>
                  <a:lnTo>
                    <a:pt x="7" y="79"/>
                  </a:lnTo>
                  <a:lnTo>
                    <a:pt x="5" y="81"/>
                  </a:lnTo>
                  <a:lnTo>
                    <a:pt x="3" y="79"/>
                  </a:lnTo>
                  <a:lnTo>
                    <a:pt x="3" y="76"/>
                  </a:lnTo>
                  <a:lnTo>
                    <a:pt x="2" y="76"/>
                  </a:lnTo>
                  <a:lnTo>
                    <a:pt x="2" y="75"/>
                  </a:lnTo>
                  <a:lnTo>
                    <a:pt x="2" y="73"/>
                  </a:lnTo>
                  <a:lnTo>
                    <a:pt x="2" y="70"/>
                  </a:lnTo>
                  <a:lnTo>
                    <a:pt x="2" y="68"/>
                  </a:lnTo>
                  <a:lnTo>
                    <a:pt x="2" y="66"/>
                  </a:lnTo>
                  <a:lnTo>
                    <a:pt x="0" y="66"/>
                  </a:lnTo>
                  <a:lnTo>
                    <a:pt x="0" y="65"/>
                  </a:lnTo>
                  <a:lnTo>
                    <a:pt x="5" y="62"/>
                  </a:lnTo>
                  <a:lnTo>
                    <a:pt x="5" y="60"/>
                  </a:lnTo>
                  <a:lnTo>
                    <a:pt x="3" y="58"/>
                  </a:lnTo>
                  <a:lnTo>
                    <a:pt x="3" y="57"/>
                  </a:lnTo>
                  <a:lnTo>
                    <a:pt x="3" y="55"/>
                  </a:lnTo>
                  <a:lnTo>
                    <a:pt x="2" y="55"/>
                  </a:lnTo>
                  <a:lnTo>
                    <a:pt x="2" y="53"/>
                  </a:lnTo>
                  <a:lnTo>
                    <a:pt x="2" y="52"/>
                  </a:lnTo>
                  <a:lnTo>
                    <a:pt x="2" y="50"/>
                  </a:lnTo>
                  <a:lnTo>
                    <a:pt x="0" y="47"/>
                  </a:lnTo>
                  <a:lnTo>
                    <a:pt x="2" y="45"/>
                  </a:lnTo>
                  <a:lnTo>
                    <a:pt x="0" y="44"/>
                  </a:lnTo>
                  <a:lnTo>
                    <a:pt x="0" y="40"/>
                  </a:lnTo>
                  <a:lnTo>
                    <a:pt x="3" y="40"/>
                  </a:lnTo>
                  <a:lnTo>
                    <a:pt x="3" y="39"/>
                  </a:lnTo>
                  <a:lnTo>
                    <a:pt x="10" y="37"/>
                  </a:lnTo>
                  <a:lnTo>
                    <a:pt x="15" y="35"/>
                  </a:lnTo>
                  <a:lnTo>
                    <a:pt x="16" y="34"/>
                  </a:lnTo>
                  <a:lnTo>
                    <a:pt x="18" y="32"/>
                  </a:lnTo>
                  <a:lnTo>
                    <a:pt x="23" y="31"/>
                  </a:lnTo>
                  <a:lnTo>
                    <a:pt x="25" y="29"/>
                  </a:lnTo>
                  <a:lnTo>
                    <a:pt x="28" y="27"/>
                  </a:lnTo>
                  <a:lnTo>
                    <a:pt x="34" y="24"/>
                  </a:lnTo>
                  <a:lnTo>
                    <a:pt x="36" y="24"/>
                  </a:lnTo>
                  <a:lnTo>
                    <a:pt x="36" y="22"/>
                  </a:lnTo>
                  <a:lnTo>
                    <a:pt x="36" y="24"/>
                  </a:lnTo>
                  <a:lnTo>
                    <a:pt x="36" y="22"/>
                  </a:lnTo>
                  <a:lnTo>
                    <a:pt x="46" y="19"/>
                  </a:lnTo>
                  <a:lnTo>
                    <a:pt x="49" y="16"/>
                  </a:lnTo>
                  <a:lnTo>
                    <a:pt x="51" y="16"/>
                  </a:lnTo>
                  <a:lnTo>
                    <a:pt x="52" y="14"/>
                  </a:lnTo>
                  <a:lnTo>
                    <a:pt x="54" y="14"/>
                  </a:lnTo>
                  <a:lnTo>
                    <a:pt x="59" y="13"/>
                  </a:lnTo>
                  <a:lnTo>
                    <a:pt x="60" y="13"/>
                  </a:lnTo>
                  <a:lnTo>
                    <a:pt x="60" y="11"/>
                  </a:lnTo>
                  <a:lnTo>
                    <a:pt x="59" y="9"/>
                  </a:lnTo>
                  <a:lnTo>
                    <a:pt x="59" y="8"/>
                  </a:lnTo>
                  <a:lnTo>
                    <a:pt x="60" y="8"/>
                  </a:lnTo>
                  <a:lnTo>
                    <a:pt x="60" y="9"/>
                  </a:lnTo>
                  <a:lnTo>
                    <a:pt x="60" y="8"/>
                  </a:lnTo>
                  <a:lnTo>
                    <a:pt x="62" y="9"/>
                  </a:lnTo>
                  <a:lnTo>
                    <a:pt x="62" y="8"/>
                  </a:lnTo>
                  <a:lnTo>
                    <a:pt x="60" y="8"/>
                  </a:lnTo>
                  <a:lnTo>
                    <a:pt x="60" y="9"/>
                  </a:lnTo>
                  <a:lnTo>
                    <a:pt x="62" y="9"/>
                  </a:lnTo>
                  <a:lnTo>
                    <a:pt x="60" y="11"/>
                  </a:lnTo>
                  <a:lnTo>
                    <a:pt x="62" y="11"/>
                  </a:lnTo>
                  <a:lnTo>
                    <a:pt x="62" y="13"/>
                  </a:lnTo>
                  <a:lnTo>
                    <a:pt x="60" y="13"/>
                  </a:lnTo>
                  <a:lnTo>
                    <a:pt x="62" y="13"/>
                  </a:lnTo>
                  <a:lnTo>
                    <a:pt x="62" y="11"/>
                  </a:lnTo>
                  <a:lnTo>
                    <a:pt x="64" y="11"/>
                  </a:lnTo>
                  <a:lnTo>
                    <a:pt x="64" y="9"/>
                  </a:lnTo>
                  <a:lnTo>
                    <a:pt x="64" y="8"/>
                  </a:lnTo>
                  <a:lnTo>
                    <a:pt x="62" y="8"/>
                  </a:lnTo>
                  <a:lnTo>
                    <a:pt x="64" y="8"/>
                  </a:lnTo>
                  <a:lnTo>
                    <a:pt x="65" y="9"/>
                  </a:lnTo>
                  <a:lnTo>
                    <a:pt x="64" y="11"/>
                  </a:lnTo>
                  <a:lnTo>
                    <a:pt x="65" y="11"/>
                  </a:lnTo>
                  <a:lnTo>
                    <a:pt x="67" y="11"/>
                  </a:lnTo>
                  <a:lnTo>
                    <a:pt x="68" y="11"/>
                  </a:lnTo>
                  <a:lnTo>
                    <a:pt x="68" y="9"/>
                  </a:lnTo>
                  <a:lnTo>
                    <a:pt x="70" y="9"/>
                  </a:lnTo>
                  <a:lnTo>
                    <a:pt x="72" y="9"/>
                  </a:lnTo>
                  <a:lnTo>
                    <a:pt x="73" y="9"/>
                  </a:lnTo>
                  <a:lnTo>
                    <a:pt x="75" y="8"/>
                  </a:lnTo>
                  <a:lnTo>
                    <a:pt x="77" y="8"/>
                  </a:lnTo>
                  <a:lnTo>
                    <a:pt x="78" y="8"/>
                  </a:lnTo>
                  <a:lnTo>
                    <a:pt x="78" y="9"/>
                  </a:lnTo>
                  <a:lnTo>
                    <a:pt x="78" y="11"/>
                  </a:lnTo>
                  <a:lnTo>
                    <a:pt x="78" y="13"/>
                  </a:lnTo>
                  <a:lnTo>
                    <a:pt x="77" y="16"/>
                  </a:lnTo>
                  <a:lnTo>
                    <a:pt x="77" y="18"/>
                  </a:lnTo>
                  <a:lnTo>
                    <a:pt x="77" y="19"/>
                  </a:lnTo>
                  <a:lnTo>
                    <a:pt x="77" y="21"/>
                  </a:lnTo>
                  <a:lnTo>
                    <a:pt x="78" y="22"/>
                  </a:lnTo>
                  <a:lnTo>
                    <a:pt x="78" y="24"/>
                  </a:lnTo>
                  <a:lnTo>
                    <a:pt x="80" y="24"/>
                  </a:lnTo>
                  <a:lnTo>
                    <a:pt x="81" y="26"/>
                  </a:lnTo>
                  <a:lnTo>
                    <a:pt x="81" y="27"/>
                  </a:lnTo>
                  <a:lnTo>
                    <a:pt x="85" y="27"/>
                  </a:lnTo>
                  <a:lnTo>
                    <a:pt x="90" y="27"/>
                  </a:lnTo>
                  <a:lnTo>
                    <a:pt x="90" y="21"/>
                  </a:lnTo>
                  <a:lnTo>
                    <a:pt x="91" y="21"/>
                  </a:lnTo>
                  <a:lnTo>
                    <a:pt x="93" y="21"/>
                  </a:lnTo>
                  <a:lnTo>
                    <a:pt x="96" y="21"/>
                  </a:lnTo>
                  <a:lnTo>
                    <a:pt x="94" y="21"/>
                  </a:lnTo>
                  <a:lnTo>
                    <a:pt x="96" y="19"/>
                  </a:lnTo>
                  <a:lnTo>
                    <a:pt x="101" y="22"/>
                  </a:lnTo>
                  <a:lnTo>
                    <a:pt x="101" y="21"/>
                  </a:lnTo>
                  <a:lnTo>
                    <a:pt x="103" y="22"/>
                  </a:lnTo>
                  <a:lnTo>
                    <a:pt x="104" y="22"/>
                  </a:lnTo>
                  <a:lnTo>
                    <a:pt x="104" y="24"/>
                  </a:lnTo>
                  <a:lnTo>
                    <a:pt x="106" y="24"/>
                  </a:lnTo>
                  <a:lnTo>
                    <a:pt x="107" y="24"/>
                  </a:lnTo>
                  <a:lnTo>
                    <a:pt x="111" y="26"/>
                  </a:lnTo>
                  <a:lnTo>
                    <a:pt x="111" y="27"/>
                  </a:lnTo>
                  <a:lnTo>
                    <a:pt x="112" y="27"/>
                  </a:lnTo>
                  <a:lnTo>
                    <a:pt x="114" y="27"/>
                  </a:lnTo>
                  <a:lnTo>
                    <a:pt x="114" y="29"/>
                  </a:lnTo>
                  <a:lnTo>
                    <a:pt x="114" y="32"/>
                  </a:lnTo>
                  <a:lnTo>
                    <a:pt x="114" y="34"/>
                  </a:lnTo>
                  <a:lnTo>
                    <a:pt x="116" y="34"/>
                  </a:lnTo>
                  <a:lnTo>
                    <a:pt x="117" y="34"/>
                  </a:lnTo>
                  <a:lnTo>
                    <a:pt x="119" y="35"/>
                  </a:lnTo>
                  <a:lnTo>
                    <a:pt x="120" y="34"/>
                  </a:lnTo>
                  <a:lnTo>
                    <a:pt x="122" y="34"/>
                  </a:lnTo>
                  <a:lnTo>
                    <a:pt x="120" y="35"/>
                  </a:lnTo>
                  <a:lnTo>
                    <a:pt x="122" y="35"/>
                  </a:lnTo>
                  <a:lnTo>
                    <a:pt x="124" y="35"/>
                  </a:lnTo>
                  <a:lnTo>
                    <a:pt x="125" y="35"/>
                  </a:lnTo>
                  <a:lnTo>
                    <a:pt x="125" y="34"/>
                  </a:lnTo>
                  <a:lnTo>
                    <a:pt x="125" y="35"/>
                  </a:lnTo>
                  <a:lnTo>
                    <a:pt x="127" y="34"/>
                  </a:lnTo>
                  <a:lnTo>
                    <a:pt x="129" y="34"/>
                  </a:lnTo>
                  <a:lnTo>
                    <a:pt x="130" y="34"/>
                  </a:lnTo>
                  <a:lnTo>
                    <a:pt x="132" y="32"/>
                  </a:lnTo>
                  <a:lnTo>
                    <a:pt x="133" y="31"/>
                  </a:lnTo>
                  <a:lnTo>
                    <a:pt x="133" y="32"/>
                  </a:lnTo>
                  <a:lnTo>
                    <a:pt x="135" y="32"/>
                  </a:lnTo>
                  <a:lnTo>
                    <a:pt x="135" y="31"/>
                  </a:lnTo>
                  <a:lnTo>
                    <a:pt x="137" y="32"/>
                  </a:lnTo>
                  <a:lnTo>
                    <a:pt x="137" y="31"/>
                  </a:lnTo>
                  <a:lnTo>
                    <a:pt x="138" y="31"/>
                  </a:lnTo>
                  <a:lnTo>
                    <a:pt x="145" y="27"/>
                  </a:lnTo>
                  <a:lnTo>
                    <a:pt x="148" y="24"/>
                  </a:lnTo>
                  <a:lnTo>
                    <a:pt x="155" y="19"/>
                  </a:lnTo>
                  <a:lnTo>
                    <a:pt x="155" y="18"/>
                  </a:lnTo>
                  <a:lnTo>
                    <a:pt x="156" y="19"/>
                  </a:lnTo>
                  <a:lnTo>
                    <a:pt x="156" y="21"/>
                  </a:lnTo>
                  <a:lnTo>
                    <a:pt x="156" y="22"/>
                  </a:lnTo>
                  <a:lnTo>
                    <a:pt x="158" y="24"/>
                  </a:lnTo>
                  <a:lnTo>
                    <a:pt x="160" y="26"/>
                  </a:lnTo>
                  <a:lnTo>
                    <a:pt x="161" y="27"/>
                  </a:lnTo>
                  <a:lnTo>
                    <a:pt x="160" y="29"/>
                  </a:lnTo>
                  <a:lnTo>
                    <a:pt x="160" y="31"/>
                  </a:lnTo>
                  <a:lnTo>
                    <a:pt x="158" y="31"/>
                  </a:lnTo>
                  <a:lnTo>
                    <a:pt x="160" y="31"/>
                  </a:lnTo>
                  <a:lnTo>
                    <a:pt x="160" y="32"/>
                  </a:lnTo>
                  <a:lnTo>
                    <a:pt x="161" y="32"/>
                  </a:lnTo>
                  <a:lnTo>
                    <a:pt x="163" y="34"/>
                  </a:lnTo>
                  <a:lnTo>
                    <a:pt x="164" y="34"/>
                  </a:lnTo>
                  <a:lnTo>
                    <a:pt x="166" y="35"/>
                  </a:lnTo>
                  <a:lnTo>
                    <a:pt x="168" y="35"/>
                  </a:lnTo>
                  <a:lnTo>
                    <a:pt x="168" y="37"/>
                  </a:lnTo>
                  <a:lnTo>
                    <a:pt x="166" y="37"/>
                  </a:lnTo>
                  <a:lnTo>
                    <a:pt x="166" y="39"/>
                  </a:lnTo>
                  <a:lnTo>
                    <a:pt x="163" y="39"/>
                  </a:lnTo>
                  <a:lnTo>
                    <a:pt x="163" y="40"/>
                  </a:lnTo>
                  <a:lnTo>
                    <a:pt x="161" y="40"/>
                  </a:lnTo>
                  <a:lnTo>
                    <a:pt x="161" y="42"/>
                  </a:lnTo>
                  <a:lnTo>
                    <a:pt x="161" y="44"/>
                  </a:lnTo>
                  <a:lnTo>
                    <a:pt x="161" y="45"/>
                  </a:lnTo>
                  <a:lnTo>
                    <a:pt x="161" y="47"/>
                  </a:lnTo>
                  <a:lnTo>
                    <a:pt x="161" y="48"/>
                  </a:lnTo>
                  <a:lnTo>
                    <a:pt x="160" y="48"/>
                  </a:lnTo>
                  <a:lnTo>
                    <a:pt x="158" y="50"/>
                  </a:lnTo>
                  <a:lnTo>
                    <a:pt x="156" y="50"/>
                  </a:lnTo>
                  <a:lnTo>
                    <a:pt x="155" y="50"/>
                  </a:lnTo>
                  <a:lnTo>
                    <a:pt x="153" y="50"/>
                  </a:lnTo>
                  <a:lnTo>
                    <a:pt x="151" y="50"/>
                  </a:lnTo>
                  <a:lnTo>
                    <a:pt x="150" y="50"/>
                  </a:lnTo>
                  <a:lnTo>
                    <a:pt x="148" y="52"/>
                  </a:lnTo>
                  <a:lnTo>
                    <a:pt x="147" y="52"/>
                  </a:lnTo>
                  <a:lnTo>
                    <a:pt x="147" y="53"/>
                  </a:lnTo>
                  <a:lnTo>
                    <a:pt x="147" y="55"/>
                  </a:lnTo>
                  <a:lnTo>
                    <a:pt x="148" y="55"/>
                  </a:lnTo>
                  <a:lnTo>
                    <a:pt x="147" y="58"/>
                  </a:lnTo>
                  <a:lnTo>
                    <a:pt x="148" y="60"/>
                  </a:lnTo>
                  <a:lnTo>
                    <a:pt x="147" y="60"/>
                  </a:lnTo>
                  <a:lnTo>
                    <a:pt x="147" y="62"/>
                  </a:lnTo>
                  <a:lnTo>
                    <a:pt x="147" y="60"/>
                  </a:lnTo>
                  <a:lnTo>
                    <a:pt x="148" y="60"/>
                  </a:lnTo>
                  <a:lnTo>
                    <a:pt x="148" y="58"/>
                  </a:lnTo>
                  <a:lnTo>
                    <a:pt x="147" y="58"/>
                  </a:lnTo>
                  <a:lnTo>
                    <a:pt x="148" y="57"/>
                  </a:lnTo>
                  <a:lnTo>
                    <a:pt x="148" y="55"/>
                  </a:lnTo>
                  <a:lnTo>
                    <a:pt x="147" y="55"/>
                  </a:lnTo>
                  <a:lnTo>
                    <a:pt x="147" y="53"/>
                  </a:lnTo>
                  <a:lnTo>
                    <a:pt x="147" y="52"/>
                  </a:lnTo>
                  <a:lnTo>
                    <a:pt x="148" y="52"/>
                  </a:lnTo>
                  <a:lnTo>
                    <a:pt x="150" y="50"/>
                  </a:lnTo>
                  <a:lnTo>
                    <a:pt x="151" y="50"/>
                  </a:lnTo>
                  <a:lnTo>
                    <a:pt x="153" y="52"/>
                  </a:lnTo>
                  <a:lnTo>
                    <a:pt x="155" y="52"/>
                  </a:lnTo>
                  <a:lnTo>
                    <a:pt x="155" y="50"/>
                  </a:lnTo>
                  <a:lnTo>
                    <a:pt x="156" y="50"/>
                  </a:lnTo>
                  <a:lnTo>
                    <a:pt x="158" y="50"/>
                  </a:lnTo>
                  <a:lnTo>
                    <a:pt x="160" y="52"/>
                  </a:lnTo>
                  <a:lnTo>
                    <a:pt x="158" y="52"/>
                  </a:lnTo>
                  <a:lnTo>
                    <a:pt x="158" y="53"/>
                  </a:lnTo>
                  <a:lnTo>
                    <a:pt x="160" y="55"/>
                  </a:lnTo>
                  <a:lnTo>
                    <a:pt x="161" y="55"/>
                  </a:lnTo>
                  <a:lnTo>
                    <a:pt x="160" y="55"/>
                  </a:lnTo>
                  <a:lnTo>
                    <a:pt x="160" y="53"/>
                  </a:lnTo>
                  <a:lnTo>
                    <a:pt x="160" y="55"/>
                  </a:lnTo>
                  <a:lnTo>
                    <a:pt x="160" y="53"/>
                  </a:lnTo>
                  <a:lnTo>
                    <a:pt x="158" y="52"/>
                  </a:lnTo>
                  <a:lnTo>
                    <a:pt x="158" y="53"/>
                  </a:lnTo>
                  <a:lnTo>
                    <a:pt x="160" y="53"/>
                  </a:lnTo>
                  <a:lnTo>
                    <a:pt x="161" y="55"/>
                  </a:lnTo>
                  <a:lnTo>
                    <a:pt x="163" y="57"/>
                  </a:lnTo>
                  <a:lnTo>
                    <a:pt x="164" y="57"/>
                  </a:lnTo>
                  <a:lnTo>
                    <a:pt x="163" y="57"/>
                  </a:lnTo>
                  <a:lnTo>
                    <a:pt x="163" y="55"/>
                  </a:lnTo>
                  <a:lnTo>
                    <a:pt x="161" y="53"/>
                  </a:lnTo>
                  <a:lnTo>
                    <a:pt x="160" y="53"/>
                  </a:lnTo>
                  <a:lnTo>
                    <a:pt x="158" y="53"/>
                  </a:lnTo>
                  <a:lnTo>
                    <a:pt x="158" y="52"/>
                  </a:lnTo>
                  <a:lnTo>
                    <a:pt x="160" y="52"/>
                  </a:lnTo>
                  <a:lnTo>
                    <a:pt x="160" y="50"/>
                  </a:lnTo>
                  <a:lnTo>
                    <a:pt x="161" y="48"/>
                  </a:lnTo>
                  <a:lnTo>
                    <a:pt x="161" y="47"/>
                  </a:lnTo>
                  <a:lnTo>
                    <a:pt x="161" y="44"/>
                  </a:lnTo>
                  <a:lnTo>
                    <a:pt x="161" y="42"/>
                  </a:lnTo>
                  <a:lnTo>
                    <a:pt x="161" y="40"/>
                  </a:lnTo>
                  <a:lnTo>
                    <a:pt x="163" y="40"/>
                  </a:lnTo>
                  <a:lnTo>
                    <a:pt x="166" y="39"/>
                  </a:lnTo>
                  <a:lnTo>
                    <a:pt x="168" y="39"/>
                  </a:lnTo>
                  <a:lnTo>
                    <a:pt x="168" y="35"/>
                  </a:lnTo>
                  <a:lnTo>
                    <a:pt x="168" y="34"/>
                  </a:lnTo>
                  <a:lnTo>
                    <a:pt x="164" y="34"/>
                  </a:lnTo>
                  <a:lnTo>
                    <a:pt x="163" y="32"/>
                  </a:lnTo>
                  <a:lnTo>
                    <a:pt x="161" y="31"/>
                  </a:lnTo>
                  <a:lnTo>
                    <a:pt x="160" y="31"/>
                  </a:lnTo>
                  <a:lnTo>
                    <a:pt x="161" y="29"/>
                  </a:lnTo>
                  <a:lnTo>
                    <a:pt x="163" y="27"/>
                  </a:lnTo>
                  <a:lnTo>
                    <a:pt x="161" y="27"/>
                  </a:lnTo>
                  <a:lnTo>
                    <a:pt x="161" y="26"/>
                  </a:lnTo>
                  <a:lnTo>
                    <a:pt x="160" y="26"/>
                  </a:lnTo>
                  <a:lnTo>
                    <a:pt x="160" y="24"/>
                  </a:lnTo>
                  <a:lnTo>
                    <a:pt x="158" y="24"/>
                  </a:lnTo>
                  <a:lnTo>
                    <a:pt x="158" y="21"/>
                  </a:lnTo>
                  <a:lnTo>
                    <a:pt x="158" y="19"/>
                  </a:lnTo>
                  <a:lnTo>
                    <a:pt x="158" y="18"/>
                  </a:lnTo>
                  <a:lnTo>
                    <a:pt x="156" y="18"/>
                  </a:lnTo>
                  <a:lnTo>
                    <a:pt x="156" y="16"/>
                  </a:lnTo>
                  <a:lnTo>
                    <a:pt x="156" y="14"/>
                  </a:lnTo>
                  <a:lnTo>
                    <a:pt x="158" y="14"/>
                  </a:lnTo>
                  <a:lnTo>
                    <a:pt x="164" y="14"/>
                  </a:lnTo>
                  <a:lnTo>
                    <a:pt x="164" y="18"/>
                  </a:lnTo>
                  <a:lnTo>
                    <a:pt x="166" y="18"/>
                  </a:lnTo>
                  <a:lnTo>
                    <a:pt x="168" y="18"/>
                  </a:lnTo>
                  <a:lnTo>
                    <a:pt x="169" y="18"/>
                  </a:lnTo>
                  <a:lnTo>
                    <a:pt x="171" y="18"/>
                  </a:lnTo>
                  <a:lnTo>
                    <a:pt x="173" y="18"/>
                  </a:lnTo>
                  <a:lnTo>
                    <a:pt x="173" y="16"/>
                  </a:lnTo>
                  <a:lnTo>
                    <a:pt x="171" y="16"/>
                  </a:lnTo>
                  <a:lnTo>
                    <a:pt x="173" y="16"/>
                  </a:lnTo>
                  <a:lnTo>
                    <a:pt x="173" y="14"/>
                  </a:lnTo>
                  <a:lnTo>
                    <a:pt x="171" y="13"/>
                  </a:lnTo>
                  <a:lnTo>
                    <a:pt x="169" y="9"/>
                  </a:lnTo>
                  <a:lnTo>
                    <a:pt x="169" y="8"/>
                  </a:lnTo>
                  <a:lnTo>
                    <a:pt x="169" y="6"/>
                  </a:lnTo>
                  <a:lnTo>
                    <a:pt x="168" y="6"/>
                  </a:lnTo>
                  <a:lnTo>
                    <a:pt x="169" y="5"/>
                  </a:lnTo>
                  <a:lnTo>
                    <a:pt x="173" y="3"/>
                  </a:lnTo>
                  <a:lnTo>
                    <a:pt x="174" y="1"/>
                  </a:lnTo>
                  <a:lnTo>
                    <a:pt x="176" y="1"/>
                  </a:lnTo>
                  <a:lnTo>
                    <a:pt x="177" y="1"/>
                  </a:lnTo>
                  <a:lnTo>
                    <a:pt x="181" y="1"/>
                  </a:lnTo>
                  <a:lnTo>
                    <a:pt x="184" y="1"/>
                  </a:lnTo>
                  <a:lnTo>
                    <a:pt x="182" y="5"/>
                  </a:lnTo>
                  <a:lnTo>
                    <a:pt x="182" y="9"/>
                  </a:lnTo>
                  <a:lnTo>
                    <a:pt x="186" y="8"/>
                  </a:lnTo>
                  <a:lnTo>
                    <a:pt x="192" y="9"/>
                  </a:lnTo>
                  <a:lnTo>
                    <a:pt x="194" y="9"/>
                  </a:lnTo>
                  <a:lnTo>
                    <a:pt x="194" y="6"/>
                  </a:lnTo>
                  <a:lnTo>
                    <a:pt x="195" y="6"/>
                  </a:lnTo>
                  <a:lnTo>
                    <a:pt x="197" y="6"/>
                  </a:lnTo>
                  <a:lnTo>
                    <a:pt x="200" y="1"/>
                  </a:lnTo>
                  <a:lnTo>
                    <a:pt x="202" y="1"/>
                  </a:lnTo>
                  <a:lnTo>
                    <a:pt x="203" y="0"/>
                  </a:lnTo>
                  <a:lnTo>
                    <a:pt x="205" y="0"/>
                  </a:lnTo>
                  <a:lnTo>
                    <a:pt x="207" y="0"/>
                  </a:lnTo>
                  <a:lnTo>
                    <a:pt x="208" y="1"/>
                  </a:lnTo>
                  <a:lnTo>
                    <a:pt x="210" y="3"/>
                  </a:lnTo>
                  <a:lnTo>
                    <a:pt x="210" y="5"/>
                  </a:lnTo>
                  <a:lnTo>
                    <a:pt x="210" y="6"/>
                  </a:lnTo>
                  <a:lnTo>
                    <a:pt x="208" y="6"/>
                  </a:lnTo>
                  <a:lnTo>
                    <a:pt x="208" y="8"/>
                  </a:lnTo>
                  <a:lnTo>
                    <a:pt x="208" y="9"/>
                  </a:lnTo>
                  <a:close/>
                  <a:moveTo>
                    <a:pt x="218" y="9"/>
                  </a:moveTo>
                  <a:lnTo>
                    <a:pt x="218" y="8"/>
                  </a:lnTo>
                  <a:lnTo>
                    <a:pt x="218" y="9"/>
                  </a:lnTo>
                  <a:lnTo>
                    <a:pt x="218" y="11"/>
                  </a:lnTo>
                  <a:lnTo>
                    <a:pt x="218" y="9"/>
                  </a:lnTo>
                  <a:lnTo>
                    <a:pt x="218" y="11"/>
                  </a:lnTo>
                  <a:lnTo>
                    <a:pt x="218" y="9"/>
                  </a:lnTo>
                  <a:lnTo>
                    <a:pt x="216" y="11"/>
                  </a:lnTo>
                  <a:lnTo>
                    <a:pt x="216" y="9"/>
                  </a:lnTo>
                  <a:lnTo>
                    <a:pt x="218" y="9"/>
                  </a:lnTo>
                  <a:lnTo>
                    <a:pt x="216" y="8"/>
                  </a:lnTo>
                  <a:lnTo>
                    <a:pt x="218" y="8"/>
                  </a:lnTo>
                  <a:lnTo>
                    <a:pt x="216" y="8"/>
                  </a:lnTo>
                  <a:lnTo>
                    <a:pt x="218" y="8"/>
                  </a:lnTo>
                  <a:lnTo>
                    <a:pt x="218" y="9"/>
                  </a:lnTo>
                  <a:close/>
                  <a:moveTo>
                    <a:pt x="220" y="8"/>
                  </a:moveTo>
                  <a:lnTo>
                    <a:pt x="218" y="8"/>
                  </a:lnTo>
                  <a:lnTo>
                    <a:pt x="220" y="8"/>
                  </a:lnTo>
                  <a:close/>
                  <a:moveTo>
                    <a:pt x="218" y="9"/>
                  </a:moveTo>
                  <a:lnTo>
                    <a:pt x="220" y="9"/>
                  </a:lnTo>
                  <a:lnTo>
                    <a:pt x="218" y="9"/>
                  </a:lnTo>
                  <a:close/>
                </a:path>
              </a:pathLst>
            </a:custGeom>
            <a:solidFill>
              <a:srgbClr val="1EC08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24" name="Freeform 13">
              <a:extLst>
                <a:ext uri="{FF2B5EF4-FFF2-40B4-BE49-F238E27FC236}">
                  <a16:creationId xmlns:a16="http://schemas.microsoft.com/office/drawing/2014/main" id="{260EC8E2-6AA6-31EA-415F-890280F150D1}"/>
                </a:ext>
              </a:extLst>
            </p:cNvPr>
            <p:cNvSpPr>
              <a:spLocks noEditPoints="1"/>
            </p:cNvSpPr>
            <p:nvPr/>
          </p:nvSpPr>
          <p:spPr bwMode="auto">
            <a:xfrm>
              <a:off x="5484" y="4386"/>
              <a:ext cx="643" cy="484"/>
            </a:xfrm>
            <a:custGeom>
              <a:avLst/>
              <a:gdLst>
                <a:gd name="T0" fmla="*/ 64 w 643"/>
                <a:gd name="T1" fmla="*/ 96 h 484"/>
                <a:gd name="T2" fmla="*/ 72 w 643"/>
                <a:gd name="T3" fmla="*/ 135 h 484"/>
                <a:gd name="T4" fmla="*/ 130 w 643"/>
                <a:gd name="T5" fmla="*/ 125 h 484"/>
                <a:gd name="T6" fmla="*/ 190 w 643"/>
                <a:gd name="T7" fmla="*/ 130 h 484"/>
                <a:gd name="T8" fmla="*/ 247 w 643"/>
                <a:gd name="T9" fmla="*/ 117 h 484"/>
                <a:gd name="T10" fmla="*/ 293 w 643"/>
                <a:gd name="T11" fmla="*/ 107 h 484"/>
                <a:gd name="T12" fmla="*/ 347 w 643"/>
                <a:gd name="T13" fmla="*/ 96 h 484"/>
                <a:gd name="T14" fmla="*/ 376 w 643"/>
                <a:gd name="T15" fmla="*/ 52 h 484"/>
                <a:gd name="T16" fmla="*/ 420 w 643"/>
                <a:gd name="T17" fmla="*/ 27 h 484"/>
                <a:gd name="T18" fmla="*/ 464 w 643"/>
                <a:gd name="T19" fmla="*/ 4 h 484"/>
                <a:gd name="T20" fmla="*/ 529 w 643"/>
                <a:gd name="T21" fmla="*/ 3 h 484"/>
                <a:gd name="T22" fmla="*/ 634 w 643"/>
                <a:gd name="T23" fmla="*/ 26 h 484"/>
                <a:gd name="T24" fmla="*/ 641 w 643"/>
                <a:gd name="T25" fmla="*/ 58 h 484"/>
                <a:gd name="T26" fmla="*/ 618 w 643"/>
                <a:gd name="T27" fmla="*/ 73 h 484"/>
                <a:gd name="T28" fmla="*/ 594 w 643"/>
                <a:gd name="T29" fmla="*/ 99 h 484"/>
                <a:gd name="T30" fmla="*/ 578 w 643"/>
                <a:gd name="T31" fmla="*/ 115 h 484"/>
                <a:gd name="T32" fmla="*/ 558 w 643"/>
                <a:gd name="T33" fmla="*/ 123 h 484"/>
                <a:gd name="T34" fmla="*/ 587 w 643"/>
                <a:gd name="T35" fmla="*/ 118 h 484"/>
                <a:gd name="T36" fmla="*/ 591 w 643"/>
                <a:gd name="T37" fmla="*/ 156 h 484"/>
                <a:gd name="T38" fmla="*/ 589 w 643"/>
                <a:gd name="T39" fmla="*/ 187 h 484"/>
                <a:gd name="T40" fmla="*/ 573 w 643"/>
                <a:gd name="T41" fmla="*/ 201 h 484"/>
                <a:gd name="T42" fmla="*/ 561 w 643"/>
                <a:gd name="T43" fmla="*/ 226 h 484"/>
                <a:gd name="T44" fmla="*/ 569 w 643"/>
                <a:gd name="T45" fmla="*/ 227 h 484"/>
                <a:gd name="T46" fmla="*/ 586 w 643"/>
                <a:gd name="T47" fmla="*/ 227 h 484"/>
                <a:gd name="T48" fmla="*/ 597 w 643"/>
                <a:gd name="T49" fmla="*/ 242 h 484"/>
                <a:gd name="T50" fmla="*/ 607 w 643"/>
                <a:gd name="T51" fmla="*/ 258 h 484"/>
                <a:gd name="T52" fmla="*/ 618 w 643"/>
                <a:gd name="T53" fmla="*/ 266 h 484"/>
                <a:gd name="T54" fmla="*/ 634 w 643"/>
                <a:gd name="T55" fmla="*/ 279 h 484"/>
                <a:gd name="T56" fmla="*/ 615 w 643"/>
                <a:gd name="T57" fmla="*/ 284 h 484"/>
                <a:gd name="T58" fmla="*/ 605 w 643"/>
                <a:gd name="T59" fmla="*/ 291 h 484"/>
                <a:gd name="T60" fmla="*/ 587 w 643"/>
                <a:gd name="T61" fmla="*/ 299 h 484"/>
                <a:gd name="T62" fmla="*/ 568 w 643"/>
                <a:gd name="T63" fmla="*/ 294 h 484"/>
                <a:gd name="T64" fmla="*/ 540 w 643"/>
                <a:gd name="T65" fmla="*/ 291 h 484"/>
                <a:gd name="T66" fmla="*/ 514 w 643"/>
                <a:gd name="T67" fmla="*/ 309 h 484"/>
                <a:gd name="T68" fmla="*/ 483 w 643"/>
                <a:gd name="T69" fmla="*/ 326 h 484"/>
                <a:gd name="T70" fmla="*/ 462 w 643"/>
                <a:gd name="T71" fmla="*/ 361 h 484"/>
                <a:gd name="T72" fmla="*/ 443 w 643"/>
                <a:gd name="T73" fmla="*/ 379 h 484"/>
                <a:gd name="T74" fmla="*/ 457 w 643"/>
                <a:gd name="T75" fmla="*/ 403 h 484"/>
                <a:gd name="T76" fmla="*/ 434 w 643"/>
                <a:gd name="T77" fmla="*/ 424 h 484"/>
                <a:gd name="T78" fmla="*/ 408 w 643"/>
                <a:gd name="T79" fmla="*/ 432 h 484"/>
                <a:gd name="T80" fmla="*/ 379 w 643"/>
                <a:gd name="T81" fmla="*/ 445 h 484"/>
                <a:gd name="T82" fmla="*/ 348 w 643"/>
                <a:gd name="T83" fmla="*/ 439 h 484"/>
                <a:gd name="T84" fmla="*/ 314 w 643"/>
                <a:gd name="T85" fmla="*/ 445 h 484"/>
                <a:gd name="T86" fmla="*/ 285 w 643"/>
                <a:gd name="T87" fmla="*/ 429 h 484"/>
                <a:gd name="T88" fmla="*/ 255 w 643"/>
                <a:gd name="T89" fmla="*/ 429 h 484"/>
                <a:gd name="T90" fmla="*/ 233 w 643"/>
                <a:gd name="T91" fmla="*/ 432 h 484"/>
                <a:gd name="T92" fmla="*/ 216 w 643"/>
                <a:gd name="T93" fmla="*/ 445 h 484"/>
                <a:gd name="T94" fmla="*/ 187 w 643"/>
                <a:gd name="T95" fmla="*/ 465 h 484"/>
                <a:gd name="T96" fmla="*/ 151 w 643"/>
                <a:gd name="T97" fmla="*/ 468 h 484"/>
                <a:gd name="T98" fmla="*/ 117 w 643"/>
                <a:gd name="T99" fmla="*/ 478 h 484"/>
                <a:gd name="T100" fmla="*/ 114 w 643"/>
                <a:gd name="T101" fmla="*/ 439 h 484"/>
                <a:gd name="T102" fmla="*/ 96 w 643"/>
                <a:gd name="T103" fmla="*/ 400 h 484"/>
                <a:gd name="T104" fmla="*/ 64 w 643"/>
                <a:gd name="T105" fmla="*/ 382 h 484"/>
                <a:gd name="T106" fmla="*/ 34 w 643"/>
                <a:gd name="T107" fmla="*/ 356 h 484"/>
                <a:gd name="T108" fmla="*/ 47 w 643"/>
                <a:gd name="T109" fmla="*/ 325 h 484"/>
                <a:gd name="T110" fmla="*/ 38 w 643"/>
                <a:gd name="T111" fmla="*/ 294 h 484"/>
                <a:gd name="T112" fmla="*/ 55 w 643"/>
                <a:gd name="T113" fmla="*/ 270 h 484"/>
                <a:gd name="T114" fmla="*/ 73 w 643"/>
                <a:gd name="T115" fmla="*/ 239 h 484"/>
                <a:gd name="T116" fmla="*/ 60 w 643"/>
                <a:gd name="T117" fmla="*/ 208 h 484"/>
                <a:gd name="T118" fmla="*/ 31 w 643"/>
                <a:gd name="T119" fmla="*/ 192 h 484"/>
                <a:gd name="T120" fmla="*/ 8 w 643"/>
                <a:gd name="T121" fmla="*/ 162 h 484"/>
                <a:gd name="T122" fmla="*/ 7 w 643"/>
                <a:gd name="T123" fmla="*/ 113 h 484"/>
                <a:gd name="T124" fmla="*/ 20 w 643"/>
                <a:gd name="T125" fmla="*/ 86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643" h="484">
                  <a:moveTo>
                    <a:pt x="586" y="226"/>
                  </a:moveTo>
                  <a:lnTo>
                    <a:pt x="584" y="226"/>
                  </a:lnTo>
                  <a:lnTo>
                    <a:pt x="586" y="226"/>
                  </a:lnTo>
                  <a:close/>
                  <a:moveTo>
                    <a:pt x="23" y="83"/>
                  </a:moveTo>
                  <a:lnTo>
                    <a:pt x="25" y="83"/>
                  </a:lnTo>
                  <a:lnTo>
                    <a:pt x="26" y="84"/>
                  </a:lnTo>
                  <a:lnTo>
                    <a:pt x="28" y="83"/>
                  </a:lnTo>
                  <a:lnTo>
                    <a:pt x="29" y="83"/>
                  </a:lnTo>
                  <a:lnTo>
                    <a:pt x="31" y="84"/>
                  </a:lnTo>
                  <a:lnTo>
                    <a:pt x="33" y="84"/>
                  </a:lnTo>
                  <a:lnTo>
                    <a:pt x="34" y="86"/>
                  </a:lnTo>
                  <a:lnTo>
                    <a:pt x="36" y="87"/>
                  </a:lnTo>
                  <a:lnTo>
                    <a:pt x="39" y="89"/>
                  </a:lnTo>
                  <a:lnTo>
                    <a:pt x="42" y="89"/>
                  </a:lnTo>
                  <a:lnTo>
                    <a:pt x="44" y="91"/>
                  </a:lnTo>
                  <a:lnTo>
                    <a:pt x="49" y="92"/>
                  </a:lnTo>
                  <a:lnTo>
                    <a:pt x="51" y="94"/>
                  </a:lnTo>
                  <a:lnTo>
                    <a:pt x="52" y="94"/>
                  </a:lnTo>
                  <a:lnTo>
                    <a:pt x="54" y="94"/>
                  </a:lnTo>
                  <a:lnTo>
                    <a:pt x="57" y="94"/>
                  </a:lnTo>
                  <a:lnTo>
                    <a:pt x="59" y="94"/>
                  </a:lnTo>
                  <a:lnTo>
                    <a:pt x="62" y="94"/>
                  </a:lnTo>
                  <a:lnTo>
                    <a:pt x="64" y="96"/>
                  </a:lnTo>
                  <a:lnTo>
                    <a:pt x="64" y="97"/>
                  </a:lnTo>
                  <a:lnTo>
                    <a:pt x="64" y="99"/>
                  </a:lnTo>
                  <a:lnTo>
                    <a:pt x="64" y="104"/>
                  </a:lnTo>
                  <a:lnTo>
                    <a:pt x="62" y="105"/>
                  </a:lnTo>
                  <a:lnTo>
                    <a:pt x="59" y="107"/>
                  </a:lnTo>
                  <a:lnTo>
                    <a:pt x="52" y="109"/>
                  </a:lnTo>
                  <a:lnTo>
                    <a:pt x="51" y="110"/>
                  </a:lnTo>
                  <a:lnTo>
                    <a:pt x="49" y="112"/>
                  </a:lnTo>
                  <a:lnTo>
                    <a:pt x="49" y="113"/>
                  </a:lnTo>
                  <a:lnTo>
                    <a:pt x="49" y="120"/>
                  </a:lnTo>
                  <a:lnTo>
                    <a:pt x="47" y="125"/>
                  </a:lnTo>
                  <a:lnTo>
                    <a:pt x="47" y="128"/>
                  </a:lnTo>
                  <a:lnTo>
                    <a:pt x="49" y="130"/>
                  </a:lnTo>
                  <a:lnTo>
                    <a:pt x="49" y="131"/>
                  </a:lnTo>
                  <a:lnTo>
                    <a:pt x="52" y="133"/>
                  </a:lnTo>
                  <a:lnTo>
                    <a:pt x="54" y="133"/>
                  </a:lnTo>
                  <a:lnTo>
                    <a:pt x="55" y="133"/>
                  </a:lnTo>
                  <a:lnTo>
                    <a:pt x="57" y="133"/>
                  </a:lnTo>
                  <a:lnTo>
                    <a:pt x="59" y="133"/>
                  </a:lnTo>
                  <a:lnTo>
                    <a:pt x="60" y="133"/>
                  </a:lnTo>
                  <a:lnTo>
                    <a:pt x="62" y="135"/>
                  </a:lnTo>
                  <a:lnTo>
                    <a:pt x="70" y="135"/>
                  </a:lnTo>
                  <a:lnTo>
                    <a:pt x="72" y="135"/>
                  </a:lnTo>
                  <a:lnTo>
                    <a:pt x="73" y="135"/>
                  </a:lnTo>
                  <a:lnTo>
                    <a:pt x="80" y="131"/>
                  </a:lnTo>
                  <a:lnTo>
                    <a:pt x="86" y="126"/>
                  </a:lnTo>
                  <a:lnTo>
                    <a:pt x="91" y="125"/>
                  </a:lnTo>
                  <a:lnTo>
                    <a:pt x="91" y="123"/>
                  </a:lnTo>
                  <a:lnTo>
                    <a:pt x="94" y="123"/>
                  </a:lnTo>
                  <a:lnTo>
                    <a:pt x="98" y="122"/>
                  </a:lnTo>
                  <a:lnTo>
                    <a:pt x="101" y="122"/>
                  </a:lnTo>
                  <a:lnTo>
                    <a:pt x="103" y="122"/>
                  </a:lnTo>
                  <a:lnTo>
                    <a:pt x="107" y="120"/>
                  </a:lnTo>
                  <a:lnTo>
                    <a:pt x="109" y="120"/>
                  </a:lnTo>
                  <a:lnTo>
                    <a:pt x="111" y="120"/>
                  </a:lnTo>
                  <a:lnTo>
                    <a:pt x="112" y="122"/>
                  </a:lnTo>
                  <a:lnTo>
                    <a:pt x="114" y="122"/>
                  </a:lnTo>
                  <a:lnTo>
                    <a:pt x="117" y="120"/>
                  </a:lnTo>
                  <a:lnTo>
                    <a:pt x="121" y="122"/>
                  </a:lnTo>
                  <a:lnTo>
                    <a:pt x="122" y="123"/>
                  </a:lnTo>
                  <a:lnTo>
                    <a:pt x="124" y="123"/>
                  </a:lnTo>
                  <a:lnTo>
                    <a:pt x="125" y="123"/>
                  </a:lnTo>
                  <a:lnTo>
                    <a:pt x="127" y="123"/>
                  </a:lnTo>
                  <a:lnTo>
                    <a:pt x="127" y="125"/>
                  </a:lnTo>
                  <a:lnTo>
                    <a:pt x="129" y="125"/>
                  </a:lnTo>
                  <a:lnTo>
                    <a:pt x="130" y="125"/>
                  </a:lnTo>
                  <a:lnTo>
                    <a:pt x="132" y="125"/>
                  </a:lnTo>
                  <a:lnTo>
                    <a:pt x="134" y="123"/>
                  </a:lnTo>
                  <a:lnTo>
                    <a:pt x="137" y="122"/>
                  </a:lnTo>
                  <a:lnTo>
                    <a:pt x="140" y="122"/>
                  </a:lnTo>
                  <a:lnTo>
                    <a:pt x="142" y="122"/>
                  </a:lnTo>
                  <a:lnTo>
                    <a:pt x="143" y="122"/>
                  </a:lnTo>
                  <a:lnTo>
                    <a:pt x="145" y="123"/>
                  </a:lnTo>
                  <a:lnTo>
                    <a:pt x="147" y="123"/>
                  </a:lnTo>
                  <a:lnTo>
                    <a:pt x="150" y="123"/>
                  </a:lnTo>
                  <a:lnTo>
                    <a:pt x="151" y="125"/>
                  </a:lnTo>
                  <a:lnTo>
                    <a:pt x="155" y="125"/>
                  </a:lnTo>
                  <a:lnTo>
                    <a:pt x="158" y="126"/>
                  </a:lnTo>
                  <a:lnTo>
                    <a:pt x="161" y="125"/>
                  </a:lnTo>
                  <a:lnTo>
                    <a:pt x="166" y="125"/>
                  </a:lnTo>
                  <a:lnTo>
                    <a:pt x="168" y="125"/>
                  </a:lnTo>
                  <a:lnTo>
                    <a:pt x="174" y="126"/>
                  </a:lnTo>
                  <a:lnTo>
                    <a:pt x="177" y="126"/>
                  </a:lnTo>
                  <a:lnTo>
                    <a:pt x="179" y="128"/>
                  </a:lnTo>
                  <a:lnTo>
                    <a:pt x="181" y="128"/>
                  </a:lnTo>
                  <a:lnTo>
                    <a:pt x="184" y="128"/>
                  </a:lnTo>
                  <a:lnTo>
                    <a:pt x="187" y="130"/>
                  </a:lnTo>
                  <a:lnTo>
                    <a:pt x="189" y="130"/>
                  </a:lnTo>
                  <a:lnTo>
                    <a:pt x="190" y="130"/>
                  </a:lnTo>
                  <a:lnTo>
                    <a:pt x="192" y="128"/>
                  </a:lnTo>
                  <a:lnTo>
                    <a:pt x="195" y="126"/>
                  </a:lnTo>
                  <a:lnTo>
                    <a:pt x="200" y="125"/>
                  </a:lnTo>
                  <a:lnTo>
                    <a:pt x="202" y="125"/>
                  </a:lnTo>
                  <a:lnTo>
                    <a:pt x="203" y="125"/>
                  </a:lnTo>
                  <a:lnTo>
                    <a:pt x="205" y="125"/>
                  </a:lnTo>
                  <a:lnTo>
                    <a:pt x="207" y="123"/>
                  </a:lnTo>
                  <a:lnTo>
                    <a:pt x="208" y="122"/>
                  </a:lnTo>
                  <a:lnTo>
                    <a:pt x="212" y="120"/>
                  </a:lnTo>
                  <a:lnTo>
                    <a:pt x="213" y="118"/>
                  </a:lnTo>
                  <a:lnTo>
                    <a:pt x="215" y="115"/>
                  </a:lnTo>
                  <a:lnTo>
                    <a:pt x="220" y="112"/>
                  </a:lnTo>
                  <a:lnTo>
                    <a:pt x="221" y="112"/>
                  </a:lnTo>
                  <a:lnTo>
                    <a:pt x="223" y="112"/>
                  </a:lnTo>
                  <a:lnTo>
                    <a:pt x="228" y="112"/>
                  </a:lnTo>
                  <a:lnTo>
                    <a:pt x="229" y="112"/>
                  </a:lnTo>
                  <a:lnTo>
                    <a:pt x="231" y="112"/>
                  </a:lnTo>
                  <a:lnTo>
                    <a:pt x="234" y="113"/>
                  </a:lnTo>
                  <a:lnTo>
                    <a:pt x="238" y="115"/>
                  </a:lnTo>
                  <a:lnTo>
                    <a:pt x="239" y="117"/>
                  </a:lnTo>
                  <a:lnTo>
                    <a:pt x="244" y="118"/>
                  </a:lnTo>
                  <a:lnTo>
                    <a:pt x="246" y="118"/>
                  </a:lnTo>
                  <a:lnTo>
                    <a:pt x="247" y="117"/>
                  </a:lnTo>
                  <a:lnTo>
                    <a:pt x="252" y="113"/>
                  </a:lnTo>
                  <a:lnTo>
                    <a:pt x="254" y="112"/>
                  </a:lnTo>
                  <a:lnTo>
                    <a:pt x="257" y="112"/>
                  </a:lnTo>
                  <a:lnTo>
                    <a:pt x="259" y="112"/>
                  </a:lnTo>
                  <a:lnTo>
                    <a:pt x="260" y="112"/>
                  </a:lnTo>
                  <a:lnTo>
                    <a:pt x="264" y="110"/>
                  </a:lnTo>
                  <a:lnTo>
                    <a:pt x="265" y="110"/>
                  </a:lnTo>
                  <a:lnTo>
                    <a:pt x="267" y="109"/>
                  </a:lnTo>
                  <a:lnTo>
                    <a:pt x="269" y="109"/>
                  </a:lnTo>
                  <a:lnTo>
                    <a:pt x="270" y="107"/>
                  </a:lnTo>
                  <a:lnTo>
                    <a:pt x="272" y="107"/>
                  </a:lnTo>
                  <a:lnTo>
                    <a:pt x="273" y="107"/>
                  </a:lnTo>
                  <a:lnTo>
                    <a:pt x="275" y="109"/>
                  </a:lnTo>
                  <a:lnTo>
                    <a:pt x="277" y="109"/>
                  </a:lnTo>
                  <a:lnTo>
                    <a:pt x="277" y="110"/>
                  </a:lnTo>
                  <a:lnTo>
                    <a:pt x="278" y="110"/>
                  </a:lnTo>
                  <a:lnTo>
                    <a:pt x="283" y="110"/>
                  </a:lnTo>
                  <a:lnTo>
                    <a:pt x="285" y="110"/>
                  </a:lnTo>
                  <a:lnTo>
                    <a:pt x="286" y="109"/>
                  </a:lnTo>
                  <a:lnTo>
                    <a:pt x="288" y="107"/>
                  </a:lnTo>
                  <a:lnTo>
                    <a:pt x="290" y="107"/>
                  </a:lnTo>
                  <a:lnTo>
                    <a:pt x="291" y="107"/>
                  </a:lnTo>
                  <a:lnTo>
                    <a:pt x="293" y="107"/>
                  </a:lnTo>
                  <a:lnTo>
                    <a:pt x="295" y="107"/>
                  </a:lnTo>
                  <a:lnTo>
                    <a:pt x="298" y="107"/>
                  </a:lnTo>
                  <a:lnTo>
                    <a:pt x="299" y="109"/>
                  </a:lnTo>
                  <a:lnTo>
                    <a:pt x="303" y="110"/>
                  </a:lnTo>
                  <a:lnTo>
                    <a:pt x="308" y="112"/>
                  </a:lnTo>
                  <a:lnTo>
                    <a:pt x="309" y="113"/>
                  </a:lnTo>
                  <a:lnTo>
                    <a:pt x="311" y="113"/>
                  </a:lnTo>
                  <a:lnTo>
                    <a:pt x="312" y="113"/>
                  </a:lnTo>
                  <a:lnTo>
                    <a:pt x="316" y="113"/>
                  </a:lnTo>
                  <a:lnTo>
                    <a:pt x="317" y="113"/>
                  </a:lnTo>
                  <a:lnTo>
                    <a:pt x="317" y="112"/>
                  </a:lnTo>
                  <a:lnTo>
                    <a:pt x="321" y="110"/>
                  </a:lnTo>
                  <a:lnTo>
                    <a:pt x="324" y="109"/>
                  </a:lnTo>
                  <a:lnTo>
                    <a:pt x="324" y="107"/>
                  </a:lnTo>
                  <a:lnTo>
                    <a:pt x="325" y="107"/>
                  </a:lnTo>
                  <a:lnTo>
                    <a:pt x="329" y="107"/>
                  </a:lnTo>
                  <a:lnTo>
                    <a:pt x="330" y="107"/>
                  </a:lnTo>
                  <a:lnTo>
                    <a:pt x="332" y="107"/>
                  </a:lnTo>
                  <a:lnTo>
                    <a:pt x="338" y="100"/>
                  </a:lnTo>
                  <a:lnTo>
                    <a:pt x="340" y="99"/>
                  </a:lnTo>
                  <a:lnTo>
                    <a:pt x="340" y="97"/>
                  </a:lnTo>
                  <a:lnTo>
                    <a:pt x="345" y="97"/>
                  </a:lnTo>
                  <a:lnTo>
                    <a:pt x="347" y="96"/>
                  </a:lnTo>
                  <a:lnTo>
                    <a:pt x="350" y="94"/>
                  </a:lnTo>
                  <a:lnTo>
                    <a:pt x="351" y="92"/>
                  </a:lnTo>
                  <a:lnTo>
                    <a:pt x="353" y="91"/>
                  </a:lnTo>
                  <a:lnTo>
                    <a:pt x="353" y="89"/>
                  </a:lnTo>
                  <a:lnTo>
                    <a:pt x="353" y="87"/>
                  </a:lnTo>
                  <a:lnTo>
                    <a:pt x="356" y="84"/>
                  </a:lnTo>
                  <a:lnTo>
                    <a:pt x="358" y="84"/>
                  </a:lnTo>
                  <a:lnTo>
                    <a:pt x="358" y="83"/>
                  </a:lnTo>
                  <a:lnTo>
                    <a:pt x="360" y="79"/>
                  </a:lnTo>
                  <a:lnTo>
                    <a:pt x="360" y="78"/>
                  </a:lnTo>
                  <a:lnTo>
                    <a:pt x="361" y="74"/>
                  </a:lnTo>
                  <a:lnTo>
                    <a:pt x="363" y="73"/>
                  </a:lnTo>
                  <a:lnTo>
                    <a:pt x="363" y="71"/>
                  </a:lnTo>
                  <a:lnTo>
                    <a:pt x="364" y="68"/>
                  </a:lnTo>
                  <a:lnTo>
                    <a:pt x="366" y="66"/>
                  </a:lnTo>
                  <a:lnTo>
                    <a:pt x="368" y="63"/>
                  </a:lnTo>
                  <a:lnTo>
                    <a:pt x="371" y="61"/>
                  </a:lnTo>
                  <a:lnTo>
                    <a:pt x="373" y="60"/>
                  </a:lnTo>
                  <a:lnTo>
                    <a:pt x="374" y="58"/>
                  </a:lnTo>
                  <a:lnTo>
                    <a:pt x="374" y="57"/>
                  </a:lnTo>
                  <a:lnTo>
                    <a:pt x="374" y="55"/>
                  </a:lnTo>
                  <a:lnTo>
                    <a:pt x="376" y="53"/>
                  </a:lnTo>
                  <a:lnTo>
                    <a:pt x="376" y="52"/>
                  </a:lnTo>
                  <a:lnTo>
                    <a:pt x="377" y="48"/>
                  </a:lnTo>
                  <a:lnTo>
                    <a:pt x="379" y="48"/>
                  </a:lnTo>
                  <a:lnTo>
                    <a:pt x="381" y="45"/>
                  </a:lnTo>
                  <a:lnTo>
                    <a:pt x="382" y="45"/>
                  </a:lnTo>
                  <a:lnTo>
                    <a:pt x="384" y="45"/>
                  </a:lnTo>
                  <a:lnTo>
                    <a:pt x="386" y="45"/>
                  </a:lnTo>
                  <a:lnTo>
                    <a:pt x="387" y="44"/>
                  </a:lnTo>
                  <a:lnTo>
                    <a:pt x="392" y="40"/>
                  </a:lnTo>
                  <a:lnTo>
                    <a:pt x="394" y="39"/>
                  </a:lnTo>
                  <a:lnTo>
                    <a:pt x="395" y="37"/>
                  </a:lnTo>
                  <a:lnTo>
                    <a:pt x="397" y="35"/>
                  </a:lnTo>
                  <a:lnTo>
                    <a:pt x="399" y="35"/>
                  </a:lnTo>
                  <a:lnTo>
                    <a:pt x="400" y="34"/>
                  </a:lnTo>
                  <a:lnTo>
                    <a:pt x="402" y="34"/>
                  </a:lnTo>
                  <a:lnTo>
                    <a:pt x="403" y="32"/>
                  </a:lnTo>
                  <a:lnTo>
                    <a:pt x="405" y="32"/>
                  </a:lnTo>
                  <a:lnTo>
                    <a:pt x="407" y="32"/>
                  </a:lnTo>
                  <a:lnTo>
                    <a:pt x="408" y="32"/>
                  </a:lnTo>
                  <a:lnTo>
                    <a:pt x="410" y="30"/>
                  </a:lnTo>
                  <a:lnTo>
                    <a:pt x="412" y="30"/>
                  </a:lnTo>
                  <a:lnTo>
                    <a:pt x="415" y="29"/>
                  </a:lnTo>
                  <a:lnTo>
                    <a:pt x="418" y="27"/>
                  </a:lnTo>
                  <a:lnTo>
                    <a:pt x="420" y="27"/>
                  </a:lnTo>
                  <a:lnTo>
                    <a:pt x="421" y="26"/>
                  </a:lnTo>
                  <a:lnTo>
                    <a:pt x="425" y="26"/>
                  </a:lnTo>
                  <a:lnTo>
                    <a:pt x="426" y="24"/>
                  </a:lnTo>
                  <a:lnTo>
                    <a:pt x="430" y="24"/>
                  </a:lnTo>
                  <a:lnTo>
                    <a:pt x="430" y="22"/>
                  </a:lnTo>
                  <a:lnTo>
                    <a:pt x="431" y="21"/>
                  </a:lnTo>
                  <a:lnTo>
                    <a:pt x="433" y="21"/>
                  </a:lnTo>
                  <a:lnTo>
                    <a:pt x="434" y="21"/>
                  </a:lnTo>
                  <a:lnTo>
                    <a:pt x="434" y="19"/>
                  </a:lnTo>
                  <a:lnTo>
                    <a:pt x="436" y="19"/>
                  </a:lnTo>
                  <a:lnTo>
                    <a:pt x="438" y="19"/>
                  </a:lnTo>
                  <a:lnTo>
                    <a:pt x="439" y="19"/>
                  </a:lnTo>
                  <a:lnTo>
                    <a:pt x="441" y="17"/>
                  </a:lnTo>
                  <a:lnTo>
                    <a:pt x="446" y="14"/>
                  </a:lnTo>
                  <a:lnTo>
                    <a:pt x="447" y="11"/>
                  </a:lnTo>
                  <a:lnTo>
                    <a:pt x="449" y="11"/>
                  </a:lnTo>
                  <a:lnTo>
                    <a:pt x="451" y="9"/>
                  </a:lnTo>
                  <a:lnTo>
                    <a:pt x="452" y="8"/>
                  </a:lnTo>
                  <a:lnTo>
                    <a:pt x="454" y="8"/>
                  </a:lnTo>
                  <a:lnTo>
                    <a:pt x="459" y="6"/>
                  </a:lnTo>
                  <a:lnTo>
                    <a:pt x="460" y="6"/>
                  </a:lnTo>
                  <a:lnTo>
                    <a:pt x="462" y="4"/>
                  </a:lnTo>
                  <a:lnTo>
                    <a:pt x="464" y="4"/>
                  </a:lnTo>
                  <a:lnTo>
                    <a:pt x="467" y="3"/>
                  </a:lnTo>
                  <a:lnTo>
                    <a:pt x="470" y="1"/>
                  </a:lnTo>
                  <a:lnTo>
                    <a:pt x="472" y="3"/>
                  </a:lnTo>
                  <a:lnTo>
                    <a:pt x="473" y="1"/>
                  </a:lnTo>
                  <a:lnTo>
                    <a:pt x="475" y="1"/>
                  </a:lnTo>
                  <a:lnTo>
                    <a:pt x="477" y="1"/>
                  </a:lnTo>
                  <a:lnTo>
                    <a:pt x="478" y="1"/>
                  </a:lnTo>
                  <a:lnTo>
                    <a:pt x="480" y="1"/>
                  </a:lnTo>
                  <a:lnTo>
                    <a:pt x="482" y="3"/>
                  </a:lnTo>
                  <a:lnTo>
                    <a:pt x="483" y="3"/>
                  </a:lnTo>
                  <a:lnTo>
                    <a:pt x="486" y="3"/>
                  </a:lnTo>
                  <a:lnTo>
                    <a:pt x="488" y="1"/>
                  </a:lnTo>
                  <a:lnTo>
                    <a:pt x="490" y="0"/>
                  </a:lnTo>
                  <a:lnTo>
                    <a:pt x="491" y="1"/>
                  </a:lnTo>
                  <a:lnTo>
                    <a:pt x="491" y="3"/>
                  </a:lnTo>
                  <a:lnTo>
                    <a:pt x="491" y="4"/>
                  </a:lnTo>
                  <a:lnTo>
                    <a:pt x="493" y="6"/>
                  </a:lnTo>
                  <a:lnTo>
                    <a:pt x="499" y="8"/>
                  </a:lnTo>
                  <a:lnTo>
                    <a:pt x="503" y="11"/>
                  </a:lnTo>
                  <a:lnTo>
                    <a:pt x="506" y="13"/>
                  </a:lnTo>
                  <a:lnTo>
                    <a:pt x="512" y="9"/>
                  </a:lnTo>
                  <a:lnTo>
                    <a:pt x="527" y="8"/>
                  </a:lnTo>
                  <a:lnTo>
                    <a:pt x="529" y="3"/>
                  </a:lnTo>
                  <a:lnTo>
                    <a:pt x="530" y="3"/>
                  </a:lnTo>
                  <a:lnTo>
                    <a:pt x="532" y="4"/>
                  </a:lnTo>
                  <a:lnTo>
                    <a:pt x="534" y="4"/>
                  </a:lnTo>
                  <a:lnTo>
                    <a:pt x="537" y="9"/>
                  </a:lnTo>
                  <a:lnTo>
                    <a:pt x="538" y="13"/>
                  </a:lnTo>
                  <a:lnTo>
                    <a:pt x="540" y="13"/>
                  </a:lnTo>
                  <a:lnTo>
                    <a:pt x="542" y="13"/>
                  </a:lnTo>
                  <a:lnTo>
                    <a:pt x="543" y="13"/>
                  </a:lnTo>
                  <a:lnTo>
                    <a:pt x="551" y="9"/>
                  </a:lnTo>
                  <a:lnTo>
                    <a:pt x="558" y="1"/>
                  </a:lnTo>
                  <a:lnTo>
                    <a:pt x="561" y="3"/>
                  </a:lnTo>
                  <a:lnTo>
                    <a:pt x="563" y="8"/>
                  </a:lnTo>
                  <a:lnTo>
                    <a:pt x="565" y="9"/>
                  </a:lnTo>
                  <a:lnTo>
                    <a:pt x="568" y="14"/>
                  </a:lnTo>
                  <a:lnTo>
                    <a:pt x="571" y="22"/>
                  </a:lnTo>
                  <a:lnTo>
                    <a:pt x="573" y="22"/>
                  </a:lnTo>
                  <a:lnTo>
                    <a:pt x="584" y="26"/>
                  </a:lnTo>
                  <a:lnTo>
                    <a:pt x="599" y="27"/>
                  </a:lnTo>
                  <a:lnTo>
                    <a:pt x="610" y="26"/>
                  </a:lnTo>
                  <a:lnTo>
                    <a:pt x="620" y="26"/>
                  </a:lnTo>
                  <a:lnTo>
                    <a:pt x="633" y="22"/>
                  </a:lnTo>
                  <a:lnTo>
                    <a:pt x="633" y="24"/>
                  </a:lnTo>
                  <a:lnTo>
                    <a:pt x="634" y="26"/>
                  </a:lnTo>
                  <a:lnTo>
                    <a:pt x="634" y="27"/>
                  </a:lnTo>
                  <a:lnTo>
                    <a:pt x="633" y="29"/>
                  </a:lnTo>
                  <a:lnTo>
                    <a:pt x="634" y="30"/>
                  </a:lnTo>
                  <a:lnTo>
                    <a:pt x="634" y="32"/>
                  </a:lnTo>
                  <a:lnTo>
                    <a:pt x="634" y="34"/>
                  </a:lnTo>
                  <a:lnTo>
                    <a:pt x="636" y="35"/>
                  </a:lnTo>
                  <a:lnTo>
                    <a:pt x="636" y="37"/>
                  </a:lnTo>
                  <a:lnTo>
                    <a:pt x="636" y="39"/>
                  </a:lnTo>
                  <a:lnTo>
                    <a:pt x="636" y="40"/>
                  </a:lnTo>
                  <a:lnTo>
                    <a:pt x="636" y="42"/>
                  </a:lnTo>
                  <a:lnTo>
                    <a:pt x="638" y="42"/>
                  </a:lnTo>
                  <a:lnTo>
                    <a:pt x="638" y="44"/>
                  </a:lnTo>
                  <a:lnTo>
                    <a:pt x="639" y="47"/>
                  </a:lnTo>
                  <a:lnTo>
                    <a:pt x="641" y="47"/>
                  </a:lnTo>
                  <a:lnTo>
                    <a:pt x="643" y="47"/>
                  </a:lnTo>
                  <a:lnTo>
                    <a:pt x="643" y="48"/>
                  </a:lnTo>
                  <a:lnTo>
                    <a:pt x="643" y="50"/>
                  </a:lnTo>
                  <a:lnTo>
                    <a:pt x="643" y="52"/>
                  </a:lnTo>
                  <a:lnTo>
                    <a:pt x="643" y="53"/>
                  </a:lnTo>
                  <a:lnTo>
                    <a:pt x="643" y="55"/>
                  </a:lnTo>
                  <a:lnTo>
                    <a:pt x="643" y="57"/>
                  </a:lnTo>
                  <a:lnTo>
                    <a:pt x="643" y="58"/>
                  </a:lnTo>
                  <a:lnTo>
                    <a:pt x="641" y="58"/>
                  </a:lnTo>
                  <a:lnTo>
                    <a:pt x="641" y="61"/>
                  </a:lnTo>
                  <a:lnTo>
                    <a:pt x="641" y="63"/>
                  </a:lnTo>
                  <a:lnTo>
                    <a:pt x="639" y="65"/>
                  </a:lnTo>
                  <a:lnTo>
                    <a:pt x="639" y="66"/>
                  </a:lnTo>
                  <a:lnTo>
                    <a:pt x="639" y="68"/>
                  </a:lnTo>
                  <a:lnTo>
                    <a:pt x="638" y="68"/>
                  </a:lnTo>
                  <a:lnTo>
                    <a:pt x="638" y="70"/>
                  </a:lnTo>
                  <a:lnTo>
                    <a:pt x="636" y="70"/>
                  </a:lnTo>
                  <a:lnTo>
                    <a:pt x="636" y="71"/>
                  </a:lnTo>
                  <a:lnTo>
                    <a:pt x="634" y="73"/>
                  </a:lnTo>
                  <a:lnTo>
                    <a:pt x="634" y="74"/>
                  </a:lnTo>
                  <a:lnTo>
                    <a:pt x="634" y="76"/>
                  </a:lnTo>
                  <a:lnTo>
                    <a:pt x="634" y="78"/>
                  </a:lnTo>
                  <a:lnTo>
                    <a:pt x="633" y="76"/>
                  </a:lnTo>
                  <a:lnTo>
                    <a:pt x="630" y="74"/>
                  </a:lnTo>
                  <a:lnTo>
                    <a:pt x="630" y="76"/>
                  </a:lnTo>
                  <a:lnTo>
                    <a:pt x="628" y="76"/>
                  </a:lnTo>
                  <a:lnTo>
                    <a:pt x="628" y="74"/>
                  </a:lnTo>
                  <a:lnTo>
                    <a:pt x="625" y="74"/>
                  </a:lnTo>
                  <a:lnTo>
                    <a:pt x="623" y="73"/>
                  </a:lnTo>
                  <a:lnTo>
                    <a:pt x="621" y="73"/>
                  </a:lnTo>
                  <a:lnTo>
                    <a:pt x="620" y="74"/>
                  </a:lnTo>
                  <a:lnTo>
                    <a:pt x="618" y="73"/>
                  </a:lnTo>
                  <a:lnTo>
                    <a:pt x="617" y="74"/>
                  </a:lnTo>
                  <a:lnTo>
                    <a:pt x="615" y="74"/>
                  </a:lnTo>
                  <a:lnTo>
                    <a:pt x="613" y="74"/>
                  </a:lnTo>
                  <a:lnTo>
                    <a:pt x="612" y="76"/>
                  </a:lnTo>
                  <a:lnTo>
                    <a:pt x="612" y="78"/>
                  </a:lnTo>
                  <a:lnTo>
                    <a:pt x="610" y="78"/>
                  </a:lnTo>
                  <a:lnTo>
                    <a:pt x="608" y="78"/>
                  </a:lnTo>
                  <a:lnTo>
                    <a:pt x="607" y="79"/>
                  </a:lnTo>
                  <a:lnTo>
                    <a:pt x="604" y="79"/>
                  </a:lnTo>
                  <a:lnTo>
                    <a:pt x="602" y="79"/>
                  </a:lnTo>
                  <a:lnTo>
                    <a:pt x="600" y="79"/>
                  </a:lnTo>
                  <a:lnTo>
                    <a:pt x="600" y="81"/>
                  </a:lnTo>
                  <a:lnTo>
                    <a:pt x="599" y="83"/>
                  </a:lnTo>
                  <a:lnTo>
                    <a:pt x="597" y="84"/>
                  </a:lnTo>
                  <a:lnTo>
                    <a:pt x="595" y="84"/>
                  </a:lnTo>
                  <a:lnTo>
                    <a:pt x="595" y="86"/>
                  </a:lnTo>
                  <a:lnTo>
                    <a:pt x="595" y="89"/>
                  </a:lnTo>
                  <a:lnTo>
                    <a:pt x="595" y="91"/>
                  </a:lnTo>
                  <a:lnTo>
                    <a:pt x="595" y="92"/>
                  </a:lnTo>
                  <a:lnTo>
                    <a:pt x="595" y="94"/>
                  </a:lnTo>
                  <a:lnTo>
                    <a:pt x="594" y="96"/>
                  </a:lnTo>
                  <a:lnTo>
                    <a:pt x="594" y="97"/>
                  </a:lnTo>
                  <a:lnTo>
                    <a:pt x="594" y="99"/>
                  </a:lnTo>
                  <a:lnTo>
                    <a:pt x="594" y="100"/>
                  </a:lnTo>
                  <a:lnTo>
                    <a:pt x="594" y="102"/>
                  </a:lnTo>
                  <a:lnTo>
                    <a:pt x="594" y="104"/>
                  </a:lnTo>
                  <a:lnTo>
                    <a:pt x="594" y="105"/>
                  </a:lnTo>
                  <a:lnTo>
                    <a:pt x="592" y="105"/>
                  </a:lnTo>
                  <a:lnTo>
                    <a:pt x="592" y="107"/>
                  </a:lnTo>
                  <a:lnTo>
                    <a:pt x="594" y="109"/>
                  </a:lnTo>
                  <a:lnTo>
                    <a:pt x="592" y="109"/>
                  </a:lnTo>
                  <a:lnTo>
                    <a:pt x="592" y="110"/>
                  </a:lnTo>
                  <a:lnTo>
                    <a:pt x="591" y="110"/>
                  </a:lnTo>
                  <a:lnTo>
                    <a:pt x="589" y="110"/>
                  </a:lnTo>
                  <a:lnTo>
                    <a:pt x="587" y="112"/>
                  </a:lnTo>
                  <a:lnTo>
                    <a:pt x="586" y="112"/>
                  </a:lnTo>
                  <a:lnTo>
                    <a:pt x="586" y="113"/>
                  </a:lnTo>
                  <a:lnTo>
                    <a:pt x="584" y="113"/>
                  </a:lnTo>
                  <a:lnTo>
                    <a:pt x="584" y="115"/>
                  </a:lnTo>
                  <a:lnTo>
                    <a:pt x="584" y="117"/>
                  </a:lnTo>
                  <a:lnTo>
                    <a:pt x="582" y="117"/>
                  </a:lnTo>
                  <a:lnTo>
                    <a:pt x="581" y="117"/>
                  </a:lnTo>
                  <a:lnTo>
                    <a:pt x="581" y="115"/>
                  </a:lnTo>
                  <a:lnTo>
                    <a:pt x="581" y="113"/>
                  </a:lnTo>
                  <a:lnTo>
                    <a:pt x="579" y="113"/>
                  </a:lnTo>
                  <a:lnTo>
                    <a:pt x="578" y="115"/>
                  </a:lnTo>
                  <a:lnTo>
                    <a:pt x="578" y="113"/>
                  </a:lnTo>
                  <a:lnTo>
                    <a:pt x="578" y="115"/>
                  </a:lnTo>
                  <a:lnTo>
                    <a:pt x="576" y="115"/>
                  </a:lnTo>
                  <a:lnTo>
                    <a:pt x="576" y="117"/>
                  </a:lnTo>
                  <a:lnTo>
                    <a:pt x="574" y="117"/>
                  </a:lnTo>
                  <a:lnTo>
                    <a:pt x="573" y="117"/>
                  </a:lnTo>
                  <a:lnTo>
                    <a:pt x="571" y="117"/>
                  </a:lnTo>
                  <a:lnTo>
                    <a:pt x="571" y="118"/>
                  </a:lnTo>
                  <a:lnTo>
                    <a:pt x="569" y="117"/>
                  </a:lnTo>
                  <a:lnTo>
                    <a:pt x="569" y="118"/>
                  </a:lnTo>
                  <a:lnTo>
                    <a:pt x="568" y="120"/>
                  </a:lnTo>
                  <a:lnTo>
                    <a:pt x="566" y="118"/>
                  </a:lnTo>
                  <a:lnTo>
                    <a:pt x="566" y="120"/>
                  </a:lnTo>
                  <a:lnTo>
                    <a:pt x="563" y="120"/>
                  </a:lnTo>
                  <a:lnTo>
                    <a:pt x="561" y="120"/>
                  </a:lnTo>
                  <a:lnTo>
                    <a:pt x="560" y="120"/>
                  </a:lnTo>
                  <a:lnTo>
                    <a:pt x="560" y="122"/>
                  </a:lnTo>
                  <a:lnTo>
                    <a:pt x="558" y="122"/>
                  </a:lnTo>
                  <a:lnTo>
                    <a:pt x="556" y="122"/>
                  </a:lnTo>
                  <a:lnTo>
                    <a:pt x="558" y="123"/>
                  </a:lnTo>
                  <a:lnTo>
                    <a:pt x="558" y="122"/>
                  </a:lnTo>
                  <a:lnTo>
                    <a:pt x="560" y="122"/>
                  </a:lnTo>
                  <a:lnTo>
                    <a:pt x="558" y="123"/>
                  </a:lnTo>
                  <a:lnTo>
                    <a:pt x="560" y="122"/>
                  </a:lnTo>
                  <a:lnTo>
                    <a:pt x="561" y="120"/>
                  </a:lnTo>
                  <a:lnTo>
                    <a:pt x="563" y="120"/>
                  </a:lnTo>
                  <a:lnTo>
                    <a:pt x="565" y="120"/>
                  </a:lnTo>
                  <a:lnTo>
                    <a:pt x="566" y="120"/>
                  </a:lnTo>
                  <a:lnTo>
                    <a:pt x="568" y="120"/>
                  </a:lnTo>
                  <a:lnTo>
                    <a:pt x="569" y="120"/>
                  </a:lnTo>
                  <a:lnTo>
                    <a:pt x="571" y="120"/>
                  </a:lnTo>
                  <a:lnTo>
                    <a:pt x="573" y="118"/>
                  </a:lnTo>
                  <a:lnTo>
                    <a:pt x="574" y="120"/>
                  </a:lnTo>
                  <a:lnTo>
                    <a:pt x="576" y="118"/>
                  </a:lnTo>
                  <a:lnTo>
                    <a:pt x="578" y="117"/>
                  </a:lnTo>
                  <a:lnTo>
                    <a:pt x="579" y="117"/>
                  </a:lnTo>
                  <a:lnTo>
                    <a:pt x="579" y="115"/>
                  </a:lnTo>
                  <a:lnTo>
                    <a:pt x="579" y="117"/>
                  </a:lnTo>
                  <a:lnTo>
                    <a:pt x="579" y="115"/>
                  </a:lnTo>
                  <a:lnTo>
                    <a:pt x="581" y="115"/>
                  </a:lnTo>
                  <a:lnTo>
                    <a:pt x="581" y="117"/>
                  </a:lnTo>
                  <a:lnTo>
                    <a:pt x="584" y="117"/>
                  </a:lnTo>
                  <a:lnTo>
                    <a:pt x="584" y="118"/>
                  </a:lnTo>
                  <a:lnTo>
                    <a:pt x="586" y="117"/>
                  </a:lnTo>
                  <a:lnTo>
                    <a:pt x="587" y="117"/>
                  </a:lnTo>
                  <a:lnTo>
                    <a:pt x="587" y="118"/>
                  </a:lnTo>
                  <a:lnTo>
                    <a:pt x="587" y="117"/>
                  </a:lnTo>
                  <a:lnTo>
                    <a:pt x="587" y="118"/>
                  </a:lnTo>
                  <a:lnTo>
                    <a:pt x="587" y="120"/>
                  </a:lnTo>
                  <a:lnTo>
                    <a:pt x="589" y="120"/>
                  </a:lnTo>
                  <a:lnTo>
                    <a:pt x="587" y="120"/>
                  </a:lnTo>
                  <a:lnTo>
                    <a:pt x="589" y="122"/>
                  </a:lnTo>
                  <a:lnTo>
                    <a:pt x="587" y="123"/>
                  </a:lnTo>
                  <a:lnTo>
                    <a:pt x="587" y="126"/>
                  </a:lnTo>
                  <a:lnTo>
                    <a:pt x="587" y="128"/>
                  </a:lnTo>
                  <a:lnTo>
                    <a:pt x="587" y="130"/>
                  </a:lnTo>
                  <a:lnTo>
                    <a:pt x="587" y="131"/>
                  </a:lnTo>
                  <a:lnTo>
                    <a:pt x="587" y="133"/>
                  </a:lnTo>
                  <a:lnTo>
                    <a:pt x="587" y="135"/>
                  </a:lnTo>
                  <a:lnTo>
                    <a:pt x="587" y="136"/>
                  </a:lnTo>
                  <a:lnTo>
                    <a:pt x="586" y="136"/>
                  </a:lnTo>
                  <a:lnTo>
                    <a:pt x="586" y="138"/>
                  </a:lnTo>
                  <a:lnTo>
                    <a:pt x="587" y="139"/>
                  </a:lnTo>
                  <a:lnTo>
                    <a:pt x="587" y="141"/>
                  </a:lnTo>
                  <a:lnTo>
                    <a:pt x="587" y="143"/>
                  </a:lnTo>
                  <a:lnTo>
                    <a:pt x="591" y="149"/>
                  </a:lnTo>
                  <a:lnTo>
                    <a:pt x="591" y="152"/>
                  </a:lnTo>
                  <a:lnTo>
                    <a:pt x="591" y="154"/>
                  </a:lnTo>
                  <a:lnTo>
                    <a:pt x="591" y="156"/>
                  </a:lnTo>
                  <a:lnTo>
                    <a:pt x="592" y="157"/>
                  </a:lnTo>
                  <a:lnTo>
                    <a:pt x="592" y="161"/>
                  </a:lnTo>
                  <a:lnTo>
                    <a:pt x="592" y="162"/>
                  </a:lnTo>
                  <a:lnTo>
                    <a:pt x="594" y="162"/>
                  </a:lnTo>
                  <a:lnTo>
                    <a:pt x="592" y="162"/>
                  </a:lnTo>
                  <a:lnTo>
                    <a:pt x="592" y="164"/>
                  </a:lnTo>
                  <a:lnTo>
                    <a:pt x="592" y="165"/>
                  </a:lnTo>
                  <a:lnTo>
                    <a:pt x="592" y="167"/>
                  </a:lnTo>
                  <a:lnTo>
                    <a:pt x="592" y="169"/>
                  </a:lnTo>
                  <a:lnTo>
                    <a:pt x="594" y="169"/>
                  </a:lnTo>
                  <a:lnTo>
                    <a:pt x="594" y="170"/>
                  </a:lnTo>
                  <a:lnTo>
                    <a:pt x="595" y="174"/>
                  </a:lnTo>
                  <a:lnTo>
                    <a:pt x="595" y="175"/>
                  </a:lnTo>
                  <a:lnTo>
                    <a:pt x="595" y="177"/>
                  </a:lnTo>
                  <a:lnTo>
                    <a:pt x="597" y="180"/>
                  </a:lnTo>
                  <a:lnTo>
                    <a:pt x="597" y="182"/>
                  </a:lnTo>
                  <a:lnTo>
                    <a:pt x="597" y="183"/>
                  </a:lnTo>
                  <a:lnTo>
                    <a:pt x="599" y="183"/>
                  </a:lnTo>
                  <a:lnTo>
                    <a:pt x="597" y="185"/>
                  </a:lnTo>
                  <a:lnTo>
                    <a:pt x="595" y="185"/>
                  </a:lnTo>
                  <a:lnTo>
                    <a:pt x="592" y="185"/>
                  </a:lnTo>
                  <a:lnTo>
                    <a:pt x="591" y="185"/>
                  </a:lnTo>
                  <a:lnTo>
                    <a:pt x="589" y="187"/>
                  </a:lnTo>
                  <a:lnTo>
                    <a:pt x="587" y="187"/>
                  </a:lnTo>
                  <a:lnTo>
                    <a:pt x="586" y="187"/>
                  </a:lnTo>
                  <a:lnTo>
                    <a:pt x="584" y="187"/>
                  </a:lnTo>
                  <a:lnTo>
                    <a:pt x="582" y="187"/>
                  </a:lnTo>
                  <a:lnTo>
                    <a:pt x="581" y="187"/>
                  </a:lnTo>
                  <a:lnTo>
                    <a:pt x="579" y="188"/>
                  </a:lnTo>
                  <a:lnTo>
                    <a:pt x="579" y="190"/>
                  </a:lnTo>
                  <a:lnTo>
                    <a:pt x="579" y="193"/>
                  </a:lnTo>
                  <a:lnTo>
                    <a:pt x="581" y="193"/>
                  </a:lnTo>
                  <a:lnTo>
                    <a:pt x="581" y="195"/>
                  </a:lnTo>
                  <a:lnTo>
                    <a:pt x="582" y="195"/>
                  </a:lnTo>
                  <a:lnTo>
                    <a:pt x="582" y="193"/>
                  </a:lnTo>
                  <a:lnTo>
                    <a:pt x="582" y="195"/>
                  </a:lnTo>
                  <a:lnTo>
                    <a:pt x="581" y="195"/>
                  </a:lnTo>
                  <a:lnTo>
                    <a:pt x="581" y="196"/>
                  </a:lnTo>
                  <a:lnTo>
                    <a:pt x="579" y="196"/>
                  </a:lnTo>
                  <a:lnTo>
                    <a:pt x="578" y="196"/>
                  </a:lnTo>
                  <a:lnTo>
                    <a:pt x="578" y="198"/>
                  </a:lnTo>
                  <a:lnTo>
                    <a:pt x="578" y="200"/>
                  </a:lnTo>
                  <a:lnTo>
                    <a:pt x="578" y="198"/>
                  </a:lnTo>
                  <a:lnTo>
                    <a:pt x="576" y="198"/>
                  </a:lnTo>
                  <a:lnTo>
                    <a:pt x="574" y="200"/>
                  </a:lnTo>
                  <a:lnTo>
                    <a:pt x="573" y="201"/>
                  </a:lnTo>
                  <a:lnTo>
                    <a:pt x="573" y="205"/>
                  </a:lnTo>
                  <a:lnTo>
                    <a:pt x="574" y="208"/>
                  </a:lnTo>
                  <a:lnTo>
                    <a:pt x="574" y="209"/>
                  </a:lnTo>
                  <a:lnTo>
                    <a:pt x="576" y="209"/>
                  </a:lnTo>
                  <a:lnTo>
                    <a:pt x="576" y="211"/>
                  </a:lnTo>
                  <a:lnTo>
                    <a:pt x="578" y="211"/>
                  </a:lnTo>
                  <a:lnTo>
                    <a:pt x="576" y="211"/>
                  </a:lnTo>
                  <a:lnTo>
                    <a:pt x="574" y="211"/>
                  </a:lnTo>
                  <a:lnTo>
                    <a:pt x="573" y="211"/>
                  </a:lnTo>
                  <a:lnTo>
                    <a:pt x="571" y="211"/>
                  </a:lnTo>
                  <a:lnTo>
                    <a:pt x="569" y="211"/>
                  </a:lnTo>
                  <a:lnTo>
                    <a:pt x="568" y="213"/>
                  </a:lnTo>
                  <a:lnTo>
                    <a:pt x="568" y="214"/>
                  </a:lnTo>
                  <a:lnTo>
                    <a:pt x="566" y="213"/>
                  </a:lnTo>
                  <a:lnTo>
                    <a:pt x="565" y="213"/>
                  </a:lnTo>
                  <a:lnTo>
                    <a:pt x="563" y="214"/>
                  </a:lnTo>
                  <a:lnTo>
                    <a:pt x="561" y="216"/>
                  </a:lnTo>
                  <a:lnTo>
                    <a:pt x="561" y="218"/>
                  </a:lnTo>
                  <a:lnTo>
                    <a:pt x="561" y="219"/>
                  </a:lnTo>
                  <a:lnTo>
                    <a:pt x="561" y="221"/>
                  </a:lnTo>
                  <a:lnTo>
                    <a:pt x="561" y="222"/>
                  </a:lnTo>
                  <a:lnTo>
                    <a:pt x="561" y="224"/>
                  </a:lnTo>
                  <a:lnTo>
                    <a:pt x="561" y="226"/>
                  </a:lnTo>
                  <a:lnTo>
                    <a:pt x="561" y="224"/>
                  </a:lnTo>
                  <a:lnTo>
                    <a:pt x="561" y="226"/>
                  </a:lnTo>
                  <a:lnTo>
                    <a:pt x="560" y="224"/>
                  </a:lnTo>
                  <a:lnTo>
                    <a:pt x="560" y="226"/>
                  </a:lnTo>
                  <a:lnTo>
                    <a:pt x="558" y="226"/>
                  </a:lnTo>
                  <a:lnTo>
                    <a:pt x="558" y="227"/>
                  </a:lnTo>
                  <a:lnTo>
                    <a:pt x="560" y="229"/>
                  </a:lnTo>
                  <a:lnTo>
                    <a:pt x="558" y="229"/>
                  </a:lnTo>
                  <a:lnTo>
                    <a:pt x="560" y="229"/>
                  </a:lnTo>
                  <a:lnTo>
                    <a:pt x="560" y="231"/>
                  </a:lnTo>
                  <a:lnTo>
                    <a:pt x="561" y="231"/>
                  </a:lnTo>
                  <a:lnTo>
                    <a:pt x="561" y="229"/>
                  </a:lnTo>
                  <a:lnTo>
                    <a:pt x="561" y="227"/>
                  </a:lnTo>
                  <a:lnTo>
                    <a:pt x="563" y="229"/>
                  </a:lnTo>
                  <a:lnTo>
                    <a:pt x="565" y="231"/>
                  </a:lnTo>
                  <a:lnTo>
                    <a:pt x="566" y="231"/>
                  </a:lnTo>
                  <a:lnTo>
                    <a:pt x="566" y="232"/>
                  </a:lnTo>
                  <a:lnTo>
                    <a:pt x="568" y="232"/>
                  </a:lnTo>
                  <a:lnTo>
                    <a:pt x="568" y="231"/>
                  </a:lnTo>
                  <a:lnTo>
                    <a:pt x="568" y="229"/>
                  </a:lnTo>
                  <a:lnTo>
                    <a:pt x="569" y="229"/>
                  </a:lnTo>
                  <a:lnTo>
                    <a:pt x="568" y="227"/>
                  </a:lnTo>
                  <a:lnTo>
                    <a:pt x="569" y="227"/>
                  </a:lnTo>
                  <a:lnTo>
                    <a:pt x="571" y="229"/>
                  </a:lnTo>
                  <a:lnTo>
                    <a:pt x="573" y="227"/>
                  </a:lnTo>
                  <a:lnTo>
                    <a:pt x="573" y="226"/>
                  </a:lnTo>
                  <a:lnTo>
                    <a:pt x="574" y="226"/>
                  </a:lnTo>
                  <a:lnTo>
                    <a:pt x="576" y="227"/>
                  </a:lnTo>
                  <a:lnTo>
                    <a:pt x="578" y="227"/>
                  </a:lnTo>
                  <a:lnTo>
                    <a:pt x="578" y="226"/>
                  </a:lnTo>
                  <a:lnTo>
                    <a:pt x="578" y="224"/>
                  </a:lnTo>
                  <a:lnTo>
                    <a:pt x="578" y="226"/>
                  </a:lnTo>
                  <a:lnTo>
                    <a:pt x="579" y="226"/>
                  </a:lnTo>
                  <a:lnTo>
                    <a:pt x="581" y="226"/>
                  </a:lnTo>
                  <a:lnTo>
                    <a:pt x="581" y="227"/>
                  </a:lnTo>
                  <a:lnTo>
                    <a:pt x="581" y="229"/>
                  </a:lnTo>
                  <a:lnTo>
                    <a:pt x="581" y="227"/>
                  </a:lnTo>
                  <a:lnTo>
                    <a:pt x="581" y="229"/>
                  </a:lnTo>
                  <a:lnTo>
                    <a:pt x="581" y="231"/>
                  </a:lnTo>
                  <a:lnTo>
                    <a:pt x="582" y="231"/>
                  </a:lnTo>
                  <a:lnTo>
                    <a:pt x="584" y="231"/>
                  </a:lnTo>
                  <a:lnTo>
                    <a:pt x="584" y="229"/>
                  </a:lnTo>
                  <a:lnTo>
                    <a:pt x="586" y="229"/>
                  </a:lnTo>
                  <a:lnTo>
                    <a:pt x="584" y="229"/>
                  </a:lnTo>
                  <a:lnTo>
                    <a:pt x="586" y="229"/>
                  </a:lnTo>
                  <a:lnTo>
                    <a:pt x="586" y="227"/>
                  </a:lnTo>
                  <a:lnTo>
                    <a:pt x="586" y="229"/>
                  </a:lnTo>
                  <a:lnTo>
                    <a:pt x="584" y="227"/>
                  </a:lnTo>
                  <a:lnTo>
                    <a:pt x="586" y="227"/>
                  </a:lnTo>
                  <a:lnTo>
                    <a:pt x="586" y="229"/>
                  </a:lnTo>
                  <a:lnTo>
                    <a:pt x="587" y="231"/>
                  </a:lnTo>
                  <a:lnTo>
                    <a:pt x="589" y="229"/>
                  </a:lnTo>
                  <a:lnTo>
                    <a:pt x="589" y="231"/>
                  </a:lnTo>
                  <a:lnTo>
                    <a:pt x="587" y="231"/>
                  </a:lnTo>
                  <a:lnTo>
                    <a:pt x="587" y="232"/>
                  </a:lnTo>
                  <a:lnTo>
                    <a:pt x="587" y="234"/>
                  </a:lnTo>
                  <a:lnTo>
                    <a:pt x="589" y="234"/>
                  </a:lnTo>
                  <a:lnTo>
                    <a:pt x="591" y="234"/>
                  </a:lnTo>
                  <a:lnTo>
                    <a:pt x="589" y="234"/>
                  </a:lnTo>
                  <a:lnTo>
                    <a:pt x="589" y="235"/>
                  </a:lnTo>
                  <a:lnTo>
                    <a:pt x="589" y="237"/>
                  </a:lnTo>
                  <a:lnTo>
                    <a:pt x="591" y="239"/>
                  </a:lnTo>
                  <a:lnTo>
                    <a:pt x="592" y="239"/>
                  </a:lnTo>
                  <a:lnTo>
                    <a:pt x="594" y="240"/>
                  </a:lnTo>
                  <a:lnTo>
                    <a:pt x="595" y="240"/>
                  </a:lnTo>
                  <a:lnTo>
                    <a:pt x="595" y="239"/>
                  </a:lnTo>
                  <a:lnTo>
                    <a:pt x="597" y="239"/>
                  </a:lnTo>
                  <a:lnTo>
                    <a:pt x="597" y="240"/>
                  </a:lnTo>
                  <a:lnTo>
                    <a:pt x="597" y="242"/>
                  </a:lnTo>
                  <a:lnTo>
                    <a:pt x="599" y="242"/>
                  </a:lnTo>
                  <a:lnTo>
                    <a:pt x="599" y="244"/>
                  </a:lnTo>
                  <a:lnTo>
                    <a:pt x="597" y="244"/>
                  </a:lnTo>
                  <a:lnTo>
                    <a:pt x="597" y="245"/>
                  </a:lnTo>
                  <a:lnTo>
                    <a:pt x="595" y="245"/>
                  </a:lnTo>
                  <a:lnTo>
                    <a:pt x="595" y="247"/>
                  </a:lnTo>
                  <a:lnTo>
                    <a:pt x="597" y="247"/>
                  </a:lnTo>
                  <a:lnTo>
                    <a:pt x="597" y="248"/>
                  </a:lnTo>
                  <a:lnTo>
                    <a:pt x="595" y="250"/>
                  </a:lnTo>
                  <a:lnTo>
                    <a:pt x="597" y="250"/>
                  </a:lnTo>
                  <a:lnTo>
                    <a:pt x="597" y="252"/>
                  </a:lnTo>
                  <a:lnTo>
                    <a:pt x="599" y="252"/>
                  </a:lnTo>
                  <a:lnTo>
                    <a:pt x="600" y="252"/>
                  </a:lnTo>
                  <a:lnTo>
                    <a:pt x="600" y="253"/>
                  </a:lnTo>
                  <a:lnTo>
                    <a:pt x="602" y="253"/>
                  </a:lnTo>
                  <a:lnTo>
                    <a:pt x="602" y="255"/>
                  </a:lnTo>
                  <a:lnTo>
                    <a:pt x="604" y="255"/>
                  </a:lnTo>
                  <a:lnTo>
                    <a:pt x="605" y="255"/>
                  </a:lnTo>
                  <a:lnTo>
                    <a:pt x="605" y="257"/>
                  </a:lnTo>
                  <a:lnTo>
                    <a:pt x="607" y="257"/>
                  </a:lnTo>
                  <a:lnTo>
                    <a:pt x="608" y="257"/>
                  </a:lnTo>
                  <a:lnTo>
                    <a:pt x="607" y="257"/>
                  </a:lnTo>
                  <a:lnTo>
                    <a:pt x="607" y="258"/>
                  </a:lnTo>
                  <a:lnTo>
                    <a:pt x="608" y="257"/>
                  </a:lnTo>
                  <a:lnTo>
                    <a:pt x="608" y="258"/>
                  </a:lnTo>
                  <a:lnTo>
                    <a:pt x="610" y="258"/>
                  </a:lnTo>
                  <a:lnTo>
                    <a:pt x="610" y="260"/>
                  </a:lnTo>
                  <a:lnTo>
                    <a:pt x="610" y="258"/>
                  </a:lnTo>
                  <a:lnTo>
                    <a:pt x="610" y="260"/>
                  </a:lnTo>
                  <a:lnTo>
                    <a:pt x="612" y="260"/>
                  </a:lnTo>
                  <a:lnTo>
                    <a:pt x="612" y="261"/>
                  </a:lnTo>
                  <a:lnTo>
                    <a:pt x="612" y="260"/>
                  </a:lnTo>
                  <a:lnTo>
                    <a:pt x="612" y="261"/>
                  </a:lnTo>
                  <a:lnTo>
                    <a:pt x="613" y="261"/>
                  </a:lnTo>
                  <a:lnTo>
                    <a:pt x="613" y="263"/>
                  </a:lnTo>
                  <a:lnTo>
                    <a:pt x="615" y="261"/>
                  </a:lnTo>
                  <a:lnTo>
                    <a:pt x="615" y="263"/>
                  </a:lnTo>
                  <a:lnTo>
                    <a:pt x="615" y="261"/>
                  </a:lnTo>
                  <a:lnTo>
                    <a:pt x="615" y="263"/>
                  </a:lnTo>
                  <a:lnTo>
                    <a:pt x="617" y="263"/>
                  </a:lnTo>
                  <a:lnTo>
                    <a:pt x="617" y="265"/>
                  </a:lnTo>
                  <a:lnTo>
                    <a:pt x="617" y="263"/>
                  </a:lnTo>
                  <a:lnTo>
                    <a:pt x="617" y="265"/>
                  </a:lnTo>
                  <a:lnTo>
                    <a:pt x="618" y="265"/>
                  </a:lnTo>
                  <a:lnTo>
                    <a:pt x="617" y="265"/>
                  </a:lnTo>
                  <a:lnTo>
                    <a:pt x="618" y="266"/>
                  </a:lnTo>
                  <a:lnTo>
                    <a:pt x="620" y="266"/>
                  </a:lnTo>
                  <a:lnTo>
                    <a:pt x="620" y="268"/>
                  </a:lnTo>
                  <a:lnTo>
                    <a:pt x="620" y="266"/>
                  </a:lnTo>
                  <a:lnTo>
                    <a:pt x="621" y="266"/>
                  </a:lnTo>
                  <a:lnTo>
                    <a:pt x="621" y="268"/>
                  </a:lnTo>
                  <a:lnTo>
                    <a:pt x="621" y="266"/>
                  </a:lnTo>
                  <a:lnTo>
                    <a:pt x="621" y="268"/>
                  </a:lnTo>
                  <a:lnTo>
                    <a:pt x="623" y="268"/>
                  </a:lnTo>
                  <a:lnTo>
                    <a:pt x="623" y="270"/>
                  </a:lnTo>
                  <a:lnTo>
                    <a:pt x="625" y="270"/>
                  </a:lnTo>
                  <a:lnTo>
                    <a:pt x="625" y="271"/>
                  </a:lnTo>
                  <a:lnTo>
                    <a:pt x="626" y="271"/>
                  </a:lnTo>
                  <a:lnTo>
                    <a:pt x="628" y="271"/>
                  </a:lnTo>
                  <a:lnTo>
                    <a:pt x="626" y="273"/>
                  </a:lnTo>
                  <a:lnTo>
                    <a:pt x="628" y="273"/>
                  </a:lnTo>
                  <a:lnTo>
                    <a:pt x="630" y="273"/>
                  </a:lnTo>
                  <a:lnTo>
                    <a:pt x="630" y="274"/>
                  </a:lnTo>
                  <a:lnTo>
                    <a:pt x="631" y="274"/>
                  </a:lnTo>
                  <a:lnTo>
                    <a:pt x="631" y="276"/>
                  </a:lnTo>
                  <a:lnTo>
                    <a:pt x="631" y="278"/>
                  </a:lnTo>
                  <a:lnTo>
                    <a:pt x="633" y="278"/>
                  </a:lnTo>
                  <a:lnTo>
                    <a:pt x="633" y="279"/>
                  </a:lnTo>
                  <a:lnTo>
                    <a:pt x="634" y="279"/>
                  </a:lnTo>
                  <a:lnTo>
                    <a:pt x="634" y="281"/>
                  </a:lnTo>
                  <a:lnTo>
                    <a:pt x="633" y="281"/>
                  </a:lnTo>
                  <a:lnTo>
                    <a:pt x="633" y="283"/>
                  </a:lnTo>
                  <a:lnTo>
                    <a:pt x="631" y="283"/>
                  </a:lnTo>
                  <a:lnTo>
                    <a:pt x="630" y="283"/>
                  </a:lnTo>
                  <a:lnTo>
                    <a:pt x="628" y="281"/>
                  </a:lnTo>
                  <a:lnTo>
                    <a:pt x="628" y="283"/>
                  </a:lnTo>
                  <a:lnTo>
                    <a:pt x="626" y="283"/>
                  </a:lnTo>
                  <a:lnTo>
                    <a:pt x="626" y="284"/>
                  </a:lnTo>
                  <a:lnTo>
                    <a:pt x="626" y="283"/>
                  </a:lnTo>
                  <a:lnTo>
                    <a:pt x="626" y="284"/>
                  </a:lnTo>
                  <a:lnTo>
                    <a:pt x="625" y="284"/>
                  </a:lnTo>
                  <a:lnTo>
                    <a:pt x="623" y="284"/>
                  </a:lnTo>
                  <a:lnTo>
                    <a:pt x="623" y="286"/>
                  </a:lnTo>
                  <a:lnTo>
                    <a:pt x="621" y="286"/>
                  </a:lnTo>
                  <a:lnTo>
                    <a:pt x="621" y="284"/>
                  </a:lnTo>
                  <a:lnTo>
                    <a:pt x="620" y="284"/>
                  </a:lnTo>
                  <a:lnTo>
                    <a:pt x="620" y="283"/>
                  </a:lnTo>
                  <a:lnTo>
                    <a:pt x="618" y="283"/>
                  </a:lnTo>
                  <a:lnTo>
                    <a:pt x="617" y="283"/>
                  </a:lnTo>
                  <a:lnTo>
                    <a:pt x="615" y="283"/>
                  </a:lnTo>
                  <a:lnTo>
                    <a:pt x="617" y="284"/>
                  </a:lnTo>
                  <a:lnTo>
                    <a:pt x="615" y="284"/>
                  </a:lnTo>
                  <a:lnTo>
                    <a:pt x="615" y="283"/>
                  </a:lnTo>
                  <a:lnTo>
                    <a:pt x="615" y="284"/>
                  </a:lnTo>
                  <a:lnTo>
                    <a:pt x="613" y="284"/>
                  </a:lnTo>
                  <a:lnTo>
                    <a:pt x="612" y="286"/>
                  </a:lnTo>
                  <a:lnTo>
                    <a:pt x="612" y="287"/>
                  </a:lnTo>
                  <a:lnTo>
                    <a:pt x="613" y="287"/>
                  </a:lnTo>
                  <a:lnTo>
                    <a:pt x="613" y="289"/>
                  </a:lnTo>
                  <a:lnTo>
                    <a:pt x="615" y="289"/>
                  </a:lnTo>
                  <a:lnTo>
                    <a:pt x="615" y="291"/>
                  </a:lnTo>
                  <a:lnTo>
                    <a:pt x="613" y="291"/>
                  </a:lnTo>
                  <a:lnTo>
                    <a:pt x="612" y="291"/>
                  </a:lnTo>
                  <a:lnTo>
                    <a:pt x="613" y="292"/>
                  </a:lnTo>
                  <a:lnTo>
                    <a:pt x="612" y="292"/>
                  </a:lnTo>
                  <a:lnTo>
                    <a:pt x="612" y="291"/>
                  </a:lnTo>
                  <a:lnTo>
                    <a:pt x="612" y="292"/>
                  </a:lnTo>
                  <a:lnTo>
                    <a:pt x="610" y="292"/>
                  </a:lnTo>
                  <a:lnTo>
                    <a:pt x="610" y="291"/>
                  </a:lnTo>
                  <a:lnTo>
                    <a:pt x="608" y="292"/>
                  </a:lnTo>
                  <a:lnTo>
                    <a:pt x="608" y="291"/>
                  </a:lnTo>
                  <a:lnTo>
                    <a:pt x="610" y="291"/>
                  </a:lnTo>
                  <a:lnTo>
                    <a:pt x="608" y="291"/>
                  </a:lnTo>
                  <a:lnTo>
                    <a:pt x="607" y="291"/>
                  </a:lnTo>
                  <a:lnTo>
                    <a:pt x="605" y="291"/>
                  </a:lnTo>
                  <a:lnTo>
                    <a:pt x="605" y="289"/>
                  </a:lnTo>
                  <a:lnTo>
                    <a:pt x="604" y="289"/>
                  </a:lnTo>
                  <a:lnTo>
                    <a:pt x="604" y="291"/>
                  </a:lnTo>
                  <a:lnTo>
                    <a:pt x="602" y="291"/>
                  </a:lnTo>
                  <a:lnTo>
                    <a:pt x="600" y="291"/>
                  </a:lnTo>
                  <a:lnTo>
                    <a:pt x="599" y="291"/>
                  </a:lnTo>
                  <a:lnTo>
                    <a:pt x="600" y="291"/>
                  </a:lnTo>
                  <a:lnTo>
                    <a:pt x="599" y="291"/>
                  </a:lnTo>
                  <a:lnTo>
                    <a:pt x="599" y="292"/>
                  </a:lnTo>
                  <a:lnTo>
                    <a:pt x="597" y="292"/>
                  </a:lnTo>
                  <a:lnTo>
                    <a:pt x="597" y="294"/>
                  </a:lnTo>
                  <a:lnTo>
                    <a:pt x="595" y="294"/>
                  </a:lnTo>
                  <a:lnTo>
                    <a:pt x="595" y="296"/>
                  </a:lnTo>
                  <a:lnTo>
                    <a:pt x="594" y="296"/>
                  </a:lnTo>
                  <a:lnTo>
                    <a:pt x="594" y="294"/>
                  </a:lnTo>
                  <a:lnTo>
                    <a:pt x="594" y="296"/>
                  </a:lnTo>
                  <a:lnTo>
                    <a:pt x="592" y="296"/>
                  </a:lnTo>
                  <a:lnTo>
                    <a:pt x="594" y="296"/>
                  </a:lnTo>
                  <a:lnTo>
                    <a:pt x="592" y="297"/>
                  </a:lnTo>
                  <a:lnTo>
                    <a:pt x="591" y="297"/>
                  </a:lnTo>
                  <a:lnTo>
                    <a:pt x="591" y="299"/>
                  </a:lnTo>
                  <a:lnTo>
                    <a:pt x="589" y="299"/>
                  </a:lnTo>
                  <a:lnTo>
                    <a:pt x="587" y="299"/>
                  </a:lnTo>
                  <a:lnTo>
                    <a:pt x="589" y="300"/>
                  </a:lnTo>
                  <a:lnTo>
                    <a:pt x="587" y="300"/>
                  </a:lnTo>
                  <a:lnTo>
                    <a:pt x="589" y="300"/>
                  </a:lnTo>
                  <a:lnTo>
                    <a:pt x="589" y="302"/>
                  </a:lnTo>
                  <a:lnTo>
                    <a:pt x="587" y="302"/>
                  </a:lnTo>
                  <a:lnTo>
                    <a:pt x="589" y="302"/>
                  </a:lnTo>
                  <a:lnTo>
                    <a:pt x="589" y="304"/>
                  </a:lnTo>
                  <a:lnTo>
                    <a:pt x="587" y="304"/>
                  </a:lnTo>
                  <a:lnTo>
                    <a:pt x="586" y="302"/>
                  </a:lnTo>
                  <a:lnTo>
                    <a:pt x="584" y="302"/>
                  </a:lnTo>
                  <a:lnTo>
                    <a:pt x="584" y="300"/>
                  </a:lnTo>
                  <a:lnTo>
                    <a:pt x="582" y="299"/>
                  </a:lnTo>
                  <a:lnTo>
                    <a:pt x="581" y="299"/>
                  </a:lnTo>
                  <a:lnTo>
                    <a:pt x="581" y="297"/>
                  </a:lnTo>
                  <a:lnTo>
                    <a:pt x="581" y="299"/>
                  </a:lnTo>
                  <a:lnTo>
                    <a:pt x="579" y="299"/>
                  </a:lnTo>
                  <a:lnTo>
                    <a:pt x="578" y="299"/>
                  </a:lnTo>
                  <a:lnTo>
                    <a:pt x="574" y="297"/>
                  </a:lnTo>
                  <a:lnTo>
                    <a:pt x="573" y="297"/>
                  </a:lnTo>
                  <a:lnTo>
                    <a:pt x="571" y="296"/>
                  </a:lnTo>
                  <a:lnTo>
                    <a:pt x="569" y="296"/>
                  </a:lnTo>
                  <a:lnTo>
                    <a:pt x="569" y="294"/>
                  </a:lnTo>
                  <a:lnTo>
                    <a:pt x="568" y="294"/>
                  </a:lnTo>
                  <a:lnTo>
                    <a:pt x="566" y="292"/>
                  </a:lnTo>
                  <a:lnTo>
                    <a:pt x="566" y="291"/>
                  </a:lnTo>
                  <a:lnTo>
                    <a:pt x="565" y="291"/>
                  </a:lnTo>
                  <a:lnTo>
                    <a:pt x="565" y="289"/>
                  </a:lnTo>
                  <a:lnTo>
                    <a:pt x="565" y="287"/>
                  </a:lnTo>
                  <a:lnTo>
                    <a:pt x="563" y="287"/>
                  </a:lnTo>
                  <a:lnTo>
                    <a:pt x="560" y="287"/>
                  </a:lnTo>
                  <a:lnTo>
                    <a:pt x="558" y="286"/>
                  </a:lnTo>
                  <a:lnTo>
                    <a:pt x="556" y="286"/>
                  </a:lnTo>
                  <a:lnTo>
                    <a:pt x="556" y="284"/>
                  </a:lnTo>
                  <a:lnTo>
                    <a:pt x="555" y="284"/>
                  </a:lnTo>
                  <a:lnTo>
                    <a:pt x="553" y="284"/>
                  </a:lnTo>
                  <a:lnTo>
                    <a:pt x="551" y="284"/>
                  </a:lnTo>
                  <a:lnTo>
                    <a:pt x="550" y="284"/>
                  </a:lnTo>
                  <a:lnTo>
                    <a:pt x="548" y="284"/>
                  </a:lnTo>
                  <a:lnTo>
                    <a:pt x="547" y="286"/>
                  </a:lnTo>
                  <a:lnTo>
                    <a:pt x="547" y="287"/>
                  </a:lnTo>
                  <a:lnTo>
                    <a:pt x="545" y="287"/>
                  </a:lnTo>
                  <a:lnTo>
                    <a:pt x="545" y="289"/>
                  </a:lnTo>
                  <a:lnTo>
                    <a:pt x="545" y="291"/>
                  </a:lnTo>
                  <a:lnTo>
                    <a:pt x="543" y="291"/>
                  </a:lnTo>
                  <a:lnTo>
                    <a:pt x="542" y="291"/>
                  </a:lnTo>
                  <a:lnTo>
                    <a:pt x="540" y="291"/>
                  </a:lnTo>
                  <a:lnTo>
                    <a:pt x="538" y="292"/>
                  </a:lnTo>
                  <a:lnTo>
                    <a:pt x="537" y="291"/>
                  </a:lnTo>
                  <a:lnTo>
                    <a:pt x="535" y="291"/>
                  </a:lnTo>
                  <a:lnTo>
                    <a:pt x="535" y="289"/>
                  </a:lnTo>
                  <a:lnTo>
                    <a:pt x="532" y="291"/>
                  </a:lnTo>
                  <a:lnTo>
                    <a:pt x="530" y="291"/>
                  </a:lnTo>
                  <a:lnTo>
                    <a:pt x="529" y="291"/>
                  </a:lnTo>
                  <a:lnTo>
                    <a:pt x="529" y="292"/>
                  </a:lnTo>
                  <a:lnTo>
                    <a:pt x="527" y="292"/>
                  </a:lnTo>
                  <a:lnTo>
                    <a:pt x="527" y="294"/>
                  </a:lnTo>
                  <a:lnTo>
                    <a:pt x="527" y="296"/>
                  </a:lnTo>
                  <a:lnTo>
                    <a:pt x="525" y="299"/>
                  </a:lnTo>
                  <a:lnTo>
                    <a:pt x="524" y="299"/>
                  </a:lnTo>
                  <a:lnTo>
                    <a:pt x="524" y="300"/>
                  </a:lnTo>
                  <a:lnTo>
                    <a:pt x="524" y="302"/>
                  </a:lnTo>
                  <a:lnTo>
                    <a:pt x="524" y="304"/>
                  </a:lnTo>
                  <a:lnTo>
                    <a:pt x="522" y="304"/>
                  </a:lnTo>
                  <a:lnTo>
                    <a:pt x="522" y="305"/>
                  </a:lnTo>
                  <a:lnTo>
                    <a:pt x="521" y="305"/>
                  </a:lnTo>
                  <a:lnTo>
                    <a:pt x="519" y="305"/>
                  </a:lnTo>
                  <a:lnTo>
                    <a:pt x="519" y="307"/>
                  </a:lnTo>
                  <a:lnTo>
                    <a:pt x="517" y="309"/>
                  </a:lnTo>
                  <a:lnTo>
                    <a:pt x="514" y="309"/>
                  </a:lnTo>
                  <a:lnTo>
                    <a:pt x="512" y="310"/>
                  </a:lnTo>
                  <a:lnTo>
                    <a:pt x="511" y="310"/>
                  </a:lnTo>
                  <a:lnTo>
                    <a:pt x="511" y="312"/>
                  </a:lnTo>
                  <a:lnTo>
                    <a:pt x="509" y="312"/>
                  </a:lnTo>
                  <a:lnTo>
                    <a:pt x="508" y="312"/>
                  </a:lnTo>
                  <a:lnTo>
                    <a:pt x="506" y="312"/>
                  </a:lnTo>
                  <a:lnTo>
                    <a:pt x="506" y="310"/>
                  </a:lnTo>
                  <a:lnTo>
                    <a:pt x="504" y="310"/>
                  </a:lnTo>
                  <a:lnTo>
                    <a:pt x="504" y="312"/>
                  </a:lnTo>
                  <a:lnTo>
                    <a:pt x="503" y="312"/>
                  </a:lnTo>
                  <a:lnTo>
                    <a:pt x="503" y="313"/>
                  </a:lnTo>
                  <a:lnTo>
                    <a:pt x="503" y="315"/>
                  </a:lnTo>
                  <a:lnTo>
                    <a:pt x="501" y="315"/>
                  </a:lnTo>
                  <a:lnTo>
                    <a:pt x="499" y="317"/>
                  </a:lnTo>
                  <a:lnTo>
                    <a:pt x="498" y="315"/>
                  </a:lnTo>
                  <a:lnTo>
                    <a:pt x="496" y="317"/>
                  </a:lnTo>
                  <a:lnTo>
                    <a:pt x="495" y="317"/>
                  </a:lnTo>
                  <a:lnTo>
                    <a:pt x="493" y="317"/>
                  </a:lnTo>
                  <a:lnTo>
                    <a:pt x="488" y="317"/>
                  </a:lnTo>
                  <a:lnTo>
                    <a:pt x="488" y="318"/>
                  </a:lnTo>
                  <a:lnTo>
                    <a:pt x="485" y="322"/>
                  </a:lnTo>
                  <a:lnTo>
                    <a:pt x="483" y="325"/>
                  </a:lnTo>
                  <a:lnTo>
                    <a:pt x="483" y="326"/>
                  </a:lnTo>
                  <a:lnTo>
                    <a:pt x="485" y="326"/>
                  </a:lnTo>
                  <a:lnTo>
                    <a:pt x="485" y="328"/>
                  </a:lnTo>
                  <a:lnTo>
                    <a:pt x="486" y="328"/>
                  </a:lnTo>
                  <a:lnTo>
                    <a:pt x="485" y="328"/>
                  </a:lnTo>
                  <a:lnTo>
                    <a:pt x="485" y="330"/>
                  </a:lnTo>
                  <a:lnTo>
                    <a:pt x="485" y="331"/>
                  </a:lnTo>
                  <a:lnTo>
                    <a:pt x="486" y="331"/>
                  </a:lnTo>
                  <a:lnTo>
                    <a:pt x="486" y="333"/>
                  </a:lnTo>
                  <a:lnTo>
                    <a:pt x="485" y="333"/>
                  </a:lnTo>
                  <a:lnTo>
                    <a:pt x="485" y="335"/>
                  </a:lnTo>
                  <a:lnTo>
                    <a:pt x="483" y="338"/>
                  </a:lnTo>
                  <a:lnTo>
                    <a:pt x="483" y="340"/>
                  </a:lnTo>
                  <a:lnTo>
                    <a:pt x="467" y="344"/>
                  </a:lnTo>
                  <a:lnTo>
                    <a:pt x="465" y="344"/>
                  </a:lnTo>
                  <a:lnTo>
                    <a:pt x="464" y="351"/>
                  </a:lnTo>
                  <a:lnTo>
                    <a:pt x="464" y="356"/>
                  </a:lnTo>
                  <a:lnTo>
                    <a:pt x="464" y="357"/>
                  </a:lnTo>
                  <a:lnTo>
                    <a:pt x="467" y="359"/>
                  </a:lnTo>
                  <a:lnTo>
                    <a:pt x="469" y="359"/>
                  </a:lnTo>
                  <a:lnTo>
                    <a:pt x="469" y="361"/>
                  </a:lnTo>
                  <a:lnTo>
                    <a:pt x="465" y="361"/>
                  </a:lnTo>
                  <a:lnTo>
                    <a:pt x="464" y="361"/>
                  </a:lnTo>
                  <a:lnTo>
                    <a:pt x="462" y="361"/>
                  </a:lnTo>
                  <a:lnTo>
                    <a:pt x="462" y="362"/>
                  </a:lnTo>
                  <a:lnTo>
                    <a:pt x="459" y="361"/>
                  </a:lnTo>
                  <a:lnTo>
                    <a:pt x="456" y="361"/>
                  </a:lnTo>
                  <a:lnTo>
                    <a:pt x="454" y="359"/>
                  </a:lnTo>
                  <a:lnTo>
                    <a:pt x="452" y="361"/>
                  </a:lnTo>
                  <a:lnTo>
                    <a:pt x="451" y="361"/>
                  </a:lnTo>
                  <a:lnTo>
                    <a:pt x="447" y="361"/>
                  </a:lnTo>
                  <a:lnTo>
                    <a:pt x="447" y="359"/>
                  </a:lnTo>
                  <a:lnTo>
                    <a:pt x="446" y="361"/>
                  </a:lnTo>
                  <a:lnTo>
                    <a:pt x="444" y="361"/>
                  </a:lnTo>
                  <a:lnTo>
                    <a:pt x="443" y="362"/>
                  </a:lnTo>
                  <a:lnTo>
                    <a:pt x="441" y="364"/>
                  </a:lnTo>
                  <a:lnTo>
                    <a:pt x="441" y="366"/>
                  </a:lnTo>
                  <a:lnTo>
                    <a:pt x="438" y="366"/>
                  </a:lnTo>
                  <a:lnTo>
                    <a:pt x="436" y="367"/>
                  </a:lnTo>
                  <a:lnTo>
                    <a:pt x="438" y="369"/>
                  </a:lnTo>
                  <a:lnTo>
                    <a:pt x="438" y="370"/>
                  </a:lnTo>
                  <a:lnTo>
                    <a:pt x="438" y="372"/>
                  </a:lnTo>
                  <a:lnTo>
                    <a:pt x="438" y="374"/>
                  </a:lnTo>
                  <a:lnTo>
                    <a:pt x="439" y="375"/>
                  </a:lnTo>
                  <a:lnTo>
                    <a:pt x="441" y="375"/>
                  </a:lnTo>
                  <a:lnTo>
                    <a:pt x="443" y="377"/>
                  </a:lnTo>
                  <a:lnTo>
                    <a:pt x="443" y="379"/>
                  </a:lnTo>
                  <a:lnTo>
                    <a:pt x="443" y="377"/>
                  </a:lnTo>
                  <a:lnTo>
                    <a:pt x="444" y="377"/>
                  </a:lnTo>
                  <a:lnTo>
                    <a:pt x="446" y="377"/>
                  </a:lnTo>
                  <a:lnTo>
                    <a:pt x="447" y="377"/>
                  </a:lnTo>
                  <a:lnTo>
                    <a:pt x="446" y="377"/>
                  </a:lnTo>
                  <a:lnTo>
                    <a:pt x="447" y="379"/>
                  </a:lnTo>
                  <a:lnTo>
                    <a:pt x="449" y="379"/>
                  </a:lnTo>
                  <a:lnTo>
                    <a:pt x="449" y="380"/>
                  </a:lnTo>
                  <a:lnTo>
                    <a:pt x="451" y="387"/>
                  </a:lnTo>
                  <a:lnTo>
                    <a:pt x="452" y="387"/>
                  </a:lnTo>
                  <a:lnTo>
                    <a:pt x="454" y="387"/>
                  </a:lnTo>
                  <a:lnTo>
                    <a:pt x="454" y="388"/>
                  </a:lnTo>
                  <a:lnTo>
                    <a:pt x="454" y="390"/>
                  </a:lnTo>
                  <a:lnTo>
                    <a:pt x="454" y="392"/>
                  </a:lnTo>
                  <a:lnTo>
                    <a:pt x="454" y="393"/>
                  </a:lnTo>
                  <a:lnTo>
                    <a:pt x="454" y="395"/>
                  </a:lnTo>
                  <a:lnTo>
                    <a:pt x="452" y="396"/>
                  </a:lnTo>
                  <a:lnTo>
                    <a:pt x="454" y="398"/>
                  </a:lnTo>
                  <a:lnTo>
                    <a:pt x="456" y="398"/>
                  </a:lnTo>
                  <a:lnTo>
                    <a:pt x="457" y="401"/>
                  </a:lnTo>
                  <a:lnTo>
                    <a:pt x="459" y="401"/>
                  </a:lnTo>
                  <a:lnTo>
                    <a:pt x="459" y="403"/>
                  </a:lnTo>
                  <a:lnTo>
                    <a:pt x="457" y="403"/>
                  </a:lnTo>
                  <a:lnTo>
                    <a:pt x="456" y="403"/>
                  </a:lnTo>
                  <a:lnTo>
                    <a:pt x="456" y="405"/>
                  </a:lnTo>
                  <a:lnTo>
                    <a:pt x="456" y="406"/>
                  </a:lnTo>
                  <a:lnTo>
                    <a:pt x="456" y="408"/>
                  </a:lnTo>
                  <a:lnTo>
                    <a:pt x="456" y="409"/>
                  </a:lnTo>
                  <a:lnTo>
                    <a:pt x="456" y="411"/>
                  </a:lnTo>
                  <a:lnTo>
                    <a:pt x="454" y="413"/>
                  </a:lnTo>
                  <a:lnTo>
                    <a:pt x="452" y="413"/>
                  </a:lnTo>
                  <a:lnTo>
                    <a:pt x="454" y="413"/>
                  </a:lnTo>
                  <a:lnTo>
                    <a:pt x="454" y="414"/>
                  </a:lnTo>
                  <a:lnTo>
                    <a:pt x="452" y="414"/>
                  </a:lnTo>
                  <a:lnTo>
                    <a:pt x="452" y="416"/>
                  </a:lnTo>
                  <a:lnTo>
                    <a:pt x="451" y="416"/>
                  </a:lnTo>
                  <a:lnTo>
                    <a:pt x="449" y="418"/>
                  </a:lnTo>
                  <a:lnTo>
                    <a:pt x="447" y="418"/>
                  </a:lnTo>
                  <a:lnTo>
                    <a:pt x="446" y="418"/>
                  </a:lnTo>
                  <a:lnTo>
                    <a:pt x="444" y="418"/>
                  </a:lnTo>
                  <a:lnTo>
                    <a:pt x="443" y="419"/>
                  </a:lnTo>
                  <a:lnTo>
                    <a:pt x="441" y="419"/>
                  </a:lnTo>
                  <a:lnTo>
                    <a:pt x="441" y="421"/>
                  </a:lnTo>
                  <a:lnTo>
                    <a:pt x="439" y="422"/>
                  </a:lnTo>
                  <a:lnTo>
                    <a:pt x="439" y="424"/>
                  </a:lnTo>
                  <a:lnTo>
                    <a:pt x="434" y="424"/>
                  </a:lnTo>
                  <a:lnTo>
                    <a:pt x="433" y="426"/>
                  </a:lnTo>
                  <a:lnTo>
                    <a:pt x="431" y="427"/>
                  </a:lnTo>
                  <a:lnTo>
                    <a:pt x="430" y="427"/>
                  </a:lnTo>
                  <a:lnTo>
                    <a:pt x="428" y="427"/>
                  </a:lnTo>
                  <a:lnTo>
                    <a:pt x="428" y="426"/>
                  </a:lnTo>
                  <a:lnTo>
                    <a:pt x="426" y="424"/>
                  </a:lnTo>
                  <a:lnTo>
                    <a:pt x="426" y="426"/>
                  </a:lnTo>
                  <a:lnTo>
                    <a:pt x="425" y="424"/>
                  </a:lnTo>
                  <a:lnTo>
                    <a:pt x="423" y="424"/>
                  </a:lnTo>
                  <a:lnTo>
                    <a:pt x="421" y="422"/>
                  </a:lnTo>
                  <a:lnTo>
                    <a:pt x="421" y="424"/>
                  </a:lnTo>
                  <a:lnTo>
                    <a:pt x="418" y="426"/>
                  </a:lnTo>
                  <a:lnTo>
                    <a:pt x="418" y="427"/>
                  </a:lnTo>
                  <a:lnTo>
                    <a:pt x="418" y="429"/>
                  </a:lnTo>
                  <a:lnTo>
                    <a:pt x="417" y="429"/>
                  </a:lnTo>
                  <a:lnTo>
                    <a:pt x="417" y="427"/>
                  </a:lnTo>
                  <a:lnTo>
                    <a:pt x="415" y="427"/>
                  </a:lnTo>
                  <a:lnTo>
                    <a:pt x="415" y="429"/>
                  </a:lnTo>
                  <a:lnTo>
                    <a:pt x="412" y="429"/>
                  </a:lnTo>
                  <a:lnTo>
                    <a:pt x="412" y="431"/>
                  </a:lnTo>
                  <a:lnTo>
                    <a:pt x="412" y="434"/>
                  </a:lnTo>
                  <a:lnTo>
                    <a:pt x="410" y="434"/>
                  </a:lnTo>
                  <a:lnTo>
                    <a:pt x="408" y="432"/>
                  </a:lnTo>
                  <a:lnTo>
                    <a:pt x="407" y="432"/>
                  </a:lnTo>
                  <a:lnTo>
                    <a:pt x="405" y="432"/>
                  </a:lnTo>
                  <a:lnTo>
                    <a:pt x="403" y="432"/>
                  </a:lnTo>
                  <a:lnTo>
                    <a:pt x="402" y="434"/>
                  </a:lnTo>
                  <a:lnTo>
                    <a:pt x="400" y="434"/>
                  </a:lnTo>
                  <a:lnTo>
                    <a:pt x="399" y="434"/>
                  </a:lnTo>
                  <a:lnTo>
                    <a:pt x="395" y="432"/>
                  </a:lnTo>
                  <a:lnTo>
                    <a:pt x="395" y="434"/>
                  </a:lnTo>
                  <a:lnTo>
                    <a:pt x="394" y="434"/>
                  </a:lnTo>
                  <a:lnTo>
                    <a:pt x="394" y="435"/>
                  </a:lnTo>
                  <a:lnTo>
                    <a:pt x="392" y="437"/>
                  </a:lnTo>
                  <a:lnTo>
                    <a:pt x="392" y="439"/>
                  </a:lnTo>
                  <a:lnTo>
                    <a:pt x="392" y="440"/>
                  </a:lnTo>
                  <a:lnTo>
                    <a:pt x="392" y="439"/>
                  </a:lnTo>
                  <a:lnTo>
                    <a:pt x="390" y="439"/>
                  </a:lnTo>
                  <a:lnTo>
                    <a:pt x="389" y="439"/>
                  </a:lnTo>
                  <a:lnTo>
                    <a:pt x="387" y="439"/>
                  </a:lnTo>
                  <a:lnTo>
                    <a:pt x="386" y="440"/>
                  </a:lnTo>
                  <a:lnTo>
                    <a:pt x="384" y="440"/>
                  </a:lnTo>
                  <a:lnTo>
                    <a:pt x="382" y="442"/>
                  </a:lnTo>
                  <a:lnTo>
                    <a:pt x="382" y="444"/>
                  </a:lnTo>
                  <a:lnTo>
                    <a:pt x="381" y="444"/>
                  </a:lnTo>
                  <a:lnTo>
                    <a:pt x="379" y="445"/>
                  </a:lnTo>
                  <a:lnTo>
                    <a:pt x="377" y="445"/>
                  </a:lnTo>
                  <a:lnTo>
                    <a:pt x="376" y="445"/>
                  </a:lnTo>
                  <a:lnTo>
                    <a:pt x="374" y="447"/>
                  </a:lnTo>
                  <a:lnTo>
                    <a:pt x="373" y="448"/>
                  </a:lnTo>
                  <a:lnTo>
                    <a:pt x="371" y="448"/>
                  </a:lnTo>
                  <a:lnTo>
                    <a:pt x="369" y="448"/>
                  </a:lnTo>
                  <a:lnTo>
                    <a:pt x="368" y="450"/>
                  </a:lnTo>
                  <a:lnTo>
                    <a:pt x="366" y="450"/>
                  </a:lnTo>
                  <a:lnTo>
                    <a:pt x="364" y="450"/>
                  </a:lnTo>
                  <a:lnTo>
                    <a:pt x="363" y="450"/>
                  </a:lnTo>
                  <a:lnTo>
                    <a:pt x="361" y="448"/>
                  </a:lnTo>
                  <a:lnTo>
                    <a:pt x="360" y="447"/>
                  </a:lnTo>
                  <a:lnTo>
                    <a:pt x="360" y="445"/>
                  </a:lnTo>
                  <a:lnTo>
                    <a:pt x="358" y="445"/>
                  </a:lnTo>
                  <a:lnTo>
                    <a:pt x="356" y="444"/>
                  </a:lnTo>
                  <a:lnTo>
                    <a:pt x="355" y="444"/>
                  </a:lnTo>
                  <a:lnTo>
                    <a:pt x="355" y="442"/>
                  </a:lnTo>
                  <a:lnTo>
                    <a:pt x="353" y="442"/>
                  </a:lnTo>
                  <a:lnTo>
                    <a:pt x="351" y="442"/>
                  </a:lnTo>
                  <a:lnTo>
                    <a:pt x="350" y="442"/>
                  </a:lnTo>
                  <a:lnTo>
                    <a:pt x="348" y="442"/>
                  </a:lnTo>
                  <a:lnTo>
                    <a:pt x="348" y="440"/>
                  </a:lnTo>
                  <a:lnTo>
                    <a:pt x="348" y="439"/>
                  </a:lnTo>
                  <a:lnTo>
                    <a:pt x="347" y="439"/>
                  </a:lnTo>
                  <a:lnTo>
                    <a:pt x="345" y="440"/>
                  </a:lnTo>
                  <a:lnTo>
                    <a:pt x="343" y="440"/>
                  </a:lnTo>
                  <a:lnTo>
                    <a:pt x="342" y="440"/>
                  </a:lnTo>
                  <a:lnTo>
                    <a:pt x="340" y="439"/>
                  </a:lnTo>
                  <a:lnTo>
                    <a:pt x="340" y="437"/>
                  </a:lnTo>
                  <a:lnTo>
                    <a:pt x="337" y="437"/>
                  </a:lnTo>
                  <a:lnTo>
                    <a:pt x="335" y="437"/>
                  </a:lnTo>
                  <a:lnTo>
                    <a:pt x="334" y="437"/>
                  </a:lnTo>
                  <a:lnTo>
                    <a:pt x="332" y="437"/>
                  </a:lnTo>
                  <a:lnTo>
                    <a:pt x="330" y="437"/>
                  </a:lnTo>
                  <a:lnTo>
                    <a:pt x="327" y="437"/>
                  </a:lnTo>
                  <a:lnTo>
                    <a:pt x="327" y="435"/>
                  </a:lnTo>
                  <a:lnTo>
                    <a:pt x="324" y="435"/>
                  </a:lnTo>
                  <a:lnTo>
                    <a:pt x="322" y="435"/>
                  </a:lnTo>
                  <a:lnTo>
                    <a:pt x="321" y="437"/>
                  </a:lnTo>
                  <a:lnTo>
                    <a:pt x="319" y="437"/>
                  </a:lnTo>
                  <a:lnTo>
                    <a:pt x="317" y="437"/>
                  </a:lnTo>
                  <a:lnTo>
                    <a:pt x="314" y="437"/>
                  </a:lnTo>
                  <a:lnTo>
                    <a:pt x="314" y="440"/>
                  </a:lnTo>
                  <a:lnTo>
                    <a:pt x="314" y="442"/>
                  </a:lnTo>
                  <a:lnTo>
                    <a:pt x="314" y="444"/>
                  </a:lnTo>
                  <a:lnTo>
                    <a:pt x="314" y="445"/>
                  </a:lnTo>
                  <a:lnTo>
                    <a:pt x="312" y="444"/>
                  </a:lnTo>
                  <a:lnTo>
                    <a:pt x="311" y="444"/>
                  </a:lnTo>
                  <a:lnTo>
                    <a:pt x="309" y="444"/>
                  </a:lnTo>
                  <a:lnTo>
                    <a:pt x="308" y="442"/>
                  </a:lnTo>
                  <a:lnTo>
                    <a:pt x="306" y="439"/>
                  </a:lnTo>
                  <a:lnTo>
                    <a:pt x="304" y="439"/>
                  </a:lnTo>
                  <a:lnTo>
                    <a:pt x="304" y="437"/>
                  </a:lnTo>
                  <a:lnTo>
                    <a:pt x="303" y="437"/>
                  </a:lnTo>
                  <a:lnTo>
                    <a:pt x="301" y="437"/>
                  </a:lnTo>
                  <a:lnTo>
                    <a:pt x="299" y="437"/>
                  </a:lnTo>
                  <a:lnTo>
                    <a:pt x="298" y="437"/>
                  </a:lnTo>
                  <a:lnTo>
                    <a:pt x="296" y="439"/>
                  </a:lnTo>
                  <a:lnTo>
                    <a:pt x="296" y="437"/>
                  </a:lnTo>
                  <a:lnTo>
                    <a:pt x="296" y="435"/>
                  </a:lnTo>
                  <a:lnTo>
                    <a:pt x="295" y="437"/>
                  </a:lnTo>
                  <a:lnTo>
                    <a:pt x="291" y="439"/>
                  </a:lnTo>
                  <a:lnTo>
                    <a:pt x="290" y="437"/>
                  </a:lnTo>
                  <a:lnTo>
                    <a:pt x="290" y="435"/>
                  </a:lnTo>
                  <a:lnTo>
                    <a:pt x="290" y="434"/>
                  </a:lnTo>
                  <a:lnTo>
                    <a:pt x="288" y="432"/>
                  </a:lnTo>
                  <a:lnTo>
                    <a:pt x="286" y="432"/>
                  </a:lnTo>
                  <a:lnTo>
                    <a:pt x="286" y="431"/>
                  </a:lnTo>
                  <a:lnTo>
                    <a:pt x="285" y="429"/>
                  </a:lnTo>
                  <a:lnTo>
                    <a:pt x="283" y="426"/>
                  </a:lnTo>
                  <a:lnTo>
                    <a:pt x="282" y="424"/>
                  </a:lnTo>
                  <a:lnTo>
                    <a:pt x="282" y="422"/>
                  </a:lnTo>
                  <a:lnTo>
                    <a:pt x="282" y="421"/>
                  </a:lnTo>
                  <a:lnTo>
                    <a:pt x="280" y="421"/>
                  </a:lnTo>
                  <a:lnTo>
                    <a:pt x="278" y="421"/>
                  </a:lnTo>
                  <a:lnTo>
                    <a:pt x="277" y="422"/>
                  </a:lnTo>
                  <a:lnTo>
                    <a:pt x="275" y="422"/>
                  </a:lnTo>
                  <a:lnTo>
                    <a:pt x="273" y="424"/>
                  </a:lnTo>
                  <a:lnTo>
                    <a:pt x="273" y="426"/>
                  </a:lnTo>
                  <a:lnTo>
                    <a:pt x="273" y="427"/>
                  </a:lnTo>
                  <a:lnTo>
                    <a:pt x="272" y="427"/>
                  </a:lnTo>
                  <a:lnTo>
                    <a:pt x="270" y="427"/>
                  </a:lnTo>
                  <a:lnTo>
                    <a:pt x="269" y="427"/>
                  </a:lnTo>
                  <a:lnTo>
                    <a:pt x="267" y="427"/>
                  </a:lnTo>
                  <a:lnTo>
                    <a:pt x="265" y="427"/>
                  </a:lnTo>
                  <a:lnTo>
                    <a:pt x="264" y="429"/>
                  </a:lnTo>
                  <a:lnTo>
                    <a:pt x="262" y="431"/>
                  </a:lnTo>
                  <a:lnTo>
                    <a:pt x="260" y="431"/>
                  </a:lnTo>
                  <a:lnTo>
                    <a:pt x="259" y="431"/>
                  </a:lnTo>
                  <a:lnTo>
                    <a:pt x="257" y="432"/>
                  </a:lnTo>
                  <a:lnTo>
                    <a:pt x="255" y="431"/>
                  </a:lnTo>
                  <a:lnTo>
                    <a:pt x="255" y="429"/>
                  </a:lnTo>
                  <a:lnTo>
                    <a:pt x="254" y="427"/>
                  </a:lnTo>
                  <a:lnTo>
                    <a:pt x="252" y="427"/>
                  </a:lnTo>
                  <a:lnTo>
                    <a:pt x="252" y="426"/>
                  </a:lnTo>
                  <a:lnTo>
                    <a:pt x="251" y="426"/>
                  </a:lnTo>
                  <a:lnTo>
                    <a:pt x="249" y="426"/>
                  </a:lnTo>
                  <a:lnTo>
                    <a:pt x="249" y="427"/>
                  </a:lnTo>
                  <a:lnTo>
                    <a:pt x="247" y="429"/>
                  </a:lnTo>
                  <a:lnTo>
                    <a:pt x="246" y="429"/>
                  </a:lnTo>
                  <a:lnTo>
                    <a:pt x="246" y="431"/>
                  </a:lnTo>
                  <a:lnTo>
                    <a:pt x="244" y="431"/>
                  </a:lnTo>
                  <a:lnTo>
                    <a:pt x="244" y="432"/>
                  </a:lnTo>
                  <a:lnTo>
                    <a:pt x="244" y="434"/>
                  </a:lnTo>
                  <a:lnTo>
                    <a:pt x="242" y="435"/>
                  </a:lnTo>
                  <a:lnTo>
                    <a:pt x="242" y="434"/>
                  </a:lnTo>
                  <a:lnTo>
                    <a:pt x="241" y="434"/>
                  </a:lnTo>
                  <a:lnTo>
                    <a:pt x="241" y="432"/>
                  </a:lnTo>
                  <a:lnTo>
                    <a:pt x="239" y="432"/>
                  </a:lnTo>
                  <a:lnTo>
                    <a:pt x="238" y="432"/>
                  </a:lnTo>
                  <a:lnTo>
                    <a:pt x="236" y="432"/>
                  </a:lnTo>
                  <a:lnTo>
                    <a:pt x="234" y="432"/>
                  </a:lnTo>
                  <a:lnTo>
                    <a:pt x="234" y="431"/>
                  </a:lnTo>
                  <a:lnTo>
                    <a:pt x="234" y="432"/>
                  </a:lnTo>
                  <a:lnTo>
                    <a:pt x="233" y="432"/>
                  </a:lnTo>
                  <a:lnTo>
                    <a:pt x="233" y="434"/>
                  </a:lnTo>
                  <a:lnTo>
                    <a:pt x="231" y="434"/>
                  </a:lnTo>
                  <a:lnTo>
                    <a:pt x="231" y="435"/>
                  </a:lnTo>
                  <a:lnTo>
                    <a:pt x="231" y="437"/>
                  </a:lnTo>
                  <a:lnTo>
                    <a:pt x="231" y="439"/>
                  </a:lnTo>
                  <a:lnTo>
                    <a:pt x="231" y="440"/>
                  </a:lnTo>
                  <a:lnTo>
                    <a:pt x="233" y="442"/>
                  </a:lnTo>
                  <a:lnTo>
                    <a:pt x="233" y="444"/>
                  </a:lnTo>
                  <a:lnTo>
                    <a:pt x="231" y="445"/>
                  </a:lnTo>
                  <a:lnTo>
                    <a:pt x="231" y="447"/>
                  </a:lnTo>
                  <a:lnTo>
                    <a:pt x="229" y="447"/>
                  </a:lnTo>
                  <a:lnTo>
                    <a:pt x="229" y="445"/>
                  </a:lnTo>
                  <a:lnTo>
                    <a:pt x="228" y="447"/>
                  </a:lnTo>
                  <a:lnTo>
                    <a:pt x="228" y="445"/>
                  </a:lnTo>
                  <a:lnTo>
                    <a:pt x="226" y="447"/>
                  </a:lnTo>
                  <a:lnTo>
                    <a:pt x="225" y="448"/>
                  </a:lnTo>
                  <a:lnTo>
                    <a:pt x="225" y="450"/>
                  </a:lnTo>
                  <a:lnTo>
                    <a:pt x="223" y="450"/>
                  </a:lnTo>
                  <a:lnTo>
                    <a:pt x="221" y="448"/>
                  </a:lnTo>
                  <a:lnTo>
                    <a:pt x="220" y="448"/>
                  </a:lnTo>
                  <a:lnTo>
                    <a:pt x="218" y="447"/>
                  </a:lnTo>
                  <a:lnTo>
                    <a:pt x="218" y="445"/>
                  </a:lnTo>
                  <a:lnTo>
                    <a:pt x="216" y="445"/>
                  </a:lnTo>
                  <a:lnTo>
                    <a:pt x="215" y="445"/>
                  </a:lnTo>
                  <a:lnTo>
                    <a:pt x="216" y="447"/>
                  </a:lnTo>
                  <a:lnTo>
                    <a:pt x="216" y="448"/>
                  </a:lnTo>
                  <a:lnTo>
                    <a:pt x="215" y="448"/>
                  </a:lnTo>
                  <a:lnTo>
                    <a:pt x="213" y="448"/>
                  </a:lnTo>
                  <a:lnTo>
                    <a:pt x="213" y="450"/>
                  </a:lnTo>
                  <a:lnTo>
                    <a:pt x="212" y="450"/>
                  </a:lnTo>
                  <a:lnTo>
                    <a:pt x="210" y="452"/>
                  </a:lnTo>
                  <a:lnTo>
                    <a:pt x="205" y="453"/>
                  </a:lnTo>
                  <a:lnTo>
                    <a:pt x="203" y="458"/>
                  </a:lnTo>
                  <a:lnTo>
                    <a:pt x="202" y="460"/>
                  </a:lnTo>
                  <a:lnTo>
                    <a:pt x="202" y="458"/>
                  </a:lnTo>
                  <a:lnTo>
                    <a:pt x="200" y="460"/>
                  </a:lnTo>
                  <a:lnTo>
                    <a:pt x="199" y="458"/>
                  </a:lnTo>
                  <a:lnTo>
                    <a:pt x="197" y="460"/>
                  </a:lnTo>
                  <a:lnTo>
                    <a:pt x="195" y="460"/>
                  </a:lnTo>
                  <a:lnTo>
                    <a:pt x="194" y="460"/>
                  </a:lnTo>
                  <a:lnTo>
                    <a:pt x="192" y="460"/>
                  </a:lnTo>
                  <a:lnTo>
                    <a:pt x="192" y="461"/>
                  </a:lnTo>
                  <a:lnTo>
                    <a:pt x="190" y="461"/>
                  </a:lnTo>
                  <a:lnTo>
                    <a:pt x="190" y="465"/>
                  </a:lnTo>
                  <a:lnTo>
                    <a:pt x="189" y="465"/>
                  </a:lnTo>
                  <a:lnTo>
                    <a:pt x="187" y="465"/>
                  </a:lnTo>
                  <a:lnTo>
                    <a:pt x="186" y="465"/>
                  </a:lnTo>
                  <a:lnTo>
                    <a:pt x="184" y="465"/>
                  </a:lnTo>
                  <a:lnTo>
                    <a:pt x="182" y="465"/>
                  </a:lnTo>
                  <a:lnTo>
                    <a:pt x="179" y="465"/>
                  </a:lnTo>
                  <a:lnTo>
                    <a:pt x="177" y="465"/>
                  </a:lnTo>
                  <a:lnTo>
                    <a:pt x="177" y="463"/>
                  </a:lnTo>
                  <a:lnTo>
                    <a:pt x="174" y="465"/>
                  </a:lnTo>
                  <a:lnTo>
                    <a:pt x="173" y="465"/>
                  </a:lnTo>
                  <a:lnTo>
                    <a:pt x="171" y="465"/>
                  </a:lnTo>
                  <a:lnTo>
                    <a:pt x="168" y="465"/>
                  </a:lnTo>
                  <a:lnTo>
                    <a:pt x="166" y="465"/>
                  </a:lnTo>
                  <a:lnTo>
                    <a:pt x="166" y="466"/>
                  </a:lnTo>
                  <a:lnTo>
                    <a:pt x="164" y="466"/>
                  </a:lnTo>
                  <a:lnTo>
                    <a:pt x="163" y="468"/>
                  </a:lnTo>
                  <a:lnTo>
                    <a:pt x="161" y="470"/>
                  </a:lnTo>
                  <a:lnTo>
                    <a:pt x="160" y="470"/>
                  </a:lnTo>
                  <a:lnTo>
                    <a:pt x="160" y="471"/>
                  </a:lnTo>
                  <a:lnTo>
                    <a:pt x="160" y="473"/>
                  </a:lnTo>
                  <a:lnTo>
                    <a:pt x="158" y="473"/>
                  </a:lnTo>
                  <a:lnTo>
                    <a:pt x="156" y="470"/>
                  </a:lnTo>
                  <a:lnTo>
                    <a:pt x="155" y="468"/>
                  </a:lnTo>
                  <a:lnTo>
                    <a:pt x="153" y="468"/>
                  </a:lnTo>
                  <a:lnTo>
                    <a:pt x="151" y="468"/>
                  </a:lnTo>
                  <a:lnTo>
                    <a:pt x="150" y="470"/>
                  </a:lnTo>
                  <a:lnTo>
                    <a:pt x="148" y="471"/>
                  </a:lnTo>
                  <a:lnTo>
                    <a:pt x="147" y="473"/>
                  </a:lnTo>
                  <a:lnTo>
                    <a:pt x="147" y="475"/>
                  </a:lnTo>
                  <a:lnTo>
                    <a:pt x="147" y="476"/>
                  </a:lnTo>
                  <a:lnTo>
                    <a:pt x="147" y="478"/>
                  </a:lnTo>
                  <a:lnTo>
                    <a:pt x="147" y="479"/>
                  </a:lnTo>
                  <a:lnTo>
                    <a:pt x="143" y="481"/>
                  </a:lnTo>
                  <a:lnTo>
                    <a:pt x="142" y="481"/>
                  </a:lnTo>
                  <a:lnTo>
                    <a:pt x="140" y="481"/>
                  </a:lnTo>
                  <a:lnTo>
                    <a:pt x="138" y="483"/>
                  </a:lnTo>
                  <a:lnTo>
                    <a:pt x="135" y="483"/>
                  </a:lnTo>
                  <a:lnTo>
                    <a:pt x="134" y="484"/>
                  </a:lnTo>
                  <a:lnTo>
                    <a:pt x="130" y="484"/>
                  </a:lnTo>
                  <a:lnTo>
                    <a:pt x="125" y="483"/>
                  </a:lnTo>
                  <a:lnTo>
                    <a:pt x="122" y="484"/>
                  </a:lnTo>
                  <a:lnTo>
                    <a:pt x="121" y="483"/>
                  </a:lnTo>
                  <a:lnTo>
                    <a:pt x="119" y="484"/>
                  </a:lnTo>
                  <a:lnTo>
                    <a:pt x="116" y="484"/>
                  </a:lnTo>
                  <a:lnTo>
                    <a:pt x="117" y="483"/>
                  </a:lnTo>
                  <a:lnTo>
                    <a:pt x="119" y="481"/>
                  </a:lnTo>
                  <a:lnTo>
                    <a:pt x="119" y="479"/>
                  </a:lnTo>
                  <a:lnTo>
                    <a:pt x="117" y="478"/>
                  </a:lnTo>
                  <a:lnTo>
                    <a:pt x="117" y="475"/>
                  </a:lnTo>
                  <a:lnTo>
                    <a:pt x="117" y="473"/>
                  </a:lnTo>
                  <a:lnTo>
                    <a:pt x="116" y="471"/>
                  </a:lnTo>
                  <a:lnTo>
                    <a:pt x="117" y="470"/>
                  </a:lnTo>
                  <a:lnTo>
                    <a:pt x="117" y="468"/>
                  </a:lnTo>
                  <a:lnTo>
                    <a:pt x="117" y="466"/>
                  </a:lnTo>
                  <a:lnTo>
                    <a:pt x="116" y="463"/>
                  </a:lnTo>
                  <a:lnTo>
                    <a:pt x="114" y="461"/>
                  </a:lnTo>
                  <a:lnTo>
                    <a:pt x="116" y="460"/>
                  </a:lnTo>
                  <a:lnTo>
                    <a:pt x="116" y="458"/>
                  </a:lnTo>
                  <a:lnTo>
                    <a:pt x="114" y="457"/>
                  </a:lnTo>
                  <a:lnTo>
                    <a:pt x="114" y="455"/>
                  </a:lnTo>
                  <a:lnTo>
                    <a:pt x="114" y="453"/>
                  </a:lnTo>
                  <a:lnTo>
                    <a:pt x="114" y="452"/>
                  </a:lnTo>
                  <a:lnTo>
                    <a:pt x="114" y="450"/>
                  </a:lnTo>
                  <a:lnTo>
                    <a:pt x="112" y="448"/>
                  </a:lnTo>
                  <a:lnTo>
                    <a:pt x="111" y="447"/>
                  </a:lnTo>
                  <a:lnTo>
                    <a:pt x="111" y="445"/>
                  </a:lnTo>
                  <a:lnTo>
                    <a:pt x="111" y="444"/>
                  </a:lnTo>
                  <a:lnTo>
                    <a:pt x="111" y="442"/>
                  </a:lnTo>
                  <a:lnTo>
                    <a:pt x="111" y="440"/>
                  </a:lnTo>
                  <a:lnTo>
                    <a:pt x="112" y="439"/>
                  </a:lnTo>
                  <a:lnTo>
                    <a:pt x="114" y="439"/>
                  </a:lnTo>
                  <a:lnTo>
                    <a:pt x="114" y="437"/>
                  </a:lnTo>
                  <a:lnTo>
                    <a:pt x="114" y="435"/>
                  </a:lnTo>
                  <a:lnTo>
                    <a:pt x="116" y="434"/>
                  </a:lnTo>
                  <a:lnTo>
                    <a:pt x="116" y="432"/>
                  </a:lnTo>
                  <a:lnTo>
                    <a:pt x="117" y="431"/>
                  </a:lnTo>
                  <a:lnTo>
                    <a:pt x="117" y="429"/>
                  </a:lnTo>
                  <a:lnTo>
                    <a:pt x="117" y="427"/>
                  </a:lnTo>
                  <a:lnTo>
                    <a:pt x="114" y="424"/>
                  </a:lnTo>
                  <a:lnTo>
                    <a:pt x="114" y="422"/>
                  </a:lnTo>
                  <a:lnTo>
                    <a:pt x="109" y="422"/>
                  </a:lnTo>
                  <a:lnTo>
                    <a:pt x="109" y="421"/>
                  </a:lnTo>
                  <a:lnTo>
                    <a:pt x="107" y="419"/>
                  </a:lnTo>
                  <a:lnTo>
                    <a:pt x="106" y="418"/>
                  </a:lnTo>
                  <a:lnTo>
                    <a:pt x="104" y="416"/>
                  </a:lnTo>
                  <a:lnTo>
                    <a:pt x="104" y="413"/>
                  </a:lnTo>
                  <a:lnTo>
                    <a:pt x="103" y="409"/>
                  </a:lnTo>
                  <a:lnTo>
                    <a:pt x="101" y="408"/>
                  </a:lnTo>
                  <a:lnTo>
                    <a:pt x="99" y="408"/>
                  </a:lnTo>
                  <a:lnTo>
                    <a:pt x="99" y="406"/>
                  </a:lnTo>
                  <a:lnTo>
                    <a:pt x="98" y="405"/>
                  </a:lnTo>
                  <a:lnTo>
                    <a:pt x="98" y="403"/>
                  </a:lnTo>
                  <a:lnTo>
                    <a:pt x="96" y="403"/>
                  </a:lnTo>
                  <a:lnTo>
                    <a:pt x="96" y="400"/>
                  </a:lnTo>
                  <a:lnTo>
                    <a:pt x="94" y="393"/>
                  </a:lnTo>
                  <a:lnTo>
                    <a:pt x="93" y="392"/>
                  </a:lnTo>
                  <a:lnTo>
                    <a:pt x="93" y="390"/>
                  </a:lnTo>
                  <a:lnTo>
                    <a:pt x="93" y="388"/>
                  </a:lnTo>
                  <a:lnTo>
                    <a:pt x="91" y="388"/>
                  </a:lnTo>
                  <a:lnTo>
                    <a:pt x="90" y="390"/>
                  </a:lnTo>
                  <a:lnTo>
                    <a:pt x="88" y="388"/>
                  </a:lnTo>
                  <a:lnTo>
                    <a:pt x="86" y="388"/>
                  </a:lnTo>
                  <a:lnTo>
                    <a:pt x="85" y="387"/>
                  </a:lnTo>
                  <a:lnTo>
                    <a:pt x="85" y="388"/>
                  </a:lnTo>
                  <a:lnTo>
                    <a:pt x="83" y="388"/>
                  </a:lnTo>
                  <a:lnTo>
                    <a:pt x="81" y="388"/>
                  </a:lnTo>
                  <a:lnTo>
                    <a:pt x="80" y="387"/>
                  </a:lnTo>
                  <a:lnTo>
                    <a:pt x="78" y="387"/>
                  </a:lnTo>
                  <a:lnTo>
                    <a:pt x="77" y="385"/>
                  </a:lnTo>
                  <a:lnTo>
                    <a:pt x="73" y="385"/>
                  </a:lnTo>
                  <a:lnTo>
                    <a:pt x="72" y="385"/>
                  </a:lnTo>
                  <a:lnTo>
                    <a:pt x="70" y="385"/>
                  </a:lnTo>
                  <a:lnTo>
                    <a:pt x="68" y="383"/>
                  </a:lnTo>
                  <a:lnTo>
                    <a:pt x="67" y="383"/>
                  </a:lnTo>
                  <a:lnTo>
                    <a:pt x="65" y="382"/>
                  </a:lnTo>
                  <a:lnTo>
                    <a:pt x="64" y="383"/>
                  </a:lnTo>
                  <a:lnTo>
                    <a:pt x="64" y="382"/>
                  </a:lnTo>
                  <a:lnTo>
                    <a:pt x="62" y="382"/>
                  </a:lnTo>
                  <a:lnTo>
                    <a:pt x="60" y="382"/>
                  </a:lnTo>
                  <a:lnTo>
                    <a:pt x="60" y="380"/>
                  </a:lnTo>
                  <a:lnTo>
                    <a:pt x="57" y="379"/>
                  </a:lnTo>
                  <a:lnTo>
                    <a:pt x="54" y="379"/>
                  </a:lnTo>
                  <a:lnTo>
                    <a:pt x="54" y="377"/>
                  </a:lnTo>
                  <a:lnTo>
                    <a:pt x="52" y="375"/>
                  </a:lnTo>
                  <a:lnTo>
                    <a:pt x="52" y="374"/>
                  </a:lnTo>
                  <a:lnTo>
                    <a:pt x="51" y="372"/>
                  </a:lnTo>
                  <a:lnTo>
                    <a:pt x="51" y="370"/>
                  </a:lnTo>
                  <a:lnTo>
                    <a:pt x="49" y="370"/>
                  </a:lnTo>
                  <a:lnTo>
                    <a:pt x="47" y="370"/>
                  </a:lnTo>
                  <a:lnTo>
                    <a:pt x="46" y="369"/>
                  </a:lnTo>
                  <a:lnTo>
                    <a:pt x="44" y="366"/>
                  </a:lnTo>
                  <a:lnTo>
                    <a:pt x="42" y="364"/>
                  </a:lnTo>
                  <a:lnTo>
                    <a:pt x="41" y="364"/>
                  </a:lnTo>
                  <a:lnTo>
                    <a:pt x="41" y="362"/>
                  </a:lnTo>
                  <a:lnTo>
                    <a:pt x="39" y="362"/>
                  </a:lnTo>
                  <a:lnTo>
                    <a:pt x="39" y="361"/>
                  </a:lnTo>
                  <a:lnTo>
                    <a:pt x="38" y="359"/>
                  </a:lnTo>
                  <a:lnTo>
                    <a:pt x="36" y="359"/>
                  </a:lnTo>
                  <a:lnTo>
                    <a:pt x="36" y="357"/>
                  </a:lnTo>
                  <a:lnTo>
                    <a:pt x="34" y="356"/>
                  </a:lnTo>
                  <a:lnTo>
                    <a:pt x="34" y="354"/>
                  </a:lnTo>
                  <a:lnTo>
                    <a:pt x="36" y="354"/>
                  </a:lnTo>
                  <a:lnTo>
                    <a:pt x="38" y="353"/>
                  </a:lnTo>
                  <a:lnTo>
                    <a:pt x="39" y="353"/>
                  </a:lnTo>
                  <a:lnTo>
                    <a:pt x="41" y="354"/>
                  </a:lnTo>
                  <a:lnTo>
                    <a:pt x="41" y="353"/>
                  </a:lnTo>
                  <a:lnTo>
                    <a:pt x="42" y="353"/>
                  </a:lnTo>
                  <a:lnTo>
                    <a:pt x="42" y="351"/>
                  </a:lnTo>
                  <a:lnTo>
                    <a:pt x="42" y="348"/>
                  </a:lnTo>
                  <a:lnTo>
                    <a:pt x="42" y="346"/>
                  </a:lnTo>
                  <a:lnTo>
                    <a:pt x="44" y="344"/>
                  </a:lnTo>
                  <a:lnTo>
                    <a:pt x="44" y="343"/>
                  </a:lnTo>
                  <a:lnTo>
                    <a:pt x="47" y="343"/>
                  </a:lnTo>
                  <a:lnTo>
                    <a:pt x="47" y="341"/>
                  </a:lnTo>
                  <a:lnTo>
                    <a:pt x="49" y="340"/>
                  </a:lnTo>
                  <a:lnTo>
                    <a:pt x="49" y="338"/>
                  </a:lnTo>
                  <a:lnTo>
                    <a:pt x="49" y="336"/>
                  </a:lnTo>
                  <a:lnTo>
                    <a:pt x="49" y="335"/>
                  </a:lnTo>
                  <a:lnTo>
                    <a:pt x="49" y="333"/>
                  </a:lnTo>
                  <a:lnTo>
                    <a:pt x="51" y="330"/>
                  </a:lnTo>
                  <a:lnTo>
                    <a:pt x="51" y="328"/>
                  </a:lnTo>
                  <a:lnTo>
                    <a:pt x="49" y="326"/>
                  </a:lnTo>
                  <a:lnTo>
                    <a:pt x="47" y="325"/>
                  </a:lnTo>
                  <a:lnTo>
                    <a:pt x="46" y="323"/>
                  </a:lnTo>
                  <a:lnTo>
                    <a:pt x="42" y="323"/>
                  </a:lnTo>
                  <a:lnTo>
                    <a:pt x="41" y="322"/>
                  </a:lnTo>
                  <a:lnTo>
                    <a:pt x="39" y="320"/>
                  </a:lnTo>
                  <a:lnTo>
                    <a:pt x="38" y="320"/>
                  </a:lnTo>
                  <a:lnTo>
                    <a:pt x="36" y="320"/>
                  </a:lnTo>
                  <a:lnTo>
                    <a:pt x="36" y="318"/>
                  </a:lnTo>
                  <a:lnTo>
                    <a:pt x="36" y="317"/>
                  </a:lnTo>
                  <a:lnTo>
                    <a:pt x="36" y="315"/>
                  </a:lnTo>
                  <a:lnTo>
                    <a:pt x="36" y="313"/>
                  </a:lnTo>
                  <a:lnTo>
                    <a:pt x="36" y="312"/>
                  </a:lnTo>
                  <a:lnTo>
                    <a:pt x="36" y="310"/>
                  </a:lnTo>
                  <a:lnTo>
                    <a:pt x="38" y="309"/>
                  </a:lnTo>
                  <a:lnTo>
                    <a:pt x="36" y="309"/>
                  </a:lnTo>
                  <a:lnTo>
                    <a:pt x="36" y="307"/>
                  </a:lnTo>
                  <a:lnTo>
                    <a:pt x="36" y="305"/>
                  </a:lnTo>
                  <a:lnTo>
                    <a:pt x="38" y="304"/>
                  </a:lnTo>
                  <a:lnTo>
                    <a:pt x="36" y="302"/>
                  </a:lnTo>
                  <a:lnTo>
                    <a:pt x="36" y="300"/>
                  </a:lnTo>
                  <a:lnTo>
                    <a:pt x="36" y="299"/>
                  </a:lnTo>
                  <a:lnTo>
                    <a:pt x="38" y="297"/>
                  </a:lnTo>
                  <a:lnTo>
                    <a:pt x="38" y="296"/>
                  </a:lnTo>
                  <a:lnTo>
                    <a:pt x="38" y="294"/>
                  </a:lnTo>
                  <a:lnTo>
                    <a:pt x="39" y="294"/>
                  </a:lnTo>
                  <a:lnTo>
                    <a:pt x="38" y="292"/>
                  </a:lnTo>
                  <a:lnTo>
                    <a:pt x="34" y="289"/>
                  </a:lnTo>
                  <a:lnTo>
                    <a:pt x="33" y="287"/>
                  </a:lnTo>
                  <a:lnTo>
                    <a:pt x="31" y="286"/>
                  </a:lnTo>
                  <a:lnTo>
                    <a:pt x="29" y="284"/>
                  </a:lnTo>
                  <a:lnTo>
                    <a:pt x="31" y="283"/>
                  </a:lnTo>
                  <a:lnTo>
                    <a:pt x="34" y="281"/>
                  </a:lnTo>
                  <a:lnTo>
                    <a:pt x="34" y="279"/>
                  </a:lnTo>
                  <a:lnTo>
                    <a:pt x="36" y="278"/>
                  </a:lnTo>
                  <a:lnTo>
                    <a:pt x="38" y="276"/>
                  </a:lnTo>
                  <a:lnTo>
                    <a:pt x="38" y="274"/>
                  </a:lnTo>
                  <a:lnTo>
                    <a:pt x="39" y="273"/>
                  </a:lnTo>
                  <a:lnTo>
                    <a:pt x="42" y="274"/>
                  </a:lnTo>
                  <a:lnTo>
                    <a:pt x="42" y="273"/>
                  </a:lnTo>
                  <a:lnTo>
                    <a:pt x="44" y="271"/>
                  </a:lnTo>
                  <a:lnTo>
                    <a:pt x="47" y="270"/>
                  </a:lnTo>
                  <a:lnTo>
                    <a:pt x="49" y="271"/>
                  </a:lnTo>
                  <a:lnTo>
                    <a:pt x="51" y="271"/>
                  </a:lnTo>
                  <a:lnTo>
                    <a:pt x="52" y="271"/>
                  </a:lnTo>
                  <a:lnTo>
                    <a:pt x="54" y="271"/>
                  </a:lnTo>
                  <a:lnTo>
                    <a:pt x="55" y="271"/>
                  </a:lnTo>
                  <a:lnTo>
                    <a:pt x="55" y="270"/>
                  </a:lnTo>
                  <a:lnTo>
                    <a:pt x="57" y="270"/>
                  </a:lnTo>
                  <a:lnTo>
                    <a:pt x="60" y="268"/>
                  </a:lnTo>
                  <a:lnTo>
                    <a:pt x="62" y="268"/>
                  </a:lnTo>
                  <a:lnTo>
                    <a:pt x="62" y="265"/>
                  </a:lnTo>
                  <a:lnTo>
                    <a:pt x="64" y="263"/>
                  </a:lnTo>
                  <a:lnTo>
                    <a:pt x="64" y="261"/>
                  </a:lnTo>
                  <a:lnTo>
                    <a:pt x="62" y="261"/>
                  </a:lnTo>
                  <a:lnTo>
                    <a:pt x="62" y="260"/>
                  </a:lnTo>
                  <a:lnTo>
                    <a:pt x="62" y="258"/>
                  </a:lnTo>
                  <a:lnTo>
                    <a:pt x="64" y="258"/>
                  </a:lnTo>
                  <a:lnTo>
                    <a:pt x="62" y="257"/>
                  </a:lnTo>
                  <a:lnTo>
                    <a:pt x="62" y="255"/>
                  </a:lnTo>
                  <a:lnTo>
                    <a:pt x="64" y="253"/>
                  </a:lnTo>
                  <a:lnTo>
                    <a:pt x="65" y="253"/>
                  </a:lnTo>
                  <a:lnTo>
                    <a:pt x="67" y="252"/>
                  </a:lnTo>
                  <a:lnTo>
                    <a:pt x="68" y="250"/>
                  </a:lnTo>
                  <a:lnTo>
                    <a:pt x="70" y="248"/>
                  </a:lnTo>
                  <a:lnTo>
                    <a:pt x="70" y="247"/>
                  </a:lnTo>
                  <a:lnTo>
                    <a:pt x="72" y="245"/>
                  </a:lnTo>
                  <a:lnTo>
                    <a:pt x="73" y="245"/>
                  </a:lnTo>
                  <a:lnTo>
                    <a:pt x="73" y="244"/>
                  </a:lnTo>
                  <a:lnTo>
                    <a:pt x="73" y="242"/>
                  </a:lnTo>
                  <a:lnTo>
                    <a:pt x="73" y="239"/>
                  </a:lnTo>
                  <a:lnTo>
                    <a:pt x="75" y="239"/>
                  </a:lnTo>
                  <a:lnTo>
                    <a:pt x="78" y="235"/>
                  </a:lnTo>
                  <a:lnTo>
                    <a:pt x="80" y="234"/>
                  </a:lnTo>
                  <a:lnTo>
                    <a:pt x="80" y="232"/>
                  </a:lnTo>
                  <a:lnTo>
                    <a:pt x="80" y="231"/>
                  </a:lnTo>
                  <a:lnTo>
                    <a:pt x="80" y="229"/>
                  </a:lnTo>
                  <a:lnTo>
                    <a:pt x="80" y="226"/>
                  </a:lnTo>
                  <a:lnTo>
                    <a:pt x="80" y="224"/>
                  </a:lnTo>
                  <a:lnTo>
                    <a:pt x="80" y="222"/>
                  </a:lnTo>
                  <a:lnTo>
                    <a:pt x="80" y="221"/>
                  </a:lnTo>
                  <a:lnTo>
                    <a:pt x="78" y="221"/>
                  </a:lnTo>
                  <a:lnTo>
                    <a:pt x="75" y="219"/>
                  </a:lnTo>
                  <a:lnTo>
                    <a:pt x="73" y="221"/>
                  </a:lnTo>
                  <a:lnTo>
                    <a:pt x="73" y="219"/>
                  </a:lnTo>
                  <a:lnTo>
                    <a:pt x="72" y="219"/>
                  </a:lnTo>
                  <a:lnTo>
                    <a:pt x="68" y="218"/>
                  </a:lnTo>
                  <a:lnTo>
                    <a:pt x="67" y="216"/>
                  </a:lnTo>
                  <a:lnTo>
                    <a:pt x="65" y="214"/>
                  </a:lnTo>
                  <a:lnTo>
                    <a:pt x="65" y="213"/>
                  </a:lnTo>
                  <a:lnTo>
                    <a:pt x="64" y="213"/>
                  </a:lnTo>
                  <a:lnTo>
                    <a:pt x="62" y="211"/>
                  </a:lnTo>
                  <a:lnTo>
                    <a:pt x="62" y="209"/>
                  </a:lnTo>
                  <a:lnTo>
                    <a:pt x="60" y="208"/>
                  </a:lnTo>
                  <a:lnTo>
                    <a:pt x="59" y="206"/>
                  </a:lnTo>
                  <a:lnTo>
                    <a:pt x="59" y="205"/>
                  </a:lnTo>
                  <a:lnTo>
                    <a:pt x="57" y="205"/>
                  </a:lnTo>
                  <a:lnTo>
                    <a:pt x="55" y="203"/>
                  </a:lnTo>
                  <a:lnTo>
                    <a:pt x="54" y="201"/>
                  </a:lnTo>
                  <a:lnTo>
                    <a:pt x="52" y="201"/>
                  </a:lnTo>
                  <a:lnTo>
                    <a:pt x="52" y="200"/>
                  </a:lnTo>
                  <a:lnTo>
                    <a:pt x="51" y="198"/>
                  </a:lnTo>
                  <a:lnTo>
                    <a:pt x="49" y="198"/>
                  </a:lnTo>
                  <a:lnTo>
                    <a:pt x="47" y="198"/>
                  </a:lnTo>
                  <a:lnTo>
                    <a:pt x="47" y="196"/>
                  </a:lnTo>
                  <a:lnTo>
                    <a:pt x="44" y="198"/>
                  </a:lnTo>
                  <a:lnTo>
                    <a:pt x="42" y="198"/>
                  </a:lnTo>
                  <a:lnTo>
                    <a:pt x="41" y="198"/>
                  </a:lnTo>
                  <a:lnTo>
                    <a:pt x="41" y="196"/>
                  </a:lnTo>
                  <a:lnTo>
                    <a:pt x="39" y="195"/>
                  </a:lnTo>
                  <a:lnTo>
                    <a:pt x="39" y="193"/>
                  </a:lnTo>
                  <a:lnTo>
                    <a:pt x="38" y="193"/>
                  </a:lnTo>
                  <a:lnTo>
                    <a:pt x="36" y="193"/>
                  </a:lnTo>
                  <a:lnTo>
                    <a:pt x="36" y="195"/>
                  </a:lnTo>
                  <a:lnTo>
                    <a:pt x="33" y="193"/>
                  </a:lnTo>
                  <a:lnTo>
                    <a:pt x="31" y="193"/>
                  </a:lnTo>
                  <a:lnTo>
                    <a:pt x="31" y="192"/>
                  </a:lnTo>
                  <a:lnTo>
                    <a:pt x="29" y="190"/>
                  </a:lnTo>
                  <a:lnTo>
                    <a:pt x="28" y="192"/>
                  </a:lnTo>
                  <a:lnTo>
                    <a:pt x="28" y="190"/>
                  </a:lnTo>
                  <a:lnTo>
                    <a:pt x="26" y="190"/>
                  </a:lnTo>
                  <a:lnTo>
                    <a:pt x="25" y="188"/>
                  </a:lnTo>
                  <a:lnTo>
                    <a:pt x="25" y="187"/>
                  </a:lnTo>
                  <a:lnTo>
                    <a:pt x="21" y="183"/>
                  </a:lnTo>
                  <a:lnTo>
                    <a:pt x="21" y="182"/>
                  </a:lnTo>
                  <a:lnTo>
                    <a:pt x="20" y="180"/>
                  </a:lnTo>
                  <a:lnTo>
                    <a:pt x="20" y="178"/>
                  </a:lnTo>
                  <a:lnTo>
                    <a:pt x="18" y="177"/>
                  </a:lnTo>
                  <a:lnTo>
                    <a:pt x="20" y="175"/>
                  </a:lnTo>
                  <a:lnTo>
                    <a:pt x="18" y="174"/>
                  </a:lnTo>
                  <a:lnTo>
                    <a:pt x="18" y="172"/>
                  </a:lnTo>
                  <a:lnTo>
                    <a:pt x="18" y="170"/>
                  </a:lnTo>
                  <a:lnTo>
                    <a:pt x="16" y="170"/>
                  </a:lnTo>
                  <a:lnTo>
                    <a:pt x="16" y="169"/>
                  </a:lnTo>
                  <a:lnTo>
                    <a:pt x="18" y="169"/>
                  </a:lnTo>
                  <a:lnTo>
                    <a:pt x="18" y="167"/>
                  </a:lnTo>
                  <a:lnTo>
                    <a:pt x="16" y="165"/>
                  </a:lnTo>
                  <a:lnTo>
                    <a:pt x="15" y="165"/>
                  </a:lnTo>
                  <a:lnTo>
                    <a:pt x="10" y="162"/>
                  </a:lnTo>
                  <a:lnTo>
                    <a:pt x="8" y="162"/>
                  </a:lnTo>
                  <a:lnTo>
                    <a:pt x="8" y="161"/>
                  </a:lnTo>
                  <a:lnTo>
                    <a:pt x="7" y="159"/>
                  </a:lnTo>
                  <a:lnTo>
                    <a:pt x="7" y="157"/>
                  </a:lnTo>
                  <a:lnTo>
                    <a:pt x="5" y="156"/>
                  </a:lnTo>
                  <a:lnTo>
                    <a:pt x="5" y="154"/>
                  </a:lnTo>
                  <a:lnTo>
                    <a:pt x="5" y="152"/>
                  </a:lnTo>
                  <a:lnTo>
                    <a:pt x="5" y="151"/>
                  </a:lnTo>
                  <a:lnTo>
                    <a:pt x="3" y="149"/>
                  </a:lnTo>
                  <a:lnTo>
                    <a:pt x="0" y="144"/>
                  </a:lnTo>
                  <a:lnTo>
                    <a:pt x="2" y="139"/>
                  </a:lnTo>
                  <a:lnTo>
                    <a:pt x="2" y="138"/>
                  </a:lnTo>
                  <a:lnTo>
                    <a:pt x="2" y="135"/>
                  </a:lnTo>
                  <a:lnTo>
                    <a:pt x="2" y="131"/>
                  </a:lnTo>
                  <a:lnTo>
                    <a:pt x="2" y="130"/>
                  </a:lnTo>
                  <a:lnTo>
                    <a:pt x="0" y="128"/>
                  </a:lnTo>
                  <a:lnTo>
                    <a:pt x="2" y="126"/>
                  </a:lnTo>
                  <a:lnTo>
                    <a:pt x="2" y="125"/>
                  </a:lnTo>
                  <a:lnTo>
                    <a:pt x="2" y="123"/>
                  </a:lnTo>
                  <a:lnTo>
                    <a:pt x="2" y="122"/>
                  </a:lnTo>
                  <a:lnTo>
                    <a:pt x="2" y="118"/>
                  </a:lnTo>
                  <a:lnTo>
                    <a:pt x="2" y="117"/>
                  </a:lnTo>
                  <a:lnTo>
                    <a:pt x="3" y="115"/>
                  </a:lnTo>
                  <a:lnTo>
                    <a:pt x="7" y="113"/>
                  </a:lnTo>
                  <a:lnTo>
                    <a:pt x="8" y="113"/>
                  </a:lnTo>
                  <a:lnTo>
                    <a:pt x="12" y="112"/>
                  </a:lnTo>
                  <a:lnTo>
                    <a:pt x="13" y="112"/>
                  </a:lnTo>
                  <a:lnTo>
                    <a:pt x="13" y="110"/>
                  </a:lnTo>
                  <a:lnTo>
                    <a:pt x="13" y="109"/>
                  </a:lnTo>
                  <a:lnTo>
                    <a:pt x="12" y="109"/>
                  </a:lnTo>
                  <a:lnTo>
                    <a:pt x="13" y="107"/>
                  </a:lnTo>
                  <a:lnTo>
                    <a:pt x="15" y="107"/>
                  </a:lnTo>
                  <a:lnTo>
                    <a:pt x="16" y="105"/>
                  </a:lnTo>
                  <a:lnTo>
                    <a:pt x="18" y="105"/>
                  </a:lnTo>
                  <a:lnTo>
                    <a:pt x="20" y="104"/>
                  </a:lnTo>
                  <a:lnTo>
                    <a:pt x="20" y="100"/>
                  </a:lnTo>
                  <a:lnTo>
                    <a:pt x="20" y="99"/>
                  </a:lnTo>
                  <a:lnTo>
                    <a:pt x="20" y="97"/>
                  </a:lnTo>
                  <a:lnTo>
                    <a:pt x="20" y="94"/>
                  </a:lnTo>
                  <a:lnTo>
                    <a:pt x="20" y="92"/>
                  </a:lnTo>
                  <a:lnTo>
                    <a:pt x="20" y="91"/>
                  </a:lnTo>
                  <a:lnTo>
                    <a:pt x="18" y="91"/>
                  </a:lnTo>
                  <a:lnTo>
                    <a:pt x="18" y="89"/>
                  </a:lnTo>
                  <a:lnTo>
                    <a:pt x="20" y="89"/>
                  </a:lnTo>
                  <a:lnTo>
                    <a:pt x="20" y="87"/>
                  </a:lnTo>
                  <a:lnTo>
                    <a:pt x="21" y="87"/>
                  </a:lnTo>
                  <a:lnTo>
                    <a:pt x="20" y="86"/>
                  </a:lnTo>
                  <a:lnTo>
                    <a:pt x="21" y="86"/>
                  </a:lnTo>
                  <a:lnTo>
                    <a:pt x="21" y="84"/>
                  </a:lnTo>
                  <a:lnTo>
                    <a:pt x="20" y="84"/>
                  </a:lnTo>
                  <a:lnTo>
                    <a:pt x="21" y="84"/>
                  </a:lnTo>
                  <a:lnTo>
                    <a:pt x="21" y="83"/>
                  </a:lnTo>
                  <a:lnTo>
                    <a:pt x="23" y="83"/>
                  </a:lnTo>
                  <a:close/>
                </a:path>
              </a:pathLst>
            </a:custGeom>
            <a:solidFill>
              <a:srgbClr val="1EC08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25" name="Freeform 14">
              <a:extLst>
                <a:ext uri="{FF2B5EF4-FFF2-40B4-BE49-F238E27FC236}">
                  <a16:creationId xmlns:a16="http://schemas.microsoft.com/office/drawing/2014/main" id="{09283387-BAE3-9C0A-27D7-32EB45E33D66}"/>
                </a:ext>
              </a:extLst>
            </p:cNvPr>
            <p:cNvSpPr>
              <a:spLocks/>
            </p:cNvSpPr>
            <p:nvPr/>
          </p:nvSpPr>
          <p:spPr bwMode="auto">
            <a:xfrm>
              <a:off x="5341" y="2679"/>
              <a:ext cx="781" cy="742"/>
            </a:xfrm>
            <a:custGeom>
              <a:avLst/>
              <a:gdLst>
                <a:gd name="T0" fmla="*/ 340 w 781"/>
                <a:gd name="T1" fmla="*/ 4 h 742"/>
                <a:gd name="T2" fmla="*/ 374 w 781"/>
                <a:gd name="T3" fmla="*/ 5 h 742"/>
                <a:gd name="T4" fmla="*/ 412 w 781"/>
                <a:gd name="T5" fmla="*/ 36 h 742"/>
                <a:gd name="T6" fmla="*/ 454 w 781"/>
                <a:gd name="T7" fmla="*/ 9 h 742"/>
                <a:gd name="T8" fmla="*/ 496 w 781"/>
                <a:gd name="T9" fmla="*/ 4 h 742"/>
                <a:gd name="T10" fmla="*/ 530 w 781"/>
                <a:gd name="T11" fmla="*/ 20 h 742"/>
                <a:gd name="T12" fmla="*/ 545 w 781"/>
                <a:gd name="T13" fmla="*/ 69 h 742"/>
                <a:gd name="T14" fmla="*/ 568 w 781"/>
                <a:gd name="T15" fmla="*/ 106 h 742"/>
                <a:gd name="T16" fmla="*/ 586 w 781"/>
                <a:gd name="T17" fmla="*/ 148 h 742"/>
                <a:gd name="T18" fmla="*/ 603 w 781"/>
                <a:gd name="T19" fmla="*/ 171 h 742"/>
                <a:gd name="T20" fmla="*/ 636 w 781"/>
                <a:gd name="T21" fmla="*/ 201 h 742"/>
                <a:gd name="T22" fmla="*/ 680 w 781"/>
                <a:gd name="T23" fmla="*/ 209 h 742"/>
                <a:gd name="T24" fmla="*/ 681 w 781"/>
                <a:gd name="T25" fmla="*/ 244 h 742"/>
                <a:gd name="T26" fmla="*/ 704 w 781"/>
                <a:gd name="T27" fmla="*/ 243 h 742"/>
                <a:gd name="T28" fmla="*/ 745 w 781"/>
                <a:gd name="T29" fmla="*/ 248 h 742"/>
                <a:gd name="T30" fmla="*/ 776 w 781"/>
                <a:gd name="T31" fmla="*/ 272 h 742"/>
                <a:gd name="T32" fmla="*/ 764 w 781"/>
                <a:gd name="T33" fmla="*/ 300 h 742"/>
                <a:gd name="T34" fmla="*/ 730 w 781"/>
                <a:gd name="T35" fmla="*/ 344 h 742"/>
                <a:gd name="T36" fmla="*/ 680 w 781"/>
                <a:gd name="T37" fmla="*/ 345 h 742"/>
                <a:gd name="T38" fmla="*/ 691 w 781"/>
                <a:gd name="T39" fmla="*/ 383 h 742"/>
                <a:gd name="T40" fmla="*/ 721 w 781"/>
                <a:gd name="T41" fmla="*/ 423 h 742"/>
                <a:gd name="T42" fmla="*/ 730 w 781"/>
                <a:gd name="T43" fmla="*/ 448 h 742"/>
                <a:gd name="T44" fmla="*/ 745 w 781"/>
                <a:gd name="T45" fmla="*/ 485 h 742"/>
                <a:gd name="T46" fmla="*/ 694 w 781"/>
                <a:gd name="T47" fmla="*/ 505 h 742"/>
                <a:gd name="T48" fmla="*/ 680 w 781"/>
                <a:gd name="T49" fmla="*/ 537 h 742"/>
                <a:gd name="T50" fmla="*/ 672 w 781"/>
                <a:gd name="T51" fmla="*/ 575 h 742"/>
                <a:gd name="T52" fmla="*/ 680 w 781"/>
                <a:gd name="T53" fmla="*/ 599 h 742"/>
                <a:gd name="T54" fmla="*/ 681 w 781"/>
                <a:gd name="T55" fmla="*/ 630 h 742"/>
                <a:gd name="T56" fmla="*/ 631 w 781"/>
                <a:gd name="T57" fmla="*/ 614 h 742"/>
                <a:gd name="T58" fmla="*/ 597 w 781"/>
                <a:gd name="T59" fmla="*/ 622 h 742"/>
                <a:gd name="T60" fmla="*/ 564 w 781"/>
                <a:gd name="T61" fmla="*/ 628 h 742"/>
                <a:gd name="T62" fmla="*/ 530 w 781"/>
                <a:gd name="T63" fmla="*/ 627 h 742"/>
                <a:gd name="T64" fmla="*/ 501 w 781"/>
                <a:gd name="T65" fmla="*/ 635 h 742"/>
                <a:gd name="T66" fmla="*/ 451 w 781"/>
                <a:gd name="T67" fmla="*/ 649 h 742"/>
                <a:gd name="T68" fmla="*/ 428 w 781"/>
                <a:gd name="T69" fmla="*/ 662 h 742"/>
                <a:gd name="T70" fmla="*/ 395 w 781"/>
                <a:gd name="T71" fmla="*/ 658 h 742"/>
                <a:gd name="T72" fmla="*/ 322 w 781"/>
                <a:gd name="T73" fmla="*/ 645 h 742"/>
                <a:gd name="T74" fmla="*/ 267 w 781"/>
                <a:gd name="T75" fmla="*/ 641 h 742"/>
                <a:gd name="T76" fmla="*/ 200 w 781"/>
                <a:gd name="T77" fmla="*/ 649 h 742"/>
                <a:gd name="T78" fmla="*/ 145 w 781"/>
                <a:gd name="T79" fmla="*/ 672 h 742"/>
                <a:gd name="T80" fmla="*/ 86 w 781"/>
                <a:gd name="T81" fmla="*/ 719 h 742"/>
                <a:gd name="T82" fmla="*/ 68 w 781"/>
                <a:gd name="T83" fmla="*/ 732 h 742"/>
                <a:gd name="T84" fmla="*/ 70 w 781"/>
                <a:gd name="T85" fmla="*/ 701 h 742"/>
                <a:gd name="T86" fmla="*/ 65 w 781"/>
                <a:gd name="T87" fmla="*/ 666 h 742"/>
                <a:gd name="T88" fmla="*/ 39 w 781"/>
                <a:gd name="T89" fmla="*/ 649 h 742"/>
                <a:gd name="T90" fmla="*/ 28 w 781"/>
                <a:gd name="T91" fmla="*/ 610 h 742"/>
                <a:gd name="T92" fmla="*/ 59 w 781"/>
                <a:gd name="T93" fmla="*/ 518 h 742"/>
                <a:gd name="T94" fmla="*/ 8 w 781"/>
                <a:gd name="T95" fmla="*/ 420 h 742"/>
                <a:gd name="T96" fmla="*/ 28 w 781"/>
                <a:gd name="T97" fmla="*/ 392 h 742"/>
                <a:gd name="T98" fmla="*/ 78 w 781"/>
                <a:gd name="T99" fmla="*/ 391 h 742"/>
                <a:gd name="T100" fmla="*/ 106 w 781"/>
                <a:gd name="T101" fmla="*/ 363 h 742"/>
                <a:gd name="T102" fmla="*/ 135 w 781"/>
                <a:gd name="T103" fmla="*/ 324 h 742"/>
                <a:gd name="T104" fmla="*/ 161 w 781"/>
                <a:gd name="T105" fmla="*/ 331 h 742"/>
                <a:gd name="T106" fmla="*/ 172 w 781"/>
                <a:gd name="T107" fmla="*/ 316 h 742"/>
                <a:gd name="T108" fmla="*/ 164 w 781"/>
                <a:gd name="T109" fmla="*/ 267 h 742"/>
                <a:gd name="T110" fmla="*/ 179 w 781"/>
                <a:gd name="T111" fmla="*/ 215 h 742"/>
                <a:gd name="T112" fmla="*/ 218 w 781"/>
                <a:gd name="T113" fmla="*/ 175 h 742"/>
                <a:gd name="T114" fmla="*/ 213 w 781"/>
                <a:gd name="T115" fmla="*/ 150 h 742"/>
                <a:gd name="T116" fmla="*/ 198 w 781"/>
                <a:gd name="T117" fmla="*/ 127 h 742"/>
                <a:gd name="T118" fmla="*/ 218 w 781"/>
                <a:gd name="T119" fmla="*/ 90 h 742"/>
                <a:gd name="T120" fmla="*/ 273 w 781"/>
                <a:gd name="T121" fmla="*/ 67 h 742"/>
                <a:gd name="T122" fmla="*/ 293 w 781"/>
                <a:gd name="T123" fmla="*/ 12 h 7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781" h="742">
                  <a:moveTo>
                    <a:pt x="303" y="4"/>
                  </a:moveTo>
                  <a:lnTo>
                    <a:pt x="303" y="7"/>
                  </a:lnTo>
                  <a:lnTo>
                    <a:pt x="304" y="7"/>
                  </a:lnTo>
                  <a:lnTo>
                    <a:pt x="306" y="7"/>
                  </a:lnTo>
                  <a:lnTo>
                    <a:pt x="307" y="9"/>
                  </a:lnTo>
                  <a:lnTo>
                    <a:pt x="309" y="9"/>
                  </a:lnTo>
                  <a:lnTo>
                    <a:pt x="311" y="9"/>
                  </a:lnTo>
                  <a:lnTo>
                    <a:pt x="311" y="10"/>
                  </a:lnTo>
                  <a:lnTo>
                    <a:pt x="311" y="12"/>
                  </a:lnTo>
                  <a:lnTo>
                    <a:pt x="312" y="13"/>
                  </a:lnTo>
                  <a:lnTo>
                    <a:pt x="314" y="12"/>
                  </a:lnTo>
                  <a:lnTo>
                    <a:pt x="316" y="13"/>
                  </a:lnTo>
                  <a:lnTo>
                    <a:pt x="317" y="15"/>
                  </a:lnTo>
                  <a:lnTo>
                    <a:pt x="319" y="15"/>
                  </a:lnTo>
                  <a:lnTo>
                    <a:pt x="319" y="13"/>
                  </a:lnTo>
                  <a:lnTo>
                    <a:pt x="320" y="13"/>
                  </a:lnTo>
                  <a:lnTo>
                    <a:pt x="320" y="15"/>
                  </a:lnTo>
                  <a:lnTo>
                    <a:pt x="322" y="15"/>
                  </a:lnTo>
                  <a:lnTo>
                    <a:pt x="322" y="13"/>
                  </a:lnTo>
                  <a:lnTo>
                    <a:pt x="324" y="10"/>
                  </a:lnTo>
                  <a:lnTo>
                    <a:pt x="322" y="9"/>
                  </a:lnTo>
                  <a:lnTo>
                    <a:pt x="322" y="7"/>
                  </a:lnTo>
                  <a:lnTo>
                    <a:pt x="324" y="7"/>
                  </a:lnTo>
                  <a:lnTo>
                    <a:pt x="325" y="9"/>
                  </a:lnTo>
                  <a:lnTo>
                    <a:pt x="327" y="9"/>
                  </a:lnTo>
                  <a:lnTo>
                    <a:pt x="327" y="7"/>
                  </a:lnTo>
                  <a:lnTo>
                    <a:pt x="329" y="7"/>
                  </a:lnTo>
                  <a:lnTo>
                    <a:pt x="329" y="5"/>
                  </a:lnTo>
                  <a:lnTo>
                    <a:pt x="330" y="5"/>
                  </a:lnTo>
                  <a:lnTo>
                    <a:pt x="332" y="5"/>
                  </a:lnTo>
                  <a:lnTo>
                    <a:pt x="332" y="4"/>
                  </a:lnTo>
                  <a:lnTo>
                    <a:pt x="333" y="4"/>
                  </a:lnTo>
                  <a:lnTo>
                    <a:pt x="335" y="4"/>
                  </a:lnTo>
                  <a:lnTo>
                    <a:pt x="337" y="4"/>
                  </a:lnTo>
                  <a:lnTo>
                    <a:pt x="340" y="4"/>
                  </a:lnTo>
                  <a:lnTo>
                    <a:pt x="342" y="2"/>
                  </a:lnTo>
                  <a:lnTo>
                    <a:pt x="343" y="2"/>
                  </a:lnTo>
                  <a:lnTo>
                    <a:pt x="345" y="2"/>
                  </a:lnTo>
                  <a:lnTo>
                    <a:pt x="345" y="4"/>
                  </a:lnTo>
                  <a:lnTo>
                    <a:pt x="343" y="4"/>
                  </a:lnTo>
                  <a:lnTo>
                    <a:pt x="343" y="5"/>
                  </a:lnTo>
                  <a:lnTo>
                    <a:pt x="342" y="7"/>
                  </a:lnTo>
                  <a:lnTo>
                    <a:pt x="343" y="9"/>
                  </a:lnTo>
                  <a:lnTo>
                    <a:pt x="345" y="9"/>
                  </a:lnTo>
                  <a:lnTo>
                    <a:pt x="345" y="10"/>
                  </a:lnTo>
                  <a:lnTo>
                    <a:pt x="346" y="10"/>
                  </a:lnTo>
                  <a:lnTo>
                    <a:pt x="346" y="12"/>
                  </a:lnTo>
                  <a:lnTo>
                    <a:pt x="348" y="12"/>
                  </a:lnTo>
                  <a:lnTo>
                    <a:pt x="350" y="13"/>
                  </a:lnTo>
                  <a:lnTo>
                    <a:pt x="350" y="15"/>
                  </a:lnTo>
                  <a:lnTo>
                    <a:pt x="351" y="17"/>
                  </a:lnTo>
                  <a:lnTo>
                    <a:pt x="351" y="18"/>
                  </a:lnTo>
                  <a:lnTo>
                    <a:pt x="353" y="18"/>
                  </a:lnTo>
                  <a:lnTo>
                    <a:pt x="355" y="18"/>
                  </a:lnTo>
                  <a:lnTo>
                    <a:pt x="356" y="18"/>
                  </a:lnTo>
                  <a:lnTo>
                    <a:pt x="358" y="18"/>
                  </a:lnTo>
                  <a:lnTo>
                    <a:pt x="359" y="17"/>
                  </a:lnTo>
                  <a:lnTo>
                    <a:pt x="361" y="18"/>
                  </a:lnTo>
                  <a:lnTo>
                    <a:pt x="363" y="18"/>
                  </a:lnTo>
                  <a:lnTo>
                    <a:pt x="363" y="17"/>
                  </a:lnTo>
                  <a:lnTo>
                    <a:pt x="363" y="15"/>
                  </a:lnTo>
                  <a:lnTo>
                    <a:pt x="364" y="13"/>
                  </a:lnTo>
                  <a:lnTo>
                    <a:pt x="366" y="12"/>
                  </a:lnTo>
                  <a:lnTo>
                    <a:pt x="368" y="12"/>
                  </a:lnTo>
                  <a:lnTo>
                    <a:pt x="369" y="12"/>
                  </a:lnTo>
                  <a:lnTo>
                    <a:pt x="369" y="10"/>
                  </a:lnTo>
                  <a:lnTo>
                    <a:pt x="369" y="9"/>
                  </a:lnTo>
                  <a:lnTo>
                    <a:pt x="371" y="9"/>
                  </a:lnTo>
                  <a:lnTo>
                    <a:pt x="374" y="7"/>
                  </a:lnTo>
                  <a:lnTo>
                    <a:pt x="374" y="5"/>
                  </a:lnTo>
                  <a:lnTo>
                    <a:pt x="377" y="4"/>
                  </a:lnTo>
                  <a:lnTo>
                    <a:pt x="379" y="4"/>
                  </a:lnTo>
                  <a:lnTo>
                    <a:pt x="381" y="5"/>
                  </a:lnTo>
                  <a:lnTo>
                    <a:pt x="382" y="5"/>
                  </a:lnTo>
                  <a:lnTo>
                    <a:pt x="382" y="4"/>
                  </a:lnTo>
                  <a:lnTo>
                    <a:pt x="385" y="2"/>
                  </a:lnTo>
                  <a:lnTo>
                    <a:pt x="389" y="5"/>
                  </a:lnTo>
                  <a:lnTo>
                    <a:pt x="390" y="5"/>
                  </a:lnTo>
                  <a:lnTo>
                    <a:pt x="390" y="7"/>
                  </a:lnTo>
                  <a:lnTo>
                    <a:pt x="392" y="5"/>
                  </a:lnTo>
                  <a:lnTo>
                    <a:pt x="394" y="5"/>
                  </a:lnTo>
                  <a:lnTo>
                    <a:pt x="397" y="4"/>
                  </a:lnTo>
                  <a:lnTo>
                    <a:pt x="402" y="5"/>
                  </a:lnTo>
                  <a:lnTo>
                    <a:pt x="405" y="5"/>
                  </a:lnTo>
                  <a:lnTo>
                    <a:pt x="407" y="5"/>
                  </a:lnTo>
                  <a:lnTo>
                    <a:pt x="408" y="5"/>
                  </a:lnTo>
                  <a:lnTo>
                    <a:pt x="408" y="7"/>
                  </a:lnTo>
                  <a:lnTo>
                    <a:pt x="408" y="9"/>
                  </a:lnTo>
                  <a:lnTo>
                    <a:pt x="410" y="9"/>
                  </a:lnTo>
                  <a:lnTo>
                    <a:pt x="412" y="9"/>
                  </a:lnTo>
                  <a:lnTo>
                    <a:pt x="413" y="9"/>
                  </a:lnTo>
                  <a:lnTo>
                    <a:pt x="413" y="10"/>
                  </a:lnTo>
                  <a:lnTo>
                    <a:pt x="410" y="13"/>
                  </a:lnTo>
                  <a:lnTo>
                    <a:pt x="408" y="15"/>
                  </a:lnTo>
                  <a:lnTo>
                    <a:pt x="410" y="17"/>
                  </a:lnTo>
                  <a:lnTo>
                    <a:pt x="410" y="18"/>
                  </a:lnTo>
                  <a:lnTo>
                    <a:pt x="410" y="20"/>
                  </a:lnTo>
                  <a:lnTo>
                    <a:pt x="410" y="22"/>
                  </a:lnTo>
                  <a:lnTo>
                    <a:pt x="410" y="23"/>
                  </a:lnTo>
                  <a:lnTo>
                    <a:pt x="410" y="25"/>
                  </a:lnTo>
                  <a:lnTo>
                    <a:pt x="410" y="26"/>
                  </a:lnTo>
                  <a:lnTo>
                    <a:pt x="410" y="30"/>
                  </a:lnTo>
                  <a:lnTo>
                    <a:pt x="410" y="31"/>
                  </a:lnTo>
                  <a:lnTo>
                    <a:pt x="410" y="35"/>
                  </a:lnTo>
                  <a:lnTo>
                    <a:pt x="412" y="36"/>
                  </a:lnTo>
                  <a:lnTo>
                    <a:pt x="415" y="36"/>
                  </a:lnTo>
                  <a:lnTo>
                    <a:pt x="418" y="38"/>
                  </a:lnTo>
                  <a:lnTo>
                    <a:pt x="420" y="38"/>
                  </a:lnTo>
                  <a:lnTo>
                    <a:pt x="420" y="40"/>
                  </a:lnTo>
                  <a:lnTo>
                    <a:pt x="423" y="40"/>
                  </a:lnTo>
                  <a:lnTo>
                    <a:pt x="425" y="40"/>
                  </a:lnTo>
                  <a:lnTo>
                    <a:pt x="426" y="36"/>
                  </a:lnTo>
                  <a:lnTo>
                    <a:pt x="428" y="35"/>
                  </a:lnTo>
                  <a:lnTo>
                    <a:pt x="428" y="33"/>
                  </a:lnTo>
                  <a:lnTo>
                    <a:pt x="428" y="31"/>
                  </a:lnTo>
                  <a:lnTo>
                    <a:pt x="429" y="30"/>
                  </a:lnTo>
                  <a:lnTo>
                    <a:pt x="431" y="28"/>
                  </a:lnTo>
                  <a:lnTo>
                    <a:pt x="433" y="26"/>
                  </a:lnTo>
                  <a:lnTo>
                    <a:pt x="433" y="25"/>
                  </a:lnTo>
                  <a:lnTo>
                    <a:pt x="434" y="25"/>
                  </a:lnTo>
                  <a:lnTo>
                    <a:pt x="436" y="23"/>
                  </a:lnTo>
                  <a:lnTo>
                    <a:pt x="438" y="22"/>
                  </a:lnTo>
                  <a:lnTo>
                    <a:pt x="439" y="22"/>
                  </a:lnTo>
                  <a:lnTo>
                    <a:pt x="441" y="22"/>
                  </a:lnTo>
                  <a:lnTo>
                    <a:pt x="441" y="23"/>
                  </a:lnTo>
                  <a:lnTo>
                    <a:pt x="442" y="23"/>
                  </a:lnTo>
                  <a:lnTo>
                    <a:pt x="444" y="23"/>
                  </a:lnTo>
                  <a:lnTo>
                    <a:pt x="446" y="23"/>
                  </a:lnTo>
                  <a:lnTo>
                    <a:pt x="444" y="22"/>
                  </a:lnTo>
                  <a:lnTo>
                    <a:pt x="444" y="20"/>
                  </a:lnTo>
                  <a:lnTo>
                    <a:pt x="446" y="18"/>
                  </a:lnTo>
                  <a:lnTo>
                    <a:pt x="446" y="17"/>
                  </a:lnTo>
                  <a:lnTo>
                    <a:pt x="446" y="15"/>
                  </a:lnTo>
                  <a:lnTo>
                    <a:pt x="447" y="15"/>
                  </a:lnTo>
                  <a:lnTo>
                    <a:pt x="447" y="13"/>
                  </a:lnTo>
                  <a:lnTo>
                    <a:pt x="447" y="12"/>
                  </a:lnTo>
                  <a:lnTo>
                    <a:pt x="447" y="9"/>
                  </a:lnTo>
                  <a:lnTo>
                    <a:pt x="449" y="9"/>
                  </a:lnTo>
                  <a:lnTo>
                    <a:pt x="452" y="9"/>
                  </a:lnTo>
                  <a:lnTo>
                    <a:pt x="454" y="9"/>
                  </a:lnTo>
                  <a:lnTo>
                    <a:pt x="454" y="7"/>
                  </a:lnTo>
                  <a:lnTo>
                    <a:pt x="455" y="7"/>
                  </a:lnTo>
                  <a:lnTo>
                    <a:pt x="457" y="7"/>
                  </a:lnTo>
                  <a:lnTo>
                    <a:pt x="459" y="7"/>
                  </a:lnTo>
                  <a:lnTo>
                    <a:pt x="460" y="7"/>
                  </a:lnTo>
                  <a:lnTo>
                    <a:pt x="460" y="9"/>
                  </a:lnTo>
                  <a:lnTo>
                    <a:pt x="462" y="7"/>
                  </a:lnTo>
                  <a:lnTo>
                    <a:pt x="464" y="9"/>
                  </a:lnTo>
                  <a:lnTo>
                    <a:pt x="465" y="9"/>
                  </a:lnTo>
                  <a:lnTo>
                    <a:pt x="467" y="9"/>
                  </a:lnTo>
                  <a:lnTo>
                    <a:pt x="467" y="7"/>
                  </a:lnTo>
                  <a:lnTo>
                    <a:pt x="467" y="5"/>
                  </a:lnTo>
                  <a:lnTo>
                    <a:pt x="468" y="5"/>
                  </a:lnTo>
                  <a:lnTo>
                    <a:pt x="468" y="4"/>
                  </a:lnTo>
                  <a:lnTo>
                    <a:pt x="468" y="2"/>
                  </a:lnTo>
                  <a:lnTo>
                    <a:pt x="470" y="2"/>
                  </a:lnTo>
                  <a:lnTo>
                    <a:pt x="472" y="0"/>
                  </a:lnTo>
                  <a:lnTo>
                    <a:pt x="473" y="0"/>
                  </a:lnTo>
                  <a:lnTo>
                    <a:pt x="475" y="0"/>
                  </a:lnTo>
                  <a:lnTo>
                    <a:pt x="477" y="0"/>
                  </a:lnTo>
                  <a:lnTo>
                    <a:pt x="478" y="0"/>
                  </a:lnTo>
                  <a:lnTo>
                    <a:pt x="478" y="2"/>
                  </a:lnTo>
                  <a:lnTo>
                    <a:pt x="478" y="4"/>
                  </a:lnTo>
                  <a:lnTo>
                    <a:pt x="480" y="4"/>
                  </a:lnTo>
                  <a:lnTo>
                    <a:pt x="481" y="4"/>
                  </a:lnTo>
                  <a:lnTo>
                    <a:pt x="483" y="4"/>
                  </a:lnTo>
                  <a:lnTo>
                    <a:pt x="485" y="5"/>
                  </a:lnTo>
                  <a:lnTo>
                    <a:pt x="486" y="5"/>
                  </a:lnTo>
                  <a:lnTo>
                    <a:pt x="488" y="5"/>
                  </a:lnTo>
                  <a:lnTo>
                    <a:pt x="488" y="4"/>
                  </a:lnTo>
                  <a:lnTo>
                    <a:pt x="490" y="4"/>
                  </a:lnTo>
                  <a:lnTo>
                    <a:pt x="490" y="5"/>
                  </a:lnTo>
                  <a:lnTo>
                    <a:pt x="491" y="5"/>
                  </a:lnTo>
                  <a:lnTo>
                    <a:pt x="494" y="4"/>
                  </a:lnTo>
                  <a:lnTo>
                    <a:pt x="496" y="4"/>
                  </a:lnTo>
                  <a:lnTo>
                    <a:pt x="498" y="4"/>
                  </a:lnTo>
                  <a:lnTo>
                    <a:pt x="498" y="5"/>
                  </a:lnTo>
                  <a:lnTo>
                    <a:pt x="499" y="5"/>
                  </a:lnTo>
                  <a:lnTo>
                    <a:pt x="498" y="7"/>
                  </a:lnTo>
                  <a:lnTo>
                    <a:pt x="499" y="9"/>
                  </a:lnTo>
                  <a:lnTo>
                    <a:pt x="501" y="10"/>
                  </a:lnTo>
                  <a:lnTo>
                    <a:pt x="504" y="10"/>
                  </a:lnTo>
                  <a:lnTo>
                    <a:pt x="506" y="10"/>
                  </a:lnTo>
                  <a:lnTo>
                    <a:pt x="507" y="10"/>
                  </a:lnTo>
                  <a:lnTo>
                    <a:pt x="509" y="12"/>
                  </a:lnTo>
                  <a:lnTo>
                    <a:pt x="511" y="12"/>
                  </a:lnTo>
                  <a:lnTo>
                    <a:pt x="512" y="13"/>
                  </a:lnTo>
                  <a:lnTo>
                    <a:pt x="512" y="15"/>
                  </a:lnTo>
                  <a:lnTo>
                    <a:pt x="512" y="17"/>
                  </a:lnTo>
                  <a:lnTo>
                    <a:pt x="512" y="18"/>
                  </a:lnTo>
                  <a:lnTo>
                    <a:pt x="514" y="18"/>
                  </a:lnTo>
                  <a:lnTo>
                    <a:pt x="516" y="18"/>
                  </a:lnTo>
                  <a:lnTo>
                    <a:pt x="516" y="20"/>
                  </a:lnTo>
                  <a:lnTo>
                    <a:pt x="517" y="22"/>
                  </a:lnTo>
                  <a:lnTo>
                    <a:pt x="517" y="23"/>
                  </a:lnTo>
                  <a:lnTo>
                    <a:pt x="519" y="22"/>
                  </a:lnTo>
                  <a:lnTo>
                    <a:pt x="519" y="20"/>
                  </a:lnTo>
                  <a:lnTo>
                    <a:pt x="517" y="20"/>
                  </a:lnTo>
                  <a:lnTo>
                    <a:pt x="519" y="20"/>
                  </a:lnTo>
                  <a:lnTo>
                    <a:pt x="519" y="18"/>
                  </a:lnTo>
                  <a:lnTo>
                    <a:pt x="520" y="18"/>
                  </a:lnTo>
                  <a:lnTo>
                    <a:pt x="522" y="22"/>
                  </a:lnTo>
                  <a:lnTo>
                    <a:pt x="524" y="23"/>
                  </a:lnTo>
                  <a:lnTo>
                    <a:pt x="525" y="25"/>
                  </a:lnTo>
                  <a:lnTo>
                    <a:pt x="525" y="26"/>
                  </a:lnTo>
                  <a:lnTo>
                    <a:pt x="529" y="26"/>
                  </a:lnTo>
                  <a:lnTo>
                    <a:pt x="530" y="25"/>
                  </a:lnTo>
                  <a:lnTo>
                    <a:pt x="530" y="23"/>
                  </a:lnTo>
                  <a:lnTo>
                    <a:pt x="532" y="22"/>
                  </a:lnTo>
                  <a:lnTo>
                    <a:pt x="530" y="20"/>
                  </a:lnTo>
                  <a:lnTo>
                    <a:pt x="532" y="20"/>
                  </a:lnTo>
                  <a:lnTo>
                    <a:pt x="533" y="20"/>
                  </a:lnTo>
                  <a:lnTo>
                    <a:pt x="535" y="20"/>
                  </a:lnTo>
                  <a:lnTo>
                    <a:pt x="537" y="20"/>
                  </a:lnTo>
                  <a:lnTo>
                    <a:pt x="538" y="20"/>
                  </a:lnTo>
                  <a:lnTo>
                    <a:pt x="540" y="22"/>
                  </a:lnTo>
                  <a:lnTo>
                    <a:pt x="540" y="23"/>
                  </a:lnTo>
                  <a:lnTo>
                    <a:pt x="540" y="25"/>
                  </a:lnTo>
                  <a:lnTo>
                    <a:pt x="542" y="26"/>
                  </a:lnTo>
                  <a:lnTo>
                    <a:pt x="543" y="30"/>
                  </a:lnTo>
                  <a:lnTo>
                    <a:pt x="542" y="30"/>
                  </a:lnTo>
                  <a:lnTo>
                    <a:pt x="542" y="31"/>
                  </a:lnTo>
                  <a:lnTo>
                    <a:pt x="540" y="31"/>
                  </a:lnTo>
                  <a:lnTo>
                    <a:pt x="540" y="33"/>
                  </a:lnTo>
                  <a:lnTo>
                    <a:pt x="542" y="33"/>
                  </a:lnTo>
                  <a:lnTo>
                    <a:pt x="543" y="35"/>
                  </a:lnTo>
                  <a:lnTo>
                    <a:pt x="545" y="35"/>
                  </a:lnTo>
                  <a:lnTo>
                    <a:pt x="545" y="36"/>
                  </a:lnTo>
                  <a:lnTo>
                    <a:pt x="543" y="38"/>
                  </a:lnTo>
                  <a:lnTo>
                    <a:pt x="543" y="40"/>
                  </a:lnTo>
                  <a:lnTo>
                    <a:pt x="542" y="40"/>
                  </a:lnTo>
                  <a:lnTo>
                    <a:pt x="542" y="41"/>
                  </a:lnTo>
                  <a:lnTo>
                    <a:pt x="543" y="41"/>
                  </a:lnTo>
                  <a:lnTo>
                    <a:pt x="543" y="43"/>
                  </a:lnTo>
                  <a:lnTo>
                    <a:pt x="543" y="44"/>
                  </a:lnTo>
                  <a:lnTo>
                    <a:pt x="546" y="49"/>
                  </a:lnTo>
                  <a:lnTo>
                    <a:pt x="548" y="53"/>
                  </a:lnTo>
                  <a:lnTo>
                    <a:pt x="546" y="53"/>
                  </a:lnTo>
                  <a:lnTo>
                    <a:pt x="546" y="54"/>
                  </a:lnTo>
                  <a:lnTo>
                    <a:pt x="545" y="54"/>
                  </a:lnTo>
                  <a:lnTo>
                    <a:pt x="545" y="56"/>
                  </a:lnTo>
                  <a:lnTo>
                    <a:pt x="542" y="62"/>
                  </a:lnTo>
                  <a:lnTo>
                    <a:pt x="543" y="66"/>
                  </a:lnTo>
                  <a:lnTo>
                    <a:pt x="543" y="69"/>
                  </a:lnTo>
                  <a:lnTo>
                    <a:pt x="545" y="69"/>
                  </a:lnTo>
                  <a:lnTo>
                    <a:pt x="548" y="69"/>
                  </a:lnTo>
                  <a:lnTo>
                    <a:pt x="550" y="69"/>
                  </a:lnTo>
                  <a:lnTo>
                    <a:pt x="550" y="70"/>
                  </a:lnTo>
                  <a:lnTo>
                    <a:pt x="551" y="70"/>
                  </a:lnTo>
                  <a:lnTo>
                    <a:pt x="551" y="72"/>
                  </a:lnTo>
                  <a:lnTo>
                    <a:pt x="553" y="74"/>
                  </a:lnTo>
                  <a:lnTo>
                    <a:pt x="555" y="77"/>
                  </a:lnTo>
                  <a:lnTo>
                    <a:pt x="556" y="77"/>
                  </a:lnTo>
                  <a:lnTo>
                    <a:pt x="556" y="79"/>
                  </a:lnTo>
                  <a:lnTo>
                    <a:pt x="558" y="77"/>
                  </a:lnTo>
                  <a:lnTo>
                    <a:pt x="560" y="79"/>
                  </a:lnTo>
                  <a:lnTo>
                    <a:pt x="560" y="80"/>
                  </a:lnTo>
                  <a:lnTo>
                    <a:pt x="561" y="80"/>
                  </a:lnTo>
                  <a:lnTo>
                    <a:pt x="561" y="82"/>
                  </a:lnTo>
                  <a:lnTo>
                    <a:pt x="561" y="83"/>
                  </a:lnTo>
                  <a:lnTo>
                    <a:pt x="564" y="83"/>
                  </a:lnTo>
                  <a:lnTo>
                    <a:pt x="566" y="83"/>
                  </a:lnTo>
                  <a:lnTo>
                    <a:pt x="564" y="85"/>
                  </a:lnTo>
                  <a:lnTo>
                    <a:pt x="563" y="85"/>
                  </a:lnTo>
                  <a:lnTo>
                    <a:pt x="564" y="87"/>
                  </a:lnTo>
                  <a:lnTo>
                    <a:pt x="564" y="90"/>
                  </a:lnTo>
                  <a:lnTo>
                    <a:pt x="564" y="92"/>
                  </a:lnTo>
                  <a:lnTo>
                    <a:pt x="568" y="93"/>
                  </a:lnTo>
                  <a:lnTo>
                    <a:pt x="569" y="95"/>
                  </a:lnTo>
                  <a:lnTo>
                    <a:pt x="568" y="100"/>
                  </a:lnTo>
                  <a:lnTo>
                    <a:pt x="566" y="100"/>
                  </a:lnTo>
                  <a:lnTo>
                    <a:pt x="564" y="100"/>
                  </a:lnTo>
                  <a:lnTo>
                    <a:pt x="563" y="100"/>
                  </a:lnTo>
                  <a:lnTo>
                    <a:pt x="561" y="101"/>
                  </a:lnTo>
                  <a:lnTo>
                    <a:pt x="563" y="101"/>
                  </a:lnTo>
                  <a:lnTo>
                    <a:pt x="561" y="103"/>
                  </a:lnTo>
                  <a:lnTo>
                    <a:pt x="563" y="103"/>
                  </a:lnTo>
                  <a:lnTo>
                    <a:pt x="566" y="105"/>
                  </a:lnTo>
                  <a:lnTo>
                    <a:pt x="566" y="106"/>
                  </a:lnTo>
                  <a:lnTo>
                    <a:pt x="568" y="106"/>
                  </a:lnTo>
                  <a:lnTo>
                    <a:pt x="566" y="108"/>
                  </a:lnTo>
                  <a:lnTo>
                    <a:pt x="566" y="109"/>
                  </a:lnTo>
                  <a:lnTo>
                    <a:pt x="563" y="111"/>
                  </a:lnTo>
                  <a:lnTo>
                    <a:pt x="564" y="113"/>
                  </a:lnTo>
                  <a:lnTo>
                    <a:pt x="563" y="113"/>
                  </a:lnTo>
                  <a:lnTo>
                    <a:pt x="561" y="113"/>
                  </a:lnTo>
                  <a:lnTo>
                    <a:pt x="560" y="114"/>
                  </a:lnTo>
                  <a:lnTo>
                    <a:pt x="558" y="114"/>
                  </a:lnTo>
                  <a:lnTo>
                    <a:pt x="558" y="116"/>
                  </a:lnTo>
                  <a:lnTo>
                    <a:pt x="558" y="118"/>
                  </a:lnTo>
                  <a:lnTo>
                    <a:pt x="560" y="118"/>
                  </a:lnTo>
                  <a:lnTo>
                    <a:pt x="560" y="119"/>
                  </a:lnTo>
                  <a:lnTo>
                    <a:pt x="560" y="121"/>
                  </a:lnTo>
                  <a:lnTo>
                    <a:pt x="560" y="122"/>
                  </a:lnTo>
                  <a:lnTo>
                    <a:pt x="561" y="124"/>
                  </a:lnTo>
                  <a:lnTo>
                    <a:pt x="558" y="126"/>
                  </a:lnTo>
                  <a:lnTo>
                    <a:pt x="558" y="131"/>
                  </a:lnTo>
                  <a:lnTo>
                    <a:pt x="558" y="135"/>
                  </a:lnTo>
                  <a:lnTo>
                    <a:pt x="561" y="137"/>
                  </a:lnTo>
                  <a:lnTo>
                    <a:pt x="564" y="135"/>
                  </a:lnTo>
                  <a:lnTo>
                    <a:pt x="566" y="137"/>
                  </a:lnTo>
                  <a:lnTo>
                    <a:pt x="569" y="139"/>
                  </a:lnTo>
                  <a:lnTo>
                    <a:pt x="573" y="139"/>
                  </a:lnTo>
                  <a:lnTo>
                    <a:pt x="574" y="140"/>
                  </a:lnTo>
                  <a:lnTo>
                    <a:pt x="576" y="140"/>
                  </a:lnTo>
                  <a:lnTo>
                    <a:pt x="576" y="139"/>
                  </a:lnTo>
                  <a:lnTo>
                    <a:pt x="576" y="140"/>
                  </a:lnTo>
                  <a:lnTo>
                    <a:pt x="577" y="142"/>
                  </a:lnTo>
                  <a:lnTo>
                    <a:pt x="579" y="144"/>
                  </a:lnTo>
                  <a:lnTo>
                    <a:pt x="581" y="142"/>
                  </a:lnTo>
                  <a:lnTo>
                    <a:pt x="582" y="142"/>
                  </a:lnTo>
                  <a:lnTo>
                    <a:pt x="582" y="144"/>
                  </a:lnTo>
                  <a:lnTo>
                    <a:pt x="582" y="148"/>
                  </a:lnTo>
                  <a:lnTo>
                    <a:pt x="584" y="148"/>
                  </a:lnTo>
                  <a:lnTo>
                    <a:pt x="586" y="148"/>
                  </a:lnTo>
                  <a:lnTo>
                    <a:pt x="587" y="148"/>
                  </a:lnTo>
                  <a:lnTo>
                    <a:pt x="589" y="148"/>
                  </a:lnTo>
                  <a:lnTo>
                    <a:pt x="589" y="147"/>
                  </a:lnTo>
                  <a:lnTo>
                    <a:pt x="590" y="147"/>
                  </a:lnTo>
                  <a:lnTo>
                    <a:pt x="590" y="148"/>
                  </a:lnTo>
                  <a:lnTo>
                    <a:pt x="592" y="147"/>
                  </a:lnTo>
                  <a:lnTo>
                    <a:pt x="594" y="147"/>
                  </a:lnTo>
                  <a:lnTo>
                    <a:pt x="595" y="145"/>
                  </a:lnTo>
                  <a:lnTo>
                    <a:pt x="597" y="145"/>
                  </a:lnTo>
                  <a:lnTo>
                    <a:pt x="599" y="145"/>
                  </a:lnTo>
                  <a:lnTo>
                    <a:pt x="600" y="147"/>
                  </a:lnTo>
                  <a:lnTo>
                    <a:pt x="600" y="148"/>
                  </a:lnTo>
                  <a:lnTo>
                    <a:pt x="602" y="148"/>
                  </a:lnTo>
                  <a:lnTo>
                    <a:pt x="600" y="150"/>
                  </a:lnTo>
                  <a:lnTo>
                    <a:pt x="602" y="150"/>
                  </a:lnTo>
                  <a:lnTo>
                    <a:pt x="600" y="150"/>
                  </a:lnTo>
                  <a:lnTo>
                    <a:pt x="602" y="150"/>
                  </a:lnTo>
                  <a:lnTo>
                    <a:pt x="600" y="152"/>
                  </a:lnTo>
                  <a:lnTo>
                    <a:pt x="602" y="152"/>
                  </a:lnTo>
                  <a:lnTo>
                    <a:pt x="600" y="152"/>
                  </a:lnTo>
                  <a:lnTo>
                    <a:pt x="602" y="153"/>
                  </a:lnTo>
                  <a:lnTo>
                    <a:pt x="600" y="155"/>
                  </a:lnTo>
                  <a:lnTo>
                    <a:pt x="600" y="157"/>
                  </a:lnTo>
                  <a:lnTo>
                    <a:pt x="599" y="158"/>
                  </a:lnTo>
                  <a:lnTo>
                    <a:pt x="599" y="160"/>
                  </a:lnTo>
                  <a:lnTo>
                    <a:pt x="599" y="161"/>
                  </a:lnTo>
                  <a:lnTo>
                    <a:pt x="599" y="163"/>
                  </a:lnTo>
                  <a:lnTo>
                    <a:pt x="599" y="165"/>
                  </a:lnTo>
                  <a:lnTo>
                    <a:pt x="597" y="165"/>
                  </a:lnTo>
                  <a:lnTo>
                    <a:pt x="597" y="166"/>
                  </a:lnTo>
                  <a:lnTo>
                    <a:pt x="597" y="168"/>
                  </a:lnTo>
                  <a:lnTo>
                    <a:pt x="599" y="171"/>
                  </a:lnTo>
                  <a:lnTo>
                    <a:pt x="600" y="170"/>
                  </a:lnTo>
                  <a:lnTo>
                    <a:pt x="602" y="171"/>
                  </a:lnTo>
                  <a:lnTo>
                    <a:pt x="603" y="171"/>
                  </a:lnTo>
                  <a:lnTo>
                    <a:pt x="605" y="171"/>
                  </a:lnTo>
                  <a:lnTo>
                    <a:pt x="607" y="171"/>
                  </a:lnTo>
                  <a:lnTo>
                    <a:pt x="607" y="170"/>
                  </a:lnTo>
                  <a:lnTo>
                    <a:pt x="607" y="171"/>
                  </a:lnTo>
                  <a:lnTo>
                    <a:pt x="608" y="171"/>
                  </a:lnTo>
                  <a:lnTo>
                    <a:pt x="610" y="171"/>
                  </a:lnTo>
                  <a:lnTo>
                    <a:pt x="612" y="173"/>
                  </a:lnTo>
                  <a:lnTo>
                    <a:pt x="612" y="176"/>
                  </a:lnTo>
                  <a:lnTo>
                    <a:pt x="613" y="178"/>
                  </a:lnTo>
                  <a:lnTo>
                    <a:pt x="615" y="178"/>
                  </a:lnTo>
                  <a:lnTo>
                    <a:pt x="615" y="179"/>
                  </a:lnTo>
                  <a:lnTo>
                    <a:pt x="616" y="179"/>
                  </a:lnTo>
                  <a:lnTo>
                    <a:pt x="615" y="183"/>
                  </a:lnTo>
                  <a:lnTo>
                    <a:pt x="616" y="183"/>
                  </a:lnTo>
                  <a:lnTo>
                    <a:pt x="618" y="183"/>
                  </a:lnTo>
                  <a:lnTo>
                    <a:pt x="620" y="184"/>
                  </a:lnTo>
                  <a:lnTo>
                    <a:pt x="621" y="184"/>
                  </a:lnTo>
                  <a:lnTo>
                    <a:pt x="621" y="186"/>
                  </a:lnTo>
                  <a:lnTo>
                    <a:pt x="623" y="186"/>
                  </a:lnTo>
                  <a:lnTo>
                    <a:pt x="623" y="188"/>
                  </a:lnTo>
                  <a:lnTo>
                    <a:pt x="621" y="189"/>
                  </a:lnTo>
                  <a:lnTo>
                    <a:pt x="623" y="191"/>
                  </a:lnTo>
                  <a:lnTo>
                    <a:pt x="625" y="191"/>
                  </a:lnTo>
                  <a:lnTo>
                    <a:pt x="625" y="192"/>
                  </a:lnTo>
                  <a:lnTo>
                    <a:pt x="625" y="194"/>
                  </a:lnTo>
                  <a:lnTo>
                    <a:pt x="625" y="196"/>
                  </a:lnTo>
                  <a:lnTo>
                    <a:pt x="626" y="201"/>
                  </a:lnTo>
                  <a:lnTo>
                    <a:pt x="628" y="201"/>
                  </a:lnTo>
                  <a:lnTo>
                    <a:pt x="628" y="199"/>
                  </a:lnTo>
                  <a:lnTo>
                    <a:pt x="629" y="199"/>
                  </a:lnTo>
                  <a:lnTo>
                    <a:pt x="631" y="199"/>
                  </a:lnTo>
                  <a:lnTo>
                    <a:pt x="631" y="197"/>
                  </a:lnTo>
                  <a:lnTo>
                    <a:pt x="633" y="201"/>
                  </a:lnTo>
                  <a:lnTo>
                    <a:pt x="634" y="201"/>
                  </a:lnTo>
                  <a:lnTo>
                    <a:pt x="636" y="201"/>
                  </a:lnTo>
                  <a:lnTo>
                    <a:pt x="634" y="202"/>
                  </a:lnTo>
                  <a:lnTo>
                    <a:pt x="633" y="202"/>
                  </a:lnTo>
                  <a:lnTo>
                    <a:pt x="633" y="204"/>
                  </a:lnTo>
                  <a:lnTo>
                    <a:pt x="636" y="202"/>
                  </a:lnTo>
                  <a:lnTo>
                    <a:pt x="638" y="202"/>
                  </a:lnTo>
                  <a:lnTo>
                    <a:pt x="639" y="202"/>
                  </a:lnTo>
                  <a:lnTo>
                    <a:pt x="641" y="204"/>
                  </a:lnTo>
                  <a:lnTo>
                    <a:pt x="642" y="204"/>
                  </a:lnTo>
                  <a:lnTo>
                    <a:pt x="644" y="204"/>
                  </a:lnTo>
                  <a:lnTo>
                    <a:pt x="644" y="205"/>
                  </a:lnTo>
                  <a:lnTo>
                    <a:pt x="644" y="207"/>
                  </a:lnTo>
                  <a:lnTo>
                    <a:pt x="646" y="207"/>
                  </a:lnTo>
                  <a:lnTo>
                    <a:pt x="647" y="207"/>
                  </a:lnTo>
                  <a:lnTo>
                    <a:pt x="649" y="207"/>
                  </a:lnTo>
                  <a:lnTo>
                    <a:pt x="651" y="209"/>
                  </a:lnTo>
                  <a:lnTo>
                    <a:pt x="654" y="209"/>
                  </a:lnTo>
                  <a:lnTo>
                    <a:pt x="655" y="207"/>
                  </a:lnTo>
                  <a:lnTo>
                    <a:pt x="657" y="207"/>
                  </a:lnTo>
                  <a:lnTo>
                    <a:pt x="659" y="207"/>
                  </a:lnTo>
                  <a:lnTo>
                    <a:pt x="660" y="207"/>
                  </a:lnTo>
                  <a:lnTo>
                    <a:pt x="662" y="210"/>
                  </a:lnTo>
                  <a:lnTo>
                    <a:pt x="664" y="210"/>
                  </a:lnTo>
                  <a:lnTo>
                    <a:pt x="665" y="209"/>
                  </a:lnTo>
                  <a:lnTo>
                    <a:pt x="667" y="209"/>
                  </a:lnTo>
                  <a:lnTo>
                    <a:pt x="668" y="207"/>
                  </a:lnTo>
                  <a:lnTo>
                    <a:pt x="670" y="210"/>
                  </a:lnTo>
                  <a:lnTo>
                    <a:pt x="668" y="210"/>
                  </a:lnTo>
                  <a:lnTo>
                    <a:pt x="668" y="212"/>
                  </a:lnTo>
                  <a:lnTo>
                    <a:pt x="670" y="212"/>
                  </a:lnTo>
                  <a:lnTo>
                    <a:pt x="672" y="210"/>
                  </a:lnTo>
                  <a:lnTo>
                    <a:pt x="673" y="209"/>
                  </a:lnTo>
                  <a:lnTo>
                    <a:pt x="675" y="209"/>
                  </a:lnTo>
                  <a:lnTo>
                    <a:pt x="677" y="209"/>
                  </a:lnTo>
                  <a:lnTo>
                    <a:pt x="678" y="209"/>
                  </a:lnTo>
                  <a:lnTo>
                    <a:pt x="680" y="209"/>
                  </a:lnTo>
                  <a:lnTo>
                    <a:pt x="680" y="210"/>
                  </a:lnTo>
                  <a:lnTo>
                    <a:pt x="680" y="212"/>
                  </a:lnTo>
                  <a:lnTo>
                    <a:pt x="681" y="212"/>
                  </a:lnTo>
                  <a:lnTo>
                    <a:pt x="681" y="214"/>
                  </a:lnTo>
                  <a:lnTo>
                    <a:pt x="681" y="215"/>
                  </a:lnTo>
                  <a:lnTo>
                    <a:pt x="680" y="215"/>
                  </a:lnTo>
                  <a:lnTo>
                    <a:pt x="681" y="215"/>
                  </a:lnTo>
                  <a:lnTo>
                    <a:pt x="681" y="217"/>
                  </a:lnTo>
                  <a:lnTo>
                    <a:pt x="680" y="217"/>
                  </a:lnTo>
                  <a:lnTo>
                    <a:pt x="681" y="218"/>
                  </a:lnTo>
                  <a:lnTo>
                    <a:pt x="680" y="218"/>
                  </a:lnTo>
                  <a:lnTo>
                    <a:pt x="680" y="220"/>
                  </a:lnTo>
                  <a:lnTo>
                    <a:pt x="681" y="220"/>
                  </a:lnTo>
                  <a:lnTo>
                    <a:pt x="683" y="220"/>
                  </a:lnTo>
                  <a:lnTo>
                    <a:pt x="685" y="225"/>
                  </a:lnTo>
                  <a:lnTo>
                    <a:pt x="683" y="225"/>
                  </a:lnTo>
                  <a:lnTo>
                    <a:pt x="683" y="227"/>
                  </a:lnTo>
                  <a:lnTo>
                    <a:pt x="681" y="227"/>
                  </a:lnTo>
                  <a:lnTo>
                    <a:pt x="681" y="228"/>
                  </a:lnTo>
                  <a:lnTo>
                    <a:pt x="683" y="228"/>
                  </a:lnTo>
                  <a:lnTo>
                    <a:pt x="681" y="230"/>
                  </a:lnTo>
                  <a:lnTo>
                    <a:pt x="683" y="230"/>
                  </a:lnTo>
                  <a:lnTo>
                    <a:pt x="681" y="230"/>
                  </a:lnTo>
                  <a:lnTo>
                    <a:pt x="681" y="231"/>
                  </a:lnTo>
                  <a:lnTo>
                    <a:pt x="683" y="233"/>
                  </a:lnTo>
                  <a:lnTo>
                    <a:pt x="681" y="233"/>
                  </a:lnTo>
                  <a:lnTo>
                    <a:pt x="681" y="235"/>
                  </a:lnTo>
                  <a:lnTo>
                    <a:pt x="683" y="236"/>
                  </a:lnTo>
                  <a:lnTo>
                    <a:pt x="683" y="238"/>
                  </a:lnTo>
                  <a:lnTo>
                    <a:pt x="681" y="238"/>
                  </a:lnTo>
                  <a:lnTo>
                    <a:pt x="683" y="240"/>
                  </a:lnTo>
                  <a:lnTo>
                    <a:pt x="683" y="241"/>
                  </a:lnTo>
                  <a:lnTo>
                    <a:pt x="681" y="241"/>
                  </a:lnTo>
                  <a:lnTo>
                    <a:pt x="681" y="243"/>
                  </a:lnTo>
                  <a:lnTo>
                    <a:pt x="681" y="244"/>
                  </a:lnTo>
                  <a:lnTo>
                    <a:pt x="681" y="246"/>
                  </a:lnTo>
                  <a:lnTo>
                    <a:pt x="681" y="244"/>
                  </a:lnTo>
                  <a:lnTo>
                    <a:pt x="680" y="244"/>
                  </a:lnTo>
                  <a:lnTo>
                    <a:pt x="680" y="246"/>
                  </a:lnTo>
                  <a:lnTo>
                    <a:pt x="680" y="248"/>
                  </a:lnTo>
                  <a:lnTo>
                    <a:pt x="681" y="246"/>
                  </a:lnTo>
                  <a:lnTo>
                    <a:pt x="681" y="248"/>
                  </a:lnTo>
                  <a:lnTo>
                    <a:pt x="681" y="249"/>
                  </a:lnTo>
                  <a:lnTo>
                    <a:pt x="681" y="251"/>
                  </a:lnTo>
                  <a:lnTo>
                    <a:pt x="683" y="251"/>
                  </a:lnTo>
                  <a:lnTo>
                    <a:pt x="683" y="249"/>
                  </a:lnTo>
                  <a:lnTo>
                    <a:pt x="685" y="249"/>
                  </a:lnTo>
                  <a:lnTo>
                    <a:pt x="685" y="248"/>
                  </a:lnTo>
                  <a:lnTo>
                    <a:pt x="685" y="249"/>
                  </a:lnTo>
                  <a:lnTo>
                    <a:pt x="686" y="249"/>
                  </a:lnTo>
                  <a:lnTo>
                    <a:pt x="686" y="248"/>
                  </a:lnTo>
                  <a:lnTo>
                    <a:pt x="686" y="249"/>
                  </a:lnTo>
                  <a:lnTo>
                    <a:pt x="688" y="249"/>
                  </a:lnTo>
                  <a:lnTo>
                    <a:pt x="690" y="249"/>
                  </a:lnTo>
                  <a:lnTo>
                    <a:pt x="691" y="249"/>
                  </a:lnTo>
                  <a:lnTo>
                    <a:pt x="693" y="249"/>
                  </a:lnTo>
                  <a:lnTo>
                    <a:pt x="693" y="251"/>
                  </a:lnTo>
                  <a:lnTo>
                    <a:pt x="693" y="249"/>
                  </a:lnTo>
                  <a:lnTo>
                    <a:pt x="693" y="248"/>
                  </a:lnTo>
                  <a:lnTo>
                    <a:pt x="693" y="249"/>
                  </a:lnTo>
                  <a:lnTo>
                    <a:pt x="694" y="248"/>
                  </a:lnTo>
                  <a:lnTo>
                    <a:pt x="696" y="248"/>
                  </a:lnTo>
                  <a:lnTo>
                    <a:pt x="698" y="248"/>
                  </a:lnTo>
                  <a:lnTo>
                    <a:pt x="696" y="248"/>
                  </a:lnTo>
                  <a:lnTo>
                    <a:pt x="698" y="248"/>
                  </a:lnTo>
                  <a:lnTo>
                    <a:pt x="698" y="246"/>
                  </a:lnTo>
                  <a:lnTo>
                    <a:pt x="699" y="246"/>
                  </a:lnTo>
                  <a:lnTo>
                    <a:pt x="699" y="244"/>
                  </a:lnTo>
                  <a:lnTo>
                    <a:pt x="701" y="243"/>
                  </a:lnTo>
                  <a:lnTo>
                    <a:pt x="704" y="243"/>
                  </a:lnTo>
                  <a:lnTo>
                    <a:pt x="706" y="241"/>
                  </a:lnTo>
                  <a:lnTo>
                    <a:pt x="708" y="241"/>
                  </a:lnTo>
                  <a:lnTo>
                    <a:pt x="708" y="240"/>
                  </a:lnTo>
                  <a:lnTo>
                    <a:pt x="709" y="238"/>
                  </a:lnTo>
                  <a:lnTo>
                    <a:pt x="711" y="240"/>
                  </a:lnTo>
                  <a:lnTo>
                    <a:pt x="712" y="240"/>
                  </a:lnTo>
                  <a:lnTo>
                    <a:pt x="714" y="240"/>
                  </a:lnTo>
                  <a:lnTo>
                    <a:pt x="714" y="241"/>
                  </a:lnTo>
                  <a:lnTo>
                    <a:pt x="716" y="240"/>
                  </a:lnTo>
                  <a:lnTo>
                    <a:pt x="717" y="240"/>
                  </a:lnTo>
                  <a:lnTo>
                    <a:pt x="719" y="241"/>
                  </a:lnTo>
                  <a:lnTo>
                    <a:pt x="719" y="243"/>
                  </a:lnTo>
                  <a:lnTo>
                    <a:pt x="721" y="243"/>
                  </a:lnTo>
                  <a:lnTo>
                    <a:pt x="722" y="241"/>
                  </a:lnTo>
                  <a:lnTo>
                    <a:pt x="724" y="241"/>
                  </a:lnTo>
                  <a:lnTo>
                    <a:pt x="724" y="243"/>
                  </a:lnTo>
                  <a:lnTo>
                    <a:pt x="725" y="241"/>
                  </a:lnTo>
                  <a:lnTo>
                    <a:pt x="727" y="243"/>
                  </a:lnTo>
                  <a:lnTo>
                    <a:pt x="729" y="243"/>
                  </a:lnTo>
                  <a:lnTo>
                    <a:pt x="730" y="243"/>
                  </a:lnTo>
                  <a:lnTo>
                    <a:pt x="732" y="244"/>
                  </a:lnTo>
                  <a:lnTo>
                    <a:pt x="732" y="246"/>
                  </a:lnTo>
                  <a:lnTo>
                    <a:pt x="734" y="246"/>
                  </a:lnTo>
                  <a:lnTo>
                    <a:pt x="734" y="244"/>
                  </a:lnTo>
                  <a:lnTo>
                    <a:pt x="735" y="244"/>
                  </a:lnTo>
                  <a:lnTo>
                    <a:pt x="735" y="243"/>
                  </a:lnTo>
                  <a:lnTo>
                    <a:pt x="737" y="243"/>
                  </a:lnTo>
                  <a:lnTo>
                    <a:pt x="738" y="241"/>
                  </a:lnTo>
                  <a:lnTo>
                    <a:pt x="740" y="241"/>
                  </a:lnTo>
                  <a:lnTo>
                    <a:pt x="740" y="243"/>
                  </a:lnTo>
                  <a:lnTo>
                    <a:pt x="742" y="243"/>
                  </a:lnTo>
                  <a:lnTo>
                    <a:pt x="743" y="243"/>
                  </a:lnTo>
                  <a:lnTo>
                    <a:pt x="745" y="244"/>
                  </a:lnTo>
                  <a:lnTo>
                    <a:pt x="745" y="246"/>
                  </a:lnTo>
                  <a:lnTo>
                    <a:pt x="745" y="248"/>
                  </a:lnTo>
                  <a:lnTo>
                    <a:pt x="743" y="249"/>
                  </a:lnTo>
                  <a:lnTo>
                    <a:pt x="743" y="251"/>
                  </a:lnTo>
                  <a:lnTo>
                    <a:pt x="742" y="251"/>
                  </a:lnTo>
                  <a:lnTo>
                    <a:pt x="740" y="251"/>
                  </a:lnTo>
                  <a:lnTo>
                    <a:pt x="740" y="253"/>
                  </a:lnTo>
                  <a:lnTo>
                    <a:pt x="740" y="254"/>
                  </a:lnTo>
                  <a:lnTo>
                    <a:pt x="740" y="256"/>
                  </a:lnTo>
                  <a:lnTo>
                    <a:pt x="742" y="256"/>
                  </a:lnTo>
                  <a:lnTo>
                    <a:pt x="742" y="254"/>
                  </a:lnTo>
                  <a:lnTo>
                    <a:pt x="743" y="256"/>
                  </a:lnTo>
                  <a:lnTo>
                    <a:pt x="743" y="259"/>
                  </a:lnTo>
                  <a:lnTo>
                    <a:pt x="743" y="261"/>
                  </a:lnTo>
                  <a:lnTo>
                    <a:pt x="745" y="261"/>
                  </a:lnTo>
                  <a:lnTo>
                    <a:pt x="748" y="264"/>
                  </a:lnTo>
                  <a:lnTo>
                    <a:pt x="750" y="264"/>
                  </a:lnTo>
                  <a:lnTo>
                    <a:pt x="750" y="266"/>
                  </a:lnTo>
                  <a:lnTo>
                    <a:pt x="751" y="266"/>
                  </a:lnTo>
                  <a:lnTo>
                    <a:pt x="753" y="266"/>
                  </a:lnTo>
                  <a:lnTo>
                    <a:pt x="755" y="267"/>
                  </a:lnTo>
                  <a:lnTo>
                    <a:pt x="756" y="267"/>
                  </a:lnTo>
                  <a:lnTo>
                    <a:pt x="756" y="269"/>
                  </a:lnTo>
                  <a:lnTo>
                    <a:pt x="758" y="269"/>
                  </a:lnTo>
                  <a:lnTo>
                    <a:pt x="761" y="267"/>
                  </a:lnTo>
                  <a:lnTo>
                    <a:pt x="761" y="269"/>
                  </a:lnTo>
                  <a:lnTo>
                    <a:pt x="763" y="272"/>
                  </a:lnTo>
                  <a:lnTo>
                    <a:pt x="764" y="272"/>
                  </a:lnTo>
                  <a:lnTo>
                    <a:pt x="766" y="272"/>
                  </a:lnTo>
                  <a:lnTo>
                    <a:pt x="764" y="269"/>
                  </a:lnTo>
                  <a:lnTo>
                    <a:pt x="768" y="270"/>
                  </a:lnTo>
                  <a:lnTo>
                    <a:pt x="768" y="272"/>
                  </a:lnTo>
                  <a:lnTo>
                    <a:pt x="768" y="274"/>
                  </a:lnTo>
                  <a:lnTo>
                    <a:pt x="769" y="274"/>
                  </a:lnTo>
                  <a:lnTo>
                    <a:pt x="773" y="272"/>
                  </a:lnTo>
                  <a:lnTo>
                    <a:pt x="774" y="272"/>
                  </a:lnTo>
                  <a:lnTo>
                    <a:pt x="776" y="272"/>
                  </a:lnTo>
                  <a:lnTo>
                    <a:pt x="776" y="274"/>
                  </a:lnTo>
                  <a:lnTo>
                    <a:pt x="777" y="275"/>
                  </a:lnTo>
                  <a:lnTo>
                    <a:pt x="777" y="277"/>
                  </a:lnTo>
                  <a:lnTo>
                    <a:pt x="776" y="277"/>
                  </a:lnTo>
                  <a:lnTo>
                    <a:pt x="777" y="277"/>
                  </a:lnTo>
                  <a:lnTo>
                    <a:pt x="777" y="280"/>
                  </a:lnTo>
                  <a:lnTo>
                    <a:pt x="779" y="279"/>
                  </a:lnTo>
                  <a:lnTo>
                    <a:pt x="781" y="279"/>
                  </a:lnTo>
                  <a:lnTo>
                    <a:pt x="781" y="280"/>
                  </a:lnTo>
                  <a:lnTo>
                    <a:pt x="779" y="280"/>
                  </a:lnTo>
                  <a:lnTo>
                    <a:pt x="779" y="282"/>
                  </a:lnTo>
                  <a:lnTo>
                    <a:pt x="777" y="283"/>
                  </a:lnTo>
                  <a:lnTo>
                    <a:pt x="777" y="285"/>
                  </a:lnTo>
                  <a:lnTo>
                    <a:pt x="779" y="287"/>
                  </a:lnTo>
                  <a:lnTo>
                    <a:pt x="781" y="287"/>
                  </a:lnTo>
                  <a:lnTo>
                    <a:pt x="781" y="288"/>
                  </a:lnTo>
                  <a:lnTo>
                    <a:pt x="781" y="290"/>
                  </a:lnTo>
                  <a:lnTo>
                    <a:pt x="779" y="290"/>
                  </a:lnTo>
                  <a:lnTo>
                    <a:pt x="777" y="292"/>
                  </a:lnTo>
                  <a:lnTo>
                    <a:pt x="776" y="290"/>
                  </a:lnTo>
                  <a:lnTo>
                    <a:pt x="774" y="292"/>
                  </a:lnTo>
                  <a:lnTo>
                    <a:pt x="774" y="293"/>
                  </a:lnTo>
                  <a:lnTo>
                    <a:pt x="773" y="293"/>
                  </a:lnTo>
                  <a:lnTo>
                    <a:pt x="771" y="292"/>
                  </a:lnTo>
                  <a:lnTo>
                    <a:pt x="769" y="292"/>
                  </a:lnTo>
                  <a:lnTo>
                    <a:pt x="769" y="293"/>
                  </a:lnTo>
                  <a:lnTo>
                    <a:pt x="771" y="293"/>
                  </a:lnTo>
                  <a:lnTo>
                    <a:pt x="771" y="295"/>
                  </a:lnTo>
                  <a:lnTo>
                    <a:pt x="771" y="296"/>
                  </a:lnTo>
                  <a:lnTo>
                    <a:pt x="769" y="296"/>
                  </a:lnTo>
                  <a:lnTo>
                    <a:pt x="769" y="298"/>
                  </a:lnTo>
                  <a:lnTo>
                    <a:pt x="769" y="300"/>
                  </a:lnTo>
                  <a:lnTo>
                    <a:pt x="768" y="298"/>
                  </a:lnTo>
                  <a:lnTo>
                    <a:pt x="766" y="298"/>
                  </a:lnTo>
                  <a:lnTo>
                    <a:pt x="764" y="300"/>
                  </a:lnTo>
                  <a:lnTo>
                    <a:pt x="764" y="298"/>
                  </a:lnTo>
                  <a:lnTo>
                    <a:pt x="763" y="300"/>
                  </a:lnTo>
                  <a:lnTo>
                    <a:pt x="761" y="300"/>
                  </a:lnTo>
                  <a:lnTo>
                    <a:pt x="764" y="301"/>
                  </a:lnTo>
                  <a:lnTo>
                    <a:pt x="764" y="305"/>
                  </a:lnTo>
                  <a:lnTo>
                    <a:pt x="764" y="306"/>
                  </a:lnTo>
                  <a:lnTo>
                    <a:pt x="763" y="308"/>
                  </a:lnTo>
                  <a:lnTo>
                    <a:pt x="763" y="314"/>
                  </a:lnTo>
                  <a:lnTo>
                    <a:pt x="761" y="314"/>
                  </a:lnTo>
                  <a:lnTo>
                    <a:pt x="761" y="316"/>
                  </a:lnTo>
                  <a:lnTo>
                    <a:pt x="761" y="318"/>
                  </a:lnTo>
                  <a:lnTo>
                    <a:pt x="758" y="318"/>
                  </a:lnTo>
                  <a:lnTo>
                    <a:pt x="756" y="319"/>
                  </a:lnTo>
                  <a:lnTo>
                    <a:pt x="755" y="321"/>
                  </a:lnTo>
                  <a:lnTo>
                    <a:pt x="755" y="323"/>
                  </a:lnTo>
                  <a:lnTo>
                    <a:pt x="756" y="324"/>
                  </a:lnTo>
                  <a:lnTo>
                    <a:pt x="755" y="327"/>
                  </a:lnTo>
                  <a:lnTo>
                    <a:pt x="755" y="329"/>
                  </a:lnTo>
                  <a:lnTo>
                    <a:pt x="750" y="331"/>
                  </a:lnTo>
                  <a:lnTo>
                    <a:pt x="750" y="332"/>
                  </a:lnTo>
                  <a:lnTo>
                    <a:pt x="750" y="336"/>
                  </a:lnTo>
                  <a:lnTo>
                    <a:pt x="747" y="334"/>
                  </a:lnTo>
                  <a:lnTo>
                    <a:pt x="745" y="336"/>
                  </a:lnTo>
                  <a:lnTo>
                    <a:pt x="745" y="337"/>
                  </a:lnTo>
                  <a:lnTo>
                    <a:pt x="743" y="339"/>
                  </a:lnTo>
                  <a:lnTo>
                    <a:pt x="742" y="340"/>
                  </a:lnTo>
                  <a:lnTo>
                    <a:pt x="740" y="342"/>
                  </a:lnTo>
                  <a:lnTo>
                    <a:pt x="738" y="342"/>
                  </a:lnTo>
                  <a:lnTo>
                    <a:pt x="735" y="342"/>
                  </a:lnTo>
                  <a:lnTo>
                    <a:pt x="734" y="342"/>
                  </a:lnTo>
                  <a:lnTo>
                    <a:pt x="732" y="342"/>
                  </a:lnTo>
                  <a:lnTo>
                    <a:pt x="732" y="340"/>
                  </a:lnTo>
                  <a:lnTo>
                    <a:pt x="730" y="340"/>
                  </a:lnTo>
                  <a:lnTo>
                    <a:pt x="730" y="342"/>
                  </a:lnTo>
                  <a:lnTo>
                    <a:pt x="730" y="344"/>
                  </a:lnTo>
                  <a:lnTo>
                    <a:pt x="725" y="345"/>
                  </a:lnTo>
                  <a:lnTo>
                    <a:pt x="724" y="344"/>
                  </a:lnTo>
                  <a:lnTo>
                    <a:pt x="724" y="342"/>
                  </a:lnTo>
                  <a:lnTo>
                    <a:pt x="722" y="342"/>
                  </a:lnTo>
                  <a:lnTo>
                    <a:pt x="721" y="342"/>
                  </a:lnTo>
                  <a:lnTo>
                    <a:pt x="719" y="344"/>
                  </a:lnTo>
                  <a:lnTo>
                    <a:pt x="717" y="344"/>
                  </a:lnTo>
                  <a:lnTo>
                    <a:pt x="716" y="344"/>
                  </a:lnTo>
                  <a:lnTo>
                    <a:pt x="714" y="342"/>
                  </a:lnTo>
                  <a:lnTo>
                    <a:pt x="711" y="339"/>
                  </a:lnTo>
                  <a:lnTo>
                    <a:pt x="711" y="337"/>
                  </a:lnTo>
                  <a:lnTo>
                    <a:pt x="711" y="336"/>
                  </a:lnTo>
                  <a:lnTo>
                    <a:pt x="709" y="336"/>
                  </a:lnTo>
                  <a:lnTo>
                    <a:pt x="708" y="336"/>
                  </a:lnTo>
                  <a:lnTo>
                    <a:pt x="706" y="334"/>
                  </a:lnTo>
                  <a:lnTo>
                    <a:pt x="704" y="334"/>
                  </a:lnTo>
                  <a:lnTo>
                    <a:pt x="703" y="334"/>
                  </a:lnTo>
                  <a:lnTo>
                    <a:pt x="701" y="334"/>
                  </a:lnTo>
                  <a:lnTo>
                    <a:pt x="699" y="334"/>
                  </a:lnTo>
                  <a:lnTo>
                    <a:pt x="698" y="334"/>
                  </a:lnTo>
                  <a:lnTo>
                    <a:pt x="696" y="334"/>
                  </a:lnTo>
                  <a:lnTo>
                    <a:pt x="694" y="332"/>
                  </a:lnTo>
                  <a:lnTo>
                    <a:pt x="694" y="336"/>
                  </a:lnTo>
                  <a:lnTo>
                    <a:pt x="693" y="337"/>
                  </a:lnTo>
                  <a:lnTo>
                    <a:pt x="693" y="339"/>
                  </a:lnTo>
                  <a:lnTo>
                    <a:pt x="691" y="339"/>
                  </a:lnTo>
                  <a:lnTo>
                    <a:pt x="690" y="340"/>
                  </a:lnTo>
                  <a:lnTo>
                    <a:pt x="688" y="339"/>
                  </a:lnTo>
                  <a:lnTo>
                    <a:pt x="686" y="339"/>
                  </a:lnTo>
                  <a:lnTo>
                    <a:pt x="685" y="339"/>
                  </a:lnTo>
                  <a:lnTo>
                    <a:pt x="681" y="339"/>
                  </a:lnTo>
                  <a:lnTo>
                    <a:pt x="678" y="340"/>
                  </a:lnTo>
                  <a:lnTo>
                    <a:pt x="678" y="342"/>
                  </a:lnTo>
                  <a:lnTo>
                    <a:pt x="680" y="344"/>
                  </a:lnTo>
                  <a:lnTo>
                    <a:pt x="680" y="345"/>
                  </a:lnTo>
                  <a:lnTo>
                    <a:pt x="678" y="347"/>
                  </a:lnTo>
                  <a:lnTo>
                    <a:pt x="678" y="349"/>
                  </a:lnTo>
                  <a:lnTo>
                    <a:pt x="678" y="350"/>
                  </a:lnTo>
                  <a:lnTo>
                    <a:pt x="678" y="352"/>
                  </a:lnTo>
                  <a:lnTo>
                    <a:pt x="678" y="353"/>
                  </a:lnTo>
                  <a:lnTo>
                    <a:pt x="680" y="353"/>
                  </a:lnTo>
                  <a:lnTo>
                    <a:pt x="681" y="355"/>
                  </a:lnTo>
                  <a:lnTo>
                    <a:pt x="680" y="355"/>
                  </a:lnTo>
                  <a:lnTo>
                    <a:pt x="681" y="357"/>
                  </a:lnTo>
                  <a:lnTo>
                    <a:pt x="680" y="357"/>
                  </a:lnTo>
                  <a:lnTo>
                    <a:pt x="677" y="358"/>
                  </a:lnTo>
                  <a:lnTo>
                    <a:pt x="677" y="360"/>
                  </a:lnTo>
                  <a:lnTo>
                    <a:pt x="677" y="362"/>
                  </a:lnTo>
                  <a:lnTo>
                    <a:pt x="677" y="363"/>
                  </a:lnTo>
                  <a:lnTo>
                    <a:pt x="678" y="365"/>
                  </a:lnTo>
                  <a:lnTo>
                    <a:pt x="678" y="366"/>
                  </a:lnTo>
                  <a:lnTo>
                    <a:pt x="677" y="366"/>
                  </a:lnTo>
                  <a:lnTo>
                    <a:pt x="673" y="368"/>
                  </a:lnTo>
                  <a:lnTo>
                    <a:pt x="672" y="368"/>
                  </a:lnTo>
                  <a:lnTo>
                    <a:pt x="672" y="370"/>
                  </a:lnTo>
                  <a:lnTo>
                    <a:pt x="673" y="370"/>
                  </a:lnTo>
                  <a:lnTo>
                    <a:pt x="675" y="371"/>
                  </a:lnTo>
                  <a:lnTo>
                    <a:pt x="677" y="371"/>
                  </a:lnTo>
                  <a:lnTo>
                    <a:pt x="678" y="371"/>
                  </a:lnTo>
                  <a:lnTo>
                    <a:pt x="680" y="373"/>
                  </a:lnTo>
                  <a:lnTo>
                    <a:pt x="681" y="373"/>
                  </a:lnTo>
                  <a:lnTo>
                    <a:pt x="683" y="373"/>
                  </a:lnTo>
                  <a:lnTo>
                    <a:pt x="685" y="375"/>
                  </a:lnTo>
                  <a:lnTo>
                    <a:pt x="685" y="376"/>
                  </a:lnTo>
                  <a:lnTo>
                    <a:pt x="686" y="376"/>
                  </a:lnTo>
                  <a:lnTo>
                    <a:pt x="686" y="378"/>
                  </a:lnTo>
                  <a:lnTo>
                    <a:pt x="686" y="379"/>
                  </a:lnTo>
                  <a:lnTo>
                    <a:pt x="688" y="381"/>
                  </a:lnTo>
                  <a:lnTo>
                    <a:pt x="690" y="383"/>
                  </a:lnTo>
                  <a:lnTo>
                    <a:pt x="691" y="383"/>
                  </a:lnTo>
                  <a:lnTo>
                    <a:pt x="694" y="384"/>
                  </a:lnTo>
                  <a:lnTo>
                    <a:pt x="696" y="386"/>
                  </a:lnTo>
                  <a:lnTo>
                    <a:pt x="698" y="386"/>
                  </a:lnTo>
                  <a:lnTo>
                    <a:pt x="699" y="388"/>
                  </a:lnTo>
                  <a:lnTo>
                    <a:pt x="703" y="386"/>
                  </a:lnTo>
                  <a:lnTo>
                    <a:pt x="704" y="388"/>
                  </a:lnTo>
                  <a:lnTo>
                    <a:pt x="704" y="389"/>
                  </a:lnTo>
                  <a:lnTo>
                    <a:pt x="703" y="389"/>
                  </a:lnTo>
                  <a:lnTo>
                    <a:pt x="703" y="391"/>
                  </a:lnTo>
                  <a:lnTo>
                    <a:pt x="704" y="392"/>
                  </a:lnTo>
                  <a:lnTo>
                    <a:pt x="708" y="392"/>
                  </a:lnTo>
                  <a:lnTo>
                    <a:pt x="708" y="394"/>
                  </a:lnTo>
                  <a:lnTo>
                    <a:pt x="709" y="394"/>
                  </a:lnTo>
                  <a:lnTo>
                    <a:pt x="711" y="394"/>
                  </a:lnTo>
                  <a:lnTo>
                    <a:pt x="711" y="396"/>
                  </a:lnTo>
                  <a:lnTo>
                    <a:pt x="712" y="397"/>
                  </a:lnTo>
                  <a:lnTo>
                    <a:pt x="712" y="399"/>
                  </a:lnTo>
                  <a:lnTo>
                    <a:pt x="714" y="401"/>
                  </a:lnTo>
                  <a:lnTo>
                    <a:pt x="712" y="401"/>
                  </a:lnTo>
                  <a:lnTo>
                    <a:pt x="712" y="404"/>
                  </a:lnTo>
                  <a:lnTo>
                    <a:pt x="712" y="405"/>
                  </a:lnTo>
                  <a:lnTo>
                    <a:pt x="711" y="405"/>
                  </a:lnTo>
                  <a:lnTo>
                    <a:pt x="709" y="407"/>
                  </a:lnTo>
                  <a:lnTo>
                    <a:pt x="708" y="409"/>
                  </a:lnTo>
                  <a:lnTo>
                    <a:pt x="708" y="410"/>
                  </a:lnTo>
                  <a:lnTo>
                    <a:pt x="711" y="412"/>
                  </a:lnTo>
                  <a:lnTo>
                    <a:pt x="712" y="414"/>
                  </a:lnTo>
                  <a:lnTo>
                    <a:pt x="714" y="415"/>
                  </a:lnTo>
                  <a:lnTo>
                    <a:pt x="716" y="415"/>
                  </a:lnTo>
                  <a:lnTo>
                    <a:pt x="716" y="417"/>
                  </a:lnTo>
                  <a:lnTo>
                    <a:pt x="716" y="418"/>
                  </a:lnTo>
                  <a:lnTo>
                    <a:pt x="716" y="420"/>
                  </a:lnTo>
                  <a:lnTo>
                    <a:pt x="717" y="422"/>
                  </a:lnTo>
                  <a:lnTo>
                    <a:pt x="719" y="422"/>
                  </a:lnTo>
                  <a:lnTo>
                    <a:pt x="721" y="423"/>
                  </a:lnTo>
                  <a:lnTo>
                    <a:pt x="722" y="423"/>
                  </a:lnTo>
                  <a:lnTo>
                    <a:pt x="724" y="425"/>
                  </a:lnTo>
                  <a:lnTo>
                    <a:pt x="725" y="423"/>
                  </a:lnTo>
                  <a:lnTo>
                    <a:pt x="725" y="425"/>
                  </a:lnTo>
                  <a:lnTo>
                    <a:pt x="725" y="427"/>
                  </a:lnTo>
                  <a:lnTo>
                    <a:pt x="724" y="427"/>
                  </a:lnTo>
                  <a:lnTo>
                    <a:pt x="722" y="427"/>
                  </a:lnTo>
                  <a:lnTo>
                    <a:pt x="722" y="428"/>
                  </a:lnTo>
                  <a:lnTo>
                    <a:pt x="722" y="430"/>
                  </a:lnTo>
                  <a:lnTo>
                    <a:pt x="722" y="431"/>
                  </a:lnTo>
                  <a:lnTo>
                    <a:pt x="721" y="431"/>
                  </a:lnTo>
                  <a:lnTo>
                    <a:pt x="719" y="431"/>
                  </a:lnTo>
                  <a:lnTo>
                    <a:pt x="721" y="433"/>
                  </a:lnTo>
                  <a:lnTo>
                    <a:pt x="722" y="433"/>
                  </a:lnTo>
                  <a:lnTo>
                    <a:pt x="724" y="433"/>
                  </a:lnTo>
                  <a:lnTo>
                    <a:pt x="725" y="435"/>
                  </a:lnTo>
                  <a:lnTo>
                    <a:pt x="724" y="436"/>
                  </a:lnTo>
                  <a:lnTo>
                    <a:pt x="722" y="436"/>
                  </a:lnTo>
                  <a:lnTo>
                    <a:pt x="721" y="436"/>
                  </a:lnTo>
                  <a:lnTo>
                    <a:pt x="719" y="438"/>
                  </a:lnTo>
                  <a:lnTo>
                    <a:pt x="719" y="440"/>
                  </a:lnTo>
                  <a:lnTo>
                    <a:pt x="722" y="438"/>
                  </a:lnTo>
                  <a:lnTo>
                    <a:pt x="722" y="440"/>
                  </a:lnTo>
                  <a:lnTo>
                    <a:pt x="724" y="440"/>
                  </a:lnTo>
                  <a:lnTo>
                    <a:pt x="725" y="440"/>
                  </a:lnTo>
                  <a:lnTo>
                    <a:pt x="727" y="440"/>
                  </a:lnTo>
                  <a:lnTo>
                    <a:pt x="727" y="441"/>
                  </a:lnTo>
                  <a:lnTo>
                    <a:pt x="725" y="441"/>
                  </a:lnTo>
                  <a:lnTo>
                    <a:pt x="725" y="443"/>
                  </a:lnTo>
                  <a:lnTo>
                    <a:pt x="727" y="443"/>
                  </a:lnTo>
                  <a:lnTo>
                    <a:pt x="727" y="444"/>
                  </a:lnTo>
                  <a:lnTo>
                    <a:pt x="727" y="446"/>
                  </a:lnTo>
                  <a:lnTo>
                    <a:pt x="729" y="444"/>
                  </a:lnTo>
                  <a:lnTo>
                    <a:pt x="730" y="446"/>
                  </a:lnTo>
                  <a:lnTo>
                    <a:pt x="730" y="448"/>
                  </a:lnTo>
                  <a:lnTo>
                    <a:pt x="732" y="456"/>
                  </a:lnTo>
                  <a:lnTo>
                    <a:pt x="732" y="457"/>
                  </a:lnTo>
                  <a:lnTo>
                    <a:pt x="730" y="457"/>
                  </a:lnTo>
                  <a:lnTo>
                    <a:pt x="730" y="459"/>
                  </a:lnTo>
                  <a:lnTo>
                    <a:pt x="734" y="462"/>
                  </a:lnTo>
                  <a:lnTo>
                    <a:pt x="735" y="462"/>
                  </a:lnTo>
                  <a:lnTo>
                    <a:pt x="735" y="461"/>
                  </a:lnTo>
                  <a:lnTo>
                    <a:pt x="737" y="462"/>
                  </a:lnTo>
                  <a:lnTo>
                    <a:pt x="738" y="462"/>
                  </a:lnTo>
                  <a:lnTo>
                    <a:pt x="742" y="464"/>
                  </a:lnTo>
                  <a:lnTo>
                    <a:pt x="743" y="464"/>
                  </a:lnTo>
                  <a:lnTo>
                    <a:pt x="742" y="464"/>
                  </a:lnTo>
                  <a:lnTo>
                    <a:pt x="742" y="466"/>
                  </a:lnTo>
                  <a:lnTo>
                    <a:pt x="745" y="471"/>
                  </a:lnTo>
                  <a:lnTo>
                    <a:pt x="743" y="471"/>
                  </a:lnTo>
                  <a:lnTo>
                    <a:pt x="743" y="472"/>
                  </a:lnTo>
                  <a:lnTo>
                    <a:pt x="743" y="474"/>
                  </a:lnTo>
                  <a:lnTo>
                    <a:pt x="745" y="474"/>
                  </a:lnTo>
                  <a:lnTo>
                    <a:pt x="747" y="474"/>
                  </a:lnTo>
                  <a:lnTo>
                    <a:pt x="747" y="472"/>
                  </a:lnTo>
                  <a:lnTo>
                    <a:pt x="748" y="472"/>
                  </a:lnTo>
                  <a:lnTo>
                    <a:pt x="750" y="472"/>
                  </a:lnTo>
                  <a:lnTo>
                    <a:pt x="751" y="472"/>
                  </a:lnTo>
                  <a:lnTo>
                    <a:pt x="753" y="475"/>
                  </a:lnTo>
                  <a:lnTo>
                    <a:pt x="755" y="480"/>
                  </a:lnTo>
                  <a:lnTo>
                    <a:pt x="756" y="482"/>
                  </a:lnTo>
                  <a:lnTo>
                    <a:pt x="755" y="482"/>
                  </a:lnTo>
                  <a:lnTo>
                    <a:pt x="755" y="484"/>
                  </a:lnTo>
                  <a:lnTo>
                    <a:pt x="753" y="484"/>
                  </a:lnTo>
                  <a:lnTo>
                    <a:pt x="753" y="485"/>
                  </a:lnTo>
                  <a:lnTo>
                    <a:pt x="751" y="485"/>
                  </a:lnTo>
                  <a:lnTo>
                    <a:pt x="750" y="485"/>
                  </a:lnTo>
                  <a:lnTo>
                    <a:pt x="748" y="485"/>
                  </a:lnTo>
                  <a:lnTo>
                    <a:pt x="747" y="485"/>
                  </a:lnTo>
                  <a:lnTo>
                    <a:pt x="745" y="485"/>
                  </a:lnTo>
                  <a:lnTo>
                    <a:pt x="742" y="487"/>
                  </a:lnTo>
                  <a:lnTo>
                    <a:pt x="737" y="487"/>
                  </a:lnTo>
                  <a:lnTo>
                    <a:pt x="735" y="487"/>
                  </a:lnTo>
                  <a:lnTo>
                    <a:pt x="734" y="487"/>
                  </a:lnTo>
                  <a:lnTo>
                    <a:pt x="732" y="488"/>
                  </a:lnTo>
                  <a:lnTo>
                    <a:pt x="730" y="490"/>
                  </a:lnTo>
                  <a:lnTo>
                    <a:pt x="729" y="490"/>
                  </a:lnTo>
                  <a:lnTo>
                    <a:pt x="727" y="488"/>
                  </a:lnTo>
                  <a:lnTo>
                    <a:pt x="727" y="487"/>
                  </a:lnTo>
                  <a:lnTo>
                    <a:pt x="725" y="487"/>
                  </a:lnTo>
                  <a:lnTo>
                    <a:pt x="724" y="487"/>
                  </a:lnTo>
                  <a:lnTo>
                    <a:pt x="724" y="488"/>
                  </a:lnTo>
                  <a:lnTo>
                    <a:pt x="722" y="488"/>
                  </a:lnTo>
                  <a:lnTo>
                    <a:pt x="721" y="490"/>
                  </a:lnTo>
                  <a:lnTo>
                    <a:pt x="722" y="492"/>
                  </a:lnTo>
                  <a:lnTo>
                    <a:pt x="721" y="493"/>
                  </a:lnTo>
                  <a:lnTo>
                    <a:pt x="717" y="495"/>
                  </a:lnTo>
                  <a:lnTo>
                    <a:pt x="717" y="497"/>
                  </a:lnTo>
                  <a:lnTo>
                    <a:pt x="717" y="498"/>
                  </a:lnTo>
                  <a:lnTo>
                    <a:pt x="717" y="500"/>
                  </a:lnTo>
                  <a:lnTo>
                    <a:pt x="717" y="503"/>
                  </a:lnTo>
                  <a:lnTo>
                    <a:pt x="714" y="506"/>
                  </a:lnTo>
                  <a:lnTo>
                    <a:pt x="711" y="505"/>
                  </a:lnTo>
                  <a:lnTo>
                    <a:pt x="709" y="503"/>
                  </a:lnTo>
                  <a:lnTo>
                    <a:pt x="708" y="503"/>
                  </a:lnTo>
                  <a:lnTo>
                    <a:pt x="706" y="503"/>
                  </a:lnTo>
                  <a:lnTo>
                    <a:pt x="704" y="503"/>
                  </a:lnTo>
                  <a:lnTo>
                    <a:pt x="703" y="503"/>
                  </a:lnTo>
                  <a:lnTo>
                    <a:pt x="703" y="501"/>
                  </a:lnTo>
                  <a:lnTo>
                    <a:pt x="703" y="500"/>
                  </a:lnTo>
                  <a:lnTo>
                    <a:pt x="701" y="500"/>
                  </a:lnTo>
                  <a:lnTo>
                    <a:pt x="699" y="501"/>
                  </a:lnTo>
                  <a:lnTo>
                    <a:pt x="699" y="503"/>
                  </a:lnTo>
                  <a:lnTo>
                    <a:pt x="696" y="503"/>
                  </a:lnTo>
                  <a:lnTo>
                    <a:pt x="694" y="505"/>
                  </a:lnTo>
                  <a:lnTo>
                    <a:pt x="693" y="505"/>
                  </a:lnTo>
                  <a:lnTo>
                    <a:pt x="693" y="506"/>
                  </a:lnTo>
                  <a:lnTo>
                    <a:pt x="690" y="508"/>
                  </a:lnTo>
                  <a:lnTo>
                    <a:pt x="688" y="508"/>
                  </a:lnTo>
                  <a:lnTo>
                    <a:pt x="686" y="508"/>
                  </a:lnTo>
                  <a:lnTo>
                    <a:pt x="686" y="510"/>
                  </a:lnTo>
                  <a:lnTo>
                    <a:pt x="685" y="510"/>
                  </a:lnTo>
                  <a:lnTo>
                    <a:pt x="686" y="511"/>
                  </a:lnTo>
                  <a:lnTo>
                    <a:pt x="688" y="511"/>
                  </a:lnTo>
                  <a:lnTo>
                    <a:pt x="688" y="513"/>
                  </a:lnTo>
                  <a:lnTo>
                    <a:pt x="686" y="513"/>
                  </a:lnTo>
                  <a:lnTo>
                    <a:pt x="686" y="514"/>
                  </a:lnTo>
                  <a:lnTo>
                    <a:pt x="688" y="514"/>
                  </a:lnTo>
                  <a:lnTo>
                    <a:pt x="688" y="516"/>
                  </a:lnTo>
                  <a:lnTo>
                    <a:pt x="688" y="518"/>
                  </a:lnTo>
                  <a:lnTo>
                    <a:pt x="686" y="518"/>
                  </a:lnTo>
                  <a:lnTo>
                    <a:pt x="686" y="519"/>
                  </a:lnTo>
                  <a:lnTo>
                    <a:pt x="685" y="521"/>
                  </a:lnTo>
                  <a:lnTo>
                    <a:pt x="686" y="521"/>
                  </a:lnTo>
                  <a:lnTo>
                    <a:pt x="686" y="523"/>
                  </a:lnTo>
                  <a:lnTo>
                    <a:pt x="685" y="523"/>
                  </a:lnTo>
                  <a:lnTo>
                    <a:pt x="685" y="524"/>
                  </a:lnTo>
                  <a:lnTo>
                    <a:pt x="686" y="524"/>
                  </a:lnTo>
                  <a:lnTo>
                    <a:pt x="686" y="526"/>
                  </a:lnTo>
                  <a:lnTo>
                    <a:pt x="685" y="526"/>
                  </a:lnTo>
                  <a:lnTo>
                    <a:pt x="683" y="526"/>
                  </a:lnTo>
                  <a:lnTo>
                    <a:pt x="683" y="527"/>
                  </a:lnTo>
                  <a:lnTo>
                    <a:pt x="681" y="527"/>
                  </a:lnTo>
                  <a:lnTo>
                    <a:pt x="681" y="529"/>
                  </a:lnTo>
                  <a:lnTo>
                    <a:pt x="680" y="529"/>
                  </a:lnTo>
                  <a:lnTo>
                    <a:pt x="680" y="531"/>
                  </a:lnTo>
                  <a:lnTo>
                    <a:pt x="681" y="532"/>
                  </a:lnTo>
                  <a:lnTo>
                    <a:pt x="683" y="534"/>
                  </a:lnTo>
                  <a:lnTo>
                    <a:pt x="681" y="536"/>
                  </a:lnTo>
                  <a:lnTo>
                    <a:pt x="680" y="537"/>
                  </a:lnTo>
                  <a:lnTo>
                    <a:pt x="678" y="537"/>
                  </a:lnTo>
                  <a:lnTo>
                    <a:pt x="677" y="537"/>
                  </a:lnTo>
                  <a:lnTo>
                    <a:pt x="677" y="539"/>
                  </a:lnTo>
                  <a:lnTo>
                    <a:pt x="677" y="540"/>
                  </a:lnTo>
                  <a:lnTo>
                    <a:pt x="675" y="540"/>
                  </a:lnTo>
                  <a:lnTo>
                    <a:pt x="677" y="542"/>
                  </a:lnTo>
                  <a:lnTo>
                    <a:pt x="675" y="542"/>
                  </a:lnTo>
                  <a:lnTo>
                    <a:pt x="675" y="544"/>
                  </a:lnTo>
                  <a:lnTo>
                    <a:pt x="675" y="545"/>
                  </a:lnTo>
                  <a:lnTo>
                    <a:pt x="675" y="549"/>
                  </a:lnTo>
                  <a:lnTo>
                    <a:pt x="675" y="550"/>
                  </a:lnTo>
                  <a:lnTo>
                    <a:pt x="673" y="552"/>
                  </a:lnTo>
                  <a:lnTo>
                    <a:pt x="675" y="555"/>
                  </a:lnTo>
                  <a:lnTo>
                    <a:pt x="675" y="557"/>
                  </a:lnTo>
                  <a:lnTo>
                    <a:pt x="673" y="557"/>
                  </a:lnTo>
                  <a:lnTo>
                    <a:pt x="672" y="557"/>
                  </a:lnTo>
                  <a:lnTo>
                    <a:pt x="672" y="558"/>
                  </a:lnTo>
                  <a:lnTo>
                    <a:pt x="672" y="560"/>
                  </a:lnTo>
                  <a:lnTo>
                    <a:pt x="670" y="560"/>
                  </a:lnTo>
                  <a:lnTo>
                    <a:pt x="672" y="562"/>
                  </a:lnTo>
                  <a:lnTo>
                    <a:pt x="672" y="560"/>
                  </a:lnTo>
                  <a:lnTo>
                    <a:pt x="673" y="560"/>
                  </a:lnTo>
                  <a:lnTo>
                    <a:pt x="675" y="560"/>
                  </a:lnTo>
                  <a:lnTo>
                    <a:pt x="675" y="562"/>
                  </a:lnTo>
                  <a:lnTo>
                    <a:pt x="673" y="563"/>
                  </a:lnTo>
                  <a:lnTo>
                    <a:pt x="673" y="565"/>
                  </a:lnTo>
                  <a:lnTo>
                    <a:pt x="673" y="566"/>
                  </a:lnTo>
                  <a:lnTo>
                    <a:pt x="673" y="568"/>
                  </a:lnTo>
                  <a:lnTo>
                    <a:pt x="672" y="568"/>
                  </a:lnTo>
                  <a:lnTo>
                    <a:pt x="670" y="568"/>
                  </a:lnTo>
                  <a:lnTo>
                    <a:pt x="670" y="570"/>
                  </a:lnTo>
                  <a:lnTo>
                    <a:pt x="668" y="570"/>
                  </a:lnTo>
                  <a:lnTo>
                    <a:pt x="668" y="571"/>
                  </a:lnTo>
                  <a:lnTo>
                    <a:pt x="672" y="573"/>
                  </a:lnTo>
                  <a:lnTo>
                    <a:pt x="672" y="575"/>
                  </a:lnTo>
                  <a:lnTo>
                    <a:pt x="670" y="576"/>
                  </a:lnTo>
                  <a:lnTo>
                    <a:pt x="668" y="575"/>
                  </a:lnTo>
                  <a:lnTo>
                    <a:pt x="667" y="575"/>
                  </a:lnTo>
                  <a:lnTo>
                    <a:pt x="667" y="576"/>
                  </a:lnTo>
                  <a:lnTo>
                    <a:pt x="667" y="578"/>
                  </a:lnTo>
                  <a:lnTo>
                    <a:pt x="668" y="578"/>
                  </a:lnTo>
                  <a:lnTo>
                    <a:pt x="668" y="579"/>
                  </a:lnTo>
                  <a:lnTo>
                    <a:pt x="667" y="579"/>
                  </a:lnTo>
                  <a:lnTo>
                    <a:pt x="667" y="581"/>
                  </a:lnTo>
                  <a:lnTo>
                    <a:pt x="667" y="583"/>
                  </a:lnTo>
                  <a:lnTo>
                    <a:pt x="668" y="583"/>
                  </a:lnTo>
                  <a:lnTo>
                    <a:pt x="670" y="583"/>
                  </a:lnTo>
                  <a:lnTo>
                    <a:pt x="672" y="583"/>
                  </a:lnTo>
                  <a:lnTo>
                    <a:pt x="672" y="584"/>
                  </a:lnTo>
                  <a:lnTo>
                    <a:pt x="670" y="584"/>
                  </a:lnTo>
                  <a:lnTo>
                    <a:pt x="668" y="584"/>
                  </a:lnTo>
                  <a:lnTo>
                    <a:pt x="668" y="586"/>
                  </a:lnTo>
                  <a:lnTo>
                    <a:pt x="670" y="586"/>
                  </a:lnTo>
                  <a:lnTo>
                    <a:pt x="670" y="588"/>
                  </a:lnTo>
                  <a:lnTo>
                    <a:pt x="672" y="588"/>
                  </a:lnTo>
                  <a:lnTo>
                    <a:pt x="673" y="588"/>
                  </a:lnTo>
                  <a:lnTo>
                    <a:pt x="673" y="589"/>
                  </a:lnTo>
                  <a:lnTo>
                    <a:pt x="672" y="589"/>
                  </a:lnTo>
                  <a:lnTo>
                    <a:pt x="672" y="591"/>
                  </a:lnTo>
                  <a:lnTo>
                    <a:pt x="673" y="592"/>
                  </a:lnTo>
                  <a:lnTo>
                    <a:pt x="675" y="592"/>
                  </a:lnTo>
                  <a:lnTo>
                    <a:pt x="675" y="591"/>
                  </a:lnTo>
                  <a:lnTo>
                    <a:pt x="677" y="591"/>
                  </a:lnTo>
                  <a:lnTo>
                    <a:pt x="677" y="592"/>
                  </a:lnTo>
                  <a:lnTo>
                    <a:pt x="678" y="592"/>
                  </a:lnTo>
                  <a:lnTo>
                    <a:pt x="677" y="592"/>
                  </a:lnTo>
                  <a:lnTo>
                    <a:pt x="677" y="596"/>
                  </a:lnTo>
                  <a:lnTo>
                    <a:pt x="678" y="597"/>
                  </a:lnTo>
                  <a:lnTo>
                    <a:pt x="680" y="597"/>
                  </a:lnTo>
                  <a:lnTo>
                    <a:pt x="680" y="599"/>
                  </a:lnTo>
                  <a:lnTo>
                    <a:pt x="680" y="601"/>
                  </a:lnTo>
                  <a:lnTo>
                    <a:pt x="681" y="601"/>
                  </a:lnTo>
                  <a:lnTo>
                    <a:pt x="683" y="602"/>
                  </a:lnTo>
                  <a:lnTo>
                    <a:pt x="681" y="602"/>
                  </a:lnTo>
                  <a:lnTo>
                    <a:pt x="681" y="604"/>
                  </a:lnTo>
                  <a:lnTo>
                    <a:pt x="680" y="606"/>
                  </a:lnTo>
                  <a:lnTo>
                    <a:pt x="681" y="606"/>
                  </a:lnTo>
                  <a:lnTo>
                    <a:pt x="681" y="607"/>
                  </a:lnTo>
                  <a:lnTo>
                    <a:pt x="681" y="609"/>
                  </a:lnTo>
                  <a:lnTo>
                    <a:pt x="683" y="609"/>
                  </a:lnTo>
                  <a:lnTo>
                    <a:pt x="685" y="607"/>
                  </a:lnTo>
                  <a:lnTo>
                    <a:pt x="686" y="609"/>
                  </a:lnTo>
                  <a:lnTo>
                    <a:pt x="688" y="612"/>
                  </a:lnTo>
                  <a:lnTo>
                    <a:pt x="690" y="614"/>
                  </a:lnTo>
                  <a:lnTo>
                    <a:pt x="690" y="615"/>
                  </a:lnTo>
                  <a:lnTo>
                    <a:pt x="688" y="615"/>
                  </a:lnTo>
                  <a:lnTo>
                    <a:pt x="690" y="615"/>
                  </a:lnTo>
                  <a:lnTo>
                    <a:pt x="690" y="617"/>
                  </a:lnTo>
                  <a:lnTo>
                    <a:pt x="691" y="617"/>
                  </a:lnTo>
                  <a:lnTo>
                    <a:pt x="691" y="619"/>
                  </a:lnTo>
                  <a:lnTo>
                    <a:pt x="691" y="620"/>
                  </a:lnTo>
                  <a:lnTo>
                    <a:pt x="690" y="620"/>
                  </a:lnTo>
                  <a:lnTo>
                    <a:pt x="688" y="620"/>
                  </a:lnTo>
                  <a:lnTo>
                    <a:pt x="688" y="622"/>
                  </a:lnTo>
                  <a:lnTo>
                    <a:pt x="691" y="623"/>
                  </a:lnTo>
                  <a:lnTo>
                    <a:pt x="690" y="625"/>
                  </a:lnTo>
                  <a:lnTo>
                    <a:pt x="690" y="627"/>
                  </a:lnTo>
                  <a:lnTo>
                    <a:pt x="690" y="628"/>
                  </a:lnTo>
                  <a:lnTo>
                    <a:pt x="688" y="628"/>
                  </a:lnTo>
                  <a:lnTo>
                    <a:pt x="688" y="630"/>
                  </a:lnTo>
                  <a:lnTo>
                    <a:pt x="686" y="630"/>
                  </a:lnTo>
                  <a:lnTo>
                    <a:pt x="686" y="632"/>
                  </a:lnTo>
                  <a:lnTo>
                    <a:pt x="685" y="632"/>
                  </a:lnTo>
                  <a:lnTo>
                    <a:pt x="683" y="632"/>
                  </a:lnTo>
                  <a:lnTo>
                    <a:pt x="681" y="630"/>
                  </a:lnTo>
                  <a:lnTo>
                    <a:pt x="680" y="630"/>
                  </a:lnTo>
                  <a:lnTo>
                    <a:pt x="678" y="632"/>
                  </a:lnTo>
                  <a:lnTo>
                    <a:pt x="677" y="632"/>
                  </a:lnTo>
                  <a:lnTo>
                    <a:pt x="677" y="630"/>
                  </a:lnTo>
                  <a:lnTo>
                    <a:pt x="677" y="628"/>
                  </a:lnTo>
                  <a:lnTo>
                    <a:pt x="675" y="628"/>
                  </a:lnTo>
                  <a:lnTo>
                    <a:pt x="673" y="628"/>
                  </a:lnTo>
                  <a:lnTo>
                    <a:pt x="672" y="628"/>
                  </a:lnTo>
                  <a:lnTo>
                    <a:pt x="668" y="627"/>
                  </a:lnTo>
                  <a:lnTo>
                    <a:pt x="665" y="625"/>
                  </a:lnTo>
                  <a:lnTo>
                    <a:pt x="664" y="623"/>
                  </a:lnTo>
                  <a:lnTo>
                    <a:pt x="665" y="620"/>
                  </a:lnTo>
                  <a:lnTo>
                    <a:pt x="664" y="619"/>
                  </a:lnTo>
                  <a:lnTo>
                    <a:pt x="662" y="615"/>
                  </a:lnTo>
                  <a:lnTo>
                    <a:pt x="660" y="614"/>
                  </a:lnTo>
                  <a:lnTo>
                    <a:pt x="659" y="614"/>
                  </a:lnTo>
                  <a:lnTo>
                    <a:pt x="657" y="612"/>
                  </a:lnTo>
                  <a:lnTo>
                    <a:pt x="655" y="610"/>
                  </a:lnTo>
                  <a:lnTo>
                    <a:pt x="654" y="610"/>
                  </a:lnTo>
                  <a:lnTo>
                    <a:pt x="651" y="609"/>
                  </a:lnTo>
                  <a:lnTo>
                    <a:pt x="649" y="607"/>
                  </a:lnTo>
                  <a:lnTo>
                    <a:pt x="647" y="609"/>
                  </a:lnTo>
                  <a:lnTo>
                    <a:pt x="644" y="606"/>
                  </a:lnTo>
                  <a:lnTo>
                    <a:pt x="644" y="607"/>
                  </a:lnTo>
                  <a:lnTo>
                    <a:pt x="642" y="607"/>
                  </a:lnTo>
                  <a:lnTo>
                    <a:pt x="644" y="609"/>
                  </a:lnTo>
                  <a:lnTo>
                    <a:pt x="642" y="609"/>
                  </a:lnTo>
                  <a:lnTo>
                    <a:pt x="641" y="609"/>
                  </a:lnTo>
                  <a:lnTo>
                    <a:pt x="639" y="609"/>
                  </a:lnTo>
                  <a:lnTo>
                    <a:pt x="641" y="610"/>
                  </a:lnTo>
                  <a:lnTo>
                    <a:pt x="636" y="610"/>
                  </a:lnTo>
                  <a:lnTo>
                    <a:pt x="633" y="610"/>
                  </a:lnTo>
                  <a:lnTo>
                    <a:pt x="631" y="610"/>
                  </a:lnTo>
                  <a:lnTo>
                    <a:pt x="631" y="612"/>
                  </a:lnTo>
                  <a:lnTo>
                    <a:pt x="631" y="614"/>
                  </a:lnTo>
                  <a:lnTo>
                    <a:pt x="629" y="614"/>
                  </a:lnTo>
                  <a:lnTo>
                    <a:pt x="628" y="615"/>
                  </a:lnTo>
                  <a:lnTo>
                    <a:pt x="628" y="617"/>
                  </a:lnTo>
                  <a:lnTo>
                    <a:pt x="626" y="617"/>
                  </a:lnTo>
                  <a:lnTo>
                    <a:pt x="625" y="615"/>
                  </a:lnTo>
                  <a:lnTo>
                    <a:pt x="623" y="615"/>
                  </a:lnTo>
                  <a:lnTo>
                    <a:pt x="621" y="617"/>
                  </a:lnTo>
                  <a:lnTo>
                    <a:pt x="620" y="617"/>
                  </a:lnTo>
                  <a:lnTo>
                    <a:pt x="620" y="619"/>
                  </a:lnTo>
                  <a:lnTo>
                    <a:pt x="621" y="619"/>
                  </a:lnTo>
                  <a:lnTo>
                    <a:pt x="620" y="620"/>
                  </a:lnTo>
                  <a:lnTo>
                    <a:pt x="620" y="622"/>
                  </a:lnTo>
                  <a:lnTo>
                    <a:pt x="618" y="622"/>
                  </a:lnTo>
                  <a:lnTo>
                    <a:pt x="616" y="622"/>
                  </a:lnTo>
                  <a:lnTo>
                    <a:pt x="615" y="623"/>
                  </a:lnTo>
                  <a:lnTo>
                    <a:pt x="615" y="622"/>
                  </a:lnTo>
                  <a:lnTo>
                    <a:pt x="613" y="622"/>
                  </a:lnTo>
                  <a:lnTo>
                    <a:pt x="613" y="623"/>
                  </a:lnTo>
                  <a:lnTo>
                    <a:pt x="613" y="625"/>
                  </a:lnTo>
                  <a:lnTo>
                    <a:pt x="612" y="625"/>
                  </a:lnTo>
                  <a:lnTo>
                    <a:pt x="608" y="625"/>
                  </a:lnTo>
                  <a:lnTo>
                    <a:pt x="608" y="623"/>
                  </a:lnTo>
                  <a:lnTo>
                    <a:pt x="607" y="620"/>
                  </a:lnTo>
                  <a:lnTo>
                    <a:pt x="607" y="619"/>
                  </a:lnTo>
                  <a:lnTo>
                    <a:pt x="607" y="617"/>
                  </a:lnTo>
                  <a:lnTo>
                    <a:pt x="607" y="615"/>
                  </a:lnTo>
                  <a:lnTo>
                    <a:pt x="605" y="615"/>
                  </a:lnTo>
                  <a:lnTo>
                    <a:pt x="605" y="614"/>
                  </a:lnTo>
                  <a:lnTo>
                    <a:pt x="603" y="615"/>
                  </a:lnTo>
                  <a:lnTo>
                    <a:pt x="603" y="617"/>
                  </a:lnTo>
                  <a:lnTo>
                    <a:pt x="600" y="619"/>
                  </a:lnTo>
                  <a:lnTo>
                    <a:pt x="600" y="620"/>
                  </a:lnTo>
                  <a:lnTo>
                    <a:pt x="599" y="620"/>
                  </a:lnTo>
                  <a:lnTo>
                    <a:pt x="597" y="620"/>
                  </a:lnTo>
                  <a:lnTo>
                    <a:pt x="597" y="622"/>
                  </a:lnTo>
                  <a:lnTo>
                    <a:pt x="595" y="622"/>
                  </a:lnTo>
                  <a:lnTo>
                    <a:pt x="595" y="625"/>
                  </a:lnTo>
                  <a:lnTo>
                    <a:pt x="595" y="627"/>
                  </a:lnTo>
                  <a:lnTo>
                    <a:pt x="594" y="627"/>
                  </a:lnTo>
                  <a:lnTo>
                    <a:pt x="590" y="627"/>
                  </a:lnTo>
                  <a:lnTo>
                    <a:pt x="590" y="628"/>
                  </a:lnTo>
                  <a:lnTo>
                    <a:pt x="589" y="630"/>
                  </a:lnTo>
                  <a:lnTo>
                    <a:pt x="589" y="632"/>
                  </a:lnTo>
                  <a:lnTo>
                    <a:pt x="590" y="633"/>
                  </a:lnTo>
                  <a:lnTo>
                    <a:pt x="590" y="635"/>
                  </a:lnTo>
                  <a:lnTo>
                    <a:pt x="590" y="636"/>
                  </a:lnTo>
                  <a:lnTo>
                    <a:pt x="590" y="638"/>
                  </a:lnTo>
                  <a:lnTo>
                    <a:pt x="589" y="638"/>
                  </a:lnTo>
                  <a:lnTo>
                    <a:pt x="586" y="638"/>
                  </a:lnTo>
                  <a:lnTo>
                    <a:pt x="584" y="638"/>
                  </a:lnTo>
                  <a:lnTo>
                    <a:pt x="582" y="638"/>
                  </a:lnTo>
                  <a:lnTo>
                    <a:pt x="581" y="638"/>
                  </a:lnTo>
                  <a:lnTo>
                    <a:pt x="579" y="640"/>
                  </a:lnTo>
                  <a:lnTo>
                    <a:pt x="579" y="641"/>
                  </a:lnTo>
                  <a:lnTo>
                    <a:pt x="579" y="643"/>
                  </a:lnTo>
                  <a:lnTo>
                    <a:pt x="577" y="645"/>
                  </a:lnTo>
                  <a:lnTo>
                    <a:pt x="576" y="645"/>
                  </a:lnTo>
                  <a:lnTo>
                    <a:pt x="574" y="645"/>
                  </a:lnTo>
                  <a:lnTo>
                    <a:pt x="574" y="643"/>
                  </a:lnTo>
                  <a:lnTo>
                    <a:pt x="574" y="641"/>
                  </a:lnTo>
                  <a:lnTo>
                    <a:pt x="574" y="640"/>
                  </a:lnTo>
                  <a:lnTo>
                    <a:pt x="573" y="640"/>
                  </a:lnTo>
                  <a:lnTo>
                    <a:pt x="573" y="638"/>
                  </a:lnTo>
                  <a:lnTo>
                    <a:pt x="571" y="635"/>
                  </a:lnTo>
                  <a:lnTo>
                    <a:pt x="569" y="635"/>
                  </a:lnTo>
                  <a:lnTo>
                    <a:pt x="568" y="635"/>
                  </a:lnTo>
                  <a:lnTo>
                    <a:pt x="566" y="633"/>
                  </a:lnTo>
                  <a:lnTo>
                    <a:pt x="566" y="632"/>
                  </a:lnTo>
                  <a:lnTo>
                    <a:pt x="564" y="630"/>
                  </a:lnTo>
                  <a:lnTo>
                    <a:pt x="564" y="628"/>
                  </a:lnTo>
                  <a:lnTo>
                    <a:pt x="564" y="625"/>
                  </a:lnTo>
                  <a:lnTo>
                    <a:pt x="563" y="622"/>
                  </a:lnTo>
                  <a:lnTo>
                    <a:pt x="563" y="620"/>
                  </a:lnTo>
                  <a:lnTo>
                    <a:pt x="561" y="620"/>
                  </a:lnTo>
                  <a:lnTo>
                    <a:pt x="560" y="622"/>
                  </a:lnTo>
                  <a:lnTo>
                    <a:pt x="558" y="620"/>
                  </a:lnTo>
                  <a:lnTo>
                    <a:pt x="558" y="619"/>
                  </a:lnTo>
                  <a:lnTo>
                    <a:pt x="556" y="617"/>
                  </a:lnTo>
                  <a:lnTo>
                    <a:pt x="555" y="615"/>
                  </a:lnTo>
                  <a:lnTo>
                    <a:pt x="553" y="615"/>
                  </a:lnTo>
                  <a:lnTo>
                    <a:pt x="551" y="614"/>
                  </a:lnTo>
                  <a:lnTo>
                    <a:pt x="553" y="612"/>
                  </a:lnTo>
                  <a:lnTo>
                    <a:pt x="551" y="610"/>
                  </a:lnTo>
                  <a:lnTo>
                    <a:pt x="551" y="612"/>
                  </a:lnTo>
                  <a:lnTo>
                    <a:pt x="551" y="610"/>
                  </a:lnTo>
                  <a:lnTo>
                    <a:pt x="551" y="612"/>
                  </a:lnTo>
                  <a:lnTo>
                    <a:pt x="550" y="612"/>
                  </a:lnTo>
                  <a:lnTo>
                    <a:pt x="548" y="612"/>
                  </a:lnTo>
                  <a:lnTo>
                    <a:pt x="546" y="612"/>
                  </a:lnTo>
                  <a:lnTo>
                    <a:pt x="546" y="614"/>
                  </a:lnTo>
                  <a:lnTo>
                    <a:pt x="545" y="615"/>
                  </a:lnTo>
                  <a:lnTo>
                    <a:pt x="543" y="617"/>
                  </a:lnTo>
                  <a:lnTo>
                    <a:pt x="545" y="619"/>
                  </a:lnTo>
                  <a:lnTo>
                    <a:pt x="543" y="622"/>
                  </a:lnTo>
                  <a:lnTo>
                    <a:pt x="543" y="623"/>
                  </a:lnTo>
                  <a:lnTo>
                    <a:pt x="542" y="625"/>
                  </a:lnTo>
                  <a:lnTo>
                    <a:pt x="540" y="625"/>
                  </a:lnTo>
                  <a:lnTo>
                    <a:pt x="538" y="627"/>
                  </a:lnTo>
                  <a:lnTo>
                    <a:pt x="538" y="625"/>
                  </a:lnTo>
                  <a:lnTo>
                    <a:pt x="537" y="623"/>
                  </a:lnTo>
                  <a:lnTo>
                    <a:pt x="537" y="625"/>
                  </a:lnTo>
                  <a:lnTo>
                    <a:pt x="535" y="625"/>
                  </a:lnTo>
                  <a:lnTo>
                    <a:pt x="533" y="625"/>
                  </a:lnTo>
                  <a:lnTo>
                    <a:pt x="532" y="625"/>
                  </a:lnTo>
                  <a:lnTo>
                    <a:pt x="530" y="627"/>
                  </a:lnTo>
                  <a:lnTo>
                    <a:pt x="530" y="628"/>
                  </a:lnTo>
                  <a:lnTo>
                    <a:pt x="529" y="628"/>
                  </a:lnTo>
                  <a:lnTo>
                    <a:pt x="529" y="630"/>
                  </a:lnTo>
                  <a:lnTo>
                    <a:pt x="527" y="632"/>
                  </a:lnTo>
                  <a:lnTo>
                    <a:pt x="525" y="632"/>
                  </a:lnTo>
                  <a:lnTo>
                    <a:pt x="525" y="633"/>
                  </a:lnTo>
                  <a:lnTo>
                    <a:pt x="525" y="635"/>
                  </a:lnTo>
                  <a:lnTo>
                    <a:pt x="525" y="636"/>
                  </a:lnTo>
                  <a:lnTo>
                    <a:pt x="524" y="641"/>
                  </a:lnTo>
                  <a:lnTo>
                    <a:pt x="524" y="643"/>
                  </a:lnTo>
                  <a:lnTo>
                    <a:pt x="525" y="646"/>
                  </a:lnTo>
                  <a:lnTo>
                    <a:pt x="525" y="651"/>
                  </a:lnTo>
                  <a:lnTo>
                    <a:pt x="525" y="653"/>
                  </a:lnTo>
                  <a:lnTo>
                    <a:pt x="524" y="653"/>
                  </a:lnTo>
                  <a:lnTo>
                    <a:pt x="522" y="651"/>
                  </a:lnTo>
                  <a:lnTo>
                    <a:pt x="522" y="648"/>
                  </a:lnTo>
                  <a:lnTo>
                    <a:pt x="522" y="646"/>
                  </a:lnTo>
                  <a:lnTo>
                    <a:pt x="520" y="648"/>
                  </a:lnTo>
                  <a:lnTo>
                    <a:pt x="520" y="649"/>
                  </a:lnTo>
                  <a:lnTo>
                    <a:pt x="519" y="651"/>
                  </a:lnTo>
                  <a:lnTo>
                    <a:pt x="517" y="651"/>
                  </a:lnTo>
                  <a:lnTo>
                    <a:pt x="517" y="649"/>
                  </a:lnTo>
                  <a:lnTo>
                    <a:pt x="514" y="643"/>
                  </a:lnTo>
                  <a:lnTo>
                    <a:pt x="512" y="640"/>
                  </a:lnTo>
                  <a:lnTo>
                    <a:pt x="512" y="638"/>
                  </a:lnTo>
                  <a:lnTo>
                    <a:pt x="511" y="636"/>
                  </a:lnTo>
                  <a:lnTo>
                    <a:pt x="511" y="635"/>
                  </a:lnTo>
                  <a:lnTo>
                    <a:pt x="511" y="636"/>
                  </a:lnTo>
                  <a:lnTo>
                    <a:pt x="509" y="636"/>
                  </a:lnTo>
                  <a:lnTo>
                    <a:pt x="509" y="635"/>
                  </a:lnTo>
                  <a:lnTo>
                    <a:pt x="511" y="635"/>
                  </a:lnTo>
                  <a:lnTo>
                    <a:pt x="511" y="633"/>
                  </a:lnTo>
                  <a:lnTo>
                    <a:pt x="503" y="636"/>
                  </a:lnTo>
                  <a:lnTo>
                    <a:pt x="503" y="635"/>
                  </a:lnTo>
                  <a:lnTo>
                    <a:pt x="501" y="635"/>
                  </a:lnTo>
                  <a:lnTo>
                    <a:pt x="499" y="635"/>
                  </a:lnTo>
                  <a:lnTo>
                    <a:pt x="498" y="635"/>
                  </a:lnTo>
                  <a:lnTo>
                    <a:pt x="494" y="635"/>
                  </a:lnTo>
                  <a:lnTo>
                    <a:pt x="491" y="640"/>
                  </a:lnTo>
                  <a:lnTo>
                    <a:pt x="490" y="643"/>
                  </a:lnTo>
                  <a:lnTo>
                    <a:pt x="488" y="645"/>
                  </a:lnTo>
                  <a:lnTo>
                    <a:pt x="486" y="645"/>
                  </a:lnTo>
                  <a:lnTo>
                    <a:pt x="486" y="643"/>
                  </a:lnTo>
                  <a:lnTo>
                    <a:pt x="485" y="643"/>
                  </a:lnTo>
                  <a:lnTo>
                    <a:pt x="483" y="640"/>
                  </a:lnTo>
                  <a:lnTo>
                    <a:pt x="481" y="638"/>
                  </a:lnTo>
                  <a:lnTo>
                    <a:pt x="480" y="636"/>
                  </a:lnTo>
                  <a:lnTo>
                    <a:pt x="477" y="635"/>
                  </a:lnTo>
                  <a:lnTo>
                    <a:pt x="475" y="636"/>
                  </a:lnTo>
                  <a:lnTo>
                    <a:pt x="475" y="635"/>
                  </a:lnTo>
                  <a:lnTo>
                    <a:pt x="475" y="633"/>
                  </a:lnTo>
                  <a:lnTo>
                    <a:pt x="475" y="628"/>
                  </a:lnTo>
                  <a:lnTo>
                    <a:pt x="473" y="627"/>
                  </a:lnTo>
                  <a:lnTo>
                    <a:pt x="472" y="628"/>
                  </a:lnTo>
                  <a:lnTo>
                    <a:pt x="472" y="630"/>
                  </a:lnTo>
                  <a:lnTo>
                    <a:pt x="470" y="632"/>
                  </a:lnTo>
                  <a:lnTo>
                    <a:pt x="467" y="635"/>
                  </a:lnTo>
                  <a:lnTo>
                    <a:pt x="467" y="636"/>
                  </a:lnTo>
                  <a:lnTo>
                    <a:pt x="467" y="640"/>
                  </a:lnTo>
                  <a:lnTo>
                    <a:pt x="465" y="640"/>
                  </a:lnTo>
                  <a:lnTo>
                    <a:pt x="465" y="641"/>
                  </a:lnTo>
                  <a:lnTo>
                    <a:pt x="464" y="643"/>
                  </a:lnTo>
                  <a:lnTo>
                    <a:pt x="464" y="645"/>
                  </a:lnTo>
                  <a:lnTo>
                    <a:pt x="462" y="646"/>
                  </a:lnTo>
                  <a:lnTo>
                    <a:pt x="460" y="646"/>
                  </a:lnTo>
                  <a:lnTo>
                    <a:pt x="460" y="648"/>
                  </a:lnTo>
                  <a:lnTo>
                    <a:pt x="459" y="648"/>
                  </a:lnTo>
                  <a:lnTo>
                    <a:pt x="451" y="651"/>
                  </a:lnTo>
                  <a:lnTo>
                    <a:pt x="449" y="651"/>
                  </a:lnTo>
                  <a:lnTo>
                    <a:pt x="451" y="649"/>
                  </a:lnTo>
                  <a:lnTo>
                    <a:pt x="452" y="646"/>
                  </a:lnTo>
                  <a:lnTo>
                    <a:pt x="451" y="646"/>
                  </a:lnTo>
                  <a:lnTo>
                    <a:pt x="449" y="648"/>
                  </a:lnTo>
                  <a:lnTo>
                    <a:pt x="449" y="649"/>
                  </a:lnTo>
                  <a:lnTo>
                    <a:pt x="447" y="649"/>
                  </a:lnTo>
                  <a:lnTo>
                    <a:pt x="447" y="648"/>
                  </a:lnTo>
                  <a:lnTo>
                    <a:pt x="447" y="646"/>
                  </a:lnTo>
                  <a:lnTo>
                    <a:pt x="447" y="645"/>
                  </a:lnTo>
                  <a:lnTo>
                    <a:pt x="446" y="645"/>
                  </a:lnTo>
                  <a:lnTo>
                    <a:pt x="444" y="645"/>
                  </a:lnTo>
                  <a:lnTo>
                    <a:pt x="442" y="643"/>
                  </a:lnTo>
                  <a:lnTo>
                    <a:pt x="441" y="643"/>
                  </a:lnTo>
                  <a:lnTo>
                    <a:pt x="439" y="643"/>
                  </a:lnTo>
                  <a:lnTo>
                    <a:pt x="439" y="645"/>
                  </a:lnTo>
                  <a:lnTo>
                    <a:pt x="438" y="646"/>
                  </a:lnTo>
                  <a:lnTo>
                    <a:pt x="439" y="646"/>
                  </a:lnTo>
                  <a:lnTo>
                    <a:pt x="439" y="649"/>
                  </a:lnTo>
                  <a:lnTo>
                    <a:pt x="439" y="651"/>
                  </a:lnTo>
                  <a:lnTo>
                    <a:pt x="441" y="651"/>
                  </a:lnTo>
                  <a:lnTo>
                    <a:pt x="439" y="653"/>
                  </a:lnTo>
                  <a:lnTo>
                    <a:pt x="441" y="654"/>
                  </a:lnTo>
                  <a:lnTo>
                    <a:pt x="442" y="654"/>
                  </a:lnTo>
                  <a:lnTo>
                    <a:pt x="442" y="656"/>
                  </a:lnTo>
                  <a:lnTo>
                    <a:pt x="442" y="658"/>
                  </a:lnTo>
                  <a:lnTo>
                    <a:pt x="439" y="658"/>
                  </a:lnTo>
                  <a:lnTo>
                    <a:pt x="438" y="661"/>
                  </a:lnTo>
                  <a:lnTo>
                    <a:pt x="438" y="662"/>
                  </a:lnTo>
                  <a:lnTo>
                    <a:pt x="438" y="664"/>
                  </a:lnTo>
                  <a:lnTo>
                    <a:pt x="438" y="667"/>
                  </a:lnTo>
                  <a:lnTo>
                    <a:pt x="436" y="667"/>
                  </a:lnTo>
                  <a:lnTo>
                    <a:pt x="433" y="666"/>
                  </a:lnTo>
                  <a:lnTo>
                    <a:pt x="431" y="666"/>
                  </a:lnTo>
                  <a:lnTo>
                    <a:pt x="429" y="664"/>
                  </a:lnTo>
                  <a:lnTo>
                    <a:pt x="428" y="664"/>
                  </a:lnTo>
                  <a:lnTo>
                    <a:pt x="428" y="662"/>
                  </a:lnTo>
                  <a:lnTo>
                    <a:pt x="428" y="661"/>
                  </a:lnTo>
                  <a:lnTo>
                    <a:pt x="428" y="659"/>
                  </a:lnTo>
                  <a:lnTo>
                    <a:pt x="431" y="656"/>
                  </a:lnTo>
                  <a:lnTo>
                    <a:pt x="431" y="654"/>
                  </a:lnTo>
                  <a:lnTo>
                    <a:pt x="431" y="651"/>
                  </a:lnTo>
                  <a:lnTo>
                    <a:pt x="429" y="651"/>
                  </a:lnTo>
                  <a:lnTo>
                    <a:pt x="429" y="649"/>
                  </a:lnTo>
                  <a:lnTo>
                    <a:pt x="428" y="651"/>
                  </a:lnTo>
                  <a:lnTo>
                    <a:pt x="426" y="651"/>
                  </a:lnTo>
                  <a:lnTo>
                    <a:pt x="426" y="649"/>
                  </a:lnTo>
                  <a:lnTo>
                    <a:pt x="425" y="651"/>
                  </a:lnTo>
                  <a:lnTo>
                    <a:pt x="423" y="651"/>
                  </a:lnTo>
                  <a:lnTo>
                    <a:pt x="421" y="653"/>
                  </a:lnTo>
                  <a:lnTo>
                    <a:pt x="420" y="653"/>
                  </a:lnTo>
                  <a:lnTo>
                    <a:pt x="416" y="649"/>
                  </a:lnTo>
                  <a:lnTo>
                    <a:pt x="413" y="649"/>
                  </a:lnTo>
                  <a:lnTo>
                    <a:pt x="413" y="651"/>
                  </a:lnTo>
                  <a:lnTo>
                    <a:pt x="412" y="649"/>
                  </a:lnTo>
                  <a:lnTo>
                    <a:pt x="410" y="651"/>
                  </a:lnTo>
                  <a:lnTo>
                    <a:pt x="412" y="654"/>
                  </a:lnTo>
                  <a:lnTo>
                    <a:pt x="413" y="654"/>
                  </a:lnTo>
                  <a:lnTo>
                    <a:pt x="413" y="656"/>
                  </a:lnTo>
                  <a:lnTo>
                    <a:pt x="412" y="656"/>
                  </a:lnTo>
                  <a:lnTo>
                    <a:pt x="412" y="658"/>
                  </a:lnTo>
                  <a:lnTo>
                    <a:pt x="408" y="656"/>
                  </a:lnTo>
                  <a:lnTo>
                    <a:pt x="408" y="654"/>
                  </a:lnTo>
                  <a:lnTo>
                    <a:pt x="407" y="654"/>
                  </a:lnTo>
                  <a:lnTo>
                    <a:pt x="407" y="653"/>
                  </a:lnTo>
                  <a:lnTo>
                    <a:pt x="405" y="654"/>
                  </a:lnTo>
                  <a:lnTo>
                    <a:pt x="403" y="654"/>
                  </a:lnTo>
                  <a:lnTo>
                    <a:pt x="403" y="656"/>
                  </a:lnTo>
                  <a:lnTo>
                    <a:pt x="402" y="658"/>
                  </a:lnTo>
                  <a:lnTo>
                    <a:pt x="398" y="656"/>
                  </a:lnTo>
                  <a:lnTo>
                    <a:pt x="397" y="658"/>
                  </a:lnTo>
                  <a:lnTo>
                    <a:pt x="395" y="658"/>
                  </a:lnTo>
                  <a:lnTo>
                    <a:pt x="390" y="659"/>
                  </a:lnTo>
                  <a:lnTo>
                    <a:pt x="389" y="661"/>
                  </a:lnTo>
                  <a:lnTo>
                    <a:pt x="389" y="659"/>
                  </a:lnTo>
                  <a:lnTo>
                    <a:pt x="389" y="658"/>
                  </a:lnTo>
                  <a:lnTo>
                    <a:pt x="387" y="658"/>
                  </a:lnTo>
                  <a:lnTo>
                    <a:pt x="389" y="656"/>
                  </a:lnTo>
                  <a:lnTo>
                    <a:pt x="389" y="654"/>
                  </a:lnTo>
                  <a:lnTo>
                    <a:pt x="389" y="653"/>
                  </a:lnTo>
                  <a:lnTo>
                    <a:pt x="387" y="651"/>
                  </a:lnTo>
                  <a:lnTo>
                    <a:pt x="385" y="651"/>
                  </a:lnTo>
                  <a:lnTo>
                    <a:pt x="384" y="653"/>
                  </a:lnTo>
                  <a:lnTo>
                    <a:pt x="382" y="651"/>
                  </a:lnTo>
                  <a:lnTo>
                    <a:pt x="381" y="646"/>
                  </a:lnTo>
                  <a:lnTo>
                    <a:pt x="379" y="638"/>
                  </a:lnTo>
                  <a:lnTo>
                    <a:pt x="369" y="640"/>
                  </a:lnTo>
                  <a:lnTo>
                    <a:pt x="361" y="643"/>
                  </a:lnTo>
                  <a:lnTo>
                    <a:pt x="358" y="648"/>
                  </a:lnTo>
                  <a:lnTo>
                    <a:pt x="355" y="646"/>
                  </a:lnTo>
                  <a:lnTo>
                    <a:pt x="353" y="648"/>
                  </a:lnTo>
                  <a:lnTo>
                    <a:pt x="350" y="646"/>
                  </a:lnTo>
                  <a:lnTo>
                    <a:pt x="348" y="646"/>
                  </a:lnTo>
                  <a:lnTo>
                    <a:pt x="345" y="648"/>
                  </a:lnTo>
                  <a:lnTo>
                    <a:pt x="343" y="648"/>
                  </a:lnTo>
                  <a:lnTo>
                    <a:pt x="343" y="646"/>
                  </a:lnTo>
                  <a:lnTo>
                    <a:pt x="340" y="646"/>
                  </a:lnTo>
                  <a:lnTo>
                    <a:pt x="340" y="645"/>
                  </a:lnTo>
                  <a:lnTo>
                    <a:pt x="340" y="643"/>
                  </a:lnTo>
                  <a:lnTo>
                    <a:pt x="338" y="641"/>
                  </a:lnTo>
                  <a:lnTo>
                    <a:pt x="337" y="641"/>
                  </a:lnTo>
                  <a:lnTo>
                    <a:pt x="335" y="641"/>
                  </a:lnTo>
                  <a:lnTo>
                    <a:pt x="333" y="641"/>
                  </a:lnTo>
                  <a:lnTo>
                    <a:pt x="327" y="643"/>
                  </a:lnTo>
                  <a:lnTo>
                    <a:pt x="325" y="641"/>
                  </a:lnTo>
                  <a:lnTo>
                    <a:pt x="325" y="643"/>
                  </a:lnTo>
                  <a:lnTo>
                    <a:pt x="322" y="645"/>
                  </a:lnTo>
                  <a:lnTo>
                    <a:pt x="322" y="646"/>
                  </a:lnTo>
                  <a:lnTo>
                    <a:pt x="322" y="648"/>
                  </a:lnTo>
                  <a:lnTo>
                    <a:pt x="319" y="648"/>
                  </a:lnTo>
                  <a:lnTo>
                    <a:pt x="316" y="648"/>
                  </a:lnTo>
                  <a:lnTo>
                    <a:pt x="314" y="646"/>
                  </a:lnTo>
                  <a:lnTo>
                    <a:pt x="312" y="646"/>
                  </a:lnTo>
                  <a:lnTo>
                    <a:pt x="311" y="645"/>
                  </a:lnTo>
                  <a:lnTo>
                    <a:pt x="307" y="646"/>
                  </a:lnTo>
                  <a:lnTo>
                    <a:pt x="306" y="640"/>
                  </a:lnTo>
                  <a:lnTo>
                    <a:pt x="304" y="641"/>
                  </a:lnTo>
                  <a:lnTo>
                    <a:pt x="301" y="643"/>
                  </a:lnTo>
                  <a:lnTo>
                    <a:pt x="299" y="643"/>
                  </a:lnTo>
                  <a:lnTo>
                    <a:pt x="298" y="643"/>
                  </a:lnTo>
                  <a:lnTo>
                    <a:pt x="296" y="643"/>
                  </a:lnTo>
                  <a:lnTo>
                    <a:pt x="294" y="643"/>
                  </a:lnTo>
                  <a:lnTo>
                    <a:pt x="291" y="645"/>
                  </a:lnTo>
                  <a:lnTo>
                    <a:pt x="290" y="645"/>
                  </a:lnTo>
                  <a:lnTo>
                    <a:pt x="288" y="645"/>
                  </a:lnTo>
                  <a:lnTo>
                    <a:pt x="286" y="646"/>
                  </a:lnTo>
                  <a:lnTo>
                    <a:pt x="285" y="645"/>
                  </a:lnTo>
                  <a:lnTo>
                    <a:pt x="283" y="645"/>
                  </a:lnTo>
                  <a:lnTo>
                    <a:pt x="283" y="643"/>
                  </a:lnTo>
                  <a:lnTo>
                    <a:pt x="281" y="643"/>
                  </a:lnTo>
                  <a:lnTo>
                    <a:pt x="280" y="641"/>
                  </a:lnTo>
                  <a:lnTo>
                    <a:pt x="278" y="641"/>
                  </a:lnTo>
                  <a:lnTo>
                    <a:pt x="278" y="640"/>
                  </a:lnTo>
                  <a:lnTo>
                    <a:pt x="275" y="641"/>
                  </a:lnTo>
                  <a:lnTo>
                    <a:pt x="273" y="640"/>
                  </a:lnTo>
                  <a:lnTo>
                    <a:pt x="270" y="640"/>
                  </a:lnTo>
                  <a:lnTo>
                    <a:pt x="268" y="640"/>
                  </a:lnTo>
                  <a:lnTo>
                    <a:pt x="268" y="641"/>
                  </a:lnTo>
                  <a:lnTo>
                    <a:pt x="268" y="640"/>
                  </a:lnTo>
                  <a:lnTo>
                    <a:pt x="267" y="641"/>
                  </a:lnTo>
                  <a:lnTo>
                    <a:pt x="268" y="641"/>
                  </a:lnTo>
                  <a:lnTo>
                    <a:pt x="267" y="641"/>
                  </a:lnTo>
                  <a:lnTo>
                    <a:pt x="265" y="641"/>
                  </a:lnTo>
                  <a:lnTo>
                    <a:pt x="265" y="643"/>
                  </a:lnTo>
                  <a:lnTo>
                    <a:pt x="264" y="643"/>
                  </a:lnTo>
                  <a:lnTo>
                    <a:pt x="262" y="643"/>
                  </a:lnTo>
                  <a:lnTo>
                    <a:pt x="260" y="643"/>
                  </a:lnTo>
                  <a:lnTo>
                    <a:pt x="259" y="643"/>
                  </a:lnTo>
                  <a:lnTo>
                    <a:pt x="255" y="643"/>
                  </a:lnTo>
                  <a:lnTo>
                    <a:pt x="255" y="641"/>
                  </a:lnTo>
                  <a:lnTo>
                    <a:pt x="254" y="641"/>
                  </a:lnTo>
                  <a:lnTo>
                    <a:pt x="250" y="641"/>
                  </a:lnTo>
                  <a:lnTo>
                    <a:pt x="252" y="645"/>
                  </a:lnTo>
                  <a:lnTo>
                    <a:pt x="249" y="645"/>
                  </a:lnTo>
                  <a:lnTo>
                    <a:pt x="246" y="648"/>
                  </a:lnTo>
                  <a:lnTo>
                    <a:pt x="242" y="648"/>
                  </a:lnTo>
                  <a:lnTo>
                    <a:pt x="236" y="648"/>
                  </a:lnTo>
                  <a:lnTo>
                    <a:pt x="234" y="648"/>
                  </a:lnTo>
                  <a:lnTo>
                    <a:pt x="231" y="648"/>
                  </a:lnTo>
                  <a:lnTo>
                    <a:pt x="229" y="648"/>
                  </a:lnTo>
                  <a:lnTo>
                    <a:pt x="229" y="649"/>
                  </a:lnTo>
                  <a:lnTo>
                    <a:pt x="226" y="649"/>
                  </a:lnTo>
                  <a:lnTo>
                    <a:pt x="226" y="651"/>
                  </a:lnTo>
                  <a:lnTo>
                    <a:pt x="224" y="651"/>
                  </a:lnTo>
                  <a:lnTo>
                    <a:pt x="218" y="653"/>
                  </a:lnTo>
                  <a:lnTo>
                    <a:pt x="216" y="651"/>
                  </a:lnTo>
                  <a:lnTo>
                    <a:pt x="215" y="651"/>
                  </a:lnTo>
                  <a:lnTo>
                    <a:pt x="213" y="651"/>
                  </a:lnTo>
                  <a:lnTo>
                    <a:pt x="211" y="651"/>
                  </a:lnTo>
                  <a:lnTo>
                    <a:pt x="210" y="649"/>
                  </a:lnTo>
                  <a:lnTo>
                    <a:pt x="208" y="649"/>
                  </a:lnTo>
                  <a:lnTo>
                    <a:pt x="207" y="648"/>
                  </a:lnTo>
                  <a:lnTo>
                    <a:pt x="205" y="648"/>
                  </a:lnTo>
                  <a:lnTo>
                    <a:pt x="205" y="649"/>
                  </a:lnTo>
                  <a:lnTo>
                    <a:pt x="203" y="649"/>
                  </a:lnTo>
                  <a:lnTo>
                    <a:pt x="202" y="649"/>
                  </a:lnTo>
                  <a:lnTo>
                    <a:pt x="200" y="649"/>
                  </a:lnTo>
                  <a:lnTo>
                    <a:pt x="198" y="649"/>
                  </a:lnTo>
                  <a:lnTo>
                    <a:pt x="195" y="651"/>
                  </a:lnTo>
                  <a:lnTo>
                    <a:pt x="195" y="653"/>
                  </a:lnTo>
                  <a:lnTo>
                    <a:pt x="194" y="653"/>
                  </a:lnTo>
                  <a:lnTo>
                    <a:pt x="192" y="653"/>
                  </a:lnTo>
                  <a:lnTo>
                    <a:pt x="190" y="654"/>
                  </a:lnTo>
                  <a:lnTo>
                    <a:pt x="190" y="656"/>
                  </a:lnTo>
                  <a:lnTo>
                    <a:pt x="189" y="656"/>
                  </a:lnTo>
                  <a:lnTo>
                    <a:pt x="185" y="659"/>
                  </a:lnTo>
                  <a:lnTo>
                    <a:pt x="184" y="661"/>
                  </a:lnTo>
                  <a:lnTo>
                    <a:pt x="182" y="661"/>
                  </a:lnTo>
                  <a:lnTo>
                    <a:pt x="182" y="659"/>
                  </a:lnTo>
                  <a:lnTo>
                    <a:pt x="182" y="661"/>
                  </a:lnTo>
                  <a:lnTo>
                    <a:pt x="182" y="662"/>
                  </a:lnTo>
                  <a:lnTo>
                    <a:pt x="182" y="664"/>
                  </a:lnTo>
                  <a:lnTo>
                    <a:pt x="181" y="664"/>
                  </a:lnTo>
                  <a:lnTo>
                    <a:pt x="179" y="664"/>
                  </a:lnTo>
                  <a:lnTo>
                    <a:pt x="177" y="662"/>
                  </a:lnTo>
                  <a:lnTo>
                    <a:pt x="172" y="666"/>
                  </a:lnTo>
                  <a:lnTo>
                    <a:pt x="171" y="664"/>
                  </a:lnTo>
                  <a:lnTo>
                    <a:pt x="169" y="664"/>
                  </a:lnTo>
                  <a:lnTo>
                    <a:pt x="168" y="666"/>
                  </a:lnTo>
                  <a:lnTo>
                    <a:pt x="168" y="667"/>
                  </a:lnTo>
                  <a:lnTo>
                    <a:pt x="166" y="669"/>
                  </a:lnTo>
                  <a:lnTo>
                    <a:pt x="164" y="669"/>
                  </a:lnTo>
                  <a:lnTo>
                    <a:pt x="161" y="669"/>
                  </a:lnTo>
                  <a:lnTo>
                    <a:pt x="158" y="669"/>
                  </a:lnTo>
                  <a:lnTo>
                    <a:pt x="156" y="669"/>
                  </a:lnTo>
                  <a:lnTo>
                    <a:pt x="155" y="669"/>
                  </a:lnTo>
                  <a:lnTo>
                    <a:pt x="153" y="669"/>
                  </a:lnTo>
                  <a:lnTo>
                    <a:pt x="150" y="669"/>
                  </a:lnTo>
                  <a:lnTo>
                    <a:pt x="148" y="671"/>
                  </a:lnTo>
                  <a:lnTo>
                    <a:pt x="148" y="672"/>
                  </a:lnTo>
                  <a:lnTo>
                    <a:pt x="146" y="672"/>
                  </a:lnTo>
                  <a:lnTo>
                    <a:pt x="145" y="672"/>
                  </a:lnTo>
                  <a:lnTo>
                    <a:pt x="143" y="672"/>
                  </a:lnTo>
                  <a:lnTo>
                    <a:pt x="140" y="674"/>
                  </a:lnTo>
                  <a:lnTo>
                    <a:pt x="132" y="675"/>
                  </a:lnTo>
                  <a:lnTo>
                    <a:pt x="132" y="677"/>
                  </a:lnTo>
                  <a:lnTo>
                    <a:pt x="130" y="677"/>
                  </a:lnTo>
                  <a:lnTo>
                    <a:pt x="129" y="679"/>
                  </a:lnTo>
                  <a:lnTo>
                    <a:pt x="129" y="680"/>
                  </a:lnTo>
                  <a:lnTo>
                    <a:pt x="129" y="682"/>
                  </a:lnTo>
                  <a:lnTo>
                    <a:pt x="127" y="687"/>
                  </a:lnTo>
                  <a:lnTo>
                    <a:pt x="127" y="688"/>
                  </a:lnTo>
                  <a:lnTo>
                    <a:pt x="127" y="690"/>
                  </a:lnTo>
                  <a:lnTo>
                    <a:pt x="130" y="695"/>
                  </a:lnTo>
                  <a:lnTo>
                    <a:pt x="130" y="697"/>
                  </a:lnTo>
                  <a:lnTo>
                    <a:pt x="127" y="701"/>
                  </a:lnTo>
                  <a:lnTo>
                    <a:pt x="116" y="711"/>
                  </a:lnTo>
                  <a:lnTo>
                    <a:pt x="114" y="714"/>
                  </a:lnTo>
                  <a:lnTo>
                    <a:pt x="114" y="716"/>
                  </a:lnTo>
                  <a:lnTo>
                    <a:pt x="112" y="718"/>
                  </a:lnTo>
                  <a:lnTo>
                    <a:pt x="112" y="719"/>
                  </a:lnTo>
                  <a:lnTo>
                    <a:pt x="109" y="721"/>
                  </a:lnTo>
                  <a:lnTo>
                    <a:pt x="107" y="723"/>
                  </a:lnTo>
                  <a:lnTo>
                    <a:pt x="107" y="724"/>
                  </a:lnTo>
                  <a:lnTo>
                    <a:pt x="107" y="726"/>
                  </a:lnTo>
                  <a:lnTo>
                    <a:pt x="104" y="726"/>
                  </a:lnTo>
                  <a:lnTo>
                    <a:pt x="102" y="724"/>
                  </a:lnTo>
                  <a:lnTo>
                    <a:pt x="101" y="724"/>
                  </a:lnTo>
                  <a:lnTo>
                    <a:pt x="99" y="724"/>
                  </a:lnTo>
                  <a:lnTo>
                    <a:pt x="98" y="724"/>
                  </a:lnTo>
                  <a:lnTo>
                    <a:pt x="96" y="724"/>
                  </a:lnTo>
                  <a:lnTo>
                    <a:pt x="98" y="719"/>
                  </a:lnTo>
                  <a:lnTo>
                    <a:pt x="94" y="718"/>
                  </a:lnTo>
                  <a:lnTo>
                    <a:pt x="91" y="719"/>
                  </a:lnTo>
                  <a:lnTo>
                    <a:pt x="89" y="719"/>
                  </a:lnTo>
                  <a:lnTo>
                    <a:pt x="88" y="719"/>
                  </a:lnTo>
                  <a:lnTo>
                    <a:pt x="86" y="719"/>
                  </a:lnTo>
                  <a:lnTo>
                    <a:pt x="86" y="718"/>
                  </a:lnTo>
                  <a:lnTo>
                    <a:pt x="86" y="716"/>
                  </a:lnTo>
                  <a:lnTo>
                    <a:pt x="85" y="716"/>
                  </a:lnTo>
                  <a:lnTo>
                    <a:pt x="83" y="718"/>
                  </a:lnTo>
                  <a:lnTo>
                    <a:pt x="81" y="718"/>
                  </a:lnTo>
                  <a:lnTo>
                    <a:pt x="80" y="721"/>
                  </a:lnTo>
                  <a:lnTo>
                    <a:pt x="76" y="721"/>
                  </a:lnTo>
                  <a:lnTo>
                    <a:pt x="76" y="723"/>
                  </a:lnTo>
                  <a:lnTo>
                    <a:pt x="72" y="726"/>
                  </a:lnTo>
                  <a:lnTo>
                    <a:pt x="72" y="727"/>
                  </a:lnTo>
                  <a:lnTo>
                    <a:pt x="73" y="727"/>
                  </a:lnTo>
                  <a:lnTo>
                    <a:pt x="73" y="729"/>
                  </a:lnTo>
                  <a:lnTo>
                    <a:pt x="76" y="729"/>
                  </a:lnTo>
                  <a:lnTo>
                    <a:pt x="76" y="731"/>
                  </a:lnTo>
                  <a:lnTo>
                    <a:pt x="78" y="732"/>
                  </a:lnTo>
                  <a:lnTo>
                    <a:pt x="76" y="732"/>
                  </a:lnTo>
                  <a:lnTo>
                    <a:pt x="76" y="734"/>
                  </a:lnTo>
                  <a:lnTo>
                    <a:pt x="76" y="736"/>
                  </a:lnTo>
                  <a:lnTo>
                    <a:pt x="80" y="739"/>
                  </a:lnTo>
                  <a:lnTo>
                    <a:pt x="80" y="740"/>
                  </a:lnTo>
                  <a:lnTo>
                    <a:pt x="80" y="742"/>
                  </a:lnTo>
                  <a:lnTo>
                    <a:pt x="76" y="742"/>
                  </a:lnTo>
                  <a:lnTo>
                    <a:pt x="75" y="742"/>
                  </a:lnTo>
                  <a:lnTo>
                    <a:pt x="75" y="740"/>
                  </a:lnTo>
                  <a:lnTo>
                    <a:pt x="76" y="740"/>
                  </a:lnTo>
                  <a:lnTo>
                    <a:pt x="75" y="740"/>
                  </a:lnTo>
                  <a:lnTo>
                    <a:pt x="75" y="739"/>
                  </a:lnTo>
                  <a:lnTo>
                    <a:pt x="73" y="739"/>
                  </a:lnTo>
                  <a:lnTo>
                    <a:pt x="72" y="739"/>
                  </a:lnTo>
                  <a:lnTo>
                    <a:pt x="70" y="739"/>
                  </a:lnTo>
                  <a:lnTo>
                    <a:pt x="70" y="737"/>
                  </a:lnTo>
                  <a:lnTo>
                    <a:pt x="70" y="736"/>
                  </a:lnTo>
                  <a:lnTo>
                    <a:pt x="70" y="734"/>
                  </a:lnTo>
                  <a:lnTo>
                    <a:pt x="68" y="734"/>
                  </a:lnTo>
                  <a:lnTo>
                    <a:pt x="68" y="732"/>
                  </a:lnTo>
                  <a:lnTo>
                    <a:pt x="68" y="731"/>
                  </a:lnTo>
                  <a:lnTo>
                    <a:pt x="67" y="731"/>
                  </a:lnTo>
                  <a:lnTo>
                    <a:pt x="67" y="729"/>
                  </a:lnTo>
                  <a:lnTo>
                    <a:pt x="65" y="729"/>
                  </a:lnTo>
                  <a:lnTo>
                    <a:pt x="67" y="727"/>
                  </a:lnTo>
                  <a:lnTo>
                    <a:pt x="65" y="726"/>
                  </a:lnTo>
                  <a:lnTo>
                    <a:pt x="65" y="724"/>
                  </a:lnTo>
                  <a:lnTo>
                    <a:pt x="65" y="723"/>
                  </a:lnTo>
                  <a:lnTo>
                    <a:pt x="65" y="721"/>
                  </a:lnTo>
                  <a:lnTo>
                    <a:pt x="65" y="719"/>
                  </a:lnTo>
                  <a:lnTo>
                    <a:pt x="65" y="718"/>
                  </a:lnTo>
                  <a:lnTo>
                    <a:pt x="65" y="716"/>
                  </a:lnTo>
                  <a:lnTo>
                    <a:pt x="63" y="714"/>
                  </a:lnTo>
                  <a:lnTo>
                    <a:pt x="65" y="714"/>
                  </a:lnTo>
                  <a:lnTo>
                    <a:pt x="63" y="714"/>
                  </a:lnTo>
                  <a:lnTo>
                    <a:pt x="63" y="713"/>
                  </a:lnTo>
                  <a:lnTo>
                    <a:pt x="63" y="711"/>
                  </a:lnTo>
                  <a:lnTo>
                    <a:pt x="63" y="713"/>
                  </a:lnTo>
                  <a:lnTo>
                    <a:pt x="62" y="713"/>
                  </a:lnTo>
                  <a:lnTo>
                    <a:pt x="62" y="711"/>
                  </a:lnTo>
                  <a:lnTo>
                    <a:pt x="62" y="713"/>
                  </a:lnTo>
                  <a:lnTo>
                    <a:pt x="62" y="711"/>
                  </a:lnTo>
                  <a:lnTo>
                    <a:pt x="62" y="710"/>
                  </a:lnTo>
                  <a:lnTo>
                    <a:pt x="63" y="708"/>
                  </a:lnTo>
                  <a:lnTo>
                    <a:pt x="63" y="706"/>
                  </a:lnTo>
                  <a:lnTo>
                    <a:pt x="63" y="708"/>
                  </a:lnTo>
                  <a:lnTo>
                    <a:pt x="65" y="708"/>
                  </a:lnTo>
                  <a:lnTo>
                    <a:pt x="65" y="706"/>
                  </a:lnTo>
                  <a:lnTo>
                    <a:pt x="67" y="706"/>
                  </a:lnTo>
                  <a:lnTo>
                    <a:pt x="67" y="705"/>
                  </a:lnTo>
                  <a:lnTo>
                    <a:pt x="68" y="705"/>
                  </a:lnTo>
                  <a:lnTo>
                    <a:pt x="68" y="703"/>
                  </a:lnTo>
                  <a:lnTo>
                    <a:pt x="70" y="703"/>
                  </a:lnTo>
                  <a:lnTo>
                    <a:pt x="68" y="701"/>
                  </a:lnTo>
                  <a:lnTo>
                    <a:pt x="70" y="701"/>
                  </a:lnTo>
                  <a:lnTo>
                    <a:pt x="68" y="701"/>
                  </a:lnTo>
                  <a:lnTo>
                    <a:pt x="70" y="700"/>
                  </a:lnTo>
                  <a:lnTo>
                    <a:pt x="68" y="698"/>
                  </a:lnTo>
                  <a:lnTo>
                    <a:pt x="67" y="698"/>
                  </a:lnTo>
                  <a:lnTo>
                    <a:pt x="67" y="697"/>
                  </a:lnTo>
                  <a:lnTo>
                    <a:pt x="65" y="697"/>
                  </a:lnTo>
                  <a:lnTo>
                    <a:pt x="65" y="695"/>
                  </a:lnTo>
                  <a:lnTo>
                    <a:pt x="65" y="693"/>
                  </a:lnTo>
                  <a:lnTo>
                    <a:pt x="67" y="693"/>
                  </a:lnTo>
                  <a:lnTo>
                    <a:pt x="65" y="692"/>
                  </a:lnTo>
                  <a:lnTo>
                    <a:pt x="65" y="690"/>
                  </a:lnTo>
                  <a:lnTo>
                    <a:pt x="67" y="690"/>
                  </a:lnTo>
                  <a:lnTo>
                    <a:pt x="65" y="688"/>
                  </a:lnTo>
                  <a:lnTo>
                    <a:pt x="67" y="687"/>
                  </a:lnTo>
                  <a:lnTo>
                    <a:pt x="65" y="685"/>
                  </a:lnTo>
                  <a:lnTo>
                    <a:pt x="63" y="684"/>
                  </a:lnTo>
                  <a:lnTo>
                    <a:pt x="65" y="684"/>
                  </a:lnTo>
                  <a:lnTo>
                    <a:pt x="65" y="682"/>
                  </a:lnTo>
                  <a:lnTo>
                    <a:pt x="67" y="682"/>
                  </a:lnTo>
                  <a:lnTo>
                    <a:pt x="67" y="680"/>
                  </a:lnTo>
                  <a:lnTo>
                    <a:pt x="65" y="680"/>
                  </a:lnTo>
                  <a:lnTo>
                    <a:pt x="65" y="679"/>
                  </a:lnTo>
                  <a:lnTo>
                    <a:pt x="67" y="677"/>
                  </a:lnTo>
                  <a:lnTo>
                    <a:pt x="68" y="677"/>
                  </a:lnTo>
                  <a:lnTo>
                    <a:pt x="68" y="675"/>
                  </a:lnTo>
                  <a:lnTo>
                    <a:pt x="67" y="675"/>
                  </a:lnTo>
                  <a:lnTo>
                    <a:pt x="67" y="674"/>
                  </a:lnTo>
                  <a:lnTo>
                    <a:pt x="68" y="674"/>
                  </a:lnTo>
                  <a:lnTo>
                    <a:pt x="68" y="672"/>
                  </a:lnTo>
                  <a:lnTo>
                    <a:pt x="68" y="671"/>
                  </a:lnTo>
                  <a:lnTo>
                    <a:pt x="67" y="671"/>
                  </a:lnTo>
                  <a:lnTo>
                    <a:pt x="67" y="669"/>
                  </a:lnTo>
                  <a:lnTo>
                    <a:pt x="65" y="669"/>
                  </a:lnTo>
                  <a:lnTo>
                    <a:pt x="65" y="667"/>
                  </a:lnTo>
                  <a:lnTo>
                    <a:pt x="65" y="666"/>
                  </a:lnTo>
                  <a:lnTo>
                    <a:pt x="63" y="664"/>
                  </a:lnTo>
                  <a:lnTo>
                    <a:pt x="62" y="664"/>
                  </a:lnTo>
                  <a:lnTo>
                    <a:pt x="63" y="662"/>
                  </a:lnTo>
                  <a:lnTo>
                    <a:pt x="63" y="664"/>
                  </a:lnTo>
                  <a:lnTo>
                    <a:pt x="63" y="662"/>
                  </a:lnTo>
                  <a:lnTo>
                    <a:pt x="62" y="662"/>
                  </a:lnTo>
                  <a:lnTo>
                    <a:pt x="63" y="662"/>
                  </a:lnTo>
                  <a:lnTo>
                    <a:pt x="63" y="661"/>
                  </a:lnTo>
                  <a:lnTo>
                    <a:pt x="62" y="659"/>
                  </a:lnTo>
                  <a:lnTo>
                    <a:pt x="60" y="659"/>
                  </a:lnTo>
                  <a:lnTo>
                    <a:pt x="59" y="659"/>
                  </a:lnTo>
                  <a:lnTo>
                    <a:pt x="59" y="658"/>
                  </a:lnTo>
                  <a:lnTo>
                    <a:pt x="60" y="658"/>
                  </a:lnTo>
                  <a:lnTo>
                    <a:pt x="59" y="658"/>
                  </a:lnTo>
                  <a:lnTo>
                    <a:pt x="59" y="656"/>
                  </a:lnTo>
                  <a:lnTo>
                    <a:pt x="57" y="656"/>
                  </a:lnTo>
                  <a:lnTo>
                    <a:pt x="55" y="656"/>
                  </a:lnTo>
                  <a:lnTo>
                    <a:pt x="54" y="656"/>
                  </a:lnTo>
                  <a:lnTo>
                    <a:pt x="54" y="658"/>
                  </a:lnTo>
                  <a:lnTo>
                    <a:pt x="52" y="656"/>
                  </a:lnTo>
                  <a:lnTo>
                    <a:pt x="52" y="654"/>
                  </a:lnTo>
                  <a:lnTo>
                    <a:pt x="50" y="656"/>
                  </a:lnTo>
                  <a:lnTo>
                    <a:pt x="50" y="654"/>
                  </a:lnTo>
                  <a:lnTo>
                    <a:pt x="49" y="654"/>
                  </a:lnTo>
                  <a:lnTo>
                    <a:pt x="49" y="653"/>
                  </a:lnTo>
                  <a:lnTo>
                    <a:pt x="47" y="653"/>
                  </a:lnTo>
                  <a:lnTo>
                    <a:pt x="47" y="651"/>
                  </a:lnTo>
                  <a:lnTo>
                    <a:pt x="46" y="651"/>
                  </a:lnTo>
                  <a:lnTo>
                    <a:pt x="47" y="651"/>
                  </a:lnTo>
                  <a:lnTo>
                    <a:pt x="47" y="649"/>
                  </a:lnTo>
                  <a:lnTo>
                    <a:pt x="46" y="649"/>
                  </a:lnTo>
                  <a:lnTo>
                    <a:pt x="44" y="649"/>
                  </a:lnTo>
                  <a:lnTo>
                    <a:pt x="42" y="649"/>
                  </a:lnTo>
                  <a:lnTo>
                    <a:pt x="41" y="651"/>
                  </a:lnTo>
                  <a:lnTo>
                    <a:pt x="39" y="649"/>
                  </a:lnTo>
                  <a:lnTo>
                    <a:pt x="39" y="651"/>
                  </a:lnTo>
                  <a:lnTo>
                    <a:pt x="37" y="649"/>
                  </a:lnTo>
                  <a:lnTo>
                    <a:pt x="39" y="649"/>
                  </a:lnTo>
                  <a:lnTo>
                    <a:pt x="39" y="648"/>
                  </a:lnTo>
                  <a:lnTo>
                    <a:pt x="37" y="648"/>
                  </a:lnTo>
                  <a:lnTo>
                    <a:pt x="36" y="648"/>
                  </a:lnTo>
                  <a:lnTo>
                    <a:pt x="36" y="649"/>
                  </a:lnTo>
                  <a:lnTo>
                    <a:pt x="36" y="648"/>
                  </a:lnTo>
                  <a:lnTo>
                    <a:pt x="34" y="646"/>
                  </a:lnTo>
                  <a:lnTo>
                    <a:pt x="34" y="648"/>
                  </a:lnTo>
                  <a:lnTo>
                    <a:pt x="34" y="646"/>
                  </a:lnTo>
                  <a:lnTo>
                    <a:pt x="33" y="646"/>
                  </a:lnTo>
                  <a:lnTo>
                    <a:pt x="33" y="648"/>
                  </a:lnTo>
                  <a:lnTo>
                    <a:pt x="31" y="648"/>
                  </a:lnTo>
                  <a:lnTo>
                    <a:pt x="29" y="648"/>
                  </a:lnTo>
                  <a:lnTo>
                    <a:pt x="29" y="646"/>
                  </a:lnTo>
                  <a:lnTo>
                    <a:pt x="28" y="646"/>
                  </a:lnTo>
                  <a:lnTo>
                    <a:pt x="26" y="648"/>
                  </a:lnTo>
                  <a:lnTo>
                    <a:pt x="24" y="648"/>
                  </a:lnTo>
                  <a:lnTo>
                    <a:pt x="23" y="648"/>
                  </a:lnTo>
                  <a:lnTo>
                    <a:pt x="21" y="646"/>
                  </a:lnTo>
                  <a:lnTo>
                    <a:pt x="20" y="646"/>
                  </a:lnTo>
                  <a:lnTo>
                    <a:pt x="20" y="645"/>
                  </a:lnTo>
                  <a:lnTo>
                    <a:pt x="20" y="643"/>
                  </a:lnTo>
                  <a:lnTo>
                    <a:pt x="20" y="641"/>
                  </a:lnTo>
                  <a:lnTo>
                    <a:pt x="20" y="640"/>
                  </a:lnTo>
                  <a:lnTo>
                    <a:pt x="18" y="640"/>
                  </a:lnTo>
                  <a:lnTo>
                    <a:pt x="16" y="640"/>
                  </a:lnTo>
                  <a:lnTo>
                    <a:pt x="18" y="636"/>
                  </a:lnTo>
                  <a:lnTo>
                    <a:pt x="20" y="628"/>
                  </a:lnTo>
                  <a:lnTo>
                    <a:pt x="23" y="622"/>
                  </a:lnTo>
                  <a:lnTo>
                    <a:pt x="24" y="620"/>
                  </a:lnTo>
                  <a:lnTo>
                    <a:pt x="24" y="619"/>
                  </a:lnTo>
                  <a:lnTo>
                    <a:pt x="24" y="617"/>
                  </a:lnTo>
                  <a:lnTo>
                    <a:pt x="28" y="610"/>
                  </a:lnTo>
                  <a:lnTo>
                    <a:pt x="31" y="604"/>
                  </a:lnTo>
                  <a:lnTo>
                    <a:pt x="33" y="601"/>
                  </a:lnTo>
                  <a:lnTo>
                    <a:pt x="34" y="599"/>
                  </a:lnTo>
                  <a:lnTo>
                    <a:pt x="34" y="597"/>
                  </a:lnTo>
                  <a:lnTo>
                    <a:pt x="37" y="594"/>
                  </a:lnTo>
                  <a:lnTo>
                    <a:pt x="39" y="592"/>
                  </a:lnTo>
                  <a:lnTo>
                    <a:pt x="41" y="591"/>
                  </a:lnTo>
                  <a:lnTo>
                    <a:pt x="42" y="589"/>
                  </a:lnTo>
                  <a:lnTo>
                    <a:pt x="47" y="586"/>
                  </a:lnTo>
                  <a:lnTo>
                    <a:pt x="52" y="584"/>
                  </a:lnTo>
                  <a:lnTo>
                    <a:pt x="54" y="584"/>
                  </a:lnTo>
                  <a:lnTo>
                    <a:pt x="55" y="584"/>
                  </a:lnTo>
                  <a:lnTo>
                    <a:pt x="59" y="581"/>
                  </a:lnTo>
                  <a:lnTo>
                    <a:pt x="65" y="573"/>
                  </a:lnTo>
                  <a:lnTo>
                    <a:pt x="67" y="571"/>
                  </a:lnTo>
                  <a:lnTo>
                    <a:pt x="68" y="570"/>
                  </a:lnTo>
                  <a:lnTo>
                    <a:pt x="70" y="566"/>
                  </a:lnTo>
                  <a:lnTo>
                    <a:pt x="68" y="557"/>
                  </a:lnTo>
                  <a:lnTo>
                    <a:pt x="68" y="552"/>
                  </a:lnTo>
                  <a:lnTo>
                    <a:pt x="67" y="550"/>
                  </a:lnTo>
                  <a:lnTo>
                    <a:pt x="65" y="540"/>
                  </a:lnTo>
                  <a:lnTo>
                    <a:pt x="63" y="539"/>
                  </a:lnTo>
                  <a:lnTo>
                    <a:pt x="62" y="534"/>
                  </a:lnTo>
                  <a:lnTo>
                    <a:pt x="63" y="531"/>
                  </a:lnTo>
                  <a:lnTo>
                    <a:pt x="62" y="529"/>
                  </a:lnTo>
                  <a:lnTo>
                    <a:pt x="62" y="527"/>
                  </a:lnTo>
                  <a:lnTo>
                    <a:pt x="62" y="524"/>
                  </a:lnTo>
                  <a:lnTo>
                    <a:pt x="60" y="523"/>
                  </a:lnTo>
                  <a:lnTo>
                    <a:pt x="59" y="521"/>
                  </a:lnTo>
                  <a:lnTo>
                    <a:pt x="60" y="521"/>
                  </a:lnTo>
                  <a:lnTo>
                    <a:pt x="59" y="521"/>
                  </a:lnTo>
                  <a:lnTo>
                    <a:pt x="59" y="519"/>
                  </a:lnTo>
                  <a:lnTo>
                    <a:pt x="57" y="519"/>
                  </a:lnTo>
                  <a:lnTo>
                    <a:pt x="59" y="519"/>
                  </a:lnTo>
                  <a:lnTo>
                    <a:pt x="59" y="518"/>
                  </a:lnTo>
                  <a:lnTo>
                    <a:pt x="57" y="518"/>
                  </a:lnTo>
                  <a:lnTo>
                    <a:pt x="55" y="518"/>
                  </a:lnTo>
                  <a:lnTo>
                    <a:pt x="55" y="516"/>
                  </a:lnTo>
                  <a:lnTo>
                    <a:pt x="55" y="514"/>
                  </a:lnTo>
                  <a:lnTo>
                    <a:pt x="55" y="513"/>
                  </a:lnTo>
                  <a:lnTo>
                    <a:pt x="55" y="511"/>
                  </a:lnTo>
                  <a:lnTo>
                    <a:pt x="55" y="510"/>
                  </a:lnTo>
                  <a:lnTo>
                    <a:pt x="55" y="508"/>
                  </a:lnTo>
                  <a:lnTo>
                    <a:pt x="57" y="506"/>
                  </a:lnTo>
                  <a:lnTo>
                    <a:pt x="55" y="505"/>
                  </a:lnTo>
                  <a:lnTo>
                    <a:pt x="57" y="505"/>
                  </a:lnTo>
                  <a:lnTo>
                    <a:pt x="57" y="503"/>
                  </a:lnTo>
                  <a:lnTo>
                    <a:pt x="55" y="503"/>
                  </a:lnTo>
                  <a:lnTo>
                    <a:pt x="55" y="501"/>
                  </a:lnTo>
                  <a:lnTo>
                    <a:pt x="54" y="501"/>
                  </a:lnTo>
                  <a:lnTo>
                    <a:pt x="52" y="500"/>
                  </a:lnTo>
                  <a:lnTo>
                    <a:pt x="50" y="500"/>
                  </a:lnTo>
                  <a:lnTo>
                    <a:pt x="50" y="498"/>
                  </a:lnTo>
                  <a:lnTo>
                    <a:pt x="50" y="497"/>
                  </a:lnTo>
                  <a:lnTo>
                    <a:pt x="50" y="495"/>
                  </a:lnTo>
                  <a:lnTo>
                    <a:pt x="49" y="495"/>
                  </a:lnTo>
                  <a:lnTo>
                    <a:pt x="46" y="493"/>
                  </a:lnTo>
                  <a:lnTo>
                    <a:pt x="39" y="482"/>
                  </a:lnTo>
                  <a:lnTo>
                    <a:pt x="34" y="474"/>
                  </a:lnTo>
                  <a:lnTo>
                    <a:pt x="31" y="467"/>
                  </a:lnTo>
                  <a:lnTo>
                    <a:pt x="28" y="462"/>
                  </a:lnTo>
                  <a:lnTo>
                    <a:pt x="24" y="456"/>
                  </a:lnTo>
                  <a:lnTo>
                    <a:pt x="23" y="451"/>
                  </a:lnTo>
                  <a:lnTo>
                    <a:pt x="20" y="444"/>
                  </a:lnTo>
                  <a:lnTo>
                    <a:pt x="13" y="431"/>
                  </a:lnTo>
                  <a:lnTo>
                    <a:pt x="13" y="428"/>
                  </a:lnTo>
                  <a:lnTo>
                    <a:pt x="11" y="427"/>
                  </a:lnTo>
                  <a:lnTo>
                    <a:pt x="10" y="423"/>
                  </a:lnTo>
                  <a:lnTo>
                    <a:pt x="8" y="423"/>
                  </a:lnTo>
                  <a:lnTo>
                    <a:pt x="8" y="420"/>
                  </a:lnTo>
                  <a:lnTo>
                    <a:pt x="7" y="415"/>
                  </a:lnTo>
                  <a:lnTo>
                    <a:pt x="7" y="414"/>
                  </a:lnTo>
                  <a:lnTo>
                    <a:pt x="7" y="412"/>
                  </a:lnTo>
                  <a:lnTo>
                    <a:pt x="7" y="410"/>
                  </a:lnTo>
                  <a:lnTo>
                    <a:pt x="5" y="410"/>
                  </a:lnTo>
                  <a:lnTo>
                    <a:pt x="3" y="409"/>
                  </a:lnTo>
                  <a:lnTo>
                    <a:pt x="2" y="404"/>
                  </a:lnTo>
                  <a:lnTo>
                    <a:pt x="2" y="401"/>
                  </a:lnTo>
                  <a:lnTo>
                    <a:pt x="0" y="397"/>
                  </a:lnTo>
                  <a:lnTo>
                    <a:pt x="2" y="397"/>
                  </a:lnTo>
                  <a:lnTo>
                    <a:pt x="3" y="399"/>
                  </a:lnTo>
                  <a:lnTo>
                    <a:pt x="5" y="399"/>
                  </a:lnTo>
                  <a:lnTo>
                    <a:pt x="7" y="399"/>
                  </a:lnTo>
                  <a:lnTo>
                    <a:pt x="8" y="399"/>
                  </a:lnTo>
                  <a:lnTo>
                    <a:pt x="8" y="401"/>
                  </a:lnTo>
                  <a:lnTo>
                    <a:pt x="10" y="401"/>
                  </a:lnTo>
                  <a:lnTo>
                    <a:pt x="11" y="399"/>
                  </a:lnTo>
                  <a:lnTo>
                    <a:pt x="13" y="399"/>
                  </a:lnTo>
                  <a:lnTo>
                    <a:pt x="15" y="399"/>
                  </a:lnTo>
                  <a:lnTo>
                    <a:pt x="16" y="397"/>
                  </a:lnTo>
                  <a:lnTo>
                    <a:pt x="18" y="397"/>
                  </a:lnTo>
                  <a:lnTo>
                    <a:pt x="20" y="397"/>
                  </a:lnTo>
                  <a:lnTo>
                    <a:pt x="23" y="397"/>
                  </a:lnTo>
                  <a:lnTo>
                    <a:pt x="23" y="399"/>
                  </a:lnTo>
                  <a:lnTo>
                    <a:pt x="23" y="401"/>
                  </a:lnTo>
                  <a:lnTo>
                    <a:pt x="24" y="401"/>
                  </a:lnTo>
                  <a:lnTo>
                    <a:pt x="26" y="401"/>
                  </a:lnTo>
                  <a:lnTo>
                    <a:pt x="26" y="399"/>
                  </a:lnTo>
                  <a:lnTo>
                    <a:pt x="28" y="399"/>
                  </a:lnTo>
                  <a:lnTo>
                    <a:pt x="26" y="397"/>
                  </a:lnTo>
                  <a:lnTo>
                    <a:pt x="24" y="397"/>
                  </a:lnTo>
                  <a:lnTo>
                    <a:pt x="24" y="396"/>
                  </a:lnTo>
                  <a:lnTo>
                    <a:pt x="26" y="396"/>
                  </a:lnTo>
                  <a:lnTo>
                    <a:pt x="26" y="394"/>
                  </a:lnTo>
                  <a:lnTo>
                    <a:pt x="28" y="392"/>
                  </a:lnTo>
                  <a:lnTo>
                    <a:pt x="29" y="392"/>
                  </a:lnTo>
                  <a:lnTo>
                    <a:pt x="31" y="394"/>
                  </a:lnTo>
                  <a:lnTo>
                    <a:pt x="33" y="394"/>
                  </a:lnTo>
                  <a:lnTo>
                    <a:pt x="33" y="392"/>
                  </a:lnTo>
                  <a:lnTo>
                    <a:pt x="33" y="391"/>
                  </a:lnTo>
                  <a:lnTo>
                    <a:pt x="33" y="389"/>
                  </a:lnTo>
                  <a:lnTo>
                    <a:pt x="34" y="389"/>
                  </a:lnTo>
                  <a:lnTo>
                    <a:pt x="36" y="391"/>
                  </a:lnTo>
                  <a:lnTo>
                    <a:pt x="39" y="392"/>
                  </a:lnTo>
                  <a:lnTo>
                    <a:pt x="39" y="394"/>
                  </a:lnTo>
                  <a:lnTo>
                    <a:pt x="41" y="394"/>
                  </a:lnTo>
                  <a:lnTo>
                    <a:pt x="42" y="394"/>
                  </a:lnTo>
                  <a:lnTo>
                    <a:pt x="50" y="391"/>
                  </a:lnTo>
                  <a:lnTo>
                    <a:pt x="50" y="389"/>
                  </a:lnTo>
                  <a:lnTo>
                    <a:pt x="50" y="388"/>
                  </a:lnTo>
                  <a:lnTo>
                    <a:pt x="52" y="388"/>
                  </a:lnTo>
                  <a:lnTo>
                    <a:pt x="54" y="388"/>
                  </a:lnTo>
                  <a:lnTo>
                    <a:pt x="54" y="386"/>
                  </a:lnTo>
                  <a:lnTo>
                    <a:pt x="55" y="386"/>
                  </a:lnTo>
                  <a:lnTo>
                    <a:pt x="57" y="384"/>
                  </a:lnTo>
                  <a:lnTo>
                    <a:pt x="59" y="386"/>
                  </a:lnTo>
                  <a:lnTo>
                    <a:pt x="59" y="388"/>
                  </a:lnTo>
                  <a:lnTo>
                    <a:pt x="60" y="388"/>
                  </a:lnTo>
                  <a:lnTo>
                    <a:pt x="62" y="386"/>
                  </a:lnTo>
                  <a:lnTo>
                    <a:pt x="63" y="388"/>
                  </a:lnTo>
                  <a:lnTo>
                    <a:pt x="65" y="389"/>
                  </a:lnTo>
                  <a:lnTo>
                    <a:pt x="67" y="391"/>
                  </a:lnTo>
                  <a:lnTo>
                    <a:pt x="68" y="391"/>
                  </a:lnTo>
                  <a:lnTo>
                    <a:pt x="70" y="391"/>
                  </a:lnTo>
                  <a:lnTo>
                    <a:pt x="72" y="389"/>
                  </a:lnTo>
                  <a:lnTo>
                    <a:pt x="73" y="392"/>
                  </a:lnTo>
                  <a:lnTo>
                    <a:pt x="75" y="392"/>
                  </a:lnTo>
                  <a:lnTo>
                    <a:pt x="75" y="391"/>
                  </a:lnTo>
                  <a:lnTo>
                    <a:pt x="76" y="391"/>
                  </a:lnTo>
                  <a:lnTo>
                    <a:pt x="78" y="391"/>
                  </a:lnTo>
                  <a:lnTo>
                    <a:pt x="78" y="389"/>
                  </a:lnTo>
                  <a:lnTo>
                    <a:pt x="80" y="389"/>
                  </a:lnTo>
                  <a:lnTo>
                    <a:pt x="80" y="388"/>
                  </a:lnTo>
                  <a:lnTo>
                    <a:pt x="81" y="386"/>
                  </a:lnTo>
                  <a:lnTo>
                    <a:pt x="81" y="384"/>
                  </a:lnTo>
                  <a:lnTo>
                    <a:pt x="83" y="381"/>
                  </a:lnTo>
                  <a:lnTo>
                    <a:pt x="86" y="378"/>
                  </a:lnTo>
                  <a:lnTo>
                    <a:pt x="86" y="376"/>
                  </a:lnTo>
                  <a:lnTo>
                    <a:pt x="88" y="376"/>
                  </a:lnTo>
                  <a:lnTo>
                    <a:pt x="88" y="375"/>
                  </a:lnTo>
                  <a:lnTo>
                    <a:pt x="89" y="375"/>
                  </a:lnTo>
                  <a:lnTo>
                    <a:pt x="91" y="373"/>
                  </a:lnTo>
                  <a:lnTo>
                    <a:pt x="93" y="371"/>
                  </a:lnTo>
                  <a:lnTo>
                    <a:pt x="94" y="371"/>
                  </a:lnTo>
                  <a:lnTo>
                    <a:pt x="94" y="370"/>
                  </a:lnTo>
                  <a:lnTo>
                    <a:pt x="96" y="370"/>
                  </a:lnTo>
                  <a:lnTo>
                    <a:pt x="98" y="370"/>
                  </a:lnTo>
                  <a:lnTo>
                    <a:pt x="98" y="373"/>
                  </a:lnTo>
                  <a:lnTo>
                    <a:pt x="98" y="376"/>
                  </a:lnTo>
                  <a:lnTo>
                    <a:pt x="99" y="378"/>
                  </a:lnTo>
                  <a:lnTo>
                    <a:pt x="101" y="376"/>
                  </a:lnTo>
                  <a:lnTo>
                    <a:pt x="102" y="376"/>
                  </a:lnTo>
                  <a:lnTo>
                    <a:pt x="101" y="375"/>
                  </a:lnTo>
                  <a:lnTo>
                    <a:pt x="102" y="373"/>
                  </a:lnTo>
                  <a:lnTo>
                    <a:pt x="106" y="370"/>
                  </a:lnTo>
                  <a:lnTo>
                    <a:pt x="106" y="371"/>
                  </a:lnTo>
                  <a:lnTo>
                    <a:pt x="107" y="371"/>
                  </a:lnTo>
                  <a:lnTo>
                    <a:pt x="107" y="370"/>
                  </a:lnTo>
                  <a:lnTo>
                    <a:pt x="109" y="368"/>
                  </a:lnTo>
                  <a:lnTo>
                    <a:pt x="109" y="366"/>
                  </a:lnTo>
                  <a:lnTo>
                    <a:pt x="109" y="365"/>
                  </a:lnTo>
                  <a:lnTo>
                    <a:pt x="111" y="365"/>
                  </a:lnTo>
                  <a:lnTo>
                    <a:pt x="111" y="363"/>
                  </a:lnTo>
                  <a:lnTo>
                    <a:pt x="109" y="365"/>
                  </a:lnTo>
                  <a:lnTo>
                    <a:pt x="106" y="363"/>
                  </a:lnTo>
                  <a:lnTo>
                    <a:pt x="106" y="362"/>
                  </a:lnTo>
                  <a:lnTo>
                    <a:pt x="106" y="360"/>
                  </a:lnTo>
                  <a:lnTo>
                    <a:pt x="102" y="357"/>
                  </a:lnTo>
                  <a:lnTo>
                    <a:pt x="101" y="357"/>
                  </a:lnTo>
                  <a:lnTo>
                    <a:pt x="101" y="355"/>
                  </a:lnTo>
                  <a:lnTo>
                    <a:pt x="102" y="353"/>
                  </a:lnTo>
                  <a:lnTo>
                    <a:pt x="104" y="352"/>
                  </a:lnTo>
                  <a:lnTo>
                    <a:pt x="104" y="350"/>
                  </a:lnTo>
                  <a:lnTo>
                    <a:pt x="102" y="350"/>
                  </a:lnTo>
                  <a:lnTo>
                    <a:pt x="104" y="349"/>
                  </a:lnTo>
                  <a:lnTo>
                    <a:pt x="107" y="349"/>
                  </a:lnTo>
                  <a:lnTo>
                    <a:pt x="109" y="347"/>
                  </a:lnTo>
                  <a:lnTo>
                    <a:pt x="111" y="345"/>
                  </a:lnTo>
                  <a:lnTo>
                    <a:pt x="112" y="345"/>
                  </a:lnTo>
                  <a:lnTo>
                    <a:pt x="112" y="344"/>
                  </a:lnTo>
                  <a:lnTo>
                    <a:pt x="114" y="344"/>
                  </a:lnTo>
                  <a:lnTo>
                    <a:pt x="116" y="345"/>
                  </a:lnTo>
                  <a:lnTo>
                    <a:pt x="117" y="347"/>
                  </a:lnTo>
                  <a:lnTo>
                    <a:pt x="119" y="347"/>
                  </a:lnTo>
                  <a:lnTo>
                    <a:pt x="120" y="347"/>
                  </a:lnTo>
                  <a:lnTo>
                    <a:pt x="122" y="347"/>
                  </a:lnTo>
                  <a:lnTo>
                    <a:pt x="124" y="347"/>
                  </a:lnTo>
                  <a:lnTo>
                    <a:pt x="124" y="345"/>
                  </a:lnTo>
                  <a:lnTo>
                    <a:pt x="125" y="345"/>
                  </a:lnTo>
                  <a:lnTo>
                    <a:pt x="125" y="344"/>
                  </a:lnTo>
                  <a:lnTo>
                    <a:pt x="127" y="340"/>
                  </a:lnTo>
                  <a:lnTo>
                    <a:pt x="130" y="336"/>
                  </a:lnTo>
                  <a:lnTo>
                    <a:pt x="132" y="334"/>
                  </a:lnTo>
                  <a:lnTo>
                    <a:pt x="132" y="332"/>
                  </a:lnTo>
                  <a:lnTo>
                    <a:pt x="132" y="331"/>
                  </a:lnTo>
                  <a:lnTo>
                    <a:pt x="132" y="329"/>
                  </a:lnTo>
                  <a:lnTo>
                    <a:pt x="132" y="327"/>
                  </a:lnTo>
                  <a:lnTo>
                    <a:pt x="133" y="326"/>
                  </a:lnTo>
                  <a:lnTo>
                    <a:pt x="135" y="327"/>
                  </a:lnTo>
                  <a:lnTo>
                    <a:pt x="135" y="324"/>
                  </a:lnTo>
                  <a:lnTo>
                    <a:pt x="137" y="323"/>
                  </a:lnTo>
                  <a:lnTo>
                    <a:pt x="137" y="324"/>
                  </a:lnTo>
                  <a:lnTo>
                    <a:pt x="138" y="324"/>
                  </a:lnTo>
                  <a:lnTo>
                    <a:pt x="140" y="324"/>
                  </a:lnTo>
                  <a:lnTo>
                    <a:pt x="142" y="324"/>
                  </a:lnTo>
                  <a:lnTo>
                    <a:pt x="143" y="324"/>
                  </a:lnTo>
                  <a:lnTo>
                    <a:pt x="143" y="323"/>
                  </a:lnTo>
                  <a:lnTo>
                    <a:pt x="145" y="324"/>
                  </a:lnTo>
                  <a:lnTo>
                    <a:pt x="145" y="323"/>
                  </a:lnTo>
                  <a:lnTo>
                    <a:pt x="146" y="323"/>
                  </a:lnTo>
                  <a:lnTo>
                    <a:pt x="146" y="321"/>
                  </a:lnTo>
                  <a:lnTo>
                    <a:pt x="146" y="319"/>
                  </a:lnTo>
                  <a:lnTo>
                    <a:pt x="148" y="319"/>
                  </a:lnTo>
                  <a:lnTo>
                    <a:pt x="148" y="318"/>
                  </a:lnTo>
                  <a:lnTo>
                    <a:pt x="150" y="316"/>
                  </a:lnTo>
                  <a:lnTo>
                    <a:pt x="151" y="318"/>
                  </a:lnTo>
                  <a:lnTo>
                    <a:pt x="153" y="316"/>
                  </a:lnTo>
                  <a:lnTo>
                    <a:pt x="155" y="316"/>
                  </a:lnTo>
                  <a:lnTo>
                    <a:pt x="155" y="314"/>
                  </a:lnTo>
                  <a:lnTo>
                    <a:pt x="155" y="316"/>
                  </a:lnTo>
                  <a:lnTo>
                    <a:pt x="156" y="318"/>
                  </a:lnTo>
                  <a:lnTo>
                    <a:pt x="159" y="319"/>
                  </a:lnTo>
                  <a:lnTo>
                    <a:pt x="161" y="321"/>
                  </a:lnTo>
                  <a:lnTo>
                    <a:pt x="161" y="323"/>
                  </a:lnTo>
                  <a:lnTo>
                    <a:pt x="163" y="324"/>
                  </a:lnTo>
                  <a:lnTo>
                    <a:pt x="164" y="324"/>
                  </a:lnTo>
                  <a:lnTo>
                    <a:pt x="163" y="324"/>
                  </a:lnTo>
                  <a:lnTo>
                    <a:pt x="161" y="324"/>
                  </a:lnTo>
                  <a:lnTo>
                    <a:pt x="161" y="326"/>
                  </a:lnTo>
                  <a:lnTo>
                    <a:pt x="159" y="326"/>
                  </a:lnTo>
                  <a:lnTo>
                    <a:pt x="161" y="326"/>
                  </a:lnTo>
                  <a:lnTo>
                    <a:pt x="163" y="326"/>
                  </a:lnTo>
                  <a:lnTo>
                    <a:pt x="163" y="327"/>
                  </a:lnTo>
                  <a:lnTo>
                    <a:pt x="163" y="329"/>
                  </a:lnTo>
                  <a:lnTo>
                    <a:pt x="161" y="331"/>
                  </a:lnTo>
                  <a:lnTo>
                    <a:pt x="159" y="331"/>
                  </a:lnTo>
                  <a:lnTo>
                    <a:pt x="159" y="332"/>
                  </a:lnTo>
                  <a:lnTo>
                    <a:pt x="159" y="334"/>
                  </a:lnTo>
                  <a:lnTo>
                    <a:pt x="161" y="334"/>
                  </a:lnTo>
                  <a:lnTo>
                    <a:pt x="161" y="336"/>
                  </a:lnTo>
                  <a:lnTo>
                    <a:pt x="163" y="336"/>
                  </a:lnTo>
                  <a:lnTo>
                    <a:pt x="164" y="336"/>
                  </a:lnTo>
                  <a:lnTo>
                    <a:pt x="166" y="336"/>
                  </a:lnTo>
                  <a:lnTo>
                    <a:pt x="168" y="336"/>
                  </a:lnTo>
                  <a:lnTo>
                    <a:pt x="169" y="336"/>
                  </a:lnTo>
                  <a:lnTo>
                    <a:pt x="171" y="337"/>
                  </a:lnTo>
                  <a:lnTo>
                    <a:pt x="172" y="337"/>
                  </a:lnTo>
                  <a:lnTo>
                    <a:pt x="172" y="336"/>
                  </a:lnTo>
                  <a:lnTo>
                    <a:pt x="174" y="336"/>
                  </a:lnTo>
                  <a:lnTo>
                    <a:pt x="174" y="334"/>
                  </a:lnTo>
                  <a:lnTo>
                    <a:pt x="174" y="332"/>
                  </a:lnTo>
                  <a:lnTo>
                    <a:pt x="176" y="332"/>
                  </a:lnTo>
                  <a:lnTo>
                    <a:pt x="176" y="331"/>
                  </a:lnTo>
                  <a:lnTo>
                    <a:pt x="177" y="331"/>
                  </a:lnTo>
                  <a:lnTo>
                    <a:pt x="179" y="332"/>
                  </a:lnTo>
                  <a:lnTo>
                    <a:pt x="179" y="331"/>
                  </a:lnTo>
                  <a:lnTo>
                    <a:pt x="182" y="331"/>
                  </a:lnTo>
                  <a:lnTo>
                    <a:pt x="182" y="329"/>
                  </a:lnTo>
                  <a:lnTo>
                    <a:pt x="181" y="329"/>
                  </a:lnTo>
                  <a:lnTo>
                    <a:pt x="181" y="327"/>
                  </a:lnTo>
                  <a:lnTo>
                    <a:pt x="181" y="326"/>
                  </a:lnTo>
                  <a:lnTo>
                    <a:pt x="179" y="324"/>
                  </a:lnTo>
                  <a:lnTo>
                    <a:pt x="177" y="323"/>
                  </a:lnTo>
                  <a:lnTo>
                    <a:pt x="181" y="319"/>
                  </a:lnTo>
                  <a:lnTo>
                    <a:pt x="179" y="319"/>
                  </a:lnTo>
                  <a:lnTo>
                    <a:pt x="177" y="319"/>
                  </a:lnTo>
                  <a:lnTo>
                    <a:pt x="176" y="318"/>
                  </a:lnTo>
                  <a:lnTo>
                    <a:pt x="176" y="316"/>
                  </a:lnTo>
                  <a:lnTo>
                    <a:pt x="174" y="316"/>
                  </a:lnTo>
                  <a:lnTo>
                    <a:pt x="172" y="316"/>
                  </a:lnTo>
                  <a:lnTo>
                    <a:pt x="171" y="314"/>
                  </a:lnTo>
                  <a:lnTo>
                    <a:pt x="171" y="313"/>
                  </a:lnTo>
                  <a:lnTo>
                    <a:pt x="169" y="309"/>
                  </a:lnTo>
                  <a:lnTo>
                    <a:pt x="168" y="309"/>
                  </a:lnTo>
                  <a:lnTo>
                    <a:pt x="166" y="311"/>
                  </a:lnTo>
                  <a:lnTo>
                    <a:pt x="164" y="311"/>
                  </a:lnTo>
                  <a:lnTo>
                    <a:pt x="164" y="313"/>
                  </a:lnTo>
                  <a:lnTo>
                    <a:pt x="163" y="313"/>
                  </a:lnTo>
                  <a:lnTo>
                    <a:pt x="161" y="311"/>
                  </a:lnTo>
                  <a:lnTo>
                    <a:pt x="159" y="313"/>
                  </a:lnTo>
                  <a:lnTo>
                    <a:pt x="158" y="313"/>
                  </a:lnTo>
                  <a:lnTo>
                    <a:pt x="158" y="311"/>
                  </a:lnTo>
                  <a:lnTo>
                    <a:pt x="156" y="311"/>
                  </a:lnTo>
                  <a:lnTo>
                    <a:pt x="156" y="309"/>
                  </a:lnTo>
                  <a:lnTo>
                    <a:pt x="158" y="308"/>
                  </a:lnTo>
                  <a:lnTo>
                    <a:pt x="158" y="306"/>
                  </a:lnTo>
                  <a:lnTo>
                    <a:pt x="158" y="305"/>
                  </a:lnTo>
                  <a:lnTo>
                    <a:pt x="159" y="305"/>
                  </a:lnTo>
                  <a:lnTo>
                    <a:pt x="158" y="301"/>
                  </a:lnTo>
                  <a:lnTo>
                    <a:pt x="158" y="300"/>
                  </a:lnTo>
                  <a:lnTo>
                    <a:pt x="159" y="300"/>
                  </a:lnTo>
                  <a:lnTo>
                    <a:pt x="161" y="296"/>
                  </a:lnTo>
                  <a:lnTo>
                    <a:pt x="159" y="293"/>
                  </a:lnTo>
                  <a:lnTo>
                    <a:pt x="159" y="292"/>
                  </a:lnTo>
                  <a:lnTo>
                    <a:pt x="158" y="292"/>
                  </a:lnTo>
                  <a:lnTo>
                    <a:pt x="159" y="290"/>
                  </a:lnTo>
                  <a:lnTo>
                    <a:pt x="161" y="288"/>
                  </a:lnTo>
                  <a:lnTo>
                    <a:pt x="161" y="283"/>
                  </a:lnTo>
                  <a:lnTo>
                    <a:pt x="161" y="279"/>
                  </a:lnTo>
                  <a:lnTo>
                    <a:pt x="166" y="274"/>
                  </a:lnTo>
                  <a:lnTo>
                    <a:pt x="166" y="272"/>
                  </a:lnTo>
                  <a:lnTo>
                    <a:pt x="166" y="270"/>
                  </a:lnTo>
                  <a:lnTo>
                    <a:pt x="166" y="269"/>
                  </a:lnTo>
                  <a:lnTo>
                    <a:pt x="166" y="267"/>
                  </a:lnTo>
                  <a:lnTo>
                    <a:pt x="164" y="267"/>
                  </a:lnTo>
                  <a:lnTo>
                    <a:pt x="164" y="266"/>
                  </a:lnTo>
                  <a:lnTo>
                    <a:pt x="164" y="264"/>
                  </a:lnTo>
                  <a:lnTo>
                    <a:pt x="163" y="262"/>
                  </a:lnTo>
                  <a:lnTo>
                    <a:pt x="161" y="257"/>
                  </a:lnTo>
                  <a:lnTo>
                    <a:pt x="161" y="256"/>
                  </a:lnTo>
                  <a:lnTo>
                    <a:pt x="161" y="254"/>
                  </a:lnTo>
                  <a:lnTo>
                    <a:pt x="161" y="253"/>
                  </a:lnTo>
                  <a:lnTo>
                    <a:pt x="159" y="248"/>
                  </a:lnTo>
                  <a:lnTo>
                    <a:pt x="159" y="246"/>
                  </a:lnTo>
                  <a:lnTo>
                    <a:pt x="158" y="241"/>
                  </a:lnTo>
                  <a:lnTo>
                    <a:pt x="158" y="240"/>
                  </a:lnTo>
                  <a:lnTo>
                    <a:pt x="158" y="238"/>
                  </a:lnTo>
                  <a:lnTo>
                    <a:pt x="159" y="238"/>
                  </a:lnTo>
                  <a:lnTo>
                    <a:pt x="161" y="236"/>
                  </a:lnTo>
                  <a:lnTo>
                    <a:pt x="159" y="235"/>
                  </a:lnTo>
                  <a:lnTo>
                    <a:pt x="161" y="235"/>
                  </a:lnTo>
                  <a:lnTo>
                    <a:pt x="159" y="235"/>
                  </a:lnTo>
                  <a:lnTo>
                    <a:pt x="159" y="233"/>
                  </a:lnTo>
                  <a:lnTo>
                    <a:pt x="159" y="231"/>
                  </a:lnTo>
                  <a:lnTo>
                    <a:pt x="161" y="231"/>
                  </a:lnTo>
                  <a:lnTo>
                    <a:pt x="161" y="230"/>
                  </a:lnTo>
                  <a:lnTo>
                    <a:pt x="163" y="228"/>
                  </a:lnTo>
                  <a:lnTo>
                    <a:pt x="163" y="227"/>
                  </a:lnTo>
                  <a:lnTo>
                    <a:pt x="164" y="225"/>
                  </a:lnTo>
                  <a:lnTo>
                    <a:pt x="164" y="223"/>
                  </a:lnTo>
                  <a:lnTo>
                    <a:pt x="164" y="222"/>
                  </a:lnTo>
                  <a:lnTo>
                    <a:pt x="164" y="220"/>
                  </a:lnTo>
                  <a:lnTo>
                    <a:pt x="166" y="220"/>
                  </a:lnTo>
                  <a:lnTo>
                    <a:pt x="168" y="220"/>
                  </a:lnTo>
                  <a:lnTo>
                    <a:pt x="169" y="218"/>
                  </a:lnTo>
                  <a:lnTo>
                    <a:pt x="171" y="217"/>
                  </a:lnTo>
                  <a:lnTo>
                    <a:pt x="171" y="215"/>
                  </a:lnTo>
                  <a:lnTo>
                    <a:pt x="172" y="215"/>
                  </a:lnTo>
                  <a:lnTo>
                    <a:pt x="176" y="215"/>
                  </a:lnTo>
                  <a:lnTo>
                    <a:pt x="179" y="215"/>
                  </a:lnTo>
                  <a:lnTo>
                    <a:pt x="181" y="214"/>
                  </a:lnTo>
                  <a:lnTo>
                    <a:pt x="181" y="212"/>
                  </a:lnTo>
                  <a:lnTo>
                    <a:pt x="182" y="210"/>
                  </a:lnTo>
                  <a:lnTo>
                    <a:pt x="182" y="209"/>
                  </a:lnTo>
                  <a:lnTo>
                    <a:pt x="184" y="209"/>
                  </a:lnTo>
                  <a:lnTo>
                    <a:pt x="185" y="207"/>
                  </a:lnTo>
                  <a:lnTo>
                    <a:pt x="187" y="205"/>
                  </a:lnTo>
                  <a:lnTo>
                    <a:pt x="189" y="205"/>
                  </a:lnTo>
                  <a:lnTo>
                    <a:pt x="189" y="202"/>
                  </a:lnTo>
                  <a:lnTo>
                    <a:pt x="190" y="202"/>
                  </a:lnTo>
                  <a:lnTo>
                    <a:pt x="190" y="199"/>
                  </a:lnTo>
                  <a:lnTo>
                    <a:pt x="190" y="197"/>
                  </a:lnTo>
                  <a:lnTo>
                    <a:pt x="190" y="194"/>
                  </a:lnTo>
                  <a:lnTo>
                    <a:pt x="192" y="194"/>
                  </a:lnTo>
                  <a:lnTo>
                    <a:pt x="192" y="192"/>
                  </a:lnTo>
                  <a:lnTo>
                    <a:pt x="190" y="191"/>
                  </a:lnTo>
                  <a:lnTo>
                    <a:pt x="187" y="189"/>
                  </a:lnTo>
                  <a:lnTo>
                    <a:pt x="189" y="186"/>
                  </a:lnTo>
                  <a:lnTo>
                    <a:pt x="194" y="184"/>
                  </a:lnTo>
                  <a:lnTo>
                    <a:pt x="192" y="184"/>
                  </a:lnTo>
                  <a:lnTo>
                    <a:pt x="194" y="183"/>
                  </a:lnTo>
                  <a:lnTo>
                    <a:pt x="197" y="181"/>
                  </a:lnTo>
                  <a:lnTo>
                    <a:pt x="200" y="181"/>
                  </a:lnTo>
                  <a:lnTo>
                    <a:pt x="202" y="181"/>
                  </a:lnTo>
                  <a:lnTo>
                    <a:pt x="205" y="181"/>
                  </a:lnTo>
                  <a:lnTo>
                    <a:pt x="207" y="181"/>
                  </a:lnTo>
                  <a:lnTo>
                    <a:pt x="207" y="179"/>
                  </a:lnTo>
                  <a:lnTo>
                    <a:pt x="207" y="178"/>
                  </a:lnTo>
                  <a:lnTo>
                    <a:pt x="208" y="176"/>
                  </a:lnTo>
                  <a:lnTo>
                    <a:pt x="211" y="178"/>
                  </a:lnTo>
                  <a:lnTo>
                    <a:pt x="213" y="178"/>
                  </a:lnTo>
                  <a:lnTo>
                    <a:pt x="213" y="176"/>
                  </a:lnTo>
                  <a:lnTo>
                    <a:pt x="215" y="176"/>
                  </a:lnTo>
                  <a:lnTo>
                    <a:pt x="216" y="176"/>
                  </a:lnTo>
                  <a:lnTo>
                    <a:pt x="218" y="175"/>
                  </a:lnTo>
                  <a:lnTo>
                    <a:pt x="220" y="175"/>
                  </a:lnTo>
                  <a:lnTo>
                    <a:pt x="220" y="173"/>
                  </a:lnTo>
                  <a:lnTo>
                    <a:pt x="221" y="175"/>
                  </a:lnTo>
                  <a:lnTo>
                    <a:pt x="221" y="173"/>
                  </a:lnTo>
                  <a:lnTo>
                    <a:pt x="223" y="171"/>
                  </a:lnTo>
                  <a:lnTo>
                    <a:pt x="221" y="170"/>
                  </a:lnTo>
                  <a:lnTo>
                    <a:pt x="220" y="170"/>
                  </a:lnTo>
                  <a:lnTo>
                    <a:pt x="220" y="168"/>
                  </a:lnTo>
                  <a:lnTo>
                    <a:pt x="221" y="166"/>
                  </a:lnTo>
                  <a:lnTo>
                    <a:pt x="223" y="166"/>
                  </a:lnTo>
                  <a:lnTo>
                    <a:pt x="223" y="165"/>
                  </a:lnTo>
                  <a:lnTo>
                    <a:pt x="224" y="165"/>
                  </a:lnTo>
                  <a:lnTo>
                    <a:pt x="223" y="161"/>
                  </a:lnTo>
                  <a:lnTo>
                    <a:pt x="223" y="160"/>
                  </a:lnTo>
                  <a:lnTo>
                    <a:pt x="224" y="158"/>
                  </a:lnTo>
                  <a:lnTo>
                    <a:pt x="226" y="158"/>
                  </a:lnTo>
                  <a:lnTo>
                    <a:pt x="226" y="157"/>
                  </a:lnTo>
                  <a:lnTo>
                    <a:pt x="228" y="155"/>
                  </a:lnTo>
                  <a:lnTo>
                    <a:pt x="229" y="155"/>
                  </a:lnTo>
                  <a:lnTo>
                    <a:pt x="229" y="153"/>
                  </a:lnTo>
                  <a:lnTo>
                    <a:pt x="229" y="152"/>
                  </a:lnTo>
                  <a:lnTo>
                    <a:pt x="229" y="150"/>
                  </a:lnTo>
                  <a:lnTo>
                    <a:pt x="228" y="150"/>
                  </a:lnTo>
                  <a:lnTo>
                    <a:pt x="226" y="148"/>
                  </a:lnTo>
                  <a:lnTo>
                    <a:pt x="224" y="148"/>
                  </a:lnTo>
                  <a:lnTo>
                    <a:pt x="224" y="150"/>
                  </a:lnTo>
                  <a:lnTo>
                    <a:pt x="224" y="148"/>
                  </a:lnTo>
                  <a:lnTo>
                    <a:pt x="223" y="148"/>
                  </a:lnTo>
                  <a:lnTo>
                    <a:pt x="221" y="148"/>
                  </a:lnTo>
                  <a:lnTo>
                    <a:pt x="220" y="150"/>
                  </a:lnTo>
                  <a:lnTo>
                    <a:pt x="218" y="150"/>
                  </a:lnTo>
                  <a:lnTo>
                    <a:pt x="218" y="148"/>
                  </a:lnTo>
                  <a:lnTo>
                    <a:pt x="216" y="148"/>
                  </a:lnTo>
                  <a:lnTo>
                    <a:pt x="215" y="148"/>
                  </a:lnTo>
                  <a:lnTo>
                    <a:pt x="213" y="150"/>
                  </a:lnTo>
                  <a:lnTo>
                    <a:pt x="213" y="152"/>
                  </a:lnTo>
                  <a:lnTo>
                    <a:pt x="211" y="152"/>
                  </a:lnTo>
                  <a:lnTo>
                    <a:pt x="211" y="150"/>
                  </a:lnTo>
                  <a:lnTo>
                    <a:pt x="210" y="150"/>
                  </a:lnTo>
                  <a:lnTo>
                    <a:pt x="211" y="150"/>
                  </a:lnTo>
                  <a:lnTo>
                    <a:pt x="211" y="152"/>
                  </a:lnTo>
                  <a:lnTo>
                    <a:pt x="210" y="152"/>
                  </a:lnTo>
                  <a:lnTo>
                    <a:pt x="210" y="153"/>
                  </a:lnTo>
                  <a:lnTo>
                    <a:pt x="208" y="153"/>
                  </a:lnTo>
                  <a:lnTo>
                    <a:pt x="208" y="152"/>
                  </a:lnTo>
                  <a:lnTo>
                    <a:pt x="207" y="153"/>
                  </a:lnTo>
                  <a:lnTo>
                    <a:pt x="205" y="153"/>
                  </a:lnTo>
                  <a:lnTo>
                    <a:pt x="207" y="153"/>
                  </a:lnTo>
                  <a:lnTo>
                    <a:pt x="205" y="152"/>
                  </a:lnTo>
                  <a:lnTo>
                    <a:pt x="203" y="152"/>
                  </a:lnTo>
                  <a:lnTo>
                    <a:pt x="203" y="153"/>
                  </a:lnTo>
                  <a:lnTo>
                    <a:pt x="203" y="152"/>
                  </a:lnTo>
                  <a:lnTo>
                    <a:pt x="202" y="152"/>
                  </a:lnTo>
                  <a:lnTo>
                    <a:pt x="200" y="152"/>
                  </a:lnTo>
                  <a:lnTo>
                    <a:pt x="198" y="152"/>
                  </a:lnTo>
                  <a:lnTo>
                    <a:pt x="197" y="152"/>
                  </a:lnTo>
                  <a:lnTo>
                    <a:pt x="198" y="150"/>
                  </a:lnTo>
                  <a:lnTo>
                    <a:pt x="198" y="148"/>
                  </a:lnTo>
                  <a:lnTo>
                    <a:pt x="200" y="147"/>
                  </a:lnTo>
                  <a:lnTo>
                    <a:pt x="202" y="145"/>
                  </a:lnTo>
                  <a:lnTo>
                    <a:pt x="203" y="144"/>
                  </a:lnTo>
                  <a:lnTo>
                    <a:pt x="203" y="142"/>
                  </a:lnTo>
                  <a:lnTo>
                    <a:pt x="203" y="140"/>
                  </a:lnTo>
                  <a:lnTo>
                    <a:pt x="202" y="137"/>
                  </a:lnTo>
                  <a:lnTo>
                    <a:pt x="203" y="137"/>
                  </a:lnTo>
                  <a:lnTo>
                    <a:pt x="202" y="135"/>
                  </a:lnTo>
                  <a:lnTo>
                    <a:pt x="202" y="134"/>
                  </a:lnTo>
                  <a:lnTo>
                    <a:pt x="202" y="132"/>
                  </a:lnTo>
                  <a:lnTo>
                    <a:pt x="200" y="131"/>
                  </a:lnTo>
                  <a:lnTo>
                    <a:pt x="198" y="127"/>
                  </a:lnTo>
                  <a:lnTo>
                    <a:pt x="198" y="126"/>
                  </a:lnTo>
                  <a:lnTo>
                    <a:pt x="198" y="124"/>
                  </a:lnTo>
                  <a:lnTo>
                    <a:pt x="200" y="124"/>
                  </a:lnTo>
                  <a:lnTo>
                    <a:pt x="200" y="122"/>
                  </a:lnTo>
                  <a:lnTo>
                    <a:pt x="202" y="122"/>
                  </a:lnTo>
                  <a:lnTo>
                    <a:pt x="202" y="121"/>
                  </a:lnTo>
                  <a:lnTo>
                    <a:pt x="202" y="119"/>
                  </a:lnTo>
                  <a:lnTo>
                    <a:pt x="202" y="118"/>
                  </a:lnTo>
                  <a:lnTo>
                    <a:pt x="203" y="118"/>
                  </a:lnTo>
                  <a:lnTo>
                    <a:pt x="205" y="114"/>
                  </a:lnTo>
                  <a:lnTo>
                    <a:pt x="205" y="113"/>
                  </a:lnTo>
                  <a:lnTo>
                    <a:pt x="203" y="113"/>
                  </a:lnTo>
                  <a:lnTo>
                    <a:pt x="203" y="111"/>
                  </a:lnTo>
                  <a:lnTo>
                    <a:pt x="203" y="109"/>
                  </a:lnTo>
                  <a:lnTo>
                    <a:pt x="203" y="108"/>
                  </a:lnTo>
                  <a:lnTo>
                    <a:pt x="202" y="106"/>
                  </a:lnTo>
                  <a:lnTo>
                    <a:pt x="202" y="105"/>
                  </a:lnTo>
                  <a:lnTo>
                    <a:pt x="200" y="105"/>
                  </a:lnTo>
                  <a:lnTo>
                    <a:pt x="200" y="103"/>
                  </a:lnTo>
                  <a:lnTo>
                    <a:pt x="200" y="101"/>
                  </a:lnTo>
                  <a:lnTo>
                    <a:pt x="200" y="100"/>
                  </a:lnTo>
                  <a:lnTo>
                    <a:pt x="202" y="98"/>
                  </a:lnTo>
                  <a:lnTo>
                    <a:pt x="200" y="98"/>
                  </a:lnTo>
                  <a:lnTo>
                    <a:pt x="202" y="96"/>
                  </a:lnTo>
                  <a:lnTo>
                    <a:pt x="203" y="96"/>
                  </a:lnTo>
                  <a:lnTo>
                    <a:pt x="207" y="96"/>
                  </a:lnTo>
                  <a:lnTo>
                    <a:pt x="208" y="98"/>
                  </a:lnTo>
                  <a:lnTo>
                    <a:pt x="210" y="98"/>
                  </a:lnTo>
                  <a:lnTo>
                    <a:pt x="211" y="98"/>
                  </a:lnTo>
                  <a:lnTo>
                    <a:pt x="213" y="98"/>
                  </a:lnTo>
                  <a:lnTo>
                    <a:pt x="213" y="96"/>
                  </a:lnTo>
                  <a:lnTo>
                    <a:pt x="213" y="95"/>
                  </a:lnTo>
                  <a:lnTo>
                    <a:pt x="216" y="93"/>
                  </a:lnTo>
                  <a:lnTo>
                    <a:pt x="218" y="92"/>
                  </a:lnTo>
                  <a:lnTo>
                    <a:pt x="218" y="90"/>
                  </a:lnTo>
                  <a:lnTo>
                    <a:pt x="220" y="87"/>
                  </a:lnTo>
                  <a:lnTo>
                    <a:pt x="220" y="83"/>
                  </a:lnTo>
                  <a:lnTo>
                    <a:pt x="220" y="82"/>
                  </a:lnTo>
                  <a:lnTo>
                    <a:pt x="220" y="80"/>
                  </a:lnTo>
                  <a:lnTo>
                    <a:pt x="221" y="80"/>
                  </a:lnTo>
                  <a:lnTo>
                    <a:pt x="223" y="75"/>
                  </a:lnTo>
                  <a:lnTo>
                    <a:pt x="224" y="74"/>
                  </a:lnTo>
                  <a:lnTo>
                    <a:pt x="226" y="74"/>
                  </a:lnTo>
                  <a:lnTo>
                    <a:pt x="231" y="72"/>
                  </a:lnTo>
                  <a:lnTo>
                    <a:pt x="231" y="70"/>
                  </a:lnTo>
                  <a:lnTo>
                    <a:pt x="231" y="69"/>
                  </a:lnTo>
                  <a:lnTo>
                    <a:pt x="234" y="67"/>
                  </a:lnTo>
                  <a:lnTo>
                    <a:pt x="236" y="67"/>
                  </a:lnTo>
                  <a:lnTo>
                    <a:pt x="237" y="69"/>
                  </a:lnTo>
                  <a:lnTo>
                    <a:pt x="239" y="69"/>
                  </a:lnTo>
                  <a:lnTo>
                    <a:pt x="241" y="70"/>
                  </a:lnTo>
                  <a:lnTo>
                    <a:pt x="244" y="72"/>
                  </a:lnTo>
                  <a:lnTo>
                    <a:pt x="244" y="74"/>
                  </a:lnTo>
                  <a:lnTo>
                    <a:pt x="247" y="74"/>
                  </a:lnTo>
                  <a:lnTo>
                    <a:pt x="249" y="74"/>
                  </a:lnTo>
                  <a:lnTo>
                    <a:pt x="252" y="70"/>
                  </a:lnTo>
                  <a:lnTo>
                    <a:pt x="252" y="69"/>
                  </a:lnTo>
                  <a:lnTo>
                    <a:pt x="254" y="69"/>
                  </a:lnTo>
                  <a:lnTo>
                    <a:pt x="257" y="69"/>
                  </a:lnTo>
                  <a:lnTo>
                    <a:pt x="257" y="70"/>
                  </a:lnTo>
                  <a:lnTo>
                    <a:pt x="259" y="70"/>
                  </a:lnTo>
                  <a:lnTo>
                    <a:pt x="260" y="70"/>
                  </a:lnTo>
                  <a:lnTo>
                    <a:pt x="262" y="70"/>
                  </a:lnTo>
                  <a:lnTo>
                    <a:pt x="262" y="69"/>
                  </a:lnTo>
                  <a:lnTo>
                    <a:pt x="262" y="70"/>
                  </a:lnTo>
                  <a:lnTo>
                    <a:pt x="265" y="70"/>
                  </a:lnTo>
                  <a:lnTo>
                    <a:pt x="270" y="69"/>
                  </a:lnTo>
                  <a:lnTo>
                    <a:pt x="272" y="69"/>
                  </a:lnTo>
                  <a:lnTo>
                    <a:pt x="273" y="69"/>
                  </a:lnTo>
                  <a:lnTo>
                    <a:pt x="273" y="67"/>
                  </a:lnTo>
                  <a:lnTo>
                    <a:pt x="273" y="62"/>
                  </a:lnTo>
                  <a:lnTo>
                    <a:pt x="273" y="59"/>
                  </a:lnTo>
                  <a:lnTo>
                    <a:pt x="270" y="53"/>
                  </a:lnTo>
                  <a:lnTo>
                    <a:pt x="272" y="49"/>
                  </a:lnTo>
                  <a:lnTo>
                    <a:pt x="272" y="48"/>
                  </a:lnTo>
                  <a:lnTo>
                    <a:pt x="277" y="40"/>
                  </a:lnTo>
                  <a:lnTo>
                    <a:pt x="277" y="38"/>
                  </a:lnTo>
                  <a:lnTo>
                    <a:pt x="278" y="38"/>
                  </a:lnTo>
                  <a:lnTo>
                    <a:pt x="280" y="38"/>
                  </a:lnTo>
                  <a:lnTo>
                    <a:pt x="280" y="36"/>
                  </a:lnTo>
                  <a:lnTo>
                    <a:pt x="281" y="36"/>
                  </a:lnTo>
                  <a:lnTo>
                    <a:pt x="281" y="35"/>
                  </a:lnTo>
                  <a:lnTo>
                    <a:pt x="281" y="33"/>
                  </a:lnTo>
                  <a:lnTo>
                    <a:pt x="281" y="31"/>
                  </a:lnTo>
                  <a:lnTo>
                    <a:pt x="281" y="30"/>
                  </a:lnTo>
                  <a:lnTo>
                    <a:pt x="280" y="30"/>
                  </a:lnTo>
                  <a:lnTo>
                    <a:pt x="280" y="28"/>
                  </a:lnTo>
                  <a:lnTo>
                    <a:pt x="281" y="28"/>
                  </a:lnTo>
                  <a:lnTo>
                    <a:pt x="283" y="26"/>
                  </a:lnTo>
                  <a:lnTo>
                    <a:pt x="285" y="25"/>
                  </a:lnTo>
                  <a:lnTo>
                    <a:pt x="286" y="25"/>
                  </a:lnTo>
                  <a:lnTo>
                    <a:pt x="286" y="23"/>
                  </a:lnTo>
                  <a:lnTo>
                    <a:pt x="288" y="23"/>
                  </a:lnTo>
                  <a:lnTo>
                    <a:pt x="288" y="22"/>
                  </a:lnTo>
                  <a:lnTo>
                    <a:pt x="288" y="20"/>
                  </a:lnTo>
                  <a:lnTo>
                    <a:pt x="288" y="18"/>
                  </a:lnTo>
                  <a:lnTo>
                    <a:pt x="288" y="17"/>
                  </a:lnTo>
                  <a:lnTo>
                    <a:pt x="290" y="17"/>
                  </a:lnTo>
                  <a:lnTo>
                    <a:pt x="290" y="15"/>
                  </a:lnTo>
                  <a:lnTo>
                    <a:pt x="290" y="13"/>
                  </a:lnTo>
                  <a:lnTo>
                    <a:pt x="291" y="13"/>
                  </a:lnTo>
                  <a:lnTo>
                    <a:pt x="291" y="12"/>
                  </a:lnTo>
                  <a:lnTo>
                    <a:pt x="291" y="13"/>
                  </a:lnTo>
                  <a:lnTo>
                    <a:pt x="291" y="12"/>
                  </a:lnTo>
                  <a:lnTo>
                    <a:pt x="293" y="12"/>
                  </a:lnTo>
                  <a:lnTo>
                    <a:pt x="294" y="12"/>
                  </a:lnTo>
                  <a:lnTo>
                    <a:pt x="296" y="12"/>
                  </a:lnTo>
                  <a:lnTo>
                    <a:pt x="294" y="12"/>
                  </a:lnTo>
                  <a:lnTo>
                    <a:pt x="296" y="10"/>
                  </a:lnTo>
                  <a:lnTo>
                    <a:pt x="296" y="9"/>
                  </a:lnTo>
                  <a:lnTo>
                    <a:pt x="298" y="9"/>
                  </a:lnTo>
                  <a:lnTo>
                    <a:pt x="298" y="7"/>
                  </a:lnTo>
                  <a:lnTo>
                    <a:pt x="299" y="5"/>
                  </a:lnTo>
                  <a:lnTo>
                    <a:pt x="299" y="4"/>
                  </a:lnTo>
                  <a:lnTo>
                    <a:pt x="301" y="4"/>
                  </a:lnTo>
                  <a:lnTo>
                    <a:pt x="303" y="4"/>
                  </a:lnTo>
                  <a:close/>
                </a:path>
              </a:pathLst>
            </a:custGeom>
            <a:solidFill>
              <a:srgbClr val="E5E5E5"/>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26" name="Freeform 15">
              <a:extLst>
                <a:ext uri="{FF2B5EF4-FFF2-40B4-BE49-F238E27FC236}">
                  <a16:creationId xmlns:a16="http://schemas.microsoft.com/office/drawing/2014/main" id="{3A3C3943-3575-E61D-C02F-48DE0DDC035E}"/>
                </a:ext>
              </a:extLst>
            </p:cNvPr>
            <p:cNvSpPr>
              <a:spLocks noEditPoints="1"/>
            </p:cNvSpPr>
            <p:nvPr/>
          </p:nvSpPr>
          <p:spPr bwMode="auto">
            <a:xfrm>
              <a:off x="3802" y="4064"/>
              <a:ext cx="453" cy="284"/>
            </a:xfrm>
            <a:custGeom>
              <a:avLst/>
              <a:gdLst>
                <a:gd name="T0" fmla="*/ 280 w 453"/>
                <a:gd name="T1" fmla="*/ 9 h 284"/>
                <a:gd name="T2" fmla="*/ 290 w 453"/>
                <a:gd name="T3" fmla="*/ 14 h 284"/>
                <a:gd name="T4" fmla="*/ 321 w 453"/>
                <a:gd name="T5" fmla="*/ 21 h 284"/>
                <a:gd name="T6" fmla="*/ 370 w 453"/>
                <a:gd name="T7" fmla="*/ 53 h 284"/>
                <a:gd name="T8" fmla="*/ 355 w 453"/>
                <a:gd name="T9" fmla="*/ 86 h 284"/>
                <a:gd name="T10" fmla="*/ 363 w 453"/>
                <a:gd name="T11" fmla="*/ 109 h 284"/>
                <a:gd name="T12" fmla="*/ 392 w 453"/>
                <a:gd name="T13" fmla="*/ 112 h 284"/>
                <a:gd name="T14" fmla="*/ 405 w 453"/>
                <a:gd name="T15" fmla="*/ 131 h 284"/>
                <a:gd name="T16" fmla="*/ 428 w 453"/>
                <a:gd name="T17" fmla="*/ 126 h 284"/>
                <a:gd name="T18" fmla="*/ 448 w 453"/>
                <a:gd name="T19" fmla="*/ 123 h 284"/>
                <a:gd name="T20" fmla="*/ 443 w 453"/>
                <a:gd name="T21" fmla="*/ 154 h 284"/>
                <a:gd name="T22" fmla="*/ 451 w 453"/>
                <a:gd name="T23" fmla="*/ 180 h 284"/>
                <a:gd name="T24" fmla="*/ 428 w 453"/>
                <a:gd name="T25" fmla="*/ 177 h 284"/>
                <a:gd name="T26" fmla="*/ 412 w 453"/>
                <a:gd name="T27" fmla="*/ 177 h 284"/>
                <a:gd name="T28" fmla="*/ 417 w 453"/>
                <a:gd name="T29" fmla="*/ 198 h 284"/>
                <a:gd name="T30" fmla="*/ 418 w 453"/>
                <a:gd name="T31" fmla="*/ 226 h 284"/>
                <a:gd name="T32" fmla="*/ 399 w 453"/>
                <a:gd name="T33" fmla="*/ 204 h 284"/>
                <a:gd name="T34" fmla="*/ 376 w 453"/>
                <a:gd name="T35" fmla="*/ 214 h 284"/>
                <a:gd name="T36" fmla="*/ 350 w 453"/>
                <a:gd name="T37" fmla="*/ 204 h 284"/>
                <a:gd name="T38" fmla="*/ 340 w 453"/>
                <a:gd name="T39" fmla="*/ 187 h 284"/>
                <a:gd name="T40" fmla="*/ 334 w 453"/>
                <a:gd name="T41" fmla="*/ 208 h 284"/>
                <a:gd name="T42" fmla="*/ 324 w 453"/>
                <a:gd name="T43" fmla="*/ 234 h 284"/>
                <a:gd name="T44" fmla="*/ 305 w 453"/>
                <a:gd name="T45" fmla="*/ 255 h 284"/>
                <a:gd name="T46" fmla="*/ 308 w 453"/>
                <a:gd name="T47" fmla="*/ 279 h 284"/>
                <a:gd name="T48" fmla="*/ 293 w 453"/>
                <a:gd name="T49" fmla="*/ 270 h 284"/>
                <a:gd name="T50" fmla="*/ 283 w 453"/>
                <a:gd name="T51" fmla="*/ 245 h 284"/>
                <a:gd name="T52" fmla="*/ 261 w 453"/>
                <a:gd name="T53" fmla="*/ 232 h 284"/>
                <a:gd name="T54" fmla="*/ 251 w 453"/>
                <a:gd name="T55" fmla="*/ 203 h 284"/>
                <a:gd name="T56" fmla="*/ 236 w 453"/>
                <a:gd name="T57" fmla="*/ 203 h 284"/>
                <a:gd name="T58" fmla="*/ 214 w 453"/>
                <a:gd name="T59" fmla="*/ 219 h 284"/>
                <a:gd name="T60" fmla="*/ 214 w 453"/>
                <a:gd name="T61" fmla="*/ 242 h 284"/>
                <a:gd name="T62" fmla="*/ 191 w 453"/>
                <a:gd name="T63" fmla="*/ 268 h 284"/>
                <a:gd name="T64" fmla="*/ 168 w 453"/>
                <a:gd name="T65" fmla="*/ 260 h 284"/>
                <a:gd name="T66" fmla="*/ 144 w 453"/>
                <a:gd name="T67" fmla="*/ 268 h 284"/>
                <a:gd name="T68" fmla="*/ 118 w 453"/>
                <a:gd name="T69" fmla="*/ 271 h 284"/>
                <a:gd name="T70" fmla="*/ 101 w 453"/>
                <a:gd name="T71" fmla="*/ 250 h 284"/>
                <a:gd name="T72" fmla="*/ 88 w 453"/>
                <a:gd name="T73" fmla="*/ 234 h 284"/>
                <a:gd name="T74" fmla="*/ 92 w 453"/>
                <a:gd name="T75" fmla="*/ 213 h 284"/>
                <a:gd name="T76" fmla="*/ 53 w 453"/>
                <a:gd name="T77" fmla="*/ 190 h 284"/>
                <a:gd name="T78" fmla="*/ 36 w 453"/>
                <a:gd name="T79" fmla="*/ 214 h 284"/>
                <a:gd name="T80" fmla="*/ 4 w 453"/>
                <a:gd name="T81" fmla="*/ 229 h 284"/>
                <a:gd name="T82" fmla="*/ 13 w 453"/>
                <a:gd name="T83" fmla="*/ 214 h 284"/>
                <a:gd name="T84" fmla="*/ 13 w 453"/>
                <a:gd name="T85" fmla="*/ 188 h 284"/>
                <a:gd name="T86" fmla="*/ 30 w 453"/>
                <a:gd name="T87" fmla="*/ 157 h 284"/>
                <a:gd name="T88" fmla="*/ 56 w 453"/>
                <a:gd name="T89" fmla="*/ 130 h 284"/>
                <a:gd name="T90" fmla="*/ 74 w 453"/>
                <a:gd name="T91" fmla="*/ 109 h 284"/>
                <a:gd name="T92" fmla="*/ 87 w 453"/>
                <a:gd name="T93" fmla="*/ 92 h 284"/>
                <a:gd name="T94" fmla="*/ 105 w 453"/>
                <a:gd name="T95" fmla="*/ 76 h 284"/>
                <a:gd name="T96" fmla="*/ 118 w 453"/>
                <a:gd name="T97" fmla="*/ 61 h 284"/>
                <a:gd name="T98" fmla="*/ 106 w 453"/>
                <a:gd name="T99" fmla="*/ 52 h 284"/>
                <a:gd name="T100" fmla="*/ 126 w 453"/>
                <a:gd name="T101" fmla="*/ 39 h 284"/>
                <a:gd name="T102" fmla="*/ 147 w 453"/>
                <a:gd name="T103" fmla="*/ 50 h 284"/>
                <a:gd name="T104" fmla="*/ 161 w 453"/>
                <a:gd name="T105" fmla="*/ 39 h 284"/>
                <a:gd name="T106" fmla="*/ 179 w 453"/>
                <a:gd name="T107" fmla="*/ 30 h 284"/>
                <a:gd name="T108" fmla="*/ 191 w 453"/>
                <a:gd name="T109" fmla="*/ 32 h 284"/>
                <a:gd name="T110" fmla="*/ 212 w 453"/>
                <a:gd name="T111" fmla="*/ 35 h 284"/>
                <a:gd name="T112" fmla="*/ 235 w 453"/>
                <a:gd name="T113" fmla="*/ 27 h 284"/>
                <a:gd name="T114" fmla="*/ 256 w 453"/>
                <a:gd name="T115" fmla="*/ 27 h 284"/>
                <a:gd name="T116" fmla="*/ 270 w 453"/>
                <a:gd name="T117" fmla="*/ 22 h 284"/>
                <a:gd name="T118" fmla="*/ 256 w 453"/>
                <a:gd name="T119" fmla="*/ 21 h 284"/>
                <a:gd name="T120" fmla="*/ 259 w 453"/>
                <a:gd name="T121" fmla="*/ 4 h 284"/>
                <a:gd name="T122" fmla="*/ 279 w 453"/>
                <a:gd name="T123" fmla="*/ 16 h 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53" h="284">
                  <a:moveTo>
                    <a:pt x="266" y="0"/>
                  </a:moveTo>
                  <a:lnTo>
                    <a:pt x="267" y="0"/>
                  </a:lnTo>
                  <a:lnTo>
                    <a:pt x="269" y="0"/>
                  </a:lnTo>
                  <a:lnTo>
                    <a:pt x="270" y="1"/>
                  </a:lnTo>
                  <a:lnTo>
                    <a:pt x="270" y="4"/>
                  </a:lnTo>
                  <a:lnTo>
                    <a:pt x="270" y="6"/>
                  </a:lnTo>
                  <a:lnTo>
                    <a:pt x="272" y="6"/>
                  </a:lnTo>
                  <a:lnTo>
                    <a:pt x="272" y="4"/>
                  </a:lnTo>
                  <a:lnTo>
                    <a:pt x="274" y="4"/>
                  </a:lnTo>
                  <a:lnTo>
                    <a:pt x="274" y="1"/>
                  </a:lnTo>
                  <a:lnTo>
                    <a:pt x="275" y="1"/>
                  </a:lnTo>
                  <a:lnTo>
                    <a:pt x="277" y="3"/>
                  </a:lnTo>
                  <a:lnTo>
                    <a:pt x="277" y="4"/>
                  </a:lnTo>
                  <a:lnTo>
                    <a:pt x="277" y="6"/>
                  </a:lnTo>
                  <a:lnTo>
                    <a:pt x="279" y="6"/>
                  </a:lnTo>
                  <a:lnTo>
                    <a:pt x="280" y="6"/>
                  </a:lnTo>
                  <a:lnTo>
                    <a:pt x="282" y="8"/>
                  </a:lnTo>
                  <a:lnTo>
                    <a:pt x="280" y="9"/>
                  </a:lnTo>
                  <a:lnTo>
                    <a:pt x="279" y="11"/>
                  </a:lnTo>
                  <a:lnTo>
                    <a:pt x="280" y="11"/>
                  </a:lnTo>
                  <a:lnTo>
                    <a:pt x="282" y="13"/>
                  </a:lnTo>
                  <a:lnTo>
                    <a:pt x="280" y="16"/>
                  </a:lnTo>
                  <a:lnTo>
                    <a:pt x="282" y="16"/>
                  </a:lnTo>
                  <a:lnTo>
                    <a:pt x="283" y="16"/>
                  </a:lnTo>
                  <a:lnTo>
                    <a:pt x="285" y="17"/>
                  </a:lnTo>
                  <a:lnTo>
                    <a:pt x="287" y="19"/>
                  </a:lnTo>
                  <a:lnTo>
                    <a:pt x="288" y="16"/>
                  </a:lnTo>
                  <a:lnTo>
                    <a:pt x="287" y="14"/>
                  </a:lnTo>
                  <a:lnTo>
                    <a:pt x="285" y="14"/>
                  </a:lnTo>
                  <a:lnTo>
                    <a:pt x="285" y="13"/>
                  </a:lnTo>
                  <a:lnTo>
                    <a:pt x="285" y="11"/>
                  </a:lnTo>
                  <a:lnTo>
                    <a:pt x="287" y="11"/>
                  </a:lnTo>
                  <a:lnTo>
                    <a:pt x="288" y="11"/>
                  </a:lnTo>
                  <a:lnTo>
                    <a:pt x="290" y="13"/>
                  </a:lnTo>
                  <a:lnTo>
                    <a:pt x="288" y="14"/>
                  </a:lnTo>
                  <a:lnTo>
                    <a:pt x="290" y="14"/>
                  </a:lnTo>
                  <a:lnTo>
                    <a:pt x="292" y="13"/>
                  </a:lnTo>
                  <a:lnTo>
                    <a:pt x="293" y="14"/>
                  </a:lnTo>
                  <a:lnTo>
                    <a:pt x="295" y="14"/>
                  </a:lnTo>
                  <a:lnTo>
                    <a:pt x="295" y="16"/>
                  </a:lnTo>
                  <a:lnTo>
                    <a:pt x="293" y="16"/>
                  </a:lnTo>
                  <a:lnTo>
                    <a:pt x="293" y="17"/>
                  </a:lnTo>
                  <a:lnTo>
                    <a:pt x="292" y="17"/>
                  </a:lnTo>
                  <a:lnTo>
                    <a:pt x="292" y="19"/>
                  </a:lnTo>
                  <a:lnTo>
                    <a:pt x="293" y="19"/>
                  </a:lnTo>
                  <a:lnTo>
                    <a:pt x="295" y="19"/>
                  </a:lnTo>
                  <a:lnTo>
                    <a:pt x="295" y="21"/>
                  </a:lnTo>
                  <a:lnTo>
                    <a:pt x="295" y="22"/>
                  </a:lnTo>
                  <a:lnTo>
                    <a:pt x="296" y="22"/>
                  </a:lnTo>
                  <a:lnTo>
                    <a:pt x="303" y="21"/>
                  </a:lnTo>
                  <a:lnTo>
                    <a:pt x="306" y="19"/>
                  </a:lnTo>
                  <a:lnTo>
                    <a:pt x="316" y="19"/>
                  </a:lnTo>
                  <a:lnTo>
                    <a:pt x="319" y="21"/>
                  </a:lnTo>
                  <a:lnTo>
                    <a:pt x="321" y="21"/>
                  </a:lnTo>
                  <a:lnTo>
                    <a:pt x="323" y="21"/>
                  </a:lnTo>
                  <a:lnTo>
                    <a:pt x="323" y="22"/>
                  </a:lnTo>
                  <a:lnTo>
                    <a:pt x="324" y="22"/>
                  </a:lnTo>
                  <a:lnTo>
                    <a:pt x="327" y="22"/>
                  </a:lnTo>
                  <a:lnTo>
                    <a:pt x="344" y="29"/>
                  </a:lnTo>
                  <a:lnTo>
                    <a:pt x="353" y="37"/>
                  </a:lnTo>
                  <a:lnTo>
                    <a:pt x="355" y="35"/>
                  </a:lnTo>
                  <a:lnTo>
                    <a:pt x="358" y="37"/>
                  </a:lnTo>
                  <a:lnTo>
                    <a:pt x="360" y="39"/>
                  </a:lnTo>
                  <a:lnTo>
                    <a:pt x="362" y="39"/>
                  </a:lnTo>
                  <a:lnTo>
                    <a:pt x="362" y="45"/>
                  </a:lnTo>
                  <a:lnTo>
                    <a:pt x="363" y="47"/>
                  </a:lnTo>
                  <a:lnTo>
                    <a:pt x="365" y="50"/>
                  </a:lnTo>
                  <a:lnTo>
                    <a:pt x="365" y="48"/>
                  </a:lnTo>
                  <a:lnTo>
                    <a:pt x="366" y="48"/>
                  </a:lnTo>
                  <a:lnTo>
                    <a:pt x="366" y="50"/>
                  </a:lnTo>
                  <a:lnTo>
                    <a:pt x="370" y="52"/>
                  </a:lnTo>
                  <a:lnTo>
                    <a:pt x="370" y="53"/>
                  </a:lnTo>
                  <a:lnTo>
                    <a:pt x="370" y="55"/>
                  </a:lnTo>
                  <a:lnTo>
                    <a:pt x="370" y="58"/>
                  </a:lnTo>
                  <a:lnTo>
                    <a:pt x="371" y="60"/>
                  </a:lnTo>
                  <a:lnTo>
                    <a:pt x="371" y="61"/>
                  </a:lnTo>
                  <a:lnTo>
                    <a:pt x="371" y="63"/>
                  </a:lnTo>
                  <a:lnTo>
                    <a:pt x="370" y="63"/>
                  </a:lnTo>
                  <a:lnTo>
                    <a:pt x="368" y="63"/>
                  </a:lnTo>
                  <a:lnTo>
                    <a:pt x="366" y="65"/>
                  </a:lnTo>
                  <a:lnTo>
                    <a:pt x="365" y="66"/>
                  </a:lnTo>
                  <a:lnTo>
                    <a:pt x="363" y="71"/>
                  </a:lnTo>
                  <a:lnTo>
                    <a:pt x="360" y="73"/>
                  </a:lnTo>
                  <a:lnTo>
                    <a:pt x="360" y="74"/>
                  </a:lnTo>
                  <a:lnTo>
                    <a:pt x="360" y="76"/>
                  </a:lnTo>
                  <a:lnTo>
                    <a:pt x="358" y="78"/>
                  </a:lnTo>
                  <a:lnTo>
                    <a:pt x="358" y="79"/>
                  </a:lnTo>
                  <a:lnTo>
                    <a:pt x="357" y="81"/>
                  </a:lnTo>
                  <a:lnTo>
                    <a:pt x="355" y="84"/>
                  </a:lnTo>
                  <a:lnTo>
                    <a:pt x="355" y="86"/>
                  </a:lnTo>
                  <a:lnTo>
                    <a:pt x="353" y="89"/>
                  </a:lnTo>
                  <a:lnTo>
                    <a:pt x="353" y="91"/>
                  </a:lnTo>
                  <a:lnTo>
                    <a:pt x="353" y="92"/>
                  </a:lnTo>
                  <a:lnTo>
                    <a:pt x="355" y="96"/>
                  </a:lnTo>
                  <a:lnTo>
                    <a:pt x="355" y="97"/>
                  </a:lnTo>
                  <a:lnTo>
                    <a:pt x="357" y="99"/>
                  </a:lnTo>
                  <a:lnTo>
                    <a:pt x="357" y="100"/>
                  </a:lnTo>
                  <a:lnTo>
                    <a:pt x="357" y="102"/>
                  </a:lnTo>
                  <a:lnTo>
                    <a:pt x="357" y="104"/>
                  </a:lnTo>
                  <a:lnTo>
                    <a:pt x="355" y="104"/>
                  </a:lnTo>
                  <a:lnTo>
                    <a:pt x="352" y="107"/>
                  </a:lnTo>
                  <a:lnTo>
                    <a:pt x="353" y="109"/>
                  </a:lnTo>
                  <a:lnTo>
                    <a:pt x="355" y="109"/>
                  </a:lnTo>
                  <a:lnTo>
                    <a:pt x="358" y="107"/>
                  </a:lnTo>
                  <a:lnTo>
                    <a:pt x="360" y="107"/>
                  </a:lnTo>
                  <a:lnTo>
                    <a:pt x="360" y="109"/>
                  </a:lnTo>
                  <a:lnTo>
                    <a:pt x="362" y="109"/>
                  </a:lnTo>
                  <a:lnTo>
                    <a:pt x="363" y="109"/>
                  </a:lnTo>
                  <a:lnTo>
                    <a:pt x="365" y="107"/>
                  </a:lnTo>
                  <a:lnTo>
                    <a:pt x="365" y="109"/>
                  </a:lnTo>
                  <a:lnTo>
                    <a:pt x="366" y="109"/>
                  </a:lnTo>
                  <a:lnTo>
                    <a:pt x="368" y="109"/>
                  </a:lnTo>
                  <a:lnTo>
                    <a:pt x="370" y="107"/>
                  </a:lnTo>
                  <a:lnTo>
                    <a:pt x="370" y="109"/>
                  </a:lnTo>
                  <a:lnTo>
                    <a:pt x="373" y="107"/>
                  </a:lnTo>
                  <a:lnTo>
                    <a:pt x="375" y="109"/>
                  </a:lnTo>
                  <a:lnTo>
                    <a:pt x="376" y="109"/>
                  </a:lnTo>
                  <a:lnTo>
                    <a:pt x="379" y="110"/>
                  </a:lnTo>
                  <a:lnTo>
                    <a:pt x="381" y="110"/>
                  </a:lnTo>
                  <a:lnTo>
                    <a:pt x="383" y="110"/>
                  </a:lnTo>
                  <a:lnTo>
                    <a:pt x="384" y="112"/>
                  </a:lnTo>
                  <a:lnTo>
                    <a:pt x="386" y="113"/>
                  </a:lnTo>
                  <a:lnTo>
                    <a:pt x="388" y="113"/>
                  </a:lnTo>
                  <a:lnTo>
                    <a:pt x="389" y="113"/>
                  </a:lnTo>
                  <a:lnTo>
                    <a:pt x="391" y="112"/>
                  </a:lnTo>
                  <a:lnTo>
                    <a:pt x="392" y="112"/>
                  </a:lnTo>
                  <a:lnTo>
                    <a:pt x="392" y="113"/>
                  </a:lnTo>
                  <a:lnTo>
                    <a:pt x="391" y="115"/>
                  </a:lnTo>
                  <a:lnTo>
                    <a:pt x="392" y="117"/>
                  </a:lnTo>
                  <a:lnTo>
                    <a:pt x="392" y="118"/>
                  </a:lnTo>
                  <a:lnTo>
                    <a:pt x="392" y="120"/>
                  </a:lnTo>
                  <a:lnTo>
                    <a:pt x="391" y="122"/>
                  </a:lnTo>
                  <a:lnTo>
                    <a:pt x="391" y="123"/>
                  </a:lnTo>
                  <a:lnTo>
                    <a:pt x="392" y="125"/>
                  </a:lnTo>
                  <a:lnTo>
                    <a:pt x="392" y="126"/>
                  </a:lnTo>
                  <a:lnTo>
                    <a:pt x="394" y="126"/>
                  </a:lnTo>
                  <a:lnTo>
                    <a:pt x="396" y="128"/>
                  </a:lnTo>
                  <a:lnTo>
                    <a:pt x="397" y="128"/>
                  </a:lnTo>
                  <a:lnTo>
                    <a:pt x="399" y="128"/>
                  </a:lnTo>
                  <a:lnTo>
                    <a:pt x="401" y="128"/>
                  </a:lnTo>
                  <a:lnTo>
                    <a:pt x="402" y="128"/>
                  </a:lnTo>
                  <a:lnTo>
                    <a:pt x="402" y="130"/>
                  </a:lnTo>
                  <a:lnTo>
                    <a:pt x="404" y="131"/>
                  </a:lnTo>
                  <a:lnTo>
                    <a:pt x="405" y="131"/>
                  </a:lnTo>
                  <a:lnTo>
                    <a:pt x="407" y="133"/>
                  </a:lnTo>
                  <a:lnTo>
                    <a:pt x="409" y="135"/>
                  </a:lnTo>
                  <a:lnTo>
                    <a:pt x="409" y="136"/>
                  </a:lnTo>
                  <a:lnTo>
                    <a:pt x="410" y="136"/>
                  </a:lnTo>
                  <a:lnTo>
                    <a:pt x="412" y="136"/>
                  </a:lnTo>
                  <a:lnTo>
                    <a:pt x="414" y="138"/>
                  </a:lnTo>
                  <a:lnTo>
                    <a:pt x="418" y="138"/>
                  </a:lnTo>
                  <a:lnTo>
                    <a:pt x="420" y="138"/>
                  </a:lnTo>
                  <a:lnTo>
                    <a:pt x="422" y="136"/>
                  </a:lnTo>
                  <a:lnTo>
                    <a:pt x="423" y="136"/>
                  </a:lnTo>
                  <a:lnTo>
                    <a:pt x="427" y="135"/>
                  </a:lnTo>
                  <a:lnTo>
                    <a:pt x="427" y="133"/>
                  </a:lnTo>
                  <a:lnTo>
                    <a:pt x="427" y="131"/>
                  </a:lnTo>
                  <a:lnTo>
                    <a:pt x="427" y="130"/>
                  </a:lnTo>
                  <a:lnTo>
                    <a:pt x="427" y="128"/>
                  </a:lnTo>
                  <a:lnTo>
                    <a:pt x="428" y="128"/>
                  </a:lnTo>
                  <a:lnTo>
                    <a:pt x="427" y="126"/>
                  </a:lnTo>
                  <a:lnTo>
                    <a:pt x="428" y="126"/>
                  </a:lnTo>
                  <a:lnTo>
                    <a:pt x="430" y="126"/>
                  </a:lnTo>
                  <a:lnTo>
                    <a:pt x="433" y="128"/>
                  </a:lnTo>
                  <a:lnTo>
                    <a:pt x="433" y="126"/>
                  </a:lnTo>
                  <a:lnTo>
                    <a:pt x="435" y="126"/>
                  </a:lnTo>
                  <a:lnTo>
                    <a:pt x="433" y="125"/>
                  </a:lnTo>
                  <a:lnTo>
                    <a:pt x="435" y="123"/>
                  </a:lnTo>
                  <a:lnTo>
                    <a:pt x="436" y="123"/>
                  </a:lnTo>
                  <a:lnTo>
                    <a:pt x="436" y="122"/>
                  </a:lnTo>
                  <a:lnTo>
                    <a:pt x="438" y="118"/>
                  </a:lnTo>
                  <a:lnTo>
                    <a:pt x="438" y="117"/>
                  </a:lnTo>
                  <a:lnTo>
                    <a:pt x="440" y="118"/>
                  </a:lnTo>
                  <a:lnTo>
                    <a:pt x="441" y="117"/>
                  </a:lnTo>
                  <a:lnTo>
                    <a:pt x="443" y="117"/>
                  </a:lnTo>
                  <a:lnTo>
                    <a:pt x="443" y="118"/>
                  </a:lnTo>
                  <a:lnTo>
                    <a:pt x="444" y="120"/>
                  </a:lnTo>
                  <a:lnTo>
                    <a:pt x="446" y="120"/>
                  </a:lnTo>
                  <a:lnTo>
                    <a:pt x="446" y="122"/>
                  </a:lnTo>
                  <a:lnTo>
                    <a:pt x="448" y="123"/>
                  </a:lnTo>
                  <a:lnTo>
                    <a:pt x="449" y="123"/>
                  </a:lnTo>
                  <a:lnTo>
                    <a:pt x="451" y="125"/>
                  </a:lnTo>
                  <a:lnTo>
                    <a:pt x="451" y="126"/>
                  </a:lnTo>
                  <a:lnTo>
                    <a:pt x="451" y="128"/>
                  </a:lnTo>
                  <a:lnTo>
                    <a:pt x="451" y="130"/>
                  </a:lnTo>
                  <a:lnTo>
                    <a:pt x="451" y="131"/>
                  </a:lnTo>
                  <a:lnTo>
                    <a:pt x="449" y="133"/>
                  </a:lnTo>
                  <a:lnTo>
                    <a:pt x="449" y="136"/>
                  </a:lnTo>
                  <a:lnTo>
                    <a:pt x="449" y="138"/>
                  </a:lnTo>
                  <a:lnTo>
                    <a:pt x="449" y="141"/>
                  </a:lnTo>
                  <a:lnTo>
                    <a:pt x="448" y="143"/>
                  </a:lnTo>
                  <a:lnTo>
                    <a:pt x="448" y="144"/>
                  </a:lnTo>
                  <a:lnTo>
                    <a:pt x="446" y="146"/>
                  </a:lnTo>
                  <a:lnTo>
                    <a:pt x="448" y="149"/>
                  </a:lnTo>
                  <a:lnTo>
                    <a:pt x="448" y="151"/>
                  </a:lnTo>
                  <a:lnTo>
                    <a:pt x="446" y="151"/>
                  </a:lnTo>
                  <a:lnTo>
                    <a:pt x="444" y="154"/>
                  </a:lnTo>
                  <a:lnTo>
                    <a:pt x="443" y="154"/>
                  </a:lnTo>
                  <a:lnTo>
                    <a:pt x="444" y="154"/>
                  </a:lnTo>
                  <a:lnTo>
                    <a:pt x="444" y="156"/>
                  </a:lnTo>
                  <a:lnTo>
                    <a:pt x="444" y="157"/>
                  </a:lnTo>
                  <a:lnTo>
                    <a:pt x="444" y="159"/>
                  </a:lnTo>
                  <a:lnTo>
                    <a:pt x="443" y="159"/>
                  </a:lnTo>
                  <a:lnTo>
                    <a:pt x="441" y="161"/>
                  </a:lnTo>
                  <a:lnTo>
                    <a:pt x="441" y="162"/>
                  </a:lnTo>
                  <a:lnTo>
                    <a:pt x="443" y="162"/>
                  </a:lnTo>
                  <a:lnTo>
                    <a:pt x="443" y="169"/>
                  </a:lnTo>
                  <a:lnTo>
                    <a:pt x="448" y="167"/>
                  </a:lnTo>
                  <a:lnTo>
                    <a:pt x="449" y="167"/>
                  </a:lnTo>
                  <a:lnTo>
                    <a:pt x="451" y="170"/>
                  </a:lnTo>
                  <a:lnTo>
                    <a:pt x="453" y="172"/>
                  </a:lnTo>
                  <a:lnTo>
                    <a:pt x="451" y="172"/>
                  </a:lnTo>
                  <a:lnTo>
                    <a:pt x="451" y="175"/>
                  </a:lnTo>
                  <a:lnTo>
                    <a:pt x="451" y="177"/>
                  </a:lnTo>
                  <a:lnTo>
                    <a:pt x="451" y="178"/>
                  </a:lnTo>
                  <a:lnTo>
                    <a:pt x="451" y="180"/>
                  </a:lnTo>
                  <a:lnTo>
                    <a:pt x="451" y="182"/>
                  </a:lnTo>
                  <a:lnTo>
                    <a:pt x="449" y="182"/>
                  </a:lnTo>
                  <a:lnTo>
                    <a:pt x="449" y="183"/>
                  </a:lnTo>
                  <a:lnTo>
                    <a:pt x="448" y="182"/>
                  </a:lnTo>
                  <a:lnTo>
                    <a:pt x="446" y="180"/>
                  </a:lnTo>
                  <a:lnTo>
                    <a:pt x="444" y="180"/>
                  </a:lnTo>
                  <a:lnTo>
                    <a:pt x="443" y="182"/>
                  </a:lnTo>
                  <a:lnTo>
                    <a:pt x="440" y="180"/>
                  </a:lnTo>
                  <a:lnTo>
                    <a:pt x="438" y="180"/>
                  </a:lnTo>
                  <a:lnTo>
                    <a:pt x="438" y="182"/>
                  </a:lnTo>
                  <a:lnTo>
                    <a:pt x="436" y="182"/>
                  </a:lnTo>
                  <a:lnTo>
                    <a:pt x="436" y="180"/>
                  </a:lnTo>
                  <a:lnTo>
                    <a:pt x="435" y="182"/>
                  </a:lnTo>
                  <a:lnTo>
                    <a:pt x="433" y="180"/>
                  </a:lnTo>
                  <a:lnTo>
                    <a:pt x="433" y="178"/>
                  </a:lnTo>
                  <a:lnTo>
                    <a:pt x="431" y="178"/>
                  </a:lnTo>
                  <a:lnTo>
                    <a:pt x="430" y="177"/>
                  </a:lnTo>
                  <a:lnTo>
                    <a:pt x="428" y="177"/>
                  </a:lnTo>
                  <a:lnTo>
                    <a:pt x="428" y="175"/>
                  </a:lnTo>
                  <a:lnTo>
                    <a:pt x="428" y="174"/>
                  </a:lnTo>
                  <a:lnTo>
                    <a:pt x="428" y="172"/>
                  </a:lnTo>
                  <a:lnTo>
                    <a:pt x="430" y="172"/>
                  </a:lnTo>
                  <a:lnTo>
                    <a:pt x="428" y="170"/>
                  </a:lnTo>
                  <a:lnTo>
                    <a:pt x="428" y="169"/>
                  </a:lnTo>
                  <a:lnTo>
                    <a:pt x="427" y="169"/>
                  </a:lnTo>
                  <a:lnTo>
                    <a:pt x="425" y="170"/>
                  </a:lnTo>
                  <a:lnTo>
                    <a:pt x="423" y="170"/>
                  </a:lnTo>
                  <a:lnTo>
                    <a:pt x="422" y="169"/>
                  </a:lnTo>
                  <a:lnTo>
                    <a:pt x="422" y="170"/>
                  </a:lnTo>
                  <a:lnTo>
                    <a:pt x="418" y="172"/>
                  </a:lnTo>
                  <a:lnTo>
                    <a:pt x="417" y="172"/>
                  </a:lnTo>
                  <a:lnTo>
                    <a:pt x="415" y="172"/>
                  </a:lnTo>
                  <a:lnTo>
                    <a:pt x="414" y="172"/>
                  </a:lnTo>
                  <a:lnTo>
                    <a:pt x="414" y="175"/>
                  </a:lnTo>
                  <a:lnTo>
                    <a:pt x="414" y="177"/>
                  </a:lnTo>
                  <a:lnTo>
                    <a:pt x="412" y="177"/>
                  </a:lnTo>
                  <a:lnTo>
                    <a:pt x="412" y="178"/>
                  </a:lnTo>
                  <a:lnTo>
                    <a:pt x="410" y="180"/>
                  </a:lnTo>
                  <a:lnTo>
                    <a:pt x="410" y="182"/>
                  </a:lnTo>
                  <a:lnTo>
                    <a:pt x="409" y="182"/>
                  </a:lnTo>
                  <a:lnTo>
                    <a:pt x="409" y="185"/>
                  </a:lnTo>
                  <a:lnTo>
                    <a:pt x="409" y="187"/>
                  </a:lnTo>
                  <a:lnTo>
                    <a:pt x="409" y="188"/>
                  </a:lnTo>
                  <a:lnTo>
                    <a:pt x="409" y="190"/>
                  </a:lnTo>
                  <a:lnTo>
                    <a:pt x="409" y="191"/>
                  </a:lnTo>
                  <a:lnTo>
                    <a:pt x="409" y="193"/>
                  </a:lnTo>
                  <a:lnTo>
                    <a:pt x="407" y="195"/>
                  </a:lnTo>
                  <a:lnTo>
                    <a:pt x="407" y="196"/>
                  </a:lnTo>
                  <a:lnTo>
                    <a:pt x="410" y="196"/>
                  </a:lnTo>
                  <a:lnTo>
                    <a:pt x="412" y="198"/>
                  </a:lnTo>
                  <a:lnTo>
                    <a:pt x="412" y="200"/>
                  </a:lnTo>
                  <a:lnTo>
                    <a:pt x="414" y="198"/>
                  </a:lnTo>
                  <a:lnTo>
                    <a:pt x="415" y="198"/>
                  </a:lnTo>
                  <a:lnTo>
                    <a:pt x="417" y="198"/>
                  </a:lnTo>
                  <a:lnTo>
                    <a:pt x="418" y="198"/>
                  </a:lnTo>
                  <a:lnTo>
                    <a:pt x="418" y="200"/>
                  </a:lnTo>
                  <a:lnTo>
                    <a:pt x="420" y="200"/>
                  </a:lnTo>
                  <a:lnTo>
                    <a:pt x="420" y="201"/>
                  </a:lnTo>
                  <a:lnTo>
                    <a:pt x="420" y="203"/>
                  </a:lnTo>
                  <a:lnTo>
                    <a:pt x="420" y="204"/>
                  </a:lnTo>
                  <a:lnTo>
                    <a:pt x="418" y="204"/>
                  </a:lnTo>
                  <a:lnTo>
                    <a:pt x="417" y="204"/>
                  </a:lnTo>
                  <a:lnTo>
                    <a:pt x="417" y="206"/>
                  </a:lnTo>
                  <a:lnTo>
                    <a:pt x="417" y="208"/>
                  </a:lnTo>
                  <a:lnTo>
                    <a:pt x="415" y="209"/>
                  </a:lnTo>
                  <a:lnTo>
                    <a:pt x="414" y="211"/>
                  </a:lnTo>
                  <a:lnTo>
                    <a:pt x="415" y="214"/>
                  </a:lnTo>
                  <a:lnTo>
                    <a:pt x="418" y="216"/>
                  </a:lnTo>
                  <a:lnTo>
                    <a:pt x="418" y="217"/>
                  </a:lnTo>
                  <a:lnTo>
                    <a:pt x="422" y="221"/>
                  </a:lnTo>
                  <a:lnTo>
                    <a:pt x="422" y="222"/>
                  </a:lnTo>
                  <a:lnTo>
                    <a:pt x="418" y="226"/>
                  </a:lnTo>
                  <a:lnTo>
                    <a:pt x="417" y="227"/>
                  </a:lnTo>
                  <a:lnTo>
                    <a:pt x="412" y="227"/>
                  </a:lnTo>
                  <a:lnTo>
                    <a:pt x="410" y="227"/>
                  </a:lnTo>
                  <a:lnTo>
                    <a:pt x="410" y="229"/>
                  </a:lnTo>
                  <a:lnTo>
                    <a:pt x="409" y="227"/>
                  </a:lnTo>
                  <a:lnTo>
                    <a:pt x="410" y="224"/>
                  </a:lnTo>
                  <a:lnTo>
                    <a:pt x="409" y="221"/>
                  </a:lnTo>
                  <a:lnTo>
                    <a:pt x="407" y="221"/>
                  </a:lnTo>
                  <a:lnTo>
                    <a:pt x="404" y="219"/>
                  </a:lnTo>
                  <a:lnTo>
                    <a:pt x="404" y="217"/>
                  </a:lnTo>
                  <a:lnTo>
                    <a:pt x="404" y="214"/>
                  </a:lnTo>
                  <a:lnTo>
                    <a:pt x="402" y="213"/>
                  </a:lnTo>
                  <a:lnTo>
                    <a:pt x="402" y="211"/>
                  </a:lnTo>
                  <a:lnTo>
                    <a:pt x="404" y="209"/>
                  </a:lnTo>
                  <a:lnTo>
                    <a:pt x="402" y="208"/>
                  </a:lnTo>
                  <a:lnTo>
                    <a:pt x="401" y="208"/>
                  </a:lnTo>
                  <a:lnTo>
                    <a:pt x="401" y="206"/>
                  </a:lnTo>
                  <a:lnTo>
                    <a:pt x="399" y="204"/>
                  </a:lnTo>
                  <a:lnTo>
                    <a:pt x="397" y="206"/>
                  </a:lnTo>
                  <a:lnTo>
                    <a:pt x="396" y="206"/>
                  </a:lnTo>
                  <a:lnTo>
                    <a:pt x="394" y="204"/>
                  </a:lnTo>
                  <a:lnTo>
                    <a:pt x="392" y="206"/>
                  </a:lnTo>
                  <a:lnTo>
                    <a:pt x="391" y="208"/>
                  </a:lnTo>
                  <a:lnTo>
                    <a:pt x="389" y="208"/>
                  </a:lnTo>
                  <a:lnTo>
                    <a:pt x="388" y="208"/>
                  </a:lnTo>
                  <a:lnTo>
                    <a:pt x="386" y="209"/>
                  </a:lnTo>
                  <a:lnTo>
                    <a:pt x="384" y="209"/>
                  </a:lnTo>
                  <a:lnTo>
                    <a:pt x="383" y="211"/>
                  </a:lnTo>
                  <a:lnTo>
                    <a:pt x="381" y="211"/>
                  </a:lnTo>
                  <a:lnTo>
                    <a:pt x="379" y="211"/>
                  </a:lnTo>
                  <a:lnTo>
                    <a:pt x="379" y="209"/>
                  </a:lnTo>
                  <a:lnTo>
                    <a:pt x="378" y="209"/>
                  </a:lnTo>
                  <a:lnTo>
                    <a:pt x="376" y="209"/>
                  </a:lnTo>
                  <a:lnTo>
                    <a:pt x="376" y="211"/>
                  </a:lnTo>
                  <a:lnTo>
                    <a:pt x="376" y="213"/>
                  </a:lnTo>
                  <a:lnTo>
                    <a:pt x="376" y="214"/>
                  </a:lnTo>
                  <a:lnTo>
                    <a:pt x="376" y="216"/>
                  </a:lnTo>
                  <a:lnTo>
                    <a:pt x="375" y="217"/>
                  </a:lnTo>
                  <a:lnTo>
                    <a:pt x="373" y="217"/>
                  </a:lnTo>
                  <a:lnTo>
                    <a:pt x="373" y="216"/>
                  </a:lnTo>
                  <a:lnTo>
                    <a:pt x="371" y="216"/>
                  </a:lnTo>
                  <a:lnTo>
                    <a:pt x="370" y="217"/>
                  </a:lnTo>
                  <a:lnTo>
                    <a:pt x="368" y="217"/>
                  </a:lnTo>
                  <a:lnTo>
                    <a:pt x="366" y="217"/>
                  </a:lnTo>
                  <a:lnTo>
                    <a:pt x="363" y="217"/>
                  </a:lnTo>
                  <a:lnTo>
                    <a:pt x="360" y="216"/>
                  </a:lnTo>
                  <a:lnTo>
                    <a:pt x="358" y="216"/>
                  </a:lnTo>
                  <a:lnTo>
                    <a:pt x="357" y="214"/>
                  </a:lnTo>
                  <a:lnTo>
                    <a:pt x="355" y="213"/>
                  </a:lnTo>
                  <a:lnTo>
                    <a:pt x="355" y="208"/>
                  </a:lnTo>
                  <a:lnTo>
                    <a:pt x="353" y="208"/>
                  </a:lnTo>
                  <a:lnTo>
                    <a:pt x="353" y="206"/>
                  </a:lnTo>
                  <a:lnTo>
                    <a:pt x="350" y="206"/>
                  </a:lnTo>
                  <a:lnTo>
                    <a:pt x="350" y="204"/>
                  </a:lnTo>
                  <a:lnTo>
                    <a:pt x="350" y="203"/>
                  </a:lnTo>
                  <a:lnTo>
                    <a:pt x="350" y="201"/>
                  </a:lnTo>
                  <a:lnTo>
                    <a:pt x="350" y="200"/>
                  </a:lnTo>
                  <a:lnTo>
                    <a:pt x="350" y="198"/>
                  </a:lnTo>
                  <a:lnTo>
                    <a:pt x="350" y="196"/>
                  </a:lnTo>
                  <a:lnTo>
                    <a:pt x="350" y="193"/>
                  </a:lnTo>
                  <a:lnTo>
                    <a:pt x="350" y="191"/>
                  </a:lnTo>
                  <a:lnTo>
                    <a:pt x="350" y="190"/>
                  </a:lnTo>
                  <a:lnTo>
                    <a:pt x="350" y="187"/>
                  </a:lnTo>
                  <a:lnTo>
                    <a:pt x="347" y="188"/>
                  </a:lnTo>
                  <a:lnTo>
                    <a:pt x="347" y="191"/>
                  </a:lnTo>
                  <a:lnTo>
                    <a:pt x="345" y="191"/>
                  </a:lnTo>
                  <a:lnTo>
                    <a:pt x="345" y="193"/>
                  </a:lnTo>
                  <a:lnTo>
                    <a:pt x="344" y="191"/>
                  </a:lnTo>
                  <a:lnTo>
                    <a:pt x="342" y="190"/>
                  </a:lnTo>
                  <a:lnTo>
                    <a:pt x="342" y="188"/>
                  </a:lnTo>
                  <a:lnTo>
                    <a:pt x="342" y="187"/>
                  </a:lnTo>
                  <a:lnTo>
                    <a:pt x="340" y="187"/>
                  </a:lnTo>
                  <a:lnTo>
                    <a:pt x="337" y="187"/>
                  </a:lnTo>
                  <a:lnTo>
                    <a:pt x="336" y="187"/>
                  </a:lnTo>
                  <a:lnTo>
                    <a:pt x="334" y="188"/>
                  </a:lnTo>
                  <a:lnTo>
                    <a:pt x="332" y="188"/>
                  </a:lnTo>
                  <a:lnTo>
                    <a:pt x="332" y="190"/>
                  </a:lnTo>
                  <a:lnTo>
                    <a:pt x="332" y="191"/>
                  </a:lnTo>
                  <a:lnTo>
                    <a:pt x="332" y="193"/>
                  </a:lnTo>
                  <a:lnTo>
                    <a:pt x="331" y="195"/>
                  </a:lnTo>
                  <a:lnTo>
                    <a:pt x="329" y="195"/>
                  </a:lnTo>
                  <a:lnTo>
                    <a:pt x="329" y="196"/>
                  </a:lnTo>
                  <a:lnTo>
                    <a:pt x="329" y="198"/>
                  </a:lnTo>
                  <a:lnTo>
                    <a:pt x="331" y="200"/>
                  </a:lnTo>
                  <a:lnTo>
                    <a:pt x="332" y="200"/>
                  </a:lnTo>
                  <a:lnTo>
                    <a:pt x="332" y="203"/>
                  </a:lnTo>
                  <a:lnTo>
                    <a:pt x="332" y="204"/>
                  </a:lnTo>
                  <a:lnTo>
                    <a:pt x="332" y="206"/>
                  </a:lnTo>
                  <a:lnTo>
                    <a:pt x="332" y="208"/>
                  </a:lnTo>
                  <a:lnTo>
                    <a:pt x="334" y="208"/>
                  </a:lnTo>
                  <a:lnTo>
                    <a:pt x="334" y="209"/>
                  </a:lnTo>
                  <a:lnTo>
                    <a:pt x="334" y="211"/>
                  </a:lnTo>
                  <a:lnTo>
                    <a:pt x="334" y="213"/>
                  </a:lnTo>
                  <a:lnTo>
                    <a:pt x="332" y="214"/>
                  </a:lnTo>
                  <a:lnTo>
                    <a:pt x="332" y="216"/>
                  </a:lnTo>
                  <a:lnTo>
                    <a:pt x="332" y="217"/>
                  </a:lnTo>
                  <a:lnTo>
                    <a:pt x="331" y="219"/>
                  </a:lnTo>
                  <a:lnTo>
                    <a:pt x="329" y="221"/>
                  </a:lnTo>
                  <a:lnTo>
                    <a:pt x="329" y="222"/>
                  </a:lnTo>
                  <a:lnTo>
                    <a:pt x="329" y="226"/>
                  </a:lnTo>
                  <a:lnTo>
                    <a:pt x="327" y="226"/>
                  </a:lnTo>
                  <a:lnTo>
                    <a:pt x="326" y="226"/>
                  </a:lnTo>
                  <a:lnTo>
                    <a:pt x="326" y="227"/>
                  </a:lnTo>
                  <a:lnTo>
                    <a:pt x="326" y="229"/>
                  </a:lnTo>
                  <a:lnTo>
                    <a:pt x="324" y="229"/>
                  </a:lnTo>
                  <a:lnTo>
                    <a:pt x="324" y="231"/>
                  </a:lnTo>
                  <a:lnTo>
                    <a:pt x="324" y="232"/>
                  </a:lnTo>
                  <a:lnTo>
                    <a:pt x="324" y="234"/>
                  </a:lnTo>
                  <a:lnTo>
                    <a:pt x="323" y="234"/>
                  </a:lnTo>
                  <a:lnTo>
                    <a:pt x="321" y="234"/>
                  </a:lnTo>
                  <a:lnTo>
                    <a:pt x="321" y="235"/>
                  </a:lnTo>
                  <a:lnTo>
                    <a:pt x="319" y="235"/>
                  </a:lnTo>
                  <a:lnTo>
                    <a:pt x="318" y="237"/>
                  </a:lnTo>
                  <a:lnTo>
                    <a:pt x="316" y="239"/>
                  </a:lnTo>
                  <a:lnTo>
                    <a:pt x="316" y="240"/>
                  </a:lnTo>
                  <a:lnTo>
                    <a:pt x="314" y="240"/>
                  </a:lnTo>
                  <a:lnTo>
                    <a:pt x="311" y="242"/>
                  </a:lnTo>
                  <a:lnTo>
                    <a:pt x="311" y="244"/>
                  </a:lnTo>
                  <a:lnTo>
                    <a:pt x="313" y="245"/>
                  </a:lnTo>
                  <a:lnTo>
                    <a:pt x="313" y="247"/>
                  </a:lnTo>
                  <a:lnTo>
                    <a:pt x="311" y="248"/>
                  </a:lnTo>
                  <a:lnTo>
                    <a:pt x="311" y="250"/>
                  </a:lnTo>
                  <a:lnTo>
                    <a:pt x="308" y="250"/>
                  </a:lnTo>
                  <a:lnTo>
                    <a:pt x="306" y="252"/>
                  </a:lnTo>
                  <a:lnTo>
                    <a:pt x="305" y="253"/>
                  </a:lnTo>
                  <a:lnTo>
                    <a:pt x="305" y="255"/>
                  </a:lnTo>
                  <a:lnTo>
                    <a:pt x="306" y="258"/>
                  </a:lnTo>
                  <a:lnTo>
                    <a:pt x="306" y="260"/>
                  </a:lnTo>
                  <a:lnTo>
                    <a:pt x="305" y="261"/>
                  </a:lnTo>
                  <a:lnTo>
                    <a:pt x="303" y="261"/>
                  </a:lnTo>
                  <a:lnTo>
                    <a:pt x="303" y="263"/>
                  </a:lnTo>
                  <a:lnTo>
                    <a:pt x="305" y="263"/>
                  </a:lnTo>
                  <a:lnTo>
                    <a:pt x="305" y="265"/>
                  </a:lnTo>
                  <a:lnTo>
                    <a:pt x="306" y="268"/>
                  </a:lnTo>
                  <a:lnTo>
                    <a:pt x="306" y="270"/>
                  </a:lnTo>
                  <a:lnTo>
                    <a:pt x="308" y="270"/>
                  </a:lnTo>
                  <a:lnTo>
                    <a:pt x="309" y="271"/>
                  </a:lnTo>
                  <a:lnTo>
                    <a:pt x="311" y="271"/>
                  </a:lnTo>
                  <a:lnTo>
                    <a:pt x="311" y="273"/>
                  </a:lnTo>
                  <a:lnTo>
                    <a:pt x="313" y="273"/>
                  </a:lnTo>
                  <a:lnTo>
                    <a:pt x="311" y="274"/>
                  </a:lnTo>
                  <a:lnTo>
                    <a:pt x="311" y="276"/>
                  </a:lnTo>
                  <a:lnTo>
                    <a:pt x="309" y="276"/>
                  </a:lnTo>
                  <a:lnTo>
                    <a:pt x="308" y="279"/>
                  </a:lnTo>
                  <a:lnTo>
                    <a:pt x="308" y="281"/>
                  </a:lnTo>
                  <a:lnTo>
                    <a:pt x="306" y="283"/>
                  </a:lnTo>
                  <a:lnTo>
                    <a:pt x="306" y="284"/>
                  </a:lnTo>
                  <a:lnTo>
                    <a:pt x="305" y="284"/>
                  </a:lnTo>
                  <a:lnTo>
                    <a:pt x="303" y="284"/>
                  </a:lnTo>
                  <a:lnTo>
                    <a:pt x="303" y="283"/>
                  </a:lnTo>
                  <a:lnTo>
                    <a:pt x="301" y="283"/>
                  </a:lnTo>
                  <a:lnTo>
                    <a:pt x="300" y="283"/>
                  </a:lnTo>
                  <a:lnTo>
                    <a:pt x="298" y="281"/>
                  </a:lnTo>
                  <a:lnTo>
                    <a:pt x="296" y="283"/>
                  </a:lnTo>
                  <a:lnTo>
                    <a:pt x="295" y="283"/>
                  </a:lnTo>
                  <a:lnTo>
                    <a:pt x="295" y="279"/>
                  </a:lnTo>
                  <a:lnTo>
                    <a:pt x="296" y="279"/>
                  </a:lnTo>
                  <a:lnTo>
                    <a:pt x="298" y="278"/>
                  </a:lnTo>
                  <a:lnTo>
                    <a:pt x="296" y="278"/>
                  </a:lnTo>
                  <a:lnTo>
                    <a:pt x="296" y="274"/>
                  </a:lnTo>
                  <a:lnTo>
                    <a:pt x="296" y="273"/>
                  </a:lnTo>
                  <a:lnTo>
                    <a:pt x="293" y="270"/>
                  </a:lnTo>
                  <a:lnTo>
                    <a:pt x="293" y="268"/>
                  </a:lnTo>
                  <a:lnTo>
                    <a:pt x="293" y="266"/>
                  </a:lnTo>
                  <a:lnTo>
                    <a:pt x="293" y="265"/>
                  </a:lnTo>
                  <a:lnTo>
                    <a:pt x="292" y="265"/>
                  </a:lnTo>
                  <a:lnTo>
                    <a:pt x="288" y="261"/>
                  </a:lnTo>
                  <a:lnTo>
                    <a:pt x="287" y="260"/>
                  </a:lnTo>
                  <a:lnTo>
                    <a:pt x="285" y="260"/>
                  </a:lnTo>
                  <a:lnTo>
                    <a:pt x="283" y="260"/>
                  </a:lnTo>
                  <a:lnTo>
                    <a:pt x="283" y="258"/>
                  </a:lnTo>
                  <a:lnTo>
                    <a:pt x="283" y="257"/>
                  </a:lnTo>
                  <a:lnTo>
                    <a:pt x="287" y="253"/>
                  </a:lnTo>
                  <a:lnTo>
                    <a:pt x="287" y="252"/>
                  </a:lnTo>
                  <a:lnTo>
                    <a:pt x="288" y="252"/>
                  </a:lnTo>
                  <a:lnTo>
                    <a:pt x="290" y="250"/>
                  </a:lnTo>
                  <a:lnTo>
                    <a:pt x="290" y="248"/>
                  </a:lnTo>
                  <a:lnTo>
                    <a:pt x="288" y="247"/>
                  </a:lnTo>
                  <a:lnTo>
                    <a:pt x="285" y="244"/>
                  </a:lnTo>
                  <a:lnTo>
                    <a:pt x="283" y="245"/>
                  </a:lnTo>
                  <a:lnTo>
                    <a:pt x="282" y="245"/>
                  </a:lnTo>
                  <a:lnTo>
                    <a:pt x="280" y="244"/>
                  </a:lnTo>
                  <a:lnTo>
                    <a:pt x="279" y="242"/>
                  </a:lnTo>
                  <a:lnTo>
                    <a:pt x="279" y="240"/>
                  </a:lnTo>
                  <a:lnTo>
                    <a:pt x="277" y="242"/>
                  </a:lnTo>
                  <a:lnTo>
                    <a:pt x="277" y="244"/>
                  </a:lnTo>
                  <a:lnTo>
                    <a:pt x="275" y="244"/>
                  </a:lnTo>
                  <a:lnTo>
                    <a:pt x="274" y="244"/>
                  </a:lnTo>
                  <a:lnTo>
                    <a:pt x="272" y="244"/>
                  </a:lnTo>
                  <a:lnTo>
                    <a:pt x="272" y="242"/>
                  </a:lnTo>
                  <a:lnTo>
                    <a:pt x="270" y="242"/>
                  </a:lnTo>
                  <a:lnTo>
                    <a:pt x="269" y="240"/>
                  </a:lnTo>
                  <a:lnTo>
                    <a:pt x="266" y="240"/>
                  </a:lnTo>
                  <a:lnTo>
                    <a:pt x="266" y="237"/>
                  </a:lnTo>
                  <a:lnTo>
                    <a:pt x="264" y="235"/>
                  </a:lnTo>
                  <a:lnTo>
                    <a:pt x="262" y="235"/>
                  </a:lnTo>
                  <a:lnTo>
                    <a:pt x="262" y="234"/>
                  </a:lnTo>
                  <a:lnTo>
                    <a:pt x="261" y="232"/>
                  </a:lnTo>
                  <a:lnTo>
                    <a:pt x="259" y="231"/>
                  </a:lnTo>
                  <a:lnTo>
                    <a:pt x="257" y="229"/>
                  </a:lnTo>
                  <a:lnTo>
                    <a:pt x="257" y="227"/>
                  </a:lnTo>
                  <a:lnTo>
                    <a:pt x="256" y="226"/>
                  </a:lnTo>
                  <a:lnTo>
                    <a:pt x="254" y="226"/>
                  </a:lnTo>
                  <a:lnTo>
                    <a:pt x="251" y="224"/>
                  </a:lnTo>
                  <a:lnTo>
                    <a:pt x="249" y="222"/>
                  </a:lnTo>
                  <a:lnTo>
                    <a:pt x="249" y="221"/>
                  </a:lnTo>
                  <a:lnTo>
                    <a:pt x="249" y="219"/>
                  </a:lnTo>
                  <a:lnTo>
                    <a:pt x="248" y="216"/>
                  </a:lnTo>
                  <a:lnTo>
                    <a:pt x="248" y="214"/>
                  </a:lnTo>
                  <a:lnTo>
                    <a:pt x="249" y="214"/>
                  </a:lnTo>
                  <a:lnTo>
                    <a:pt x="249" y="213"/>
                  </a:lnTo>
                  <a:lnTo>
                    <a:pt x="251" y="211"/>
                  </a:lnTo>
                  <a:lnTo>
                    <a:pt x="251" y="209"/>
                  </a:lnTo>
                  <a:lnTo>
                    <a:pt x="251" y="208"/>
                  </a:lnTo>
                  <a:lnTo>
                    <a:pt x="251" y="206"/>
                  </a:lnTo>
                  <a:lnTo>
                    <a:pt x="251" y="203"/>
                  </a:lnTo>
                  <a:lnTo>
                    <a:pt x="251" y="201"/>
                  </a:lnTo>
                  <a:lnTo>
                    <a:pt x="251" y="200"/>
                  </a:lnTo>
                  <a:lnTo>
                    <a:pt x="251" y="198"/>
                  </a:lnTo>
                  <a:lnTo>
                    <a:pt x="251" y="196"/>
                  </a:lnTo>
                  <a:lnTo>
                    <a:pt x="251" y="195"/>
                  </a:lnTo>
                  <a:lnTo>
                    <a:pt x="249" y="191"/>
                  </a:lnTo>
                  <a:lnTo>
                    <a:pt x="246" y="191"/>
                  </a:lnTo>
                  <a:lnTo>
                    <a:pt x="246" y="193"/>
                  </a:lnTo>
                  <a:lnTo>
                    <a:pt x="244" y="193"/>
                  </a:lnTo>
                  <a:lnTo>
                    <a:pt x="243" y="193"/>
                  </a:lnTo>
                  <a:lnTo>
                    <a:pt x="241" y="193"/>
                  </a:lnTo>
                  <a:lnTo>
                    <a:pt x="238" y="196"/>
                  </a:lnTo>
                  <a:lnTo>
                    <a:pt x="236" y="196"/>
                  </a:lnTo>
                  <a:lnTo>
                    <a:pt x="235" y="196"/>
                  </a:lnTo>
                  <a:lnTo>
                    <a:pt x="235" y="200"/>
                  </a:lnTo>
                  <a:lnTo>
                    <a:pt x="236" y="200"/>
                  </a:lnTo>
                  <a:lnTo>
                    <a:pt x="236" y="201"/>
                  </a:lnTo>
                  <a:lnTo>
                    <a:pt x="236" y="203"/>
                  </a:lnTo>
                  <a:lnTo>
                    <a:pt x="233" y="204"/>
                  </a:lnTo>
                  <a:lnTo>
                    <a:pt x="231" y="204"/>
                  </a:lnTo>
                  <a:lnTo>
                    <a:pt x="231" y="206"/>
                  </a:lnTo>
                  <a:lnTo>
                    <a:pt x="231" y="208"/>
                  </a:lnTo>
                  <a:lnTo>
                    <a:pt x="230" y="209"/>
                  </a:lnTo>
                  <a:lnTo>
                    <a:pt x="228" y="209"/>
                  </a:lnTo>
                  <a:lnTo>
                    <a:pt x="227" y="209"/>
                  </a:lnTo>
                  <a:lnTo>
                    <a:pt x="227" y="211"/>
                  </a:lnTo>
                  <a:lnTo>
                    <a:pt x="227" y="213"/>
                  </a:lnTo>
                  <a:lnTo>
                    <a:pt x="225" y="213"/>
                  </a:lnTo>
                  <a:lnTo>
                    <a:pt x="225" y="214"/>
                  </a:lnTo>
                  <a:lnTo>
                    <a:pt x="222" y="214"/>
                  </a:lnTo>
                  <a:lnTo>
                    <a:pt x="220" y="214"/>
                  </a:lnTo>
                  <a:lnTo>
                    <a:pt x="218" y="214"/>
                  </a:lnTo>
                  <a:lnTo>
                    <a:pt x="217" y="214"/>
                  </a:lnTo>
                  <a:lnTo>
                    <a:pt x="217" y="216"/>
                  </a:lnTo>
                  <a:lnTo>
                    <a:pt x="215" y="217"/>
                  </a:lnTo>
                  <a:lnTo>
                    <a:pt x="214" y="219"/>
                  </a:lnTo>
                  <a:lnTo>
                    <a:pt x="214" y="221"/>
                  </a:lnTo>
                  <a:lnTo>
                    <a:pt x="215" y="221"/>
                  </a:lnTo>
                  <a:lnTo>
                    <a:pt x="215" y="222"/>
                  </a:lnTo>
                  <a:lnTo>
                    <a:pt x="217" y="222"/>
                  </a:lnTo>
                  <a:lnTo>
                    <a:pt x="217" y="224"/>
                  </a:lnTo>
                  <a:lnTo>
                    <a:pt x="218" y="226"/>
                  </a:lnTo>
                  <a:lnTo>
                    <a:pt x="220" y="227"/>
                  </a:lnTo>
                  <a:lnTo>
                    <a:pt x="220" y="231"/>
                  </a:lnTo>
                  <a:lnTo>
                    <a:pt x="222" y="232"/>
                  </a:lnTo>
                  <a:lnTo>
                    <a:pt x="220" y="234"/>
                  </a:lnTo>
                  <a:lnTo>
                    <a:pt x="220" y="235"/>
                  </a:lnTo>
                  <a:lnTo>
                    <a:pt x="220" y="237"/>
                  </a:lnTo>
                  <a:lnTo>
                    <a:pt x="218" y="237"/>
                  </a:lnTo>
                  <a:lnTo>
                    <a:pt x="217" y="237"/>
                  </a:lnTo>
                  <a:lnTo>
                    <a:pt x="217" y="239"/>
                  </a:lnTo>
                  <a:lnTo>
                    <a:pt x="215" y="239"/>
                  </a:lnTo>
                  <a:lnTo>
                    <a:pt x="215" y="240"/>
                  </a:lnTo>
                  <a:lnTo>
                    <a:pt x="214" y="242"/>
                  </a:lnTo>
                  <a:lnTo>
                    <a:pt x="210" y="242"/>
                  </a:lnTo>
                  <a:lnTo>
                    <a:pt x="207" y="242"/>
                  </a:lnTo>
                  <a:lnTo>
                    <a:pt x="207" y="245"/>
                  </a:lnTo>
                  <a:lnTo>
                    <a:pt x="207" y="247"/>
                  </a:lnTo>
                  <a:lnTo>
                    <a:pt x="207" y="250"/>
                  </a:lnTo>
                  <a:lnTo>
                    <a:pt x="207" y="252"/>
                  </a:lnTo>
                  <a:lnTo>
                    <a:pt x="205" y="252"/>
                  </a:lnTo>
                  <a:lnTo>
                    <a:pt x="205" y="255"/>
                  </a:lnTo>
                  <a:lnTo>
                    <a:pt x="204" y="255"/>
                  </a:lnTo>
                  <a:lnTo>
                    <a:pt x="202" y="257"/>
                  </a:lnTo>
                  <a:lnTo>
                    <a:pt x="201" y="257"/>
                  </a:lnTo>
                  <a:lnTo>
                    <a:pt x="194" y="257"/>
                  </a:lnTo>
                  <a:lnTo>
                    <a:pt x="194" y="258"/>
                  </a:lnTo>
                  <a:lnTo>
                    <a:pt x="192" y="260"/>
                  </a:lnTo>
                  <a:lnTo>
                    <a:pt x="192" y="261"/>
                  </a:lnTo>
                  <a:lnTo>
                    <a:pt x="191" y="265"/>
                  </a:lnTo>
                  <a:lnTo>
                    <a:pt x="191" y="266"/>
                  </a:lnTo>
                  <a:lnTo>
                    <a:pt x="191" y="268"/>
                  </a:lnTo>
                  <a:lnTo>
                    <a:pt x="189" y="268"/>
                  </a:lnTo>
                  <a:lnTo>
                    <a:pt x="188" y="268"/>
                  </a:lnTo>
                  <a:lnTo>
                    <a:pt x="186" y="266"/>
                  </a:lnTo>
                  <a:lnTo>
                    <a:pt x="184" y="268"/>
                  </a:lnTo>
                  <a:lnTo>
                    <a:pt x="183" y="268"/>
                  </a:lnTo>
                  <a:lnTo>
                    <a:pt x="181" y="265"/>
                  </a:lnTo>
                  <a:lnTo>
                    <a:pt x="179" y="265"/>
                  </a:lnTo>
                  <a:lnTo>
                    <a:pt x="178" y="265"/>
                  </a:lnTo>
                  <a:lnTo>
                    <a:pt x="178" y="266"/>
                  </a:lnTo>
                  <a:lnTo>
                    <a:pt x="176" y="266"/>
                  </a:lnTo>
                  <a:lnTo>
                    <a:pt x="175" y="266"/>
                  </a:lnTo>
                  <a:lnTo>
                    <a:pt x="175" y="265"/>
                  </a:lnTo>
                  <a:lnTo>
                    <a:pt x="175" y="263"/>
                  </a:lnTo>
                  <a:lnTo>
                    <a:pt x="173" y="263"/>
                  </a:lnTo>
                  <a:lnTo>
                    <a:pt x="171" y="261"/>
                  </a:lnTo>
                  <a:lnTo>
                    <a:pt x="171" y="260"/>
                  </a:lnTo>
                  <a:lnTo>
                    <a:pt x="170" y="260"/>
                  </a:lnTo>
                  <a:lnTo>
                    <a:pt x="168" y="260"/>
                  </a:lnTo>
                  <a:lnTo>
                    <a:pt x="166" y="260"/>
                  </a:lnTo>
                  <a:lnTo>
                    <a:pt x="163" y="260"/>
                  </a:lnTo>
                  <a:lnTo>
                    <a:pt x="161" y="260"/>
                  </a:lnTo>
                  <a:lnTo>
                    <a:pt x="161" y="258"/>
                  </a:lnTo>
                  <a:lnTo>
                    <a:pt x="161" y="257"/>
                  </a:lnTo>
                  <a:lnTo>
                    <a:pt x="158" y="258"/>
                  </a:lnTo>
                  <a:lnTo>
                    <a:pt x="158" y="260"/>
                  </a:lnTo>
                  <a:lnTo>
                    <a:pt x="158" y="261"/>
                  </a:lnTo>
                  <a:lnTo>
                    <a:pt x="157" y="261"/>
                  </a:lnTo>
                  <a:lnTo>
                    <a:pt x="155" y="261"/>
                  </a:lnTo>
                  <a:lnTo>
                    <a:pt x="153" y="261"/>
                  </a:lnTo>
                  <a:lnTo>
                    <a:pt x="152" y="261"/>
                  </a:lnTo>
                  <a:lnTo>
                    <a:pt x="150" y="263"/>
                  </a:lnTo>
                  <a:lnTo>
                    <a:pt x="150" y="265"/>
                  </a:lnTo>
                  <a:lnTo>
                    <a:pt x="148" y="265"/>
                  </a:lnTo>
                  <a:lnTo>
                    <a:pt x="147" y="266"/>
                  </a:lnTo>
                  <a:lnTo>
                    <a:pt x="145" y="268"/>
                  </a:lnTo>
                  <a:lnTo>
                    <a:pt x="144" y="268"/>
                  </a:lnTo>
                  <a:lnTo>
                    <a:pt x="142" y="270"/>
                  </a:lnTo>
                  <a:lnTo>
                    <a:pt x="140" y="268"/>
                  </a:lnTo>
                  <a:lnTo>
                    <a:pt x="139" y="266"/>
                  </a:lnTo>
                  <a:lnTo>
                    <a:pt x="135" y="268"/>
                  </a:lnTo>
                  <a:lnTo>
                    <a:pt x="135" y="266"/>
                  </a:lnTo>
                  <a:lnTo>
                    <a:pt x="134" y="266"/>
                  </a:lnTo>
                  <a:lnTo>
                    <a:pt x="132" y="266"/>
                  </a:lnTo>
                  <a:lnTo>
                    <a:pt x="131" y="268"/>
                  </a:lnTo>
                  <a:lnTo>
                    <a:pt x="129" y="270"/>
                  </a:lnTo>
                  <a:lnTo>
                    <a:pt x="127" y="270"/>
                  </a:lnTo>
                  <a:lnTo>
                    <a:pt x="126" y="270"/>
                  </a:lnTo>
                  <a:lnTo>
                    <a:pt x="124" y="271"/>
                  </a:lnTo>
                  <a:lnTo>
                    <a:pt x="122" y="273"/>
                  </a:lnTo>
                  <a:lnTo>
                    <a:pt x="122" y="274"/>
                  </a:lnTo>
                  <a:lnTo>
                    <a:pt x="121" y="273"/>
                  </a:lnTo>
                  <a:lnTo>
                    <a:pt x="119" y="273"/>
                  </a:lnTo>
                  <a:lnTo>
                    <a:pt x="119" y="271"/>
                  </a:lnTo>
                  <a:lnTo>
                    <a:pt x="118" y="271"/>
                  </a:lnTo>
                  <a:lnTo>
                    <a:pt x="114" y="274"/>
                  </a:lnTo>
                  <a:lnTo>
                    <a:pt x="113" y="274"/>
                  </a:lnTo>
                  <a:lnTo>
                    <a:pt x="113" y="271"/>
                  </a:lnTo>
                  <a:lnTo>
                    <a:pt x="111" y="270"/>
                  </a:lnTo>
                  <a:lnTo>
                    <a:pt x="111" y="268"/>
                  </a:lnTo>
                  <a:lnTo>
                    <a:pt x="109" y="268"/>
                  </a:lnTo>
                  <a:lnTo>
                    <a:pt x="109" y="266"/>
                  </a:lnTo>
                  <a:lnTo>
                    <a:pt x="108" y="265"/>
                  </a:lnTo>
                  <a:lnTo>
                    <a:pt x="108" y="263"/>
                  </a:lnTo>
                  <a:lnTo>
                    <a:pt x="108" y="260"/>
                  </a:lnTo>
                  <a:lnTo>
                    <a:pt x="105" y="258"/>
                  </a:lnTo>
                  <a:lnTo>
                    <a:pt x="106" y="257"/>
                  </a:lnTo>
                  <a:lnTo>
                    <a:pt x="106" y="255"/>
                  </a:lnTo>
                  <a:lnTo>
                    <a:pt x="105" y="255"/>
                  </a:lnTo>
                  <a:lnTo>
                    <a:pt x="105" y="253"/>
                  </a:lnTo>
                  <a:lnTo>
                    <a:pt x="103" y="253"/>
                  </a:lnTo>
                  <a:lnTo>
                    <a:pt x="103" y="252"/>
                  </a:lnTo>
                  <a:lnTo>
                    <a:pt x="101" y="250"/>
                  </a:lnTo>
                  <a:lnTo>
                    <a:pt x="101" y="248"/>
                  </a:lnTo>
                  <a:lnTo>
                    <a:pt x="100" y="248"/>
                  </a:lnTo>
                  <a:lnTo>
                    <a:pt x="100" y="247"/>
                  </a:lnTo>
                  <a:lnTo>
                    <a:pt x="98" y="245"/>
                  </a:lnTo>
                  <a:lnTo>
                    <a:pt x="98" y="244"/>
                  </a:lnTo>
                  <a:lnTo>
                    <a:pt x="96" y="244"/>
                  </a:lnTo>
                  <a:lnTo>
                    <a:pt x="95" y="245"/>
                  </a:lnTo>
                  <a:lnTo>
                    <a:pt x="93" y="247"/>
                  </a:lnTo>
                  <a:lnTo>
                    <a:pt x="92" y="247"/>
                  </a:lnTo>
                  <a:lnTo>
                    <a:pt x="92" y="245"/>
                  </a:lnTo>
                  <a:lnTo>
                    <a:pt x="92" y="244"/>
                  </a:lnTo>
                  <a:lnTo>
                    <a:pt x="93" y="242"/>
                  </a:lnTo>
                  <a:lnTo>
                    <a:pt x="93" y="240"/>
                  </a:lnTo>
                  <a:lnTo>
                    <a:pt x="93" y="239"/>
                  </a:lnTo>
                  <a:lnTo>
                    <a:pt x="95" y="235"/>
                  </a:lnTo>
                  <a:lnTo>
                    <a:pt x="90" y="235"/>
                  </a:lnTo>
                  <a:lnTo>
                    <a:pt x="90" y="234"/>
                  </a:lnTo>
                  <a:lnTo>
                    <a:pt x="88" y="234"/>
                  </a:lnTo>
                  <a:lnTo>
                    <a:pt x="87" y="234"/>
                  </a:lnTo>
                  <a:lnTo>
                    <a:pt x="85" y="234"/>
                  </a:lnTo>
                  <a:lnTo>
                    <a:pt x="85" y="232"/>
                  </a:lnTo>
                  <a:lnTo>
                    <a:pt x="83" y="232"/>
                  </a:lnTo>
                  <a:lnTo>
                    <a:pt x="83" y="231"/>
                  </a:lnTo>
                  <a:lnTo>
                    <a:pt x="83" y="229"/>
                  </a:lnTo>
                  <a:lnTo>
                    <a:pt x="85" y="227"/>
                  </a:lnTo>
                  <a:lnTo>
                    <a:pt x="87" y="227"/>
                  </a:lnTo>
                  <a:lnTo>
                    <a:pt x="87" y="226"/>
                  </a:lnTo>
                  <a:lnTo>
                    <a:pt x="85" y="224"/>
                  </a:lnTo>
                  <a:lnTo>
                    <a:pt x="87" y="221"/>
                  </a:lnTo>
                  <a:lnTo>
                    <a:pt x="87" y="219"/>
                  </a:lnTo>
                  <a:lnTo>
                    <a:pt x="88" y="219"/>
                  </a:lnTo>
                  <a:lnTo>
                    <a:pt x="90" y="217"/>
                  </a:lnTo>
                  <a:lnTo>
                    <a:pt x="90" y="216"/>
                  </a:lnTo>
                  <a:lnTo>
                    <a:pt x="92" y="216"/>
                  </a:lnTo>
                  <a:lnTo>
                    <a:pt x="92" y="214"/>
                  </a:lnTo>
                  <a:lnTo>
                    <a:pt x="92" y="213"/>
                  </a:lnTo>
                  <a:lnTo>
                    <a:pt x="92" y="211"/>
                  </a:lnTo>
                  <a:lnTo>
                    <a:pt x="90" y="211"/>
                  </a:lnTo>
                  <a:lnTo>
                    <a:pt x="88" y="209"/>
                  </a:lnTo>
                  <a:lnTo>
                    <a:pt x="88" y="208"/>
                  </a:lnTo>
                  <a:lnTo>
                    <a:pt x="87" y="206"/>
                  </a:lnTo>
                  <a:lnTo>
                    <a:pt x="85" y="206"/>
                  </a:lnTo>
                  <a:lnTo>
                    <a:pt x="85" y="204"/>
                  </a:lnTo>
                  <a:lnTo>
                    <a:pt x="83" y="203"/>
                  </a:lnTo>
                  <a:lnTo>
                    <a:pt x="83" y="201"/>
                  </a:lnTo>
                  <a:lnTo>
                    <a:pt x="85" y="201"/>
                  </a:lnTo>
                  <a:lnTo>
                    <a:pt x="85" y="200"/>
                  </a:lnTo>
                  <a:lnTo>
                    <a:pt x="87" y="198"/>
                  </a:lnTo>
                  <a:lnTo>
                    <a:pt x="87" y="196"/>
                  </a:lnTo>
                  <a:lnTo>
                    <a:pt x="88" y="191"/>
                  </a:lnTo>
                  <a:lnTo>
                    <a:pt x="87" y="191"/>
                  </a:lnTo>
                  <a:lnTo>
                    <a:pt x="75" y="187"/>
                  </a:lnTo>
                  <a:lnTo>
                    <a:pt x="59" y="187"/>
                  </a:lnTo>
                  <a:lnTo>
                    <a:pt x="53" y="190"/>
                  </a:lnTo>
                  <a:lnTo>
                    <a:pt x="43" y="193"/>
                  </a:lnTo>
                  <a:lnTo>
                    <a:pt x="41" y="193"/>
                  </a:lnTo>
                  <a:lnTo>
                    <a:pt x="38" y="195"/>
                  </a:lnTo>
                  <a:lnTo>
                    <a:pt x="31" y="200"/>
                  </a:lnTo>
                  <a:lnTo>
                    <a:pt x="31" y="201"/>
                  </a:lnTo>
                  <a:lnTo>
                    <a:pt x="30" y="203"/>
                  </a:lnTo>
                  <a:lnTo>
                    <a:pt x="28" y="204"/>
                  </a:lnTo>
                  <a:lnTo>
                    <a:pt x="30" y="206"/>
                  </a:lnTo>
                  <a:lnTo>
                    <a:pt x="30" y="208"/>
                  </a:lnTo>
                  <a:lnTo>
                    <a:pt x="30" y="209"/>
                  </a:lnTo>
                  <a:lnTo>
                    <a:pt x="28" y="209"/>
                  </a:lnTo>
                  <a:lnTo>
                    <a:pt x="30" y="211"/>
                  </a:lnTo>
                  <a:lnTo>
                    <a:pt x="30" y="213"/>
                  </a:lnTo>
                  <a:lnTo>
                    <a:pt x="31" y="214"/>
                  </a:lnTo>
                  <a:lnTo>
                    <a:pt x="33" y="214"/>
                  </a:lnTo>
                  <a:lnTo>
                    <a:pt x="35" y="213"/>
                  </a:lnTo>
                  <a:lnTo>
                    <a:pt x="35" y="214"/>
                  </a:lnTo>
                  <a:lnTo>
                    <a:pt x="36" y="214"/>
                  </a:lnTo>
                  <a:lnTo>
                    <a:pt x="36" y="216"/>
                  </a:lnTo>
                  <a:lnTo>
                    <a:pt x="35" y="217"/>
                  </a:lnTo>
                  <a:lnTo>
                    <a:pt x="33" y="219"/>
                  </a:lnTo>
                  <a:lnTo>
                    <a:pt x="31" y="219"/>
                  </a:lnTo>
                  <a:lnTo>
                    <a:pt x="28" y="221"/>
                  </a:lnTo>
                  <a:lnTo>
                    <a:pt x="23" y="222"/>
                  </a:lnTo>
                  <a:lnTo>
                    <a:pt x="23" y="226"/>
                  </a:lnTo>
                  <a:lnTo>
                    <a:pt x="22" y="226"/>
                  </a:lnTo>
                  <a:lnTo>
                    <a:pt x="20" y="227"/>
                  </a:lnTo>
                  <a:lnTo>
                    <a:pt x="18" y="229"/>
                  </a:lnTo>
                  <a:lnTo>
                    <a:pt x="17" y="229"/>
                  </a:lnTo>
                  <a:lnTo>
                    <a:pt x="15" y="229"/>
                  </a:lnTo>
                  <a:lnTo>
                    <a:pt x="13" y="227"/>
                  </a:lnTo>
                  <a:lnTo>
                    <a:pt x="12" y="227"/>
                  </a:lnTo>
                  <a:lnTo>
                    <a:pt x="10" y="229"/>
                  </a:lnTo>
                  <a:lnTo>
                    <a:pt x="9" y="229"/>
                  </a:lnTo>
                  <a:lnTo>
                    <a:pt x="7" y="229"/>
                  </a:lnTo>
                  <a:lnTo>
                    <a:pt x="4" y="229"/>
                  </a:lnTo>
                  <a:lnTo>
                    <a:pt x="2" y="229"/>
                  </a:lnTo>
                  <a:lnTo>
                    <a:pt x="2" y="231"/>
                  </a:lnTo>
                  <a:lnTo>
                    <a:pt x="0" y="231"/>
                  </a:lnTo>
                  <a:lnTo>
                    <a:pt x="2" y="229"/>
                  </a:lnTo>
                  <a:lnTo>
                    <a:pt x="2" y="227"/>
                  </a:lnTo>
                  <a:lnTo>
                    <a:pt x="4" y="226"/>
                  </a:lnTo>
                  <a:lnTo>
                    <a:pt x="4" y="224"/>
                  </a:lnTo>
                  <a:lnTo>
                    <a:pt x="4" y="222"/>
                  </a:lnTo>
                  <a:lnTo>
                    <a:pt x="2" y="221"/>
                  </a:lnTo>
                  <a:lnTo>
                    <a:pt x="2" y="219"/>
                  </a:lnTo>
                  <a:lnTo>
                    <a:pt x="4" y="219"/>
                  </a:lnTo>
                  <a:lnTo>
                    <a:pt x="4" y="217"/>
                  </a:lnTo>
                  <a:lnTo>
                    <a:pt x="5" y="217"/>
                  </a:lnTo>
                  <a:lnTo>
                    <a:pt x="7" y="216"/>
                  </a:lnTo>
                  <a:lnTo>
                    <a:pt x="9" y="216"/>
                  </a:lnTo>
                  <a:lnTo>
                    <a:pt x="10" y="216"/>
                  </a:lnTo>
                  <a:lnTo>
                    <a:pt x="12" y="214"/>
                  </a:lnTo>
                  <a:lnTo>
                    <a:pt x="13" y="214"/>
                  </a:lnTo>
                  <a:lnTo>
                    <a:pt x="15" y="214"/>
                  </a:lnTo>
                  <a:lnTo>
                    <a:pt x="17" y="214"/>
                  </a:lnTo>
                  <a:lnTo>
                    <a:pt x="18" y="214"/>
                  </a:lnTo>
                  <a:lnTo>
                    <a:pt x="18" y="213"/>
                  </a:lnTo>
                  <a:lnTo>
                    <a:pt x="17" y="209"/>
                  </a:lnTo>
                  <a:lnTo>
                    <a:pt x="18" y="204"/>
                  </a:lnTo>
                  <a:lnTo>
                    <a:pt x="20" y="203"/>
                  </a:lnTo>
                  <a:lnTo>
                    <a:pt x="20" y="201"/>
                  </a:lnTo>
                  <a:lnTo>
                    <a:pt x="22" y="200"/>
                  </a:lnTo>
                  <a:lnTo>
                    <a:pt x="23" y="198"/>
                  </a:lnTo>
                  <a:lnTo>
                    <a:pt x="23" y="196"/>
                  </a:lnTo>
                  <a:lnTo>
                    <a:pt x="22" y="195"/>
                  </a:lnTo>
                  <a:lnTo>
                    <a:pt x="20" y="195"/>
                  </a:lnTo>
                  <a:lnTo>
                    <a:pt x="20" y="193"/>
                  </a:lnTo>
                  <a:lnTo>
                    <a:pt x="18" y="193"/>
                  </a:lnTo>
                  <a:lnTo>
                    <a:pt x="17" y="191"/>
                  </a:lnTo>
                  <a:lnTo>
                    <a:pt x="13" y="190"/>
                  </a:lnTo>
                  <a:lnTo>
                    <a:pt x="13" y="188"/>
                  </a:lnTo>
                  <a:lnTo>
                    <a:pt x="17" y="187"/>
                  </a:lnTo>
                  <a:lnTo>
                    <a:pt x="17" y="185"/>
                  </a:lnTo>
                  <a:lnTo>
                    <a:pt x="15" y="183"/>
                  </a:lnTo>
                  <a:lnTo>
                    <a:pt x="15" y="182"/>
                  </a:lnTo>
                  <a:lnTo>
                    <a:pt x="17" y="182"/>
                  </a:lnTo>
                  <a:lnTo>
                    <a:pt x="17" y="180"/>
                  </a:lnTo>
                  <a:lnTo>
                    <a:pt x="18" y="178"/>
                  </a:lnTo>
                  <a:lnTo>
                    <a:pt x="20" y="177"/>
                  </a:lnTo>
                  <a:lnTo>
                    <a:pt x="22" y="174"/>
                  </a:lnTo>
                  <a:lnTo>
                    <a:pt x="23" y="172"/>
                  </a:lnTo>
                  <a:lnTo>
                    <a:pt x="22" y="170"/>
                  </a:lnTo>
                  <a:lnTo>
                    <a:pt x="20" y="167"/>
                  </a:lnTo>
                  <a:lnTo>
                    <a:pt x="20" y="165"/>
                  </a:lnTo>
                  <a:lnTo>
                    <a:pt x="25" y="162"/>
                  </a:lnTo>
                  <a:lnTo>
                    <a:pt x="27" y="161"/>
                  </a:lnTo>
                  <a:lnTo>
                    <a:pt x="28" y="161"/>
                  </a:lnTo>
                  <a:lnTo>
                    <a:pt x="28" y="159"/>
                  </a:lnTo>
                  <a:lnTo>
                    <a:pt x="30" y="157"/>
                  </a:lnTo>
                  <a:lnTo>
                    <a:pt x="35" y="154"/>
                  </a:lnTo>
                  <a:lnTo>
                    <a:pt x="36" y="152"/>
                  </a:lnTo>
                  <a:lnTo>
                    <a:pt x="41" y="149"/>
                  </a:lnTo>
                  <a:lnTo>
                    <a:pt x="43" y="149"/>
                  </a:lnTo>
                  <a:lnTo>
                    <a:pt x="44" y="148"/>
                  </a:lnTo>
                  <a:lnTo>
                    <a:pt x="46" y="148"/>
                  </a:lnTo>
                  <a:lnTo>
                    <a:pt x="46" y="146"/>
                  </a:lnTo>
                  <a:lnTo>
                    <a:pt x="48" y="146"/>
                  </a:lnTo>
                  <a:lnTo>
                    <a:pt x="48" y="144"/>
                  </a:lnTo>
                  <a:lnTo>
                    <a:pt x="51" y="143"/>
                  </a:lnTo>
                  <a:lnTo>
                    <a:pt x="53" y="143"/>
                  </a:lnTo>
                  <a:lnTo>
                    <a:pt x="54" y="139"/>
                  </a:lnTo>
                  <a:lnTo>
                    <a:pt x="56" y="138"/>
                  </a:lnTo>
                  <a:lnTo>
                    <a:pt x="54" y="138"/>
                  </a:lnTo>
                  <a:lnTo>
                    <a:pt x="53" y="136"/>
                  </a:lnTo>
                  <a:lnTo>
                    <a:pt x="53" y="135"/>
                  </a:lnTo>
                  <a:lnTo>
                    <a:pt x="54" y="131"/>
                  </a:lnTo>
                  <a:lnTo>
                    <a:pt x="56" y="130"/>
                  </a:lnTo>
                  <a:lnTo>
                    <a:pt x="56" y="128"/>
                  </a:lnTo>
                  <a:lnTo>
                    <a:pt x="56" y="125"/>
                  </a:lnTo>
                  <a:lnTo>
                    <a:pt x="56" y="123"/>
                  </a:lnTo>
                  <a:lnTo>
                    <a:pt x="54" y="118"/>
                  </a:lnTo>
                  <a:lnTo>
                    <a:pt x="53" y="118"/>
                  </a:lnTo>
                  <a:lnTo>
                    <a:pt x="54" y="118"/>
                  </a:lnTo>
                  <a:lnTo>
                    <a:pt x="56" y="117"/>
                  </a:lnTo>
                  <a:lnTo>
                    <a:pt x="57" y="113"/>
                  </a:lnTo>
                  <a:lnTo>
                    <a:pt x="59" y="112"/>
                  </a:lnTo>
                  <a:lnTo>
                    <a:pt x="61" y="112"/>
                  </a:lnTo>
                  <a:lnTo>
                    <a:pt x="61" y="113"/>
                  </a:lnTo>
                  <a:lnTo>
                    <a:pt x="62" y="112"/>
                  </a:lnTo>
                  <a:lnTo>
                    <a:pt x="67" y="112"/>
                  </a:lnTo>
                  <a:lnTo>
                    <a:pt x="69" y="110"/>
                  </a:lnTo>
                  <a:lnTo>
                    <a:pt x="70" y="110"/>
                  </a:lnTo>
                  <a:lnTo>
                    <a:pt x="72" y="110"/>
                  </a:lnTo>
                  <a:lnTo>
                    <a:pt x="74" y="110"/>
                  </a:lnTo>
                  <a:lnTo>
                    <a:pt x="74" y="109"/>
                  </a:lnTo>
                  <a:lnTo>
                    <a:pt x="75" y="105"/>
                  </a:lnTo>
                  <a:lnTo>
                    <a:pt x="77" y="105"/>
                  </a:lnTo>
                  <a:lnTo>
                    <a:pt x="79" y="104"/>
                  </a:lnTo>
                  <a:lnTo>
                    <a:pt x="80" y="104"/>
                  </a:lnTo>
                  <a:lnTo>
                    <a:pt x="82" y="102"/>
                  </a:lnTo>
                  <a:lnTo>
                    <a:pt x="80" y="100"/>
                  </a:lnTo>
                  <a:lnTo>
                    <a:pt x="80" y="99"/>
                  </a:lnTo>
                  <a:lnTo>
                    <a:pt x="82" y="99"/>
                  </a:lnTo>
                  <a:lnTo>
                    <a:pt x="82" y="97"/>
                  </a:lnTo>
                  <a:lnTo>
                    <a:pt x="80" y="97"/>
                  </a:lnTo>
                  <a:lnTo>
                    <a:pt x="82" y="97"/>
                  </a:lnTo>
                  <a:lnTo>
                    <a:pt x="83" y="97"/>
                  </a:lnTo>
                  <a:lnTo>
                    <a:pt x="83" y="96"/>
                  </a:lnTo>
                  <a:lnTo>
                    <a:pt x="83" y="97"/>
                  </a:lnTo>
                  <a:lnTo>
                    <a:pt x="85" y="96"/>
                  </a:lnTo>
                  <a:lnTo>
                    <a:pt x="85" y="94"/>
                  </a:lnTo>
                  <a:lnTo>
                    <a:pt x="85" y="92"/>
                  </a:lnTo>
                  <a:lnTo>
                    <a:pt x="87" y="92"/>
                  </a:lnTo>
                  <a:lnTo>
                    <a:pt x="88" y="92"/>
                  </a:lnTo>
                  <a:lnTo>
                    <a:pt x="88" y="91"/>
                  </a:lnTo>
                  <a:lnTo>
                    <a:pt x="90" y="91"/>
                  </a:lnTo>
                  <a:lnTo>
                    <a:pt x="92" y="91"/>
                  </a:lnTo>
                  <a:lnTo>
                    <a:pt x="93" y="89"/>
                  </a:lnTo>
                  <a:lnTo>
                    <a:pt x="95" y="87"/>
                  </a:lnTo>
                  <a:lnTo>
                    <a:pt x="96" y="87"/>
                  </a:lnTo>
                  <a:lnTo>
                    <a:pt x="96" y="86"/>
                  </a:lnTo>
                  <a:lnTo>
                    <a:pt x="95" y="86"/>
                  </a:lnTo>
                  <a:lnTo>
                    <a:pt x="96" y="84"/>
                  </a:lnTo>
                  <a:lnTo>
                    <a:pt x="98" y="83"/>
                  </a:lnTo>
                  <a:lnTo>
                    <a:pt x="98" y="84"/>
                  </a:lnTo>
                  <a:lnTo>
                    <a:pt x="98" y="83"/>
                  </a:lnTo>
                  <a:lnTo>
                    <a:pt x="98" y="81"/>
                  </a:lnTo>
                  <a:lnTo>
                    <a:pt x="101" y="79"/>
                  </a:lnTo>
                  <a:lnTo>
                    <a:pt x="103" y="78"/>
                  </a:lnTo>
                  <a:lnTo>
                    <a:pt x="105" y="78"/>
                  </a:lnTo>
                  <a:lnTo>
                    <a:pt x="105" y="76"/>
                  </a:lnTo>
                  <a:lnTo>
                    <a:pt x="106" y="76"/>
                  </a:lnTo>
                  <a:lnTo>
                    <a:pt x="106" y="74"/>
                  </a:lnTo>
                  <a:lnTo>
                    <a:pt x="106" y="73"/>
                  </a:lnTo>
                  <a:lnTo>
                    <a:pt x="106" y="71"/>
                  </a:lnTo>
                  <a:lnTo>
                    <a:pt x="106" y="69"/>
                  </a:lnTo>
                  <a:lnTo>
                    <a:pt x="105" y="69"/>
                  </a:lnTo>
                  <a:lnTo>
                    <a:pt x="106" y="68"/>
                  </a:lnTo>
                  <a:lnTo>
                    <a:pt x="108" y="68"/>
                  </a:lnTo>
                  <a:lnTo>
                    <a:pt x="109" y="68"/>
                  </a:lnTo>
                  <a:lnTo>
                    <a:pt x="111" y="68"/>
                  </a:lnTo>
                  <a:lnTo>
                    <a:pt x="113" y="68"/>
                  </a:lnTo>
                  <a:lnTo>
                    <a:pt x="113" y="66"/>
                  </a:lnTo>
                  <a:lnTo>
                    <a:pt x="113" y="65"/>
                  </a:lnTo>
                  <a:lnTo>
                    <a:pt x="114" y="65"/>
                  </a:lnTo>
                  <a:lnTo>
                    <a:pt x="116" y="65"/>
                  </a:lnTo>
                  <a:lnTo>
                    <a:pt x="116" y="63"/>
                  </a:lnTo>
                  <a:lnTo>
                    <a:pt x="116" y="61"/>
                  </a:lnTo>
                  <a:lnTo>
                    <a:pt x="118" y="61"/>
                  </a:lnTo>
                  <a:lnTo>
                    <a:pt x="116" y="58"/>
                  </a:lnTo>
                  <a:lnTo>
                    <a:pt x="114" y="58"/>
                  </a:lnTo>
                  <a:lnTo>
                    <a:pt x="113" y="58"/>
                  </a:lnTo>
                  <a:lnTo>
                    <a:pt x="111" y="58"/>
                  </a:lnTo>
                  <a:lnTo>
                    <a:pt x="109" y="58"/>
                  </a:lnTo>
                  <a:lnTo>
                    <a:pt x="108" y="58"/>
                  </a:lnTo>
                  <a:lnTo>
                    <a:pt x="106" y="58"/>
                  </a:lnTo>
                  <a:lnTo>
                    <a:pt x="105" y="60"/>
                  </a:lnTo>
                  <a:lnTo>
                    <a:pt x="103" y="58"/>
                  </a:lnTo>
                  <a:lnTo>
                    <a:pt x="101" y="58"/>
                  </a:lnTo>
                  <a:lnTo>
                    <a:pt x="100" y="60"/>
                  </a:lnTo>
                  <a:lnTo>
                    <a:pt x="100" y="56"/>
                  </a:lnTo>
                  <a:lnTo>
                    <a:pt x="101" y="55"/>
                  </a:lnTo>
                  <a:lnTo>
                    <a:pt x="103" y="55"/>
                  </a:lnTo>
                  <a:lnTo>
                    <a:pt x="103" y="53"/>
                  </a:lnTo>
                  <a:lnTo>
                    <a:pt x="103" y="52"/>
                  </a:lnTo>
                  <a:lnTo>
                    <a:pt x="105" y="52"/>
                  </a:lnTo>
                  <a:lnTo>
                    <a:pt x="106" y="52"/>
                  </a:lnTo>
                  <a:lnTo>
                    <a:pt x="106" y="48"/>
                  </a:lnTo>
                  <a:lnTo>
                    <a:pt x="108" y="48"/>
                  </a:lnTo>
                  <a:lnTo>
                    <a:pt x="109" y="47"/>
                  </a:lnTo>
                  <a:lnTo>
                    <a:pt x="111" y="45"/>
                  </a:lnTo>
                  <a:lnTo>
                    <a:pt x="113" y="43"/>
                  </a:lnTo>
                  <a:lnTo>
                    <a:pt x="111" y="43"/>
                  </a:lnTo>
                  <a:lnTo>
                    <a:pt x="111" y="42"/>
                  </a:lnTo>
                  <a:lnTo>
                    <a:pt x="111" y="40"/>
                  </a:lnTo>
                  <a:lnTo>
                    <a:pt x="111" y="39"/>
                  </a:lnTo>
                  <a:lnTo>
                    <a:pt x="113" y="39"/>
                  </a:lnTo>
                  <a:lnTo>
                    <a:pt x="114" y="39"/>
                  </a:lnTo>
                  <a:lnTo>
                    <a:pt x="116" y="39"/>
                  </a:lnTo>
                  <a:lnTo>
                    <a:pt x="118" y="40"/>
                  </a:lnTo>
                  <a:lnTo>
                    <a:pt x="119" y="40"/>
                  </a:lnTo>
                  <a:lnTo>
                    <a:pt x="121" y="40"/>
                  </a:lnTo>
                  <a:lnTo>
                    <a:pt x="124" y="40"/>
                  </a:lnTo>
                  <a:lnTo>
                    <a:pt x="124" y="39"/>
                  </a:lnTo>
                  <a:lnTo>
                    <a:pt x="126" y="39"/>
                  </a:lnTo>
                  <a:lnTo>
                    <a:pt x="127" y="40"/>
                  </a:lnTo>
                  <a:lnTo>
                    <a:pt x="129" y="40"/>
                  </a:lnTo>
                  <a:lnTo>
                    <a:pt x="131" y="40"/>
                  </a:lnTo>
                  <a:lnTo>
                    <a:pt x="132" y="40"/>
                  </a:lnTo>
                  <a:lnTo>
                    <a:pt x="132" y="42"/>
                  </a:lnTo>
                  <a:lnTo>
                    <a:pt x="131" y="42"/>
                  </a:lnTo>
                  <a:lnTo>
                    <a:pt x="129" y="47"/>
                  </a:lnTo>
                  <a:lnTo>
                    <a:pt x="132" y="48"/>
                  </a:lnTo>
                  <a:lnTo>
                    <a:pt x="134" y="48"/>
                  </a:lnTo>
                  <a:lnTo>
                    <a:pt x="135" y="50"/>
                  </a:lnTo>
                  <a:lnTo>
                    <a:pt x="137" y="50"/>
                  </a:lnTo>
                  <a:lnTo>
                    <a:pt x="139" y="50"/>
                  </a:lnTo>
                  <a:lnTo>
                    <a:pt x="140" y="50"/>
                  </a:lnTo>
                  <a:lnTo>
                    <a:pt x="140" y="48"/>
                  </a:lnTo>
                  <a:lnTo>
                    <a:pt x="142" y="48"/>
                  </a:lnTo>
                  <a:lnTo>
                    <a:pt x="144" y="48"/>
                  </a:lnTo>
                  <a:lnTo>
                    <a:pt x="145" y="50"/>
                  </a:lnTo>
                  <a:lnTo>
                    <a:pt x="147" y="50"/>
                  </a:lnTo>
                  <a:lnTo>
                    <a:pt x="150" y="50"/>
                  </a:lnTo>
                  <a:lnTo>
                    <a:pt x="152" y="48"/>
                  </a:lnTo>
                  <a:lnTo>
                    <a:pt x="153" y="48"/>
                  </a:lnTo>
                  <a:lnTo>
                    <a:pt x="155" y="47"/>
                  </a:lnTo>
                  <a:lnTo>
                    <a:pt x="155" y="45"/>
                  </a:lnTo>
                  <a:lnTo>
                    <a:pt x="157" y="45"/>
                  </a:lnTo>
                  <a:lnTo>
                    <a:pt x="157" y="43"/>
                  </a:lnTo>
                  <a:lnTo>
                    <a:pt x="155" y="43"/>
                  </a:lnTo>
                  <a:lnTo>
                    <a:pt x="153" y="43"/>
                  </a:lnTo>
                  <a:lnTo>
                    <a:pt x="153" y="42"/>
                  </a:lnTo>
                  <a:lnTo>
                    <a:pt x="155" y="40"/>
                  </a:lnTo>
                  <a:lnTo>
                    <a:pt x="155" y="42"/>
                  </a:lnTo>
                  <a:lnTo>
                    <a:pt x="158" y="43"/>
                  </a:lnTo>
                  <a:lnTo>
                    <a:pt x="160" y="43"/>
                  </a:lnTo>
                  <a:lnTo>
                    <a:pt x="160" y="42"/>
                  </a:lnTo>
                  <a:lnTo>
                    <a:pt x="161" y="42"/>
                  </a:lnTo>
                  <a:lnTo>
                    <a:pt x="161" y="40"/>
                  </a:lnTo>
                  <a:lnTo>
                    <a:pt x="161" y="39"/>
                  </a:lnTo>
                  <a:lnTo>
                    <a:pt x="163" y="39"/>
                  </a:lnTo>
                  <a:lnTo>
                    <a:pt x="163" y="37"/>
                  </a:lnTo>
                  <a:lnTo>
                    <a:pt x="163" y="35"/>
                  </a:lnTo>
                  <a:lnTo>
                    <a:pt x="161" y="35"/>
                  </a:lnTo>
                  <a:lnTo>
                    <a:pt x="161" y="37"/>
                  </a:lnTo>
                  <a:lnTo>
                    <a:pt x="161" y="35"/>
                  </a:lnTo>
                  <a:lnTo>
                    <a:pt x="161" y="34"/>
                  </a:lnTo>
                  <a:lnTo>
                    <a:pt x="165" y="32"/>
                  </a:lnTo>
                  <a:lnTo>
                    <a:pt x="166" y="30"/>
                  </a:lnTo>
                  <a:lnTo>
                    <a:pt x="170" y="29"/>
                  </a:lnTo>
                  <a:lnTo>
                    <a:pt x="171" y="30"/>
                  </a:lnTo>
                  <a:lnTo>
                    <a:pt x="173" y="30"/>
                  </a:lnTo>
                  <a:lnTo>
                    <a:pt x="175" y="29"/>
                  </a:lnTo>
                  <a:lnTo>
                    <a:pt x="176" y="27"/>
                  </a:lnTo>
                  <a:lnTo>
                    <a:pt x="178" y="27"/>
                  </a:lnTo>
                  <a:lnTo>
                    <a:pt x="179" y="27"/>
                  </a:lnTo>
                  <a:lnTo>
                    <a:pt x="178" y="29"/>
                  </a:lnTo>
                  <a:lnTo>
                    <a:pt x="179" y="30"/>
                  </a:lnTo>
                  <a:lnTo>
                    <a:pt x="179" y="32"/>
                  </a:lnTo>
                  <a:lnTo>
                    <a:pt x="178" y="32"/>
                  </a:lnTo>
                  <a:lnTo>
                    <a:pt x="176" y="32"/>
                  </a:lnTo>
                  <a:lnTo>
                    <a:pt x="175" y="32"/>
                  </a:lnTo>
                  <a:lnTo>
                    <a:pt x="173" y="32"/>
                  </a:lnTo>
                  <a:lnTo>
                    <a:pt x="175" y="32"/>
                  </a:lnTo>
                  <a:lnTo>
                    <a:pt x="176" y="34"/>
                  </a:lnTo>
                  <a:lnTo>
                    <a:pt x="176" y="35"/>
                  </a:lnTo>
                  <a:lnTo>
                    <a:pt x="178" y="35"/>
                  </a:lnTo>
                  <a:lnTo>
                    <a:pt x="178" y="37"/>
                  </a:lnTo>
                  <a:lnTo>
                    <a:pt x="179" y="37"/>
                  </a:lnTo>
                  <a:lnTo>
                    <a:pt x="183" y="35"/>
                  </a:lnTo>
                  <a:lnTo>
                    <a:pt x="184" y="35"/>
                  </a:lnTo>
                  <a:lnTo>
                    <a:pt x="186" y="35"/>
                  </a:lnTo>
                  <a:lnTo>
                    <a:pt x="186" y="34"/>
                  </a:lnTo>
                  <a:lnTo>
                    <a:pt x="188" y="34"/>
                  </a:lnTo>
                  <a:lnTo>
                    <a:pt x="189" y="34"/>
                  </a:lnTo>
                  <a:lnTo>
                    <a:pt x="191" y="32"/>
                  </a:lnTo>
                  <a:lnTo>
                    <a:pt x="192" y="29"/>
                  </a:lnTo>
                  <a:lnTo>
                    <a:pt x="194" y="29"/>
                  </a:lnTo>
                  <a:lnTo>
                    <a:pt x="194" y="30"/>
                  </a:lnTo>
                  <a:lnTo>
                    <a:pt x="196" y="29"/>
                  </a:lnTo>
                  <a:lnTo>
                    <a:pt x="199" y="29"/>
                  </a:lnTo>
                  <a:lnTo>
                    <a:pt x="201" y="30"/>
                  </a:lnTo>
                  <a:lnTo>
                    <a:pt x="201" y="32"/>
                  </a:lnTo>
                  <a:lnTo>
                    <a:pt x="201" y="34"/>
                  </a:lnTo>
                  <a:lnTo>
                    <a:pt x="201" y="35"/>
                  </a:lnTo>
                  <a:lnTo>
                    <a:pt x="202" y="35"/>
                  </a:lnTo>
                  <a:lnTo>
                    <a:pt x="204" y="35"/>
                  </a:lnTo>
                  <a:lnTo>
                    <a:pt x="205" y="35"/>
                  </a:lnTo>
                  <a:lnTo>
                    <a:pt x="205" y="34"/>
                  </a:lnTo>
                  <a:lnTo>
                    <a:pt x="207" y="34"/>
                  </a:lnTo>
                  <a:lnTo>
                    <a:pt x="209" y="34"/>
                  </a:lnTo>
                  <a:lnTo>
                    <a:pt x="210" y="34"/>
                  </a:lnTo>
                  <a:lnTo>
                    <a:pt x="210" y="35"/>
                  </a:lnTo>
                  <a:lnTo>
                    <a:pt x="212" y="35"/>
                  </a:lnTo>
                  <a:lnTo>
                    <a:pt x="214" y="34"/>
                  </a:lnTo>
                  <a:lnTo>
                    <a:pt x="215" y="34"/>
                  </a:lnTo>
                  <a:lnTo>
                    <a:pt x="217" y="34"/>
                  </a:lnTo>
                  <a:lnTo>
                    <a:pt x="218" y="34"/>
                  </a:lnTo>
                  <a:lnTo>
                    <a:pt x="220" y="32"/>
                  </a:lnTo>
                  <a:lnTo>
                    <a:pt x="220" y="30"/>
                  </a:lnTo>
                  <a:lnTo>
                    <a:pt x="223" y="30"/>
                  </a:lnTo>
                  <a:lnTo>
                    <a:pt x="223" y="29"/>
                  </a:lnTo>
                  <a:lnTo>
                    <a:pt x="225" y="29"/>
                  </a:lnTo>
                  <a:lnTo>
                    <a:pt x="227" y="27"/>
                  </a:lnTo>
                  <a:lnTo>
                    <a:pt x="228" y="27"/>
                  </a:lnTo>
                  <a:lnTo>
                    <a:pt x="228" y="26"/>
                  </a:lnTo>
                  <a:lnTo>
                    <a:pt x="230" y="26"/>
                  </a:lnTo>
                  <a:lnTo>
                    <a:pt x="231" y="26"/>
                  </a:lnTo>
                  <a:lnTo>
                    <a:pt x="231" y="27"/>
                  </a:lnTo>
                  <a:lnTo>
                    <a:pt x="233" y="27"/>
                  </a:lnTo>
                  <a:lnTo>
                    <a:pt x="235" y="26"/>
                  </a:lnTo>
                  <a:lnTo>
                    <a:pt x="235" y="27"/>
                  </a:lnTo>
                  <a:lnTo>
                    <a:pt x="236" y="27"/>
                  </a:lnTo>
                  <a:lnTo>
                    <a:pt x="238" y="27"/>
                  </a:lnTo>
                  <a:lnTo>
                    <a:pt x="238" y="29"/>
                  </a:lnTo>
                  <a:lnTo>
                    <a:pt x="238" y="30"/>
                  </a:lnTo>
                  <a:lnTo>
                    <a:pt x="240" y="30"/>
                  </a:lnTo>
                  <a:lnTo>
                    <a:pt x="241" y="32"/>
                  </a:lnTo>
                  <a:lnTo>
                    <a:pt x="244" y="32"/>
                  </a:lnTo>
                  <a:lnTo>
                    <a:pt x="246" y="34"/>
                  </a:lnTo>
                  <a:lnTo>
                    <a:pt x="248" y="32"/>
                  </a:lnTo>
                  <a:lnTo>
                    <a:pt x="249" y="32"/>
                  </a:lnTo>
                  <a:lnTo>
                    <a:pt x="251" y="34"/>
                  </a:lnTo>
                  <a:lnTo>
                    <a:pt x="253" y="34"/>
                  </a:lnTo>
                  <a:lnTo>
                    <a:pt x="254" y="32"/>
                  </a:lnTo>
                  <a:lnTo>
                    <a:pt x="256" y="30"/>
                  </a:lnTo>
                  <a:lnTo>
                    <a:pt x="257" y="30"/>
                  </a:lnTo>
                  <a:lnTo>
                    <a:pt x="254" y="30"/>
                  </a:lnTo>
                  <a:lnTo>
                    <a:pt x="254" y="29"/>
                  </a:lnTo>
                  <a:lnTo>
                    <a:pt x="256" y="27"/>
                  </a:lnTo>
                  <a:lnTo>
                    <a:pt x="257" y="27"/>
                  </a:lnTo>
                  <a:lnTo>
                    <a:pt x="259" y="26"/>
                  </a:lnTo>
                  <a:lnTo>
                    <a:pt x="261" y="24"/>
                  </a:lnTo>
                  <a:lnTo>
                    <a:pt x="262" y="26"/>
                  </a:lnTo>
                  <a:lnTo>
                    <a:pt x="266" y="27"/>
                  </a:lnTo>
                  <a:lnTo>
                    <a:pt x="264" y="29"/>
                  </a:lnTo>
                  <a:lnTo>
                    <a:pt x="264" y="30"/>
                  </a:lnTo>
                  <a:lnTo>
                    <a:pt x="266" y="30"/>
                  </a:lnTo>
                  <a:lnTo>
                    <a:pt x="266" y="29"/>
                  </a:lnTo>
                  <a:lnTo>
                    <a:pt x="267" y="29"/>
                  </a:lnTo>
                  <a:lnTo>
                    <a:pt x="267" y="27"/>
                  </a:lnTo>
                  <a:lnTo>
                    <a:pt x="269" y="27"/>
                  </a:lnTo>
                  <a:lnTo>
                    <a:pt x="267" y="26"/>
                  </a:lnTo>
                  <a:lnTo>
                    <a:pt x="267" y="22"/>
                  </a:lnTo>
                  <a:lnTo>
                    <a:pt x="269" y="22"/>
                  </a:lnTo>
                  <a:lnTo>
                    <a:pt x="269" y="24"/>
                  </a:lnTo>
                  <a:lnTo>
                    <a:pt x="270" y="24"/>
                  </a:lnTo>
                  <a:lnTo>
                    <a:pt x="270" y="22"/>
                  </a:lnTo>
                  <a:lnTo>
                    <a:pt x="270" y="21"/>
                  </a:lnTo>
                  <a:lnTo>
                    <a:pt x="269" y="21"/>
                  </a:lnTo>
                  <a:lnTo>
                    <a:pt x="269" y="19"/>
                  </a:lnTo>
                  <a:lnTo>
                    <a:pt x="269" y="17"/>
                  </a:lnTo>
                  <a:lnTo>
                    <a:pt x="267" y="19"/>
                  </a:lnTo>
                  <a:lnTo>
                    <a:pt x="266" y="21"/>
                  </a:lnTo>
                  <a:lnTo>
                    <a:pt x="266" y="19"/>
                  </a:lnTo>
                  <a:lnTo>
                    <a:pt x="264" y="19"/>
                  </a:lnTo>
                  <a:lnTo>
                    <a:pt x="262" y="19"/>
                  </a:lnTo>
                  <a:lnTo>
                    <a:pt x="262" y="21"/>
                  </a:lnTo>
                  <a:lnTo>
                    <a:pt x="262" y="22"/>
                  </a:lnTo>
                  <a:lnTo>
                    <a:pt x="261" y="22"/>
                  </a:lnTo>
                  <a:lnTo>
                    <a:pt x="259" y="22"/>
                  </a:lnTo>
                  <a:lnTo>
                    <a:pt x="257" y="22"/>
                  </a:lnTo>
                  <a:lnTo>
                    <a:pt x="256" y="22"/>
                  </a:lnTo>
                  <a:lnTo>
                    <a:pt x="256" y="24"/>
                  </a:lnTo>
                  <a:lnTo>
                    <a:pt x="254" y="22"/>
                  </a:lnTo>
                  <a:lnTo>
                    <a:pt x="256" y="21"/>
                  </a:lnTo>
                  <a:lnTo>
                    <a:pt x="254" y="21"/>
                  </a:lnTo>
                  <a:lnTo>
                    <a:pt x="253" y="21"/>
                  </a:lnTo>
                  <a:lnTo>
                    <a:pt x="251" y="19"/>
                  </a:lnTo>
                  <a:lnTo>
                    <a:pt x="249" y="19"/>
                  </a:lnTo>
                  <a:lnTo>
                    <a:pt x="249" y="17"/>
                  </a:lnTo>
                  <a:lnTo>
                    <a:pt x="251" y="17"/>
                  </a:lnTo>
                  <a:lnTo>
                    <a:pt x="249" y="16"/>
                  </a:lnTo>
                  <a:lnTo>
                    <a:pt x="249" y="14"/>
                  </a:lnTo>
                  <a:lnTo>
                    <a:pt x="251" y="13"/>
                  </a:lnTo>
                  <a:lnTo>
                    <a:pt x="253" y="13"/>
                  </a:lnTo>
                  <a:lnTo>
                    <a:pt x="253" y="11"/>
                  </a:lnTo>
                  <a:lnTo>
                    <a:pt x="254" y="11"/>
                  </a:lnTo>
                  <a:lnTo>
                    <a:pt x="254" y="9"/>
                  </a:lnTo>
                  <a:lnTo>
                    <a:pt x="254" y="8"/>
                  </a:lnTo>
                  <a:lnTo>
                    <a:pt x="256" y="8"/>
                  </a:lnTo>
                  <a:lnTo>
                    <a:pt x="256" y="6"/>
                  </a:lnTo>
                  <a:lnTo>
                    <a:pt x="257" y="4"/>
                  </a:lnTo>
                  <a:lnTo>
                    <a:pt x="259" y="4"/>
                  </a:lnTo>
                  <a:lnTo>
                    <a:pt x="261" y="4"/>
                  </a:lnTo>
                  <a:lnTo>
                    <a:pt x="262" y="3"/>
                  </a:lnTo>
                  <a:lnTo>
                    <a:pt x="264" y="3"/>
                  </a:lnTo>
                  <a:lnTo>
                    <a:pt x="266" y="3"/>
                  </a:lnTo>
                  <a:lnTo>
                    <a:pt x="266" y="1"/>
                  </a:lnTo>
                  <a:lnTo>
                    <a:pt x="266" y="0"/>
                  </a:lnTo>
                  <a:close/>
                  <a:moveTo>
                    <a:pt x="279" y="13"/>
                  </a:moveTo>
                  <a:lnTo>
                    <a:pt x="277" y="14"/>
                  </a:lnTo>
                  <a:lnTo>
                    <a:pt x="275" y="13"/>
                  </a:lnTo>
                  <a:lnTo>
                    <a:pt x="274" y="14"/>
                  </a:lnTo>
                  <a:lnTo>
                    <a:pt x="275" y="14"/>
                  </a:lnTo>
                  <a:lnTo>
                    <a:pt x="275" y="16"/>
                  </a:lnTo>
                  <a:lnTo>
                    <a:pt x="274" y="16"/>
                  </a:lnTo>
                  <a:lnTo>
                    <a:pt x="274" y="17"/>
                  </a:lnTo>
                  <a:lnTo>
                    <a:pt x="275" y="17"/>
                  </a:lnTo>
                  <a:lnTo>
                    <a:pt x="275" y="16"/>
                  </a:lnTo>
                  <a:lnTo>
                    <a:pt x="277" y="16"/>
                  </a:lnTo>
                  <a:lnTo>
                    <a:pt x="279" y="16"/>
                  </a:lnTo>
                  <a:lnTo>
                    <a:pt x="280" y="16"/>
                  </a:lnTo>
                  <a:lnTo>
                    <a:pt x="279" y="16"/>
                  </a:lnTo>
                  <a:lnTo>
                    <a:pt x="279" y="14"/>
                  </a:lnTo>
                  <a:lnTo>
                    <a:pt x="279" y="13"/>
                  </a:lnTo>
                  <a:close/>
                </a:path>
              </a:pathLst>
            </a:custGeom>
            <a:solidFill>
              <a:srgbClr val="E5E5E5"/>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27" name="Freeform 16">
              <a:extLst>
                <a:ext uri="{FF2B5EF4-FFF2-40B4-BE49-F238E27FC236}">
                  <a16:creationId xmlns:a16="http://schemas.microsoft.com/office/drawing/2014/main" id="{38FCB698-D3EF-2DF9-924D-16D2C4A4B3BE}"/>
                </a:ext>
              </a:extLst>
            </p:cNvPr>
            <p:cNvSpPr>
              <a:spLocks noEditPoints="1"/>
            </p:cNvSpPr>
            <p:nvPr/>
          </p:nvSpPr>
          <p:spPr bwMode="auto">
            <a:xfrm>
              <a:off x="6811" y="5329"/>
              <a:ext cx="238" cy="218"/>
            </a:xfrm>
            <a:custGeom>
              <a:avLst/>
              <a:gdLst>
                <a:gd name="T0" fmla="*/ 228 w 238"/>
                <a:gd name="T1" fmla="*/ 18 h 218"/>
                <a:gd name="T2" fmla="*/ 223 w 238"/>
                <a:gd name="T3" fmla="*/ 26 h 218"/>
                <a:gd name="T4" fmla="*/ 217 w 238"/>
                <a:gd name="T5" fmla="*/ 36 h 218"/>
                <a:gd name="T6" fmla="*/ 208 w 238"/>
                <a:gd name="T7" fmla="*/ 45 h 218"/>
                <a:gd name="T8" fmla="*/ 199 w 238"/>
                <a:gd name="T9" fmla="*/ 57 h 218"/>
                <a:gd name="T10" fmla="*/ 194 w 238"/>
                <a:gd name="T11" fmla="*/ 71 h 218"/>
                <a:gd name="T12" fmla="*/ 181 w 238"/>
                <a:gd name="T13" fmla="*/ 78 h 218"/>
                <a:gd name="T14" fmla="*/ 179 w 238"/>
                <a:gd name="T15" fmla="*/ 93 h 218"/>
                <a:gd name="T16" fmla="*/ 187 w 238"/>
                <a:gd name="T17" fmla="*/ 104 h 218"/>
                <a:gd name="T18" fmla="*/ 197 w 238"/>
                <a:gd name="T19" fmla="*/ 112 h 218"/>
                <a:gd name="T20" fmla="*/ 205 w 238"/>
                <a:gd name="T21" fmla="*/ 119 h 218"/>
                <a:gd name="T22" fmla="*/ 205 w 238"/>
                <a:gd name="T23" fmla="*/ 122 h 218"/>
                <a:gd name="T24" fmla="*/ 194 w 238"/>
                <a:gd name="T25" fmla="*/ 125 h 218"/>
                <a:gd name="T26" fmla="*/ 182 w 238"/>
                <a:gd name="T27" fmla="*/ 133 h 218"/>
                <a:gd name="T28" fmla="*/ 166 w 238"/>
                <a:gd name="T29" fmla="*/ 133 h 218"/>
                <a:gd name="T30" fmla="*/ 161 w 238"/>
                <a:gd name="T31" fmla="*/ 143 h 218"/>
                <a:gd name="T32" fmla="*/ 160 w 238"/>
                <a:gd name="T33" fmla="*/ 158 h 218"/>
                <a:gd name="T34" fmla="*/ 148 w 238"/>
                <a:gd name="T35" fmla="*/ 169 h 218"/>
                <a:gd name="T36" fmla="*/ 137 w 238"/>
                <a:gd name="T37" fmla="*/ 179 h 218"/>
                <a:gd name="T38" fmla="*/ 127 w 238"/>
                <a:gd name="T39" fmla="*/ 187 h 218"/>
                <a:gd name="T40" fmla="*/ 116 w 238"/>
                <a:gd name="T41" fmla="*/ 190 h 218"/>
                <a:gd name="T42" fmla="*/ 104 w 238"/>
                <a:gd name="T43" fmla="*/ 197 h 218"/>
                <a:gd name="T44" fmla="*/ 99 w 238"/>
                <a:gd name="T45" fmla="*/ 205 h 218"/>
                <a:gd name="T46" fmla="*/ 103 w 238"/>
                <a:gd name="T47" fmla="*/ 215 h 218"/>
                <a:gd name="T48" fmla="*/ 91 w 238"/>
                <a:gd name="T49" fmla="*/ 213 h 218"/>
                <a:gd name="T50" fmla="*/ 78 w 238"/>
                <a:gd name="T51" fmla="*/ 208 h 218"/>
                <a:gd name="T52" fmla="*/ 65 w 238"/>
                <a:gd name="T53" fmla="*/ 215 h 218"/>
                <a:gd name="T54" fmla="*/ 52 w 238"/>
                <a:gd name="T55" fmla="*/ 215 h 218"/>
                <a:gd name="T56" fmla="*/ 39 w 238"/>
                <a:gd name="T57" fmla="*/ 213 h 218"/>
                <a:gd name="T58" fmla="*/ 28 w 238"/>
                <a:gd name="T59" fmla="*/ 210 h 218"/>
                <a:gd name="T60" fmla="*/ 23 w 238"/>
                <a:gd name="T61" fmla="*/ 202 h 218"/>
                <a:gd name="T62" fmla="*/ 17 w 238"/>
                <a:gd name="T63" fmla="*/ 197 h 218"/>
                <a:gd name="T64" fmla="*/ 12 w 238"/>
                <a:gd name="T65" fmla="*/ 189 h 218"/>
                <a:gd name="T66" fmla="*/ 5 w 238"/>
                <a:gd name="T67" fmla="*/ 179 h 218"/>
                <a:gd name="T68" fmla="*/ 0 w 238"/>
                <a:gd name="T69" fmla="*/ 166 h 218"/>
                <a:gd name="T70" fmla="*/ 13 w 238"/>
                <a:gd name="T71" fmla="*/ 172 h 218"/>
                <a:gd name="T72" fmla="*/ 26 w 238"/>
                <a:gd name="T73" fmla="*/ 153 h 218"/>
                <a:gd name="T74" fmla="*/ 34 w 238"/>
                <a:gd name="T75" fmla="*/ 143 h 218"/>
                <a:gd name="T76" fmla="*/ 49 w 238"/>
                <a:gd name="T77" fmla="*/ 140 h 218"/>
                <a:gd name="T78" fmla="*/ 59 w 238"/>
                <a:gd name="T79" fmla="*/ 143 h 218"/>
                <a:gd name="T80" fmla="*/ 69 w 238"/>
                <a:gd name="T81" fmla="*/ 122 h 218"/>
                <a:gd name="T82" fmla="*/ 62 w 238"/>
                <a:gd name="T83" fmla="*/ 107 h 218"/>
                <a:gd name="T84" fmla="*/ 72 w 238"/>
                <a:gd name="T85" fmla="*/ 106 h 218"/>
                <a:gd name="T86" fmla="*/ 83 w 238"/>
                <a:gd name="T87" fmla="*/ 102 h 218"/>
                <a:gd name="T88" fmla="*/ 93 w 238"/>
                <a:gd name="T89" fmla="*/ 101 h 218"/>
                <a:gd name="T90" fmla="*/ 104 w 238"/>
                <a:gd name="T91" fmla="*/ 97 h 218"/>
                <a:gd name="T92" fmla="*/ 117 w 238"/>
                <a:gd name="T93" fmla="*/ 96 h 218"/>
                <a:gd name="T94" fmla="*/ 129 w 238"/>
                <a:gd name="T95" fmla="*/ 91 h 218"/>
                <a:gd name="T96" fmla="*/ 142 w 238"/>
                <a:gd name="T97" fmla="*/ 86 h 218"/>
                <a:gd name="T98" fmla="*/ 152 w 238"/>
                <a:gd name="T99" fmla="*/ 78 h 218"/>
                <a:gd name="T100" fmla="*/ 161 w 238"/>
                <a:gd name="T101" fmla="*/ 70 h 218"/>
                <a:gd name="T102" fmla="*/ 173 w 238"/>
                <a:gd name="T103" fmla="*/ 63 h 218"/>
                <a:gd name="T104" fmla="*/ 184 w 238"/>
                <a:gd name="T105" fmla="*/ 55 h 218"/>
                <a:gd name="T106" fmla="*/ 192 w 238"/>
                <a:gd name="T107" fmla="*/ 45 h 218"/>
                <a:gd name="T108" fmla="*/ 199 w 238"/>
                <a:gd name="T109" fmla="*/ 36 h 218"/>
                <a:gd name="T110" fmla="*/ 208 w 238"/>
                <a:gd name="T111" fmla="*/ 31 h 218"/>
                <a:gd name="T112" fmla="*/ 217 w 238"/>
                <a:gd name="T113" fmla="*/ 19 h 218"/>
                <a:gd name="T114" fmla="*/ 226 w 238"/>
                <a:gd name="T115" fmla="*/ 11 h 218"/>
                <a:gd name="T116" fmla="*/ 236 w 238"/>
                <a:gd name="T117" fmla="*/ 3 h 218"/>
                <a:gd name="T118" fmla="*/ 106 w 238"/>
                <a:gd name="T119" fmla="*/ 97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38" h="218">
                  <a:moveTo>
                    <a:pt x="236" y="6"/>
                  </a:moveTo>
                  <a:lnTo>
                    <a:pt x="236" y="8"/>
                  </a:lnTo>
                  <a:lnTo>
                    <a:pt x="238" y="8"/>
                  </a:lnTo>
                  <a:lnTo>
                    <a:pt x="236" y="10"/>
                  </a:lnTo>
                  <a:lnTo>
                    <a:pt x="236" y="11"/>
                  </a:lnTo>
                  <a:lnTo>
                    <a:pt x="234" y="11"/>
                  </a:lnTo>
                  <a:lnTo>
                    <a:pt x="233" y="13"/>
                  </a:lnTo>
                  <a:lnTo>
                    <a:pt x="231" y="15"/>
                  </a:lnTo>
                  <a:lnTo>
                    <a:pt x="230" y="16"/>
                  </a:lnTo>
                  <a:lnTo>
                    <a:pt x="228" y="18"/>
                  </a:lnTo>
                  <a:lnTo>
                    <a:pt x="226" y="18"/>
                  </a:lnTo>
                  <a:lnTo>
                    <a:pt x="226" y="19"/>
                  </a:lnTo>
                  <a:lnTo>
                    <a:pt x="225" y="19"/>
                  </a:lnTo>
                  <a:lnTo>
                    <a:pt x="225" y="21"/>
                  </a:lnTo>
                  <a:lnTo>
                    <a:pt x="223" y="21"/>
                  </a:lnTo>
                  <a:lnTo>
                    <a:pt x="223" y="23"/>
                  </a:lnTo>
                  <a:lnTo>
                    <a:pt x="223" y="24"/>
                  </a:lnTo>
                  <a:lnTo>
                    <a:pt x="223" y="26"/>
                  </a:lnTo>
                  <a:lnTo>
                    <a:pt x="221" y="26"/>
                  </a:lnTo>
                  <a:lnTo>
                    <a:pt x="223" y="26"/>
                  </a:lnTo>
                  <a:lnTo>
                    <a:pt x="223" y="28"/>
                  </a:lnTo>
                  <a:lnTo>
                    <a:pt x="221" y="28"/>
                  </a:lnTo>
                  <a:lnTo>
                    <a:pt x="223" y="28"/>
                  </a:lnTo>
                  <a:lnTo>
                    <a:pt x="223" y="29"/>
                  </a:lnTo>
                  <a:lnTo>
                    <a:pt x="221" y="29"/>
                  </a:lnTo>
                  <a:lnTo>
                    <a:pt x="220" y="31"/>
                  </a:lnTo>
                  <a:lnTo>
                    <a:pt x="220" y="32"/>
                  </a:lnTo>
                  <a:lnTo>
                    <a:pt x="218" y="32"/>
                  </a:lnTo>
                  <a:lnTo>
                    <a:pt x="218" y="34"/>
                  </a:lnTo>
                  <a:lnTo>
                    <a:pt x="217" y="36"/>
                  </a:lnTo>
                  <a:lnTo>
                    <a:pt x="217" y="37"/>
                  </a:lnTo>
                  <a:lnTo>
                    <a:pt x="215" y="37"/>
                  </a:lnTo>
                  <a:lnTo>
                    <a:pt x="215" y="39"/>
                  </a:lnTo>
                  <a:lnTo>
                    <a:pt x="213" y="41"/>
                  </a:lnTo>
                  <a:lnTo>
                    <a:pt x="213" y="42"/>
                  </a:lnTo>
                  <a:lnTo>
                    <a:pt x="212" y="42"/>
                  </a:lnTo>
                  <a:lnTo>
                    <a:pt x="212" y="44"/>
                  </a:lnTo>
                  <a:lnTo>
                    <a:pt x="210" y="44"/>
                  </a:lnTo>
                  <a:lnTo>
                    <a:pt x="210" y="45"/>
                  </a:lnTo>
                  <a:lnTo>
                    <a:pt x="208" y="45"/>
                  </a:lnTo>
                  <a:lnTo>
                    <a:pt x="207" y="47"/>
                  </a:lnTo>
                  <a:lnTo>
                    <a:pt x="207" y="49"/>
                  </a:lnTo>
                  <a:lnTo>
                    <a:pt x="205" y="49"/>
                  </a:lnTo>
                  <a:lnTo>
                    <a:pt x="205" y="50"/>
                  </a:lnTo>
                  <a:lnTo>
                    <a:pt x="204" y="50"/>
                  </a:lnTo>
                  <a:lnTo>
                    <a:pt x="204" y="52"/>
                  </a:lnTo>
                  <a:lnTo>
                    <a:pt x="202" y="52"/>
                  </a:lnTo>
                  <a:lnTo>
                    <a:pt x="200" y="54"/>
                  </a:lnTo>
                  <a:lnTo>
                    <a:pt x="199" y="55"/>
                  </a:lnTo>
                  <a:lnTo>
                    <a:pt x="199" y="57"/>
                  </a:lnTo>
                  <a:lnTo>
                    <a:pt x="197" y="58"/>
                  </a:lnTo>
                  <a:lnTo>
                    <a:pt x="197" y="60"/>
                  </a:lnTo>
                  <a:lnTo>
                    <a:pt x="195" y="62"/>
                  </a:lnTo>
                  <a:lnTo>
                    <a:pt x="195" y="63"/>
                  </a:lnTo>
                  <a:lnTo>
                    <a:pt x="194" y="63"/>
                  </a:lnTo>
                  <a:lnTo>
                    <a:pt x="194" y="65"/>
                  </a:lnTo>
                  <a:lnTo>
                    <a:pt x="194" y="67"/>
                  </a:lnTo>
                  <a:lnTo>
                    <a:pt x="194" y="68"/>
                  </a:lnTo>
                  <a:lnTo>
                    <a:pt x="194" y="70"/>
                  </a:lnTo>
                  <a:lnTo>
                    <a:pt x="194" y="71"/>
                  </a:lnTo>
                  <a:lnTo>
                    <a:pt x="192" y="73"/>
                  </a:lnTo>
                  <a:lnTo>
                    <a:pt x="191" y="73"/>
                  </a:lnTo>
                  <a:lnTo>
                    <a:pt x="191" y="75"/>
                  </a:lnTo>
                  <a:lnTo>
                    <a:pt x="187" y="76"/>
                  </a:lnTo>
                  <a:lnTo>
                    <a:pt x="186" y="76"/>
                  </a:lnTo>
                  <a:lnTo>
                    <a:pt x="186" y="75"/>
                  </a:lnTo>
                  <a:lnTo>
                    <a:pt x="184" y="76"/>
                  </a:lnTo>
                  <a:lnTo>
                    <a:pt x="182" y="76"/>
                  </a:lnTo>
                  <a:lnTo>
                    <a:pt x="182" y="78"/>
                  </a:lnTo>
                  <a:lnTo>
                    <a:pt x="181" y="78"/>
                  </a:lnTo>
                  <a:lnTo>
                    <a:pt x="181" y="80"/>
                  </a:lnTo>
                  <a:lnTo>
                    <a:pt x="181" y="81"/>
                  </a:lnTo>
                  <a:lnTo>
                    <a:pt x="179" y="81"/>
                  </a:lnTo>
                  <a:lnTo>
                    <a:pt x="179" y="84"/>
                  </a:lnTo>
                  <a:lnTo>
                    <a:pt x="179" y="86"/>
                  </a:lnTo>
                  <a:lnTo>
                    <a:pt x="179" y="88"/>
                  </a:lnTo>
                  <a:lnTo>
                    <a:pt x="178" y="88"/>
                  </a:lnTo>
                  <a:lnTo>
                    <a:pt x="178" y="89"/>
                  </a:lnTo>
                  <a:lnTo>
                    <a:pt x="178" y="91"/>
                  </a:lnTo>
                  <a:lnTo>
                    <a:pt x="179" y="93"/>
                  </a:lnTo>
                  <a:lnTo>
                    <a:pt x="179" y="94"/>
                  </a:lnTo>
                  <a:lnTo>
                    <a:pt x="179" y="96"/>
                  </a:lnTo>
                  <a:lnTo>
                    <a:pt x="179" y="97"/>
                  </a:lnTo>
                  <a:lnTo>
                    <a:pt x="181" y="99"/>
                  </a:lnTo>
                  <a:lnTo>
                    <a:pt x="181" y="101"/>
                  </a:lnTo>
                  <a:lnTo>
                    <a:pt x="182" y="101"/>
                  </a:lnTo>
                  <a:lnTo>
                    <a:pt x="184" y="101"/>
                  </a:lnTo>
                  <a:lnTo>
                    <a:pt x="184" y="102"/>
                  </a:lnTo>
                  <a:lnTo>
                    <a:pt x="186" y="104"/>
                  </a:lnTo>
                  <a:lnTo>
                    <a:pt x="187" y="104"/>
                  </a:lnTo>
                  <a:lnTo>
                    <a:pt x="187" y="106"/>
                  </a:lnTo>
                  <a:lnTo>
                    <a:pt x="189" y="106"/>
                  </a:lnTo>
                  <a:lnTo>
                    <a:pt x="189" y="104"/>
                  </a:lnTo>
                  <a:lnTo>
                    <a:pt x="187" y="104"/>
                  </a:lnTo>
                  <a:lnTo>
                    <a:pt x="189" y="104"/>
                  </a:lnTo>
                  <a:lnTo>
                    <a:pt x="189" y="106"/>
                  </a:lnTo>
                  <a:lnTo>
                    <a:pt x="189" y="107"/>
                  </a:lnTo>
                  <a:lnTo>
                    <a:pt x="194" y="111"/>
                  </a:lnTo>
                  <a:lnTo>
                    <a:pt x="195" y="111"/>
                  </a:lnTo>
                  <a:lnTo>
                    <a:pt x="197" y="112"/>
                  </a:lnTo>
                  <a:lnTo>
                    <a:pt x="197" y="111"/>
                  </a:lnTo>
                  <a:lnTo>
                    <a:pt x="197" y="112"/>
                  </a:lnTo>
                  <a:lnTo>
                    <a:pt x="199" y="112"/>
                  </a:lnTo>
                  <a:lnTo>
                    <a:pt x="200" y="112"/>
                  </a:lnTo>
                  <a:lnTo>
                    <a:pt x="200" y="114"/>
                  </a:lnTo>
                  <a:lnTo>
                    <a:pt x="202" y="114"/>
                  </a:lnTo>
                  <a:lnTo>
                    <a:pt x="204" y="115"/>
                  </a:lnTo>
                  <a:lnTo>
                    <a:pt x="205" y="115"/>
                  </a:lnTo>
                  <a:lnTo>
                    <a:pt x="205" y="117"/>
                  </a:lnTo>
                  <a:lnTo>
                    <a:pt x="205" y="119"/>
                  </a:lnTo>
                  <a:lnTo>
                    <a:pt x="207" y="119"/>
                  </a:lnTo>
                  <a:lnTo>
                    <a:pt x="207" y="120"/>
                  </a:lnTo>
                  <a:lnTo>
                    <a:pt x="208" y="120"/>
                  </a:lnTo>
                  <a:lnTo>
                    <a:pt x="208" y="122"/>
                  </a:lnTo>
                  <a:lnTo>
                    <a:pt x="210" y="122"/>
                  </a:lnTo>
                  <a:lnTo>
                    <a:pt x="210" y="124"/>
                  </a:lnTo>
                  <a:lnTo>
                    <a:pt x="208" y="124"/>
                  </a:lnTo>
                  <a:lnTo>
                    <a:pt x="208" y="122"/>
                  </a:lnTo>
                  <a:lnTo>
                    <a:pt x="207" y="124"/>
                  </a:lnTo>
                  <a:lnTo>
                    <a:pt x="205" y="122"/>
                  </a:lnTo>
                  <a:lnTo>
                    <a:pt x="204" y="122"/>
                  </a:lnTo>
                  <a:lnTo>
                    <a:pt x="202" y="122"/>
                  </a:lnTo>
                  <a:lnTo>
                    <a:pt x="200" y="122"/>
                  </a:lnTo>
                  <a:lnTo>
                    <a:pt x="199" y="122"/>
                  </a:lnTo>
                  <a:lnTo>
                    <a:pt x="199" y="124"/>
                  </a:lnTo>
                  <a:lnTo>
                    <a:pt x="197" y="122"/>
                  </a:lnTo>
                  <a:lnTo>
                    <a:pt x="197" y="124"/>
                  </a:lnTo>
                  <a:lnTo>
                    <a:pt x="195" y="124"/>
                  </a:lnTo>
                  <a:lnTo>
                    <a:pt x="194" y="124"/>
                  </a:lnTo>
                  <a:lnTo>
                    <a:pt x="194" y="125"/>
                  </a:lnTo>
                  <a:lnTo>
                    <a:pt x="194" y="124"/>
                  </a:lnTo>
                  <a:lnTo>
                    <a:pt x="194" y="125"/>
                  </a:lnTo>
                  <a:lnTo>
                    <a:pt x="192" y="125"/>
                  </a:lnTo>
                  <a:lnTo>
                    <a:pt x="189" y="127"/>
                  </a:lnTo>
                  <a:lnTo>
                    <a:pt x="189" y="128"/>
                  </a:lnTo>
                  <a:lnTo>
                    <a:pt x="187" y="130"/>
                  </a:lnTo>
                  <a:lnTo>
                    <a:pt x="187" y="132"/>
                  </a:lnTo>
                  <a:lnTo>
                    <a:pt x="186" y="133"/>
                  </a:lnTo>
                  <a:lnTo>
                    <a:pt x="184" y="133"/>
                  </a:lnTo>
                  <a:lnTo>
                    <a:pt x="182" y="133"/>
                  </a:lnTo>
                  <a:lnTo>
                    <a:pt x="181" y="132"/>
                  </a:lnTo>
                  <a:lnTo>
                    <a:pt x="178" y="132"/>
                  </a:lnTo>
                  <a:lnTo>
                    <a:pt x="174" y="132"/>
                  </a:lnTo>
                  <a:lnTo>
                    <a:pt x="173" y="132"/>
                  </a:lnTo>
                  <a:lnTo>
                    <a:pt x="171" y="132"/>
                  </a:lnTo>
                  <a:lnTo>
                    <a:pt x="169" y="132"/>
                  </a:lnTo>
                  <a:lnTo>
                    <a:pt x="168" y="132"/>
                  </a:lnTo>
                  <a:lnTo>
                    <a:pt x="169" y="133"/>
                  </a:lnTo>
                  <a:lnTo>
                    <a:pt x="168" y="133"/>
                  </a:lnTo>
                  <a:lnTo>
                    <a:pt x="166" y="133"/>
                  </a:lnTo>
                  <a:lnTo>
                    <a:pt x="165" y="133"/>
                  </a:lnTo>
                  <a:lnTo>
                    <a:pt x="165" y="135"/>
                  </a:lnTo>
                  <a:lnTo>
                    <a:pt x="163" y="135"/>
                  </a:lnTo>
                  <a:lnTo>
                    <a:pt x="161" y="137"/>
                  </a:lnTo>
                  <a:lnTo>
                    <a:pt x="161" y="138"/>
                  </a:lnTo>
                  <a:lnTo>
                    <a:pt x="160" y="140"/>
                  </a:lnTo>
                  <a:lnTo>
                    <a:pt x="160" y="143"/>
                  </a:lnTo>
                  <a:lnTo>
                    <a:pt x="161" y="143"/>
                  </a:lnTo>
                  <a:lnTo>
                    <a:pt x="160" y="143"/>
                  </a:lnTo>
                  <a:lnTo>
                    <a:pt x="161" y="143"/>
                  </a:lnTo>
                  <a:lnTo>
                    <a:pt x="161" y="145"/>
                  </a:lnTo>
                  <a:lnTo>
                    <a:pt x="161" y="146"/>
                  </a:lnTo>
                  <a:lnTo>
                    <a:pt x="161" y="148"/>
                  </a:lnTo>
                  <a:lnTo>
                    <a:pt x="161" y="150"/>
                  </a:lnTo>
                  <a:lnTo>
                    <a:pt x="163" y="151"/>
                  </a:lnTo>
                  <a:lnTo>
                    <a:pt x="161" y="153"/>
                  </a:lnTo>
                  <a:lnTo>
                    <a:pt x="161" y="154"/>
                  </a:lnTo>
                  <a:lnTo>
                    <a:pt x="161" y="156"/>
                  </a:lnTo>
                  <a:lnTo>
                    <a:pt x="160" y="156"/>
                  </a:lnTo>
                  <a:lnTo>
                    <a:pt x="160" y="158"/>
                  </a:lnTo>
                  <a:lnTo>
                    <a:pt x="160" y="159"/>
                  </a:lnTo>
                  <a:lnTo>
                    <a:pt x="158" y="159"/>
                  </a:lnTo>
                  <a:lnTo>
                    <a:pt x="155" y="161"/>
                  </a:lnTo>
                  <a:lnTo>
                    <a:pt x="153" y="163"/>
                  </a:lnTo>
                  <a:lnTo>
                    <a:pt x="153" y="164"/>
                  </a:lnTo>
                  <a:lnTo>
                    <a:pt x="152" y="164"/>
                  </a:lnTo>
                  <a:lnTo>
                    <a:pt x="152" y="166"/>
                  </a:lnTo>
                  <a:lnTo>
                    <a:pt x="150" y="167"/>
                  </a:lnTo>
                  <a:lnTo>
                    <a:pt x="150" y="169"/>
                  </a:lnTo>
                  <a:lnTo>
                    <a:pt x="148" y="169"/>
                  </a:lnTo>
                  <a:lnTo>
                    <a:pt x="147" y="171"/>
                  </a:lnTo>
                  <a:lnTo>
                    <a:pt x="145" y="171"/>
                  </a:lnTo>
                  <a:lnTo>
                    <a:pt x="145" y="172"/>
                  </a:lnTo>
                  <a:lnTo>
                    <a:pt x="142" y="174"/>
                  </a:lnTo>
                  <a:lnTo>
                    <a:pt x="142" y="176"/>
                  </a:lnTo>
                  <a:lnTo>
                    <a:pt x="140" y="176"/>
                  </a:lnTo>
                  <a:lnTo>
                    <a:pt x="140" y="177"/>
                  </a:lnTo>
                  <a:lnTo>
                    <a:pt x="139" y="177"/>
                  </a:lnTo>
                  <a:lnTo>
                    <a:pt x="139" y="179"/>
                  </a:lnTo>
                  <a:lnTo>
                    <a:pt x="137" y="179"/>
                  </a:lnTo>
                  <a:lnTo>
                    <a:pt x="137" y="180"/>
                  </a:lnTo>
                  <a:lnTo>
                    <a:pt x="135" y="180"/>
                  </a:lnTo>
                  <a:lnTo>
                    <a:pt x="134" y="180"/>
                  </a:lnTo>
                  <a:lnTo>
                    <a:pt x="134" y="182"/>
                  </a:lnTo>
                  <a:lnTo>
                    <a:pt x="132" y="184"/>
                  </a:lnTo>
                  <a:lnTo>
                    <a:pt x="130" y="184"/>
                  </a:lnTo>
                  <a:lnTo>
                    <a:pt x="129" y="184"/>
                  </a:lnTo>
                  <a:lnTo>
                    <a:pt x="127" y="184"/>
                  </a:lnTo>
                  <a:lnTo>
                    <a:pt x="127" y="185"/>
                  </a:lnTo>
                  <a:lnTo>
                    <a:pt x="127" y="187"/>
                  </a:lnTo>
                  <a:lnTo>
                    <a:pt x="126" y="187"/>
                  </a:lnTo>
                  <a:lnTo>
                    <a:pt x="124" y="189"/>
                  </a:lnTo>
                  <a:lnTo>
                    <a:pt x="122" y="189"/>
                  </a:lnTo>
                  <a:lnTo>
                    <a:pt x="119" y="189"/>
                  </a:lnTo>
                  <a:lnTo>
                    <a:pt x="117" y="190"/>
                  </a:lnTo>
                  <a:lnTo>
                    <a:pt x="117" y="189"/>
                  </a:lnTo>
                  <a:lnTo>
                    <a:pt x="117" y="190"/>
                  </a:lnTo>
                  <a:lnTo>
                    <a:pt x="117" y="189"/>
                  </a:lnTo>
                  <a:lnTo>
                    <a:pt x="117" y="190"/>
                  </a:lnTo>
                  <a:lnTo>
                    <a:pt x="116" y="190"/>
                  </a:lnTo>
                  <a:lnTo>
                    <a:pt x="116" y="189"/>
                  </a:lnTo>
                  <a:lnTo>
                    <a:pt x="116" y="190"/>
                  </a:lnTo>
                  <a:lnTo>
                    <a:pt x="114" y="190"/>
                  </a:lnTo>
                  <a:lnTo>
                    <a:pt x="112" y="190"/>
                  </a:lnTo>
                  <a:lnTo>
                    <a:pt x="111" y="192"/>
                  </a:lnTo>
                  <a:lnTo>
                    <a:pt x="109" y="192"/>
                  </a:lnTo>
                  <a:lnTo>
                    <a:pt x="109" y="193"/>
                  </a:lnTo>
                  <a:lnTo>
                    <a:pt x="108" y="193"/>
                  </a:lnTo>
                  <a:lnTo>
                    <a:pt x="106" y="195"/>
                  </a:lnTo>
                  <a:lnTo>
                    <a:pt x="104" y="197"/>
                  </a:lnTo>
                  <a:lnTo>
                    <a:pt x="103" y="198"/>
                  </a:lnTo>
                  <a:lnTo>
                    <a:pt x="103" y="200"/>
                  </a:lnTo>
                  <a:lnTo>
                    <a:pt x="101" y="200"/>
                  </a:lnTo>
                  <a:lnTo>
                    <a:pt x="101" y="202"/>
                  </a:lnTo>
                  <a:lnTo>
                    <a:pt x="101" y="203"/>
                  </a:lnTo>
                  <a:lnTo>
                    <a:pt x="99" y="203"/>
                  </a:lnTo>
                  <a:lnTo>
                    <a:pt x="99" y="205"/>
                  </a:lnTo>
                  <a:lnTo>
                    <a:pt x="101" y="203"/>
                  </a:lnTo>
                  <a:lnTo>
                    <a:pt x="101" y="205"/>
                  </a:lnTo>
                  <a:lnTo>
                    <a:pt x="99" y="205"/>
                  </a:lnTo>
                  <a:lnTo>
                    <a:pt x="99" y="206"/>
                  </a:lnTo>
                  <a:lnTo>
                    <a:pt x="99" y="210"/>
                  </a:lnTo>
                  <a:lnTo>
                    <a:pt x="101" y="211"/>
                  </a:lnTo>
                  <a:lnTo>
                    <a:pt x="103" y="211"/>
                  </a:lnTo>
                  <a:lnTo>
                    <a:pt x="103" y="213"/>
                  </a:lnTo>
                  <a:lnTo>
                    <a:pt x="104" y="213"/>
                  </a:lnTo>
                  <a:lnTo>
                    <a:pt x="104" y="215"/>
                  </a:lnTo>
                  <a:lnTo>
                    <a:pt x="106" y="215"/>
                  </a:lnTo>
                  <a:lnTo>
                    <a:pt x="104" y="215"/>
                  </a:lnTo>
                  <a:lnTo>
                    <a:pt x="103" y="215"/>
                  </a:lnTo>
                  <a:lnTo>
                    <a:pt x="101" y="215"/>
                  </a:lnTo>
                  <a:lnTo>
                    <a:pt x="98" y="216"/>
                  </a:lnTo>
                  <a:lnTo>
                    <a:pt x="96" y="216"/>
                  </a:lnTo>
                  <a:lnTo>
                    <a:pt x="95" y="216"/>
                  </a:lnTo>
                  <a:lnTo>
                    <a:pt x="95" y="218"/>
                  </a:lnTo>
                  <a:lnTo>
                    <a:pt x="93" y="218"/>
                  </a:lnTo>
                  <a:lnTo>
                    <a:pt x="95" y="216"/>
                  </a:lnTo>
                  <a:lnTo>
                    <a:pt x="93" y="216"/>
                  </a:lnTo>
                  <a:lnTo>
                    <a:pt x="93" y="215"/>
                  </a:lnTo>
                  <a:lnTo>
                    <a:pt x="91" y="213"/>
                  </a:lnTo>
                  <a:lnTo>
                    <a:pt x="90" y="211"/>
                  </a:lnTo>
                  <a:lnTo>
                    <a:pt x="90" y="210"/>
                  </a:lnTo>
                  <a:lnTo>
                    <a:pt x="88" y="208"/>
                  </a:lnTo>
                  <a:lnTo>
                    <a:pt x="86" y="208"/>
                  </a:lnTo>
                  <a:lnTo>
                    <a:pt x="85" y="206"/>
                  </a:lnTo>
                  <a:lnTo>
                    <a:pt x="83" y="206"/>
                  </a:lnTo>
                  <a:lnTo>
                    <a:pt x="82" y="206"/>
                  </a:lnTo>
                  <a:lnTo>
                    <a:pt x="80" y="206"/>
                  </a:lnTo>
                  <a:lnTo>
                    <a:pt x="80" y="208"/>
                  </a:lnTo>
                  <a:lnTo>
                    <a:pt x="78" y="208"/>
                  </a:lnTo>
                  <a:lnTo>
                    <a:pt x="77" y="208"/>
                  </a:lnTo>
                  <a:lnTo>
                    <a:pt x="75" y="210"/>
                  </a:lnTo>
                  <a:lnTo>
                    <a:pt x="73" y="210"/>
                  </a:lnTo>
                  <a:lnTo>
                    <a:pt x="72" y="211"/>
                  </a:lnTo>
                  <a:lnTo>
                    <a:pt x="70" y="211"/>
                  </a:lnTo>
                  <a:lnTo>
                    <a:pt x="70" y="213"/>
                  </a:lnTo>
                  <a:lnTo>
                    <a:pt x="69" y="213"/>
                  </a:lnTo>
                  <a:lnTo>
                    <a:pt x="67" y="213"/>
                  </a:lnTo>
                  <a:lnTo>
                    <a:pt x="67" y="215"/>
                  </a:lnTo>
                  <a:lnTo>
                    <a:pt x="65" y="215"/>
                  </a:lnTo>
                  <a:lnTo>
                    <a:pt x="65" y="216"/>
                  </a:lnTo>
                  <a:lnTo>
                    <a:pt x="64" y="216"/>
                  </a:lnTo>
                  <a:lnTo>
                    <a:pt x="62" y="216"/>
                  </a:lnTo>
                  <a:lnTo>
                    <a:pt x="62" y="215"/>
                  </a:lnTo>
                  <a:lnTo>
                    <a:pt x="60" y="215"/>
                  </a:lnTo>
                  <a:lnTo>
                    <a:pt x="59" y="216"/>
                  </a:lnTo>
                  <a:lnTo>
                    <a:pt x="57" y="215"/>
                  </a:lnTo>
                  <a:lnTo>
                    <a:pt x="56" y="215"/>
                  </a:lnTo>
                  <a:lnTo>
                    <a:pt x="54" y="215"/>
                  </a:lnTo>
                  <a:lnTo>
                    <a:pt x="52" y="215"/>
                  </a:lnTo>
                  <a:lnTo>
                    <a:pt x="51" y="215"/>
                  </a:lnTo>
                  <a:lnTo>
                    <a:pt x="49" y="213"/>
                  </a:lnTo>
                  <a:lnTo>
                    <a:pt x="49" y="215"/>
                  </a:lnTo>
                  <a:lnTo>
                    <a:pt x="47" y="213"/>
                  </a:lnTo>
                  <a:lnTo>
                    <a:pt x="46" y="213"/>
                  </a:lnTo>
                  <a:lnTo>
                    <a:pt x="44" y="213"/>
                  </a:lnTo>
                  <a:lnTo>
                    <a:pt x="43" y="215"/>
                  </a:lnTo>
                  <a:lnTo>
                    <a:pt x="43" y="213"/>
                  </a:lnTo>
                  <a:lnTo>
                    <a:pt x="41" y="213"/>
                  </a:lnTo>
                  <a:lnTo>
                    <a:pt x="39" y="213"/>
                  </a:lnTo>
                  <a:lnTo>
                    <a:pt x="39" y="215"/>
                  </a:lnTo>
                  <a:lnTo>
                    <a:pt x="38" y="215"/>
                  </a:lnTo>
                  <a:lnTo>
                    <a:pt x="38" y="213"/>
                  </a:lnTo>
                  <a:lnTo>
                    <a:pt x="36" y="215"/>
                  </a:lnTo>
                  <a:lnTo>
                    <a:pt x="36" y="213"/>
                  </a:lnTo>
                  <a:lnTo>
                    <a:pt x="34" y="213"/>
                  </a:lnTo>
                  <a:lnTo>
                    <a:pt x="33" y="211"/>
                  </a:lnTo>
                  <a:lnTo>
                    <a:pt x="31" y="211"/>
                  </a:lnTo>
                  <a:lnTo>
                    <a:pt x="30" y="211"/>
                  </a:lnTo>
                  <a:lnTo>
                    <a:pt x="28" y="210"/>
                  </a:lnTo>
                  <a:lnTo>
                    <a:pt x="26" y="210"/>
                  </a:lnTo>
                  <a:lnTo>
                    <a:pt x="26" y="208"/>
                  </a:lnTo>
                  <a:lnTo>
                    <a:pt x="26" y="206"/>
                  </a:lnTo>
                  <a:lnTo>
                    <a:pt x="25" y="206"/>
                  </a:lnTo>
                  <a:lnTo>
                    <a:pt x="25" y="205"/>
                  </a:lnTo>
                  <a:lnTo>
                    <a:pt x="23" y="205"/>
                  </a:lnTo>
                  <a:lnTo>
                    <a:pt x="25" y="205"/>
                  </a:lnTo>
                  <a:lnTo>
                    <a:pt x="23" y="205"/>
                  </a:lnTo>
                  <a:lnTo>
                    <a:pt x="23" y="203"/>
                  </a:lnTo>
                  <a:lnTo>
                    <a:pt x="23" y="202"/>
                  </a:lnTo>
                  <a:lnTo>
                    <a:pt x="21" y="202"/>
                  </a:lnTo>
                  <a:lnTo>
                    <a:pt x="23" y="202"/>
                  </a:lnTo>
                  <a:lnTo>
                    <a:pt x="21" y="202"/>
                  </a:lnTo>
                  <a:lnTo>
                    <a:pt x="23" y="200"/>
                  </a:lnTo>
                  <a:lnTo>
                    <a:pt x="21" y="200"/>
                  </a:lnTo>
                  <a:lnTo>
                    <a:pt x="21" y="198"/>
                  </a:lnTo>
                  <a:lnTo>
                    <a:pt x="20" y="198"/>
                  </a:lnTo>
                  <a:lnTo>
                    <a:pt x="18" y="198"/>
                  </a:lnTo>
                  <a:lnTo>
                    <a:pt x="17" y="198"/>
                  </a:lnTo>
                  <a:lnTo>
                    <a:pt x="17" y="197"/>
                  </a:lnTo>
                  <a:lnTo>
                    <a:pt x="15" y="197"/>
                  </a:lnTo>
                  <a:lnTo>
                    <a:pt x="17" y="197"/>
                  </a:lnTo>
                  <a:lnTo>
                    <a:pt x="15" y="197"/>
                  </a:lnTo>
                  <a:lnTo>
                    <a:pt x="15" y="195"/>
                  </a:lnTo>
                  <a:lnTo>
                    <a:pt x="15" y="197"/>
                  </a:lnTo>
                  <a:lnTo>
                    <a:pt x="13" y="195"/>
                  </a:lnTo>
                  <a:lnTo>
                    <a:pt x="12" y="193"/>
                  </a:lnTo>
                  <a:lnTo>
                    <a:pt x="12" y="192"/>
                  </a:lnTo>
                  <a:lnTo>
                    <a:pt x="12" y="190"/>
                  </a:lnTo>
                  <a:lnTo>
                    <a:pt x="12" y="189"/>
                  </a:lnTo>
                  <a:lnTo>
                    <a:pt x="10" y="189"/>
                  </a:lnTo>
                  <a:lnTo>
                    <a:pt x="10" y="187"/>
                  </a:lnTo>
                  <a:lnTo>
                    <a:pt x="8" y="187"/>
                  </a:lnTo>
                  <a:lnTo>
                    <a:pt x="8" y="185"/>
                  </a:lnTo>
                  <a:lnTo>
                    <a:pt x="8" y="184"/>
                  </a:lnTo>
                  <a:lnTo>
                    <a:pt x="8" y="182"/>
                  </a:lnTo>
                  <a:lnTo>
                    <a:pt x="8" y="180"/>
                  </a:lnTo>
                  <a:lnTo>
                    <a:pt x="7" y="180"/>
                  </a:lnTo>
                  <a:lnTo>
                    <a:pt x="7" y="179"/>
                  </a:lnTo>
                  <a:lnTo>
                    <a:pt x="5" y="179"/>
                  </a:lnTo>
                  <a:lnTo>
                    <a:pt x="5" y="177"/>
                  </a:lnTo>
                  <a:lnTo>
                    <a:pt x="4" y="179"/>
                  </a:lnTo>
                  <a:lnTo>
                    <a:pt x="4" y="177"/>
                  </a:lnTo>
                  <a:lnTo>
                    <a:pt x="2" y="176"/>
                  </a:lnTo>
                  <a:lnTo>
                    <a:pt x="2" y="174"/>
                  </a:lnTo>
                  <a:lnTo>
                    <a:pt x="0" y="174"/>
                  </a:lnTo>
                  <a:lnTo>
                    <a:pt x="0" y="171"/>
                  </a:lnTo>
                  <a:lnTo>
                    <a:pt x="0" y="169"/>
                  </a:lnTo>
                  <a:lnTo>
                    <a:pt x="0" y="167"/>
                  </a:lnTo>
                  <a:lnTo>
                    <a:pt x="0" y="166"/>
                  </a:lnTo>
                  <a:lnTo>
                    <a:pt x="2" y="166"/>
                  </a:lnTo>
                  <a:lnTo>
                    <a:pt x="4" y="167"/>
                  </a:lnTo>
                  <a:lnTo>
                    <a:pt x="4" y="169"/>
                  </a:lnTo>
                  <a:lnTo>
                    <a:pt x="5" y="169"/>
                  </a:lnTo>
                  <a:lnTo>
                    <a:pt x="7" y="169"/>
                  </a:lnTo>
                  <a:lnTo>
                    <a:pt x="8" y="171"/>
                  </a:lnTo>
                  <a:lnTo>
                    <a:pt x="10" y="171"/>
                  </a:lnTo>
                  <a:lnTo>
                    <a:pt x="12" y="172"/>
                  </a:lnTo>
                  <a:lnTo>
                    <a:pt x="13" y="171"/>
                  </a:lnTo>
                  <a:lnTo>
                    <a:pt x="13" y="172"/>
                  </a:lnTo>
                  <a:lnTo>
                    <a:pt x="15" y="171"/>
                  </a:lnTo>
                  <a:lnTo>
                    <a:pt x="17" y="171"/>
                  </a:lnTo>
                  <a:lnTo>
                    <a:pt x="18" y="169"/>
                  </a:lnTo>
                  <a:lnTo>
                    <a:pt x="21" y="167"/>
                  </a:lnTo>
                  <a:lnTo>
                    <a:pt x="23" y="164"/>
                  </a:lnTo>
                  <a:lnTo>
                    <a:pt x="25" y="163"/>
                  </a:lnTo>
                  <a:lnTo>
                    <a:pt x="25" y="159"/>
                  </a:lnTo>
                  <a:lnTo>
                    <a:pt x="25" y="158"/>
                  </a:lnTo>
                  <a:lnTo>
                    <a:pt x="26" y="154"/>
                  </a:lnTo>
                  <a:lnTo>
                    <a:pt x="26" y="153"/>
                  </a:lnTo>
                  <a:lnTo>
                    <a:pt x="26" y="151"/>
                  </a:lnTo>
                  <a:lnTo>
                    <a:pt x="28" y="151"/>
                  </a:lnTo>
                  <a:lnTo>
                    <a:pt x="28" y="150"/>
                  </a:lnTo>
                  <a:lnTo>
                    <a:pt x="28" y="148"/>
                  </a:lnTo>
                  <a:lnTo>
                    <a:pt x="30" y="148"/>
                  </a:lnTo>
                  <a:lnTo>
                    <a:pt x="31" y="148"/>
                  </a:lnTo>
                  <a:lnTo>
                    <a:pt x="33" y="146"/>
                  </a:lnTo>
                  <a:lnTo>
                    <a:pt x="33" y="145"/>
                  </a:lnTo>
                  <a:lnTo>
                    <a:pt x="34" y="145"/>
                  </a:lnTo>
                  <a:lnTo>
                    <a:pt x="34" y="143"/>
                  </a:lnTo>
                  <a:lnTo>
                    <a:pt x="36" y="143"/>
                  </a:lnTo>
                  <a:lnTo>
                    <a:pt x="38" y="143"/>
                  </a:lnTo>
                  <a:lnTo>
                    <a:pt x="38" y="141"/>
                  </a:lnTo>
                  <a:lnTo>
                    <a:pt x="39" y="141"/>
                  </a:lnTo>
                  <a:lnTo>
                    <a:pt x="41" y="141"/>
                  </a:lnTo>
                  <a:lnTo>
                    <a:pt x="44" y="141"/>
                  </a:lnTo>
                  <a:lnTo>
                    <a:pt x="46" y="141"/>
                  </a:lnTo>
                  <a:lnTo>
                    <a:pt x="47" y="141"/>
                  </a:lnTo>
                  <a:lnTo>
                    <a:pt x="49" y="141"/>
                  </a:lnTo>
                  <a:lnTo>
                    <a:pt x="49" y="140"/>
                  </a:lnTo>
                  <a:lnTo>
                    <a:pt x="49" y="141"/>
                  </a:lnTo>
                  <a:lnTo>
                    <a:pt x="52" y="141"/>
                  </a:lnTo>
                  <a:lnTo>
                    <a:pt x="54" y="141"/>
                  </a:lnTo>
                  <a:lnTo>
                    <a:pt x="56" y="141"/>
                  </a:lnTo>
                  <a:lnTo>
                    <a:pt x="57" y="141"/>
                  </a:lnTo>
                  <a:lnTo>
                    <a:pt x="57" y="143"/>
                  </a:lnTo>
                  <a:lnTo>
                    <a:pt x="59" y="141"/>
                  </a:lnTo>
                  <a:lnTo>
                    <a:pt x="59" y="143"/>
                  </a:lnTo>
                  <a:lnTo>
                    <a:pt x="59" y="141"/>
                  </a:lnTo>
                  <a:lnTo>
                    <a:pt x="59" y="143"/>
                  </a:lnTo>
                  <a:lnTo>
                    <a:pt x="60" y="143"/>
                  </a:lnTo>
                  <a:lnTo>
                    <a:pt x="62" y="141"/>
                  </a:lnTo>
                  <a:lnTo>
                    <a:pt x="64" y="140"/>
                  </a:lnTo>
                  <a:lnTo>
                    <a:pt x="65" y="138"/>
                  </a:lnTo>
                  <a:lnTo>
                    <a:pt x="67" y="135"/>
                  </a:lnTo>
                  <a:lnTo>
                    <a:pt x="69" y="132"/>
                  </a:lnTo>
                  <a:lnTo>
                    <a:pt x="69" y="130"/>
                  </a:lnTo>
                  <a:lnTo>
                    <a:pt x="69" y="125"/>
                  </a:lnTo>
                  <a:lnTo>
                    <a:pt x="69" y="124"/>
                  </a:lnTo>
                  <a:lnTo>
                    <a:pt x="69" y="122"/>
                  </a:lnTo>
                  <a:lnTo>
                    <a:pt x="69" y="120"/>
                  </a:lnTo>
                  <a:lnTo>
                    <a:pt x="67" y="117"/>
                  </a:lnTo>
                  <a:lnTo>
                    <a:pt x="67" y="115"/>
                  </a:lnTo>
                  <a:lnTo>
                    <a:pt x="65" y="114"/>
                  </a:lnTo>
                  <a:lnTo>
                    <a:pt x="65" y="112"/>
                  </a:lnTo>
                  <a:lnTo>
                    <a:pt x="65" y="111"/>
                  </a:lnTo>
                  <a:lnTo>
                    <a:pt x="64" y="111"/>
                  </a:lnTo>
                  <a:lnTo>
                    <a:pt x="64" y="109"/>
                  </a:lnTo>
                  <a:lnTo>
                    <a:pt x="64" y="107"/>
                  </a:lnTo>
                  <a:lnTo>
                    <a:pt x="62" y="107"/>
                  </a:lnTo>
                  <a:lnTo>
                    <a:pt x="62" y="106"/>
                  </a:lnTo>
                  <a:lnTo>
                    <a:pt x="62" y="104"/>
                  </a:lnTo>
                  <a:lnTo>
                    <a:pt x="62" y="102"/>
                  </a:lnTo>
                  <a:lnTo>
                    <a:pt x="62" y="104"/>
                  </a:lnTo>
                  <a:lnTo>
                    <a:pt x="65" y="104"/>
                  </a:lnTo>
                  <a:lnTo>
                    <a:pt x="67" y="104"/>
                  </a:lnTo>
                  <a:lnTo>
                    <a:pt x="69" y="104"/>
                  </a:lnTo>
                  <a:lnTo>
                    <a:pt x="70" y="104"/>
                  </a:lnTo>
                  <a:lnTo>
                    <a:pt x="70" y="106"/>
                  </a:lnTo>
                  <a:lnTo>
                    <a:pt x="72" y="106"/>
                  </a:lnTo>
                  <a:lnTo>
                    <a:pt x="73" y="106"/>
                  </a:lnTo>
                  <a:lnTo>
                    <a:pt x="73" y="104"/>
                  </a:lnTo>
                  <a:lnTo>
                    <a:pt x="75" y="104"/>
                  </a:lnTo>
                  <a:lnTo>
                    <a:pt x="77" y="104"/>
                  </a:lnTo>
                  <a:lnTo>
                    <a:pt x="78" y="106"/>
                  </a:lnTo>
                  <a:lnTo>
                    <a:pt x="78" y="104"/>
                  </a:lnTo>
                  <a:lnTo>
                    <a:pt x="80" y="104"/>
                  </a:lnTo>
                  <a:lnTo>
                    <a:pt x="82" y="104"/>
                  </a:lnTo>
                  <a:lnTo>
                    <a:pt x="83" y="104"/>
                  </a:lnTo>
                  <a:lnTo>
                    <a:pt x="83" y="102"/>
                  </a:lnTo>
                  <a:lnTo>
                    <a:pt x="85" y="102"/>
                  </a:lnTo>
                  <a:lnTo>
                    <a:pt x="85" y="101"/>
                  </a:lnTo>
                  <a:lnTo>
                    <a:pt x="85" y="102"/>
                  </a:lnTo>
                  <a:lnTo>
                    <a:pt x="86" y="102"/>
                  </a:lnTo>
                  <a:lnTo>
                    <a:pt x="86" y="101"/>
                  </a:lnTo>
                  <a:lnTo>
                    <a:pt x="88" y="102"/>
                  </a:lnTo>
                  <a:lnTo>
                    <a:pt x="88" y="101"/>
                  </a:lnTo>
                  <a:lnTo>
                    <a:pt x="90" y="101"/>
                  </a:lnTo>
                  <a:lnTo>
                    <a:pt x="90" y="102"/>
                  </a:lnTo>
                  <a:lnTo>
                    <a:pt x="93" y="101"/>
                  </a:lnTo>
                  <a:lnTo>
                    <a:pt x="95" y="99"/>
                  </a:lnTo>
                  <a:lnTo>
                    <a:pt x="96" y="99"/>
                  </a:lnTo>
                  <a:lnTo>
                    <a:pt x="98" y="99"/>
                  </a:lnTo>
                  <a:lnTo>
                    <a:pt x="99" y="99"/>
                  </a:lnTo>
                  <a:lnTo>
                    <a:pt x="99" y="101"/>
                  </a:lnTo>
                  <a:lnTo>
                    <a:pt x="99" y="99"/>
                  </a:lnTo>
                  <a:lnTo>
                    <a:pt x="101" y="99"/>
                  </a:lnTo>
                  <a:lnTo>
                    <a:pt x="103" y="99"/>
                  </a:lnTo>
                  <a:lnTo>
                    <a:pt x="104" y="99"/>
                  </a:lnTo>
                  <a:lnTo>
                    <a:pt x="104" y="97"/>
                  </a:lnTo>
                  <a:lnTo>
                    <a:pt x="106" y="97"/>
                  </a:lnTo>
                  <a:lnTo>
                    <a:pt x="108" y="97"/>
                  </a:lnTo>
                  <a:lnTo>
                    <a:pt x="109" y="97"/>
                  </a:lnTo>
                  <a:lnTo>
                    <a:pt x="111" y="96"/>
                  </a:lnTo>
                  <a:lnTo>
                    <a:pt x="111" y="97"/>
                  </a:lnTo>
                  <a:lnTo>
                    <a:pt x="112" y="97"/>
                  </a:lnTo>
                  <a:lnTo>
                    <a:pt x="114" y="97"/>
                  </a:lnTo>
                  <a:lnTo>
                    <a:pt x="116" y="97"/>
                  </a:lnTo>
                  <a:lnTo>
                    <a:pt x="116" y="96"/>
                  </a:lnTo>
                  <a:lnTo>
                    <a:pt x="117" y="96"/>
                  </a:lnTo>
                  <a:lnTo>
                    <a:pt x="119" y="96"/>
                  </a:lnTo>
                  <a:lnTo>
                    <a:pt x="121" y="96"/>
                  </a:lnTo>
                  <a:lnTo>
                    <a:pt x="122" y="94"/>
                  </a:lnTo>
                  <a:lnTo>
                    <a:pt x="124" y="94"/>
                  </a:lnTo>
                  <a:lnTo>
                    <a:pt x="124" y="93"/>
                  </a:lnTo>
                  <a:lnTo>
                    <a:pt x="126" y="93"/>
                  </a:lnTo>
                  <a:lnTo>
                    <a:pt x="126" y="94"/>
                  </a:lnTo>
                  <a:lnTo>
                    <a:pt x="127" y="93"/>
                  </a:lnTo>
                  <a:lnTo>
                    <a:pt x="129" y="93"/>
                  </a:lnTo>
                  <a:lnTo>
                    <a:pt x="129" y="91"/>
                  </a:lnTo>
                  <a:lnTo>
                    <a:pt x="130" y="91"/>
                  </a:lnTo>
                  <a:lnTo>
                    <a:pt x="132" y="89"/>
                  </a:lnTo>
                  <a:lnTo>
                    <a:pt x="134" y="89"/>
                  </a:lnTo>
                  <a:lnTo>
                    <a:pt x="135" y="88"/>
                  </a:lnTo>
                  <a:lnTo>
                    <a:pt x="139" y="88"/>
                  </a:lnTo>
                  <a:lnTo>
                    <a:pt x="139" y="86"/>
                  </a:lnTo>
                  <a:lnTo>
                    <a:pt x="140" y="86"/>
                  </a:lnTo>
                  <a:lnTo>
                    <a:pt x="140" y="84"/>
                  </a:lnTo>
                  <a:lnTo>
                    <a:pt x="140" y="86"/>
                  </a:lnTo>
                  <a:lnTo>
                    <a:pt x="142" y="86"/>
                  </a:lnTo>
                  <a:lnTo>
                    <a:pt x="142" y="84"/>
                  </a:lnTo>
                  <a:lnTo>
                    <a:pt x="143" y="84"/>
                  </a:lnTo>
                  <a:lnTo>
                    <a:pt x="145" y="84"/>
                  </a:lnTo>
                  <a:lnTo>
                    <a:pt x="145" y="83"/>
                  </a:lnTo>
                  <a:lnTo>
                    <a:pt x="147" y="83"/>
                  </a:lnTo>
                  <a:lnTo>
                    <a:pt x="147" y="81"/>
                  </a:lnTo>
                  <a:lnTo>
                    <a:pt x="148" y="81"/>
                  </a:lnTo>
                  <a:lnTo>
                    <a:pt x="150" y="80"/>
                  </a:lnTo>
                  <a:lnTo>
                    <a:pt x="150" y="78"/>
                  </a:lnTo>
                  <a:lnTo>
                    <a:pt x="152" y="78"/>
                  </a:lnTo>
                  <a:lnTo>
                    <a:pt x="152" y="76"/>
                  </a:lnTo>
                  <a:lnTo>
                    <a:pt x="153" y="76"/>
                  </a:lnTo>
                  <a:lnTo>
                    <a:pt x="153" y="75"/>
                  </a:lnTo>
                  <a:lnTo>
                    <a:pt x="155" y="73"/>
                  </a:lnTo>
                  <a:lnTo>
                    <a:pt x="156" y="73"/>
                  </a:lnTo>
                  <a:lnTo>
                    <a:pt x="156" y="71"/>
                  </a:lnTo>
                  <a:lnTo>
                    <a:pt x="158" y="71"/>
                  </a:lnTo>
                  <a:lnTo>
                    <a:pt x="160" y="71"/>
                  </a:lnTo>
                  <a:lnTo>
                    <a:pt x="160" y="70"/>
                  </a:lnTo>
                  <a:lnTo>
                    <a:pt x="161" y="70"/>
                  </a:lnTo>
                  <a:lnTo>
                    <a:pt x="163" y="70"/>
                  </a:lnTo>
                  <a:lnTo>
                    <a:pt x="165" y="70"/>
                  </a:lnTo>
                  <a:lnTo>
                    <a:pt x="166" y="68"/>
                  </a:lnTo>
                  <a:lnTo>
                    <a:pt x="168" y="68"/>
                  </a:lnTo>
                  <a:lnTo>
                    <a:pt x="168" y="67"/>
                  </a:lnTo>
                  <a:lnTo>
                    <a:pt x="169" y="67"/>
                  </a:lnTo>
                  <a:lnTo>
                    <a:pt x="169" y="65"/>
                  </a:lnTo>
                  <a:lnTo>
                    <a:pt x="171" y="65"/>
                  </a:lnTo>
                  <a:lnTo>
                    <a:pt x="173" y="65"/>
                  </a:lnTo>
                  <a:lnTo>
                    <a:pt x="173" y="63"/>
                  </a:lnTo>
                  <a:lnTo>
                    <a:pt x="174" y="63"/>
                  </a:lnTo>
                  <a:lnTo>
                    <a:pt x="174" y="62"/>
                  </a:lnTo>
                  <a:lnTo>
                    <a:pt x="176" y="62"/>
                  </a:lnTo>
                  <a:lnTo>
                    <a:pt x="176" y="60"/>
                  </a:lnTo>
                  <a:lnTo>
                    <a:pt x="178" y="60"/>
                  </a:lnTo>
                  <a:lnTo>
                    <a:pt x="179" y="58"/>
                  </a:lnTo>
                  <a:lnTo>
                    <a:pt x="181" y="57"/>
                  </a:lnTo>
                  <a:lnTo>
                    <a:pt x="182" y="57"/>
                  </a:lnTo>
                  <a:lnTo>
                    <a:pt x="182" y="55"/>
                  </a:lnTo>
                  <a:lnTo>
                    <a:pt x="184" y="55"/>
                  </a:lnTo>
                  <a:lnTo>
                    <a:pt x="184" y="54"/>
                  </a:lnTo>
                  <a:lnTo>
                    <a:pt x="186" y="54"/>
                  </a:lnTo>
                  <a:lnTo>
                    <a:pt x="186" y="52"/>
                  </a:lnTo>
                  <a:lnTo>
                    <a:pt x="187" y="50"/>
                  </a:lnTo>
                  <a:lnTo>
                    <a:pt x="187" y="49"/>
                  </a:lnTo>
                  <a:lnTo>
                    <a:pt x="189" y="49"/>
                  </a:lnTo>
                  <a:lnTo>
                    <a:pt x="191" y="49"/>
                  </a:lnTo>
                  <a:lnTo>
                    <a:pt x="191" y="47"/>
                  </a:lnTo>
                  <a:lnTo>
                    <a:pt x="192" y="47"/>
                  </a:lnTo>
                  <a:lnTo>
                    <a:pt x="192" y="45"/>
                  </a:lnTo>
                  <a:lnTo>
                    <a:pt x="194" y="45"/>
                  </a:lnTo>
                  <a:lnTo>
                    <a:pt x="194" y="44"/>
                  </a:lnTo>
                  <a:lnTo>
                    <a:pt x="194" y="42"/>
                  </a:lnTo>
                  <a:lnTo>
                    <a:pt x="194" y="41"/>
                  </a:lnTo>
                  <a:lnTo>
                    <a:pt x="195" y="41"/>
                  </a:lnTo>
                  <a:lnTo>
                    <a:pt x="195" y="39"/>
                  </a:lnTo>
                  <a:lnTo>
                    <a:pt x="195" y="37"/>
                  </a:lnTo>
                  <a:lnTo>
                    <a:pt x="197" y="36"/>
                  </a:lnTo>
                  <a:lnTo>
                    <a:pt x="199" y="37"/>
                  </a:lnTo>
                  <a:lnTo>
                    <a:pt x="199" y="36"/>
                  </a:lnTo>
                  <a:lnTo>
                    <a:pt x="200" y="36"/>
                  </a:lnTo>
                  <a:lnTo>
                    <a:pt x="202" y="36"/>
                  </a:lnTo>
                  <a:lnTo>
                    <a:pt x="202" y="34"/>
                  </a:lnTo>
                  <a:lnTo>
                    <a:pt x="204" y="34"/>
                  </a:lnTo>
                  <a:lnTo>
                    <a:pt x="204" y="32"/>
                  </a:lnTo>
                  <a:lnTo>
                    <a:pt x="205" y="32"/>
                  </a:lnTo>
                  <a:lnTo>
                    <a:pt x="205" y="31"/>
                  </a:lnTo>
                  <a:lnTo>
                    <a:pt x="207" y="32"/>
                  </a:lnTo>
                  <a:lnTo>
                    <a:pt x="207" y="31"/>
                  </a:lnTo>
                  <a:lnTo>
                    <a:pt x="208" y="31"/>
                  </a:lnTo>
                  <a:lnTo>
                    <a:pt x="210" y="29"/>
                  </a:lnTo>
                  <a:lnTo>
                    <a:pt x="210" y="28"/>
                  </a:lnTo>
                  <a:lnTo>
                    <a:pt x="212" y="28"/>
                  </a:lnTo>
                  <a:lnTo>
                    <a:pt x="212" y="26"/>
                  </a:lnTo>
                  <a:lnTo>
                    <a:pt x="213" y="24"/>
                  </a:lnTo>
                  <a:lnTo>
                    <a:pt x="213" y="23"/>
                  </a:lnTo>
                  <a:lnTo>
                    <a:pt x="213" y="21"/>
                  </a:lnTo>
                  <a:lnTo>
                    <a:pt x="215" y="21"/>
                  </a:lnTo>
                  <a:lnTo>
                    <a:pt x="215" y="19"/>
                  </a:lnTo>
                  <a:lnTo>
                    <a:pt x="217" y="19"/>
                  </a:lnTo>
                  <a:lnTo>
                    <a:pt x="217" y="18"/>
                  </a:lnTo>
                  <a:lnTo>
                    <a:pt x="218" y="18"/>
                  </a:lnTo>
                  <a:lnTo>
                    <a:pt x="220" y="18"/>
                  </a:lnTo>
                  <a:lnTo>
                    <a:pt x="220" y="16"/>
                  </a:lnTo>
                  <a:lnTo>
                    <a:pt x="221" y="16"/>
                  </a:lnTo>
                  <a:lnTo>
                    <a:pt x="221" y="15"/>
                  </a:lnTo>
                  <a:lnTo>
                    <a:pt x="223" y="13"/>
                  </a:lnTo>
                  <a:lnTo>
                    <a:pt x="225" y="15"/>
                  </a:lnTo>
                  <a:lnTo>
                    <a:pt x="225" y="13"/>
                  </a:lnTo>
                  <a:lnTo>
                    <a:pt x="226" y="11"/>
                  </a:lnTo>
                  <a:lnTo>
                    <a:pt x="228" y="11"/>
                  </a:lnTo>
                  <a:lnTo>
                    <a:pt x="228" y="10"/>
                  </a:lnTo>
                  <a:lnTo>
                    <a:pt x="230" y="8"/>
                  </a:lnTo>
                  <a:lnTo>
                    <a:pt x="230" y="10"/>
                  </a:lnTo>
                  <a:lnTo>
                    <a:pt x="230" y="8"/>
                  </a:lnTo>
                  <a:lnTo>
                    <a:pt x="231" y="8"/>
                  </a:lnTo>
                  <a:lnTo>
                    <a:pt x="231" y="6"/>
                  </a:lnTo>
                  <a:lnTo>
                    <a:pt x="233" y="6"/>
                  </a:lnTo>
                  <a:lnTo>
                    <a:pt x="233" y="5"/>
                  </a:lnTo>
                  <a:lnTo>
                    <a:pt x="236" y="3"/>
                  </a:lnTo>
                  <a:lnTo>
                    <a:pt x="238" y="3"/>
                  </a:lnTo>
                  <a:lnTo>
                    <a:pt x="236" y="3"/>
                  </a:lnTo>
                  <a:lnTo>
                    <a:pt x="236" y="5"/>
                  </a:lnTo>
                  <a:lnTo>
                    <a:pt x="236" y="6"/>
                  </a:lnTo>
                  <a:close/>
                  <a:moveTo>
                    <a:pt x="238" y="2"/>
                  </a:moveTo>
                  <a:lnTo>
                    <a:pt x="238" y="0"/>
                  </a:lnTo>
                  <a:lnTo>
                    <a:pt x="238" y="2"/>
                  </a:lnTo>
                  <a:close/>
                  <a:moveTo>
                    <a:pt x="106" y="97"/>
                  </a:moveTo>
                  <a:lnTo>
                    <a:pt x="104" y="97"/>
                  </a:lnTo>
                  <a:lnTo>
                    <a:pt x="106" y="97"/>
                  </a:lnTo>
                  <a:close/>
                  <a:moveTo>
                    <a:pt x="12" y="193"/>
                  </a:moveTo>
                  <a:lnTo>
                    <a:pt x="10" y="193"/>
                  </a:lnTo>
                  <a:lnTo>
                    <a:pt x="12" y="193"/>
                  </a:lnTo>
                  <a:close/>
                </a:path>
              </a:pathLst>
            </a:custGeom>
            <a:solidFill>
              <a:srgbClr val="00B0F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28" name="Freeform 17">
              <a:extLst>
                <a:ext uri="{FF2B5EF4-FFF2-40B4-BE49-F238E27FC236}">
                  <a16:creationId xmlns:a16="http://schemas.microsoft.com/office/drawing/2014/main" id="{E0AA1E84-9E53-C2CB-168B-5AAA44DB14CE}"/>
                </a:ext>
              </a:extLst>
            </p:cNvPr>
            <p:cNvSpPr>
              <a:spLocks/>
            </p:cNvSpPr>
            <p:nvPr/>
          </p:nvSpPr>
          <p:spPr bwMode="auto">
            <a:xfrm>
              <a:off x="4398" y="3587"/>
              <a:ext cx="632" cy="359"/>
            </a:xfrm>
            <a:custGeom>
              <a:avLst/>
              <a:gdLst>
                <a:gd name="T0" fmla="*/ 227 w 632"/>
                <a:gd name="T1" fmla="*/ 16 h 359"/>
                <a:gd name="T2" fmla="*/ 247 w 632"/>
                <a:gd name="T3" fmla="*/ 24 h 359"/>
                <a:gd name="T4" fmla="*/ 257 w 632"/>
                <a:gd name="T5" fmla="*/ 7 h 359"/>
                <a:gd name="T6" fmla="*/ 276 w 632"/>
                <a:gd name="T7" fmla="*/ 5 h 359"/>
                <a:gd name="T8" fmla="*/ 294 w 632"/>
                <a:gd name="T9" fmla="*/ 26 h 359"/>
                <a:gd name="T10" fmla="*/ 323 w 632"/>
                <a:gd name="T11" fmla="*/ 36 h 359"/>
                <a:gd name="T12" fmla="*/ 351 w 632"/>
                <a:gd name="T13" fmla="*/ 42 h 359"/>
                <a:gd name="T14" fmla="*/ 374 w 632"/>
                <a:gd name="T15" fmla="*/ 44 h 359"/>
                <a:gd name="T16" fmla="*/ 388 w 632"/>
                <a:gd name="T17" fmla="*/ 67 h 359"/>
                <a:gd name="T18" fmla="*/ 380 w 632"/>
                <a:gd name="T19" fmla="*/ 85 h 359"/>
                <a:gd name="T20" fmla="*/ 406 w 632"/>
                <a:gd name="T21" fmla="*/ 101 h 359"/>
                <a:gd name="T22" fmla="*/ 427 w 632"/>
                <a:gd name="T23" fmla="*/ 115 h 359"/>
                <a:gd name="T24" fmla="*/ 450 w 632"/>
                <a:gd name="T25" fmla="*/ 101 h 359"/>
                <a:gd name="T26" fmla="*/ 447 w 632"/>
                <a:gd name="T27" fmla="*/ 73 h 359"/>
                <a:gd name="T28" fmla="*/ 478 w 632"/>
                <a:gd name="T29" fmla="*/ 83 h 359"/>
                <a:gd name="T30" fmla="*/ 501 w 632"/>
                <a:gd name="T31" fmla="*/ 89 h 359"/>
                <a:gd name="T32" fmla="*/ 519 w 632"/>
                <a:gd name="T33" fmla="*/ 98 h 359"/>
                <a:gd name="T34" fmla="*/ 522 w 632"/>
                <a:gd name="T35" fmla="*/ 115 h 359"/>
                <a:gd name="T36" fmla="*/ 541 w 632"/>
                <a:gd name="T37" fmla="*/ 122 h 359"/>
                <a:gd name="T38" fmla="*/ 551 w 632"/>
                <a:gd name="T39" fmla="*/ 115 h 359"/>
                <a:gd name="T40" fmla="*/ 575 w 632"/>
                <a:gd name="T41" fmla="*/ 132 h 359"/>
                <a:gd name="T42" fmla="*/ 598 w 632"/>
                <a:gd name="T43" fmla="*/ 129 h 359"/>
                <a:gd name="T44" fmla="*/ 608 w 632"/>
                <a:gd name="T45" fmla="*/ 153 h 359"/>
                <a:gd name="T46" fmla="*/ 632 w 632"/>
                <a:gd name="T47" fmla="*/ 179 h 359"/>
                <a:gd name="T48" fmla="*/ 605 w 632"/>
                <a:gd name="T49" fmla="*/ 194 h 359"/>
                <a:gd name="T50" fmla="*/ 574 w 632"/>
                <a:gd name="T51" fmla="*/ 223 h 359"/>
                <a:gd name="T52" fmla="*/ 567 w 632"/>
                <a:gd name="T53" fmla="*/ 260 h 359"/>
                <a:gd name="T54" fmla="*/ 540 w 632"/>
                <a:gd name="T55" fmla="*/ 281 h 359"/>
                <a:gd name="T56" fmla="*/ 510 w 632"/>
                <a:gd name="T57" fmla="*/ 294 h 359"/>
                <a:gd name="T58" fmla="*/ 480 w 632"/>
                <a:gd name="T59" fmla="*/ 303 h 359"/>
                <a:gd name="T60" fmla="*/ 465 w 632"/>
                <a:gd name="T61" fmla="*/ 330 h 359"/>
                <a:gd name="T62" fmla="*/ 447 w 632"/>
                <a:gd name="T63" fmla="*/ 317 h 359"/>
                <a:gd name="T64" fmla="*/ 419 w 632"/>
                <a:gd name="T65" fmla="*/ 307 h 359"/>
                <a:gd name="T66" fmla="*/ 388 w 632"/>
                <a:gd name="T67" fmla="*/ 319 h 359"/>
                <a:gd name="T68" fmla="*/ 361 w 632"/>
                <a:gd name="T69" fmla="*/ 306 h 359"/>
                <a:gd name="T70" fmla="*/ 323 w 632"/>
                <a:gd name="T71" fmla="*/ 294 h 359"/>
                <a:gd name="T72" fmla="*/ 294 w 632"/>
                <a:gd name="T73" fmla="*/ 296 h 359"/>
                <a:gd name="T74" fmla="*/ 278 w 632"/>
                <a:gd name="T75" fmla="*/ 291 h 359"/>
                <a:gd name="T76" fmla="*/ 278 w 632"/>
                <a:gd name="T77" fmla="*/ 325 h 359"/>
                <a:gd name="T78" fmla="*/ 255 w 632"/>
                <a:gd name="T79" fmla="*/ 343 h 359"/>
                <a:gd name="T80" fmla="*/ 236 w 632"/>
                <a:gd name="T81" fmla="*/ 348 h 359"/>
                <a:gd name="T82" fmla="*/ 213 w 632"/>
                <a:gd name="T83" fmla="*/ 355 h 359"/>
                <a:gd name="T84" fmla="*/ 193 w 632"/>
                <a:gd name="T85" fmla="*/ 346 h 359"/>
                <a:gd name="T86" fmla="*/ 164 w 632"/>
                <a:gd name="T87" fmla="*/ 320 h 359"/>
                <a:gd name="T88" fmla="*/ 138 w 632"/>
                <a:gd name="T89" fmla="*/ 304 h 359"/>
                <a:gd name="T90" fmla="*/ 118 w 632"/>
                <a:gd name="T91" fmla="*/ 283 h 359"/>
                <a:gd name="T92" fmla="*/ 91 w 632"/>
                <a:gd name="T93" fmla="*/ 257 h 359"/>
                <a:gd name="T94" fmla="*/ 55 w 632"/>
                <a:gd name="T95" fmla="*/ 237 h 359"/>
                <a:gd name="T96" fmla="*/ 42 w 632"/>
                <a:gd name="T97" fmla="*/ 210 h 359"/>
                <a:gd name="T98" fmla="*/ 44 w 632"/>
                <a:gd name="T99" fmla="*/ 172 h 359"/>
                <a:gd name="T100" fmla="*/ 24 w 632"/>
                <a:gd name="T101" fmla="*/ 155 h 359"/>
                <a:gd name="T102" fmla="*/ 6 w 632"/>
                <a:gd name="T103" fmla="*/ 129 h 359"/>
                <a:gd name="T104" fmla="*/ 16 w 632"/>
                <a:gd name="T105" fmla="*/ 122 h 359"/>
                <a:gd name="T106" fmla="*/ 26 w 632"/>
                <a:gd name="T107" fmla="*/ 120 h 359"/>
                <a:gd name="T108" fmla="*/ 55 w 632"/>
                <a:gd name="T109" fmla="*/ 101 h 359"/>
                <a:gd name="T110" fmla="*/ 92 w 632"/>
                <a:gd name="T111" fmla="*/ 85 h 359"/>
                <a:gd name="T112" fmla="*/ 115 w 632"/>
                <a:gd name="T113" fmla="*/ 68 h 359"/>
                <a:gd name="T114" fmla="*/ 136 w 632"/>
                <a:gd name="T115" fmla="*/ 54 h 359"/>
                <a:gd name="T116" fmla="*/ 167 w 632"/>
                <a:gd name="T117" fmla="*/ 37 h 359"/>
                <a:gd name="T118" fmla="*/ 205 w 632"/>
                <a:gd name="T119" fmla="*/ 20 h 359"/>
                <a:gd name="T120" fmla="*/ 193 w 632"/>
                <a:gd name="T121" fmla="*/ 2 h 3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32" h="359">
                  <a:moveTo>
                    <a:pt x="200" y="2"/>
                  </a:moveTo>
                  <a:lnTo>
                    <a:pt x="201" y="2"/>
                  </a:lnTo>
                  <a:lnTo>
                    <a:pt x="203" y="2"/>
                  </a:lnTo>
                  <a:lnTo>
                    <a:pt x="205" y="3"/>
                  </a:lnTo>
                  <a:lnTo>
                    <a:pt x="206" y="5"/>
                  </a:lnTo>
                  <a:lnTo>
                    <a:pt x="208" y="3"/>
                  </a:lnTo>
                  <a:lnTo>
                    <a:pt x="210" y="2"/>
                  </a:lnTo>
                  <a:lnTo>
                    <a:pt x="211" y="2"/>
                  </a:lnTo>
                  <a:lnTo>
                    <a:pt x="211" y="3"/>
                  </a:lnTo>
                  <a:lnTo>
                    <a:pt x="213" y="3"/>
                  </a:lnTo>
                  <a:lnTo>
                    <a:pt x="216" y="3"/>
                  </a:lnTo>
                  <a:lnTo>
                    <a:pt x="218" y="5"/>
                  </a:lnTo>
                  <a:lnTo>
                    <a:pt x="218" y="7"/>
                  </a:lnTo>
                  <a:lnTo>
                    <a:pt x="219" y="7"/>
                  </a:lnTo>
                  <a:lnTo>
                    <a:pt x="221" y="8"/>
                  </a:lnTo>
                  <a:lnTo>
                    <a:pt x="224" y="10"/>
                  </a:lnTo>
                  <a:lnTo>
                    <a:pt x="224" y="11"/>
                  </a:lnTo>
                  <a:lnTo>
                    <a:pt x="223" y="16"/>
                  </a:lnTo>
                  <a:lnTo>
                    <a:pt x="221" y="16"/>
                  </a:lnTo>
                  <a:lnTo>
                    <a:pt x="221" y="18"/>
                  </a:lnTo>
                  <a:lnTo>
                    <a:pt x="223" y="18"/>
                  </a:lnTo>
                  <a:lnTo>
                    <a:pt x="227" y="16"/>
                  </a:lnTo>
                  <a:lnTo>
                    <a:pt x="229" y="16"/>
                  </a:lnTo>
                  <a:lnTo>
                    <a:pt x="229" y="18"/>
                  </a:lnTo>
                  <a:lnTo>
                    <a:pt x="229" y="20"/>
                  </a:lnTo>
                  <a:lnTo>
                    <a:pt x="229" y="21"/>
                  </a:lnTo>
                  <a:lnTo>
                    <a:pt x="227" y="21"/>
                  </a:lnTo>
                  <a:lnTo>
                    <a:pt x="227" y="23"/>
                  </a:lnTo>
                  <a:lnTo>
                    <a:pt x="227" y="24"/>
                  </a:lnTo>
                  <a:lnTo>
                    <a:pt x="227" y="26"/>
                  </a:lnTo>
                  <a:lnTo>
                    <a:pt x="229" y="28"/>
                  </a:lnTo>
                  <a:lnTo>
                    <a:pt x="231" y="28"/>
                  </a:lnTo>
                  <a:lnTo>
                    <a:pt x="234" y="29"/>
                  </a:lnTo>
                  <a:lnTo>
                    <a:pt x="236" y="29"/>
                  </a:lnTo>
                  <a:lnTo>
                    <a:pt x="237" y="31"/>
                  </a:lnTo>
                  <a:lnTo>
                    <a:pt x="240" y="31"/>
                  </a:lnTo>
                  <a:lnTo>
                    <a:pt x="242" y="31"/>
                  </a:lnTo>
                  <a:lnTo>
                    <a:pt x="244" y="31"/>
                  </a:lnTo>
                  <a:lnTo>
                    <a:pt x="244" y="29"/>
                  </a:lnTo>
                  <a:lnTo>
                    <a:pt x="244" y="28"/>
                  </a:lnTo>
                  <a:lnTo>
                    <a:pt x="244" y="26"/>
                  </a:lnTo>
                  <a:lnTo>
                    <a:pt x="245" y="26"/>
                  </a:lnTo>
                  <a:lnTo>
                    <a:pt x="245" y="24"/>
                  </a:lnTo>
                  <a:lnTo>
                    <a:pt x="247" y="24"/>
                  </a:lnTo>
                  <a:lnTo>
                    <a:pt x="249" y="24"/>
                  </a:lnTo>
                  <a:lnTo>
                    <a:pt x="250" y="23"/>
                  </a:lnTo>
                  <a:lnTo>
                    <a:pt x="252" y="24"/>
                  </a:lnTo>
                  <a:lnTo>
                    <a:pt x="252" y="23"/>
                  </a:lnTo>
                  <a:lnTo>
                    <a:pt x="253" y="23"/>
                  </a:lnTo>
                  <a:lnTo>
                    <a:pt x="257" y="24"/>
                  </a:lnTo>
                  <a:lnTo>
                    <a:pt x="258" y="24"/>
                  </a:lnTo>
                  <a:lnTo>
                    <a:pt x="258" y="23"/>
                  </a:lnTo>
                  <a:lnTo>
                    <a:pt x="260" y="23"/>
                  </a:lnTo>
                  <a:lnTo>
                    <a:pt x="262" y="23"/>
                  </a:lnTo>
                  <a:lnTo>
                    <a:pt x="262" y="20"/>
                  </a:lnTo>
                  <a:lnTo>
                    <a:pt x="260" y="20"/>
                  </a:lnTo>
                  <a:lnTo>
                    <a:pt x="262" y="18"/>
                  </a:lnTo>
                  <a:lnTo>
                    <a:pt x="260" y="16"/>
                  </a:lnTo>
                  <a:lnTo>
                    <a:pt x="262" y="13"/>
                  </a:lnTo>
                  <a:lnTo>
                    <a:pt x="262" y="11"/>
                  </a:lnTo>
                  <a:lnTo>
                    <a:pt x="262" y="10"/>
                  </a:lnTo>
                  <a:lnTo>
                    <a:pt x="262" y="8"/>
                  </a:lnTo>
                  <a:lnTo>
                    <a:pt x="262" y="7"/>
                  </a:lnTo>
                  <a:lnTo>
                    <a:pt x="260" y="7"/>
                  </a:lnTo>
                  <a:lnTo>
                    <a:pt x="258" y="7"/>
                  </a:lnTo>
                  <a:lnTo>
                    <a:pt x="257" y="7"/>
                  </a:lnTo>
                  <a:lnTo>
                    <a:pt x="257" y="5"/>
                  </a:lnTo>
                  <a:lnTo>
                    <a:pt x="258" y="3"/>
                  </a:lnTo>
                  <a:lnTo>
                    <a:pt x="260" y="3"/>
                  </a:lnTo>
                  <a:lnTo>
                    <a:pt x="262" y="0"/>
                  </a:lnTo>
                  <a:lnTo>
                    <a:pt x="262" y="2"/>
                  </a:lnTo>
                  <a:lnTo>
                    <a:pt x="262" y="3"/>
                  </a:lnTo>
                  <a:lnTo>
                    <a:pt x="263" y="3"/>
                  </a:lnTo>
                  <a:lnTo>
                    <a:pt x="265" y="2"/>
                  </a:lnTo>
                  <a:lnTo>
                    <a:pt x="266" y="2"/>
                  </a:lnTo>
                  <a:lnTo>
                    <a:pt x="268" y="2"/>
                  </a:lnTo>
                  <a:lnTo>
                    <a:pt x="268" y="3"/>
                  </a:lnTo>
                  <a:lnTo>
                    <a:pt x="268" y="5"/>
                  </a:lnTo>
                  <a:lnTo>
                    <a:pt x="270" y="5"/>
                  </a:lnTo>
                  <a:lnTo>
                    <a:pt x="273" y="5"/>
                  </a:lnTo>
                  <a:lnTo>
                    <a:pt x="271" y="5"/>
                  </a:lnTo>
                  <a:lnTo>
                    <a:pt x="273" y="3"/>
                  </a:lnTo>
                  <a:lnTo>
                    <a:pt x="273" y="2"/>
                  </a:lnTo>
                  <a:lnTo>
                    <a:pt x="275" y="0"/>
                  </a:lnTo>
                  <a:lnTo>
                    <a:pt x="275" y="2"/>
                  </a:lnTo>
                  <a:lnTo>
                    <a:pt x="276" y="2"/>
                  </a:lnTo>
                  <a:lnTo>
                    <a:pt x="276" y="3"/>
                  </a:lnTo>
                  <a:lnTo>
                    <a:pt x="276" y="5"/>
                  </a:lnTo>
                  <a:lnTo>
                    <a:pt x="276" y="7"/>
                  </a:lnTo>
                  <a:lnTo>
                    <a:pt x="278" y="7"/>
                  </a:lnTo>
                  <a:lnTo>
                    <a:pt x="278" y="5"/>
                  </a:lnTo>
                  <a:lnTo>
                    <a:pt x="279" y="5"/>
                  </a:lnTo>
                  <a:lnTo>
                    <a:pt x="281" y="3"/>
                  </a:lnTo>
                  <a:lnTo>
                    <a:pt x="281" y="5"/>
                  </a:lnTo>
                  <a:lnTo>
                    <a:pt x="283" y="5"/>
                  </a:lnTo>
                  <a:lnTo>
                    <a:pt x="284" y="7"/>
                  </a:lnTo>
                  <a:lnTo>
                    <a:pt x="284" y="8"/>
                  </a:lnTo>
                  <a:lnTo>
                    <a:pt x="286" y="8"/>
                  </a:lnTo>
                  <a:lnTo>
                    <a:pt x="286" y="10"/>
                  </a:lnTo>
                  <a:lnTo>
                    <a:pt x="286" y="11"/>
                  </a:lnTo>
                  <a:lnTo>
                    <a:pt x="284" y="13"/>
                  </a:lnTo>
                  <a:lnTo>
                    <a:pt x="284" y="15"/>
                  </a:lnTo>
                  <a:lnTo>
                    <a:pt x="284" y="18"/>
                  </a:lnTo>
                  <a:lnTo>
                    <a:pt x="286" y="18"/>
                  </a:lnTo>
                  <a:lnTo>
                    <a:pt x="289" y="21"/>
                  </a:lnTo>
                  <a:lnTo>
                    <a:pt x="289" y="23"/>
                  </a:lnTo>
                  <a:lnTo>
                    <a:pt x="291" y="23"/>
                  </a:lnTo>
                  <a:lnTo>
                    <a:pt x="292" y="23"/>
                  </a:lnTo>
                  <a:lnTo>
                    <a:pt x="294" y="24"/>
                  </a:lnTo>
                  <a:lnTo>
                    <a:pt x="294" y="26"/>
                  </a:lnTo>
                  <a:lnTo>
                    <a:pt x="296" y="28"/>
                  </a:lnTo>
                  <a:lnTo>
                    <a:pt x="296" y="29"/>
                  </a:lnTo>
                  <a:lnTo>
                    <a:pt x="296" y="31"/>
                  </a:lnTo>
                  <a:lnTo>
                    <a:pt x="296" y="33"/>
                  </a:lnTo>
                  <a:lnTo>
                    <a:pt x="297" y="34"/>
                  </a:lnTo>
                  <a:lnTo>
                    <a:pt x="299" y="33"/>
                  </a:lnTo>
                  <a:lnTo>
                    <a:pt x="299" y="31"/>
                  </a:lnTo>
                  <a:lnTo>
                    <a:pt x="299" y="29"/>
                  </a:lnTo>
                  <a:lnTo>
                    <a:pt x="301" y="29"/>
                  </a:lnTo>
                  <a:lnTo>
                    <a:pt x="302" y="29"/>
                  </a:lnTo>
                  <a:lnTo>
                    <a:pt x="305" y="31"/>
                  </a:lnTo>
                  <a:lnTo>
                    <a:pt x="307" y="31"/>
                  </a:lnTo>
                  <a:lnTo>
                    <a:pt x="309" y="31"/>
                  </a:lnTo>
                  <a:lnTo>
                    <a:pt x="309" y="33"/>
                  </a:lnTo>
                  <a:lnTo>
                    <a:pt x="310" y="33"/>
                  </a:lnTo>
                  <a:lnTo>
                    <a:pt x="312" y="33"/>
                  </a:lnTo>
                  <a:lnTo>
                    <a:pt x="314" y="33"/>
                  </a:lnTo>
                  <a:lnTo>
                    <a:pt x="315" y="33"/>
                  </a:lnTo>
                  <a:lnTo>
                    <a:pt x="317" y="33"/>
                  </a:lnTo>
                  <a:lnTo>
                    <a:pt x="319" y="34"/>
                  </a:lnTo>
                  <a:lnTo>
                    <a:pt x="322" y="34"/>
                  </a:lnTo>
                  <a:lnTo>
                    <a:pt x="323" y="36"/>
                  </a:lnTo>
                  <a:lnTo>
                    <a:pt x="325" y="37"/>
                  </a:lnTo>
                  <a:lnTo>
                    <a:pt x="325" y="39"/>
                  </a:lnTo>
                  <a:lnTo>
                    <a:pt x="327" y="39"/>
                  </a:lnTo>
                  <a:lnTo>
                    <a:pt x="327" y="37"/>
                  </a:lnTo>
                  <a:lnTo>
                    <a:pt x="328" y="37"/>
                  </a:lnTo>
                  <a:lnTo>
                    <a:pt x="330" y="37"/>
                  </a:lnTo>
                  <a:lnTo>
                    <a:pt x="332" y="36"/>
                  </a:lnTo>
                  <a:lnTo>
                    <a:pt x="333" y="36"/>
                  </a:lnTo>
                  <a:lnTo>
                    <a:pt x="335" y="34"/>
                  </a:lnTo>
                  <a:lnTo>
                    <a:pt x="336" y="34"/>
                  </a:lnTo>
                  <a:lnTo>
                    <a:pt x="338" y="36"/>
                  </a:lnTo>
                  <a:lnTo>
                    <a:pt x="338" y="37"/>
                  </a:lnTo>
                  <a:lnTo>
                    <a:pt x="338" y="39"/>
                  </a:lnTo>
                  <a:lnTo>
                    <a:pt x="340" y="41"/>
                  </a:lnTo>
                  <a:lnTo>
                    <a:pt x="340" y="42"/>
                  </a:lnTo>
                  <a:lnTo>
                    <a:pt x="341" y="42"/>
                  </a:lnTo>
                  <a:lnTo>
                    <a:pt x="341" y="46"/>
                  </a:lnTo>
                  <a:lnTo>
                    <a:pt x="343" y="46"/>
                  </a:lnTo>
                  <a:lnTo>
                    <a:pt x="346" y="44"/>
                  </a:lnTo>
                  <a:lnTo>
                    <a:pt x="348" y="44"/>
                  </a:lnTo>
                  <a:lnTo>
                    <a:pt x="349" y="42"/>
                  </a:lnTo>
                  <a:lnTo>
                    <a:pt x="351" y="42"/>
                  </a:lnTo>
                  <a:lnTo>
                    <a:pt x="353" y="42"/>
                  </a:lnTo>
                  <a:lnTo>
                    <a:pt x="353" y="44"/>
                  </a:lnTo>
                  <a:lnTo>
                    <a:pt x="354" y="46"/>
                  </a:lnTo>
                  <a:lnTo>
                    <a:pt x="354" y="49"/>
                  </a:lnTo>
                  <a:lnTo>
                    <a:pt x="356" y="50"/>
                  </a:lnTo>
                  <a:lnTo>
                    <a:pt x="353" y="52"/>
                  </a:lnTo>
                  <a:lnTo>
                    <a:pt x="356" y="54"/>
                  </a:lnTo>
                  <a:lnTo>
                    <a:pt x="358" y="54"/>
                  </a:lnTo>
                  <a:lnTo>
                    <a:pt x="358" y="52"/>
                  </a:lnTo>
                  <a:lnTo>
                    <a:pt x="359" y="54"/>
                  </a:lnTo>
                  <a:lnTo>
                    <a:pt x="359" y="50"/>
                  </a:lnTo>
                  <a:lnTo>
                    <a:pt x="361" y="49"/>
                  </a:lnTo>
                  <a:lnTo>
                    <a:pt x="362" y="47"/>
                  </a:lnTo>
                  <a:lnTo>
                    <a:pt x="362" y="46"/>
                  </a:lnTo>
                  <a:lnTo>
                    <a:pt x="366" y="46"/>
                  </a:lnTo>
                  <a:lnTo>
                    <a:pt x="367" y="46"/>
                  </a:lnTo>
                  <a:lnTo>
                    <a:pt x="369" y="47"/>
                  </a:lnTo>
                  <a:lnTo>
                    <a:pt x="371" y="47"/>
                  </a:lnTo>
                  <a:lnTo>
                    <a:pt x="371" y="49"/>
                  </a:lnTo>
                  <a:lnTo>
                    <a:pt x="372" y="49"/>
                  </a:lnTo>
                  <a:lnTo>
                    <a:pt x="374" y="49"/>
                  </a:lnTo>
                  <a:lnTo>
                    <a:pt x="374" y="44"/>
                  </a:lnTo>
                  <a:lnTo>
                    <a:pt x="375" y="42"/>
                  </a:lnTo>
                  <a:lnTo>
                    <a:pt x="377" y="42"/>
                  </a:lnTo>
                  <a:lnTo>
                    <a:pt x="379" y="42"/>
                  </a:lnTo>
                  <a:lnTo>
                    <a:pt x="380" y="44"/>
                  </a:lnTo>
                  <a:lnTo>
                    <a:pt x="384" y="42"/>
                  </a:lnTo>
                  <a:lnTo>
                    <a:pt x="385" y="44"/>
                  </a:lnTo>
                  <a:lnTo>
                    <a:pt x="385" y="46"/>
                  </a:lnTo>
                  <a:lnTo>
                    <a:pt x="387" y="46"/>
                  </a:lnTo>
                  <a:lnTo>
                    <a:pt x="388" y="47"/>
                  </a:lnTo>
                  <a:lnTo>
                    <a:pt x="390" y="49"/>
                  </a:lnTo>
                  <a:lnTo>
                    <a:pt x="392" y="49"/>
                  </a:lnTo>
                  <a:lnTo>
                    <a:pt x="393" y="52"/>
                  </a:lnTo>
                  <a:lnTo>
                    <a:pt x="395" y="54"/>
                  </a:lnTo>
                  <a:lnTo>
                    <a:pt x="392" y="55"/>
                  </a:lnTo>
                  <a:lnTo>
                    <a:pt x="392" y="57"/>
                  </a:lnTo>
                  <a:lnTo>
                    <a:pt x="392" y="59"/>
                  </a:lnTo>
                  <a:lnTo>
                    <a:pt x="390" y="60"/>
                  </a:lnTo>
                  <a:lnTo>
                    <a:pt x="392" y="62"/>
                  </a:lnTo>
                  <a:lnTo>
                    <a:pt x="390" y="62"/>
                  </a:lnTo>
                  <a:lnTo>
                    <a:pt x="390" y="63"/>
                  </a:lnTo>
                  <a:lnTo>
                    <a:pt x="388" y="65"/>
                  </a:lnTo>
                  <a:lnTo>
                    <a:pt x="388" y="67"/>
                  </a:lnTo>
                  <a:lnTo>
                    <a:pt x="387" y="67"/>
                  </a:lnTo>
                  <a:lnTo>
                    <a:pt x="385" y="65"/>
                  </a:lnTo>
                  <a:lnTo>
                    <a:pt x="384" y="65"/>
                  </a:lnTo>
                  <a:lnTo>
                    <a:pt x="384" y="67"/>
                  </a:lnTo>
                  <a:lnTo>
                    <a:pt x="384" y="68"/>
                  </a:lnTo>
                  <a:lnTo>
                    <a:pt x="382" y="70"/>
                  </a:lnTo>
                  <a:lnTo>
                    <a:pt x="380" y="70"/>
                  </a:lnTo>
                  <a:lnTo>
                    <a:pt x="379" y="70"/>
                  </a:lnTo>
                  <a:lnTo>
                    <a:pt x="379" y="72"/>
                  </a:lnTo>
                  <a:lnTo>
                    <a:pt x="377" y="72"/>
                  </a:lnTo>
                  <a:lnTo>
                    <a:pt x="377" y="73"/>
                  </a:lnTo>
                  <a:lnTo>
                    <a:pt x="377" y="75"/>
                  </a:lnTo>
                  <a:lnTo>
                    <a:pt x="375" y="75"/>
                  </a:lnTo>
                  <a:lnTo>
                    <a:pt x="374" y="75"/>
                  </a:lnTo>
                  <a:lnTo>
                    <a:pt x="374" y="76"/>
                  </a:lnTo>
                  <a:lnTo>
                    <a:pt x="375" y="78"/>
                  </a:lnTo>
                  <a:lnTo>
                    <a:pt x="375" y="80"/>
                  </a:lnTo>
                  <a:lnTo>
                    <a:pt x="377" y="80"/>
                  </a:lnTo>
                  <a:lnTo>
                    <a:pt x="379" y="80"/>
                  </a:lnTo>
                  <a:lnTo>
                    <a:pt x="379" y="81"/>
                  </a:lnTo>
                  <a:lnTo>
                    <a:pt x="380" y="83"/>
                  </a:lnTo>
                  <a:lnTo>
                    <a:pt x="380" y="85"/>
                  </a:lnTo>
                  <a:lnTo>
                    <a:pt x="382" y="85"/>
                  </a:lnTo>
                  <a:lnTo>
                    <a:pt x="384" y="86"/>
                  </a:lnTo>
                  <a:lnTo>
                    <a:pt x="384" y="85"/>
                  </a:lnTo>
                  <a:lnTo>
                    <a:pt x="385" y="83"/>
                  </a:lnTo>
                  <a:lnTo>
                    <a:pt x="388" y="85"/>
                  </a:lnTo>
                  <a:lnTo>
                    <a:pt x="388" y="83"/>
                  </a:lnTo>
                  <a:lnTo>
                    <a:pt x="390" y="83"/>
                  </a:lnTo>
                  <a:lnTo>
                    <a:pt x="390" y="85"/>
                  </a:lnTo>
                  <a:lnTo>
                    <a:pt x="390" y="86"/>
                  </a:lnTo>
                  <a:lnTo>
                    <a:pt x="390" y="88"/>
                  </a:lnTo>
                  <a:lnTo>
                    <a:pt x="392" y="89"/>
                  </a:lnTo>
                  <a:lnTo>
                    <a:pt x="393" y="91"/>
                  </a:lnTo>
                  <a:lnTo>
                    <a:pt x="395" y="91"/>
                  </a:lnTo>
                  <a:lnTo>
                    <a:pt x="397" y="91"/>
                  </a:lnTo>
                  <a:lnTo>
                    <a:pt x="398" y="91"/>
                  </a:lnTo>
                  <a:lnTo>
                    <a:pt x="398" y="93"/>
                  </a:lnTo>
                  <a:lnTo>
                    <a:pt x="400" y="94"/>
                  </a:lnTo>
                  <a:lnTo>
                    <a:pt x="401" y="96"/>
                  </a:lnTo>
                  <a:lnTo>
                    <a:pt x="403" y="98"/>
                  </a:lnTo>
                  <a:lnTo>
                    <a:pt x="405" y="99"/>
                  </a:lnTo>
                  <a:lnTo>
                    <a:pt x="405" y="101"/>
                  </a:lnTo>
                  <a:lnTo>
                    <a:pt x="406" y="101"/>
                  </a:lnTo>
                  <a:lnTo>
                    <a:pt x="406" y="102"/>
                  </a:lnTo>
                  <a:lnTo>
                    <a:pt x="408" y="102"/>
                  </a:lnTo>
                  <a:lnTo>
                    <a:pt x="410" y="104"/>
                  </a:lnTo>
                  <a:lnTo>
                    <a:pt x="410" y="106"/>
                  </a:lnTo>
                  <a:lnTo>
                    <a:pt x="411" y="107"/>
                  </a:lnTo>
                  <a:lnTo>
                    <a:pt x="410" y="107"/>
                  </a:lnTo>
                  <a:lnTo>
                    <a:pt x="410" y="109"/>
                  </a:lnTo>
                  <a:lnTo>
                    <a:pt x="411" y="109"/>
                  </a:lnTo>
                  <a:lnTo>
                    <a:pt x="411" y="111"/>
                  </a:lnTo>
                  <a:lnTo>
                    <a:pt x="411" y="112"/>
                  </a:lnTo>
                  <a:lnTo>
                    <a:pt x="411" y="114"/>
                  </a:lnTo>
                  <a:lnTo>
                    <a:pt x="413" y="115"/>
                  </a:lnTo>
                  <a:lnTo>
                    <a:pt x="416" y="117"/>
                  </a:lnTo>
                  <a:lnTo>
                    <a:pt x="418" y="119"/>
                  </a:lnTo>
                  <a:lnTo>
                    <a:pt x="418" y="120"/>
                  </a:lnTo>
                  <a:lnTo>
                    <a:pt x="419" y="120"/>
                  </a:lnTo>
                  <a:lnTo>
                    <a:pt x="421" y="120"/>
                  </a:lnTo>
                  <a:lnTo>
                    <a:pt x="423" y="120"/>
                  </a:lnTo>
                  <a:lnTo>
                    <a:pt x="424" y="120"/>
                  </a:lnTo>
                  <a:lnTo>
                    <a:pt x="426" y="120"/>
                  </a:lnTo>
                  <a:lnTo>
                    <a:pt x="427" y="117"/>
                  </a:lnTo>
                  <a:lnTo>
                    <a:pt x="427" y="115"/>
                  </a:lnTo>
                  <a:lnTo>
                    <a:pt x="429" y="115"/>
                  </a:lnTo>
                  <a:lnTo>
                    <a:pt x="432" y="114"/>
                  </a:lnTo>
                  <a:lnTo>
                    <a:pt x="432" y="112"/>
                  </a:lnTo>
                  <a:lnTo>
                    <a:pt x="432" y="111"/>
                  </a:lnTo>
                  <a:lnTo>
                    <a:pt x="432" y="109"/>
                  </a:lnTo>
                  <a:lnTo>
                    <a:pt x="434" y="107"/>
                  </a:lnTo>
                  <a:lnTo>
                    <a:pt x="434" y="106"/>
                  </a:lnTo>
                  <a:lnTo>
                    <a:pt x="434" y="107"/>
                  </a:lnTo>
                  <a:lnTo>
                    <a:pt x="436" y="106"/>
                  </a:lnTo>
                  <a:lnTo>
                    <a:pt x="436" y="104"/>
                  </a:lnTo>
                  <a:lnTo>
                    <a:pt x="437" y="104"/>
                  </a:lnTo>
                  <a:lnTo>
                    <a:pt x="439" y="106"/>
                  </a:lnTo>
                  <a:lnTo>
                    <a:pt x="440" y="106"/>
                  </a:lnTo>
                  <a:lnTo>
                    <a:pt x="440" y="104"/>
                  </a:lnTo>
                  <a:lnTo>
                    <a:pt x="440" y="102"/>
                  </a:lnTo>
                  <a:lnTo>
                    <a:pt x="442" y="101"/>
                  </a:lnTo>
                  <a:lnTo>
                    <a:pt x="444" y="101"/>
                  </a:lnTo>
                  <a:lnTo>
                    <a:pt x="445" y="101"/>
                  </a:lnTo>
                  <a:lnTo>
                    <a:pt x="447" y="101"/>
                  </a:lnTo>
                  <a:lnTo>
                    <a:pt x="447" y="99"/>
                  </a:lnTo>
                  <a:lnTo>
                    <a:pt x="449" y="98"/>
                  </a:lnTo>
                  <a:lnTo>
                    <a:pt x="450" y="101"/>
                  </a:lnTo>
                  <a:lnTo>
                    <a:pt x="452" y="101"/>
                  </a:lnTo>
                  <a:lnTo>
                    <a:pt x="452" y="99"/>
                  </a:lnTo>
                  <a:lnTo>
                    <a:pt x="452" y="98"/>
                  </a:lnTo>
                  <a:lnTo>
                    <a:pt x="450" y="96"/>
                  </a:lnTo>
                  <a:lnTo>
                    <a:pt x="452" y="94"/>
                  </a:lnTo>
                  <a:lnTo>
                    <a:pt x="452" y="93"/>
                  </a:lnTo>
                  <a:lnTo>
                    <a:pt x="450" y="91"/>
                  </a:lnTo>
                  <a:lnTo>
                    <a:pt x="450" y="89"/>
                  </a:lnTo>
                  <a:lnTo>
                    <a:pt x="447" y="88"/>
                  </a:lnTo>
                  <a:lnTo>
                    <a:pt x="445" y="88"/>
                  </a:lnTo>
                  <a:lnTo>
                    <a:pt x="444" y="88"/>
                  </a:lnTo>
                  <a:lnTo>
                    <a:pt x="440" y="81"/>
                  </a:lnTo>
                  <a:lnTo>
                    <a:pt x="440" y="80"/>
                  </a:lnTo>
                  <a:lnTo>
                    <a:pt x="440" y="78"/>
                  </a:lnTo>
                  <a:lnTo>
                    <a:pt x="436" y="75"/>
                  </a:lnTo>
                  <a:lnTo>
                    <a:pt x="436" y="73"/>
                  </a:lnTo>
                  <a:lnTo>
                    <a:pt x="437" y="72"/>
                  </a:lnTo>
                  <a:lnTo>
                    <a:pt x="439" y="70"/>
                  </a:lnTo>
                  <a:lnTo>
                    <a:pt x="440" y="70"/>
                  </a:lnTo>
                  <a:lnTo>
                    <a:pt x="444" y="72"/>
                  </a:lnTo>
                  <a:lnTo>
                    <a:pt x="445" y="73"/>
                  </a:lnTo>
                  <a:lnTo>
                    <a:pt x="447" y="73"/>
                  </a:lnTo>
                  <a:lnTo>
                    <a:pt x="447" y="72"/>
                  </a:lnTo>
                  <a:lnTo>
                    <a:pt x="449" y="72"/>
                  </a:lnTo>
                  <a:lnTo>
                    <a:pt x="450" y="72"/>
                  </a:lnTo>
                  <a:lnTo>
                    <a:pt x="452" y="73"/>
                  </a:lnTo>
                  <a:lnTo>
                    <a:pt x="453" y="73"/>
                  </a:lnTo>
                  <a:lnTo>
                    <a:pt x="455" y="73"/>
                  </a:lnTo>
                  <a:lnTo>
                    <a:pt x="457" y="73"/>
                  </a:lnTo>
                  <a:lnTo>
                    <a:pt x="458" y="73"/>
                  </a:lnTo>
                  <a:lnTo>
                    <a:pt x="458" y="75"/>
                  </a:lnTo>
                  <a:lnTo>
                    <a:pt x="460" y="75"/>
                  </a:lnTo>
                  <a:lnTo>
                    <a:pt x="462" y="76"/>
                  </a:lnTo>
                  <a:lnTo>
                    <a:pt x="463" y="76"/>
                  </a:lnTo>
                  <a:lnTo>
                    <a:pt x="465" y="75"/>
                  </a:lnTo>
                  <a:lnTo>
                    <a:pt x="467" y="75"/>
                  </a:lnTo>
                  <a:lnTo>
                    <a:pt x="467" y="76"/>
                  </a:lnTo>
                  <a:lnTo>
                    <a:pt x="467" y="78"/>
                  </a:lnTo>
                  <a:lnTo>
                    <a:pt x="470" y="81"/>
                  </a:lnTo>
                  <a:lnTo>
                    <a:pt x="471" y="83"/>
                  </a:lnTo>
                  <a:lnTo>
                    <a:pt x="475" y="85"/>
                  </a:lnTo>
                  <a:lnTo>
                    <a:pt x="476" y="85"/>
                  </a:lnTo>
                  <a:lnTo>
                    <a:pt x="478" y="85"/>
                  </a:lnTo>
                  <a:lnTo>
                    <a:pt x="478" y="83"/>
                  </a:lnTo>
                  <a:lnTo>
                    <a:pt x="480" y="83"/>
                  </a:lnTo>
                  <a:lnTo>
                    <a:pt x="480" y="85"/>
                  </a:lnTo>
                  <a:lnTo>
                    <a:pt x="481" y="85"/>
                  </a:lnTo>
                  <a:lnTo>
                    <a:pt x="483" y="86"/>
                  </a:lnTo>
                  <a:lnTo>
                    <a:pt x="481" y="88"/>
                  </a:lnTo>
                  <a:lnTo>
                    <a:pt x="481" y="89"/>
                  </a:lnTo>
                  <a:lnTo>
                    <a:pt x="481" y="91"/>
                  </a:lnTo>
                  <a:lnTo>
                    <a:pt x="483" y="91"/>
                  </a:lnTo>
                  <a:lnTo>
                    <a:pt x="483" y="89"/>
                  </a:lnTo>
                  <a:lnTo>
                    <a:pt x="486" y="88"/>
                  </a:lnTo>
                  <a:lnTo>
                    <a:pt x="486" y="89"/>
                  </a:lnTo>
                  <a:lnTo>
                    <a:pt x="488" y="89"/>
                  </a:lnTo>
                  <a:lnTo>
                    <a:pt x="489" y="93"/>
                  </a:lnTo>
                  <a:lnTo>
                    <a:pt x="491" y="93"/>
                  </a:lnTo>
                  <a:lnTo>
                    <a:pt x="491" y="91"/>
                  </a:lnTo>
                  <a:lnTo>
                    <a:pt x="491" y="89"/>
                  </a:lnTo>
                  <a:lnTo>
                    <a:pt x="494" y="89"/>
                  </a:lnTo>
                  <a:lnTo>
                    <a:pt x="496" y="88"/>
                  </a:lnTo>
                  <a:lnTo>
                    <a:pt x="496" y="89"/>
                  </a:lnTo>
                  <a:lnTo>
                    <a:pt x="497" y="89"/>
                  </a:lnTo>
                  <a:lnTo>
                    <a:pt x="499" y="89"/>
                  </a:lnTo>
                  <a:lnTo>
                    <a:pt x="501" y="89"/>
                  </a:lnTo>
                  <a:lnTo>
                    <a:pt x="502" y="88"/>
                  </a:lnTo>
                  <a:lnTo>
                    <a:pt x="504" y="88"/>
                  </a:lnTo>
                  <a:lnTo>
                    <a:pt x="506" y="89"/>
                  </a:lnTo>
                  <a:lnTo>
                    <a:pt x="507" y="89"/>
                  </a:lnTo>
                  <a:lnTo>
                    <a:pt x="509" y="88"/>
                  </a:lnTo>
                  <a:lnTo>
                    <a:pt x="509" y="86"/>
                  </a:lnTo>
                  <a:lnTo>
                    <a:pt x="510" y="85"/>
                  </a:lnTo>
                  <a:lnTo>
                    <a:pt x="512" y="83"/>
                  </a:lnTo>
                  <a:lnTo>
                    <a:pt x="512" y="81"/>
                  </a:lnTo>
                  <a:lnTo>
                    <a:pt x="512" y="80"/>
                  </a:lnTo>
                  <a:lnTo>
                    <a:pt x="515" y="81"/>
                  </a:lnTo>
                  <a:lnTo>
                    <a:pt x="515" y="83"/>
                  </a:lnTo>
                  <a:lnTo>
                    <a:pt x="517" y="83"/>
                  </a:lnTo>
                  <a:lnTo>
                    <a:pt x="519" y="83"/>
                  </a:lnTo>
                  <a:lnTo>
                    <a:pt x="517" y="85"/>
                  </a:lnTo>
                  <a:lnTo>
                    <a:pt x="517" y="86"/>
                  </a:lnTo>
                  <a:lnTo>
                    <a:pt x="515" y="88"/>
                  </a:lnTo>
                  <a:lnTo>
                    <a:pt x="517" y="89"/>
                  </a:lnTo>
                  <a:lnTo>
                    <a:pt x="517" y="91"/>
                  </a:lnTo>
                  <a:lnTo>
                    <a:pt x="520" y="93"/>
                  </a:lnTo>
                  <a:lnTo>
                    <a:pt x="520" y="96"/>
                  </a:lnTo>
                  <a:lnTo>
                    <a:pt x="519" y="98"/>
                  </a:lnTo>
                  <a:lnTo>
                    <a:pt x="517" y="96"/>
                  </a:lnTo>
                  <a:lnTo>
                    <a:pt x="515" y="98"/>
                  </a:lnTo>
                  <a:lnTo>
                    <a:pt x="515" y="99"/>
                  </a:lnTo>
                  <a:lnTo>
                    <a:pt x="510" y="101"/>
                  </a:lnTo>
                  <a:lnTo>
                    <a:pt x="509" y="102"/>
                  </a:lnTo>
                  <a:lnTo>
                    <a:pt x="506" y="102"/>
                  </a:lnTo>
                  <a:lnTo>
                    <a:pt x="504" y="104"/>
                  </a:lnTo>
                  <a:lnTo>
                    <a:pt x="506" y="104"/>
                  </a:lnTo>
                  <a:lnTo>
                    <a:pt x="507" y="106"/>
                  </a:lnTo>
                  <a:lnTo>
                    <a:pt x="509" y="107"/>
                  </a:lnTo>
                  <a:lnTo>
                    <a:pt x="510" y="107"/>
                  </a:lnTo>
                  <a:lnTo>
                    <a:pt x="510" y="109"/>
                  </a:lnTo>
                  <a:lnTo>
                    <a:pt x="510" y="111"/>
                  </a:lnTo>
                  <a:lnTo>
                    <a:pt x="512" y="111"/>
                  </a:lnTo>
                  <a:lnTo>
                    <a:pt x="514" y="111"/>
                  </a:lnTo>
                  <a:lnTo>
                    <a:pt x="514" y="109"/>
                  </a:lnTo>
                  <a:lnTo>
                    <a:pt x="515" y="109"/>
                  </a:lnTo>
                  <a:lnTo>
                    <a:pt x="519" y="112"/>
                  </a:lnTo>
                  <a:lnTo>
                    <a:pt x="519" y="114"/>
                  </a:lnTo>
                  <a:lnTo>
                    <a:pt x="520" y="114"/>
                  </a:lnTo>
                  <a:lnTo>
                    <a:pt x="522" y="114"/>
                  </a:lnTo>
                  <a:lnTo>
                    <a:pt x="522" y="115"/>
                  </a:lnTo>
                  <a:lnTo>
                    <a:pt x="522" y="117"/>
                  </a:lnTo>
                  <a:lnTo>
                    <a:pt x="523" y="117"/>
                  </a:lnTo>
                  <a:lnTo>
                    <a:pt x="523" y="119"/>
                  </a:lnTo>
                  <a:lnTo>
                    <a:pt x="523" y="120"/>
                  </a:lnTo>
                  <a:lnTo>
                    <a:pt x="525" y="120"/>
                  </a:lnTo>
                  <a:lnTo>
                    <a:pt x="525" y="122"/>
                  </a:lnTo>
                  <a:lnTo>
                    <a:pt x="523" y="122"/>
                  </a:lnTo>
                  <a:lnTo>
                    <a:pt x="525" y="122"/>
                  </a:lnTo>
                  <a:lnTo>
                    <a:pt x="527" y="122"/>
                  </a:lnTo>
                  <a:lnTo>
                    <a:pt x="527" y="124"/>
                  </a:lnTo>
                  <a:lnTo>
                    <a:pt x="528" y="124"/>
                  </a:lnTo>
                  <a:lnTo>
                    <a:pt x="530" y="124"/>
                  </a:lnTo>
                  <a:lnTo>
                    <a:pt x="530" y="125"/>
                  </a:lnTo>
                  <a:lnTo>
                    <a:pt x="532" y="125"/>
                  </a:lnTo>
                  <a:lnTo>
                    <a:pt x="532" y="127"/>
                  </a:lnTo>
                  <a:lnTo>
                    <a:pt x="533" y="127"/>
                  </a:lnTo>
                  <a:lnTo>
                    <a:pt x="533" y="129"/>
                  </a:lnTo>
                  <a:lnTo>
                    <a:pt x="535" y="127"/>
                  </a:lnTo>
                  <a:lnTo>
                    <a:pt x="536" y="127"/>
                  </a:lnTo>
                  <a:lnTo>
                    <a:pt x="538" y="127"/>
                  </a:lnTo>
                  <a:lnTo>
                    <a:pt x="541" y="124"/>
                  </a:lnTo>
                  <a:lnTo>
                    <a:pt x="541" y="122"/>
                  </a:lnTo>
                  <a:lnTo>
                    <a:pt x="543" y="122"/>
                  </a:lnTo>
                  <a:lnTo>
                    <a:pt x="545" y="122"/>
                  </a:lnTo>
                  <a:lnTo>
                    <a:pt x="545" y="120"/>
                  </a:lnTo>
                  <a:lnTo>
                    <a:pt x="546" y="120"/>
                  </a:lnTo>
                  <a:lnTo>
                    <a:pt x="546" y="122"/>
                  </a:lnTo>
                  <a:lnTo>
                    <a:pt x="548" y="122"/>
                  </a:lnTo>
                  <a:lnTo>
                    <a:pt x="549" y="122"/>
                  </a:lnTo>
                  <a:lnTo>
                    <a:pt x="549" y="120"/>
                  </a:lnTo>
                  <a:lnTo>
                    <a:pt x="549" y="119"/>
                  </a:lnTo>
                  <a:lnTo>
                    <a:pt x="549" y="117"/>
                  </a:lnTo>
                  <a:lnTo>
                    <a:pt x="548" y="117"/>
                  </a:lnTo>
                  <a:lnTo>
                    <a:pt x="546" y="117"/>
                  </a:lnTo>
                  <a:lnTo>
                    <a:pt x="546" y="119"/>
                  </a:lnTo>
                  <a:lnTo>
                    <a:pt x="545" y="117"/>
                  </a:lnTo>
                  <a:lnTo>
                    <a:pt x="546" y="117"/>
                  </a:lnTo>
                  <a:lnTo>
                    <a:pt x="545" y="117"/>
                  </a:lnTo>
                  <a:lnTo>
                    <a:pt x="545" y="115"/>
                  </a:lnTo>
                  <a:lnTo>
                    <a:pt x="546" y="115"/>
                  </a:lnTo>
                  <a:lnTo>
                    <a:pt x="546" y="114"/>
                  </a:lnTo>
                  <a:lnTo>
                    <a:pt x="548" y="114"/>
                  </a:lnTo>
                  <a:lnTo>
                    <a:pt x="549" y="114"/>
                  </a:lnTo>
                  <a:lnTo>
                    <a:pt x="551" y="115"/>
                  </a:lnTo>
                  <a:lnTo>
                    <a:pt x="553" y="115"/>
                  </a:lnTo>
                  <a:lnTo>
                    <a:pt x="553" y="117"/>
                  </a:lnTo>
                  <a:lnTo>
                    <a:pt x="553" y="119"/>
                  </a:lnTo>
                  <a:lnTo>
                    <a:pt x="554" y="119"/>
                  </a:lnTo>
                  <a:lnTo>
                    <a:pt x="554" y="120"/>
                  </a:lnTo>
                  <a:lnTo>
                    <a:pt x="556" y="124"/>
                  </a:lnTo>
                  <a:lnTo>
                    <a:pt x="558" y="122"/>
                  </a:lnTo>
                  <a:lnTo>
                    <a:pt x="559" y="124"/>
                  </a:lnTo>
                  <a:lnTo>
                    <a:pt x="561" y="124"/>
                  </a:lnTo>
                  <a:lnTo>
                    <a:pt x="561" y="122"/>
                  </a:lnTo>
                  <a:lnTo>
                    <a:pt x="562" y="122"/>
                  </a:lnTo>
                  <a:lnTo>
                    <a:pt x="564" y="122"/>
                  </a:lnTo>
                  <a:lnTo>
                    <a:pt x="566" y="125"/>
                  </a:lnTo>
                  <a:lnTo>
                    <a:pt x="567" y="125"/>
                  </a:lnTo>
                  <a:lnTo>
                    <a:pt x="571" y="125"/>
                  </a:lnTo>
                  <a:lnTo>
                    <a:pt x="572" y="125"/>
                  </a:lnTo>
                  <a:lnTo>
                    <a:pt x="572" y="127"/>
                  </a:lnTo>
                  <a:lnTo>
                    <a:pt x="572" y="129"/>
                  </a:lnTo>
                  <a:lnTo>
                    <a:pt x="572" y="130"/>
                  </a:lnTo>
                  <a:lnTo>
                    <a:pt x="574" y="130"/>
                  </a:lnTo>
                  <a:lnTo>
                    <a:pt x="574" y="132"/>
                  </a:lnTo>
                  <a:lnTo>
                    <a:pt x="575" y="132"/>
                  </a:lnTo>
                  <a:lnTo>
                    <a:pt x="577" y="130"/>
                  </a:lnTo>
                  <a:lnTo>
                    <a:pt x="579" y="130"/>
                  </a:lnTo>
                  <a:lnTo>
                    <a:pt x="577" y="129"/>
                  </a:lnTo>
                  <a:lnTo>
                    <a:pt x="579" y="129"/>
                  </a:lnTo>
                  <a:lnTo>
                    <a:pt x="577" y="129"/>
                  </a:lnTo>
                  <a:lnTo>
                    <a:pt x="577" y="127"/>
                  </a:lnTo>
                  <a:lnTo>
                    <a:pt x="579" y="127"/>
                  </a:lnTo>
                  <a:lnTo>
                    <a:pt x="579" y="129"/>
                  </a:lnTo>
                  <a:lnTo>
                    <a:pt x="580" y="129"/>
                  </a:lnTo>
                  <a:lnTo>
                    <a:pt x="582" y="129"/>
                  </a:lnTo>
                  <a:lnTo>
                    <a:pt x="584" y="129"/>
                  </a:lnTo>
                  <a:lnTo>
                    <a:pt x="585" y="129"/>
                  </a:lnTo>
                  <a:lnTo>
                    <a:pt x="587" y="129"/>
                  </a:lnTo>
                  <a:lnTo>
                    <a:pt x="587" y="130"/>
                  </a:lnTo>
                  <a:lnTo>
                    <a:pt x="588" y="130"/>
                  </a:lnTo>
                  <a:lnTo>
                    <a:pt x="590" y="130"/>
                  </a:lnTo>
                  <a:lnTo>
                    <a:pt x="592" y="132"/>
                  </a:lnTo>
                  <a:lnTo>
                    <a:pt x="593" y="132"/>
                  </a:lnTo>
                  <a:lnTo>
                    <a:pt x="595" y="132"/>
                  </a:lnTo>
                  <a:lnTo>
                    <a:pt x="597" y="132"/>
                  </a:lnTo>
                  <a:lnTo>
                    <a:pt x="597" y="129"/>
                  </a:lnTo>
                  <a:lnTo>
                    <a:pt x="598" y="129"/>
                  </a:lnTo>
                  <a:lnTo>
                    <a:pt x="600" y="129"/>
                  </a:lnTo>
                  <a:lnTo>
                    <a:pt x="600" y="130"/>
                  </a:lnTo>
                  <a:lnTo>
                    <a:pt x="600" y="132"/>
                  </a:lnTo>
                  <a:lnTo>
                    <a:pt x="600" y="133"/>
                  </a:lnTo>
                  <a:lnTo>
                    <a:pt x="600" y="135"/>
                  </a:lnTo>
                  <a:lnTo>
                    <a:pt x="603" y="137"/>
                  </a:lnTo>
                  <a:lnTo>
                    <a:pt x="603" y="138"/>
                  </a:lnTo>
                  <a:lnTo>
                    <a:pt x="601" y="140"/>
                  </a:lnTo>
                  <a:lnTo>
                    <a:pt x="600" y="140"/>
                  </a:lnTo>
                  <a:lnTo>
                    <a:pt x="600" y="142"/>
                  </a:lnTo>
                  <a:lnTo>
                    <a:pt x="601" y="142"/>
                  </a:lnTo>
                  <a:lnTo>
                    <a:pt x="601" y="143"/>
                  </a:lnTo>
                  <a:lnTo>
                    <a:pt x="601" y="145"/>
                  </a:lnTo>
                  <a:lnTo>
                    <a:pt x="603" y="145"/>
                  </a:lnTo>
                  <a:lnTo>
                    <a:pt x="603" y="146"/>
                  </a:lnTo>
                  <a:lnTo>
                    <a:pt x="605" y="146"/>
                  </a:lnTo>
                  <a:lnTo>
                    <a:pt x="603" y="148"/>
                  </a:lnTo>
                  <a:lnTo>
                    <a:pt x="605" y="148"/>
                  </a:lnTo>
                  <a:lnTo>
                    <a:pt x="605" y="150"/>
                  </a:lnTo>
                  <a:lnTo>
                    <a:pt x="606" y="151"/>
                  </a:lnTo>
                  <a:lnTo>
                    <a:pt x="606" y="153"/>
                  </a:lnTo>
                  <a:lnTo>
                    <a:pt x="608" y="153"/>
                  </a:lnTo>
                  <a:lnTo>
                    <a:pt x="608" y="155"/>
                  </a:lnTo>
                  <a:lnTo>
                    <a:pt x="608" y="156"/>
                  </a:lnTo>
                  <a:lnTo>
                    <a:pt x="610" y="158"/>
                  </a:lnTo>
                  <a:lnTo>
                    <a:pt x="611" y="158"/>
                  </a:lnTo>
                  <a:lnTo>
                    <a:pt x="615" y="158"/>
                  </a:lnTo>
                  <a:lnTo>
                    <a:pt x="616" y="159"/>
                  </a:lnTo>
                  <a:lnTo>
                    <a:pt x="618" y="161"/>
                  </a:lnTo>
                  <a:lnTo>
                    <a:pt x="619" y="161"/>
                  </a:lnTo>
                  <a:lnTo>
                    <a:pt x="621" y="161"/>
                  </a:lnTo>
                  <a:lnTo>
                    <a:pt x="623" y="161"/>
                  </a:lnTo>
                  <a:lnTo>
                    <a:pt x="624" y="161"/>
                  </a:lnTo>
                  <a:lnTo>
                    <a:pt x="626" y="161"/>
                  </a:lnTo>
                  <a:lnTo>
                    <a:pt x="626" y="164"/>
                  </a:lnTo>
                  <a:lnTo>
                    <a:pt x="626" y="168"/>
                  </a:lnTo>
                  <a:lnTo>
                    <a:pt x="628" y="169"/>
                  </a:lnTo>
                  <a:lnTo>
                    <a:pt x="628" y="171"/>
                  </a:lnTo>
                  <a:lnTo>
                    <a:pt x="628" y="172"/>
                  </a:lnTo>
                  <a:lnTo>
                    <a:pt x="629" y="172"/>
                  </a:lnTo>
                  <a:lnTo>
                    <a:pt x="629" y="174"/>
                  </a:lnTo>
                  <a:lnTo>
                    <a:pt x="629" y="176"/>
                  </a:lnTo>
                  <a:lnTo>
                    <a:pt x="631" y="177"/>
                  </a:lnTo>
                  <a:lnTo>
                    <a:pt x="632" y="179"/>
                  </a:lnTo>
                  <a:lnTo>
                    <a:pt x="631" y="181"/>
                  </a:lnTo>
                  <a:lnTo>
                    <a:pt x="631" y="182"/>
                  </a:lnTo>
                  <a:lnTo>
                    <a:pt x="631" y="184"/>
                  </a:lnTo>
                  <a:lnTo>
                    <a:pt x="629" y="184"/>
                  </a:lnTo>
                  <a:lnTo>
                    <a:pt x="628" y="184"/>
                  </a:lnTo>
                  <a:lnTo>
                    <a:pt x="626" y="185"/>
                  </a:lnTo>
                  <a:lnTo>
                    <a:pt x="624" y="187"/>
                  </a:lnTo>
                  <a:lnTo>
                    <a:pt x="623" y="187"/>
                  </a:lnTo>
                  <a:lnTo>
                    <a:pt x="621" y="187"/>
                  </a:lnTo>
                  <a:lnTo>
                    <a:pt x="619" y="187"/>
                  </a:lnTo>
                  <a:lnTo>
                    <a:pt x="618" y="187"/>
                  </a:lnTo>
                  <a:lnTo>
                    <a:pt x="616" y="187"/>
                  </a:lnTo>
                  <a:lnTo>
                    <a:pt x="615" y="187"/>
                  </a:lnTo>
                  <a:lnTo>
                    <a:pt x="613" y="187"/>
                  </a:lnTo>
                  <a:lnTo>
                    <a:pt x="611" y="189"/>
                  </a:lnTo>
                  <a:lnTo>
                    <a:pt x="610" y="189"/>
                  </a:lnTo>
                  <a:lnTo>
                    <a:pt x="608" y="187"/>
                  </a:lnTo>
                  <a:lnTo>
                    <a:pt x="606" y="187"/>
                  </a:lnTo>
                  <a:lnTo>
                    <a:pt x="605" y="189"/>
                  </a:lnTo>
                  <a:lnTo>
                    <a:pt x="603" y="189"/>
                  </a:lnTo>
                  <a:lnTo>
                    <a:pt x="603" y="190"/>
                  </a:lnTo>
                  <a:lnTo>
                    <a:pt x="605" y="194"/>
                  </a:lnTo>
                  <a:lnTo>
                    <a:pt x="603" y="194"/>
                  </a:lnTo>
                  <a:lnTo>
                    <a:pt x="603" y="195"/>
                  </a:lnTo>
                  <a:lnTo>
                    <a:pt x="601" y="197"/>
                  </a:lnTo>
                  <a:lnTo>
                    <a:pt x="600" y="200"/>
                  </a:lnTo>
                  <a:lnTo>
                    <a:pt x="598" y="202"/>
                  </a:lnTo>
                  <a:lnTo>
                    <a:pt x="597" y="203"/>
                  </a:lnTo>
                  <a:lnTo>
                    <a:pt x="595" y="205"/>
                  </a:lnTo>
                  <a:lnTo>
                    <a:pt x="593" y="205"/>
                  </a:lnTo>
                  <a:lnTo>
                    <a:pt x="592" y="205"/>
                  </a:lnTo>
                  <a:lnTo>
                    <a:pt x="592" y="207"/>
                  </a:lnTo>
                  <a:lnTo>
                    <a:pt x="593" y="208"/>
                  </a:lnTo>
                  <a:lnTo>
                    <a:pt x="593" y="211"/>
                  </a:lnTo>
                  <a:lnTo>
                    <a:pt x="592" y="213"/>
                  </a:lnTo>
                  <a:lnTo>
                    <a:pt x="592" y="216"/>
                  </a:lnTo>
                  <a:lnTo>
                    <a:pt x="590" y="216"/>
                  </a:lnTo>
                  <a:lnTo>
                    <a:pt x="588" y="216"/>
                  </a:lnTo>
                  <a:lnTo>
                    <a:pt x="587" y="218"/>
                  </a:lnTo>
                  <a:lnTo>
                    <a:pt x="585" y="220"/>
                  </a:lnTo>
                  <a:lnTo>
                    <a:pt x="582" y="220"/>
                  </a:lnTo>
                  <a:lnTo>
                    <a:pt x="580" y="221"/>
                  </a:lnTo>
                  <a:lnTo>
                    <a:pt x="575" y="221"/>
                  </a:lnTo>
                  <a:lnTo>
                    <a:pt x="574" y="223"/>
                  </a:lnTo>
                  <a:lnTo>
                    <a:pt x="574" y="224"/>
                  </a:lnTo>
                  <a:lnTo>
                    <a:pt x="574" y="226"/>
                  </a:lnTo>
                  <a:lnTo>
                    <a:pt x="572" y="228"/>
                  </a:lnTo>
                  <a:lnTo>
                    <a:pt x="571" y="228"/>
                  </a:lnTo>
                  <a:lnTo>
                    <a:pt x="571" y="229"/>
                  </a:lnTo>
                  <a:lnTo>
                    <a:pt x="571" y="231"/>
                  </a:lnTo>
                  <a:lnTo>
                    <a:pt x="572" y="233"/>
                  </a:lnTo>
                  <a:lnTo>
                    <a:pt x="571" y="236"/>
                  </a:lnTo>
                  <a:lnTo>
                    <a:pt x="571" y="237"/>
                  </a:lnTo>
                  <a:lnTo>
                    <a:pt x="571" y="241"/>
                  </a:lnTo>
                  <a:lnTo>
                    <a:pt x="571" y="242"/>
                  </a:lnTo>
                  <a:lnTo>
                    <a:pt x="569" y="244"/>
                  </a:lnTo>
                  <a:lnTo>
                    <a:pt x="569" y="246"/>
                  </a:lnTo>
                  <a:lnTo>
                    <a:pt x="569" y="247"/>
                  </a:lnTo>
                  <a:lnTo>
                    <a:pt x="569" y="249"/>
                  </a:lnTo>
                  <a:lnTo>
                    <a:pt x="571" y="252"/>
                  </a:lnTo>
                  <a:lnTo>
                    <a:pt x="569" y="252"/>
                  </a:lnTo>
                  <a:lnTo>
                    <a:pt x="569" y="254"/>
                  </a:lnTo>
                  <a:lnTo>
                    <a:pt x="569" y="255"/>
                  </a:lnTo>
                  <a:lnTo>
                    <a:pt x="567" y="257"/>
                  </a:lnTo>
                  <a:lnTo>
                    <a:pt x="567" y="259"/>
                  </a:lnTo>
                  <a:lnTo>
                    <a:pt x="567" y="260"/>
                  </a:lnTo>
                  <a:lnTo>
                    <a:pt x="566" y="260"/>
                  </a:lnTo>
                  <a:lnTo>
                    <a:pt x="564" y="262"/>
                  </a:lnTo>
                  <a:lnTo>
                    <a:pt x="562" y="262"/>
                  </a:lnTo>
                  <a:lnTo>
                    <a:pt x="559" y="262"/>
                  </a:lnTo>
                  <a:lnTo>
                    <a:pt x="558" y="263"/>
                  </a:lnTo>
                  <a:lnTo>
                    <a:pt x="554" y="263"/>
                  </a:lnTo>
                  <a:lnTo>
                    <a:pt x="553" y="263"/>
                  </a:lnTo>
                  <a:lnTo>
                    <a:pt x="553" y="265"/>
                  </a:lnTo>
                  <a:lnTo>
                    <a:pt x="553" y="267"/>
                  </a:lnTo>
                  <a:lnTo>
                    <a:pt x="553" y="268"/>
                  </a:lnTo>
                  <a:lnTo>
                    <a:pt x="551" y="272"/>
                  </a:lnTo>
                  <a:lnTo>
                    <a:pt x="551" y="273"/>
                  </a:lnTo>
                  <a:lnTo>
                    <a:pt x="551" y="275"/>
                  </a:lnTo>
                  <a:lnTo>
                    <a:pt x="551" y="277"/>
                  </a:lnTo>
                  <a:lnTo>
                    <a:pt x="549" y="278"/>
                  </a:lnTo>
                  <a:lnTo>
                    <a:pt x="548" y="278"/>
                  </a:lnTo>
                  <a:lnTo>
                    <a:pt x="546" y="278"/>
                  </a:lnTo>
                  <a:lnTo>
                    <a:pt x="545" y="278"/>
                  </a:lnTo>
                  <a:lnTo>
                    <a:pt x="543" y="278"/>
                  </a:lnTo>
                  <a:lnTo>
                    <a:pt x="541" y="278"/>
                  </a:lnTo>
                  <a:lnTo>
                    <a:pt x="541" y="280"/>
                  </a:lnTo>
                  <a:lnTo>
                    <a:pt x="540" y="281"/>
                  </a:lnTo>
                  <a:lnTo>
                    <a:pt x="538" y="285"/>
                  </a:lnTo>
                  <a:lnTo>
                    <a:pt x="538" y="286"/>
                  </a:lnTo>
                  <a:lnTo>
                    <a:pt x="536" y="286"/>
                  </a:lnTo>
                  <a:lnTo>
                    <a:pt x="535" y="288"/>
                  </a:lnTo>
                  <a:lnTo>
                    <a:pt x="535" y="290"/>
                  </a:lnTo>
                  <a:lnTo>
                    <a:pt x="533" y="290"/>
                  </a:lnTo>
                  <a:lnTo>
                    <a:pt x="532" y="290"/>
                  </a:lnTo>
                  <a:lnTo>
                    <a:pt x="530" y="290"/>
                  </a:lnTo>
                  <a:lnTo>
                    <a:pt x="528" y="290"/>
                  </a:lnTo>
                  <a:lnTo>
                    <a:pt x="528" y="291"/>
                  </a:lnTo>
                  <a:lnTo>
                    <a:pt x="527" y="291"/>
                  </a:lnTo>
                  <a:lnTo>
                    <a:pt x="525" y="294"/>
                  </a:lnTo>
                  <a:lnTo>
                    <a:pt x="523" y="294"/>
                  </a:lnTo>
                  <a:lnTo>
                    <a:pt x="522" y="294"/>
                  </a:lnTo>
                  <a:lnTo>
                    <a:pt x="520" y="296"/>
                  </a:lnTo>
                  <a:lnTo>
                    <a:pt x="519" y="298"/>
                  </a:lnTo>
                  <a:lnTo>
                    <a:pt x="517" y="298"/>
                  </a:lnTo>
                  <a:lnTo>
                    <a:pt x="515" y="294"/>
                  </a:lnTo>
                  <a:lnTo>
                    <a:pt x="514" y="294"/>
                  </a:lnTo>
                  <a:lnTo>
                    <a:pt x="514" y="293"/>
                  </a:lnTo>
                  <a:lnTo>
                    <a:pt x="512" y="293"/>
                  </a:lnTo>
                  <a:lnTo>
                    <a:pt x="510" y="294"/>
                  </a:lnTo>
                  <a:lnTo>
                    <a:pt x="510" y="296"/>
                  </a:lnTo>
                  <a:lnTo>
                    <a:pt x="509" y="296"/>
                  </a:lnTo>
                  <a:lnTo>
                    <a:pt x="507" y="298"/>
                  </a:lnTo>
                  <a:lnTo>
                    <a:pt x="506" y="298"/>
                  </a:lnTo>
                  <a:lnTo>
                    <a:pt x="504" y="298"/>
                  </a:lnTo>
                  <a:lnTo>
                    <a:pt x="502" y="298"/>
                  </a:lnTo>
                  <a:lnTo>
                    <a:pt x="501" y="296"/>
                  </a:lnTo>
                  <a:lnTo>
                    <a:pt x="499" y="294"/>
                  </a:lnTo>
                  <a:lnTo>
                    <a:pt x="497" y="294"/>
                  </a:lnTo>
                  <a:lnTo>
                    <a:pt x="496" y="294"/>
                  </a:lnTo>
                  <a:lnTo>
                    <a:pt x="496" y="293"/>
                  </a:lnTo>
                  <a:lnTo>
                    <a:pt x="493" y="293"/>
                  </a:lnTo>
                  <a:lnTo>
                    <a:pt x="491" y="291"/>
                  </a:lnTo>
                  <a:lnTo>
                    <a:pt x="489" y="291"/>
                  </a:lnTo>
                  <a:lnTo>
                    <a:pt x="488" y="291"/>
                  </a:lnTo>
                  <a:lnTo>
                    <a:pt x="486" y="293"/>
                  </a:lnTo>
                  <a:lnTo>
                    <a:pt x="484" y="294"/>
                  </a:lnTo>
                  <a:lnTo>
                    <a:pt x="483" y="296"/>
                  </a:lnTo>
                  <a:lnTo>
                    <a:pt x="480" y="298"/>
                  </a:lnTo>
                  <a:lnTo>
                    <a:pt x="480" y="299"/>
                  </a:lnTo>
                  <a:lnTo>
                    <a:pt x="480" y="301"/>
                  </a:lnTo>
                  <a:lnTo>
                    <a:pt x="480" y="303"/>
                  </a:lnTo>
                  <a:lnTo>
                    <a:pt x="478" y="303"/>
                  </a:lnTo>
                  <a:lnTo>
                    <a:pt x="478" y="304"/>
                  </a:lnTo>
                  <a:lnTo>
                    <a:pt x="478" y="306"/>
                  </a:lnTo>
                  <a:lnTo>
                    <a:pt x="476" y="306"/>
                  </a:lnTo>
                  <a:lnTo>
                    <a:pt x="476" y="307"/>
                  </a:lnTo>
                  <a:lnTo>
                    <a:pt x="475" y="309"/>
                  </a:lnTo>
                  <a:lnTo>
                    <a:pt x="475" y="311"/>
                  </a:lnTo>
                  <a:lnTo>
                    <a:pt x="473" y="311"/>
                  </a:lnTo>
                  <a:lnTo>
                    <a:pt x="473" y="312"/>
                  </a:lnTo>
                  <a:lnTo>
                    <a:pt x="471" y="314"/>
                  </a:lnTo>
                  <a:lnTo>
                    <a:pt x="471" y="316"/>
                  </a:lnTo>
                  <a:lnTo>
                    <a:pt x="471" y="317"/>
                  </a:lnTo>
                  <a:lnTo>
                    <a:pt x="471" y="319"/>
                  </a:lnTo>
                  <a:lnTo>
                    <a:pt x="470" y="320"/>
                  </a:lnTo>
                  <a:lnTo>
                    <a:pt x="470" y="322"/>
                  </a:lnTo>
                  <a:lnTo>
                    <a:pt x="468" y="324"/>
                  </a:lnTo>
                  <a:lnTo>
                    <a:pt x="468" y="325"/>
                  </a:lnTo>
                  <a:lnTo>
                    <a:pt x="468" y="327"/>
                  </a:lnTo>
                  <a:lnTo>
                    <a:pt x="468" y="329"/>
                  </a:lnTo>
                  <a:lnTo>
                    <a:pt x="468" y="330"/>
                  </a:lnTo>
                  <a:lnTo>
                    <a:pt x="467" y="330"/>
                  </a:lnTo>
                  <a:lnTo>
                    <a:pt x="465" y="330"/>
                  </a:lnTo>
                  <a:lnTo>
                    <a:pt x="465" y="329"/>
                  </a:lnTo>
                  <a:lnTo>
                    <a:pt x="465" y="327"/>
                  </a:lnTo>
                  <a:lnTo>
                    <a:pt x="463" y="327"/>
                  </a:lnTo>
                  <a:lnTo>
                    <a:pt x="465" y="325"/>
                  </a:lnTo>
                  <a:lnTo>
                    <a:pt x="465" y="324"/>
                  </a:lnTo>
                  <a:lnTo>
                    <a:pt x="463" y="324"/>
                  </a:lnTo>
                  <a:lnTo>
                    <a:pt x="465" y="324"/>
                  </a:lnTo>
                  <a:lnTo>
                    <a:pt x="463" y="322"/>
                  </a:lnTo>
                  <a:lnTo>
                    <a:pt x="463" y="320"/>
                  </a:lnTo>
                  <a:lnTo>
                    <a:pt x="463" y="319"/>
                  </a:lnTo>
                  <a:lnTo>
                    <a:pt x="462" y="317"/>
                  </a:lnTo>
                  <a:lnTo>
                    <a:pt x="460" y="317"/>
                  </a:lnTo>
                  <a:lnTo>
                    <a:pt x="460" y="316"/>
                  </a:lnTo>
                  <a:lnTo>
                    <a:pt x="458" y="317"/>
                  </a:lnTo>
                  <a:lnTo>
                    <a:pt x="457" y="317"/>
                  </a:lnTo>
                  <a:lnTo>
                    <a:pt x="455" y="317"/>
                  </a:lnTo>
                  <a:lnTo>
                    <a:pt x="453" y="317"/>
                  </a:lnTo>
                  <a:lnTo>
                    <a:pt x="452" y="319"/>
                  </a:lnTo>
                  <a:lnTo>
                    <a:pt x="452" y="317"/>
                  </a:lnTo>
                  <a:lnTo>
                    <a:pt x="450" y="317"/>
                  </a:lnTo>
                  <a:lnTo>
                    <a:pt x="449" y="319"/>
                  </a:lnTo>
                  <a:lnTo>
                    <a:pt x="447" y="317"/>
                  </a:lnTo>
                  <a:lnTo>
                    <a:pt x="447" y="316"/>
                  </a:lnTo>
                  <a:lnTo>
                    <a:pt x="445" y="316"/>
                  </a:lnTo>
                  <a:lnTo>
                    <a:pt x="444" y="316"/>
                  </a:lnTo>
                  <a:lnTo>
                    <a:pt x="442" y="316"/>
                  </a:lnTo>
                  <a:lnTo>
                    <a:pt x="440" y="317"/>
                  </a:lnTo>
                  <a:lnTo>
                    <a:pt x="440" y="316"/>
                  </a:lnTo>
                  <a:lnTo>
                    <a:pt x="440" y="314"/>
                  </a:lnTo>
                  <a:lnTo>
                    <a:pt x="440" y="312"/>
                  </a:lnTo>
                  <a:lnTo>
                    <a:pt x="439" y="311"/>
                  </a:lnTo>
                  <a:lnTo>
                    <a:pt x="437" y="309"/>
                  </a:lnTo>
                  <a:lnTo>
                    <a:pt x="436" y="309"/>
                  </a:lnTo>
                  <a:lnTo>
                    <a:pt x="434" y="311"/>
                  </a:lnTo>
                  <a:lnTo>
                    <a:pt x="432" y="311"/>
                  </a:lnTo>
                  <a:lnTo>
                    <a:pt x="432" y="309"/>
                  </a:lnTo>
                  <a:lnTo>
                    <a:pt x="431" y="309"/>
                  </a:lnTo>
                  <a:lnTo>
                    <a:pt x="429" y="309"/>
                  </a:lnTo>
                  <a:lnTo>
                    <a:pt x="427" y="307"/>
                  </a:lnTo>
                  <a:lnTo>
                    <a:pt x="426" y="306"/>
                  </a:lnTo>
                  <a:lnTo>
                    <a:pt x="426" y="307"/>
                  </a:lnTo>
                  <a:lnTo>
                    <a:pt x="424" y="307"/>
                  </a:lnTo>
                  <a:lnTo>
                    <a:pt x="421" y="307"/>
                  </a:lnTo>
                  <a:lnTo>
                    <a:pt x="419" y="307"/>
                  </a:lnTo>
                  <a:lnTo>
                    <a:pt x="418" y="307"/>
                  </a:lnTo>
                  <a:lnTo>
                    <a:pt x="418" y="309"/>
                  </a:lnTo>
                  <a:lnTo>
                    <a:pt x="416" y="312"/>
                  </a:lnTo>
                  <a:lnTo>
                    <a:pt x="416" y="314"/>
                  </a:lnTo>
                  <a:lnTo>
                    <a:pt x="416" y="316"/>
                  </a:lnTo>
                  <a:lnTo>
                    <a:pt x="414" y="316"/>
                  </a:lnTo>
                  <a:lnTo>
                    <a:pt x="414" y="317"/>
                  </a:lnTo>
                  <a:lnTo>
                    <a:pt x="413" y="319"/>
                  </a:lnTo>
                  <a:lnTo>
                    <a:pt x="411" y="319"/>
                  </a:lnTo>
                  <a:lnTo>
                    <a:pt x="411" y="320"/>
                  </a:lnTo>
                  <a:lnTo>
                    <a:pt x="410" y="320"/>
                  </a:lnTo>
                  <a:lnTo>
                    <a:pt x="410" y="319"/>
                  </a:lnTo>
                  <a:lnTo>
                    <a:pt x="408" y="317"/>
                  </a:lnTo>
                  <a:lnTo>
                    <a:pt x="408" y="319"/>
                  </a:lnTo>
                  <a:lnTo>
                    <a:pt x="406" y="319"/>
                  </a:lnTo>
                  <a:lnTo>
                    <a:pt x="405" y="319"/>
                  </a:lnTo>
                  <a:lnTo>
                    <a:pt x="403" y="319"/>
                  </a:lnTo>
                  <a:lnTo>
                    <a:pt x="401" y="319"/>
                  </a:lnTo>
                  <a:lnTo>
                    <a:pt x="400" y="319"/>
                  </a:lnTo>
                  <a:lnTo>
                    <a:pt x="392" y="319"/>
                  </a:lnTo>
                  <a:lnTo>
                    <a:pt x="390" y="319"/>
                  </a:lnTo>
                  <a:lnTo>
                    <a:pt x="388" y="319"/>
                  </a:lnTo>
                  <a:lnTo>
                    <a:pt x="387" y="319"/>
                  </a:lnTo>
                  <a:lnTo>
                    <a:pt x="385" y="319"/>
                  </a:lnTo>
                  <a:lnTo>
                    <a:pt x="382" y="317"/>
                  </a:lnTo>
                  <a:lnTo>
                    <a:pt x="377" y="316"/>
                  </a:lnTo>
                  <a:lnTo>
                    <a:pt x="375" y="316"/>
                  </a:lnTo>
                  <a:lnTo>
                    <a:pt x="371" y="311"/>
                  </a:lnTo>
                  <a:lnTo>
                    <a:pt x="371" y="309"/>
                  </a:lnTo>
                  <a:lnTo>
                    <a:pt x="369" y="309"/>
                  </a:lnTo>
                  <a:lnTo>
                    <a:pt x="369" y="311"/>
                  </a:lnTo>
                  <a:lnTo>
                    <a:pt x="367" y="309"/>
                  </a:lnTo>
                  <a:lnTo>
                    <a:pt x="369" y="307"/>
                  </a:lnTo>
                  <a:lnTo>
                    <a:pt x="367" y="307"/>
                  </a:lnTo>
                  <a:lnTo>
                    <a:pt x="366" y="307"/>
                  </a:lnTo>
                  <a:lnTo>
                    <a:pt x="364" y="307"/>
                  </a:lnTo>
                  <a:lnTo>
                    <a:pt x="366" y="307"/>
                  </a:lnTo>
                  <a:lnTo>
                    <a:pt x="366" y="306"/>
                  </a:lnTo>
                  <a:lnTo>
                    <a:pt x="364" y="306"/>
                  </a:lnTo>
                  <a:lnTo>
                    <a:pt x="364" y="307"/>
                  </a:lnTo>
                  <a:lnTo>
                    <a:pt x="364" y="306"/>
                  </a:lnTo>
                  <a:lnTo>
                    <a:pt x="362" y="304"/>
                  </a:lnTo>
                  <a:lnTo>
                    <a:pt x="362" y="306"/>
                  </a:lnTo>
                  <a:lnTo>
                    <a:pt x="361" y="306"/>
                  </a:lnTo>
                  <a:lnTo>
                    <a:pt x="359" y="304"/>
                  </a:lnTo>
                  <a:lnTo>
                    <a:pt x="361" y="304"/>
                  </a:lnTo>
                  <a:lnTo>
                    <a:pt x="359" y="303"/>
                  </a:lnTo>
                  <a:lnTo>
                    <a:pt x="356" y="303"/>
                  </a:lnTo>
                  <a:lnTo>
                    <a:pt x="354" y="304"/>
                  </a:lnTo>
                  <a:lnTo>
                    <a:pt x="353" y="306"/>
                  </a:lnTo>
                  <a:lnTo>
                    <a:pt x="351" y="307"/>
                  </a:lnTo>
                  <a:lnTo>
                    <a:pt x="349" y="306"/>
                  </a:lnTo>
                  <a:lnTo>
                    <a:pt x="348" y="306"/>
                  </a:lnTo>
                  <a:lnTo>
                    <a:pt x="346" y="306"/>
                  </a:lnTo>
                  <a:lnTo>
                    <a:pt x="345" y="306"/>
                  </a:lnTo>
                  <a:lnTo>
                    <a:pt x="341" y="303"/>
                  </a:lnTo>
                  <a:lnTo>
                    <a:pt x="340" y="303"/>
                  </a:lnTo>
                  <a:lnTo>
                    <a:pt x="338" y="301"/>
                  </a:lnTo>
                  <a:lnTo>
                    <a:pt x="335" y="301"/>
                  </a:lnTo>
                  <a:lnTo>
                    <a:pt x="333" y="301"/>
                  </a:lnTo>
                  <a:lnTo>
                    <a:pt x="332" y="301"/>
                  </a:lnTo>
                  <a:lnTo>
                    <a:pt x="330" y="299"/>
                  </a:lnTo>
                  <a:lnTo>
                    <a:pt x="328" y="299"/>
                  </a:lnTo>
                  <a:lnTo>
                    <a:pt x="327" y="296"/>
                  </a:lnTo>
                  <a:lnTo>
                    <a:pt x="325" y="296"/>
                  </a:lnTo>
                  <a:lnTo>
                    <a:pt x="323" y="294"/>
                  </a:lnTo>
                  <a:lnTo>
                    <a:pt x="323" y="296"/>
                  </a:lnTo>
                  <a:lnTo>
                    <a:pt x="322" y="296"/>
                  </a:lnTo>
                  <a:lnTo>
                    <a:pt x="322" y="294"/>
                  </a:lnTo>
                  <a:lnTo>
                    <a:pt x="320" y="294"/>
                  </a:lnTo>
                  <a:lnTo>
                    <a:pt x="319" y="294"/>
                  </a:lnTo>
                  <a:lnTo>
                    <a:pt x="317" y="293"/>
                  </a:lnTo>
                  <a:lnTo>
                    <a:pt x="315" y="291"/>
                  </a:lnTo>
                  <a:lnTo>
                    <a:pt x="312" y="291"/>
                  </a:lnTo>
                  <a:lnTo>
                    <a:pt x="310" y="291"/>
                  </a:lnTo>
                  <a:lnTo>
                    <a:pt x="309" y="291"/>
                  </a:lnTo>
                  <a:lnTo>
                    <a:pt x="307" y="291"/>
                  </a:lnTo>
                  <a:lnTo>
                    <a:pt x="305" y="290"/>
                  </a:lnTo>
                  <a:lnTo>
                    <a:pt x="305" y="291"/>
                  </a:lnTo>
                  <a:lnTo>
                    <a:pt x="305" y="293"/>
                  </a:lnTo>
                  <a:lnTo>
                    <a:pt x="304" y="294"/>
                  </a:lnTo>
                  <a:lnTo>
                    <a:pt x="302" y="294"/>
                  </a:lnTo>
                  <a:lnTo>
                    <a:pt x="299" y="296"/>
                  </a:lnTo>
                  <a:lnTo>
                    <a:pt x="297" y="296"/>
                  </a:lnTo>
                  <a:lnTo>
                    <a:pt x="297" y="298"/>
                  </a:lnTo>
                  <a:lnTo>
                    <a:pt x="296" y="298"/>
                  </a:lnTo>
                  <a:lnTo>
                    <a:pt x="294" y="298"/>
                  </a:lnTo>
                  <a:lnTo>
                    <a:pt x="294" y="296"/>
                  </a:lnTo>
                  <a:lnTo>
                    <a:pt x="296" y="296"/>
                  </a:lnTo>
                  <a:lnTo>
                    <a:pt x="296" y="294"/>
                  </a:lnTo>
                  <a:lnTo>
                    <a:pt x="294" y="293"/>
                  </a:lnTo>
                  <a:lnTo>
                    <a:pt x="294" y="291"/>
                  </a:lnTo>
                  <a:lnTo>
                    <a:pt x="292" y="290"/>
                  </a:lnTo>
                  <a:lnTo>
                    <a:pt x="291" y="290"/>
                  </a:lnTo>
                  <a:lnTo>
                    <a:pt x="289" y="290"/>
                  </a:lnTo>
                  <a:lnTo>
                    <a:pt x="289" y="291"/>
                  </a:lnTo>
                  <a:lnTo>
                    <a:pt x="288" y="291"/>
                  </a:lnTo>
                  <a:lnTo>
                    <a:pt x="286" y="290"/>
                  </a:lnTo>
                  <a:lnTo>
                    <a:pt x="286" y="288"/>
                  </a:lnTo>
                  <a:lnTo>
                    <a:pt x="284" y="288"/>
                  </a:lnTo>
                  <a:lnTo>
                    <a:pt x="283" y="288"/>
                  </a:lnTo>
                  <a:lnTo>
                    <a:pt x="283" y="290"/>
                  </a:lnTo>
                  <a:lnTo>
                    <a:pt x="281" y="288"/>
                  </a:lnTo>
                  <a:lnTo>
                    <a:pt x="279" y="288"/>
                  </a:lnTo>
                  <a:lnTo>
                    <a:pt x="279" y="290"/>
                  </a:lnTo>
                  <a:lnTo>
                    <a:pt x="278" y="288"/>
                  </a:lnTo>
                  <a:lnTo>
                    <a:pt x="278" y="290"/>
                  </a:lnTo>
                  <a:lnTo>
                    <a:pt x="279" y="290"/>
                  </a:lnTo>
                  <a:lnTo>
                    <a:pt x="279" y="291"/>
                  </a:lnTo>
                  <a:lnTo>
                    <a:pt x="278" y="291"/>
                  </a:lnTo>
                  <a:lnTo>
                    <a:pt x="278" y="293"/>
                  </a:lnTo>
                  <a:lnTo>
                    <a:pt x="278" y="294"/>
                  </a:lnTo>
                  <a:lnTo>
                    <a:pt x="278" y="296"/>
                  </a:lnTo>
                  <a:lnTo>
                    <a:pt x="278" y="298"/>
                  </a:lnTo>
                  <a:lnTo>
                    <a:pt x="278" y="299"/>
                  </a:lnTo>
                  <a:lnTo>
                    <a:pt x="278" y="301"/>
                  </a:lnTo>
                  <a:lnTo>
                    <a:pt x="279" y="304"/>
                  </a:lnTo>
                  <a:lnTo>
                    <a:pt x="278" y="307"/>
                  </a:lnTo>
                  <a:lnTo>
                    <a:pt x="279" y="309"/>
                  </a:lnTo>
                  <a:lnTo>
                    <a:pt x="278" y="309"/>
                  </a:lnTo>
                  <a:lnTo>
                    <a:pt x="278" y="311"/>
                  </a:lnTo>
                  <a:lnTo>
                    <a:pt x="279" y="312"/>
                  </a:lnTo>
                  <a:lnTo>
                    <a:pt x="278" y="312"/>
                  </a:lnTo>
                  <a:lnTo>
                    <a:pt x="278" y="314"/>
                  </a:lnTo>
                  <a:lnTo>
                    <a:pt x="278" y="316"/>
                  </a:lnTo>
                  <a:lnTo>
                    <a:pt x="278" y="317"/>
                  </a:lnTo>
                  <a:lnTo>
                    <a:pt x="276" y="317"/>
                  </a:lnTo>
                  <a:lnTo>
                    <a:pt x="276" y="320"/>
                  </a:lnTo>
                  <a:lnTo>
                    <a:pt x="278" y="322"/>
                  </a:lnTo>
                  <a:lnTo>
                    <a:pt x="279" y="322"/>
                  </a:lnTo>
                  <a:lnTo>
                    <a:pt x="279" y="324"/>
                  </a:lnTo>
                  <a:lnTo>
                    <a:pt x="278" y="325"/>
                  </a:lnTo>
                  <a:lnTo>
                    <a:pt x="276" y="325"/>
                  </a:lnTo>
                  <a:lnTo>
                    <a:pt x="275" y="324"/>
                  </a:lnTo>
                  <a:lnTo>
                    <a:pt x="273" y="324"/>
                  </a:lnTo>
                  <a:lnTo>
                    <a:pt x="270" y="324"/>
                  </a:lnTo>
                  <a:lnTo>
                    <a:pt x="270" y="322"/>
                  </a:lnTo>
                  <a:lnTo>
                    <a:pt x="268" y="324"/>
                  </a:lnTo>
                  <a:lnTo>
                    <a:pt x="266" y="324"/>
                  </a:lnTo>
                  <a:lnTo>
                    <a:pt x="266" y="322"/>
                  </a:lnTo>
                  <a:lnTo>
                    <a:pt x="265" y="322"/>
                  </a:lnTo>
                  <a:lnTo>
                    <a:pt x="263" y="324"/>
                  </a:lnTo>
                  <a:lnTo>
                    <a:pt x="263" y="325"/>
                  </a:lnTo>
                  <a:lnTo>
                    <a:pt x="263" y="327"/>
                  </a:lnTo>
                  <a:lnTo>
                    <a:pt x="263" y="329"/>
                  </a:lnTo>
                  <a:lnTo>
                    <a:pt x="263" y="330"/>
                  </a:lnTo>
                  <a:lnTo>
                    <a:pt x="262" y="332"/>
                  </a:lnTo>
                  <a:lnTo>
                    <a:pt x="260" y="333"/>
                  </a:lnTo>
                  <a:lnTo>
                    <a:pt x="260" y="335"/>
                  </a:lnTo>
                  <a:lnTo>
                    <a:pt x="258" y="335"/>
                  </a:lnTo>
                  <a:lnTo>
                    <a:pt x="257" y="335"/>
                  </a:lnTo>
                  <a:lnTo>
                    <a:pt x="255" y="340"/>
                  </a:lnTo>
                  <a:lnTo>
                    <a:pt x="255" y="342"/>
                  </a:lnTo>
                  <a:lnTo>
                    <a:pt x="255" y="343"/>
                  </a:lnTo>
                  <a:lnTo>
                    <a:pt x="255" y="345"/>
                  </a:lnTo>
                  <a:lnTo>
                    <a:pt x="255" y="346"/>
                  </a:lnTo>
                  <a:lnTo>
                    <a:pt x="255" y="348"/>
                  </a:lnTo>
                  <a:lnTo>
                    <a:pt x="257" y="350"/>
                  </a:lnTo>
                  <a:lnTo>
                    <a:pt x="255" y="351"/>
                  </a:lnTo>
                  <a:lnTo>
                    <a:pt x="255" y="353"/>
                  </a:lnTo>
                  <a:lnTo>
                    <a:pt x="253" y="353"/>
                  </a:lnTo>
                  <a:lnTo>
                    <a:pt x="252" y="353"/>
                  </a:lnTo>
                  <a:lnTo>
                    <a:pt x="250" y="351"/>
                  </a:lnTo>
                  <a:lnTo>
                    <a:pt x="250" y="350"/>
                  </a:lnTo>
                  <a:lnTo>
                    <a:pt x="249" y="348"/>
                  </a:lnTo>
                  <a:lnTo>
                    <a:pt x="247" y="350"/>
                  </a:lnTo>
                  <a:lnTo>
                    <a:pt x="247" y="348"/>
                  </a:lnTo>
                  <a:lnTo>
                    <a:pt x="245" y="346"/>
                  </a:lnTo>
                  <a:lnTo>
                    <a:pt x="244" y="348"/>
                  </a:lnTo>
                  <a:lnTo>
                    <a:pt x="242" y="350"/>
                  </a:lnTo>
                  <a:lnTo>
                    <a:pt x="240" y="350"/>
                  </a:lnTo>
                  <a:lnTo>
                    <a:pt x="240" y="348"/>
                  </a:lnTo>
                  <a:lnTo>
                    <a:pt x="237" y="348"/>
                  </a:lnTo>
                  <a:lnTo>
                    <a:pt x="236" y="348"/>
                  </a:lnTo>
                  <a:lnTo>
                    <a:pt x="234" y="348"/>
                  </a:lnTo>
                  <a:lnTo>
                    <a:pt x="236" y="348"/>
                  </a:lnTo>
                  <a:lnTo>
                    <a:pt x="234" y="346"/>
                  </a:lnTo>
                  <a:lnTo>
                    <a:pt x="232" y="345"/>
                  </a:lnTo>
                  <a:lnTo>
                    <a:pt x="231" y="345"/>
                  </a:lnTo>
                  <a:lnTo>
                    <a:pt x="229" y="346"/>
                  </a:lnTo>
                  <a:lnTo>
                    <a:pt x="231" y="346"/>
                  </a:lnTo>
                  <a:lnTo>
                    <a:pt x="231" y="348"/>
                  </a:lnTo>
                  <a:lnTo>
                    <a:pt x="231" y="350"/>
                  </a:lnTo>
                  <a:lnTo>
                    <a:pt x="229" y="351"/>
                  </a:lnTo>
                  <a:lnTo>
                    <a:pt x="229" y="353"/>
                  </a:lnTo>
                  <a:lnTo>
                    <a:pt x="226" y="353"/>
                  </a:lnTo>
                  <a:lnTo>
                    <a:pt x="224" y="353"/>
                  </a:lnTo>
                  <a:lnTo>
                    <a:pt x="224" y="355"/>
                  </a:lnTo>
                  <a:lnTo>
                    <a:pt x="226" y="355"/>
                  </a:lnTo>
                  <a:lnTo>
                    <a:pt x="224" y="356"/>
                  </a:lnTo>
                  <a:lnTo>
                    <a:pt x="223" y="356"/>
                  </a:lnTo>
                  <a:lnTo>
                    <a:pt x="221" y="356"/>
                  </a:lnTo>
                  <a:lnTo>
                    <a:pt x="221" y="358"/>
                  </a:lnTo>
                  <a:lnTo>
                    <a:pt x="221" y="359"/>
                  </a:lnTo>
                  <a:lnTo>
                    <a:pt x="219" y="359"/>
                  </a:lnTo>
                  <a:lnTo>
                    <a:pt x="219" y="358"/>
                  </a:lnTo>
                  <a:lnTo>
                    <a:pt x="216" y="356"/>
                  </a:lnTo>
                  <a:lnTo>
                    <a:pt x="213" y="355"/>
                  </a:lnTo>
                  <a:lnTo>
                    <a:pt x="211" y="355"/>
                  </a:lnTo>
                  <a:lnTo>
                    <a:pt x="211" y="356"/>
                  </a:lnTo>
                  <a:lnTo>
                    <a:pt x="210" y="355"/>
                  </a:lnTo>
                  <a:lnTo>
                    <a:pt x="208" y="355"/>
                  </a:lnTo>
                  <a:lnTo>
                    <a:pt x="205" y="355"/>
                  </a:lnTo>
                  <a:lnTo>
                    <a:pt x="203" y="355"/>
                  </a:lnTo>
                  <a:lnTo>
                    <a:pt x="200" y="355"/>
                  </a:lnTo>
                  <a:lnTo>
                    <a:pt x="198" y="355"/>
                  </a:lnTo>
                  <a:lnTo>
                    <a:pt x="197" y="353"/>
                  </a:lnTo>
                  <a:lnTo>
                    <a:pt x="195" y="355"/>
                  </a:lnTo>
                  <a:lnTo>
                    <a:pt x="193" y="355"/>
                  </a:lnTo>
                  <a:lnTo>
                    <a:pt x="195" y="353"/>
                  </a:lnTo>
                  <a:lnTo>
                    <a:pt x="193" y="353"/>
                  </a:lnTo>
                  <a:lnTo>
                    <a:pt x="192" y="351"/>
                  </a:lnTo>
                  <a:lnTo>
                    <a:pt x="192" y="350"/>
                  </a:lnTo>
                  <a:lnTo>
                    <a:pt x="190" y="348"/>
                  </a:lnTo>
                  <a:lnTo>
                    <a:pt x="188" y="348"/>
                  </a:lnTo>
                  <a:lnTo>
                    <a:pt x="190" y="346"/>
                  </a:lnTo>
                  <a:lnTo>
                    <a:pt x="190" y="345"/>
                  </a:lnTo>
                  <a:lnTo>
                    <a:pt x="192" y="345"/>
                  </a:lnTo>
                  <a:lnTo>
                    <a:pt x="192" y="346"/>
                  </a:lnTo>
                  <a:lnTo>
                    <a:pt x="193" y="346"/>
                  </a:lnTo>
                  <a:lnTo>
                    <a:pt x="193" y="345"/>
                  </a:lnTo>
                  <a:lnTo>
                    <a:pt x="193" y="343"/>
                  </a:lnTo>
                  <a:lnTo>
                    <a:pt x="192" y="343"/>
                  </a:lnTo>
                  <a:lnTo>
                    <a:pt x="190" y="343"/>
                  </a:lnTo>
                  <a:lnTo>
                    <a:pt x="190" y="340"/>
                  </a:lnTo>
                  <a:lnTo>
                    <a:pt x="188" y="340"/>
                  </a:lnTo>
                  <a:lnTo>
                    <a:pt x="188" y="338"/>
                  </a:lnTo>
                  <a:lnTo>
                    <a:pt x="187" y="338"/>
                  </a:lnTo>
                  <a:lnTo>
                    <a:pt x="184" y="338"/>
                  </a:lnTo>
                  <a:lnTo>
                    <a:pt x="182" y="337"/>
                  </a:lnTo>
                  <a:lnTo>
                    <a:pt x="180" y="337"/>
                  </a:lnTo>
                  <a:lnTo>
                    <a:pt x="177" y="332"/>
                  </a:lnTo>
                  <a:lnTo>
                    <a:pt x="175" y="332"/>
                  </a:lnTo>
                  <a:lnTo>
                    <a:pt x="174" y="330"/>
                  </a:lnTo>
                  <a:lnTo>
                    <a:pt x="172" y="330"/>
                  </a:lnTo>
                  <a:lnTo>
                    <a:pt x="171" y="330"/>
                  </a:lnTo>
                  <a:lnTo>
                    <a:pt x="169" y="330"/>
                  </a:lnTo>
                  <a:lnTo>
                    <a:pt x="169" y="329"/>
                  </a:lnTo>
                  <a:lnTo>
                    <a:pt x="169" y="327"/>
                  </a:lnTo>
                  <a:lnTo>
                    <a:pt x="166" y="322"/>
                  </a:lnTo>
                  <a:lnTo>
                    <a:pt x="164" y="322"/>
                  </a:lnTo>
                  <a:lnTo>
                    <a:pt x="164" y="320"/>
                  </a:lnTo>
                  <a:lnTo>
                    <a:pt x="162" y="319"/>
                  </a:lnTo>
                  <a:lnTo>
                    <a:pt x="162" y="317"/>
                  </a:lnTo>
                  <a:lnTo>
                    <a:pt x="161" y="316"/>
                  </a:lnTo>
                  <a:lnTo>
                    <a:pt x="161" y="314"/>
                  </a:lnTo>
                  <a:lnTo>
                    <a:pt x="159" y="316"/>
                  </a:lnTo>
                  <a:lnTo>
                    <a:pt x="157" y="316"/>
                  </a:lnTo>
                  <a:lnTo>
                    <a:pt x="156" y="316"/>
                  </a:lnTo>
                  <a:lnTo>
                    <a:pt x="154" y="316"/>
                  </a:lnTo>
                  <a:lnTo>
                    <a:pt x="154" y="314"/>
                  </a:lnTo>
                  <a:lnTo>
                    <a:pt x="153" y="314"/>
                  </a:lnTo>
                  <a:lnTo>
                    <a:pt x="153" y="312"/>
                  </a:lnTo>
                  <a:lnTo>
                    <a:pt x="151" y="311"/>
                  </a:lnTo>
                  <a:lnTo>
                    <a:pt x="151" y="309"/>
                  </a:lnTo>
                  <a:lnTo>
                    <a:pt x="151" y="307"/>
                  </a:lnTo>
                  <a:lnTo>
                    <a:pt x="149" y="306"/>
                  </a:lnTo>
                  <a:lnTo>
                    <a:pt x="148" y="306"/>
                  </a:lnTo>
                  <a:lnTo>
                    <a:pt x="146" y="304"/>
                  </a:lnTo>
                  <a:lnTo>
                    <a:pt x="146" y="303"/>
                  </a:lnTo>
                  <a:lnTo>
                    <a:pt x="143" y="304"/>
                  </a:lnTo>
                  <a:lnTo>
                    <a:pt x="141" y="303"/>
                  </a:lnTo>
                  <a:lnTo>
                    <a:pt x="140" y="304"/>
                  </a:lnTo>
                  <a:lnTo>
                    <a:pt x="138" y="304"/>
                  </a:lnTo>
                  <a:lnTo>
                    <a:pt x="140" y="306"/>
                  </a:lnTo>
                  <a:lnTo>
                    <a:pt x="140" y="307"/>
                  </a:lnTo>
                  <a:lnTo>
                    <a:pt x="138" y="307"/>
                  </a:lnTo>
                  <a:lnTo>
                    <a:pt x="136" y="307"/>
                  </a:lnTo>
                  <a:lnTo>
                    <a:pt x="136" y="306"/>
                  </a:lnTo>
                  <a:lnTo>
                    <a:pt x="135" y="304"/>
                  </a:lnTo>
                  <a:lnTo>
                    <a:pt x="131" y="304"/>
                  </a:lnTo>
                  <a:lnTo>
                    <a:pt x="130" y="303"/>
                  </a:lnTo>
                  <a:lnTo>
                    <a:pt x="128" y="303"/>
                  </a:lnTo>
                  <a:lnTo>
                    <a:pt x="128" y="301"/>
                  </a:lnTo>
                  <a:lnTo>
                    <a:pt x="128" y="299"/>
                  </a:lnTo>
                  <a:lnTo>
                    <a:pt x="128" y="298"/>
                  </a:lnTo>
                  <a:lnTo>
                    <a:pt x="128" y="296"/>
                  </a:lnTo>
                  <a:lnTo>
                    <a:pt x="128" y="294"/>
                  </a:lnTo>
                  <a:lnTo>
                    <a:pt x="127" y="293"/>
                  </a:lnTo>
                  <a:lnTo>
                    <a:pt x="125" y="291"/>
                  </a:lnTo>
                  <a:lnTo>
                    <a:pt x="125" y="290"/>
                  </a:lnTo>
                  <a:lnTo>
                    <a:pt x="123" y="290"/>
                  </a:lnTo>
                  <a:lnTo>
                    <a:pt x="123" y="288"/>
                  </a:lnTo>
                  <a:lnTo>
                    <a:pt x="122" y="286"/>
                  </a:lnTo>
                  <a:lnTo>
                    <a:pt x="118" y="285"/>
                  </a:lnTo>
                  <a:lnTo>
                    <a:pt x="118" y="283"/>
                  </a:lnTo>
                  <a:lnTo>
                    <a:pt x="117" y="283"/>
                  </a:lnTo>
                  <a:lnTo>
                    <a:pt x="115" y="283"/>
                  </a:lnTo>
                  <a:lnTo>
                    <a:pt x="114" y="283"/>
                  </a:lnTo>
                  <a:lnTo>
                    <a:pt x="110" y="283"/>
                  </a:lnTo>
                  <a:lnTo>
                    <a:pt x="107" y="281"/>
                  </a:lnTo>
                  <a:lnTo>
                    <a:pt x="105" y="280"/>
                  </a:lnTo>
                  <a:lnTo>
                    <a:pt x="105" y="277"/>
                  </a:lnTo>
                  <a:lnTo>
                    <a:pt x="102" y="273"/>
                  </a:lnTo>
                  <a:lnTo>
                    <a:pt x="101" y="272"/>
                  </a:lnTo>
                  <a:lnTo>
                    <a:pt x="101" y="270"/>
                  </a:lnTo>
                  <a:lnTo>
                    <a:pt x="99" y="268"/>
                  </a:lnTo>
                  <a:lnTo>
                    <a:pt x="97" y="265"/>
                  </a:lnTo>
                  <a:lnTo>
                    <a:pt x="96" y="265"/>
                  </a:lnTo>
                  <a:lnTo>
                    <a:pt x="94" y="265"/>
                  </a:lnTo>
                  <a:lnTo>
                    <a:pt x="94" y="263"/>
                  </a:lnTo>
                  <a:lnTo>
                    <a:pt x="94" y="262"/>
                  </a:lnTo>
                  <a:lnTo>
                    <a:pt x="92" y="263"/>
                  </a:lnTo>
                  <a:lnTo>
                    <a:pt x="91" y="262"/>
                  </a:lnTo>
                  <a:lnTo>
                    <a:pt x="92" y="260"/>
                  </a:lnTo>
                  <a:lnTo>
                    <a:pt x="92" y="259"/>
                  </a:lnTo>
                  <a:lnTo>
                    <a:pt x="92" y="257"/>
                  </a:lnTo>
                  <a:lnTo>
                    <a:pt x="91" y="257"/>
                  </a:lnTo>
                  <a:lnTo>
                    <a:pt x="89" y="257"/>
                  </a:lnTo>
                  <a:lnTo>
                    <a:pt x="86" y="254"/>
                  </a:lnTo>
                  <a:lnTo>
                    <a:pt x="84" y="252"/>
                  </a:lnTo>
                  <a:lnTo>
                    <a:pt x="83" y="252"/>
                  </a:lnTo>
                  <a:lnTo>
                    <a:pt x="81" y="252"/>
                  </a:lnTo>
                  <a:lnTo>
                    <a:pt x="78" y="250"/>
                  </a:lnTo>
                  <a:lnTo>
                    <a:pt x="78" y="252"/>
                  </a:lnTo>
                  <a:lnTo>
                    <a:pt x="78" y="254"/>
                  </a:lnTo>
                  <a:lnTo>
                    <a:pt x="75" y="252"/>
                  </a:lnTo>
                  <a:lnTo>
                    <a:pt x="71" y="252"/>
                  </a:lnTo>
                  <a:lnTo>
                    <a:pt x="70" y="252"/>
                  </a:lnTo>
                  <a:lnTo>
                    <a:pt x="68" y="252"/>
                  </a:lnTo>
                  <a:lnTo>
                    <a:pt x="68" y="250"/>
                  </a:lnTo>
                  <a:lnTo>
                    <a:pt x="66" y="249"/>
                  </a:lnTo>
                  <a:lnTo>
                    <a:pt x="66" y="246"/>
                  </a:lnTo>
                  <a:lnTo>
                    <a:pt x="65" y="244"/>
                  </a:lnTo>
                  <a:lnTo>
                    <a:pt x="63" y="244"/>
                  </a:lnTo>
                  <a:lnTo>
                    <a:pt x="62" y="242"/>
                  </a:lnTo>
                  <a:lnTo>
                    <a:pt x="60" y="241"/>
                  </a:lnTo>
                  <a:lnTo>
                    <a:pt x="58" y="241"/>
                  </a:lnTo>
                  <a:lnTo>
                    <a:pt x="57" y="241"/>
                  </a:lnTo>
                  <a:lnTo>
                    <a:pt x="55" y="237"/>
                  </a:lnTo>
                  <a:lnTo>
                    <a:pt x="53" y="234"/>
                  </a:lnTo>
                  <a:lnTo>
                    <a:pt x="55" y="233"/>
                  </a:lnTo>
                  <a:lnTo>
                    <a:pt x="55" y="231"/>
                  </a:lnTo>
                  <a:lnTo>
                    <a:pt x="55" y="228"/>
                  </a:lnTo>
                  <a:lnTo>
                    <a:pt x="55" y="226"/>
                  </a:lnTo>
                  <a:lnTo>
                    <a:pt x="53" y="226"/>
                  </a:lnTo>
                  <a:lnTo>
                    <a:pt x="53" y="228"/>
                  </a:lnTo>
                  <a:lnTo>
                    <a:pt x="52" y="226"/>
                  </a:lnTo>
                  <a:lnTo>
                    <a:pt x="50" y="226"/>
                  </a:lnTo>
                  <a:lnTo>
                    <a:pt x="49" y="223"/>
                  </a:lnTo>
                  <a:lnTo>
                    <a:pt x="47" y="221"/>
                  </a:lnTo>
                  <a:lnTo>
                    <a:pt x="47" y="220"/>
                  </a:lnTo>
                  <a:lnTo>
                    <a:pt x="47" y="218"/>
                  </a:lnTo>
                  <a:lnTo>
                    <a:pt x="47" y="216"/>
                  </a:lnTo>
                  <a:lnTo>
                    <a:pt x="45" y="215"/>
                  </a:lnTo>
                  <a:lnTo>
                    <a:pt x="47" y="213"/>
                  </a:lnTo>
                  <a:lnTo>
                    <a:pt x="45" y="213"/>
                  </a:lnTo>
                  <a:lnTo>
                    <a:pt x="44" y="215"/>
                  </a:lnTo>
                  <a:lnTo>
                    <a:pt x="44" y="213"/>
                  </a:lnTo>
                  <a:lnTo>
                    <a:pt x="42" y="213"/>
                  </a:lnTo>
                  <a:lnTo>
                    <a:pt x="44" y="211"/>
                  </a:lnTo>
                  <a:lnTo>
                    <a:pt x="42" y="210"/>
                  </a:lnTo>
                  <a:lnTo>
                    <a:pt x="42" y="208"/>
                  </a:lnTo>
                  <a:lnTo>
                    <a:pt x="44" y="207"/>
                  </a:lnTo>
                  <a:lnTo>
                    <a:pt x="42" y="205"/>
                  </a:lnTo>
                  <a:lnTo>
                    <a:pt x="40" y="205"/>
                  </a:lnTo>
                  <a:lnTo>
                    <a:pt x="39" y="203"/>
                  </a:lnTo>
                  <a:lnTo>
                    <a:pt x="36" y="202"/>
                  </a:lnTo>
                  <a:lnTo>
                    <a:pt x="34" y="202"/>
                  </a:lnTo>
                  <a:lnTo>
                    <a:pt x="34" y="198"/>
                  </a:lnTo>
                  <a:lnTo>
                    <a:pt x="32" y="198"/>
                  </a:lnTo>
                  <a:lnTo>
                    <a:pt x="31" y="197"/>
                  </a:lnTo>
                  <a:lnTo>
                    <a:pt x="31" y="195"/>
                  </a:lnTo>
                  <a:lnTo>
                    <a:pt x="31" y="194"/>
                  </a:lnTo>
                  <a:lnTo>
                    <a:pt x="37" y="190"/>
                  </a:lnTo>
                  <a:lnTo>
                    <a:pt x="37" y="187"/>
                  </a:lnTo>
                  <a:lnTo>
                    <a:pt x="37" y="185"/>
                  </a:lnTo>
                  <a:lnTo>
                    <a:pt x="37" y="184"/>
                  </a:lnTo>
                  <a:lnTo>
                    <a:pt x="39" y="182"/>
                  </a:lnTo>
                  <a:lnTo>
                    <a:pt x="39" y="181"/>
                  </a:lnTo>
                  <a:lnTo>
                    <a:pt x="40" y="179"/>
                  </a:lnTo>
                  <a:lnTo>
                    <a:pt x="42" y="176"/>
                  </a:lnTo>
                  <a:lnTo>
                    <a:pt x="44" y="174"/>
                  </a:lnTo>
                  <a:lnTo>
                    <a:pt x="44" y="172"/>
                  </a:lnTo>
                  <a:lnTo>
                    <a:pt x="44" y="171"/>
                  </a:lnTo>
                  <a:lnTo>
                    <a:pt x="42" y="171"/>
                  </a:lnTo>
                  <a:lnTo>
                    <a:pt x="40" y="169"/>
                  </a:lnTo>
                  <a:lnTo>
                    <a:pt x="39" y="169"/>
                  </a:lnTo>
                  <a:lnTo>
                    <a:pt x="37" y="169"/>
                  </a:lnTo>
                  <a:lnTo>
                    <a:pt x="36" y="168"/>
                  </a:lnTo>
                  <a:lnTo>
                    <a:pt x="37" y="166"/>
                  </a:lnTo>
                  <a:lnTo>
                    <a:pt x="39" y="166"/>
                  </a:lnTo>
                  <a:lnTo>
                    <a:pt x="39" y="163"/>
                  </a:lnTo>
                  <a:lnTo>
                    <a:pt x="37" y="163"/>
                  </a:lnTo>
                  <a:lnTo>
                    <a:pt x="36" y="161"/>
                  </a:lnTo>
                  <a:lnTo>
                    <a:pt x="34" y="161"/>
                  </a:lnTo>
                  <a:lnTo>
                    <a:pt x="32" y="163"/>
                  </a:lnTo>
                  <a:lnTo>
                    <a:pt x="32" y="161"/>
                  </a:lnTo>
                  <a:lnTo>
                    <a:pt x="34" y="161"/>
                  </a:lnTo>
                  <a:lnTo>
                    <a:pt x="32" y="159"/>
                  </a:lnTo>
                  <a:lnTo>
                    <a:pt x="31" y="159"/>
                  </a:lnTo>
                  <a:lnTo>
                    <a:pt x="31" y="158"/>
                  </a:lnTo>
                  <a:lnTo>
                    <a:pt x="29" y="158"/>
                  </a:lnTo>
                  <a:lnTo>
                    <a:pt x="27" y="158"/>
                  </a:lnTo>
                  <a:lnTo>
                    <a:pt x="26" y="156"/>
                  </a:lnTo>
                  <a:lnTo>
                    <a:pt x="24" y="155"/>
                  </a:lnTo>
                  <a:lnTo>
                    <a:pt x="23" y="155"/>
                  </a:lnTo>
                  <a:lnTo>
                    <a:pt x="21" y="153"/>
                  </a:lnTo>
                  <a:lnTo>
                    <a:pt x="21" y="151"/>
                  </a:lnTo>
                  <a:lnTo>
                    <a:pt x="19" y="151"/>
                  </a:lnTo>
                  <a:lnTo>
                    <a:pt x="18" y="151"/>
                  </a:lnTo>
                  <a:lnTo>
                    <a:pt x="16" y="151"/>
                  </a:lnTo>
                  <a:lnTo>
                    <a:pt x="18" y="150"/>
                  </a:lnTo>
                  <a:lnTo>
                    <a:pt x="18" y="148"/>
                  </a:lnTo>
                  <a:lnTo>
                    <a:pt x="16" y="146"/>
                  </a:lnTo>
                  <a:lnTo>
                    <a:pt x="14" y="146"/>
                  </a:lnTo>
                  <a:lnTo>
                    <a:pt x="13" y="145"/>
                  </a:lnTo>
                  <a:lnTo>
                    <a:pt x="11" y="143"/>
                  </a:lnTo>
                  <a:lnTo>
                    <a:pt x="9" y="142"/>
                  </a:lnTo>
                  <a:lnTo>
                    <a:pt x="11" y="140"/>
                  </a:lnTo>
                  <a:lnTo>
                    <a:pt x="11" y="138"/>
                  </a:lnTo>
                  <a:lnTo>
                    <a:pt x="11" y="137"/>
                  </a:lnTo>
                  <a:lnTo>
                    <a:pt x="9" y="132"/>
                  </a:lnTo>
                  <a:lnTo>
                    <a:pt x="11" y="132"/>
                  </a:lnTo>
                  <a:lnTo>
                    <a:pt x="9" y="132"/>
                  </a:lnTo>
                  <a:lnTo>
                    <a:pt x="8" y="130"/>
                  </a:lnTo>
                  <a:lnTo>
                    <a:pt x="6" y="130"/>
                  </a:lnTo>
                  <a:lnTo>
                    <a:pt x="6" y="129"/>
                  </a:lnTo>
                  <a:lnTo>
                    <a:pt x="6" y="127"/>
                  </a:lnTo>
                  <a:lnTo>
                    <a:pt x="1" y="127"/>
                  </a:lnTo>
                  <a:lnTo>
                    <a:pt x="1" y="125"/>
                  </a:lnTo>
                  <a:lnTo>
                    <a:pt x="0" y="125"/>
                  </a:lnTo>
                  <a:lnTo>
                    <a:pt x="0" y="124"/>
                  </a:lnTo>
                  <a:lnTo>
                    <a:pt x="1" y="124"/>
                  </a:lnTo>
                  <a:lnTo>
                    <a:pt x="1" y="122"/>
                  </a:lnTo>
                  <a:lnTo>
                    <a:pt x="5" y="120"/>
                  </a:lnTo>
                  <a:lnTo>
                    <a:pt x="6" y="120"/>
                  </a:lnTo>
                  <a:lnTo>
                    <a:pt x="5" y="119"/>
                  </a:lnTo>
                  <a:lnTo>
                    <a:pt x="3" y="119"/>
                  </a:lnTo>
                  <a:lnTo>
                    <a:pt x="3" y="117"/>
                  </a:lnTo>
                  <a:lnTo>
                    <a:pt x="3" y="115"/>
                  </a:lnTo>
                  <a:lnTo>
                    <a:pt x="8" y="114"/>
                  </a:lnTo>
                  <a:lnTo>
                    <a:pt x="9" y="114"/>
                  </a:lnTo>
                  <a:lnTo>
                    <a:pt x="9" y="115"/>
                  </a:lnTo>
                  <a:lnTo>
                    <a:pt x="9" y="117"/>
                  </a:lnTo>
                  <a:lnTo>
                    <a:pt x="9" y="122"/>
                  </a:lnTo>
                  <a:lnTo>
                    <a:pt x="11" y="122"/>
                  </a:lnTo>
                  <a:lnTo>
                    <a:pt x="13" y="122"/>
                  </a:lnTo>
                  <a:lnTo>
                    <a:pt x="14" y="120"/>
                  </a:lnTo>
                  <a:lnTo>
                    <a:pt x="16" y="122"/>
                  </a:lnTo>
                  <a:lnTo>
                    <a:pt x="16" y="124"/>
                  </a:lnTo>
                  <a:lnTo>
                    <a:pt x="14" y="124"/>
                  </a:lnTo>
                  <a:lnTo>
                    <a:pt x="14" y="125"/>
                  </a:lnTo>
                  <a:lnTo>
                    <a:pt x="16" y="127"/>
                  </a:lnTo>
                  <a:lnTo>
                    <a:pt x="18" y="127"/>
                  </a:lnTo>
                  <a:lnTo>
                    <a:pt x="18" y="129"/>
                  </a:lnTo>
                  <a:lnTo>
                    <a:pt x="18" y="130"/>
                  </a:lnTo>
                  <a:lnTo>
                    <a:pt x="18" y="132"/>
                  </a:lnTo>
                  <a:lnTo>
                    <a:pt x="18" y="133"/>
                  </a:lnTo>
                  <a:lnTo>
                    <a:pt x="19" y="133"/>
                  </a:lnTo>
                  <a:lnTo>
                    <a:pt x="19" y="135"/>
                  </a:lnTo>
                  <a:lnTo>
                    <a:pt x="23" y="135"/>
                  </a:lnTo>
                  <a:lnTo>
                    <a:pt x="23" y="133"/>
                  </a:lnTo>
                  <a:lnTo>
                    <a:pt x="23" y="132"/>
                  </a:lnTo>
                  <a:lnTo>
                    <a:pt x="23" y="129"/>
                  </a:lnTo>
                  <a:lnTo>
                    <a:pt x="23" y="127"/>
                  </a:lnTo>
                  <a:lnTo>
                    <a:pt x="23" y="125"/>
                  </a:lnTo>
                  <a:lnTo>
                    <a:pt x="24" y="125"/>
                  </a:lnTo>
                  <a:lnTo>
                    <a:pt x="24" y="122"/>
                  </a:lnTo>
                  <a:lnTo>
                    <a:pt x="26" y="122"/>
                  </a:lnTo>
                  <a:lnTo>
                    <a:pt x="24" y="120"/>
                  </a:lnTo>
                  <a:lnTo>
                    <a:pt x="26" y="120"/>
                  </a:lnTo>
                  <a:lnTo>
                    <a:pt x="27" y="119"/>
                  </a:lnTo>
                  <a:lnTo>
                    <a:pt x="29" y="117"/>
                  </a:lnTo>
                  <a:lnTo>
                    <a:pt x="29" y="114"/>
                  </a:lnTo>
                  <a:lnTo>
                    <a:pt x="31" y="114"/>
                  </a:lnTo>
                  <a:lnTo>
                    <a:pt x="32" y="112"/>
                  </a:lnTo>
                  <a:lnTo>
                    <a:pt x="32" y="111"/>
                  </a:lnTo>
                  <a:lnTo>
                    <a:pt x="34" y="109"/>
                  </a:lnTo>
                  <a:lnTo>
                    <a:pt x="36" y="109"/>
                  </a:lnTo>
                  <a:lnTo>
                    <a:pt x="36" y="107"/>
                  </a:lnTo>
                  <a:lnTo>
                    <a:pt x="37" y="106"/>
                  </a:lnTo>
                  <a:lnTo>
                    <a:pt x="37" y="104"/>
                  </a:lnTo>
                  <a:lnTo>
                    <a:pt x="37" y="102"/>
                  </a:lnTo>
                  <a:lnTo>
                    <a:pt x="39" y="102"/>
                  </a:lnTo>
                  <a:lnTo>
                    <a:pt x="40" y="102"/>
                  </a:lnTo>
                  <a:lnTo>
                    <a:pt x="42" y="102"/>
                  </a:lnTo>
                  <a:lnTo>
                    <a:pt x="49" y="99"/>
                  </a:lnTo>
                  <a:lnTo>
                    <a:pt x="50" y="101"/>
                  </a:lnTo>
                  <a:lnTo>
                    <a:pt x="52" y="101"/>
                  </a:lnTo>
                  <a:lnTo>
                    <a:pt x="52" y="99"/>
                  </a:lnTo>
                  <a:lnTo>
                    <a:pt x="53" y="99"/>
                  </a:lnTo>
                  <a:lnTo>
                    <a:pt x="53" y="101"/>
                  </a:lnTo>
                  <a:lnTo>
                    <a:pt x="55" y="101"/>
                  </a:lnTo>
                  <a:lnTo>
                    <a:pt x="57" y="101"/>
                  </a:lnTo>
                  <a:lnTo>
                    <a:pt x="58" y="99"/>
                  </a:lnTo>
                  <a:lnTo>
                    <a:pt x="60" y="96"/>
                  </a:lnTo>
                  <a:lnTo>
                    <a:pt x="62" y="94"/>
                  </a:lnTo>
                  <a:lnTo>
                    <a:pt x="63" y="94"/>
                  </a:lnTo>
                  <a:lnTo>
                    <a:pt x="65" y="94"/>
                  </a:lnTo>
                  <a:lnTo>
                    <a:pt x="65" y="96"/>
                  </a:lnTo>
                  <a:lnTo>
                    <a:pt x="65" y="94"/>
                  </a:lnTo>
                  <a:lnTo>
                    <a:pt x="66" y="94"/>
                  </a:lnTo>
                  <a:lnTo>
                    <a:pt x="66" y="93"/>
                  </a:lnTo>
                  <a:lnTo>
                    <a:pt x="68" y="93"/>
                  </a:lnTo>
                  <a:lnTo>
                    <a:pt x="68" y="94"/>
                  </a:lnTo>
                  <a:lnTo>
                    <a:pt x="78" y="99"/>
                  </a:lnTo>
                  <a:lnTo>
                    <a:pt x="81" y="98"/>
                  </a:lnTo>
                  <a:lnTo>
                    <a:pt x="83" y="98"/>
                  </a:lnTo>
                  <a:lnTo>
                    <a:pt x="84" y="94"/>
                  </a:lnTo>
                  <a:lnTo>
                    <a:pt x="84" y="91"/>
                  </a:lnTo>
                  <a:lnTo>
                    <a:pt x="86" y="88"/>
                  </a:lnTo>
                  <a:lnTo>
                    <a:pt x="86" y="85"/>
                  </a:lnTo>
                  <a:lnTo>
                    <a:pt x="88" y="86"/>
                  </a:lnTo>
                  <a:lnTo>
                    <a:pt x="91" y="86"/>
                  </a:lnTo>
                  <a:lnTo>
                    <a:pt x="92" y="85"/>
                  </a:lnTo>
                  <a:lnTo>
                    <a:pt x="94" y="85"/>
                  </a:lnTo>
                  <a:lnTo>
                    <a:pt x="96" y="85"/>
                  </a:lnTo>
                  <a:lnTo>
                    <a:pt x="99" y="85"/>
                  </a:lnTo>
                  <a:lnTo>
                    <a:pt x="101" y="85"/>
                  </a:lnTo>
                  <a:lnTo>
                    <a:pt x="101" y="83"/>
                  </a:lnTo>
                  <a:lnTo>
                    <a:pt x="101" y="81"/>
                  </a:lnTo>
                  <a:lnTo>
                    <a:pt x="102" y="80"/>
                  </a:lnTo>
                  <a:lnTo>
                    <a:pt x="102" y="78"/>
                  </a:lnTo>
                  <a:lnTo>
                    <a:pt x="102" y="76"/>
                  </a:lnTo>
                  <a:lnTo>
                    <a:pt x="102" y="75"/>
                  </a:lnTo>
                  <a:lnTo>
                    <a:pt x="102" y="73"/>
                  </a:lnTo>
                  <a:lnTo>
                    <a:pt x="104" y="73"/>
                  </a:lnTo>
                  <a:lnTo>
                    <a:pt x="104" y="72"/>
                  </a:lnTo>
                  <a:lnTo>
                    <a:pt x="105" y="72"/>
                  </a:lnTo>
                  <a:lnTo>
                    <a:pt x="107" y="72"/>
                  </a:lnTo>
                  <a:lnTo>
                    <a:pt x="109" y="73"/>
                  </a:lnTo>
                  <a:lnTo>
                    <a:pt x="110" y="73"/>
                  </a:lnTo>
                  <a:lnTo>
                    <a:pt x="110" y="72"/>
                  </a:lnTo>
                  <a:lnTo>
                    <a:pt x="110" y="70"/>
                  </a:lnTo>
                  <a:lnTo>
                    <a:pt x="112" y="70"/>
                  </a:lnTo>
                  <a:lnTo>
                    <a:pt x="112" y="68"/>
                  </a:lnTo>
                  <a:lnTo>
                    <a:pt x="115" y="68"/>
                  </a:lnTo>
                  <a:lnTo>
                    <a:pt x="115" y="67"/>
                  </a:lnTo>
                  <a:lnTo>
                    <a:pt x="115" y="65"/>
                  </a:lnTo>
                  <a:lnTo>
                    <a:pt x="115" y="63"/>
                  </a:lnTo>
                  <a:lnTo>
                    <a:pt x="117" y="63"/>
                  </a:lnTo>
                  <a:lnTo>
                    <a:pt x="117" y="65"/>
                  </a:lnTo>
                  <a:lnTo>
                    <a:pt x="120" y="68"/>
                  </a:lnTo>
                  <a:lnTo>
                    <a:pt x="122" y="68"/>
                  </a:lnTo>
                  <a:lnTo>
                    <a:pt x="123" y="70"/>
                  </a:lnTo>
                  <a:lnTo>
                    <a:pt x="125" y="68"/>
                  </a:lnTo>
                  <a:lnTo>
                    <a:pt x="127" y="67"/>
                  </a:lnTo>
                  <a:lnTo>
                    <a:pt x="127" y="65"/>
                  </a:lnTo>
                  <a:lnTo>
                    <a:pt x="128" y="63"/>
                  </a:lnTo>
                  <a:lnTo>
                    <a:pt x="128" y="62"/>
                  </a:lnTo>
                  <a:lnTo>
                    <a:pt x="128" y="60"/>
                  </a:lnTo>
                  <a:lnTo>
                    <a:pt x="130" y="60"/>
                  </a:lnTo>
                  <a:lnTo>
                    <a:pt x="131" y="59"/>
                  </a:lnTo>
                  <a:lnTo>
                    <a:pt x="130" y="55"/>
                  </a:lnTo>
                  <a:lnTo>
                    <a:pt x="128" y="55"/>
                  </a:lnTo>
                  <a:lnTo>
                    <a:pt x="130" y="54"/>
                  </a:lnTo>
                  <a:lnTo>
                    <a:pt x="131" y="54"/>
                  </a:lnTo>
                  <a:lnTo>
                    <a:pt x="135" y="54"/>
                  </a:lnTo>
                  <a:lnTo>
                    <a:pt x="136" y="54"/>
                  </a:lnTo>
                  <a:lnTo>
                    <a:pt x="138" y="52"/>
                  </a:lnTo>
                  <a:lnTo>
                    <a:pt x="140" y="50"/>
                  </a:lnTo>
                  <a:lnTo>
                    <a:pt x="141" y="50"/>
                  </a:lnTo>
                  <a:lnTo>
                    <a:pt x="143" y="50"/>
                  </a:lnTo>
                  <a:lnTo>
                    <a:pt x="144" y="52"/>
                  </a:lnTo>
                  <a:lnTo>
                    <a:pt x="146" y="50"/>
                  </a:lnTo>
                  <a:lnTo>
                    <a:pt x="148" y="50"/>
                  </a:lnTo>
                  <a:lnTo>
                    <a:pt x="149" y="49"/>
                  </a:lnTo>
                  <a:lnTo>
                    <a:pt x="151" y="49"/>
                  </a:lnTo>
                  <a:lnTo>
                    <a:pt x="153" y="49"/>
                  </a:lnTo>
                  <a:lnTo>
                    <a:pt x="156" y="50"/>
                  </a:lnTo>
                  <a:lnTo>
                    <a:pt x="157" y="50"/>
                  </a:lnTo>
                  <a:lnTo>
                    <a:pt x="159" y="49"/>
                  </a:lnTo>
                  <a:lnTo>
                    <a:pt x="159" y="47"/>
                  </a:lnTo>
                  <a:lnTo>
                    <a:pt x="161" y="47"/>
                  </a:lnTo>
                  <a:lnTo>
                    <a:pt x="162" y="47"/>
                  </a:lnTo>
                  <a:lnTo>
                    <a:pt x="162" y="46"/>
                  </a:lnTo>
                  <a:lnTo>
                    <a:pt x="162" y="44"/>
                  </a:lnTo>
                  <a:lnTo>
                    <a:pt x="162" y="41"/>
                  </a:lnTo>
                  <a:lnTo>
                    <a:pt x="166" y="41"/>
                  </a:lnTo>
                  <a:lnTo>
                    <a:pt x="167" y="39"/>
                  </a:lnTo>
                  <a:lnTo>
                    <a:pt x="167" y="37"/>
                  </a:lnTo>
                  <a:lnTo>
                    <a:pt x="171" y="36"/>
                  </a:lnTo>
                  <a:lnTo>
                    <a:pt x="172" y="37"/>
                  </a:lnTo>
                  <a:lnTo>
                    <a:pt x="175" y="37"/>
                  </a:lnTo>
                  <a:lnTo>
                    <a:pt x="177" y="37"/>
                  </a:lnTo>
                  <a:lnTo>
                    <a:pt x="179" y="36"/>
                  </a:lnTo>
                  <a:lnTo>
                    <a:pt x="179" y="34"/>
                  </a:lnTo>
                  <a:lnTo>
                    <a:pt x="182" y="34"/>
                  </a:lnTo>
                  <a:lnTo>
                    <a:pt x="184" y="33"/>
                  </a:lnTo>
                  <a:lnTo>
                    <a:pt x="187" y="29"/>
                  </a:lnTo>
                  <a:lnTo>
                    <a:pt x="188" y="29"/>
                  </a:lnTo>
                  <a:lnTo>
                    <a:pt x="190" y="29"/>
                  </a:lnTo>
                  <a:lnTo>
                    <a:pt x="190" y="28"/>
                  </a:lnTo>
                  <a:lnTo>
                    <a:pt x="192" y="28"/>
                  </a:lnTo>
                  <a:lnTo>
                    <a:pt x="193" y="24"/>
                  </a:lnTo>
                  <a:lnTo>
                    <a:pt x="195" y="24"/>
                  </a:lnTo>
                  <a:lnTo>
                    <a:pt x="197" y="24"/>
                  </a:lnTo>
                  <a:lnTo>
                    <a:pt x="200" y="24"/>
                  </a:lnTo>
                  <a:lnTo>
                    <a:pt x="201" y="23"/>
                  </a:lnTo>
                  <a:lnTo>
                    <a:pt x="203" y="23"/>
                  </a:lnTo>
                  <a:lnTo>
                    <a:pt x="205" y="23"/>
                  </a:lnTo>
                  <a:lnTo>
                    <a:pt x="205" y="21"/>
                  </a:lnTo>
                  <a:lnTo>
                    <a:pt x="205" y="20"/>
                  </a:lnTo>
                  <a:lnTo>
                    <a:pt x="206" y="20"/>
                  </a:lnTo>
                  <a:lnTo>
                    <a:pt x="205" y="20"/>
                  </a:lnTo>
                  <a:lnTo>
                    <a:pt x="206" y="18"/>
                  </a:lnTo>
                  <a:lnTo>
                    <a:pt x="205" y="16"/>
                  </a:lnTo>
                  <a:lnTo>
                    <a:pt x="203" y="16"/>
                  </a:lnTo>
                  <a:lnTo>
                    <a:pt x="200" y="16"/>
                  </a:lnTo>
                  <a:lnTo>
                    <a:pt x="198" y="15"/>
                  </a:lnTo>
                  <a:lnTo>
                    <a:pt x="198" y="13"/>
                  </a:lnTo>
                  <a:lnTo>
                    <a:pt x="198" y="11"/>
                  </a:lnTo>
                  <a:lnTo>
                    <a:pt x="200" y="11"/>
                  </a:lnTo>
                  <a:lnTo>
                    <a:pt x="200" y="10"/>
                  </a:lnTo>
                  <a:lnTo>
                    <a:pt x="198" y="10"/>
                  </a:lnTo>
                  <a:lnTo>
                    <a:pt x="197" y="11"/>
                  </a:lnTo>
                  <a:lnTo>
                    <a:pt x="195" y="11"/>
                  </a:lnTo>
                  <a:lnTo>
                    <a:pt x="193" y="10"/>
                  </a:lnTo>
                  <a:lnTo>
                    <a:pt x="193" y="8"/>
                  </a:lnTo>
                  <a:lnTo>
                    <a:pt x="193" y="7"/>
                  </a:lnTo>
                  <a:lnTo>
                    <a:pt x="195" y="7"/>
                  </a:lnTo>
                  <a:lnTo>
                    <a:pt x="195" y="5"/>
                  </a:lnTo>
                  <a:lnTo>
                    <a:pt x="195" y="3"/>
                  </a:lnTo>
                  <a:lnTo>
                    <a:pt x="193" y="3"/>
                  </a:lnTo>
                  <a:lnTo>
                    <a:pt x="193" y="2"/>
                  </a:lnTo>
                  <a:lnTo>
                    <a:pt x="195" y="3"/>
                  </a:lnTo>
                  <a:lnTo>
                    <a:pt x="197" y="2"/>
                  </a:lnTo>
                  <a:lnTo>
                    <a:pt x="197" y="0"/>
                  </a:lnTo>
                  <a:lnTo>
                    <a:pt x="198" y="0"/>
                  </a:lnTo>
                  <a:lnTo>
                    <a:pt x="200" y="2"/>
                  </a:lnTo>
                  <a:close/>
                </a:path>
              </a:pathLst>
            </a:custGeom>
            <a:solidFill>
              <a:srgbClr val="1EC08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29" name="Freeform 18">
              <a:extLst>
                <a:ext uri="{FF2B5EF4-FFF2-40B4-BE49-F238E27FC236}">
                  <a16:creationId xmlns:a16="http://schemas.microsoft.com/office/drawing/2014/main" id="{51710D80-0CBE-B816-C095-8B7AE341E1E2}"/>
                </a:ext>
              </a:extLst>
            </p:cNvPr>
            <p:cNvSpPr>
              <a:spLocks noEditPoints="1"/>
            </p:cNvSpPr>
            <p:nvPr/>
          </p:nvSpPr>
          <p:spPr bwMode="auto">
            <a:xfrm>
              <a:off x="3832" y="3024"/>
              <a:ext cx="828" cy="1118"/>
            </a:xfrm>
            <a:custGeom>
              <a:avLst/>
              <a:gdLst>
                <a:gd name="T0" fmla="*/ 572 w 828"/>
                <a:gd name="T1" fmla="*/ 106 h 1118"/>
                <a:gd name="T2" fmla="*/ 628 w 828"/>
                <a:gd name="T3" fmla="*/ 86 h 1118"/>
                <a:gd name="T4" fmla="*/ 689 w 828"/>
                <a:gd name="T5" fmla="*/ 127 h 1118"/>
                <a:gd name="T6" fmla="*/ 709 w 828"/>
                <a:gd name="T7" fmla="*/ 135 h 1118"/>
                <a:gd name="T8" fmla="*/ 701 w 828"/>
                <a:gd name="T9" fmla="*/ 166 h 1118"/>
                <a:gd name="T10" fmla="*/ 754 w 828"/>
                <a:gd name="T11" fmla="*/ 249 h 1118"/>
                <a:gd name="T12" fmla="*/ 776 w 828"/>
                <a:gd name="T13" fmla="*/ 363 h 1118"/>
                <a:gd name="T14" fmla="*/ 792 w 828"/>
                <a:gd name="T15" fmla="*/ 469 h 1118"/>
                <a:gd name="T16" fmla="*/ 824 w 828"/>
                <a:gd name="T17" fmla="*/ 545 h 1118"/>
                <a:gd name="T18" fmla="*/ 759 w 828"/>
                <a:gd name="T19" fmla="*/ 565 h 1118"/>
                <a:gd name="T20" fmla="*/ 676 w 828"/>
                <a:gd name="T21" fmla="*/ 636 h 1118"/>
                <a:gd name="T22" fmla="*/ 569 w 828"/>
                <a:gd name="T23" fmla="*/ 680 h 1118"/>
                <a:gd name="T24" fmla="*/ 619 w 828"/>
                <a:gd name="T25" fmla="*/ 791 h 1118"/>
                <a:gd name="T26" fmla="*/ 728 w 828"/>
                <a:gd name="T27" fmla="*/ 880 h 1118"/>
                <a:gd name="T28" fmla="*/ 647 w 828"/>
                <a:gd name="T29" fmla="*/ 984 h 1118"/>
                <a:gd name="T30" fmla="*/ 644 w 828"/>
                <a:gd name="T31" fmla="*/ 1061 h 1118"/>
                <a:gd name="T32" fmla="*/ 528 w 828"/>
                <a:gd name="T33" fmla="*/ 1074 h 1118"/>
                <a:gd name="T34" fmla="*/ 418 w 828"/>
                <a:gd name="T35" fmla="*/ 1072 h 1118"/>
                <a:gd name="T36" fmla="*/ 356 w 828"/>
                <a:gd name="T37" fmla="*/ 1077 h 1118"/>
                <a:gd name="T38" fmla="*/ 219 w 828"/>
                <a:gd name="T39" fmla="*/ 1054 h 1118"/>
                <a:gd name="T40" fmla="*/ 169 w 828"/>
                <a:gd name="T41" fmla="*/ 1069 h 1118"/>
                <a:gd name="T42" fmla="*/ 158 w 828"/>
                <a:gd name="T43" fmla="*/ 963 h 1118"/>
                <a:gd name="T44" fmla="*/ 141 w 828"/>
                <a:gd name="T45" fmla="*/ 851 h 1118"/>
                <a:gd name="T46" fmla="*/ 52 w 828"/>
                <a:gd name="T47" fmla="*/ 812 h 1118"/>
                <a:gd name="T48" fmla="*/ 26 w 828"/>
                <a:gd name="T49" fmla="*/ 734 h 1118"/>
                <a:gd name="T50" fmla="*/ 26 w 828"/>
                <a:gd name="T51" fmla="*/ 639 h 1118"/>
                <a:gd name="T52" fmla="*/ 21 w 828"/>
                <a:gd name="T53" fmla="*/ 548 h 1118"/>
                <a:gd name="T54" fmla="*/ 60 w 828"/>
                <a:gd name="T55" fmla="*/ 452 h 1118"/>
                <a:gd name="T56" fmla="*/ 102 w 828"/>
                <a:gd name="T57" fmla="*/ 340 h 1118"/>
                <a:gd name="T58" fmla="*/ 118 w 828"/>
                <a:gd name="T59" fmla="*/ 230 h 1118"/>
                <a:gd name="T60" fmla="*/ 216 w 828"/>
                <a:gd name="T61" fmla="*/ 215 h 1118"/>
                <a:gd name="T62" fmla="*/ 242 w 828"/>
                <a:gd name="T63" fmla="*/ 262 h 1118"/>
                <a:gd name="T64" fmla="*/ 245 w 828"/>
                <a:gd name="T65" fmla="*/ 204 h 1118"/>
                <a:gd name="T66" fmla="*/ 335 w 828"/>
                <a:gd name="T67" fmla="*/ 208 h 1118"/>
                <a:gd name="T68" fmla="*/ 441 w 828"/>
                <a:gd name="T69" fmla="*/ 254 h 1118"/>
                <a:gd name="T70" fmla="*/ 549 w 828"/>
                <a:gd name="T71" fmla="*/ 313 h 1118"/>
                <a:gd name="T72" fmla="*/ 510 w 828"/>
                <a:gd name="T73" fmla="*/ 290 h 1118"/>
                <a:gd name="T74" fmla="*/ 382 w 828"/>
                <a:gd name="T75" fmla="*/ 234 h 1118"/>
                <a:gd name="T76" fmla="*/ 332 w 828"/>
                <a:gd name="T77" fmla="*/ 127 h 1118"/>
                <a:gd name="T78" fmla="*/ 447 w 828"/>
                <a:gd name="T79" fmla="*/ 101 h 1118"/>
                <a:gd name="T80" fmla="*/ 434 w 828"/>
                <a:gd name="T81" fmla="*/ 168 h 1118"/>
                <a:gd name="T82" fmla="*/ 496 w 828"/>
                <a:gd name="T83" fmla="*/ 152 h 1118"/>
                <a:gd name="T84" fmla="*/ 549 w 828"/>
                <a:gd name="T85" fmla="*/ 130 h 1118"/>
                <a:gd name="T86" fmla="*/ 239 w 828"/>
                <a:gd name="T87" fmla="*/ 17 h 1118"/>
                <a:gd name="T88" fmla="*/ 354 w 828"/>
                <a:gd name="T89" fmla="*/ 38 h 1118"/>
                <a:gd name="T90" fmla="*/ 340 w 828"/>
                <a:gd name="T91" fmla="*/ 80 h 1118"/>
                <a:gd name="T92" fmla="*/ 384 w 828"/>
                <a:gd name="T93" fmla="*/ 83 h 1118"/>
                <a:gd name="T94" fmla="*/ 279 w 828"/>
                <a:gd name="T95" fmla="*/ 145 h 1118"/>
                <a:gd name="T96" fmla="*/ 296 w 828"/>
                <a:gd name="T97" fmla="*/ 99 h 1118"/>
                <a:gd name="T98" fmla="*/ 279 w 828"/>
                <a:gd name="T99" fmla="*/ 95 h 1118"/>
                <a:gd name="T100" fmla="*/ 250 w 828"/>
                <a:gd name="T101" fmla="*/ 25 h 1118"/>
                <a:gd name="T102" fmla="*/ 678 w 828"/>
                <a:gd name="T103" fmla="*/ 88 h 1118"/>
                <a:gd name="T104" fmla="*/ 652 w 828"/>
                <a:gd name="T105" fmla="*/ 112 h 1118"/>
                <a:gd name="T106" fmla="*/ 644 w 828"/>
                <a:gd name="T107" fmla="*/ 67 h 1118"/>
                <a:gd name="T108" fmla="*/ 473 w 828"/>
                <a:gd name="T109" fmla="*/ 78 h 1118"/>
                <a:gd name="T110" fmla="*/ 374 w 828"/>
                <a:gd name="T111" fmla="*/ 220 h 1118"/>
                <a:gd name="T112" fmla="*/ 237 w 828"/>
                <a:gd name="T113" fmla="*/ 64 h 1118"/>
                <a:gd name="T114" fmla="*/ 631 w 828"/>
                <a:gd name="T115" fmla="*/ 80 h 1118"/>
                <a:gd name="T116" fmla="*/ 262 w 828"/>
                <a:gd name="T117" fmla="*/ 60 h 1118"/>
                <a:gd name="T118" fmla="*/ 109 w 828"/>
                <a:gd name="T119" fmla="*/ 197 h 1118"/>
                <a:gd name="T120" fmla="*/ 265 w 828"/>
                <a:gd name="T121" fmla="*/ 54 h 1118"/>
                <a:gd name="T122" fmla="*/ 349 w 828"/>
                <a:gd name="T123" fmla="*/ 104 h 1118"/>
                <a:gd name="T124" fmla="*/ 105 w 828"/>
                <a:gd name="T125" fmla="*/ 205 h 1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828" h="1118">
                  <a:moveTo>
                    <a:pt x="585" y="83"/>
                  </a:moveTo>
                  <a:lnTo>
                    <a:pt x="587" y="83"/>
                  </a:lnTo>
                  <a:lnTo>
                    <a:pt x="589" y="83"/>
                  </a:lnTo>
                  <a:lnTo>
                    <a:pt x="592" y="85"/>
                  </a:lnTo>
                  <a:lnTo>
                    <a:pt x="595" y="85"/>
                  </a:lnTo>
                  <a:lnTo>
                    <a:pt x="597" y="85"/>
                  </a:lnTo>
                  <a:lnTo>
                    <a:pt x="605" y="85"/>
                  </a:lnTo>
                  <a:lnTo>
                    <a:pt x="608" y="85"/>
                  </a:lnTo>
                  <a:lnTo>
                    <a:pt x="613" y="85"/>
                  </a:lnTo>
                  <a:lnTo>
                    <a:pt x="618" y="83"/>
                  </a:lnTo>
                  <a:lnTo>
                    <a:pt x="618" y="85"/>
                  </a:lnTo>
                  <a:lnTo>
                    <a:pt x="618" y="86"/>
                  </a:lnTo>
                  <a:lnTo>
                    <a:pt x="618" y="85"/>
                  </a:lnTo>
                  <a:lnTo>
                    <a:pt x="619" y="85"/>
                  </a:lnTo>
                  <a:lnTo>
                    <a:pt x="621" y="85"/>
                  </a:lnTo>
                  <a:lnTo>
                    <a:pt x="619" y="85"/>
                  </a:lnTo>
                  <a:lnTo>
                    <a:pt x="619" y="86"/>
                  </a:lnTo>
                  <a:lnTo>
                    <a:pt x="618" y="86"/>
                  </a:lnTo>
                  <a:lnTo>
                    <a:pt x="619" y="86"/>
                  </a:lnTo>
                  <a:lnTo>
                    <a:pt x="618" y="86"/>
                  </a:lnTo>
                  <a:lnTo>
                    <a:pt x="618" y="88"/>
                  </a:lnTo>
                  <a:lnTo>
                    <a:pt x="616" y="88"/>
                  </a:lnTo>
                  <a:lnTo>
                    <a:pt x="615" y="88"/>
                  </a:lnTo>
                  <a:lnTo>
                    <a:pt x="613" y="88"/>
                  </a:lnTo>
                  <a:lnTo>
                    <a:pt x="611" y="88"/>
                  </a:lnTo>
                  <a:lnTo>
                    <a:pt x="610" y="88"/>
                  </a:lnTo>
                  <a:lnTo>
                    <a:pt x="608" y="88"/>
                  </a:lnTo>
                  <a:lnTo>
                    <a:pt x="608" y="90"/>
                  </a:lnTo>
                  <a:lnTo>
                    <a:pt x="608" y="88"/>
                  </a:lnTo>
                  <a:lnTo>
                    <a:pt x="606" y="88"/>
                  </a:lnTo>
                  <a:lnTo>
                    <a:pt x="605" y="88"/>
                  </a:lnTo>
                  <a:lnTo>
                    <a:pt x="605" y="90"/>
                  </a:lnTo>
                  <a:lnTo>
                    <a:pt x="605" y="88"/>
                  </a:lnTo>
                  <a:lnTo>
                    <a:pt x="603" y="88"/>
                  </a:lnTo>
                  <a:lnTo>
                    <a:pt x="602" y="88"/>
                  </a:lnTo>
                  <a:lnTo>
                    <a:pt x="602" y="86"/>
                  </a:lnTo>
                  <a:lnTo>
                    <a:pt x="600" y="86"/>
                  </a:lnTo>
                  <a:lnTo>
                    <a:pt x="600" y="88"/>
                  </a:lnTo>
                  <a:lnTo>
                    <a:pt x="602" y="88"/>
                  </a:lnTo>
                  <a:lnTo>
                    <a:pt x="600" y="88"/>
                  </a:lnTo>
                  <a:lnTo>
                    <a:pt x="598" y="88"/>
                  </a:lnTo>
                  <a:lnTo>
                    <a:pt x="598" y="90"/>
                  </a:lnTo>
                  <a:lnTo>
                    <a:pt x="597" y="88"/>
                  </a:lnTo>
                  <a:lnTo>
                    <a:pt x="598" y="88"/>
                  </a:lnTo>
                  <a:lnTo>
                    <a:pt x="598" y="86"/>
                  </a:lnTo>
                  <a:lnTo>
                    <a:pt x="598" y="88"/>
                  </a:lnTo>
                  <a:lnTo>
                    <a:pt x="597" y="88"/>
                  </a:lnTo>
                  <a:lnTo>
                    <a:pt x="597" y="90"/>
                  </a:lnTo>
                  <a:lnTo>
                    <a:pt x="597" y="88"/>
                  </a:lnTo>
                  <a:lnTo>
                    <a:pt x="597" y="90"/>
                  </a:lnTo>
                  <a:lnTo>
                    <a:pt x="595" y="90"/>
                  </a:lnTo>
                  <a:lnTo>
                    <a:pt x="595" y="88"/>
                  </a:lnTo>
                  <a:lnTo>
                    <a:pt x="595" y="90"/>
                  </a:lnTo>
                  <a:lnTo>
                    <a:pt x="595" y="88"/>
                  </a:lnTo>
                  <a:lnTo>
                    <a:pt x="595" y="90"/>
                  </a:lnTo>
                  <a:lnTo>
                    <a:pt x="593" y="88"/>
                  </a:lnTo>
                  <a:lnTo>
                    <a:pt x="595" y="88"/>
                  </a:lnTo>
                  <a:lnTo>
                    <a:pt x="593" y="88"/>
                  </a:lnTo>
                  <a:lnTo>
                    <a:pt x="593" y="90"/>
                  </a:lnTo>
                  <a:lnTo>
                    <a:pt x="592" y="90"/>
                  </a:lnTo>
                  <a:lnTo>
                    <a:pt x="593" y="90"/>
                  </a:lnTo>
                  <a:lnTo>
                    <a:pt x="592" y="90"/>
                  </a:lnTo>
                  <a:lnTo>
                    <a:pt x="590" y="90"/>
                  </a:lnTo>
                  <a:lnTo>
                    <a:pt x="590" y="91"/>
                  </a:lnTo>
                  <a:lnTo>
                    <a:pt x="590" y="93"/>
                  </a:lnTo>
                  <a:lnTo>
                    <a:pt x="592" y="93"/>
                  </a:lnTo>
                  <a:lnTo>
                    <a:pt x="590" y="95"/>
                  </a:lnTo>
                  <a:lnTo>
                    <a:pt x="590" y="93"/>
                  </a:lnTo>
                  <a:lnTo>
                    <a:pt x="589" y="93"/>
                  </a:lnTo>
                  <a:lnTo>
                    <a:pt x="587" y="93"/>
                  </a:lnTo>
                  <a:lnTo>
                    <a:pt x="587" y="95"/>
                  </a:lnTo>
                  <a:lnTo>
                    <a:pt x="585" y="95"/>
                  </a:lnTo>
                  <a:lnTo>
                    <a:pt x="585" y="96"/>
                  </a:lnTo>
                  <a:lnTo>
                    <a:pt x="584" y="95"/>
                  </a:lnTo>
                  <a:lnTo>
                    <a:pt x="582" y="95"/>
                  </a:lnTo>
                  <a:lnTo>
                    <a:pt x="580" y="95"/>
                  </a:lnTo>
                  <a:lnTo>
                    <a:pt x="579" y="95"/>
                  </a:lnTo>
                  <a:lnTo>
                    <a:pt x="577" y="95"/>
                  </a:lnTo>
                  <a:lnTo>
                    <a:pt x="577" y="96"/>
                  </a:lnTo>
                  <a:lnTo>
                    <a:pt x="575" y="96"/>
                  </a:lnTo>
                  <a:lnTo>
                    <a:pt x="575" y="98"/>
                  </a:lnTo>
                  <a:lnTo>
                    <a:pt x="577" y="99"/>
                  </a:lnTo>
                  <a:lnTo>
                    <a:pt x="577" y="101"/>
                  </a:lnTo>
                  <a:lnTo>
                    <a:pt x="575" y="101"/>
                  </a:lnTo>
                  <a:lnTo>
                    <a:pt x="575" y="99"/>
                  </a:lnTo>
                  <a:lnTo>
                    <a:pt x="574" y="99"/>
                  </a:lnTo>
                  <a:lnTo>
                    <a:pt x="574" y="101"/>
                  </a:lnTo>
                  <a:lnTo>
                    <a:pt x="575" y="101"/>
                  </a:lnTo>
                  <a:lnTo>
                    <a:pt x="574" y="103"/>
                  </a:lnTo>
                  <a:lnTo>
                    <a:pt x="575" y="103"/>
                  </a:lnTo>
                  <a:lnTo>
                    <a:pt x="574" y="103"/>
                  </a:lnTo>
                  <a:lnTo>
                    <a:pt x="574" y="104"/>
                  </a:lnTo>
                  <a:lnTo>
                    <a:pt x="572" y="106"/>
                  </a:lnTo>
                  <a:lnTo>
                    <a:pt x="572" y="104"/>
                  </a:lnTo>
                  <a:lnTo>
                    <a:pt x="572" y="106"/>
                  </a:lnTo>
                  <a:lnTo>
                    <a:pt x="572" y="108"/>
                  </a:lnTo>
                  <a:lnTo>
                    <a:pt x="574" y="109"/>
                  </a:lnTo>
                  <a:lnTo>
                    <a:pt x="574" y="111"/>
                  </a:lnTo>
                  <a:lnTo>
                    <a:pt x="572" y="111"/>
                  </a:lnTo>
                  <a:lnTo>
                    <a:pt x="572" y="112"/>
                  </a:lnTo>
                  <a:lnTo>
                    <a:pt x="574" y="112"/>
                  </a:lnTo>
                  <a:lnTo>
                    <a:pt x="575" y="112"/>
                  </a:lnTo>
                  <a:lnTo>
                    <a:pt x="575" y="114"/>
                  </a:lnTo>
                  <a:lnTo>
                    <a:pt x="577" y="114"/>
                  </a:lnTo>
                  <a:lnTo>
                    <a:pt x="579" y="114"/>
                  </a:lnTo>
                  <a:lnTo>
                    <a:pt x="580" y="114"/>
                  </a:lnTo>
                  <a:lnTo>
                    <a:pt x="580" y="112"/>
                  </a:lnTo>
                  <a:lnTo>
                    <a:pt x="579" y="112"/>
                  </a:lnTo>
                  <a:lnTo>
                    <a:pt x="577" y="112"/>
                  </a:lnTo>
                  <a:lnTo>
                    <a:pt x="575" y="111"/>
                  </a:lnTo>
                  <a:lnTo>
                    <a:pt x="575" y="109"/>
                  </a:lnTo>
                  <a:lnTo>
                    <a:pt x="577" y="109"/>
                  </a:lnTo>
                  <a:lnTo>
                    <a:pt x="577" y="108"/>
                  </a:lnTo>
                  <a:lnTo>
                    <a:pt x="577" y="106"/>
                  </a:lnTo>
                  <a:lnTo>
                    <a:pt x="580" y="106"/>
                  </a:lnTo>
                  <a:lnTo>
                    <a:pt x="582" y="106"/>
                  </a:lnTo>
                  <a:lnTo>
                    <a:pt x="582" y="104"/>
                  </a:lnTo>
                  <a:lnTo>
                    <a:pt x="580" y="103"/>
                  </a:lnTo>
                  <a:lnTo>
                    <a:pt x="580" y="101"/>
                  </a:lnTo>
                  <a:lnTo>
                    <a:pt x="584" y="101"/>
                  </a:lnTo>
                  <a:lnTo>
                    <a:pt x="585" y="101"/>
                  </a:lnTo>
                  <a:lnTo>
                    <a:pt x="587" y="101"/>
                  </a:lnTo>
                  <a:lnTo>
                    <a:pt x="587" y="99"/>
                  </a:lnTo>
                  <a:lnTo>
                    <a:pt x="587" y="98"/>
                  </a:lnTo>
                  <a:lnTo>
                    <a:pt x="587" y="96"/>
                  </a:lnTo>
                  <a:lnTo>
                    <a:pt x="585" y="96"/>
                  </a:lnTo>
                  <a:lnTo>
                    <a:pt x="587" y="96"/>
                  </a:lnTo>
                  <a:lnTo>
                    <a:pt x="587" y="95"/>
                  </a:lnTo>
                  <a:lnTo>
                    <a:pt x="589" y="95"/>
                  </a:lnTo>
                  <a:lnTo>
                    <a:pt x="589" y="96"/>
                  </a:lnTo>
                  <a:lnTo>
                    <a:pt x="590" y="95"/>
                  </a:lnTo>
                  <a:lnTo>
                    <a:pt x="590" y="96"/>
                  </a:lnTo>
                  <a:lnTo>
                    <a:pt x="590" y="98"/>
                  </a:lnTo>
                  <a:lnTo>
                    <a:pt x="592" y="98"/>
                  </a:lnTo>
                  <a:lnTo>
                    <a:pt x="592" y="96"/>
                  </a:lnTo>
                  <a:lnTo>
                    <a:pt x="593" y="95"/>
                  </a:lnTo>
                  <a:lnTo>
                    <a:pt x="595" y="95"/>
                  </a:lnTo>
                  <a:lnTo>
                    <a:pt x="597" y="93"/>
                  </a:lnTo>
                  <a:lnTo>
                    <a:pt x="597" y="91"/>
                  </a:lnTo>
                  <a:lnTo>
                    <a:pt x="597" y="90"/>
                  </a:lnTo>
                  <a:lnTo>
                    <a:pt x="598" y="90"/>
                  </a:lnTo>
                  <a:lnTo>
                    <a:pt x="600" y="90"/>
                  </a:lnTo>
                  <a:lnTo>
                    <a:pt x="602" y="90"/>
                  </a:lnTo>
                  <a:lnTo>
                    <a:pt x="602" y="91"/>
                  </a:lnTo>
                  <a:lnTo>
                    <a:pt x="600" y="91"/>
                  </a:lnTo>
                  <a:lnTo>
                    <a:pt x="598" y="91"/>
                  </a:lnTo>
                  <a:lnTo>
                    <a:pt x="600" y="93"/>
                  </a:lnTo>
                  <a:lnTo>
                    <a:pt x="598" y="93"/>
                  </a:lnTo>
                  <a:lnTo>
                    <a:pt x="598" y="95"/>
                  </a:lnTo>
                  <a:lnTo>
                    <a:pt x="598" y="96"/>
                  </a:lnTo>
                  <a:lnTo>
                    <a:pt x="598" y="95"/>
                  </a:lnTo>
                  <a:lnTo>
                    <a:pt x="600" y="93"/>
                  </a:lnTo>
                  <a:lnTo>
                    <a:pt x="600" y="91"/>
                  </a:lnTo>
                  <a:lnTo>
                    <a:pt x="602" y="91"/>
                  </a:lnTo>
                  <a:lnTo>
                    <a:pt x="602" y="93"/>
                  </a:lnTo>
                  <a:lnTo>
                    <a:pt x="602" y="95"/>
                  </a:lnTo>
                  <a:lnTo>
                    <a:pt x="603" y="95"/>
                  </a:lnTo>
                  <a:lnTo>
                    <a:pt x="603" y="93"/>
                  </a:lnTo>
                  <a:lnTo>
                    <a:pt x="605" y="95"/>
                  </a:lnTo>
                  <a:lnTo>
                    <a:pt x="606" y="95"/>
                  </a:lnTo>
                  <a:lnTo>
                    <a:pt x="606" y="93"/>
                  </a:lnTo>
                  <a:lnTo>
                    <a:pt x="606" y="91"/>
                  </a:lnTo>
                  <a:lnTo>
                    <a:pt x="606" y="93"/>
                  </a:lnTo>
                  <a:lnTo>
                    <a:pt x="606" y="95"/>
                  </a:lnTo>
                  <a:lnTo>
                    <a:pt x="608" y="95"/>
                  </a:lnTo>
                  <a:lnTo>
                    <a:pt x="608" y="96"/>
                  </a:lnTo>
                  <a:lnTo>
                    <a:pt x="610" y="96"/>
                  </a:lnTo>
                  <a:lnTo>
                    <a:pt x="610" y="98"/>
                  </a:lnTo>
                  <a:lnTo>
                    <a:pt x="613" y="98"/>
                  </a:lnTo>
                  <a:lnTo>
                    <a:pt x="613" y="96"/>
                  </a:lnTo>
                  <a:lnTo>
                    <a:pt x="615" y="96"/>
                  </a:lnTo>
                  <a:lnTo>
                    <a:pt x="615" y="95"/>
                  </a:lnTo>
                  <a:lnTo>
                    <a:pt x="615" y="93"/>
                  </a:lnTo>
                  <a:lnTo>
                    <a:pt x="616" y="93"/>
                  </a:lnTo>
                  <a:lnTo>
                    <a:pt x="616" y="91"/>
                  </a:lnTo>
                  <a:lnTo>
                    <a:pt x="616" y="90"/>
                  </a:lnTo>
                  <a:lnTo>
                    <a:pt x="618" y="90"/>
                  </a:lnTo>
                  <a:lnTo>
                    <a:pt x="618" y="88"/>
                  </a:lnTo>
                  <a:lnTo>
                    <a:pt x="619" y="88"/>
                  </a:lnTo>
                  <a:lnTo>
                    <a:pt x="621" y="88"/>
                  </a:lnTo>
                  <a:lnTo>
                    <a:pt x="621" y="86"/>
                  </a:lnTo>
                  <a:lnTo>
                    <a:pt x="624" y="86"/>
                  </a:lnTo>
                  <a:lnTo>
                    <a:pt x="624" y="85"/>
                  </a:lnTo>
                  <a:lnTo>
                    <a:pt x="626" y="85"/>
                  </a:lnTo>
                  <a:lnTo>
                    <a:pt x="628" y="85"/>
                  </a:lnTo>
                  <a:lnTo>
                    <a:pt x="628" y="86"/>
                  </a:lnTo>
                  <a:lnTo>
                    <a:pt x="626" y="88"/>
                  </a:lnTo>
                  <a:lnTo>
                    <a:pt x="628" y="90"/>
                  </a:lnTo>
                  <a:lnTo>
                    <a:pt x="628" y="91"/>
                  </a:lnTo>
                  <a:lnTo>
                    <a:pt x="629" y="91"/>
                  </a:lnTo>
                  <a:lnTo>
                    <a:pt x="629" y="93"/>
                  </a:lnTo>
                  <a:lnTo>
                    <a:pt x="631" y="93"/>
                  </a:lnTo>
                  <a:lnTo>
                    <a:pt x="632" y="93"/>
                  </a:lnTo>
                  <a:lnTo>
                    <a:pt x="632" y="95"/>
                  </a:lnTo>
                  <a:lnTo>
                    <a:pt x="632" y="96"/>
                  </a:lnTo>
                  <a:lnTo>
                    <a:pt x="631" y="96"/>
                  </a:lnTo>
                  <a:lnTo>
                    <a:pt x="631" y="98"/>
                  </a:lnTo>
                  <a:lnTo>
                    <a:pt x="632" y="99"/>
                  </a:lnTo>
                  <a:lnTo>
                    <a:pt x="632" y="101"/>
                  </a:lnTo>
                  <a:lnTo>
                    <a:pt x="634" y="101"/>
                  </a:lnTo>
                  <a:lnTo>
                    <a:pt x="634" y="103"/>
                  </a:lnTo>
                  <a:lnTo>
                    <a:pt x="634" y="104"/>
                  </a:lnTo>
                  <a:lnTo>
                    <a:pt x="634" y="106"/>
                  </a:lnTo>
                  <a:lnTo>
                    <a:pt x="636" y="108"/>
                  </a:lnTo>
                  <a:lnTo>
                    <a:pt x="637" y="109"/>
                  </a:lnTo>
                  <a:lnTo>
                    <a:pt x="639" y="109"/>
                  </a:lnTo>
                  <a:lnTo>
                    <a:pt x="639" y="108"/>
                  </a:lnTo>
                  <a:lnTo>
                    <a:pt x="641" y="108"/>
                  </a:lnTo>
                  <a:lnTo>
                    <a:pt x="641" y="109"/>
                  </a:lnTo>
                  <a:lnTo>
                    <a:pt x="639" y="109"/>
                  </a:lnTo>
                  <a:lnTo>
                    <a:pt x="637" y="109"/>
                  </a:lnTo>
                  <a:lnTo>
                    <a:pt x="637" y="111"/>
                  </a:lnTo>
                  <a:lnTo>
                    <a:pt x="639" y="109"/>
                  </a:lnTo>
                  <a:lnTo>
                    <a:pt x="641" y="109"/>
                  </a:lnTo>
                  <a:lnTo>
                    <a:pt x="642" y="109"/>
                  </a:lnTo>
                  <a:lnTo>
                    <a:pt x="644" y="111"/>
                  </a:lnTo>
                  <a:lnTo>
                    <a:pt x="644" y="112"/>
                  </a:lnTo>
                  <a:lnTo>
                    <a:pt x="645" y="112"/>
                  </a:lnTo>
                  <a:lnTo>
                    <a:pt x="647" y="112"/>
                  </a:lnTo>
                  <a:lnTo>
                    <a:pt x="649" y="112"/>
                  </a:lnTo>
                  <a:lnTo>
                    <a:pt x="650" y="112"/>
                  </a:lnTo>
                  <a:lnTo>
                    <a:pt x="650" y="114"/>
                  </a:lnTo>
                  <a:lnTo>
                    <a:pt x="652" y="117"/>
                  </a:lnTo>
                  <a:lnTo>
                    <a:pt x="654" y="119"/>
                  </a:lnTo>
                  <a:lnTo>
                    <a:pt x="654" y="121"/>
                  </a:lnTo>
                  <a:lnTo>
                    <a:pt x="655" y="121"/>
                  </a:lnTo>
                  <a:lnTo>
                    <a:pt x="654" y="121"/>
                  </a:lnTo>
                  <a:lnTo>
                    <a:pt x="654" y="122"/>
                  </a:lnTo>
                  <a:lnTo>
                    <a:pt x="654" y="124"/>
                  </a:lnTo>
                  <a:lnTo>
                    <a:pt x="654" y="122"/>
                  </a:lnTo>
                  <a:lnTo>
                    <a:pt x="655" y="122"/>
                  </a:lnTo>
                  <a:lnTo>
                    <a:pt x="657" y="122"/>
                  </a:lnTo>
                  <a:lnTo>
                    <a:pt x="658" y="121"/>
                  </a:lnTo>
                  <a:lnTo>
                    <a:pt x="660" y="122"/>
                  </a:lnTo>
                  <a:lnTo>
                    <a:pt x="660" y="121"/>
                  </a:lnTo>
                  <a:lnTo>
                    <a:pt x="662" y="121"/>
                  </a:lnTo>
                  <a:lnTo>
                    <a:pt x="662" y="122"/>
                  </a:lnTo>
                  <a:lnTo>
                    <a:pt x="660" y="122"/>
                  </a:lnTo>
                  <a:lnTo>
                    <a:pt x="662" y="122"/>
                  </a:lnTo>
                  <a:lnTo>
                    <a:pt x="660" y="122"/>
                  </a:lnTo>
                  <a:lnTo>
                    <a:pt x="660" y="124"/>
                  </a:lnTo>
                  <a:lnTo>
                    <a:pt x="658" y="124"/>
                  </a:lnTo>
                  <a:lnTo>
                    <a:pt x="658" y="126"/>
                  </a:lnTo>
                  <a:lnTo>
                    <a:pt x="660" y="126"/>
                  </a:lnTo>
                  <a:lnTo>
                    <a:pt x="660" y="124"/>
                  </a:lnTo>
                  <a:lnTo>
                    <a:pt x="660" y="126"/>
                  </a:lnTo>
                  <a:lnTo>
                    <a:pt x="662" y="126"/>
                  </a:lnTo>
                  <a:lnTo>
                    <a:pt x="663" y="127"/>
                  </a:lnTo>
                  <a:lnTo>
                    <a:pt x="663" y="129"/>
                  </a:lnTo>
                  <a:lnTo>
                    <a:pt x="663" y="130"/>
                  </a:lnTo>
                  <a:lnTo>
                    <a:pt x="665" y="130"/>
                  </a:lnTo>
                  <a:lnTo>
                    <a:pt x="665" y="132"/>
                  </a:lnTo>
                  <a:lnTo>
                    <a:pt x="667" y="134"/>
                  </a:lnTo>
                  <a:lnTo>
                    <a:pt x="668" y="134"/>
                  </a:lnTo>
                  <a:lnTo>
                    <a:pt x="668" y="132"/>
                  </a:lnTo>
                  <a:lnTo>
                    <a:pt x="668" y="130"/>
                  </a:lnTo>
                  <a:lnTo>
                    <a:pt x="667" y="130"/>
                  </a:lnTo>
                  <a:lnTo>
                    <a:pt x="667" y="129"/>
                  </a:lnTo>
                  <a:lnTo>
                    <a:pt x="668" y="127"/>
                  </a:lnTo>
                  <a:lnTo>
                    <a:pt x="670" y="127"/>
                  </a:lnTo>
                  <a:lnTo>
                    <a:pt x="671" y="127"/>
                  </a:lnTo>
                  <a:lnTo>
                    <a:pt x="673" y="127"/>
                  </a:lnTo>
                  <a:lnTo>
                    <a:pt x="675" y="127"/>
                  </a:lnTo>
                  <a:lnTo>
                    <a:pt x="680" y="126"/>
                  </a:lnTo>
                  <a:lnTo>
                    <a:pt x="680" y="124"/>
                  </a:lnTo>
                  <a:lnTo>
                    <a:pt x="681" y="124"/>
                  </a:lnTo>
                  <a:lnTo>
                    <a:pt x="683" y="122"/>
                  </a:lnTo>
                  <a:lnTo>
                    <a:pt x="684" y="121"/>
                  </a:lnTo>
                  <a:lnTo>
                    <a:pt x="686" y="121"/>
                  </a:lnTo>
                  <a:lnTo>
                    <a:pt x="686" y="122"/>
                  </a:lnTo>
                  <a:lnTo>
                    <a:pt x="684" y="122"/>
                  </a:lnTo>
                  <a:lnTo>
                    <a:pt x="684" y="124"/>
                  </a:lnTo>
                  <a:lnTo>
                    <a:pt x="686" y="124"/>
                  </a:lnTo>
                  <a:lnTo>
                    <a:pt x="688" y="124"/>
                  </a:lnTo>
                  <a:lnTo>
                    <a:pt x="688" y="126"/>
                  </a:lnTo>
                  <a:lnTo>
                    <a:pt x="689" y="124"/>
                  </a:lnTo>
                  <a:lnTo>
                    <a:pt x="689" y="126"/>
                  </a:lnTo>
                  <a:lnTo>
                    <a:pt x="691" y="126"/>
                  </a:lnTo>
                  <a:lnTo>
                    <a:pt x="689" y="127"/>
                  </a:lnTo>
                  <a:lnTo>
                    <a:pt x="691" y="127"/>
                  </a:lnTo>
                  <a:lnTo>
                    <a:pt x="693" y="129"/>
                  </a:lnTo>
                  <a:lnTo>
                    <a:pt x="694" y="129"/>
                  </a:lnTo>
                  <a:lnTo>
                    <a:pt x="694" y="130"/>
                  </a:lnTo>
                  <a:lnTo>
                    <a:pt x="694" y="132"/>
                  </a:lnTo>
                  <a:lnTo>
                    <a:pt x="694" y="134"/>
                  </a:lnTo>
                  <a:lnTo>
                    <a:pt x="694" y="135"/>
                  </a:lnTo>
                  <a:lnTo>
                    <a:pt x="693" y="135"/>
                  </a:lnTo>
                  <a:lnTo>
                    <a:pt x="693" y="137"/>
                  </a:lnTo>
                  <a:lnTo>
                    <a:pt x="693" y="135"/>
                  </a:lnTo>
                  <a:lnTo>
                    <a:pt x="693" y="137"/>
                  </a:lnTo>
                  <a:lnTo>
                    <a:pt x="693" y="139"/>
                  </a:lnTo>
                  <a:lnTo>
                    <a:pt x="691" y="139"/>
                  </a:lnTo>
                  <a:lnTo>
                    <a:pt x="691" y="140"/>
                  </a:lnTo>
                  <a:lnTo>
                    <a:pt x="689" y="140"/>
                  </a:lnTo>
                  <a:lnTo>
                    <a:pt x="691" y="140"/>
                  </a:lnTo>
                  <a:lnTo>
                    <a:pt x="691" y="142"/>
                  </a:lnTo>
                  <a:lnTo>
                    <a:pt x="693" y="143"/>
                  </a:lnTo>
                  <a:lnTo>
                    <a:pt x="694" y="145"/>
                  </a:lnTo>
                  <a:lnTo>
                    <a:pt x="696" y="145"/>
                  </a:lnTo>
                  <a:lnTo>
                    <a:pt x="697" y="147"/>
                  </a:lnTo>
                  <a:lnTo>
                    <a:pt x="699" y="148"/>
                  </a:lnTo>
                  <a:lnTo>
                    <a:pt x="699" y="150"/>
                  </a:lnTo>
                  <a:lnTo>
                    <a:pt x="699" y="152"/>
                  </a:lnTo>
                  <a:lnTo>
                    <a:pt x="701" y="152"/>
                  </a:lnTo>
                  <a:lnTo>
                    <a:pt x="702" y="152"/>
                  </a:lnTo>
                  <a:lnTo>
                    <a:pt x="704" y="152"/>
                  </a:lnTo>
                  <a:lnTo>
                    <a:pt x="704" y="153"/>
                  </a:lnTo>
                  <a:lnTo>
                    <a:pt x="704" y="155"/>
                  </a:lnTo>
                  <a:lnTo>
                    <a:pt x="706" y="155"/>
                  </a:lnTo>
                  <a:lnTo>
                    <a:pt x="704" y="156"/>
                  </a:lnTo>
                  <a:lnTo>
                    <a:pt x="702" y="156"/>
                  </a:lnTo>
                  <a:lnTo>
                    <a:pt x="702" y="158"/>
                  </a:lnTo>
                  <a:lnTo>
                    <a:pt x="701" y="158"/>
                  </a:lnTo>
                  <a:lnTo>
                    <a:pt x="701" y="160"/>
                  </a:lnTo>
                  <a:lnTo>
                    <a:pt x="699" y="161"/>
                  </a:lnTo>
                  <a:lnTo>
                    <a:pt x="697" y="161"/>
                  </a:lnTo>
                  <a:lnTo>
                    <a:pt x="697" y="163"/>
                  </a:lnTo>
                  <a:lnTo>
                    <a:pt x="699" y="163"/>
                  </a:lnTo>
                  <a:lnTo>
                    <a:pt x="701" y="163"/>
                  </a:lnTo>
                  <a:lnTo>
                    <a:pt x="702" y="161"/>
                  </a:lnTo>
                  <a:lnTo>
                    <a:pt x="704" y="161"/>
                  </a:lnTo>
                  <a:lnTo>
                    <a:pt x="704" y="160"/>
                  </a:lnTo>
                  <a:lnTo>
                    <a:pt x="706" y="160"/>
                  </a:lnTo>
                  <a:lnTo>
                    <a:pt x="707" y="158"/>
                  </a:lnTo>
                  <a:lnTo>
                    <a:pt x="707" y="156"/>
                  </a:lnTo>
                  <a:lnTo>
                    <a:pt x="707" y="155"/>
                  </a:lnTo>
                  <a:lnTo>
                    <a:pt x="707" y="153"/>
                  </a:lnTo>
                  <a:lnTo>
                    <a:pt x="706" y="152"/>
                  </a:lnTo>
                  <a:lnTo>
                    <a:pt x="704" y="150"/>
                  </a:lnTo>
                  <a:lnTo>
                    <a:pt x="704" y="148"/>
                  </a:lnTo>
                  <a:lnTo>
                    <a:pt x="702" y="148"/>
                  </a:lnTo>
                  <a:lnTo>
                    <a:pt x="704" y="147"/>
                  </a:lnTo>
                  <a:lnTo>
                    <a:pt x="704" y="145"/>
                  </a:lnTo>
                  <a:lnTo>
                    <a:pt x="706" y="145"/>
                  </a:lnTo>
                  <a:lnTo>
                    <a:pt x="707" y="145"/>
                  </a:lnTo>
                  <a:lnTo>
                    <a:pt x="709" y="145"/>
                  </a:lnTo>
                  <a:lnTo>
                    <a:pt x="709" y="147"/>
                  </a:lnTo>
                  <a:lnTo>
                    <a:pt x="709" y="148"/>
                  </a:lnTo>
                  <a:lnTo>
                    <a:pt x="710" y="148"/>
                  </a:lnTo>
                  <a:lnTo>
                    <a:pt x="709" y="148"/>
                  </a:lnTo>
                  <a:lnTo>
                    <a:pt x="707" y="150"/>
                  </a:lnTo>
                  <a:lnTo>
                    <a:pt x="709" y="150"/>
                  </a:lnTo>
                  <a:lnTo>
                    <a:pt x="707" y="152"/>
                  </a:lnTo>
                  <a:lnTo>
                    <a:pt x="709" y="153"/>
                  </a:lnTo>
                  <a:lnTo>
                    <a:pt x="709" y="152"/>
                  </a:lnTo>
                  <a:lnTo>
                    <a:pt x="709" y="150"/>
                  </a:lnTo>
                  <a:lnTo>
                    <a:pt x="710" y="148"/>
                  </a:lnTo>
                  <a:lnTo>
                    <a:pt x="710" y="150"/>
                  </a:lnTo>
                  <a:lnTo>
                    <a:pt x="710" y="148"/>
                  </a:lnTo>
                  <a:lnTo>
                    <a:pt x="712" y="148"/>
                  </a:lnTo>
                  <a:lnTo>
                    <a:pt x="712" y="150"/>
                  </a:lnTo>
                  <a:lnTo>
                    <a:pt x="714" y="148"/>
                  </a:lnTo>
                  <a:lnTo>
                    <a:pt x="714" y="150"/>
                  </a:lnTo>
                  <a:lnTo>
                    <a:pt x="714" y="148"/>
                  </a:lnTo>
                  <a:lnTo>
                    <a:pt x="714" y="150"/>
                  </a:lnTo>
                  <a:lnTo>
                    <a:pt x="714" y="148"/>
                  </a:lnTo>
                  <a:lnTo>
                    <a:pt x="714" y="150"/>
                  </a:lnTo>
                  <a:lnTo>
                    <a:pt x="714" y="152"/>
                  </a:lnTo>
                  <a:lnTo>
                    <a:pt x="715" y="152"/>
                  </a:lnTo>
                  <a:lnTo>
                    <a:pt x="715" y="150"/>
                  </a:lnTo>
                  <a:lnTo>
                    <a:pt x="715" y="152"/>
                  </a:lnTo>
                  <a:lnTo>
                    <a:pt x="715" y="150"/>
                  </a:lnTo>
                  <a:lnTo>
                    <a:pt x="715" y="148"/>
                  </a:lnTo>
                  <a:lnTo>
                    <a:pt x="715" y="147"/>
                  </a:lnTo>
                  <a:lnTo>
                    <a:pt x="715" y="143"/>
                  </a:lnTo>
                  <a:lnTo>
                    <a:pt x="715" y="142"/>
                  </a:lnTo>
                  <a:lnTo>
                    <a:pt x="714" y="140"/>
                  </a:lnTo>
                  <a:lnTo>
                    <a:pt x="712" y="142"/>
                  </a:lnTo>
                  <a:lnTo>
                    <a:pt x="712" y="140"/>
                  </a:lnTo>
                  <a:lnTo>
                    <a:pt x="712" y="139"/>
                  </a:lnTo>
                  <a:lnTo>
                    <a:pt x="710" y="137"/>
                  </a:lnTo>
                  <a:lnTo>
                    <a:pt x="709" y="135"/>
                  </a:lnTo>
                  <a:lnTo>
                    <a:pt x="709" y="134"/>
                  </a:lnTo>
                  <a:lnTo>
                    <a:pt x="709" y="135"/>
                  </a:lnTo>
                  <a:lnTo>
                    <a:pt x="707" y="135"/>
                  </a:lnTo>
                  <a:lnTo>
                    <a:pt x="706" y="135"/>
                  </a:lnTo>
                  <a:lnTo>
                    <a:pt x="704" y="135"/>
                  </a:lnTo>
                  <a:lnTo>
                    <a:pt x="704" y="137"/>
                  </a:lnTo>
                  <a:lnTo>
                    <a:pt x="706" y="139"/>
                  </a:lnTo>
                  <a:lnTo>
                    <a:pt x="704" y="139"/>
                  </a:lnTo>
                  <a:lnTo>
                    <a:pt x="704" y="140"/>
                  </a:lnTo>
                  <a:lnTo>
                    <a:pt x="704" y="142"/>
                  </a:lnTo>
                  <a:lnTo>
                    <a:pt x="702" y="142"/>
                  </a:lnTo>
                  <a:lnTo>
                    <a:pt x="702" y="143"/>
                  </a:lnTo>
                  <a:lnTo>
                    <a:pt x="701" y="142"/>
                  </a:lnTo>
                  <a:lnTo>
                    <a:pt x="701" y="143"/>
                  </a:lnTo>
                  <a:lnTo>
                    <a:pt x="699" y="143"/>
                  </a:lnTo>
                  <a:lnTo>
                    <a:pt x="699" y="142"/>
                  </a:lnTo>
                  <a:lnTo>
                    <a:pt x="701" y="140"/>
                  </a:lnTo>
                  <a:lnTo>
                    <a:pt x="701" y="139"/>
                  </a:lnTo>
                  <a:lnTo>
                    <a:pt x="699" y="137"/>
                  </a:lnTo>
                  <a:lnTo>
                    <a:pt x="697" y="139"/>
                  </a:lnTo>
                  <a:lnTo>
                    <a:pt x="699" y="139"/>
                  </a:lnTo>
                  <a:lnTo>
                    <a:pt x="697" y="139"/>
                  </a:lnTo>
                  <a:lnTo>
                    <a:pt x="696" y="139"/>
                  </a:lnTo>
                  <a:lnTo>
                    <a:pt x="696" y="140"/>
                  </a:lnTo>
                  <a:lnTo>
                    <a:pt x="694" y="142"/>
                  </a:lnTo>
                  <a:lnTo>
                    <a:pt x="693" y="142"/>
                  </a:lnTo>
                  <a:lnTo>
                    <a:pt x="691" y="140"/>
                  </a:lnTo>
                  <a:lnTo>
                    <a:pt x="693" y="139"/>
                  </a:lnTo>
                  <a:lnTo>
                    <a:pt x="694" y="137"/>
                  </a:lnTo>
                  <a:lnTo>
                    <a:pt x="693" y="137"/>
                  </a:lnTo>
                  <a:lnTo>
                    <a:pt x="694" y="135"/>
                  </a:lnTo>
                  <a:lnTo>
                    <a:pt x="694" y="134"/>
                  </a:lnTo>
                  <a:lnTo>
                    <a:pt x="694" y="132"/>
                  </a:lnTo>
                  <a:lnTo>
                    <a:pt x="694" y="134"/>
                  </a:lnTo>
                  <a:lnTo>
                    <a:pt x="694" y="132"/>
                  </a:lnTo>
                  <a:lnTo>
                    <a:pt x="696" y="130"/>
                  </a:lnTo>
                  <a:lnTo>
                    <a:pt x="694" y="129"/>
                  </a:lnTo>
                  <a:lnTo>
                    <a:pt x="693" y="129"/>
                  </a:lnTo>
                  <a:lnTo>
                    <a:pt x="693" y="127"/>
                  </a:lnTo>
                  <a:lnTo>
                    <a:pt x="691" y="127"/>
                  </a:lnTo>
                  <a:lnTo>
                    <a:pt x="691" y="126"/>
                  </a:lnTo>
                  <a:lnTo>
                    <a:pt x="689" y="126"/>
                  </a:lnTo>
                  <a:lnTo>
                    <a:pt x="689" y="124"/>
                  </a:lnTo>
                  <a:lnTo>
                    <a:pt x="689" y="122"/>
                  </a:lnTo>
                  <a:lnTo>
                    <a:pt x="689" y="121"/>
                  </a:lnTo>
                  <a:lnTo>
                    <a:pt x="691" y="119"/>
                  </a:lnTo>
                  <a:lnTo>
                    <a:pt x="693" y="119"/>
                  </a:lnTo>
                  <a:lnTo>
                    <a:pt x="694" y="119"/>
                  </a:lnTo>
                  <a:lnTo>
                    <a:pt x="694" y="121"/>
                  </a:lnTo>
                  <a:lnTo>
                    <a:pt x="696" y="124"/>
                  </a:lnTo>
                  <a:lnTo>
                    <a:pt x="697" y="126"/>
                  </a:lnTo>
                  <a:lnTo>
                    <a:pt x="697" y="127"/>
                  </a:lnTo>
                  <a:lnTo>
                    <a:pt x="699" y="129"/>
                  </a:lnTo>
                  <a:lnTo>
                    <a:pt x="701" y="130"/>
                  </a:lnTo>
                  <a:lnTo>
                    <a:pt x="702" y="132"/>
                  </a:lnTo>
                  <a:lnTo>
                    <a:pt x="706" y="134"/>
                  </a:lnTo>
                  <a:lnTo>
                    <a:pt x="707" y="134"/>
                  </a:lnTo>
                  <a:lnTo>
                    <a:pt x="709" y="134"/>
                  </a:lnTo>
                  <a:lnTo>
                    <a:pt x="712" y="135"/>
                  </a:lnTo>
                  <a:lnTo>
                    <a:pt x="715" y="139"/>
                  </a:lnTo>
                  <a:lnTo>
                    <a:pt x="717" y="140"/>
                  </a:lnTo>
                  <a:lnTo>
                    <a:pt x="719" y="142"/>
                  </a:lnTo>
                  <a:lnTo>
                    <a:pt x="722" y="145"/>
                  </a:lnTo>
                  <a:lnTo>
                    <a:pt x="723" y="147"/>
                  </a:lnTo>
                  <a:lnTo>
                    <a:pt x="725" y="147"/>
                  </a:lnTo>
                  <a:lnTo>
                    <a:pt x="725" y="148"/>
                  </a:lnTo>
                  <a:lnTo>
                    <a:pt x="727" y="148"/>
                  </a:lnTo>
                  <a:lnTo>
                    <a:pt x="727" y="150"/>
                  </a:lnTo>
                  <a:lnTo>
                    <a:pt x="728" y="152"/>
                  </a:lnTo>
                  <a:lnTo>
                    <a:pt x="730" y="152"/>
                  </a:lnTo>
                  <a:lnTo>
                    <a:pt x="730" y="153"/>
                  </a:lnTo>
                  <a:lnTo>
                    <a:pt x="728" y="155"/>
                  </a:lnTo>
                  <a:lnTo>
                    <a:pt x="730" y="158"/>
                  </a:lnTo>
                  <a:lnTo>
                    <a:pt x="732" y="161"/>
                  </a:lnTo>
                  <a:lnTo>
                    <a:pt x="730" y="161"/>
                  </a:lnTo>
                  <a:lnTo>
                    <a:pt x="728" y="161"/>
                  </a:lnTo>
                  <a:lnTo>
                    <a:pt x="727" y="161"/>
                  </a:lnTo>
                  <a:lnTo>
                    <a:pt x="725" y="161"/>
                  </a:lnTo>
                  <a:lnTo>
                    <a:pt x="723" y="161"/>
                  </a:lnTo>
                  <a:lnTo>
                    <a:pt x="722" y="161"/>
                  </a:lnTo>
                  <a:lnTo>
                    <a:pt x="720" y="161"/>
                  </a:lnTo>
                  <a:lnTo>
                    <a:pt x="719" y="161"/>
                  </a:lnTo>
                  <a:lnTo>
                    <a:pt x="717" y="161"/>
                  </a:lnTo>
                  <a:lnTo>
                    <a:pt x="715" y="161"/>
                  </a:lnTo>
                  <a:lnTo>
                    <a:pt x="714" y="163"/>
                  </a:lnTo>
                  <a:lnTo>
                    <a:pt x="714" y="165"/>
                  </a:lnTo>
                  <a:lnTo>
                    <a:pt x="712" y="165"/>
                  </a:lnTo>
                  <a:lnTo>
                    <a:pt x="710" y="165"/>
                  </a:lnTo>
                  <a:lnTo>
                    <a:pt x="707" y="166"/>
                  </a:lnTo>
                  <a:lnTo>
                    <a:pt x="706" y="166"/>
                  </a:lnTo>
                  <a:lnTo>
                    <a:pt x="704" y="166"/>
                  </a:lnTo>
                  <a:lnTo>
                    <a:pt x="702" y="166"/>
                  </a:lnTo>
                  <a:lnTo>
                    <a:pt x="701" y="166"/>
                  </a:lnTo>
                  <a:lnTo>
                    <a:pt x="699" y="166"/>
                  </a:lnTo>
                  <a:lnTo>
                    <a:pt x="697" y="166"/>
                  </a:lnTo>
                  <a:lnTo>
                    <a:pt x="697" y="165"/>
                  </a:lnTo>
                  <a:lnTo>
                    <a:pt x="699" y="165"/>
                  </a:lnTo>
                  <a:lnTo>
                    <a:pt x="699" y="163"/>
                  </a:lnTo>
                  <a:lnTo>
                    <a:pt x="697" y="163"/>
                  </a:lnTo>
                  <a:lnTo>
                    <a:pt x="697" y="165"/>
                  </a:lnTo>
                  <a:lnTo>
                    <a:pt x="696" y="165"/>
                  </a:lnTo>
                  <a:lnTo>
                    <a:pt x="697" y="165"/>
                  </a:lnTo>
                  <a:lnTo>
                    <a:pt x="696" y="165"/>
                  </a:lnTo>
                  <a:lnTo>
                    <a:pt x="697" y="165"/>
                  </a:lnTo>
                  <a:lnTo>
                    <a:pt x="697" y="166"/>
                  </a:lnTo>
                  <a:lnTo>
                    <a:pt x="699" y="166"/>
                  </a:lnTo>
                  <a:lnTo>
                    <a:pt x="701" y="166"/>
                  </a:lnTo>
                  <a:lnTo>
                    <a:pt x="701" y="168"/>
                  </a:lnTo>
                  <a:lnTo>
                    <a:pt x="702" y="168"/>
                  </a:lnTo>
                  <a:lnTo>
                    <a:pt x="702" y="169"/>
                  </a:lnTo>
                  <a:lnTo>
                    <a:pt x="704" y="171"/>
                  </a:lnTo>
                  <a:lnTo>
                    <a:pt x="706" y="173"/>
                  </a:lnTo>
                  <a:lnTo>
                    <a:pt x="706" y="171"/>
                  </a:lnTo>
                  <a:lnTo>
                    <a:pt x="707" y="173"/>
                  </a:lnTo>
                  <a:lnTo>
                    <a:pt x="707" y="174"/>
                  </a:lnTo>
                  <a:lnTo>
                    <a:pt x="709" y="174"/>
                  </a:lnTo>
                  <a:lnTo>
                    <a:pt x="710" y="176"/>
                  </a:lnTo>
                  <a:lnTo>
                    <a:pt x="712" y="176"/>
                  </a:lnTo>
                  <a:lnTo>
                    <a:pt x="714" y="178"/>
                  </a:lnTo>
                  <a:lnTo>
                    <a:pt x="714" y="176"/>
                  </a:lnTo>
                  <a:lnTo>
                    <a:pt x="715" y="178"/>
                  </a:lnTo>
                  <a:lnTo>
                    <a:pt x="717" y="178"/>
                  </a:lnTo>
                  <a:lnTo>
                    <a:pt x="719" y="179"/>
                  </a:lnTo>
                  <a:lnTo>
                    <a:pt x="719" y="178"/>
                  </a:lnTo>
                  <a:lnTo>
                    <a:pt x="719" y="179"/>
                  </a:lnTo>
                  <a:lnTo>
                    <a:pt x="720" y="179"/>
                  </a:lnTo>
                  <a:lnTo>
                    <a:pt x="722" y="179"/>
                  </a:lnTo>
                  <a:lnTo>
                    <a:pt x="722" y="181"/>
                  </a:lnTo>
                  <a:lnTo>
                    <a:pt x="723" y="181"/>
                  </a:lnTo>
                  <a:lnTo>
                    <a:pt x="725" y="181"/>
                  </a:lnTo>
                  <a:lnTo>
                    <a:pt x="727" y="179"/>
                  </a:lnTo>
                  <a:lnTo>
                    <a:pt x="728" y="179"/>
                  </a:lnTo>
                  <a:lnTo>
                    <a:pt x="728" y="181"/>
                  </a:lnTo>
                  <a:lnTo>
                    <a:pt x="730" y="181"/>
                  </a:lnTo>
                  <a:lnTo>
                    <a:pt x="730" y="179"/>
                  </a:lnTo>
                  <a:lnTo>
                    <a:pt x="732" y="179"/>
                  </a:lnTo>
                  <a:lnTo>
                    <a:pt x="732" y="178"/>
                  </a:lnTo>
                  <a:lnTo>
                    <a:pt x="733" y="178"/>
                  </a:lnTo>
                  <a:lnTo>
                    <a:pt x="733" y="176"/>
                  </a:lnTo>
                  <a:lnTo>
                    <a:pt x="735" y="178"/>
                  </a:lnTo>
                  <a:lnTo>
                    <a:pt x="737" y="178"/>
                  </a:lnTo>
                  <a:lnTo>
                    <a:pt x="737" y="179"/>
                  </a:lnTo>
                  <a:lnTo>
                    <a:pt x="737" y="181"/>
                  </a:lnTo>
                  <a:lnTo>
                    <a:pt x="735" y="181"/>
                  </a:lnTo>
                  <a:lnTo>
                    <a:pt x="737" y="182"/>
                  </a:lnTo>
                  <a:lnTo>
                    <a:pt x="735" y="182"/>
                  </a:lnTo>
                  <a:lnTo>
                    <a:pt x="733" y="184"/>
                  </a:lnTo>
                  <a:lnTo>
                    <a:pt x="732" y="184"/>
                  </a:lnTo>
                  <a:lnTo>
                    <a:pt x="733" y="186"/>
                  </a:lnTo>
                  <a:lnTo>
                    <a:pt x="735" y="186"/>
                  </a:lnTo>
                  <a:lnTo>
                    <a:pt x="737" y="186"/>
                  </a:lnTo>
                  <a:lnTo>
                    <a:pt x="738" y="187"/>
                  </a:lnTo>
                  <a:lnTo>
                    <a:pt x="738" y="189"/>
                  </a:lnTo>
                  <a:lnTo>
                    <a:pt x="738" y="191"/>
                  </a:lnTo>
                  <a:lnTo>
                    <a:pt x="738" y="195"/>
                  </a:lnTo>
                  <a:lnTo>
                    <a:pt x="741" y="197"/>
                  </a:lnTo>
                  <a:lnTo>
                    <a:pt x="741" y="200"/>
                  </a:lnTo>
                  <a:lnTo>
                    <a:pt x="741" y="205"/>
                  </a:lnTo>
                  <a:lnTo>
                    <a:pt x="741" y="207"/>
                  </a:lnTo>
                  <a:lnTo>
                    <a:pt x="743" y="208"/>
                  </a:lnTo>
                  <a:lnTo>
                    <a:pt x="743" y="210"/>
                  </a:lnTo>
                  <a:lnTo>
                    <a:pt x="743" y="213"/>
                  </a:lnTo>
                  <a:lnTo>
                    <a:pt x="745" y="213"/>
                  </a:lnTo>
                  <a:lnTo>
                    <a:pt x="746" y="213"/>
                  </a:lnTo>
                  <a:lnTo>
                    <a:pt x="746" y="215"/>
                  </a:lnTo>
                  <a:lnTo>
                    <a:pt x="746" y="217"/>
                  </a:lnTo>
                  <a:lnTo>
                    <a:pt x="746" y="220"/>
                  </a:lnTo>
                  <a:lnTo>
                    <a:pt x="748" y="220"/>
                  </a:lnTo>
                  <a:lnTo>
                    <a:pt x="748" y="223"/>
                  </a:lnTo>
                  <a:lnTo>
                    <a:pt x="748" y="225"/>
                  </a:lnTo>
                  <a:lnTo>
                    <a:pt x="748" y="226"/>
                  </a:lnTo>
                  <a:lnTo>
                    <a:pt x="750" y="230"/>
                  </a:lnTo>
                  <a:lnTo>
                    <a:pt x="751" y="231"/>
                  </a:lnTo>
                  <a:lnTo>
                    <a:pt x="751" y="233"/>
                  </a:lnTo>
                  <a:lnTo>
                    <a:pt x="750" y="234"/>
                  </a:lnTo>
                  <a:lnTo>
                    <a:pt x="750" y="236"/>
                  </a:lnTo>
                  <a:lnTo>
                    <a:pt x="751" y="236"/>
                  </a:lnTo>
                  <a:lnTo>
                    <a:pt x="753" y="238"/>
                  </a:lnTo>
                  <a:lnTo>
                    <a:pt x="753" y="239"/>
                  </a:lnTo>
                  <a:lnTo>
                    <a:pt x="753" y="241"/>
                  </a:lnTo>
                  <a:lnTo>
                    <a:pt x="753" y="244"/>
                  </a:lnTo>
                  <a:lnTo>
                    <a:pt x="754" y="244"/>
                  </a:lnTo>
                  <a:lnTo>
                    <a:pt x="754" y="246"/>
                  </a:lnTo>
                  <a:lnTo>
                    <a:pt x="756" y="246"/>
                  </a:lnTo>
                  <a:lnTo>
                    <a:pt x="756" y="247"/>
                  </a:lnTo>
                  <a:lnTo>
                    <a:pt x="754" y="249"/>
                  </a:lnTo>
                  <a:lnTo>
                    <a:pt x="754" y="251"/>
                  </a:lnTo>
                  <a:lnTo>
                    <a:pt x="753" y="252"/>
                  </a:lnTo>
                  <a:lnTo>
                    <a:pt x="753" y="254"/>
                  </a:lnTo>
                  <a:lnTo>
                    <a:pt x="753" y="256"/>
                  </a:lnTo>
                  <a:lnTo>
                    <a:pt x="751" y="256"/>
                  </a:lnTo>
                  <a:lnTo>
                    <a:pt x="751" y="259"/>
                  </a:lnTo>
                  <a:lnTo>
                    <a:pt x="750" y="259"/>
                  </a:lnTo>
                  <a:lnTo>
                    <a:pt x="750" y="261"/>
                  </a:lnTo>
                  <a:lnTo>
                    <a:pt x="751" y="262"/>
                  </a:lnTo>
                  <a:lnTo>
                    <a:pt x="751" y="264"/>
                  </a:lnTo>
                  <a:lnTo>
                    <a:pt x="753" y="264"/>
                  </a:lnTo>
                  <a:lnTo>
                    <a:pt x="751" y="264"/>
                  </a:lnTo>
                  <a:lnTo>
                    <a:pt x="751" y="265"/>
                  </a:lnTo>
                  <a:lnTo>
                    <a:pt x="751" y="269"/>
                  </a:lnTo>
                  <a:lnTo>
                    <a:pt x="751" y="270"/>
                  </a:lnTo>
                  <a:lnTo>
                    <a:pt x="751" y="272"/>
                  </a:lnTo>
                  <a:lnTo>
                    <a:pt x="751" y="274"/>
                  </a:lnTo>
                  <a:lnTo>
                    <a:pt x="750" y="275"/>
                  </a:lnTo>
                  <a:lnTo>
                    <a:pt x="750" y="277"/>
                  </a:lnTo>
                  <a:lnTo>
                    <a:pt x="748" y="278"/>
                  </a:lnTo>
                  <a:lnTo>
                    <a:pt x="746" y="280"/>
                  </a:lnTo>
                  <a:lnTo>
                    <a:pt x="746" y="282"/>
                  </a:lnTo>
                  <a:lnTo>
                    <a:pt x="745" y="283"/>
                  </a:lnTo>
                  <a:lnTo>
                    <a:pt x="741" y="285"/>
                  </a:lnTo>
                  <a:lnTo>
                    <a:pt x="740" y="287"/>
                  </a:lnTo>
                  <a:lnTo>
                    <a:pt x="738" y="288"/>
                  </a:lnTo>
                  <a:lnTo>
                    <a:pt x="737" y="288"/>
                  </a:lnTo>
                  <a:lnTo>
                    <a:pt x="735" y="290"/>
                  </a:lnTo>
                  <a:lnTo>
                    <a:pt x="733" y="291"/>
                  </a:lnTo>
                  <a:lnTo>
                    <a:pt x="732" y="291"/>
                  </a:lnTo>
                  <a:lnTo>
                    <a:pt x="732" y="293"/>
                  </a:lnTo>
                  <a:lnTo>
                    <a:pt x="733" y="295"/>
                  </a:lnTo>
                  <a:lnTo>
                    <a:pt x="733" y="296"/>
                  </a:lnTo>
                  <a:lnTo>
                    <a:pt x="733" y="300"/>
                  </a:lnTo>
                  <a:lnTo>
                    <a:pt x="733" y="301"/>
                  </a:lnTo>
                  <a:lnTo>
                    <a:pt x="735" y="301"/>
                  </a:lnTo>
                  <a:lnTo>
                    <a:pt x="735" y="303"/>
                  </a:lnTo>
                  <a:lnTo>
                    <a:pt x="735" y="304"/>
                  </a:lnTo>
                  <a:lnTo>
                    <a:pt x="733" y="304"/>
                  </a:lnTo>
                  <a:lnTo>
                    <a:pt x="732" y="306"/>
                  </a:lnTo>
                  <a:lnTo>
                    <a:pt x="732" y="308"/>
                  </a:lnTo>
                  <a:lnTo>
                    <a:pt x="732" y="309"/>
                  </a:lnTo>
                  <a:lnTo>
                    <a:pt x="732" y="311"/>
                  </a:lnTo>
                  <a:lnTo>
                    <a:pt x="733" y="311"/>
                  </a:lnTo>
                  <a:lnTo>
                    <a:pt x="735" y="311"/>
                  </a:lnTo>
                  <a:lnTo>
                    <a:pt x="740" y="311"/>
                  </a:lnTo>
                  <a:lnTo>
                    <a:pt x="740" y="313"/>
                  </a:lnTo>
                  <a:lnTo>
                    <a:pt x="741" y="314"/>
                  </a:lnTo>
                  <a:lnTo>
                    <a:pt x="743" y="314"/>
                  </a:lnTo>
                  <a:lnTo>
                    <a:pt x="743" y="316"/>
                  </a:lnTo>
                  <a:lnTo>
                    <a:pt x="746" y="317"/>
                  </a:lnTo>
                  <a:lnTo>
                    <a:pt x="748" y="317"/>
                  </a:lnTo>
                  <a:lnTo>
                    <a:pt x="748" y="319"/>
                  </a:lnTo>
                  <a:lnTo>
                    <a:pt x="750" y="319"/>
                  </a:lnTo>
                  <a:lnTo>
                    <a:pt x="751" y="319"/>
                  </a:lnTo>
                  <a:lnTo>
                    <a:pt x="753" y="321"/>
                  </a:lnTo>
                  <a:lnTo>
                    <a:pt x="753" y="322"/>
                  </a:lnTo>
                  <a:lnTo>
                    <a:pt x="754" y="322"/>
                  </a:lnTo>
                  <a:lnTo>
                    <a:pt x="754" y="324"/>
                  </a:lnTo>
                  <a:lnTo>
                    <a:pt x="756" y="324"/>
                  </a:lnTo>
                  <a:lnTo>
                    <a:pt x="756" y="326"/>
                  </a:lnTo>
                  <a:lnTo>
                    <a:pt x="758" y="327"/>
                  </a:lnTo>
                  <a:lnTo>
                    <a:pt x="759" y="329"/>
                  </a:lnTo>
                  <a:lnTo>
                    <a:pt x="759" y="330"/>
                  </a:lnTo>
                  <a:lnTo>
                    <a:pt x="761" y="330"/>
                  </a:lnTo>
                  <a:lnTo>
                    <a:pt x="763" y="330"/>
                  </a:lnTo>
                  <a:lnTo>
                    <a:pt x="763" y="332"/>
                  </a:lnTo>
                  <a:lnTo>
                    <a:pt x="763" y="334"/>
                  </a:lnTo>
                  <a:lnTo>
                    <a:pt x="767" y="335"/>
                  </a:lnTo>
                  <a:lnTo>
                    <a:pt x="769" y="335"/>
                  </a:lnTo>
                  <a:lnTo>
                    <a:pt x="771" y="337"/>
                  </a:lnTo>
                  <a:lnTo>
                    <a:pt x="772" y="339"/>
                  </a:lnTo>
                  <a:lnTo>
                    <a:pt x="774" y="339"/>
                  </a:lnTo>
                  <a:lnTo>
                    <a:pt x="774" y="340"/>
                  </a:lnTo>
                  <a:lnTo>
                    <a:pt x="776" y="340"/>
                  </a:lnTo>
                  <a:lnTo>
                    <a:pt x="776" y="342"/>
                  </a:lnTo>
                  <a:lnTo>
                    <a:pt x="777" y="343"/>
                  </a:lnTo>
                  <a:lnTo>
                    <a:pt x="779" y="343"/>
                  </a:lnTo>
                  <a:lnTo>
                    <a:pt x="779" y="345"/>
                  </a:lnTo>
                  <a:lnTo>
                    <a:pt x="777" y="347"/>
                  </a:lnTo>
                  <a:lnTo>
                    <a:pt x="777" y="348"/>
                  </a:lnTo>
                  <a:lnTo>
                    <a:pt x="776" y="350"/>
                  </a:lnTo>
                  <a:lnTo>
                    <a:pt x="776" y="352"/>
                  </a:lnTo>
                  <a:lnTo>
                    <a:pt x="777" y="353"/>
                  </a:lnTo>
                  <a:lnTo>
                    <a:pt x="777" y="355"/>
                  </a:lnTo>
                  <a:lnTo>
                    <a:pt x="779" y="355"/>
                  </a:lnTo>
                  <a:lnTo>
                    <a:pt x="779" y="356"/>
                  </a:lnTo>
                  <a:lnTo>
                    <a:pt x="779" y="358"/>
                  </a:lnTo>
                  <a:lnTo>
                    <a:pt x="777" y="358"/>
                  </a:lnTo>
                  <a:lnTo>
                    <a:pt x="777" y="360"/>
                  </a:lnTo>
                  <a:lnTo>
                    <a:pt x="777" y="361"/>
                  </a:lnTo>
                  <a:lnTo>
                    <a:pt x="776" y="361"/>
                  </a:lnTo>
                  <a:lnTo>
                    <a:pt x="776" y="363"/>
                  </a:lnTo>
                  <a:lnTo>
                    <a:pt x="774" y="365"/>
                  </a:lnTo>
                  <a:lnTo>
                    <a:pt x="772" y="365"/>
                  </a:lnTo>
                  <a:lnTo>
                    <a:pt x="772" y="366"/>
                  </a:lnTo>
                  <a:lnTo>
                    <a:pt x="772" y="368"/>
                  </a:lnTo>
                  <a:lnTo>
                    <a:pt x="771" y="369"/>
                  </a:lnTo>
                  <a:lnTo>
                    <a:pt x="771" y="371"/>
                  </a:lnTo>
                  <a:lnTo>
                    <a:pt x="772" y="371"/>
                  </a:lnTo>
                  <a:lnTo>
                    <a:pt x="772" y="373"/>
                  </a:lnTo>
                  <a:lnTo>
                    <a:pt x="774" y="376"/>
                  </a:lnTo>
                  <a:lnTo>
                    <a:pt x="774" y="378"/>
                  </a:lnTo>
                  <a:lnTo>
                    <a:pt x="774" y="379"/>
                  </a:lnTo>
                  <a:lnTo>
                    <a:pt x="774" y="381"/>
                  </a:lnTo>
                  <a:lnTo>
                    <a:pt x="776" y="381"/>
                  </a:lnTo>
                  <a:lnTo>
                    <a:pt x="776" y="382"/>
                  </a:lnTo>
                  <a:lnTo>
                    <a:pt x="777" y="382"/>
                  </a:lnTo>
                  <a:lnTo>
                    <a:pt x="777" y="384"/>
                  </a:lnTo>
                  <a:lnTo>
                    <a:pt x="776" y="384"/>
                  </a:lnTo>
                  <a:lnTo>
                    <a:pt x="776" y="386"/>
                  </a:lnTo>
                  <a:lnTo>
                    <a:pt x="777" y="386"/>
                  </a:lnTo>
                  <a:lnTo>
                    <a:pt x="777" y="387"/>
                  </a:lnTo>
                  <a:lnTo>
                    <a:pt x="779" y="387"/>
                  </a:lnTo>
                  <a:lnTo>
                    <a:pt x="782" y="389"/>
                  </a:lnTo>
                  <a:lnTo>
                    <a:pt x="784" y="389"/>
                  </a:lnTo>
                  <a:lnTo>
                    <a:pt x="787" y="389"/>
                  </a:lnTo>
                  <a:lnTo>
                    <a:pt x="787" y="391"/>
                  </a:lnTo>
                  <a:lnTo>
                    <a:pt x="789" y="392"/>
                  </a:lnTo>
                  <a:lnTo>
                    <a:pt x="789" y="394"/>
                  </a:lnTo>
                  <a:lnTo>
                    <a:pt x="789" y="395"/>
                  </a:lnTo>
                  <a:lnTo>
                    <a:pt x="789" y="397"/>
                  </a:lnTo>
                  <a:lnTo>
                    <a:pt x="787" y="397"/>
                  </a:lnTo>
                  <a:lnTo>
                    <a:pt x="787" y="399"/>
                  </a:lnTo>
                  <a:lnTo>
                    <a:pt x="787" y="400"/>
                  </a:lnTo>
                  <a:lnTo>
                    <a:pt x="789" y="400"/>
                  </a:lnTo>
                  <a:lnTo>
                    <a:pt x="789" y="402"/>
                  </a:lnTo>
                  <a:lnTo>
                    <a:pt x="787" y="404"/>
                  </a:lnTo>
                  <a:lnTo>
                    <a:pt x="787" y="405"/>
                  </a:lnTo>
                  <a:lnTo>
                    <a:pt x="787" y="407"/>
                  </a:lnTo>
                  <a:lnTo>
                    <a:pt x="787" y="409"/>
                  </a:lnTo>
                  <a:lnTo>
                    <a:pt x="787" y="410"/>
                  </a:lnTo>
                  <a:lnTo>
                    <a:pt x="787" y="412"/>
                  </a:lnTo>
                  <a:lnTo>
                    <a:pt x="789" y="412"/>
                  </a:lnTo>
                  <a:lnTo>
                    <a:pt x="790" y="413"/>
                  </a:lnTo>
                  <a:lnTo>
                    <a:pt x="792" y="413"/>
                  </a:lnTo>
                  <a:lnTo>
                    <a:pt x="793" y="415"/>
                  </a:lnTo>
                  <a:lnTo>
                    <a:pt x="793" y="417"/>
                  </a:lnTo>
                  <a:lnTo>
                    <a:pt x="793" y="418"/>
                  </a:lnTo>
                  <a:lnTo>
                    <a:pt x="793" y="420"/>
                  </a:lnTo>
                  <a:lnTo>
                    <a:pt x="793" y="422"/>
                  </a:lnTo>
                  <a:lnTo>
                    <a:pt x="793" y="423"/>
                  </a:lnTo>
                  <a:lnTo>
                    <a:pt x="792" y="423"/>
                  </a:lnTo>
                  <a:lnTo>
                    <a:pt x="792" y="425"/>
                  </a:lnTo>
                  <a:lnTo>
                    <a:pt x="790" y="425"/>
                  </a:lnTo>
                  <a:lnTo>
                    <a:pt x="790" y="426"/>
                  </a:lnTo>
                  <a:lnTo>
                    <a:pt x="792" y="426"/>
                  </a:lnTo>
                  <a:lnTo>
                    <a:pt x="792" y="428"/>
                  </a:lnTo>
                  <a:lnTo>
                    <a:pt x="790" y="430"/>
                  </a:lnTo>
                  <a:lnTo>
                    <a:pt x="790" y="431"/>
                  </a:lnTo>
                  <a:lnTo>
                    <a:pt x="792" y="433"/>
                  </a:lnTo>
                  <a:lnTo>
                    <a:pt x="792" y="435"/>
                  </a:lnTo>
                  <a:lnTo>
                    <a:pt x="790" y="436"/>
                  </a:lnTo>
                  <a:lnTo>
                    <a:pt x="790" y="438"/>
                  </a:lnTo>
                  <a:lnTo>
                    <a:pt x="790" y="439"/>
                  </a:lnTo>
                  <a:lnTo>
                    <a:pt x="790" y="441"/>
                  </a:lnTo>
                  <a:lnTo>
                    <a:pt x="789" y="441"/>
                  </a:lnTo>
                  <a:lnTo>
                    <a:pt x="789" y="443"/>
                  </a:lnTo>
                  <a:lnTo>
                    <a:pt x="787" y="443"/>
                  </a:lnTo>
                  <a:lnTo>
                    <a:pt x="787" y="444"/>
                  </a:lnTo>
                  <a:lnTo>
                    <a:pt x="785" y="444"/>
                  </a:lnTo>
                  <a:lnTo>
                    <a:pt x="785" y="446"/>
                  </a:lnTo>
                  <a:lnTo>
                    <a:pt x="784" y="448"/>
                  </a:lnTo>
                  <a:lnTo>
                    <a:pt x="782" y="448"/>
                  </a:lnTo>
                  <a:lnTo>
                    <a:pt x="784" y="449"/>
                  </a:lnTo>
                  <a:lnTo>
                    <a:pt x="782" y="449"/>
                  </a:lnTo>
                  <a:lnTo>
                    <a:pt x="780" y="451"/>
                  </a:lnTo>
                  <a:lnTo>
                    <a:pt x="782" y="451"/>
                  </a:lnTo>
                  <a:lnTo>
                    <a:pt x="782" y="452"/>
                  </a:lnTo>
                  <a:lnTo>
                    <a:pt x="782" y="454"/>
                  </a:lnTo>
                  <a:lnTo>
                    <a:pt x="784" y="456"/>
                  </a:lnTo>
                  <a:lnTo>
                    <a:pt x="784" y="454"/>
                  </a:lnTo>
                  <a:lnTo>
                    <a:pt x="784" y="456"/>
                  </a:lnTo>
                  <a:lnTo>
                    <a:pt x="785" y="456"/>
                  </a:lnTo>
                  <a:lnTo>
                    <a:pt x="787" y="456"/>
                  </a:lnTo>
                  <a:lnTo>
                    <a:pt x="787" y="457"/>
                  </a:lnTo>
                  <a:lnTo>
                    <a:pt x="787" y="459"/>
                  </a:lnTo>
                  <a:lnTo>
                    <a:pt x="787" y="461"/>
                  </a:lnTo>
                  <a:lnTo>
                    <a:pt x="789" y="461"/>
                  </a:lnTo>
                  <a:lnTo>
                    <a:pt x="789" y="462"/>
                  </a:lnTo>
                  <a:lnTo>
                    <a:pt x="789" y="464"/>
                  </a:lnTo>
                  <a:lnTo>
                    <a:pt x="789" y="465"/>
                  </a:lnTo>
                  <a:lnTo>
                    <a:pt x="790" y="465"/>
                  </a:lnTo>
                  <a:lnTo>
                    <a:pt x="790" y="467"/>
                  </a:lnTo>
                  <a:lnTo>
                    <a:pt x="792" y="467"/>
                  </a:lnTo>
                  <a:lnTo>
                    <a:pt x="792" y="469"/>
                  </a:lnTo>
                  <a:lnTo>
                    <a:pt x="795" y="470"/>
                  </a:lnTo>
                  <a:lnTo>
                    <a:pt x="797" y="472"/>
                  </a:lnTo>
                  <a:lnTo>
                    <a:pt x="795" y="472"/>
                  </a:lnTo>
                  <a:lnTo>
                    <a:pt x="797" y="472"/>
                  </a:lnTo>
                  <a:lnTo>
                    <a:pt x="797" y="474"/>
                  </a:lnTo>
                  <a:lnTo>
                    <a:pt x="798" y="474"/>
                  </a:lnTo>
                  <a:lnTo>
                    <a:pt x="798" y="475"/>
                  </a:lnTo>
                  <a:lnTo>
                    <a:pt x="797" y="475"/>
                  </a:lnTo>
                  <a:lnTo>
                    <a:pt x="797" y="477"/>
                  </a:lnTo>
                  <a:lnTo>
                    <a:pt x="798" y="477"/>
                  </a:lnTo>
                  <a:lnTo>
                    <a:pt x="798" y="478"/>
                  </a:lnTo>
                  <a:lnTo>
                    <a:pt x="798" y="480"/>
                  </a:lnTo>
                  <a:lnTo>
                    <a:pt x="798" y="482"/>
                  </a:lnTo>
                  <a:lnTo>
                    <a:pt x="798" y="483"/>
                  </a:lnTo>
                  <a:lnTo>
                    <a:pt x="798" y="485"/>
                  </a:lnTo>
                  <a:lnTo>
                    <a:pt x="797" y="485"/>
                  </a:lnTo>
                  <a:lnTo>
                    <a:pt x="797" y="487"/>
                  </a:lnTo>
                  <a:lnTo>
                    <a:pt x="795" y="487"/>
                  </a:lnTo>
                  <a:lnTo>
                    <a:pt x="795" y="488"/>
                  </a:lnTo>
                  <a:lnTo>
                    <a:pt x="795" y="490"/>
                  </a:lnTo>
                  <a:lnTo>
                    <a:pt x="797" y="490"/>
                  </a:lnTo>
                  <a:lnTo>
                    <a:pt x="797" y="491"/>
                  </a:lnTo>
                  <a:lnTo>
                    <a:pt x="797" y="493"/>
                  </a:lnTo>
                  <a:lnTo>
                    <a:pt x="797" y="495"/>
                  </a:lnTo>
                  <a:lnTo>
                    <a:pt x="798" y="495"/>
                  </a:lnTo>
                  <a:lnTo>
                    <a:pt x="800" y="495"/>
                  </a:lnTo>
                  <a:lnTo>
                    <a:pt x="802" y="495"/>
                  </a:lnTo>
                  <a:lnTo>
                    <a:pt x="803" y="495"/>
                  </a:lnTo>
                  <a:lnTo>
                    <a:pt x="803" y="496"/>
                  </a:lnTo>
                  <a:lnTo>
                    <a:pt x="805" y="496"/>
                  </a:lnTo>
                  <a:lnTo>
                    <a:pt x="806" y="496"/>
                  </a:lnTo>
                  <a:lnTo>
                    <a:pt x="806" y="498"/>
                  </a:lnTo>
                  <a:lnTo>
                    <a:pt x="806" y="496"/>
                  </a:lnTo>
                  <a:lnTo>
                    <a:pt x="806" y="498"/>
                  </a:lnTo>
                  <a:lnTo>
                    <a:pt x="808" y="498"/>
                  </a:lnTo>
                  <a:lnTo>
                    <a:pt x="810" y="500"/>
                  </a:lnTo>
                  <a:lnTo>
                    <a:pt x="811" y="498"/>
                  </a:lnTo>
                  <a:lnTo>
                    <a:pt x="811" y="500"/>
                  </a:lnTo>
                  <a:lnTo>
                    <a:pt x="813" y="500"/>
                  </a:lnTo>
                  <a:lnTo>
                    <a:pt x="815" y="500"/>
                  </a:lnTo>
                  <a:lnTo>
                    <a:pt x="816" y="500"/>
                  </a:lnTo>
                  <a:lnTo>
                    <a:pt x="818" y="501"/>
                  </a:lnTo>
                  <a:lnTo>
                    <a:pt x="818" y="503"/>
                  </a:lnTo>
                  <a:lnTo>
                    <a:pt x="818" y="504"/>
                  </a:lnTo>
                  <a:lnTo>
                    <a:pt x="819" y="504"/>
                  </a:lnTo>
                  <a:lnTo>
                    <a:pt x="819" y="506"/>
                  </a:lnTo>
                  <a:lnTo>
                    <a:pt x="818" y="506"/>
                  </a:lnTo>
                  <a:lnTo>
                    <a:pt x="818" y="508"/>
                  </a:lnTo>
                  <a:lnTo>
                    <a:pt x="819" y="508"/>
                  </a:lnTo>
                  <a:lnTo>
                    <a:pt x="818" y="509"/>
                  </a:lnTo>
                  <a:lnTo>
                    <a:pt x="819" y="509"/>
                  </a:lnTo>
                  <a:lnTo>
                    <a:pt x="819" y="511"/>
                  </a:lnTo>
                  <a:lnTo>
                    <a:pt x="818" y="511"/>
                  </a:lnTo>
                  <a:lnTo>
                    <a:pt x="819" y="513"/>
                  </a:lnTo>
                  <a:lnTo>
                    <a:pt x="819" y="514"/>
                  </a:lnTo>
                  <a:lnTo>
                    <a:pt x="821" y="514"/>
                  </a:lnTo>
                  <a:lnTo>
                    <a:pt x="819" y="514"/>
                  </a:lnTo>
                  <a:lnTo>
                    <a:pt x="819" y="516"/>
                  </a:lnTo>
                  <a:lnTo>
                    <a:pt x="819" y="517"/>
                  </a:lnTo>
                  <a:lnTo>
                    <a:pt x="821" y="517"/>
                  </a:lnTo>
                  <a:lnTo>
                    <a:pt x="819" y="517"/>
                  </a:lnTo>
                  <a:lnTo>
                    <a:pt x="821" y="517"/>
                  </a:lnTo>
                  <a:lnTo>
                    <a:pt x="821" y="519"/>
                  </a:lnTo>
                  <a:lnTo>
                    <a:pt x="821" y="521"/>
                  </a:lnTo>
                  <a:lnTo>
                    <a:pt x="823" y="521"/>
                  </a:lnTo>
                  <a:lnTo>
                    <a:pt x="821" y="521"/>
                  </a:lnTo>
                  <a:lnTo>
                    <a:pt x="823" y="521"/>
                  </a:lnTo>
                  <a:lnTo>
                    <a:pt x="823" y="522"/>
                  </a:lnTo>
                  <a:lnTo>
                    <a:pt x="824" y="524"/>
                  </a:lnTo>
                  <a:lnTo>
                    <a:pt x="826" y="526"/>
                  </a:lnTo>
                  <a:lnTo>
                    <a:pt x="826" y="527"/>
                  </a:lnTo>
                  <a:lnTo>
                    <a:pt x="826" y="529"/>
                  </a:lnTo>
                  <a:lnTo>
                    <a:pt x="828" y="529"/>
                  </a:lnTo>
                  <a:lnTo>
                    <a:pt x="826" y="529"/>
                  </a:lnTo>
                  <a:lnTo>
                    <a:pt x="826" y="530"/>
                  </a:lnTo>
                  <a:lnTo>
                    <a:pt x="826" y="532"/>
                  </a:lnTo>
                  <a:lnTo>
                    <a:pt x="828" y="532"/>
                  </a:lnTo>
                  <a:lnTo>
                    <a:pt x="826" y="532"/>
                  </a:lnTo>
                  <a:lnTo>
                    <a:pt x="826" y="534"/>
                  </a:lnTo>
                  <a:lnTo>
                    <a:pt x="826" y="532"/>
                  </a:lnTo>
                  <a:lnTo>
                    <a:pt x="826" y="534"/>
                  </a:lnTo>
                  <a:lnTo>
                    <a:pt x="826" y="535"/>
                  </a:lnTo>
                  <a:lnTo>
                    <a:pt x="824" y="535"/>
                  </a:lnTo>
                  <a:lnTo>
                    <a:pt x="826" y="535"/>
                  </a:lnTo>
                  <a:lnTo>
                    <a:pt x="824" y="537"/>
                  </a:lnTo>
                  <a:lnTo>
                    <a:pt x="826" y="537"/>
                  </a:lnTo>
                  <a:lnTo>
                    <a:pt x="824" y="537"/>
                  </a:lnTo>
                  <a:lnTo>
                    <a:pt x="824" y="539"/>
                  </a:lnTo>
                  <a:lnTo>
                    <a:pt x="824" y="540"/>
                  </a:lnTo>
                  <a:lnTo>
                    <a:pt x="824" y="542"/>
                  </a:lnTo>
                  <a:lnTo>
                    <a:pt x="824" y="543"/>
                  </a:lnTo>
                  <a:lnTo>
                    <a:pt x="823" y="543"/>
                  </a:lnTo>
                  <a:lnTo>
                    <a:pt x="824" y="545"/>
                  </a:lnTo>
                  <a:lnTo>
                    <a:pt x="824" y="547"/>
                  </a:lnTo>
                  <a:lnTo>
                    <a:pt x="823" y="547"/>
                  </a:lnTo>
                  <a:lnTo>
                    <a:pt x="824" y="548"/>
                  </a:lnTo>
                  <a:lnTo>
                    <a:pt x="824" y="550"/>
                  </a:lnTo>
                  <a:lnTo>
                    <a:pt x="824" y="552"/>
                  </a:lnTo>
                  <a:lnTo>
                    <a:pt x="823" y="552"/>
                  </a:lnTo>
                  <a:lnTo>
                    <a:pt x="823" y="550"/>
                  </a:lnTo>
                  <a:lnTo>
                    <a:pt x="823" y="552"/>
                  </a:lnTo>
                  <a:lnTo>
                    <a:pt x="823" y="553"/>
                  </a:lnTo>
                  <a:lnTo>
                    <a:pt x="823" y="555"/>
                  </a:lnTo>
                  <a:lnTo>
                    <a:pt x="823" y="557"/>
                  </a:lnTo>
                  <a:lnTo>
                    <a:pt x="823" y="558"/>
                  </a:lnTo>
                  <a:lnTo>
                    <a:pt x="823" y="560"/>
                  </a:lnTo>
                  <a:lnTo>
                    <a:pt x="821" y="560"/>
                  </a:lnTo>
                  <a:lnTo>
                    <a:pt x="823" y="560"/>
                  </a:lnTo>
                  <a:lnTo>
                    <a:pt x="821" y="560"/>
                  </a:lnTo>
                  <a:lnTo>
                    <a:pt x="823" y="560"/>
                  </a:lnTo>
                  <a:lnTo>
                    <a:pt x="821" y="560"/>
                  </a:lnTo>
                  <a:lnTo>
                    <a:pt x="823" y="561"/>
                  </a:lnTo>
                  <a:lnTo>
                    <a:pt x="821" y="561"/>
                  </a:lnTo>
                  <a:lnTo>
                    <a:pt x="821" y="563"/>
                  </a:lnTo>
                  <a:lnTo>
                    <a:pt x="821" y="565"/>
                  </a:lnTo>
                  <a:lnTo>
                    <a:pt x="819" y="565"/>
                  </a:lnTo>
                  <a:lnTo>
                    <a:pt x="821" y="565"/>
                  </a:lnTo>
                  <a:lnTo>
                    <a:pt x="819" y="565"/>
                  </a:lnTo>
                  <a:lnTo>
                    <a:pt x="821" y="566"/>
                  </a:lnTo>
                  <a:lnTo>
                    <a:pt x="819" y="566"/>
                  </a:lnTo>
                  <a:lnTo>
                    <a:pt x="819" y="568"/>
                  </a:lnTo>
                  <a:lnTo>
                    <a:pt x="818" y="568"/>
                  </a:lnTo>
                  <a:lnTo>
                    <a:pt x="818" y="570"/>
                  </a:lnTo>
                  <a:lnTo>
                    <a:pt x="819" y="570"/>
                  </a:lnTo>
                  <a:lnTo>
                    <a:pt x="818" y="571"/>
                  </a:lnTo>
                  <a:lnTo>
                    <a:pt x="819" y="571"/>
                  </a:lnTo>
                  <a:lnTo>
                    <a:pt x="818" y="573"/>
                  </a:lnTo>
                  <a:lnTo>
                    <a:pt x="818" y="574"/>
                  </a:lnTo>
                  <a:lnTo>
                    <a:pt x="816" y="574"/>
                  </a:lnTo>
                  <a:lnTo>
                    <a:pt x="816" y="576"/>
                  </a:lnTo>
                  <a:lnTo>
                    <a:pt x="818" y="576"/>
                  </a:lnTo>
                  <a:lnTo>
                    <a:pt x="816" y="578"/>
                  </a:lnTo>
                  <a:lnTo>
                    <a:pt x="815" y="578"/>
                  </a:lnTo>
                  <a:lnTo>
                    <a:pt x="815" y="579"/>
                  </a:lnTo>
                  <a:lnTo>
                    <a:pt x="813" y="581"/>
                  </a:lnTo>
                  <a:lnTo>
                    <a:pt x="813" y="583"/>
                  </a:lnTo>
                  <a:lnTo>
                    <a:pt x="811" y="584"/>
                  </a:lnTo>
                  <a:lnTo>
                    <a:pt x="810" y="586"/>
                  </a:lnTo>
                  <a:lnTo>
                    <a:pt x="811" y="587"/>
                  </a:lnTo>
                  <a:lnTo>
                    <a:pt x="811" y="589"/>
                  </a:lnTo>
                  <a:lnTo>
                    <a:pt x="810" y="589"/>
                  </a:lnTo>
                  <a:lnTo>
                    <a:pt x="810" y="591"/>
                  </a:lnTo>
                  <a:lnTo>
                    <a:pt x="810" y="592"/>
                  </a:lnTo>
                  <a:lnTo>
                    <a:pt x="810" y="594"/>
                  </a:lnTo>
                  <a:lnTo>
                    <a:pt x="808" y="594"/>
                  </a:lnTo>
                  <a:lnTo>
                    <a:pt x="806" y="594"/>
                  </a:lnTo>
                  <a:lnTo>
                    <a:pt x="803" y="594"/>
                  </a:lnTo>
                  <a:lnTo>
                    <a:pt x="802" y="592"/>
                  </a:lnTo>
                  <a:lnTo>
                    <a:pt x="800" y="592"/>
                  </a:lnTo>
                  <a:lnTo>
                    <a:pt x="797" y="591"/>
                  </a:lnTo>
                  <a:lnTo>
                    <a:pt x="795" y="591"/>
                  </a:lnTo>
                  <a:lnTo>
                    <a:pt x="793" y="589"/>
                  </a:lnTo>
                  <a:lnTo>
                    <a:pt x="793" y="587"/>
                  </a:lnTo>
                  <a:lnTo>
                    <a:pt x="793" y="586"/>
                  </a:lnTo>
                  <a:lnTo>
                    <a:pt x="793" y="584"/>
                  </a:lnTo>
                  <a:lnTo>
                    <a:pt x="795" y="584"/>
                  </a:lnTo>
                  <a:lnTo>
                    <a:pt x="795" y="583"/>
                  </a:lnTo>
                  <a:lnTo>
                    <a:pt x="795" y="581"/>
                  </a:lnTo>
                  <a:lnTo>
                    <a:pt x="795" y="579"/>
                  </a:lnTo>
                  <a:lnTo>
                    <a:pt x="793" y="579"/>
                  </a:lnTo>
                  <a:lnTo>
                    <a:pt x="789" y="581"/>
                  </a:lnTo>
                  <a:lnTo>
                    <a:pt x="787" y="581"/>
                  </a:lnTo>
                  <a:lnTo>
                    <a:pt x="787" y="579"/>
                  </a:lnTo>
                  <a:lnTo>
                    <a:pt x="789" y="579"/>
                  </a:lnTo>
                  <a:lnTo>
                    <a:pt x="790" y="574"/>
                  </a:lnTo>
                  <a:lnTo>
                    <a:pt x="790" y="573"/>
                  </a:lnTo>
                  <a:lnTo>
                    <a:pt x="787" y="571"/>
                  </a:lnTo>
                  <a:lnTo>
                    <a:pt x="785" y="570"/>
                  </a:lnTo>
                  <a:lnTo>
                    <a:pt x="784" y="570"/>
                  </a:lnTo>
                  <a:lnTo>
                    <a:pt x="784" y="568"/>
                  </a:lnTo>
                  <a:lnTo>
                    <a:pt x="782" y="566"/>
                  </a:lnTo>
                  <a:lnTo>
                    <a:pt x="779" y="566"/>
                  </a:lnTo>
                  <a:lnTo>
                    <a:pt x="777" y="566"/>
                  </a:lnTo>
                  <a:lnTo>
                    <a:pt x="777" y="565"/>
                  </a:lnTo>
                  <a:lnTo>
                    <a:pt x="776" y="565"/>
                  </a:lnTo>
                  <a:lnTo>
                    <a:pt x="774" y="566"/>
                  </a:lnTo>
                  <a:lnTo>
                    <a:pt x="772" y="568"/>
                  </a:lnTo>
                  <a:lnTo>
                    <a:pt x="771" y="566"/>
                  </a:lnTo>
                  <a:lnTo>
                    <a:pt x="769" y="565"/>
                  </a:lnTo>
                  <a:lnTo>
                    <a:pt x="767" y="565"/>
                  </a:lnTo>
                  <a:lnTo>
                    <a:pt x="766" y="565"/>
                  </a:lnTo>
                  <a:lnTo>
                    <a:pt x="764" y="563"/>
                  </a:lnTo>
                  <a:lnTo>
                    <a:pt x="763" y="563"/>
                  </a:lnTo>
                  <a:lnTo>
                    <a:pt x="763" y="565"/>
                  </a:lnTo>
                  <a:lnTo>
                    <a:pt x="761" y="566"/>
                  </a:lnTo>
                  <a:lnTo>
                    <a:pt x="759" y="565"/>
                  </a:lnTo>
                  <a:lnTo>
                    <a:pt x="759" y="566"/>
                  </a:lnTo>
                  <a:lnTo>
                    <a:pt x="761" y="566"/>
                  </a:lnTo>
                  <a:lnTo>
                    <a:pt x="761" y="568"/>
                  </a:lnTo>
                  <a:lnTo>
                    <a:pt x="761" y="570"/>
                  </a:lnTo>
                  <a:lnTo>
                    <a:pt x="759" y="570"/>
                  </a:lnTo>
                  <a:lnTo>
                    <a:pt x="759" y="571"/>
                  </a:lnTo>
                  <a:lnTo>
                    <a:pt x="759" y="573"/>
                  </a:lnTo>
                  <a:lnTo>
                    <a:pt x="761" y="574"/>
                  </a:lnTo>
                  <a:lnTo>
                    <a:pt x="763" y="574"/>
                  </a:lnTo>
                  <a:lnTo>
                    <a:pt x="764" y="573"/>
                  </a:lnTo>
                  <a:lnTo>
                    <a:pt x="766" y="573"/>
                  </a:lnTo>
                  <a:lnTo>
                    <a:pt x="766" y="574"/>
                  </a:lnTo>
                  <a:lnTo>
                    <a:pt x="764" y="574"/>
                  </a:lnTo>
                  <a:lnTo>
                    <a:pt x="764" y="576"/>
                  </a:lnTo>
                  <a:lnTo>
                    <a:pt x="764" y="578"/>
                  </a:lnTo>
                  <a:lnTo>
                    <a:pt x="766" y="579"/>
                  </a:lnTo>
                  <a:lnTo>
                    <a:pt x="769" y="579"/>
                  </a:lnTo>
                  <a:lnTo>
                    <a:pt x="771" y="579"/>
                  </a:lnTo>
                  <a:lnTo>
                    <a:pt x="772" y="581"/>
                  </a:lnTo>
                  <a:lnTo>
                    <a:pt x="771" y="583"/>
                  </a:lnTo>
                  <a:lnTo>
                    <a:pt x="772" y="583"/>
                  </a:lnTo>
                  <a:lnTo>
                    <a:pt x="771" y="583"/>
                  </a:lnTo>
                  <a:lnTo>
                    <a:pt x="771" y="584"/>
                  </a:lnTo>
                  <a:lnTo>
                    <a:pt x="771" y="586"/>
                  </a:lnTo>
                  <a:lnTo>
                    <a:pt x="769" y="586"/>
                  </a:lnTo>
                  <a:lnTo>
                    <a:pt x="767" y="586"/>
                  </a:lnTo>
                  <a:lnTo>
                    <a:pt x="766" y="587"/>
                  </a:lnTo>
                  <a:lnTo>
                    <a:pt x="763" y="587"/>
                  </a:lnTo>
                  <a:lnTo>
                    <a:pt x="761" y="587"/>
                  </a:lnTo>
                  <a:lnTo>
                    <a:pt x="759" y="587"/>
                  </a:lnTo>
                  <a:lnTo>
                    <a:pt x="758" y="591"/>
                  </a:lnTo>
                  <a:lnTo>
                    <a:pt x="756" y="591"/>
                  </a:lnTo>
                  <a:lnTo>
                    <a:pt x="756" y="592"/>
                  </a:lnTo>
                  <a:lnTo>
                    <a:pt x="754" y="592"/>
                  </a:lnTo>
                  <a:lnTo>
                    <a:pt x="753" y="592"/>
                  </a:lnTo>
                  <a:lnTo>
                    <a:pt x="750" y="596"/>
                  </a:lnTo>
                  <a:lnTo>
                    <a:pt x="748" y="597"/>
                  </a:lnTo>
                  <a:lnTo>
                    <a:pt x="745" y="597"/>
                  </a:lnTo>
                  <a:lnTo>
                    <a:pt x="745" y="599"/>
                  </a:lnTo>
                  <a:lnTo>
                    <a:pt x="743" y="600"/>
                  </a:lnTo>
                  <a:lnTo>
                    <a:pt x="741" y="600"/>
                  </a:lnTo>
                  <a:lnTo>
                    <a:pt x="738" y="600"/>
                  </a:lnTo>
                  <a:lnTo>
                    <a:pt x="737" y="599"/>
                  </a:lnTo>
                  <a:lnTo>
                    <a:pt x="733" y="600"/>
                  </a:lnTo>
                  <a:lnTo>
                    <a:pt x="733" y="602"/>
                  </a:lnTo>
                  <a:lnTo>
                    <a:pt x="732" y="604"/>
                  </a:lnTo>
                  <a:lnTo>
                    <a:pt x="728" y="604"/>
                  </a:lnTo>
                  <a:lnTo>
                    <a:pt x="728" y="607"/>
                  </a:lnTo>
                  <a:lnTo>
                    <a:pt x="728" y="609"/>
                  </a:lnTo>
                  <a:lnTo>
                    <a:pt x="728" y="610"/>
                  </a:lnTo>
                  <a:lnTo>
                    <a:pt x="727" y="610"/>
                  </a:lnTo>
                  <a:lnTo>
                    <a:pt x="725" y="610"/>
                  </a:lnTo>
                  <a:lnTo>
                    <a:pt x="725" y="612"/>
                  </a:lnTo>
                  <a:lnTo>
                    <a:pt x="723" y="613"/>
                  </a:lnTo>
                  <a:lnTo>
                    <a:pt x="722" y="613"/>
                  </a:lnTo>
                  <a:lnTo>
                    <a:pt x="719" y="612"/>
                  </a:lnTo>
                  <a:lnTo>
                    <a:pt x="717" y="612"/>
                  </a:lnTo>
                  <a:lnTo>
                    <a:pt x="715" y="612"/>
                  </a:lnTo>
                  <a:lnTo>
                    <a:pt x="714" y="613"/>
                  </a:lnTo>
                  <a:lnTo>
                    <a:pt x="712" y="613"/>
                  </a:lnTo>
                  <a:lnTo>
                    <a:pt x="710" y="615"/>
                  </a:lnTo>
                  <a:lnTo>
                    <a:pt x="709" y="613"/>
                  </a:lnTo>
                  <a:lnTo>
                    <a:pt x="707" y="613"/>
                  </a:lnTo>
                  <a:lnTo>
                    <a:pt x="706" y="613"/>
                  </a:lnTo>
                  <a:lnTo>
                    <a:pt x="704" y="615"/>
                  </a:lnTo>
                  <a:lnTo>
                    <a:pt x="702" y="617"/>
                  </a:lnTo>
                  <a:lnTo>
                    <a:pt x="701" y="617"/>
                  </a:lnTo>
                  <a:lnTo>
                    <a:pt x="697" y="617"/>
                  </a:lnTo>
                  <a:lnTo>
                    <a:pt x="696" y="617"/>
                  </a:lnTo>
                  <a:lnTo>
                    <a:pt x="694" y="618"/>
                  </a:lnTo>
                  <a:lnTo>
                    <a:pt x="696" y="618"/>
                  </a:lnTo>
                  <a:lnTo>
                    <a:pt x="697" y="622"/>
                  </a:lnTo>
                  <a:lnTo>
                    <a:pt x="696" y="623"/>
                  </a:lnTo>
                  <a:lnTo>
                    <a:pt x="694" y="623"/>
                  </a:lnTo>
                  <a:lnTo>
                    <a:pt x="694" y="625"/>
                  </a:lnTo>
                  <a:lnTo>
                    <a:pt x="694" y="626"/>
                  </a:lnTo>
                  <a:lnTo>
                    <a:pt x="693" y="628"/>
                  </a:lnTo>
                  <a:lnTo>
                    <a:pt x="693" y="630"/>
                  </a:lnTo>
                  <a:lnTo>
                    <a:pt x="691" y="631"/>
                  </a:lnTo>
                  <a:lnTo>
                    <a:pt x="689" y="633"/>
                  </a:lnTo>
                  <a:lnTo>
                    <a:pt x="688" y="631"/>
                  </a:lnTo>
                  <a:lnTo>
                    <a:pt x="686" y="631"/>
                  </a:lnTo>
                  <a:lnTo>
                    <a:pt x="683" y="628"/>
                  </a:lnTo>
                  <a:lnTo>
                    <a:pt x="683" y="626"/>
                  </a:lnTo>
                  <a:lnTo>
                    <a:pt x="681" y="626"/>
                  </a:lnTo>
                  <a:lnTo>
                    <a:pt x="681" y="628"/>
                  </a:lnTo>
                  <a:lnTo>
                    <a:pt x="681" y="630"/>
                  </a:lnTo>
                  <a:lnTo>
                    <a:pt x="681" y="631"/>
                  </a:lnTo>
                  <a:lnTo>
                    <a:pt x="678" y="631"/>
                  </a:lnTo>
                  <a:lnTo>
                    <a:pt x="678" y="633"/>
                  </a:lnTo>
                  <a:lnTo>
                    <a:pt x="676" y="633"/>
                  </a:lnTo>
                  <a:lnTo>
                    <a:pt x="676" y="635"/>
                  </a:lnTo>
                  <a:lnTo>
                    <a:pt x="676" y="636"/>
                  </a:lnTo>
                  <a:lnTo>
                    <a:pt x="675" y="636"/>
                  </a:lnTo>
                  <a:lnTo>
                    <a:pt x="673" y="635"/>
                  </a:lnTo>
                  <a:lnTo>
                    <a:pt x="671" y="635"/>
                  </a:lnTo>
                  <a:lnTo>
                    <a:pt x="670" y="635"/>
                  </a:lnTo>
                  <a:lnTo>
                    <a:pt x="670" y="636"/>
                  </a:lnTo>
                  <a:lnTo>
                    <a:pt x="668" y="636"/>
                  </a:lnTo>
                  <a:lnTo>
                    <a:pt x="668" y="638"/>
                  </a:lnTo>
                  <a:lnTo>
                    <a:pt x="668" y="639"/>
                  </a:lnTo>
                  <a:lnTo>
                    <a:pt x="668" y="641"/>
                  </a:lnTo>
                  <a:lnTo>
                    <a:pt x="668" y="643"/>
                  </a:lnTo>
                  <a:lnTo>
                    <a:pt x="667" y="644"/>
                  </a:lnTo>
                  <a:lnTo>
                    <a:pt x="667" y="646"/>
                  </a:lnTo>
                  <a:lnTo>
                    <a:pt x="667" y="648"/>
                  </a:lnTo>
                  <a:lnTo>
                    <a:pt x="665" y="648"/>
                  </a:lnTo>
                  <a:lnTo>
                    <a:pt x="662" y="648"/>
                  </a:lnTo>
                  <a:lnTo>
                    <a:pt x="660" y="648"/>
                  </a:lnTo>
                  <a:lnTo>
                    <a:pt x="658" y="648"/>
                  </a:lnTo>
                  <a:lnTo>
                    <a:pt x="657" y="649"/>
                  </a:lnTo>
                  <a:lnTo>
                    <a:pt x="654" y="649"/>
                  </a:lnTo>
                  <a:lnTo>
                    <a:pt x="652" y="648"/>
                  </a:lnTo>
                  <a:lnTo>
                    <a:pt x="652" y="651"/>
                  </a:lnTo>
                  <a:lnTo>
                    <a:pt x="650" y="654"/>
                  </a:lnTo>
                  <a:lnTo>
                    <a:pt x="650" y="657"/>
                  </a:lnTo>
                  <a:lnTo>
                    <a:pt x="649" y="661"/>
                  </a:lnTo>
                  <a:lnTo>
                    <a:pt x="647" y="661"/>
                  </a:lnTo>
                  <a:lnTo>
                    <a:pt x="644" y="662"/>
                  </a:lnTo>
                  <a:lnTo>
                    <a:pt x="634" y="657"/>
                  </a:lnTo>
                  <a:lnTo>
                    <a:pt x="634" y="656"/>
                  </a:lnTo>
                  <a:lnTo>
                    <a:pt x="632" y="656"/>
                  </a:lnTo>
                  <a:lnTo>
                    <a:pt x="632" y="657"/>
                  </a:lnTo>
                  <a:lnTo>
                    <a:pt x="631" y="657"/>
                  </a:lnTo>
                  <a:lnTo>
                    <a:pt x="631" y="659"/>
                  </a:lnTo>
                  <a:lnTo>
                    <a:pt x="631" y="657"/>
                  </a:lnTo>
                  <a:lnTo>
                    <a:pt x="629" y="657"/>
                  </a:lnTo>
                  <a:lnTo>
                    <a:pt x="628" y="657"/>
                  </a:lnTo>
                  <a:lnTo>
                    <a:pt x="626" y="659"/>
                  </a:lnTo>
                  <a:lnTo>
                    <a:pt x="624" y="662"/>
                  </a:lnTo>
                  <a:lnTo>
                    <a:pt x="623" y="664"/>
                  </a:lnTo>
                  <a:lnTo>
                    <a:pt x="621" y="664"/>
                  </a:lnTo>
                  <a:lnTo>
                    <a:pt x="619" y="664"/>
                  </a:lnTo>
                  <a:lnTo>
                    <a:pt x="619" y="662"/>
                  </a:lnTo>
                  <a:lnTo>
                    <a:pt x="618" y="662"/>
                  </a:lnTo>
                  <a:lnTo>
                    <a:pt x="618" y="664"/>
                  </a:lnTo>
                  <a:lnTo>
                    <a:pt x="616" y="664"/>
                  </a:lnTo>
                  <a:lnTo>
                    <a:pt x="615" y="662"/>
                  </a:lnTo>
                  <a:lnTo>
                    <a:pt x="608" y="665"/>
                  </a:lnTo>
                  <a:lnTo>
                    <a:pt x="606" y="665"/>
                  </a:lnTo>
                  <a:lnTo>
                    <a:pt x="605" y="665"/>
                  </a:lnTo>
                  <a:lnTo>
                    <a:pt x="603" y="665"/>
                  </a:lnTo>
                  <a:lnTo>
                    <a:pt x="603" y="667"/>
                  </a:lnTo>
                  <a:lnTo>
                    <a:pt x="603" y="669"/>
                  </a:lnTo>
                  <a:lnTo>
                    <a:pt x="602" y="670"/>
                  </a:lnTo>
                  <a:lnTo>
                    <a:pt x="602" y="672"/>
                  </a:lnTo>
                  <a:lnTo>
                    <a:pt x="600" y="672"/>
                  </a:lnTo>
                  <a:lnTo>
                    <a:pt x="598" y="674"/>
                  </a:lnTo>
                  <a:lnTo>
                    <a:pt x="598" y="675"/>
                  </a:lnTo>
                  <a:lnTo>
                    <a:pt x="597" y="677"/>
                  </a:lnTo>
                  <a:lnTo>
                    <a:pt x="595" y="677"/>
                  </a:lnTo>
                  <a:lnTo>
                    <a:pt x="595" y="680"/>
                  </a:lnTo>
                  <a:lnTo>
                    <a:pt x="593" y="682"/>
                  </a:lnTo>
                  <a:lnTo>
                    <a:pt x="592" y="683"/>
                  </a:lnTo>
                  <a:lnTo>
                    <a:pt x="590" y="683"/>
                  </a:lnTo>
                  <a:lnTo>
                    <a:pt x="592" y="685"/>
                  </a:lnTo>
                  <a:lnTo>
                    <a:pt x="590" y="685"/>
                  </a:lnTo>
                  <a:lnTo>
                    <a:pt x="590" y="688"/>
                  </a:lnTo>
                  <a:lnTo>
                    <a:pt x="589" y="688"/>
                  </a:lnTo>
                  <a:lnTo>
                    <a:pt x="589" y="690"/>
                  </a:lnTo>
                  <a:lnTo>
                    <a:pt x="589" y="692"/>
                  </a:lnTo>
                  <a:lnTo>
                    <a:pt x="589" y="695"/>
                  </a:lnTo>
                  <a:lnTo>
                    <a:pt x="589" y="696"/>
                  </a:lnTo>
                  <a:lnTo>
                    <a:pt x="589" y="698"/>
                  </a:lnTo>
                  <a:lnTo>
                    <a:pt x="585" y="698"/>
                  </a:lnTo>
                  <a:lnTo>
                    <a:pt x="585" y="696"/>
                  </a:lnTo>
                  <a:lnTo>
                    <a:pt x="584" y="696"/>
                  </a:lnTo>
                  <a:lnTo>
                    <a:pt x="584" y="695"/>
                  </a:lnTo>
                  <a:lnTo>
                    <a:pt x="584" y="693"/>
                  </a:lnTo>
                  <a:lnTo>
                    <a:pt x="584" y="692"/>
                  </a:lnTo>
                  <a:lnTo>
                    <a:pt x="584" y="690"/>
                  </a:lnTo>
                  <a:lnTo>
                    <a:pt x="582" y="690"/>
                  </a:lnTo>
                  <a:lnTo>
                    <a:pt x="580" y="688"/>
                  </a:lnTo>
                  <a:lnTo>
                    <a:pt x="580" y="687"/>
                  </a:lnTo>
                  <a:lnTo>
                    <a:pt x="582" y="687"/>
                  </a:lnTo>
                  <a:lnTo>
                    <a:pt x="582" y="685"/>
                  </a:lnTo>
                  <a:lnTo>
                    <a:pt x="580" y="683"/>
                  </a:lnTo>
                  <a:lnTo>
                    <a:pt x="579" y="685"/>
                  </a:lnTo>
                  <a:lnTo>
                    <a:pt x="577" y="685"/>
                  </a:lnTo>
                  <a:lnTo>
                    <a:pt x="575" y="685"/>
                  </a:lnTo>
                  <a:lnTo>
                    <a:pt x="575" y="680"/>
                  </a:lnTo>
                  <a:lnTo>
                    <a:pt x="575" y="678"/>
                  </a:lnTo>
                  <a:lnTo>
                    <a:pt x="575" y="677"/>
                  </a:lnTo>
                  <a:lnTo>
                    <a:pt x="574" y="677"/>
                  </a:lnTo>
                  <a:lnTo>
                    <a:pt x="569" y="678"/>
                  </a:lnTo>
                  <a:lnTo>
                    <a:pt x="569" y="680"/>
                  </a:lnTo>
                  <a:lnTo>
                    <a:pt x="569" y="682"/>
                  </a:lnTo>
                  <a:lnTo>
                    <a:pt x="571" y="682"/>
                  </a:lnTo>
                  <a:lnTo>
                    <a:pt x="572" y="683"/>
                  </a:lnTo>
                  <a:lnTo>
                    <a:pt x="571" y="683"/>
                  </a:lnTo>
                  <a:lnTo>
                    <a:pt x="567" y="685"/>
                  </a:lnTo>
                  <a:lnTo>
                    <a:pt x="567" y="687"/>
                  </a:lnTo>
                  <a:lnTo>
                    <a:pt x="566" y="687"/>
                  </a:lnTo>
                  <a:lnTo>
                    <a:pt x="566" y="688"/>
                  </a:lnTo>
                  <a:lnTo>
                    <a:pt x="567" y="688"/>
                  </a:lnTo>
                  <a:lnTo>
                    <a:pt x="567" y="690"/>
                  </a:lnTo>
                  <a:lnTo>
                    <a:pt x="572" y="690"/>
                  </a:lnTo>
                  <a:lnTo>
                    <a:pt x="572" y="692"/>
                  </a:lnTo>
                  <a:lnTo>
                    <a:pt x="572" y="693"/>
                  </a:lnTo>
                  <a:lnTo>
                    <a:pt x="574" y="693"/>
                  </a:lnTo>
                  <a:lnTo>
                    <a:pt x="575" y="695"/>
                  </a:lnTo>
                  <a:lnTo>
                    <a:pt x="577" y="695"/>
                  </a:lnTo>
                  <a:lnTo>
                    <a:pt x="575" y="695"/>
                  </a:lnTo>
                  <a:lnTo>
                    <a:pt x="577" y="700"/>
                  </a:lnTo>
                  <a:lnTo>
                    <a:pt x="577" y="701"/>
                  </a:lnTo>
                  <a:lnTo>
                    <a:pt x="577" y="703"/>
                  </a:lnTo>
                  <a:lnTo>
                    <a:pt x="575" y="705"/>
                  </a:lnTo>
                  <a:lnTo>
                    <a:pt x="577" y="706"/>
                  </a:lnTo>
                  <a:lnTo>
                    <a:pt x="579" y="708"/>
                  </a:lnTo>
                  <a:lnTo>
                    <a:pt x="580" y="709"/>
                  </a:lnTo>
                  <a:lnTo>
                    <a:pt x="582" y="709"/>
                  </a:lnTo>
                  <a:lnTo>
                    <a:pt x="584" y="711"/>
                  </a:lnTo>
                  <a:lnTo>
                    <a:pt x="584" y="713"/>
                  </a:lnTo>
                  <a:lnTo>
                    <a:pt x="582" y="714"/>
                  </a:lnTo>
                  <a:lnTo>
                    <a:pt x="584" y="714"/>
                  </a:lnTo>
                  <a:lnTo>
                    <a:pt x="585" y="714"/>
                  </a:lnTo>
                  <a:lnTo>
                    <a:pt x="587" y="714"/>
                  </a:lnTo>
                  <a:lnTo>
                    <a:pt x="587" y="716"/>
                  </a:lnTo>
                  <a:lnTo>
                    <a:pt x="589" y="718"/>
                  </a:lnTo>
                  <a:lnTo>
                    <a:pt x="590" y="718"/>
                  </a:lnTo>
                  <a:lnTo>
                    <a:pt x="592" y="719"/>
                  </a:lnTo>
                  <a:lnTo>
                    <a:pt x="593" y="721"/>
                  </a:lnTo>
                  <a:lnTo>
                    <a:pt x="595" y="721"/>
                  </a:lnTo>
                  <a:lnTo>
                    <a:pt x="597" y="721"/>
                  </a:lnTo>
                  <a:lnTo>
                    <a:pt x="597" y="722"/>
                  </a:lnTo>
                  <a:lnTo>
                    <a:pt x="598" y="722"/>
                  </a:lnTo>
                  <a:lnTo>
                    <a:pt x="600" y="724"/>
                  </a:lnTo>
                  <a:lnTo>
                    <a:pt x="598" y="724"/>
                  </a:lnTo>
                  <a:lnTo>
                    <a:pt x="598" y="726"/>
                  </a:lnTo>
                  <a:lnTo>
                    <a:pt x="600" y="724"/>
                  </a:lnTo>
                  <a:lnTo>
                    <a:pt x="602" y="724"/>
                  </a:lnTo>
                  <a:lnTo>
                    <a:pt x="603" y="726"/>
                  </a:lnTo>
                  <a:lnTo>
                    <a:pt x="605" y="726"/>
                  </a:lnTo>
                  <a:lnTo>
                    <a:pt x="605" y="729"/>
                  </a:lnTo>
                  <a:lnTo>
                    <a:pt x="603" y="729"/>
                  </a:lnTo>
                  <a:lnTo>
                    <a:pt x="602" y="731"/>
                  </a:lnTo>
                  <a:lnTo>
                    <a:pt x="603" y="732"/>
                  </a:lnTo>
                  <a:lnTo>
                    <a:pt x="605" y="732"/>
                  </a:lnTo>
                  <a:lnTo>
                    <a:pt x="606" y="732"/>
                  </a:lnTo>
                  <a:lnTo>
                    <a:pt x="608" y="734"/>
                  </a:lnTo>
                  <a:lnTo>
                    <a:pt x="610" y="734"/>
                  </a:lnTo>
                  <a:lnTo>
                    <a:pt x="610" y="735"/>
                  </a:lnTo>
                  <a:lnTo>
                    <a:pt x="610" y="737"/>
                  </a:lnTo>
                  <a:lnTo>
                    <a:pt x="608" y="739"/>
                  </a:lnTo>
                  <a:lnTo>
                    <a:pt x="606" y="742"/>
                  </a:lnTo>
                  <a:lnTo>
                    <a:pt x="605" y="744"/>
                  </a:lnTo>
                  <a:lnTo>
                    <a:pt x="605" y="745"/>
                  </a:lnTo>
                  <a:lnTo>
                    <a:pt x="603" y="747"/>
                  </a:lnTo>
                  <a:lnTo>
                    <a:pt x="603" y="748"/>
                  </a:lnTo>
                  <a:lnTo>
                    <a:pt x="603" y="750"/>
                  </a:lnTo>
                  <a:lnTo>
                    <a:pt x="603" y="753"/>
                  </a:lnTo>
                  <a:lnTo>
                    <a:pt x="597" y="757"/>
                  </a:lnTo>
                  <a:lnTo>
                    <a:pt x="597" y="758"/>
                  </a:lnTo>
                  <a:lnTo>
                    <a:pt x="597" y="760"/>
                  </a:lnTo>
                  <a:lnTo>
                    <a:pt x="598" y="761"/>
                  </a:lnTo>
                  <a:lnTo>
                    <a:pt x="600" y="761"/>
                  </a:lnTo>
                  <a:lnTo>
                    <a:pt x="600" y="765"/>
                  </a:lnTo>
                  <a:lnTo>
                    <a:pt x="602" y="765"/>
                  </a:lnTo>
                  <a:lnTo>
                    <a:pt x="605" y="766"/>
                  </a:lnTo>
                  <a:lnTo>
                    <a:pt x="606" y="768"/>
                  </a:lnTo>
                  <a:lnTo>
                    <a:pt x="608" y="768"/>
                  </a:lnTo>
                  <a:lnTo>
                    <a:pt x="610" y="770"/>
                  </a:lnTo>
                  <a:lnTo>
                    <a:pt x="608" y="771"/>
                  </a:lnTo>
                  <a:lnTo>
                    <a:pt x="608" y="773"/>
                  </a:lnTo>
                  <a:lnTo>
                    <a:pt x="610" y="774"/>
                  </a:lnTo>
                  <a:lnTo>
                    <a:pt x="608" y="776"/>
                  </a:lnTo>
                  <a:lnTo>
                    <a:pt x="610" y="776"/>
                  </a:lnTo>
                  <a:lnTo>
                    <a:pt x="610" y="778"/>
                  </a:lnTo>
                  <a:lnTo>
                    <a:pt x="611" y="776"/>
                  </a:lnTo>
                  <a:lnTo>
                    <a:pt x="613" y="776"/>
                  </a:lnTo>
                  <a:lnTo>
                    <a:pt x="611" y="778"/>
                  </a:lnTo>
                  <a:lnTo>
                    <a:pt x="613" y="779"/>
                  </a:lnTo>
                  <a:lnTo>
                    <a:pt x="613" y="781"/>
                  </a:lnTo>
                  <a:lnTo>
                    <a:pt x="613" y="783"/>
                  </a:lnTo>
                  <a:lnTo>
                    <a:pt x="613" y="784"/>
                  </a:lnTo>
                  <a:lnTo>
                    <a:pt x="615" y="786"/>
                  </a:lnTo>
                  <a:lnTo>
                    <a:pt x="616" y="789"/>
                  </a:lnTo>
                  <a:lnTo>
                    <a:pt x="618" y="789"/>
                  </a:lnTo>
                  <a:lnTo>
                    <a:pt x="619" y="791"/>
                  </a:lnTo>
                  <a:lnTo>
                    <a:pt x="619" y="789"/>
                  </a:lnTo>
                  <a:lnTo>
                    <a:pt x="621" y="789"/>
                  </a:lnTo>
                  <a:lnTo>
                    <a:pt x="621" y="791"/>
                  </a:lnTo>
                  <a:lnTo>
                    <a:pt x="621" y="794"/>
                  </a:lnTo>
                  <a:lnTo>
                    <a:pt x="621" y="796"/>
                  </a:lnTo>
                  <a:lnTo>
                    <a:pt x="619" y="797"/>
                  </a:lnTo>
                  <a:lnTo>
                    <a:pt x="621" y="800"/>
                  </a:lnTo>
                  <a:lnTo>
                    <a:pt x="623" y="804"/>
                  </a:lnTo>
                  <a:lnTo>
                    <a:pt x="624" y="804"/>
                  </a:lnTo>
                  <a:lnTo>
                    <a:pt x="626" y="804"/>
                  </a:lnTo>
                  <a:lnTo>
                    <a:pt x="628" y="805"/>
                  </a:lnTo>
                  <a:lnTo>
                    <a:pt x="629" y="807"/>
                  </a:lnTo>
                  <a:lnTo>
                    <a:pt x="631" y="807"/>
                  </a:lnTo>
                  <a:lnTo>
                    <a:pt x="632" y="809"/>
                  </a:lnTo>
                  <a:lnTo>
                    <a:pt x="632" y="812"/>
                  </a:lnTo>
                  <a:lnTo>
                    <a:pt x="634" y="813"/>
                  </a:lnTo>
                  <a:lnTo>
                    <a:pt x="634" y="815"/>
                  </a:lnTo>
                  <a:lnTo>
                    <a:pt x="636" y="815"/>
                  </a:lnTo>
                  <a:lnTo>
                    <a:pt x="637" y="815"/>
                  </a:lnTo>
                  <a:lnTo>
                    <a:pt x="641" y="815"/>
                  </a:lnTo>
                  <a:lnTo>
                    <a:pt x="644" y="817"/>
                  </a:lnTo>
                  <a:lnTo>
                    <a:pt x="644" y="815"/>
                  </a:lnTo>
                  <a:lnTo>
                    <a:pt x="644" y="813"/>
                  </a:lnTo>
                  <a:lnTo>
                    <a:pt x="647" y="815"/>
                  </a:lnTo>
                  <a:lnTo>
                    <a:pt x="649" y="815"/>
                  </a:lnTo>
                  <a:lnTo>
                    <a:pt x="650" y="815"/>
                  </a:lnTo>
                  <a:lnTo>
                    <a:pt x="652" y="817"/>
                  </a:lnTo>
                  <a:lnTo>
                    <a:pt x="655" y="820"/>
                  </a:lnTo>
                  <a:lnTo>
                    <a:pt x="657" y="820"/>
                  </a:lnTo>
                  <a:lnTo>
                    <a:pt x="658" y="820"/>
                  </a:lnTo>
                  <a:lnTo>
                    <a:pt x="658" y="822"/>
                  </a:lnTo>
                  <a:lnTo>
                    <a:pt x="658" y="823"/>
                  </a:lnTo>
                  <a:lnTo>
                    <a:pt x="657" y="825"/>
                  </a:lnTo>
                  <a:lnTo>
                    <a:pt x="658" y="826"/>
                  </a:lnTo>
                  <a:lnTo>
                    <a:pt x="660" y="825"/>
                  </a:lnTo>
                  <a:lnTo>
                    <a:pt x="660" y="826"/>
                  </a:lnTo>
                  <a:lnTo>
                    <a:pt x="660" y="828"/>
                  </a:lnTo>
                  <a:lnTo>
                    <a:pt x="662" y="828"/>
                  </a:lnTo>
                  <a:lnTo>
                    <a:pt x="663" y="828"/>
                  </a:lnTo>
                  <a:lnTo>
                    <a:pt x="665" y="831"/>
                  </a:lnTo>
                  <a:lnTo>
                    <a:pt x="667" y="833"/>
                  </a:lnTo>
                  <a:lnTo>
                    <a:pt x="667" y="835"/>
                  </a:lnTo>
                  <a:lnTo>
                    <a:pt x="668" y="836"/>
                  </a:lnTo>
                  <a:lnTo>
                    <a:pt x="671" y="840"/>
                  </a:lnTo>
                  <a:lnTo>
                    <a:pt x="671" y="843"/>
                  </a:lnTo>
                  <a:lnTo>
                    <a:pt x="673" y="844"/>
                  </a:lnTo>
                  <a:lnTo>
                    <a:pt x="676" y="846"/>
                  </a:lnTo>
                  <a:lnTo>
                    <a:pt x="680" y="846"/>
                  </a:lnTo>
                  <a:lnTo>
                    <a:pt x="681" y="846"/>
                  </a:lnTo>
                  <a:lnTo>
                    <a:pt x="683" y="846"/>
                  </a:lnTo>
                  <a:lnTo>
                    <a:pt x="684" y="846"/>
                  </a:lnTo>
                  <a:lnTo>
                    <a:pt x="684" y="848"/>
                  </a:lnTo>
                  <a:lnTo>
                    <a:pt x="688" y="849"/>
                  </a:lnTo>
                  <a:lnTo>
                    <a:pt x="689" y="851"/>
                  </a:lnTo>
                  <a:lnTo>
                    <a:pt x="689" y="853"/>
                  </a:lnTo>
                  <a:lnTo>
                    <a:pt x="691" y="853"/>
                  </a:lnTo>
                  <a:lnTo>
                    <a:pt x="691" y="854"/>
                  </a:lnTo>
                  <a:lnTo>
                    <a:pt x="693" y="856"/>
                  </a:lnTo>
                  <a:lnTo>
                    <a:pt x="694" y="857"/>
                  </a:lnTo>
                  <a:lnTo>
                    <a:pt x="694" y="859"/>
                  </a:lnTo>
                  <a:lnTo>
                    <a:pt x="694" y="861"/>
                  </a:lnTo>
                  <a:lnTo>
                    <a:pt x="694" y="862"/>
                  </a:lnTo>
                  <a:lnTo>
                    <a:pt x="694" y="864"/>
                  </a:lnTo>
                  <a:lnTo>
                    <a:pt x="694" y="866"/>
                  </a:lnTo>
                  <a:lnTo>
                    <a:pt x="696" y="866"/>
                  </a:lnTo>
                  <a:lnTo>
                    <a:pt x="697" y="867"/>
                  </a:lnTo>
                  <a:lnTo>
                    <a:pt x="701" y="867"/>
                  </a:lnTo>
                  <a:lnTo>
                    <a:pt x="702" y="869"/>
                  </a:lnTo>
                  <a:lnTo>
                    <a:pt x="702" y="870"/>
                  </a:lnTo>
                  <a:lnTo>
                    <a:pt x="704" y="870"/>
                  </a:lnTo>
                  <a:lnTo>
                    <a:pt x="706" y="870"/>
                  </a:lnTo>
                  <a:lnTo>
                    <a:pt x="706" y="869"/>
                  </a:lnTo>
                  <a:lnTo>
                    <a:pt x="704" y="867"/>
                  </a:lnTo>
                  <a:lnTo>
                    <a:pt x="706" y="867"/>
                  </a:lnTo>
                  <a:lnTo>
                    <a:pt x="707" y="866"/>
                  </a:lnTo>
                  <a:lnTo>
                    <a:pt x="709" y="867"/>
                  </a:lnTo>
                  <a:lnTo>
                    <a:pt x="712" y="866"/>
                  </a:lnTo>
                  <a:lnTo>
                    <a:pt x="712" y="867"/>
                  </a:lnTo>
                  <a:lnTo>
                    <a:pt x="714" y="869"/>
                  </a:lnTo>
                  <a:lnTo>
                    <a:pt x="715" y="869"/>
                  </a:lnTo>
                  <a:lnTo>
                    <a:pt x="717" y="870"/>
                  </a:lnTo>
                  <a:lnTo>
                    <a:pt x="717" y="872"/>
                  </a:lnTo>
                  <a:lnTo>
                    <a:pt x="717" y="874"/>
                  </a:lnTo>
                  <a:lnTo>
                    <a:pt x="719" y="875"/>
                  </a:lnTo>
                  <a:lnTo>
                    <a:pt x="719" y="877"/>
                  </a:lnTo>
                  <a:lnTo>
                    <a:pt x="720" y="877"/>
                  </a:lnTo>
                  <a:lnTo>
                    <a:pt x="720" y="879"/>
                  </a:lnTo>
                  <a:lnTo>
                    <a:pt x="722" y="879"/>
                  </a:lnTo>
                  <a:lnTo>
                    <a:pt x="723" y="879"/>
                  </a:lnTo>
                  <a:lnTo>
                    <a:pt x="725" y="879"/>
                  </a:lnTo>
                  <a:lnTo>
                    <a:pt x="727" y="877"/>
                  </a:lnTo>
                  <a:lnTo>
                    <a:pt x="727" y="879"/>
                  </a:lnTo>
                  <a:lnTo>
                    <a:pt x="728" y="880"/>
                  </a:lnTo>
                  <a:lnTo>
                    <a:pt x="728" y="882"/>
                  </a:lnTo>
                  <a:lnTo>
                    <a:pt x="730" y="883"/>
                  </a:lnTo>
                  <a:lnTo>
                    <a:pt x="730" y="885"/>
                  </a:lnTo>
                  <a:lnTo>
                    <a:pt x="732" y="885"/>
                  </a:lnTo>
                  <a:lnTo>
                    <a:pt x="735" y="890"/>
                  </a:lnTo>
                  <a:lnTo>
                    <a:pt x="735" y="892"/>
                  </a:lnTo>
                  <a:lnTo>
                    <a:pt x="735" y="893"/>
                  </a:lnTo>
                  <a:lnTo>
                    <a:pt x="737" y="893"/>
                  </a:lnTo>
                  <a:lnTo>
                    <a:pt x="738" y="893"/>
                  </a:lnTo>
                  <a:lnTo>
                    <a:pt x="738" y="895"/>
                  </a:lnTo>
                  <a:lnTo>
                    <a:pt x="737" y="895"/>
                  </a:lnTo>
                  <a:lnTo>
                    <a:pt x="735" y="898"/>
                  </a:lnTo>
                  <a:lnTo>
                    <a:pt x="735" y="900"/>
                  </a:lnTo>
                  <a:lnTo>
                    <a:pt x="733" y="901"/>
                  </a:lnTo>
                  <a:lnTo>
                    <a:pt x="735" y="903"/>
                  </a:lnTo>
                  <a:lnTo>
                    <a:pt x="737" y="903"/>
                  </a:lnTo>
                  <a:lnTo>
                    <a:pt x="738" y="905"/>
                  </a:lnTo>
                  <a:lnTo>
                    <a:pt x="737" y="905"/>
                  </a:lnTo>
                  <a:lnTo>
                    <a:pt x="737" y="908"/>
                  </a:lnTo>
                  <a:lnTo>
                    <a:pt x="737" y="909"/>
                  </a:lnTo>
                  <a:lnTo>
                    <a:pt x="737" y="911"/>
                  </a:lnTo>
                  <a:lnTo>
                    <a:pt x="737" y="913"/>
                  </a:lnTo>
                  <a:lnTo>
                    <a:pt x="737" y="914"/>
                  </a:lnTo>
                  <a:lnTo>
                    <a:pt x="737" y="916"/>
                  </a:lnTo>
                  <a:lnTo>
                    <a:pt x="735" y="919"/>
                  </a:lnTo>
                  <a:lnTo>
                    <a:pt x="735" y="921"/>
                  </a:lnTo>
                  <a:lnTo>
                    <a:pt x="732" y="924"/>
                  </a:lnTo>
                  <a:lnTo>
                    <a:pt x="732" y="922"/>
                  </a:lnTo>
                  <a:lnTo>
                    <a:pt x="730" y="924"/>
                  </a:lnTo>
                  <a:lnTo>
                    <a:pt x="730" y="926"/>
                  </a:lnTo>
                  <a:lnTo>
                    <a:pt x="730" y="927"/>
                  </a:lnTo>
                  <a:lnTo>
                    <a:pt x="730" y="929"/>
                  </a:lnTo>
                  <a:lnTo>
                    <a:pt x="728" y="931"/>
                  </a:lnTo>
                  <a:lnTo>
                    <a:pt x="727" y="931"/>
                  </a:lnTo>
                  <a:lnTo>
                    <a:pt x="725" y="929"/>
                  </a:lnTo>
                  <a:lnTo>
                    <a:pt x="723" y="927"/>
                  </a:lnTo>
                  <a:lnTo>
                    <a:pt x="722" y="927"/>
                  </a:lnTo>
                  <a:lnTo>
                    <a:pt x="722" y="926"/>
                  </a:lnTo>
                  <a:lnTo>
                    <a:pt x="720" y="926"/>
                  </a:lnTo>
                  <a:lnTo>
                    <a:pt x="719" y="926"/>
                  </a:lnTo>
                  <a:lnTo>
                    <a:pt x="719" y="924"/>
                  </a:lnTo>
                  <a:lnTo>
                    <a:pt x="717" y="924"/>
                  </a:lnTo>
                  <a:lnTo>
                    <a:pt x="715" y="924"/>
                  </a:lnTo>
                  <a:lnTo>
                    <a:pt x="714" y="924"/>
                  </a:lnTo>
                  <a:lnTo>
                    <a:pt x="710" y="922"/>
                  </a:lnTo>
                  <a:lnTo>
                    <a:pt x="709" y="921"/>
                  </a:lnTo>
                  <a:lnTo>
                    <a:pt x="707" y="921"/>
                  </a:lnTo>
                  <a:lnTo>
                    <a:pt x="707" y="922"/>
                  </a:lnTo>
                  <a:lnTo>
                    <a:pt x="706" y="922"/>
                  </a:lnTo>
                  <a:lnTo>
                    <a:pt x="702" y="924"/>
                  </a:lnTo>
                  <a:lnTo>
                    <a:pt x="701" y="926"/>
                  </a:lnTo>
                  <a:lnTo>
                    <a:pt x="701" y="927"/>
                  </a:lnTo>
                  <a:lnTo>
                    <a:pt x="702" y="929"/>
                  </a:lnTo>
                  <a:lnTo>
                    <a:pt x="702" y="931"/>
                  </a:lnTo>
                  <a:lnTo>
                    <a:pt x="702" y="932"/>
                  </a:lnTo>
                  <a:lnTo>
                    <a:pt x="702" y="934"/>
                  </a:lnTo>
                  <a:lnTo>
                    <a:pt x="702" y="935"/>
                  </a:lnTo>
                  <a:lnTo>
                    <a:pt x="701" y="937"/>
                  </a:lnTo>
                  <a:lnTo>
                    <a:pt x="701" y="940"/>
                  </a:lnTo>
                  <a:lnTo>
                    <a:pt x="701" y="942"/>
                  </a:lnTo>
                  <a:lnTo>
                    <a:pt x="702" y="944"/>
                  </a:lnTo>
                  <a:lnTo>
                    <a:pt x="701" y="947"/>
                  </a:lnTo>
                  <a:lnTo>
                    <a:pt x="699" y="952"/>
                  </a:lnTo>
                  <a:lnTo>
                    <a:pt x="696" y="955"/>
                  </a:lnTo>
                  <a:lnTo>
                    <a:pt x="694" y="957"/>
                  </a:lnTo>
                  <a:lnTo>
                    <a:pt x="691" y="960"/>
                  </a:lnTo>
                  <a:lnTo>
                    <a:pt x="689" y="961"/>
                  </a:lnTo>
                  <a:lnTo>
                    <a:pt x="688" y="963"/>
                  </a:lnTo>
                  <a:lnTo>
                    <a:pt x="686" y="963"/>
                  </a:lnTo>
                  <a:lnTo>
                    <a:pt x="684" y="965"/>
                  </a:lnTo>
                  <a:lnTo>
                    <a:pt x="680" y="965"/>
                  </a:lnTo>
                  <a:lnTo>
                    <a:pt x="678" y="965"/>
                  </a:lnTo>
                  <a:lnTo>
                    <a:pt x="676" y="965"/>
                  </a:lnTo>
                  <a:lnTo>
                    <a:pt x="675" y="966"/>
                  </a:lnTo>
                  <a:lnTo>
                    <a:pt x="673" y="966"/>
                  </a:lnTo>
                  <a:lnTo>
                    <a:pt x="671" y="966"/>
                  </a:lnTo>
                  <a:lnTo>
                    <a:pt x="670" y="966"/>
                  </a:lnTo>
                  <a:lnTo>
                    <a:pt x="668" y="966"/>
                  </a:lnTo>
                  <a:lnTo>
                    <a:pt x="668" y="968"/>
                  </a:lnTo>
                  <a:lnTo>
                    <a:pt x="667" y="968"/>
                  </a:lnTo>
                  <a:lnTo>
                    <a:pt x="667" y="970"/>
                  </a:lnTo>
                  <a:lnTo>
                    <a:pt x="663" y="970"/>
                  </a:lnTo>
                  <a:lnTo>
                    <a:pt x="662" y="971"/>
                  </a:lnTo>
                  <a:lnTo>
                    <a:pt x="662" y="973"/>
                  </a:lnTo>
                  <a:lnTo>
                    <a:pt x="660" y="975"/>
                  </a:lnTo>
                  <a:lnTo>
                    <a:pt x="657" y="978"/>
                  </a:lnTo>
                  <a:lnTo>
                    <a:pt x="655" y="978"/>
                  </a:lnTo>
                  <a:lnTo>
                    <a:pt x="654" y="978"/>
                  </a:lnTo>
                  <a:lnTo>
                    <a:pt x="652" y="978"/>
                  </a:lnTo>
                  <a:lnTo>
                    <a:pt x="649" y="979"/>
                  </a:lnTo>
                  <a:lnTo>
                    <a:pt x="649" y="981"/>
                  </a:lnTo>
                  <a:lnTo>
                    <a:pt x="647" y="983"/>
                  </a:lnTo>
                  <a:lnTo>
                    <a:pt x="647" y="984"/>
                  </a:lnTo>
                  <a:lnTo>
                    <a:pt x="645" y="984"/>
                  </a:lnTo>
                  <a:lnTo>
                    <a:pt x="645" y="986"/>
                  </a:lnTo>
                  <a:lnTo>
                    <a:pt x="644" y="986"/>
                  </a:lnTo>
                  <a:lnTo>
                    <a:pt x="642" y="988"/>
                  </a:lnTo>
                  <a:lnTo>
                    <a:pt x="641" y="991"/>
                  </a:lnTo>
                  <a:lnTo>
                    <a:pt x="639" y="989"/>
                  </a:lnTo>
                  <a:lnTo>
                    <a:pt x="639" y="991"/>
                  </a:lnTo>
                  <a:lnTo>
                    <a:pt x="637" y="992"/>
                  </a:lnTo>
                  <a:lnTo>
                    <a:pt x="639" y="996"/>
                  </a:lnTo>
                  <a:lnTo>
                    <a:pt x="639" y="997"/>
                  </a:lnTo>
                  <a:lnTo>
                    <a:pt x="641" y="999"/>
                  </a:lnTo>
                  <a:lnTo>
                    <a:pt x="642" y="1001"/>
                  </a:lnTo>
                  <a:lnTo>
                    <a:pt x="644" y="1002"/>
                  </a:lnTo>
                  <a:lnTo>
                    <a:pt x="645" y="1004"/>
                  </a:lnTo>
                  <a:lnTo>
                    <a:pt x="647" y="1004"/>
                  </a:lnTo>
                  <a:lnTo>
                    <a:pt x="647" y="1005"/>
                  </a:lnTo>
                  <a:lnTo>
                    <a:pt x="649" y="1007"/>
                  </a:lnTo>
                  <a:lnTo>
                    <a:pt x="649" y="1009"/>
                  </a:lnTo>
                  <a:lnTo>
                    <a:pt x="650" y="1012"/>
                  </a:lnTo>
                  <a:lnTo>
                    <a:pt x="650" y="1014"/>
                  </a:lnTo>
                  <a:lnTo>
                    <a:pt x="652" y="1014"/>
                  </a:lnTo>
                  <a:lnTo>
                    <a:pt x="654" y="1014"/>
                  </a:lnTo>
                  <a:lnTo>
                    <a:pt x="655" y="1014"/>
                  </a:lnTo>
                  <a:lnTo>
                    <a:pt x="655" y="1015"/>
                  </a:lnTo>
                  <a:lnTo>
                    <a:pt x="655" y="1017"/>
                  </a:lnTo>
                  <a:lnTo>
                    <a:pt x="657" y="1017"/>
                  </a:lnTo>
                  <a:lnTo>
                    <a:pt x="657" y="1015"/>
                  </a:lnTo>
                  <a:lnTo>
                    <a:pt x="657" y="1017"/>
                  </a:lnTo>
                  <a:lnTo>
                    <a:pt x="657" y="1018"/>
                  </a:lnTo>
                  <a:lnTo>
                    <a:pt x="658" y="1018"/>
                  </a:lnTo>
                  <a:lnTo>
                    <a:pt x="658" y="1020"/>
                  </a:lnTo>
                  <a:lnTo>
                    <a:pt x="660" y="1022"/>
                  </a:lnTo>
                  <a:lnTo>
                    <a:pt x="662" y="1025"/>
                  </a:lnTo>
                  <a:lnTo>
                    <a:pt x="663" y="1028"/>
                  </a:lnTo>
                  <a:lnTo>
                    <a:pt x="663" y="1030"/>
                  </a:lnTo>
                  <a:lnTo>
                    <a:pt x="662" y="1031"/>
                  </a:lnTo>
                  <a:lnTo>
                    <a:pt x="662" y="1033"/>
                  </a:lnTo>
                  <a:lnTo>
                    <a:pt x="660" y="1036"/>
                  </a:lnTo>
                  <a:lnTo>
                    <a:pt x="658" y="1038"/>
                  </a:lnTo>
                  <a:lnTo>
                    <a:pt x="658" y="1040"/>
                  </a:lnTo>
                  <a:lnTo>
                    <a:pt x="658" y="1041"/>
                  </a:lnTo>
                  <a:lnTo>
                    <a:pt x="657" y="1043"/>
                  </a:lnTo>
                  <a:lnTo>
                    <a:pt x="655" y="1046"/>
                  </a:lnTo>
                  <a:lnTo>
                    <a:pt x="655" y="1048"/>
                  </a:lnTo>
                  <a:lnTo>
                    <a:pt x="657" y="1048"/>
                  </a:lnTo>
                  <a:lnTo>
                    <a:pt x="658" y="1049"/>
                  </a:lnTo>
                  <a:lnTo>
                    <a:pt x="660" y="1049"/>
                  </a:lnTo>
                  <a:lnTo>
                    <a:pt x="662" y="1049"/>
                  </a:lnTo>
                  <a:lnTo>
                    <a:pt x="663" y="1049"/>
                  </a:lnTo>
                  <a:lnTo>
                    <a:pt x="663" y="1048"/>
                  </a:lnTo>
                  <a:lnTo>
                    <a:pt x="665" y="1048"/>
                  </a:lnTo>
                  <a:lnTo>
                    <a:pt x="665" y="1046"/>
                  </a:lnTo>
                  <a:lnTo>
                    <a:pt x="667" y="1046"/>
                  </a:lnTo>
                  <a:lnTo>
                    <a:pt x="667" y="1048"/>
                  </a:lnTo>
                  <a:lnTo>
                    <a:pt x="670" y="1049"/>
                  </a:lnTo>
                  <a:lnTo>
                    <a:pt x="670" y="1051"/>
                  </a:lnTo>
                  <a:lnTo>
                    <a:pt x="671" y="1053"/>
                  </a:lnTo>
                  <a:lnTo>
                    <a:pt x="671" y="1054"/>
                  </a:lnTo>
                  <a:lnTo>
                    <a:pt x="673" y="1057"/>
                  </a:lnTo>
                  <a:lnTo>
                    <a:pt x="673" y="1059"/>
                  </a:lnTo>
                  <a:lnTo>
                    <a:pt x="671" y="1062"/>
                  </a:lnTo>
                  <a:lnTo>
                    <a:pt x="671" y="1064"/>
                  </a:lnTo>
                  <a:lnTo>
                    <a:pt x="671" y="1066"/>
                  </a:lnTo>
                  <a:lnTo>
                    <a:pt x="670" y="1066"/>
                  </a:lnTo>
                  <a:lnTo>
                    <a:pt x="670" y="1067"/>
                  </a:lnTo>
                  <a:lnTo>
                    <a:pt x="668" y="1067"/>
                  </a:lnTo>
                  <a:lnTo>
                    <a:pt x="670" y="1069"/>
                  </a:lnTo>
                  <a:lnTo>
                    <a:pt x="670" y="1070"/>
                  </a:lnTo>
                  <a:lnTo>
                    <a:pt x="668" y="1072"/>
                  </a:lnTo>
                  <a:lnTo>
                    <a:pt x="668" y="1074"/>
                  </a:lnTo>
                  <a:lnTo>
                    <a:pt x="670" y="1075"/>
                  </a:lnTo>
                  <a:lnTo>
                    <a:pt x="670" y="1077"/>
                  </a:lnTo>
                  <a:lnTo>
                    <a:pt x="670" y="1079"/>
                  </a:lnTo>
                  <a:lnTo>
                    <a:pt x="670" y="1080"/>
                  </a:lnTo>
                  <a:lnTo>
                    <a:pt x="668" y="1080"/>
                  </a:lnTo>
                  <a:lnTo>
                    <a:pt x="667" y="1083"/>
                  </a:lnTo>
                  <a:lnTo>
                    <a:pt x="665" y="1083"/>
                  </a:lnTo>
                  <a:lnTo>
                    <a:pt x="663" y="1082"/>
                  </a:lnTo>
                  <a:lnTo>
                    <a:pt x="660" y="1082"/>
                  </a:lnTo>
                  <a:lnTo>
                    <a:pt x="655" y="1079"/>
                  </a:lnTo>
                  <a:lnTo>
                    <a:pt x="654" y="1077"/>
                  </a:lnTo>
                  <a:lnTo>
                    <a:pt x="652" y="1075"/>
                  </a:lnTo>
                  <a:lnTo>
                    <a:pt x="650" y="1075"/>
                  </a:lnTo>
                  <a:lnTo>
                    <a:pt x="650" y="1074"/>
                  </a:lnTo>
                  <a:lnTo>
                    <a:pt x="650" y="1072"/>
                  </a:lnTo>
                  <a:lnTo>
                    <a:pt x="649" y="1074"/>
                  </a:lnTo>
                  <a:lnTo>
                    <a:pt x="647" y="1072"/>
                  </a:lnTo>
                  <a:lnTo>
                    <a:pt x="645" y="1072"/>
                  </a:lnTo>
                  <a:lnTo>
                    <a:pt x="644" y="1069"/>
                  </a:lnTo>
                  <a:lnTo>
                    <a:pt x="644" y="1066"/>
                  </a:lnTo>
                  <a:lnTo>
                    <a:pt x="645" y="1064"/>
                  </a:lnTo>
                  <a:lnTo>
                    <a:pt x="647" y="1064"/>
                  </a:lnTo>
                  <a:lnTo>
                    <a:pt x="644" y="1061"/>
                  </a:lnTo>
                  <a:lnTo>
                    <a:pt x="642" y="1061"/>
                  </a:lnTo>
                  <a:lnTo>
                    <a:pt x="641" y="1059"/>
                  </a:lnTo>
                  <a:lnTo>
                    <a:pt x="641" y="1057"/>
                  </a:lnTo>
                  <a:lnTo>
                    <a:pt x="642" y="1057"/>
                  </a:lnTo>
                  <a:lnTo>
                    <a:pt x="644" y="1056"/>
                  </a:lnTo>
                  <a:lnTo>
                    <a:pt x="642" y="1056"/>
                  </a:lnTo>
                  <a:lnTo>
                    <a:pt x="641" y="1056"/>
                  </a:lnTo>
                  <a:lnTo>
                    <a:pt x="639" y="1054"/>
                  </a:lnTo>
                  <a:lnTo>
                    <a:pt x="637" y="1054"/>
                  </a:lnTo>
                  <a:lnTo>
                    <a:pt x="636" y="1054"/>
                  </a:lnTo>
                  <a:lnTo>
                    <a:pt x="632" y="1054"/>
                  </a:lnTo>
                  <a:lnTo>
                    <a:pt x="631" y="1054"/>
                  </a:lnTo>
                  <a:lnTo>
                    <a:pt x="631" y="1056"/>
                  </a:lnTo>
                  <a:lnTo>
                    <a:pt x="629" y="1056"/>
                  </a:lnTo>
                  <a:lnTo>
                    <a:pt x="628" y="1054"/>
                  </a:lnTo>
                  <a:lnTo>
                    <a:pt x="628" y="1056"/>
                  </a:lnTo>
                  <a:lnTo>
                    <a:pt x="626" y="1056"/>
                  </a:lnTo>
                  <a:lnTo>
                    <a:pt x="624" y="1056"/>
                  </a:lnTo>
                  <a:lnTo>
                    <a:pt x="624" y="1057"/>
                  </a:lnTo>
                  <a:lnTo>
                    <a:pt x="624" y="1059"/>
                  </a:lnTo>
                  <a:lnTo>
                    <a:pt x="624" y="1061"/>
                  </a:lnTo>
                  <a:lnTo>
                    <a:pt x="623" y="1061"/>
                  </a:lnTo>
                  <a:lnTo>
                    <a:pt x="623" y="1062"/>
                  </a:lnTo>
                  <a:lnTo>
                    <a:pt x="621" y="1061"/>
                  </a:lnTo>
                  <a:lnTo>
                    <a:pt x="619" y="1061"/>
                  </a:lnTo>
                  <a:lnTo>
                    <a:pt x="618" y="1062"/>
                  </a:lnTo>
                  <a:lnTo>
                    <a:pt x="616" y="1062"/>
                  </a:lnTo>
                  <a:lnTo>
                    <a:pt x="615" y="1061"/>
                  </a:lnTo>
                  <a:lnTo>
                    <a:pt x="613" y="1059"/>
                  </a:lnTo>
                  <a:lnTo>
                    <a:pt x="610" y="1056"/>
                  </a:lnTo>
                  <a:lnTo>
                    <a:pt x="610" y="1054"/>
                  </a:lnTo>
                  <a:lnTo>
                    <a:pt x="610" y="1053"/>
                  </a:lnTo>
                  <a:lnTo>
                    <a:pt x="606" y="1054"/>
                  </a:lnTo>
                  <a:lnTo>
                    <a:pt x="605" y="1054"/>
                  </a:lnTo>
                  <a:lnTo>
                    <a:pt x="603" y="1054"/>
                  </a:lnTo>
                  <a:lnTo>
                    <a:pt x="602" y="1054"/>
                  </a:lnTo>
                  <a:lnTo>
                    <a:pt x="600" y="1054"/>
                  </a:lnTo>
                  <a:lnTo>
                    <a:pt x="600" y="1053"/>
                  </a:lnTo>
                  <a:lnTo>
                    <a:pt x="597" y="1054"/>
                  </a:lnTo>
                  <a:lnTo>
                    <a:pt x="595" y="1054"/>
                  </a:lnTo>
                  <a:lnTo>
                    <a:pt x="593" y="1056"/>
                  </a:lnTo>
                  <a:lnTo>
                    <a:pt x="592" y="1056"/>
                  </a:lnTo>
                  <a:lnTo>
                    <a:pt x="592" y="1054"/>
                  </a:lnTo>
                  <a:lnTo>
                    <a:pt x="590" y="1054"/>
                  </a:lnTo>
                  <a:lnTo>
                    <a:pt x="590" y="1053"/>
                  </a:lnTo>
                  <a:lnTo>
                    <a:pt x="592" y="1049"/>
                  </a:lnTo>
                  <a:lnTo>
                    <a:pt x="593" y="1048"/>
                  </a:lnTo>
                  <a:lnTo>
                    <a:pt x="592" y="1046"/>
                  </a:lnTo>
                  <a:lnTo>
                    <a:pt x="590" y="1049"/>
                  </a:lnTo>
                  <a:lnTo>
                    <a:pt x="589" y="1051"/>
                  </a:lnTo>
                  <a:lnTo>
                    <a:pt x="585" y="1053"/>
                  </a:lnTo>
                  <a:lnTo>
                    <a:pt x="584" y="1053"/>
                  </a:lnTo>
                  <a:lnTo>
                    <a:pt x="584" y="1054"/>
                  </a:lnTo>
                  <a:lnTo>
                    <a:pt x="584" y="1056"/>
                  </a:lnTo>
                  <a:lnTo>
                    <a:pt x="585" y="1057"/>
                  </a:lnTo>
                  <a:lnTo>
                    <a:pt x="585" y="1059"/>
                  </a:lnTo>
                  <a:lnTo>
                    <a:pt x="587" y="1061"/>
                  </a:lnTo>
                  <a:lnTo>
                    <a:pt x="587" y="1062"/>
                  </a:lnTo>
                  <a:lnTo>
                    <a:pt x="587" y="1064"/>
                  </a:lnTo>
                  <a:lnTo>
                    <a:pt x="589" y="1066"/>
                  </a:lnTo>
                  <a:lnTo>
                    <a:pt x="587" y="1066"/>
                  </a:lnTo>
                  <a:lnTo>
                    <a:pt x="587" y="1067"/>
                  </a:lnTo>
                  <a:lnTo>
                    <a:pt x="585" y="1067"/>
                  </a:lnTo>
                  <a:lnTo>
                    <a:pt x="585" y="1066"/>
                  </a:lnTo>
                  <a:lnTo>
                    <a:pt x="584" y="1066"/>
                  </a:lnTo>
                  <a:lnTo>
                    <a:pt x="582" y="1066"/>
                  </a:lnTo>
                  <a:lnTo>
                    <a:pt x="580" y="1066"/>
                  </a:lnTo>
                  <a:lnTo>
                    <a:pt x="577" y="1066"/>
                  </a:lnTo>
                  <a:lnTo>
                    <a:pt x="575" y="1066"/>
                  </a:lnTo>
                  <a:lnTo>
                    <a:pt x="574" y="1066"/>
                  </a:lnTo>
                  <a:lnTo>
                    <a:pt x="572" y="1066"/>
                  </a:lnTo>
                  <a:lnTo>
                    <a:pt x="571" y="1066"/>
                  </a:lnTo>
                  <a:lnTo>
                    <a:pt x="569" y="1064"/>
                  </a:lnTo>
                  <a:lnTo>
                    <a:pt x="566" y="1066"/>
                  </a:lnTo>
                  <a:lnTo>
                    <a:pt x="562" y="1066"/>
                  </a:lnTo>
                  <a:lnTo>
                    <a:pt x="561" y="1066"/>
                  </a:lnTo>
                  <a:lnTo>
                    <a:pt x="558" y="1067"/>
                  </a:lnTo>
                  <a:lnTo>
                    <a:pt x="556" y="1067"/>
                  </a:lnTo>
                  <a:lnTo>
                    <a:pt x="553" y="1069"/>
                  </a:lnTo>
                  <a:lnTo>
                    <a:pt x="553" y="1070"/>
                  </a:lnTo>
                  <a:lnTo>
                    <a:pt x="549" y="1070"/>
                  </a:lnTo>
                  <a:lnTo>
                    <a:pt x="548" y="1069"/>
                  </a:lnTo>
                  <a:lnTo>
                    <a:pt x="546" y="1069"/>
                  </a:lnTo>
                  <a:lnTo>
                    <a:pt x="543" y="1070"/>
                  </a:lnTo>
                  <a:lnTo>
                    <a:pt x="541" y="1069"/>
                  </a:lnTo>
                  <a:lnTo>
                    <a:pt x="540" y="1069"/>
                  </a:lnTo>
                  <a:lnTo>
                    <a:pt x="536" y="1070"/>
                  </a:lnTo>
                  <a:lnTo>
                    <a:pt x="535" y="1070"/>
                  </a:lnTo>
                  <a:lnTo>
                    <a:pt x="533" y="1069"/>
                  </a:lnTo>
                  <a:lnTo>
                    <a:pt x="532" y="1069"/>
                  </a:lnTo>
                  <a:lnTo>
                    <a:pt x="532" y="1072"/>
                  </a:lnTo>
                  <a:lnTo>
                    <a:pt x="530" y="1072"/>
                  </a:lnTo>
                  <a:lnTo>
                    <a:pt x="528" y="1074"/>
                  </a:lnTo>
                  <a:lnTo>
                    <a:pt x="528" y="1075"/>
                  </a:lnTo>
                  <a:lnTo>
                    <a:pt x="528" y="1079"/>
                  </a:lnTo>
                  <a:lnTo>
                    <a:pt x="528" y="1080"/>
                  </a:lnTo>
                  <a:lnTo>
                    <a:pt x="527" y="1080"/>
                  </a:lnTo>
                  <a:lnTo>
                    <a:pt x="525" y="1082"/>
                  </a:lnTo>
                  <a:lnTo>
                    <a:pt x="523" y="1082"/>
                  </a:lnTo>
                  <a:lnTo>
                    <a:pt x="520" y="1082"/>
                  </a:lnTo>
                  <a:lnTo>
                    <a:pt x="519" y="1082"/>
                  </a:lnTo>
                  <a:lnTo>
                    <a:pt x="517" y="1082"/>
                  </a:lnTo>
                  <a:lnTo>
                    <a:pt x="515" y="1082"/>
                  </a:lnTo>
                  <a:lnTo>
                    <a:pt x="514" y="1080"/>
                  </a:lnTo>
                  <a:lnTo>
                    <a:pt x="514" y="1082"/>
                  </a:lnTo>
                  <a:lnTo>
                    <a:pt x="512" y="1082"/>
                  </a:lnTo>
                  <a:lnTo>
                    <a:pt x="510" y="1083"/>
                  </a:lnTo>
                  <a:lnTo>
                    <a:pt x="510" y="1085"/>
                  </a:lnTo>
                  <a:lnTo>
                    <a:pt x="509" y="1087"/>
                  </a:lnTo>
                  <a:lnTo>
                    <a:pt x="510" y="1088"/>
                  </a:lnTo>
                  <a:lnTo>
                    <a:pt x="510" y="1090"/>
                  </a:lnTo>
                  <a:lnTo>
                    <a:pt x="510" y="1092"/>
                  </a:lnTo>
                  <a:lnTo>
                    <a:pt x="506" y="1092"/>
                  </a:lnTo>
                  <a:lnTo>
                    <a:pt x="504" y="1092"/>
                  </a:lnTo>
                  <a:lnTo>
                    <a:pt x="502" y="1093"/>
                  </a:lnTo>
                  <a:lnTo>
                    <a:pt x="501" y="1093"/>
                  </a:lnTo>
                  <a:lnTo>
                    <a:pt x="499" y="1095"/>
                  </a:lnTo>
                  <a:lnTo>
                    <a:pt x="499" y="1096"/>
                  </a:lnTo>
                  <a:lnTo>
                    <a:pt x="497" y="1098"/>
                  </a:lnTo>
                  <a:lnTo>
                    <a:pt x="496" y="1098"/>
                  </a:lnTo>
                  <a:lnTo>
                    <a:pt x="493" y="1098"/>
                  </a:lnTo>
                  <a:lnTo>
                    <a:pt x="494" y="1096"/>
                  </a:lnTo>
                  <a:lnTo>
                    <a:pt x="494" y="1095"/>
                  </a:lnTo>
                  <a:lnTo>
                    <a:pt x="496" y="1093"/>
                  </a:lnTo>
                  <a:lnTo>
                    <a:pt x="493" y="1093"/>
                  </a:lnTo>
                  <a:lnTo>
                    <a:pt x="491" y="1093"/>
                  </a:lnTo>
                  <a:lnTo>
                    <a:pt x="489" y="1095"/>
                  </a:lnTo>
                  <a:lnTo>
                    <a:pt x="486" y="1095"/>
                  </a:lnTo>
                  <a:lnTo>
                    <a:pt x="484" y="1096"/>
                  </a:lnTo>
                  <a:lnTo>
                    <a:pt x="483" y="1096"/>
                  </a:lnTo>
                  <a:lnTo>
                    <a:pt x="483" y="1098"/>
                  </a:lnTo>
                  <a:lnTo>
                    <a:pt x="481" y="1098"/>
                  </a:lnTo>
                  <a:lnTo>
                    <a:pt x="480" y="1098"/>
                  </a:lnTo>
                  <a:lnTo>
                    <a:pt x="478" y="1100"/>
                  </a:lnTo>
                  <a:lnTo>
                    <a:pt x="475" y="1098"/>
                  </a:lnTo>
                  <a:lnTo>
                    <a:pt x="471" y="1100"/>
                  </a:lnTo>
                  <a:lnTo>
                    <a:pt x="471" y="1098"/>
                  </a:lnTo>
                  <a:lnTo>
                    <a:pt x="468" y="1098"/>
                  </a:lnTo>
                  <a:lnTo>
                    <a:pt x="468" y="1096"/>
                  </a:lnTo>
                  <a:lnTo>
                    <a:pt x="470" y="1095"/>
                  </a:lnTo>
                  <a:lnTo>
                    <a:pt x="470" y="1093"/>
                  </a:lnTo>
                  <a:lnTo>
                    <a:pt x="467" y="1090"/>
                  </a:lnTo>
                  <a:lnTo>
                    <a:pt x="465" y="1088"/>
                  </a:lnTo>
                  <a:lnTo>
                    <a:pt x="465" y="1087"/>
                  </a:lnTo>
                  <a:lnTo>
                    <a:pt x="463" y="1087"/>
                  </a:lnTo>
                  <a:lnTo>
                    <a:pt x="462" y="1087"/>
                  </a:lnTo>
                  <a:lnTo>
                    <a:pt x="460" y="1087"/>
                  </a:lnTo>
                  <a:lnTo>
                    <a:pt x="458" y="1087"/>
                  </a:lnTo>
                  <a:lnTo>
                    <a:pt x="458" y="1083"/>
                  </a:lnTo>
                  <a:lnTo>
                    <a:pt x="460" y="1083"/>
                  </a:lnTo>
                  <a:lnTo>
                    <a:pt x="462" y="1083"/>
                  </a:lnTo>
                  <a:lnTo>
                    <a:pt x="462" y="1082"/>
                  </a:lnTo>
                  <a:lnTo>
                    <a:pt x="463" y="1082"/>
                  </a:lnTo>
                  <a:lnTo>
                    <a:pt x="462" y="1080"/>
                  </a:lnTo>
                  <a:lnTo>
                    <a:pt x="460" y="1079"/>
                  </a:lnTo>
                  <a:lnTo>
                    <a:pt x="457" y="1079"/>
                  </a:lnTo>
                  <a:lnTo>
                    <a:pt x="455" y="1080"/>
                  </a:lnTo>
                  <a:lnTo>
                    <a:pt x="454" y="1080"/>
                  </a:lnTo>
                  <a:lnTo>
                    <a:pt x="452" y="1080"/>
                  </a:lnTo>
                  <a:lnTo>
                    <a:pt x="452" y="1082"/>
                  </a:lnTo>
                  <a:lnTo>
                    <a:pt x="449" y="1082"/>
                  </a:lnTo>
                  <a:lnTo>
                    <a:pt x="447" y="1080"/>
                  </a:lnTo>
                  <a:lnTo>
                    <a:pt x="447" y="1079"/>
                  </a:lnTo>
                  <a:lnTo>
                    <a:pt x="445" y="1079"/>
                  </a:lnTo>
                  <a:lnTo>
                    <a:pt x="444" y="1079"/>
                  </a:lnTo>
                  <a:lnTo>
                    <a:pt x="442" y="1079"/>
                  </a:lnTo>
                  <a:lnTo>
                    <a:pt x="439" y="1075"/>
                  </a:lnTo>
                  <a:lnTo>
                    <a:pt x="437" y="1075"/>
                  </a:lnTo>
                  <a:lnTo>
                    <a:pt x="436" y="1075"/>
                  </a:lnTo>
                  <a:lnTo>
                    <a:pt x="434" y="1075"/>
                  </a:lnTo>
                  <a:lnTo>
                    <a:pt x="432" y="1075"/>
                  </a:lnTo>
                  <a:lnTo>
                    <a:pt x="431" y="1075"/>
                  </a:lnTo>
                  <a:lnTo>
                    <a:pt x="431" y="1077"/>
                  </a:lnTo>
                  <a:lnTo>
                    <a:pt x="431" y="1079"/>
                  </a:lnTo>
                  <a:lnTo>
                    <a:pt x="429" y="1079"/>
                  </a:lnTo>
                  <a:lnTo>
                    <a:pt x="429" y="1080"/>
                  </a:lnTo>
                  <a:lnTo>
                    <a:pt x="427" y="1079"/>
                  </a:lnTo>
                  <a:lnTo>
                    <a:pt x="423" y="1079"/>
                  </a:lnTo>
                  <a:lnTo>
                    <a:pt x="418" y="1077"/>
                  </a:lnTo>
                  <a:lnTo>
                    <a:pt x="418" y="1075"/>
                  </a:lnTo>
                  <a:lnTo>
                    <a:pt x="419" y="1075"/>
                  </a:lnTo>
                  <a:lnTo>
                    <a:pt x="419" y="1074"/>
                  </a:lnTo>
                  <a:lnTo>
                    <a:pt x="421" y="1074"/>
                  </a:lnTo>
                  <a:lnTo>
                    <a:pt x="421" y="1072"/>
                  </a:lnTo>
                  <a:lnTo>
                    <a:pt x="419" y="1072"/>
                  </a:lnTo>
                  <a:lnTo>
                    <a:pt x="418" y="1072"/>
                  </a:lnTo>
                  <a:lnTo>
                    <a:pt x="416" y="1072"/>
                  </a:lnTo>
                  <a:lnTo>
                    <a:pt x="414" y="1072"/>
                  </a:lnTo>
                  <a:lnTo>
                    <a:pt x="414" y="1074"/>
                  </a:lnTo>
                  <a:lnTo>
                    <a:pt x="418" y="1075"/>
                  </a:lnTo>
                  <a:lnTo>
                    <a:pt x="418" y="1077"/>
                  </a:lnTo>
                  <a:lnTo>
                    <a:pt x="416" y="1080"/>
                  </a:lnTo>
                  <a:lnTo>
                    <a:pt x="416" y="1082"/>
                  </a:lnTo>
                  <a:lnTo>
                    <a:pt x="416" y="1083"/>
                  </a:lnTo>
                  <a:lnTo>
                    <a:pt x="416" y="1085"/>
                  </a:lnTo>
                  <a:lnTo>
                    <a:pt x="416" y="1087"/>
                  </a:lnTo>
                  <a:lnTo>
                    <a:pt x="418" y="1087"/>
                  </a:lnTo>
                  <a:lnTo>
                    <a:pt x="419" y="1087"/>
                  </a:lnTo>
                  <a:lnTo>
                    <a:pt x="419" y="1088"/>
                  </a:lnTo>
                  <a:lnTo>
                    <a:pt x="419" y="1092"/>
                  </a:lnTo>
                  <a:lnTo>
                    <a:pt x="419" y="1093"/>
                  </a:lnTo>
                  <a:lnTo>
                    <a:pt x="419" y="1095"/>
                  </a:lnTo>
                  <a:lnTo>
                    <a:pt x="418" y="1096"/>
                  </a:lnTo>
                  <a:lnTo>
                    <a:pt x="416" y="1096"/>
                  </a:lnTo>
                  <a:lnTo>
                    <a:pt x="416" y="1098"/>
                  </a:lnTo>
                  <a:lnTo>
                    <a:pt x="416" y="1101"/>
                  </a:lnTo>
                  <a:lnTo>
                    <a:pt x="414" y="1101"/>
                  </a:lnTo>
                  <a:lnTo>
                    <a:pt x="413" y="1103"/>
                  </a:lnTo>
                  <a:lnTo>
                    <a:pt x="411" y="1105"/>
                  </a:lnTo>
                  <a:lnTo>
                    <a:pt x="410" y="1106"/>
                  </a:lnTo>
                  <a:lnTo>
                    <a:pt x="408" y="1108"/>
                  </a:lnTo>
                  <a:lnTo>
                    <a:pt x="408" y="1111"/>
                  </a:lnTo>
                  <a:lnTo>
                    <a:pt x="406" y="1111"/>
                  </a:lnTo>
                  <a:lnTo>
                    <a:pt x="406" y="1113"/>
                  </a:lnTo>
                  <a:lnTo>
                    <a:pt x="405" y="1113"/>
                  </a:lnTo>
                  <a:lnTo>
                    <a:pt x="403" y="1113"/>
                  </a:lnTo>
                  <a:lnTo>
                    <a:pt x="401" y="1114"/>
                  </a:lnTo>
                  <a:lnTo>
                    <a:pt x="400" y="1116"/>
                  </a:lnTo>
                  <a:lnTo>
                    <a:pt x="398" y="1116"/>
                  </a:lnTo>
                  <a:lnTo>
                    <a:pt x="397" y="1118"/>
                  </a:lnTo>
                  <a:lnTo>
                    <a:pt x="395" y="1116"/>
                  </a:lnTo>
                  <a:lnTo>
                    <a:pt x="393" y="1116"/>
                  </a:lnTo>
                  <a:lnTo>
                    <a:pt x="393" y="1118"/>
                  </a:lnTo>
                  <a:lnTo>
                    <a:pt x="392" y="1118"/>
                  </a:lnTo>
                  <a:lnTo>
                    <a:pt x="390" y="1118"/>
                  </a:lnTo>
                  <a:lnTo>
                    <a:pt x="390" y="1114"/>
                  </a:lnTo>
                  <a:lnTo>
                    <a:pt x="392" y="1114"/>
                  </a:lnTo>
                  <a:lnTo>
                    <a:pt x="393" y="1114"/>
                  </a:lnTo>
                  <a:lnTo>
                    <a:pt x="393" y="1113"/>
                  </a:lnTo>
                  <a:lnTo>
                    <a:pt x="395" y="1111"/>
                  </a:lnTo>
                  <a:lnTo>
                    <a:pt x="393" y="1109"/>
                  </a:lnTo>
                  <a:lnTo>
                    <a:pt x="393" y="1108"/>
                  </a:lnTo>
                  <a:lnTo>
                    <a:pt x="395" y="1105"/>
                  </a:lnTo>
                  <a:lnTo>
                    <a:pt x="397" y="1105"/>
                  </a:lnTo>
                  <a:lnTo>
                    <a:pt x="397" y="1103"/>
                  </a:lnTo>
                  <a:lnTo>
                    <a:pt x="397" y="1101"/>
                  </a:lnTo>
                  <a:lnTo>
                    <a:pt x="395" y="1101"/>
                  </a:lnTo>
                  <a:lnTo>
                    <a:pt x="393" y="1101"/>
                  </a:lnTo>
                  <a:lnTo>
                    <a:pt x="393" y="1100"/>
                  </a:lnTo>
                  <a:lnTo>
                    <a:pt x="392" y="1100"/>
                  </a:lnTo>
                  <a:lnTo>
                    <a:pt x="390" y="1101"/>
                  </a:lnTo>
                  <a:lnTo>
                    <a:pt x="390" y="1103"/>
                  </a:lnTo>
                  <a:lnTo>
                    <a:pt x="387" y="1103"/>
                  </a:lnTo>
                  <a:lnTo>
                    <a:pt x="385" y="1103"/>
                  </a:lnTo>
                  <a:lnTo>
                    <a:pt x="384" y="1106"/>
                  </a:lnTo>
                  <a:lnTo>
                    <a:pt x="382" y="1101"/>
                  </a:lnTo>
                  <a:lnTo>
                    <a:pt x="382" y="1100"/>
                  </a:lnTo>
                  <a:lnTo>
                    <a:pt x="380" y="1098"/>
                  </a:lnTo>
                  <a:lnTo>
                    <a:pt x="380" y="1096"/>
                  </a:lnTo>
                  <a:lnTo>
                    <a:pt x="384" y="1096"/>
                  </a:lnTo>
                  <a:lnTo>
                    <a:pt x="384" y="1095"/>
                  </a:lnTo>
                  <a:lnTo>
                    <a:pt x="384" y="1093"/>
                  </a:lnTo>
                  <a:lnTo>
                    <a:pt x="382" y="1092"/>
                  </a:lnTo>
                  <a:lnTo>
                    <a:pt x="382" y="1090"/>
                  </a:lnTo>
                  <a:lnTo>
                    <a:pt x="380" y="1090"/>
                  </a:lnTo>
                  <a:lnTo>
                    <a:pt x="379" y="1090"/>
                  </a:lnTo>
                  <a:lnTo>
                    <a:pt x="379" y="1088"/>
                  </a:lnTo>
                  <a:lnTo>
                    <a:pt x="379" y="1087"/>
                  </a:lnTo>
                  <a:lnTo>
                    <a:pt x="377" y="1087"/>
                  </a:lnTo>
                  <a:lnTo>
                    <a:pt x="375" y="1087"/>
                  </a:lnTo>
                  <a:lnTo>
                    <a:pt x="374" y="1087"/>
                  </a:lnTo>
                  <a:lnTo>
                    <a:pt x="374" y="1085"/>
                  </a:lnTo>
                  <a:lnTo>
                    <a:pt x="372" y="1083"/>
                  </a:lnTo>
                  <a:lnTo>
                    <a:pt x="371" y="1082"/>
                  </a:lnTo>
                  <a:lnTo>
                    <a:pt x="371" y="1080"/>
                  </a:lnTo>
                  <a:lnTo>
                    <a:pt x="372" y="1079"/>
                  </a:lnTo>
                  <a:lnTo>
                    <a:pt x="371" y="1079"/>
                  </a:lnTo>
                  <a:lnTo>
                    <a:pt x="369" y="1080"/>
                  </a:lnTo>
                  <a:lnTo>
                    <a:pt x="367" y="1079"/>
                  </a:lnTo>
                  <a:lnTo>
                    <a:pt x="366" y="1080"/>
                  </a:lnTo>
                  <a:lnTo>
                    <a:pt x="366" y="1079"/>
                  </a:lnTo>
                  <a:lnTo>
                    <a:pt x="364" y="1079"/>
                  </a:lnTo>
                  <a:lnTo>
                    <a:pt x="362" y="1079"/>
                  </a:lnTo>
                  <a:lnTo>
                    <a:pt x="362" y="1080"/>
                  </a:lnTo>
                  <a:lnTo>
                    <a:pt x="361" y="1080"/>
                  </a:lnTo>
                  <a:lnTo>
                    <a:pt x="359" y="1080"/>
                  </a:lnTo>
                  <a:lnTo>
                    <a:pt x="359" y="1079"/>
                  </a:lnTo>
                  <a:lnTo>
                    <a:pt x="356" y="1079"/>
                  </a:lnTo>
                  <a:lnTo>
                    <a:pt x="356" y="1077"/>
                  </a:lnTo>
                  <a:lnTo>
                    <a:pt x="358" y="1075"/>
                  </a:lnTo>
                  <a:lnTo>
                    <a:pt x="358" y="1074"/>
                  </a:lnTo>
                  <a:lnTo>
                    <a:pt x="358" y="1072"/>
                  </a:lnTo>
                  <a:lnTo>
                    <a:pt x="356" y="1072"/>
                  </a:lnTo>
                  <a:lnTo>
                    <a:pt x="354" y="1072"/>
                  </a:lnTo>
                  <a:lnTo>
                    <a:pt x="351" y="1072"/>
                  </a:lnTo>
                  <a:lnTo>
                    <a:pt x="349" y="1074"/>
                  </a:lnTo>
                  <a:lnTo>
                    <a:pt x="349" y="1075"/>
                  </a:lnTo>
                  <a:lnTo>
                    <a:pt x="349" y="1077"/>
                  </a:lnTo>
                  <a:lnTo>
                    <a:pt x="349" y="1079"/>
                  </a:lnTo>
                  <a:lnTo>
                    <a:pt x="348" y="1080"/>
                  </a:lnTo>
                  <a:lnTo>
                    <a:pt x="346" y="1082"/>
                  </a:lnTo>
                  <a:lnTo>
                    <a:pt x="345" y="1082"/>
                  </a:lnTo>
                  <a:lnTo>
                    <a:pt x="332" y="1079"/>
                  </a:lnTo>
                  <a:lnTo>
                    <a:pt x="330" y="1079"/>
                  </a:lnTo>
                  <a:lnTo>
                    <a:pt x="328" y="1077"/>
                  </a:lnTo>
                  <a:lnTo>
                    <a:pt x="325" y="1075"/>
                  </a:lnTo>
                  <a:lnTo>
                    <a:pt x="323" y="1077"/>
                  </a:lnTo>
                  <a:lnTo>
                    <a:pt x="314" y="1069"/>
                  </a:lnTo>
                  <a:lnTo>
                    <a:pt x="297" y="1062"/>
                  </a:lnTo>
                  <a:lnTo>
                    <a:pt x="294" y="1062"/>
                  </a:lnTo>
                  <a:lnTo>
                    <a:pt x="293" y="1062"/>
                  </a:lnTo>
                  <a:lnTo>
                    <a:pt x="293" y="1061"/>
                  </a:lnTo>
                  <a:lnTo>
                    <a:pt x="291" y="1061"/>
                  </a:lnTo>
                  <a:lnTo>
                    <a:pt x="289" y="1061"/>
                  </a:lnTo>
                  <a:lnTo>
                    <a:pt x="286" y="1059"/>
                  </a:lnTo>
                  <a:lnTo>
                    <a:pt x="276" y="1059"/>
                  </a:lnTo>
                  <a:lnTo>
                    <a:pt x="273" y="1061"/>
                  </a:lnTo>
                  <a:lnTo>
                    <a:pt x="266" y="1062"/>
                  </a:lnTo>
                  <a:lnTo>
                    <a:pt x="265" y="1062"/>
                  </a:lnTo>
                  <a:lnTo>
                    <a:pt x="265" y="1061"/>
                  </a:lnTo>
                  <a:lnTo>
                    <a:pt x="265" y="1059"/>
                  </a:lnTo>
                  <a:lnTo>
                    <a:pt x="263" y="1059"/>
                  </a:lnTo>
                  <a:lnTo>
                    <a:pt x="262" y="1059"/>
                  </a:lnTo>
                  <a:lnTo>
                    <a:pt x="262" y="1057"/>
                  </a:lnTo>
                  <a:lnTo>
                    <a:pt x="263" y="1057"/>
                  </a:lnTo>
                  <a:lnTo>
                    <a:pt x="263" y="1056"/>
                  </a:lnTo>
                  <a:lnTo>
                    <a:pt x="265" y="1056"/>
                  </a:lnTo>
                  <a:lnTo>
                    <a:pt x="265" y="1054"/>
                  </a:lnTo>
                  <a:lnTo>
                    <a:pt x="263" y="1054"/>
                  </a:lnTo>
                  <a:lnTo>
                    <a:pt x="262" y="1053"/>
                  </a:lnTo>
                  <a:lnTo>
                    <a:pt x="260" y="1054"/>
                  </a:lnTo>
                  <a:lnTo>
                    <a:pt x="258" y="1054"/>
                  </a:lnTo>
                  <a:lnTo>
                    <a:pt x="260" y="1053"/>
                  </a:lnTo>
                  <a:lnTo>
                    <a:pt x="258" y="1051"/>
                  </a:lnTo>
                  <a:lnTo>
                    <a:pt x="257" y="1051"/>
                  </a:lnTo>
                  <a:lnTo>
                    <a:pt x="255" y="1051"/>
                  </a:lnTo>
                  <a:lnTo>
                    <a:pt x="255" y="1053"/>
                  </a:lnTo>
                  <a:lnTo>
                    <a:pt x="255" y="1054"/>
                  </a:lnTo>
                  <a:lnTo>
                    <a:pt x="257" y="1054"/>
                  </a:lnTo>
                  <a:lnTo>
                    <a:pt x="258" y="1056"/>
                  </a:lnTo>
                  <a:lnTo>
                    <a:pt x="257" y="1059"/>
                  </a:lnTo>
                  <a:lnTo>
                    <a:pt x="255" y="1057"/>
                  </a:lnTo>
                  <a:lnTo>
                    <a:pt x="253" y="1056"/>
                  </a:lnTo>
                  <a:lnTo>
                    <a:pt x="252" y="1056"/>
                  </a:lnTo>
                  <a:lnTo>
                    <a:pt x="250" y="1056"/>
                  </a:lnTo>
                  <a:lnTo>
                    <a:pt x="252" y="1053"/>
                  </a:lnTo>
                  <a:lnTo>
                    <a:pt x="250" y="1051"/>
                  </a:lnTo>
                  <a:lnTo>
                    <a:pt x="249" y="1051"/>
                  </a:lnTo>
                  <a:lnTo>
                    <a:pt x="250" y="1049"/>
                  </a:lnTo>
                  <a:lnTo>
                    <a:pt x="252" y="1048"/>
                  </a:lnTo>
                  <a:lnTo>
                    <a:pt x="250" y="1046"/>
                  </a:lnTo>
                  <a:lnTo>
                    <a:pt x="249" y="1046"/>
                  </a:lnTo>
                  <a:lnTo>
                    <a:pt x="247" y="1046"/>
                  </a:lnTo>
                  <a:lnTo>
                    <a:pt x="247" y="1044"/>
                  </a:lnTo>
                  <a:lnTo>
                    <a:pt x="247" y="1043"/>
                  </a:lnTo>
                  <a:lnTo>
                    <a:pt x="245" y="1041"/>
                  </a:lnTo>
                  <a:lnTo>
                    <a:pt x="244" y="1041"/>
                  </a:lnTo>
                  <a:lnTo>
                    <a:pt x="244" y="1044"/>
                  </a:lnTo>
                  <a:lnTo>
                    <a:pt x="242" y="1044"/>
                  </a:lnTo>
                  <a:lnTo>
                    <a:pt x="242" y="1046"/>
                  </a:lnTo>
                  <a:lnTo>
                    <a:pt x="240" y="1046"/>
                  </a:lnTo>
                  <a:lnTo>
                    <a:pt x="240" y="1044"/>
                  </a:lnTo>
                  <a:lnTo>
                    <a:pt x="240" y="1041"/>
                  </a:lnTo>
                  <a:lnTo>
                    <a:pt x="239" y="1040"/>
                  </a:lnTo>
                  <a:lnTo>
                    <a:pt x="237" y="1040"/>
                  </a:lnTo>
                  <a:lnTo>
                    <a:pt x="236" y="1040"/>
                  </a:lnTo>
                  <a:lnTo>
                    <a:pt x="236" y="1041"/>
                  </a:lnTo>
                  <a:lnTo>
                    <a:pt x="236" y="1043"/>
                  </a:lnTo>
                  <a:lnTo>
                    <a:pt x="234" y="1043"/>
                  </a:lnTo>
                  <a:lnTo>
                    <a:pt x="232" y="1043"/>
                  </a:lnTo>
                  <a:lnTo>
                    <a:pt x="231" y="1044"/>
                  </a:lnTo>
                  <a:lnTo>
                    <a:pt x="229" y="1044"/>
                  </a:lnTo>
                  <a:lnTo>
                    <a:pt x="227" y="1044"/>
                  </a:lnTo>
                  <a:lnTo>
                    <a:pt x="226" y="1046"/>
                  </a:lnTo>
                  <a:lnTo>
                    <a:pt x="226" y="1048"/>
                  </a:lnTo>
                  <a:lnTo>
                    <a:pt x="224" y="1048"/>
                  </a:lnTo>
                  <a:lnTo>
                    <a:pt x="224" y="1049"/>
                  </a:lnTo>
                  <a:lnTo>
                    <a:pt x="224" y="1051"/>
                  </a:lnTo>
                  <a:lnTo>
                    <a:pt x="223" y="1051"/>
                  </a:lnTo>
                  <a:lnTo>
                    <a:pt x="223" y="1053"/>
                  </a:lnTo>
                  <a:lnTo>
                    <a:pt x="221" y="1053"/>
                  </a:lnTo>
                  <a:lnTo>
                    <a:pt x="219" y="1054"/>
                  </a:lnTo>
                  <a:lnTo>
                    <a:pt x="219" y="1056"/>
                  </a:lnTo>
                  <a:lnTo>
                    <a:pt x="221" y="1057"/>
                  </a:lnTo>
                  <a:lnTo>
                    <a:pt x="219" y="1057"/>
                  </a:lnTo>
                  <a:lnTo>
                    <a:pt x="219" y="1059"/>
                  </a:lnTo>
                  <a:lnTo>
                    <a:pt x="221" y="1059"/>
                  </a:lnTo>
                  <a:lnTo>
                    <a:pt x="223" y="1061"/>
                  </a:lnTo>
                  <a:lnTo>
                    <a:pt x="224" y="1061"/>
                  </a:lnTo>
                  <a:lnTo>
                    <a:pt x="226" y="1061"/>
                  </a:lnTo>
                  <a:lnTo>
                    <a:pt x="224" y="1062"/>
                  </a:lnTo>
                  <a:lnTo>
                    <a:pt x="226" y="1064"/>
                  </a:lnTo>
                  <a:lnTo>
                    <a:pt x="226" y="1062"/>
                  </a:lnTo>
                  <a:lnTo>
                    <a:pt x="227" y="1062"/>
                  </a:lnTo>
                  <a:lnTo>
                    <a:pt x="229" y="1062"/>
                  </a:lnTo>
                  <a:lnTo>
                    <a:pt x="231" y="1062"/>
                  </a:lnTo>
                  <a:lnTo>
                    <a:pt x="232" y="1062"/>
                  </a:lnTo>
                  <a:lnTo>
                    <a:pt x="232" y="1061"/>
                  </a:lnTo>
                  <a:lnTo>
                    <a:pt x="232" y="1059"/>
                  </a:lnTo>
                  <a:lnTo>
                    <a:pt x="234" y="1059"/>
                  </a:lnTo>
                  <a:lnTo>
                    <a:pt x="236" y="1059"/>
                  </a:lnTo>
                  <a:lnTo>
                    <a:pt x="236" y="1061"/>
                  </a:lnTo>
                  <a:lnTo>
                    <a:pt x="237" y="1059"/>
                  </a:lnTo>
                  <a:lnTo>
                    <a:pt x="239" y="1057"/>
                  </a:lnTo>
                  <a:lnTo>
                    <a:pt x="239" y="1059"/>
                  </a:lnTo>
                  <a:lnTo>
                    <a:pt x="239" y="1061"/>
                  </a:lnTo>
                  <a:lnTo>
                    <a:pt x="240" y="1061"/>
                  </a:lnTo>
                  <a:lnTo>
                    <a:pt x="240" y="1062"/>
                  </a:lnTo>
                  <a:lnTo>
                    <a:pt x="240" y="1064"/>
                  </a:lnTo>
                  <a:lnTo>
                    <a:pt x="239" y="1064"/>
                  </a:lnTo>
                  <a:lnTo>
                    <a:pt x="239" y="1062"/>
                  </a:lnTo>
                  <a:lnTo>
                    <a:pt x="237" y="1062"/>
                  </a:lnTo>
                  <a:lnTo>
                    <a:pt x="237" y="1066"/>
                  </a:lnTo>
                  <a:lnTo>
                    <a:pt x="239" y="1067"/>
                  </a:lnTo>
                  <a:lnTo>
                    <a:pt x="237" y="1067"/>
                  </a:lnTo>
                  <a:lnTo>
                    <a:pt x="237" y="1069"/>
                  </a:lnTo>
                  <a:lnTo>
                    <a:pt x="236" y="1069"/>
                  </a:lnTo>
                  <a:lnTo>
                    <a:pt x="236" y="1070"/>
                  </a:lnTo>
                  <a:lnTo>
                    <a:pt x="234" y="1070"/>
                  </a:lnTo>
                  <a:lnTo>
                    <a:pt x="234" y="1069"/>
                  </a:lnTo>
                  <a:lnTo>
                    <a:pt x="236" y="1067"/>
                  </a:lnTo>
                  <a:lnTo>
                    <a:pt x="232" y="1066"/>
                  </a:lnTo>
                  <a:lnTo>
                    <a:pt x="231" y="1064"/>
                  </a:lnTo>
                  <a:lnTo>
                    <a:pt x="229" y="1066"/>
                  </a:lnTo>
                  <a:lnTo>
                    <a:pt x="227" y="1067"/>
                  </a:lnTo>
                  <a:lnTo>
                    <a:pt x="226" y="1067"/>
                  </a:lnTo>
                  <a:lnTo>
                    <a:pt x="224" y="1069"/>
                  </a:lnTo>
                  <a:lnTo>
                    <a:pt x="224" y="1070"/>
                  </a:lnTo>
                  <a:lnTo>
                    <a:pt x="227" y="1070"/>
                  </a:lnTo>
                  <a:lnTo>
                    <a:pt x="226" y="1070"/>
                  </a:lnTo>
                  <a:lnTo>
                    <a:pt x="224" y="1072"/>
                  </a:lnTo>
                  <a:lnTo>
                    <a:pt x="223" y="1074"/>
                  </a:lnTo>
                  <a:lnTo>
                    <a:pt x="221" y="1074"/>
                  </a:lnTo>
                  <a:lnTo>
                    <a:pt x="219" y="1072"/>
                  </a:lnTo>
                  <a:lnTo>
                    <a:pt x="218" y="1072"/>
                  </a:lnTo>
                  <a:lnTo>
                    <a:pt x="216" y="1074"/>
                  </a:lnTo>
                  <a:lnTo>
                    <a:pt x="214" y="1072"/>
                  </a:lnTo>
                  <a:lnTo>
                    <a:pt x="211" y="1072"/>
                  </a:lnTo>
                  <a:lnTo>
                    <a:pt x="210" y="1070"/>
                  </a:lnTo>
                  <a:lnTo>
                    <a:pt x="208" y="1070"/>
                  </a:lnTo>
                  <a:lnTo>
                    <a:pt x="208" y="1069"/>
                  </a:lnTo>
                  <a:lnTo>
                    <a:pt x="208" y="1067"/>
                  </a:lnTo>
                  <a:lnTo>
                    <a:pt x="206" y="1067"/>
                  </a:lnTo>
                  <a:lnTo>
                    <a:pt x="205" y="1067"/>
                  </a:lnTo>
                  <a:lnTo>
                    <a:pt x="205" y="1066"/>
                  </a:lnTo>
                  <a:lnTo>
                    <a:pt x="203" y="1067"/>
                  </a:lnTo>
                  <a:lnTo>
                    <a:pt x="201" y="1067"/>
                  </a:lnTo>
                  <a:lnTo>
                    <a:pt x="201" y="1066"/>
                  </a:lnTo>
                  <a:lnTo>
                    <a:pt x="200" y="1066"/>
                  </a:lnTo>
                  <a:lnTo>
                    <a:pt x="198" y="1066"/>
                  </a:lnTo>
                  <a:lnTo>
                    <a:pt x="198" y="1067"/>
                  </a:lnTo>
                  <a:lnTo>
                    <a:pt x="197" y="1067"/>
                  </a:lnTo>
                  <a:lnTo>
                    <a:pt x="195" y="1069"/>
                  </a:lnTo>
                  <a:lnTo>
                    <a:pt x="193" y="1069"/>
                  </a:lnTo>
                  <a:lnTo>
                    <a:pt x="193" y="1070"/>
                  </a:lnTo>
                  <a:lnTo>
                    <a:pt x="190" y="1070"/>
                  </a:lnTo>
                  <a:lnTo>
                    <a:pt x="190" y="1072"/>
                  </a:lnTo>
                  <a:lnTo>
                    <a:pt x="188" y="1074"/>
                  </a:lnTo>
                  <a:lnTo>
                    <a:pt x="187" y="1074"/>
                  </a:lnTo>
                  <a:lnTo>
                    <a:pt x="185" y="1074"/>
                  </a:lnTo>
                  <a:lnTo>
                    <a:pt x="184" y="1074"/>
                  </a:lnTo>
                  <a:lnTo>
                    <a:pt x="182" y="1075"/>
                  </a:lnTo>
                  <a:lnTo>
                    <a:pt x="180" y="1075"/>
                  </a:lnTo>
                  <a:lnTo>
                    <a:pt x="180" y="1074"/>
                  </a:lnTo>
                  <a:lnTo>
                    <a:pt x="179" y="1074"/>
                  </a:lnTo>
                  <a:lnTo>
                    <a:pt x="177" y="1074"/>
                  </a:lnTo>
                  <a:lnTo>
                    <a:pt x="175" y="1074"/>
                  </a:lnTo>
                  <a:lnTo>
                    <a:pt x="175" y="1075"/>
                  </a:lnTo>
                  <a:lnTo>
                    <a:pt x="174" y="1075"/>
                  </a:lnTo>
                  <a:lnTo>
                    <a:pt x="172" y="1075"/>
                  </a:lnTo>
                  <a:lnTo>
                    <a:pt x="171" y="1075"/>
                  </a:lnTo>
                  <a:lnTo>
                    <a:pt x="171" y="1074"/>
                  </a:lnTo>
                  <a:lnTo>
                    <a:pt x="171" y="1072"/>
                  </a:lnTo>
                  <a:lnTo>
                    <a:pt x="171" y="1070"/>
                  </a:lnTo>
                  <a:lnTo>
                    <a:pt x="169" y="1069"/>
                  </a:lnTo>
                  <a:lnTo>
                    <a:pt x="166" y="1069"/>
                  </a:lnTo>
                  <a:lnTo>
                    <a:pt x="164" y="1070"/>
                  </a:lnTo>
                  <a:lnTo>
                    <a:pt x="164" y="1069"/>
                  </a:lnTo>
                  <a:lnTo>
                    <a:pt x="162" y="1069"/>
                  </a:lnTo>
                  <a:lnTo>
                    <a:pt x="161" y="1072"/>
                  </a:lnTo>
                  <a:lnTo>
                    <a:pt x="159" y="1074"/>
                  </a:lnTo>
                  <a:lnTo>
                    <a:pt x="158" y="1074"/>
                  </a:lnTo>
                  <a:lnTo>
                    <a:pt x="156" y="1074"/>
                  </a:lnTo>
                  <a:lnTo>
                    <a:pt x="156" y="1075"/>
                  </a:lnTo>
                  <a:lnTo>
                    <a:pt x="154" y="1075"/>
                  </a:lnTo>
                  <a:lnTo>
                    <a:pt x="153" y="1075"/>
                  </a:lnTo>
                  <a:lnTo>
                    <a:pt x="149" y="1077"/>
                  </a:lnTo>
                  <a:lnTo>
                    <a:pt x="148" y="1077"/>
                  </a:lnTo>
                  <a:lnTo>
                    <a:pt x="148" y="1075"/>
                  </a:lnTo>
                  <a:lnTo>
                    <a:pt x="146" y="1075"/>
                  </a:lnTo>
                  <a:lnTo>
                    <a:pt x="146" y="1074"/>
                  </a:lnTo>
                  <a:lnTo>
                    <a:pt x="145" y="1072"/>
                  </a:lnTo>
                  <a:lnTo>
                    <a:pt x="143" y="1072"/>
                  </a:lnTo>
                  <a:lnTo>
                    <a:pt x="145" y="1072"/>
                  </a:lnTo>
                  <a:lnTo>
                    <a:pt x="146" y="1072"/>
                  </a:lnTo>
                  <a:lnTo>
                    <a:pt x="148" y="1072"/>
                  </a:lnTo>
                  <a:lnTo>
                    <a:pt x="149" y="1072"/>
                  </a:lnTo>
                  <a:lnTo>
                    <a:pt x="149" y="1070"/>
                  </a:lnTo>
                  <a:lnTo>
                    <a:pt x="148" y="1069"/>
                  </a:lnTo>
                  <a:lnTo>
                    <a:pt x="149" y="1067"/>
                  </a:lnTo>
                  <a:lnTo>
                    <a:pt x="148" y="1067"/>
                  </a:lnTo>
                  <a:lnTo>
                    <a:pt x="146" y="1067"/>
                  </a:lnTo>
                  <a:lnTo>
                    <a:pt x="145" y="1069"/>
                  </a:lnTo>
                  <a:lnTo>
                    <a:pt x="143" y="1070"/>
                  </a:lnTo>
                  <a:lnTo>
                    <a:pt x="141" y="1070"/>
                  </a:lnTo>
                  <a:lnTo>
                    <a:pt x="140" y="1069"/>
                  </a:lnTo>
                  <a:lnTo>
                    <a:pt x="140" y="1067"/>
                  </a:lnTo>
                  <a:lnTo>
                    <a:pt x="140" y="1066"/>
                  </a:lnTo>
                  <a:lnTo>
                    <a:pt x="138" y="1064"/>
                  </a:lnTo>
                  <a:lnTo>
                    <a:pt x="138" y="1062"/>
                  </a:lnTo>
                  <a:lnTo>
                    <a:pt x="136" y="1061"/>
                  </a:lnTo>
                  <a:lnTo>
                    <a:pt x="135" y="1059"/>
                  </a:lnTo>
                  <a:lnTo>
                    <a:pt x="133" y="1057"/>
                  </a:lnTo>
                  <a:lnTo>
                    <a:pt x="133" y="1056"/>
                  </a:lnTo>
                  <a:lnTo>
                    <a:pt x="133" y="1054"/>
                  </a:lnTo>
                  <a:lnTo>
                    <a:pt x="133" y="1053"/>
                  </a:lnTo>
                  <a:lnTo>
                    <a:pt x="133" y="1051"/>
                  </a:lnTo>
                  <a:lnTo>
                    <a:pt x="135" y="1049"/>
                  </a:lnTo>
                  <a:lnTo>
                    <a:pt x="136" y="1049"/>
                  </a:lnTo>
                  <a:lnTo>
                    <a:pt x="136" y="1048"/>
                  </a:lnTo>
                  <a:lnTo>
                    <a:pt x="136" y="1046"/>
                  </a:lnTo>
                  <a:lnTo>
                    <a:pt x="135" y="1043"/>
                  </a:lnTo>
                  <a:lnTo>
                    <a:pt x="135" y="1041"/>
                  </a:lnTo>
                  <a:lnTo>
                    <a:pt x="135" y="1040"/>
                  </a:lnTo>
                  <a:lnTo>
                    <a:pt x="136" y="1036"/>
                  </a:lnTo>
                  <a:lnTo>
                    <a:pt x="136" y="1035"/>
                  </a:lnTo>
                  <a:lnTo>
                    <a:pt x="138" y="1031"/>
                  </a:lnTo>
                  <a:lnTo>
                    <a:pt x="138" y="1030"/>
                  </a:lnTo>
                  <a:lnTo>
                    <a:pt x="138" y="1028"/>
                  </a:lnTo>
                  <a:lnTo>
                    <a:pt x="138" y="1027"/>
                  </a:lnTo>
                  <a:lnTo>
                    <a:pt x="138" y="1025"/>
                  </a:lnTo>
                  <a:lnTo>
                    <a:pt x="140" y="1025"/>
                  </a:lnTo>
                  <a:lnTo>
                    <a:pt x="140" y="1023"/>
                  </a:lnTo>
                  <a:lnTo>
                    <a:pt x="141" y="1023"/>
                  </a:lnTo>
                  <a:lnTo>
                    <a:pt x="140" y="1020"/>
                  </a:lnTo>
                  <a:lnTo>
                    <a:pt x="141" y="1020"/>
                  </a:lnTo>
                  <a:lnTo>
                    <a:pt x="141" y="1018"/>
                  </a:lnTo>
                  <a:lnTo>
                    <a:pt x="143" y="1017"/>
                  </a:lnTo>
                  <a:lnTo>
                    <a:pt x="145" y="1014"/>
                  </a:lnTo>
                  <a:lnTo>
                    <a:pt x="145" y="1012"/>
                  </a:lnTo>
                  <a:lnTo>
                    <a:pt x="145" y="1010"/>
                  </a:lnTo>
                  <a:lnTo>
                    <a:pt x="143" y="1009"/>
                  </a:lnTo>
                  <a:lnTo>
                    <a:pt x="140" y="1005"/>
                  </a:lnTo>
                  <a:lnTo>
                    <a:pt x="140" y="1004"/>
                  </a:lnTo>
                  <a:lnTo>
                    <a:pt x="140" y="1002"/>
                  </a:lnTo>
                  <a:lnTo>
                    <a:pt x="141" y="1002"/>
                  </a:lnTo>
                  <a:lnTo>
                    <a:pt x="140" y="999"/>
                  </a:lnTo>
                  <a:lnTo>
                    <a:pt x="140" y="997"/>
                  </a:lnTo>
                  <a:lnTo>
                    <a:pt x="141" y="996"/>
                  </a:lnTo>
                  <a:lnTo>
                    <a:pt x="141" y="994"/>
                  </a:lnTo>
                  <a:lnTo>
                    <a:pt x="140" y="992"/>
                  </a:lnTo>
                  <a:lnTo>
                    <a:pt x="141" y="991"/>
                  </a:lnTo>
                  <a:lnTo>
                    <a:pt x="141" y="988"/>
                  </a:lnTo>
                  <a:lnTo>
                    <a:pt x="143" y="986"/>
                  </a:lnTo>
                  <a:lnTo>
                    <a:pt x="145" y="986"/>
                  </a:lnTo>
                  <a:lnTo>
                    <a:pt x="146" y="984"/>
                  </a:lnTo>
                  <a:lnTo>
                    <a:pt x="146" y="983"/>
                  </a:lnTo>
                  <a:lnTo>
                    <a:pt x="148" y="979"/>
                  </a:lnTo>
                  <a:lnTo>
                    <a:pt x="149" y="978"/>
                  </a:lnTo>
                  <a:lnTo>
                    <a:pt x="151" y="978"/>
                  </a:lnTo>
                  <a:lnTo>
                    <a:pt x="151" y="976"/>
                  </a:lnTo>
                  <a:lnTo>
                    <a:pt x="153" y="971"/>
                  </a:lnTo>
                  <a:lnTo>
                    <a:pt x="153" y="970"/>
                  </a:lnTo>
                  <a:lnTo>
                    <a:pt x="153" y="968"/>
                  </a:lnTo>
                  <a:lnTo>
                    <a:pt x="153" y="966"/>
                  </a:lnTo>
                  <a:lnTo>
                    <a:pt x="154" y="966"/>
                  </a:lnTo>
                  <a:lnTo>
                    <a:pt x="158" y="965"/>
                  </a:lnTo>
                  <a:lnTo>
                    <a:pt x="158" y="963"/>
                  </a:lnTo>
                  <a:lnTo>
                    <a:pt x="158" y="961"/>
                  </a:lnTo>
                  <a:lnTo>
                    <a:pt x="158" y="960"/>
                  </a:lnTo>
                  <a:lnTo>
                    <a:pt x="158" y="958"/>
                  </a:lnTo>
                  <a:lnTo>
                    <a:pt x="158" y="957"/>
                  </a:lnTo>
                  <a:lnTo>
                    <a:pt x="158" y="953"/>
                  </a:lnTo>
                  <a:lnTo>
                    <a:pt x="158" y="950"/>
                  </a:lnTo>
                  <a:lnTo>
                    <a:pt x="159" y="948"/>
                  </a:lnTo>
                  <a:lnTo>
                    <a:pt x="161" y="944"/>
                  </a:lnTo>
                  <a:lnTo>
                    <a:pt x="161" y="940"/>
                  </a:lnTo>
                  <a:lnTo>
                    <a:pt x="161" y="939"/>
                  </a:lnTo>
                  <a:lnTo>
                    <a:pt x="162" y="939"/>
                  </a:lnTo>
                  <a:lnTo>
                    <a:pt x="164" y="939"/>
                  </a:lnTo>
                  <a:lnTo>
                    <a:pt x="164" y="937"/>
                  </a:lnTo>
                  <a:lnTo>
                    <a:pt x="164" y="935"/>
                  </a:lnTo>
                  <a:lnTo>
                    <a:pt x="164" y="934"/>
                  </a:lnTo>
                  <a:lnTo>
                    <a:pt x="164" y="931"/>
                  </a:lnTo>
                  <a:lnTo>
                    <a:pt x="164" y="929"/>
                  </a:lnTo>
                  <a:lnTo>
                    <a:pt x="164" y="927"/>
                  </a:lnTo>
                  <a:lnTo>
                    <a:pt x="164" y="926"/>
                  </a:lnTo>
                  <a:lnTo>
                    <a:pt x="166" y="924"/>
                  </a:lnTo>
                  <a:lnTo>
                    <a:pt x="167" y="922"/>
                  </a:lnTo>
                  <a:lnTo>
                    <a:pt x="169" y="918"/>
                  </a:lnTo>
                  <a:lnTo>
                    <a:pt x="172" y="916"/>
                  </a:lnTo>
                  <a:lnTo>
                    <a:pt x="174" y="916"/>
                  </a:lnTo>
                  <a:lnTo>
                    <a:pt x="174" y="914"/>
                  </a:lnTo>
                  <a:lnTo>
                    <a:pt x="175" y="913"/>
                  </a:lnTo>
                  <a:lnTo>
                    <a:pt x="177" y="913"/>
                  </a:lnTo>
                  <a:lnTo>
                    <a:pt x="177" y="911"/>
                  </a:lnTo>
                  <a:lnTo>
                    <a:pt x="180" y="906"/>
                  </a:lnTo>
                  <a:lnTo>
                    <a:pt x="180" y="903"/>
                  </a:lnTo>
                  <a:lnTo>
                    <a:pt x="182" y="901"/>
                  </a:lnTo>
                  <a:lnTo>
                    <a:pt x="184" y="901"/>
                  </a:lnTo>
                  <a:lnTo>
                    <a:pt x="185" y="901"/>
                  </a:lnTo>
                  <a:lnTo>
                    <a:pt x="187" y="900"/>
                  </a:lnTo>
                  <a:lnTo>
                    <a:pt x="187" y="898"/>
                  </a:lnTo>
                  <a:lnTo>
                    <a:pt x="188" y="898"/>
                  </a:lnTo>
                  <a:lnTo>
                    <a:pt x="190" y="898"/>
                  </a:lnTo>
                  <a:lnTo>
                    <a:pt x="192" y="896"/>
                  </a:lnTo>
                  <a:lnTo>
                    <a:pt x="193" y="895"/>
                  </a:lnTo>
                  <a:lnTo>
                    <a:pt x="195" y="893"/>
                  </a:lnTo>
                  <a:lnTo>
                    <a:pt x="195" y="892"/>
                  </a:lnTo>
                  <a:lnTo>
                    <a:pt x="195" y="890"/>
                  </a:lnTo>
                  <a:lnTo>
                    <a:pt x="197" y="885"/>
                  </a:lnTo>
                  <a:lnTo>
                    <a:pt x="198" y="882"/>
                  </a:lnTo>
                  <a:lnTo>
                    <a:pt x="198" y="880"/>
                  </a:lnTo>
                  <a:lnTo>
                    <a:pt x="201" y="877"/>
                  </a:lnTo>
                  <a:lnTo>
                    <a:pt x="203" y="874"/>
                  </a:lnTo>
                  <a:lnTo>
                    <a:pt x="206" y="872"/>
                  </a:lnTo>
                  <a:lnTo>
                    <a:pt x="205" y="872"/>
                  </a:lnTo>
                  <a:lnTo>
                    <a:pt x="203" y="872"/>
                  </a:lnTo>
                  <a:lnTo>
                    <a:pt x="200" y="870"/>
                  </a:lnTo>
                  <a:lnTo>
                    <a:pt x="198" y="870"/>
                  </a:lnTo>
                  <a:lnTo>
                    <a:pt x="195" y="869"/>
                  </a:lnTo>
                  <a:lnTo>
                    <a:pt x="193" y="869"/>
                  </a:lnTo>
                  <a:lnTo>
                    <a:pt x="192" y="869"/>
                  </a:lnTo>
                  <a:lnTo>
                    <a:pt x="192" y="867"/>
                  </a:lnTo>
                  <a:lnTo>
                    <a:pt x="190" y="867"/>
                  </a:lnTo>
                  <a:lnTo>
                    <a:pt x="190" y="866"/>
                  </a:lnTo>
                  <a:lnTo>
                    <a:pt x="188" y="866"/>
                  </a:lnTo>
                  <a:lnTo>
                    <a:pt x="187" y="864"/>
                  </a:lnTo>
                  <a:lnTo>
                    <a:pt x="185" y="864"/>
                  </a:lnTo>
                  <a:lnTo>
                    <a:pt x="184" y="864"/>
                  </a:lnTo>
                  <a:lnTo>
                    <a:pt x="184" y="861"/>
                  </a:lnTo>
                  <a:lnTo>
                    <a:pt x="182" y="861"/>
                  </a:lnTo>
                  <a:lnTo>
                    <a:pt x="180" y="861"/>
                  </a:lnTo>
                  <a:lnTo>
                    <a:pt x="180" y="859"/>
                  </a:lnTo>
                  <a:lnTo>
                    <a:pt x="179" y="859"/>
                  </a:lnTo>
                  <a:lnTo>
                    <a:pt x="179" y="861"/>
                  </a:lnTo>
                  <a:lnTo>
                    <a:pt x="177" y="861"/>
                  </a:lnTo>
                  <a:lnTo>
                    <a:pt x="174" y="861"/>
                  </a:lnTo>
                  <a:lnTo>
                    <a:pt x="174" y="862"/>
                  </a:lnTo>
                  <a:lnTo>
                    <a:pt x="172" y="862"/>
                  </a:lnTo>
                  <a:lnTo>
                    <a:pt x="172" y="861"/>
                  </a:lnTo>
                  <a:lnTo>
                    <a:pt x="171" y="861"/>
                  </a:lnTo>
                  <a:lnTo>
                    <a:pt x="171" y="859"/>
                  </a:lnTo>
                  <a:lnTo>
                    <a:pt x="169" y="859"/>
                  </a:lnTo>
                  <a:lnTo>
                    <a:pt x="166" y="857"/>
                  </a:lnTo>
                  <a:lnTo>
                    <a:pt x="166" y="859"/>
                  </a:lnTo>
                  <a:lnTo>
                    <a:pt x="164" y="857"/>
                  </a:lnTo>
                  <a:lnTo>
                    <a:pt x="164" y="861"/>
                  </a:lnTo>
                  <a:lnTo>
                    <a:pt x="161" y="861"/>
                  </a:lnTo>
                  <a:lnTo>
                    <a:pt x="159" y="859"/>
                  </a:lnTo>
                  <a:lnTo>
                    <a:pt x="156" y="857"/>
                  </a:lnTo>
                  <a:lnTo>
                    <a:pt x="156" y="859"/>
                  </a:lnTo>
                  <a:lnTo>
                    <a:pt x="154" y="859"/>
                  </a:lnTo>
                  <a:lnTo>
                    <a:pt x="151" y="859"/>
                  </a:lnTo>
                  <a:lnTo>
                    <a:pt x="151" y="857"/>
                  </a:lnTo>
                  <a:lnTo>
                    <a:pt x="151" y="856"/>
                  </a:lnTo>
                  <a:lnTo>
                    <a:pt x="149" y="854"/>
                  </a:lnTo>
                  <a:lnTo>
                    <a:pt x="145" y="854"/>
                  </a:lnTo>
                  <a:lnTo>
                    <a:pt x="143" y="854"/>
                  </a:lnTo>
                  <a:lnTo>
                    <a:pt x="143" y="853"/>
                  </a:lnTo>
                  <a:lnTo>
                    <a:pt x="141" y="851"/>
                  </a:lnTo>
                  <a:lnTo>
                    <a:pt x="141" y="849"/>
                  </a:lnTo>
                  <a:lnTo>
                    <a:pt x="138" y="846"/>
                  </a:lnTo>
                  <a:lnTo>
                    <a:pt x="140" y="843"/>
                  </a:lnTo>
                  <a:lnTo>
                    <a:pt x="138" y="843"/>
                  </a:lnTo>
                  <a:lnTo>
                    <a:pt x="138" y="841"/>
                  </a:lnTo>
                  <a:lnTo>
                    <a:pt x="135" y="843"/>
                  </a:lnTo>
                  <a:lnTo>
                    <a:pt x="135" y="841"/>
                  </a:lnTo>
                  <a:lnTo>
                    <a:pt x="133" y="841"/>
                  </a:lnTo>
                  <a:lnTo>
                    <a:pt x="133" y="843"/>
                  </a:lnTo>
                  <a:lnTo>
                    <a:pt x="131" y="841"/>
                  </a:lnTo>
                  <a:lnTo>
                    <a:pt x="133" y="841"/>
                  </a:lnTo>
                  <a:lnTo>
                    <a:pt x="133" y="840"/>
                  </a:lnTo>
                  <a:lnTo>
                    <a:pt x="133" y="838"/>
                  </a:lnTo>
                  <a:lnTo>
                    <a:pt x="130" y="840"/>
                  </a:lnTo>
                  <a:lnTo>
                    <a:pt x="128" y="840"/>
                  </a:lnTo>
                  <a:lnTo>
                    <a:pt x="127" y="840"/>
                  </a:lnTo>
                  <a:lnTo>
                    <a:pt x="127" y="838"/>
                  </a:lnTo>
                  <a:lnTo>
                    <a:pt x="127" y="840"/>
                  </a:lnTo>
                  <a:lnTo>
                    <a:pt x="127" y="841"/>
                  </a:lnTo>
                  <a:lnTo>
                    <a:pt x="127" y="843"/>
                  </a:lnTo>
                  <a:lnTo>
                    <a:pt x="125" y="843"/>
                  </a:lnTo>
                  <a:lnTo>
                    <a:pt x="125" y="844"/>
                  </a:lnTo>
                  <a:lnTo>
                    <a:pt x="123" y="844"/>
                  </a:lnTo>
                  <a:lnTo>
                    <a:pt x="122" y="844"/>
                  </a:lnTo>
                  <a:lnTo>
                    <a:pt x="122" y="846"/>
                  </a:lnTo>
                  <a:lnTo>
                    <a:pt x="118" y="848"/>
                  </a:lnTo>
                  <a:lnTo>
                    <a:pt x="115" y="846"/>
                  </a:lnTo>
                  <a:lnTo>
                    <a:pt x="114" y="846"/>
                  </a:lnTo>
                  <a:lnTo>
                    <a:pt x="110" y="848"/>
                  </a:lnTo>
                  <a:lnTo>
                    <a:pt x="109" y="846"/>
                  </a:lnTo>
                  <a:lnTo>
                    <a:pt x="107" y="846"/>
                  </a:lnTo>
                  <a:lnTo>
                    <a:pt x="105" y="846"/>
                  </a:lnTo>
                  <a:lnTo>
                    <a:pt x="104" y="846"/>
                  </a:lnTo>
                  <a:lnTo>
                    <a:pt x="104" y="844"/>
                  </a:lnTo>
                  <a:lnTo>
                    <a:pt x="101" y="844"/>
                  </a:lnTo>
                  <a:lnTo>
                    <a:pt x="102" y="843"/>
                  </a:lnTo>
                  <a:lnTo>
                    <a:pt x="101" y="843"/>
                  </a:lnTo>
                  <a:lnTo>
                    <a:pt x="99" y="843"/>
                  </a:lnTo>
                  <a:lnTo>
                    <a:pt x="99" y="844"/>
                  </a:lnTo>
                  <a:lnTo>
                    <a:pt x="101" y="844"/>
                  </a:lnTo>
                  <a:lnTo>
                    <a:pt x="101" y="846"/>
                  </a:lnTo>
                  <a:lnTo>
                    <a:pt x="99" y="846"/>
                  </a:lnTo>
                  <a:lnTo>
                    <a:pt x="97" y="848"/>
                  </a:lnTo>
                  <a:lnTo>
                    <a:pt x="96" y="848"/>
                  </a:lnTo>
                  <a:lnTo>
                    <a:pt x="96" y="844"/>
                  </a:lnTo>
                  <a:lnTo>
                    <a:pt x="96" y="843"/>
                  </a:lnTo>
                  <a:lnTo>
                    <a:pt x="94" y="841"/>
                  </a:lnTo>
                  <a:lnTo>
                    <a:pt x="94" y="840"/>
                  </a:lnTo>
                  <a:lnTo>
                    <a:pt x="96" y="838"/>
                  </a:lnTo>
                  <a:lnTo>
                    <a:pt x="96" y="836"/>
                  </a:lnTo>
                  <a:lnTo>
                    <a:pt x="94" y="835"/>
                  </a:lnTo>
                  <a:lnTo>
                    <a:pt x="94" y="833"/>
                  </a:lnTo>
                  <a:lnTo>
                    <a:pt x="92" y="831"/>
                  </a:lnTo>
                  <a:lnTo>
                    <a:pt x="91" y="831"/>
                  </a:lnTo>
                  <a:lnTo>
                    <a:pt x="89" y="831"/>
                  </a:lnTo>
                  <a:lnTo>
                    <a:pt x="88" y="831"/>
                  </a:lnTo>
                  <a:lnTo>
                    <a:pt x="88" y="833"/>
                  </a:lnTo>
                  <a:lnTo>
                    <a:pt x="84" y="831"/>
                  </a:lnTo>
                  <a:lnTo>
                    <a:pt x="84" y="833"/>
                  </a:lnTo>
                  <a:lnTo>
                    <a:pt x="83" y="833"/>
                  </a:lnTo>
                  <a:lnTo>
                    <a:pt x="79" y="831"/>
                  </a:lnTo>
                  <a:lnTo>
                    <a:pt x="78" y="833"/>
                  </a:lnTo>
                  <a:lnTo>
                    <a:pt x="76" y="833"/>
                  </a:lnTo>
                  <a:lnTo>
                    <a:pt x="78" y="835"/>
                  </a:lnTo>
                  <a:lnTo>
                    <a:pt x="78" y="838"/>
                  </a:lnTo>
                  <a:lnTo>
                    <a:pt x="76" y="840"/>
                  </a:lnTo>
                  <a:lnTo>
                    <a:pt x="76" y="841"/>
                  </a:lnTo>
                  <a:lnTo>
                    <a:pt x="75" y="841"/>
                  </a:lnTo>
                  <a:lnTo>
                    <a:pt x="73" y="840"/>
                  </a:lnTo>
                  <a:lnTo>
                    <a:pt x="71" y="840"/>
                  </a:lnTo>
                  <a:lnTo>
                    <a:pt x="70" y="840"/>
                  </a:lnTo>
                  <a:lnTo>
                    <a:pt x="68" y="840"/>
                  </a:lnTo>
                  <a:lnTo>
                    <a:pt x="66" y="840"/>
                  </a:lnTo>
                  <a:lnTo>
                    <a:pt x="65" y="838"/>
                  </a:lnTo>
                  <a:lnTo>
                    <a:pt x="65" y="836"/>
                  </a:lnTo>
                  <a:lnTo>
                    <a:pt x="65" y="835"/>
                  </a:lnTo>
                  <a:lnTo>
                    <a:pt x="66" y="833"/>
                  </a:lnTo>
                  <a:lnTo>
                    <a:pt x="66" y="831"/>
                  </a:lnTo>
                  <a:lnTo>
                    <a:pt x="63" y="831"/>
                  </a:lnTo>
                  <a:lnTo>
                    <a:pt x="63" y="830"/>
                  </a:lnTo>
                  <a:lnTo>
                    <a:pt x="63" y="828"/>
                  </a:lnTo>
                  <a:lnTo>
                    <a:pt x="63" y="826"/>
                  </a:lnTo>
                  <a:lnTo>
                    <a:pt x="60" y="826"/>
                  </a:lnTo>
                  <a:lnTo>
                    <a:pt x="60" y="825"/>
                  </a:lnTo>
                  <a:lnTo>
                    <a:pt x="62" y="823"/>
                  </a:lnTo>
                  <a:lnTo>
                    <a:pt x="62" y="822"/>
                  </a:lnTo>
                  <a:lnTo>
                    <a:pt x="58" y="820"/>
                  </a:lnTo>
                  <a:lnTo>
                    <a:pt x="57" y="820"/>
                  </a:lnTo>
                  <a:lnTo>
                    <a:pt x="57" y="818"/>
                  </a:lnTo>
                  <a:lnTo>
                    <a:pt x="55" y="817"/>
                  </a:lnTo>
                  <a:lnTo>
                    <a:pt x="55" y="815"/>
                  </a:lnTo>
                  <a:lnTo>
                    <a:pt x="52" y="813"/>
                  </a:lnTo>
                  <a:lnTo>
                    <a:pt x="52" y="812"/>
                  </a:lnTo>
                  <a:lnTo>
                    <a:pt x="50" y="812"/>
                  </a:lnTo>
                  <a:lnTo>
                    <a:pt x="50" y="810"/>
                  </a:lnTo>
                  <a:lnTo>
                    <a:pt x="52" y="810"/>
                  </a:lnTo>
                  <a:lnTo>
                    <a:pt x="53" y="810"/>
                  </a:lnTo>
                  <a:lnTo>
                    <a:pt x="53" y="812"/>
                  </a:lnTo>
                  <a:lnTo>
                    <a:pt x="53" y="810"/>
                  </a:lnTo>
                  <a:lnTo>
                    <a:pt x="55" y="810"/>
                  </a:lnTo>
                  <a:lnTo>
                    <a:pt x="55" y="809"/>
                  </a:lnTo>
                  <a:lnTo>
                    <a:pt x="53" y="809"/>
                  </a:lnTo>
                  <a:lnTo>
                    <a:pt x="53" y="807"/>
                  </a:lnTo>
                  <a:lnTo>
                    <a:pt x="52" y="807"/>
                  </a:lnTo>
                  <a:lnTo>
                    <a:pt x="50" y="807"/>
                  </a:lnTo>
                  <a:lnTo>
                    <a:pt x="50" y="805"/>
                  </a:lnTo>
                  <a:lnTo>
                    <a:pt x="50" y="804"/>
                  </a:lnTo>
                  <a:lnTo>
                    <a:pt x="52" y="802"/>
                  </a:lnTo>
                  <a:lnTo>
                    <a:pt x="50" y="800"/>
                  </a:lnTo>
                  <a:lnTo>
                    <a:pt x="47" y="797"/>
                  </a:lnTo>
                  <a:lnTo>
                    <a:pt x="45" y="797"/>
                  </a:lnTo>
                  <a:lnTo>
                    <a:pt x="45" y="796"/>
                  </a:lnTo>
                  <a:lnTo>
                    <a:pt x="44" y="796"/>
                  </a:lnTo>
                  <a:lnTo>
                    <a:pt x="42" y="796"/>
                  </a:lnTo>
                  <a:lnTo>
                    <a:pt x="40" y="794"/>
                  </a:lnTo>
                  <a:lnTo>
                    <a:pt x="39" y="794"/>
                  </a:lnTo>
                  <a:lnTo>
                    <a:pt x="37" y="796"/>
                  </a:lnTo>
                  <a:lnTo>
                    <a:pt x="36" y="796"/>
                  </a:lnTo>
                  <a:lnTo>
                    <a:pt x="34" y="796"/>
                  </a:lnTo>
                  <a:lnTo>
                    <a:pt x="34" y="794"/>
                  </a:lnTo>
                  <a:lnTo>
                    <a:pt x="34" y="791"/>
                  </a:lnTo>
                  <a:lnTo>
                    <a:pt x="34" y="789"/>
                  </a:lnTo>
                  <a:lnTo>
                    <a:pt x="34" y="786"/>
                  </a:lnTo>
                  <a:lnTo>
                    <a:pt x="34" y="784"/>
                  </a:lnTo>
                  <a:lnTo>
                    <a:pt x="36" y="783"/>
                  </a:lnTo>
                  <a:lnTo>
                    <a:pt x="37" y="781"/>
                  </a:lnTo>
                  <a:lnTo>
                    <a:pt x="36" y="781"/>
                  </a:lnTo>
                  <a:lnTo>
                    <a:pt x="34" y="779"/>
                  </a:lnTo>
                  <a:lnTo>
                    <a:pt x="36" y="779"/>
                  </a:lnTo>
                  <a:lnTo>
                    <a:pt x="36" y="778"/>
                  </a:lnTo>
                  <a:lnTo>
                    <a:pt x="36" y="779"/>
                  </a:lnTo>
                  <a:lnTo>
                    <a:pt x="37" y="779"/>
                  </a:lnTo>
                  <a:lnTo>
                    <a:pt x="37" y="778"/>
                  </a:lnTo>
                  <a:lnTo>
                    <a:pt x="36" y="778"/>
                  </a:lnTo>
                  <a:lnTo>
                    <a:pt x="36" y="776"/>
                  </a:lnTo>
                  <a:lnTo>
                    <a:pt x="37" y="776"/>
                  </a:lnTo>
                  <a:lnTo>
                    <a:pt x="39" y="774"/>
                  </a:lnTo>
                  <a:lnTo>
                    <a:pt x="40" y="773"/>
                  </a:lnTo>
                  <a:lnTo>
                    <a:pt x="40" y="771"/>
                  </a:lnTo>
                  <a:lnTo>
                    <a:pt x="42" y="768"/>
                  </a:lnTo>
                  <a:lnTo>
                    <a:pt x="42" y="766"/>
                  </a:lnTo>
                  <a:lnTo>
                    <a:pt x="40" y="766"/>
                  </a:lnTo>
                  <a:lnTo>
                    <a:pt x="42" y="766"/>
                  </a:lnTo>
                  <a:lnTo>
                    <a:pt x="42" y="765"/>
                  </a:lnTo>
                  <a:lnTo>
                    <a:pt x="44" y="765"/>
                  </a:lnTo>
                  <a:lnTo>
                    <a:pt x="45" y="763"/>
                  </a:lnTo>
                  <a:lnTo>
                    <a:pt x="47" y="761"/>
                  </a:lnTo>
                  <a:lnTo>
                    <a:pt x="49" y="760"/>
                  </a:lnTo>
                  <a:lnTo>
                    <a:pt x="49" y="758"/>
                  </a:lnTo>
                  <a:lnTo>
                    <a:pt x="50" y="758"/>
                  </a:lnTo>
                  <a:lnTo>
                    <a:pt x="49" y="758"/>
                  </a:lnTo>
                  <a:lnTo>
                    <a:pt x="49" y="757"/>
                  </a:lnTo>
                  <a:lnTo>
                    <a:pt x="49" y="755"/>
                  </a:lnTo>
                  <a:lnTo>
                    <a:pt x="49" y="753"/>
                  </a:lnTo>
                  <a:lnTo>
                    <a:pt x="50" y="753"/>
                  </a:lnTo>
                  <a:lnTo>
                    <a:pt x="50" y="752"/>
                  </a:lnTo>
                  <a:lnTo>
                    <a:pt x="50" y="750"/>
                  </a:lnTo>
                  <a:lnTo>
                    <a:pt x="50" y="748"/>
                  </a:lnTo>
                  <a:lnTo>
                    <a:pt x="52" y="747"/>
                  </a:lnTo>
                  <a:lnTo>
                    <a:pt x="52" y="745"/>
                  </a:lnTo>
                  <a:lnTo>
                    <a:pt x="50" y="745"/>
                  </a:lnTo>
                  <a:lnTo>
                    <a:pt x="50" y="747"/>
                  </a:lnTo>
                  <a:lnTo>
                    <a:pt x="49" y="745"/>
                  </a:lnTo>
                  <a:lnTo>
                    <a:pt x="47" y="745"/>
                  </a:lnTo>
                  <a:lnTo>
                    <a:pt x="47" y="744"/>
                  </a:lnTo>
                  <a:lnTo>
                    <a:pt x="45" y="745"/>
                  </a:lnTo>
                  <a:lnTo>
                    <a:pt x="44" y="745"/>
                  </a:lnTo>
                  <a:lnTo>
                    <a:pt x="42" y="745"/>
                  </a:lnTo>
                  <a:lnTo>
                    <a:pt x="40" y="745"/>
                  </a:lnTo>
                  <a:lnTo>
                    <a:pt x="40" y="744"/>
                  </a:lnTo>
                  <a:lnTo>
                    <a:pt x="39" y="744"/>
                  </a:lnTo>
                  <a:lnTo>
                    <a:pt x="39" y="742"/>
                  </a:lnTo>
                  <a:lnTo>
                    <a:pt x="37" y="740"/>
                  </a:lnTo>
                  <a:lnTo>
                    <a:pt x="36" y="740"/>
                  </a:lnTo>
                  <a:lnTo>
                    <a:pt x="34" y="740"/>
                  </a:lnTo>
                  <a:lnTo>
                    <a:pt x="34" y="742"/>
                  </a:lnTo>
                  <a:lnTo>
                    <a:pt x="32" y="742"/>
                  </a:lnTo>
                  <a:lnTo>
                    <a:pt x="32" y="740"/>
                  </a:lnTo>
                  <a:lnTo>
                    <a:pt x="32" y="739"/>
                  </a:lnTo>
                  <a:lnTo>
                    <a:pt x="32" y="737"/>
                  </a:lnTo>
                  <a:lnTo>
                    <a:pt x="31" y="737"/>
                  </a:lnTo>
                  <a:lnTo>
                    <a:pt x="31" y="735"/>
                  </a:lnTo>
                  <a:lnTo>
                    <a:pt x="29" y="735"/>
                  </a:lnTo>
                  <a:lnTo>
                    <a:pt x="27" y="735"/>
                  </a:lnTo>
                  <a:lnTo>
                    <a:pt x="27" y="734"/>
                  </a:lnTo>
                  <a:lnTo>
                    <a:pt x="26" y="734"/>
                  </a:lnTo>
                  <a:lnTo>
                    <a:pt x="26" y="732"/>
                  </a:lnTo>
                  <a:lnTo>
                    <a:pt x="24" y="731"/>
                  </a:lnTo>
                  <a:lnTo>
                    <a:pt x="26" y="731"/>
                  </a:lnTo>
                  <a:lnTo>
                    <a:pt x="26" y="729"/>
                  </a:lnTo>
                  <a:lnTo>
                    <a:pt x="24" y="729"/>
                  </a:lnTo>
                  <a:lnTo>
                    <a:pt x="24" y="727"/>
                  </a:lnTo>
                  <a:lnTo>
                    <a:pt x="23" y="727"/>
                  </a:lnTo>
                  <a:lnTo>
                    <a:pt x="23" y="726"/>
                  </a:lnTo>
                  <a:lnTo>
                    <a:pt x="23" y="724"/>
                  </a:lnTo>
                  <a:lnTo>
                    <a:pt x="23" y="722"/>
                  </a:lnTo>
                  <a:lnTo>
                    <a:pt x="21" y="722"/>
                  </a:lnTo>
                  <a:lnTo>
                    <a:pt x="21" y="724"/>
                  </a:lnTo>
                  <a:lnTo>
                    <a:pt x="21" y="722"/>
                  </a:lnTo>
                  <a:lnTo>
                    <a:pt x="19" y="722"/>
                  </a:lnTo>
                  <a:lnTo>
                    <a:pt x="19" y="721"/>
                  </a:lnTo>
                  <a:lnTo>
                    <a:pt x="19" y="719"/>
                  </a:lnTo>
                  <a:lnTo>
                    <a:pt x="18" y="718"/>
                  </a:lnTo>
                  <a:lnTo>
                    <a:pt x="18" y="716"/>
                  </a:lnTo>
                  <a:lnTo>
                    <a:pt x="16" y="714"/>
                  </a:lnTo>
                  <a:lnTo>
                    <a:pt x="18" y="714"/>
                  </a:lnTo>
                  <a:lnTo>
                    <a:pt x="16" y="713"/>
                  </a:lnTo>
                  <a:lnTo>
                    <a:pt x="18" y="711"/>
                  </a:lnTo>
                  <a:lnTo>
                    <a:pt x="16" y="709"/>
                  </a:lnTo>
                  <a:lnTo>
                    <a:pt x="16" y="708"/>
                  </a:lnTo>
                  <a:lnTo>
                    <a:pt x="16" y="709"/>
                  </a:lnTo>
                  <a:lnTo>
                    <a:pt x="14" y="708"/>
                  </a:lnTo>
                  <a:lnTo>
                    <a:pt x="16" y="708"/>
                  </a:lnTo>
                  <a:lnTo>
                    <a:pt x="16" y="706"/>
                  </a:lnTo>
                  <a:lnTo>
                    <a:pt x="16" y="705"/>
                  </a:lnTo>
                  <a:lnTo>
                    <a:pt x="16" y="703"/>
                  </a:lnTo>
                  <a:lnTo>
                    <a:pt x="18" y="705"/>
                  </a:lnTo>
                  <a:lnTo>
                    <a:pt x="18" y="703"/>
                  </a:lnTo>
                  <a:lnTo>
                    <a:pt x="16" y="703"/>
                  </a:lnTo>
                  <a:lnTo>
                    <a:pt x="18" y="703"/>
                  </a:lnTo>
                  <a:lnTo>
                    <a:pt x="18" y="701"/>
                  </a:lnTo>
                  <a:lnTo>
                    <a:pt x="18" y="700"/>
                  </a:lnTo>
                  <a:lnTo>
                    <a:pt x="18" y="698"/>
                  </a:lnTo>
                  <a:lnTo>
                    <a:pt x="19" y="696"/>
                  </a:lnTo>
                  <a:lnTo>
                    <a:pt x="18" y="695"/>
                  </a:lnTo>
                  <a:lnTo>
                    <a:pt x="19" y="695"/>
                  </a:lnTo>
                  <a:lnTo>
                    <a:pt x="19" y="693"/>
                  </a:lnTo>
                  <a:lnTo>
                    <a:pt x="18" y="693"/>
                  </a:lnTo>
                  <a:lnTo>
                    <a:pt x="19" y="692"/>
                  </a:lnTo>
                  <a:lnTo>
                    <a:pt x="21" y="692"/>
                  </a:lnTo>
                  <a:lnTo>
                    <a:pt x="23" y="692"/>
                  </a:lnTo>
                  <a:lnTo>
                    <a:pt x="23" y="688"/>
                  </a:lnTo>
                  <a:lnTo>
                    <a:pt x="23" y="687"/>
                  </a:lnTo>
                  <a:lnTo>
                    <a:pt x="23" y="685"/>
                  </a:lnTo>
                  <a:lnTo>
                    <a:pt x="23" y="683"/>
                  </a:lnTo>
                  <a:lnTo>
                    <a:pt x="24" y="683"/>
                  </a:lnTo>
                  <a:lnTo>
                    <a:pt x="26" y="680"/>
                  </a:lnTo>
                  <a:lnTo>
                    <a:pt x="27" y="680"/>
                  </a:lnTo>
                  <a:lnTo>
                    <a:pt x="29" y="678"/>
                  </a:lnTo>
                  <a:lnTo>
                    <a:pt x="32" y="678"/>
                  </a:lnTo>
                  <a:lnTo>
                    <a:pt x="32" y="677"/>
                  </a:lnTo>
                  <a:lnTo>
                    <a:pt x="32" y="675"/>
                  </a:lnTo>
                  <a:lnTo>
                    <a:pt x="34" y="674"/>
                  </a:lnTo>
                  <a:lnTo>
                    <a:pt x="36" y="674"/>
                  </a:lnTo>
                  <a:lnTo>
                    <a:pt x="34" y="672"/>
                  </a:lnTo>
                  <a:lnTo>
                    <a:pt x="36" y="672"/>
                  </a:lnTo>
                  <a:lnTo>
                    <a:pt x="37" y="672"/>
                  </a:lnTo>
                  <a:lnTo>
                    <a:pt x="39" y="674"/>
                  </a:lnTo>
                  <a:lnTo>
                    <a:pt x="40" y="674"/>
                  </a:lnTo>
                  <a:lnTo>
                    <a:pt x="40" y="672"/>
                  </a:lnTo>
                  <a:lnTo>
                    <a:pt x="42" y="672"/>
                  </a:lnTo>
                  <a:lnTo>
                    <a:pt x="44" y="672"/>
                  </a:lnTo>
                  <a:lnTo>
                    <a:pt x="44" y="670"/>
                  </a:lnTo>
                  <a:lnTo>
                    <a:pt x="42" y="669"/>
                  </a:lnTo>
                  <a:lnTo>
                    <a:pt x="40" y="667"/>
                  </a:lnTo>
                  <a:lnTo>
                    <a:pt x="37" y="664"/>
                  </a:lnTo>
                  <a:lnTo>
                    <a:pt x="39" y="662"/>
                  </a:lnTo>
                  <a:lnTo>
                    <a:pt x="40" y="661"/>
                  </a:lnTo>
                  <a:lnTo>
                    <a:pt x="40" y="657"/>
                  </a:lnTo>
                  <a:lnTo>
                    <a:pt x="42" y="656"/>
                  </a:lnTo>
                  <a:lnTo>
                    <a:pt x="42" y="654"/>
                  </a:lnTo>
                  <a:lnTo>
                    <a:pt x="42" y="652"/>
                  </a:lnTo>
                  <a:lnTo>
                    <a:pt x="40" y="652"/>
                  </a:lnTo>
                  <a:lnTo>
                    <a:pt x="39" y="652"/>
                  </a:lnTo>
                  <a:lnTo>
                    <a:pt x="39" y="651"/>
                  </a:lnTo>
                  <a:lnTo>
                    <a:pt x="39" y="649"/>
                  </a:lnTo>
                  <a:lnTo>
                    <a:pt x="39" y="648"/>
                  </a:lnTo>
                  <a:lnTo>
                    <a:pt x="37" y="648"/>
                  </a:lnTo>
                  <a:lnTo>
                    <a:pt x="36" y="646"/>
                  </a:lnTo>
                  <a:lnTo>
                    <a:pt x="36" y="648"/>
                  </a:lnTo>
                  <a:lnTo>
                    <a:pt x="34" y="646"/>
                  </a:lnTo>
                  <a:lnTo>
                    <a:pt x="32" y="646"/>
                  </a:lnTo>
                  <a:lnTo>
                    <a:pt x="31" y="646"/>
                  </a:lnTo>
                  <a:lnTo>
                    <a:pt x="29" y="646"/>
                  </a:lnTo>
                  <a:lnTo>
                    <a:pt x="27" y="646"/>
                  </a:lnTo>
                  <a:lnTo>
                    <a:pt x="27" y="644"/>
                  </a:lnTo>
                  <a:lnTo>
                    <a:pt x="26" y="643"/>
                  </a:lnTo>
                  <a:lnTo>
                    <a:pt x="26" y="641"/>
                  </a:lnTo>
                  <a:lnTo>
                    <a:pt x="26" y="639"/>
                  </a:lnTo>
                  <a:lnTo>
                    <a:pt x="24" y="639"/>
                  </a:lnTo>
                  <a:lnTo>
                    <a:pt x="24" y="638"/>
                  </a:lnTo>
                  <a:lnTo>
                    <a:pt x="24" y="636"/>
                  </a:lnTo>
                  <a:lnTo>
                    <a:pt x="26" y="636"/>
                  </a:lnTo>
                  <a:lnTo>
                    <a:pt x="27" y="636"/>
                  </a:lnTo>
                  <a:lnTo>
                    <a:pt x="29" y="633"/>
                  </a:lnTo>
                  <a:lnTo>
                    <a:pt x="31" y="633"/>
                  </a:lnTo>
                  <a:lnTo>
                    <a:pt x="32" y="633"/>
                  </a:lnTo>
                  <a:lnTo>
                    <a:pt x="32" y="631"/>
                  </a:lnTo>
                  <a:lnTo>
                    <a:pt x="34" y="630"/>
                  </a:lnTo>
                  <a:lnTo>
                    <a:pt x="34" y="628"/>
                  </a:lnTo>
                  <a:lnTo>
                    <a:pt x="32" y="628"/>
                  </a:lnTo>
                  <a:lnTo>
                    <a:pt x="31" y="628"/>
                  </a:lnTo>
                  <a:lnTo>
                    <a:pt x="29" y="628"/>
                  </a:lnTo>
                  <a:lnTo>
                    <a:pt x="27" y="626"/>
                  </a:lnTo>
                  <a:lnTo>
                    <a:pt x="26" y="626"/>
                  </a:lnTo>
                  <a:lnTo>
                    <a:pt x="26" y="628"/>
                  </a:lnTo>
                  <a:lnTo>
                    <a:pt x="26" y="626"/>
                  </a:lnTo>
                  <a:lnTo>
                    <a:pt x="24" y="625"/>
                  </a:lnTo>
                  <a:lnTo>
                    <a:pt x="26" y="623"/>
                  </a:lnTo>
                  <a:lnTo>
                    <a:pt x="24" y="623"/>
                  </a:lnTo>
                  <a:lnTo>
                    <a:pt x="24" y="622"/>
                  </a:lnTo>
                  <a:lnTo>
                    <a:pt x="23" y="620"/>
                  </a:lnTo>
                  <a:lnTo>
                    <a:pt x="21" y="617"/>
                  </a:lnTo>
                  <a:lnTo>
                    <a:pt x="21" y="615"/>
                  </a:lnTo>
                  <a:lnTo>
                    <a:pt x="21" y="613"/>
                  </a:lnTo>
                  <a:lnTo>
                    <a:pt x="18" y="613"/>
                  </a:lnTo>
                  <a:lnTo>
                    <a:pt x="16" y="613"/>
                  </a:lnTo>
                  <a:lnTo>
                    <a:pt x="14" y="612"/>
                  </a:lnTo>
                  <a:lnTo>
                    <a:pt x="14" y="613"/>
                  </a:lnTo>
                  <a:lnTo>
                    <a:pt x="13" y="613"/>
                  </a:lnTo>
                  <a:lnTo>
                    <a:pt x="13" y="610"/>
                  </a:lnTo>
                  <a:lnTo>
                    <a:pt x="11" y="609"/>
                  </a:lnTo>
                  <a:lnTo>
                    <a:pt x="11" y="607"/>
                  </a:lnTo>
                  <a:lnTo>
                    <a:pt x="13" y="605"/>
                  </a:lnTo>
                  <a:lnTo>
                    <a:pt x="11" y="605"/>
                  </a:lnTo>
                  <a:lnTo>
                    <a:pt x="10" y="602"/>
                  </a:lnTo>
                  <a:lnTo>
                    <a:pt x="10" y="600"/>
                  </a:lnTo>
                  <a:lnTo>
                    <a:pt x="11" y="602"/>
                  </a:lnTo>
                  <a:lnTo>
                    <a:pt x="13" y="600"/>
                  </a:lnTo>
                  <a:lnTo>
                    <a:pt x="13" y="597"/>
                  </a:lnTo>
                  <a:lnTo>
                    <a:pt x="13" y="596"/>
                  </a:lnTo>
                  <a:lnTo>
                    <a:pt x="16" y="594"/>
                  </a:lnTo>
                  <a:lnTo>
                    <a:pt x="18" y="596"/>
                  </a:lnTo>
                  <a:lnTo>
                    <a:pt x="18" y="594"/>
                  </a:lnTo>
                  <a:lnTo>
                    <a:pt x="19" y="591"/>
                  </a:lnTo>
                  <a:lnTo>
                    <a:pt x="18" y="591"/>
                  </a:lnTo>
                  <a:lnTo>
                    <a:pt x="18" y="589"/>
                  </a:lnTo>
                  <a:lnTo>
                    <a:pt x="18" y="587"/>
                  </a:lnTo>
                  <a:lnTo>
                    <a:pt x="19" y="586"/>
                  </a:lnTo>
                  <a:lnTo>
                    <a:pt x="19" y="584"/>
                  </a:lnTo>
                  <a:lnTo>
                    <a:pt x="18" y="584"/>
                  </a:lnTo>
                  <a:lnTo>
                    <a:pt x="16" y="584"/>
                  </a:lnTo>
                  <a:lnTo>
                    <a:pt x="13" y="583"/>
                  </a:lnTo>
                  <a:lnTo>
                    <a:pt x="13" y="581"/>
                  </a:lnTo>
                  <a:lnTo>
                    <a:pt x="13" y="579"/>
                  </a:lnTo>
                  <a:lnTo>
                    <a:pt x="13" y="578"/>
                  </a:lnTo>
                  <a:lnTo>
                    <a:pt x="14" y="576"/>
                  </a:lnTo>
                  <a:lnTo>
                    <a:pt x="13" y="576"/>
                  </a:lnTo>
                  <a:lnTo>
                    <a:pt x="10" y="576"/>
                  </a:lnTo>
                  <a:lnTo>
                    <a:pt x="8" y="574"/>
                  </a:lnTo>
                  <a:lnTo>
                    <a:pt x="3" y="576"/>
                  </a:lnTo>
                  <a:lnTo>
                    <a:pt x="3" y="574"/>
                  </a:lnTo>
                  <a:lnTo>
                    <a:pt x="3" y="573"/>
                  </a:lnTo>
                  <a:lnTo>
                    <a:pt x="3" y="571"/>
                  </a:lnTo>
                  <a:lnTo>
                    <a:pt x="1" y="570"/>
                  </a:lnTo>
                  <a:lnTo>
                    <a:pt x="1" y="568"/>
                  </a:lnTo>
                  <a:lnTo>
                    <a:pt x="0" y="565"/>
                  </a:lnTo>
                  <a:lnTo>
                    <a:pt x="3" y="565"/>
                  </a:lnTo>
                  <a:lnTo>
                    <a:pt x="5" y="565"/>
                  </a:lnTo>
                  <a:lnTo>
                    <a:pt x="5" y="563"/>
                  </a:lnTo>
                  <a:lnTo>
                    <a:pt x="5" y="565"/>
                  </a:lnTo>
                  <a:lnTo>
                    <a:pt x="6" y="565"/>
                  </a:lnTo>
                  <a:lnTo>
                    <a:pt x="6" y="568"/>
                  </a:lnTo>
                  <a:lnTo>
                    <a:pt x="10" y="568"/>
                  </a:lnTo>
                  <a:lnTo>
                    <a:pt x="10" y="566"/>
                  </a:lnTo>
                  <a:lnTo>
                    <a:pt x="10" y="565"/>
                  </a:lnTo>
                  <a:lnTo>
                    <a:pt x="11" y="561"/>
                  </a:lnTo>
                  <a:lnTo>
                    <a:pt x="13" y="561"/>
                  </a:lnTo>
                  <a:lnTo>
                    <a:pt x="16" y="560"/>
                  </a:lnTo>
                  <a:lnTo>
                    <a:pt x="19" y="557"/>
                  </a:lnTo>
                  <a:lnTo>
                    <a:pt x="21" y="557"/>
                  </a:lnTo>
                  <a:lnTo>
                    <a:pt x="21" y="555"/>
                  </a:lnTo>
                  <a:lnTo>
                    <a:pt x="24" y="553"/>
                  </a:lnTo>
                  <a:lnTo>
                    <a:pt x="27" y="553"/>
                  </a:lnTo>
                  <a:lnTo>
                    <a:pt x="29" y="552"/>
                  </a:lnTo>
                  <a:lnTo>
                    <a:pt x="26" y="548"/>
                  </a:lnTo>
                  <a:lnTo>
                    <a:pt x="27" y="548"/>
                  </a:lnTo>
                  <a:lnTo>
                    <a:pt x="29" y="547"/>
                  </a:lnTo>
                  <a:lnTo>
                    <a:pt x="29" y="545"/>
                  </a:lnTo>
                  <a:lnTo>
                    <a:pt x="24" y="548"/>
                  </a:lnTo>
                  <a:lnTo>
                    <a:pt x="23" y="548"/>
                  </a:lnTo>
                  <a:lnTo>
                    <a:pt x="21" y="548"/>
                  </a:lnTo>
                  <a:lnTo>
                    <a:pt x="21" y="547"/>
                  </a:lnTo>
                  <a:lnTo>
                    <a:pt x="19" y="545"/>
                  </a:lnTo>
                  <a:lnTo>
                    <a:pt x="19" y="542"/>
                  </a:lnTo>
                  <a:lnTo>
                    <a:pt x="21" y="542"/>
                  </a:lnTo>
                  <a:lnTo>
                    <a:pt x="21" y="540"/>
                  </a:lnTo>
                  <a:lnTo>
                    <a:pt x="21" y="539"/>
                  </a:lnTo>
                  <a:lnTo>
                    <a:pt x="23" y="537"/>
                  </a:lnTo>
                  <a:lnTo>
                    <a:pt x="26" y="534"/>
                  </a:lnTo>
                  <a:lnTo>
                    <a:pt x="26" y="532"/>
                  </a:lnTo>
                  <a:lnTo>
                    <a:pt x="27" y="530"/>
                  </a:lnTo>
                  <a:lnTo>
                    <a:pt x="29" y="529"/>
                  </a:lnTo>
                  <a:lnTo>
                    <a:pt x="29" y="527"/>
                  </a:lnTo>
                  <a:lnTo>
                    <a:pt x="31" y="526"/>
                  </a:lnTo>
                  <a:lnTo>
                    <a:pt x="34" y="524"/>
                  </a:lnTo>
                  <a:lnTo>
                    <a:pt x="36" y="522"/>
                  </a:lnTo>
                  <a:lnTo>
                    <a:pt x="34" y="519"/>
                  </a:lnTo>
                  <a:lnTo>
                    <a:pt x="36" y="517"/>
                  </a:lnTo>
                  <a:lnTo>
                    <a:pt x="34" y="516"/>
                  </a:lnTo>
                  <a:lnTo>
                    <a:pt x="34" y="511"/>
                  </a:lnTo>
                  <a:lnTo>
                    <a:pt x="36" y="506"/>
                  </a:lnTo>
                  <a:lnTo>
                    <a:pt x="36" y="504"/>
                  </a:lnTo>
                  <a:lnTo>
                    <a:pt x="36" y="503"/>
                  </a:lnTo>
                  <a:lnTo>
                    <a:pt x="36" y="500"/>
                  </a:lnTo>
                  <a:lnTo>
                    <a:pt x="34" y="498"/>
                  </a:lnTo>
                  <a:lnTo>
                    <a:pt x="32" y="496"/>
                  </a:lnTo>
                  <a:lnTo>
                    <a:pt x="31" y="493"/>
                  </a:lnTo>
                  <a:lnTo>
                    <a:pt x="29" y="491"/>
                  </a:lnTo>
                  <a:lnTo>
                    <a:pt x="26" y="488"/>
                  </a:lnTo>
                  <a:lnTo>
                    <a:pt x="24" y="487"/>
                  </a:lnTo>
                  <a:lnTo>
                    <a:pt x="26" y="485"/>
                  </a:lnTo>
                  <a:lnTo>
                    <a:pt x="27" y="482"/>
                  </a:lnTo>
                  <a:lnTo>
                    <a:pt x="27" y="480"/>
                  </a:lnTo>
                  <a:lnTo>
                    <a:pt x="24" y="478"/>
                  </a:lnTo>
                  <a:lnTo>
                    <a:pt x="21" y="477"/>
                  </a:lnTo>
                  <a:lnTo>
                    <a:pt x="21" y="475"/>
                  </a:lnTo>
                  <a:lnTo>
                    <a:pt x="19" y="475"/>
                  </a:lnTo>
                  <a:lnTo>
                    <a:pt x="21" y="474"/>
                  </a:lnTo>
                  <a:lnTo>
                    <a:pt x="19" y="472"/>
                  </a:lnTo>
                  <a:lnTo>
                    <a:pt x="21" y="470"/>
                  </a:lnTo>
                  <a:lnTo>
                    <a:pt x="19" y="469"/>
                  </a:lnTo>
                  <a:lnTo>
                    <a:pt x="18" y="469"/>
                  </a:lnTo>
                  <a:lnTo>
                    <a:pt x="18" y="467"/>
                  </a:lnTo>
                  <a:lnTo>
                    <a:pt x="14" y="467"/>
                  </a:lnTo>
                  <a:lnTo>
                    <a:pt x="13" y="465"/>
                  </a:lnTo>
                  <a:lnTo>
                    <a:pt x="14" y="465"/>
                  </a:lnTo>
                  <a:lnTo>
                    <a:pt x="18" y="464"/>
                  </a:lnTo>
                  <a:lnTo>
                    <a:pt x="18" y="462"/>
                  </a:lnTo>
                  <a:lnTo>
                    <a:pt x="18" y="461"/>
                  </a:lnTo>
                  <a:lnTo>
                    <a:pt x="16" y="461"/>
                  </a:lnTo>
                  <a:lnTo>
                    <a:pt x="16" y="459"/>
                  </a:lnTo>
                  <a:lnTo>
                    <a:pt x="14" y="456"/>
                  </a:lnTo>
                  <a:lnTo>
                    <a:pt x="14" y="454"/>
                  </a:lnTo>
                  <a:lnTo>
                    <a:pt x="14" y="452"/>
                  </a:lnTo>
                  <a:lnTo>
                    <a:pt x="18" y="454"/>
                  </a:lnTo>
                  <a:lnTo>
                    <a:pt x="19" y="454"/>
                  </a:lnTo>
                  <a:lnTo>
                    <a:pt x="21" y="452"/>
                  </a:lnTo>
                  <a:lnTo>
                    <a:pt x="23" y="452"/>
                  </a:lnTo>
                  <a:lnTo>
                    <a:pt x="24" y="451"/>
                  </a:lnTo>
                  <a:lnTo>
                    <a:pt x="27" y="452"/>
                  </a:lnTo>
                  <a:lnTo>
                    <a:pt x="31" y="452"/>
                  </a:lnTo>
                  <a:lnTo>
                    <a:pt x="34" y="454"/>
                  </a:lnTo>
                  <a:lnTo>
                    <a:pt x="34" y="452"/>
                  </a:lnTo>
                  <a:lnTo>
                    <a:pt x="34" y="451"/>
                  </a:lnTo>
                  <a:lnTo>
                    <a:pt x="32" y="449"/>
                  </a:lnTo>
                  <a:lnTo>
                    <a:pt x="31" y="448"/>
                  </a:lnTo>
                  <a:lnTo>
                    <a:pt x="29" y="446"/>
                  </a:lnTo>
                  <a:lnTo>
                    <a:pt x="29" y="444"/>
                  </a:lnTo>
                  <a:lnTo>
                    <a:pt x="31" y="446"/>
                  </a:lnTo>
                  <a:lnTo>
                    <a:pt x="32" y="444"/>
                  </a:lnTo>
                  <a:lnTo>
                    <a:pt x="34" y="446"/>
                  </a:lnTo>
                  <a:lnTo>
                    <a:pt x="36" y="446"/>
                  </a:lnTo>
                  <a:lnTo>
                    <a:pt x="36" y="448"/>
                  </a:lnTo>
                  <a:lnTo>
                    <a:pt x="40" y="449"/>
                  </a:lnTo>
                  <a:lnTo>
                    <a:pt x="42" y="449"/>
                  </a:lnTo>
                  <a:lnTo>
                    <a:pt x="44" y="449"/>
                  </a:lnTo>
                  <a:lnTo>
                    <a:pt x="45" y="451"/>
                  </a:lnTo>
                  <a:lnTo>
                    <a:pt x="47" y="452"/>
                  </a:lnTo>
                  <a:lnTo>
                    <a:pt x="50" y="452"/>
                  </a:lnTo>
                  <a:lnTo>
                    <a:pt x="50" y="454"/>
                  </a:lnTo>
                  <a:lnTo>
                    <a:pt x="52" y="454"/>
                  </a:lnTo>
                  <a:lnTo>
                    <a:pt x="52" y="456"/>
                  </a:lnTo>
                  <a:lnTo>
                    <a:pt x="53" y="456"/>
                  </a:lnTo>
                  <a:lnTo>
                    <a:pt x="55" y="456"/>
                  </a:lnTo>
                  <a:lnTo>
                    <a:pt x="55" y="454"/>
                  </a:lnTo>
                  <a:lnTo>
                    <a:pt x="55" y="452"/>
                  </a:lnTo>
                  <a:lnTo>
                    <a:pt x="53" y="452"/>
                  </a:lnTo>
                  <a:lnTo>
                    <a:pt x="53" y="449"/>
                  </a:lnTo>
                  <a:lnTo>
                    <a:pt x="55" y="451"/>
                  </a:lnTo>
                  <a:lnTo>
                    <a:pt x="57" y="452"/>
                  </a:lnTo>
                  <a:lnTo>
                    <a:pt x="58" y="452"/>
                  </a:lnTo>
                  <a:lnTo>
                    <a:pt x="58" y="451"/>
                  </a:lnTo>
                  <a:lnTo>
                    <a:pt x="60" y="451"/>
                  </a:lnTo>
                  <a:lnTo>
                    <a:pt x="60" y="452"/>
                  </a:lnTo>
                  <a:lnTo>
                    <a:pt x="62" y="452"/>
                  </a:lnTo>
                  <a:lnTo>
                    <a:pt x="63" y="452"/>
                  </a:lnTo>
                  <a:lnTo>
                    <a:pt x="63" y="451"/>
                  </a:lnTo>
                  <a:lnTo>
                    <a:pt x="65" y="451"/>
                  </a:lnTo>
                  <a:lnTo>
                    <a:pt x="66" y="449"/>
                  </a:lnTo>
                  <a:lnTo>
                    <a:pt x="68" y="449"/>
                  </a:lnTo>
                  <a:lnTo>
                    <a:pt x="71" y="448"/>
                  </a:lnTo>
                  <a:lnTo>
                    <a:pt x="75" y="448"/>
                  </a:lnTo>
                  <a:lnTo>
                    <a:pt x="79" y="444"/>
                  </a:lnTo>
                  <a:lnTo>
                    <a:pt x="81" y="446"/>
                  </a:lnTo>
                  <a:lnTo>
                    <a:pt x="83" y="446"/>
                  </a:lnTo>
                  <a:lnTo>
                    <a:pt x="83" y="448"/>
                  </a:lnTo>
                  <a:lnTo>
                    <a:pt x="84" y="448"/>
                  </a:lnTo>
                  <a:lnTo>
                    <a:pt x="88" y="444"/>
                  </a:lnTo>
                  <a:lnTo>
                    <a:pt x="89" y="444"/>
                  </a:lnTo>
                  <a:lnTo>
                    <a:pt x="89" y="443"/>
                  </a:lnTo>
                  <a:lnTo>
                    <a:pt x="89" y="441"/>
                  </a:lnTo>
                  <a:lnTo>
                    <a:pt x="91" y="439"/>
                  </a:lnTo>
                  <a:lnTo>
                    <a:pt x="92" y="438"/>
                  </a:lnTo>
                  <a:lnTo>
                    <a:pt x="92" y="436"/>
                  </a:lnTo>
                  <a:lnTo>
                    <a:pt x="92" y="435"/>
                  </a:lnTo>
                  <a:lnTo>
                    <a:pt x="86" y="428"/>
                  </a:lnTo>
                  <a:lnTo>
                    <a:pt x="84" y="428"/>
                  </a:lnTo>
                  <a:lnTo>
                    <a:pt x="83" y="428"/>
                  </a:lnTo>
                  <a:lnTo>
                    <a:pt x="81" y="428"/>
                  </a:lnTo>
                  <a:lnTo>
                    <a:pt x="81" y="425"/>
                  </a:lnTo>
                  <a:lnTo>
                    <a:pt x="81" y="423"/>
                  </a:lnTo>
                  <a:lnTo>
                    <a:pt x="83" y="423"/>
                  </a:lnTo>
                  <a:lnTo>
                    <a:pt x="84" y="423"/>
                  </a:lnTo>
                  <a:lnTo>
                    <a:pt x="86" y="422"/>
                  </a:lnTo>
                  <a:lnTo>
                    <a:pt x="86" y="420"/>
                  </a:lnTo>
                  <a:lnTo>
                    <a:pt x="88" y="418"/>
                  </a:lnTo>
                  <a:lnTo>
                    <a:pt x="88" y="417"/>
                  </a:lnTo>
                  <a:lnTo>
                    <a:pt x="89" y="417"/>
                  </a:lnTo>
                  <a:lnTo>
                    <a:pt x="92" y="417"/>
                  </a:lnTo>
                  <a:lnTo>
                    <a:pt x="94" y="417"/>
                  </a:lnTo>
                  <a:lnTo>
                    <a:pt x="96" y="417"/>
                  </a:lnTo>
                  <a:lnTo>
                    <a:pt x="97" y="417"/>
                  </a:lnTo>
                  <a:lnTo>
                    <a:pt x="97" y="415"/>
                  </a:lnTo>
                  <a:lnTo>
                    <a:pt x="99" y="412"/>
                  </a:lnTo>
                  <a:lnTo>
                    <a:pt x="101" y="410"/>
                  </a:lnTo>
                  <a:lnTo>
                    <a:pt x="101" y="409"/>
                  </a:lnTo>
                  <a:lnTo>
                    <a:pt x="102" y="409"/>
                  </a:lnTo>
                  <a:lnTo>
                    <a:pt x="105" y="409"/>
                  </a:lnTo>
                  <a:lnTo>
                    <a:pt x="107" y="404"/>
                  </a:lnTo>
                  <a:lnTo>
                    <a:pt x="109" y="402"/>
                  </a:lnTo>
                  <a:lnTo>
                    <a:pt x="110" y="402"/>
                  </a:lnTo>
                  <a:lnTo>
                    <a:pt x="112" y="402"/>
                  </a:lnTo>
                  <a:lnTo>
                    <a:pt x="114" y="402"/>
                  </a:lnTo>
                  <a:lnTo>
                    <a:pt x="115" y="400"/>
                  </a:lnTo>
                  <a:lnTo>
                    <a:pt x="114" y="395"/>
                  </a:lnTo>
                  <a:lnTo>
                    <a:pt x="112" y="394"/>
                  </a:lnTo>
                  <a:lnTo>
                    <a:pt x="112" y="392"/>
                  </a:lnTo>
                  <a:lnTo>
                    <a:pt x="115" y="386"/>
                  </a:lnTo>
                  <a:lnTo>
                    <a:pt x="117" y="384"/>
                  </a:lnTo>
                  <a:lnTo>
                    <a:pt x="117" y="381"/>
                  </a:lnTo>
                  <a:lnTo>
                    <a:pt x="115" y="378"/>
                  </a:lnTo>
                  <a:lnTo>
                    <a:pt x="114" y="376"/>
                  </a:lnTo>
                  <a:lnTo>
                    <a:pt x="114" y="374"/>
                  </a:lnTo>
                  <a:lnTo>
                    <a:pt x="112" y="373"/>
                  </a:lnTo>
                  <a:lnTo>
                    <a:pt x="112" y="371"/>
                  </a:lnTo>
                  <a:lnTo>
                    <a:pt x="110" y="368"/>
                  </a:lnTo>
                  <a:lnTo>
                    <a:pt x="110" y="366"/>
                  </a:lnTo>
                  <a:lnTo>
                    <a:pt x="109" y="369"/>
                  </a:lnTo>
                  <a:lnTo>
                    <a:pt x="107" y="371"/>
                  </a:lnTo>
                  <a:lnTo>
                    <a:pt x="104" y="371"/>
                  </a:lnTo>
                  <a:lnTo>
                    <a:pt x="97" y="369"/>
                  </a:lnTo>
                  <a:lnTo>
                    <a:pt x="97" y="368"/>
                  </a:lnTo>
                  <a:lnTo>
                    <a:pt x="94" y="368"/>
                  </a:lnTo>
                  <a:lnTo>
                    <a:pt x="91" y="368"/>
                  </a:lnTo>
                  <a:lnTo>
                    <a:pt x="89" y="366"/>
                  </a:lnTo>
                  <a:lnTo>
                    <a:pt x="86" y="365"/>
                  </a:lnTo>
                  <a:lnTo>
                    <a:pt x="84" y="363"/>
                  </a:lnTo>
                  <a:lnTo>
                    <a:pt x="86" y="358"/>
                  </a:lnTo>
                  <a:lnTo>
                    <a:pt x="84" y="353"/>
                  </a:lnTo>
                  <a:lnTo>
                    <a:pt x="86" y="353"/>
                  </a:lnTo>
                  <a:lnTo>
                    <a:pt x="88" y="353"/>
                  </a:lnTo>
                  <a:lnTo>
                    <a:pt x="91" y="353"/>
                  </a:lnTo>
                  <a:lnTo>
                    <a:pt x="91" y="352"/>
                  </a:lnTo>
                  <a:lnTo>
                    <a:pt x="88" y="350"/>
                  </a:lnTo>
                  <a:lnTo>
                    <a:pt x="88" y="348"/>
                  </a:lnTo>
                  <a:lnTo>
                    <a:pt x="88" y="345"/>
                  </a:lnTo>
                  <a:lnTo>
                    <a:pt x="88" y="343"/>
                  </a:lnTo>
                  <a:lnTo>
                    <a:pt x="88" y="342"/>
                  </a:lnTo>
                  <a:lnTo>
                    <a:pt x="89" y="340"/>
                  </a:lnTo>
                  <a:lnTo>
                    <a:pt x="91" y="340"/>
                  </a:lnTo>
                  <a:lnTo>
                    <a:pt x="92" y="340"/>
                  </a:lnTo>
                  <a:lnTo>
                    <a:pt x="94" y="340"/>
                  </a:lnTo>
                  <a:lnTo>
                    <a:pt x="96" y="340"/>
                  </a:lnTo>
                  <a:lnTo>
                    <a:pt x="97" y="340"/>
                  </a:lnTo>
                  <a:lnTo>
                    <a:pt x="99" y="340"/>
                  </a:lnTo>
                  <a:lnTo>
                    <a:pt x="101" y="340"/>
                  </a:lnTo>
                  <a:lnTo>
                    <a:pt x="102" y="340"/>
                  </a:lnTo>
                  <a:lnTo>
                    <a:pt x="104" y="340"/>
                  </a:lnTo>
                  <a:lnTo>
                    <a:pt x="104" y="342"/>
                  </a:lnTo>
                  <a:lnTo>
                    <a:pt x="104" y="340"/>
                  </a:lnTo>
                  <a:lnTo>
                    <a:pt x="104" y="342"/>
                  </a:lnTo>
                  <a:lnTo>
                    <a:pt x="105" y="342"/>
                  </a:lnTo>
                  <a:lnTo>
                    <a:pt x="107" y="342"/>
                  </a:lnTo>
                  <a:lnTo>
                    <a:pt x="109" y="342"/>
                  </a:lnTo>
                  <a:lnTo>
                    <a:pt x="110" y="342"/>
                  </a:lnTo>
                  <a:lnTo>
                    <a:pt x="112" y="342"/>
                  </a:lnTo>
                  <a:lnTo>
                    <a:pt x="112" y="343"/>
                  </a:lnTo>
                  <a:lnTo>
                    <a:pt x="114" y="343"/>
                  </a:lnTo>
                  <a:lnTo>
                    <a:pt x="115" y="343"/>
                  </a:lnTo>
                  <a:lnTo>
                    <a:pt x="117" y="343"/>
                  </a:lnTo>
                  <a:lnTo>
                    <a:pt x="117" y="342"/>
                  </a:lnTo>
                  <a:lnTo>
                    <a:pt x="117" y="335"/>
                  </a:lnTo>
                  <a:lnTo>
                    <a:pt x="118" y="319"/>
                  </a:lnTo>
                  <a:lnTo>
                    <a:pt x="118" y="317"/>
                  </a:lnTo>
                  <a:lnTo>
                    <a:pt x="122" y="314"/>
                  </a:lnTo>
                  <a:lnTo>
                    <a:pt x="120" y="313"/>
                  </a:lnTo>
                  <a:lnTo>
                    <a:pt x="122" y="313"/>
                  </a:lnTo>
                  <a:lnTo>
                    <a:pt x="123" y="309"/>
                  </a:lnTo>
                  <a:lnTo>
                    <a:pt x="130" y="300"/>
                  </a:lnTo>
                  <a:lnTo>
                    <a:pt x="131" y="291"/>
                  </a:lnTo>
                  <a:lnTo>
                    <a:pt x="133" y="290"/>
                  </a:lnTo>
                  <a:lnTo>
                    <a:pt x="131" y="280"/>
                  </a:lnTo>
                  <a:lnTo>
                    <a:pt x="131" y="275"/>
                  </a:lnTo>
                  <a:lnTo>
                    <a:pt x="131" y="272"/>
                  </a:lnTo>
                  <a:lnTo>
                    <a:pt x="131" y="270"/>
                  </a:lnTo>
                  <a:lnTo>
                    <a:pt x="131" y="269"/>
                  </a:lnTo>
                  <a:lnTo>
                    <a:pt x="133" y="267"/>
                  </a:lnTo>
                  <a:lnTo>
                    <a:pt x="135" y="265"/>
                  </a:lnTo>
                  <a:lnTo>
                    <a:pt x="133" y="265"/>
                  </a:lnTo>
                  <a:lnTo>
                    <a:pt x="133" y="264"/>
                  </a:lnTo>
                  <a:lnTo>
                    <a:pt x="135" y="264"/>
                  </a:lnTo>
                  <a:lnTo>
                    <a:pt x="135" y="262"/>
                  </a:lnTo>
                  <a:lnTo>
                    <a:pt x="135" y="261"/>
                  </a:lnTo>
                  <a:lnTo>
                    <a:pt x="133" y="259"/>
                  </a:lnTo>
                  <a:lnTo>
                    <a:pt x="133" y="257"/>
                  </a:lnTo>
                  <a:lnTo>
                    <a:pt x="135" y="256"/>
                  </a:lnTo>
                  <a:lnTo>
                    <a:pt x="135" y="254"/>
                  </a:lnTo>
                  <a:lnTo>
                    <a:pt x="136" y="252"/>
                  </a:lnTo>
                  <a:lnTo>
                    <a:pt x="136" y="251"/>
                  </a:lnTo>
                  <a:lnTo>
                    <a:pt x="136" y="249"/>
                  </a:lnTo>
                  <a:lnTo>
                    <a:pt x="136" y="246"/>
                  </a:lnTo>
                  <a:lnTo>
                    <a:pt x="138" y="246"/>
                  </a:lnTo>
                  <a:lnTo>
                    <a:pt x="141" y="246"/>
                  </a:lnTo>
                  <a:lnTo>
                    <a:pt x="145" y="246"/>
                  </a:lnTo>
                  <a:lnTo>
                    <a:pt x="145" y="247"/>
                  </a:lnTo>
                  <a:lnTo>
                    <a:pt x="146" y="247"/>
                  </a:lnTo>
                  <a:lnTo>
                    <a:pt x="146" y="249"/>
                  </a:lnTo>
                  <a:lnTo>
                    <a:pt x="148" y="251"/>
                  </a:lnTo>
                  <a:lnTo>
                    <a:pt x="149" y="251"/>
                  </a:lnTo>
                  <a:lnTo>
                    <a:pt x="149" y="254"/>
                  </a:lnTo>
                  <a:lnTo>
                    <a:pt x="149" y="256"/>
                  </a:lnTo>
                  <a:lnTo>
                    <a:pt x="149" y="257"/>
                  </a:lnTo>
                  <a:lnTo>
                    <a:pt x="151" y="259"/>
                  </a:lnTo>
                  <a:lnTo>
                    <a:pt x="153" y="261"/>
                  </a:lnTo>
                  <a:lnTo>
                    <a:pt x="151" y="262"/>
                  </a:lnTo>
                  <a:lnTo>
                    <a:pt x="151" y="264"/>
                  </a:lnTo>
                  <a:lnTo>
                    <a:pt x="151" y="262"/>
                  </a:lnTo>
                  <a:lnTo>
                    <a:pt x="153" y="262"/>
                  </a:lnTo>
                  <a:lnTo>
                    <a:pt x="153" y="261"/>
                  </a:lnTo>
                  <a:lnTo>
                    <a:pt x="153" y="259"/>
                  </a:lnTo>
                  <a:lnTo>
                    <a:pt x="151" y="259"/>
                  </a:lnTo>
                  <a:lnTo>
                    <a:pt x="149" y="259"/>
                  </a:lnTo>
                  <a:lnTo>
                    <a:pt x="149" y="257"/>
                  </a:lnTo>
                  <a:lnTo>
                    <a:pt x="149" y="254"/>
                  </a:lnTo>
                  <a:lnTo>
                    <a:pt x="151" y="254"/>
                  </a:lnTo>
                  <a:lnTo>
                    <a:pt x="151" y="251"/>
                  </a:lnTo>
                  <a:lnTo>
                    <a:pt x="149" y="249"/>
                  </a:lnTo>
                  <a:lnTo>
                    <a:pt x="148" y="249"/>
                  </a:lnTo>
                  <a:lnTo>
                    <a:pt x="146" y="249"/>
                  </a:lnTo>
                  <a:lnTo>
                    <a:pt x="146" y="247"/>
                  </a:lnTo>
                  <a:lnTo>
                    <a:pt x="145" y="246"/>
                  </a:lnTo>
                  <a:lnTo>
                    <a:pt x="143" y="246"/>
                  </a:lnTo>
                  <a:lnTo>
                    <a:pt x="141" y="246"/>
                  </a:lnTo>
                  <a:lnTo>
                    <a:pt x="140" y="246"/>
                  </a:lnTo>
                  <a:lnTo>
                    <a:pt x="138" y="244"/>
                  </a:lnTo>
                  <a:lnTo>
                    <a:pt x="131" y="244"/>
                  </a:lnTo>
                  <a:lnTo>
                    <a:pt x="131" y="243"/>
                  </a:lnTo>
                  <a:lnTo>
                    <a:pt x="131" y="244"/>
                  </a:lnTo>
                  <a:lnTo>
                    <a:pt x="130" y="243"/>
                  </a:lnTo>
                  <a:lnTo>
                    <a:pt x="122" y="243"/>
                  </a:lnTo>
                  <a:lnTo>
                    <a:pt x="120" y="243"/>
                  </a:lnTo>
                  <a:lnTo>
                    <a:pt x="118" y="243"/>
                  </a:lnTo>
                  <a:lnTo>
                    <a:pt x="117" y="241"/>
                  </a:lnTo>
                  <a:lnTo>
                    <a:pt x="117" y="239"/>
                  </a:lnTo>
                  <a:lnTo>
                    <a:pt x="117" y="238"/>
                  </a:lnTo>
                  <a:lnTo>
                    <a:pt x="117" y="236"/>
                  </a:lnTo>
                  <a:lnTo>
                    <a:pt x="117" y="234"/>
                  </a:lnTo>
                  <a:lnTo>
                    <a:pt x="117" y="233"/>
                  </a:lnTo>
                  <a:lnTo>
                    <a:pt x="118" y="231"/>
                  </a:lnTo>
                  <a:lnTo>
                    <a:pt x="118" y="230"/>
                  </a:lnTo>
                  <a:lnTo>
                    <a:pt x="117" y="230"/>
                  </a:lnTo>
                  <a:lnTo>
                    <a:pt x="118" y="228"/>
                  </a:lnTo>
                  <a:lnTo>
                    <a:pt x="118" y="225"/>
                  </a:lnTo>
                  <a:lnTo>
                    <a:pt x="118" y="221"/>
                  </a:lnTo>
                  <a:lnTo>
                    <a:pt x="120" y="220"/>
                  </a:lnTo>
                  <a:lnTo>
                    <a:pt x="122" y="218"/>
                  </a:lnTo>
                  <a:lnTo>
                    <a:pt x="120" y="217"/>
                  </a:lnTo>
                  <a:lnTo>
                    <a:pt x="120" y="215"/>
                  </a:lnTo>
                  <a:lnTo>
                    <a:pt x="120" y="213"/>
                  </a:lnTo>
                  <a:lnTo>
                    <a:pt x="122" y="215"/>
                  </a:lnTo>
                  <a:lnTo>
                    <a:pt x="123" y="215"/>
                  </a:lnTo>
                  <a:lnTo>
                    <a:pt x="123" y="217"/>
                  </a:lnTo>
                  <a:lnTo>
                    <a:pt x="123" y="215"/>
                  </a:lnTo>
                  <a:lnTo>
                    <a:pt x="125" y="215"/>
                  </a:lnTo>
                  <a:lnTo>
                    <a:pt x="125" y="217"/>
                  </a:lnTo>
                  <a:lnTo>
                    <a:pt x="127" y="217"/>
                  </a:lnTo>
                  <a:lnTo>
                    <a:pt x="127" y="215"/>
                  </a:lnTo>
                  <a:lnTo>
                    <a:pt x="128" y="215"/>
                  </a:lnTo>
                  <a:lnTo>
                    <a:pt x="128" y="213"/>
                  </a:lnTo>
                  <a:lnTo>
                    <a:pt x="130" y="213"/>
                  </a:lnTo>
                  <a:lnTo>
                    <a:pt x="128" y="213"/>
                  </a:lnTo>
                  <a:lnTo>
                    <a:pt x="127" y="213"/>
                  </a:lnTo>
                  <a:lnTo>
                    <a:pt x="127" y="212"/>
                  </a:lnTo>
                  <a:lnTo>
                    <a:pt x="127" y="210"/>
                  </a:lnTo>
                  <a:lnTo>
                    <a:pt x="125" y="208"/>
                  </a:lnTo>
                  <a:lnTo>
                    <a:pt x="127" y="205"/>
                  </a:lnTo>
                  <a:lnTo>
                    <a:pt x="130" y="205"/>
                  </a:lnTo>
                  <a:lnTo>
                    <a:pt x="130" y="204"/>
                  </a:lnTo>
                  <a:lnTo>
                    <a:pt x="131" y="202"/>
                  </a:lnTo>
                  <a:lnTo>
                    <a:pt x="133" y="200"/>
                  </a:lnTo>
                  <a:lnTo>
                    <a:pt x="136" y="197"/>
                  </a:lnTo>
                  <a:lnTo>
                    <a:pt x="138" y="197"/>
                  </a:lnTo>
                  <a:lnTo>
                    <a:pt x="140" y="195"/>
                  </a:lnTo>
                  <a:lnTo>
                    <a:pt x="141" y="195"/>
                  </a:lnTo>
                  <a:lnTo>
                    <a:pt x="143" y="195"/>
                  </a:lnTo>
                  <a:lnTo>
                    <a:pt x="143" y="194"/>
                  </a:lnTo>
                  <a:lnTo>
                    <a:pt x="146" y="194"/>
                  </a:lnTo>
                  <a:lnTo>
                    <a:pt x="149" y="194"/>
                  </a:lnTo>
                  <a:lnTo>
                    <a:pt x="151" y="194"/>
                  </a:lnTo>
                  <a:lnTo>
                    <a:pt x="153" y="194"/>
                  </a:lnTo>
                  <a:lnTo>
                    <a:pt x="154" y="194"/>
                  </a:lnTo>
                  <a:lnTo>
                    <a:pt x="159" y="194"/>
                  </a:lnTo>
                  <a:lnTo>
                    <a:pt x="161" y="195"/>
                  </a:lnTo>
                  <a:lnTo>
                    <a:pt x="162" y="195"/>
                  </a:lnTo>
                  <a:lnTo>
                    <a:pt x="164" y="197"/>
                  </a:lnTo>
                  <a:lnTo>
                    <a:pt x="166" y="195"/>
                  </a:lnTo>
                  <a:lnTo>
                    <a:pt x="167" y="195"/>
                  </a:lnTo>
                  <a:lnTo>
                    <a:pt x="169" y="195"/>
                  </a:lnTo>
                  <a:lnTo>
                    <a:pt x="171" y="194"/>
                  </a:lnTo>
                  <a:lnTo>
                    <a:pt x="172" y="194"/>
                  </a:lnTo>
                  <a:lnTo>
                    <a:pt x="175" y="194"/>
                  </a:lnTo>
                  <a:lnTo>
                    <a:pt x="175" y="192"/>
                  </a:lnTo>
                  <a:lnTo>
                    <a:pt x="177" y="192"/>
                  </a:lnTo>
                  <a:lnTo>
                    <a:pt x="179" y="192"/>
                  </a:lnTo>
                  <a:lnTo>
                    <a:pt x="180" y="192"/>
                  </a:lnTo>
                  <a:lnTo>
                    <a:pt x="184" y="192"/>
                  </a:lnTo>
                  <a:lnTo>
                    <a:pt x="185" y="192"/>
                  </a:lnTo>
                  <a:lnTo>
                    <a:pt x="187" y="192"/>
                  </a:lnTo>
                  <a:lnTo>
                    <a:pt x="187" y="191"/>
                  </a:lnTo>
                  <a:lnTo>
                    <a:pt x="188" y="192"/>
                  </a:lnTo>
                  <a:lnTo>
                    <a:pt x="193" y="191"/>
                  </a:lnTo>
                  <a:lnTo>
                    <a:pt x="197" y="191"/>
                  </a:lnTo>
                  <a:lnTo>
                    <a:pt x="200" y="191"/>
                  </a:lnTo>
                  <a:lnTo>
                    <a:pt x="203" y="192"/>
                  </a:lnTo>
                  <a:lnTo>
                    <a:pt x="205" y="192"/>
                  </a:lnTo>
                  <a:lnTo>
                    <a:pt x="206" y="192"/>
                  </a:lnTo>
                  <a:lnTo>
                    <a:pt x="206" y="194"/>
                  </a:lnTo>
                  <a:lnTo>
                    <a:pt x="205" y="195"/>
                  </a:lnTo>
                  <a:lnTo>
                    <a:pt x="206" y="197"/>
                  </a:lnTo>
                  <a:lnTo>
                    <a:pt x="206" y="199"/>
                  </a:lnTo>
                  <a:lnTo>
                    <a:pt x="206" y="200"/>
                  </a:lnTo>
                  <a:lnTo>
                    <a:pt x="206" y="202"/>
                  </a:lnTo>
                  <a:lnTo>
                    <a:pt x="208" y="202"/>
                  </a:lnTo>
                  <a:lnTo>
                    <a:pt x="210" y="202"/>
                  </a:lnTo>
                  <a:lnTo>
                    <a:pt x="211" y="202"/>
                  </a:lnTo>
                  <a:lnTo>
                    <a:pt x="211" y="204"/>
                  </a:lnTo>
                  <a:lnTo>
                    <a:pt x="213" y="202"/>
                  </a:lnTo>
                  <a:lnTo>
                    <a:pt x="213" y="204"/>
                  </a:lnTo>
                  <a:lnTo>
                    <a:pt x="211" y="204"/>
                  </a:lnTo>
                  <a:lnTo>
                    <a:pt x="213" y="205"/>
                  </a:lnTo>
                  <a:lnTo>
                    <a:pt x="214" y="205"/>
                  </a:lnTo>
                  <a:lnTo>
                    <a:pt x="213" y="205"/>
                  </a:lnTo>
                  <a:lnTo>
                    <a:pt x="213" y="207"/>
                  </a:lnTo>
                  <a:lnTo>
                    <a:pt x="213" y="208"/>
                  </a:lnTo>
                  <a:lnTo>
                    <a:pt x="214" y="210"/>
                  </a:lnTo>
                  <a:lnTo>
                    <a:pt x="216" y="210"/>
                  </a:lnTo>
                  <a:lnTo>
                    <a:pt x="214" y="212"/>
                  </a:lnTo>
                  <a:lnTo>
                    <a:pt x="216" y="212"/>
                  </a:lnTo>
                  <a:lnTo>
                    <a:pt x="216" y="213"/>
                  </a:lnTo>
                  <a:lnTo>
                    <a:pt x="216" y="215"/>
                  </a:lnTo>
                  <a:lnTo>
                    <a:pt x="218" y="213"/>
                  </a:lnTo>
                  <a:lnTo>
                    <a:pt x="218" y="215"/>
                  </a:lnTo>
                  <a:lnTo>
                    <a:pt x="216" y="215"/>
                  </a:lnTo>
                  <a:lnTo>
                    <a:pt x="218" y="217"/>
                  </a:lnTo>
                  <a:lnTo>
                    <a:pt x="216" y="217"/>
                  </a:lnTo>
                  <a:lnTo>
                    <a:pt x="216" y="218"/>
                  </a:lnTo>
                  <a:lnTo>
                    <a:pt x="218" y="218"/>
                  </a:lnTo>
                  <a:lnTo>
                    <a:pt x="218" y="217"/>
                  </a:lnTo>
                  <a:lnTo>
                    <a:pt x="216" y="220"/>
                  </a:lnTo>
                  <a:lnTo>
                    <a:pt x="214" y="221"/>
                  </a:lnTo>
                  <a:lnTo>
                    <a:pt x="211" y="221"/>
                  </a:lnTo>
                  <a:lnTo>
                    <a:pt x="210" y="221"/>
                  </a:lnTo>
                  <a:lnTo>
                    <a:pt x="208" y="221"/>
                  </a:lnTo>
                  <a:lnTo>
                    <a:pt x="208" y="223"/>
                  </a:lnTo>
                  <a:lnTo>
                    <a:pt x="208" y="225"/>
                  </a:lnTo>
                  <a:lnTo>
                    <a:pt x="210" y="228"/>
                  </a:lnTo>
                  <a:lnTo>
                    <a:pt x="210" y="230"/>
                  </a:lnTo>
                  <a:lnTo>
                    <a:pt x="211" y="230"/>
                  </a:lnTo>
                  <a:lnTo>
                    <a:pt x="213" y="230"/>
                  </a:lnTo>
                  <a:lnTo>
                    <a:pt x="214" y="230"/>
                  </a:lnTo>
                  <a:lnTo>
                    <a:pt x="216" y="230"/>
                  </a:lnTo>
                  <a:lnTo>
                    <a:pt x="216" y="231"/>
                  </a:lnTo>
                  <a:lnTo>
                    <a:pt x="219" y="234"/>
                  </a:lnTo>
                  <a:lnTo>
                    <a:pt x="219" y="236"/>
                  </a:lnTo>
                  <a:lnTo>
                    <a:pt x="221" y="236"/>
                  </a:lnTo>
                  <a:lnTo>
                    <a:pt x="223" y="236"/>
                  </a:lnTo>
                  <a:lnTo>
                    <a:pt x="223" y="238"/>
                  </a:lnTo>
                  <a:lnTo>
                    <a:pt x="224" y="238"/>
                  </a:lnTo>
                  <a:lnTo>
                    <a:pt x="224" y="236"/>
                  </a:lnTo>
                  <a:lnTo>
                    <a:pt x="226" y="234"/>
                  </a:lnTo>
                  <a:lnTo>
                    <a:pt x="227" y="233"/>
                  </a:lnTo>
                  <a:lnTo>
                    <a:pt x="227" y="231"/>
                  </a:lnTo>
                  <a:lnTo>
                    <a:pt x="229" y="230"/>
                  </a:lnTo>
                  <a:lnTo>
                    <a:pt x="229" y="228"/>
                  </a:lnTo>
                  <a:lnTo>
                    <a:pt x="229" y="223"/>
                  </a:lnTo>
                  <a:lnTo>
                    <a:pt x="229" y="221"/>
                  </a:lnTo>
                  <a:lnTo>
                    <a:pt x="229" y="220"/>
                  </a:lnTo>
                  <a:lnTo>
                    <a:pt x="227" y="220"/>
                  </a:lnTo>
                  <a:lnTo>
                    <a:pt x="226" y="220"/>
                  </a:lnTo>
                  <a:lnTo>
                    <a:pt x="224" y="220"/>
                  </a:lnTo>
                  <a:lnTo>
                    <a:pt x="223" y="220"/>
                  </a:lnTo>
                  <a:lnTo>
                    <a:pt x="223" y="217"/>
                  </a:lnTo>
                  <a:lnTo>
                    <a:pt x="223" y="215"/>
                  </a:lnTo>
                  <a:lnTo>
                    <a:pt x="223" y="213"/>
                  </a:lnTo>
                  <a:lnTo>
                    <a:pt x="224" y="212"/>
                  </a:lnTo>
                  <a:lnTo>
                    <a:pt x="224" y="208"/>
                  </a:lnTo>
                  <a:lnTo>
                    <a:pt x="226" y="208"/>
                  </a:lnTo>
                  <a:lnTo>
                    <a:pt x="226" y="207"/>
                  </a:lnTo>
                  <a:lnTo>
                    <a:pt x="227" y="207"/>
                  </a:lnTo>
                  <a:lnTo>
                    <a:pt x="229" y="205"/>
                  </a:lnTo>
                  <a:lnTo>
                    <a:pt x="231" y="205"/>
                  </a:lnTo>
                  <a:lnTo>
                    <a:pt x="232" y="207"/>
                  </a:lnTo>
                  <a:lnTo>
                    <a:pt x="232" y="208"/>
                  </a:lnTo>
                  <a:lnTo>
                    <a:pt x="234" y="210"/>
                  </a:lnTo>
                  <a:lnTo>
                    <a:pt x="236" y="212"/>
                  </a:lnTo>
                  <a:lnTo>
                    <a:pt x="237" y="213"/>
                  </a:lnTo>
                  <a:lnTo>
                    <a:pt x="240" y="213"/>
                  </a:lnTo>
                  <a:lnTo>
                    <a:pt x="240" y="215"/>
                  </a:lnTo>
                  <a:lnTo>
                    <a:pt x="242" y="215"/>
                  </a:lnTo>
                  <a:lnTo>
                    <a:pt x="244" y="215"/>
                  </a:lnTo>
                  <a:lnTo>
                    <a:pt x="245" y="215"/>
                  </a:lnTo>
                  <a:lnTo>
                    <a:pt x="247" y="215"/>
                  </a:lnTo>
                  <a:lnTo>
                    <a:pt x="247" y="217"/>
                  </a:lnTo>
                  <a:lnTo>
                    <a:pt x="249" y="217"/>
                  </a:lnTo>
                  <a:lnTo>
                    <a:pt x="249" y="218"/>
                  </a:lnTo>
                  <a:lnTo>
                    <a:pt x="250" y="218"/>
                  </a:lnTo>
                  <a:lnTo>
                    <a:pt x="250" y="220"/>
                  </a:lnTo>
                  <a:lnTo>
                    <a:pt x="249" y="220"/>
                  </a:lnTo>
                  <a:lnTo>
                    <a:pt x="247" y="221"/>
                  </a:lnTo>
                  <a:lnTo>
                    <a:pt x="245" y="223"/>
                  </a:lnTo>
                  <a:lnTo>
                    <a:pt x="244" y="226"/>
                  </a:lnTo>
                  <a:lnTo>
                    <a:pt x="244" y="230"/>
                  </a:lnTo>
                  <a:lnTo>
                    <a:pt x="244" y="231"/>
                  </a:lnTo>
                  <a:lnTo>
                    <a:pt x="244" y="233"/>
                  </a:lnTo>
                  <a:lnTo>
                    <a:pt x="244" y="234"/>
                  </a:lnTo>
                  <a:lnTo>
                    <a:pt x="244" y="236"/>
                  </a:lnTo>
                  <a:lnTo>
                    <a:pt x="244" y="238"/>
                  </a:lnTo>
                  <a:lnTo>
                    <a:pt x="244" y="234"/>
                  </a:lnTo>
                  <a:lnTo>
                    <a:pt x="244" y="236"/>
                  </a:lnTo>
                  <a:lnTo>
                    <a:pt x="244" y="238"/>
                  </a:lnTo>
                  <a:lnTo>
                    <a:pt x="244" y="241"/>
                  </a:lnTo>
                  <a:lnTo>
                    <a:pt x="244" y="243"/>
                  </a:lnTo>
                  <a:lnTo>
                    <a:pt x="245" y="243"/>
                  </a:lnTo>
                  <a:lnTo>
                    <a:pt x="245" y="244"/>
                  </a:lnTo>
                  <a:lnTo>
                    <a:pt x="244" y="244"/>
                  </a:lnTo>
                  <a:lnTo>
                    <a:pt x="245" y="246"/>
                  </a:lnTo>
                  <a:lnTo>
                    <a:pt x="244" y="247"/>
                  </a:lnTo>
                  <a:lnTo>
                    <a:pt x="244" y="251"/>
                  </a:lnTo>
                  <a:lnTo>
                    <a:pt x="244" y="254"/>
                  </a:lnTo>
                  <a:lnTo>
                    <a:pt x="244" y="256"/>
                  </a:lnTo>
                  <a:lnTo>
                    <a:pt x="244" y="257"/>
                  </a:lnTo>
                  <a:lnTo>
                    <a:pt x="242" y="257"/>
                  </a:lnTo>
                  <a:lnTo>
                    <a:pt x="244" y="257"/>
                  </a:lnTo>
                  <a:lnTo>
                    <a:pt x="244" y="259"/>
                  </a:lnTo>
                  <a:lnTo>
                    <a:pt x="242" y="261"/>
                  </a:lnTo>
                  <a:lnTo>
                    <a:pt x="242" y="262"/>
                  </a:lnTo>
                  <a:lnTo>
                    <a:pt x="245" y="265"/>
                  </a:lnTo>
                  <a:lnTo>
                    <a:pt x="245" y="267"/>
                  </a:lnTo>
                  <a:lnTo>
                    <a:pt x="247" y="269"/>
                  </a:lnTo>
                  <a:lnTo>
                    <a:pt x="249" y="269"/>
                  </a:lnTo>
                  <a:lnTo>
                    <a:pt x="252" y="270"/>
                  </a:lnTo>
                  <a:lnTo>
                    <a:pt x="253" y="270"/>
                  </a:lnTo>
                  <a:lnTo>
                    <a:pt x="255" y="272"/>
                  </a:lnTo>
                  <a:lnTo>
                    <a:pt x="255" y="274"/>
                  </a:lnTo>
                  <a:lnTo>
                    <a:pt x="255" y="275"/>
                  </a:lnTo>
                  <a:lnTo>
                    <a:pt x="255" y="277"/>
                  </a:lnTo>
                  <a:lnTo>
                    <a:pt x="257" y="277"/>
                  </a:lnTo>
                  <a:lnTo>
                    <a:pt x="258" y="277"/>
                  </a:lnTo>
                  <a:lnTo>
                    <a:pt x="262" y="278"/>
                  </a:lnTo>
                  <a:lnTo>
                    <a:pt x="263" y="278"/>
                  </a:lnTo>
                  <a:lnTo>
                    <a:pt x="265" y="280"/>
                  </a:lnTo>
                  <a:lnTo>
                    <a:pt x="265" y="282"/>
                  </a:lnTo>
                  <a:lnTo>
                    <a:pt x="265" y="280"/>
                  </a:lnTo>
                  <a:lnTo>
                    <a:pt x="266" y="282"/>
                  </a:lnTo>
                  <a:lnTo>
                    <a:pt x="266" y="283"/>
                  </a:lnTo>
                  <a:lnTo>
                    <a:pt x="268" y="283"/>
                  </a:lnTo>
                  <a:lnTo>
                    <a:pt x="270" y="283"/>
                  </a:lnTo>
                  <a:lnTo>
                    <a:pt x="270" y="285"/>
                  </a:lnTo>
                  <a:lnTo>
                    <a:pt x="270" y="283"/>
                  </a:lnTo>
                  <a:lnTo>
                    <a:pt x="268" y="283"/>
                  </a:lnTo>
                  <a:lnTo>
                    <a:pt x="266" y="283"/>
                  </a:lnTo>
                  <a:lnTo>
                    <a:pt x="266" y="282"/>
                  </a:lnTo>
                  <a:lnTo>
                    <a:pt x="266" y="280"/>
                  </a:lnTo>
                  <a:lnTo>
                    <a:pt x="265" y="280"/>
                  </a:lnTo>
                  <a:lnTo>
                    <a:pt x="265" y="278"/>
                  </a:lnTo>
                  <a:lnTo>
                    <a:pt x="263" y="278"/>
                  </a:lnTo>
                  <a:lnTo>
                    <a:pt x="262" y="278"/>
                  </a:lnTo>
                  <a:lnTo>
                    <a:pt x="260" y="278"/>
                  </a:lnTo>
                  <a:lnTo>
                    <a:pt x="260" y="277"/>
                  </a:lnTo>
                  <a:lnTo>
                    <a:pt x="258" y="277"/>
                  </a:lnTo>
                  <a:lnTo>
                    <a:pt x="257" y="277"/>
                  </a:lnTo>
                  <a:lnTo>
                    <a:pt x="257" y="275"/>
                  </a:lnTo>
                  <a:lnTo>
                    <a:pt x="255" y="275"/>
                  </a:lnTo>
                  <a:lnTo>
                    <a:pt x="255" y="274"/>
                  </a:lnTo>
                  <a:lnTo>
                    <a:pt x="255" y="272"/>
                  </a:lnTo>
                  <a:lnTo>
                    <a:pt x="253" y="270"/>
                  </a:lnTo>
                  <a:lnTo>
                    <a:pt x="252" y="270"/>
                  </a:lnTo>
                  <a:lnTo>
                    <a:pt x="250" y="270"/>
                  </a:lnTo>
                  <a:lnTo>
                    <a:pt x="249" y="269"/>
                  </a:lnTo>
                  <a:lnTo>
                    <a:pt x="247" y="267"/>
                  </a:lnTo>
                  <a:lnTo>
                    <a:pt x="245" y="267"/>
                  </a:lnTo>
                  <a:lnTo>
                    <a:pt x="245" y="265"/>
                  </a:lnTo>
                  <a:lnTo>
                    <a:pt x="245" y="264"/>
                  </a:lnTo>
                  <a:lnTo>
                    <a:pt x="244" y="264"/>
                  </a:lnTo>
                  <a:lnTo>
                    <a:pt x="244" y="262"/>
                  </a:lnTo>
                  <a:lnTo>
                    <a:pt x="244" y="261"/>
                  </a:lnTo>
                  <a:lnTo>
                    <a:pt x="244" y="259"/>
                  </a:lnTo>
                  <a:lnTo>
                    <a:pt x="244" y="257"/>
                  </a:lnTo>
                  <a:lnTo>
                    <a:pt x="244" y="256"/>
                  </a:lnTo>
                  <a:lnTo>
                    <a:pt x="244" y="254"/>
                  </a:lnTo>
                  <a:lnTo>
                    <a:pt x="244" y="251"/>
                  </a:lnTo>
                  <a:lnTo>
                    <a:pt x="245" y="251"/>
                  </a:lnTo>
                  <a:lnTo>
                    <a:pt x="244" y="251"/>
                  </a:lnTo>
                  <a:lnTo>
                    <a:pt x="245" y="251"/>
                  </a:lnTo>
                  <a:lnTo>
                    <a:pt x="244" y="249"/>
                  </a:lnTo>
                  <a:lnTo>
                    <a:pt x="245" y="246"/>
                  </a:lnTo>
                  <a:lnTo>
                    <a:pt x="245" y="244"/>
                  </a:lnTo>
                  <a:lnTo>
                    <a:pt x="245" y="246"/>
                  </a:lnTo>
                  <a:lnTo>
                    <a:pt x="245" y="247"/>
                  </a:lnTo>
                  <a:lnTo>
                    <a:pt x="247" y="247"/>
                  </a:lnTo>
                  <a:lnTo>
                    <a:pt x="245" y="249"/>
                  </a:lnTo>
                  <a:lnTo>
                    <a:pt x="247" y="249"/>
                  </a:lnTo>
                  <a:lnTo>
                    <a:pt x="247" y="247"/>
                  </a:lnTo>
                  <a:lnTo>
                    <a:pt x="247" y="246"/>
                  </a:lnTo>
                  <a:lnTo>
                    <a:pt x="245" y="244"/>
                  </a:lnTo>
                  <a:lnTo>
                    <a:pt x="245" y="243"/>
                  </a:lnTo>
                  <a:lnTo>
                    <a:pt x="245" y="241"/>
                  </a:lnTo>
                  <a:lnTo>
                    <a:pt x="245" y="239"/>
                  </a:lnTo>
                  <a:lnTo>
                    <a:pt x="245" y="238"/>
                  </a:lnTo>
                  <a:lnTo>
                    <a:pt x="245" y="236"/>
                  </a:lnTo>
                  <a:lnTo>
                    <a:pt x="245" y="234"/>
                  </a:lnTo>
                  <a:lnTo>
                    <a:pt x="245" y="233"/>
                  </a:lnTo>
                  <a:lnTo>
                    <a:pt x="245" y="231"/>
                  </a:lnTo>
                  <a:lnTo>
                    <a:pt x="245" y="230"/>
                  </a:lnTo>
                  <a:lnTo>
                    <a:pt x="245" y="226"/>
                  </a:lnTo>
                  <a:lnTo>
                    <a:pt x="247" y="225"/>
                  </a:lnTo>
                  <a:lnTo>
                    <a:pt x="247" y="223"/>
                  </a:lnTo>
                  <a:lnTo>
                    <a:pt x="250" y="221"/>
                  </a:lnTo>
                  <a:lnTo>
                    <a:pt x="252" y="220"/>
                  </a:lnTo>
                  <a:lnTo>
                    <a:pt x="252" y="218"/>
                  </a:lnTo>
                  <a:lnTo>
                    <a:pt x="252" y="217"/>
                  </a:lnTo>
                  <a:lnTo>
                    <a:pt x="250" y="215"/>
                  </a:lnTo>
                  <a:lnTo>
                    <a:pt x="249" y="212"/>
                  </a:lnTo>
                  <a:lnTo>
                    <a:pt x="247" y="210"/>
                  </a:lnTo>
                  <a:lnTo>
                    <a:pt x="249" y="210"/>
                  </a:lnTo>
                  <a:lnTo>
                    <a:pt x="247" y="208"/>
                  </a:lnTo>
                  <a:lnTo>
                    <a:pt x="247" y="207"/>
                  </a:lnTo>
                  <a:lnTo>
                    <a:pt x="245" y="205"/>
                  </a:lnTo>
                  <a:lnTo>
                    <a:pt x="245" y="204"/>
                  </a:lnTo>
                  <a:lnTo>
                    <a:pt x="245" y="202"/>
                  </a:lnTo>
                  <a:lnTo>
                    <a:pt x="244" y="200"/>
                  </a:lnTo>
                  <a:lnTo>
                    <a:pt x="245" y="195"/>
                  </a:lnTo>
                  <a:lnTo>
                    <a:pt x="245" y="194"/>
                  </a:lnTo>
                  <a:lnTo>
                    <a:pt x="245" y="192"/>
                  </a:lnTo>
                  <a:lnTo>
                    <a:pt x="247" y="191"/>
                  </a:lnTo>
                  <a:lnTo>
                    <a:pt x="247" y="189"/>
                  </a:lnTo>
                  <a:lnTo>
                    <a:pt x="249" y="187"/>
                  </a:lnTo>
                  <a:lnTo>
                    <a:pt x="247" y="187"/>
                  </a:lnTo>
                  <a:lnTo>
                    <a:pt x="249" y="184"/>
                  </a:lnTo>
                  <a:lnTo>
                    <a:pt x="249" y="182"/>
                  </a:lnTo>
                  <a:lnTo>
                    <a:pt x="250" y="182"/>
                  </a:lnTo>
                  <a:lnTo>
                    <a:pt x="250" y="181"/>
                  </a:lnTo>
                  <a:lnTo>
                    <a:pt x="250" y="179"/>
                  </a:lnTo>
                  <a:lnTo>
                    <a:pt x="250" y="178"/>
                  </a:lnTo>
                  <a:lnTo>
                    <a:pt x="250" y="176"/>
                  </a:lnTo>
                  <a:lnTo>
                    <a:pt x="252" y="176"/>
                  </a:lnTo>
                  <a:lnTo>
                    <a:pt x="252" y="174"/>
                  </a:lnTo>
                  <a:lnTo>
                    <a:pt x="253" y="174"/>
                  </a:lnTo>
                  <a:lnTo>
                    <a:pt x="253" y="173"/>
                  </a:lnTo>
                  <a:lnTo>
                    <a:pt x="255" y="169"/>
                  </a:lnTo>
                  <a:lnTo>
                    <a:pt x="257" y="168"/>
                  </a:lnTo>
                  <a:lnTo>
                    <a:pt x="258" y="168"/>
                  </a:lnTo>
                  <a:lnTo>
                    <a:pt x="260" y="168"/>
                  </a:lnTo>
                  <a:lnTo>
                    <a:pt x="262" y="168"/>
                  </a:lnTo>
                  <a:lnTo>
                    <a:pt x="262" y="169"/>
                  </a:lnTo>
                  <a:lnTo>
                    <a:pt x="263" y="169"/>
                  </a:lnTo>
                  <a:lnTo>
                    <a:pt x="263" y="171"/>
                  </a:lnTo>
                  <a:lnTo>
                    <a:pt x="265" y="169"/>
                  </a:lnTo>
                  <a:lnTo>
                    <a:pt x="265" y="171"/>
                  </a:lnTo>
                  <a:lnTo>
                    <a:pt x="266" y="173"/>
                  </a:lnTo>
                  <a:lnTo>
                    <a:pt x="268" y="174"/>
                  </a:lnTo>
                  <a:lnTo>
                    <a:pt x="270" y="176"/>
                  </a:lnTo>
                  <a:lnTo>
                    <a:pt x="271" y="176"/>
                  </a:lnTo>
                  <a:lnTo>
                    <a:pt x="273" y="176"/>
                  </a:lnTo>
                  <a:lnTo>
                    <a:pt x="275" y="176"/>
                  </a:lnTo>
                  <a:lnTo>
                    <a:pt x="276" y="176"/>
                  </a:lnTo>
                  <a:lnTo>
                    <a:pt x="278" y="176"/>
                  </a:lnTo>
                  <a:lnTo>
                    <a:pt x="279" y="176"/>
                  </a:lnTo>
                  <a:lnTo>
                    <a:pt x="281" y="176"/>
                  </a:lnTo>
                  <a:lnTo>
                    <a:pt x="284" y="176"/>
                  </a:lnTo>
                  <a:lnTo>
                    <a:pt x="286" y="174"/>
                  </a:lnTo>
                  <a:lnTo>
                    <a:pt x="288" y="174"/>
                  </a:lnTo>
                  <a:lnTo>
                    <a:pt x="288" y="176"/>
                  </a:lnTo>
                  <a:lnTo>
                    <a:pt x="288" y="174"/>
                  </a:lnTo>
                  <a:lnTo>
                    <a:pt x="289" y="176"/>
                  </a:lnTo>
                  <a:lnTo>
                    <a:pt x="291" y="176"/>
                  </a:lnTo>
                  <a:lnTo>
                    <a:pt x="291" y="178"/>
                  </a:lnTo>
                  <a:lnTo>
                    <a:pt x="293" y="178"/>
                  </a:lnTo>
                  <a:lnTo>
                    <a:pt x="293" y="179"/>
                  </a:lnTo>
                  <a:lnTo>
                    <a:pt x="293" y="181"/>
                  </a:lnTo>
                  <a:lnTo>
                    <a:pt x="294" y="181"/>
                  </a:lnTo>
                  <a:lnTo>
                    <a:pt x="293" y="181"/>
                  </a:lnTo>
                  <a:lnTo>
                    <a:pt x="293" y="179"/>
                  </a:lnTo>
                  <a:lnTo>
                    <a:pt x="293" y="176"/>
                  </a:lnTo>
                  <a:lnTo>
                    <a:pt x="291" y="174"/>
                  </a:lnTo>
                  <a:lnTo>
                    <a:pt x="293" y="174"/>
                  </a:lnTo>
                  <a:lnTo>
                    <a:pt x="293" y="173"/>
                  </a:lnTo>
                  <a:lnTo>
                    <a:pt x="294" y="173"/>
                  </a:lnTo>
                  <a:lnTo>
                    <a:pt x="296" y="173"/>
                  </a:lnTo>
                  <a:lnTo>
                    <a:pt x="301" y="171"/>
                  </a:lnTo>
                  <a:lnTo>
                    <a:pt x="302" y="171"/>
                  </a:lnTo>
                  <a:lnTo>
                    <a:pt x="306" y="171"/>
                  </a:lnTo>
                  <a:lnTo>
                    <a:pt x="307" y="173"/>
                  </a:lnTo>
                  <a:lnTo>
                    <a:pt x="310" y="173"/>
                  </a:lnTo>
                  <a:lnTo>
                    <a:pt x="312" y="173"/>
                  </a:lnTo>
                  <a:lnTo>
                    <a:pt x="314" y="174"/>
                  </a:lnTo>
                  <a:lnTo>
                    <a:pt x="315" y="176"/>
                  </a:lnTo>
                  <a:lnTo>
                    <a:pt x="317" y="178"/>
                  </a:lnTo>
                  <a:lnTo>
                    <a:pt x="317" y="179"/>
                  </a:lnTo>
                  <a:lnTo>
                    <a:pt x="317" y="181"/>
                  </a:lnTo>
                  <a:lnTo>
                    <a:pt x="319" y="181"/>
                  </a:lnTo>
                  <a:lnTo>
                    <a:pt x="319" y="182"/>
                  </a:lnTo>
                  <a:lnTo>
                    <a:pt x="320" y="186"/>
                  </a:lnTo>
                  <a:lnTo>
                    <a:pt x="322" y="187"/>
                  </a:lnTo>
                  <a:lnTo>
                    <a:pt x="322" y="189"/>
                  </a:lnTo>
                  <a:lnTo>
                    <a:pt x="323" y="189"/>
                  </a:lnTo>
                  <a:lnTo>
                    <a:pt x="323" y="191"/>
                  </a:lnTo>
                  <a:lnTo>
                    <a:pt x="323" y="192"/>
                  </a:lnTo>
                  <a:lnTo>
                    <a:pt x="325" y="192"/>
                  </a:lnTo>
                  <a:lnTo>
                    <a:pt x="327" y="195"/>
                  </a:lnTo>
                  <a:lnTo>
                    <a:pt x="328" y="195"/>
                  </a:lnTo>
                  <a:lnTo>
                    <a:pt x="327" y="195"/>
                  </a:lnTo>
                  <a:lnTo>
                    <a:pt x="328" y="195"/>
                  </a:lnTo>
                  <a:lnTo>
                    <a:pt x="328" y="197"/>
                  </a:lnTo>
                  <a:lnTo>
                    <a:pt x="330" y="197"/>
                  </a:lnTo>
                  <a:lnTo>
                    <a:pt x="330" y="199"/>
                  </a:lnTo>
                  <a:lnTo>
                    <a:pt x="332" y="200"/>
                  </a:lnTo>
                  <a:lnTo>
                    <a:pt x="332" y="202"/>
                  </a:lnTo>
                  <a:lnTo>
                    <a:pt x="332" y="204"/>
                  </a:lnTo>
                  <a:lnTo>
                    <a:pt x="333" y="205"/>
                  </a:lnTo>
                  <a:lnTo>
                    <a:pt x="335" y="207"/>
                  </a:lnTo>
                  <a:lnTo>
                    <a:pt x="335" y="208"/>
                  </a:lnTo>
                  <a:lnTo>
                    <a:pt x="336" y="208"/>
                  </a:lnTo>
                  <a:lnTo>
                    <a:pt x="336" y="210"/>
                  </a:lnTo>
                  <a:lnTo>
                    <a:pt x="338" y="212"/>
                  </a:lnTo>
                  <a:lnTo>
                    <a:pt x="340" y="213"/>
                  </a:lnTo>
                  <a:lnTo>
                    <a:pt x="341" y="213"/>
                  </a:lnTo>
                  <a:lnTo>
                    <a:pt x="343" y="215"/>
                  </a:lnTo>
                  <a:lnTo>
                    <a:pt x="345" y="217"/>
                  </a:lnTo>
                  <a:lnTo>
                    <a:pt x="346" y="218"/>
                  </a:lnTo>
                  <a:lnTo>
                    <a:pt x="348" y="217"/>
                  </a:lnTo>
                  <a:lnTo>
                    <a:pt x="349" y="217"/>
                  </a:lnTo>
                  <a:lnTo>
                    <a:pt x="353" y="218"/>
                  </a:lnTo>
                  <a:lnTo>
                    <a:pt x="354" y="218"/>
                  </a:lnTo>
                  <a:lnTo>
                    <a:pt x="356" y="220"/>
                  </a:lnTo>
                  <a:lnTo>
                    <a:pt x="358" y="220"/>
                  </a:lnTo>
                  <a:lnTo>
                    <a:pt x="359" y="220"/>
                  </a:lnTo>
                  <a:lnTo>
                    <a:pt x="359" y="218"/>
                  </a:lnTo>
                  <a:lnTo>
                    <a:pt x="361" y="218"/>
                  </a:lnTo>
                  <a:lnTo>
                    <a:pt x="362" y="218"/>
                  </a:lnTo>
                  <a:lnTo>
                    <a:pt x="364" y="220"/>
                  </a:lnTo>
                  <a:lnTo>
                    <a:pt x="364" y="221"/>
                  </a:lnTo>
                  <a:lnTo>
                    <a:pt x="366" y="221"/>
                  </a:lnTo>
                  <a:lnTo>
                    <a:pt x="364" y="221"/>
                  </a:lnTo>
                  <a:lnTo>
                    <a:pt x="364" y="220"/>
                  </a:lnTo>
                  <a:lnTo>
                    <a:pt x="364" y="218"/>
                  </a:lnTo>
                  <a:lnTo>
                    <a:pt x="366" y="220"/>
                  </a:lnTo>
                  <a:lnTo>
                    <a:pt x="364" y="220"/>
                  </a:lnTo>
                  <a:lnTo>
                    <a:pt x="366" y="220"/>
                  </a:lnTo>
                  <a:lnTo>
                    <a:pt x="367" y="221"/>
                  </a:lnTo>
                  <a:lnTo>
                    <a:pt x="367" y="220"/>
                  </a:lnTo>
                  <a:lnTo>
                    <a:pt x="366" y="220"/>
                  </a:lnTo>
                  <a:lnTo>
                    <a:pt x="366" y="218"/>
                  </a:lnTo>
                  <a:lnTo>
                    <a:pt x="367" y="218"/>
                  </a:lnTo>
                  <a:lnTo>
                    <a:pt x="369" y="220"/>
                  </a:lnTo>
                  <a:lnTo>
                    <a:pt x="369" y="221"/>
                  </a:lnTo>
                  <a:lnTo>
                    <a:pt x="369" y="223"/>
                  </a:lnTo>
                  <a:lnTo>
                    <a:pt x="369" y="225"/>
                  </a:lnTo>
                  <a:lnTo>
                    <a:pt x="371" y="226"/>
                  </a:lnTo>
                  <a:lnTo>
                    <a:pt x="372" y="228"/>
                  </a:lnTo>
                  <a:lnTo>
                    <a:pt x="374" y="228"/>
                  </a:lnTo>
                  <a:lnTo>
                    <a:pt x="375" y="228"/>
                  </a:lnTo>
                  <a:lnTo>
                    <a:pt x="377" y="228"/>
                  </a:lnTo>
                  <a:lnTo>
                    <a:pt x="377" y="230"/>
                  </a:lnTo>
                  <a:lnTo>
                    <a:pt x="379" y="230"/>
                  </a:lnTo>
                  <a:lnTo>
                    <a:pt x="379" y="231"/>
                  </a:lnTo>
                  <a:lnTo>
                    <a:pt x="380" y="231"/>
                  </a:lnTo>
                  <a:lnTo>
                    <a:pt x="380" y="233"/>
                  </a:lnTo>
                  <a:lnTo>
                    <a:pt x="382" y="233"/>
                  </a:lnTo>
                  <a:lnTo>
                    <a:pt x="382" y="234"/>
                  </a:lnTo>
                  <a:lnTo>
                    <a:pt x="384" y="236"/>
                  </a:lnTo>
                  <a:lnTo>
                    <a:pt x="385" y="236"/>
                  </a:lnTo>
                  <a:lnTo>
                    <a:pt x="387" y="238"/>
                  </a:lnTo>
                  <a:lnTo>
                    <a:pt x="387" y="239"/>
                  </a:lnTo>
                  <a:lnTo>
                    <a:pt x="388" y="239"/>
                  </a:lnTo>
                  <a:lnTo>
                    <a:pt x="390" y="239"/>
                  </a:lnTo>
                  <a:lnTo>
                    <a:pt x="392" y="239"/>
                  </a:lnTo>
                  <a:lnTo>
                    <a:pt x="393" y="239"/>
                  </a:lnTo>
                  <a:lnTo>
                    <a:pt x="395" y="239"/>
                  </a:lnTo>
                  <a:lnTo>
                    <a:pt x="395" y="238"/>
                  </a:lnTo>
                  <a:lnTo>
                    <a:pt x="397" y="236"/>
                  </a:lnTo>
                  <a:lnTo>
                    <a:pt x="398" y="234"/>
                  </a:lnTo>
                  <a:lnTo>
                    <a:pt x="400" y="234"/>
                  </a:lnTo>
                  <a:lnTo>
                    <a:pt x="401" y="234"/>
                  </a:lnTo>
                  <a:lnTo>
                    <a:pt x="401" y="236"/>
                  </a:lnTo>
                  <a:lnTo>
                    <a:pt x="403" y="236"/>
                  </a:lnTo>
                  <a:lnTo>
                    <a:pt x="405" y="234"/>
                  </a:lnTo>
                  <a:lnTo>
                    <a:pt x="406" y="236"/>
                  </a:lnTo>
                  <a:lnTo>
                    <a:pt x="408" y="238"/>
                  </a:lnTo>
                  <a:lnTo>
                    <a:pt x="410" y="238"/>
                  </a:lnTo>
                  <a:lnTo>
                    <a:pt x="411" y="239"/>
                  </a:lnTo>
                  <a:lnTo>
                    <a:pt x="414" y="241"/>
                  </a:lnTo>
                  <a:lnTo>
                    <a:pt x="416" y="243"/>
                  </a:lnTo>
                  <a:lnTo>
                    <a:pt x="418" y="243"/>
                  </a:lnTo>
                  <a:lnTo>
                    <a:pt x="419" y="243"/>
                  </a:lnTo>
                  <a:lnTo>
                    <a:pt x="421" y="243"/>
                  </a:lnTo>
                  <a:lnTo>
                    <a:pt x="421" y="244"/>
                  </a:lnTo>
                  <a:lnTo>
                    <a:pt x="423" y="244"/>
                  </a:lnTo>
                  <a:lnTo>
                    <a:pt x="424" y="244"/>
                  </a:lnTo>
                  <a:lnTo>
                    <a:pt x="426" y="243"/>
                  </a:lnTo>
                  <a:lnTo>
                    <a:pt x="427" y="243"/>
                  </a:lnTo>
                  <a:lnTo>
                    <a:pt x="429" y="243"/>
                  </a:lnTo>
                  <a:lnTo>
                    <a:pt x="431" y="243"/>
                  </a:lnTo>
                  <a:lnTo>
                    <a:pt x="432" y="243"/>
                  </a:lnTo>
                  <a:lnTo>
                    <a:pt x="434" y="243"/>
                  </a:lnTo>
                  <a:lnTo>
                    <a:pt x="436" y="244"/>
                  </a:lnTo>
                  <a:lnTo>
                    <a:pt x="437" y="246"/>
                  </a:lnTo>
                  <a:lnTo>
                    <a:pt x="437" y="247"/>
                  </a:lnTo>
                  <a:lnTo>
                    <a:pt x="437" y="249"/>
                  </a:lnTo>
                  <a:lnTo>
                    <a:pt x="436" y="251"/>
                  </a:lnTo>
                  <a:lnTo>
                    <a:pt x="436" y="252"/>
                  </a:lnTo>
                  <a:lnTo>
                    <a:pt x="437" y="252"/>
                  </a:lnTo>
                  <a:lnTo>
                    <a:pt x="437" y="254"/>
                  </a:lnTo>
                  <a:lnTo>
                    <a:pt x="439" y="254"/>
                  </a:lnTo>
                  <a:lnTo>
                    <a:pt x="441" y="254"/>
                  </a:lnTo>
                  <a:lnTo>
                    <a:pt x="442" y="256"/>
                  </a:lnTo>
                  <a:lnTo>
                    <a:pt x="444" y="256"/>
                  </a:lnTo>
                  <a:lnTo>
                    <a:pt x="444" y="257"/>
                  </a:lnTo>
                  <a:lnTo>
                    <a:pt x="444" y="259"/>
                  </a:lnTo>
                  <a:lnTo>
                    <a:pt x="445" y="259"/>
                  </a:lnTo>
                  <a:lnTo>
                    <a:pt x="447" y="261"/>
                  </a:lnTo>
                  <a:lnTo>
                    <a:pt x="450" y="262"/>
                  </a:lnTo>
                  <a:lnTo>
                    <a:pt x="452" y="264"/>
                  </a:lnTo>
                  <a:lnTo>
                    <a:pt x="454" y="265"/>
                  </a:lnTo>
                  <a:lnTo>
                    <a:pt x="458" y="267"/>
                  </a:lnTo>
                  <a:lnTo>
                    <a:pt x="458" y="269"/>
                  </a:lnTo>
                  <a:lnTo>
                    <a:pt x="460" y="269"/>
                  </a:lnTo>
                  <a:lnTo>
                    <a:pt x="462" y="270"/>
                  </a:lnTo>
                  <a:lnTo>
                    <a:pt x="462" y="272"/>
                  </a:lnTo>
                  <a:lnTo>
                    <a:pt x="467" y="275"/>
                  </a:lnTo>
                  <a:lnTo>
                    <a:pt x="468" y="275"/>
                  </a:lnTo>
                  <a:lnTo>
                    <a:pt x="470" y="275"/>
                  </a:lnTo>
                  <a:lnTo>
                    <a:pt x="470" y="274"/>
                  </a:lnTo>
                  <a:lnTo>
                    <a:pt x="471" y="272"/>
                  </a:lnTo>
                  <a:lnTo>
                    <a:pt x="473" y="272"/>
                  </a:lnTo>
                  <a:lnTo>
                    <a:pt x="475" y="274"/>
                  </a:lnTo>
                  <a:lnTo>
                    <a:pt x="475" y="275"/>
                  </a:lnTo>
                  <a:lnTo>
                    <a:pt x="476" y="277"/>
                  </a:lnTo>
                  <a:lnTo>
                    <a:pt x="478" y="275"/>
                  </a:lnTo>
                  <a:lnTo>
                    <a:pt x="480" y="275"/>
                  </a:lnTo>
                  <a:lnTo>
                    <a:pt x="481" y="275"/>
                  </a:lnTo>
                  <a:lnTo>
                    <a:pt x="481" y="277"/>
                  </a:lnTo>
                  <a:lnTo>
                    <a:pt x="483" y="277"/>
                  </a:lnTo>
                  <a:lnTo>
                    <a:pt x="483" y="278"/>
                  </a:lnTo>
                  <a:lnTo>
                    <a:pt x="483" y="280"/>
                  </a:lnTo>
                  <a:lnTo>
                    <a:pt x="484" y="282"/>
                  </a:lnTo>
                  <a:lnTo>
                    <a:pt x="484" y="283"/>
                  </a:lnTo>
                  <a:lnTo>
                    <a:pt x="486" y="283"/>
                  </a:lnTo>
                  <a:lnTo>
                    <a:pt x="488" y="285"/>
                  </a:lnTo>
                  <a:lnTo>
                    <a:pt x="488" y="287"/>
                  </a:lnTo>
                  <a:lnTo>
                    <a:pt x="489" y="287"/>
                  </a:lnTo>
                  <a:lnTo>
                    <a:pt x="489" y="288"/>
                  </a:lnTo>
                  <a:lnTo>
                    <a:pt x="491" y="288"/>
                  </a:lnTo>
                  <a:lnTo>
                    <a:pt x="491" y="287"/>
                  </a:lnTo>
                  <a:lnTo>
                    <a:pt x="493" y="287"/>
                  </a:lnTo>
                  <a:lnTo>
                    <a:pt x="494" y="285"/>
                  </a:lnTo>
                  <a:lnTo>
                    <a:pt x="496" y="285"/>
                  </a:lnTo>
                  <a:lnTo>
                    <a:pt x="497" y="285"/>
                  </a:lnTo>
                  <a:lnTo>
                    <a:pt x="497" y="283"/>
                  </a:lnTo>
                  <a:lnTo>
                    <a:pt x="499" y="283"/>
                  </a:lnTo>
                  <a:lnTo>
                    <a:pt x="501" y="285"/>
                  </a:lnTo>
                  <a:lnTo>
                    <a:pt x="502" y="287"/>
                  </a:lnTo>
                  <a:lnTo>
                    <a:pt x="502" y="288"/>
                  </a:lnTo>
                  <a:lnTo>
                    <a:pt x="504" y="288"/>
                  </a:lnTo>
                  <a:lnTo>
                    <a:pt x="506" y="288"/>
                  </a:lnTo>
                  <a:lnTo>
                    <a:pt x="507" y="288"/>
                  </a:lnTo>
                  <a:lnTo>
                    <a:pt x="509" y="288"/>
                  </a:lnTo>
                  <a:lnTo>
                    <a:pt x="509" y="290"/>
                  </a:lnTo>
                  <a:lnTo>
                    <a:pt x="510" y="290"/>
                  </a:lnTo>
                  <a:lnTo>
                    <a:pt x="512" y="290"/>
                  </a:lnTo>
                  <a:lnTo>
                    <a:pt x="514" y="288"/>
                  </a:lnTo>
                  <a:lnTo>
                    <a:pt x="515" y="288"/>
                  </a:lnTo>
                  <a:lnTo>
                    <a:pt x="515" y="290"/>
                  </a:lnTo>
                  <a:lnTo>
                    <a:pt x="515" y="291"/>
                  </a:lnTo>
                  <a:lnTo>
                    <a:pt x="514" y="291"/>
                  </a:lnTo>
                  <a:lnTo>
                    <a:pt x="514" y="293"/>
                  </a:lnTo>
                  <a:lnTo>
                    <a:pt x="515" y="293"/>
                  </a:lnTo>
                  <a:lnTo>
                    <a:pt x="515" y="295"/>
                  </a:lnTo>
                  <a:lnTo>
                    <a:pt x="517" y="295"/>
                  </a:lnTo>
                  <a:lnTo>
                    <a:pt x="517" y="293"/>
                  </a:lnTo>
                  <a:lnTo>
                    <a:pt x="519" y="293"/>
                  </a:lnTo>
                  <a:lnTo>
                    <a:pt x="519" y="295"/>
                  </a:lnTo>
                  <a:lnTo>
                    <a:pt x="519" y="296"/>
                  </a:lnTo>
                  <a:lnTo>
                    <a:pt x="520" y="298"/>
                  </a:lnTo>
                  <a:lnTo>
                    <a:pt x="522" y="296"/>
                  </a:lnTo>
                  <a:lnTo>
                    <a:pt x="523" y="296"/>
                  </a:lnTo>
                  <a:lnTo>
                    <a:pt x="525" y="296"/>
                  </a:lnTo>
                  <a:lnTo>
                    <a:pt x="527" y="296"/>
                  </a:lnTo>
                  <a:lnTo>
                    <a:pt x="527" y="298"/>
                  </a:lnTo>
                  <a:lnTo>
                    <a:pt x="528" y="300"/>
                  </a:lnTo>
                  <a:lnTo>
                    <a:pt x="530" y="301"/>
                  </a:lnTo>
                  <a:lnTo>
                    <a:pt x="532" y="301"/>
                  </a:lnTo>
                  <a:lnTo>
                    <a:pt x="533" y="301"/>
                  </a:lnTo>
                  <a:lnTo>
                    <a:pt x="533" y="303"/>
                  </a:lnTo>
                  <a:lnTo>
                    <a:pt x="532" y="304"/>
                  </a:lnTo>
                  <a:lnTo>
                    <a:pt x="532" y="306"/>
                  </a:lnTo>
                  <a:lnTo>
                    <a:pt x="532" y="308"/>
                  </a:lnTo>
                  <a:lnTo>
                    <a:pt x="533" y="308"/>
                  </a:lnTo>
                  <a:lnTo>
                    <a:pt x="536" y="308"/>
                  </a:lnTo>
                  <a:lnTo>
                    <a:pt x="536" y="309"/>
                  </a:lnTo>
                  <a:lnTo>
                    <a:pt x="538" y="309"/>
                  </a:lnTo>
                  <a:lnTo>
                    <a:pt x="541" y="309"/>
                  </a:lnTo>
                  <a:lnTo>
                    <a:pt x="543" y="309"/>
                  </a:lnTo>
                  <a:lnTo>
                    <a:pt x="543" y="311"/>
                  </a:lnTo>
                  <a:lnTo>
                    <a:pt x="545" y="313"/>
                  </a:lnTo>
                  <a:lnTo>
                    <a:pt x="546" y="313"/>
                  </a:lnTo>
                  <a:lnTo>
                    <a:pt x="548" y="313"/>
                  </a:lnTo>
                  <a:lnTo>
                    <a:pt x="549" y="313"/>
                  </a:lnTo>
                  <a:lnTo>
                    <a:pt x="549" y="314"/>
                  </a:lnTo>
                  <a:lnTo>
                    <a:pt x="551" y="316"/>
                  </a:lnTo>
                  <a:lnTo>
                    <a:pt x="551" y="317"/>
                  </a:lnTo>
                  <a:lnTo>
                    <a:pt x="549" y="319"/>
                  </a:lnTo>
                  <a:lnTo>
                    <a:pt x="549" y="321"/>
                  </a:lnTo>
                  <a:lnTo>
                    <a:pt x="549" y="322"/>
                  </a:lnTo>
                  <a:lnTo>
                    <a:pt x="549" y="324"/>
                  </a:lnTo>
                  <a:lnTo>
                    <a:pt x="551" y="324"/>
                  </a:lnTo>
                  <a:lnTo>
                    <a:pt x="549" y="327"/>
                  </a:lnTo>
                  <a:lnTo>
                    <a:pt x="551" y="329"/>
                  </a:lnTo>
                  <a:lnTo>
                    <a:pt x="551" y="330"/>
                  </a:lnTo>
                  <a:lnTo>
                    <a:pt x="551" y="332"/>
                  </a:lnTo>
                  <a:lnTo>
                    <a:pt x="551" y="334"/>
                  </a:lnTo>
                  <a:lnTo>
                    <a:pt x="549" y="335"/>
                  </a:lnTo>
                  <a:lnTo>
                    <a:pt x="549" y="337"/>
                  </a:lnTo>
                  <a:lnTo>
                    <a:pt x="549" y="340"/>
                  </a:lnTo>
                  <a:lnTo>
                    <a:pt x="549" y="342"/>
                  </a:lnTo>
                  <a:lnTo>
                    <a:pt x="549" y="343"/>
                  </a:lnTo>
                  <a:lnTo>
                    <a:pt x="549" y="345"/>
                  </a:lnTo>
                  <a:lnTo>
                    <a:pt x="548" y="348"/>
                  </a:lnTo>
                  <a:lnTo>
                    <a:pt x="549" y="348"/>
                  </a:lnTo>
                  <a:lnTo>
                    <a:pt x="548" y="348"/>
                  </a:lnTo>
                  <a:lnTo>
                    <a:pt x="548" y="350"/>
                  </a:lnTo>
                  <a:lnTo>
                    <a:pt x="548" y="352"/>
                  </a:lnTo>
                  <a:lnTo>
                    <a:pt x="548" y="353"/>
                  </a:lnTo>
                  <a:lnTo>
                    <a:pt x="548" y="356"/>
                  </a:lnTo>
                  <a:lnTo>
                    <a:pt x="548" y="355"/>
                  </a:lnTo>
                  <a:lnTo>
                    <a:pt x="548" y="353"/>
                  </a:lnTo>
                  <a:lnTo>
                    <a:pt x="549" y="352"/>
                  </a:lnTo>
                  <a:lnTo>
                    <a:pt x="549" y="350"/>
                  </a:lnTo>
                  <a:lnTo>
                    <a:pt x="549" y="347"/>
                  </a:lnTo>
                  <a:lnTo>
                    <a:pt x="549" y="345"/>
                  </a:lnTo>
                  <a:lnTo>
                    <a:pt x="549" y="343"/>
                  </a:lnTo>
                  <a:lnTo>
                    <a:pt x="549" y="342"/>
                  </a:lnTo>
                  <a:lnTo>
                    <a:pt x="549" y="340"/>
                  </a:lnTo>
                  <a:lnTo>
                    <a:pt x="549" y="339"/>
                  </a:lnTo>
                  <a:lnTo>
                    <a:pt x="551" y="337"/>
                  </a:lnTo>
                  <a:lnTo>
                    <a:pt x="551" y="335"/>
                  </a:lnTo>
                  <a:lnTo>
                    <a:pt x="551" y="334"/>
                  </a:lnTo>
                  <a:lnTo>
                    <a:pt x="551" y="332"/>
                  </a:lnTo>
                  <a:lnTo>
                    <a:pt x="551" y="330"/>
                  </a:lnTo>
                  <a:lnTo>
                    <a:pt x="551" y="329"/>
                  </a:lnTo>
                  <a:lnTo>
                    <a:pt x="551" y="326"/>
                  </a:lnTo>
                  <a:lnTo>
                    <a:pt x="551" y="324"/>
                  </a:lnTo>
                  <a:lnTo>
                    <a:pt x="549" y="322"/>
                  </a:lnTo>
                  <a:lnTo>
                    <a:pt x="549" y="321"/>
                  </a:lnTo>
                  <a:lnTo>
                    <a:pt x="551" y="319"/>
                  </a:lnTo>
                  <a:lnTo>
                    <a:pt x="551" y="317"/>
                  </a:lnTo>
                  <a:lnTo>
                    <a:pt x="551" y="316"/>
                  </a:lnTo>
                  <a:lnTo>
                    <a:pt x="549" y="314"/>
                  </a:lnTo>
                  <a:lnTo>
                    <a:pt x="549" y="313"/>
                  </a:lnTo>
                  <a:lnTo>
                    <a:pt x="548" y="311"/>
                  </a:lnTo>
                  <a:lnTo>
                    <a:pt x="545" y="313"/>
                  </a:lnTo>
                  <a:lnTo>
                    <a:pt x="545" y="311"/>
                  </a:lnTo>
                  <a:lnTo>
                    <a:pt x="543" y="311"/>
                  </a:lnTo>
                  <a:lnTo>
                    <a:pt x="543" y="309"/>
                  </a:lnTo>
                  <a:lnTo>
                    <a:pt x="541" y="309"/>
                  </a:lnTo>
                  <a:lnTo>
                    <a:pt x="540" y="309"/>
                  </a:lnTo>
                  <a:lnTo>
                    <a:pt x="538" y="309"/>
                  </a:lnTo>
                  <a:lnTo>
                    <a:pt x="536" y="308"/>
                  </a:lnTo>
                  <a:lnTo>
                    <a:pt x="533" y="308"/>
                  </a:lnTo>
                  <a:lnTo>
                    <a:pt x="533" y="306"/>
                  </a:lnTo>
                  <a:lnTo>
                    <a:pt x="532" y="306"/>
                  </a:lnTo>
                  <a:lnTo>
                    <a:pt x="532" y="304"/>
                  </a:lnTo>
                  <a:lnTo>
                    <a:pt x="533" y="304"/>
                  </a:lnTo>
                  <a:lnTo>
                    <a:pt x="533" y="303"/>
                  </a:lnTo>
                  <a:lnTo>
                    <a:pt x="535" y="303"/>
                  </a:lnTo>
                  <a:lnTo>
                    <a:pt x="533" y="304"/>
                  </a:lnTo>
                  <a:lnTo>
                    <a:pt x="535" y="304"/>
                  </a:lnTo>
                  <a:lnTo>
                    <a:pt x="533" y="304"/>
                  </a:lnTo>
                  <a:lnTo>
                    <a:pt x="535" y="304"/>
                  </a:lnTo>
                  <a:lnTo>
                    <a:pt x="535" y="303"/>
                  </a:lnTo>
                  <a:lnTo>
                    <a:pt x="535" y="301"/>
                  </a:lnTo>
                  <a:lnTo>
                    <a:pt x="533" y="301"/>
                  </a:lnTo>
                  <a:lnTo>
                    <a:pt x="533" y="300"/>
                  </a:lnTo>
                  <a:lnTo>
                    <a:pt x="532" y="300"/>
                  </a:lnTo>
                  <a:lnTo>
                    <a:pt x="530" y="300"/>
                  </a:lnTo>
                  <a:lnTo>
                    <a:pt x="528" y="300"/>
                  </a:lnTo>
                  <a:lnTo>
                    <a:pt x="527" y="296"/>
                  </a:lnTo>
                  <a:lnTo>
                    <a:pt x="525" y="296"/>
                  </a:lnTo>
                  <a:lnTo>
                    <a:pt x="523" y="296"/>
                  </a:lnTo>
                  <a:lnTo>
                    <a:pt x="520" y="298"/>
                  </a:lnTo>
                  <a:lnTo>
                    <a:pt x="520" y="296"/>
                  </a:lnTo>
                  <a:lnTo>
                    <a:pt x="520" y="295"/>
                  </a:lnTo>
                  <a:lnTo>
                    <a:pt x="519" y="293"/>
                  </a:lnTo>
                  <a:lnTo>
                    <a:pt x="517" y="293"/>
                  </a:lnTo>
                  <a:lnTo>
                    <a:pt x="515" y="293"/>
                  </a:lnTo>
                  <a:lnTo>
                    <a:pt x="515" y="291"/>
                  </a:lnTo>
                  <a:lnTo>
                    <a:pt x="515" y="290"/>
                  </a:lnTo>
                  <a:lnTo>
                    <a:pt x="515" y="288"/>
                  </a:lnTo>
                  <a:lnTo>
                    <a:pt x="514" y="288"/>
                  </a:lnTo>
                  <a:lnTo>
                    <a:pt x="512" y="290"/>
                  </a:lnTo>
                  <a:lnTo>
                    <a:pt x="510" y="290"/>
                  </a:lnTo>
                  <a:lnTo>
                    <a:pt x="509" y="288"/>
                  </a:lnTo>
                  <a:lnTo>
                    <a:pt x="507" y="287"/>
                  </a:lnTo>
                  <a:lnTo>
                    <a:pt x="507" y="288"/>
                  </a:lnTo>
                  <a:lnTo>
                    <a:pt x="506" y="288"/>
                  </a:lnTo>
                  <a:lnTo>
                    <a:pt x="504" y="288"/>
                  </a:lnTo>
                  <a:lnTo>
                    <a:pt x="502" y="287"/>
                  </a:lnTo>
                  <a:lnTo>
                    <a:pt x="501" y="285"/>
                  </a:lnTo>
                  <a:lnTo>
                    <a:pt x="501" y="283"/>
                  </a:lnTo>
                  <a:lnTo>
                    <a:pt x="499" y="283"/>
                  </a:lnTo>
                  <a:lnTo>
                    <a:pt x="497" y="283"/>
                  </a:lnTo>
                  <a:lnTo>
                    <a:pt x="496" y="285"/>
                  </a:lnTo>
                  <a:lnTo>
                    <a:pt x="494" y="285"/>
                  </a:lnTo>
                  <a:lnTo>
                    <a:pt x="493" y="287"/>
                  </a:lnTo>
                  <a:lnTo>
                    <a:pt x="491" y="287"/>
                  </a:lnTo>
                  <a:lnTo>
                    <a:pt x="489" y="287"/>
                  </a:lnTo>
                  <a:lnTo>
                    <a:pt x="488" y="285"/>
                  </a:lnTo>
                  <a:lnTo>
                    <a:pt x="486" y="283"/>
                  </a:lnTo>
                  <a:lnTo>
                    <a:pt x="483" y="282"/>
                  </a:lnTo>
                  <a:lnTo>
                    <a:pt x="483" y="280"/>
                  </a:lnTo>
                  <a:lnTo>
                    <a:pt x="483" y="278"/>
                  </a:lnTo>
                  <a:lnTo>
                    <a:pt x="483" y="277"/>
                  </a:lnTo>
                  <a:lnTo>
                    <a:pt x="481" y="275"/>
                  </a:lnTo>
                  <a:lnTo>
                    <a:pt x="480" y="275"/>
                  </a:lnTo>
                  <a:lnTo>
                    <a:pt x="478" y="275"/>
                  </a:lnTo>
                  <a:lnTo>
                    <a:pt x="476" y="275"/>
                  </a:lnTo>
                  <a:lnTo>
                    <a:pt x="476" y="274"/>
                  </a:lnTo>
                  <a:lnTo>
                    <a:pt x="475" y="274"/>
                  </a:lnTo>
                  <a:lnTo>
                    <a:pt x="473" y="272"/>
                  </a:lnTo>
                  <a:lnTo>
                    <a:pt x="473" y="270"/>
                  </a:lnTo>
                  <a:lnTo>
                    <a:pt x="471" y="270"/>
                  </a:lnTo>
                  <a:lnTo>
                    <a:pt x="471" y="272"/>
                  </a:lnTo>
                  <a:lnTo>
                    <a:pt x="470" y="272"/>
                  </a:lnTo>
                  <a:lnTo>
                    <a:pt x="470" y="275"/>
                  </a:lnTo>
                  <a:lnTo>
                    <a:pt x="468" y="275"/>
                  </a:lnTo>
                  <a:lnTo>
                    <a:pt x="467" y="275"/>
                  </a:lnTo>
                  <a:lnTo>
                    <a:pt x="462" y="272"/>
                  </a:lnTo>
                  <a:lnTo>
                    <a:pt x="462" y="270"/>
                  </a:lnTo>
                  <a:lnTo>
                    <a:pt x="460" y="269"/>
                  </a:lnTo>
                  <a:lnTo>
                    <a:pt x="458" y="269"/>
                  </a:lnTo>
                  <a:lnTo>
                    <a:pt x="455" y="265"/>
                  </a:lnTo>
                  <a:lnTo>
                    <a:pt x="454" y="264"/>
                  </a:lnTo>
                  <a:lnTo>
                    <a:pt x="452" y="262"/>
                  </a:lnTo>
                  <a:lnTo>
                    <a:pt x="450" y="262"/>
                  </a:lnTo>
                  <a:lnTo>
                    <a:pt x="449" y="261"/>
                  </a:lnTo>
                  <a:lnTo>
                    <a:pt x="447" y="259"/>
                  </a:lnTo>
                  <a:lnTo>
                    <a:pt x="445" y="259"/>
                  </a:lnTo>
                  <a:lnTo>
                    <a:pt x="444" y="259"/>
                  </a:lnTo>
                  <a:lnTo>
                    <a:pt x="444" y="257"/>
                  </a:lnTo>
                  <a:lnTo>
                    <a:pt x="444" y="256"/>
                  </a:lnTo>
                  <a:lnTo>
                    <a:pt x="442" y="256"/>
                  </a:lnTo>
                  <a:lnTo>
                    <a:pt x="442" y="254"/>
                  </a:lnTo>
                  <a:lnTo>
                    <a:pt x="441" y="254"/>
                  </a:lnTo>
                  <a:lnTo>
                    <a:pt x="439" y="254"/>
                  </a:lnTo>
                  <a:lnTo>
                    <a:pt x="437" y="252"/>
                  </a:lnTo>
                  <a:lnTo>
                    <a:pt x="437" y="251"/>
                  </a:lnTo>
                  <a:lnTo>
                    <a:pt x="437" y="249"/>
                  </a:lnTo>
                  <a:lnTo>
                    <a:pt x="437" y="247"/>
                  </a:lnTo>
                  <a:lnTo>
                    <a:pt x="437" y="246"/>
                  </a:lnTo>
                  <a:lnTo>
                    <a:pt x="436" y="244"/>
                  </a:lnTo>
                  <a:lnTo>
                    <a:pt x="434" y="243"/>
                  </a:lnTo>
                  <a:lnTo>
                    <a:pt x="432" y="243"/>
                  </a:lnTo>
                  <a:lnTo>
                    <a:pt x="431" y="243"/>
                  </a:lnTo>
                  <a:lnTo>
                    <a:pt x="427" y="243"/>
                  </a:lnTo>
                  <a:lnTo>
                    <a:pt x="426" y="243"/>
                  </a:lnTo>
                  <a:lnTo>
                    <a:pt x="424" y="244"/>
                  </a:lnTo>
                  <a:lnTo>
                    <a:pt x="423" y="244"/>
                  </a:lnTo>
                  <a:lnTo>
                    <a:pt x="423" y="243"/>
                  </a:lnTo>
                  <a:lnTo>
                    <a:pt x="421" y="243"/>
                  </a:lnTo>
                  <a:lnTo>
                    <a:pt x="418" y="243"/>
                  </a:lnTo>
                  <a:lnTo>
                    <a:pt x="416" y="243"/>
                  </a:lnTo>
                  <a:lnTo>
                    <a:pt x="414" y="241"/>
                  </a:lnTo>
                  <a:lnTo>
                    <a:pt x="411" y="239"/>
                  </a:lnTo>
                  <a:lnTo>
                    <a:pt x="408" y="238"/>
                  </a:lnTo>
                  <a:lnTo>
                    <a:pt x="408" y="236"/>
                  </a:lnTo>
                  <a:lnTo>
                    <a:pt x="406" y="236"/>
                  </a:lnTo>
                  <a:lnTo>
                    <a:pt x="406" y="234"/>
                  </a:lnTo>
                  <a:lnTo>
                    <a:pt x="405" y="234"/>
                  </a:lnTo>
                  <a:lnTo>
                    <a:pt x="401" y="234"/>
                  </a:lnTo>
                  <a:lnTo>
                    <a:pt x="400" y="234"/>
                  </a:lnTo>
                  <a:lnTo>
                    <a:pt x="398" y="234"/>
                  </a:lnTo>
                  <a:lnTo>
                    <a:pt x="397" y="236"/>
                  </a:lnTo>
                  <a:lnTo>
                    <a:pt x="395" y="236"/>
                  </a:lnTo>
                  <a:lnTo>
                    <a:pt x="395" y="238"/>
                  </a:lnTo>
                  <a:lnTo>
                    <a:pt x="393" y="239"/>
                  </a:lnTo>
                  <a:lnTo>
                    <a:pt x="392" y="239"/>
                  </a:lnTo>
                  <a:lnTo>
                    <a:pt x="390" y="239"/>
                  </a:lnTo>
                  <a:lnTo>
                    <a:pt x="388" y="239"/>
                  </a:lnTo>
                  <a:lnTo>
                    <a:pt x="387" y="238"/>
                  </a:lnTo>
                  <a:lnTo>
                    <a:pt x="387" y="236"/>
                  </a:lnTo>
                  <a:lnTo>
                    <a:pt x="385" y="236"/>
                  </a:lnTo>
                  <a:lnTo>
                    <a:pt x="385" y="234"/>
                  </a:lnTo>
                  <a:lnTo>
                    <a:pt x="384" y="234"/>
                  </a:lnTo>
                  <a:lnTo>
                    <a:pt x="382" y="234"/>
                  </a:lnTo>
                  <a:lnTo>
                    <a:pt x="382" y="233"/>
                  </a:lnTo>
                  <a:lnTo>
                    <a:pt x="382" y="231"/>
                  </a:lnTo>
                  <a:lnTo>
                    <a:pt x="380" y="231"/>
                  </a:lnTo>
                  <a:lnTo>
                    <a:pt x="380" y="230"/>
                  </a:lnTo>
                  <a:lnTo>
                    <a:pt x="379" y="230"/>
                  </a:lnTo>
                  <a:lnTo>
                    <a:pt x="379" y="228"/>
                  </a:lnTo>
                  <a:lnTo>
                    <a:pt x="379" y="226"/>
                  </a:lnTo>
                  <a:lnTo>
                    <a:pt x="379" y="225"/>
                  </a:lnTo>
                  <a:lnTo>
                    <a:pt x="379" y="223"/>
                  </a:lnTo>
                  <a:lnTo>
                    <a:pt x="379" y="221"/>
                  </a:lnTo>
                  <a:lnTo>
                    <a:pt x="377" y="220"/>
                  </a:lnTo>
                  <a:lnTo>
                    <a:pt x="375" y="220"/>
                  </a:lnTo>
                  <a:lnTo>
                    <a:pt x="374" y="220"/>
                  </a:lnTo>
                  <a:lnTo>
                    <a:pt x="372" y="218"/>
                  </a:lnTo>
                  <a:lnTo>
                    <a:pt x="371" y="218"/>
                  </a:lnTo>
                  <a:lnTo>
                    <a:pt x="369" y="218"/>
                  </a:lnTo>
                  <a:lnTo>
                    <a:pt x="367" y="218"/>
                  </a:lnTo>
                  <a:lnTo>
                    <a:pt x="364" y="218"/>
                  </a:lnTo>
                  <a:lnTo>
                    <a:pt x="361" y="218"/>
                  </a:lnTo>
                  <a:lnTo>
                    <a:pt x="361" y="217"/>
                  </a:lnTo>
                  <a:lnTo>
                    <a:pt x="358" y="217"/>
                  </a:lnTo>
                  <a:lnTo>
                    <a:pt x="354" y="215"/>
                  </a:lnTo>
                  <a:lnTo>
                    <a:pt x="353" y="215"/>
                  </a:lnTo>
                  <a:lnTo>
                    <a:pt x="351" y="215"/>
                  </a:lnTo>
                  <a:lnTo>
                    <a:pt x="349" y="215"/>
                  </a:lnTo>
                  <a:lnTo>
                    <a:pt x="348" y="215"/>
                  </a:lnTo>
                  <a:lnTo>
                    <a:pt x="346" y="215"/>
                  </a:lnTo>
                  <a:lnTo>
                    <a:pt x="346" y="213"/>
                  </a:lnTo>
                  <a:lnTo>
                    <a:pt x="345" y="213"/>
                  </a:lnTo>
                  <a:lnTo>
                    <a:pt x="343" y="212"/>
                  </a:lnTo>
                  <a:lnTo>
                    <a:pt x="341" y="212"/>
                  </a:lnTo>
                  <a:lnTo>
                    <a:pt x="341" y="210"/>
                  </a:lnTo>
                  <a:lnTo>
                    <a:pt x="340" y="210"/>
                  </a:lnTo>
                  <a:lnTo>
                    <a:pt x="338" y="208"/>
                  </a:lnTo>
                  <a:lnTo>
                    <a:pt x="336" y="207"/>
                  </a:lnTo>
                  <a:lnTo>
                    <a:pt x="336" y="205"/>
                  </a:lnTo>
                  <a:lnTo>
                    <a:pt x="336" y="204"/>
                  </a:lnTo>
                  <a:lnTo>
                    <a:pt x="335" y="204"/>
                  </a:lnTo>
                  <a:lnTo>
                    <a:pt x="335" y="202"/>
                  </a:lnTo>
                  <a:lnTo>
                    <a:pt x="335" y="200"/>
                  </a:lnTo>
                  <a:lnTo>
                    <a:pt x="335" y="199"/>
                  </a:lnTo>
                  <a:lnTo>
                    <a:pt x="335" y="197"/>
                  </a:lnTo>
                  <a:lnTo>
                    <a:pt x="333" y="195"/>
                  </a:lnTo>
                  <a:lnTo>
                    <a:pt x="333" y="194"/>
                  </a:lnTo>
                  <a:lnTo>
                    <a:pt x="330" y="192"/>
                  </a:lnTo>
                  <a:lnTo>
                    <a:pt x="327" y="191"/>
                  </a:lnTo>
                  <a:lnTo>
                    <a:pt x="325" y="189"/>
                  </a:lnTo>
                  <a:lnTo>
                    <a:pt x="325" y="187"/>
                  </a:lnTo>
                  <a:lnTo>
                    <a:pt x="325" y="186"/>
                  </a:lnTo>
                  <a:lnTo>
                    <a:pt x="323" y="184"/>
                  </a:lnTo>
                  <a:lnTo>
                    <a:pt x="323" y="182"/>
                  </a:lnTo>
                  <a:lnTo>
                    <a:pt x="323" y="181"/>
                  </a:lnTo>
                  <a:lnTo>
                    <a:pt x="322" y="179"/>
                  </a:lnTo>
                  <a:lnTo>
                    <a:pt x="322" y="178"/>
                  </a:lnTo>
                  <a:lnTo>
                    <a:pt x="323" y="178"/>
                  </a:lnTo>
                  <a:lnTo>
                    <a:pt x="323" y="176"/>
                  </a:lnTo>
                  <a:lnTo>
                    <a:pt x="323" y="178"/>
                  </a:lnTo>
                  <a:lnTo>
                    <a:pt x="322" y="178"/>
                  </a:lnTo>
                  <a:lnTo>
                    <a:pt x="320" y="176"/>
                  </a:lnTo>
                  <a:lnTo>
                    <a:pt x="319" y="176"/>
                  </a:lnTo>
                  <a:lnTo>
                    <a:pt x="317" y="174"/>
                  </a:lnTo>
                  <a:lnTo>
                    <a:pt x="317" y="173"/>
                  </a:lnTo>
                  <a:lnTo>
                    <a:pt x="315" y="173"/>
                  </a:lnTo>
                  <a:lnTo>
                    <a:pt x="315" y="171"/>
                  </a:lnTo>
                  <a:lnTo>
                    <a:pt x="314" y="171"/>
                  </a:lnTo>
                  <a:lnTo>
                    <a:pt x="312" y="169"/>
                  </a:lnTo>
                  <a:lnTo>
                    <a:pt x="309" y="169"/>
                  </a:lnTo>
                  <a:lnTo>
                    <a:pt x="307" y="168"/>
                  </a:lnTo>
                  <a:lnTo>
                    <a:pt x="304" y="168"/>
                  </a:lnTo>
                  <a:lnTo>
                    <a:pt x="302" y="168"/>
                  </a:lnTo>
                  <a:lnTo>
                    <a:pt x="301" y="168"/>
                  </a:lnTo>
                  <a:lnTo>
                    <a:pt x="302" y="168"/>
                  </a:lnTo>
                  <a:lnTo>
                    <a:pt x="302" y="166"/>
                  </a:lnTo>
                  <a:lnTo>
                    <a:pt x="304" y="166"/>
                  </a:lnTo>
                  <a:lnTo>
                    <a:pt x="304" y="165"/>
                  </a:lnTo>
                  <a:lnTo>
                    <a:pt x="306" y="165"/>
                  </a:lnTo>
                  <a:lnTo>
                    <a:pt x="306" y="163"/>
                  </a:lnTo>
                  <a:lnTo>
                    <a:pt x="307" y="161"/>
                  </a:lnTo>
                  <a:lnTo>
                    <a:pt x="309" y="161"/>
                  </a:lnTo>
                  <a:lnTo>
                    <a:pt x="310" y="158"/>
                  </a:lnTo>
                  <a:lnTo>
                    <a:pt x="314" y="155"/>
                  </a:lnTo>
                  <a:lnTo>
                    <a:pt x="314" y="153"/>
                  </a:lnTo>
                  <a:lnTo>
                    <a:pt x="315" y="145"/>
                  </a:lnTo>
                  <a:lnTo>
                    <a:pt x="317" y="139"/>
                  </a:lnTo>
                  <a:lnTo>
                    <a:pt x="317" y="135"/>
                  </a:lnTo>
                  <a:lnTo>
                    <a:pt x="317" y="134"/>
                  </a:lnTo>
                  <a:lnTo>
                    <a:pt x="319" y="134"/>
                  </a:lnTo>
                  <a:lnTo>
                    <a:pt x="319" y="132"/>
                  </a:lnTo>
                  <a:lnTo>
                    <a:pt x="320" y="132"/>
                  </a:lnTo>
                  <a:lnTo>
                    <a:pt x="322" y="130"/>
                  </a:lnTo>
                  <a:lnTo>
                    <a:pt x="325" y="129"/>
                  </a:lnTo>
                  <a:lnTo>
                    <a:pt x="327" y="127"/>
                  </a:lnTo>
                  <a:lnTo>
                    <a:pt x="332" y="127"/>
                  </a:lnTo>
                  <a:lnTo>
                    <a:pt x="335" y="126"/>
                  </a:lnTo>
                  <a:lnTo>
                    <a:pt x="338" y="122"/>
                  </a:lnTo>
                  <a:lnTo>
                    <a:pt x="340" y="122"/>
                  </a:lnTo>
                  <a:lnTo>
                    <a:pt x="340" y="121"/>
                  </a:lnTo>
                  <a:lnTo>
                    <a:pt x="343" y="114"/>
                  </a:lnTo>
                  <a:lnTo>
                    <a:pt x="343" y="112"/>
                  </a:lnTo>
                  <a:lnTo>
                    <a:pt x="345" y="111"/>
                  </a:lnTo>
                  <a:lnTo>
                    <a:pt x="346" y="111"/>
                  </a:lnTo>
                  <a:lnTo>
                    <a:pt x="348" y="111"/>
                  </a:lnTo>
                  <a:lnTo>
                    <a:pt x="349" y="109"/>
                  </a:lnTo>
                  <a:lnTo>
                    <a:pt x="349" y="108"/>
                  </a:lnTo>
                  <a:lnTo>
                    <a:pt x="349" y="106"/>
                  </a:lnTo>
                  <a:lnTo>
                    <a:pt x="351" y="106"/>
                  </a:lnTo>
                  <a:lnTo>
                    <a:pt x="353" y="103"/>
                  </a:lnTo>
                  <a:lnTo>
                    <a:pt x="354" y="103"/>
                  </a:lnTo>
                  <a:lnTo>
                    <a:pt x="356" y="101"/>
                  </a:lnTo>
                  <a:lnTo>
                    <a:pt x="358" y="101"/>
                  </a:lnTo>
                  <a:lnTo>
                    <a:pt x="361" y="101"/>
                  </a:lnTo>
                  <a:lnTo>
                    <a:pt x="362" y="101"/>
                  </a:lnTo>
                  <a:lnTo>
                    <a:pt x="367" y="104"/>
                  </a:lnTo>
                  <a:lnTo>
                    <a:pt x="369" y="104"/>
                  </a:lnTo>
                  <a:lnTo>
                    <a:pt x="371" y="104"/>
                  </a:lnTo>
                  <a:lnTo>
                    <a:pt x="371" y="106"/>
                  </a:lnTo>
                  <a:lnTo>
                    <a:pt x="371" y="104"/>
                  </a:lnTo>
                  <a:lnTo>
                    <a:pt x="372" y="103"/>
                  </a:lnTo>
                  <a:lnTo>
                    <a:pt x="374" y="103"/>
                  </a:lnTo>
                  <a:lnTo>
                    <a:pt x="374" y="101"/>
                  </a:lnTo>
                  <a:lnTo>
                    <a:pt x="375" y="101"/>
                  </a:lnTo>
                  <a:lnTo>
                    <a:pt x="379" y="101"/>
                  </a:lnTo>
                  <a:lnTo>
                    <a:pt x="380" y="99"/>
                  </a:lnTo>
                  <a:lnTo>
                    <a:pt x="382" y="99"/>
                  </a:lnTo>
                  <a:lnTo>
                    <a:pt x="385" y="101"/>
                  </a:lnTo>
                  <a:lnTo>
                    <a:pt x="387" y="101"/>
                  </a:lnTo>
                  <a:lnTo>
                    <a:pt x="385" y="101"/>
                  </a:lnTo>
                  <a:lnTo>
                    <a:pt x="387" y="101"/>
                  </a:lnTo>
                  <a:lnTo>
                    <a:pt x="385" y="101"/>
                  </a:lnTo>
                  <a:lnTo>
                    <a:pt x="385" y="103"/>
                  </a:lnTo>
                  <a:lnTo>
                    <a:pt x="387" y="103"/>
                  </a:lnTo>
                  <a:lnTo>
                    <a:pt x="387" y="104"/>
                  </a:lnTo>
                  <a:lnTo>
                    <a:pt x="387" y="106"/>
                  </a:lnTo>
                  <a:lnTo>
                    <a:pt x="385" y="106"/>
                  </a:lnTo>
                  <a:lnTo>
                    <a:pt x="385" y="108"/>
                  </a:lnTo>
                  <a:lnTo>
                    <a:pt x="387" y="106"/>
                  </a:lnTo>
                  <a:lnTo>
                    <a:pt x="387" y="108"/>
                  </a:lnTo>
                  <a:lnTo>
                    <a:pt x="387" y="106"/>
                  </a:lnTo>
                  <a:lnTo>
                    <a:pt x="388" y="106"/>
                  </a:lnTo>
                  <a:lnTo>
                    <a:pt x="388" y="104"/>
                  </a:lnTo>
                  <a:lnTo>
                    <a:pt x="388" y="103"/>
                  </a:lnTo>
                  <a:lnTo>
                    <a:pt x="388" y="101"/>
                  </a:lnTo>
                  <a:lnTo>
                    <a:pt x="390" y="99"/>
                  </a:lnTo>
                  <a:lnTo>
                    <a:pt x="390" y="98"/>
                  </a:lnTo>
                  <a:lnTo>
                    <a:pt x="392" y="98"/>
                  </a:lnTo>
                  <a:lnTo>
                    <a:pt x="392" y="96"/>
                  </a:lnTo>
                  <a:lnTo>
                    <a:pt x="392" y="95"/>
                  </a:lnTo>
                  <a:lnTo>
                    <a:pt x="393" y="93"/>
                  </a:lnTo>
                  <a:lnTo>
                    <a:pt x="395" y="93"/>
                  </a:lnTo>
                  <a:lnTo>
                    <a:pt x="397" y="93"/>
                  </a:lnTo>
                  <a:lnTo>
                    <a:pt x="398" y="91"/>
                  </a:lnTo>
                  <a:lnTo>
                    <a:pt x="397" y="93"/>
                  </a:lnTo>
                  <a:lnTo>
                    <a:pt x="397" y="91"/>
                  </a:lnTo>
                  <a:lnTo>
                    <a:pt x="398" y="91"/>
                  </a:lnTo>
                  <a:lnTo>
                    <a:pt x="398" y="90"/>
                  </a:lnTo>
                  <a:lnTo>
                    <a:pt x="400" y="90"/>
                  </a:lnTo>
                  <a:lnTo>
                    <a:pt x="401" y="90"/>
                  </a:lnTo>
                  <a:lnTo>
                    <a:pt x="403" y="90"/>
                  </a:lnTo>
                  <a:lnTo>
                    <a:pt x="406" y="91"/>
                  </a:lnTo>
                  <a:lnTo>
                    <a:pt x="408" y="93"/>
                  </a:lnTo>
                  <a:lnTo>
                    <a:pt x="411" y="95"/>
                  </a:lnTo>
                  <a:lnTo>
                    <a:pt x="413" y="96"/>
                  </a:lnTo>
                  <a:lnTo>
                    <a:pt x="414" y="96"/>
                  </a:lnTo>
                  <a:lnTo>
                    <a:pt x="416" y="98"/>
                  </a:lnTo>
                  <a:lnTo>
                    <a:pt x="418" y="98"/>
                  </a:lnTo>
                  <a:lnTo>
                    <a:pt x="419" y="98"/>
                  </a:lnTo>
                  <a:lnTo>
                    <a:pt x="423" y="99"/>
                  </a:lnTo>
                  <a:lnTo>
                    <a:pt x="424" y="99"/>
                  </a:lnTo>
                  <a:lnTo>
                    <a:pt x="424" y="101"/>
                  </a:lnTo>
                  <a:lnTo>
                    <a:pt x="426" y="103"/>
                  </a:lnTo>
                  <a:lnTo>
                    <a:pt x="427" y="103"/>
                  </a:lnTo>
                  <a:lnTo>
                    <a:pt x="427" y="104"/>
                  </a:lnTo>
                  <a:lnTo>
                    <a:pt x="429" y="106"/>
                  </a:lnTo>
                  <a:lnTo>
                    <a:pt x="431" y="106"/>
                  </a:lnTo>
                  <a:lnTo>
                    <a:pt x="431" y="108"/>
                  </a:lnTo>
                  <a:lnTo>
                    <a:pt x="432" y="109"/>
                  </a:lnTo>
                  <a:lnTo>
                    <a:pt x="434" y="109"/>
                  </a:lnTo>
                  <a:lnTo>
                    <a:pt x="436" y="108"/>
                  </a:lnTo>
                  <a:lnTo>
                    <a:pt x="437" y="109"/>
                  </a:lnTo>
                  <a:lnTo>
                    <a:pt x="437" y="108"/>
                  </a:lnTo>
                  <a:lnTo>
                    <a:pt x="439" y="108"/>
                  </a:lnTo>
                  <a:lnTo>
                    <a:pt x="441" y="108"/>
                  </a:lnTo>
                  <a:lnTo>
                    <a:pt x="442" y="106"/>
                  </a:lnTo>
                  <a:lnTo>
                    <a:pt x="444" y="104"/>
                  </a:lnTo>
                  <a:lnTo>
                    <a:pt x="445" y="103"/>
                  </a:lnTo>
                  <a:lnTo>
                    <a:pt x="447" y="101"/>
                  </a:lnTo>
                  <a:lnTo>
                    <a:pt x="449" y="99"/>
                  </a:lnTo>
                  <a:lnTo>
                    <a:pt x="450" y="99"/>
                  </a:lnTo>
                  <a:lnTo>
                    <a:pt x="452" y="98"/>
                  </a:lnTo>
                  <a:lnTo>
                    <a:pt x="454" y="96"/>
                  </a:lnTo>
                  <a:lnTo>
                    <a:pt x="454" y="98"/>
                  </a:lnTo>
                  <a:lnTo>
                    <a:pt x="455" y="98"/>
                  </a:lnTo>
                  <a:lnTo>
                    <a:pt x="457" y="98"/>
                  </a:lnTo>
                  <a:lnTo>
                    <a:pt x="458" y="98"/>
                  </a:lnTo>
                  <a:lnTo>
                    <a:pt x="460" y="98"/>
                  </a:lnTo>
                  <a:lnTo>
                    <a:pt x="458" y="98"/>
                  </a:lnTo>
                  <a:lnTo>
                    <a:pt x="457" y="98"/>
                  </a:lnTo>
                  <a:lnTo>
                    <a:pt x="457" y="99"/>
                  </a:lnTo>
                  <a:lnTo>
                    <a:pt x="458" y="99"/>
                  </a:lnTo>
                  <a:lnTo>
                    <a:pt x="458" y="98"/>
                  </a:lnTo>
                  <a:lnTo>
                    <a:pt x="458" y="99"/>
                  </a:lnTo>
                  <a:lnTo>
                    <a:pt x="460" y="99"/>
                  </a:lnTo>
                  <a:lnTo>
                    <a:pt x="462" y="98"/>
                  </a:lnTo>
                  <a:lnTo>
                    <a:pt x="463" y="98"/>
                  </a:lnTo>
                  <a:lnTo>
                    <a:pt x="465" y="98"/>
                  </a:lnTo>
                  <a:lnTo>
                    <a:pt x="465" y="96"/>
                  </a:lnTo>
                  <a:lnTo>
                    <a:pt x="467" y="95"/>
                  </a:lnTo>
                  <a:lnTo>
                    <a:pt x="467" y="96"/>
                  </a:lnTo>
                  <a:lnTo>
                    <a:pt x="467" y="95"/>
                  </a:lnTo>
                  <a:lnTo>
                    <a:pt x="468" y="96"/>
                  </a:lnTo>
                  <a:lnTo>
                    <a:pt x="468" y="98"/>
                  </a:lnTo>
                  <a:lnTo>
                    <a:pt x="468" y="99"/>
                  </a:lnTo>
                  <a:lnTo>
                    <a:pt x="467" y="99"/>
                  </a:lnTo>
                  <a:lnTo>
                    <a:pt x="465" y="101"/>
                  </a:lnTo>
                  <a:lnTo>
                    <a:pt x="465" y="103"/>
                  </a:lnTo>
                  <a:lnTo>
                    <a:pt x="463" y="103"/>
                  </a:lnTo>
                  <a:lnTo>
                    <a:pt x="465" y="101"/>
                  </a:lnTo>
                  <a:lnTo>
                    <a:pt x="463" y="101"/>
                  </a:lnTo>
                  <a:lnTo>
                    <a:pt x="462" y="101"/>
                  </a:lnTo>
                  <a:lnTo>
                    <a:pt x="463" y="103"/>
                  </a:lnTo>
                  <a:lnTo>
                    <a:pt x="463" y="106"/>
                  </a:lnTo>
                  <a:lnTo>
                    <a:pt x="463" y="108"/>
                  </a:lnTo>
                  <a:lnTo>
                    <a:pt x="465" y="109"/>
                  </a:lnTo>
                  <a:lnTo>
                    <a:pt x="465" y="111"/>
                  </a:lnTo>
                  <a:lnTo>
                    <a:pt x="465" y="114"/>
                  </a:lnTo>
                  <a:lnTo>
                    <a:pt x="465" y="117"/>
                  </a:lnTo>
                  <a:lnTo>
                    <a:pt x="465" y="119"/>
                  </a:lnTo>
                  <a:lnTo>
                    <a:pt x="465" y="121"/>
                  </a:lnTo>
                  <a:lnTo>
                    <a:pt x="465" y="122"/>
                  </a:lnTo>
                  <a:lnTo>
                    <a:pt x="465" y="124"/>
                  </a:lnTo>
                  <a:lnTo>
                    <a:pt x="463" y="124"/>
                  </a:lnTo>
                  <a:lnTo>
                    <a:pt x="462" y="127"/>
                  </a:lnTo>
                  <a:lnTo>
                    <a:pt x="458" y="129"/>
                  </a:lnTo>
                  <a:lnTo>
                    <a:pt x="457" y="130"/>
                  </a:lnTo>
                  <a:lnTo>
                    <a:pt x="454" y="132"/>
                  </a:lnTo>
                  <a:lnTo>
                    <a:pt x="454" y="134"/>
                  </a:lnTo>
                  <a:lnTo>
                    <a:pt x="452" y="135"/>
                  </a:lnTo>
                  <a:lnTo>
                    <a:pt x="450" y="137"/>
                  </a:lnTo>
                  <a:lnTo>
                    <a:pt x="449" y="139"/>
                  </a:lnTo>
                  <a:lnTo>
                    <a:pt x="447" y="140"/>
                  </a:lnTo>
                  <a:lnTo>
                    <a:pt x="445" y="140"/>
                  </a:lnTo>
                  <a:lnTo>
                    <a:pt x="444" y="140"/>
                  </a:lnTo>
                  <a:lnTo>
                    <a:pt x="442" y="139"/>
                  </a:lnTo>
                  <a:lnTo>
                    <a:pt x="441" y="140"/>
                  </a:lnTo>
                  <a:lnTo>
                    <a:pt x="441" y="142"/>
                  </a:lnTo>
                  <a:lnTo>
                    <a:pt x="439" y="143"/>
                  </a:lnTo>
                  <a:lnTo>
                    <a:pt x="437" y="143"/>
                  </a:lnTo>
                  <a:lnTo>
                    <a:pt x="437" y="145"/>
                  </a:lnTo>
                  <a:lnTo>
                    <a:pt x="437" y="147"/>
                  </a:lnTo>
                  <a:lnTo>
                    <a:pt x="437" y="148"/>
                  </a:lnTo>
                  <a:lnTo>
                    <a:pt x="439" y="152"/>
                  </a:lnTo>
                  <a:lnTo>
                    <a:pt x="441" y="153"/>
                  </a:lnTo>
                  <a:lnTo>
                    <a:pt x="442" y="153"/>
                  </a:lnTo>
                  <a:lnTo>
                    <a:pt x="444" y="153"/>
                  </a:lnTo>
                  <a:lnTo>
                    <a:pt x="445" y="153"/>
                  </a:lnTo>
                  <a:lnTo>
                    <a:pt x="447" y="153"/>
                  </a:lnTo>
                  <a:lnTo>
                    <a:pt x="449" y="155"/>
                  </a:lnTo>
                  <a:lnTo>
                    <a:pt x="449" y="158"/>
                  </a:lnTo>
                  <a:lnTo>
                    <a:pt x="447" y="158"/>
                  </a:lnTo>
                  <a:lnTo>
                    <a:pt x="447" y="160"/>
                  </a:lnTo>
                  <a:lnTo>
                    <a:pt x="447" y="161"/>
                  </a:lnTo>
                  <a:lnTo>
                    <a:pt x="447" y="163"/>
                  </a:lnTo>
                  <a:lnTo>
                    <a:pt x="447" y="165"/>
                  </a:lnTo>
                  <a:lnTo>
                    <a:pt x="445" y="165"/>
                  </a:lnTo>
                  <a:lnTo>
                    <a:pt x="445" y="166"/>
                  </a:lnTo>
                  <a:lnTo>
                    <a:pt x="444" y="166"/>
                  </a:lnTo>
                  <a:lnTo>
                    <a:pt x="442" y="168"/>
                  </a:lnTo>
                  <a:lnTo>
                    <a:pt x="441" y="168"/>
                  </a:lnTo>
                  <a:lnTo>
                    <a:pt x="441" y="166"/>
                  </a:lnTo>
                  <a:lnTo>
                    <a:pt x="439" y="166"/>
                  </a:lnTo>
                  <a:lnTo>
                    <a:pt x="437" y="166"/>
                  </a:lnTo>
                  <a:lnTo>
                    <a:pt x="436" y="166"/>
                  </a:lnTo>
                  <a:lnTo>
                    <a:pt x="436" y="165"/>
                  </a:lnTo>
                  <a:lnTo>
                    <a:pt x="436" y="166"/>
                  </a:lnTo>
                  <a:lnTo>
                    <a:pt x="434" y="166"/>
                  </a:lnTo>
                  <a:lnTo>
                    <a:pt x="432" y="166"/>
                  </a:lnTo>
                  <a:lnTo>
                    <a:pt x="432" y="168"/>
                  </a:lnTo>
                  <a:lnTo>
                    <a:pt x="432" y="169"/>
                  </a:lnTo>
                  <a:lnTo>
                    <a:pt x="434" y="168"/>
                  </a:lnTo>
                  <a:lnTo>
                    <a:pt x="432" y="168"/>
                  </a:lnTo>
                  <a:lnTo>
                    <a:pt x="434" y="166"/>
                  </a:lnTo>
                  <a:lnTo>
                    <a:pt x="436" y="166"/>
                  </a:lnTo>
                  <a:lnTo>
                    <a:pt x="437" y="166"/>
                  </a:lnTo>
                  <a:lnTo>
                    <a:pt x="439" y="166"/>
                  </a:lnTo>
                  <a:lnTo>
                    <a:pt x="439" y="168"/>
                  </a:lnTo>
                  <a:lnTo>
                    <a:pt x="441" y="168"/>
                  </a:lnTo>
                  <a:lnTo>
                    <a:pt x="442" y="168"/>
                  </a:lnTo>
                  <a:lnTo>
                    <a:pt x="442" y="169"/>
                  </a:lnTo>
                  <a:lnTo>
                    <a:pt x="442" y="168"/>
                  </a:lnTo>
                  <a:lnTo>
                    <a:pt x="444" y="168"/>
                  </a:lnTo>
                  <a:lnTo>
                    <a:pt x="445" y="168"/>
                  </a:lnTo>
                  <a:lnTo>
                    <a:pt x="445" y="166"/>
                  </a:lnTo>
                  <a:lnTo>
                    <a:pt x="447" y="166"/>
                  </a:lnTo>
                  <a:lnTo>
                    <a:pt x="447" y="165"/>
                  </a:lnTo>
                  <a:lnTo>
                    <a:pt x="449" y="163"/>
                  </a:lnTo>
                  <a:lnTo>
                    <a:pt x="450" y="165"/>
                  </a:lnTo>
                  <a:lnTo>
                    <a:pt x="450" y="166"/>
                  </a:lnTo>
                  <a:lnTo>
                    <a:pt x="452" y="166"/>
                  </a:lnTo>
                  <a:lnTo>
                    <a:pt x="454" y="166"/>
                  </a:lnTo>
                  <a:lnTo>
                    <a:pt x="455" y="165"/>
                  </a:lnTo>
                  <a:lnTo>
                    <a:pt x="455" y="166"/>
                  </a:lnTo>
                  <a:lnTo>
                    <a:pt x="455" y="165"/>
                  </a:lnTo>
                  <a:lnTo>
                    <a:pt x="454" y="165"/>
                  </a:lnTo>
                  <a:lnTo>
                    <a:pt x="452" y="165"/>
                  </a:lnTo>
                  <a:lnTo>
                    <a:pt x="452" y="163"/>
                  </a:lnTo>
                  <a:lnTo>
                    <a:pt x="450" y="163"/>
                  </a:lnTo>
                  <a:lnTo>
                    <a:pt x="450" y="161"/>
                  </a:lnTo>
                  <a:lnTo>
                    <a:pt x="450" y="160"/>
                  </a:lnTo>
                  <a:lnTo>
                    <a:pt x="450" y="158"/>
                  </a:lnTo>
                  <a:lnTo>
                    <a:pt x="450" y="160"/>
                  </a:lnTo>
                  <a:lnTo>
                    <a:pt x="449" y="160"/>
                  </a:lnTo>
                  <a:lnTo>
                    <a:pt x="447" y="161"/>
                  </a:lnTo>
                  <a:lnTo>
                    <a:pt x="447" y="160"/>
                  </a:lnTo>
                  <a:lnTo>
                    <a:pt x="447" y="158"/>
                  </a:lnTo>
                  <a:lnTo>
                    <a:pt x="449" y="158"/>
                  </a:lnTo>
                  <a:lnTo>
                    <a:pt x="450" y="158"/>
                  </a:lnTo>
                  <a:lnTo>
                    <a:pt x="454" y="158"/>
                  </a:lnTo>
                  <a:lnTo>
                    <a:pt x="454" y="156"/>
                  </a:lnTo>
                  <a:lnTo>
                    <a:pt x="455" y="155"/>
                  </a:lnTo>
                  <a:lnTo>
                    <a:pt x="457" y="155"/>
                  </a:lnTo>
                  <a:lnTo>
                    <a:pt x="457" y="153"/>
                  </a:lnTo>
                  <a:lnTo>
                    <a:pt x="458" y="153"/>
                  </a:lnTo>
                  <a:lnTo>
                    <a:pt x="460" y="152"/>
                  </a:lnTo>
                  <a:lnTo>
                    <a:pt x="462" y="152"/>
                  </a:lnTo>
                  <a:lnTo>
                    <a:pt x="465" y="150"/>
                  </a:lnTo>
                  <a:lnTo>
                    <a:pt x="467" y="150"/>
                  </a:lnTo>
                  <a:lnTo>
                    <a:pt x="468" y="150"/>
                  </a:lnTo>
                  <a:lnTo>
                    <a:pt x="470" y="150"/>
                  </a:lnTo>
                  <a:lnTo>
                    <a:pt x="471" y="150"/>
                  </a:lnTo>
                  <a:lnTo>
                    <a:pt x="473" y="150"/>
                  </a:lnTo>
                  <a:lnTo>
                    <a:pt x="475" y="150"/>
                  </a:lnTo>
                  <a:lnTo>
                    <a:pt x="475" y="152"/>
                  </a:lnTo>
                  <a:lnTo>
                    <a:pt x="475" y="153"/>
                  </a:lnTo>
                  <a:lnTo>
                    <a:pt x="476" y="155"/>
                  </a:lnTo>
                  <a:lnTo>
                    <a:pt x="478" y="155"/>
                  </a:lnTo>
                  <a:lnTo>
                    <a:pt x="480" y="153"/>
                  </a:lnTo>
                  <a:lnTo>
                    <a:pt x="480" y="155"/>
                  </a:lnTo>
                  <a:lnTo>
                    <a:pt x="480" y="156"/>
                  </a:lnTo>
                  <a:lnTo>
                    <a:pt x="478" y="158"/>
                  </a:lnTo>
                  <a:lnTo>
                    <a:pt x="480" y="160"/>
                  </a:lnTo>
                  <a:lnTo>
                    <a:pt x="480" y="161"/>
                  </a:lnTo>
                  <a:lnTo>
                    <a:pt x="481" y="161"/>
                  </a:lnTo>
                  <a:lnTo>
                    <a:pt x="483" y="161"/>
                  </a:lnTo>
                  <a:lnTo>
                    <a:pt x="484" y="161"/>
                  </a:lnTo>
                  <a:lnTo>
                    <a:pt x="484" y="160"/>
                  </a:lnTo>
                  <a:lnTo>
                    <a:pt x="486" y="160"/>
                  </a:lnTo>
                  <a:lnTo>
                    <a:pt x="486" y="158"/>
                  </a:lnTo>
                  <a:lnTo>
                    <a:pt x="488" y="158"/>
                  </a:lnTo>
                  <a:lnTo>
                    <a:pt x="488" y="160"/>
                  </a:lnTo>
                  <a:lnTo>
                    <a:pt x="489" y="161"/>
                  </a:lnTo>
                  <a:lnTo>
                    <a:pt x="491" y="160"/>
                  </a:lnTo>
                  <a:lnTo>
                    <a:pt x="493" y="161"/>
                  </a:lnTo>
                  <a:lnTo>
                    <a:pt x="493" y="163"/>
                  </a:lnTo>
                  <a:lnTo>
                    <a:pt x="494" y="163"/>
                  </a:lnTo>
                  <a:lnTo>
                    <a:pt x="496" y="165"/>
                  </a:lnTo>
                  <a:lnTo>
                    <a:pt x="496" y="166"/>
                  </a:lnTo>
                  <a:lnTo>
                    <a:pt x="497" y="166"/>
                  </a:lnTo>
                  <a:lnTo>
                    <a:pt x="496" y="165"/>
                  </a:lnTo>
                  <a:lnTo>
                    <a:pt x="496" y="163"/>
                  </a:lnTo>
                  <a:lnTo>
                    <a:pt x="497" y="163"/>
                  </a:lnTo>
                  <a:lnTo>
                    <a:pt x="499" y="161"/>
                  </a:lnTo>
                  <a:lnTo>
                    <a:pt x="499" y="160"/>
                  </a:lnTo>
                  <a:lnTo>
                    <a:pt x="499" y="156"/>
                  </a:lnTo>
                  <a:lnTo>
                    <a:pt x="497" y="156"/>
                  </a:lnTo>
                  <a:lnTo>
                    <a:pt x="499" y="156"/>
                  </a:lnTo>
                  <a:lnTo>
                    <a:pt x="497" y="156"/>
                  </a:lnTo>
                  <a:lnTo>
                    <a:pt x="497" y="158"/>
                  </a:lnTo>
                  <a:lnTo>
                    <a:pt x="496" y="158"/>
                  </a:lnTo>
                  <a:lnTo>
                    <a:pt x="496" y="156"/>
                  </a:lnTo>
                  <a:lnTo>
                    <a:pt x="496" y="155"/>
                  </a:lnTo>
                  <a:lnTo>
                    <a:pt x="496" y="153"/>
                  </a:lnTo>
                  <a:lnTo>
                    <a:pt x="496" y="152"/>
                  </a:lnTo>
                  <a:lnTo>
                    <a:pt x="496" y="153"/>
                  </a:lnTo>
                  <a:lnTo>
                    <a:pt x="494" y="153"/>
                  </a:lnTo>
                  <a:lnTo>
                    <a:pt x="494" y="155"/>
                  </a:lnTo>
                  <a:lnTo>
                    <a:pt x="494" y="156"/>
                  </a:lnTo>
                  <a:lnTo>
                    <a:pt x="493" y="156"/>
                  </a:lnTo>
                  <a:lnTo>
                    <a:pt x="491" y="155"/>
                  </a:lnTo>
                  <a:lnTo>
                    <a:pt x="491" y="156"/>
                  </a:lnTo>
                  <a:lnTo>
                    <a:pt x="493" y="156"/>
                  </a:lnTo>
                  <a:lnTo>
                    <a:pt x="491" y="156"/>
                  </a:lnTo>
                  <a:lnTo>
                    <a:pt x="491" y="155"/>
                  </a:lnTo>
                  <a:lnTo>
                    <a:pt x="489" y="153"/>
                  </a:lnTo>
                  <a:lnTo>
                    <a:pt x="491" y="152"/>
                  </a:lnTo>
                  <a:lnTo>
                    <a:pt x="493" y="150"/>
                  </a:lnTo>
                  <a:lnTo>
                    <a:pt x="494" y="150"/>
                  </a:lnTo>
                  <a:lnTo>
                    <a:pt x="496" y="148"/>
                  </a:lnTo>
                  <a:lnTo>
                    <a:pt x="497" y="148"/>
                  </a:lnTo>
                  <a:lnTo>
                    <a:pt x="499" y="148"/>
                  </a:lnTo>
                  <a:lnTo>
                    <a:pt x="501" y="148"/>
                  </a:lnTo>
                  <a:lnTo>
                    <a:pt x="501" y="150"/>
                  </a:lnTo>
                  <a:lnTo>
                    <a:pt x="499" y="152"/>
                  </a:lnTo>
                  <a:lnTo>
                    <a:pt x="499" y="153"/>
                  </a:lnTo>
                  <a:lnTo>
                    <a:pt x="499" y="155"/>
                  </a:lnTo>
                  <a:lnTo>
                    <a:pt x="497" y="155"/>
                  </a:lnTo>
                  <a:lnTo>
                    <a:pt x="499" y="156"/>
                  </a:lnTo>
                  <a:lnTo>
                    <a:pt x="499" y="155"/>
                  </a:lnTo>
                  <a:lnTo>
                    <a:pt x="499" y="156"/>
                  </a:lnTo>
                  <a:lnTo>
                    <a:pt x="501" y="155"/>
                  </a:lnTo>
                  <a:lnTo>
                    <a:pt x="499" y="155"/>
                  </a:lnTo>
                  <a:lnTo>
                    <a:pt x="501" y="155"/>
                  </a:lnTo>
                  <a:lnTo>
                    <a:pt x="501" y="153"/>
                  </a:lnTo>
                  <a:lnTo>
                    <a:pt x="499" y="153"/>
                  </a:lnTo>
                  <a:lnTo>
                    <a:pt x="501" y="152"/>
                  </a:lnTo>
                  <a:lnTo>
                    <a:pt x="501" y="150"/>
                  </a:lnTo>
                  <a:lnTo>
                    <a:pt x="502" y="148"/>
                  </a:lnTo>
                  <a:lnTo>
                    <a:pt x="504" y="148"/>
                  </a:lnTo>
                  <a:lnTo>
                    <a:pt x="502" y="148"/>
                  </a:lnTo>
                  <a:lnTo>
                    <a:pt x="502" y="147"/>
                  </a:lnTo>
                  <a:lnTo>
                    <a:pt x="504" y="147"/>
                  </a:lnTo>
                  <a:lnTo>
                    <a:pt x="504" y="148"/>
                  </a:lnTo>
                  <a:lnTo>
                    <a:pt x="506" y="147"/>
                  </a:lnTo>
                  <a:lnTo>
                    <a:pt x="507" y="147"/>
                  </a:lnTo>
                  <a:lnTo>
                    <a:pt x="507" y="145"/>
                  </a:lnTo>
                  <a:lnTo>
                    <a:pt x="507" y="143"/>
                  </a:lnTo>
                  <a:lnTo>
                    <a:pt x="507" y="142"/>
                  </a:lnTo>
                  <a:lnTo>
                    <a:pt x="509" y="142"/>
                  </a:lnTo>
                  <a:lnTo>
                    <a:pt x="510" y="142"/>
                  </a:lnTo>
                  <a:lnTo>
                    <a:pt x="509" y="142"/>
                  </a:lnTo>
                  <a:lnTo>
                    <a:pt x="510" y="140"/>
                  </a:lnTo>
                  <a:lnTo>
                    <a:pt x="510" y="139"/>
                  </a:lnTo>
                  <a:lnTo>
                    <a:pt x="510" y="137"/>
                  </a:lnTo>
                  <a:lnTo>
                    <a:pt x="509" y="137"/>
                  </a:lnTo>
                  <a:lnTo>
                    <a:pt x="507" y="139"/>
                  </a:lnTo>
                  <a:lnTo>
                    <a:pt x="507" y="140"/>
                  </a:lnTo>
                  <a:lnTo>
                    <a:pt x="506" y="140"/>
                  </a:lnTo>
                  <a:lnTo>
                    <a:pt x="506" y="142"/>
                  </a:lnTo>
                  <a:lnTo>
                    <a:pt x="504" y="142"/>
                  </a:lnTo>
                  <a:lnTo>
                    <a:pt x="504" y="143"/>
                  </a:lnTo>
                  <a:lnTo>
                    <a:pt x="502" y="145"/>
                  </a:lnTo>
                  <a:lnTo>
                    <a:pt x="502" y="143"/>
                  </a:lnTo>
                  <a:lnTo>
                    <a:pt x="504" y="143"/>
                  </a:lnTo>
                  <a:lnTo>
                    <a:pt x="504" y="142"/>
                  </a:lnTo>
                  <a:lnTo>
                    <a:pt x="504" y="140"/>
                  </a:lnTo>
                  <a:lnTo>
                    <a:pt x="502" y="140"/>
                  </a:lnTo>
                  <a:lnTo>
                    <a:pt x="502" y="142"/>
                  </a:lnTo>
                  <a:lnTo>
                    <a:pt x="506" y="137"/>
                  </a:lnTo>
                  <a:lnTo>
                    <a:pt x="507" y="137"/>
                  </a:lnTo>
                  <a:lnTo>
                    <a:pt x="509" y="137"/>
                  </a:lnTo>
                  <a:lnTo>
                    <a:pt x="509" y="135"/>
                  </a:lnTo>
                  <a:lnTo>
                    <a:pt x="510" y="135"/>
                  </a:lnTo>
                  <a:lnTo>
                    <a:pt x="512" y="134"/>
                  </a:lnTo>
                  <a:lnTo>
                    <a:pt x="512" y="132"/>
                  </a:lnTo>
                  <a:lnTo>
                    <a:pt x="514" y="130"/>
                  </a:lnTo>
                  <a:lnTo>
                    <a:pt x="515" y="129"/>
                  </a:lnTo>
                  <a:lnTo>
                    <a:pt x="517" y="129"/>
                  </a:lnTo>
                  <a:lnTo>
                    <a:pt x="520" y="129"/>
                  </a:lnTo>
                  <a:lnTo>
                    <a:pt x="522" y="129"/>
                  </a:lnTo>
                  <a:lnTo>
                    <a:pt x="523" y="129"/>
                  </a:lnTo>
                  <a:lnTo>
                    <a:pt x="527" y="130"/>
                  </a:lnTo>
                  <a:lnTo>
                    <a:pt x="528" y="130"/>
                  </a:lnTo>
                  <a:lnTo>
                    <a:pt x="530" y="130"/>
                  </a:lnTo>
                  <a:lnTo>
                    <a:pt x="533" y="129"/>
                  </a:lnTo>
                  <a:lnTo>
                    <a:pt x="535" y="127"/>
                  </a:lnTo>
                  <a:lnTo>
                    <a:pt x="538" y="127"/>
                  </a:lnTo>
                  <a:lnTo>
                    <a:pt x="540" y="127"/>
                  </a:lnTo>
                  <a:lnTo>
                    <a:pt x="543" y="126"/>
                  </a:lnTo>
                  <a:lnTo>
                    <a:pt x="545" y="126"/>
                  </a:lnTo>
                  <a:lnTo>
                    <a:pt x="546" y="126"/>
                  </a:lnTo>
                  <a:lnTo>
                    <a:pt x="548" y="124"/>
                  </a:lnTo>
                  <a:lnTo>
                    <a:pt x="549" y="124"/>
                  </a:lnTo>
                  <a:lnTo>
                    <a:pt x="549" y="126"/>
                  </a:lnTo>
                  <a:lnTo>
                    <a:pt x="549" y="127"/>
                  </a:lnTo>
                  <a:lnTo>
                    <a:pt x="549" y="129"/>
                  </a:lnTo>
                  <a:lnTo>
                    <a:pt x="549" y="130"/>
                  </a:lnTo>
                  <a:lnTo>
                    <a:pt x="549" y="132"/>
                  </a:lnTo>
                  <a:lnTo>
                    <a:pt x="549" y="134"/>
                  </a:lnTo>
                  <a:lnTo>
                    <a:pt x="549" y="135"/>
                  </a:lnTo>
                  <a:lnTo>
                    <a:pt x="551" y="135"/>
                  </a:lnTo>
                  <a:lnTo>
                    <a:pt x="551" y="137"/>
                  </a:lnTo>
                  <a:lnTo>
                    <a:pt x="553" y="137"/>
                  </a:lnTo>
                  <a:lnTo>
                    <a:pt x="554" y="137"/>
                  </a:lnTo>
                  <a:lnTo>
                    <a:pt x="556" y="137"/>
                  </a:lnTo>
                  <a:lnTo>
                    <a:pt x="554" y="135"/>
                  </a:lnTo>
                  <a:lnTo>
                    <a:pt x="554" y="137"/>
                  </a:lnTo>
                  <a:lnTo>
                    <a:pt x="553" y="137"/>
                  </a:lnTo>
                  <a:lnTo>
                    <a:pt x="551" y="135"/>
                  </a:lnTo>
                  <a:lnTo>
                    <a:pt x="553" y="135"/>
                  </a:lnTo>
                  <a:lnTo>
                    <a:pt x="551" y="135"/>
                  </a:lnTo>
                  <a:lnTo>
                    <a:pt x="551" y="134"/>
                  </a:lnTo>
                  <a:lnTo>
                    <a:pt x="551" y="132"/>
                  </a:lnTo>
                  <a:lnTo>
                    <a:pt x="551" y="130"/>
                  </a:lnTo>
                  <a:lnTo>
                    <a:pt x="549" y="129"/>
                  </a:lnTo>
                  <a:lnTo>
                    <a:pt x="551" y="129"/>
                  </a:lnTo>
                  <a:lnTo>
                    <a:pt x="551" y="127"/>
                  </a:lnTo>
                  <a:lnTo>
                    <a:pt x="551" y="129"/>
                  </a:lnTo>
                  <a:lnTo>
                    <a:pt x="551" y="127"/>
                  </a:lnTo>
                  <a:lnTo>
                    <a:pt x="553" y="127"/>
                  </a:lnTo>
                  <a:lnTo>
                    <a:pt x="553" y="129"/>
                  </a:lnTo>
                  <a:lnTo>
                    <a:pt x="553" y="127"/>
                  </a:lnTo>
                  <a:lnTo>
                    <a:pt x="554" y="127"/>
                  </a:lnTo>
                  <a:lnTo>
                    <a:pt x="554" y="126"/>
                  </a:lnTo>
                  <a:lnTo>
                    <a:pt x="553" y="126"/>
                  </a:lnTo>
                  <a:lnTo>
                    <a:pt x="551" y="126"/>
                  </a:lnTo>
                  <a:lnTo>
                    <a:pt x="549" y="124"/>
                  </a:lnTo>
                  <a:lnTo>
                    <a:pt x="551" y="124"/>
                  </a:lnTo>
                  <a:lnTo>
                    <a:pt x="553" y="124"/>
                  </a:lnTo>
                  <a:lnTo>
                    <a:pt x="553" y="122"/>
                  </a:lnTo>
                  <a:lnTo>
                    <a:pt x="554" y="121"/>
                  </a:lnTo>
                  <a:lnTo>
                    <a:pt x="556" y="117"/>
                  </a:lnTo>
                  <a:lnTo>
                    <a:pt x="558" y="116"/>
                  </a:lnTo>
                  <a:lnTo>
                    <a:pt x="561" y="114"/>
                  </a:lnTo>
                  <a:lnTo>
                    <a:pt x="562" y="112"/>
                  </a:lnTo>
                  <a:lnTo>
                    <a:pt x="567" y="109"/>
                  </a:lnTo>
                  <a:lnTo>
                    <a:pt x="569" y="108"/>
                  </a:lnTo>
                  <a:lnTo>
                    <a:pt x="571" y="106"/>
                  </a:lnTo>
                  <a:lnTo>
                    <a:pt x="571" y="104"/>
                  </a:lnTo>
                  <a:lnTo>
                    <a:pt x="572" y="103"/>
                  </a:lnTo>
                  <a:lnTo>
                    <a:pt x="574" y="99"/>
                  </a:lnTo>
                  <a:lnTo>
                    <a:pt x="574" y="98"/>
                  </a:lnTo>
                  <a:lnTo>
                    <a:pt x="575" y="95"/>
                  </a:lnTo>
                  <a:lnTo>
                    <a:pt x="577" y="93"/>
                  </a:lnTo>
                  <a:lnTo>
                    <a:pt x="579" y="91"/>
                  </a:lnTo>
                  <a:lnTo>
                    <a:pt x="580" y="88"/>
                  </a:lnTo>
                  <a:lnTo>
                    <a:pt x="580" y="86"/>
                  </a:lnTo>
                  <a:lnTo>
                    <a:pt x="582" y="82"/>
                  </a:lnTo>
                  <a:lnTo>
                    <a:pt x="584" y="80"/>
                  </a:lnTo>
                  <a:lnTo>
                    <a:pt x="585" y="80"/>
                  </a:lnTo>
                  <a:lnTo>
                    <a:pt x="585" y="82"/>
                  </a:lnTo>
                  <a:lnTo>
                    <a:pt x="585" y="83"/>
                  </a:lnTo>
                  <a:close/>
                  <a:moveTo>
                    <a:pt x="270" y="285"/>
                  </a:moveTo>
                  <a:lnTo>
                    <a:pt x="271" y="285"/>
                  </a:lnTo>
                  <a:lnTo>
                    <a:pt x="271" y="287"/>
                  </a:lnTo>
                  <a:lnTo>
                    <a:pt x="273" y="287"/>
                  </a:lnTo>
                  <a:lnTo>
                    <a:pt x="275" y="287"/>
                  </a:lnTo>
                  <a:lnTo>
                    <a:pt x="276" y="287"/>
                  </a:lnTo>
                  <a:lnTo>
                    <a:pt x="276" y="288"/>
                  </a:lnTo>
                  <a:lnTo>
                    <a:pt x="276" y="290"/>
                  </a:lnTo>
                  <a:lnTo>
                    <a:pt x="276" y="291"/>
                  </a:lnTo>
                  <a:lnTo>
                    <a:pt x="278" y="291"/>
                  </a:lnTo>
                  <a:lnTo>
                    <a:pt x="276" y="291"/>
                  </a:lnTo>
                  <a:lnTo>
                    <a:pt x="276" y="290"/>
                  </a:lnTo>
                  <a:lnTo>
                    <a:pt x="276" y="288"/>
                  </a:lnTo>
                  <a:lnTo>
                    <a:pt x="276" y="287"/>
                  </a:lnTo>
                  <a:lnTo>
                    <a:pt x="275" y="287"/>
                  </a:lnTo>
                  <a:lnTo>
                    <a:pt x="273" y="287"/>
                  </a:lnTo>
                  <a:lnTo>
                    <a:pt x="273" y="285"/>
                  </a:lnTo>
                  <a:lnTo>
                    <a:pt x="271" y="285"/>
                  </a:lnTo>
                  <a:lnTo>
                    <a:pt x="270" y="285"/>
                  </a:lnTo>
                  <a:close/>
                  <a:moveTo>
                    <a:pt x="242" y="0"/>
                  </a:moveTo>
                  <a:lnTo>
                    <a:pt x="244" y="0"/>
                  </a:lnTo>
                  <a:lnTo>
                    <a:pt x="245" y="0"/>
                  </a:lnTo>
                  <a:lnTo>
                    <a:pt x="247" y="2"/>
                  </a:lnTo>
                  <a:lnTo>
                    <a:pt x="245" y="2"/>
                  </a:lnTo>
                  <a:lnTo>
                    <a:pt x="245" y="0"/>
                  </a:lnTo>
                  <a:lnTo>
                    <a:pt x="244" y="0"/>
                  </a:lnTo>
                  <a:lnTo>
                    <a:pt x="242" y="0"/>
                  </a:lnTo>
                  <a:lnTo>
                    <a:pt x="242" y="2"/>
                  </a:lnTo>
                  <a:lnTo>
                    <a:pt x="242" y="4"/>
                  </a:lnTo>
                  <a:lnTo>
                    <a:pt x="244" y="4"/>
                  </a:lnTo>
                  <a:lnTo>
                    <a:pt x="245" y="5"/>
                  </a:lnTo>
                  <a:lnTo>
                    <a:pt x="244" y="7"/>
                  </a:lnTo>
                  <a:lnTo>
                    <a:pt x="240" y="7"/>
                  </a:lnTo>
                  <a:lnTo>
                    <a:pt x="240" y="8"/>
                  </a:lnTo>
                  <a:lnTo>
                    <a:pt x="237" y="12"/>
                  </a:lnTo>
                  <a:lnTo>
                    <a:pt x="239" y="13"/>
                  </a:lnTo>
                  <a:lnTo>
                    <a:pt x="239" y="15"/>
                  </a:lnTo>
                  <a:lnTo>
                    <a:pt x="239" y="17"/>
                  </a:lnTo>
                  <a:lnTo>
                    <a:pt x="239" y="18"/>
                  </a:lnTo>
                  <a:lnTo>
                    <a:pt x="239" y="21"/>
                  </a:lnTo>
                  <a:lnTo>
                    <a:pt x="239" y="23"/>
                  </a:lnTo>
                  <a:lnTo>
                    <a:pt x="240" y="23"/>
                  </a:lnTo>
                  <a:lnTo>
                    <a:pt x="240" y="25"/>
                  </a:lnTo>
                  <a:lnTo>
                    <a:pt x="242" y="25"/>
                  </a:lnTo>
                  <a:lnTo>
                    <a:pt x="244" y="25"/>
                  </a:lnTo>
                  <a:lnTo>
                    <a:pt x="244" y="26"/>
                  </a:lnTo>
                  <a:lnTo>
                    <a:pt x="245" y="25"/>
                  </a:lnTo>
                  <a:lnTo>
                    <a:pt x="247" y="26"/>
                  </a:lnTo>
                  <a:lnTo>
                    <a:pt x="247" y="25"/>
                  </a:lnTo>
                  <a:lnTo>
                    <a:pt x="249" y="26"/>
                  </a:lnTo>
                  <a:lnTo>
                    <a:pt x="249" y="25"/>
                  </a:lnTo>
                  <a:lnTo>
                    <a:pt x="250" y="25"/>
                  </a:lnTo>
                  <a:lnTo>
                    <a:pt x="257" y="25"/>
                  </a:lnTo>
                  <a:lnTo>
                    <a:pt x="260" y="23"/>
                  </a:lnTo>
                  <a:lnTo>
                    <a:pt x="260" y="21"/>
                  </a:lnTo>
                  <a:lnTo>
                    <a:pt x="262" y="21"/>
                  </a:lnTo>
                  <a:lnTo>
                    <a:pt x="263" y="21"/>
                  </a:lnTo>
                  <a:lnTo>
                    <a:pt x="265" y="21"/>
                  </a:lnTo>
                  <a:lnTo>
                    <a:pt x="266" y="23"/>
                  </a:lnTo>
                  <a:lnTo>
                    <a:pt x="268" y="23"/>
                  </a:lnTo>
                  <a:lnTo>
                    <a:pt x="271" y="23"/>
                  </a:lnTo>
                  <a:lnTo>
                    <a:pt x="273" y="23"/>
                  </a:lnTo>
                  <a:lnTo>
                    <a:pt x="275" y="21"/>
                  </a:lnTo>
                  <a:lnTo>
                    <a:pt x="276" y="21"/>
                  </a:lnTo>
                  <a:lnTo>
                    <a:pt x="278" y="21"/>
                  </a:lnTo>
                  <a:lnTo>
                    <a:pt x="278" y="23"/>
                  </a:lnTo>
                  <a:lnTo>
                    <a:pt x="279" y="23"/>
                  </a:lnTo>
                  <a:lnTo>
                    <a:pt x="281" y="23"/>
                  </a:lnTo>
                  <a:lnTo>
                    <a:pt x="283" y="23"/>
                  </a:lnTo>
                  <a:lnTo>
                    <a:pt x="284" y="23"/>
                  </a:lnTo>
                  <a:lnTo>
                    <a:pt x="286" y="23"/>
                  </a:lnTo>
                  <a:lnTo>
                    <a:pt x="288" y="23"/>
                  </a:lnTo>
                  <a:lnTo>
                    <a:pt x="289" y="23"/>
                  </a:lnTo>
                  <a:lnTo>
                    <a:pt x="289" y="25"/>
                  </a:lnTo>
                  <a:lnTo>
                    <a:pt x="291" y="25"/>
                  </a:lnTo>
                  <a:lnTo>
                    <a:pt x="294" y="26"/>
                  </a:lnTo>
                  <a:lnTo>
                    <a:pt x="296" y="26"/>
                  </a:lnTo>
                  <a:lnTo>
                    <a:pt x="299" y="28"/>
                  </a:lnTo>
                  <a:lnTo>
                    <a:pt x="301" y="26"/>
                  </a:lnTo>
                  <a:lnTo>
                    <a:pt x="302" y="26"/>
                  </a:lnTo>
                  <a:lnTo>
                    <a:pt x="304" y="28"/>
                  </a:lnTo>
                  <a:lnTo>
                    <a:pt x="306" y="28"/>
                  </a:lnTo>
                  <a:lnTo>
                    <a:pt x="307" y="30"/>
                  </a:lnTo>
                  <a:lnTo>
                    <a:pt x="309" y="30"/>
                  </a:lnTo>
                  <a:lnTo>
                    <a:pt x="310" y="30"/>
                  </a:lnTo>
                  <a:lnTo>
                    <a:pt x="310" y="31"/>
                  </a:lnTo>
                  <a:lnTo>
                    <a:pt x="310" y="33"/>
                  </a:lnTo>
                  <a:lnTo>
                    <a:pt x="312" y="36"/>
                  </a:lnTo>
                  <a:lnTo>
                    <a:pt x="314" y="36"/>
                  </a:lnTo>
                  <a:lnTo>
                    <a:pt x="315" y="38"/>
                  </a:lnTo>
                  <a:lnTo>
                    <a:pt x="315" y="36"/>
                  </a:lnTo>
                  <a:lnTo>
                    <a:pt x="317" y="36"/>
                  </a:lnTo>
                  <a:lnTo>
                    <a:pt x="320" y="38"/>
                  </a:lnTo>
                  <a:lnTo>
                    <a:pt x="320" y="36"/>
                  </a:lnTo>
                  <a:lnTo>
                    <a:pt x="322" y="34"/>
                  </a:lnTo>
                  <a:lnTo>
                    <a:pt x="322" y="33"/>
                  </a:lnTo>
                  <a:lnTo>
                    <a:pt x="323" y="33"/>
                  </a:lnTo>
                  <a:lnTo>
                    <a:pt x="323" y="31"/>
                  </a:lnTo>
                  <a:lnTo>
                    <a:pt x="325" y="31"/>
                  </a:lnTo>
                  <a:lnTo>
                    <a:pt x="325" y="33"/>
                  </a:lnTo>
                  <a:lnTo>
                    <a:pt x="325" y="34"/>
                  </a:lnTo>
                  <a:lnTo>
                    <a:pt x="327" y="36"/>
                  </a:lnTo>
                  <a:lnTo>
                    <a:pt x="327" y="38"/>
                  </a:lnTo>
                  <a:lnTo>
                    <a:pt x="327" y="39"/>
                  </a:lnTo>
                  <a:lnTo>
                    <a:pt x="327" y="38"/>
                  </a:lnTo>
                  <a:lnTo>
                    <a:pt x="328" y="36"/>
                  </a:lnTo>
                  <a:lnTo>
                    <a:pt x="328" y="34"/>
                  </a:lnTo>
                  <a:lnTo>
                    <a:pt x="330" y="34"/>
                  </a:lnTo>
                  <a:lnTo>
                    <a:pt x="332" y="34"/>
                  </a:lnTo>
                  <a:lnTo>
                    <a:pt x="333" y="34"/>
                  </a:lnTo>
                  <a:lnTo>
                    <a:pt x="333" y="33"/>
                  </a:lnTo>
                  <a:lnTo>
                    <a:pt x="335" y="33"/>
                  </a:lnTo>
                  <a:lnTo>
                    <a:pt x="335" y="31"/>
                  </a:lnTo>
                  <a:lnTo>
                    <a:pt x="336" y="31"/>
                  </a:lnTo>
                  <a:lnTo>
                    <a:pt x="338" y="30"/>
                  </a:lnTo>
                  <a:lnTo>
                    <a:pt x="338" y="28"/>
                  </a:lnTo>
                  <a:lnTo>
                    <a:pt x="340" y="28"/>
                  </a:lnTo>
                  <a:lnTo>
                    <a:pt x="340" y="26"/>
                  </a:lnTo>
                  <a:lnTo>
                    <a:pt x="341" y="26"/>
                  </a:lnTo>
                  <a:lnTo>
                    <a:pt x="341" y="28"/>
                  </a:lnTo>
                  <a:lnTo>
                    <a:pt x="340" y="30"/>
                  </a:lnTo>
                  <a:lnTo>
                    <a:pt x="340" y="31"/>
                  </a:lnTo>
                  <a:lnTo>
                    <a:pt x="340" y="33"/>
                  </a:lnTo>
                  <a:lnTo>
                    <a:pt x="341" y="33"/>
                  </a:lnTo>
                  <a:lnTo>
                    <a:pt x="341" y="34"/>
                  </a:lnTo>
                  <a:lnTo>
                    <a:pt x="343" y="33"/>
                  </a:lnTo>
                  <a:lnTo>
                    <a:pt x="345" y="34"/>
                  </a:lnTo>
                  <a:lnTo>
                    <a:pt x="346" y="34"/>
                  </a:lnTo>
                  <a:lnTo>
                    <a:pt x="348" y="34"/>
                  </a:lnTo>
                  <a:lnTo>
                    <a:pt x="349" y="36"/>
                  </a:lnTo>
                  <a:lnTo>
                    <a:pt x="354" y="38"/>
                  </a:lnTo>
                  <a:lnTo>
                    <a:pt x="354" y="39"/>
                  </a:lnTo>
                  <a:lnTo>
                    <a:pt x="356" y="38"/>
                  </a:lnTo>
                  <a:lnTo>
                    <a:pt x="356" y="39"/>
                  </a:lnTo>
                  <a:lnTo>
                    <a:pt x="358" y="41"/>
                  </a:lnTo>
                  <a:lnTo>
                    <a:pt x="359" y="43"/>
                  </a:lnTo>
                  <a:lnTo>
                    <a:pt x="359" y="44"/>
                  </a:lnTo>
                  <a:lnTo>
                    <a:pt x="361" y="44"/>
                  </a:lnTo>
                  <a:lnTo>
                    <a:pt x="362" y="44"/>
                  </a:lnTo>
                  <a:lnTo>
                    <a:pt x="364" y="44"/>
                  </a:lnTo>
                  <a:lnTo>
                    <a:pt x="364" y="43"/>
                  </a:lnTo>
                  <a:lnTo>
                    <a:pt x="366" y="43"/>
                  </a:lnTo>
                  <a:lnTo>
                    <a:pt x="364" y="43"/>
                  </a:lnTo>
                  <a:lnTo>
                    <a:pt x="366" y="43"/>
                  </a:lnTo>
                  <a:lnTo>
                    <a:pt x="366" y="41"/>
                  </a:lnTo>
                  <a:lnTo>
                    <a:pt x="366" y="39"/>
                  </a:lnTo>
                  <a:lnTo>
                    <a:pt x="366" y="38"/>
                  </a:lnTo>
                  <a:lnTo>
                    <a:pt x="367" y="39"/>
                  </a:lnTo>
                  <a:lnTo>
                    <a:pt x="369" y="41"/>
                  </a:lnTo>
                  <a:lnTo>
                    <a:pt x="371" y="41"/>
                  </a:lnTo>
                  <a:lnTo>
                    <a:pt x="371" y="43"/>
                  </a:lnTo>
                  <a:lnTo>
                    <a:pt x="372" y="44"/>
                  </a:lnTo>
                  <a:lnTo>
                    <a:pt x="372" y="47"/>
                  </a:lnTo>
                  <a:lnTo>
                    <a:pt x="372" y="51"/>
                  </a:lnTo>
                  <a:lnTo>
                    <a:pt x="374" y="51"/>
                  </a:lnTo>
                  <a:lnTo>
                    <a:pt x="375" y="52"/>
                  </a:lnTo>
                  <a:lnTo>
                    <a:pt x="377" y="54"/>
                  </a:lnTo>
                  <a:lnTo>
                    <a:pt x="377" y="56"/>
                  </a:lnTo>
                  <a:lnTo>
                    <a:pt x="375" y="56"/>
                  </a:lnTo>
                  <a:lnTo>
                    <a:pt x="375" y="54"/>
                  </a:lnTo>
                  <a:lnTo>
                    <a:pt x="374" y="54"/>
                  </a:lnTo>
                  <a:lnTo>
                    <a:pt x="374" y="56"/>
                  </a:lnTo>
                  <a:lnTo>
                    <a:pt x="372" y="56"/>
                  </a:lnTo>
                  <a:lnTo>
                    <a:pt x="372" y="54"/>
                  </a:lnTo>
                  <a:lnTo>
                    <a:pt x="374" y="54"/>
                  </a:lnTo>
                  <a:lnTo>
                    <a:pt x="372" y="54"/>
                  </a:lnTo>
                  <a:lnTo>
                    <a:pt x="374" y="52"/>
                  </a:lnTo>
                  <a:lnTo>
                    <a:pt x="372" y="52"/>
                  </a:lnTo>
                  <a:lnTo>
                    <a:pt x="372" y="54"/>
                  </a:lnTo>
                  <a:lnTo>
                    <a:pt x="372" y="56"/>
                  </a:lnTo>
                  <a:lnTo>
                    <a:pt x="371" y="54"/>
                  </a:lnTo>
                  <a:lnTo>
                    <a:pt x="371" y="56"/>
                  </a:lnTo>
                  <a:lnTo>
                    <a:pt x="369" y="56"/>
                  </a:lnTo>
                  <a:lnTo>
                    <a:pt x="369" y="57"/>
                  </a:lnTo>
                  <a:lnTo>
                    <a:pt x="369" y="59"/>
                  </a:lnTo>
                  <a:lnTo>
                    <a:pt x="367" y="59"/>
                  </a:lnTo>
                  <a:lnTo>
                    <a:pt x="367" y="60"/>
                  </a:lnTo>
                  <a:lnTo>
                    <a:pt x="367" y="62"/>
                  </a:lnTo>
                  <a:lnTo>
                    <a:pt x="369" y="62"/>
                  </a:lnTo>
                  <a:lnTo>
                    <a:pt x="367" y="62"/>
                  </a:lnTo>
                  <a:lnTo>
                    <a:pt x="366" y="62"/>
                  </a:lnTo>
                  <a:lnTo>
                    <a:pt x="364" y="64"/>
                  </a:lnTo>
                  <a:lnTo>
                    <a:pt x="364" y="65"/>
                  </a:lnTo>
                  <a:lnTo>
                    <a:pt x="362" y="65"/>
                  </a:lnTo>
                  <a:lnTo>
                    <a:pt x="362" y="67"/>
                  </a:lnTo>
                  <a:lnTo>
                    <a:pt x="361" y="67"/>
                  </a:lnTo>
                  <a:lnTo>
                    <a:pt x="359" y="67"/>
                  </a:lnTo>
                  <a:lnTo>
                    <a:pt x="361" y="67"/>
                  </a:lnTo>
                  <a:lnTo>
                    <a:pt x="359" y="67"/>
                  </a:lnTo>
                  <a:lnTo>
                    <a:pt x="359" y="69"/>
                  </a:lnTo>
                  <a:lnTo>
                    <a:pt x="358" y="69"/>
                  </a:lnTo>
                  <a:lnTo>
                    <a:pt x="359" y="69"/>
                  </a:lnTo>
                  <a:lnTo>
                    <a:pt x="359" y="67"/>
                  </a:lnTo>
                  <a:lnTo>
                    <a:pt x="358" y="67"/>
                  </a:lnTo>
                  <a:lnTo>
                    <a:pt x="358" y="69"/>
                  </a:lnTo>
                  <a:lnTo>
                    <a:pt x="358" y="70"/>
                  </a:lnTo>
                  <a:lnTo>
                    <a:pt x="358" y="69"/>
                  </a:lnTo>
                  <a:lnTo>
                    <a:pt x="358" y="70"/>
                  </a:lnTo>
                  <a:lnTo>
                    <a:pt x="356" y="70"/>
                  </a:lnTo>
                  <a:lnTo>
                    <a:pt x="354" y="70"/>
                  </a:lnTo>
                  <a:lnTo>
                    <a:pt x="356" y="70"/>
                  </a:lnTo>
                  <a:lnTo>
                    <a:pt x="354" y="70"/>
                  </a:lnTo>
                  <a:lnTo>
                    <a:pt x="354" y="72"/>
                  </a:lnTo>
                  <a:lnTo>
                    <a:pt x="353" y="72"/>
                  </a:lnTo>
                  <a:lnTo>
                    <a:pt x="353" y="73"/>
                  </a:lnTo>
                  <a:lnTo>
                    <a:pt x="353" y="75"/>
                  </a:lnTo>
                  <a:lnTo>
                    <a:pt x="351" y="75"/>
                  </a:lnTo>
                  <a:lnTo>
                    <a:pt x="351" y="77"/>
                  </a:lnTo>
                  <a:lnTo>
                    <a:pt x="349" y="77"/>
                  </a:lnTo>
                  <a:lnTo>
                    <a:pt x="351" y="77"/>
                  </a:lnTo>
                  <a:lnTo>
                    <a:pt x="349" y="78"/>
                  </a:lnTo>
                  <a:lnTo>
                    <a:pt x="349" y="77"/>
                  </a:lnTo>
                  <a:lnTo>
                    <a:pt x="348" y="77"/>
                  </a:lnTo>
                  <a:lnTo>
                    <a:pt x="346" y="77"/>
                  </a:lnTo>
                  <a:lnTo>
                    <a:pt x="345" y="78"/>
                  </a:lnTo>
                  <a:lnTo>
                    <a:pt x="345" y="77"/>
                  </a:lnTo>
                  <a:lnTo>
                    <a:pt x="345" y="78"/>
                  </a:lnTo>
                  <a:lnTo>
                    <a:pt x="343" y="78"/>
                  </a:lnTo>
                  <a:lnTo>
                    <a:pt x="343" y="77"/>
                  </a:lnTo>
                  <a:lnTo>
                    <a:pt x="341" y="77"/>
                  </a:lnTo>
                  <a:lnTo>
                    <a:pt x="340" y="78"/>
                  </a:lnTo>
                  <a:lnTo>
                    <a:pt x="341" y="78"/>
                  </a:lnTo>
                  <a:lnTo>
                    <a:pt x="340" y="78"/>
                  </a:lnTo>
                  <a:lnTo>
                    <a:pt x="340" y="80"/>
                  </a:lnTo>
                  <a:lnTo>
                    <a:pt x="338" y="80"/>
                  </a:lnTo>
                  <a:lnTo>
                    <a:pt x="336" y="80"/>
                  </a:lnTo>
                  <a:lnTo>
                    <a:pt x="336" y="78"/>
                  </a:lnTo>
                  <a:lnTo>
                    <a:pt x="336" y="80"/>
                  </a:lnTo>
                  <a:lnTo>
                    <a:pt x="338" y="80"/>
                  </a:lnTo>
                  <a:lnTo>
                    <a:pt x="338" y="82"/>
                  </a:lnTo>
                  <a:lnTo>
                    <a:pt x="338" y="83"/>
                  </a:lnTo>
                  <a:lnTo>
                    <a:pt x="338" y="85"/>
                  </a:lnTo>
                  <a:lnTo>
                    <a:pt x="338" y="83"/>
                  </a:lnTo>
                  <a:lnTo>
                    <a:pt x="338" y="82"/>
                  </a:lnTo>
                  <a:lnTo>
                    <a:pt x="340" y="80"/>
                  </a:lnTo>
                  <a:lnTo>
                    <a:pt x="341" y="80"/>
                  </a:lnTo>
                  <a:lnTo>
                    <a:pt x="343" y="80"/>
                  </a:lnTo>
                  <a:lnTo>
                    <a:pt x="345" y="80"/>
                  </a:lnTo>
                  <a:lnTo>
                    <a:pt x="346" y="80"/>
                  </a:lnTo>
                  <a:lnTo>
                    <a:pt x="346" y="82"/>
                  </a:lnTo>
                  <a:lnTo>
                    <a:pt x="348" y="82"/>
                  </a:lnTo>
                  <a:lnTo>
                    <a:pt x="349" y="82"/>
                  </a:lnTo>
                  <a:lnTo>
                    <a:pt x="349" y="80"/>
                  </a:lnTo>
                  <a:lnTo>
                    <a:pt x="349" y="78"/>
                  </a:lnTo>
                  <a:lnTo>
                    <a:pt x="351" y="77"/>
                  </a:lnTo>
                  <a:lnTo>
                    <a:pt x="351" y="78"/>
                  </a:lnTo>
                  <a:lnTo>
                    <a:pt x="351" y="77"/>
                  </a:lnTo>
                  <a:lnTo>
                    <a:pt x="353" y="77"/>
                  </a:lnTo>
                  <a:lnTo>
                    <a:pt x="353" y="75"/>
                  </a:lnTo>
                  <a:lnTo>
                    <a:pt x="354" y="73"/>
                  </a:lnTo>
                  <a:lnTo>
                    <a:pt x="356" y="73"/>
                  </a:lnTo>
                  <a:lnTo>
                    <a:pt x="354" y="73"/>
                  </a:lnTo>
                  <a:lnTo>
                    <a:pt x="356" y="72"/>
                  </a:lnTo>
                  <a:lnTo>
                    <a:pt x="358" y="72"/>
                  </a:lnTo>
                  <a:lnTo>
                    <a:pt x="358" y="70"/>
                  </a:lnTo>
                  <a:lnTo>
                    <a:pt x="359" y="70"/>
                  </a:lnTo>
                  <a:lnTo>
                    <a:pt x="359" y="69"/>
                  </a:lnTo>
                  <a:lnTo>
                    <a:pt x="361" y="69"/>
                  </a:lnTo>
                  <a:lnTo>
                    <a:pt x="362" y="67"/>
                  </a:lnTo>
                  <a:lnTo>
                    <a:pt x="364" y="67"/>
                  </a:lnTo>
                  <a:lnTo>
                    <a:pt x="364" y="65"/>
                  </a:lnTo>
                  <a:lnTo>
                    <a:pt x="366" y="65"/>
                  </a:lnTo>
                  <a:lnTo>
                    <a:pt x="367" y="64"/>
                  </a:lnTo>
                  <a:lnTo>
                    <a:pt x="369" y="64"/>
                  </a:lnTo>
                  <a:lnTo>
                    <a:pt x="369" y="62"/>
                  </a:lnTo>
                  <a:lnTo>
                    <a:pt x="369" y="60"/>
                  </a:lnTo>
                  <a:lnTo>
                    <a:pt x="369" y="59"/>
                  </a:lnTo>
                  <a:lnTo>
                    <a:pt x="369" y="57"/>
                  </a:lnTo>
                  <a:lnTo>
                    <a:pt x="369" y="56"/>
                  </a:lnTo>
                  <a:lnTo>
                    <a:pt x="371" y="56"/>
                  </a:lnTo>
                  <a:lnTo>
                    <a:pt x="372" y="56"/>
                  </a:lnTo>
                  <a:lnTo>
                    <a:pt x="372" y="57"/>
                  </a:lnTo>
                  <a:lnTo>
                    <a:pt x="374" y="57"/>
                  </a:lnTo>
                  <a:lnTo>
                    <a:pt x="374" y="56"/>
                  </a:lnTo>
                  <a:lnTo>
                    <a:pt x="374" y="57"/>
                  </a:lnTo>
                  <a:lnTo>
                    <a:pt x="375" y="57"/>
                  </a:lnTo>
                  <a:lnTo>
                    <a:pt x="377" y="57"/>
                  </a:lnTo>
                  <a:lnTo>
                    <a:pt x="375" y="57"/>
                  </a:lnTo>
                  <a:lnTo>
                    <a:pt x="375" y="59"/>
                  </a:lnTo>
                  <a:lnTo>
                    <a:pt x="377" y="57"/>
                  </a:lnTo>
                  <a:lnTo>
                    <a:pt x="377" y="59"/>
                  </a:lnTo>
                  <a:lnTo>
                    <a:pt x="375" y="59"/>
                  </a:lnTo>
                  <a:lnTo>
                    <a:pt x="375" y="60"/>
                  </a:lnTo>
                  <a:lnTo>
                    <a:pt x="377" y="62"/>
                  </a:lnTo>
                  <a:lnTo>
                    <a:pt x="377" y="64"/>
                  </a:lnTo>
                  <a:lnTo>
                    <a:pt x="375" y="65"/>
                  </a:lnTo>
                  <a:lnTo>
                    <a:pt x="375" y="67"/>
                  </a:lnTo>
                  <a:lnTo>
                    <a:pt x="375" y="69"/>
                  </a:lnTo>
                  <a:lnTo>
                    <a:pt x="375" y="70"/>
                  </a:lnTo>
                  <a:lnTo>
                    <a:pt x="375" y="73"/>
                  </a:lnTo>
                  <a:lnTo>
                    <a:pt x="375" y="75"/>
                  </a:lnTo>
                  <a:lnTo>
                    <a:pt x="374" y="75"/>
                  </a:lnTo>
                  <a:lnTo>
                    <a:pt x="374" y="77"/>
                  </a:lnTo>
                  <a:lnTo>
                    <a:pt x="374" y="78"/>
                  </a:lnTo>
                  <a:lnTo>
                    <a:pt x="372" y="78"/>
                  </a:lnTo>
                  <a:lnTo>
                    <a:pt x="372" y="80"/>
                  </a:lnTo>
                  <a:lnTo>
                    <a:pt x="371" y="80"/>
                  </a:lnTo>
                  <a:lnTo>
                    <a:pt x="369" y="82"/>
                  </a:lnTo>
                  <a:lnTo>
                    <a:pt x="367" y="82"/>
                  </a:lnTo>
                  <a:lnTo>
                    <a:pt x="366" y="83"/>
                  </a:lnTo>
                  <a:lnTo>
                    <a:pt x="362" y="85"/>
                  </a:lnTo>
                  <a:lnTo>
                    <a:pt x="361" y="85"/>
                  </a:lnTo>
                  <a:lnTo>
                    <a:pt x="361" y="86"/>
                  </a:lnTo>
                  <a:lnTo>
                    <a:pt x="361" y="88"/>
                  </a:lnTo>
                  <a:lnTo>
                    <a:pt x="362" y="88"/>
                  </a:lnTo>
                  <a:lnTo>
                    <a:pt x="364" y="88"/>
                  </a:lnTo>
                  <a:lnTo>
                    <a:pt x="366" y="88"/>
                  </a:lnTo>
                  <a:lnTo>
                    <a:pt x="369" y="86"/>
                  </a:lnTo>
                  <a:lnTo>
                    <a:pt x="367" y="86"/>
                  </a:lnTo>
                  <a:lnTo>
                    <a:pt x="369" y="86"/>
                  </a:lnTo>
                  <a:lnTo>
                    <a:pt x="371" y="86"/>
                  </a:lnTo>
                  <a:lnTo>
                    <a:pt x="374" y="85"/>
                  </a:lnTo>
                  <a:lnTo>
                    <a:pt x="375" y="85"/>
                  </a:lnTo>
                  <a:lnTo>
                    <a:pt x="379" y="85"/>
                  </a:lnTo>
                  <a:lnTo>
                    <a:pt x="379" y="83"/>
                  </a:lnTo>
                  <a:lnTo>
                    <a:pt x="380" y="83"/>
                  </a:lnTo>
                  <a:lnTo>
                    <a:pt x="384" y="83"/>
                  </a:lnTo>
                  <a:lnTo>
                    <a:pt x="385" y="83"/>
                  </a:lnTo>
                  <a:lnTo>
                    <a:pt x="388" y="85"/>
                  </a:lnTo>
                  <a:lnTo>
                    <a:pt x="388" y="86"/>
                  </a:lnTo>
                  <a:lnTo>
                    <a:pt x="390" y="86"/>
                  </a:lnTo>
                  <a:lnTo>
                    <a:pt x="390" y="88"/>
                  </a:lnTo>
                  <a:lnTo>
                    <a:pt x="388" y="88"/>
                  </a:lnTo>
                  <a:lnTo>
                    <a:pt x="388" y="90"/>
                  </a:lnTo>
                  <a:lnTo>
                    <a:pt x="388" y="91"/>
                  </a:lnTo>
                  <a:lnTo>
                    <a:pt x="388" y="93"/>
                  </a:lnTo>
                  <a:lnTo>
                    <a:pt x="390" y="93"/>
                  </a:lnTo>
                  <a:lnTo>
                    <a:pt x="390" y="95"/>
                  </a:lnTo>
                  <a:lnTo>
                    <a:pt x="390" y="96"/>
                  </a:lnTo>
                  <a:lnTo>
                    <a:pt x="388" y="96"/>
                  </a:lnTo>
                  <a:lnTo>
                    <a:pt x="387" y="98"/>
                  </a:lnTo>
                  <a:lnTo>
                    <a:pt x="387" y="99"/>
                  </a:lnTo>
                  <a:lnTo>
                    <a:pt x="385" y="99"/>
                  </a:lnTo>
                  <a:lnTo>
                    <a:pt x="384" y="99"/>
                  </a:lnTo>
                  <a:lnTo>
                    <a:pt x="382" y="99"/>
                  </a:lnTo>
                  <a:lnTo>
                    <a:pt x="380" y="99"/>
                  </a:lnTo>
                  <a:lnTo>
                    <a:pt x="379" y="101"/>
                  </a:lnTo>
                  <a:lnTo>
                    <a:pt x="375" y="101"/>
                  </a:lnTo>
                  <a:lnTo>
                    <a:pt x="374" y="101"/>
                  </a:lnTo>
                  <a:lnTo>
                    <a:pt x="374" y="103"/>
                  </a:lnTo>
                  <a:lnTo>
                    <a:pt x="372" y="103"/>
                  </a:lnTo>
                  <a:lnTo>
                    <a:pt x="371" y="103"/>
                  </a:lnTo>
                  <a:lnTo>
                    <a:pt x="371" y="104"/>
                  </a:lnTo>
                  <a:lnTo>
                    <a:pt x="369" y="104"/>
                  </a:lnTo>
                  <a:lnTo>
                    <a:pt x="367" y="104"/>
                  </a:lnTo>
                  <a:lnTo>
                    <a:pt x="362" y="101"/>
                  </a:lnTo>
                  <a:lnTo>
                    <a:pt x="361" y="101"/>
                  </a:lnTo>
                  <a:lnTo>
                    <a:pt x="358" y="101"/>
                  </a:lnTo>
                  <a:lnTo>
                    <a:pt x="356" y="101"/>
                  </a:lnTo>
                  <a:lnTo>
                    <a:pt x="353" y="103"/>
                  </a:lnTo>
                  <a:lnTo>
                    <a:pt x="353" y="104"/>
                  </a:lnTo>
                  <a:lnTo>
                    <a:pt x="351" y="104"/>
                  </a:lnTo>
                  <a:lnTo>
                    <a:pt x="349" y="104"/>
                  </a:lnTo>
                  <a:lnTo>
                    <a:pt x="349" y="106"/>
                  </a:lnTo>
                  <a:lnTo>
                    <a:pt x="349" y="108"/>
                  </a:lnTo>
                  <a:lnTo>
                    <a:pt x="349" y="109"/>
                  </a:lnTo>
                  <a:lnTo>
                    <a:pt x="348" y="109"/>
                  </a:lnTo>
                  <a:lnTo>
                    <a:pt x="346" y="111"/>
                  </a:lnTo>
                  <a:lnTo>
                    <a:pt x="345" y="111"/>
                  </a:lnTo>
                  <a:lnTo>
                    <a:pt x="343" y="112"/>
                  </a:lnTo>
                  <a:lnTo>
                    <a:pt x="341" y="114"/>
                  </a:lnTo>
                  <a:lnTo>
                    <a:pt x="340" y="119"/>
                  </a:lnTo>
                  <a:lnTo>
                    <a:pt x="340" y="121"/>
                  </a:lnTo>
                  <a:lnTo>
                    <a:pt x="336" y="124"/>
                  </a:lnTo>
                  <a:lnTo>
                    <a:pt x="335" y="124"/>
                  </a:lnTo>
                  <a:lnTo>
                    <a:pt x="332" y="126"/>
                  </a:lnTo>
                  <a:lnTo>
                    <a:pt x="327" y="127"/>
                  </a:lnTo>
                  <a:lnTo>
                    <a:pt x="325" y="129"/>
                  </a:lnTo>
                  <a:lnTo>
                    <a:pt x="322" y="130"/>
                  </a:lnTo>
                  <a:lnTo>
                    <a:pt x="319" y="132"/>
                  </a:lnTo>
                  <a:lnTo>
                    <a:pt x="317" y="134"/>
                  </a:lnTo>
                  <a:lnTo>
                    <a:pt x="317" y="135"/>
                  </a:lnTo>
                  <a:lnTo>
                    <a:pt x="317" y="139"/>
                  </a:lnTo>
                  <a:lnTo>
                    <a:pt x="315" y="142"/>
                  </a:lnTo>
                  <a:lnTo>
                    <a:pt x="315" y="147"/>
                  </a:lnTo>
                  <a:lnTo>
                    <a:pt x="314" y="148"/>
                  </a:lnTo>
                  <a:lnTo>
                    <a:pt x="315" y="148"/>
                  </a:lnTo>
                  <a:lnTo>
                    <a:pt x="314" y="152"/>
                  </a:lnTo>
                  <a:lnTo>
                    <a:pt x="314" y="155"/>
                  </a:lnTo>
                  <a:lnTo>
                    <a:pt x="310" y="158"/>
                  </a:lnTo>
                  <a:lnTo>
                    <a:pt x="307" y="161"/>
                  </a:lnTo>
                  <a:lnTo>
                    <a:pt x="306" y="165"/>
                  </a:lnTo>
                  <a:lnTo>
                    <a:pt x="304" y="165"/>
                  </a:lnTo>
                  <a:lnTo>
                    <a:pt x="302" y="166"/>
                  </a:lnTo>
                  <a:lnTo>
                    <a:pt x="301" y="168"/>
                  </a:lnTo>
                  <a:lnTo>
                    <a:pt x="299" y="168"/>
                  </a:lnTo>
                  <a:lnTo>
                    <a:pt x="297" y="168"/>
                  </a:lnTo>
                  <a:lnTo>
                    <a:pt x="296" y="168"/>
                  </a:lnTo>
                  <a:lnTo>
                    <a:pt x="294" y="168"/>
                  </a:lnTo>
                  <a:lnTo>
                    <a:pt x="293" y="166"/>
                  </a:lnTo>
                  <a:lnTo>
                    <a:pt x="291" y="166"/>
                  </a:lnTo>
                  <a:lnTo>
                    <a:pt x="289" y="168"/>
                  </a:lnTo>
                  <a:lnTo>
                    <a:pt x="288" y="168"/>
                  </a:lnTo>
                  <a:lnTo>
                    <a:pt x="286" y="168"/>
                  </a:lnTo>
                  <a:lnTo>
                    <a:pt x="281" y="163"/>
                  </a:lnTo>
                  <a:lnTo>
                    <a:pt x="281" y="161"/>
                  </a:lnTo>
                  <a:lnTo>
                    <a:pt x="281" y="160"/>
                  </a:lnTo>
                  <a:lnTo>
                    <a:pt x="279" y="158"/>
                  </a:lnTo>
                  <a:lnTo>
                    <a:pt x="278" y="156"/>
                  </a:lnTo>
                  <a:lnTo>
                    <a:pt x="278" y="155"/>
                  </a:lnTo>
                  <a:lnTo>
                    <a:pt x="278" y="153"/>
                  </a:lnTo>
                  <a:lnTo>
                    <a:pt x="276" y="153"/>
                  </a:lnTo>
                  <a:lnTo>
                    <a:pt x="276" y="152"/>
                  </a:lnTo>
                  <a:lnTo>
                    <a:pt x="276" y="150"/>
                  </a:lnTo>
                  <a:lnTo>
                    <a:pt x="275" y="150"/>
                  </a:lnTo>
                  <a:lnTo>
                    <a:pt x="275" y="148"/>
                  </a:lnTo>
                  <a:lnTo>
                    <a:pt x="276" y="148"/>
                  </a:lnTo>
                  <a:lnTo>
                    <a:pt x="276" y="147"/>
                  </a:lnTo>
                  <a:lnTo>
                    <a:pt x="276" y="145"/>
                  </a:lnTo>
                  <a:lnTo>
                    <a:pt x="279" y="145"/>
                  </a:lnTo>
                  <a:lnTo>
                    <a:pt x="283" y="147"/>
                  </a:lnTo>
                  <a:lnTo>
                    <a:pt x="284" y="147"/>
                  </a:lnTo>
                  <a:lnTo>
                    <a:pt x="286" y="147"/>
                  </a:lnTo>
                  <a:lnTo>
                    <a:pt x="288" y="147"/>
                  </a:lnTo>
                  <a:lnTo>
                    <a:pt x="288" y="145"/>
                  </a:lnTo>
                  <a:lnTo>
                    <a:pt x="288" y="143"/>
                  </a:lnTo>
                  <a:lnTo>
                    <a:pt x="288" y="142"/>
                  </a:lnTo>
                  <a:lnTo>
                    <a:pt x="286" y="140"/>
                  </a:lnTo>
                  <a:lnTo>
                    <a:pt x="286" y="139"/>
                  </a:lnTo>
                  <a:lnTo>
                    <a:pt x="284" y="139"/>
                  </a:lnTo>
                  <a:lnTo>
                    <a:pt x="284" y="137"/>
                  </a:lnTo>
                  <a:lnTo>
                    <a:pt x="283" y="134"/>
                  </a:lnTo>
                  <a:lnTo>
                    <a:pt x="281" y="132"/>
                  </a:lnTo>
                  <a:lnTo>
                    <a:pt x="279" y="134"/>
                  </a:lnTo>
                  <a:lnTo>
                    <a:pt x="278" y="134"/>
                  </a:lnTo>
                  <a:lnTo>
                    <a:pt x="276" y="134"/>
                  </a:lnTo>
                  <a:lnTo>
                    <a:pt x="276" y="132"/>
                  </a:lnTo>
                  <a:lnTo>
                    <a:pt x="275" y="132"/>
                  </a:lnTo>
                  <a:lnTo>
                    <a:pt x="275" y="130"/>
                  </a:lnTo>
                  <a:lnTo>
                    <a:pt x="275" y="129"/>
                  </a:lnTo>
                  <a:lnTo>
                    <a:pt x="273" y="127"/>
                  </a:lnTo>
                  <a:lnTo>
                    <a:pt x="273" y="126"/>
                  </a:lnTo>
                  <a:lnTo>
                    <a:pt x="273" y="124"/>
                  </a:lnTo>
                  <a:lnTo>
                    <a:pt x="275" y="122"/>
                  </a:lnTo>
                  <a:lnTo>
                    <a:pt x="275" y="121"/>
                  </a:lnTo>
                  <a:lnTo>
                    <a:pt x="276" y="121"/>
                  </a:lnTo>
                  <a:lnTo>
                    <a:pt x="276" y="119"/>
                  </a:lnTo>
                  <a:lnTo>
                    <a:pt x="276" y="117"/>
                  </a:lnTo>
                  <a:lnTo>
                    <a:pt x="275" y="117"/>
                  </a:lnTo>
                  <a:lnTo>
                    <a:pt x="276" y="117"/>
                  </a:lnTo>
                  <a:lnTo>
                    <a:pt x="275" y="117"/>
                  </a:lnTo>
                  <a:lnTo>
                    <a:pt x="276" y="117"/>
                  </a:lnTo>
                  <a:lnTo>
                    <a:pt x="276" y="116"/>
                  </a:lnTo>
                  <a:lnTo>
                    <a:pt x="279" y="116"/>
                  </a:lnTo>
                  <a:lnTo>
                    <a:pt x="279" y="114"/>
                  </a:lnTo>
                  <a:lnTo>
                    <a:pt x="281" y="116"/>
                  </a:lnTo>
                  <a:lnTo>
                    <a:pt x="281" y="114"/>
                  </a:lnTo>
                  <a:lnTo>
                    <a:pt x="283" y="112"/>
                  </a:lnTo>
                  <a:lnTo>
                    <a:pt x="284" y="112"/>
                  </a:lnTo>
                  <a:lnTo>
                    <a:pt x="284" y="111"/>
                  </a:lnTo>
                  <a:lnTo>
                    <a:pt x="284" y="109"/>
                  </a:lnTo>
                  <a:lnTo>
                    <a:pt x="286" y="108"/>
                  </a:lnTo>
                  <a:lnTo>
                    <a:pt x="288" y="106"/>
                  </a:lnTo>
                  <a:lnTo>
                    <a:pt x="289" y="104"/>
                  </a:lnTo>
                  <a:lnTo>
                    <a:pt x="289" y="103"/>
                  </a:lnTo>
                  <a:lnTo>
                    <a:pt x="288" y="103"/>
                  </a:lnTo>
                  <a:lnTo>
                    <a:pt x="288" y="101"/>
                  </a:lnTo>
                  <a:lnTo>
                    <a:pt x="289" y="99"/>
                  </a:lnTo>
                  <a:lnTo>
                    <a:pt x="289" y="98"/>
                  </a:lnTo>
                  <a:lnTo>
                    <a:pt x="291" y="98"/>
                  </a:lnTo>
                  <a:lnTo>
                    <a:pt x="293" y="98"/>
                  </a:lnTo>
                  <a:lnTo>
                    <a:pt x="293" y="99"/>
                  </a:lnTo>
                  <a:lnTo>
                    <a:pt x="294" y="99"/>
                  </a:lnTo>
                  <a:lnTo>
                    <a:pt x="296" y="101"/>
                  </a:lnTo>
                  <a:lnTo>
                    <a:pt x="297" y="99"/>
                  </a:lnTo>
                  <a:lnTo>
                    <a:pt x="299" y="99"/>
                  </a:lnTo>
                  <a:lnTo>
                    <a:pt x="299" y="101"/>
                  </a:lnTo>
                  <a:lnTo>
                    <a:pt x="301" y="103"/>
                  </a:lnTo>
                  <a:lnTo>
                    <a:pt x="301" y="104"/>
                  </a:lnTo>
                  <a:lnTo>
                    <a:pt x="302" y="104"/>
                  </a:lnTo>
                  <a:lnTo>
                    <a:pt x="302" y="106"/>
                  </a:lnTo>
                  <a:lnTo>
                    <a:pt x="304" y="108"/>
                  </a:lnTo>
                  <a:lnTo>
                    <a:pt x="304" y="106"/>
                  </a:lnTo>
                  <a:lnTo>
                    <a:pt x="304" y="104"/>
                  </a:lnTo>
                  <a:lnTo>
                    <a:pt x="306" y="104"/>
                  </a:lnTo>
                  <a:lnTo>
                    <a:pt x="306" y="106"/>
                  </a:lnTo>
                  <a:lnTo>
                    <a:pt x="306" y="108"/>
                  </a:lnTo>
                  <a:lnTo>
                    <a:pt x="307" y="106"/>
                  </a:lnTo>
                  <a:lnTo>
                    <a:pt x="309" y="106"/>
                  </a:lnTo>
                  <a:lnTo>
                    <a:pt x="309" y="104"/>
                  </a:lnTo>
                  <a:lnTo>
                    <a:pt x="309" y="103"/>
                  </a:lnTo>
                  <a:lnTo>
                    <a:pt x="309" y="104"/>
                  </a:lnTo>
                  <a:lnTo>
                    <a:pt x="309" y="106"/>
                  </a:lnTo>
                  <a:lnTo>
                    <a:pt x="307" y="106"/>
                  </a:lnTo>
                  <a:lnTo>
                    <a:pt x="306" y="106"/>
                  </a:lnTo>
                  <a:lnTo>
                    <a:pt x="306" y="108"/>
                  </a:lnTo>
                  <a:lnTo>
                    <a:pt x="306" y="106"/>
                  </a:lnTo>
                  <a:lnTo>
                    <a:pt x="307" y="106"/>
                  </a:lnTo>
                  <a:lnTo>
                    <a:pt x="307" y="104"/>
                  </a:lnTo>
                  <a:lnTo>
                    <a:pt x="306" y="104"/>
                  </a:lnTo>
                  <a:lnTo>
                    <a:pt x="304" y="104"/>
                  </a:lnTo>
                  <a:lnTo>
                    <a:pt x="304" y="106"/>
                  </a:lnTo>
                  <a:lnTo>
                    <a:pt x="304" y="108"/>
                  </a:lnTo>
                  <a:lnTo>
                    <a:pt x="304" y="106"/>
                  </a:lnTo>
                  <a:lnTo>
                    <a:pt x="302" y="106"/>
                  </a:lnTo>
                  <a:lnTo>
                    <a:pt x="302" y="104"/>
                  </a:lnTo>
                  <a:lnTo>
                    <a:pt x="301" y="104"/>
                  </a:lnTo>
                  <a:lnTo>
                    <a:pt x="301" y="103"/>
                  </a:lnTo>
                  <a:lnTo>
                    <a:pt x="301" y="101"/>
                  </a:lnTo>
                  <a:lnTo>
                    <a:pt x="299" y="101"/>
                  </a:lnTo>
                  <a:lnTo>
                    <a:pt x="299" y="99"/>
                  </a:lnTo>
                  <a:lnTo>
                    <a:pt x="297" y="99"/>
                  </a:lnTo>
                  <a:lnTo>
                    <a:pt x="296" y="99"/>
                  </a:lnTo>
                  <a:lnTo>
                    <a:pt x="294" y="99"/>
                  </a:lnTo>
                  <a:lnTo>
                    <a:pt x="293" y="99"/>
                  </a:lnTo>
                  <a:lnTo>
                    <a:pt x="293" y="98"/>
                  </a:lnTo>
                  <a:lnTo>
                    <a:pt x="291" y="98"/>
                  </a:lnTo>
                  <a:lnTo>
                    <a:pt x="289" y="98"/>
                  </a:lnTo>
                  <a:lnTo>
                    <a:pt x="289" y="99"/>
                  </a:lnTo>
                  <a:lnTo>
                    <a:pt x="288" y="99"/>
                  </a:lnTo>
                  <a:lnTo>
                    <a:pt x="288" y="101"/>
                  </a:lnTo>
                  <a:lnTo>
                    <a:pt x="288" y="103"/>
                  </a:lnTo>
                  <a:lnTo>
                    <a:pt x="289" y="103"/>
                  </a:lnTo>
                  <a:lnTo>
                    <a:pt x="289" y="104"/>
                  </a:lnTo>
                  <a:lnTo>
                    <a:pt x="288" y="106"/>
                  </a:lnTo>
                  <a:lnTo>
                    <a:pt x="286" y="108"/>
                  </a:lnTo>
                  <a:lnTo>
                    <a:pt x="284" y="108"/>
                  </a:lnTo>
                  <a:lnTo>
                    <a:pt x="283" y="109"/>
                  </a:lnTo>
                  <a:lnTo>
                    <a:pt x="281" y="111"/>
                  </a:lnTo>
                  <a:lnTo>
                    <a:pt x="279" y="111"/>
                  </a:lnTo>
                  <a:lnTo>
                    <a:pt x="279" y="112"/>
                  </a:lnTo>
                  <a:lnTo>
                    <a:pt x="278" y="112"/>
                  </a:lnTo>
                  <a:lnTo>
                    <a:pt x="278" y="114"/>
                  </a:lnTo>
                  <a:lnTo>
                    <a:pt x="278" y="112"/>
                  </a:lnTo>
                  <a:lnTo>
                    <a:pt x="278" y="111"/>
                  </a:lnTo>
                  <a:lnTo>
                    <a:pt x="276" y="111"/>
                  </a:lnTo>
                  <a:lnTo>
                    <a:pt x="278" y="111"/>
                  </a:lnTo>
                  <a:lnTo>
                    <a:pt x="278" y="112"/>
                  </a:lnTo>
                  <a:lnTo>
                    <a:pt x="278" y="114"/>
                  </a:lnTo>
                  <a:lnTo>
                    <a:pt x="276" y="114"/>
                  </a:lnTo>
                  <a:lnTo>
                    <a:pt x="276" y="112"/>
                  </a:lnTo>
                  <a:lnTo>
                    <a:pt x="276" y="111"/>
                  </a:lnTo>
                  <a:lnTo>
                    <a:pt x="275" y="111"/>
                  </a:lnTo>
                  <a:lnTo>
                    <a:pt x="273" y="111"/>
                  </a:lnTo>
                  <a:lnTo>
                    <a:pt x="271" y="111"/>
                  </a:lnTo>
                  <a:lnTo>
                    <a:pt x="270" y="111"/>
                  </a:lnTo>
                  <a:lnTo>
                    <a:pt x="268" y="111"/>
                  </a:lnTo>
                  <a:lnTo>
                    <a:pt x="266" y="111"/>
                  </a:lnTo>
                  <a:lnTo>
                    <a:pt x="265" y="111"/>
                  </a:lnTo>
                  <a:lnTo>
                    <a:pt x="265" y="112"/>
                  </a:lnTo>
                  <a:lnTo>
                    <a:pt x="263" y="112"/>
                  </a:lnTo>
                  <a:lnTo>
                    <a:pt x="262" y="112"/>
                  </a:lnTo>
                  <a:lnTo>
                    <a:pt x="260" y="112"/>
                  </a:lnTo>
                  <a:lnTo>
                    <a:pt x="258" y="111"/>
                  </a:lnTo>
                  <a:lnTo>
                    <a:pt x="258" y="109"/>
                  </a:lnTo>
                  <a:lnTo>
                    <a:pt x="257" y="109"/>
                  </a:lnTo>
                  <a:lnTo>
                    <a:pt x="257" y="108"/>
                  </a:lnTo>
                  <a:lnTo>
                    <a:pt x="257" y="109"/>
                  </a:lnTo>
                  <a:lnTo>
                    <a:pt x="255" y="108"/>
                  </a:lnTo>
                  <a:lnTo>
                    <a:pt x="255" y="109"/>
                  </a:lnTo>
                  <a:lnTo>
                    <a:pt x="257" y="109"/>
                  </a:lnTo>
                  <a:lnTo>
                    <a:pt x="257" y="111"/>
                  </a:lnTo>
                  <a:lnTo>
                    <a:pt x="258" y="111"/>
                  </a:lnTo>
                  <a:lnTo>
                    <a:pt x="257" y="111"/>
                  </a:lnTo>
                  <a:lnTo>
                    <a:pt x="255" y="109"/>
                  </a:lnTo>
                  <a:lnTo>
                    <a:pt x="255" y="108"/>
                  </a:lnTo>
                  <a:lnTo>
                    <a:pt x="255" y="106"/>
                  </a:lnTo>
                  <a:lnTo>
                    <a:pt x="255" y="103"/>
                  </a:lnTo>
                  <a:lnTo>
                    <a:pt x="257" y="101"/>
                  </a:lnTo>
                  <a:lnTo>
                    <a:pt x="257" y="99"/>
                  </a:lnTo>
                  <a:lnTo>
                    <a:pt x="258" y="101"/>
                  </a:lnTo>
                  <a:lnTo>
                    <a:pt x="258" y="103"/>
                  </a:lnTo>
                  <a:lnTo>
                    <a:pt x="260" y="103"/>
                  </a:lnTo>
                  <a:lnTo>
                    <a:pt x="258" y="103"/>
                  </a:lnTo>
                  <a:lnTo>
                    <a:pt x="260" y="103"/>
                  </a:lnTo>
                  <a:lnTo>
                    <a:pt x="260" y="101"/>
                  </a:lnTo>
                  <a:lnTo>
                    <a:pt x="260" y="103"/>
                  </a:lnTo>
                  <a:lnTo>
                    <a:pt x="260" y="101"/>
                  </a:lnTo>
                  <a:lnTo>
                    <a:pt x="262" y="101"/>
                  </a:lnTo>
                  <a:lnTo>
                    <a:pt x="263" y="101"/>
                  </a:lnTo>
                  <a:lnTo>
                    <a:pt x="263" y="99"/>
                  </a:lnTo>
                  <a:lnTo>
                    <a:pt x="262" y="99"/>
                  </a:lnTo>
                  <a:lnTo>
                    <a:pt x="262" y="98"/>
                  </a:lnTo>
                  <a:lnTo>
                    <a:pt x="262" y="99"/>
                  </a:lnTo>
                  <a:lnTo>
                    <a:pt x="260" y="99"/>
                  </a:lnTo>
                  <a:lnTo>
                    <a:pt x="260" y="98"/>
                  </a:lnTo>
                  <a:lnTo>
                    <a:pt x="258" y="98"/>
                  </a:lnTo>
                  <a:lnTo>
                    <a:pt x="257" y="98"/>
                  </a:lnTo>
                  <a:lnTo>
                    <a:pt x="257" y="96"/>
                  </a:lnTo>
                  <a:lnTo>
                    <a:pt x="260" y="95"/>
                  </a:lnTo>
                  <a:lnTo>
                    <a:pt x="260" y="96"/>
                  </a:lnTo>
                  <a:lnTo>
                    <a:pt x="260" y="95"/>
                  </a:lnTo>
                  <a:lnTo>
                    <a:pt x="260" y="96"/>
                  </a:lnTo>
                  <a:lnTo>
                    <a:pt x="260" y="95"/>
                  </a:lnTo>
                  <a:lnTo>
                    <a:pt x="262" y="95"/>
                  </a:lnTo>
                  <a:lnTo>
                    <a:pt x="263" y="95"/>
                  </a:lnTo>
                  <a:lnTo>
                    <a:pt x="265" y="95"/>
                  </a:lnTo>
                  <a:lnTo>
                    <a:pt x="266" y="95"/>
                  </a:lnTo>
                  <a:lnTo>
                    <a:pt x="266" y="93"/>
                  </a:lnTo>
                  <a:lnTo>
                    <a:pt x="268" y="93"/>
                  </a:lnTo>
                  <a:lnTo>
                    <a:pt x="271" y="93"/>
                  </a:lnTo>
                  <a:lnTo>
                    <a:pt x="273" y="93"/>
                  </a:lnTo>
                  <a:lnTo>
                    <a:pt x="275" y="93"/>
                  </a:lnTo>
                  <a:lnTo>
                    <a:pt x="276" y="93"/>
                  </a:lnTo>
                  <a:lnTo>
                    <a:pt x="278" y="95"/>
                  </a:lnTo>
                  <a:lnTo>
                    <a:pt x="279" y="95"/>
                  </a:lnTo>
                  <a:lnTo>
                    <a:pt x="281" y="93"/>
                  </a:lnTo>
                  <a:lnTo>
                    <a:pt x="283" y="91"/>
                  </a:lnTo>
                  <a:lnTo>
                    <a:pt x="283" y="90"/>
                  </a:lnTo>
                  <a:lnTo>
                    <a:pt x="284" y="90"/>
                  </a:lnTo>
                  <a:lnTo>
                    <a:pt x="286" y="88"/>
                  </a:lnTo>
                  <a:lnTo>
                    <a:pt x="288" y="86"/>
                  </a:lnTo>
                  <a:lnTo>
                    <a:pt x="289" y="86"/>
                  </a:lnTo>
                  <a:lnTo>
                    <a:pt x="289" y="85"/>
                  </a:lnTo>
                  <a:lnTo>
                    <a:pt x="291" y="85"/>
                  </a:lnTo>
                  <a:lnTo>
                    <a:pt x="291" y="83"/>
                  </a:lnTo>
                  <a:lnTo>
                    <a:pt x="293" y="85"/>
                  </a:lnTo>
                  <a:lnTo>
                    <a:pt x="291" y="83"/>
                  </a:lnTo>
                  <a:lnTo>
                    <a:pt x="291" y="82"/>
                  </a:lnTo>
                  <a:lnTo>
                    <a:pt x="291" y="80"/>
                  </a:lnTo>
                  <a:lnTo>
                    <a:pt x="289" y="80"/>
                  </a:lnTo>
                  <a:lnTo>
                    <a:pt x="289" y="78"/>
                  </a:lnTo>
                  <a:lnTo>
                    <a:pt x="289" y="77"/>
                  </a:lnTo>
                  <a:lnTo>
                    <a:pt x="288" y="78"/>
                  </a:lnTo>
                  <a:lnTo>
                    <a:pt x="288" y="80"/>
                  </a:lnTo>
                  <a:lnTo>
                    <a:pt x="286" y="80"/>
                  </a:lnTo>
                  <a:lnTo>
                    <a:pt x="286" y="82"/>
                  </a:lnTo>
                  <a:lnTo>
                    <a:pt x="284" y="82"/>
                  </a:lnTo>
                  <a:lnTo>
                    <a:pt x="286" y="82"/>
                  </a:lnTo>
                  <a:lnTo>
                    <a:pt x="284" y="83"/>
                  </a:lnTo>
                  <a:lnTo>
                    <a:pt x="284" y="85"/>
                  </a:lnTo>
                  <a:lnTo>
                    <a:pt x="283" y="85"/>
                  </a:lnTo>
                  <a:lnTo>
                    <a:pt x="281" y="86"/>
                  </a:lnTo>
                  <a:lnTo>
                    <a:pt x="279" y="86"/>
                  </a:lnTo>
                  <a:lnTo>
                    <a:pt x="276" y="86"/>
                  </a:lnTo>
                  <a:lnTo>
                    <a:pt x="276" y="85"/>
                  </a:lnTo>
                  <a:lnTo>
                    <a:pt x="275" y="85"/>
                  </a:lnTo>
                  <a:lnTo>
                    <a:pt x="275" y="83"/>
                  </a:lnTo>
                  <a:lnTo>
                    <a:pt x="275" y="82"/>
                  </a:lnTo>
                  <a:lnTo>
                    <a:pt x="275" y="80"/>
                  </a:lnTo>
                  <a:lnTo>
                    <a:pt x="276" y="78"/>
                  </a:lnTo>
                  <a:lnTo>
                    <a:pt x="276" y="80"/>
                  </a:lnTo>
                  <a:lnTo>
                    <a:pt x="278" y="78"/>
                  </a:lnTo>
                  <a:lnTo>
                    <a:pt x="279" y="77"/>
                  </a:lnTo>
                  <a:lnTo>
                    <a:pt x="279" y="73"/>
                  </a:lnTo>
                  <a:lnTo>
                    <a:pt x="279" y="72"/>
                  </a:lnTo>
                  <a:lnTo>
                    <a:pt x="279" y="70"/>
                  </a:lnTo>
                  <a:lnTo>
                    <a:pt x="279" y="69"/>
                  </a:lnTo>
                  <a:lnTo>
                    <a:pt x="281" y="69"/>
                  </a:lnTo>
                  <a:lnTo>
                    <a:pt x="281" y="67"/>
                  </a:lnTo>
                  <a:lnTo>
                    <a:pt x="281" y="65"/>
                  </a:lnTo>
                  <a:lnTo>
                    <a:pt x="279" y="65"/>
                  </a:lnTo>
                  <a:lnTo>
                    <a:pt x="278" y="65"/>
                  </a:lnTo>
                  <a:lnTo>
                    <a:pt x="276" y="65"/>
                  </a:lnTo>
                  <a:lnTo>
                    <a:pt x="275" y="67"/>
                  </a:lnTo>
                  <a:lnTo>
                    <a:pt x="275" y="65"/>
                  </a:lnTo>
                  <a:lnTo>
                    <a:pt x="276" y="65"/>
                  </a:lnTo>
                  <a:lnTo>
                    <a:pt x="276" y="64"/>
                  </a:lnTo>
                  <a:lnTo>
                    <a:pt x="278" y="64"/>
                  </a:lnTo>
                  <a:lnTo>
                    <a:pt x="276" y="64"/>
                  </a:lnTo>
                  <a:lnTo>
                    <a:pt x="278" y="64"/>
                  </a:lnTo>
                  <a:lnTo>
                    <a:pt x="276" y="62"/>
                  </a:lnTo>
                  <a:lnTo>
                    <a:pt x="276" y="60"/>
                  </a:lnTo>
                  <a:lnTo>
                    <a:pt x="276" y="59"/>
                  </a:lnTo>
                  <a:lnTo>
                    <a:pt x="275" y="59"/>
                  </a:lnTo>
                  <a:lnTo>
                    <a:pt x="273" y="57"/>
                  </a:lnTo>
                  <a:lnTo>
                    <a:pt x="271" y="56"/>
                  </a:lnTo>
                  <a:lnTo>
                    <a:pt x="270" y="54"/>
                  </a:lnTo>
                  <a:lnTo>
                    <a:pt x="270" y="52"/>
                  </a:lnTo>
                  <a:lnTo>
                    <a:pt x="270" y="51"/>
                  </a:lnTo>
                  <a:lnTo>
                    <a:pt x="268" y="49"/>
                  </a:lnTo>
                  <a:lnTo>
                    <a:pt x="266" y="49"/>
                  </a:lnTo>
                  <a:lnTo>
                    <a:pt x="266" y="47"/>
                  </a:lnTo>
                  <a:lnTo>
                    <a:pt x="265" y="47"/>
                  </a:lnTo>
                  <a:lnTo>
                    <a:pt x="265" y="46"/>
                  </a:lnTo>
                  <a:lnTo>
                    <a:pt x="266" y="46"/>
                  </a:lnTo>
                  <a:lnTo>
                    <a:pt x="266" y="44"/>
                  </a:lnTo>
                  <a:lnTo>
                    <a:pt x="265" y="43"/>
                  </a:lnTo>
                  <a:lnTo>
                    <a:pt x="265" y="41"/>
                  </a:lnTo>
                  <a:lnTo>
                    <a:pt x="265" y="39"/>
                  </a:lnTo>
                  <a:lnTo>
                    <a:pt x="263" y="39"/>
                  </a:lnTo>
                  <a:lnTo>
                    <a:pt x="263" y="38"/>
                  </a:lnTo>
                  <a:lnTo>
                    <a:pt x="263" y="39"/>
                  </a:lnTo>
                  <a:lnTo>
                    <a:pt x="263" y="38"/>
                  </a:lnTo>
                  <a:lnTo>
                    <a:pt x="262" y="38"/>
                  </a:lnTo>
                  <a:lnTo>
                    <a:pt x="263" y="38"/>
                  </a:lnTo>
                  <a:lnTo>
                    <a:pt x="262" y="38"/>
                  </a:lnTo>
                  <a:lnTo>
                    <a:pt x="262" y="36"/>
                  </a:lnTo>
                  <a:lnTo>
                    <a:pt x="262" y="34"/>
                  </a:lnTo>
                  <a:lnTo>
                    <a:pt x="260" y="34"/>
                  </a:lnTo>
                  <a:lnTo>
                    <a:pt x="260" y="33"/>
                  </a:lnTo>
                  <a:lnTo>
                    <a:pt x="258" y="33"/>
                  </a:lnTo>
                  <a:lnTo>
                    <a:pt x="258" y="31"/>
                  </a:lnTo>
                  <a:lnTo>
                    <a:pt x="258" y="30"/>
                  </a:lnTo>
                  <a:lnTo>
                    <a:pt x="258" y="28"/>
                  </a:lnTo>
                  <a:lnTo>
                    <a:pt x="258" y="26"/>
                  </a:lnTo>
                  <a:lnTo>
                    <a:pt x="257" y="25"/>
                  </a:lnTo>
                  <a:lnTo>
                    <a:pt x="252" y="25"/>
                  </a:lnTo>
                  <a:lnTo>
                    <a:pt x="250" y="25"/>
                  </a:lnTo>
                  <a:lnTo>
                    <a:pt x="249" y="26"/>
                  </a:lnTo>
                  <a:lnTo>
                    <a:pt x="247" y="28"/>
                  </a:lnTo>
                  <a:lnTo>
                    <a:pt x="245" y="28"/>
                  </a:lnTo>
                  <a:lnTo>
                    <a:pt x="244" y="30"/>
                  </a:lnTo>
                  <a:lnTo>
                    <a:pt x="242" y="30"/>
                  </a:lnTo>
                  <a:lnTo>
                    <a:pt x="239" y="28"/>
                  </a:lnTo>
                  <a:lnTo>
                    <a:pt x="239" y="26"/>
                  </a:lnTo>
                  <a:lnTo>
                    <a:pt x="237" y="25"/>
                  </a:lnTo>
                  <a:lnTo>
                    <a:pt x="236" y="25"/>
                  </a:lnTo>
                  <a:lnTo>
                    <a:pt x="236" y="26"/>
                  </a:lnTo>
                  <a:lnTo>
                    <a:pt x="236" y="25"/>
                  </a:lnTo>
                  <a:lnTo>
                    <a:pt x="234" y="25"/>
                  </a:lnTo>
                  <a:lnTo>
                    <a:pt x="234" y="26"/>
                  </a:lnTo>
                  <a:lnTo>
                    <a:pt x="232" y="26"/>
                  </a:lnTo>
                  <a:lnTo>
                    <a:pt x="234" y="28"/>
                  </a:lnTo>
                  <a:lnTo>
                    <a:pt x="232" y="28"/>
                  </a:lnTo>
                  <a:lnTo>
                    <a:pt x="234" y="28"/>
                  </a:lnTo>
                  <a:lnTo>
                    <a:pt x="236" y="28"/>
                  </a:lnTo>
                  <a:lnTo>
                    <a:pt x="234" y="28"/>
                  </a:lnTo>
                  <a:lnTo>
                    <a:pt x="232" y="30"/>
                  </a:lnTo>
                  <a:lnTo>
                    <a:pt x="232" y="31"/>
                  </a:lnTo>
                  <a:lnTo>
                    <a:pt x="232" y="33"/>
                  </a:lnTo>
                  <a:lnTo>
                    <a:pt x="232" y="34"/>
                  </a:lnTo>
                  <a:lnTo>
                    <a:pt x="232" y="36"/>
                  </a:lnTo>
                  <a:lnTo>
                    <a:pt x="232" y="38"/>
                  </a:lnTo>
                  <a:lnTo>
                    <a:pt x="232" y="39"/>
                  </a:lnTo>
                  <a:lnTo>
                    <a:pt x="232" y="41"/>
                  </a:lnTo>
                  <a:lnTo>
                    <a:pt x="232" y="43"/>
                  </a:lnTo>
                  <a:lnTo>
                    <a:pt x="232" y="44"/>
                  </a:lnTo>
                  <a:lnTo>
                    <a:pt x="231" y="44"/>
                  </a:lnTo>
                  <a:lnTo>
                    <a:pt x="231" y="43"/>
                  </a:lnTo>
                  <a:lnTo>
                    <a:pt x="232" y="31"/>
                  </a:lnTo>
                  <a:lnTo>
                    <a:pt x="232" y="30"/>
                  </a:lnTo>
                  <a:lnTo>
                    <a:pt x="232" y="25"/>
                  </a:lnTo>
                  <a:lnTo>
                    <a:pt x="232" y="23"/>
                  </a:lnTo>
                  <a:lnTo>
                    <a:pt x="232" y="20"/>
                  </a:lnTo>
                  <a:lnTo>
                    <a:pt x="234" y="17"/>
                  </a:lnTo>
                  <a:lnTo>
                    <a:pt x="236" y="15"/>
                  </a:lnTo>
                  <a:lnTo>
                    <a:pt x="236" y="13"/>
                  </a:lnTo>
                  <a:lnTo>
                    <a:pt x="237" y="10"/>
                  </a:lnTo>
                  <a:lnTo>
                    <a:pt x="239" y="8"/>
                  </a:lnTo>
                  <a:lnTo>
                    <a:pt x="239" y="5"/>
                  </a:lnTo>
                  <a:lnTo>
                    <a:pt x="240" y="2"/>
                  </a:lnTo>
                  <a:lnTo>
                    <a:pt x="242" y="0"/>
                  </a:lnTo>
                  <a:close/>
                  <a:moveTo>
                    <a:pt x="652" y="49"/>
                  </a:moveTo>
                  <a:lnTo>
                    <a:pt x="654" y="49"/>
                  </a:lnTo>
                  <a:lnTo>
                    <a:pt x="655" y="47"/>
                  </a:lnTo>
                  <a:lnTo>
                    <a:pt x="657" y="49"/>
                  </a:lnTo>
                  <a:lnTo>
                    <a:pt x="658" y="47"/>
                  </a:lnTo>
                  <a:lnTo>
                    <a:pt x="660" y="49"/>
                  </a:lnTo>
                  <a:lnTo>
                    <a:pt x="658" y="49"/>
                  </a:lnTo>
                  <a:lnTo>
                    <a:pt x="658" y="51"/>
                  </a:lnTo>
                  <a:lnTo>
                    <a:pt x="658" y="52"/>
                  </a:lnTo>
                  <a:lnTo>
                    <a:pt x="657" y="52"/>
                  </a:lnTo>
                  <a:lnTo>
                    <a:pt x="655" y="52"/>
                  </a:lnTo>
                  <a:lnTo>
                    <a:pt x="655" y="56"/>
                  </a:lnTo>
                  <a:lnTo>
                    <a:pt x="655" y="59"/>
                  </a:lnTo>
                  <a:lnTo>
                    <a:pt x="657" y="60"/>
                  </a:lnTo>
                  <a:lnTo>
                    <a:pt x="657" y="62"/>
                  </a:lnTo>
                  <a:lnTo>
                    <a:pt x="658" y="62"/>
                  </a:lnTo>
                  <a:lnTo>
                    <a:pt x="660" y="64"/>
                  </a:lnTo>
                  <a:lnTo>
                    <a:pt x="662" y="64"/>
                  </a:lnTo>
                  <a:lnTo>
                    <a:pt x="663" y="64"/>
                  </a:lnTo>
                  <a:lnTo>
                    <a:pt x="665" y="64"/>
                  </a:lnTo>
                  <a:lnTo>
                    <a:pt x="667" y="64"/>
                  </a:lnTo>
                  <a:lnTo>
                    <a:pt x="670" y="62"/>
                  </a:lnTo>
                  <a:lnTo>
                    <a:pt x="673" y="62"/>
                  </a:lnTo>
                  <a:lnTo>
                    <a:pt x="675" y="62"/>
                  </a:lnTo>
                  <a:lnTo>
                    <a:pt x="676" y="60"/>
                  </a:lnTo>
                  <a:lnTo>
                    <a:pt x="676" y="62"/>
                  </a:lnTo>
                  <a:lnTo>
                    <a:pt x="678" y="62"/>
                  </a:lnTo>
                  <a:lnTo>
                    <a:pt x="680" y="62"/>
                  </a:lnTo>
                  <a:lnTo>
                    <a:pt x="681" y="64"/>
                  </a:lnTo>
                  <a:lnTo>
                    <a:pt x="680" y="65"/>
                  </a:lnTo>
                  <a:lnTo>
                    <a:pt x="681" y="67"/>
                  </a:lnTo>
                  <a:lnTo>
                    <a:pt x="681" y="69"/>
                  </a:lnTo>
                  <a:lnTo>
                    <a:pt x="680" y="70"/>
                  </a:lnTo>
                  <a:lnTo>
                    <a:pt x="678" y="72"/>
                  </a:lnTo>
                  <a:lnTo>
                    <a:pt x="676" y="72"/>
                  </a:lnTo>
                  <a:lnTo>
                    <a:pt x="676" y="73"/>
                  </a:lnTo>
                  <a:lnTo>
                    <a:pt x="675" y="73"/>
                  </a:lnTo>
                  <a:lnTo>
                    <a:pt x="675" y="75"/>
                  </a:lnTo>
                  <a:lnTo>
                    <a:pt x="673" y="75"/>
                  </a:lnTo>
                  <a:lnTo>
                    <a:pt x="673" y="77"/>
                  </a:lnTo>
                  <a:lnTo>
                    <a:pt x="671" y="78"/>
                  </a:lnTo>
                  <a:lnTo>
                    <a:pt x="673" y="80"/>
                  </a:lnTo>
                  <a:lnTo>
                    <a:pt x="673" y="82"/>
                  </a:lnTo>
                  <a:lnTo>
                    <a:pt x="673" y="83"/>
                  </a:lnTo>
                  <a:lnTo>
                    <a:pt x="675" y="85"/>
                  </a:lnTo>
                  <a:lnTo>
                    <a:pt x="675" y="86"/>
                  </a:lnTo>
                  <a:lnTo>
                    <a:pt x="676" y="86"/>
                  </a:lnTo>
                  <a:lnTo>
                    <a:pt x="676" y="88"/>
                  </a:lnTo>
                  <a:lnTo>
                    <a:pt x="678" y="88"/>
                  </a:lnTo>
                  <a:lnTo>
                    <a:pt x="680" y="88"/>
                  </a:lnTo>
                  <a:lnTo>
                    <a:pt x="680" y="86"/>
                  </a:lnTo>
                  <a:lnTo>
                    <a:pt x="681" y="88"/>
                  </a:lnTo>
                  <a:lnTo>
                    <a:pt x="684" y="90"/>
                  </a:lnTo>
                  <a:lnTo>
                    <a:pt x="684" y="91"/>
                  </a:lnTo>
                  <a:lnTo>
                    <a:pt x="686" y="93"/>
                  </a:lnTo>
                  <a:lnTo>
                    <a:pt x="688" y="95"/>
                  </a:lnTo>
                  <a:lnTo>
                    <a:pt x="689" y="96"/>
                  </a:lnTo>
                  <a:lnTo>
                    <a:pt x="688" y="96"/>
                  </a:lnTo>
                  <a:lnTo>
                    <a:pt x="686" y="98"/>
                  </a:lnTo>
                  <a:lnTo>
                    <a:pt x="686" y="99"/>
                  </a:lnTo>
                  <a:lnTo>
                    <a:pt x="686" y="103"/>
                  </a:lnTo>
                  <a:lnTo>
                    <a:pt x="686" y="104"/>
                  </a:lnTo>
                  <a:lnTo>
                    <a:pt x="686" y="106"/>
                  </a:lnTo>
                  <a:lnTo>
                    <a:pt x="684" y="106"/>
                  </a:lnTo>
                  <a:lnTo>
                    <a:pt x="684" y="104"/>
                  </a:lnTo>
                  <a:lnTo>
                    <a:pt x="683" y="104"/>
                  </a:lnTo>
                  <a:lnTo>
                    <a:pt x="684" y="104"/>
                  </a:lnTo>
                  <a:lnTo>
                    <a:pt x="684" y="103"/>
                  </a:lnTo>
                  <a:lnTo>
                    <a:pt x="683" y="103"/>
                  </a:lnTo>
                  <a:lnTo>
                    <a:pt x="681" y="103"/>
                  </a:lnTo>
                  <a:lnTo>
                    <a:pt x="681" y="104"/>
                  </a:lnTo>
                  <a:lnTo>
                    <a:pt x="680" y="103"/>
                  </a:lnTo>
                  <a:lnTo>
                    <a:pt x="681" y="101"/>
                  </a:lnTo>
                  <a:lnTo>
                    <a:pt x="683" y="101"/>
                  </a:lnTo>
                  <a:lnTo>
                    <a:pt x="683" y="99"/>
                  </a:lnTo>
                  <a:lnTo>
                    <a:pt x="683" y="101"/>
                  </a:lnTo>
                  <a:lnTo>
                    <a:pt x="683" y="99"/>
                  </a:lnTo>
                  <a:lnTo>
                    <a:pt x="684" y="99"/>
                  </a:lnTo>
                  <a:lnTo>
                    <a:pt x="684" y="98"/>
                  </a:lnTo>
                  <a:lnTo>
                    <a:pt x="683" y="98"/>
                  </a:lnTo>
                  <a:lnTo>
                    <a:pt x="681" y="98"/>
                  </a:lnTo>
                  <a:lnTo>
                    <a:pt x="680" y="98"/>
                  </a:lnTo>
                  <a:lnTo>
                    <a:pt x="678" y="99"/>
                  </a:lnTo>
                  <a:lnTo>
                    <a:pt x="676" y="99"/>
                  </a:lnTo>
                  <a:lnTo>
                    <a:pt x="680" y="98"/>
                  </a:lnTo>
                  <a:lnTo>
                    <a:pt x="681" y="98"/>
                  </a:lnTo>
                  <a:lnTo>
                    <a:pt x="681" y="96"/>
                  </a:lnTo>
                  <a:lnTo>
                    <a:pt x="683" y="96"/>
                  </a:lnTo>
                  <a:lnTo>
                    <a:pt x="683" y="95"/>
                  </a:lnTo>
                  <a:lnTo>
                    <a:pt x="681" y="95"/>
                  </a:lnTo>
                  <a:lnTo>
                    <a:pt x="680" y="95"/>
                  </a:lnTo>
                  <a:lnTo>
                    <a:pt x="678" y="96"/>
                  </a:lnTo>
                  <a:lnTo>
                    <a:pt x="680" y="96"/>
                  </a:lnTo>
                  <a:lnTo>
                    <a:pt x="678" y="96"/>
                  </a:lnTo>
                  <a:lnTo>
                    <a:pt x="678" y="98"/>
                  </a:lnTo>
                  <a:lnTo>
                    <a:pt x="676" y="98"/>
                  </a:lnTo>
                  <a:lnTo>
                    <a:pt x="676" y="96"/>
                  </a:lnTo>
                  <a:lnTo>
                    <a:pt x="675" y="96"/>
                  </a:lnTo>
                  <a:lnTo>
                    <a:pt x="675" y="95"/>
                  </a:lnTo>
                  <a:lnTo>
                    <a:pt x="673" y="95"/>
                  </a:lnTo>
                  <a:lnTo>
                    <a:pt x="673" y="96"/>
                  </a:lnTo>
                  <a:lnTo>
                    <a:pt x="671" y="96"/>
                  </a:lnTo>
                  <a:lnTo>
                    <a:pt x="670" y="96"/>
                  </a:lnTo>
                  <a:lnTo>
                    <a:pt x="668" y="96"/>
                  </a:lnTo>
                  <a:lnTo>
                    <a:pt x="667" y="96"/>
                  </a:lnTo>
                  <a:lnTo>
                    <a:pt x="667" y="98"/>
                  </a:lnTo>
                  <a:lnTo>
                    <a:pt x="665" y="98"/>
                  </a:lnTo>
                  <a:lnTo>
                    <a:pt x="663" y="98"/>
                  </a:lnTo>
                  <a:lnTo>
                    <a:pt x="663" y="99"/>
                  </a:lnTo>
                  <a:lnTo>
                    <a:pt x="663" y="98"/>
                  </a:lnTo>
                  <a:lnTo>
                    <a:pt x="665" y="99"/>
                  </a:lnTo>
                  <a:lnTo>
                    <a:pt x="663" y="101"/>
                  </a:lnTo>
                  <a:lnTo>
                    <a:pt x="662" y="101"/>
                  </a:lnTo>
                  <a:lnTo>
                    <a:pt x="662" y="103"/>
                  </a:lnTo>
                  <a:lnTo>
                    <a:pt x="660" y="103"/>
                  </a:lnTo>
                  <a:lnTo>
                    <a:pt x="660" y="104"/>
                  </a:lnTo>
                  <a:lnTo>
                    <a:pt x="658" y="106"/>
                  </a:lnTo>
                  <a:lnTo>
                    <a:pt x="658" y="108"/>
                  </a:lnTo>
                  <a:lnTo>
                    <a:pt x="658" y="106"/>
                  </a:lnTo>
                  <a:lnTo>
                    <a:pt x="657" y="106"/>
                  </a:lnTo>
                  <a:lnTo>
                    <a:pt x="657" y="108"/>
                  </a:lnTo>
                  <a:lnTo>
                    <a:pt x="655" y="108"/>
                  </a:lnTo>
                  <a:lnTo>
                    <a:pt x="655" y="109"/>
                  </a:lnTo>
                  <a:lnTo>
                    <a:pt x="655" y="111"/>
                  </a:lnTo>
                  <a:lnTo>
                    <a:pt x="657" y="111"/>
                  </a:lnTo>
                  <a:lnTo>
                    <a:pt x="657" y="109"/>
                  </a:lnTo>
                  <a:lnTo>
                    <a:pt x="655" y="109"/>
                  </a:lnTo>
                  <a:lnTo>
                    <a:pt x="657" y="109"/>
                  </a:lnTo>
                  <a:lnTo>
                    <a:pt x="657" y="108"/>
                  </a:lnTo>
                  <a:lnTo>
                    <a:pt x="657" y="109"/>
                  </a:lnTo>
                  <a:lnTo>
                    <a:pt x="658" y="109"/>
                  </a:lnTo>
                  <a:lnTo>
                    <a:pt x="658" y="108"/>
                  </a:lnTo>
                  <a:lnTo>
                    <a:pt x="660" y="108"/>
                  </a:lnTo>
                  <a:lnTo>
                    <a:pt x="660" y="109"/>
                  </a:lnTo>
                  <a:lnTo>
                    <a:pt x="662" y="111"/>
                  </a:lnTo>
                  <a:lnTo>
                    <a:pt x="662" y="112"/>
                  </a:lnTo>
                  <a:lnTo>
                    <a:pt x="660" y="112"/>
                  </a:lnTo>
                  <a:lnTo>
                    <a:pt x="660" y="114"/>
                  </a:lnTo>
                  <a:lnTo>
                    <a:pt x="658" y="114"/>
                  </a:lnTo>
                  <a:lnTo>
                    <a:pt x="655" y="112"/>
                  </a:lnTo>
                  <a:lnTo>
                    <a:pt x="654" y="112"/>
                  </a:lnTo>
                  <a:lnTo>
                    <a:pt x="652" y="112"/>
                  </a:lnTo>
                  <a:lnTo>
                    <a:pt x="652" y="111"/>
                  </a:lnTo>
                  <a:lnTo>
                    <a:pt x="650" y="111"/>
                  </a:lnTo>
                  <a:lnTo>
                    <a:pt x="650" y="109"/>
                  </a:lnTo>
                  <a:lnTo>
                    <a:pt x="650" y="111"/>
                  </a:lnTo>
                  <a:lnTo>
                    <a:pt x="652" y="111"/>
                  </a:lnTo>
                  <a:lnTo>
                    <a:pt x="654" y="111"/>
                  </a:lnTo>
                  <a:lnTo>
                    <a:pt x="654" y="109"/>
                  </a:lnTo>
                  <a:lnTo>
                    <a:pt x="654" y="108"/>
                  </a:lnTo>
                  <a:lnTo>
                    <a:pt x="654" y="106"/>
                  </a:lnTo>
                  <a:lnTo>
                    <a:pt x="654" y="108"/>
                  </a:lnTo>
                  <a:lnTo>
                    <a:pt x="652" y="108"/>
                  </a:lnTo>
                  <a:lnTo>
                    <a:pt x="652" y="109"/>
                  </a:lnTo>
                  <a:lnTo>
                    <a:pt x="650" y="109"/>
                  </a:lnTo>
                  <a:lnTo>
                    <a:pt x="649" y="109"/>
                  </a:lnTo>
                  <a:lnTo>
                    <a:pt x="649" y="111"/>
                  </a:lnTo>
                  <a:lnTo>
                    <a:pt x="649" y="109"/>
                  </a:lnTo>
                  <a:lnTo>
                    <a:pt x="647" y="109"/>
                  </a:lnTo>
                  <a:lnTo>
                    <a:pt x="645" y="108"/>
                  </a:lnTo>
                  <a:lnTo>
                    <a:pt x="644" y="108"/>
                  </a:lnTo>
                  <a:lnTo>
                    <a:pt x="644" y="106"/>
                  </a:lnTo>
                  <a:lnTo>
                    <a:pt x="644" y="108"/>
                  </a:lnTo>
                  <a:lnTo>
                    <a:pt x="642" y="108"/>
                  </a:lnTo>
                  <a:lnTo>
                    <a:pt x="642" y="106"/>
                  </a:lnTo>
                  <a:lnTo>
                    <a:pt x="642" y="104"/>
                  </a:lnTo>
                  <a:lnTo>
                    <a:pt x="641" y="104"/>
                  </a:lnTo>
                  <a:lnTo>
                    <a:pt x="641" y="106"/>
                  </a:lnTo>
                  <a:lnTo>
                    <a:pt x="639" y="106"/>
                  </a:lnTo>
                  <a:lnTo>
                    <a:pt x="637" y="106"/>
                  </a:lnTo>
                  <a:lnTo>
                    <a:pt x="637" y="104"/>
                  </a:lnTo>
                  <a:lnTo>
                    <a:pt x="639" y="104"/>
                  </a:lnTo>
                  <a:lnTo>
                    <a:pt x="639" y="103"/>
                  </a:lnTo>
                  <a:lnTo>
                    <a:pt x="639" y="104"/>
                  </a:lnTo>
                  <a:lnTo>
                    <a:pt x="641" y="104"/>
                  </a:lnTo>
                  <a:lnTo>
                    <a:pt x="639" y="103"/>
                  </a:lnTo>
                  <a:lnTo>
                    <a:pt x="637" y="103"/>
                  </a:lnTo>
                  <a:lnTo>
                    <a:pt x="637" y="101"/>
                  </a:lnTo>
                  <a:lnTo>
                    <a:pt x="636" y="99"/>
                  </a:lnTo>
                  <a:lnTo>
                    <a:pt x="634" y="99"/>
                  </a:lnTo>
                  <a:lnTo>
                    <a:pt x="634" y="98"/>
                  </a:lnTo>
                  <a:lnTo>
                    <a:pt x="636" y="96"/>
                  </a:lnTo>
                  <a:lnTo>
                    <a:pt x="636" y="95"/>
                  </a:lnTo>
                  <a:lnTo>
                    <a:pt x="636" y="93"/>
                  </a:lnTo>
                  <a:lnTo>
                    <a:pt x="637" y="93"/>
                  </a:lnTo>
                  <a:lnTo>
                    <a:pt x="639" y="93"/>
                  </a:lnTo>
                  <a:lnTo>
                    <a:pt x="641" y="93"/>
                  </a:lnTo>
                  <a:lnTo>
                    <a:pt x="642" y="93"/>
                  </a:lnTo>
                  <a:lnTo>
                    <a:pt x="644" y="93"/>
                  </a:lnTo>
                  <a:lnTo>
                    <a:pt x="644" y="95"/>
                  </a:lnTo>
                  <a:lnTo>
                    <a:pt x="644" y="93"/>
                  </a:lnTo>
                  <a:lnTo>
                    <a:pt x="645" y="93"/>
                  </a:lnTo>
                  <a:lnTo>
                    <a:pt x="647" y="91"/>
                  </a:lnTo>
                  <a:lnTo>
                    <a:pt x="645" y="91"/>
                  </a:lnTo>
                  <a:lnTo>
                    <a:pt x="644" y="90"/>
                  </a:lnTo>
                  <a:lnTo>
                    <a:pt x="644" y="88"/>
                  </a:lnTo>
                  <a:lnTo>
                    <a:pt x="645" y="88"/>
                  </a:lnTo>
                  <a:lnTo>
                    <a:pt x="644" y="88"/>
                  </a:lnTo>
                  <a:lnTo>
                    <a:pt x="642" y="86"/>
                  </a:lnTo>
                  <a:lnTo>
                    <a:pt x="642" y="85"/>
                  </a:lnTo>
                  <a:lnTo>
                    <a:pt x="642" y="86"/>
                  </a:lnTo>
                  <a:lnTo>
                    <a:pt x="641" y="86"/>
                  </a:lnTo>
                  <a:lnTo>
                    <a:pt x="639" y="86"/>
                  </a:lnTo>
                  <a:lnTo>
                    <a:pt x="637" y="86"/>
                  </a:lnTo>
                  <a:lnTo>
                    <a:pt x="637" y="85"/>
                  </a:lnTo>
                  <a:lnTo>
                    <a:pt x="639" y="82"/>
                  </a:lnTo>
                  <a:lnTo>
                    <a:pt x="641" y="82"/>
                  </a:lnTo>
                  <a:lnTo>
                    <a:pt x="641" y="83"/>
                  </a:lnTo>
                  <a:lnTo>
                    <a:pt x="642" y="82"/>
                  </a:lnTo>
                  <a:lnTo>
                    <a:pt x="642" y="80"/>
                  </a:lnTo>
                  <a:lnTo>
                    <a:pt x="642" y="82"/>
                  </a:lnTo>
                  <a:lnTo>
                    <a:pt x="644" y="80"/>
                  </a:lnTo>
                  <a:lnTo>
                    <a:pt x="645" y="78"/>
                  </a:lnTo>
                  <a:lnTo>
                    <a:pt x="647" y="78"/>
                  </a:lnTo>
                  <a:lnTo>
                    <a:pt x="645" y="78"/>
                  </a:lnTo>
                  <a:lnTo>
                    <a:pt x="645" y="77"/>
                  </a:lnTo>
                  <a:lnTo>
                    <a:pt x="644" y="77"/>
                  </a:lnTo>
                  <a:lnTo>
                    <a:pt x="644" y="75"/>
                  </a:lnTo>
                  <a:lnTo>
                    <a:pt x="644" y="73"/>
                  </a:lnTo>
                  <a:lnTo>
                    <a:pt x="642" y="73"/>
                  </a:lnTo>
                  <a:lnTo>
                    <a:pt x="641" y="75"/>
                  </a:lnTo>
                  <a:lnTo>
                    <a:pt x="639" y="75"/>
                  </a:lnTo>
                  <a:lnTo>
                    <a:pt x="639" y="73"/>
                  </a:lnTo>
                  <a:lnTo>
                    <a:pt x="639" y="75"/>
                  </a:lnTo>
                  <a:lnTo>
                    <a:pt x="637" y="75"/>
                  </a:lnTo>
                  <a:lnTo>
                    <a:pt x="637" y="73"/>
                  </a:lnTo>
                  <a:lnTo>
                    <a:pt x="637" y="72"/>
                  </a:lnTo>
                  <a:lnTo>
                    <a:pt x="637" y="70"/>
                  </a:lnTo>
                  <a:lnTo>
                    <a:pt x="636" y="69"/>
                  </a:lnTo>
                  <a:lnTo>
                    <a:pt x="636" y="70"/>
                  </a:lnTo>
                  <a:lnTo>
                    <a:pt x="636" y="69"/>
                  </a:lnTo>
                  <a:lnTo>
                    <a:pt x="637" y="69"/>
                  </a:lnTo>
                  <a:lnTo>
                    <a:pt x="639" y="69"/>
                  </a:lnTo>
                  <a:lnTo>
                    <a:pt x="642" y="69"/>
                  </a:lnTo>
                  <a:lnTo>
                    <a:pt x="644" y="67"/>
                  </a:lnTo>
                  <a:lnTo>
                    <a:pt x="645" y="67"/>
                  </a:lnTo>
                  <a:lnTo>
                    <a:pt x="645" y="69"/>
                  </a:lnTo>
                  <a:lnTo>
                    <a:pt x="647" y="69"/>
                  </a:lnTo>
                  <a:lnTo>
                    <a:pt x="649" y="69"/>
                  </a:lnTo>
                  <a:lnTo>
                    <a:pt x="649" y="70"/>
                  </a:lnTo>
                  <a:lnTo>
                    <a:pt x="649" y="72"/>
                  </a:lnTo>
                  <a:lnTo>
                    <a:pt x="649" y="73"/>
                  </a:lnTo>
                  <a:lnTo>
                    <a:pt x="650" y="73"/>
                  </a:lnTo>
                  <a:lnTo>
                    <a:pt x="650" y="72"/>
                  </a:lnTo>
                  <a:lnTo>
                    <a:pt x="649" y="70"/>
                  </a:lnTo>
                  <a:lnTo>
                    <a:pt x="650" y="69"/>
                  </a:lnTo>
                  <a:lnTo>
                    <a:pt x="649" y="69"/>
                  </a:lnTo>
                  <a:lnTo>
                    <a:pt x="649" y="67"/>
                  </a:lnTo>
                  <a:lnTo>
                    <a:pt x="650" y="65"/>
                  </a:lnTo>
                  <a:lnTo>
                    <a:pt x="652" y="65"/>
                  </a:lnTo>
                  <a:lnTo>
                    <a:pt x="652" y="64"/>
                  </a:lnTo>
                  <a:lnTo>
                    <a:pt x="654" y="64"/>
                  </a:lnTo>
                  <a:lnTo>
                    <a:pt x="655" y="64"/>
                  </a:lnTo>
                  <a:lnTo>
                    <a:pt x="654" y="64"/>
                  </a:lnTo>
                  <a:lnTo>
                    <a:pt x="654" y="65"/>
                  </a:lnTo>
                  <a:lnTo>
                    <a:pt x="654" y="67"/>
                  </a:lnTo>
                  <a:lnTo>
                    <a:pt x="652" y="67"/>
                  </a:lnTo>
                  <a:lnTo>
                    <a:pt x="654" y="69"/>
                  </a:lnTo>
                  <a:lnTo>
                    <a:pt x="654" y="67"/>
                  </a:lnTo>
                  <a:lnTo>
                    <a:pt x="655" y="65"/>
                  </a:lnTo>
                  <a:lnTo>
                    <a:pt x="655" y="67"/>
                  </a:lnTo>
                  <a:lnTo>
                    <a:pt x="657" y="69"/>
                  </a:lnTo>
                  <a:lnTo>
                    <a:pt x="658" y="70"/>
                  </a:lnTo>
                  <a:lnTo>
                    <a:pt x="658" y="72"/>
                  </a:lnTo>
                  <a:lnTo>
                    <a:pt x="658" y="73"/>
                  </a:lnTo>
                  <a:lnTo>
                    <a:pt x="658" y="75"/>
                  </a:lnTo>
                  <a:lnTo>
                    <a:pt x="660" y="75"/>
                  </a:lnTo>
                  <a:lnTo>
                    <a:pt x="662" y="77"/>
                  </a:lnTo>
                  <a:lnTo>
                    <a:pt x="662" y="78"/>
                  </a:lnTo>
                  <a:lnTo>
                    <a:pt x="662" y="77"/>
                  </a:lnTo>
                  <a:lnTo>
                    <a:pt x="665" y="77"/>
                  </a:lnTo>
                  <a:lnTo>
                    <a:pt x="667" y="77"/>
                  </a:lnTo>
                  <a:lnTo>
                    <a:pt x="667" y="75"/>
                  </a:lnTo>
                  <a:lnTo>
                    <a:pt x="667" y="73"/>
                  </a:lnTo>
                  <a:lnTo>
                    <a:pt x="667" y="72"/>
                  </a:lnTo>
                  <a:lnTo>
                    <a:pt x="667" y="70"/>
                  </a:lnTo>
                  <a:lnTo>
                    <a:pt x="667" y="69"/>
                  </a:lnTo>
                  <a:lnTo>
                    <a:pt x="665" y="67"/>
                  </a:lnTo>
                  <a:lnTo>
                    <a:pt x="662" y="67"/>
                  </a:lnTo>
                  <a:lnTo>
                    <a:pt x="660" y="65"/>
                  </a:lnTo>
                  <a:lnTo>
                    <a:pt x="660" y="64"/>
                  </a:lnTo>
                  <a:lnTo>
                    <a:pt x="658" y="64"/>
                  </a:lnTo>
                  <a:lnTo>
                    <a:pt x="657" y="64"/>
                  </a:lnTo>
                  <a:lnTo>
                    <a:pt x="655" y="62"/>
                  </a:lnTo>
                  <a:lnTo>
                    <a:pt x="655" y="60"/>
                  </a:lnTo>
                  <a:lnTo>
                    <a:pt x="655" y="59"/>
                  </a:lnTo>
                  <a:lnTo>
                    <a:pt x="654" y="59"/>
                  </a:lnTo>
                  <a:lnTo>
                    <a:pt x="652" y="60"/>
                  </a:lnTo>
                  <a:lnTo>
                    <a:pt x="650" y="60"/>
                  </a:lnTo>
                  <a:lnTo>
                    <a:pt x="652" y="62"/>
                  </a:lnTo>
                  <a:lnTo>
                    <a:pt x="650" y="64"/>
                  </a:lnTo>
                  <a:lnTo>
                    <a:pt x="649" y="64"/>
                  </a:lnTo>
                  <a:lnTo>
                    <a:pt x="647" y="65"/>
                  </a:lnTo>
                  <a:lnTo>
                    <a:pt x="645" y="65"/>
                  </a:lnTo>
                  <a:lnTo>
                    <a:pt x="644" y="67"/>
                  </a:lnTo>
                  <a:lnTo>
                    <a:pt x="644" y="65"/>
                  </a:lnTo>
                  <a:lnTo>
                    <a:pt x="645" y="62"/>
                  </a:lnTo>
                  <a:lnTo>
                    <a:pt x="645" y="60"/>
                  </a:lnTo>
                  <a:lnTo>
                    <a:pt x="647" y="59"/>
                  </a:lnTo>
                  <a:lnTo>
                    <a:pt x="647" y="57"/>
                  </a:lnTo>
                  <a:lnTo>
                    <a:pt x="647" y="56"/>
                  </a:lnTo>
                  <a:lnTo>
                    <a:pt x="647" y="54"/>
                  </a:lnTo>
                  <a:lnTo>
                    <a:pt x="645" y="54"/>
                  </a:lnTo>
                  <a:lnTo>
                    <a:pt x="644" y="56"/>
                  </a:lnTo>
                  <a:lnTo>
                    <a:pt x="642" y="57"/>
                  </a:lnTo>
                  <a:lnTo>
                    <a:pt x="642" y="59"/>
                  </a:lnTo>
                  <a:lnTo>
                    <a:pt x="644" y="60"/>
                  </a:lnTo>
                  <a:lnTo>
                    <a:pt x="642" y="62"/>
                  </a:lnTo>
                  <a:lnTo>
                    <a:pt x="641" y="64"/>
                  </a:lnTo>
                  <a:lnTo>
                    <a:pt x="641" y="65"/>
                  </a:lnTo>
                  <a:lnTo>
                    <a:pt x="639" y="65"/>
                  </a:lnTo>
                  <a:lnTo>
                    <a:pt x="639" y="67"/>
                  </a:lnTo>
                  <a:lnTo>
                    <a:pt x="637" y="67"/>
                  </a:lnTo>
                  <a:lnTo>
                    <a:pt x="637" y="65"/>
                  </a:lnTo>
                  <a:lnTo>
                    <a:pt x="641" y="64"/>
                  </a:lnTo>
                  <a:lnTo>
                    <a:pt x="641" y="62"/>
                  </a:lnTo>
                  <a:lnTo>
                    <a:pt x="642" y="60"/>
                  </a:lnTo>
                  <a:lnTo>
                    <a:pt x="642" y="59"/>
                  </a:lnTo>
                  <a:lnTo>
                    <a:pt x="642" y="57"/>
                  </a:lnTo>
                  <a:lnTo>
                    <a:pt x="642" y="56"/>
                  </a:lnTo>
                  <a:lnTo>
                    <a:pt x="642" y="54"/>
                  </a:lnTo>
                  <a:lnTo>
                    <a:pt x="644" y="52"/>
                  </a:lnTo>
                  <a:lnTo>
                    <a:pt x="645" y="51"/>
                  </a:lnTo>
                  <a:lnTo>
                    <a:pt x="647" y="51"/>
                  </a:lnTo>
                  <a:lnTo>
                    <a:pt x="650" y="49"/>
                  </a:lnTo>
                  <a:lnTo>
                    <a:pt x="652" y="49"/>
                  </a:lnTo>
                  <a:close/>
                  <a:moveTo>
                    <a:pt x="471" y="77"/>
                  </a:moveTo>
                  <a:lnTo>
                    <a:pt x="473" y="78"/>
                  </a:lnTo>
                  <a:lnTo>
                    <a:pt x="475" y="80"/>
                  </a:lnTo>
                  <a:lnTo>
                    <a:pt x="476" y="80"/>
                  </a:lnTo>
                  <a:lnTo>
                    <a:pt x="476" y="78"/>
                  </a:lnTo>
                  <a:lnTo>
                    <a:pt x="476" y="80"/>
                  </a:lnTo>
                  <a:lnTo>
                    <a:pt x="478" y="82"/>
                  </a:lnTo>
                  <a:lnTo>
                    <a:pt x="478" y="83"/>
                  </a:lnTo>
                  <a:lnTo>
                    <a:pt x="478" y="85"/>
                  </a:lnTo>
                  <a:lnTo>
                    <a:pt x="480" y="85"/>
                  </a:lnTo>
                  <a:lnTo>
                    <a:pt x="480" y="86"/>
                  </a:lnTo>
                  <a:lnTo>
                    <a:pt x="481" y="86"/>
                  </a:lnTo>
                  <a:lnTo>
                    <a:pt x="481" y="88"/>
                  </a:lnTo>
                  <a:lnTo>
                    <a:pt x="481" y="90"/>
                  </a:lnTo>
                  <a:lnTo>
                    <a:pt x="483" y="90"/>
                  </a:lnTo>
                  <a:lnTo>
                    <a:pt x="483" y="91"/>
                  </a:lnTo>
                  <a:lnTo>
                    <a:pt x="483" y="93"/>
                  </a:lnTo>
                  <a:lnTo>
                    <a:pt x="484" y="93"/>
                  </a:lnTo>
                  <a:lnTo>
                    <a:pt x="484" y="95"/>
                  </a:lnTo>
                  <a:lnTo>
                    <a:pt x="483" y="95"/>
                  </a:lnTo>
                  <a:lnTo>
                    <a:pt x="481" y="95"/>
                  </a:lnTo>
                  <a:lnTo>
                    <a:pt x="481" y="93"/>
                  </a:lnTo>
                  <a:lnTo>
                    <a:pt x="480" y="93"/>
                  </a:lnTo>
                  <a:lnTo>
                    <a:pt x="478" y="93"/>
                  </a:lnTo>
                  <a:lnTo>
                    <a:pt x="476" y="93"/>
                  </a:lnTo>
                  <a:lnTo>
                    <a:pt x="475" y="93"/>
                  </a:lnTo>
                  <a:lnTo>
                    <a:pt x="473" y="93"/>
                  </a:lnTo>
                  <a:lnTo>
                    <a:pt x="475" y="93"/>
                  </a:lnTo>
                  <a:lnTo>
                    <a:pt x="475" y="91"/>
                  </a:lnTo>
                  <a:lnTo>
                    <a:pt x="473" y="91"/>
                  </a:lnTo>
                  <a:lnTo>
                    <a:pt x="471" y="91"/>
                  </a:lnTo>
                  <a:lnTo>
                    <a:pt x="471" y="93"/>
                  </a:lnTo>
                  <a:lnTo>
                    <a:pt x="473" y="95"/>
                  </a:lnTo>
                  <a:lnTo>
                    <a:pt x="471" y="95"/>
                  </a:lnTo>
                  <a:lnTo>
                    <a:pt x="468" y="95"/>
                  </a:lnTo>
                  <a:lnTo>
                    <a:pt x="467" y="93"/>
                  </a:lnTo>
                  <a:lnTo>
                    <a:pt x="465" y="93"/>
                  </a:lnTo>
                  <a:lnTo>
                    <a:pt x="465" y="91"/>
                  </a:lnTo>
                  <a:lnTo>
                    <a:pt x="467" y="90"/>
                  </a:lnTo>
                  <a:lnTo>
                    <a:pt x="465" y="90"/>
                  </a:lnTo>
                  <a:lnTo>
                    <a:pt x="465" y="88"/>
                  </a:lnTo>
                  <a:lnTo>
                    <a:pt x="463" y="88"/>
                  </a:lnTo>
                  <a:lnTo>
                    <a:pt x="463" y="86"/>
                  </a:lnTo>
                  <a:lnTo>
                    <a:pt x="462" y="88"/>
                  </a:lnTo>
                  <a:lnTo>
                    <a:pt x="460" y="88"/>
                  </a:lnTo>
                  <a:lnTo>
                    <a:pt x="458" y="88"/>
                  </a:lnTo>
                  <a:lnTo>
                    <a:pt x="458" y="90"/>
                  </a:lnTo>
                  <a:lnTo>
                    <a:pt x="460" y="90"/>
                  </a:lnTo>
                  <a:lnTo>
                    <a:pt x="462" y="90"/>
                  </a:lnTo>
                  <a:lnTo>
                    <a:pt x="462" y="91"/>
                  </a:lnTo>
                  <a:lnTo>
                    <a:pt x="458" y="88"/>
                  </a:lnTo>
                  <a:lnTo>
                    <a:pt x="458" y="86"/>
                  </a:lnTo>
                  <a:lnTo>
                    <a:pt x="458" y="83"/>
                  </a:lnTo>
                  <a:lnTo>
                    <a:pt x="458" y="82"/>
                  </a:lnTo>
                  <a:lnTo>
                    <a:pt x="460" y="78"/>
                  </a:lnTo>
                  <a:lnTo>
                    <a:pt x="462" y="75"/>
                  </a:lnTo>
                  <a:lnTo>
                    <a:pt x="463" y="75"/>
                  </a:lnTo>
                  <a:lnTo>
                    <a:pt x="465" y="75"/>
                  </a:lnTo>
                  <a:lnTo>
                    <a:pt x="468" y="77"/>
                  </a:lnTo>
                  <a:lnTo>
                    <a:pt x="471" y="77"/>
                  </a:lnTo>
                  <a:close/>
                  <a:moveTo>
                    <a:pt x="250" y="43"/>
                  </a:moveTo>
                  <a:lnTo>
                    <a:pt x="252" y="43"/>
                  </a:lnTo>
                  <a:lnTo>
                    <a:pt x="253" y="43"/>
                  </a:lnTo>
                  <a:lnTo>
                    <a:pt x="255" y="44"/>
                  </a:lnTo>
                  <a:lnTo>
                    <a:pt x="257" y="44"/>
                  </a:lnTo>
                  <a:lnTo>
                    <a:pt x="257" y="46"/>
                  </a:lnTo>
                  <a:lnTo>
                    <a:pt x="255" y="47"/>
                  </a:lnTo>
                  <a:lnTo>
                    <a:pt x="257" y="47"/>
                  </a:lnTo>
                  <a:lnTo>
                    <a:pt x="257" y="49"/>
                  </a:lnTo>
                  <a:lnTo>
                    <a:pt x="255" y="51"/>
                  </a:lnTo>
                  <a:lnTo>
                    <a:pt x="255" y="52"/>
                  </a:lnTo>
                  <a:lnTo>
                    <a:pt x="255" y="54"/>
                  </a:lnTo>
                  <a:lnTo>
                    <a:pt x="253" y="54"/>
                  </a:lnTo>
                  <a:lnTo>
                    <a:pt x="252" y="54"/>
                  </a:lnTo>
                  <a:lnTo>
                    <a:pt x="250" y="54"/>
                  </a:lnTo>
                  <a:lnTo>
                    <a:pt x="249" y="54"/>
                  </a:lnTo>
                  <a:lnTo>
                    <a:pt x="247" y="54"/>
                  </a:lnTo>
                  <a:lnTo>
                    <a:pt x="245" y="54"/>
                  </a:lnTo>
                  <a:lnTo>
                    <a:pt x="245" y="52"/>
                  </a:lnTo>
                  <a:lnTo>
                    <a:pt x="244" y="52"/>
                  </a:lnTo>
                  <a:lnTo>
                    <a:pt x="242" y="51"/>
                  </a:lnTo>
                  <a:lnTo>
                    <a:pt x="240" y="51"/>
                  </a:lnTo>
                  <a:lnTo>
                    <a:pt x="240" y="49"/>
                  </a:lnTo>
                  <a:lnTo>
                    <a:pt x="240" y="47"/>
                  </a:lnTo>
                  <a:lnTo>
                    <a:pt x="242" y="46"/>
                  </a:lnTo>
                  <a:lnTo>
                    <a:pt x="242" y="44"/>
                  </a:lnTo>
                  <a:lnTo>
                    <a:pt x="244" y="44"/>
                  </a:lnTo>
                  <a:lnTo>
                    <a:pt x="245" y="44"/>
                  </a:lnTo>
                  <a:lnTo>
                    <a:pt x="247" y="44"/>
                  </a:lnTo>
                  <a:lnTo>
                    <a:pt x="249" y="44"/>
                  </a:lnTo>
                  <a:lnTo>
                    <a:pt x="250" y="43"/>
                  </a:lnTo>
                  <a:close/>
                  <a:moveTo>
                    <a:pt x="369" y="218"/>
                  </a:moveTo>
                  <a:lnTo>
                    <a:pt x="371" y="218"/>
                  </a:lnTo>
                  <a:lnTo>
                    <a:pt x="372" y="220"/>
                  </a:lnTo>
                  <a:lnTo>
                    <a:pt x="374" y="220"/>
                  </a:lnTo>
                  <a:lnTo>
                    <a:pt x="375" y="220"/>
                  </a:lnTo>
                  <a:lnTo>
                    <a:pt x="377" y="221"/>
                  </a:lnTo>
                  <a:lnTo>
                    <a:pt x="379" y="221"/>
                  </a:lnTo>
                  <a:lnTo>
                    <a:pt x="379" y="223"/>
                  </a:lnTo>
                  <a:lnTo>
                    <a:pt x="379" y="225"/>
                  </a:lnTo>
                  <a:lnTo>
                    <a:pt x="379" y="226"/>
                  </a:lnTo>
                  <a:lnTo>
                    <a:pt x="379" y="228"/>
                  </a:lnTo>
                  <a:lnTo>
                    <a:pt x="379" y="230"/>
                  </a:lnTo>
                  <a:lnTo>
                    <a:pt x="380" y="231"/>
                  </a:lnTo>
                  <a:lnTo>
                    <a:pt x="379" y="230"/>
                  </a:lnTo>
                  <a:lnTo>
                    <a:pt x="377" y="230"/>
                  </a:lnTo>
                  <a:lnTo>
                    <a:pt x="377" y="228"/>
                  </a:lnTo>
                  <a:lnTo>
                    <a:pt x="375" y="228"/>
                  </a:lnTo>
                  <a:lnTo>
                    <a:pt x="374" y="228"/>
                  </a:lnTo>
                  <a:lnTo>
                    <a:pt x="372" y="228"/>
                  </a:lnTo>
                  <a:lnTo>
                    <a:pt x="371" y="226"/>
                  </a:lnTo>
                  <a:lnTo>
                    <a:pt x="371" y="225"/>
                  </a:lnTo>
                  <a:lnTo>
                    <a:pt x="369" y="225"/>
                  </a:lnTo>
                  <a:lnTo>
                    <a:pt x="369" y="223"/>
                  </a:lnTo>
                  <a:lnTo>
                    <a:pt x="371" y="225"/>
                  </a:lnTo>
                  <a:lnTo>
                    <a:pt x="371" y="223"/>
                  </a:lnTo>
                  <a:lnTo>
                    <a:pt x="369" y="223"/>
                  </a:lnTo>
                  <a:lnTo>
                    <a:pt x="369" y="221"/>
                  </a:lnTo>
                  <a:lnTo>
                    <a:pt x="369" y="220"/>
                  </a:lnTo>
                  <a:lnTo>
                    <a:pt x="369" y="218"/>
                  </a:lnTo>
                  <a:lnTo>
                    <a:pt x="369" y="220"/>
                  </a:lnTo>
                  <a:lnTo>
                    <a:pt x="371" y="221"/>
                  </a:lnTo>
                  <a:lnTo>
                    <a:pt x="371" y="220"/>
                  </a:lnTo>
                  <a:lnTo>
                    <a:pt x="369" y="218"/>
                  </a:lnTo>
                  <a:close/>
                  <a:moveTo>
                    <a:pt x="265" y="73"/>
                  </a:moveTo>
                  <a:lnTo>
                    <a:pt x="265" y="75"/>
                  </a:lnTo>
                  <a:lnTo>
                    <a:pt x="266" y="75"/>
                  </a:lnTo>
                  <a:lnTo>
                    <a:pt x="265" y="77"/>
                  </a:lnTo>
                  <a:lnTo>
                    <a:pt x="265" y="78"/>
                  </a:lnTo>
                  <a:lnTo>
                    <a:pt x="263" y="80"/>
                  </a:lnTo>
                  <a:lnTo>
                    <a:pt x="262" y="82"/>
                  </a:lnTo>
                  <a:lnTo>
                    <a:pt x="258" y="82"/>
                  </a:lnTo>
                  <a:lnTo>
                    <a:pt x="257" y="80"/>
                  </a:lnTo>
                  <a:lnTo>
                    <a:pt x="257" y="78"/>
                  </a:lnTo>
                  <a:lnTo>
                    <a:pt x="255" y="77"/>
                  </a:lnTo>
                  <a:lnTo>
                    <a:pt x="255" y="75"/>
                  </a:lnTo>
                  <a:lnTo>
                    <a:pt x="257" y="75"/>
                  </a:lnTo>
                  <a:lnTo>
                    <a:pt x="258" y="75"/>
                  </a:lnTo>
                  <a:lnTo>
                    <a:pt x="260" y="73"/>
                  </a:lnTo>
                  <a:lnTo>
                    <a:pt x="262" y="73"/>
                  </a:lnTo>
                  <a:lnTo>
                    <a:pt x="263" y="73"/>
                  </a:lnTo>
                  <a:lnTo>
                    <a:pt x="263" y="72"/>
                  </a:lnTo>
                  <a:lnTo>
                    <a:pt x="265" y="72"/>
                  </a:lnTo>
                  <a:lnTo>
                    <a:pt x="266" y="72"/>
                  </a:lnTo>
                  <a:lnTo>
                    <a:pt x="266" y="73"/>
                  </a:lnTo>
                  <a:lnTo>
                    <a:pt x="265" y="73"/>
                  </a:lnTo>
                  <a:close/>
                  <a:moveTo>
                    <a:pt x="92" y="202"/>
                  </a:moveTo>
                  <a:lnTo>
                    <a:pt x="96" y="202"/>
                  </a:lnTo>
                  <a:lnTo>
                    <a:pt x="97" y="202"/>
                  </a:lnTo>
                  <a:lnTo>
                    <a:pt x="99" y="202"/>
                  </a:lnTo>
                  <a:lnTo>
                    <a:pt x="101" y="204"/>
                  </a:lnTo>
                  <a:lnTo>
                    <a:pt x="102" y="204"/>
                  </a:lnTo>
                  <a:lnTo>
                    <a:pt x="101" y="204"/>
                  </a:lnTo>
                  <a:lnTo>
                    <a:pt x="101" y="205"/>
                  </a:lnTo>
                  <a:lnTo>
                    <a:pt x="99" y="205"/>
                  </a:lnTo>
                  <a:lnTo>
                    <a:pt x="97" y="205"/>
                  </a:lnTo>
                  <a:lnTo>
                    <a:pt x="96" y="205"/>
                  </a:lnTo>
                  <a:lnTo>
                    <a:pt x="94" y="205"/>
                  </a:lnTo>
                  <a:lnTo>
                    <a:pt x="94" y="207"/>
                  </a:lnTo>
                  <a:lnTo>
                    <a:pt x="96" y="207"/>
                  </a:lnTo>
                  <a:lnTo>
                    <a:pt x="96" y="208"/>
                  </a:lnTo>
                  <a:lnTo>
                    <a:pt x="97" y="208"/>
                  </a:lnTo>
                  <a:lnTo>
                    <a:pt x="97" y="210"/>
                  </a:lnTo>
                  <a:lnTo>
                    <a:pt x="96" y="210"/>
                  </a:lnTo>
                  <a:lnTo>
                    <a:pt x="96" y="208"/>
                  </a:lnTo>
                  <a:lnTo>
                    <a:pt x="94" y="208"/>
                  </a:lnTo>
                  <a:lnTo>
                    <a:pt x="94" y="210"/>
                  </a:lnTo>
                  <a:lnTo>
                    <a:pt x="92" y="208"/>
                  </a:lnTo>
                  <a:lnTo>
                    <a:pt x="91" y="208"/>
                  </a:lnTo>
                  <a:lnTo>
                    <a:pt x="91" y="207"/>
                  </a:lnTo>
                  <a:lnTo>
                    <a:pt x="89" y="207"/>
                  </a:lnTo>
                  <a:lnTo>
                    <a:pt x="88" y="205"/>
                  </a:lnTo>
                  <a:lnTo>
                    <a:pt x="88" y="204"/>
                  </a:lnTo>
                  <a:lnTo>
                    <a:pt x="86" y="204"/>
                  </a:lnTo>
                  <a:lnTo>
                    <a:pt x="86" y="202"/>
                  </a:lnTo>
                  <a:lnTo>
                    <a:pt x="88" y="202"/>
                  </a:lnTo>
                  <a:lnTo>
                    <a:pt x="89" y="202"/>
                  </a:lnTo>
                  <a:lnTo>
                    <a:pt x="89" y="204"/>
                  </a:lnTo>
                  <a:lnTo>
                    <a:pt x="91" y="204"/>
                  </a:lnTo>
                  <a:lnTo>
                    <a:pt x="92" y="202"/>
                  </a:lnTo>
                  <a:close/>
                  <a:moveTo>
                    <a:pt x="239" y="60"/>
                  </a:moveTo>
                  <a:lnTo>
                    <a:pt x="240" y="60"/>
                  </a:lnTo>
                  <a:lnTo>
                    <a:pt x="240" y="62"/>
                  </a:lnTo>
                  <a:lnTo>
                    <a:pt x="239" y="62"/>
                  </a:lnTo>
                  <a:lnTo>
                    <a:pt x="240" y="62"/>
                  </a:lnTo>
                  <a:lnTo>
                    <a:pt x="240" y="64"/>
                  </a:lnTo>
                  <a:lnTo>
                    <a:pt x="239" y="64"/>
                  </a:lnTo>
                  <a:lnTo>
                    <a:pt x="237" y="64"/>
                  </a:lnTo>
                  <a:lnTo>
                    <a:pt x="237" y="62"/>
                  </a:lnTo>
                  <a:lnTo>
                    <a:pt x="236" y="60"/>
                  </a:lnTo>
                  <a:lnTo>
                    <a:pt x="232" y="57"/>
                  </a:lnTo>
                  <a:lnTo>
                    <a:pt x="232" y="56"/>
                  </a:lnTo>
                  <a:lnTo>
                    <a:pt x="232" y="54"/>
                  </a:lnTo>
                  <a:lnTo>
                    <a:pt x="234" y="52"/>
                  </a:lnTo>
                  <a:lnTo>
                    <a:pt x="236" y="51"/>
                  </a:lnTo>
                  <a:lnTo>
                    <a:pt x="236" y="49"/>
                  </a:lnTo>
                  <a:lnTo>
                    <a:pt x="237" y="49"/>
                  </a:lnTo>
                  <a:lnTo>
                    <a:pt x="237" y="51"/>
                  </a:lnTo>
                  <a:lnTo>
                    <a:pt x="236" y="51"/>
                  </a:lnTo>
                  <a:lnTo>
                    <a:pt x="236" y="52"/>
                  </a:lnTo>
                  <a:lnTo>
                    <a:pt x="237" y="54"/>
                  </a:lnTo>
                  <a:lnTo>
                    <a:pt x="237" y="56"/>
                  </a:lnTo>
                  <a:lnTo>
                    <a:pt x="237" y="57"/>
                  </a:lnTo>
                  <a:lnTo>
                    <a:pt x="237" y="59"/>
                  </a:lnTo>
                  <a:lnTo>
                    <a:pt x="239" y="59"/>
                  </a:lnTo>
                  <a:lnTo>
                    <a:pt x="239" y="60"/>
                  </a:lnTo>
                  <a:close/>
                  <a:moveTo>
                    <a:pt x="145" y="189"/>
                  </a:moveTo>
                  <a:lnTo>
                    <a:pt x="146" y="189"/>
                  </a:lnTo>
                  <a:lnTo>
                    <a:pt x="148" y="189"/>
                  </a:lnTo>
                  <a:lnTo>
                    <a:pt x="146" y="189"/>
                  </a:lnTo>
                  <a:lnTo>
                    <a:pt x="145" y="191"/>
                  </a:lnTo>
                  <a:lnTo>
                    <a:pt x="141" y="191"/>
                  </a:lnTo>
                  <a:lnTo>
                    <a:pt x="136" y="191"/>
                  </a:lnTo>
                  <a:lnTo>
                    <a:pt x="135" y="191"/>
                  </a:lnTo>
                  <a:lnTo>
                    <a:pt x="133" y="191"/>
                  </a:lnTo>
                  <a:lnTo>
                    <a:pt x="131" y="192"/>
                  </a:lnTo>
                  <a:lnTo>
                    <a:pt x="131" y="191"/>
                  </a:lnTo>
                  <a:lnTo>
                    <a:pt x="130" y="191"/>
                  </a:lnTo>
                  <a:lnTo>
                    <a:pt x="131" y="189"/>
                  </a:lnTo>
                  <a:lnTo>
                    <a:pt x="133" y="189"/>
                  </a:lnTo>
                  <a:lnTo>
                    <a:pt x="135" y="189"/>
                  </a:lnTo>
                  <a:lnTo>
                    <a:pt x="136" y="187"/>
                  </a:lnTo>
                  <a:lnTo>
                    <a:pt x="138" y="189"/>
                  </a:lnTo>
                  <a:lnTo>
                    <a:pt x="140" y="189"/>
                  </a:lnTo>
                  <a:lnTo>
                    <a:pt x="141" y="189"/>
                  </a:lnTo>
                  <a:lnTo>
                    <a:pt x="143" y="189"/>
                  </a:lnTo>
                  <a:lnTo>
                    <a:pt x="145" y="189"/>
                  </a:lnTo>
                  <a:close/>
                  <a:moveTo>
                    <a:pt x="637" y="77"/>
                  </a:moveTo>
                  <a:lnTo>
                    <a:pt x="639" y="77"/>
                  </a:lnTo>
                  <a:lnTo>
                    <a:pt x="641" y="77"/>
                  </a:lnTo>
                  <a:lnTo>
                    <a:pt x="642" y="77"/>
                  </a:lnTo>
                  <a:lnTo>
                    <a:pt x="644" y="77"/>
                  </a:lnTo>
                  <a:lnTo>
                    <a:pt x="642" y="77"/>
                  </a:lnTo>
                  <a:lnTo>
                    <a:pt x="644" y="78"/>
                  </a:lnTo>
                  <a:lnTo>
                    <a:pt x="642" y="80"/>
                  </a:lnTo>
                  <a:lnTo>
                    <a:pt x="644" y="80"/>
                  </a:lnTo>
                  <a:lnTo>
                    <a:pt x="642" y="80"/>
                  </a:lnTo>
                  <a:lnTo>
                    <a:pt x="641" y="80"/>
                  </a:lnTo>
                  <a:lnTo>
                    <a:pt x="641" y="82"/>
                  </a:lnTo>
                  <a:lnTo>
                    <a:pt x="641" y="80"/>
                  </a:lnTo>
                  <a:lnTo>
                    <a:pt x="642" y="80"/>
                  </a:lnTo>
                  <a:lnTo>
                    <a:pt x="641" y="80"/>
                  </a:lnTo>
                  <a:lnTo>
                    <a:pt x="641" y="82"/>
                  </a:lnTo>
                  <a:lnTo>
                    <a:pt x="639" y="82"/>
                  </a:lnTo>
                  <a:lnTo>
                    <a:pt x="637" y="82"/>
                  </a:lnTo>
                  <a:lnTo>
                    <a:pt x="639" y="82"/>
                  </a:lnTo>
                  <a:lnTo>
                    <a:pt x="639" y="83"/>
                  </a:lnTo>
                  <a:lnTo>
                    <a:pt x="637" y="83"/>
                  </a:lnTo>
                  <a:lnTo>
                    <a:pt x="636" y="83"/>
                  </a:lnTo>
                  <a:lnTo>
                    <a:pt x="634" y="83"/>
                  </a:lnTo>
                  <a:lnTo>
                    <a:pt x="636" y="82"/>
                  </a:lnTo>
                  <a:lnTo>
                    <a:pt x="637" y="78"/>
                  </a:lnTo>
                  <a:lnTo>
                    <a:pt x="637" y="77"/>
                  </a:lnTo>
                  <a:close/>
                  <a:moveTo>
                    <a:pt x="632" y="60"/>
                  </a:moveTo>
                  <a:lnTo>
                    <a:pt x="634" y="60"/>
                  </a:lnTo>
                  <a:lnTo>
                    <a:pt x="636" y="60"/>
                  </a:lnTo>
                  <a:lnTo>
                    <a:pt x="636" y="62"/>
                  </a:lnTo>
                  <a:lnTo>
                    <a:pt x="637" y="64"/>
                  </a:lnTo>
                  <a:lnTo>
                    <a:pt x="636" y="64"/>
                  </a:lnTo>
                  <a:lnTo>
                    <a:pt x="636" y="62"/>
                  </a:lnTo>
                  <a:lnTo>
                    <a:pt x="636" y="65"/>
                  </a:lnTo>
                  <a:lnTo>
                    <a:pt x="636" y="64"/>
                  </a:lnTo>
                  <a:lnTo>
                    <a:pt x="634" y="62"/>
                  </a:lnTo>
                  <a:lnTo>
                    <a:pt x="636" y="62"/>
                  </a:lnTo>
                  <a:lnTo>
                    <a:pt x="634" y="62"/>
                  </a:lnTo>
                  <a:lnTo>
                    <a:pt x="634" y="64"/>
                  </a:lnTo>
                  <a:lnTo>
                    <a:pt x="632" y="64"/>
                  </a:lnTo>
                  <a:lnTo>
                    <a:pt x="634" y="65"/>
                  </a:lnTo>
                  <a:lnTo>
                    <a:pt x="632" y="65"/>
                  </a:lnTo>
                  <a:lnTo>
                    <a:pt x="632" y="67"/>
                  </a:lnTo>
                  <a:lnTo>
                    <a:pt x="634" y="67"/>
                  </a:lnTo>
                  <a:lnTo>
                    <a:pt x="634" y="69"/>
                  </a:lnTo>
                  <a:lnTo>
                    <a:pt x="634" y="70"/>
                  </a:lnTo>
                  <a:lnTo>
                    <a:pt x="632" y="70"/>
                  </a:lnTo>
                  <a:lnTo>
                    <a:pt x="632" y="72"/>
                  </a:lnTo>
                  <a:lnTo>
                    <a:pt x="632" y="73"/>
                  </a:lnTo>
                  <a:lnTo>
                    <a:pt x="631" y="73"/>
                  </a:lnTo>
                  <a:lnTo>
                    <a:pt x="631" y="75"/>
                  </a:lnTo>
                  <a:lnTo>
                    <a:pt x="631" y="77"/>
                  </a:lnTo>
                  <a:lnTo>
                    <a:pt x="631" y="78"/>
                  </a:lnTo>
                  <a:lnTo>
                    <a:pt x="631" y="80"/>
                  </a:lnTo>
                  <a:lnTo>
                    <a:pt x="631" y="82"/>
                  </a:lnTo>
                  <a:lnTo>
                    <a:pt x="629" y="82"/>
                  </a:lnTo>
                  <a:lnTo>
                    <a:pt x="631" y="82"/>
                  </a:lnTo>
                  <a:lnTo>
                    <a:pt x="629" y="82"/>
                  </a:lnTo>
                  <a:lnTo>
                    <a:pt x="629" y="80"/>
                  </a:lnTo>
                  <a:lnTo>
                    <a:pt x="629" y="78"/>
                  </a:lnTo>
                  <a:lnTo>
                    <a:pt x="629" y="77"/>
                  </a:lnTo>
                  <a:lnTo>
                    <a:pt x="631" y="75"/>
                  </a:lnTo>
                  <a:lnTo>
                    <a:pt x="631" y="73"/>
                  </a:lnTo>
                  <a:lnTo>
                    <a:pt x="631" y="70"/>
                  </a:lnTo>
                  <a:lnTo>
                    <a:pt x="632" y="69"/>
                  </a:lnTo>
                  <a:lnTo>
                    <a:pt x="632" y="67"/>
                  </a:lnTo>
                  <a:lnTo>
                    <a:pt x="632" y="65"/>
                  </a:lnTo>
                  <a:lnTo>
                    <a:pt x="632" y="64"/>
                  </a:lnTo>
                  <a:lnTo>
                    <a:pt x="632" y="62"/>
                  </a:lnTo>
                  <a:lnTo>
                    <a:pt x="632" y="60"/>
                  </a:lnTo>
                  <a:close/>
                  <a:moveTo>
                    <a:pt x="159" y="184"/>
                  </a:moveTo>
                  <a:lnTo>
                    <a:pt x="161" y="184"/>
                  </a:lnTo>
                  <a:lnTo>
                    <a:pt x="166" y="184"/>
                  </a:lnTo>
                  <a:lnTo>
                    <a:pt x="167" y="184"/>
                  </a:lnTo>
                  <a:lnTo>
                    <a:pt x="169" y="184"/>
                  </a:lnTo>
                  <a:lnTo>
                    <a:pt x="171" y="184"/>
                  </a:lnTo>
                  <a:lnTo>
                    <a:pt x="172" y="186"/>
                  </a:lnTo>
                  <a:lnTo>
                    <a:pt x="171" y="186"/>
                  </a:lnTo>
                  <a:lnTo>
                    <a:pt x="167" y="186"/>
                  </a:lnTo>
                  <a:lnTo>
                    <a:pt x="164" y="186"/>
                  </a:lnTo>
                  <a:lnTo>
                    <a:pt x="162" y="186"/>
                  </a:lnTo>
                  <a:lnTo>
                    <a:pt x="161" y="187"/>
                  </a:lnTo>
                  <a:lnTo>
                    <a:pt x="161" y="189"/>
                  </a:lnTo>
                  <a:lnTo>
                    <a:pt x="159" y="189"/>
                  </a:lnTo>
                  <a:lnTo>
                    <a:pt x="158" y="187"/>
                  </a:lnTo>
                  <a:lnTo>
                    <a:pt x="159" y="186"/>
                  </a:lnTo>
                  <a:lnTo>
                    <a:pt x="159" y="184"/>
                  </a:lnTo>
                  <a:close/>
                  <a:moveTo>
                    <a:pt x="247" y="86"/>
                  </a:moveTo>
                  <a:lnTo>
                    <a:pt x="249" y="88"/>
                  </a:lnTo>
                  <a:lnTo>
                    <a:pt x="250" y="90"/>
                  </a:lnTo>
                  <a:lnTo>
                    <a:pt x="250" y="88"/>
                  </a:lnTo>
                  <a:lnTo>
                    <a:pt x="250" y="90"/>
                  </a:lnTo>
                  <a:lnTo>
                    <a:pt x="249" y="90"/>
                  </a:lnTo>
                  <a:lnTo>
                    <a:pt x="249" y="91"/>
                  </a:lnTo>
                  <a:lnTo>
                    <a:pt x="247" y="91"/>
                  </a:lnTo>
                  <a:lnTo>
                    <a:pt x="247" y="93"/>
                  </a:lnTo>
                  <a:lnTo>
                    <a:pt x="245" y="91"/>
                  </a:lnTo>
                  <a:lnTo>
                    <a:pt x="245" y="88"/>
                  </a:lnTo>
                  <a:lnTo>
                    <a:pt x="244" y="88"/>
                  </a:lnTo>
                  <a:lnTo>
                    <a:pt x="244" y="86"/>
                  </a:lnTo>
                  <a:lnTo>
                    <a:pt x="244" y="85"/>
                  </a:lnTo>
                  <a:lnTo>
                    <a:pt x="245" y="85"/>
                  </a:lnTo>
                  <a:lnTo>
                    <a:pt x="245" y="83"/>
                  </a:lnTo>
                  <a:lnTo>
                    <a:pt x="247" y="83"/>
                  </a:lnTo>
                  <a:lnTo>
                    <a:pt x="247" y="85"/>
                  </a:lnTo>
                  <a:lnTo>
                    <a:pt x="247" y="86"/>
                  </a:lnTo>
                  <a:close/>
                  <a:moveTo>
                    <a:pt x="177" y="181"/>
                  </a:moveTo>
                  <a:lnTo>
                    <a:pt x="179" y="181"/>
                  </a:lnTo>
                  <a:lnTo>
                    <a:pt x="180" y="182"/>
                  </a:lnTo>
                  <a:lnTo>
                    <a:pt x="182" y="182"/>
                  </a:lnTo>
                  <a:lnTo>
                    <a:pt x="182" y="181"/>
                  </a:lnTo>
                  <a:lnTo>
                    <a:pt x="182" y="182"/>
                  </a:lnTo>
                  <a:lnTo>
                    <a:pt x="184" y="182"/>
                  </a:lnTo>
                  <a:lnTo>
                    <a:pt x="185" y="182"/>
                  </a:lnTo>
                  <a:lnTo>
                    <a:pt x="187" y="182"/>
                  </a:lnTo>
                  <a:lnTo>
                    <a:pt x="185" y="184"/>
                  </a:lnTo>
                  <a:lnTo>
                    <a:pt x="184" y="184"/>
                  </a:lnTo>
                  <a:lnTo>
                    <a:pt x="182" y="184"/>
                  </a:lnTo>
                  <a:lnTo>
                    <a:pt x="180" y="184"/>
                  </a:lnTo>
                  <a:lnTo>
                    <a:pt x="179" y="184"/>
                  </a:lnTo>
                  <a:lnTo>
                    <a:pt x="177" y="184"/>
                  </a:lnTo>
                  <a:lnTo>
                    <a:pt x="177" y="186"/>
                  </a:lnTo>
                  <a:lnTo>
                    <a:pt x="175" y="186"/>
                  </a:lnTo>
                  <a:lnTo>
                    <a:pt x="175" y="184"/>
                  </a:lnTo>
                  <a:lnTo>
                    <a:pt x="175" y="182"/>
                  </a:lnTo>
                  <a:lnTo>
                    <a:pt x="177" y="182"/>
                  </a:lnTo>
                  <a:lnTo>
                    <a:pt x="177" y="181"/>
                  </a:lnTo>
                  <a:close/>
                  <a:moveTo>
                    <a:pt x="120" y="192"/>
                  </a:moveTo>
                  <a:lnTo>
                    <a:pt x="122" y="192"/>
                  </a:lnTo>
                  <a:lnTo>
                    <a:pt x="127" y="194"/>
                  </a:lnTo>
                  <a:lnTo>
                    <a:pt x="125" y="194"/>
                  </a:lnTo>
                  <a:lnTo>
                    <a:pt x="120" y="194"/>
                  </a:lnTo>
                  <a:lnTo>
                    <a:pt x="118" y="194"/>
                  </a:lnTo>
                  <a:lnTo>
                    <a:pt x="117" y="194"/>
                  </a:lnTo>
                  <a:lnTo>
                    <a:pt x="117" y="195"/>
                  </a:lnTo>
                  <a:lnTo>
                    <a:pt x="115" y="194"/>
                  </a:lnTo>
                  <a:lnTo>
                    <a:pt x="112" y="195"/>
                  </a:lnTo>
                  <a:lnTo>
                    <a:pt x="110" y="195"/>
                  </a:lnTo>
                  <a:lnTo>
                    <a:pt x="109" y="195"/>
                  </a:lnTo>
                  <a:lnTo>
                    <a:pt x="107" y="195"/>
                  </a:lnTo>
                  <a:lnTo>
                    <a:pt x="105" y="195"/>
                  </a:lnTo>
                  <a:lnTo>
                    <a:pt x="107" y="194"/>
                  </a:lnTo>
                  <a:lnTo>
                    <a:pt x="109" y="194"/>
                  </a:lnTo>
                  <a:lnTo>
                    <a:pt x="112" y="194"/>
                  </a:lnTo>
                  <a:lnTo>
                    <a:pt x="117" y="194"/>
                  </a:lnTo>
                  <a:lnTo>
                    <a:pt x="120" y="192"/>
                  </a:lnTo>
                  <a:close/>
                  <a:moveTo>
                    <a:pt x="262" y="60"/>
                  </a:moveTo>
                  <a:lnTo>
                    <a:pt x="260" y="60"/>
                  </a:lnTo>
                  <a:lnTo>
                    <a:pt x="258" y="60"/>
                  </a:lnTo>
                  <a:lnTo>
                    <a:pt x="257" y="60"/>
                  </a:lnTo>
                  <a:lnTo>
                    <a:pt x="255" y="60"/>
                  </a:lnTo>
                  <a:lnTo>
                    <a:pt x="255" y="62"/>
                  </a:lnTo>
                  <a:lnTo>
                    <a:pt x="253" y="62"/>
                  </a:lnTo>
                  <a:lnTo>
                    <a:pt x="253" y="64"/>
                  </a:lnTo>
                  <a:lnTo>
                    <a:pt x="252" y="62"/>
                  </a:lnTo>
                  <a:lnTo>
                    <a:pt x="252" y="60"/>
                  </a:lnTo>
                  <a:lnTo>
                    <a:pt x="253" y="60"/>
                  </a:lnTo>
                  <a:lnTo>
                    <a:pt x="255" y="60"/>
                  </a:lnTo>
                  <a:lnTo>
                    <a:pt x="257" y="59"/>
                  </a:lnTo>
                  <a:lnTo>
                    <a:pt x="260" y="59"/>
                  </a:lnTo>
                  <a:lnTo>
                    <a:pt x="262" y="59"/>
                  </a:lnTo>
                  <a:lnTo>
                    <a:pt x="262" y="57"/>
                  </a:lnTo>
                  <a:lnTo>
                    <a:pt x="263" y="57"/>
                  </a:lnTo>
                  <a:lnTo>
                    <a:pt x="262" y="59"/>
                  </a:lnTo>
                  <a:lnTo>
                    <a:pt x="262" y="60"/>
                  </a:lnTo>
                  <a:close/>
                  <a:moveTo>
                    <a:pt x="247" y="80"/>
                  </a:moveTo>
                  <a:lnTo>
                    <a:pt x="245" y="80"/>
                  </a:lnTo>
                  <a:lnTo>
                    <a:pt x="245" y="78"/>
                  </a:lnTo>
                  <a:lnTo>
                    <a:pt x="245" y="77"/>
                  </a:lnTo>
                  <a:lnTo>
                    <a:pt x="245" y="75"/>
                  </a:lnTo>
                  <a:lnTo>
                    <a:pt x="245" y="73"/>
                  </a:lnTo>
                  <a:lnTo>
                    <a:pt x="247" y="73"/>
                  </a:lnTo>
                  <a:lnTo>
                    <a:pt x="249" y="75"/>
                  </a:lnTo>
                  <a:lnTo>
                    <a:pt x="247" y="77"/>
                  </a:lnTo>
                  <a:lnTo>
                    <a:pt x="249" y="78"/>
                  </a:lnTo>
                  <a:lnTo>
                    <a:pt x="247" y="80"/>
                  </a:lnTo>
                  <a:close/>
                  <a:moveTo>
                    <a:pt x="244" y="1054"/>
                  </a:moveTo>
                  <a:lnTo>
                    <a:pt x="245" y="1053"/>
                  </a:lnTo>
                  <a:lnTo>
                    <a:pt x="247" y="1054"/>
                  </a:lnTo>
                  <a:lnTo>
                    <a:pt x="249" y="1053"/>
                  </a:lnTo>
                  <a:lnTo>
                    <a:pt x="249" y="1054"/>
                  </a:lnTo>
                  <a:lnTo>
                    <a:pt x="249" y="1056"/>
                  </a:lnTo>
                  <a:lnTo>
                    <a:pt x="250" y="1056"/>
                  </a:lnTo>
                  <a:lnTo>
                    <a:pt x="249" y="1056"/>
                  </a:lnTo>
                  <a:lnTo>
                    <a:pt x="247" y="1056"/>
                  </a:lnTo>
                  <a:lnTo>
                    <a:pt x="245" y="1056"/>
                  </a:lnTo>
                  <a:lnTo>
                    <a:pt x="245" y="1057"/>
                  </a:lnTo>
                  <a:lnTo>
                    <a:pt x="244" y="1057"/>
                  </a:lnTo>
                  <a:lnTo>
                    <a:pt x="244" y="1056"/>
                  </a:lnTo>
                  <a:lnTo>
                    <a:pt x="245" y="1056"/>
                  </a:lnTo>
                  <a:lnTo>
                    <a:pt x="245" y="1054"/>
                  </a:lnTo>
                  <a:lnTo>
                    <a:pt x="244" y="1054"/>
                  </a:lnTo>
                  <a:close/>
                  <a:moveTo>
                    <a:pt x="190" y="181"/>
                  </a:moveTo>
                  <a:lnTo>
                    <a:pt x="192" y="181"/>
                  </a:lnTo>
                  <a:lnTo>
                    <a:pt x="193" y="179"/>
                  </a:lnTo>
                  <a:lnTo>
                    <a:pt x="195" y="179"/>
                  </a:lnTo>
                  <a:lnTo>
                    <a:pt x="198" y="181"/>
                  </a:lnTo>
                  <a:lnTo>
                    <a:pt x="200" y="182"/>
                  </a:lnTo>
                  <a:lnTo>
                    <a:pt x="201" y="182"/>
                  </a:lnTo>
                  <a:lnTo>
                    <a:pt x="200" y="182"/>
                  </a:lnTo>
                  <a:lnTo>
                    <a:pt x="200" y="181"/>
                  </a:lnTo>
                  <a:lnTo>
                    <a:pt x="198" y="182"/>
                  </a:lnTo>
                  <a:lnTo>
                    <a:pt x="197" y="182"/>
                  </a:lnTo>
                  <a:lnTo>
                    <a:pt x="193" y="181"/>
                  </a:lnTo>
                  <a:lnTo>
                    <a:pt x="193" y="182"/>
                  </a:lnTo>
                  <a:lnTo>
                    <a:pt x="192" y="182"/>
                  </a:lnTo>
                  <a:lnTo>
                    <a:pt x="192" y="181"/>
                  </a:lnTo>
                  <a:lnTo>
                    <a:pt x="190" y="181"/>
                  </a:lnTo>
                  <a:close/>
                  <a:moveTo>
                    <a:pt x="252" y="69"/>
                  </a:moveTo>
                  <a:lnTo>
                    <a:pt x="253" y="69"/>
                  </a:lnTo>
                  <a:lnTo>
                    <a:pt x="253" y="70"/>
                  </a:lnTo>
                  <a:lnTo>
                    <a:pt x="255" y="70"/>
                  </a:lnTo>
                  <a:lnTo>
                    <a:pt x="255" y="72"/>
                  </a:lnTo>
                  <a:lnTo>
                    <a:pt x="253" y="72"/>
                  </a:lnTo>
                  <a:lnTo>
                    <a:pt x="252" y="72"/>
                  </a:lnTo>
                  <a:lnTo>
                    <a:pt x="252" y="70"/>
                  </a:lnTo>
                  <a:lnTo>
                    <a:pt x="250" y="70"/>
                  </a:lnTo>
                  <a:lnTo>
                    <a:pt x="249" y="69"/>
                  </a:lnTo>
                  <a:lnTo>
                    <a:pt x="250" y="69"/>
                  </a:lnTo>
                  <a:lnTo>
                    <a:pt x="252" y="69"/>
                  </a:lnTo>
                  <a:close/>
                  <a:moveTo>
                    <a:pt x="247" y="69"/>
                  </a:moveTo>
                  <a:lnTo>
                    <a:pt x="249" y="69"/>
                  </a:lnTo>
                  <a:lnTo>
                    <a:pt x="249" y="70"/>
                  </a:lnTo>
                  <a:lnTo>
                    <a:pt x="249" y="72"/>
                  </a:lnTo>
                  <a:lnTo>
                    <a:pt x="247" y="72"/>
                  </a:lnTo>
                  <a:lnTo>
                    <a:pt x="245" y="72"/>
                  </a:lnTo>
                  <a:lnTo>
                    <a:pt x="245" y="70"/>
                  </a:lnTo>
                  <a:lnTo>
                    <a:pt x="245" y="69"/>
                  </a:lnTo>
                  <a:lnTo>
                    <a:pt x="247" y="69"/>
                  </a:lnTo>
                  <a:lnTo>
                    <a:pt x="247" y="67"/>
                  </a:lnTo>
                  <a:lnTo>
                    <a:pt x="247" y="69"/>
                  </a:lnTo>
                  <a:close/>
                  <a:moveTo>
                    <a:pt x="110" y="197"/>
                  </a:moveTo>
                  <a:lnTo>
                    <a:pt x="110" y="199"/>
                  </a:lnTo>
                  <a:lnTo>
                    <a:pt x="109" y="200"/>
                  </a:lnTo>
                  <a:lnTo>
                    <a:pt x="107" y="200"/>
                  </a:lnTo>
                  <a:lnTo>
                    <a:pt x="107" y="199"/>
                  </a:lnTo>
                  <a:lnTo>
                    <a:pt x="107" y="197"/>
                  </a:lnTo>
                  <a:lnTo>
                    <a:pt x="107" y="199"/>
                  </a:lnTo>
                  <a:lnTo>
                    <a:pt x="107" y="197"/>
                  </a:lnTo>
                  <a:lnTo>
                    <a:pt x="109" y="197"/>
                  </a:lnTo>
                  <a:lnTo>
                    <a:pt x="110" y="197"/>
                  </a:lnTo>
                  <a:close/>
                  <a:moveTo>
                    <a:pt x="205" y="182"/>
                  </a:moveTo>
                  <a:lnTo>
                    <a:pt x="206" y="184"/>
                  </a:lnTo>
                  <a:lnTo>
                    <a:pt x="206" y="186"/>
                  </a:lnTo>
                  <a:lnTo>
                    <a:pt x="205" y="187"/>
                  </a:lnTo>
                  <a:lnTo>
                    <a:pt x="205" y="186"/>
                  </a:lnTo>
                  <a:lnTo>
                    <a:pt x="205" y="184"/>
                  </a:lnTo>
                  <a:lnTo>
                    <a:pt x="203" y="184"/>
                  </a:lnTo>
                  <a:lnTo>
                    <a:pt x="203" y="182"/>
                  </a:lnTo>
                  <a:lnTo>
                    <a:pt x="205" y="182"/>
                  </a:lnTo>
                  <a:lnTo>
                    <a:pt x="205" y="181"/>
                  </a:lnTo>
                  <a:lnTo>
                    <a:pt x="205" y="182"/>
                  </a:lnTo>
                  <a:close/>
                  <a:moveTo>
                    <a:pt x="151" y="187"/>
                  </a:moveTo>
                  <a:lnTo>
                    <a:pt x="153" y="187"/>
                  </a:lnTo>
                  <a:lnTo>
                    <a:pt x="154" y="187"/>
                  </a:lnTo>
                  <a:lnTo>
                    <a:pt x="154" y="189"/>
                  </a:lnTo>
                  <a:lnTo>
                    <a:pt x="151" y="189"/>
                  </a:lnTo>
                  <a:lnTo>
                    <a:pt x="149" y="189"/>
                  </a:lnTo>
                  <a:lnTo>
                    <a:pt x="149" y="187"/>
                  </a:lnTo>
                  <a:lnTo>
                    <a:pt x="151" y="187"/>
                  </a:lnTo>
                  <a:close/>
                  <a:moveTo>
                    <a:pt x="629" y="83"/>
                  </a:moveTo>
                  <a:lnTo>
                    <a:pt x="628" y="85"/>
                  </a:lnTo>
                  <a:lnTo>
                    <a:pt x="628" y="83"/>
                  </a:lnTo>
                  <a:lnTo>
                    <a:pt x="626" y="83"/>
                  </a:lnTo>
                  <a:lnTo>
                    <a:pt x="626" y="85"/>
                  </a:lnTo>
                  <a:lnTo>
                    <a:pt x="624" y="85"/>
                  </a:lnTo>
                  <a:lnTo>
                    <a:pt x="623" y="85"/>
                  </a:lnTo>
                  <a:lnTo>
                    <a:pt x="621" y="85"/>
                  </a:lnTo>
                  <a:lnTo>
                    <a:pt x="623" y="85"/>
                  </a:lnTo>
                  <a:lnTo>
                    <a:pt x="624" y="85"/>
                  </a:lnTo>
                  <a:lnTo>
                    <a:pt x="624" y="83"/>
                  </a:lnTo>
                  <a:lnTo>
                    <a:pt x="626" y="83"/>
                  </a:lnTo>
                  <a:lnTo>
                    <a:pt x="628" y="83"/>
                  </a:lnTo>
                  <a:lnTo>
                    <a:pt x="628" y="82"/>
                  </a:lnTo>
                  <a:lnTo>
                    <a:pt x="629" y="82"/>
                  </a:lnTo>
                  <a:lnTo>
                    <a:pt x="628" y="82"/>
                  </a:lnTo>
                  <a:lnTo>
                    <a:pt x="629" y="82"/>
                  </a:lnTo>
                  <a:lnTo>
                    <a:pt x="629" y="83"/>
                  </a:lnTo>
                  <a:close/>
                  <a:moveTo>
                    <a:pt x="333" y="200"/>
                  </a:moveTo>
                  <a:lnTo>
                    <a:pt x="332" y="199"/>
                  </a:lnTo>
                  <a:lnTo>
                    <a:pt x="332" y="197"/>
                  </a:lnTo>
                  <a:lnTo>
                    <a:pt x="330" y="194"/>
                  </a:lnTo>
                  <a:lnTo>
                    <a:pt x="332" y="194"/>
                  </a:lnTo>
                  <a:lnTo>
                    <a:pt x="332" y="195"/>
                  </a:lnTo>
                  <a:lnTo>
                    <a:pt x="333" y="195"/>
                  </a:lnTo>
                  <a:lnTo>
                    <a:pt x="333" y="197"/>
                  </a:lnTo>
                  <a:lnTo>
                    <a:pt x="333" y="199"/>
                  </a:lnTo>
                  <a:lnTo>
                    <a:pt x="333" y="200"/>
                  </a:lnTo>
                  <a:close/>
                  <a:moveTo>
                    <a:pt x="216" y="189"/>
                  </a:moveTo>
                  <a:lnTo>
                    <a:pt x="218" y="189"/>
                  </a:lnTo>
                  <a:lnTo>
                    <a:pt x="218" y="191"/>
                  </a:lnTo>
                  <a:lnTo>
                    <a:pt x="218" y="192"/>
                  </a:lnTo>
                  <a:lnTo>
                    <a:pt x="216" y="192"/>
                  </a:lnTo>
                  <a:lnTo>
                    <a:pt x="214" y="192"/>
                  </a:lnTo>
                  <a:lnTo>
                    <a:pt x="214" y="191"/>
                  </a:lnTo>
                  <a:lnTo>
                    <a:pt x="216" y="189"/>
                  </a:lnTo>
                  <a:close/>
                  <a:moveTo>
                    <a:pt x="336" y="207"/>
                  </a:moveTo>
                  <a:lnTo>
                    <a:pt x="335" y="207"/>
                  </a:lnTo>
                  <a:lnTo>
                    <a:pt x="335" y="205"/>
                  </a:lnTo>
                  <a:lnTo>
                    <a:pt x="335" y="204"/>
                  </a:lnTo>
                  <a:lnTo>
                    <a:pt x="335" y="202"/>
                  </a:lnTo>
                  <a:lnTo>
                    <a:pt x="335" y="200"/>
                  </a:lnTo>
                  <a:lnTo>
                    <a:pt x="335" y="204"/>
                  </a:lnTo>
                  <a:lnTo>
                    <a:pt x="336" y="204"/>
                  </a:lnTo>
                  <a:lnTo>
                    <a:pt x="336" y="205"/>
                  </a:lnTo>
                  <a:lnTo>
                    <a:pt x="336" y="207"/>
                  </a:lnTo>
                  <a:close/>
                  <a:moveTo>
                    <a:pt x="104" y="197"/>
                  </a:moveTo>
                  <a:lnTo>
                    <a:pt x="102" y="197"/>
                  </a:lnTo>
                  <a:lnTo>
                    <a:pt x="104" y="197"/>
                  </a:lnTo>
                  <a:lnTo>
                    <a:pt x="104" y="199"/>
                  </a:lnTo>
                  <a:lnTo>
                    <a:pt x="105" y="199"/>
                  </a:lnTo>
                  <a:lnTo>
                    <a:pt x="104" y="199"/>
                  </a:lnTo>
                  <a:lnTo>
                    <a:pt x="102" y="199"/>
                  </a:lnTo>
                  <a:lnTo>
                    <a:pt x="102" y="197"/>
                  </a:lnTo>
                  <a:lnTo>
                    <a:pt x="102" y="199"/>
                  </a:lnTo>
                  <a:lnTo>
                    <a:pt x="102" y="197"/>
                  </a:lnTo>
                  <a:lnTo>
                    <a:pt x="104" y="195"/>
                  </a:lnTo>
                  <a:lnTo>
                    <a:pt x="104" y="197"/>
                  </a:lnTo>
                  <a:close/>
                  <a:moveTo>
                    <a:pt x="247" y="165"/>
                  </a:moveTo>
                  <a:lnTo>
                    <a:pt x="245" y="165"/>
                  </a:lnTo>
                  <a:lnTo>
                    <a:pt x="245" y="163"/>
                  </a:lnTo>
                  <a:lnTo>
                    <a:pt x="247" y="161"/>
                  </a:lnTo>
                  <a:lnTo>
                    <a:pt x="245" y="161"/>
                  </a:lnTo>
                  <a:lnTo>
                    <a:pt x="247" y="161"/>
                  </a:lnTo>
                  <a:lnTo>
                    <a:pt x="249" y="163"/>
                  </a:lnTo>
                  <a:lnTo>
                    <a:pt x="247" y="165"/>
                  </a:lnTo>
                  <a:close/>
                  <a:moveTo>
                    <a:pt x="266" y="52"/>
                  </a:moveTo>
                  <a:lnTo>
                    <a:pt x="268" y="52"/>
                  </a:lnTo>
                  <a:lnTo>
                    <a:pt x="268" y="54"/>
                  </a:lnTo>
                  <a:lnTo>
                    <a:pt x="266" y="56"/>
                  </a:lnTo>
                  <a:lnTo>
                    <a:pt x="265" y="56"/>
                  </a:lnTo>
                  <a:lnTo>
                    <a:pt x="263" y="56"/>
                  </a:lnTo>
                  <a:lnTo>
                    <a:pt x="265" y="54"/>
                  </a:lnTo>
                  <a:lnTo>
                    <a:pt x="266" y="54"/>
                  </a:lnTo>
                  <a:lnTo>
                    <a:pt x="266" y="52"/>
                  </a:lnTo>
                  <a:close/>
                  <a:moveTo>
                    <a:pt x="345" y="215"/>
                  </a:moveTo>
                  <a:lnTo>
                    <a:pt x="348" y="215"/>
                  </a:lnTo>
                  <a:lnTo>
                    <a:pt x="348" y="217"/>
                  </a:lnTo>
                  <a:lnTo>
                    <a:pt x="351" y="217"/>
                  </a:lnTo>
                  <a:lnTo>
                    <a:pt x="353" y="217"/>
                  </a:lnTo>
                  <a:lnTo>
                    <a:pt x="354" y="217"/>
                  </a:lnTo>
                  <a:lnTo>
                    <a:pt x="353" y="217"/>
                  </a:lnTo>
                  <a:lnTo>
                    <a:pt x="351" y="217"/>
                  </a:lnTo>
                  <a:lnTo>
                    <a:pt x="348" y="217"/>
                  </a:lnTo>
                  <a:lnTo>
                    <a:pt x="346" y="217"/>
                  </a:lnTo>
                  <a:lnTo>
                    <a:pt x="345" y="215"/>
                  </a:lnTo>
                  <a:close/>
                  <a:moveTo>
                    <a:pt x="266" y="60"/>
                  </a:moveTo>
                  <a:lnTo>
                    <a:pt x="268" y="60"/>
                  </a:lnTo>
                  <a:lnTo>
                    <a:pt x="268" y="59"/>
                  </a:lnTo>
                  <a:lnTo>
                    <a:pt x="268" y="60"/>
                  </a:lnTo>
                  <a:lnTo>
                    <a:pt x="268" y="62"/>
                  </a:lnTo>
                  <a:lnTo>
                    <a:pt x="266" y="62"/>
                  </a:lnTo>
                  <a:lnTo>
                    <a:pt x="266" y="60"/>
                  </a:lnTo>
                  <a:close/>
                  <a:moveTo>
                    <a:pt x="273" y="73"/>
                  </a:moveTo>
                  <a:lnTo>
                    <a:pt x="275" y="72"/>
                  </a:lnTo>
                  <a:lnTo>
                    <a:pt x="275" y="73"/>
                  </a:lnTo>
                  <a:lnTo>
                    <a:pt x="276" y="72"/>
                  </a:lnTo>
                  <a:lnTo>
                    <a:pt x="276" y="73"/>
                  </a:lnTo>
                  <a:lnTo>
                    <a:pt x="275" y="73"/>
                  </a:lnTo>
                  <a:lnTo>
                    <a:pt x="273" y="73"/>
                  </a:lnTo>
                  <a:close/>
                  <a:moveTo>
                    <a:pt x="263" y="145"/>
                  </a:moveTo>
                  <a:lnTo>
                    <a:pt x="262" y="145"/>
                  </a:lnTo>
                  <a:lnTo>
                    <a:pt x="262" y="143"/>
                  </a:lnTo>
                  <a:lnTo>
                    <a:pt x="263" y="142"/>
                  </a:lnTo>
                  <a:lnTo>
                    <a:pt x="263" y="143"/>
                  </a:lnTo>
                  <a:lnTo>
                    <a:pt x="263" y="145"/>
                  </a:lnTo>
                  <a:close/>
                  <a:moveTo>
                    <a:pt x="330" y="195"/>
                  </a:moveTo>
                  <a:lnTo>
                    <a:pt x="328" y="195"/>
                  </a:lnTo>
                  <a:lnTo>
                    <a:pt x="328" y="194"/>
                  </a:lnTo>
                  <a:lnTo>
                    <a:pt x="327" y="194"/>
                  </a:lnTo>
                  <a:lnTo>
                    <a:pt x="327" y="192"/>
                  </a:lnTo>
                  <a:lnTo>
                    <a:pt x="328" y="194"/>
                  </a:lnTo>
                  <a:lnTo>
                    <a:pt x="330" y="195"/>
                  </a:lnTo>
                  <a:close/>
                  <a:moveTo>
                    <a:pt x="193" y="122"/>
                  </a:moveTo>
                  <a:lnTo>
                    <a:pt x="195" y="122"/>
                  </a:lnTo>
                  <a:lnTo>
                    <a:pt x="195" y="124"/>
                  </a:lnTo>
                  <a:lnTo>
                    <a:pt x="195" y="122"/>
                  </a:lnTo>
                  <a:lnTo>
                    <a:pt x="197" y="124"/>
                  </a:lnTo>
                  <a:lnTo>
                    <a:pt x="197" y="126"/>
                  </a:lnTo>
                  <a:lnTo>
                    <a:pt x="195" y="126"/>
                  </a:lnTo>
                  <a:lnTo>
                    <a:pt x="195" y="124"/>
                  </a:lnTo>
                  <a:lnTo>
                    <a:pt x="193" y="122"/>
                  </a:lnTo>
                  <a:close/>
                  <a:moveTo>
                    <a:pt x="255" y="140"/>
                  </a:moveTo>
                  <a:lnTo>
                    <a:pt x="257" y="139"/>
                  </a:lnTo>
                  <a:lnTo>
                    <a:pt x="257" y="140"/>
                  </a:lnTo>
                  <a:lnTo>
                    <a:pt x="255" y="140"/>
                  </a:lnTo>
                  <a:close/>
                  <a:moveTo>
                    <a:pt x="336" y="210"/>
                  </a:moveTo>
                  <a:lnTo>
                    <a:pt x="338" y="210"/>
                  </a:lnTo>
                  <a:lnTo>
                    <a:pt x="340" y="210"/>
                  </a:lnTo>
                  <a:lnTo>
                    <a:pt x="340" y="212"/>
                  </a:lnTo>
                  <a:lnTo>
                    <a:pt x="338" y="212"/>
                  </a:lnTo>
                  <a:lnTo>
                    <a:pt x="338" y="210"/>
                  </a:lnTo>
                  <a:lnTo>
                    <a:pt x="336" y="210"/>
                  </a:lnTo>
                  <a:close/>
                  <a:moveTo>
                    <a:pt x="236" y="174"/>
                  </a:moveTo>
                  <a:lnTo>
                    <a:pt x="236" y="176"/>
                  </a:lnTo>
                  <a:lnTo>
                    <a:pt x="236" y="174"/>
                  </a:lnTo>
                  <a:lnTo>
                    <a:pt x="236" y="176"/>
                  </a:lnTo>
                  <a:lnTo>
                    <a:pt x="234" y="176"/>
                  </a:lnTo>
                  <a:lnTo>
                    <a:pt x="234" y="174"/>
                  </a:lnTo>
                  <a:lnTo>
                    <a:pt x="236" y="174"/>
                  </a:lnTo>
                  <a:close/>
                  <a:moveTo>
                    <a:pt x="636" y="103"/>
                  </a:moveTo>
                  <a:lnTo>
                    <a:pt x="636" y="104"/>
                  </a:lnTo>
                  <a:lnTo>
                    <a:pt x="636" y="103"/>
                  </a:lnTo>
                  <a:lnTo>
                    <a:pt x="634" y="103"/>
                  </a:lnTo>
                  <a:lnTo>
                    <a:pt x="636" y="103"/>
                  </a:lnTo>
                  <a:close/>
                  <a:moveTo>
                    <a:pt x="670" y="101"/>
                  </a:moveTo>
                  <a:lnTo>
                    <a:pt x="668" y="101"/>
                  </a:lnTo>
                  <a:lnTo>
                    <a:pt x="670" y="99"/>
                  </a:lnTo>
                  <a:lnTo>
                    <a:pt x="670" y="98"/>
                  </a:lnTo>
                  <a:lnTo>
                    <a:pt x="671" y="98"/>
                  </a:lnTo>
                  <a:lnTo>
                    <a:pt x="671" y="99"/>
                  </a:lnTo>
                  <a:lnTo>
                    <a:pt x="670" y="99"/>
                  </a:lnTo>
                  <a:lnTo>
                    <a:pt x="670" y="101"/>
                  </a:lnTo>
                  <a:close/>
                  <a:moveTo>
                    <a:pt x="602" y="90"/>
                  </a:moveTo>
                  <a:lnTo>
                    <a:pt x="603" y="90"/>
                  </a:lnTo>
                  <a:lnTo>
                    <a:pt x="602" y="90"/>
                  </a:lnTo>
                  <a:close/>
                  <a:moveTo>
                    <a:pt x="706" y="140"/>
                  </a:moveTo>
                  <a:lnTo>
                    <a:pt x="706" y="142"/>
                  </a:lnTo>
                  <a:lnTo>
                    <a:pt x="704" y="142"/>
                  </a:lnTo>
                  <a:lnTo>
                    <a:pt x="704" y="140"/>
                  </a:lnTo>
                  <a:lnTo>
                    <a:pt x="706" y="140"/>
                  </a:lnTo>
                  <a:lnTo>
                    <a:pt x="706" y="139"/>
                  </a:lnTo>
                  <a:lnTo>
                    <a:pt x="706" y="140"/>
                  </a:lnTo>
                  <a:close/>
                  <a:moveTo>
                    <a:pt x="351" y="106"/>
                  </a:moveTo>
                  <a:lnTo>
                    <a:pt x="349" y="106"/>
                  </a:lnTo>
                  <a:lnTo>
                    <a:pt x="349" y="104"/>
                  </a:lnTo>
                  <a:lnTo>
                    <a:pt x="351" y="104"/>
                  </a:lnTo>
                  <a:lnTo>
                    <a:pt x="353" y="104"/>
                  </a:lnTo>
                  <a:lnTo>
                    <a:pt x="351" y="106"/>
                  </a:lnTo>
                  <a:close/>
                  <a:moveTo>
                    <a:pt x="322" y="182"/>
                  </a:moveTo>
                  <a:lnTo>
                    <a:pt x="323" y="186"/>
                  </a:lnTo>
                  <a:lnTo>
                    <a:pt x="323" y="187"/>
                  </a:lnTo>
                  <a:lnTo>
                    <a:pt x="323" y="186"/>
                  </a:lnTo>
                  <a:lnTo>
                    <a:pt x="322" y="182"/>
                  </a:lnTo>
                  <a:close/>
                  <a:moveTo>
                    <a:pt x="198" y="124"/>
                  </a:moveTo>
                  <a:lnTo>
                    <a:pt x="197" y="124"/>
                  </a:lnTo>
                  <a:lnTo>
                    <a:pt x="198" y="124"/>
                  </a:lnTo>
                  <a:lnTo>
                    <a:pt x="198" y="122"/>
                  </a:lnTo>
                  <a:lnTo>
                    <a:pt x="198" y="124"/>
                  </a:lnTo>
                  <a:close/>
                  <a:moveTo>
                    <a:pt x="737" y="184"/>
                  </a:moveTo>
                  <a:lnTo>
                    <a:pt x="737" y="186"/>
                  </a:lnTo>
                  <a:lnTo>
                    <a:pt x="735" y="184"/>
                  </a:lnTo>
                  <a:lnTo>
                    <a:pt x="737" y="184"/>
                  </a:lnTo>
                  <a:close/>
                  <a:moveTo>
                    <a:pt x="502" y="147"/>
                  </a:moveTo>
                  <a:lnTo>
                    <a:pt x="501" y="145"/>
                  </a:lnTo>
                  <a:lnTo>
                    <a:pt x="501" y="143"/>
                  </a:lnTo>
                  <a:lnTo>
                    <a:pt x="502" y="142"/>
                  </a:lnTo>
                  <a:lnTo>
                    <a:pt x="502" y="143"/>
                  </a:lnTo>
                  <a:lnTo>
                    <a:pt x="502" y="145"/>
                  </a:lnTo>
                  <a:lnTo>
                    <a:pt x="502" y="147"/>
                  </a:lnTo>
                  <a:close/>
                  <a:moveTo>
                    <a:pt x="253" y="85"/>
                  </a:moveTo>
                  <a:lnTo>
                    <a:pt x="252" y="85"/>
                  </a:lnTo>
                  <a:lnTo>
                    <a:pt x="253" y="85"/>
                  </a:lnTo>
                  <a:close/>
                  <a:moveTo>
                    <a:pt x="702" y="109"/>
                  </a:moveTo>
                  <a:lnTo>
                    <a:pt x="702" y="108"/>
                  </a:lnTo>
                  <a:lnTo>
                    <a:pt x="704" y="108"/>
                  </a:lnTo>
                  <a:lnTo>
                    <a:pt x="702" y="109"/>
                  </a:lnTo>
                  <a:close/>
                  <a:moveTo>
                    <a:pt x="227" y="186"/>
                  </a:moveTo>
                  <a:lnTo>
                    <a:pt x="226" y="186"/>
                  </a:lnTo>
                  <a:lnTo>
                    <a:pt x="226" y="184"/>
                  </a:lnTo>
                  <a:lnTo>
                    <a:pt x="227" y="184"/>
                  </a:lnTo>
                  <a:lnTo>
                    <a:pt x="227" y="186"/>
                  </a:lnTo>
                  <a:close/>
                  <a:moveTo>
                    <a:pt x="268" y="85"/>
                  </a:moveTo>
                  <a:lnTo>
                    <a:pt x="266" y="85"/>
                  </a:lnTo>
                  <a:lnTo>
                    <a:pt x="268" y="85"/>
                  </a:lnTo>
                  <a:close/>
                  <a:moveTo>
                    <a:pt x="691" y="127"/>
                  </a:moveTo>
                  <a:lnTo>
                    <a:pt x="691" y="126"/>
                  </a:lnTo>
                  <a:lnTo>
                    <a:pt x="691" y="127"/>
                  </a:lnTo>
                  <a:lnTo>
                    <a:pt x="693" y="127"/>
                  </a:lnTo>
                  <a:lnTo>
                    <a:pt x="693" y="129"/>
                  </a:lnTo>
                  <a:lnTo>
                    <a:pt x="691" y="129"/>
                  </a:lnTo>
                  <a:lnTo>
                    <a:pt x="691" y="127"/>
                  </a:lnTo>
                  <a:close/>
                  <a:moveTo>
                    <a:pt x="585" y="98"/>
                  </a:moveTo>
                  <a:lnTo>
                    <a:pt x="587" y="98"/>
                  </a:lnTo>
                  <a:lnTo>
                    <a:pt x="585" y="98"/>
                  </a:lnTo>
                  <a:lnTo>
                    <a:pt x="585" y="99"/>
                  </a:lnTo>
                  <a:lnTo>
                    <a:pt x="585" y="98"/>
                  </a:lnTo>
                  <a:close/>
                  <a:moveTo>
                    <a:pt x="642" y="90"/>
                  </a:moveTo>
                  <a:lnTo>
                    <a:pt x="644" y="90"/>
                  </a:lnTo>
                  <a:lnTo>
                    <a:pt x="642" y="90"/>
                  </a:lnTo>
                  <a:close/>
                  <a:moveTo>
                    <a:pt x="655" y="121"/>
                  </a:moveTo>
                  <a:lnTo>
                    <a:pt x="657" y="119"/>
                  </a:lnTo>
                  <a:lnTo>
                    <a:pt x="657" y="121"/>
                  </a:lnTo>
                  <a:lnTo>
                    <a:pt x="655" y="121"/>
                  </a:lnTo>
                  <a:close/>
                  <a:moveTo>
                    <a:pt x="634" y="70"/>
                  </a:moveTo>
                  <a:lnTo>
                    <a:pt x="634" y="69"/>
                  </a:lnTo>
                  <a:lnTo>
                    <a:pt x="634" y="70"/>
                  </a:lnTo>
                  <a:close/>
                  <a:moveTo>
                    <a:pt x="288" y="143"/>
                  </a:moveTo>
                  <a:lnTo>
                    <a:pt x="288" y="142"/>
                  </a:lnTo>
                  <a:lnTo>
                    <a:pt x="288" y="143"/>
                  </a:lnTo>
                  <a:lnTo>
                    <a:pt x="286" y="143"/>
                  </a:lnTo>
                  <a:lnTo>
                    <a:pt x="288" y="143"/>
                  </a:lnTo>
                  <a:close/>
                  <a:moveTo>
                    <a:pt x="501" y="147"/>
                  </a:moveTo>
                  <a:lnTo>
                    <a:pt x="501" y="148"/>
                  </a:lnTo>
                  <a:lnTo>
                    <a:pt x="499" y="148"/>
                  </a:lnTo>
                  <a:lnTo>
                    <a:pt x="499" y="147"/>
                  </a:lnTo>
                  <a:lnTo>
                    <a:pt x="501" y="147"/>
                  </a:lnTo>
                  <a:close/>
                  <a:moveTo>
                    <a:pt x="691" y="116"/>
                  </a:moveTo>
                  <a:lnTo>
                    <a:pt x="691" y="114"/>
                  </a:lnTo>
                  <a:lnTo>
                    <a:pt x="691" y="116"/>
                  </a:lnTo>
                  <a:close/>
                  <a:moveTo>
                    <a:pt x="240" y="158"/>
                  </a:moveTo>
                  <a:lnTo>
                    <a:pt x="240" y="160"/>
                  </a:lnTo>
                  <a:lnTo>
                    <a:pt x="240" y="158"/>
                  </a:lnTo>
                  <a:close/>
                  <a:moveTo>
                    <a:pt x="585" y="96"/>
                  </a:moveTo>
                  <a:lnTo>
                    <a:pt x="585" y="98"/>
                  </a:lnTo>
                  <a:lnTo>
                    <a:pt x="585" y="96"/>
                  </a:lnTo>
                  <a:close/>
                  <a:moveTo>
                    <a:pt x="146" y="249"/>
                  </a:moveTo>
                  <a:lnTo>
                    <a:pt x="146" y="247"/>
                  </a:lnTo>
                  <a:lnTo>
                    <a:pt x="146" y="249"/>
                  </a:lnTo>
                  <a:close/>
                  <a:moveTo>
                    <a:pt x="369" y="220"/>
                  </a:moveTo>
                  <a:lnTo>
                    <a:pt x="369" y="218"/>
                  </a:lnTo>
                  <a:lnTo>
                    <a:pt x="369" y="220"/>
                  </a:lnTo>
                  <a:close/>
                  <a:moveTo>
                    <a:pt x="250" y="75"/>
                  </a:moveTo>
                  <a:lnTo>
                    <a:pt x="249" y="77"/>
                  </a:lnTo>
                  <a:lnTo>
                    <a:pt x="249" y="75"/>
                  </a:lnTo>
                  <a:lnTo>
                    <a:pt x="250" y="75"/>
                  </a:lnTo>
                  <a:close/>
                  <a:moveTo>
                    <a:pt x="105" y="205"/>
                  </a:moveTo>
                  <a:lnTo>
                    <a:pt x="107" y="205"/>
                  </a:lnTo>
                  <a:lnTo>
                    <a:pt x="105" y="205"/>
                  </a:lnTo>
                  <a:close/>
                  <a:moveTo>
                    <a:pt x="714" y="150"/>
                  </a:moveTo>
                  <a:lnTo>
                    <a:pt x="715" y="152"/>
                  </a:lnTo>
                  <a:lnTo>
                    <a:pt x="714" y="150"/>
                  </a:lnTo>
                  <a:close/>
                  <a:moveTo>
                    <a:pt x="270" y="60"/>
                  </a:moveTo>
                  <a:lnTo>
                    <a:pt x="271" y="60"/>
                  </a:lnTo>
                  <a:lnTo>
                    <a:pt x="270" y="60"/>
                  </a:lnTo>
                  <a:close/>
                  <a:moveTo>
                    <a:pt x="258" y="91"/>
                  </a:moveTo>
                  <a:lnTo>
                    <a:pt x="258" y="90"/>
                  </a:lnTo>
                  <a:lnTo>
                    <a:pt x="258" y="91"/>
                  </a:lnTo>
                  <a:close/>
                  <a:moveTo>
                    <a:pt x="354" y="217"/>
                  </a:moveTo>
                  <a:lnTo>
                    <a:pt x="354" y="218"/>
                  </a:lnTo>
                  <a:lnTo>
                    <a:pt x="354" y="217"/>
                  </a:lnTo>
                  <a:lnTo>
                    <a:pt x="356" y="217"/>
                  </a:lnTo>
                  <a:lnTo>
                    <a:pt x="354" y="217"/>
                  </a:lnTo>
                  <a:close/>
                  <a:moveTo>
                    <a:pt x="634" y="85"/>
                  </a:moveTo>
                  <a:lnTo>
                    <a:pt x="634" y="86"/>
                  </a:lnTo>
                  <a:lnTo>
                    <a:pt x="634" y="85"/>
                  </a:lnTo>
                  <a:close/>
                  <a:moveTo>
                    <a:pt x="263" y="278"/>
                  </a:moveTo>
                  <a:lnTo>
                    <a:pt x="265" y="278"/>
                  </a:lnTo>
                  <a:lnTo>
                    <a:pt x="265" y="280"/>
                  </a:lnTo>
                  <a:lnTo>
                    <a:pt x="263" y="278"/>
                  </a:lnTo>
                  <a:close/>
                  <a:moveTo>
                    <a:pt x="385" y="99"/>
                  </a:moveTo>
                  <a:lnTo>
                    <a:pt x="387" y="99"/>
                  </a:lnTo>
                  <a:lnTo>
                    <a:pt x="385" y="99"/>
                  </a:lnTo>
                  <a:close/>
                  <a:moveTo>
                    <a:pt x="631" y="78"/>
                  </a:moveTo>
                  <a:lnTo>
                    <a:pt x="631" y="80"/>
                  </a:lnTo>
                  <a:lnTo>
                    <a:pt x="631" y="78"/>
                  </a:lnTo>
                  <a:close/>
                  <a:moveTo>
                    <a:pt x="244" y="4"/>
                  </a:moveTo>
                  <a:lnTo>
                    <a:pt x="244" y="2"/>
                  </a:lnTo>
                  <a:lnTo>
                    <a:pt x="245" y="2"/>
                  </a:lnTo>
                  <a:lnTo>
                    <a:pt x="244" y="4"/>
                  </a:lnTo>
                  <a:close/>
                  <a:moveTo>
                    <a:pt x="452" y="166"/>
                  </a:moveTo>
                  <a:lnTo>
                    <a:pt x="450" y="166"/>
                  </a:lnTo>
                  <a:lnTo>
                    <a:pt x="450" y="165"/>
                  </a:lnTo>
                  <a:lnTo>
                    <a:pt x="452" y="166"/>
                  </a:lnTo>
                  <a:close/>
                  <a:moveTo>
                    <a:pt x="691" y="127"/>
                  </a:moveTo>
                  <a:lnTo>
                    <a:pt x="691" y="126"/>
                  </a:lnTo>
                  <a:lnTo>
                    <a:pt x="691" y="127"/>
                  </a:lnTo>
                  <a:close/>
                  <a:moveTo>
                    <a:pt x="655" y="109"/>
                  </a:moveTo>
                  <a:lnTo>
                    <a:pt x="657" y="111"/>
                  </a:lnTo>
                  <a:lnTo>
                    <a:pt x="655" y="109"/>
                  </a:lnTo>
                  <a:close/>
                  <a:moveTo>
                    <a:pt x="343" y="212"/>
                  </a:moveTo>
                  <a:lnTo>
                    <a:pt x="343" y="213"/>
                  </a:lnTo>
                  <a:lnTo>
                    <a:pt x="343" y="212"/>
                  </a:lnTo>
                  <a:close/>
                </a:path>
              </a:pathLst>
            </a:custGeom>
            <a:solidFill>
              <a:srgbClr val="0070C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30" name="Freeform 19">
              <a:extLst>
                <a:ext uri="{FF2B5EF4-FFF2-40B4-BE49-F238E27FC236}">
                  <a16:creationId xmlns:a16="http://schemas.microsoft.com/office/drawing/2014/main" id="{0C16B5C4-B400-200C-D985-9D6D03652CB9}"/>
                </a:ext>
              </a:extLst>
            </p:cNvPr>
            <p:cNvSpPr>
              <a:spLocks noEditPoints="1"/>
            </p:cNvSpPr>
            <p:nvPr/>
          </p:nvSpPr>
          <p:spPr bwMode="auto">
            <a:xfrm>
              <a:off x="4050" y="2639"/>
              <a:ext cx="580" cy="455"/>
            </a:xfrm>
            <a:custGeom>
              <a:avLst/>
              <a:gdLst>
                <a:gd name="T0" fmla="*/ 149 w 580"/>
                <a:gd name="T1" fmla="*/ 158 h 455"/>
                <a:gd name="T2" fmla="*/ 187 w 580"/>
                <a:gd name="T3" fmla="*/ 174 h 455"/>
                <a:gd name="T4" fmla="*/ 209 w 580"/>
                <a:gd name="T5" fmla="*/ 224 h 455"/>
                <a:gd name="T6" fmla="*/ 187 w 580"/>
                <a:gd name="T7" fmla="*/ 208 h 455"/>
                <a:gd name="T8" fmla="*/ 148 w 580"/>
                <a:gd name="T9" fmla="*/ 271 h 455"/>
                <a:gd name="T10" fmla="*/ 138 w 580"/>
                <a:gd name="T11" fmla="*/ 306 h 455"/>
                <a:gd name="T12" fmla="*/ 127 w 580"/>
                <a:gd name="T13" fmla="*/ 351 h 455"/>
                <a:gd name="T14" fmla="*/ 120 w 580"/>
                <a:gd name="T15" fmla="*/ 389 h 455"/>
                <a:gd name="T16" fmla="*/ 105 w 580"/>
                <a:gd name="T17" fmla="*/ 418 h 455"/>
                <a:gd name="T18" fmla="*/ 31 w 580"/>
                <a:gd name="T19" fmla="*/ 382 h 455"/>
                <a:gd name="T20" fmla="*/ 27 w 580"/>
                <a:gd name="T21" fmla="*/ 325 h 455"/>
                <a:gd name="T22" fmla="*/ 6 w 580"/>
                <a:gd name="T23" fmla="*/ 216 h 455"/>
                <a:gd name="T24" fmla="*/ 42 w 580"/>
                <a:gd name="T25" fmla="*/ 169 h 455"/>
                <a:gd name="T26" fmla="*/ 66 w 580"/>
                <a:gd name="T27" fmla="*/ 149 h 455"/>
                <a:gd name="T28" fmla="*/ 86 w 580"/>
                <a:gd name="T29" fmla="*/ 162 h 455"/>
                <a:gd name="T30" fmla="*/ 92 w 580"/>
                <a:gd name="T31" fmla="*/ 130 h 455"/>
                <a:gd name="T32" fmla="*/ 341 w 580"/>
                <a:gd name="T33" fmla="*/ 231 h 455"/>
                <a:gd name="T34" fmla="*/ 349 w 580"/>
                <a:gd name="T35" fmla="*/ 302 h 455"/>
                <a:gd name="T36" fmla="*/ 327 w 580"/>
                <a:gd name="T37" fmla="*/ 371 h 455"/>
                <a:gd name="T38" fmla="*/ 296 w 580"/>
                <a:gd name="T39" fmla="*/ 384 h 455"/>
                <a:gd name="T40" fmla="*/ 266 w 580"/>
                <a:gd name="T41" fmla="*/ 364 h 455"/>
                <a:gd name="T42" fmla="*/ 239 w 580"/>
                <a:gd name="T43" fmla="*/ 301 h 455"/>
                <a:gd name="T44" fmla="*/ 263 w 580"/>
                <a:gd name="T45" fmla="*/ 284 h 455"/>
                <a:gd name="T46" fmla="*/ 299 w 580"/>
                <a:gd name="T47" fmla="*/ 257 h 455"/>
                <a:gd name="T48" fmla="*/ 304 w 580"/>
                <a:gd name="T49" fmla="*/ 294 h 455"/>
                <a:gd name="T50" fmla="*/ 314 w 580"/>
                <a:gd name="T51" fmla="*/ 293 h 455"/>
                <a:gd name="T52" fmla="*/ 307 w 580"/>
                <a:gd name="T53" fmla="*/ 257 h 455"/>
                <a:gd name="T54" fmla="*/ 190 w 580"/>
                <a:gd name="T55" fmla="*/ 83 h 455"/>
                <a:gd name="T56" fmla="*/ 110 w 580"/>
                <a:gd name="T57" fmla="*/ 102 h 455"/>
                <a:gd name="T58" fmla="*/ 37 w 580"/>
                <a:gd name="T59" fmla="*/ 143 h 455"/>
                <a:gd name="T60" fmla="*/ 18 w 580"/>
                <a:gd name="T61" fmla="*/ 149 h 455"/>
                <a:gd name="T62" fmla="*/ 140 w 580"/>
                <a:gd name="T63" fmla="*/ 39 h 455"/>
                <a:gd name="T64" fmla="*/ 193 w 580"/>
                <a:gd name="T65" fmla="*/ 332 h 455"/>
                <a:gd name="T66" fmla="*/ 221 w 580"/>
                <a:gd name="T67" fmla="*/ 343 h 455"/>
                <a:gd name="T68" fmla="*/ 174 w 580"/>
                <a:gd name="T69" fmla="*/ 380 h 455"/>
                <a:gd name="T70" fmla="*/ 143 w 580"/>
                <a:gd name="T71" fmla="*/ 340 h 455"/>
                <a:gd name="T72" fmla="*/ 180 w 580"/>
                <a:gd name="T73" fmla="*/ 307 h 455"/>
                <a:gd name="T74" fmla="*/ 307 w 580"/>
                <a:gd name="T75" fmla="*/ 423 h 455"/>
                <a:gd name="T76" fmla="*/ 250 w 580"/>
                <a:gd name="T77" fmla="*/ 432 h 455"/>
                <a:gd name="T78" fmla="*/ 580 w 580"/>
                <a:gd name="T79" fmla="*/ 367 h 455"/>
                <a:gd name="T80" fmla="*/ 317 w 580"/>
                <a:gd name="T81" fmla="*/ 402 h 455"/>
                <a:gd name="T82" fmla="*/ 304 w 580"/>
                <a:gd name="T83" fmla="*/ 415 h 455"/>
                <a:gd name="T84" fmla="*/ 53 w 580"/>
                <a:gd name="T85" fmla="*/ 153 h 455"/>
                <a:gd name="T86" fmla="*/ 141 w 580"/>
                <a:gd name="T87" fmla="*/ 387 h 455"/>
                <a:gd name="T88" fmla="*/ 136 w 580"/>
                <a:gd name="T89" fmla="*/ 393 h 455"/>
                <a:gd name="T90" fmla="*/ 214 w 580"/>
                <a:gd name="T91" fmla="*/ 413 h 455"/>
                <a:gd name="T92" fmla="*/ 338 w 580"/>
                <a:gd name="T93" fmla="*/ 408 h 455"/>
                <a:gd name="T94" fmla="*/ 229 w 580"/>
                <a:gd name="T95" fmla="*/ 73 h 455"/>
                <a:gd name="T96" fmla="*/ 203 w 580"/>
                <a:gd name="T97" fmla="*/ 258 h 455"/>
                <a:gd name="T98" fmla="*/ 192 w 580"/>
                <a:gd name="T99" fmla="*/ 419 h 455"/>
                <a:gd name="T100" fmla="*/ 31 w 580"/>
                <a:gd name="T101" fmla="*/ 335 h 455"/>
                <a:gd name="T102" fmla="*/ 380 w 580"/>
                <a:gd name="T103" fmla="*/ 301 h 455"/>
                <a:gd name="T104" fmla="*/ 301 w 580"/>
                <a:gd name="T105" fmla="*/ 283 h 455"/>
                <a:gd name="T106" fmla="*/ 242 w 580"/>
                <a:gd name="T107" fmla="*/ 262 h 455"/>
                <a:gd name="T108" fmla="*/ 166 w 580"/>
                <a:gd name="T109" fmla="*/ 271 h 455"/>
                <a:gd name="T110" fmla="*/ 335 w 580"/>
                <a:gd name="T111" fmla="*/ 385 h 455"/>
                <a:gd name="T112" fmla="*/ 42 w 580"/>
                <a:gd name="T113" fmla="*/ 146 h 455"/>
                <a:gd name="T114" fmla="*/ 170 w 580"/>
                <a:gd name="T115" fmla="*/ 304 h 455"/>
                <a:gd name="T116" fmla="*/ 177 w 580"/>
                <a:gd name="T117" fmla="*/ 385 h 455"/>
                <a:gd name="T118" fmla="*/ 198 w 580"/>
                <a:gd name="T119" fmla="*/ 403 h 455"/>
                <a:gd name="T120" fmla="*/ 302 w 580"/>
                <a:gd name="T121" fmla="*/ 284 h 455"/>
                <a:gd name="T122" fmla="*/ 205 w 580"/>
                <a:gd name="T123" fmla="*/ 37 h 455"/>
                <a:gd name="T124" fmla="*/ 115 w 580"/>
                <a:gd name="T125" fmla="*/ 104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80" h="455">
                  <a:moveTo>
                    <a:pt x="161" y="101"/>
                  </a:moveTo>
                  <a:lnTo>
                    <a:pt x="162" y="101"/>
                  </a:lnTo>
                  <a:lnTo>
                    <a:pt x="162" y="102"/>
                  </a:lnTo>
                  <a:lnTo>
                    <a:pt x="164" y="102"/>
                  </a:lnTo>
                  <a:lnTo>
                    <a:pt x="166" y="104"/>
                  </a:lnTo>
                  <a:lnTo>
                    <a:pt x="166" y="106"/>
                  </a:lnTo>
                  <a:lnTo>
                    <a:pt x="167" y="106"/>
                  </a:lnTo>
                  <a:lnTo>
                    <a:pt x="167" y="107"/>
                  </a:lnTo>
                  <a:lnTo>
                    <a:pt x="169" y="107"/>
                  </a:lnTo>
                  <a:lnTo>
                    <a:pt x="169" y="109"/>
                  </a:lnTo>
                  <a:lnTo>
                    <a:pt x="170" y="109"/>
                  </a:lnTo>
                  <a:lnTo>
                    <a:pt x="172" y="110"/>
                  </a:lnTo>
                  <a:lnTo>
                    <a:pt x="174" y="110"/>
                  </a:lnTo>
                  <a:lnTo>
                    <a:pt x="175" y="110"/>
                  </a:lnTo>
                  <a:lnTo>
                    <a:pt x="177" y="110"/>
                  </a:lnTo>
                  <a:lnTo>
                    <a:pt x="179" y="110"/>
                  </a:lnTo>
                  <a:lnTo>
                    <a:pt x="180" y="110"/>
                  </a:lnTo>
                  <a:lnTo>
                    <a:pt x="179" y="112"/>
                  </a:lnTo>
                  <a:lnTo>
                    <a:pt x="179" y="114"/>
                  </a:lnTo>
                  <a:lnTo>
                    <a:pt x="179" y="115"/>
                  </a:lnTo>
                  <a:lnTo>
                    <a:pt x="177" y="115"/>
                  </a:lnTo>
                  <a:lnTo>
                    <a:pt x="177" y="117"/>
                  </a:lnTo>
                  <a:lnTo>
                    <a:pt x="177" y="119"/>
                  </a:lnTo>
                  <a:lnTo>
                    <a:pt x="177" y="120"/>
                  </a:lnTo>
                  <a:lnTo>
                    <a:pt x="177" y="123"/>
                  </a:lnTo>
                  <a:lnTo>
                    <a:pt x="177" y="128"/>
                  </a:lnTo>
                  <a:lnTo>
                    <a:pt x="177" y="130"/>
                  </a:lnTo>
                  <a:lnTo>
                    <a:pt x="177" y="135"/>
                  </a:lnTo>
                  <a:lnTo>
                    <a:pt x="179" y="135"/>
                  </a:lnTo>
                  <a:lnTo>
                    <a:pt x="177" y="135"/>
                  </a:lnTo>
                  <a:lnTo>
                    <a:pt x="177" y="136"/>
                  </a:lnTo>
                  <a:lnTo>
                    <a:pt x="179" y="138"/>
                  </a:lnTo>
                  <a:lnTo>
                    <a:pt x="179" y="140"/>
                  </a:lnTo>
                  <a:lnTo>
                    <a:pt x="179" y="143"/>
                  </a:lnTo>
                  <a:lnTo>
                    <a:pt x="180" y="145"/>
                  </a:lnTo>
                  <a:lnTo>
                    <a:pt x="182" y="146"/>
                  </a:lnTo>
                  <a:lnTo>
                    <a:pt x="182" y="148"/>
                  </a:lnTo>
                  <a:lnTo>
                    <a:pt x="182" y="149"/>
                  </a:lnTo>
                  <a:lnTo>
                    <a:pt x="180" y="149"/>
                  </a:lnTo>
                  <a:lnTo>
                    <a:pt x="177" y="149"/>
                  </a:lnTo>
                  <a:lnTo>
                    <a:pt x="175" y="148"/>
                  </a:lnTo>
                  <a:lnTo>
                    <a:pt x="174" y="148"/>
                  </a:lnTo>
                  <a:lnTo>
                    <a:pt x="172" y="148"/>
                  </a:lnTo>
                  <a:lnTo>
                    <a:pt x="172" y="149"/>
                  </a:lnTo>
                  <a:lnTo>
                    <a:pt x="170" y="149"/>
                  </a:lnTo>
                  <a:lnTo>
                    <a:pt x="169" y="149"/>
                  </a:lnTo>
                  <a:lnTo>
                    <a:pt x="169" y="148"/>
                  </a:lnTo>
                  <a:lnTo>
                    <a:pt x="167" y="148"/>
                  </a:lnTo>
                  <a:lnTo>
                    <a:pt x="166" y="148"/>
                  </a:lnTo>
                  <a:lnTo>
                    <a:pt x="164" y="149"/>
                  </a:lnTo>
                  <a:lnTo>
                    <a:pt x="164" y="151"/>
                  </a:lnTo>
                  <a:lnTo>
                    <a:pt x="162" y="151"/>
                  </a:lnTo>
                  <a:lnTo>
                    <a:pt x="161" y="151"/>
                  </a:lnTo>
                  <a:lnTo>
                    <a:pt x="161" y="149"/>
                  </a:lnTo>
                  <a:lnTo>
                    <a:pt x="159" y="151"/>
                  </a:lnTo>
                  <a:lnTo>
                    <a:pt x="157" y="151"/>
                  </a:lnTo>
                  <a:lnTo>
                    <a:pt x="157" y="153"/>
                  </a:lnTo>
                  <a:lnTo>
                    <a:pt x="156" y="153"/>
                  </a:lnTo>
                  <a:lnTo>
                    <a:pt x="154" y="154"/>
                  </a:lnTo>
                  <a:lnTo>
                    <a:pt x="153" y="156"/>
                  </a:lnTo>
                  <a:lnTo>
                    <a:pt x="151" y="156"/>
                  </a:lnTo>
                  <a:lnTo>
                    <a:pt x="153" y="156"/>
                  </a:lnTo>
                  <a:lnTo>
                    <a:pt x="151" y="156"/>
                  </a:lnTo>
                  <a:lnTo>
                    <a:pt x="151" y="158"/>
                  </a:lnTo>
                  <a:lnTo>
                    <a:pt x="149" y="158"/>
                  </a:lnTo>
                  <a:lnTo>
                    <a:pt x="148" y="158"/>
                  </a:lnTo>
                  <a:lnTo>
                    <a:pt x="146" y="158"/>
                  </a:lnTo>
                  <a:lnTo>
                    <a:pt x="144" y="158"/>
                  </a:lnTo>
                  <a:lnTo>
                    <a:pt x="143" y="158"/>
                  </a:lnTo>
                  <a:lnTo>
                    <a:pt x="141" y="158"/>
                  </a:lnTo>
                  <a:lnTo>
                    <a:pt x="140" y="159"/>
                  </a:lnTo>
                  <a:lnTo>
                    <a:pt x="141" y="159"/>
                  </a:lnTo>
                  <a:lnTo>
                    <a:pt x="143" y="159"/>
                  </a:lnTo>
                  <a:lnTo>
                    <a:pt x="144" y="159"/>
                  </a:lnTo>
                  <a:lnTo>
                    <a:pt x="146" y="159"/>
                  </a:lnTo>
                  <a:lnTo>
                    <a:pt x="146" y="158"/>
                  </a:lnTo>
                  <a:lnTo>
                    <a:pt x="146" y="159"/>
                  </a:lnTo>
                  <a:lnTo>
                    <a:pt x="148" y="158"/>
                  </a:lnTo>
                  <a:lnTo>
                    <a:pt x="149" y="158"/>
                  </a:lnTo>
                  <a:lnTo>
                    <a:pt x="151" y="158"/>
                  </a:lnTo>
                  <a:lnTo>
                    <a:pt x="153" y="158"/>
                  </a:lnTo>
                  <a:lnTo>
                    <a:pt x="154" y="158"/>
                  </a:lnTo>
                  <a:lnTo>
                    <a:pt x="154" y="156"/>
                  </a:lnTo>
                  <a:lnTo>
                    <a:pt x="156" y="156"/>
                  </a:lnTo>
                  <a:lnTo>
                    <a:pt x="156" y="154"/>
                  </a:lnTo>
                  <a:lnTo>
                    <a:pt x="157" y="154"/>
                  </a:lnTo>
                  <a:lnTo>
                    <a:pt x="159" y="153"/>
                  </a:lnTo>
                  <a:lnTo>
                    <a:pt x="159" y="151"/>
                  </a:lnTo>
                  <a:lnTo>
                    <a:pt x="161" y="151"/>
                  </a:lnTo>
                  <a:lnTo>
                    <a:pt x="161" y="153"/>
                  </a:lnTo>
                  <a:lnTo>
                    <a:pt x="162" y="153"/>
                  </a:lnTo>
                  <a:lnTo>
                    <a:pt x="164" y="153"/>
                  </a:lnTo>
                  <a:lnTo>
                    <a:pt x="164" y="151"/>
                  </a:lnTo>
                  <a:lnTo>
                    <a:pt x="164" y="149"/>
                  </a:lnTo>
                  <a:lnTo>
                    <a:pt x="166" y="149"/>
                  </a:lnTo>
                  <a:lnTo>
                    <a:pt x="167" y="149"/>
                  </a:lnTo>
                  <a:lnTo>
                    <a:pt x="169" y="149"/>
                  </a:lnTo>
                  <a:lnTo>
                    <a:pt x="169" y="151"/>
                  </a:lnTo>
                  <a:lnTo>
                    <a:pt x="170" y="151"/>
                  </a:lnTo>
                  <a:lnTo>
                    <a:pt x="170" y="153"/>
                  </a:lnTo>
                  <a:lnTo>
                    <a:pt x="172" y="153"/>
                  </a:lnTo>
                  <a:lnTo>
                    <a:pt x="175" y="151"/>
                  </a:lnTo>
                  <a:lnTo>
                    <a:pt x="177" y="151"/>
                  </a:lnTo>
                  <a:lnTo>
                    <a:pt x="179" y="151"/>
                  </a:lnTo>
                  <a:lnTo>
                    <a:pt x="180" y="149"/>
                  </a:lnTo>
                  <a:lnTo>
                    <a:pt x="182" y="149"/>
                  </a:lnTo>
                  <a:lnTo>
                    <a:pt x="183" y="151"/>
                  </a:lnTo>
                  <a:lnTo>
                    <a:pt x="185" y="156"/>
                  </a:lnTo>
                  <a:lnTo>
                    <a:pt x="183" y="156"/>
                  </a:lnTo>
                  <a:lnTo>
                    <a:pt x="183" y="158"/>
                  </a:lnTo>
                  <a:lnTo>
                    <a:pt x="185" y="158"/>
                  </a:lnTo>
                  <a:lnTo>
                    <a:pt x="183" y="159"/>
                  </a:lnTo>
                  <a:lnTo>
                    <a:pt x="183" y="161"/>
                  </a:lnTo>
                  <a:lnTo>
                    <a:pt x="182" y="162"/>
                  </a:lnTo>
                  <a:lnTo>
                    <a:pt x="180" y="162"/>
                  </a:lnTo>
                  <a:lnTo>
                    <a:pt x="180" y="164"/>
                  </a:lnTo>
                  <a:lnTo>
                    <a:pt x="179" y="164"/>
                  </a:lnTo>
                  <a:lnTo>
                    <a:pt x="179" y="166"/>
                  </a:lnTo>
                  <a:lnTo>
                    <a:pt x="177" y="166"/>
                  </a:lnTo>
                  <a:lnTo>
                    <a:pt x="175" y="167"/>
                  </a:lnTo>
                  <a:lnTo>
                    <a:pt x="175" y="169"/>
                  </a:lnTo>
                  <a:lnTo>
                    <a:pt x="174" y="171"/>
                  </a:lnTo>
                  <a:lnTo>
                    <a:pt x="174" y="172"/>
                  </a:lnTo>
                  <a:lnTo>
                    <a:pt x="172" y="172"/>
                  </a:lnTo>
                  <a:lnTo>
                    <a:pt x="174" y="174"/>
                  </a:lnTo>
                  <a:lnTo>
                    <a:pt x="174" y="175"/>
                  </a:lnTo>
                  <a:lnTo>
                    <a:pt x="174" y="179"/>
                  </a:lnTo>
                  <a:lnTo>
                    <a:pt x="172" y="182"/>
                  </a:lnTo>
                  <a:lnTo>
                    <a:pt x="172" y="184"/>
                  </a:lnTo>
                  <a:lnTo>
                    <a:pt x="172" y="182"/>
                  </a:lnTo>
                  <a:lnTo>
                    <a:pt x="174" y="182"/>
                  </a:lnTo>
                  <a:lnTo>
                    <a:pt x="175" y="184"/>
                  </a:lnTo>
                  <a:lnTo>
                    <a:pt x="177" y="184"/>
                  </a:lnTo>
                  <a:lnTo>
                    <a:pt x="179" y="184"/>
                  </a:lnTo>
                  <a:lnTo>
                    <a:pt x="177" y="184"/>
                  </a:lnTo>
                  <a:lnTo>
                    <a:pt x="175" y="184"/>
                  </a:lnTo>
                  <a:lnTo>
                    <a:pt x="174" y="182"/>
                  </a:lnTo>
                  <a:lnTo>
                    <a:pt x="174" y="180"/>
                  </a:lnTo>
                  <a:lnTo>
                    <a:pt x="174" y="179"/>
                  </a:lnTo>
                  <a:lnTo>
                    <a:pt x="174" y="177"/>
                  </a:lnTo>
                  <a:lnTo>
                    <a:pt x="174" y="175"/>
                  </a:lnTo>
                  <a:lnTo>
                    <a:pt x="174" y="174"/>
                  </a:lnTo>
                  <a:lnTo>
                    <a:pt x="174" y="172"/>
                  </a:lnTo>
                  <a:lnTo>
                    <a:pt x="174" y="174"/>
                  </a:lnTo>
                  <a:lnTo>
                    <a:pt x="175" y="172"/>
                  </a:lnTo>
                  <a:lnTo>
                    <a:pt x="175" y="171"/>
                  </a:lnTo>
                  <a:lnTo>
                    <a:pt x="177" y="171"/>
                  </a:lnTo>
                  <a:lnTo>
                    <a:pt x="177" y="169"/>
                  </a:lnTo>
                  <a:lnTo>
                    <a:pt x="177" y="167"/>
                  </a:lnTo>
                  <a:lnTo>
                    <a:pt x="179" y="167"/>
                  </a:lnTo>
                  <a:lnTo>
                    <a:pt x="180" y="166"/>
                  </a:lnTo>
                  <a:lnTo>
                    <a:pt x="180" y="164"/>
                  </a:lnTo>
                  <a:lnTo>
                    <a:pt x="182" y="164"/>
                  </a:lnTo>
                  <a:lnTo>
                    <a:pt x="183" y="166"/>
                  </a:lnTo>
                  <a:lnTo>
                    <a:pt x="183" y="167"/>
                  </a:lnTo>
                  <a:lnTo>
                    <a:pt x="183" y="169"/>
                  </a:lnTo>
                  <a:lnTo>
                    <a:pt x="185" y="171"/>
                  </a:lnTo>
                  <a:lnTo>
                    <a:pt x="187" y="174"/>
                  </a:lnTo>
                  <a:lnTo>
                    <a:pt x="188" y="174"/>
                  </a:lnTo>
                  <a:lnTo>
                    <a:pt x="190" y="175"/>
                  </a:lnTo>
                  <a:lnTo>
                    <a:pt x="193" y="175"/>
                  </a:lnTo>
                  <a:lnTo>
                    <a:pt x="195" y="177"/>
                  </a:lnTo>
                  <a:lnTo>
                    <a:pt x="196" y="177"/>
                  </a:lnTo>
                  <a:lnTo>
                    <a:pt x="198" y="177"/>
                  </a:lnTo>
                  <a:lnTo>
                    <a:pt x="200" y="177"/>
                  </a:lnTo>
                  <a:lnTo>
                    <a:pt x="201" y="177"/>
                  </a:lnTo>
                  <a:lnTo>
                    <a:pt x="203" y="177"/>
                  </a:lnTo>
                  <a:lnTo>
                    <a:pt x="205" y="175"/>
                  </a:lnTo>
                  <a:lnTo>
                    <a:pt x="208" y="175"/>
                  </a:lnTo>
                  <a:lnTo>
                    <a:pt x="209" y="174"/>
                  </a:lnTo>
                  <a:lnTo>
                    <a:pt x="211" y="174"/>
                  </a:lnTo>
                  <a:lnTo>
                    <a:pt x="213" y="174"/>
                  </a:lnTo>
                  <a:lnTo>
                    <a:pt x="214" y="174"/>
                  </a:lnTo>
                  <a:lnTo>
                    <a:pt x="216" y="174"/>
                  </a:lnTo>
                  <a:lnTo>
                    <a:pt x="219" y="174"/>
                  </a:lnTo>
                  <a:lnTo>
                    <a:pt x="221" y="174"/>
                  </a:lnTo>
                  <a:lnTo>
                    <a:pt x="223" y="174"/>
                  </a:lnTo>
                  <a:lnTo>
                    <a:pt x="224" y="175"/>
                  </a:lnTo>
                  <a:lnTo>
                    <a:pt x="224" y="177"/>
                  </a:lnTo>
                  <a:lnTo>
                    <a:pt x="224" y="179"/>
                  </a:lnTo>
                  <a:lnTo>
                    <a:pt x="226" y="180"/>
                  </a:lnTo>
                  <a:lnTo>
                    <a:pt x="226" y="182"/>
                  </a:lnTo>
                  <a:lnTo>
                    <a:pt x="227" y="182"/>
                  </a:lnTo>
                  <a:lnTo>
                    <a:pt x="229" y="182"/>
                  </a:lnTo>
                  <a:lnTo>
                    <a:pt x="229" y="184"/>
                  </a:lnTo>
                  <a:lnTo>
                    <a:pt x="231" y="184"/>
                  </a:lnTo>
                  <a:lnTo>
                    <a:pt x="231" y="185"/>
                  </a:lnTo>
                  <a:lnTo>
                    <a:pt x="232" y="185"/>
                  </a:lnTo>
                  <a:lnTo>
                    <a:pt x="231" y="185"/>
                  </a:lnTo>
                  <a:lnTo>
                    <a:pt x="232" y="187"/>
                  </a:lnTo>
                  <a:lnTo>
                    <a:pt x="232" y="188"/>
                  </a:lnTo>
                  <a:lnTo>
                    <a:pt x="231" y="187"/>
                  </a:lnTo>
                  <a:lnTo>
                    <a:pt x="231" y="188"/>
                  </a:lnTo>
                  <a:lnTo>
                    <a:pt x="229" y="188"/>
                  </a:lnTo>
                  <a:lnTo>
                    <a:pt x="229" y="190"/>
                  </a:lnTo>
                  <a:lnTo>
                    <a:pt x="231" y="190"/>
                  </a:lnTo>
                  <a:lnTo>
                    <a:pt x="229" y="190"/>
                  </a:lnTo>
                  <a:lnTo>
                    <a:pt x="229" y="192"/>
                  </a:lnTo>
                  <a:lnTo>
                    <a:pt x="229" y="193"/>
                  </a:lnTo>
                  <a:lnTo>
                    <a:pt x="229" y="192"/>
                  </a:lnTo>
                  <a:lnTo>
                    <a:pt x="229" y="193"/>
                  </a:lnTo>
                  <a:lnTo>
                    <a:pt x="229" y="195"/>
                  </a:lnTo>
                  <a:lnTo>
                    <a:pt x="229" y="197"/>
                  </a:lnTo>
                  <a:lnTo>
                    <a:pt x="229" y="198"/>
                  </a:lnTo>
                  <a:lnTo>
                    <a:pt x="229" y="200"/>
                  </a:lnTo>
                  <a:lnTo>
                    <a:pt x="229" y="201"/>
                  </a:lnTo>
                  <a:lnTo>
                    <a:pt x="227" y="203"/>
                  </a:lnTo>
                  <a:lnTo>
                    <a:pt x="226" y="205"/>
                  </a:lnTo>
                  <a:lnTo>
                    <a:pt x="226" y="206"/>
                  </a:lnTo>
                  <a:lnTo>
                    <a:pt x="224" y="206"/>
                  </a:lnTo>
                  <a:lnTo>
                    <a:pt x="224" y="208"/>
                  </a:lnTo>
                  <a:lnTo>
                    <a:pt x="223" y="210"/>
                  </a:lnTo>
                  <a:lnTo>
                    <a:pt x="221" y="213"/>
                  </a:lnTo>
                  <a:lnTo>
                    <a:pt x="219" y="215"/>
                  </a:lnTo>
                  <a:lnTo>
                    <a:pt x="219" y="216"/>
                  </a:lnTo>
                  <a:lnTo>
                    <a:pt x="218" y="216"/>
                  </a:lnTo>
                  <a:lnTo>
                    <a:pt x="216" y="216"/>
                  </a:lnTo>
                  <a:lnTo>
                    <a:pt x="216" y="218"/>
                  </a:lnTo>
                  <a:lnTo>
                    <a:pt x="214" y="219"/>
                  </a:lnTo>
                  <a:lnTo>
                    <a:pt x="214" y="221"/>
                  </a:lnTo>
                  <a:lnTo>
                    <a:pt x="214" y="224"/>
                  </a:lnTo>
                  <a:lnTo>
                    <a:pt x="214" y="226"/>
                  </a:lnTo>
                  <a:lnTo>
                    <a:pt x="214" y="228"/>
                  </a:lnTo>
                  <a:lnTo>
                    <a:pt x="214" y="229"/>
                  </a:lnTo>
                  <a:lnTo>
                    <a:pt x="213" y="231"/>
                  </a:lnTo>
                  <a:lnTo>
                    <a:pt x="211" y="231"/>
                  </a:lnTo>
                  <a:lnTo>
                    <a:pt x="211" y="229"/>
                  </a:lnTo>
                  <a:lnTo>
                    <a:pt x="211" y="231"/>
                  </a:lnTo>
                  <a:lnTo>
                    <a:pt x="209" y="229"/>
                  </a:lnTo>
                  <a:lnTo>
                    <a:pt x="211" y="229"/>
                  </a:lnTo>
                  <a:lnTo>
                    <a:pt x="209" y="228"/>
                  </a:lnTo>
                  <a:lnTo>
                    <a:pt x="209" y="229"/>
                  </a:lnTo>
                  <a:lnTo>
                    <a:pt x="209" y="228"/>
                  </a:lnTo>
                  <a:lnTo>
                    <a:pt x="208" y="228"/>
                  </a:lnTo>
                  <a:lnTo>
                    <a:pt x="206" y="224"/>
                  </a:lnTo>
                  <a:lnTo>
                    <a:pt x="208" y="224"/>
                  </a:lnTo>
                  <a:lnTo>
                    <a:pt x="209" y="224"/>
                  </a:lnTo>
                  <a:lnTo>
                    <a:pt x="209" y="223"/>
                  </a:lnTo>
                  <a:lnTo>
                    <a:pt x="209" y="221"/>
                  </a:lnTo>
                  <a:lnTo>
                    <a:pt x="209" y="219"/>
                  </a:lnTo>
                  <a:lnTo>
                    <a:pt x="208" y="218"/>
                  </a:lnTo>
                  <a:lnTo>
                    <a:pt x="206" y="218"/>
                  </a:lnTo>
                  <a:lnTo>
                    <a:pt x="205" y="218"/>
                  </a:lnTo>
                  <a:lnTo>
                    <a:pt x="203" y="219"/>
                  </a:lnTo>
                  <a:lnTo>
                    <a:pt x="201" y="221"/>
                  </a:lnTo>
                  <a:lnTo>
                    <a:pt x="201" y="223"/>
                  </a:lnTo>
                  <a:lnTo>
                    <a:pt x="200" y="224"/>
                  </a:lnTo>
                  <a:lnTo>
                    <a:pt x="198" y="226"/>
                  </a:lnTo>
                  <a:lnTo>
                    <a:pt x="198" y="228"/>
                  </a:lnTo>
                  <a:lnTo>
                    <a:pt x="200" y="229"/>
                  </a:lnTo>
                  <a:lnTo>
                    <a:pt x="200" y="231"/>
                  </a:lnTo>
                  <a:lnTo>
                    <a:pt x="200" y="232"/>
                  </a:lnTo>
                  <a:lnTo>
                    <a:pt x="200" y="234"/>
                  </a:lnTo>
                  <a:lnTo>
                    <a:pt x="200" y="236"/>
                  </a:lnTo>
                  <a:lnTo>
                    <a:pt x="196" y="237"/>
                  </a:lnTo>
                  <a:lnTo>
                    <a:pt x="196" y="236"/>
                  </a:lnTo>
                  <a:lnTo>
                    <a:pt x="195" y="234"/>
                  </a:lnTo>
                  <a:lnTo>
                    <a:pt x="195" y="232"/>
                  </a:lnTo>
                  <a:lnTo>
                    <a:pt x="195" y="231"/>
                  </a:lnTo>
                  <a:lnTo>
                    <a:pt x="195" y="229"/>
                  </a:lnTo>
                  <a:lnTo>
                    <a:pt x="196" y="231"/>
                  </a:lnTo>
                  <a:lnTo>
                    <a:pt x="196" y="229"/>
                  </a:lnTo>
                  <a:lnTo>
                    <a:pt x="198" y="229"/>
                  </a:lnTo>
                  <a:lnTo>
                    <a:pt x="198" y="228"/>
                  </a:lnTo>
                  <a:lnTo>
                    <a:pt x="198" y="226"/>
                  </a:lnTo>
                  <a:lnTo>
                    <a:pt x="196" y="226"/>
                  </a:lnTo>
                  <a:lnTo>
                    <a:pt x="195" y="226"/>
                  </a:lnTo>
                  <a:lnTo>
                    <a:pt x="193" y="226"/>
                  </a:lnTo>
                  <a:lnTo>
                    <a:pt x="193" y="224"/>
                  </a:lnTo>
                  <a:lnTo>
                    <a:pt x="192" y="224"/>
                  </a:lnTo>
                  <a:lnTo>
                    <a:pt x="190" y="226"/>
                  </a:lnTo>
                  <a:lnTo>
                    <a:pt x="190" y="228"/>
                  </a:lnTo>
                  <a:lnTo>
                    <a:pt x="188" y="228"/>
                  </a:lnTo>
                  <a:lnTo>
                    <a:pt x="187" y="228"/>
                  </a:lnTo>
                  <a:lnTo>
                    <a:pt x="187" y="226"/>
                  </a:lnTo>
                  <a:lnTo>
                    <a:pt x="185" y="226"/>
                  </a:lnTo>
                  <a:lnTo>
                    <a:pt x="185" y="224"/>
                  </a:lnTo>
                  <a:lnTo>
                    <a:pt x="185" y="223"/>
                  </a:lnTo>
                  <a:lnTo>
                    <a:pt x="183" y="223"/>
                  </a:lnTo>
                  <a:lnTo>
                    <a:pt x="185" y="223"/>
                  </a:lnTo>
                  <a:lnTo>
                    <a:pt x="187" y="221"/>
                  </a:lnTo>
                  <a:lnTo>
                    <a:pt x="188" y="221"/>
                  </a:lnTo>
                  <a:lnTo>
                    <a:pt x="188" y="219"/>
                  </a:lnTo>
                  <a:lnTo>
                    <a:pt x="190" y="219"/>
                  </a:lnTo>
                  <a:lnTo>
                    <a:pt x="192" y="219"/>
                  </a:lnTo>
                  <a:lnTo>
                    <a:pt x="190" y="219"/>
                  </a:lnTo>
                  <a:lnTo>
                    <a:pt x="190" y="221"/>
                  </a:lnTo>
                  <a:lnTo>
                    <a:pt x="192" y="223"/>
                  </a:lnTo>
                  <a:lnTo>
                    <a:pt x="193" y="223"/>
                  </a:lnTo>
                  <a:lnTo>
                    <a:pt x="193" y="221"/>
                  </a:lnTo>
                  <a:lnTo>
                    <a:pt x="195" y="221"/>
                  </a:lnTo>
                  <a:lnTo>
                    <a:pt x="193" y="221"/>
                  </a:lnTo>
                  <a:lnTo>
                    <a:pt x="193" y="219"/>
                  </a:lnTo>
                  <a:lnTo>
                    <a:pt x="193" y="218"/>
                  </a:lnTo>
                  <a:lnTo>
                    <a:pt x="192" y="218"/>
                  </a:lnTo>
                  <a:lnTo>
                    <a:pt x="192" y="219"/>
                  </a:lnTo>
                  <a:lnTo>
                    <a:pt x="192" y="218"/>
                  </a:lnTo>
                  <a:lnTo>
                    <a:pt x="193" y="216"/>
                  </a:lnTo>
                  <a:lnTo>
                    <a:pt x="193" y="215"/>
                  </a:lnTo>
                  <a:lnTo>
                    <a:pt x="195" y="215"/>
                  </a:lnTo>
                  <a:lnTo>
                    <a:pt x="195" y="213"/>
                  </a:lnTo>
                  <a:lnTo>
                    <a:pt x="196" y="213"/>
                  </a:lnTo>
                  <a:lnTo>
                    <a:pt x="196" y="211"/>
                  </a:lnTo>
                  <a:lnTo>
                    <a:pt x="195" y="211"/>
                  </a:lnTo>
                  <a:lnTo>
                    <a:pt x="195" y="210"/>
                  </a:lnTo>
                  <a:lnTo>
                    <a:pt x="193" y="210"/>
                  </a:lnTo>
                  <a:lnTo>
                    <a:pt x="193" y="211"/>
                  </a:lnTo>
                  <a:lnTo>
                    <a:pt x="192" y="211"/>
                  </a:lnTo>
                  <a:lnTo>
                    <a:pt x="192" y="210"/>
                  </a:lnTo>
                  <a:lnTo>
                    <a:pt x="192" y="208"/>
                  </a:lnTo>
                  <a:lnTo>
                    <a:pt x="192" y="210"/>
                  </a:lnTo>
                  <a:lnTo>
                    <a:pt x="190" y="208"/>
                  </a:lnTo>
                  <a:lnTo>
                    <a:pt x="188" y="210"/>
                  </a:lnTo>
                  <a:lnTo>
                    <a:pt x="188" y="208"/>
                  </a:lnTo>
                  <a:lnTo>
                    <a:pt x="188" y="210"/>
                  </a:lnTo>
                  <a:lnTo>
                    <a:pt x="187" y="208"/>
                  </a:lnTo>
                  <a:lnTo>
                    <a:pt x="187" y="210"/>
                  </a:lnTo>
                  <a:lnTo>
                    <a:pt x="187" y="211"/>
                  </a:lnTo>
                  <a:lnTo>
                    <a:pt x="185" y="213"/>
                  </a:lnTo>
                  <a:lnTo>
                    <a:pt x="185" y="211"/>
                  </a:lnTo>
                  <a:lnTo>
                    <a:pt x="183" y="213"/>
                  </a:lnTo>
                  <a:lnTo>
                    <a:pt x="183" y="215"/>
                  </a:lnTo>
                  <a:lnTo>
                    <a:pt x="183" y="216"/>
                  </a:lnTo>
                  <a:lnTo>
                    <a:pt x="182" y="218"/>
                  </a:lnTo>
                  <a:lnTo>
                    <a:pt x="180" y="218"/>
                  </a:lnTo>
                  <a:lnTo>
                    <a:pt x="180" y="219"/>
                  </a:lnTo>
                  <a:lnTo>
                    <a:pt x="179" y="219"/>
                  </a:lnTo>
                  <a:lnTo>
                    <a:pt x="179" y="221"/>
                  </a:lnTo>
                  <a:lnTo>
                    <a:pt x="179" y="223"/>
                  </a:lnTo>
                  <a:lnTo>
                    <a:pt x="177" y="223"/>
                  </a:lnTo>
                  <a:lnTo>
                    <a:pt x="175" y="224"/>
                  </a:lnTo>
                  <a:lnTo>
                    <a:pt x="174" y="226"/>
                  </a:lnTo>
                  <a:lnTo>
                    <a:pt x="174" y="228"/>
                  </a:lnTo>
                  <a:lnTo>
                    <a:pt x="174" y="229"/>
                  </a:lnTo>
                  <a:lnTo>
                    <a:pt x="174" y="231"/>
                  </a:lnTo>
                  <a:lnTo>
                    <a:pt x="174" y="229"/>
                  </a:lnTo>
                  <a:lnTo>
                    <a:pt x="175" y="229"/>
                  </a:lnTo>
                  <a:lnTo>
                    <a:pt x="174" y="231"/>
                  </a:lnTo>
                  <a:lnTo>
                    <a:pt x="172" y="231"/>
                  </a:lnTo>
                  <a:lnTo>
                    <a:pt x="174" y="232"/>
                  </a:lnTo>
                  <a:lnTo>
                    <a:pt x="174" y="234"/>
                  </a:lnTo>
                  <a:lnTo>
                    <a:pt x="175" y="236"/>
                  </a:lnTo>
                  <a:lnTo>
                    <a:pt x="175" y="237"/>
                  </a:lnTo>
                  <a:lnTo>
                    <a:pt x="175" y="239"/>
                  </a:lnTo>
                  <a:lnTo>
                    <a:pt x="175" y="241"/>
                  </a:lnTo>
                  <a:lnTo>
                    <a:pt x="177" y="241"/>
                  </a:lnTo>
                  <a:lnTo>
                    <a:pt x="177" y="242"/>
                  </a:lnTo>
                  <a:lnTo>
                    <a:pt x="177" y="244"/>
                  </a:lnTo>
                  <a:lnTo>
                    <a:pt x="177" y="245"/>
                  </a:lnTo>
                  <a:lnTo>
                    <a:pt x="177" y="247"/>
                  </a:lnTo>
                  <a:lnTo>
                    <a:pt x="179" y="247"/>
                  </a:lnTo>
                  <a:lnTo>
                    <a:pt x="179" y="249"/>
                  </a:lnTo>
                  <a:lnTo>
                    <a:pt x="177" y="249"/>
                  </a:lnTo>
                  <a:lnTo>
                    <a:pt x="177" y="250"/>
                  </a:lnTo>
                  <a:lnTo>
                    <a:pt x="175" y="252"/>
                  </a:lnTo>
                  <a:lnTo>
                    <a:pt x="175" y="254"/>
                  </a:lnTo>
                  <a:lnTo>
                    <a:pt x="175" y="255"/>
                  </a:lnTo>
                  <a:lnTo>
                    <a:pt x="177" y="255"/>
                  </a:lnTo>
                  <a:lnTo>
                    <a:pt x="177" y="257"/>
                  </a:lnTo>
                  <a:lnTo>
                    <a:pt x="177" y="258"/>
                  </a:lnTo>
                  <a:lnTo>
                    <a:pt x="177" y="260"/>
                  </a:lnTo>
                  <a:lnTo>
                    <a:pt x="177" y="262"/>
                  </a:lnTo>
                  <a:lnTo>
                    <a:pt x="177" y="263"/>
                  </a:lnTo>
                  <a:lnTo>
                    <a:pt x="175" y="263"/>
                  </a:lnTo>
                  <a:lnTo>
                    <a:pt x="174" y="265"/>
                  </a:lnTo>
                  <a:lnTo>
                    <a:pt x="174" y="267"/>
                  </a:lnTo>
                  <a:lnTo>
                    <a:pt x="172" y="267"/>
                  </a:lnTo>
                  <a:lnTo>
                    <a:pt x="172" y="270"/>
                  </a:lnTo>
                  <a:lnTo>
                    <a:pt x="172" y="271"/>
                  </a:lnTo>
                  <a:lnTo>
                    <a:pt x="170" y="271"/>
                  </a:lnTo>
                  <a:lnTo>
                    <a:pt x="170" y="273"/>
                  </a:lnTo>
                  <a:lnTo>
                    <a:pt x="172" y="273"/>
                  </a:lnTo>
                  <a:lnTo>
                    <a:pt x="172" y="275"/>
                  </a:lnTo>
                  <a:lnTo>
                    <a:pt x="170" y="273"/>
                  </a:lnTo>
                  <a:lnTo>
                    <a:pt x="169" y="273"/>
                  </a:lnTo>
                  <a:lnTo>
                    <a:pt x="167" y="271"/>
                  </a:lnTo>
                  <a:lnTo>
                    <a:pt x="167" y="270"/>
                  </a:lnTo>
                  <a:lnTo>
                    <a:pt x="167" y="268"/>
                  </a:lnTo>
                  <a:lnTo>
                    <a:pt x="166" y="268"/>
                  </a:lnTo>
                  <a:lnTo>
                    <a:pt x="166" y="270"/>
                  </a:lnTo>
                  <a:lnTo>
                    <a:pt x="164" y="268"/>
                  </a:lnTo>
                  <a:lnTo>
                    <a:pt x="166" y="268"/>
                  </a:lnTo>
                  <a:lnTo>
                    <a:pt x="164" y="268"/>
                  </a:lnTo>
                  <a:lnTo>
                    <a:pt x="162" y="268"/>
                  </a:lnTo>
                  <a:lnTo>
                    <a:pt x="161" y="268"/>
                  </a:lnTo>
                  <a:lnTo>
                    <a:pt x="159" y="268"/>
                  </a:lnTo>
                  <a:lnTo>
                    <a:pt x="157" y="268"/>
                  </a:lnTo>
                  <a:lnTo>
                    <a:pt x="156" y="268"/>
                  </a:lnTo>
                  <a:lnTo>
                    <a:pt x="154" y="268"/>
                  </a:lnTo>
                  <a:lnTo>
                    <a:pt x="153" y="268"/>
                  </a:lnTo>
                  <a:lnTo>
                    <a:pt x="153" y="270"/>
                  </a:lnTo>
                  <a:lnTo>
                    <a:pt x="153" y="271"/>
                  </a:lnTo>
                  <a:lnTo>
                    <a:pt x="151" y="271"/>
                  </a:lnTo>
                  <a:lnTo>
                    <a:pt x="149" y="271"/>
                  </a:lnTo>
                  <a:lnTo>
                    <a:pt x="148" y="271"/>
                  </a:lnTo>
                  <a:lnTo>
                    <a:pt x="148" y="270"/>
                  </a:lnTo>
                  <a:lnTo>
                    <a:pt x="146" y="270"/>
                  </a:lnTo>
                  <a:lnTo>
                    <a:pt x="146" y="271"/>
                  </a:lnTo>
                  <a:lnTo>
                    <a:pt x="144" y="271"/>
                  </a:lnTo>
                  <a:lnTo>
                    <a:pt x="146" y="271"/>
                  </a:lnTo>
                  <a:lnTo>
                    <a:pt x="144" y="271"/>
                  </a:lnTo>
                  <a:lnTo>
                    <a:pt x="146" y="273"/>
                  </a:lnTo>
                  <a:lnTo>
                    <a:pt x="148" y="273"/>
                  </a:lnTo>
                  <a:lnTo>
                    <a:pt x="149" y="275"/>
                  </a:lnTo>
                  <a:lnTo>
                    <a:pt x="151" y="275"/>
                  </a:lnTo>
                  <a:lnTo>
                    <a:pt x="153" y="275"/>
                  </a:lnTo>
                  <a:lnTo>
                    <a:pt x="154" y="275"/>
                  </a:lnTo>
                  <a:lnTo>
                    <a:pt x="154" y="276"/>
                  </a:lnTo>
                  <a:lnTo>
                    <a:pt x="156" y="276"/>
                  </a:lnTo>
                  <a:lnTo>
                    <a:pt x="157" y="275"/>
                  </a:lnTo>
                  <a:lnTo>
                    <a:pt x="157" y="273"/>
                  </a:lnTo>
                  <a:lnTo>
                    <a:pt x="157" y="275"/>
                  </a:lnTo>
                  <a:lnTo>
                    <a:pt x="157" y="276"/>
                  </a:lnTo>
                  <a:lnTo>
                    <a:pt x="159" y="276"/>
                  </a:lnTo>
                  <a:lnTo>
                    <a:pt x="161" y="276"/>
                  </a:lnTo>
                  <a:lnTo>
                    <a:pt x="161" y="278"/>
                  </a:lnTo>
                  <a:lnTo>
                    <a:pt x="161" y="280"/>
                  </a:lnTo>
                  <a:lnTo>
                    <a:pt x="159" y="281"/>
                  </a:lnTo>
                  <a:lnTo>
                    <a:pt x="157" y="283"/>
                  </a:lnTo>
                  <a:lnTo>
                    <a:pt x="157" y="284"/>
                  </a:lnTo>
                  <a:lnTo>
                    <a:pt x="157" y="286"/>
                  </a:lnTo>
                  <a:lnTo>
                    <a:pt x="159" y="286"/>
                  </a:lnTo>
                  <a:lnTo>
                    <a:pt x="161" y="286"/>
                  </a:lnTo>
                  <a:lnTo>
                    <a:pt x="162" y="286"/>
                  </a:lnTo>
                  <a:lnTo>
                    <a:pt x="162" y="288"/>
                  </a:lnTo>
                  <a:lnTo>
                    <a:pt x="161" y="288"/>
                  </a:lnTo>
                  <a:lnTo>
                    <a:pt x="159" y="288"/>
                  </a:lnTo>
                  <a:lnTo>
                    <a:pt x="159" y="289"/>
                  </a:lnTo>
                  <a:lnTo>
                    <a:pt x="157" y="289"/>
                  </a:lnTo>
                  <a:lnTo>
                    <a:pt x="156" y="289"/>
                  </a:lnTo>
                  <a:lnTo>
                    <a:pt x="156" y="291"/>
                  </a:lnTo>
                  <a:lnTo>
                    <a:pt x="157" y="291"/>
                  </a:lnTo>
                  <a:lnTo>
                    <a:pt x="157" y="293"/>
                  </a:lnTo>
                  <a:lnTo>
                    <a:pt x="157" y="294"/>
                  </a:lnTo>
                  <a:lnTo>
                    <a:pt x="156" y="294"/>
                  </a:lnTo>
                  <a:lnTo>
                    <a:pt x="154" y="294"/>
                  </a:lnTo>
                  <a:lnTo>
                    <a:pt x="153" y="294"/>
                  </a:lnTo>
                  <a:lnTo>
                    <a:pt x="151" y="294"/>
                  </a:lnTo>
                  <a:lnTo>
                    <a:pt x="149" y="296"/>
                  </a:lnTo>
                  <a:lnTo>
                    <a:pt x="144" y="296"/>
                  </a:lnTo>
                  <a:lnTo>
                    <a:pt x="144" y="297"/>
                  </a:lnTo>
                  <a:lnTo>
                    <a:pt x="143" y="297"/>
                  </a:lnTo>
                  <a:lnTo>
                    <a:pt x="141" y="299"/>
                  </a:lnTo>
                  <a:lnTo>
                    <a:pt x="141" y="297"/>
                  </a:lnTo>
                  <a:lnTo>
                    <a:pt x="140" y="297"/>
                  </a:lnTo>
                  <a:lnTo>
                    <a:pt x="138" y="296"/>
                  </a:lnTo>
                  <a:lnTo>
                    <a:pt x="136" y="297"/>
                  </a:lnTo>
                  <a:lnTo>
                    <a:pt x="135" y="296"/>
                  </a:lnTo>
                  <a:lnTo>
                    <a:pt x="133" y="294"/>
                  </a:lnTo>
                  <a:lnTo>
                    <a:pt x="131" y="294"/>
                  </a:lnTo>
                  <a:lnTo>
                    <a:pt x="131" y="293"/>
                  </a:lnTo>
                  <a:lnTo>
                    <a:pt x="130" y="293"/>
                  </a:lnTo>
                  <a:lnTo>
                    <a:pt x="127" y="293"/>
                  </a:lnTo>
                  <a:lnTo>
                    <a:pt x="125" y="293"/>
                  </a:lnTo>
                  <a:lnTo>
                    <a:pt x="123" y="293"/>
                  </a:lnTo>
                  <a:lnTo>
                    <a:pt x="122" y="293"/>
                  </a:lnTo>
                  <a:lnTo>
                    <a:pt x="120" y="293"/>
                  </a:lnTo>
                  <a:lnTo>
                    <a:pt x="120" y="294"/>
                  </a:lnTo>
                  <a:lnTo>
                    <a:pt x="122" y="294"/>
                  </a:lnTo>
                  <a:lnTo>
                    <a:pt x="122" y="296"/>
                  </a:lnTo>
                  <a:lnTo>
                    <a:pt x="123" y="294"/>
                  </a:lnTo>
                  <a:lnTo>
                    <a:pt x="127" y="294"/>
                  </a:lnTo>
                  <a:lnTo>
                    <a:pt x="127" y="296"/>
                  </a:lnTo>
                  <a:lnTo>
                    <a:pt x="128" y="296"/>
                  </a:lnTo>
                  <a:lnTo>
                    <a:pt x="128" y="294"/>
                  </a:lnTo>
                  <a:lnTo>
                    <a:pt x="130" y="296"/>
                  </a:lnTo>
                  <a:lnTo>
                    <a:pt x="130" y="297"/>
                  </a:lnTo>
                  <a:lnTo>
                    <a:pt x="131" y="299"/>
                  </a:lnTo>
                  <a:lnTo>
                    <a:pt x="133" y="299"/>
                  </a:lnTo>
                  <a:lnTo>
                    <a:pt x="135" y="299"/>
                  </a:lnTo>
                  <a:lnTo>
                    <a:pt x="135" y="301"/>
                  </a:lnTo>
                  <a:lnTo>
                    <a:pt x="135" y="304"/>
                  </a:lnTo>
                  <a:lnTo>
                    <a:pt x="136" y="306"/>
                  </a:lnTo>
                  <a:lnTo>
                    <a:pt x="138" y="306"/>
                  </a:lnTo>
                  <a:lnTo>
                    <a:pt x="140" y="304"/>
                  </a:lnTo>
                  <a:lnTo>
                    <a:pt x="141" y="304"/>
                  </a:lnTo>
                  <a:lnTo>
                    <a:pt x="143" y="304"/>
                  </a:lnTo>
                  <a:lnTo>
                    <a:pt x="144" y="304"/>
                  </a:lnTo>
                  <a:lnTo>
                    <a:pt x="144" y="306"/>
                  </a:lnTo>
                  <a:lnTo>
                    <a:pt x="143" y="306"/>
                  </a:lnTo>
                  <a:lnTo>
                    <a:pt x="141" y="307"/>
                  </a:lnTo>
                  <a:lnTo>
                    <a:pt x="140" y="307"/>
                  </a:lnTo>
                  <a:lnTo>
                    <a:pt x="140" y="309"/>
                  </a:lnTo>
                  <a:lnTo>
                    <a:pt x="138" y="310"/>
                  </a:lnTo>
                  <a:lnTo>
                    <a:pt x="138" y="312"/>
                  </a:lnTo>
                  <a:lnTo>
                    <a:pt x="136" y="314"/>
                  </a:lnTo>
                  <a:lnTo>
                    <a:pt x="136" y="315"/>
                  </a:lnTo>
                  <a:lnTo>
                    <a:pt x="136" y="314"/>
                  </a:lnTo>
                  <a:lnTo>
                    <a:pt x="135" y="314"/>
                  </a:lnTo>
                  <a:lnTo>
                    <a:pt x="135" y="315"/>
                  </a:lnTo>
                  <a:lnTo>
                    <a:pt x="133" y="315"/>
                  </a:lnTo>
                  <a:lnTo>
                    <a:pt x="135" y="317"/>
                  </a:lnTo>
                  <a:lnTo>
                    <a:pt x="135" y="319"/>
                  </a:lnTo>
                  <a:lnTo>
                    <a:pt x="135" y="320"/>
                  </a:lnTo>
                  <a:lnTo>
                    <a:pt x="133" y="320"/>
                  </a:lnTo>
                  <a:lnTo>
                    <a:pt x="131" y="319"/>
                  </a:lnTo>
                  <a:lnTo>
                    <a:pt x="130" y="319"/>
                  </a:lnTo>
                  <a:lnTo>
                    <a:pt x="128" y="319"/>
                  </a:lnTo>
                  <a:lnTo>
                    <a:pt x="128" y="320"/>
                  </a:lnTo>
                  <a:lnTo>
                    <a:pt x="127" y="322"/>
                  </a:lnTo>
                  <a:lnTo>
                    <a:pt x="127" y="320"/>
                  </a:lnTo>
                  <a:lnTo>
                    <a:pt x="125" y="320"/>
                  </a:lnTo>
                  <a:lnTo>
                    <a:pt x="125" y="322"/>
                  </a:lnTo>
                  <a:lnTo>
                    <a:pt x="123" y="320"/>
                  </a:lnTo>
                  <a:lnTo>
                    <a:pt x="122" y="319"/>
                  </a:lnTo>
                  <a:lnTo>
                    <a:pt x="120" y="319"/>
                  </a:lnTo>
                  <a:lnTo>
                    <a:pt x="120" y="320"/>
                  </a:lnTo>
                  <a:lnTo>
                    <a:pt x="122" y="320"/>
                  </a:lnTo>
                  <a:lnTo>
                    <a:pt x="120" y="320"/>
                  </a:lnTo>
                  <a:lnTo>
                    <a:pt x="122" y="322"/>
                  </a:lnTo>
                  <a:lnTo>
                    <a:pt x="122" y="323"/>
                  </a:lnTo>
                  <a:lnTo>
                    <a:pt x="122" y="322"/>
                  </a:lnTo>
                  <a:lnTo>
                    <a:pt x="120" y="323"/>
                  </a:lnTo>
                  <a:lnTo>
                    <a:pt x="118" y="323"/>
                  </a:lnTo>
                  <a:lnTo>
                    <a:pt x="117" y="323"/>
                  </a:lnTo>
                  <a:lnTo>
                    <a:pt x="117" y="322"/>
                  </a:lnTo>
                  <a:lnTo>
                    <a:pt x="115" y="323"/>
                  </a:lnTo>
                  <a:lnTo>
                    <a:pt x="115" y="325"/>
                  </a:lnTo>
                  <a:lnTo>
                    <a:pt x="117" y="325"/>
                  </a:lnTo>
                  <a:lnTo>
                    <a:pt x="117" y="323"/>
                  </a:lnTo>
                  <a:lnTo>
                    <a:pt x="118" y="323"/>
                  </a:lnTo>
                  <a:lnTo>
                    <a:pt x="120" y="323"/>
                  </a:lnTo>
                  <a:lnTo>
                    <a:pt x="122" y="325"/>
                  </a:lnTo>
                  <a:lnTo>
                    <a:pt x="123" y="323"/>
                  </a:lnTo>
                  <a:lnTo>
                    <a:pt x="125" y="323"/>
                  </a:lnTo>
                  <a:lnTo>
                    <a:pt x="127" y="323"/>
                  </a:lnTo>
                  <a:lnTo>
                    <a:pt x="127" y="325"/>
                  </a:lnTo>
                  <a:lnTo>
                    <a:pt x="128" y="325"/>
                  </a:lnTo>
                  <a:lnTo>
                    <a:pt x="130" y="327"/>
                  </a:lnTo>
                  <a:lnTo>
                    <a:pt x="131" y="328"/>
                  </a:lnTo>
                  <a:lnTo>
                    <a:pt x="130" y="328"/>
                  </a:lnTo>
                  <a:lnTo>
                    <a:pt x="130" y="330"/>
                  </a:lnTo>
                  <a:lnTo>
                    <a:pt x="128" y="330"/>
                  </a:lnTo>
                  <a:lnTo>
                    <a:pt x="128" y="332"/>
                  </a:lnTo>
                  <a:lnTo>
                    <a:pt x="127" y="332"/>
                  </a:lnTo>
                  <a:lnTo>
                    <a:pt x="125" y="333"/>
                  </a:lnTo>
                  <a:lnTo>
                    <a:pt x="123" y="333"/>
                  </a:lnTo>
                  <a:lnTo>
                    <a:pt x="122" y="333"/>
                  </a:lnTo>
                  <a:lnTo>
                    <a:pt x="122" y="335"/>
                  </a:lnTo>
                  <a:lnTo>
                    <a:pt x="123" y="335"/>
                  </a:lnTo>
                  <a:lnTo>
                    <a:pt x="125" y="338"/>
                  </a:lnTo>
                  <a:lnTo>
                    <a:pt x="125" y="340"/>
                  </a:lnTo>
                  <a:lnTo>
                    <a:pt x="125" y="341"/>
                  </a:lnTo>
                  <a:lnTo>
                    <a:pt x="123" y="343"/>
                  </a:lnTo>
                  <a:lnTo>
                    <a:pt x="125" y="343"/>
                  </a:lnTo>
                  <a:lnTo>
                    <a:pt x="127" y="343"/>
                  </a:lnTo>
                  <a:lnTo>
                    <a:pt x="127" y="345"/>
                  </a:lnTo>
                  <a:lnTo>
                    <a:pt x="127" y="346"/>
                  </a:lnTo>
                  <a:lnTo>
                    <a:pt x="127" y="348"/>
                  </a:lnTo>
                  <a:lnTo>
                    <a:pt x="127" y="349"/>
                  </a:lnTo>
                  <a:lnTo>
                    <a:pt x="125" y="349"/>
                  </a:lnTo>
                  <a:lnTo>
                    <a:pt x="127" y="349"/>
                  </a:lnTo>
                  <a:lnTo>
                    <a:pt x="127" y="351"/>
                  </a:lnTo>
                  <a:lnTo>
                    <a:pt x="128" y="351"/>
                  </a:lnTo>
                  <a:lnTo>
                    <a:pt x="128" y="353"/>
                  </a:lnTo>
                  <a:lnTo>
                    <a:pt x="127" y="353"/>
                  </a:lnTo>
                  <a:lnTo>
                    <a:pt x="125" y="353"/>
                  </a:lnTo>
                  <a:lnTo>
                    <a:pt x="125" y="354"/>
                  </a:lnTo>
                  <a:lnTo>
                    <a:pt x="123" y="354"/>
                  </a:lnTo>
                  <a:lnTo>
                    <a:pt x="122" y="356"/>
                  </a:lnTo>
                  <a:lnTo>
                    <a:pt x="122" y="358"/>
                  </a:lnTo>
                  <a:lnTo>
                    <a:pt x="120" y="358"/>
                  </a:lnTo>
                  <a:lnTo>
                    <a:pt x="118" y="359"/>
                  </a:lnTo>
                  <a:lnTo>
                    <a:pt x="118" y="358"/>
                  </a:lnTo>
                  <a:lnTo>
                    <a:pt x="118" y="359"/>
                  </a:lnTo>
                  <a:lnTo>
                    <a:pt x="120" y="358"/>
                  </a:lnTo>
                  <a:lnTo>
                    <a:pt x="120" y="359"/>
                  </a:lnTo>
                  <a:lnTo>
                    <a:pt x="120" y="358"/>
                  </a:lnTo>
                  <a:lnTo>
                    <a:pt x="122" y="358"/>
                  </a:lnTo>
                  <a:lnTo>
                    <a:pt x="122" y="356"/>
                  </a:lnTo>
                  <a:lnTo>
                    <a:pt x="123" y="354"/>
                  </a:lnTo>
                  <a:lnTo>
                    <a:pt x="125" y="354"/>
                  </a:lnTo>
                  <a:lnTo>
                    <a:pt x="125" y="353"/>
                  </a:lnTo>
                  <a:lnTo>
                    <a:pt x="127" y="353"/>
                  </a:lnTo>
                  <a:lnTo>
                    <a:pt x="127" y="354"/>
                  </a:lnTo>
                  <a:lnTo>
                    <a:pt x="128" y="354"/>
                  </a:lnTo>
                  <a:lnTo>
                    <a:pt x="130" y="356"/>
                  </a:lnTo>
                  <a:lnTo>
                    <a:pt x="131" y="356"/>
                  </a:lnTo>
                  <a:lnTo>
                    <a:pt x="133" y="358"/>
                  </a:lnTo>
                  <a:lnTo>
                    <a:pt x="131" y="359"/>
                  </a:lnTo>
                  <a:lnTo>
                    <a:pt x="133" y="359"/>
                  </a:lnTo>
                  <a:lnTo>
                    <a:pt x="133" y="361"/>
                  </a:lnTo>
                  <a:lnTo>
                    <a:pt x="131" y="361"/>
                  </a:lnTo>
                  <a:lnTo>
                    <a:pt x="130" y="363"/>
                  </a:lnTo>
                  <a:lnTo>
                    <a:pt x="130" y="364"/>
                  </a:lnTo>
                  <a:lnTo>
                    <a:pt x="131" y="366"/>
                  </a:lnTo>
                  <a:lnTo>
                    <a:pt x="130" y="366"/>
                  </a:lnTo>
                  <a:lnTo>
                    <a:pt x="128" y="367"/>
                  </a:lnTo>
                  <a:lnTo>
                    <a:pt x="127" y="369"/>
                  </a:lnTo>
                  <a:lnTo>
                    <a:pt x="125" y="367"/>
                  </a:lnTo>
                  <a:lnTo>
                    <a:pt x="125" y="369"/>
                  </a:lnTo>
                  <a:lnTo>
                    <a:pt x="125" y="367"/>
                  </a:lnTo>
                  <a:lnTo>
                    <a:pt x="123" y="366"/>
                  </a:lnTo>
                  <a:lnTo>
                    <a:pt x="122" y="366"/>
                  </a:lnTo>
                  <a:lnTo>
                    <a:pt x="122" y="367"/>
                  </a:lnTo>
                  <a:lnTo>
                    <a:pt x="120" y="369"/>
                  </a:lnTo>
                  <a:lnTo>
                    <a:pt x="118" y="369"/>
                  </a:lnTo>
                  <a:lnTo>
                    <a:pt x="117" y="371"/>
                  </a:lnTo>
                  <a:lnTo>
                    <a:pt x="115" y="371"/>
                  </a:lnTo>
                  <a:lnTo>
                    <a:pt x="115" y="372"/>
                  </a:lnTo>
                  <a:lnTo>
                    <a:pt x="114" y="372"/>
                  </a:lnTo>
                  <a:lnTo>
                    <a:pt x="115" y="372"/>
                  </a:lnTo>
                  <a:lnTo>
                    <a:pt x="115" y="374"/>
                  </a:lnTo>
                  <a:lnTo>
                    <a:pt x="117" y="376"/>
                  </a:lnTo>
                  <a:lnTo>
                    <a:pt x="115" y="376"/>
                  </a:lnTo>
                  <a:lnTo>
                    <a:pt x="114" y="376"/>
                  </a:lnTo>
                  <a:lnTo>
                    <a:pt x="112" y="376"/>
                  </a:lnTo>
                  <a:lnTo>
                    <a:pt x="112" y="377"/>
                  </a:lnTo>
                  <a:lnTo>
                    <a:pt x="114" y="377"/>
                  </a:lnTo>
                  <a:lnTo>
                    <a:pt x="115" y="377"/>
                  </a:lnTo>
                  <a:lnTo>
                    <a:pt x="115" y="379"/>
                  </a:lnTo>
                  <a:lnTo>
                    <a:pt x="117" y="379"/>
                  </a:lnTo>
                  <a:lnTo>
                    <a:pt x="117" y="380"/>
                  </a:lnTo>
                  <a:lnTo>
                    <a:pt x="118" y="380"/>
                  </a:lnTo>
                  <a:lnTo>
                    <a:pt x="118" y="382"/>
                  </a:lnTo>
                  <a:lnTo>
                    <a:pt x="118" y="384"/>
                  </a:lnTo>
                  <a:lnTo>
                    <a:pt x="117" y="385"/>
                  </a:lnTo>
                  <a:lnTo>
                    <a:pt x="115" y="387"/>
                  </a:lnTo>
                  <a:lnTo>
                    <a:pt x="114" y="387"/>
                  </a:lnTo>
                  <a:lnTo>
                    <a:pt x="112" y="387"/>
                  </a:lnTo>
                  <a:lnTo>
                    <a:pt x="112" y="389"/>
                  </a:lnTo>
                  <a:lnTo>
                    <a:pt x="110" y="389"/>
                  </a:lnTo>
                  <a:lnTo>
                    <a:pt x="109" y="389"/>
                  </a:lnTo>
                  <a:lnTo>
                    <a:pt x="109" y="390"/>
                  </a:lnTo>
                  <a:lnTo>
                    <a:pt x="110" y="390"/>
                  </a:lnTo>
                  <a:lnTo>
                    <a:pt x="110" y="392"/>
                  </a:lnTo>
                  <a:lnTo>
                    <a:pt x="114" y="392"/>
                  </a:lnTo>
                  <a:lnTo>
                    <a:pt x="115" y="392"/>
                  </a:lnTo>
                  <a:lnTo>
                    <a:pt x="117" y="390"/>
                  </a:lnTo>
                  <a:lnTo>
                    <a:pt x="118" y="390"/>
                  </a:lnTo>
                  <a:lnTo>
                    <a:pt x="120" y="390"/>
                  </a:lnTo>
                  <a:lnTo>
                    <a:pt x="120" y="389"/>
                  </a:lnTo>
                  <a:lnTo>
                    <a:pt x="122" y="389"/>
                  </a:lnTo>
                  <a:lnTo>
                    <a:pt x="123" y="389"/>
                  </a:lnTo>
                  <a:lnTo>
                    <a:pt x="123" y="390"/>
                  </a:lnTo>
                  <a:lnTo>
                    <a:pt x="123" y="392"/>
                  </a:lnTo>
                  <a:lnTo>
                    <a:pt x="125" y="392"/>
                  </a:lnTo>
                  <a:lnTo>
                    <a:pt x="125" y="393"/>
                  </a:lnTo>
                  <a:lnTo>
                    <a:pt x="127" y="393"/>
                  </a:lnTo>
                  <a:lnTo>
                    <a:pt x="128" y="393"/>
                  </a:lnTo>
                  <a:lnTo>
                    <a:pt x="128" y="395"/>
                  </a:lnTo>
                  <a:lnTo>
                    <a:pt x="130" y="395"/>
                  </a:lnTo>
                  <a:lnTo>
                    <a:pt x="130" y="397"/>
                  </a:lnTo>
                  <a:lnTo>
                    <a:pt x="131" y="395"/>
                  </a:lnTo>
                  <a:lnTo>
                    <a:pt x="133" y="397"/>
                  </a:lnTo>
                  <a:lnTo>
                    <a:pt x="135" y="397"/>
                  </a:lnTo>
                  <a:lnTo>
                    <a:pt x="135" y="398"/>
                  </a:lnTo>
                  <a:lnTo>
                    <a:pt x="135" y="400"/>
                  </a:lnTo>
                  <a:lnTo>
                    <a:pt x="135" y="402"/>
                  </a:lnTo>
                  <a:lnTo>
                    <a:pt x="136" y="403"/>
                  </a:lnTo>
                  <a:lnTo>
                    <a:pt x="135" y="405"/>
                  </a:lnTo>
                  <a:lnTo>
                    <a:pt x="136" y="405"/>
                  </a:lnTo>
                  <a:lnTo>
                    <a:pt x="136" y="406"/>
                  </a:lnTo>
                  <a:lnTo>
                    <a:pt x="138" y="406"/>
                  </a:lnTo>
                  <a:lnTo>
                    <a:pt x="138" y="408"/>
                  </a:lnTo>
                  <a:lnTo>
                    <a:pt x="136" y="410"/>
                  </a:lnTo>
                  <a:lnTo>
                    <a:pt x="135" y="410"/>
                  </a:lnTo>
                  <a:lnTo>
                    <a:pt x="133" y="408"/>
                  </a:lnTo>
                  <a:lnTo>
                    <a:pt x="131" y="408"/>
                  </a:lnTo>
                  <a:lnTo>
                    <a:pt x="131" y="410"/>
                  </a:lnTo>
                  <a:lnTo>
                    <a:pt x="133" y="410"/>
                  </a:lnTo>
                  <a:lnTo>
                    <a:pt x="133" y="411"/>
                  </a:lnTo>
                  <a:lnTo>
                    <a:pt x="135" y="411"/>
                  </a:lnTo>
                  <a:lnTo>
                    <a:pt x="135" y="413"/>
                  </a:lnTo>
                  <a:lnTo>
                    <a:pt x="136" y="415"/>
                  </a:lnTo>
                  <a:lnTo>
                    <a:pt x="136" y="416"/>
                  </a:lnTo>
                  <a:lnTo>
                    <a:pt x="135" y="416"/>
                  </a:lnTo>
                  <a:lnTo>
                    <a:pt x="135" y="418"/>
                  </a:lnTo>
                  <a:lnTo>
                    <a:pt x="133" y="418"/>
                  </a:lnTo>
                  <a:lnTo>
                    <a:pt x="131" y="416"/>
                  </a:lnTo>
                  <a:lnTo>
                    <a:pt x="130" y="415"/>
                  </a:lnTo>
                  <a:lnTo>
                    <a:pt x="128" y="415"/>
                  </a:lnTo>
                  <a:lnTo>
                    <a:pt x="127" y="415"/>
                  </a:lnTo>
                  <a:lnTo>
                    <a:pt x="125" y="413"/>
                  </a:lnTo>
                  <a:lnTo>
                    <a:pt x="127" y="413"/>
                  </a:lnTo>
                  <a:lnTo>
                    <a:pt x="127" y="411"/>
                  </a:lnTo>
                  <a:lnTo>
                    <a:pt x="127" y="410"/>
                  </a:lnTo>
                  <a:lnTo>
                    <a:pt x="123" y="410"/>
                  </a:lnTo>
                  <a:lnTo>
                    <a:pt x="123" y="408"/>
                  </a:lnTo>
                  <a:lnTo>
                    <a:pt x="122" y="408"/>
                  </a:lnTo>
                  <a:lnTo>
                    <a:pt x="123" y="408"/>
                  </a:lnTo>
                  <a:lnTo>
                    <a:pt x="123" y="406"/>
                  </a:lnTo>
                  <a:lnTo>
                    <a:pt x="125" y="406"/>
                  </a:lnTo>
                  <a:lnTo>
                    <a:pt x="127" y="406"/>
                  </a:lnTo>
                  <a:lnTo>
                    <a:pt x="128" y="406"/>
                  </a:lnTo>
                  <a:lnTo>
                    <a:pt x="128" y="405"/>
                  </a:lnTo>
                  <a:lnTo>
                    <a:pt x="127" y="405"/>
                  </a:lnTo>
                  <a:lnTo>
                    <a:pt x="125" y="403"/>
                  </a:lnTo>
                  <a:lnTo>
                    <a:pt x="123" y="405"/>
                  </a:lnTo>
                  <a:lnTo>
                    <a:pt x="123" y="406"/>
                  </a:lnTo>
                  <a:lnTo>
                    <a:pt x="122" y="406"/>
                  </a:lnTo>
                  <a:lnTo>
                    <a:pt x="123" y="406"/>
                  </a:lnTo>
                  <a:lnTo>
                    <a:pt x="122" y="408"/>
                  </a:lnTo>
                  <a:lnTo>
                    <a:pt x="120" y="408"/>
                  </a:lnTo>
                  <a:lnTo>
                    <a:pt x="120" y="410"/>
                  </a:lnTo>
                  <a:lnTo>
                    <a:pt x="122" y="410"/>
                  </a:lnTo>
                  <a:lnTo>
                    <a:pt x="120" y="410"/>
                  </a:lnTo>
                  <a:lnTo>
                    <a:pt x="120" y="411"/>
                  </a:lnTo>
                  <a:lnTo>
                    <a:pt x="118" y="411"/>
                  </a:lnTo>
                  <a:lnTo>
                    <a:pt x="117" y="411"/>
                  </a:lnTo>
                  <a:lnTo>
                    <a:pt x="115" y="413"/>
                  </a:lnTo>
                  <a:lnTo>
                    <a:pt x="114" y="415"/>
                  </a:lnTo>
                  <a:lnTo>
                    <a:pt x="114" y="416"/>
                  </a:lnTo>
                  <a:lnTo>
                    <a:pt x="112" y="416"/>
                  </a:lnTo>
                  <a:lnTo>
                    <a:pt x="112" y="418"/>
                  </a:lnTo>
                  <a:lnTo>
                    <a:pt x="110" y="418"/>
                  </a:lnTo>
                  <a:lnTo>
                    <a:pt x="109" y="418"/>
                  </a:lnTo>
                  <a:lnTo>
                    <a:pt x="107" y="418"/>
                  </a:lnTo>
                  <a:lnTo>
                    <a:pt x="107" y="416"/>
                  </a:lnTo>
                  <a:lnTo>
                    <a:pt x="105" y="416"/>
                  </a:lnTo>
                  <a:lnTo>
                    <a:pt x="105" y="418"/>
                  </a:lnTo>
                  <a:lnTo>
                    <a:pt x="104" y="418"/>
                  </a:lnTo>
                  <a:lnTo>
                    <a:pt x="104" y="419"/>
                  </a:lnTo>
                  <a:lnTo>
                    <a:pt x="102" y="421"/>
                  </a:lnTo>
                  <a:lnTo>
                    <a:pt x="102" y="423"/>
                  </a:lnTo>
                  <a:lnTo>
                    <a:pt x="99" y="421"/>
                  </a:lnTo>
                  <a:lnTo>
                    <a:pt x="97" y="421"/>
                  </a:lnTo>
                  <a:lnTo>
                    <a:pt x="97" y="423"/>
                  </a:lnTo>
                  <a:lnTo>
                    <a:pt x="96" y="421"/>
                  </a:lnTo>
                  <a:lnTo>
                    <a:pt x="94" y="421"/>
                  </a:lnTo>
                  <a:lnTo>
                    <a:pt x="92" y="418"/>
                  </a:lnTo>
                  <a:lnTo>
                    <a:pt x="92" y="416"/>
                  </a:lnTo>
                  <a:lnTo>
                    <a:pt x="92" y="415"/>
                  </a:lnTo>
                  <a:lnTo>
                    <a:pt x="91" y="415"/>
                  </a:lnTo>
                  <a:lnTo>
                    <a:pt x="89" y="415"/>
                  </a:lnTo>
                  <a:lnTo>
                    <a:pt x="88" y="413"/>
                  </a:lnTo>
                  <a:lnTo>
                    <a:pt x="86" y="413"/>
                  </a:lnTo>
                  <a:lnTo>
                    <a:pt x="84" y="411"/>
                  </a:lnTo>
                  <a:lnTo>
                    <a:pt x="83" y="411"/>
                  </a:lnTo>
                  <a:lnTo>
                    <a:pt x="81" y="413"/>
                  </a:lnTo>
                  <a:lnTo>
                    <a:pt x="78" y="411"/>
                  </a:lnTo>
                  <a:lnTo>
                    <a:pt x="76" y="411"/>
                  </a:lnTo>
                  <a:lnTo>
                    <a:pt x="73" y="410"/>
                  </a:lnTo>
                  <a:lnTo>
                    <a:pt x="71" y="410"/>
                  </a:lnTo>
                  <a:lnTo>
                    <a:pt x="71" y="408"/>
                  </a:lnTo>
                  <a:lnTo>
                    <a:pt x="70" y="408"/>
                  </a:lnTo>
                  <a:lnTo>
                    <a:pt x="68" y="408"/>
                  </a:lnTo>
                  <a:lnTo>
                    <a:pt x="66" y="408"/>
                  </a:lnTo>
                  <a:lnTo>
                    <a:pt x="65" y="408"/>
                  </a:lnTo>
                  <a:lnTo>
                    <a:pt x="63" y="408"/>
                  </a:lnTo>
                  <a:lnTo>
                    <a:pt x="61" y="408"/>
                  </a:lnTo>
                  <a:lnTo>
                    <a:pt x="60" y="408"/>
                  </a:lnTo>
                  <a:lnTo>
                    <a:pt x="60" y="406"/>
                  </a:lnTo>
                  <a:lnTo>
                    <a:pt x="58" y="406"/>
                  </a:lnTo>
                  <a:lnTo>
                    <a:pt x="57" y="406"/>
                  </a:lnTo>
                  <a:lnTo>
                    <a:pt x="55" y="408"/>
                  </a:lnTo>
                  <a:lnTo>
                    <a:pt x="53" y="408"/>
                  </a:lnTo>
                  <a:lnTo>
                    <a:pt x="50" y="408"/>
                  </a:lnTo>
                  <a:lnTo>
                    <a:pt x="48" y="408"/>
                  </a:lnTo>
                  <a:lnTo>
                    <a:pt x="47" y="406"/>
                  </a:lnTo>
                  <a:lnTo>
                    <a:pt x="45" y="406"/>
                  </a:lnTo>
                  <a:lnTo>
                    <a:pt x="44" y="406"/>
                  </a:lnTo>
                  <a:lnTo>
                    <a:pt x="44" y="405"/>
                  </a:lnTo>
                  <a:lnTo>
                    <a:pt x="45" y="398"/>
                  </a:lnTo>
                  <a:lnTo>
                    <a:pt x="45" y="397"/>
                  </a:lnTo>
                  <a:lnTo>
                    <a:pt x="45" y="395"/>
                  </a:lnTo>
                  <a:lnTo>
                    <a:pt x="44" y="393"/>
                  </a:lnTo>
                  <a:lnTo>
                    <a:pt x="44" y="392"/>
                  </a:lnTo>
                  <a:lnTo>
                    <a:pt x="44" y="390"/>
                  </a:lnTo>
                  <a:lnTo>
                    <a:pt x="44" y="389"/>
                  </a:lnTo>
                  <a:lnTo>
                    <a:pt x="44" y="387"/>
                  </a:lnTo>
                  <a:lnTo>
                    <a:pt x="44" y="385"/>
                  </a:lnTo>
                  <a:lnTo>
                    <a:pt x="44" y="384"/>
                  </a:lnTo>
                  <a:lnTo>
                    <a:pt x="44" y="382"/>
                  </a:lnTo>
                  <a:lnTo>
                    <a:pt x="44" y="380"/>
                  </a:lnTo>
                  <a:lnTo>
                    <a:pt x="45" y="379"/>
                  </a:lnTo>
                  <a:lnTo>
                    <a:pt x="47" y="376"/>
                  </a:lnTo>
                  <a:lnTo>
                    <a:pt x="47" y="374"/>
                  </a:lnTo>
                  <a:lnTo>
                    <a:pt x="47" y="372"/>
                  </a:lnTo>
                  <a:lnTo>
                    <a:pt x="45" y="372"/>
                  </a:lnTo>
                  <a:lnTo>
                    <a:pt x="42" y="372"/>
                  </a:lnTo>
                  <a:lnTo>
                    <a:pt x="39" y="372"/>
                  </a:lnTo>
                  <a:lnTo>
                    <a:pt x="37" y="372"/>
                  </a:lnTo>
                  <a:lnTo>
                    <a:pt x="37" y="376"/>
                  </a:lnTo>
                  <a:lnTo>
                    <a:pt x="37" y="377"/>
                  </a:lnTo>
                  <a:lnTo>
                    <a:pt x="37" y="379"/>
                  </a:lnTo>
                  <a:lnTo>
                    <a:pt x="37" y="380"/>
                  </a:lnTo>
                  <a:lnTo>
                    <a:pt x="39" y="380"/>
                  </a:lnTo>
                  <a:lnTo>
                    <a:pt x="37" y="380"/>
                  </a:lnTo>
                  <a:lnTo>
                    <a:pt x="37" y="382"/>
                  </a:lnTo>
                  <a:lnTo>
                    <a:pt x="35" y="382"/>
                  </a:lnTo>
                  <a:lnTo>
                    <a:pt x="34" y="382"/>
                  </a:lnTo>
                  <a:lnTo>
                    <a:pt x="34" y="384"/>
                  </a:lnTo>
                  <a:lnTo>
                    <a:pt x="35" y="384"/>
                  </a:lnTo>
                  <a:lnTo>
                    <a:pt x="34" y="384"/>
                  </a:lnTo>
                  <a:lnTo>
                    <a:pt x="32" y="384"/>
                  </a:lnTo>
                  <a:lnTo>
                    <a:pt x="34" y="384"/>
                  </a:lnTo>
                  <a:lnTo>
                    <a:pt x="32" y="385"/>
                  </a:lnTo>
                  <a:lnTo>
                    <a:pt x="32" y="384"/>
                  </a:lnTo>
                  <a:lnTo>
                    <a:pt x="31" y="382"/>
                  </a:lnTo>
                  <a:lnTo>
                    <a:pt x="31" y="380"/>
                  </a:lnTo>
                  <a:lnTo>
                    <a:pt x="29" y="379"/>
                  </a:lnTo>
                  <a:lnTo>
                    <a:pt x="31" y="379"/>
                  </a:lnTo>
                  <a:lnTo>
                    <a:pt x="31" y="380"/>
                  </a:lnTo>
                  <a:lnTo>
                    <a:pt x="32" y="380"/>
                  </a:lnTo>
                  <a:lnTo>
                    <a:pt x="34" y="382"/>
                  </a:lnTo>
                  <a:lnTo>
                    <a:pt x="34" y="380"/>
                  </a:lnTo>
                  <a:lnTo>
                    <a:pt x="32" y="380"/>
                  </a:lnTo>
                  <a:lnTo>
                    <a:pt x="31" y="379"/>
                  </a:lnTo>
                  <a:lnTo>
                    <a:pt x="29" y="379"/>
                  </a:lnTo>
                  <a:lnTo>
                    <a:pt x="31" y="372"/>
                  </a:lnTo>
                  <a:lnTo>
                    <a:pt x="31" y="369"/>
                  </a:lnTo>
                  <a:lnTo>
                    <a:pt x="31" y="367"/>
                  </a:lnTo>
                  <a:lnTo>
                    <a:pt x="32" y="367"/>
                  </a:lnTo>
                  <a:lnTo>
                    <a:pt x="32" y="366"/>
                  </a:lnTo>
                  <a:lnTo>
                    <a:pt x="32" y="364"/>
                  </a:lnTo>
                  <a:lnTo>
                    <a:pt x="34" y="363"/>
                  </a:lnTo>
                  <a:lnTo>
                    <a:pt x="35" y="363"/>
                  </a:lnTo>
                  <a:lnTo>
                    <a:pt x="34" y="364"/>
                  </a:lnTo>
                  <a:lnTo>
                    <a:pt x="35" y="364"/>
                  </a:lnTo>
                  <a:lnTo>
                    <a:pt x="37" y="364"/>
                  </a:lnTo>
                  <a:lnTo>
                    <a:pt x="39" y="364"/>
                  </a:lnTo>
                  <a:lnTo>
                    <a:pt x="39" y="366"/>
                  </a:lnTo>
                  <a:lnTo>
                    <a:pt x="40" y="366"/>
                  </a:lnTo>
                  <a:lnTo>
                    <a:pt x="39" y="367"/>
                  </a:lnTo>
                  <a:lnTo>
                    <a:pt x="39" y="369"/>
                  </a:lnTo>
                  <a:lnTo>
                    <a:pt x="39" y="371"/>
                  </a:lnTo>
                  <a:lnTo>
                    <a:pt x="37" y="371"/>
                  </a:lnTo>
                  <a:lnTo>
                    <a:pt x="42" y="372"/>
                  </a:lnTo>
                  <a:lnTo>
                    <a:pt x="45" y="372"/>
                  </a:lnTo>
                  <a:lnTo>
                    <a:pt x="45" y="371"/>
                  </a:lnTo>
                  <a:lnTo>
                    <a:pt x="47" y="371"/>
                  </a:lnTo>
                  <a:lnTo>
                    <a:pt x="48" y="371"/>
                  </a:lnTo>
                  <a:lnTo>
                    <a:pt x="47" y="371"/>
                  </a:lnTo>
                  <a:lnTo>
                    <a:pt x="47" y="369"/>
                  </a:lnTo>
                  <a:lnTo>
                    <a:pt x="47" y="367"/>
                  </a:lnTo>
                  <a:lnTo>
                    <a:pt x="47" y="366"/>
                  </a:lnTo>
                  <a:lnTo>
                    <a:pt x="47" y="364"/>
                  </a:lnTo>
                  <a:lnTo>
                    <a:pt x="47" y="363"/>
                  </a:lnTo>
                  <a:lnTo>
                    <a:pt x="47" y="361"/>
                  </a:lnTo>
                  <a:lnTo>
                    <a:pt x="45" y="361"/>
                  </a:lnTo>
                  <a:lnTo>
                    <a:pt x="45" y="363"/>
                  </a:lnTo>
                  <a:lnTo>
                    <a:pt x="45" y="361"/>
                  </a:lnTo>
                  <a:lnTo>
                    <a:pt x="45" y="359"/>
                  </a:lnTo>
                  <a:lnTo>
                    <a:pt x="47" y="359"/>
                  </a:lnTo>
                  <a:lnTo>
                    <a:pt x="45" y="359"/>
                  </a:lnTo>
                  <a:lnTo>
                    <a:pt x="45" y="358"/>
                  </a:lnTo>
                  <a:lnTo>
                    <a:pt x="45" y="356"/>
                  </a:lnTo>
                  <a:lnTo>
                    <a:pt x="45" y="354"/>
                  </a:lnTo>
                  <a:lnTo>
                    <a:pt x="45" y="353"/>
                  </a:lnTo>
                  <a:lnTo>
                    <a:pt x="45" y="351"/>
                  </a:lnTo>
                  <a:lnTo>
                    <a:pt x="45" y="349"/>
                  </a:lnTo>
                  <a:lnTo>
                    <a:pt x="47" y="348"/>
                  </a:lnTo>
                  <a:lnTo>
                    <a:pt x="47" y="346"/>
                  </a:lnTo>
                  <a:lnTo>
                    <a:pt x="47" y="345"/>
                  </a:lnTo>
                  <a:lnTo>
                    <a:pt x="45" y="343"/>
                  </a:lnTo>
                  <a:lnTo>
                    <a:pt x="45" y="341"/>
                  </a:lnTo>
                  <a:lnTo>
                    <a:pt x="45" y="340"/>
                  </a:lnTo>
                  <a:lnTo>
                    <a:pt x="45" y="338"/>
                  </a:lnTo>
                  <a:lnTo>
                    <a:pt x="44" y="338"/>
                  </a:lnTo>
                  <a:lnTo>
                    <a:pt x="45" y="336"/>
                  </a:lnTo>
                  <a:lnTo>
                    <a:pt x="44" y="336"/>
                  </a:lnTo>
                  <a:lnTo>
                    <a:pt x="44" y="335"/>
                  </a:lnTo>
                  <a:lnTo>
                    <a:pt x="44" y="333"/>
                  </a:lnTo>
                  <a:lnTo>
                    <a:pt x="44" y="332"/>
                  </a:lnTo>
                  <a:lnTo>
                    <a:pt x="42" y="332"/>
                  </a:lnTo>
                  <a:lnTo>
                    <a:pt x="40" y="330"/>
                  </a:lnTo>
                  <a:lnTo>
                    <a:pt x="39" y="330"/>
                  </a:lnTo>
                  <a:lnTo>
                    <a:pt x="39" y="328"/>
                  </a:lnTo>
                  <a:lnTo>
                    <a:pt x="37" y="328"/>
                  </a:lnTo>
                  <a:lnTo>
                    <a:pt x="35" y="328"/>
                  </a:lnTo>
                  <a:lnTo>
                    <a:pt x="34" y="328"/>
                  </a:lnTo>
                  <a:lnTo>
                    <a:pt x="32" y="328"/>
                  </a:lnTo>
                  <a:lnTo>
                    <a:pt x="31" y="327"/>
                  </a:lnTo>
                  <a:lnTo>
                    <a:pt x="31" y="328"/>
                  </a:lnTo>
                  <a:lnTo>
                    <a:pt x="29" y="328"/>
                  </a:lnTo>
                  <a:lnTo>
                    <a:pt x="29" y="327"/>
                  </a:lnTo>
                  <a:lnTo>
                    <a:pt x="27" y="327"/>
                  </a:lnTo>
                  <a:lnTo>
                    <a:pt x="27" y="325"/>
                  </a:lnTo>
                  <a:lnTo>
                    <a:pt x="26" y="325"/>
                  </a:lnTo>
                  <a:lnTo>
                    <a:pt x="26" y="323"/>
                  </a:lnTo>
                  <a:lnTo>
                    <a:pt x="27" y="323"/>
                  </a:lnTo>
                  <a:lnTo>
                    <a:pt x="26" y="323"/>
                  </a:lnTo>
                  <a:lnTo>
                    <a:pt x="24" y="320"/>
                  </a:lnTo>
                  <a:lnTo>
                    <a:pt x="22" y="319"/>
                  </a:lnTo>
                  <a:lnTo>
                    <a:pt x="21" y="319"/>
                  </a:lnTo>
                  <a:lnTo>
                    <a:pt x="21" y="315"/>
                  </a:lnTo>
                  <a:lnTo>
                    <a:pt x="19" y="314"/>
                  </a:lnTo>
                  <a:lnTo>
                    <a:pt x="18" y="314"/>
                  </a:lnTo>
                  <a:lnTo>
                    <a:pt x="18" y="312"/>
                  </a:lnTo>
                  <a:lnTo>
                    <a:pt x="18" y="310"/>
                  </a:lnTo>
                  <a:lnTo>
                    <a:pt x="19" y="310"/>
                  </a:lnTo>
                  <a:lnTo>
                    <a:pt x="19" y="309"/>
                  </a:lnTo>
                  <a:lnTo>
                    <a:pt x="18" y="307"/>
                  </a:lnTo>
                  <a:lnTo>
                    <a:pt x="16" y="307"/>
                  </a:lnTo>
                  <a:lnTo>
                    <a:pt x="14" y="307"/>
                  </a:lnTo>
                  <a:lnTo>
                    <a:pt x="14" y="309"/>
                  </a:lnTo>
                  <a:lnTo>
                    <a:pt x="13" y="309"/>
                  </a:lnTo>
                  <a:lnTo>
                    <a:pt x="13" y="310"/>
                  </a:lnTo>
                  <a:lnTo>
                    <a:pt x="13" y="312"/>
                  </a:lnTo>
                  <a:lnTo>
                    <a:pt x="13" y="314"/>
                  </a:lnTo>
                  <a:lnTo>
                    <a:pt x="13" y="315"/>
                  </a:lnTo>
                  <a:lnTo>
                    <a:pt x="14" y="315"/>
                  </a:lnTo>
                  <a:lnTo>
                    <a:pt x="14" y="317"/>
                  </a:lnTo>
                  <a:lnTo>
                    <a:pt x="14" y="319"/>
                  </a:lnTo>
                  <a:lnTo>
                    <a:pt x="16" y="319"/>
                  </a:lnTo>
                  <a:lnTo>
                    <a:pt x="16" y="320"/>
                  </a:lnTo>
                  <a:lnTo>
                    <a:pt x="18" y="322"/>
                  </a:lnTo>
                  <a:lnTo>
                    <a:pt x="18" y="323"/>
                  </a:lnTo>
                  <a:lnTo>
                    <a:pt x="16" y="323"/>
                  </a:lnTo>
                  <a:lnTo>
                    <a:pt x="14" y="323"/>
                  </a:lnTo>
                  <a:lnTo>
                    <a:pt x="11" y="320"/>
                  </a:lnTo>
                  <a:lnTo>
                    <a:pt x="11" y="319"/>
                  </a:lnTo>
                  <a:lnTo>
                    <a:pt x="9" y="317"/>
                  </a:lnTo>
                  <a:lnTo>
                    <a:pt x="8" y="317"/>
                  </a:lnTo>
                  <a:lnTo>
                    <a:pt x="5" y="315"/>
                  </a:lnTo>
                  <a:lnTo>
                    <a:pt x="3" y="314"/>
                  </a:lnTo>
                  <a:lnTo>
                    <a:pt x="1" y="314"/>
                  </a:lnTo>
                  <a:lnTo>
                    <a:pt x="0" y="312"/>
                  </a:lnTo>
                  <a:lnTo>
                    <a:pt x="0" y="310"/>
                  </a:lnTo>
                  <a:lnTo>
                    <a:pt x="1" y="307"/>
                  </a:lnTo>
                  <a:lnTo>
                    <a:pt x="1" y="304"/>
                  </a:lnTo>
                  <a:lnTo>
                    <a:pt x="5" y="296"/>
                  </a:lnTo>
                  <a:lnTo>
                    <a:pt x="6" y="291"/>
                  </a:lnTo>
                  <a:lnTo>
                    <a:pt x="6" y="289"/>
                  </a:lnTo>
                  <a:lnTo>
                    <a:pt x="8" y="286"/>
                  </a:lnTo>
                  <a:lnTo>
                    <a:pt x="8" y="284"/>
                  </a:lnTo>
                  <a:lnTo>
                    <a:pt x="8" y="283"/>
                  </a:lnTo>
                  <a:lnTo>
                    <a:pt x="8" y="280"/>
                  </a:lnTo>
                  <a:lnTo>
                    <a:pt x="8" y="275"/>
                  </a:lnTo>
                  <a:lnTo>
                    <a:pt x="8" y="273"/>
                  </a:lnTo>
                  <a:lnTo>
                    <a:pt x="8" y="271"/>
                  </a:lnTo>
                  <a:lnTo>
                    <a:pt x="6" y="268"/>
                  </a:lnTo>
                  <a:lnTo>
                    <a:pt x="6" y="267"/>
                  </a:lnTo>
                  <a:lnTo>
                    <a:pt x="6" y="263"/>
                  </a:lnTo>
                  <a:lnTo>
                    <a:pt x="6" y="257"/>
                  </a:lnTo>
                  <a:lnTo>
                    <a:pt x="6" y="254"/>
                  </a:lnTo>
                  <a:lnTo>
                    <a:pt x="5" y="250"/>
                  </a:lnTo>
                  <a:lnTo>
                    <a:pt x="5" y="249"/>
                  </a:lnTo>
                  <a:lnTo>
                    <a:pt x="3" y="249"/>
                  </a:lnTo>
                  <a:lnTo>
                    <a:pt x="3" y="247"/>
                  </a:lnTo>
                  <a:lnTo>
                    <a:pt x="3" y="245"/>
                  </a:lnTo>
                  <a:lnTo>
                    <a:pt x="3" y="244"/>
                  </a:lnTo>
                  <a:lnTo>
                    <a:pt x="3" y="242"/>
                  </a:lnTo>
                  <a:lnTo>
                    <a:pt x="3" y="241"/>
                  </a:lnTo>
                  <a:lnTo>
                    <a:pt x="3" y="239"/>
                  </a:lnTo>
                  <a:lnTo>
                    <a:pt x="3" y="236"/>
                  </a:lnTo>
                  <a:lnTo>
                    <a:pt x="5" y="234"/>
                  </a:lnTo>
                  <a:lnTo>
                    <a:pt x="3" y="232"/>
                  </a:lnTo>
                  <a:lnTo>
                    <a:pt x="5" y="231"/>
                  </a:lnTo>
                  <a:lnTo>
                    <a:pt x="5" y="229"/>
                  </a:lnTo>
                  <a:lnTo>
                    <a:pt x="5" y="228"/>
                  </a:lnTo>
                  <a:lnTo>
                    <a:pt x="5" y="226"/>
                  </a:lnTo>
                  <a:lnTo>
                    <a:pt x="5" y="224"/>
                  </a:lnTo>
                  <a:lnTo>
                    <a:pt x="6" y="223"/>
                  </a:lnTo>
                  <a:lnTo>
                    <a:pt x="6" y="221"/>
                  </a:lnTo>
                  <a:lnTo>
                    <a:pt x="6" y="219"/>
                  </a:lnTo>
                  <a:lnTo>
                    <a:pt x="6" y="216"/>
                  </a:lnTo>
                  <a:lnTo>
                    <a:pt x="6" y="215"/>
                  </a:lnTo>
                  <a:lnTo>
                    <a:pt x="6" y="213"/>
                  </a:lnTo>
                  <a:lnTo>
                    <a:pt x="6" y="211"/>
                  </a:lnTo>
                  <a:lnTo>
                    <a:pt x="6" y="208"/>
                  </a:lnTo>
                  <a:lnTo>
                    <a:pt x="6" y="206"/>
                  </a:lnTo>
                  <a:lnTo>
                    <a:pt x="6" y="203"/>
                  </a:lnTo>
                  <a:lnTo>
                    <a:pt x="6" y="201"/>
                  </a:lnTo>
                  <a:lnTo>
                    <a:pt x="6" y="200"/>
                  </a:lnTo>
                  <a:lnTo>
                    <a:pt x="6" y="198"/>
                  </a:lnTo>
                  <a:lnTo>
                    <a:pt x="6" y="197"/>
                  </a:lnTo>
                  <a:lnTo>
                    <a:pt x="6" y="193"/>
                  </a:lnTo>
                  <a:lnTo>
                    <a:pt x="6" y="192"/>
                  </a:lnTo>
                  <a:lnTo>
                    <a:pt x="6" y="190"/>
                  </a:lnTo>
                  <a:lnTo>
                    <a:pt x="6" y="188"/>
                  </a:lnTo>
                  <a:lnTo>
                    <a:pt x="6" y="185"/>
                  </a:lnTo>
                  <a:lnTo>
                    <a:pt x="6" y="184"/>
                  </a:lnTo>
                  <a:lnTo>
                    <a:pt x="6" y="182"/>
                  </a:lnTo>
                  <a:lnTo>
                    <a:pt x="6" y="180"/>
                  </a:lnTo>
                  <a:lnTo>
                    <a:pt x="6" y="177"/>
                  </a:lnTo>
                  <a:lnTo>
                    <a:pt x="6" y="175"/>
                  </a:lnTo>
                  <a:lnTo>
                    <a:pt x="6" y="174"/>
                  </a:lnTo>
                  <a:lnTo>
                    <a:pt x="6" y="172"/>
                  </a:lnTo>
                  <a:lnTo>
                    <a:pt x="6" y="169"/>
                  </a:lnTo>
                  <a:lnTo>
                    <a:pt x="8" y="167"/>
                  </a:lnTo>
                  <a:lnTo>
                    <a:pt x="8" y="166"/>
                  </a:lnTo>
                  <a:lnTo>
                    <a:pt x="8" y="164"/>
                  </a:lnTo>
                  <a:lnTo>
                    <a:pt x="8" y="162"/>
                  </a:lnTo>
                  <a:lnTo>
                    <a:pt x="9" y="162"/>
                  </a:lnTo>
                  <a:lnTo>
                    <a:pt x="9" y="161"/>
                  </a:lnTo>
                  <a:lnTo>
                    <a:pt x="9" y="159"/>
                  </a:lnTo>
                  <a:lnTo>
                    <a:pt x="9" y="158"/>
                  </a:lnTo>
                  <a:lnTo>
                    <a:pt x="11" y="154"/>
                  </a:lnTo>
                  <a:lnTo>
                    <a:pt x="11" y="153"/>
                  </a:lnTo>
                  <a:lnTo>
                    <a:pt x="13" y="149"/>
                  </a:lnTo>
                  <a:lnTo>
                    <a:pt x="14" y="148"/>
                  </a:lnTo>
                  <a:lnTo>
                    <a:pt x="16" y="148"/>
                  </a:lnTo>
                  <a:lnTo>
                    <a:pt x="16" y="149"/>
                  </a:lnTo>
                  <a:lnTo>
                    <a:pt x="16" y="151"/>
                  </a:lnTo>
                  <a:lnTo>
                    <a:pt x="14" y="151"/>
                  </a:lnTo>
                  <a:lnTo>
                    <a:pt x="16" y="151"/>
                  </a:lnTo>
                  <a:lnTo>
                    <a:pt x="14" y="154"/>
                  </a:lnTo>
                  <a:lnTo>
                    <a:pt x="14" y="156"/>
                  </a:lnTo>
                  <a:lnTo>
                    <a:pt x="13" y="156"/>
                  </a:lnTo>
                  <a:lnTo>
                    <a:pt x="13" y="158"/>
                  </a:lnTo>
                  <a:lnTo>
                    <a:pt x="16" y="159"/>
                  </a:lnTo>
                  <a:lnTo>
                    <a:pt x="14" y="161"/>
                  </a:lnTo>
                  <a:lnTo>
                    <a:pt x="16" y="161"/>
                  </a:lnTo>
                  <a:lnTo>
                    <a:pt x="16" y="162"/>
                  </a:lnTo>
                  <a:lnTo>
                    <a:pt x="14" y="162"/>
                  </a:lnTo>
                  <a:lnTo>
                    <a:pt x="16" y="162"/>
                  </a:lnTo>
                  <a:lnTo>
                    <a:pt x="18" y="164"/>
                  </a:lnTo>
                  <a:lnTo>
                    <a:pt x="19" y="164"/>
                  </a:lnTo>
                  <a:lnTo>
                    <a:pt x="21" y="164"/>
                  </a:lnTo>
                  <a:lnTo>
                    <a:pt x="21" y="166"/>
                  </a:lnTo>
                  <a:lnTo>
                    <a:pt x="21" y="164"/>
                  </a:lnTo>
                  <a:lnTo>
                    <a:pt x="21" y="166"/>
                  </a:lnTo>
                  <a:lnTo>
                    <a:pt x="19" y="166"/>
                  </a:lnTo>
                  <a:lnTo>
                    <a:pt x="19" y="167"/>
                  </a:lnTo>
                  <a:lnTo>
                    <a:pt x="21" y="167"/>
                  </a:lnTo>
                  <a:lnTo>
                    <a:pt x="21" y="169"/>
                  </a:lnTo>
                  <a:lnTo>
                    <a:pt x="21" y="171"/>
                  </a:lnTo>
                  <a:lnTo>
                    <a:pt x="21" y="169"/>
                  </a:lnTo>
                  <a:lnTo>
                    <a:pt x="21" y="167"/>
                  </a:lnTo>
                  <a:lnTo>
                    <a:pt x="22" y="167"/>
                  </a:lnTo>
                  <a:lnTo>
                    <a:pt x="22" y="166"/>
                  </a:lnTo>
                  <a:lnTo>
                    <a:pt x="26" y="167"/>
                  </a:lnTo>
                  <a:lnTo>
                    <a:pt x="27" y="166"/>
                  </a:lnTo>
                  <a:lnTo>
                    <a:pt x="31" y="167"/>
                  </a:lnTo>
                  <a:lnTo>
                    <a:pt x="32" y="169"/>
                  </a:lnTo>
                  <a:lnTo>
                    <a:pt x="34" y="169"/>
                  </a:lnTo>
                  <a:lnTo>
                    <a:pt x="35" y="171"/>
                  </a:lnTo>
                  <a:lnTo>
                    <a:pt x="37" y="172"/>
                  </a:lnTo>
                  <a:lnTo>
                    <a:pt x="39" y="172"/>
                  </a:lnTo>
                  <a:lnTo>
                    <a:pt x="39" y="171"/>
                  </a:lnTo>
                  <a:lnTo>
                    <a:pt x="40" y="169"/>
                  </a:lnTo>
                  <a:lnTo>
                    <a:pt x="42" y="167"/>
                  </a:lnTo>
                  <a:lnTo>
                    <a:pt x="42" y="166"/>
                  </a:lnTo>
                  <a:lnTo>
                    <a:pt x="42" y="167"/>
                  </a:lnTo>
                  <a:lnTo>
                    <a:pt x="42" y="169"/>
                  </a:lnTo>
                  <a:lnTo>
                    <a:pt x="42" y="171"/>
                  </a:lnTo>
                  <a:lnTo>
                    <a:pt x="42" y="172"/>
                  </a:lnTo>
                  <a:lnTo>
                    <a:pt x="44" y="172"/>
                  </a:lnTo>
                  <a:lnTo>
                    <a:pt x="44" y="175"/>
                  </a:lnTo>
                  <a:lnTo>
                    <a:pt x="45" y="175"/>
                  </a:lnTo>
                  <a:lnTo>
                    <a:pt x="47" y="175"/>
                  </a:lnTo>
                  <a:lnTo>
                    <a:pt x="47" y="174"/>
                  </a:lnTo>
                  <a:lnTo>
                    <a:pt x="47" y="172"/>
                  </a:lnTo>
                  <a:lnTo>
                    <a:pt x="47" y="171"/>
                  </a:lnTo>
                  <a:lnTo>
                    <a:pt x="45" y="171"/>
                  </a:lnTo>
                  <a:lnTo>
                    <a:pt x="47" y="167"/>
                  </a:lnTo>
                  <a:lnTo>
                    <a:pt x="48" y="166"/>
                  </a:lnTo>
                  <a:lnTo>
                    <a:pt x="50" y="166"/>
                  </a:lnTo>
                  <a:lnTo>
                    <a:pt x="50" y="167"/>
                  </a:lnTo>
                  <a:lnTo>
                    <a:pt x="48" y="166"/>
                  </a:lnTo>
                  <a:lnTo>
                    <a:pt x="48" y="167"/>
                  </a:lnTo>
                  <a:lnTo>
                    <a:pt x="48" y="169"/>
                  </a:lnTo>
                  <a:lnTo>
                    <a:pt x="47" y="169"/>
                  </a:lnTo>
                  <a:lnTo>
                    <a:pt x="47" y="171"/>
                  </a:lnTo>
                  <a:lnTo>
                    <a:pt x="47" y="172"/>
                  </a:lnTo>
                  <a:lnTo>
                    <a:pt x="47" y="174"/>
                  </a:lnTo>
                  <a:lnTo>
                    <a:pt x="47" y="175"/>
                  </a:lnTo>
                  <a:lnTo>
                    <a:pt x="45" y="175"/>
                  </a:lnTo>
                  <a:lnTo>
                    <a:pt x="44" y="175"/>
                  </a:lnTo>
                  <a:lnTo>
                    <a:pt x="44" y="177"/>
                  </a:lnTo>
                  <a:lnTo>
                    <a:pt x="44" y="179"/>
                  </a:lnTo>
                  <a:lnTo>
                    <a:pt x="44" y="177"/>
                  </a:lnTo>
                  <a:lnTo>
                    <a:pt x="42" y="177"/>
                  </a:lnTo>
                  <a:lnTo>
                    <a:pt x="40" y="177"/>
                  </a:lnTo>
                  <a:lnTo>
                    <a:pt x="40" y="179"/>
                  </a:lnTo>
                  <a:lnTo>
                    <a:pt x="40" y="180"/>
                  </a:lnTo>
                  <a:lnTo>
                    <a:pt x="39" y="180"/>
                  </a:lnTo>
                  <a:lnTo>
                    <a:pt x="40" y="180"/>
                  </a:lnTo>
                  <a:lnTo>
                    <a:pt x="40" y="179"/>
                  </a:lnTo>
                  <a:lnTo>
                    <a:pt x="42" y="179"/>
                  </a:lnTo>
                  <a:lnTo>
                    <a:pt x="44" y="179"/>
                  </a:lnTo>
                  <a:lnTo>
                    <a:pt x="45" y="179"/>
                  </a:lnTo>
                  <a:lnTo>
                    <a:pt x="45" y="180"/>
                  </a:lnTo>
                  <a:lnTo>
                    <a:pt x="47" y="182"/>
                  </a:lnTo>
                  <a:lnTo>
                    <a:pt x="48" y="184"/>
                  </a:lnTo>
                  <a:lnTo>
                    <a:pt x="50" y="182"/>
                  </a:lnTo>
                  <a:lnTo>
                    <a:pt x="52" y="182"/>
                  </a:lnTo>
                  <a:lnTo>
                    <a:pt x="53" y="182"/>
                  </a:lnTo>
                  <a:lnTo>
                    <a:pt x="55" y="182"/>
                  </a:lnTo>
                  <a:lnTo>
                    <a:pt x="55" y="180"/>
                  </a:lnTo>
                  <a:lnTo>
                    <a:pt x="55" y="182"/>
                  </a:lnTo>
                  <a:lnTo>
                    <a:pt x="55" y="180"/>
                  </a:lnTo>
                  <a:lnTo>
                    <a:pt x="57" y="179"/>
                  </a:lnTo>
                  <a:lnTo>
                    <a:pt x="55" y="177"/>
                  </a:lnTo>
                  <a:lnTo>
                    <a:pt x="55" y="174"/>
                  </a:lnTo>
                  <a:lnTo>
                    <a:pt x="57" y="172"/>
                  </a:lnTo>
                  <a:lnTo>
                    <a:pt x="57" y="171"/>
                  </a:lnTo>
                  <a:lnTo>
                    <a:pt x="58" y="171"/>
                  </a:lnTo>
                  <a:lnTo>
                    <a:pt x="57" y="169"/>
                  </a:lnTo>
                  <a:lnTo>
                    <a:pt x="53" y="167"/>
                  </a:lnTo>
                  <a:lnTo>
                    <a:pt x="53" y="166"/>
                  </a:lnTo>
                  <a:lnTo>
                    <a:pt x="52" y="164"/>
                  </a:lnTo>
                  <a:lnTo>
                    <a:pt x="52" y="162"/>
                  </a:lnTo>
                  <a:lnTo>
                    <a:pt x="50" y="162"/>
                  </a:lnTo>
                  <a:lnTo>
                    <a:pt x="50" y="161"/>
                  </a:lnTo>
                  <a:lnTo>
                    <a:pt x="52" y="161"/>
                  </a:lnTo>
                  <a:lnTo>
                    <a:pt x="52" y="159"/>
                  </a:lnTo>
                  <a:lnTo>
                    <a:pt x="53" y="161"/>
                  </a:lnTo>
                  <a:lnTo>
                    <a:pt x="52" y="162"/>
                  </a:lnTo>
                  <a:lnTo>
                    <a:pt x="53" y="162"/>
                  </a:lnTo>
                  <a:lnTo>
                    <a:pt x="53" y="161"/>
                  </a:lnTo>
                  <a:lnTo>
                    <a:pt x="55" y="161"/>
                  </a:lnTo>
                  <a:lnTo>
                    <a:pt x="57" y="159"/>
                  </a:lnTo>
                  <a:lnTo>
                    <a:pt x="57" y="158"/>
                  </a:lnTo>
                  <a:lnTo>
                    <a:pt x="58" y="158"/>
                  </a:lnTo>
                  <a:lnTo>
                    <a:pt x="58" y="156"/>
                  </a:lnTo>
                  <a:lnTo>
                    <a:pt x="60" y="153"/>
                  </a:lnTo>
                  <a:lnTo>
                    <a:pt x="61" y="151"/>
                  </a:lnTo>
                  <a:lnTo>
                    <a:pt x="63" y="151"/>
                  </a:lnTo>
                  <a:lnTo>
                    <a:pt x="65" y="151"/>
                  </a:lnTo>
                  <a:lnTo>
                    <a:pt x="65" y="149"/>
                  </a:lnTo>
                  <a:lnTo>
                    <a:pt x="65" y="151"/>
                  </a:lnTo>
                  <a:lnTo>
                    <a:pt x="66" y="151"/>
                  </a:lnTo>
                  <a:lnTo>
                    <a:pt x="66" y="149"/>
                  </a:lnTo>
                  <a:lnTo>
                    <a:pt x="68" y="149"/>
                  </a:lnTo>
                  <a:lnTo>
                    <a:pt x="68" y="151"/>
                  </a:lnTo>
                  <a:lnTo>
                    <a:pt x="70" y="151"/>
                  </a:lnTo>
                  <a:lnTo>
                    <a:pt x="70" y="149"/>
                  </a:lnTo>
                  <a:lnTo>
                    <a:pt x="70" y="148"/>
                  </a:lnTo>
                  <a:lnTo>
                    <a:pt x="68" y="149"/>
                  </a:lnTo>
                  <a:lnTo>
                    <a:pt x="68" y="148"/>
                  </a:lnTo>
                  <a:lnTo>
                    <a:pt x="66" y="149"/>
                  </a:lnTo>
                  <a:lnTo>
                    <a:pt x="66" y="148"/>
                  </a:lnTo>
                  <a:lnTo>
                    <a:pt x="65" y="148"/>
                  </a:lnTo>
                  <a:lnTo>
                    <a:pt x="65" y="149"/>
                  </a:lnTo>
                  <a:lnTo>
                    <a:pt x="63" y="149"/>
                  </a:lnTo>
                  <a:lnTo>
                    <a:pt x="63" y="148"/>
                  </a:lnTo>
                  <a:lnTo>
                    <a:pt x="63" y="146"/>
                  </a:lnTo>
                  <a:lnTo>
                    <a:pt x="65" y="145"/>
                  </a:lnTo>
                  <a:lnTo>
                    <a:pt x="65" y="143"/>
                  </a:lnTo>
                  <a:lnTo>
                    <a:pt x="66" y="143"/>
                  </a:lnTo>
                  <a:lnTo>
                    <a:pt x="66" y="141"/>
                  </a:lnTo>
                  <a:lnTo>
                    <a:pt x="66" y="140"/>
                  </a:lnTo>
                  <a:lnTo>
                    <a:pt x="66" y="141"/>
                  </a:lnTo>
                  <a:lnTo>
                    <a:pt x="70" y="140"/>
                  </a:lnTo>
                  <a:lnTo>
                    <a:pt x="70" y="138"/>
                  </a:lnTo>
                  <a:lnTo>
                    <a:pt x="71" y="136"/>
                  </a:lnTo>
                  <a:lnTo>
                    <a:pt x="73" y="136"/>
                  </a:lnTo>
                  <a:lnTo>
                    <a:pt x="75" y="135"/>
                  </a:lnTo>
                  <a:lnTo>
                    <a:pt x="75" y="136"/>
                  </a:lnTo>
                  <a:lnTo>
                    <a:pt x="76" y="136"/>
                  </a:lnTo>
                  <a:lnTo>
                    <a:pt x="78" y="136"/>
                  </a:lnTo>
                  <a:lnTo>
                    <a:pt x="79" y="138"/>
                  </a:lnTo>
                  <a:lnTo>
                    <a:pt x="79" y="136"/>
                  </a:lnTo>
                  <a:lnTo>
                    <a:pt x="79" y="135"/>
                  </a:lnTo>
                  <a:lnTo>
                    <a:pt x="79" y="136"/>
                  </a:lnTo>
                  <a:lnTo>
                    <a:pt x="79" y="135"/>
                  </a:lnTo>
                  <a:lnTo>
                    <a:pt x="81" y="135"/>
                  </a:lnTo>
                  <a:lnTo>
                    <a:pt x="81" y="136"/>
                  </a:lnTo>
                  <a:lnTo>
                    <a:pt x="83" y="135"/>
                  </a:lnTo>
                  <a:lnTo>
                    <a:pt x="84" y="136"/>
                  </a:lnTo>
                  <a:lnTo>
                    <a:pt x="86" y="138"/>
                  </a:lnTo>
                  <a:lnTo>
                    <a:pt x="86" y="140"/>
                  </a:lnTo>
                  <a:lnTo>
                    <a:pt x="86" y="141"/>
                  </a:lnTo>
                  <a:lnTo>
                    <a:pt x="88" y="143"/>
                  </a:lnTo>
                  <a:lnTo>
                    <a:pt x="88" y="145"/>
                  </a:lnTo>
                  <a:lnTo>
                    <a:pt x="88" y="146"/>
                  </a:lnTo>
                  <a:lnTo>
                    <a:pt x="89" y="146"/>
                  </a:lnTo>
                  <a:lnTo>
                    <a:pt x="89" y="148"/>
                  </a:lnTo>
                  <a:lnTo>
                    <a:pt x="91" y="148"/>
                  </a:lnTo>
                  <a:lnTo>
                    <a:pt x="91" y="149"/>
                  </a:lnTo>
                  <a:lnTo>
                    <a:pt x="89" y="149"/>
                  </a:lnTo>
                  <a:lnTo>
                    <a:pt x="88" y="151"/>
                  </a:lnTo>
                  <a:lnTo>
                    <a:pt x="86" y="153"/>
                  </a:lnTo>
                  <a:lnTo>
                    <a:pt x="86" y="154"/>
                  </a:lnTo>
                  <a:lnTo>
                    <a:pt x="84" y="154"/>
                  </a:lnTo>
                  <a:lnTo>
                    <a:pt x="84" y="156"/>
                  </a:lnTo>
                  <a:lnTo>
                    <a:pt x="84" y="158"/>
                  </a:lnTo>
                  <a:lnTo>
                    <a:pt x="83" y="158"/>
                  </a:lnTo>
                  <a:lnTo>
                    <a:pt x="81" y="159"/>
                  </a:lnTo>
                  <a:lnTo>
                    <a:pt x="81" y="161"/>
                  </a:lnTo>
                  <a:lnTo>
                    <a:pt x="81" y="162"/>
                  </a:lnTo>
                  <a:lnTo>
                    <a:pt x="79" y="162"/>
                  </a:lnTo>
                  <a:lnTo>
                    <a:pt x="79" y="164"/>
                  </a:lnTo>
                  <a:lnTo>
                    <a:pt x="79" y="166"/>
                  </a:lnTo>
                  <a:lnTo>
                    <a:pt x="81" y="167"/>
                  </a:lnTo>
                  <a:lnTo>
                    <a:pt x="79" y="167"/>
                  </a:lnTo>
                  <a:lnTo>
                    <a:pt x="81" y="167"/>
                  </a:lnTo>
                  <a:lnTo>
                    <a:pt x="81" y="169"/>
                  </a:lnTo>
                  <a:lnTo>
                    <a:pt x="81" y="171"/>
                  </a:lnTo>
                  <a:lnTo>
                    <a:pt x="83" y="171"/>
                  </a:lnTo>
                  <a:lnTo>
                    <a:pt x="83" y="169"/>
                  </a:lnTo>
                  <a:lnTo>
                    <a:pt x="84" y="169"/>
                  </a:lnTo>
                  <a:lnTo>
                    <a:pt x="84" y="167"/>
                  </a:lnTo>
                  <a:lnTo>
                    <a:pt x="84" y="166"/>
                  </a:lnTo>
                  <a:lnTo>
                    <a:pt x="84" y="164"/>
                  </a:lnTo>
                  <a:lnTo>
                    <a:pt x="86" y="162"/>
                  </a:lnTo>
                  <a:lnTo>
                    <a:pt x="86" y="164"/>
                  </a:lnTo>
                  <a:lnTo>
                    <a:pt x="88" y="164"/>
                  </a:lnTo>
                  <a:lnTo>
                    <a:pt x="89" y="162"/>
                  </a:lnTo>
                  <a:lnTo>
                    <a:pt x="89" y="161"/>
                  </a:lnTo>
                  <a:lnTo>
                    <a:pt x="88" y="162"/>
                  </a:lnTo>
                  <a:lnTo>
                    <a:pt x="86" y="162"/>
                  </a:lnTo>
                  <a:lnTo>
                    <a:pt x="86" y="161"/>
                  </a:lnTo>
                  <a:lnTo>
                    <a:pt x="88" y="161"/>
                  </a:lnTo>
                  <a:lnTo>
                    <a:pt x="88" y="159"/>
                  </a:lnTo>
                  <a:lnTo>
                    <a:pt x="88" y="158"/>
                  </a:lnTo>
                  <a:lnTo>
                    <a:pt x="89" y="156"/>
                  </a:lnTo>
                  <a:lnTo>
                    <a:pt x="89" y="158"/>
                  </a:lnTo>
                  <a:lnTo>
                    <a:pt x="89" y="159"/>
                  </a:lnTo>
                  <a:lnTo>
                    <a:pt x="89" y="161"/>
                  </a:lnTo>
                  <a:lnTo>
                    <a:pt x="91" y="161"/>
                  </a:lnTo>
                  <a:lnTo>
                    <a:pt x="92" y="161"/>
                  </a:lnTo>
                  <a:lnTo>
                    <a:pt x="94" y="161"/>
                  </a:lnTo>
                  <a:lnTo>
                    <a:pt x="96" y="161"/>
                  </a:lnTo>
                  <a:lnTo>
                    <a:pt x="97" y="161"/>
                  </a:lnTo>
                  <a:lnTo>
                    <a:pt x="99" y="161"/>
                  </a:lnTo>
                  <a:lnTo>
                    <a:pt x="99" y="162"/>
                  </a:lnTo>
                  <a:lnTo>
                    <a:pt x="99" y="164"/>
                  </a:lnTo>
                  <a:lnTo>
                    <a:pt x="99" y="166"/>
                  </a:lnTo>
                  <a:lnTo>
                    <a:pt x="97" y="166"/>
                  </a:lnTo>
                  <a:lnTo>
                    <a:pt x="97" y="167"/>
                  </a:lnTo>
                  <a:lnTo>
                    <a:pt x="96" y="167"/>
                  </a:lnTo>
                  <a:lnTo>
                    <a:pt x="96" y="169"/>
                  </a:lnTo>
                  <a:lnTo>
                    <a:pt x="97" y="169"/>
                  </a:lnTo>
                  <a:lnTo>
                    <a:pt x="97" y="171"/>
                  </a:lnTo>
                  <a:lnTo>
                    <a:pt x="97" y="172"/>
                  </a:lnTo>
                  <a:lnTo>
                    <a:pt x="99" y="174"/>
                  </a:lnTo>
                  <a:lnTo>
                    <a:pt x="101" y="174"/>
                  </a:lnTo>
                  <a:lnTo>
                    <a:pt x="101" y="175"/>
                  </a:lnTo>
                  <a:lnTo>
                    <a:pt x="102" y="174"/>
                  </a:lnTo>
                  <a:lnTo>
                    <a:pt x="104" y="172"/>
                  </a:lnTo>
                  <a:lnTo>
                    <a:pt x="104" y="174"/>
                  </a:lnTo>
                  <a:lnTo>
                    <a:pt x="105" y="174"/>
                  </a:lnTo>
                  <a:lnTo>
                    <a:pt x="105" y="172"/>
                  </a:lnTo>
                  <a:lnTo>
                    <a:pt x="105" y="171"/>
                  </a:lnTo>
                  <a:lnTo>
                    <a:pt x="105" y="169"/>
                  </a:lnTo>
                  <a:lnTo>
                    <a:pt x="104" y="169"/>
                  </a:lnTo>
                  <a:lnTo>
                    <a:pt x="104" y="171"/>
                  </a:lnTo>
                  <a:lnTo>
                    <a:pt x="101" y="172"/>
                  </a:lnTo>
                  <a:lnTo>
                    <a:pt x="101" y="171"/>
                  </a:lnTo>
                  <a:lnTo>
                    <a:pt x="99" y="171"/>
                  </a:lnTo>
                  <a:lnTo>
                    <a:pt x="99" y="169"/>
                  </a:lnTo>
                  <a:lnTo>
                    <a:pt x="101" y="166"/>
                  </a:lnTo>
                  <a:lnTo>
                    <a:pt x="101" y="164"/>
                  </a:lnTo>
                  <a:lnTo>
                    <a:pt x="101" y="162"/>
                  </a:lnTo>
                  <a:lnTo>
                    <a:pt x="102" y="161"/>
                  </a:lnTo>
                  <a:lnTo>
                    <a:pt x="101" y="161"/>
                  </a:lnTo>
                  <a:lnTo>
                    <a:pt x="101" y="159"/>
                  </a:lnTo>
                  <a:lnTo>
                    <a:pt x="102" y="159"/>
                  </a:lnTo>
                  <a:lnTo>
                    <a:pt x="102" y="158"/>
                  </a:lnTo>
                  <a:lnTo>
                    <a:pt x="102" y="156"/>
                  </a:lnTo>
                  <a:lnTo>
                    <a:pt x="102" y="154"/>
                  </a:lnTo>
                  <a:lnTo>
                    <a:pt x="101" y="151"/>
                  </a:lnTo>
                  <a:lnTo>
                    <a:pt x="99" y="151"/>
                  </a:lnTo>
                  <a:lnTo>
                    <a:pt x="97" y="151"/>
                  </a:lnTo>
                  <a:lnTo>
                    <a:pt x="96" y="151"/>
                  </a:lnTo>
                  <a:lnTo>
                    <a:pt x="94" y="153"/>
                  </a:lnTo>
                  <a:lnTo>
                    <a:pt x="92" y="154"/>
                  </a:lnTo>
                  <a:lnTo>
                    <a:pt x="91" y="154"/>
                  </a:lnTo>
                  <a:lnTo>
                    <a:pt x="89" y="154"/>
                  </a:lnTo>
                  <a:lnTo>
                    <a:pt x="89" y="153"/>
                  </a:lnTo>
                  <a:lnTo>
                    <a:pt x="91" y="153"/>
                  </a:lnTo>
                  <a:lnTo>
                    <a:pt x="91" y="151"/>
                  </a:lnTo>
                  <a:lnTo>
                    <a:pt x="92" y="149"/>
                  </a:lnTo>
                  <a:lnTo>
                    <a:pt x="94" y="148"/>
                  </a:lnTo>
                  <a:lnTo>
                    <a:pt x="94" y="146"/>
                  </a:lnTo>
                  <a:lnTo>
                    <a:pt x="96" y="146"/>
                  </a:lnTo>
                  <a:lnTo>
                    <a:pt x="96" y="145"/>
                  </a:lnTo>
                  <a:lnTo>
                    <a:pt x="96" y="143"/>
                  </a:lnTo>
                  <a:lnTo>
                    <a:pt x="96" y="141"/>
                  </a:lnTo>
                  <a:lnTo>
                    <a:pt x="92" y="140"/>
                  </a:lnTo>
                  <a:lnTo>
                    <a:pt x="92" y="141"/>
                  </a:lnTo>
                  <a:lnTo>
                    <a:pt x="91" y="141"/>
                  </a:lnTo>
                  <a:lnTo>
                    <a:pt x="91" y="140"/>
                  </a:lnTo>
                  <a:lnTo>
                    <a:pt x="92" y="140"/>
                  </a:lnTo>
                  <a:lnTo>
                    <a:pt x="92" y="138"/>
                  </a:lnTo>
                  <a:lnTo>
                    <a:pt x="91" y="136"/>
                  </a:lnTo>
                  <a:lnTo>
                    <a:pt x="91" y="135"/>
                  </a:lnTo>
                  <a:lnTo>
                    <a:pt x="91" y="133"/>
                  </a:lnTo>
                  <a:lnTo>
                    <a:pt x="92" y="132"/>
                  </a:lnTo>
                  <a:lnTo>
                    <a:pt x="92" y="130"/>
                  </a:lnTo>
                  <a:lnTo>
                    <a:pt x="94" y="130"/>
                  </a:lnTo>
                  <a:lnTo>
                    <a:pt x="92" y="130"/>
                  </a:lnTo>
                  <a:lnTo>
                    <a:pt x="94" y="130"/>
                  </a:lnTo>
                  <a:lnTo>
                    <a:pt x="94" y="127"/>
                  </a:lnTo>
                  <a:lnTo>
                    <a:pt x="94" y="125"/>
                  </a:lnTo>
                  <a:lnTo>
                    <a:pt x="92" y="125"/>
                  </a:lnTo>
                  <a:lnTo>
                    <a:pt x="91" y="123"/>
                  </a:lnTo>
                  <a:lnTo>
                    <a:pt x="89" y="122"/>
                  </a:lnTo>
                  <a:lnTo>
                    <a:pt x="91" y="122"/>
                  </a:lnTo>
                  <a:lnTo>
                    <a:pt x="91" y="119"/>
                  </a:lnTo>
                  <a:lnTo>
                    <a:pt x="92" y="117"/>
                  </a:lnTo>
                  <a:lnTo>
                    <a:pt x="94" y="115"/>
                  </a:lnTo>
                  <a:lnTo>
                    <a:pt x="96" y="115"/>
                  </a:lnTo>
                  <a:lnTo>
                    <a:pt x="94" y="115"/>
                  </a:lnTo>
                  <a:lnTo>
                    <a:pt x="96" y="114"/>
                  </a:lnTo>
                  <a:lnTo>
                    <a:pt x="96" y="112"/>
                  </a:lnTo>
                  <a:lnTo>
                    <a:pt x="97" y="110"/>
                  </a:lnTo>
                  <a:lnTo>
                    <a:pt x="99" y="112"/>
                  </a:lnTo>
                  <a:lnTo>
                    <a:pt x="99" y="110"/>
                  </a:lnTo>
                  <a:lnTo>
                    <a:pt x="101" y="109"/>
                  </a:lnTo>
                  <a:lnTo>
                    <a:pt x="101" y="107"/>
                  </a:lnTo>
                  <a:lnTo>
                    <a:pt x="102" y="107"/>
                  </a:lnTo>
                  <a:lnTo>
                    <a:pt x="104" y="107"/>
                  </a:lnTo>
                  <a:lnTo>
                    <a:pt x="105" y="106"/>
                  </a:lnTo>
                  <a:lnTo>
                    <a:pt x="107" y="106"/>
                  </a:lnTo>
                  <a:lnTo>
                    <a:pt x="110" y="106"/>
                  </a:lnTo>
                  <a:lnTo>
                    <a:pt x="112" y="106"/>
                  </a:lnTo>
                  <a:lnTo>
                    <a:pt x="114" y="106"/>
                  </a:lnTo>
                  <a:lnTo>
                    <a:pt x="115" y="106"/>
                  </a:lnTo>
                  <a:lnTo>
                    <a:pt x="117" y="106"/>
                  </a:lnTo>
                  <a:lnTo>
                    <a:pt x="120" y="107"/>
                  </a:lnTo>
                  <a:lnTo>
                    <a:pt x="122" y="107"/>
                  </a:lnTo>
                  <a:lnTo>
                    <a:pt x="123" y="109"/>
                  </a:lnTo>
                  <a:lnTo>
                    <a:pt x="122" y="110"/>
                  </a:lnTo>
                  <a:lnTo>
                    <a:pt x="122" y="112"/>
                  </a:lnTo>
                  <a:lnTo>
                    <a:pt x="122" y="114"/>
                  </a:lnTo>
                  <a:lnTo>
                    <a:pt x="122" y="112"/>
                  </a:lnTo>
                  <a:lnTo>
                    <a:pt x="120" y="112"/>
                  </a:lnTo>
                  <a:lnTo>
                    <a:pt x="120" y="114"/>
                  </a:lnTo>
                  <a:lnTo>
                    <a:pt x="120" y="115"/>
                  </a:lnTo>
                  <a:lnTo>
                    <a:pt x="120" y="117"/>
                  </a:lnTo>
                  <a:lnTo>
                    <a:pt x="122" y="117"/>
                  </a:lnTo>
                  <a:lnTo>
                    <a:pt x="122" y="119"/>
                  </a:lnTo>
                  <a:lnTo>
                    <a:pt x="122" y="117"/>
                  </a:lnTo>
                  <a:lnTo>
                    <a:pt x="122" y="115"/>
                  </a:lnTo>
                  <a:lnTo>
                    <a:pt x="122" y="114"/>
                  </a:lnTo>
                  <a:lnTo>
                    <a:pt x="123" y="114"/>
                  </a:lnTo>
                  <a:lnTo>
                    <a:pt x="123" y="112"/>
                  </a:lnTo>
                  <a:lnTo>
                    <a:pt x="125" y="112"/>
                  </a:lnTo>
                  <a:lnTo>
                    <a:pt x="127" y="112"/>
                  </a:lnTo>
                  <a:lnTo>
                    <a:pt x="127" y="110"/>
                  </a:lnTo>
                  <a:lnTo>
                    <a:pt x="127" y="109"/>
                  </a:lnTo>
                  <a:lnTo>
                    <a:pt x="128" y="109"/>
                  </a:lnTo>
                  <a:lnTo>
                    <a:pt x="128" y="107"/>
                  </a:lnTo>
                  <a:lnTo>
                    <a:pt x="130" y="106"/>
                  </a:lnTo>
                  <a:lnTo>
                    <a:pt x="130" y="104"/>
                  </a:lnTo>
                  <a:lnTo>
                    <a:pt x="130" y="102"/>
                  </a:lnTo>
                  <a:lnTo>
                    <a:pt x="131" y="102"/>
                  </a:lnTo>
                  <a:lnTo>
                    <a:pt x="133" y="101"/>
                  </a:lnTo>
                  <a:lnTo>
                    <a:pt x="136" y="101"/>
                  </a:lnTo>
                  <a:lnTo>
                    <a:pt x="138" y="101"/>
                  </a:lnTo>
                  <a:lnTo>
                    <a:pt x="140" y="101"/>
                  </a:lnTo>
                  <a:lnTo>
                    <a:pt x="141" y="101"/>
                  </a:lnTo>
                  <a:lnTo>
                    <a:pt x="143" y="101"/>
                  </a:lnTo>
                  <a:lnTo>
                    <a:pt x="144" y="101"/>
                  </a:lnTo>
                  <a:lnTo>
                    <a:pt x="146" y="99"/>
                  </a:lnTo>
                  <a:lnTo>
                    <a:pt x="148" y="99"/>
                  </a:lnTo>
                  <a:lnTo>
                    <a:pt x="149" y="101"/>
                  </a:lnTo>
                  <a:lnTo>
                    <a:pt x="151" y="101"/>
                  </a:lnTo>
                  <a:lnTo>
                    <a:pt x="153" y="99"/>
                  </a:lnTo>
                  <a:lnTo>
                    <a:pt x="154" y="97"/>
                  </a:lnTo>
                  <a:lnTo>
                    <a:pt x="156" y="96"/>
                  </a:lnTo>
                  <a:lnTo>
                    <a:pt x="157" y="96"/>
                  </a:lnTo>
                  <a:lnTo>
                    <a:pt x="159" y="97"/>
                  </a:lnTo>
                  <a:lnTo>
                    <a:pt x="159" y="99"/>
                  </a:lnTo>
                  <a:lnTo>
                    <a:pt x="159" y="101"/>
                  </a:lnTo>
                  <a:lnTo>
                    <a:pt x="161" y="101"/>
                  </a:lnTo>
                  <a:close/>
                  <a:moveTo>
                    <a:pt x="341" y="229"/>
                  </a:moveTo>
                  <a:lnTo>
                    <a:pt x="341" y="231"/>
                  </a:lnTo>
                  <a:lnTo>
                    <a:pt x="344" y="231"/>
                  </a:lnTo>
                  <a:lnTo>
                    <a:pt x="346" y="232"/>
                  </a:lnTo>
                  <a:lnTo>
                    <a:pt x="348" y="234"/>
                  </a:lnTo>
                  <a:lnTo>
                    <a:pt x="349" y="234"/>
                  </a:lnTo>
                  <a:lnTo>
                    <a:pt x="351" y="234"/>
                  </a:lnTo>
                  <a:lnTo>
                    <a:pt x="353" y="234"/>
                  </a:lnTo>
                  <a:lnTo>
                    <a:pt x="354" y="234"/>
                  </a:lnTo>
                  <a:lnTo>
                    <a:pt x="356" y="234"/>
                  </a:lnTo>
                  <a:lnTo>
                    <a:pt x="359" y="236"/>
                  </a:lnTo>
                  <a:lnTo>
                    <a:pt x="361" y="236"/>
                  </a:lnTo>
                  <a:lnTo>
                    <a:pt x="361" y="237"/>
                  </a:lnTo>
                  <a:lnTo>
                    <a:pt x="362" y="239"/>
                  </a:lnTo>
                  <a:lnTo>
                    <a:pt x="364" y="241"/>
                  </a:lnTo>
                  <a:lnTo>
                    <a:pt x="366" y="241"/>
                  </a:lnTo>
                  <a:lnTo>
                    <a:pt x="367" y="241"/>
                  </a:lnTo>
                  <a:lnTo>
                    <a:pt x="367" y="242"/>
                  </a:lnTo>
                  <a:lnTo>
                    <a:pt x="366" y="242"/>
                  </a:lnTo>
                  <a:lnTo>
                    <a:pt x="366" y="245"/>
                  </a:lnTo>
                  <a:lnTo>
                    <a:pt x="364" y="245"/>
                  </a:lnTo>
                  <a:lnTo>
                    <a:pt x="362" y="247"/>
                  </a:lnTo>
                  <a:lnTo>
                    <a:pt x="361" y="249"/>
                  </a:lnTo>
                  <a:lnTo>
                    <a:pt x="361" y="252"/>
                  </a:lnTo>
                  <a:lnTo>
                    <a:pt x="359" y="255"/>
                  </a:lnTo>
                  <a:lnTo>
                    <a:pt x="359" y="257"/>
                  </a:lnTo>
                  <a:lnTo>
                    <a:pt x="359" y="258"/>
                  </a:lnTo>
                  <a:lnTo>
                    <a:pt x="359" y="260"/>
                  </a:lnTo>
                  <a:lnTo>
                    <a:pt x="359" y="262"/>
                  </a:lnTo>
                  <a:lnTo>
                    <a:pt x="361" y="262"/>
                  </a:lnTo>
                  <a:lnTo>
                    <a:pt x="361" y="263"/>
                  </a:lnTo>
                  <a:lnTo>
                    <a:pt x="361" y="265"/>
                  </a:lnTo>
                  <a:lnTo>
                    <a:pt x="362" y="267"/>
                  </a:lnTo>
                  <a:lnTo>
                    <a:pt x="364" y="268"/>
                  </a:lnTo>
                  <a:lnTo>
                    <a:pt x="364" y="270"/>
                  </a:lnTo>
                  <a:lnTo>
                    <a:pt x="364" y="271"/>
                  </a:lnTo>
                  <a:lnTo>
                    <a:pt x="364" y="275"/>
                  </a:lnTo>
                  <a:lnTo>
                    <a:pt x="366" y="275"/>
                  </a:lnTo>
                  <a:lnTo>
                    <a:pt x="366" y="276"/>
                  </a:lnTo>
                  <a:lnTo>
                    <a:pt x="366" y="278"/>
                  </a:lnTo>
                  <a:lnTo>
                    <a:pt x="366" y="280"/>
                  </a:lnTo>
                  <a:lnTo>
                    <a:pt x="366" y="281"/>
                  </a:lnTo>
                  <a:lnTo>
                    <a:pt x="366" y="283"/>
                  </a:lnTo>
                  <a:lnTo>
                    <a:pt x="366" y="284"/>
                  </a:lnTo>
                  <a:lnTo>
                    <a:pt x="364" y="286"/>
                  </a:lnTo>
                  <a:lnTo>
                    <a:pt x="366" y="286"/>
                  </a:lnTo>
                  <a:lnTo>
                    <a:pt x="366" y="288"/>
                  </a:lnTo>
                  <a:lnTo>
                    <a:pt x="367" y="288"/>
                  </a:lnTo>
                  <a:lnTo>
                    <a:pt x="366" y="288"/>
                  </a:lnTo>
                  <a:lnTo>
                    <a:pt x="367" y="286"/>
                  </a:lnTo>
                  <a:lnTo>
                    <a:pt x="366" y="286"/>
                  </a:lnTo>
                  <a:lnTo>
                    <a:pt x="367" y="286"/>
                  </a:lnTo>
                  <a:lnTo>
                    <a:pt x="367" y="288"/>
                  </a:lnTo>
                  <a:lnTo>
                    <a:pt x="366" y="288"/>
                  </a:lnTo>
                  <a:lnTo>
                    <a:pt x="367" y="288"/>
                  </a:lnTo>
                  <a:lnTo>
                    <a:pt x="367" y="289"/>
                  </a:lnTo>
                  <a:lnTo>
                    <a:pt x="366" y="289"/>
                  </a:lnTo>
                  <a:lnTo>
                    <a:pt x="367" y="289"/>
                  </a:lnTo>
                  <a:lnTo>
                    <a:pt x="366" y="289"/>
                  </a:lnTo>
                  <a:lnTo>
                    <a:pt x="367" y="291"/>
                  </a:lnTo>
                  <a:lnTo>
                    <a:pt x="366" y="293"/>
                  </a:lnTo>
                  <a:lnTo>
                    <a:pt x="366" y="294"/>
                  </a:lnTo>
                  <a:lnTo>
                    <a:pt x="364" y="296"/>
                  </a:lnTo>
                  <a:lnTo>
                    <a:pt x="364" y="297"/>
                  </a:lnTo>
                  <a:lnTo>
                    <a:pt x="362" y="297"/>
                  </a:lnTo>
                  <a:lnTo>
                    <a:pt x="364" y="297"/>
                  </a:lnTo>
                  <a:lnTo>
                    <a:pt x="362" y="297"/>
                  </a:lnTo>
                  <a:lnTo>
                    <a:pt x="362" y="299"/>
                  </a:lnTo>
                  <a:lnTo>
                    <a:pt x="361" y="301"/>
                  </a:lnTo>
                  <a:lnTo>
                    <a:pt x="361" y="299"/>
                  </a:lnTo>
                  <a:lnTo>
                    <a:pt x="359" y="299"/>
                  </a:lnTo>
                  <a:lnTo>
                    <a:pt x="359" y="301"/>
                  </a:lnTo>
                  <a:lnTo>
                    <a:pt x="357" y="302"/>
                  </a:lnTo>
                  <a:lnTo>
                    <a:pt x="359" y="302"/>
                  </a:lnTo>
                  <a:lnTo>
                    <a:pt x="359" y="304"/>
                  </a:lnTo>
                  <a:lnTo>
                    <a:pt x="357" y="304"/>
                  </a:lnTo>
                  <a:lnTo>
                    <a:pt x="354" y="304"/>
                  </a:lnTo>
                  <a:lnTo>
                    <a:pt x="351" y="302"/>
                  </a:lnTo>
                  <a:lnTo>
                    <a:pt x="351" y="304"/>
                  </a:lnTo>
                  <a:lnTo>
                    <a:pt x="349" y="304"/>
                  </a:lnTo>
                  <a:lnTo>
                    <a:pt x="349" y="302"/>
                  </a:lnTo>
                  <a:lnTo>
                    <a:pt x="349" y="304"/>
                  </a:lnTo>
                  <a:lnTo>
                    <a:pt x="351" y="304"/>
                  </a:lnTo>
                  <a:lnTo>
                    <a:pt x="349" y="306"/>
                  </a:lnTo>
                  <a:lnTo>
                    <a:pt x="348" y="306"/>
                  </a:lnTo>
                  <a:lnTo>
                    <a:pt x="348" y="307"/>
                  </a:lnTo>
                  <a:lnTo>
                    <a:pt x="348" y="306"/>
                  </a:lnTo>
                  <a:lnTo>
                    <a:pt x="348" y="307"/>
                  </a:lnTo>
                  <a:lnTo>
                    <a:pt x="346" y="307"/>
                  </a:lnTo>
                  <a:lnTo>
                    <a:pt x="343" y="309"/>
                  </a:lnTo>
                  <a:lnTo>
                    <a:pt x="341" y="309"/>
                  </a:lnTo>
                  <a:lnTo>
                    <a:pt x="341" y="310"/>
                  </a:lnTo>
                  <a:lnTo>
                    <a:pt x="340" y="312"/>
                  </a:lnTo>
                  <a:lnTo>
                    <a:pt x="338" y="312"/>
                  </a:lnTo>
                  <a:lnTo>
                    <a:pt x="338" y="314"/>
                  </a:lnTo>
                  <a:lnTo>
                    <a:pt x="336" y="315"/>
                  </a:lnTo>
                  <a:lnTo>
                    <a:pt x="336" y="319"/>
                  </a:lnTo>
                  <a:lnTo>
                    <a:pt x="336" y="317"/>
                  </a:lnTo>
                  <a:lnTo>
                    <a:pt x="336" y="319"/>
                  </a:lnTo>
                  <a:lnTo>
                    <a:pt x="335" y="319"/>
                  </a:lnTo>
                  <a:lnTo>
                    <a:pt x="335" y="320"/>
                  </a:lnTo>
                  <a:lnTo>
                    <a:pt x="335" y="322"/>
                  </a:lnTo>
                  <a:lnTo>
                    <a:pt x="335" y="323"/>
                  </a:lnTo>
                  <a:lnTo>
                    <a:pt x="335" y="320"/>
                  </a:lnTo>
                  <a:lnTo>
                    <a:pt x="336" y="320"/>
                  </a:lnTo>
                  <a:lnTo>
                    <a:pt x="336" y="319"/>
                  </a:lnTo>
                  <a:lnTo>
                    <a:pt x="335" y="322"/>
                  </a:lnTo>
                  <a:lnTo>
                    <a:pt x="335" y="323"/>
                  </a:lnTo>
                  <a:lnTo>
                    <a:pt x="335" y="325"/>
                  </a:lnTo>
                  <a:lnTo>
                    <a:pt x="335" y="327"/>
                  </a:lnTo>
                  <a:lnTo>
                    <a:pt x="335" y="328"/>
                  </a:lnTo>
                  <a:lnTo>
                    <a:pt x="336" y="328"/>
                  </a:lnTo>
                  <a:lnTo>
                    <a:pt x="336" y="330"/>
                  </a:lnTo>
                  <a:lnTo>
                    <a:pt x="338" y="330"/>
                  </a:lnTo>
                  <a:lnTo>
                    <a:pt x="340" y="332"/>
                  </a:lnTo>
                  <a:lnTo>
                    <a:pt x="341" y="333"/>
                  </a:lnTo>
                  <a:lnTo>
                    <a:pt x="344" y="333"/>
                  </a:lnTo>
                  <a:lnTo>
                    <a:pt x="346" y="333"/>
                  </a:lnTo>
                  <a:lnTo>
                    <a:pt x="348" y="335"/>
                  </a:lnTo>
                  <a:lnTo>
                    <a:pt x="349" y="335"/>
                  </a:lnTo>
                  <a:lnTo>
                    <a:pt x="351" y="336"/>
                  </a:lnTo>
                  <a:lnTo>
                    <a:pt x="353" y="336"/>
                  </a:lnTo>
                  <a:lnTo>
                    <a:pt x="353" y="338"/>
                  </a:lnTo>
                  <a:lnTo>
                    <a:pt x="354" y="338"/>
                  </a:lnTo>
                  <a:lnTo>
                    <a:pt x="354" y="340"/>
                  </a:lnTo>
                  <a:lnTo>
                    <a:pt x="356" y="341"/>
                  </a:lnTo>
                  <a:lnTo>
                    <a:pt x="356" y="343"/>
                  </a:lnTo>
                  <a:lnTo>
                    <a:pt x="356" y="345"/>
                  </a:lnTo>
                  <a:lnTo>
                    <a:pt x="356" y="346"/>
                  </a:lnTo>
                  <a:lnTo>
                    <a:pt x="356" y="348"/>
                  </a:lnTo>
                  <a:lnTo>
                    <a:pt x="357" y="348"/>
                  </a:lnTo>
                  <a:lnTo>
                    <a:pt x="357" y="349"/>
                  </a:lnTo>
                  <a:lnTo>
                    <a:pt x="356" y="351"/>
                  </a:lnTo>
                  <a:lnTo>
                    <a:pt x="354" y="351"/>
                  </a:lnTo>
                  <a:lnTo>
                    <a:pt x="354" y="353"/>
                  </a:lnTo>
                  <a:lnTo>
                    <a:pt x="354" y="354"/>
                  </a:lnTo>
                  <a:lnTo>
                    <a:pt x="353" y="354"/>
                  </a:lnTo>
                  <a:lnTo>
                    <a:pt x="351" y="354"/>
                  </a:lnTo>
                  <a:lnTo>
                    <a:pt x="349" y="354"/>
                  </a:lnTo>
                  <a:lnTo>
                    <a:pt x="349" y="356"/>
                  </a:lnTo>
                  <a:lnTo>
                    <a:pt x="349" y="358"/>
                  </a:lnTo>
                  <a:lnTo>
                    <a:pt x="348" y="358"/>
                  </a:lnTo>
                  <a:lnTo>
                    <a:pt x="344" y="358"/>
                  </a:lnTo>
                  <a:lnTo>
                    <a:pt x="343" y="356"/>
                  </a:lnTo>
                  <a:lnTo>
                    <a:pt x="341" y="356"/>
                  </a:lnTo>
                  <a:lnTo>
                    <a:pt x="340" y="358"/>
                  </a:lnTo>
                  <a:lnTo>
                    <a:pt x="338" y="358"/>
                  </a:lnTo>
                  <a:lnTo>
                    <a:pt x="338" y="359"/>
                  </a:lnTo>
                  <a:lnTo>
                    <a:pt x="336" y="359"/>
                  </a:lnTo>
                  <a:lnTo>
                    <a:pt x="335" y="359"/>
                  </a:lnTo>
                  <a:lnTo>
                    <a:pt x="333" y="361"/>
                  </a:lnTo>
                  <a:lnTo>
                    <a:pt x="331" y="363"/>
                  </a:lnTo>
                  <a:lnTo>
                    <a:pt x="331" y="364"/>
                  </a:lnTo>
                  <a:lnTo>
                    <a:pt x="330" y="366"/>
                  </a:lnTo>
                  <a:lnTo>
                    <a:pt x="328" y="366"/>
                  </a:lnTo>
                  <a:lnTo>
                    <a:pt x="328" y="369"/>
                  </a:lnTo>
                  <a:lnTo>
                    <a:pt x="330" y="372"/>
                  </a:lnTo>
                  <a:lnTo>
                    <a:pt x="328" y="372"/>
                  </a:lnTo>
                  <a:lnTo>
                    <a:pt x="327" y="372"/>
                  </a:lnTo>
                  <a:lnTo>
                    <a:pt x="327" y="371"/>
                  </a:lnTo>
                  <a:lnTo>
                    <a:pt x="327" y="369"/>
                  </a:lnTo>
                  <a:lnTo>
                    <a:pt x="327" y="367"/>
                  </a:lnTo>
                  <a:lnTo>
                    <a:pt x="328" y="367"/>
                  </a:lnTo>
                  <a:lnTo>
                    <a:pt x="328" y="366"/>
                  </a:lnTo>
                  <a:lnTo>
                    <a:pt x="327" y="366"/>
                  </a:lnTo>
                  <a:lnTo>
                    <a:pt x="327" y="367"/>
                  </a:lnTo>
                  <a:lnTo>
                    <a:pt x="325" y="367"/>
                  </a:lnTo>
                  <a:lnTo>
                    <a:pt x="323" y="367"/>
                  </a:lnTo>
                  <a:lnTo>
                    <a:pt x="322" y="367"/>
                  </a:lnTo>
                  <a:lnTo>
                    <a:pt x="322" y="369"/>
                  </a:lnTo>
                  <a:lnTo>
                    <a:pt x="322" y="371"/>
                  </a:lnTo>
                  <a:lnTo>
                    <a:pt x="323" y="371"/>
                  </a:lnTo>
                  <a:lnTo>
                    <a:pt x="323" y="372"/>
                  </a:lnTo>
                  <a:lnTo>
                    <a:pt x="323" y="374"/>
                  </a:lnTo>
                  <a:lnTo>
                    <a:pt x="325" y="374"/>
                  </a:lnTo>
                  <a:lnTo>
                    <a:pt x="327" y="374"/>
                  </a:lnTo>
                  <a:lnTo>
                    <a:pt x="327" y="372"/>
                  </a:lnTo>
                  <a:lnTo>
                    <a:pt x="327" y="374"/>
                  </a:lnTo>
                  <a:lnTo>
                    <a:pt x="328" y="374"/>
                  </a:lnTo>
                  <a:lnTo>
                    <a:pt x="327" y="374"/>
                  </a:lnTo>
                  <a:lnTo>
                    <a:pt x="328" y="374"/>
                  </a:lnTo>
                  <a:lnTo>
                    <a:pt x="330" y="374"/>
                  </a:lnTo>
                  <a:lnTo>
                    <a:pt x="330" y="372"/>
                  </a:lnTo>
                  <a:lnTo>
                    <a:pt x="331" y="372"/>
                  </a:lnTo>
                  <a:lnTo>
                    <a:pt x="333" y="374"/>
                  </a:lnTo>
                  <a:lnTo>
                    <a:pt x="335" y="376"/>
                  </a:lnTo>
                  <a:lnTo>
                    <a:pt x="335" y="377"/>
                  </a:lnTo>
                  <a:lnTo>
                    <a:pt x="335" y="379"/>
                  </a:lnTo>
                  <a:lnTo>
                    <a:pt x="333" y="380"/>
                  </a:lnTo>
                  <a:lnTo>
                    <a:pt x="331" y="380"/>
                  </a:lnTo>
                  <a:lnTo>
                    <a:pt x="330" y="380"/>
                  </a:lnTo>
                  <a:lnTo>
                    <a:pt x="330" y="379"/>
                  </a:lnTo>
                  <a:lnTo>
                    <a:pt x="330" y="380"/>
                  </a:lnTo>
                  <a:lnTo>
                    <a:pt x="330" y="379"/>
                  </a:lnTo>
                  <a:lnTo>
                    <a:pt x="328" y="379"/>
                  </a:lnTo>
                  <a:lnTo>
                    <a:pt x="328" y="380"/>
                  </a:lnTo>
                  <a:lnTo>
                    <a:pt x="330" y="380"/>
                  </a:lnTo>
                  <a:lnTo>
                    <a:pt x="330" y="382"/>
                  </a:lnTo>
                  <a:lnTo>
                    <a:pt x="331" y="384"/>
                  </a:lnTo>
                  <a:lnTo>
                    <a:pt x="331" y="385"/>
                  </a:lnTo>
                  <a:lnTo>
                    <a:pt x="333" y="385"/>
                  </a:lnTo>
                  <a:lnTo>
                    <a:pt x="331" y="385"/>
                  </a:lnTo>
                  <a:lnTo>
                    <a:pt x="331" y="387"/>
                  </a:lnTo>
                  <a:lnTo>
                    <a:pt x="333" y="387"/>
                  </a:lnTo>
                  <a:lnTo>
                    <a:pt x="333" y="389"/>
                  </a:lnTo>
                  <a:lnTo>
                    <a:pt x="335" y="390"/>
                  </a:lnTo>
                  <a:lnTo>
                    <a:pt x="335" y="393"/>
                  </a:lnTo>
                  <a:lnTo>
                    <a:pt x="335" y="392"/>
                  </a:lnTo>
                  <a:lnTo>
                    <a:pt x="333" y="392"/>
                  </a:lnTo>
                  <a:lnTo>
                    <a:pt x="333" y="393"/>
                  </a:lnTo>
                  <a:lnTo>
                    <a:pt x="331" y="392"/>
                  </a:lnTo>
                  <a:lnTo>
                    <a:pt x="331" y="393"/>
                  </a:lnTo>
                  <a:lnTo>
                    <a:pt x="330" y="392"/>
                  </a:lnTo>
                  <a:lnTo>
                    <a:pt x="330" y="393"/>
                  </a:lnTo>
                  <a:lnTo>
                    <a:pt x="330" y="395"/>
                  </a:lnTo>
                  <a:lnTo>
                    <a:pt x="328" y="395"/>
                  </a:lnTo>
                  <a:lnTo>
                    <a:pt x="327" y="397"/>
                  </a:lnTo>
                  <a:lnTo>
                    <a:pt x="325" y="397"/>
                  </a:lnTo>
                  <a:lnTo>
                    <a:pt x="323" y="397"/>
                  </a:lnTo>
                  <a:lnTo>
                    <a:pt x="322" y="397"/>
                  </a:lnTo>
                  <a:lnTo>
                    <a:pt x="320" y="397"/>
                  </a:lnTo>
                  <a:lnTo>
                    <a:pt x="320" y="395"/>
                  </a:lnTo>
                  <a:lnTo>
                    <a:pt x="318" y="395"/>
                  </a:lnTo>
                  <a:lnTo>
                    <a:pt x="317" y="393"/>
                  </a:lnTo>
                  <a:lnTo>
                    <a:pt x="315" y="392"/>
                  </a:lnTo>
                  <a:lnTo>
                    <a:pt x="314" y="392"/>
                  </a:lnTo>
                  <a:lnTo>
                    <a:pt x="314" y="393"/>
                  </a:lnTo>
                  <a:lnTo>
                    <a:pt x="312" y="393"/>
                  </a:lnTo>
                  <a:lnTo>
                    <a:pt x="312" y="392"/>
                  </a:lnTo>
                  <a:lnTo>
                    <a:pt x="310" y="392"/>
                  </a:lnTo>
                  <a:lnTo>
                    <a:pt x="309" y="390"/>
                  </a:lnTo>
                  <a:lnTo>
                    <a:pt x="307" y="390"/>
                  </a:lnTo>
                  <a:lnTo>
                    <a:pt x="307" y="389"/>
                  </a:lnTo>
                  <a:lnTo>
                    <a:pt x="305" y="389"/>
                  </a:lnTo>
                  <a:lnTo>
                    <a:pt x="305" y="387"/>
                  </a:lnTo>
                  <a:lnTo>
                    <a:pt x="302" y="385"/>
                  </a:lnTo>
                  <a:lnTo>
                    <a:pt x="299" y="385"/>
                  </a:lnTo>
                  <a:lnTo>
                    <a:pt x="297" y="384"/>
                  </a:lnTo>
                  <a:lnTo>
                    <a:pt x="296" y="384"/>
                  </a:lnTo>
                  <a:lnTo>
                    <a:pt x="294" y="384"/>
                  </a:lnTo>
                  <a:lnTo>
                    <a:pt x="294" y="382"/>
                  </a:lnTo>
                  <a:lnTo>
                    <a:pt x="299" y="384"/>
                  </a:lnTo>
                  <a:lnTo>
                    <a:pt x="301" y="384"/>
                  </a:lnTo>
                  <a:lnTo>
                    <a:pt x="302" y="385"/>
                  </a:lnTo>
                  <a:lnTo>
                    <a:pt x="304" y="385"/>
                  </a:lnTo>
                  <a:lnTo>
                    <a:pt x="305" y="387"/>
                  </a:lnTo>
                  <a:lnTo>
                    <a:pt x="307" y="387"/>
                  </a:lnTo>
                  <a:lnTo>
                    <a:pt x="307" y="385"/>
                  </a:lnTo>
                  <a:lnTo>
                    <a:pt x="305" y="384"/>
                  </a:lnTo>
                  <a:lnTo>
                    <a:pt x="304" y="382"/>
                  </a:lnTo>
                  <a:lnTo>
                    <a:pt x="302" y="380"/>
                  </a:lnTo>
                  <a:lnTo>
                    <a:pt x="301" y="380"/>
                  </a:lnTo>
                  <a:lnTo>
                    <a:pt x="302" y="382"/>
                  </a:lnTo>
                  <a:lnTo>
                    <a:pt x="301" y="382"/>
                  </a:lnTo>
                  <a:lnTo>
                    <a:pt x="299" y="380"/>
                  </a:lnTo>
                  <a:lnTo>
                    <a:pt x="299" y="379"/>
                  </a:lnTo>
                  <a:lnTo>
                    <a:pt x="297" y="377"/>
                  </a:lnTo>
                  <a:lnTo>
                    <a:pt x="297" y="376"/>
                  </a:lnTo>
                  <a:lnTo>
                    <a:pt x="297" y="374"/>
                  </a:lnTo>
                  <a:lnTo>
                    <a:pt x="299" y="374"/>
                  </a:lnTo>
                  <a:lnTo>
                    <a:pt x="297" y="376"/>
                  </a:lnTo>
                  <a:lnTo>
                    <a:pt x="299" y="376"/>
                  </a:lnTo>
                  <a:lnTo>
                    <a:pt x="301" y="376"/>
                  </a:lnTo>
                  <a:lnTo>
                    <a:pt x="301" y="374"/>
                  </a:lnTo>
                  <a:lnTo>
                    <a:pt x="302" y="374"/>
                  </a:lnTo>
                  <a:lnTo>
                    <a:pt x="304" y="374"/>
                  </a:lnTo>
                  <a:lnTo>
                    <a:pt x="305" y="374"/>
                  </a:lnTo>
                  <a:lnTo>
                    <a:pt x="304" y="371"/>
                  </a:lnTo>
                  <a:lnTo>
                    <a:pt x="302" y="371"/>
                  </a:lnTo>
                  <a:lnTo>
                    <a:pt x="302" y="372"/>
                  </a:lnTo>
                  <a:lnTo>
                    <a:pt x="301" y="371"/>
                  </a:lnTo>
                  <a:lnTo>
                    <a:pt x="302" y="371"/>
                  </a:lnTo>
                  <a:lnTo>
                    <a:pt x="301" y="371"/>
                  </a:lnTo>
                  <a:lnTo>
                    <a:pt x="299" y="371"/>
                  </a:lnTo>
                  <a:lnTo>
                    <a:pt x="297" y="371"/>
                  </a:lnTo>
                  <a:lnTo>
                    <a:pt x="296" y="369"/>
                  </a:lnTo>
                  <a:lnTo>
                    <a:pt x="297" y="369"/>
                  </a:lnTo>
                  <a:lnTo>
                    <a:pt x="297" y="367"/>
                  </a:lnTo>
                  <a:lnTo>
                    <a:pt x="299" y="367"/>
                  </a:lnTo>
                  <a:lnTo>
                    <a:pt x="299" y="366"/>
                  </a:lnTo>
                  <a:lnTo>
                    <a:pt x="297" y="366"/>
                  </a:lnTo>
                  <a:lnTo>
                    <a:pt x="299" y="364"/>
                  </a:lnTo>
                  <a:lnTo>
                    <a:pt x="297" y="364"/>
                  </a:lnTo>
                  <a:lnTo>
                    <a:pt x="296" y="363"/>
                  </a:lnTo>
                  <a:lnTo>
                    <a:pt x="294" y="363"/>
                  </a:lnTo>
                  <a:lnTo>
                    <a:pt x="292" y="364"/>
                  </a:lnTo>
                  <a:lnTo>
                    <a:pt x="292" y="366"/>
                  </a:lnTo>
                  <a:lnTo>
                    <a:pt x="292" y="367"/>
                  </a:lnTo>
                  <a:lnTo>
                    <a:pt x="291" y="367"/>
                  </a:lnTo>
                  <a:lnTo>
                    <a:pt x="292" y="367"/>
                  </a:lnTo>
                  <a:lnTo>
                    <a:pt x="294" y="367"/>
                  </a:lnTo>
                  <a:lnTo>
                    <a:pt x="294" y="369"/>
                  </a:lnTo>
                  <a:lnTo>
                    <a:pt x="296" y="371"/>
                  </a:lnTo>
                  <a:lnTo>
                    <a:pt x="296" y="372"/>
                  </a:lnTo>
                  <a:lnTo>
                    <a:pt x="296" y="371"/>
                  </a:lnTo>
                  <a:lnTo>
                    <a:pt x="294" y="369"/>
                  </a:lnTo>
                  <a:lnTo>
                    <a:pt x="292" y="369"/>
                  </a:lnTo>
                  <a:lnTo>
                    <a:pt x="291" y="369"/>
                  </a:lnTo>
                  <a:lnTo>
                    <a:pt x="291" y="367"/>
                  </a:lnTo>
                  <a:lnTo>
                    <a:pt x="289" y="367"/>
                  </a:lnTo>
                  <a:lnTo>
                    <a:pt x="288" y="366"/>
                  </a:lnTo>
                  <a:lnTo>
                    <a:pt x="286" y="366"/>
                  </a:lnTo>
                  <a:lnTo>
                    <a:pt x="284" y="366"/>
                  </a:lnTo>
                  <a:lnTo>
                    <a:pt x="283" y="366"/>
                  </a:lnTo>
                  <a:lnTo>
                    <a:pt x="281" y="364"/>
                  </a:lnTo>
                  <a:lnTo>
                    <a:pt x="279" y="364"/>
                  </a:lnTo>
                  <a:lnTo>
                    <a:pt x="278" y="364"/>
                  </a:lnTo>
                  <a:lnTo>
                    <a:pt x="276" y="364"/>
                  </a:lnTo>
                  <a:lnTo>
                    <a:pt x="276" y="363"/>
                  </a:lnTo>
                  <a:lnTo>
                    <a:pt x="275" y="363"/>
                  </a:lnTo>
                  <a:lnTo>
                    <a:pt x="273" y="361"/>
                  </a:lnTo>
                  <a:lnTo>
                    <a:pt x="273" y="363"/>
                  </a:lnTo>
                  <a:lnTo>
                    <a:pt x="271" y="364"/>
                  </a:lnTo>
                  <a:lnTo>
                    <a:pt x="270" y="363"/>
                  </a:lnTo>
                  <a:lnTo>
                    <a:pt x="270" y="364"/>
                  </a:lnTo>
                  <a:lnTo>
                    <a:pt x="268" y="364"/>
                  </a:lnTo>
                  <a:lnTo>
                    <a:pt x="266" y="363"/>
                  </a:lnTo>
                  <a:lnTo>
                    <a:pt x="266" y="364"/>
                  </a:lnTo>
                  <a:lnTo>
                    <a:pt x="265" y="364"/>
                  </a:lnTo>
                  <a:lnTo>
                    <a:pt x="265" y="363"/>
                  </a:lnTo>
                  <a:lnTo>
                    <a:pt x="263" y="363"/>
                  </a:lnTo>
                  <a:lnTo>
                    <a:pt x="263" y="364"/>
                  </a:lnTo>
                  <a:lnTo>
                    <a:pt x="263" y="366"/>
                  </a:lnTo>
                  <a:lnTo>
                    <a:pt x="262" y="366"/>
                  </a:lnTo>
                  <a:lnTo>
                    <a:pt x="260" y="364"/>
                  </a:lnTo>
                  <a:lnTo>
                    <a:pt x="258" y="364"/>
                  </a:lnTo>
                  <a:lnTo>
                    <a:pt x="258" y="363"/>
                  </a:lnTo>
                  <a:lnTo>
                    <a:pt x="257" y="363"/>
                  </a:lnTo>
                  <a:lnTo>
                    <a:pt x="257" y="361"/>
                  </a:lnTo>
                  <a:lnTo>
                    <a:pt x="258" y="361"/>
                  </a:lnTo>
                  <a:lnTo>
                    <a:pt x="257" y="359"/>
                  </a:lnTo>
                  <a:lnTo>
                    <a:pt x="257" y="358"/>
                  </a:lnTo>
                  <a:lnTo>
                    <a:pt x="258" y="358"/>
                  </a:lnTo>
                  <a:lnTo>
                    <a:pt x="258" y="359"/>
                  </a:lnTo>
                  <a:lnTo>
                    <a:pt x="260" y="359"/>
                  </a:lnTo>
                  <a:lnTo>
                    <a:pt x="262" y="359"/>
                  </a:lnTo>
                  <a:lnTo>
                    <a:pt x="262" y="358"/>
                  </a:lnTo>
                  <a:lnTo>
                    <a:pt x="260" y="358"/>
                  </a:lnTo>
                  <a:lnTo>
                    <a:pt x="260" y="359"/>
                  </a:lnTo>
                  <a:lnTo>
                    <a:pt x="258" y="358"/>
                  </a:lnTo>
                  <a:lnTo>
                    <a:pt x="257" y="358"/>
                  </a:lnTo>
                  <a:lnTo>
                    <a:pt x="258" y="356"/>
                  </a:lnTo>
                  <a:lnTo>
                    <a:pt x="257" y="354"/>
                  </a:lnTo>
                  <a:lnTo>
                    <a:pt x="257" y="353"/>
                  </a:lnTo>
                  <a:lnTo>
                    <a:pt x="255" y="351"/>
                  </a:lnTo>
                  <a:lnTo>
                    <a:pt x="253" y="351"/>
                  </a:lnTo>
                  <a:lnTo>
                    <a:pt x="252" y="349"/>
                  </a:lnTo>
                  <a:lnTo>
                    <a:pt x="250" y="348"/>
                  </a:lnTo>
                  <a:lnTo>
                    <a:pt x="249" y="346"/>
                  </a:lnTo>
                  <a:lnTo>
                    <a:pt x="249" y="345"/>
                  </a:lnTo>
                  <a:lnTo>
                    <a:pt x="249" y="346"/>
                  </a:lnTo>
                  <a:lnTo>
                    <a:pt x="247" y="345"/>
                  </a:lnTo>
                  <a:lnTo>
                    <a:pt x="245" y="345"/>
                  </a:lnTo>
                  <a:lnTo>
                    <a:pt x="245" y="343"/>
                  </a:lnTo>
                  <a:lnTo>
                    <a:pt x="245" y="345"/>
                  </a:lnTo>
                  <a:lnTo>
                    <a:pt x="245" y="343"/>
                  </a:lnTo>
                  <a:lnTo>
                    <a:pt x="247" y="340"/>
                  </a:lnTo>
                  <a:lnTo>
                    <a:pt x="247" y="341"/>
                  </a:lnTo>
                  <a:lnTo>
                    <a:pt x="249" y="341"/>
                  </a:lnTo>
                  <a:lnTo>
                    <a:pt x="250" y="341"/>
                  </a:lnTo>
                  <a:lnTo>
                    <a:pt x="250" y="340"/>
                  </a:lnTo>
                  <a:lnTo>
                    <a:pt x="252" y="340"/>
                  </a:lnTo>
                  <a:lnTo>
                    <a:pt x="253" y="338"/>
                  </a:lnTo>
                  <a:lnTo>
                    <a:pt x="255" y="336"/>
                  </a:lnTo>
                  <a:lnTo>
                    <a:pt x="255" y="335"/>
                  </a:lnTo>
                  <a:lnTo>
                    <a:pt x="253" y="335"/>
                  </a:lnTo>
                  <a:lnTo>
                    <a:pt x="253" y="333"/>
                  </a:lnTo>
                  <a:lnTo>
                    <a:pt x="253" y="330"/>
                  </a:lnTo>
                  <a:lnTo>
                    <a:pt x="253" y="328"/>
                  </a:lnTo>
                  <a:lnTo>
                    <a:pt x="253" y="327"/>
                  </a:lnTo>
                  <a:lnTo>
                    <a:pt x="252" y="327"/>
                  </a:lnTo>
                  <a:lnTo>
                    <a:pt x="252" y="325"/>
                  </a:lnTo>
                  <a:lnTo>
                    <a:pt x="252" y="323"/>
                  </a:lnTo>
                  <a:lnTo>
                    <a:pt x="252" y="322"/>
                  </a:lnTo>
                  <a:lnTo>
                    <a:pt x="250" y="322"/>
                  </a:lnTo>
                  <a:lnTo>
                    <a:pt x="249" y="320"/>
                  </a:lnTo>
                  <a:lnTo>
                    <a:pt x="249" y="319"/>
                  </a:lnTo>
                  <a:lnTo>
                    <a:pt x="247" y="319"/>
                  </a:lnTo>
                  <a:lnTo>
                    <a:pt x="247" y="317"/>
                  </a:lnTo>
                  <a:lnTo>
                    <a:pt x="247" y="319"/>
                  </a:lnTo>
                  <a:lnTo>
                    <a:pt x="247" y="320"/>
                  </a:lnTo>
                  <a:lnTo>
                    <a:pt x="245" y="320"/>
                  </a:lnTo>
                  <a:lnTo>
                    <a:pt x="244" y="320"/>
                  </a:lnTo>
                  <a:lnTo>
                    <a:pt x="244" y="317"/>
                  </a:lnTo>
                  <a:lnTo>
                    <a:pt x="245" y="317"/>
                  </a:lnTo>
                  <a:lnTo>
                    <a:pt x="247" y="317"/>
                  </a:lnTo>
                  <a:lnTo>
                    <a:pt x="249" y="317"/>
                  </a:lnTo>
                  <a:lnTo>
                    <a:pt x="250" y="315"/>
                  </a:lnTo>
                  <a:lnTo>
                    <a:pt x="250" y="314"/>
                  </a:lnTo>
                  <a:lnTo>
                    <a:pt x="250" y="312"/>
                  </a:lnTo>
                  <a:lnTo>
                    <a:pt x="250" y="310"/>
                  </a:lnTo>
                  <a:lnTo>
                    <a:pt x="249" y="309"/>
                  </a:lnTo>
                  <a:lnTo>
                    <a:pt x="249" y="307"/>
                  </a:lnTo>
                  <a:lnTo>
                    <a:pt x="247" y="306"/>
                  </a:lnTo>
                  <a:lnTo>
                    <a:pt x="245" y="304"/>
                  </a:lnTo>
                  <a:lnTo>
                    <a:pt x="240" y="301"/>
                  </a:lnTo>
                  <a:lnTo>
                    <a:pt x="239" y="301"/>
                  </a:lnTo>
                  <a:lnTo>
                    <a:pt x="237" y="299"/>
                  </a:lnTo>
                  <a:lnTo>
                    <a:pt x="236" y="299"/>
                  </a:lnTo>
                  <a:lnTo>
                    <a:pt x="234" y="299"/>
                  </a:lnTo>
                  <a:lnTo>
                    <a:pt x="232" y="299"/>
                  </a:lnTo>
                  <a:lnTo>
                    <a:pt x="231" y="297"/>
                  </a:lnTo>
                  <a:lnTo>
                    <a:pt x="232" y="297"/>
                  </a:lnTo>
                  <a:lnTo>
                    <a:pt x="234" y="297"/>
                  </a:lnTo>
                  <a:lnTo>
                    <a:pt x="236" y="297"/>
                  </a:lnTo>
                  <a:lnTo>
                    <a:pt x="237" y="297"/>
                  </a:lnTo>
                  <a:lnTo>
                    <a:pt x="239" y="297"/>
                  </a:lnTo>
                  <a:lnTo>
                    <a:pt x="240" y="299"/>
                  </a:lnTo>
                  <a:lnTo>
                    <a:pt x="242" y="299"/>
                  </a:lnTo>
                  <a:lnTo>
                    <a:pt x="244" y="297"/>
                  </a:lnTo>
                  <a:lnTo>
                    <a:pt x="244" y="299"/>
                  </a:lnTo>
                  <a:lnTo>
                    <a:pt x="245" y="299"/>
                  </a:lnTo>
                  <a:lnTo>
                    <a:pt x="244" y="297"/>
                  </a:lnTo>
                  <a:lnTo>
                    <a:pt x="245" y="297"/>
                  </a:lnTo>
                  <a:lnTo>
                    <a:pt x="244" y="297"/>
                  </a:lnTo>
                  <a:lnTo>
                    <a:pt x="245" y="297"/>
                  </a:lnTo>
                  <a:lnTo>
                    <a:pt x="244" y="297"/>
                  </a:lnTo>
                  <a:lnTo>
                    <a:pt x="245" y="297"/>
                  </a:lnTo>
                  <a:lnTo>
                    <a:pt x="244" y="296"/>
                  </a:lnTo>
                  <a:lnTo>
                    <a:pt x="244" y="297"/>
                  </a:lnTo>
                  <a:lnTo>
                    <a:pt x="244" y="296"/>
                  </a:lnTo>
                  <a:lnTo>
                    <a:pt x="242" y="296"/>
                  </a:lnTo>
                  <a:lnTo>
                    <a:pt x="242" y="297"/>
                  </a:lnTo>
                  <a:lnTo>
                    <a:pt x="244" y="297"/>
                  </a:lnTo>
                  <a:lnTo>
                    <a:pt x="242" y="296"/>
                  </a:lnTo>
                  <a:lnTo>
                    <a:pt x="240" y="294"/>
                  </a:lnTo>
                  <a:lnTo>
                    <a:pt x="239" y="294"/>
                  </a:lnTo>
                  <a:lnTo>
                    <a:pt x="239" y="293"/>
                  </a:lnTo>
                  <a:lnTo>
                    <a:pt x="237" y="293"/>
                  </a:lnTo>
                  <a:lnTo>
                    <a:pt x="237" y="291"/>
                  </a:lnTo>
                  <a:lnTo>
                    <a:pt x="237" y="289"/>
                  </a:lnTo>
                  <a:lnTo>
                    <a:pt x="236" y="289"/>
                  </a:lnTo>
                  <a:lnTo>
                    <a:pt x="234" y="289"/>
                  </a:lnTo>
                  <a:lnTo>
                    <a:pt x="232" y="289"/>
                  </a:lnTo>
                  <a:lnTo>
                    <a:pt x="231" y="289"/>
                  </a:lnTo>
                  <a:lnTo>
                    <a:pt x="229" y="289"/>
                  </a:lnTo>
                  <a:lnTo>
                    <a:pt x="227" y="288"/>
                  </a:lnTo>
                  <a:lnTo>
                    <a:pt x="226" y="288"/>
                  </a:lnTo>
                  <a:lnTo>
                    <a:pt x="227" y="288"/>
                  </a:lnTo>
                  <a:lnTo>
                    <a:pt x="229" y="288"/>
                  </a:lnTo>
                  <a:lnTo>
                    <a:pt x="231" y="286"/>
                  </a:lnTo>
                  <a:lnTo>
                    <a:pt x="232" y="286"/>
                  </a:lnTo>
                  <a:lnTo>
                    <a:pt x="236" y="286"/>
                  </a:lnTo>
                  <a:lnTo>
                    <a:pt x="236" y="288"/>
                  </a:lnTo>
                  <a:lnTo>
                    <a:pt x="236" y="286"/>
                  </a:lnTo>
                  <a:lnTo>
                    <a:pt x="237" y="288"/>
                  </a:lnTo>
                  <a:lnTo>
                    <a:pt x="239" y="288"/>
                  </a:lnTo>
                  <a:lnTo>
                    <a:pt x="240" y="289"/>
                  </a:lnTo>
                  <a:lnTo>
                    <a:pt x="242" y="289"/>
                  </a:lnTo>
                  <a:lnTo>
                    <a:pt x="244" y="288"/>
                  </a:lnTo>
                  <a:lnTo>
                    <a:pt x="245" y="286"/>
                  </a:lnTo>
                  <a:lnTo>
                    <a:pt x="247" y="286"/>
                  </a:lnTo>
                  <a:lnTo>
                    <a:pt x="249" y="286"/>
                  </a:lnTo>
                  <a:lnTo>
                    <a:pt x="250" y="286"/>
                  </a:lnTo>
                  <a:lnTo>
                    <a:pt x="250" y="284"/>
                  </a:lnTo>
                  <a:lnTo>
                    <a:pt x="252" y="284"/>
                  </a:lnTo>
                  <a:lnTo>
                    <a:pt x="252" y="286"/>
                  </a:lnTo>
                  <a:lnTo>
                    <a:pt x="252" y="288"/>
                  </a:lnTo>
                  <a:lnTo>
                    <a:pt x="253" y="288"/>
                  </a:lnTo>
                  <a:lnTo>
                    <a:pt x="255" y="288"/>
                  </a:lnTo>
                  <a:lnTo>
                    <a:pt x="253" y="288"/>
                  </a:lnTo>
                  <a:lnTo>
                    <a:pt x="255" y="286"/>
                  </a:lnTo>
                  <a:lnTo>
                    <a:pt x="255" y="288"/>
                  </a:lnTo>
                  <a:lnTo>
                    <a:pt x="257" y="288"/>
                  </a:lnTo>
                  <a:lnTo>
                    <a:pt x="257" y="289"/>
                  </a:lnTo>
                  <a:lnTo>
                    <a:pt x="258" y="289"/>
                  </a:lnTo>
                  <a:lnTo>
                    <a:pt x="258" y="288"/>
                  </a:lnTo>
                  <a:lnTo>
                    <a:pt x="260" y="288"/>
                  </a:lnTo>
                  <a:lnTo>
                    <a:pt x="260" y="286"/>
                  </a:lnTo>
                  <a:lnTo>
                    <a:pt x="260" y="284"/>
                  </a:lnTo>
                  <a:lnTo>
                    <a:pt x="262" y="284"/>
                  </a:lnTo>
                  <a:lnTo>
                    <a:pt x="262" y="286"/>
                  </a:lnTo>
                  <a:lnTo>
                    <a:pt x="260" y="284"/>
                  </a:lnTo>
                  <a:lnTo>
                    <a:pt x="262" y="286"/>
                  </a:lnTo>
                  <a:lnTo>
                    <a:pt x="262" y="284"/>
                  </a:lnTo>
                  <a:lnTo>
                    <a:pt x="263" y="284"/>
                  </a:lnTo>
                  <a:lnTo>
                    <a:pt x="265" y="284"/>
                  </a:lnTo>
                  <a:lnTo>
                    <a:pt x="266" y="283"/>
                  </a:lnTo>
                  <a:lnTo>
                    <a:pt x="268" y="281"/>
                  </a:lnTo>
                  <a:lnTo>
                    <a:pt x="266" y="281"/>
                  </a:lnTo>
                  <a:lnTo>
                    <a:pt x="268" y="281"/>
                  </a:lnTo>
                  <a:lnTo>
                    <a:pt x="268" y="280"/>
                  </a:lnTo>
                  <a:lnTo>
                    <a:pt x="266" y="280"/>
                  </a:lnTo>
                  <a:lnTo>
                    <a:pt x="266" y="278"/>
                  </a:lnTo>
                  <a:lnTo>
                    <a:pt x="266" y="276"/>
                  </a:lnTo>
                  <a:lnTo>
                    <a:pt x="266" y="275"/>
                  </a:lnTo>
                  <a:lnTo>
                    <a:pt x="266" y="273"/>
                  </a:lnTo>
                  <a:lnTo>
                    <a:pt x="265" y="273"/>
                  </a:lnTo>
                  <a:lnTo>
                    <a:pt x="265" y="271"/>
                  </a:lnTo>
                  <a:lnTo>
                    <a:pt x="266" y="271"/>
                  </a:lnTo>
                  <a:lnTo>
                    <a:pt x="266" y="273"/>
                  </a:lnTo>
                  <a:lnTo>
                    <a:pt x="268" y="273"/>
                  </a:lnTo>
                  <a:lnTo>
                    <a:pt x="268" y="275"/>
                  </a:lnTo>
                  <a:lnTo>
                    <a:pt x="270" y="273"/>
                  </a:lnTo>
                  <a:lnTo>
                    <a:pt x="273" y="271"/>
                  </a:lnTo>
                  <a:lnTo>
                    <a:pt x="275" y="271"/>
                  </a:lnTo>
                  <a:lnTo>
                    <a:pt x="276" y="271"/>
                  </a:lnTo>
                  <a:lnTo>
                    <a:pt x="278" y="271"/>
                  </a:lnTo>
                  <a:lnTo>
                    <a:pt x="278" y="270"/>
                  </a:lnTo>
                  <a:lnTo>
                    <a:pt x="278" y="268"/>
                  </a:lnTo>
                  <a:lnTo>
                    <a:pt x="279" y="267"/>
                  </a:lnTo>
                  <a:lnTo>
                    <a:pt x="279" y="265"/>
                  </a:lnTo>
                  <a:lnTo>
                    <a:pt x="279" y="263"/>
                  </a:lnTo>
                  <a:lnTo>
                    <a:pt x="279" y="265"/>
                  </a:lnTo>
                  <a:lnTo>
                    <a:pt x="279" y="267"/>
                  </a:lnTo>
                  <a:lnTo>
                    <a:pt x="279" y="265"/>
                  </a:lnTo>
                  <a:lnTo>
                    <a:pt x="278" y="265"/>
                  </a:lnTo>
                  <a:lnTo>
                    <a:pt x="278" y="263"/>
                  </a:lnTo>
                  <a:lnTo>
                    <a:pt x="279" y="263"/>
                  </a:lnTo>
                  <a:lnTo>
                    <a:pt x="279" y="262"/>
                  </a:lnTo>
                  <a:lnTo>
                    <a:pt x="279" y="260"/>
                  </a:lnTo>
                  <a:lnTo>
                    <a:pt x="278" y="260"/>
                  </a:lnTo>
                  <a:lnTo>
                    <a:pt x="278" y="258"/>
                  </a:lnTo>
                  <a:lnTo>
                    <a:pt x="278" y="260"/>
                  </a:lnTo>
                  <a:lnTo>
                    <a:pt x="276" y="258"/>
                  </a:lnTo>
                  <a:lnTo>
                    <a:pt x="275" y="258"/>
                  </a:lnTo>
                  <a:lnTo>
                    <a:pt x="275" y="257"/>
                  </a:lnTo>
                  <a:lnTo>
                    <a:pt x="271" y="257"/>
                  </a:lnTo>
                  <a:lnTo>
                    <a:pt x="268" y="257"/>
                  </a:lnTo>
                  <a:lnTo>
                    <a:pt x="266" y="257"/>
                  </a:lnTo>
                  <a:lnTo>
                    <a:pt x="265" y="255"/>
                  </a:lnTo>
                  <a:lnTo>
                    <a:pt x="263" y="254"/>
                  </a:lnTo>
                  <a:lnTo>
                    <a:pt x="262" y="254"/>
                  </a:lnTo>
                  <a:lnTo>
                    <a:pt x="260" y="254"/>
                  </a:lnTo>
                  <a:lnTo>
                    <a:pt x="260" y="252"/>
                  </a:lnTo>
                  <a:lnTo>
                    <a:pt x="258" y="250"/>
                  </a:lnTo>
                  <a:lnTo>
                    <a:pt x="258" y="249"/>
                  </a:lnTo>
                  <a:lnTo>
                    <a:pt x="260" y="252"/>
                  </a:lnTo>
                  <a:lnTo>
                    <a:pt x="262" y="252"/>
                  </a:lnTo>
                  <a:lnTo>
                    <a:pt x="265" y="254"/>
                  </a:lnTo>
                  <a:lnTo>
                    <a:pt x="266" y="254"/>
                  </a:lnTo>
                  <a:lnTo>
                    <a:pt x="268" y="255"/>
                  </a:lnTo>
                  <a:lnTo>
                    <a:pt x="270" y="255"/>
                  </a:lnTo>
                  <a:lnTo>
                    <a:pt x="273" y="255"/>
                  </a:lnTo>
                  <a:lnTo>
                    <a:pt x="275" y="255"/>
                  </a:lnTo>
                  <a:lnTo>
                    <a:pt x="276" y="257"/>
                  </a:lnTo>
                  <a:lnTo>
                    <a:pt x="278" y="257"/>
                  </a:lnTo>
                  <a:lnTo>
                    <a:pt x="281" y="257"/>
                  </a:lnTo>
                  <a:lnTo>
                    <a:pt x="283" y="255"/>
                  </a:lnTo>
                  <a:lnTo>
                    <a:pt x="284" y="255"/>
                  </a:lnTo>
                  <a:lnTo>
                    <a:pt x="284" y="257"/>
                  </a:lnTo>
                  <a:lnTo>
                    <a:pt x="286" y="257"/>
                  </a:lnTo>
                  <a:lnTo>
                    <a:pt x="286" y="258"/>
                  </a:lnTo>
                  <a:lnTo>
                    <a:pt x="288" y="258"/>
                  </a:lnTo>
                  <a:lnTo>
                    <a:pt x="289" y="258"/>
                  </a:lnTo>
                  <a:lnTo>
                    <a:pt x="291" y="257"/>
                  </a:lnTo>
                  <a:lnTo>
                    <a:pt x="292" y="257"/>
                  </a:lnTo>
                  <a:lnTo>
                    <a:pt x="294" y="257"/>
                  </a:lnTo>
                  <a:lnTo>
                    <a:pt x="294" y="255"/>
                  </a:lnTo>
                  <a:lnTo>
                    <a:pt x="296" y="254"/>
                  </a:lnTo>
                  <a:lnTo>
                    <a:pt x="299" y="252"/>
                  </a:lnTo>
                  <a:lnTo>
                    <a:pt x="299" y="254"/>
                  </a:lnTo>
                  <a:lnTo>
                    <a:pt x="301" y="255"/>
                  </a:lnTo>
                  <a:lnTo>
                    <a:pt x="301" y="257"/>
                  </a:lnTo>
                  <a:lnTo>
                    <a:pt x="299" y="257"/>
                  </a:lnTo>
                  <a:lnTo>
                    <a:pt x="301" y="257"/>
                  </a:lnTo>
                  <a:lnTo>
                    <a:pt x="299" y="255"/>
                  </a:lnTo>
                  <a:lnTo>
                    <a:pt x="299" y="257"/>
                  </a:lnTo>
                  <a:lnTo>
                    <a:pt x="297" y="257"/>
                  </a:lnTo>
                  <a:lnTo>
                    <a:pt x="299" y="257"/>
                  </a:lnTo>
                  <a:lnTo>
                    <a:pt x="297" y="257"/>
                  </a:lnTo>
                  <a:lnTo>
                    <a:pt x="297" y="258"/>
                  </a:lnTo>
                  <a:lnTo>
                    <a:pt x="297" y="260"/>
                  </a:lnTo>
                  <a:lnTo>
                    <a:pt x="297" y="262"/>
                  </a:lnTo>
                  <a:lnTo>
                    <a:pt x="297" y="263"/>
                  </a:lnTo>
                  <a:lnTo>
                    <a:pt x="296" y="263"/>
                  </a:lnTo>
                  <a:lnTo>
                    <a:pt x="294" y="263"/>
                  </a:lnTo>
                  <a:lnTo>
                    <a:pt x="294" y="262"/>
                  </a:lnTo>
                  <a:lnTo>
                    <a:pt x="292" y="262"/>
                  </a:lnTo>
                  <a:lnTo>
                    <a:pt x="291" y="262"/>
                  </a:lnTo>
                  <a:lnTo>
                    <a:pt x="291" y="263"/>
                  </a:lnTo>
                  <a:lnTo>
                    <a:pt x="291" y="265"/>
                  </a:lnTo>
                  <a:lnTo>
                    <a:pt x="291" y="267"/>
                  </a:lnTo>
                  <a:lnTo>
                    <a:pt x="292" y="267"/>
                  </a:lnTo>
                  <a:lnTo>
                    <a:pt x="294" y="270"/>
                  </a:lnTo>
                  <a:lnTo>
                    <a:pt x="296" y="273"/>
                  </a:lnTo>
                  <a:lnTo>
                    <a:pt x="296" y="275"/>
                  </a:lnTo>
                  <a:lnTo>
                    <a:pt x="296" y="276"/>
                  </a:lnTo>
                  <a:lnTo>
                    <a:pt x="294" y="276"/>
                  </a:lnTo>
                  <a:lnTo>
                    <a:pt x="292" y="276"/>
                  </a:lnTo>
                  <a:lnTo>
                    <a:pt x="291" y="275"/>
                  </a:lnTo>
                  <a:lnTo>
                    <a:pt x="291" y="276"/>
                  </a:lnTo>
                  <a:lnTo>
                    <a:pt x="289" y="276"/>
                  </a:lnTo>
                  <a:lnTo>
                    <a:pt x="289" y="278"/>
                  </a:lnTo>
                  <a:lnTo>
                    <a:pt x="289" y="280"/>
                  </a:lnTo>
                  <a:lnTo>
                    <a:pt x="288" y="280"/>
                  </a:lnTo>
                  <a:lnTo>
                    <a:pt x="286" y="280"/>
                  </a:lnTo>
                  <a:lnTo>
                    <a:pt x="286" y="281"/>
                  </a:lnTo>
                  <a:lnTo>
                    <a:pt x="288" y="283"/>
                  </a:lnTo>
                  <a:lnTo>
                    <a:pt x="288" y="281"/>
                  </a:lnTo>
                  <a:lnTo>
                    <a:pt x="289" y="281"/>
                  </a:lnTo>
                  <a:lnTo>
                    <a:pt x="291" y="281"/>
                  </a:lnTo>
                  <a:lnTo>
                    <a:pt x="292" y="280"/>
                  </a:lnTo>
                  <a:lnTo>
                    <a:pt x="294" y="280"/>
                  </a:lnTo>
                  <a:lnTo>
                    <a:pt x="296" y="280"/>
                  </a:lnTo>
                  <a:lnTo>
                    <a:pt x="296" y="278"/>
                  </a:lnTo>
                  <a:lnTo>
                    <a:pt x="296" y="280"/>
                  </a:lnTo>
                  <a:lnTo>
                    <a:pt x="297" y="280"/>
                  </a:lnTo>
                  <a:lnTo>
                    <a:pt x="297" y="281"/>
                  </a:lnTo>
                  <a:lnTo>
                    <a:pt x="297" y="283"/>
                  </a:lnTo>
                  <a:lnTo>
                    <a:pt x="299" y="283"/>
                  </a:lnTo>
                  <a:lnTo>
                    <a:pt x="297" y="283"/>
                  </a:lnTo>
                  <a:lnTo>
                    <a:pt x="297" y="284"/>
                  </a:lnTo>
                  <a:lnTo>
                    <a:pt x="299" y="284"/>
                  </a:lnTo>
                  <a:lnTo>
                    <a:pt x="299" y="286"/>
                  </a:lnTo>
                  <a:lnTo>
                    <a:pt x="297" y="286"/>
                  </a:lnTo>
                  <a:lnTo>
                    <a:pt x="296" y="286"/>
                  </a:lnTo>
                  <a:lnTo>
                    <a:pt x="296" y="288"/>
                  </a:lnTo>
                  <a:lnTo>
                    <a:pt x="294" y="288"/>
                  </a:lnTo>
                  <a:lnTo>
                    <a:pt x="292" y="288"/>
                  </a:lnTo>
                  <a:lnTo>
                    <a:pt x="291" y="288"/>
                  </a:lnTo>
                  <a:lnTo>
                    <a:pt x="289" y="288"/>
                  </a:lnTo>
                  <a:lnTo>
                    <a:pt x="289" y="289"/>
                  </a:lnTo>
                  <a:lnTo>
                    <a:pt x="291" y="289"/>
                  </a:lnTo>
                  <a:lnTo>
                    <a:pt x="292" y="289"/>
                  </a:lnTo>
                  <a:lnTo>
                    <a:pt x="294" y="289"/>
                  </a:lnTo>
                  <a:lnTo>
                    <a:pt x="296" y="289"/>
                  </a:lnTo>
                  <a:lnTo>
                    <a:pt x="297" y="289"/>
                  </a:lnTo>
                  <a:lnTo>
                    <a:pt x="299" y="289"/>
                  </a:lnTo>
                  <a:lnTo>
                    <a:pt x="299" y="288"/>
                  </a:lnTo>
                  <a:lnTo>
                    <a:pt x="301" y="289"/>
                  </a:lnTo>
                  <a:lnTo>
                    <a:pt x="301" y="291"/>
                  </a:lnTo>
                  <a:lnTo>
                    <a:pt x="301" y="293"/>
                  </a:lnTo>
                  <a:lnTo>
                    <a:pt x="302" y="293"/>
                  </a:lnTo>
                  <a:lnTo>
                    <a:pt x="302" y="294"/>
                  </a:lnTo>
                  <a:lnTo>
                    <a:pt x="301" y="294"/>
                  </a:lnTo>
                  <a:lnTo>
                    <a:pt x="301" y="296"/>
                  </a:lnTo>
                  <a:lnTo>
                    <a:pt x="301" y="297"/>
                  </a:lnTo>
                  <a:lnTo>
                    <a:pt x="299" y="297"/>
                  </a:lnTo>
                  <a:lnTo>
                    <a:pt x="301" y="297"/>
                  </a:lnTo>
                  <a:lnTo>
                    <a:pt x="302" y="297"/>
                  </a:lnTo>
                  <a:lnTo>
                    <a:pt x="302" y="296"/>
                  </a:lnTo>
                  <a:lnTo>
                    <a:pt x="304" y="296"/>
                  </a:lnTo>
                  <a:lnTo>
                    <a:pt x="304" y="294"/>
                  </a:lnTo>
                  <a:lnTo>
                    <a:pt x="304" y="293"/>
                  </a:lnTo>
                  <a:lnTo>
                    <a:pt x="304" y="294"/>
                  </a:lnTo>
                  <a:lnTo>
                    <a:pt x="305" y="294"/>
                  </a:lnTo>
                  <a:lnTo>
                    <a:pt x="304" y="293"/>
                  </a:lnTo>
                  <a:lnTo>
                    <a:pt x="305" y="291"/>
                  </a:lnTo>
                  <a:lnTo>
                    <a:pt x="305" y="289"/>
                  </a:lnTo>
                  <a:lnTo>
                    <a:pt x="305" y="288"/>
                  </a:lnTo>
                  <a:lnTo>
                    <a:pt x="307" y="288"/>
                  </a:lnTo>
                  <a:lnTo>
                    <a:pt x="307" y="286"/>
                  </a:lnTo>
                  <a:lnTo>
                    <a:pt x="307" y="288"/>
                  </a:lnTo>
                  <a:lnTo>
                    <a:pt x="305" y="286"/>
                  </a:lnTo>
                  <a:lnTo>
                    <a:pt x="305" y="284"/>
                  </a:lnTo>
                  <a:lnTo>
                    <a:pt x="305" y="283"/>
                  </a:lnTo>
                  <a:lnTo>
                    <a:pt x="305" y="281"/>
                  </a:lnTo>
                  <a:lnTo>
                    <a:pt x="307" y="281"/>
                  </a:lnTo>
                  <a:lnTo>
                    <a:pt x="307" y="278"/>
                  </a:lnTo>
                  <a:lnTo>
                    <a:pt x="307" y="276"/>
                  </a:lnTo>
                  <a:lnTo>
                    <a:pt x="307" y="275"/>
                  </a:lnTo>
                  <a:lnTo>
                    <a:pt x="309" y="275"/>
                  </a:lnTo>
                  <a:lnTo>
                    <a:pt x="310" y="275"/>
                  </a:lnTo>
                  <a:lnTo>
                    <a:pt x="312" y="275"/>
                  </a:lnTo>
                  <a:lnTo>
                    <a:pt x="314" y="275"/>
                  </a:lnTo>
                  <a:lnTo>
                    <a:pt x="314" y="273"/>
                  </a:lnTo>
                  <a:lnTo>
                    <a:pt x="314" y="271"/>
                  </a:lnTo>
                  <a:lnTo>
                    <a:pt x="314" y="270"/>
                  </a:lnTo>
                  <a:lnTo>
                    <a:pt x="314" y="268"/>
                  </a:lnTo>
                  <a:lnTo>
                    <a:pt x="312" y="267"/>
                  </a:lnTo>
                  <a:lnTo>
                    <a:pt x="312" y="265"/>
                  </a:lnTo>
                  <a:lnTo>
                    <a:pt x="310" y="265"/>
                  </a:lnTo>
                  <a:lnTo>
                    <a:pt x="310" y="263"/>
                  </a:lnTo>
                  <a:lnTo>
                    <a:pt x="310" y="262"/>
                  </a:lnTo>
                  <a:lnTo>
                    <a:pt x="309" y="260"/>
                  </a:lnTo>
                  <a:lnTo>
                    <a:pt x="309" y="258"/>
                  </a:lnTo>
                  <a:lnTo>
                    <a:pt x="310" y="258"/>
                  </a:lnTo>
                  <a:lnTo>
                    <a:pt x="312" y="258"/>
                  </a:lnTo>
                  <a:lnTo>
                    <a:pt x="314" y="258"/>
                  </a:lnTo>
                  <a:lnTo>
                    <a:pt x="315" y="260"/>
                  </a:lnTo>
                  <a:lnTo>
                    <a:pt x="315" y="262"/>
                  </a:lnTo>
                  <a:lnTo>
                    <a:pt x="317" y="262"/>
                  </a:lnTo>
                  <a:lnTo>
                    <a:pt x="317" y="260"/>
                  </a:lnTo>
                  <a:lnTo>
                    <a:pt x="318" y="262"/>
                  </a:lnTo>
                  <a:lnTo>
                    <a:pt x="318" y="263"/>
                  </a:lnTo>
                  <a:lnTo>
                    <a:pt x="318" y="265"/>
                  </a:lnTo>
                  <a:lnTo>
                    <a:pt x="317" y="265"/>
                  </a:lnTo>
                  <a:lnTo>
                    <a:pt x="317" y="267"/>
                  </a:lnTo>
                  <a:lnTo>
                    <a:pt x="317" y="268"/>
                  </a:lnTo>
                  <a:lnTo>
                    <a:pt x="318" y="270"/>
                  </a:lnTo>
                  <a:lnTo>
                    <a:pt x="320" y="270"/>
                  </a:lnTo>
                  <a:lnTo>
                    <a:pt x="320" y="271"/>
                  </a:lnTo>
                  <a:lnTo>
                    <a:pt x="320" y="273"/>
                  </a:lnTo>
                  <a:lnTo>
                    <a:pt x="320" y="275"/>
                  </a:lnTo>
                  <a:lnTo>
                    <a:pt x="322" y="275"/>
                  </a:lnTo>
                  <a:lnTo>
                    <a:pt x="322" y="276"/>
                  </a:lnTo>
                  <a:lnTo>
                    <a:pt x="320" y="276"/>
                  </a:lnTo>
                  <a:lnTo>
                    <a:pt x="320" y="278"/>
                  </a:lnTo>
                  <a:lnTo>
                    <a:pt x="322" y="278"/>
                  </a:lnTo>
                  <a:lnTo>
                    <a:pt x="322" y="280"/>
                  </a:lnTo>
                  <a:lnTo>
                    <a:pt x="322" y="281"/>
                  </a:lnTo>
                  <a:lnTo>
                    <a:pt x="323" y="281"/>
                  </a:lnTo>
                  <a:lnTo>
                    <a:pt x="323" y="283"/>
                  </a:lnTo>
                  <a:lnTo>
                    <a:pt x="322" y="283"/>
                  </a:lnTo>
                  <a:lnTo>
                    <a:pt x="322" y="284"/>
                  </a:lnTo>
                  <a:lnTo>
                    <a:pt x="323" y="284"/>
                  </a:lnTo>
                  <a:lnTo>
                    <a:pt x="323" y="286"/>
                  </a:lnTo>
                  <a:lnTo>
                    <a:pt x="323" y="288"/>
                  </a:lnTo>
                  <a:lnTo>
                    <a:pt x="322" y="286"/>
                  </a:lnTo>
                  <a:lnTo>
                    <a:pt x="322" y="288"/>
                  </a:lnTo>
                  <a:lnTo>
                    <a:pt x="320" y="288"/>
                  </a:lnTo>
                  <a:lnTo>
                    <a:pt x="318" y="289"/>
                  </a:lnTo>
                  <a:lnTo>
                    <a:pt x="318" y="288"/>
                  </a:lnTo>
                  <a:lnTo>
                    <a:pt x="318" y="286"/>
                  </a:lnTo>
                  <a:lnTo>
                    <a:pt x="317" y="288"/>
                  </a:lnTo>
                  <a:lnTo>
                    <a:pt x="317" y="286"/>
                  </a:lnTo>
                  <a:lnTo>
                    <a:pt x="317" y="288"/>
                  </a:lnTo>
                  <a:lnTo>
                    <a:pt x="317" y="289"/>
                  </a:lnTo>
                  <a:lnTo>
                    <a:pt x="315" y="289"/>
                  </a:lnTo>
                  <a:lnTo>
                    <a:pt x="315" y="291"/>
                  </a:lnTo>
                  <a:lnTo>
                    <a:pt x="315" y="293"/>
                  </a:lnTo>
                  <a:lnTo>
                    <a:pt x="314" y="293"/>
                  </a:lnTo>
                  <a:lnTo>
                    <a:pt x="314" y="294"/>
                  </a:lnTo>
                  <a:lnTo>
                    <a:pt x="314" y="296"/>
                  </a:lnTo>
                  <a:lnTo>
                    <a:pt x="312" y="297"/>
                  </a:lnTo>
                  <a:lnTo>
                    <a:pt x="312" y="299"/>
                  </a:lnTo>
                  <a:lnTo>
                    <a:pt x="314" y="299"/>
                  </a:lnTo>
                  <a:lnTo>
                    <a:pt x="314" y="297"/>
                  </a:lnTo>
                  <a:lnTo>
                    <a:pt x="314" y="296"/>
                  </a:lnTo>
                  <a:lnTo>
                    <a:pt x="315" y="296"/>
                  </a:lnTo>
                  <a:lnTo>
                    <a:pt x="315" y="294"/>
                  </a:lnTo>
                  <a:lnTo>
                    <a:pt x="317" y="294"/>
                  </a:lnTo>
                  <a:lnTo>
                    <a:pt x="318" y="294"/>
                  </a:lnTo>
                  <a:lnTo>
                    <a:pt x="317" y="294"/>
                  </a:lnTo>
                  <a:lnTo>
                    <a:pt x="317" y="293"/>
                  </a:lnTo>
                  <a:lnTo>
                    <a:pt x="317" y="291"/>
                  </a:lnTo>
                  <a:lnTo>
                    <a:pt x="318" y="291"/>
                  </a:lnTo>
                  <a:lnTo>
                    <a:pt x="318" y="293"/>
                  </a:lnTo>
                  <a:lnTo>
                    <a:pt x="320" y="293"/>
                  </a:lnTo>
                  <a:lnTo>
                    <a:pt x="322" y="293"/>
                  </a:lnTo>
                  <a:lnTo>
                    <a:pt x="322" y="294"/>
                  </a:lnTo>
                  <a:lnTo>
                    <a:pt x="320" y="294"/>
                  </a:lnTo>
                  <a:lnTo>
                    <a:pt x="318" y="294"/>
                  </a:lnTo>
                  <a:lnTo>
                    <a:pt x="318" y="293"/>
                  </a:lnTo>
                  <a:lnTo>
                    <a:pt x="318" y="294"/>
                  </a:lnTo>
                  <a:lnTo>
                    <a:pt x="318" y="296"/>
                  </a:lnTo>
                  <a:lnTo>
                    <a:pt x="320" y="296"/>
                  </a:lnTo>
                  <a:lnTo>
                    <a:pt x="322" y="296"/>
                  </a:lnTo>
                  <a:lnTo>
                    <a:pt x="323" y="296"/>
                  </a:lnTo>
                  <a:lnTo>
                    <a:pt x="322" y="297"/>
                  </a:lnTo>
                  <a:lnTo>
                    <a:pt x="323" y="297"/>
                  </a:lnTo>
                  <a:lnTo>
                    <a:pt x="325" y="299"/>
                  </a:lnTo>
                  <a:lnTo>
                    <a:pt x="325" y="297"/>
                  </a:lnTo>
                  <a:lnTo>
                    <a:pt x="325" y="296"/>
                  </a:lnTo>
                  <a:lnTo>
                    <a:pt x="323" y="294"/>
                  </a:lnTo>
                  <a:lnTo>
                    <a:pt x="325" y="293"/>
                  </a:lnTo>
                  <a:lnTo>
                    <a:pt x="325" y="294"/>
                  </a:lnTo>
                  <a:lnTo>
                    <a:pt x="325" y="293"/>
                  </a:lnTo>
                  <a:lnTo>
                    <a:pt x="325" y="291"/>
                  </a:lnTo>
                  <a:lnTo>
                    <a:pt x="327" y="293"/>
                  </a:lnTo>
                  <a:lnTo>
                    <a:pt x="327" y="291"/>
                  </a:lnTo>
                  <a:lnTo>
                    <a:pt x="325" y="291"/>
                  </a:lnTo>
                  <a:lnTo>
                    <a:pt x="327" y="291"/>
                  </a:lnTo>
                  <a:lnTo>
                    <a:pt x="327" y="289"/>
                  </a:lnTo>
                  <a:lnTo>
                    <a:pt x="327" y="288"/>
                  </a:lnTo>
                  <a:lnTo>
                    <a:pt x="327" y="286"/>
                  </a:lnTo>
                  <a:lnTo>
                    <a:pt x="325" y="286"/>
                  </a:lnTo>
                  <a:lnTo>
                    <a:pt x="325" y="284"/>
                  </a:lnTo>
                  <a:lnTo>
                    <a:pt x="325" y="283"/>
                  </a:lnTo>
                  <a:lnTo>
                    <a:pt x="325" y="281"/>
                  </a:lnTo>
                  <a:lnTo>
                    <a:pt x="325" y="280"/>
                  </a:lnTo>
                  <a:lnTo>
                    <a:pt x="323" y="280"/>
                  </a:lnTo>
                  <a:lnTo>
                    <a:pt x="323" y="278"/>
                  </a:lnTo>
                  <a:lnTo>
                    <a:pt x="323" y="276"/>
                  </a:lnTo>
                  <a:lnTo>
                    <a:pt x="323" y="275"/>
                  </a:lnTo>
                  <a:lnTo>
                    <a:pt x="322" y="275"/>
                  </a:lnTo>
                  <a:lnTo>
                    <a:pt x="322" y="273"/>
                  </a:lnTo>
                  <a:lnTo>
                    <a:pt x="322" y="271"/>
                  </a:lnTo>
                  <a:lnTo>
                    <a:pt x="320" y="271"/>
                  </a:lnTo>
                  <a:lnTo>
                    <a:pt x="320" y="270"/>
                  </a:lnTo>
                  <a:lnTo>
                    <a:pt x="322" y="268"/>
                  </a:lnTo>
                  <a:lnTo>
                    <a:pt x="322" y="267"/>
                  </a:lnTo>
                  <a:lnTo>
                    <a:pt x="322" y="265"/>
                  </a:lnTo>
                  <a:lnTo>
                    <a:pt x="320" y="263"/>
                  </a:lnTo>
                  <a:lnTo>
                    <a:pt x="320" y="260"/>
                  </a:lnTo>
                  <a:lnTo>
                    <a:pt x="320" y="258"/>
                  </a:lnTo>
                  <a:lnTo>
                    <a:pt x="318" y="257"/>
                  </a:lnTo>
                  <a:lnTo>
                    <a:pt x="318" y="255"/>
                  </a:lnTo>
                  <a:lnTo>
                    <a:pt x="318" y="254"/>
                  </a:lnTo>
                  <a:lnTo>
                    <a:pt x="317" y="255"/>
                  </a:lnTo>
                  <a:lnTo>
                    <a:pt x="317" y="254"/>
                  </a:lnTo>
                  <a:lnTo>
                    <a:pt x="318" y="254"/>
                  </a:lnTo>
                  <a:lnTo>
                    <a:pt x="317" y="254"/>
                  </a:lnTo>
                  <a:lnTo>
                    <a:pt x="315" y="254"/>
                  </a:lnTo>
                  <a:lnTo>
                    <a:pt x="314" y="255"/>
                  </a:lnTo>
                  <a:lnTo>
                    <a:pt x="312" y="255"/>
                  </a:lnTo>
                  <a:lnTo>
                    <a:pt x="310" y="257"/>
                  </a:lnTo>
                  <a:lnTo>
                    <a:pt x="309" y="257"/>
                  </a:lnTo>
                  <a:lnTo>
                    <a:pt x="307" y="257"/>
                  </a:lnTo>
                  <a:lnTo>
                    <a:pt x="305" y="257"/>
                  </a:lnTo>
                  <a:lnTo>
                    <a:pt x="307" y="257"/>
                  </a:lnTo>
                  <a:lnTo>
                    <a:pt x="305" y="257"/>
                  </a:lnTo>
                  <a:lnTo>
                    <a:pt x="305" y="255"/>
                  </a:lnTo>
                  <a:lnTo>
                    <a:pt x="304" y="255"/>
                  </a:lnTo>
                  <a:lnTo>
                    <a:pt x="304" y="254"/>
                  </a:lnTo>
                  <a:lnTo>
                    <a:pt x="305" y="252"/>
                  </a:lnTo>
                  <a:lnTo>
                    <a:pt x="307" y="252"/>
                  </a:lnTo>
                  <a:lnTo>
                    <a:pt x="307" y="250"/>
                  </a:lnTo>
                  <a:lnTo>
                    <a:pt x="310" y="249"/>
                  </a:lnTo>
                  <a:lnTo>
                    <a:pt x="312" y="247"/>
                  </a:lnTo>
                  <a:lnTo>
                    <a:pt x="314" y="247"/>
                  </a:lnTo>
                  <a:lnTo>
                    <a:pt x="315" y="245"/>
                  </a:lnTo>
                  <a:lnTo>
                    <a:pt x="317" y="245"/>
                  </a:lnTo>
                  <a:lnTo>
                    <a:pt x="318" y="244"/>
                  </a:lnTo>
                  <a:lnTo>
                    <a:pt x="320" y="241"/>
                  </a:lnTo>
                  <a:lnTo>
                    <a:pt x="325" y="237"/>
                  </a:lnTo>
                  <a:lnTo>
                    <a:pt x="331" y="232"/>
                  </a:lnTo>
                  <a:lnTo>
                    <a:pt x="333" y="232"/>
                  </a:lnTo>
                  <a:lnTo>
                    <a:pt x="335" y="231"/>
                  </a:lnTo>
                  <a:lnTo>
                    <a:pt x="336" y="231"/>
                  </a:lnTo>
                  <a:lnTo>
                    <a:pt x="338" y="229"/>
                  </a:lnTo>
                  <a:lnTo>
                    <a:pt x="340" y="229"/>
                  </a:lnTo>
                  <a:lnTo>
                    <a:pt x="341" y="229"/>
                  </a:lnTo>
                  <a:close/>
                  <a:moveTo>
                    <a:pt x="201" y="5"/>
                  </a:moveTo>
                  <a:lnTo>
                    <a:pt x="200" y="5"/>
                  </a:lnTo>
                  <a:lnTo>
                    <a:pt x="198" y="6"/>
                  </a:lnTo>
                  <a:lnTo>
                    <a:pt x="196" y="6"/>
                  </a:lnTo>
                  <a:lnTo>
                    <a:pt x="196" y="8"/>
                  </a:lnTo>
                  <a:lnTo>
                    <a:pt x="195" y="11"/>
                  </a:lnTo>
                  <a:lnTo>
                    <a:pt x="193" y="13"/>
                  </a:lnTo>
                  <a:lnTo>
                    <a:pt x="190" y="16"/>
                  </a:lnTo>
                  <a:lnTo>
                    <a:pt x="190" y="19"/>
                  </a:lnTo>
                  <a:lnTo>
                    <a:pt x="188" y="21"/>
                  </a:lnTo>
                  <a:lnTo>
                    <a:pt x="188" y="23"/>
                  </a:lnTo>
                  <a:lnTo>
                    <a:pt x="188" y="24"/>
                  </a:lnTo>
                  <a:lnTo>
                    <a:pt x="188" y="26"/>
                  </a:lnTo>
                  <a:lnTo>
                    <a:pt x="188" y="27"/>
                  </a:lnTo>
                  <a:lnTo>
                    <a:pt x="190" y="29"/>
                  </a:lnTo>
                  <a:lnTo>
                    <a:pt x="190" y="31"/>
                  </a:lnTo>
                  <a:lnTo>
                    <a:pt x="193" y="34"/>
                  </a:lnTo>
                  <a:lnTo>
                    <a:pt x="193" y="36"/>
                  </a:lnTo>
                  <a:lnTo>
                    <a:pt x="195" y="36"/>
                  </a:lnTo>
                  <a:lnTo>
                    <a:pt x="195" y="37"/>
                  </a:lnTo>
                  <a:lnTo>
                    <a:pt x="195" y="39"/>
                  </a:lnTo>
                  <a:lnTo>
                    <a:pt x="196" y="39"/>
                  </a:lnTo>
                  <a:lnTo>
                    <a:pt x="196" y="40"/>
                  </a:lnTo>
                  <a:lnTo>
                    <a:pt x="198" y="40"/>
                  </a:lnTo>
                  <a:lnTo>
                    <a:pt x="198" y="42"/>
                  </a:lnTo>
                  <a:lnTo>
                    <a:pt x="198" y="44"/>
                  </a:lnTo>
                  <a:lnTo>
                    <a:pt x="200" y="44"/>
                  </a:lnTo>
                  <a:lnTo>
                    <a:pt x="198" y="44"/>
                  </a:lnTo>
                  <a:lnTo>
                    <a:pt x="198" y="45"/>
                  </a:lnTo>
                  <a:lnTo>
                    <a:pt x="198" y="44"/>
                  </a:lnTo>
                  <a:lnTo>
                    <a:pt x="198" y="45"/>
                  </a:lnTo>
                  <a:lnTo>
                    <a:pt x="196" y="45"/>
                  </a:lnTo>
                  <a:lnTo>
                    <a:pt x="196" y="47"/>
                  </a:lnTo>
                  <a:lnTo>
                    <a:pt x="196" y="49"/>
                  </a:lnTo>
                  <a:lnTo>
                    <a:pt x="196" y="50"/>
                  </a:lnTo>
                  <a:lnTo>
                    <a:pt x="196" y="49"/>
                  </a:lnTo>
                  <a:lnTo>
                    <a:pt x="196" y="50"/>
                  </a:lnTo>
                  <a:lnTo>
                    <a:pt x="195" y="52"/>
                  </a:lnTo>
                  <a:lnTo>
                    <a:pt x="195" y="55"/>
                  </a:lnTo>
                  <a:lnTo>
                    <a:pt x="196" y="55"/>
                  </a:lnTo>
                  <a:lnTo>
                    <a:pt x="196" y="57"/>
                  </a:lnTo>
                  <a:lnTo>
                    <a:pt x="196" y="58"/>
                  </a:lnTo>
                  <a:lnTo>
                    <a:pt x="196" y="60"/>
                  </a:lnTo>
                  <a:lnTo>
                    <a:pt x="196" y="62"/>
                  </a:lnTo>
                  <a:lnTo>
                    <a:pt x="196" y="63"/>
                  </a:lnTo>
                  <a:lnTo>
                    <a:pt x="198" y="65"/>
                  </a:lnTo>
                  <a:lnTo>
                    <a:pt x="198" y="66"/>
                  </a:lnTo>
                  <a:lnTo>
                    <a:pt x="198" y="68"/>
                  </a:lnTo>
                  <a:lnTo>
                    <a:pt x="198" y="70"/>
                  </a:lnTo>
                  <a:lnTo>
                    <a:pt x="198" y="71"/>
                  </a:lnTo>
                  <a:lnTo>
                    <a:pt x="198" y="73"/>
                  </a:lnTo>
                  <a:lnTo>
                    <a:pt x="198" y="75"/>
                  </a:lnTo>
                  <a:lnTo>
                    <a:pt x="196" y="76"/>
                  </a:lnTo>
                  <a:lnTo>
                    <a:pt x="196" y="78"/>
                  </a:lnTo>
                  <a:lnTo>
                    <a:pt x="195" y="78"/>
                  </a:lnTo>
                  <a:lnTo>
                    <a:pt x="193" y="78"/>
                  </a:lnTo>
                  <a:lnTo>
                    <a:pt x="190" y="83"/>
                  </a:lnTo>
                  <a:lnTo>
                    <a:pt x="190" y="84"/>
                  </a:lnTo>
                  <a:lnTo>
                    <a:pt x="188" y="86"/>
                  </a:lnTo>
                  <a:lnTo>
                    <a:pt x="188" y="88"/>
                  </a:lnTo>
                  <a:lnTo>
                    <a:pt x="188" y="86"/>
                  </a:lnTo>
                  <a:lnTo>
                    <a:pt x="188" y="89"/>
                  </a:lnTo>
                  <a:lnTo>
                    <a:pt x="187" y="89"/>
                  </a:lnTo>
                  <a:lnTo>
                    <a:pt x="187" y="91"/>
                  </a:lnTo>
                  <a:lnTo>
                    <a:pt x="185" y="96"/>
                  </a:lnTo>
                  <a:lnTo>
                    <a:pt x="185" y="97"/>
                  </a:lnTo>
                  <a:lnTo>
                    <a:pt x="185" y="99"/>
                  </a:lnTo>
                  <a:lnTo>
                    <a:pt x="185" y="101"/>
                  </a:lnTo>
                  <a:lnTo>
                    <a:pt x="185" y="102"/>
                  </a:lnTo>
                  <a:lnTo>
                    <a:pt x="183" y="106"/>
                  </a:lnTo>
                  <a:lnTo>
                    <a:pt x="182" y="109"/>
                  </a:lnTo>
                  <a:lnTo>
                    <a:pt x="180" y="109"/>
                  </a:lnTo>
                  <a:lnTo>
                    <a:pt x="179" y="109"/>
                  </a:lnTo>
                  <a:lnTo>
                    <a:pt x="177" y="109"/>
                  </a:lnTo>
                  <a:lnTo>
                    <a:pt x="175" y="109"/>
                  </a:lnTo>
                  <a:lnTo>
                    <a:pt x="174" y="109"/>
                  </a:lnTo>
                  <a:lnTo>
                    <a:pt x="172" y="109"/>
                  </a:lnTo>
                  <a:lnTo>
                    <a:pt x="170" y="107"/>
                  </a:lnTo>
                  <a:lnTo>
                    <a:pt x="169" y="106"/>
                  </a:lnTo>
                  <a:lnTo>
                    <a:pt x="169" y="104"/>
                  </a:lnTo>
                  <a:lnTo>
                    <a:pt x="167" y="104"/>
                  </a:lnTo>
                  <a:lnTo>
                    <a:pt x="167" y="102"/>
                  </a:lnTo>
                  <a:lnTo>
                    <a:pt x="166" y="102"/>
                  </a:lnTo>
                  <a:lnTo>
                    <a:pt x="164" y="101"/>
                  </a:lnTo>
                  <a:lnTo>
                    <a:pt x="162" y="101"/>
                  </a:lnTo>
                  <a:lnTo>
                    <a:pt x="162" y="99"/>
                  </a:lnTo>
                  <a:lnTo>
                    <a:pt x="161" y="99"/>
                  </a:lnTo>
                  <a:lnTo>
                    <a:pt x="159" y="97"/>
                  </a:lnTo>
                  <a:lnTo>
                    <a:pt x="159" y="96"/>
                  </a:lnTo>
                  <a:lnTo>
                    <a:pt x="157" y="96"/>
                  </a:lnTo>
                  <a:lnTo>
                    <a:pt x="157" y="94"/>
                  </a:lnTo>
                  <a:lnTo>
                    <a:pt x="156" y="94"/>
                  </a:lnTo>
                  <a:lnTo>
                    <a:pt x="154" y="96"/>
                  </a:lnTo>
                  <a:lnTo>
                    <a:pt x="153" y="96"/>
                  </a:lnTo>
                  <a:lnTo>
                    <a:pt x="153" y="97"/>
                  </a:lnTo>
                  <a:lnTo>
                    <a:pt x="153" y="99"/>
                  </a:lnTo>
                  <a:lnTo>
                    <a:pt x="151" y="99"/>
                  </a:lnTo>
                  <a:lnTo>
                    <a:pt x="149" y="99"/>
                  </a:lnTo>
                  <a:lnTo>
                    <a:pt x="148" y="99"/>
                  </a:lnTo>
                  <a:lnTo>
                    <a:pt x="146" y="97"/>
                  </a:lnTo>
                  <a:lnTo>
                    <a:pt x="144" y="96"/>
                  </a:lnTo>
                  <a:lnTo>
                    <a:pt x="143" y="96"/>
                  </a:lnTo>
                  <a:lnTo>
                    <a:pt x="143" y="94"/>
                  </a:lnTo>
                  <a:lnTo>
                    <a:pt x="141" y="93"/>
                  </a:lnTo>
                  <a:lnTo>
                    <a:pt x="138" y="93"/>
                  </a:lnTo>
                  <a:lnTo>
                    <a:pt x="140" y="93"/>
                  </a:lnTo>
                  <a:lnTo>
                    <a:pt x="140" y="94"/>
                  </a:lnTo>
                  <a:lnTo>
                    <a:pt x="138" y="94"/>
                  </a:lnTo>
                  <a:lnTo>
                    <a:pt x="136" y="97"/>
                  </a:lnTo>
                  <a:lnTo>
                    <a:pt x="135" y="99"/>
                  </a:lnTo>
                  <a:lnTo>
                    <a:pt x="133" y="99"/>
                  </a:lnTo>
                  <a:lnTo>
                    <a:pt x="131" y="99"/>
                  </a:lnTo>
                  <a:lnTo>
                    <a:pt x="131" y="97"/>
                  </a:lnTo>
                  <a:lnTo>
                    <a:pt x="130" y="97"/>
                  </a:lnTo>
                  <a:lnTo>
                    <a:pt x="128" y="97"/>
                  </a:lnTo>
                  <a:lnTo>
                    <a:pt x="128" y="96"/>
                  </a:lnTo>
                  <a:lnTo>
                    <a:pt x="130" y="96"/>
                  </a:lnTo>
                  <a:lnTo>
                    <a:pt x="130" y="94"/>
                  </a:lnTo>
                  <a:lnTo>
                    <a:pt x="131" y="94"/>
                  </a:lnTo>
                  <a:lnTo>
                    <a:pt x="130" y="94"/>
                  </a:lnTo>
                  <a:lnTo>
                    <a:pt x="128" y="94"/>
                  </a:lnTo>
                  <a:lnTo>
                    <a:pt x="127" y="96"/>
                  </a:lnTo>
                  <a:lnTo>
                    <a:pt x="125" y="96"/>
                  </a:lnTo>
                  <a:lnTo>
                    <a:pt x="125" y="97"/>
                  </a:lnTo>
                  <a:lnTo>
                    <a:pt x="127" y="97"/>
                  </a:lnTo>
                  <a:lnTo>
                    <a:pt x="128" y="97"/>
                  </a:lnTo>
                  <a:lnTo>
                    <a:pt x="127" y="97"/>
                  </a:lnTo>
                  <a:lnTo>
                    <a:pt x="127" y="99"/>
                  </a:lnTo>
                  <a:lnTo>
                    <a:pt x="125" y="101"/>
                  </a:lnTo>
                  <a:lnTo>
                    <a:pt x="123" y="101"/>
                  </a:lnTo>
                  <a:lnTo>
                    <a:pt x="120" y="101"/>
                  </a:lnTo>
                  <a:lnTo>
                    <a:pt x="117" y="101"/>
                  </a:lnTo>
                  <a:lnTo>
                    <a:pt x="115" y="101"/>
                  </a:lnTo>
                  <a:lnTo>
                    <a:pt x="114" y="102"/>
                  </a:lnTo>
                  <a:lnTo>
                    <a:pt x="112" y="102"/>
                  </a:lnTo>
                  <a:lnTo>
                    <a:pt x="110" y="102"/>
                  </a:lnTo>
                  <a:lnTo>
                    <a:pt x="109" y="102"/>
                  </a:lnTo>
                  <a:lnTo>
                    <a:pt x="109" y="104"/>
                  </a:lnTo>
                  <a:lnTo>
                    <a:pt x="109" y="102"/>
                  </a:lnTo>
                  <a:lnTo>
                    <a:pt x="107" y="104"/>
                  </a:lnTo>
                  <a:lnTo>
                    <a:pt x="105" y="104"/>
                  </a:lnTo>
                  <a:lnTo>
                    <a:pt x="101" y="106"/>
                  </a:lnTo>
                  <a:lnTo>
                    <a:pt x="101" y="107"/>
                  </a:lnTo>
                  <a:lnTo>
                    <a:pt x="99" y="107"/>
                  </a:lnTo>
                  <a:lnTo>
                    <a:pt x="97" y="109"/>
                  </a:lnTo>
                  <a:lnTo>
                    <a:pt x="96" y="109"/>
                  </a:lnTo>
                  <a:lnTo>
                    <a:pt x="96" y="107"/>
                  </a:lnTo>
                  <a:lnTo>
                    <a:pt x="96" y="109"/>
                  </a:lnTo>
                  <a:lnTo>
                    <a:pt x="94" y="107"/>
                  </a:lnTo>
                  <a:lnTo>
                    <a:pt x="91" y="104"/>
                  </a:lnTo>
                  <a:lnTo>
                    <a:pt x="89" y="104"/>
                  </a:lnTo>
                  <a:lnTo>
                    <a:pt x="89" y="102"/>
                  </a:lnTo>
                  <a:lnTo>
                    <a:pt x="88" y="102"/>
                  </a:lnTo>
                  <a:lnTo>
                    <a:pt x="88" y="101"/>
                  </a:lnTo>
                  <a:lnTo>
                    <a:pt x="84" y="102"/>
                  </a:lnTo>
                  <a:lnTo>
                    <a:pt x="83" y="104"/>
                  </a:lnTo>
                  <a:lnTo>
                    <a:pt x="81" y="106"/>
                  </a:lnTo>
                  <a:lnTo>
                    <a:pt x="79" y="106"/>
                  </a:lnTo>
                  <a:lnTo>
                    <a:pt x="79" y="104"/>
                  </a:lnTo>
                  <a:lnTo>
                    <a:pt x="78" y="104"/>
                  </a:lnTo>
                  <a:lnTo>
                    <a:pt x="76" y="104"/>
                  </a:lnTo>
                  <a:lnTo>
                    <a:pt x="76" y="106"/>
                  </a:lnTo>
                  <a:lnTo>
                    <a:pt x="75" y="106"/>
                  </a:lnTo>
                  <a:lnTo>
                    <a:pt x="73" y="106"/>
                  </a:lnTo>
                  <a:lnTo>
                    <a:pt x="71" y="106"/>
                  </a:lnTo>
                  <a:lnTo>
                    <a:pt x="71" y="107"/>
                  </a:lnTo>
                  <a:lnTo>
                    <a:pt x="71" y="109"/>
                  </a:lnTo>
                  <a:lnTo>
                    <a:pt x="70" y="109"/>
                  </a:lnTo>
                  <a:lnTo>
                    <a:pt x="71" y="109"/>
                  </a:lnTo>
                  <a:lnTo>
                    <a:pt x="70" y="110"/>
                  </a:lnTo>
                  <a:lnTo>
                    <a:pt x="68" y="110"/>
                  </a:lnTo>
                  <a:lnTo>
                    <a:pt x="68" y="109"/>
                  </a:lnTo>
                  <a:lnTo>
                    <a:pt x="70" y="109"/>
                  </a:lnTo>
                  <a:lnTo>
                    <a:pt x="68" y="109"/>
                  </a:lnTo>
                  <a:lnTo>
                    <a:pt x="66" y="107"/>
                  </a:lnTo>
                  <a:lnTo>
                    <a:pt x="66" y="109"/>
                  </a:lnTo>
                  <a:lnTo>
                    <a:pt x="66" y="107"/>
                  </a:lnTo>
                  <a:lnTo>
                    <a:pt x="65" y="107"/>
                  </a:lnTo>
                  <a:lnTo>
                    <a:pt x="63" y="106"/>
                  </a:lnTo>
                  <a:lnTo>
                    <a:pt x="61" y="106"/>
                  </a:lnTo>
                  <a:lnTo>
                    <a:pt x="61" y="107"/>
                  </a:lnTo>
                  <a:lnTo>
                    <a:pt x="63" y="107"/>
                  </a:lnTo>
                  <a:lnTo>
                    <a:pt x="63" y="109"/>
                  </a:lnTo>
                  <a:lnTo>
                    <a:pt x="65" y="110"/>
                  </a:lnTo>
                  <a:lnTo>
                    <a:pt x="63" y="112"/>
                  </a:lnTo>
                  <a:lnTo>
                    <a:pt x="61" y="112"/>
                  </a:lnTo>
                  <a:lnTo>
                    <a:pt x="60" y="112"/>
                  </a:lnTo>
                  <a:lnTo>
                    <a:pt x="60" y="114"/>
                  </a:lnTo>
                  <a:lnTo>
                    <a:pt x="58" y="114"/>
                  </a:lnTo>
                  <a:lnTo>
                    <a:pt x="57" y="114"/>
                  </a:lnTo>
                  <a:lnTo>
                    <a:pt x="55" y="114"/>
                  </a:lnTo>
                  <a:lnTo>
                    <a:pt x="53" y="114"/>
                  </a:lnTo>
                  <a:lnTo>
                    <a:pt x="52" y="114"/>
                  </a:lnTo>
                  <a:lnTo>
                    <a:pt x="50" y="115"/>
                  </a:lnTo>
                  <a:lnTo>
                    <a:pt x="50" y="117"/>
                  </a:lnTo>
                  <a:lnTo>
                    <a:pt x="48" y="119"/>
                  </a:lnTo>
                  <a:lnTo>
                    <a:pt x="48" y="120"/>
                  </a:lnTo>
                  <a:lnTo>
                    <a:pt x="47" y="122"/>
                  </a:lnTo>
                  <a:lnTo>
                    <a:pt x="47" y="123"/>
                  </a:lnTo>
                  <a:lnTo>
                    <a:pt x="48" y="123"/>
                  </a:lnTo>
                  <a:lnTo>
                    <a:pt x="47" y="125"/>
                  </a:lnTo>
                  <a:lnTo>
                    <a:pt x="48" y="127"/>
                  </a:lnTo>
                  <a:lnTo>
                    <a:pt x="47" y="128"/>
                  </a:lnTo>
                  <a:lnTo>
                    <a:pt x="44" y="132"/>
                  </a:lnTo>
                  <a:lnTo>
                    <a:pt x="44" y="133"/>
                  </a:lnTo>
                  <a:lnTo>
                    <a:pt x="40" y="133"/>
                  </a:lnTo>
                  <a:lnTo>
                    <a:pt x="40" y="135"/>
                  </a:lnTo>
                  <a:lnTo>
                    <a:pt x="39" y="133"/>
                  </a:lnTo>
                  <a:lnTo>
                    <a:pt x="39" y="135"/>
                  </a:lnTo>
                  <a:lnTo>
                    <a:pt x="37" y="135"/>
                  </a:lnTo>
                  <a:lnTo>
                    <a:pt x="35" y="136"/>
                  </a:lnTo>
                  <a:lnTo>
                    <a:pt x="35" y="138"/>
                  </a:lnTo>
                  <a:lnTo>
                    <a:pt x="35" y="140"/>
                  </a:lnTo>
                  <a:lnTo>
                    <a:pt x="37" y="141"/>
                  </a:lnTo>
                  <a:lnTo>
                    <a:pt x="37" y="143"/>
                  </a:lnTo>
                  <a:lnTo>
                    <a:pt x="35" y="143"/>
                  </a:lnTo>
                  <a:lnTo>
                    <a:pt x="35" y="145"/>
                  </a:lnTo>
                  <a:lnTo>
                    <a:pt x="35" y="146"/>
                  </a:lnTo>
                  <a:lnTo>
                    <a:pt x="34" y="146"/>
                  </a:lnTo>
                  <a:lnTo>
                    <a:pt x="34" y="148"/>
                  </a:lnTo>
                  <a:lnTo>
                    <a:pt x="35" y="148"/>
                  </a:lnTo>
                  <a:lnTo>
                    <a:pt x="35" y="146"/>
                  </a:lnTo>
                  <a:lnTo>
                    <a:pt x="37" y="148"/>
                  </a:lnTo>
                  <a:lnTo>
                    <a:pt x="39" y="148"/>
                  </a:lnTo>
                  <a:lnTo>
                    <a:pt x="37" y="149"/>
                  </a:lnTo>
                  <a:lnTo>
                    <a:pt x="39" y="149"/>
                  </a:lnTo>
                  <a:lnTo>
                    <a:pt x="39" y="151"/>
                  </a:lnTo>
                  <a:lnTo>
                    <a:pt x="39" y="153"/>
                  </a:lnTo>
                  <a:lnTo>
                    <a:pt x="35" y="151"/>
                  </a:lnTo>
                  <a:lnTo>
                    <a:pt x="34" y="149"/>
                  </a:lnTo>
                  <a:lnTo>
                    <a:pt x="32" y="149"/>
                  </a:lnTo>
                  <a:lnTo>
                    <a:pt x="32" y="151"/>
                  </a:lnTo>
                  <a:lnTo>
                    <a:pt x="31" y="151"/>
                  </a:lnTo>
                  <a:lnTo>
                    <a:pt x="29" y="151"/>
                  </a:lnTo>
                  <a:lnTo>
                    <a:pt x="29" y="153"/>
                  </a:lnTo>
                  <a:lnTo>
                    <a:pt x="31" y="153"/>
                  </a:lnTo>
                  <a:lnTo>
                    <a:pt x="32" y="153"/>
                  </a:lnTo>
                  <a:lnTo>
                    <a:pt x="34" y="151"/>
                  </a:lnTo>
                  <a:lnTo>
                    <a:pt x="35" y="151"/>
                  </a:lnTo>
                  <a:lnTo>
                    <a:pt x="35" y="153"/>
                  </a:lnTo>
                  <a:lnTo>
                    <a:pt x="37" y="154"/>
                  </a:lnTo>
                  <a:lnTo>
                    <a:pt x="39" y="154"/>
                  </a:lnTo>
                  <a:lnTo>
                    <a:pt x="39" y="153"/>
                  </a:lnTo>
                  <a:lnTo>
                    <a:pt x="40" y="151"/>
                  </a:lnTo>
                  <a:lnTo>
                    <a:pt x="42" y="151"/>
                  </a:lnTo>
                  <a:lnTo>
                    <a:pt x="44" y="151"/>
                  </a:lnTo>
                  <a:lnTo>
                    <a:pt x="44" y="153"/>
                  </a:lnTo>
                  <a:lnTo>
                    <a:pt x="44" y="154"/>
                  </a:lnTo>
                  <a:lnTo>
                    <a:pt x="42" y="156"/>
                  </a:lnTo>
                  <a:lnTo>
                    <a:pt x="44" y="158"/>
                  </a:lnTo>
                  <a:lnTo>
                    <a:pt x="45" y="159"/>
                  </a:lnTo>
                  <a:lnTo>
                    <a:pt x="45" y="161"/>
                  </a:lnTo>
                  <a:lnTo>
                    <a:pt x="44" y="161"/>
                  </a:lnTo>
                  <a:lnTo>
                    <a:pt x="44" y="162"/>
                  </a:lnTo>
                  <a:lnTo>
                    <a:pt x="44" y="164"/>
                  </a:lnTo>
                  <a:lnTo>
                    <a:pt x="42" y="164"/>
                  </a:lnTo>
                  <a:lnTo>
                    <a:pt x="40" y="164"/>
                  </a:lnTo>
                  <a:lnTo>
                    <a:pt x="39" y="164"/>
                  </a:lnTo>
                  <a:lnTo>
                    <a:pt x="39" y="166"/>
                  </a:lnTo>
                  <a:lnTo>
                    <a:pt x="40" y="166"/>
                  </a:lnTo>
                  <a:lnTo>
                    <a:pt x="40" y="167"/>
                  </a:lnTo>
                  <a:lnTo>
                    <a:pt x="39" y="166"/>
                  </a:lnTo>
                  <a:lnTo>
                    <a:pt x="37" y="164"/>
                  </a:lnTo>
                  <a:lnTo>
                    <a:pt x="37" y="162"/>
                  </a:lnTo>
                  <a:lnTo>
                    <a:pt x="37" y="161"/>
                  </a:lnTo>
                  <a:lnTo>
                    <a:pt x="37" y="159"/>
                  </a:lnTo>
                  <a:lnTo>
                    <a:pt x="35" y="159"/>
                  </a:lnTo>
                  <a:lnTo>
                    <a:pt x="35" y="158"/>
                  </a:lnTo>
                  <a:lnTo>
                    <a:pt x="34" y="158"/>
                  </a:lnTo>
                  <a:lnTo>
                    <a:pt x="34" y="156"/>
                  </a:lnTo>
                  <a:lnTo>
                    <a:pt x="32" y="156"/>
                  </a:lnTo>
                  <a:lnTo>
                    <a:pt x="31" y="154"/>
                  </a:lnTo>
                  <a:lnTo>
                    <a:pt x="29" y="153"/>
                  </a:lnTo>
                  <a:lnTo>
                    <a:pt x="27" y="153"/>
                  </a:lnTo>
                  <a:lnTo>
                    <a:pt x="26" y="153"/>
                  </a:lnTo>
                  <a:lnTo>
                    <a:pt x="26" y="151"/>
                  </a:lnTo>
                  <a:lnTo>
                    <a:pt x="26" y="149"/>
                  </a:lnTo>
                  <a:lnTo>
                    <a:pt x="24" y="149"/>
                  </a:lnTo>
                  <a:lnTo>
                    <a:pt x="24" y="148"/>
                  </a:lnTo>
                  <a:lnTo>
                    <a:pt x="22" y="146"/>
                  </a:lnTo>
                  <a:lnTo>
                    <a:pt x="22" y="145"/>
                  </a:lnTo>
                  <a:lnTo>
                    <a:pt x="22" y="143"/>
                  </a:lnTo>
                  <a:lnTo>
                    <a:pt x="21" y="143"/>
                  </a:lnTo>
                  <a:lnTo>
                    <a:pt x="22" y="141"/>
                  </a:lnTo>
                  <a:lnTo>
                    <a:pt x="21" y="141"/>
                  </a:lnTo>
                  <a:lnTo>
                    <a:pt x="21" y="138"/>
                  </a:lnTo>
                  <a:lnTo>
                    <a:pt x="19" y="138"/>
                  </a:lnTo>
                  <a:lnTo>
                    <a:pt x="18" y="138"/>
                  </a:lnTo>
                  <a:lnTo>
                    <a:pt x="18" y="140"/>
                  </a:lnTo>
                  <a:lnTo>
                    <a:pt x="18" y="143"/>
                  </a:lnTo>
                  <a:lnTo>
                    <a:pt x="18" y="145"/>
                  </a:lnTo>
                  <a:lnTo>
                    <a:pt x="18" y="146"/>
                  </a:lnTo>
                  <a:lnTo>
                    <a:pt x="18" y="148"/>
                  </a:lnTo>
                  <a:lnTo>
                    <a:pt x="18" y="149"/>
                  </a:lnTo>
                  <a:lnTo>
                    <a:pt x="16" y="148"/>
                  </a:lnTo>
                  <a:lnTo>
                    <a:pt x="16" y="146"/>
                  </a:lnTo>
                  <a:lnTo>
                    <a:pt x="14" y="146"/>
                  </a:lnTo>
                  <a:lnTo>
                    <a:pt x="16" y="145"/>
                  </a:lnTo>
                  <a:lnTo>
                    <a:pt x="16" y="143"/>
                  </a:lnTo>
                  <a:lnTo>
                    <a:pt x="16" y="141"/>
                  </a:lnTo>
                  <a:lnTo>
                    <a:pt x="16" y="140"/>
                  </a:lnTo>
                  <a:lnTo>
                    <a:pt x="16" y="138"/>
                  </a:lnTo>
                  <a:lnTo>
                    <a:pt x="16" y="136"/>
                  </a:lnTo>
                  <a:lnTo>
                    <a:pt x="16" y="135"/>
                  </a:lnTo>
                  <a:lnTo>
                    <a:pt x="18" y="133"/>
                  </a:lnTo>
                  <a:lnTo>
                    <a:pt x="18" y="130"/>
                  </a:lnTo>
                  <a:lnTo>
                    <a:pt x="19" y="127"/>
                  </a:lnTo>
                  <a:lnTo>
                    <a:pt x="21" y="125"/>
                  </a:lnTo>
                  <a:lnTo>
                    <a:pt x="22" y="120"/>
                  </a:lnTo>
                  <a:lnTo>
                    <a:pt x="24" y="119"/>
                  </a:lnTo>
                  <a:lnTo>
                    <a:pt x="24" y="117"/>
                  </a:lnTo>
                  <a:lnTo>
                    <a:pt x="27" y="112"/>
                  </a:lnTo>
                  <a:lnTo>
                    <a:pt x="29" y="112"/>
                  </a:lnTo>
                  <a:lnTo>
                    <a:pt x="29" y="110"/>
                  </a:lnTo>
                  <a:lnTo>
                    <a:pt x="31" y="109"/>
                  </a:lnTo>
                  <a:lnTo>
                    <a:pt x="34" y="106"/>
                  </a:lnTo>
                  <a:lnTo>
                    <a:pt x="34" y="104"/>
                  </a:lnTo>
                  <a:lnTo>
                    <a:pt x="35" y="102"/>
                  </a:lnTo>
                  <a:lnTo>
                    <a:pt x="35" y="101"/>
                  </a:lnTo>
                  <a:lnTo>
                    <a:pt x="37" y="99"/>
                  </a:lnTo>
                  <a:lnTo>
                    <a:pt x="37" y="101"/>
                  </a:lnTo>
                  <a:lnTo>
                    <a:pt x="39" y="101"/>
                  </a:lnTo>
                  <a:lnTo>
                    <a:pt x="39" y="99"/>
                  </a:lnTo>
                  <a:lnTo>
                    <a:pt x="40" y="97"/>
                  </a:lnTo>
                  <a:lnTo>
                    <a:pt x="42" y="96"/>
                  </a:lnTo>
                  <a:lnTo>
                    <a:pt x="44" y="91"/>
                  </a:lnTo>
                  <a:lnTo>
                    <a:pt x="45" y="91"/>
                  </a:lnTo>
                  <a:lnTo>
                    <a:pt x="45" y="89"/>
                  </a:lnTo>
                  <a:lnTo>
                    <a:pt x="47" y="89"/>
                  </a:lnTo>
                  <a:lnTo>
                    <a:pt x="47" y="88"/>
                  </a:lnTo>
                  <a:lnTo>
                    <a:pt x="48" y="88"/>
                  </a:lnTo>
                  <a:lnTo>
                    <a:pt x="52" y="89"/>
                  </a:lnTo>
                  <a:lnTo>
                    <a:pt x="55" y="91"/>
                  </a:lnTo>
                  <a:lnTo>
                    <a:pt x="57" y="93"/>
                  </a:lnTo>
                  <a:lnTo>
                    <a:pt x="58" y="93"/>
                  </a:lnTo>
                  <a:lnTo>
                    <a:pt x="61" y="93"/>
                  </a:lnTo>
                  <a:lnTo>
                    <a:pt x="66" y="91"/>
                  </a:lnTo>
                  <a:lnTo>
                    <a:pt x="68" y="89"/>
                  </a:lnTo>
                  <a:lnTo>
                    <a:pt x="70" y="88"/>
                  </a:lnTo>
                  <a:lnTo>
                    <a:pt x="73" y="86"/>
                  </a:lnTo>
                  <a:lnTo>
                    <a:pt x="75" y="84"/>
                  </a:lnTo>
                  <a:lnTo>
                    <a:pt x="76" y="84"/>
                  </a:lnTo>
                  <a:lnTo>
                    <a:pt x="78" y="84"/>
                  </a:lnTo>
                  <a:lnTo>
                    <a:pt x="79" y="84"/>
                  </a:lnTo>
                  <a:lnTo>
                    <a:pt x="81" y="84"/>
                  </a:lnTo>
                  <a:lnTo>
                    <a:pt x="83" y="86"/>
                  </a:lnTo>
                  <a:lnTo>
                    <a:pt x="86" y="86"/>
                  </a:lnTo>
                  <a:lnTo>
                    <a:pt x="88" y="86"/>
                  </a:lnTo>
                  <a:lnTo>
                    <a:pt x="89" y="88"/>
                  </a:lnTo>
                  <a:lnTo>
                    <a:pt x="91" y="88"/>
                  </a:lnTo>
                  <a:lnTo>
                    <a:pt x="92" y="88"/>
                  </a:lnTo>
                  <a:lnTo>
                    <a:pt x="96" y="86"/>
                  </a:lnTo>
                  <a:lnTo>
                    <a:pt x="97" y="86"/>
                  </a:lnTo>
                  <a:lnTo>
                    <a:pt x="99" y="86"/>
                  </a:lnTo>
                  <a:lnTo>
                    <a:pt x="102" y="84"/>
                  </a:lnTo>
                  <a:lnTo>
                    <a:pt x="105" y="84"/>
                  </a:lnTo>
                  <a:lnTo>
                    <a:pt x="107" y="84"/>
                  </a:lnTo>
                  <a:lnTo>
                    <a:pt x="109" y="84"/>
                  </a:lnTo>
                  <a:lnTo>
                    <a:pt x="109" y="83"/>
                  </a:lnTo>
                  <a:lnTo>
                    <a:pt x="117" y="78"/>
                  </a:lnTo>
                  <a:lnTo>
                    <a:pt x="118" y="78"/>
                  </a:lnTo>
                  <a:lnTo>
                    <a:pt x="120" y="76"/>
                  </a:lnTo>
                  <a:lnTo>
                    <a:pt x="120" y="75"/>
                  </a:lnTo>
                  <a:lnTo>
                    <a:pt x="122" y="73"/>
                  </a:lnTo>
                  <a:lnTo>
                    <a:pt x="125" y="68"/>
                  </a:lnTo>
                  <a:lnTo>
                    <a:pt x="127" y="66"/>
                  </a:lnTo>
                  <a:lnTo>
                    <a:pt x="128" y="63"/>
                  </a:lnTo>
                  <a:lnTo>
                    <a:pt x="131" y="57"/>
                  </a:lnTo>
                  <a:lnTo>
                    <a:pt x="133" y="53"/>
                  </a:lnTo>
                  <a:lnTo>
                    <a:pt x="135" y="52"/>
                  </a:lnTo>
                  <a:lnTo>
                    <a:pt x="138" y="42"/>
                  </a:lnTo>
                  <a:lnTo>
                    <a:pt x="140" y="40"/>
                  </a:lnTo>
                  <a:lnTo>
                    <a:pt x="140" y="39"/>
                  </a:lnTo>
                  <a:lnTo>
                    <a:pt x="141" y="37"/>
                  </a:lnTo>
                  <a:lnTo>
                    <a:pt x="143" y="37"/>
                  </a:lnTo>
                  <a:lnTo>
                    <a:pt x="143" y="36"/>
                  </a:lnTo>
                  <a:lnTo>
                    <a:pt x="146" y="32"/>
                  </a:lnTo>
                  <a:lnTo>
                    <a:pt x="148" y="29"/>
                  </a:lnTo>
                  <a:lnTo>
                    <a:pt x="149" y="27"/>
                  </a:lnTo>
                  <a:lnTo>
                    <a:pt x="149" y="26"/>
                  </a:lnTo>
                  <a:lnTo>
                    <a:pt x="151" y="24"/>
                  </a:lnTo>
                  <a:lnTo>
                    <a:pt x="151" y="23"/>
                  </a:lnTo>
                  <a:lnTo>
                    <a:pt x="153" y="23"/>
                  </a:lnTo>
                  <a:lnTo>
                    <a:pt x="153" y="21"/>
                  </a:lnTo>
                  <a:lnTo>
                    <a:pt x="153" y="23"/>
                  </a:lnTo>
                  <a:lnTo>
                    <a:pt x="154" y="23"/>
                  </a:lnTo>
                  <a:lnTo>
                    <a:pt x="156" y="23"/>
                  </a:lnTo>
                  <a:lnTo>
                    <a:pt x="157" y="23"/>
                  </a:lnTo>
                  <a:lnTo>
                    <a:pt x="159" y="23"/>
                  </a:lnTo>
                  <a:lnTo>
                    <a:pt x="162" y="23"/>
                  </a:lnTo>
                  <a:lnTo>
                    <a:pt x="169" y="23"/>
                  </a:lnTo>
                  <a:lnTo>
                    <a:pt x="170" y="21"/>
                  </a:lnTo>
                  <a:lnTo>
                    <a:pt x="175" y="19"/>
                  </a:lnTo>
                  <a:lnTo>
                    <a:pt x="177" y="18"/>
                  </a:lnTo>
                  <a:lnTo>
                    <a:pt x="180" y="16"/>
                  </a:lnTo>
                  <a:lnTo>
                    <a:pt x="182" y="16"/>
                  </a:lnTo>
                  <a:lnTo>
                    <a:pt x="183" y="13"/>
                  </a:lnTo>
                  <a:lnTo>
                    <a:pt x="187" y="11"/>
                  </a:lnTo>
                  <a:lnTo>
                    <a:pt x="190" y="8"/>
                  </a:lnTo>
                  <a:lnTo>
                    <a:pt x="192" y="6"/>
                  </a:lnTo>
                  <a:lnTo>
                    <a:pt x="195" y="3"/>
                  </a:lnTo>
                  <a:lnTo>
                    <a:pt x="196" y="3"/>
                  </a:lnTo>
                  <a:lnTo>
                    <a:pt x="196" y="1"/>
                  </a:lnTo>
                  <a:lnTo>
                    <a:pt x="198" y="1"/>
                  </a:lnTo>
                  <a:lnTo>
                    <a:pt x="200" y="0"/>
                  </a:lnTo>
                  <a:lnTo>
                    <a:pt x="201" y="0"/>
                  </a:lnTo>
                  <a:lnTo>
                    <a:pt x="203" y="0"/>
                  </a:lnTo>
                  <a:lnTo>
                    <a:pt x="205" y="0"/>
                  </a:lnTo>
                  <a:lnTo>
                    <a:pt x="205" y="1"/>
                  </a:lnTo>
                  <a:lnTo>
                    <a:pt x="203" y="3"/>
                  </a:lnTo>
                  <a:lnTo>
                    <a:pt x="203" y="5"/>
                  </a:lnTo>
                  <a:lnTo>
                    <a:pt x="201" y="5"/>
                  </a:lnTo>
                  <a:close/>
                  <a:moveTo>
                    <a:pt x="183" y="306"/>
                  </a:moveTo>
                  <a:lnTo>
                    <a:pt x="185" y="307"/>
                  </a:lnTo>
                  <a:lnTo>
                    <a:pt x="187" y="309"/>
                  </a:lnTo>
                  <a:lnTo>
                    <a:pt x="190" y="310"/>
                  </a:lnTo>
                  <a:lnTo>
                    <a:pt x="193" y="314"/>
                  </a:lnTo>
                  <a:lnTo>
                    <a:pt x="196" y="315"/>
                  </a:lnTo>
                  <a:lnTo>
                    <a:pt x="198" y="317"/>
                  </a:lnTo>
                  <a:lnTo>
                    <a:pt x="200" y="319"/>
                  </a:lnTo>
                  <a:lnTo>
                    <a:pt x="201" y="319"/>
                  </a:lnTo>
                  <a:lnTo>
                    <a:pt x="201" y="320"/>
                  </a:lnTo>
                  <a:lnTo>
                    <a:pt x="200" y="320"/>
                  </a:lnTo>
                  <a:lnTo>
                    <a:pt x="200" y="319"/>
                  </a:lnTo>
                  <a:lnTo>
                    <a:pt x="198" y="317"/>
                  </a:lnTo>
                  <a:lnTo>
                    <a:pt x="196" y="315"/>
                  </a:lnTo>
                  <a:lnTo>
                    <a:pt x="196" y="317"/>
                  </a:lnTo>
                  <a:lnTo>
                    <a:pt x="195" y="317"/>
                  </a:lnTo>
                  <a:lnTo>
                    <a:pt x="196" y="319"/>
                  </a:lnTo>
                  <a:lnTo>
                    <a:pt x="195" y="317"/>
                  </a:lnTo>
                  <a:lnTo>
                    <a:pt x="195" y="319"/>
                  </a:lnTo>
                  <a:lnTo>
                    <a:pt x="193" y="319"/>
                  </a:lnTo>
                  <a:lnTo>
                    <a:pt x="195" y="320"/>
                  </a:lnTo>
                  <a:lnTo>
                    <a:pt x="196" y="322"/>
                  </a:lnTo>
                  <a:lnTo>
                    <a:pt x="196" y="323"/>
                  </a:lnTo>
                  <a:lnTo>
                    <a:pt x="195" y="323"/>
                  </a:lnTo>
                  <a:lnTo>
                    <a:pt x="195" y="325"/>
                  </a:lnTo>
                  <a:lnTo>
                    <a:pt x="193" y="323"/>
                  </a:lnTo>
                  <a:lnTo>
                    <a:pt x="193" y="325"/>
                  </a:lnTo>
                  <a:lnTo>
                    <a:pt x="192" y="325"/>
                  </a:lnTo>
                  <a:lnTo>
                    <a:pt x="192" y="327"/>
                  </a:lnTo>
                  <a:lnTo>
                    <a:pt x="192" y="328"/>
                  </a:lnTo>
                  <a:lnTo>
                    <a:pt x="190" y="328"/>
                  </a:lnTo>
                  <a:lnTo>
                    <a:pt x="192" y="328"/>
                  </a:lnTo>
                  <a:lnTo>
                    <a:pt x="192" y="327"/>
                  </a:lnTo>
                  <a:lnTo>
                    <a:pt x="192" y="328"/>
                  </a:lnTo>
                  <a:lnTo>
                    <a:pt x="190" y="328"/>
                  </a:lnTo>
                  <a:lnTo>
                    <a:pt x="192" y="330"/>
                  </a:lnTo>
                  <a:lnTo>
                    <a:pt x="190" y="332"/>
                  </a:lnTo>
                  <a:lnTo>
                    <a:pt x="192" y="332"/>
                  </a:lnTo>
                  <a:lnTo>
                    <a:pt x="193" y="330"/>
                  </a:lnTo>
                  <a:lnTo>
                    <a:pt x="193" y="332"/>
                  </a:lnTo>
                  <a:lnTo>
                    <a:pt x="195" y="332"/>
                  </a:lnTo>
                  <a:lnTo>
                    <a:pt x="195" y="330"/>
                  </a:lnTo>
                  <a:lnTo>
                    <a:pt x="196" y="330"/>
                  </a:lnTo>
                  <a:lnTo>
                    <a:pt x="196" y="328"/>
                  </a:lnTo>
                  <a:lnTo>
                    <a:pt x="195" y="328"/>
                  </a:lnTo>
                  <a:lnTo>
                    <a:pt x="195" y="327"/>
                  </a:lnTo>
                  <a:lnTo>
                    <a:pt x="196" y="327"/>
                  </a:lnTo>
                  <a:lnTo>
                    <a:pt x="198" y="327"/>
                  </a:lnTo>
                  <a:lnTo>
                    <a:pt x="200" y="325"/>
                  </a:lnTo>
                  <a:lnTo>
                    <a:pt x="200" y="327"/>
                  </a:lnTo>
                  <a:lnTo>
                    <a:pt x="201" y="327"/>
                  </a:lnTo>
                  <a:lnTo>
                    <a:pt x="201" y="325"/>
                  </a:lnTo>
                  <a:lnTo>
                    <a:pt x="203" y="325"/>
                  </a:lnTo>
                  <a:lnTo>
                    <a:pt x="205" y="325"/>
                  </a:lnTo>
                  <a:lnTo>
                    <a:pt x="206" y="325"/>
                  </a:lnTo>
                  <a:lnTo>
                    <a:pt x="206" y="323"/>
                  </a:lnTo>
                  <a:lnTo>
                    <a:pt x="206" y="322"/>
                  </a:lnTo>
                  <a:lnTo>
                    <a:pt x="203" y="320"/>
                  </a:lnTo>
                  <a:lnTo>
                    <a:pt x="201" y="320"/>
                  </a:lnTo>
                  <a:lnTo>
                    <a:pt x="201" y="319"/>
                  </a:lnTo>
                  <a:lnTo>
                    <a:pt x="203" y="319"/>
                  </a:lnTo>
                  <a:lnTo>
                    <a:pt x="203" y="317"/>
                  </a:lnTo>
                  <a:lnTo>
                    <a:pt x="205" y="319"/>
                  </a:lnTo>
                  <a:lnTo>
                    <a:pt x="206" y="320"/>
                  </a:lnTo>
                  <a:lnTo>
                    <a:pt x="206" y="319"/>
                  </a:lnTo>
                  <a:lnTo>
                    <a:pt x="206" y="317"/>
                  </a:lnTo>
                  <a:lnTo>
                    <a:pt x="206" y="315"/>
                  </a:lnTo>
                  <a:lnTo>
                    <a:pt x="205" y="314"/>
                  </a:lnTo>
                  <a:lnTo>
                    <a:pt x="205" y="312"/>
                  </a:lnTo>
                  <a:lnTo>
                    <a:pt x="205" y="310"/>
                  </a:lnTo>
                  <a:lnTo>
                    <a:pt x="206" y="312"/>
                  </a:lnTo>
                  <a:lnTo>
                    <a:pt x="206" y="314"/>
                  </a:lnTo>
                  <a:lnTo>
                    <a:pt x="208" y="314"/>
                  </a:lnTo>
                  <a:lnTo>
                    <a:pt x="206" y="312"/>
                  </a:lnTo>
                  <a:lnTo>
                    <a:pt x="208" y="312"/>
                  </a:lnTo>
                  <a:lnTo>
                    <a:pt x="206" y="312"/>
                  </a:lnTo>
                  <a:lnTo>
                    <a:pt x="206" y="310"/>
                  </a:lnTo>
                  <a:lnTo>
                    <a:pt x="206" y="309"/>
                  </a:lnTo>
                  <a:lnTo>
                    <a:pt x="206" y="307"/>
                  </a:lnTo>
                  <a:lnTo>
                    <a:pt x="205" y="307"/>
                  </a:lnTo>
                  <a:lnTo>
                    <a:pt x="206" y="307"/>
                  </a:lnTo>
                  <a:lnTo>
                    <a:pt x="205" y="307"/>
                  </a:lnTo>
                  <a:lnTo>
                    <a:pt x="203" y="306"/>
                  </a:lnTo>
                  <a:lnTo>
                    <a:pt x="205" y="306"/>
                  </a:lnTo>
                  <a:lnTo>
                    <a:pt x="205" y="307"/>
                  </a:lnTo>
                  <a:lnTo>
                    <a:pt x="206" y="307"/>
                  </a:lnTo>
                  <a:lnTo>
                    <a:pt x="206" y="306"/>
                  </a:lnTo>
                  <a:lnTo>
                    <a:pt x="205" y="306"/>
                  </a:lnTo>
                  <a:lnTo>
                    <a:pt x="206" y="306"/>
                  </a:lnTo>
                  <a:lnTo>
                    <a:pt x="208" y="307"/>
                  </a:lnTo>
                  <a:lnTo>
                    <a:pt x="209" y="309"/>
                  </a:lnTo>
                  <a:lnTo>
                    <a:pt x="209" y="312"/>
                  </a:lnTo>
                  <a:lnTo>
                    <a:pt x="211" y="312"/>
                  </a:lnTo>
                  <a:lnTo>
                    <a:pt x="211" y="314"/>
                  </a:lnTo>
                  <a:lnTo>
                    <a:pt x="211" y="315"/>
                  </a:lnTo>
                  <a:lnTo>
                    <a:pt x="213" y="315"/>
                  </a:lnTo>
                  <a:lnTo>
                    <a:pt x="213" y="317"/>
                  </a:lnTo>
                  <a:lnTo>
                    <a:pt x="213" y="319"/>
                  </a:lnTo>
                  <a:lnTo>
                    <a:pt x="214" y="320"/>
                  </a:lnTo>
                  <a:lnTo>
                    <a:pt x="214" y="322"/>
                  </a:lnTo>
                  <a:lnTo>
                    <a:pt x="216" y="323"/>
                  </a:lnTo>
                  <a:lnTo>
                    <a:pt x="216" y="325"/>
                  </a:lnTo>
                  <a:lnTo>
                    <a:pt x="216" y="327"/>
                  </a:lnTo>
                  <a:lnTo>
                    <a:pt x="214" y="327"/>
                  </a:lnTo>
                  <a:lnTo>
                    <a:pt x="214" y="325"/>
                  </a:lnTo>
                  <a:lnTo>
                    <a:pt x="213" y="327"/>
                  </a:lnTo>
                  <a:lnTo>
                    <a:pt x="211" y="327"/>
                  </a:lnTo>
                  <a:lnTo>
                    <a:pt x="209" y="328"/>
                  </a:lnTo>
                  <a:lnTo>
                    <a:pt x="209" y="330"/>
                  </a:lnTo>
                  <a:lnTo>
                    <a:pt x="211" y="330"/>
                  </a:lnTo>
                  <a:lnTo>
                    <a:pt x="211" y="332"/>
                  </a:lnTo>
                  <a:lnTo>
                    <a:pt x="213" y="333"/>
                  </a:lnTo>
                  <a:lnTo>
                    <a:pt x="214" y="335"/>
                  </a:lnTo>
                  <a:lnTo>
                    <a:pt x="216" y="336"/>
                  </a:lnTo>
                  <a:lnTo>
                    <a:pt x="218" y="338"/>
                  </a:lnTo>
                  <a:lnTo>
                    <a:pt x="219" y="338"/>
                  </a:lnTo>
                  <a:lnTo>
                    <a:pt x="219" y="340"/>
                  </a:lnTo>
                  <a:lnTo>
                    <a:pt x="219" y="341"/>
                  </a:lnTo>
                  <a:lnTo>
                    <a:pt x="221" y="343"/>
                  </a:lnTo>
                  <a:lnTo>
                    <a:pt x="221" y="345"/>
                  </a:lnTo>
                  <a:lnTo>
                    <a:pt x="223" y="346"/>
                  </a:lnTo>
                  <a:lnTo>
                    <a:pt x="223" y="348"/>
                  </a:lnTo>
                  <a:lnTo>
                    <a:pt x="223" y="349"/>
                  </a:lnTo>
                  <a:lnTo>
                    <a:pt x="224" y="351"/>
                  </a:lnTo>
                  <a:lnTo>
                    <a:pt x="226" y="351"/>
                  </a:lnTo>
                  <a:lnTo>
                    <a:pt x="224" y="351"/>
                  </a:lnTo>
                  <a:lnTo>
                    <a:pt x="226" y="351"/>
                  </a:lnTo>
                  <a:lnTo>
                    <a:pt x="226" y="353"/>
                  </a:lnTo>
                  <a:lnTo>
                    <a:pt x="224" y="353"/>
                  </a:lnTo>
                  <a:lnTo>
                    <a:pt x="223" y="353"/>
                  </a:lnTo>
                  <a:lnTo>
                    <a:pt x="224" y="353"/>
                  </a:lnTo>
                  <a:lnTo>
                    <a:pt x="223" y="353"/>
                  </a:lnTo>
                  <a:lnTo>
                    <a:pt x="224" y="351"/>
                  </a:lnTo>
                  <a:lnTo>
                    <a:pt x="223" y="351"/>
                  </a:lnTo>
                  <a:lnTo>
                    <a:pt x="221" y="351"/>
                  </a:lnTo>
                  <a:lnTo>
                    <a:pt x="221" y="349"/>
                  </a:lnTo>
                  <a:lnTo>
                    <a:pt x="221" y="351"/>
                  </a:lnTo>
                  <a:lnTo>
                    <a:pt x="221" y="349"/>
                  </a:lnTo>
                  <a:lnTo>
                    <a:pt x="221" y="351"/>
                  </a:lnTo>
                  <a:lnTo>
                    <a:pt x="219" y="351"/>
                  </a:lnTo>
                  <a:lnTo>
                    <a:pt x="218" y="351"/>
                  </a:lnTo>
                  <a:lnTo>
                    <a:pt x="219" y="351"/>
                  </a:lnTo>
                  <a:lnTo>
                    <a:pt x="221" y="353"/>
                  </a:lnTo>
                  <a:lnTo>
                    <a:pt x="221" y="354"/>
                  </a:lnTo>
                  <a:lnTo>
                    <a:pt x="221" y="356"/>
                  </a:lnTo>
                  <a:lnTo>
                    <a:pt x="221" y="358"/>
                  </a:lnTo>
                  <a:lnTo>
                    <a:pt x="223" y="359"/>
                  </a:lnTo>
                  <a:lnTo>
                    <a:pt x="223" y="361"/>
                  </a:lnTo>
                  <a:lnTo>
                    <a:pt x="223" y="363"/>
                  </a:lnTo>
                  <a:lnTo>
                    <a:pt x="223" y="364"/>
                  </a:lnTo>
                  <a:lnTo>
                    <a:pt x="223" y="366"/>
                  </a:lnTo>
                  <a:lnTo>
                    <a:pt x="223" y="367"/>
                  </a:lnTo>
                  <a:lnTo>
                    <a:pt x="223" y="369"/>
                  </a:lnTo>
                  <a:lnTo>
                    <a:pt x="221" y="369"/>
                  </a:lnTo>
                  <a:lnTo>
                    <a:pt x="221" y="371"/>
                  </a:lnTo>
                  <a:lnTo>
                    <a:pt x="221" y="372"/>
                  </a:lnTo>
                  <a:lnTo>
                    <a:pt x="221" y="374"/>
                  </a:lnTo>
                  <a:lnTo>
                    <a:pt x="219" y="376"/>
                  </a:lnTo>
                  <a:lnTo>
                    <a:pt x="219" y="377"/>
                  </a:lnTo>
                  <a:lnTo>
                    <a:pt x="219" y="379"/>
                  </a:lnTo>
                  <a:lnTo>
                    <a:pt x="218" y="380"/>
                  </a:lnTo>
                  <a:lnTo>
                    <a:pt x="218" y="382"/>
                  </a:lnTo>
                  <a:lnTo>
                    <a:pt x="218" y="384"/>
                  </a:lnTo>
                  <a:lnTo>
                    <a:pt x="216" y="385"/>
                  </a:lnTo>
                  <a:lnTo>
                    <a:pt x="214" y="385"/>
                  </a:lnTo>
                  <a:lnTo>
                    <a:pt x="213" y="385"/>
                  </a:lnTo>
                  <a:lnTo>
                    <a:pt x="211" y="385"/>
                  </a:lnTo>
                  <a:lnTo>
                    <a:pt x="209" y="385"/>
                  </a:lnTo>
                  <a:lnTo>
                    <a:pt x="209" y="387"/>
                  </a:lnTo>
                  <a:lnTo>
                    <a:pt x="209" y="385"/>
                  </a:lnTo>
                  <a:lnTo>
                    <a:pt x="209" y="387"/>
                  </a:lnTo>
                  <a:lnTo>
                    <a:pt x="208" y="385"/>
                  </a:lnTo>
                  <a:lnTo>
                    <a:pt x="206" y="385"/>
                  </a:lnTo>
                  <a:lnTo>
                    <a:pt x="206" y="387"/>
                  </a:lnTo>
                  <a:lnTo>
                    <a:pt x="205" y="387"/>
                  </a:lnTo>
                  <a:lnTo>
                    <a:pt x="203" y="389"/>
                  </a:lnTo>
                  <a:lnTo>
                    <a:pt x="201" y="389"/>
                  </a:lnTo>
                  <a:lnTo>
                    <a:pt x="200" y="390"/>
                  </a:lnTo>
                  <a:lnTo>
                    <a:pt x="198" y="390"/>
                  </a:lnTo>
                  <a:lnTo>
                    <a:pt x="196" y="390"/>
                  </a:lnTo>
                  <a:lnTo>
                    <a:pt x="195" y="389"/>
                  </a:lnTo>
                  <a:lnTo>
                    <a:pt x="193" y="389"/>
                  </a:lnTo>
                  <a:lnTo>
                    <a:pt x="192" y="389"/>
                  </a:lnTo>
                  <a:lnTo>
                    <a:pt x="190" y="389"/>
                  </a:lnTo>
                  <a:lnTo>
                    <a:pt x="188" y="387"/>
                  </a:lnTo>
                  <a:lnTo>
                    <a:pt x="187" y="385"/>
                  </a:lnTo>
                  <a:lnTo>
                    <a:pt x="185" y="385"/>
                  </a:lnTo>
                  <a:lnTo>
                    <a:pt x="185" y="387"/>
                  </a:lnTo>
                  <a:lnTo>
                    <a:pt x="183" y="387"/>
                  </a:lnTo>
                  <a:lnTo>
                    <a:pt x="182" y="387"/>
                  </a:lnTo>
                  <a:lnTo>
                    <a:pt x="182" y="385"/>
                  </a:lnTo>
                  <a:lnTo>
                    <a:pt x="180" y="385"/>
                  </a:lnTo>
                  <a:lnTo>
                    <a:pt x="180" y="384"/>
                  </a:lnTo>
                  <a:lnTo>
                    <a:pt x="179" y="384"/>
                  </a:lnTo>
                  <a:lnTo>
                    <a:pt x="179" y="382"/>
                  </a:lnTo>
                  <a:lnTo>
                    <a:pt x="177" y="382"/>
                  </a:lnTo>
                  <a:lnTo>
                    <a:pt x="175" y="380"/>
                  </a:lnTo>
                  <a:lnTo>
                    <a:pt x="174" y="380"/>
                  </a:lnTo>
                  <a:lnTo>
                    <a:pt x="172" y="380"/>
                  </a:lnTo>
                  <a:lnTo>
                    <a:pt x="174" y="382"/>
                  </a:lnTo>
                  <a:lnTo>
                    <a:pt x="175" y="384"/>
                  </a:lnTo>
                  <a:lnTo>
                    <a:pt x="174" y="384"/>
                  </a:lnTo>
                  <a:lnTo>
                    <a:pt x="174" y="385"/>
                  </a:lnTo>
                  <a:lnTo>
                    <a:pt x="172" y="385"/>
                  </a:lnTo>
                  <a:lnTo>
                    <a:pt x="172" y="384"/>
                  </a:lnTo>
                  <a:lnTo>
                    <a:pt x="170" y="384"/>
                  </a:lnTo>
                  <a:lnTo>
                    <a:pt x="169" y="384"/>
                  </a:lnTo>
                  <a:lnTo>
                    <a:pt x="166" y="382"/>
                  </a:lnTo>
                  <a:lnTo>
                    <a:pt x="164" y="382"/>
                  </a:lnTo>
                  <a:lnTo>
                    <a:pt x="164" y="384"/>
                  </a:lnTo>
                  <a:lnTo>
                    <a:pt x="162" y="384"/>
                  </a:lnTo>
                  <a:lnTo>
                    <a:pt x="162" y="382"/>
                  </a:lnTo>
                  <a:lnTo>
                    <a:pt x="162" y="380"/>
                  </a:lnTo>
                  <a:lnTo>
                    <a:pt x="164" y="380"/>
                  </a:lnTo>
                  <a:lnTo>
                    <a:pt x="164" y="379"/>
                  </a:lnTo>
                  <a:lnTo>
                    <a:pt x="162" y="379"/>
                  </a:lnTo>
                  <a:lnTo>
                    <a:pt x="164" y="379"/>
                  </a:lnTo>
                  <a:lnTo>
                    <a:pt x="166" y="379"/>
                  </a:lnTo>
                  <a:lnTo>
                    <a:pt x="166" y="377"/>
                  </a:lnTo>
                  <a:lnTo>
                    <a:pt x="167" y="377"/>
                  </a:lnTo>
                  <a:lnTo>
                    <a:pt x="169" y="377"/>
                  </a:lnTo>
                  <a:lnTo>
                    <a:pt x="169" y="376"/>
                  </a:lnTo>
                  <a:lnTo>
                    <a:pt x="170" y="376"/>
                  </a:lnTo>
                  <a:lnTo>
                    <a:pt x="169" y="376"/>
                  </a:lnTo>
                  <a:lnTo>
                    <a:pt x="169" y="374"/>
                  </a:lnTo>
                  <a:lnTo>
                    <a:pt x="167" y="374"/>
                  </a:lnTo>
                  <a:lnTo>
                    <a:pt x="167" y="372"/>
                  </a:lnTo>
                  <a:lnTo>
                    <a:pt x="167" y="371"/>
                  </a:lnTo>
                  <a:lnTo>
                    <a:pt x="166" y="369"/>
                  </a:lnTo>
                  <a:lnTo>
                    <a:pt x="166" y="367"/>
                  </a:lnTo>
                  <a:lnTo>
                    <a:pt x="164" y="367"/>
                  </a:lnTo>
                  <a:lnTo>
                    <a:pt x="162" y="369"/>
                  </a:lnTo>
                  <a:lnTo>
                    <a:pt x="161" y="369"/>
                  </a:lnTo>
                  <a:lnTo>
                    <a:pt x="159" y="369"/>
                  </a:lnTo>
                  <a:lnTo>
                    <a:pt x="157" y="369"/>
                  </a:lnTo>
                  <a:lnTo>
                    <a:pt x="157" y="367"/>
                  </a:lnTo>
                  <a:lnTo>
                    <a:pt x="157" y="366"/>
                  </a:lnTo>
                  <a:lnTo>
                    <a:pt x="156" y="366"/>
                  </a:lnTo>
                  <a:lnTo>
                    <a:pt x="154" y="366"/>
                  </a:lnTo>
                  <a:lnTo>
                    <a:pt x="156" y="366"/>
                  </a:lnTo>
                  <a:lnTo>
                    <a:pt x="156" y="367"/>
                  </a:lnTo>
                  <a:lnTo>
                    <a:pt x="154" y="367"/>
                  </a:lnTo>
                  <a:lnTo>
                    <a:pt x="154" y="366"/>
                  </a:lnTo>
                  <a:lnTo>
                    <a:pt x="154" y="364"/>
                  </a:lnTo>
                  <a:lnTo>
                    <a:pt x="153" y="363"/>
                  </a:lnTo>
                  <a:lnTo>
                    <a:pt x="151" y="363"/>
                  </a:lnTo>
                  <a:lnTo>
                    <a:pt x="149" y="363"/>
                  </a:lnTo>
                  <a:lnTo>
                    <a:pt x="149" y="361"/>
                  </a:lnTo>
                  <a:lnTo>
                    <a:pt x="148" y="361"/>
                  </a:lnTo>
                  <a:lnTo>
                    <a:pt x="148" y="359"/>
                  </a:lnTo>
                  <a:lnTo>
                    <a:pt x="146" y="359"/>
                  </a:lnTo>
                  <a:lnTo>
                    <a:pt x="144" y="358"/>
                  </a:lnTo>
                  <a:lnTo>
                    <a:pt x="146" y="358"/>
                  </a:lnTo>
                  <a:lnTo>
                    <a:pt x="146" y="359"/>
                  </a:lnTo>
                  <a:lnTo>
                    <a:pt x="148" y="359"/>
                  </a:lnTo>
                  <a:lnTo>
                    <a:pt x="148" y="358"/>
                  </a:lnTo>
                  <a:lnTo>
                    <a:pt x="146" y="358"/>
                  </a:lnTo>
                  <a:lnTo>
                    <a:pt x="146" y="356"/>
                  </a:lnTo>
                  <a:lnTo>
                    <a:pt x="146" y="354"/>
                  </a:lnTo>
                  <a:lnTo>
                    <a:pt x="146" y="351"/>
                  </a:lnTo>
                  <a:lnTo>
                    <a:pt x="148" y="351"/>
                  </a:lnTo>
                  <a:lnTo>
                    <a:pt x="148" y="349"/>
                  </a:lnTo>
                  <a:lnTo>
                    <a:pt x="146" y="349"/>
                  </a:lnTo>
                  <a:lnTo>
                    <a:pt x="146" y="348"/>
                  </a:lnTo>
                  <a:lnTo>
                    <a:pt x="146" y="346"/>
                  </a:lnTo>
                  <a:lnTo>
                    <a:pt x="148" y="346"/>
                  </a:lnTo>
                  <a:lnTo>
                    <a:pt x="148" y="345"/>
                  </a:lnTo>
                  <a:lnTo>
                    <a:pt x="146" y="345"/>
                  </a:lnTo>
                  <a:lnTo>
                    <a:pt x="144" y="345"/>
                  </a:lnTo>
                  <a:lnTo>
                    <a:pt x="143" y="345"/>
                  </a:lnTo>
                  <a:lnTo>
                    <a:pt x="141" y="343"/>
                  </a:lnTo>
                  <a:lnTo>
                    <a:pt x="140" y="343"/>
                  </a:lnTo>
                  <a:lnTo>
                    <a:pt x="138" y="343"/>
                  </a:lnTo>
                  <a:lnTo>
                    <a:pt x="138" y="341"/>
                  </a:lnTo>
                  <a:lnTo>
                    <a:pt x="138" y="340"/>
                  </a:lnTo>
                  <a:lnTo>
                    <a:pt x="141" y="340"/>
                  </a:lnTo>
                  <a:lnTo>
                    <a:pt x="143" y="340"/>
                  </a:lnTo>
                  <a:lnTo>
                    <a:pt x="143" y="338"/>
                  </a:lnTo>
                  <a:lnTo>
                    <a:pt x="141" y="338"/>
                  </a:lnTo>
                  <a:lnTo>
                    <a:pt x="141" y="336"/>
                  </a:lnTo>
                  <a:lnTo>
                    <a:pt x="140" y="336"/>
                  </a:lnTo>
                  <a:lnTo>
                    <a:pt x="140" y="335"/>
                  </a:lnTo>
                  <a:lnTo>
                    <a:pt x="138" y="335"/>
                  </a:lnTo>
                  <a:lnTo>
                    <a:pt x="140" y="335"/>
                  </a:lnTo>
                  <a:lnTo>
                    <a:pt x="141" y="335"/>
                  </a:lnTo>
                  <a:lnTo>
                    <a:pt x="141" y="333"/>
                  </a:lnTo>
                  <a:lnTo>
                    <a:pt x="138" y="332"/>
                  </a:lnTo>
                  <a:lnTo>
                    <a:pt x="136" y="332"/>
                  </a:lnTo>
                  <a:lnTo>
                    <a:pt x="135" y="332"/>
                  </a:lnTo>
                  <a:lnTo>
                    <a:pt x="135" y="330"/>
                  </a:lnTo>
                  <a:lnTo>
                    <a:pt x="133" y="328"/>
                  </a:lnTo>
                  <a:lnTo>
                    <a:pt x="133" y="327"/>
                  </a:lnTo>
                  <a:lnTo>
                    <a:pt x="135" y="328"/>
                  </a:lnTo>
                  <a:lnTo>
                    <a:pt x="136" y="328"/>
                  </a:lnTo>
                  <a:lnTo>
                    <a:pt x="136" y="330"/>
                  </a:lnTo>
                  <a:lnTo>
                    <a:pt x="138" y="330"/>
                  </a:lnTo>
                  <a:lnTo>
                    <a:pt x="138" y="332"/>
                  </a:lnTo>
                  <a:lnTo>
                    <a:pt x="141" y="332"/>
                  </a:lnTo>
                  <a:lnTo>
                    <a:pt x="140" y="330"/>
                  </a:lnTo>
                  <a:lnTo>
                    <a:pt x="138" y="328"/>
                  </a:lnTo>
                  <a:lnTo>
                    <a:pt x="140" y="328"/>
                  </a:lnTo>
                  <a:lnTo>
                    <a:pt x="138" y="328"/>
                  </a:lnTo>
                  <a:lnTo>
                    <a:pt x="138" y="327"/>
                  </a:lnTo>
                  <a:lnTo>
                    <a:pt x="136" y="327"/>
                  </a:lnTo>
                  <a:lnTo>
                    <a:pt x="135" y="327"/>
                  </a:lnTo>
                  <a:lnTo>
                    <a:pt x="135" y="325"/>
                  </a:lnTo>
                  <a:lnTo>
                    <a:pt x="133" y="323"/>
                  </a:lnTo>
                  <a:lnTo>
                    <a:pt x="131" y="323"/>
                  </a:lnTo>
                  <a:lnTo>
                    <a:pt x="131" y="322"/>
                  </a:lnTo>
                  <a:lnTo>
                    <a:pt x="130" y="322"/>
                  </a:lnTo>
                  <a:lnTo>
                    <a:pt x="130" y="320"/>
                  </a:lnTo>
                  <a:lnTo>
                    <a:pt x="131" y="320"/>
                  </a:lnTo>
                  <a:lnTo>
                    <a:pt x="133" y="322"/>
                  </a:lnTo>
                  <a:lnTo>
                    <a:pt x="135" y="322"/>
                  </a:lnTo>
                  <a:lnTo>
                    <a:pt x="136" y="320"/>
                  </a:lnTo>
                  <a:lnTo>
                    <a:pt x="136" y="319"/>
                  </a:lnTo>
                  <a:lnTo>
                    <a:pt x="136" y="317"/>
                  </a:lnTo>
                  <a:lnTo>
                    <a:pt x="138" y="317"/>
                  </a:lnTo>
                  <a:lnTo>
                    <a:pt x="140" y="315"/>
                  </a:lnTo>
                  <a:lnTo>
                    <a:pt x="141" y="315"/>
                  </a:lnTo>
                  <a:lnTo>
                    <a:pt x="143" y="315"/>
                  </a:lnTo>
                  <a:lnTo>
                    <a:pt x="144" y="315"/>
                  </a:lnTo>
                  <a:lnTo>
                    <a:pt x="144" y="317"/>
                  </a:lnTo>
                  <a:lnTo>
                    <a:pt x="143" y="317"/>
                  </a:lnTo>
                  <a:lnTo>
                    <a:pt x="143" y="319"/>
                  </a:lnTo>
                  <a:lnTo>
                    <a:pt x="144" y="320"/>
                  </a:lnTo>
                  <a:lnTo>
                    <a:pt x="146" y="322"/>
                  </a:lnTo>
                  <a:lnTo>
                    <a:pt x="149" y="322"/>
                  </a:lnTo>
                  <a:lnTo>
                    <a:pt x="151" y="322"/>
                  </a:lnTo>
                  <a:lnTo>
                    <a:pt x="151" y="320"/>
                  </a:lnTo>
                  <a:lnTo>
                    <a:pt x="153" y="320"/>
                  </a:lnTo>
                  <a:lnTo>
                    <a:pt x="154" y="319"/>
                  </a:lnTo>
                  <a:lnTo>
                    <a:pt x="156" y="317"/>
                  </a:lnTo>
                  <a:lnTo>
                    <a:pt x="157" y="317"/>
                  </a:lnTo>
                  <a:lnTo>
                    <a:pt x="157" y="315"/>
                  </a:lnTo>
                  <a:lnTo>
                    <a:pt x="159" y="315"/>
                  </a:lnTo>
                  <a:lnTo>
                    <a:pt x="159" y="314"/>
                  </a:lnTo>
                  <a:lnTo>
                    <a:pt x="161" y="314"/>
                  </a:lnTo>
                  <a:lnTo>
                    <a:pt x="162" y="314"/>
                  </a:lnTo>
                  <a:lnTo>
                    <a:pt x="162" y="312"/>
                  </a:lnTo>
                  <a:lnTo>
                    <a:pt x="164" y="312"/>
                  </a:lnTo>
                  <a:lnTo>
                    <a:pt x="166" y="312"/>
                  </a:lnTo>
                  <a:lnTo>
                    <a:pt x="166" y="310"/>
                  </a:lnTo>
                  <a:lnTo>
                    <a:pt x="166" y="312"/>
                  </a:lnTo>
                  <a:lnTo>
                    <a:pt x="167" y="312"/>
                  </a:lnTo>
                  <a:lnTo>
                    <a:pt x="169" y="310"/>
                  </a:lnTo>
                  <a:lnTo>
                    <a:pt x="170" y="310"/>
                  </a:lnTo>
                  <a:lnTo>
                    <a:pt x="172" y="310"/>
                  </a:lnTo>
                  <a:lnTo>
                    <a:pt x="172" y="309"/>
                  </a:lnTo>
                  <a:lnTo>
                    <a:pt x="170" y="309"/>
                  </a:lnTo>
                  <a:lnTo>
                    <a:pt x="172" y="309"/>
                  </a:lnTo>
                  <a:lnTo>
                    <a:pt x="174" y="309"/>
                  </a:lnTo>
                  <a:lnTo>
                    <a:pt x="174" y="307"/>
                  </a:lnTo>
                  <a:lnTo>
                    <a:pt x="175" y="307"/>
                  </a:lnTo>
                  <a:lnTo>
                    <a:pt x="179" y="307"/>
                  </a:lnTo>
                  <a:lnTo>
                    <a:pt x="180" y="307"/>
                  </a:lnTo>
                  <a:lnTo>
                    <a:pt x="179" y="307"/>
                  </a:lnTo>
                  <a:lnTo>
                    <a:pt x="179" y="309"/>
                  </a:lnTo>
                  <a:lnTo>
                    <a:pt x="179" y="310"/>
                  </a:lnTo>
                  <a:lnTo>
                    <a:pt x="180" y="310"/>
                  </a:lnTo>
                  <a:lnTo>
                    <a:pt x="182" y="310"/>
                  </a:lnTo>
                  <a:lnTo>
                    <a:pt x="180" y="309"/>
                  </a:lnTo>
                  <a:lnTo>
                    <a:pt x="180" y="307"/>
                  </a:lnTo>
                  <a:lnTo>
                    <a:pt x="180" y="306"/>
                  </a:lnTo>
                  <a:lnTo>
                    <a:pt x="179" y="306"/>
                  </a:lnTo>
                  <a:lnTo>
                    <a:pt x="180" y="306"/>
                  </a:lnTo>
                  <a:lnTo>
                    <a:pt x="182" y="306"/>
                  </a:lnTo>
                  <a:lnTo>
                    <a:pt x="183" y="306"/>
                  </a:lnTo>
                  <a:close/>
                  <a:moveTo>
                    <a:pt x="260" y="400"/>
                  </a:moveTo>
                  <a:lnTo>
                    <a:pt x="262" y="400"/>
                  </a:lnTo>
                  <a:lnTo>
                    <a:pt x="263" y="402"/>
                  </a:lnTo>
                  <a:lnTo>
                    <a:pt x="265" y="403"/>
                  </a:lnTo>
                  <a:lnTo>
                    <a:pt x="265" y="405"/>
                  </a:lnTo>
                  <a:lnTo>
                    <a:pt x="266" y="405"/>
                  </a:lnTo>
                  <a:lnTo>
                    <a:pt x="268" y="405"/>
                  </a:lnTo>
                  <a:lnTo>
                    <a:pt x="268" y="406"/>
                  </a:lnTo>
                  <a:lnTo>
                    <a:pt x="268" y="408"/>
                  </a:lnTo>
                  <a:lnTo>
                    <a:pt x="270" y="408"/>
                  </a:lnTo>
                  <a:lnTo>
                    <a:pt x="270" y="410"/>
                  </a:lnTo>
                  <a:lnTo>
                    <a:pt x="271" y="410"/>
                  </a:lnTo>
                  <a:lnTo>
                    <a:pt x="271" y="411"/>
                  </a:lnTo>
                  <a:lnTo>
                    <a:pt x="273" y="411"/>
                  </a:lnTo>
                  <a:lnTo>
                    <a:pt x="275" y="411"/>
                  </a:lnTo>
                  <a:lnTo>
                    <a:pt x="275" y="413"/>
                  </a:lnTo>
                  <a:lnTo>
                    <a:pt x="273" y="413"/>
                  </a:lnTo>
                  <a:lnTo>
                    <a:pt x="275" y="413"/>
                  </a:lnTo>
                  <a:lnTo>
                    <a:pt x="276" y="413"/>
                  </a:lnTo>
                  <a:lnTo>
                    <a:pt x="278" y="413"/>
                  </a:lnTo>
                  <a:lnTo>
                    <a:pt x="278" y="415"/>
                  </a:lnTo>
                  <a:lnTo>
                    <a:pt x="276" y="415"/>
                  </a:lnTo>
                  <a:lnTo>
                    <a:pt x="278" y="416"/>
                  </a:lnTo>
                  <a:lnTo>
                    <a:pt x="279" y="416"/>
                  </a:lnTo>
                  <a:lnTo>
                    <a:pt x="279" y="418"/>
                  </a:lnTo>
                  <a:lnTo>
                    <a:pt x="281" y="418"/>
                  </a:lnTo>
                  <a:lnTo>
                    <a:pt x="281" y="416"/>
                  </a:lnTo>
                  <a:lnTo>
                    <a:pt x="283" y="418"/>
                  </a:lnTo>
                  <a:lnTo>
                    <a:pt x="284" y="418"/>
                  </a:lnTo>
                  <a:lnTo>
                    <a:pt x="286" y="418"/>
                  </a:lnTo>
                  <a:lnTo>
                    <a:pt x="288" y="418"/>
                  </a:lnTo>
                  <a:lnTo>
                    <a:pt x="288" y="419"/>
                  </a:lnTo>
                  <a:lnTo>
                    <a:pt x="289" y="419"/>
                  </a:lnTo>
                  <a:lnTo>
                    <a:pt x="289" y="418"/>
                  </a:lnTo>
                  <a:lnTo>
                    <a:pt x="288" y="418"/>
                  </a:lnTo>
                  <a:lnTo>
                    <a:pt x="288" y="416"/>
                  </a:lnTo>
                  <a:lnTo>
                    <a:pt x="286" y="416"/>
                  </a:lnTo>
                  <a:lnTo>
                    <a:pt x="284" y="415"/>
                  </a:lnTo>
                  <a:lnTo>
                    <a:pt x="286" y="415"/>
                  </a:lnTo>
                  <a:lnTo>
                    <a:pt x="286" y="413"/>
                  </a:lnTo>
                  <a:lnTo>
                    <a:pt x="288" y="415"/>
                  </a:lnTo>
                  <a:lnTo>
                    <a:pt x="289" y="415"/>
                  </a:lnTo>
                  <a:lnTo>
                    <a:pt x="291" y="415"/>
                  </a:lnTo>
                  <a:lnTo>
                    <a:pt x="291" y="413"/>
                  </a:lnTo>
                  <a:lnTo>
                    <a:pt x="292" y="413"/>
                  </a:lnTo>
                  <a:lnTo>
                    <a:pt x="291" y="411"/>
                  </a:lnTo>
                  <a:lnTo>
                    <a:pt x="292" y="408"/>
                  </a:lnTo>
                  <a:lnTo>
                    <a:pt x="291" y="408"/>
                  </a:lnTo>
                  <a:lnTo>
                    <a:pt x="291" y="406"/>
                  </a:lnTo>
                  <a:lnTo>
                    <a:pt x="292" y="406"/>
                  </a:lnTo>
                  <a:lnTo>
                    <a:pt x="294" y="408"/>
                  </a:lnTo>
                  <a:lnTo>
                    <a:pt x="296" y="410"/>
                  </a:lnTo>
                  <a:lnTo>
                    <a:pt x="297" y="410"/>
                  </a:lnTo>
                  <a:lnTo>
                    <a:pt x="297" y="411"/>
                  </a:lnTo>
                  <a:lnTo>
                    <a:pt x="301" y="411"/>
                  </a:lnTo>
                  <a:lnTo>
                    <a:pt x="299" y="411"/>
                  </a:lnTo>
                  <a:lnTo>
                    <a:pt x="299" y="413"/>
                  </a:lnTo>
                  <a:lnTo>
                    <a:pt x="301" y="413"/>
                  </a:lnTo>
                  <a:lnTo>
                    <a:pt x="301" y="415"/>
                  </a:lnTo>
                  <a:lnTo>
                    <a:pt x="301" y="416"/>
                  </a:lnTo>
                  <a:lnTo>
                    <a:pt x="302" y="416"/>
                  </a:lnTo>
                  <a:lnTo>
                    <a:pt x="304" y="416"/>
                  </a:lnTo>
                  <a:lnTo>
                    <a:pt x="304" y="418"/>
                  </a:lnTo>
                  <a:lnTo>
                    <a:pt x="304" y="419"/>
                  </a:lnTo>
                  <a:lnTo>
                    <a:pt x="305" y="421"/>
                  </a:lnTo>
                  <a:lnTo>
                    <a:pt x="305" y="423"/>
                  </a:lnTo>
                  <a:lnTo>
                    <a:pt x="307" y="423"/>
                  </a:lnTo>
                  <a:lnTo>
                    <a:pt x="307" y="424"/>
                  </a:lnTo>
                  <a:lnTo>
                    <a:pt x="309" y="424"/>
                  </a:lnTo>
                  <a:lnTo>
                    <a:pt x="310" y="426"/>
                  </a:lnTo>
                  <a:lnTo>
                    <a:pt x="310" y="428"/>
                  </a:lnTo>
                  <a:lnTo>
                    <a:pt x="310" y="429"/>
                  </a:lnTo>
                  <a:lnTo>
                    <a:pt x="310" y="431"/>
                  </a:lnTo>
                  <a:lnTo>
                    <a:pt x="309" y="431"/>
                  </a:lnTo>
                  <a:lnTo>
                    <a:pt x="307" y="431"/>
                  </a:lnTo>
                  <a:lnTo>
                    <a:pt x="307" y="432"/>
                  </a:lnTo>
                  <a:lnTo>
                    <a:pt x="305" y="432"/>
                  </a:lnTo>
                  <a:lnTo>
                    <a:pt x="305" y="434"/>
                  </a:lnTo>
                  <a:lnTo>
                    <a:pt x="307" y="434"/>
                  </a:lnTo>
                  <a:lnTo>
                    <a:pt x="307" y="436"/>
                  </a:lnTo>
                  <a:lnTo>
                    <a:pt x="309" y="436"/>
                  </a:lnTo>
                  <a:lnTo>
                    <a:pt x="310" y="436"/>
                  </a:lnTo>
                  <a:lnTo>
                    <a:pt x="310" y="437"/>
                  </a:lnTo>
                  <a:lnTo>
                    <a:pt x="309" y="437"/>
                  </a:lnTo>
                  <a:lnTo>
                    <a:pt x="310" y="439"/>
                  </a:lnTo>
                  <a:lnTo>
                    <a:pt x="309" y="439"/>
                  </a:lnTo>
                  <a:lnTo>
                    <a:pt x="309" y="441"/>
                  </a:lnTo>
                  <a:lnTo>
                    <a:pt x="307" y="441"/>
                  </a:lnTo>
                  <a:lnTo>
                    <a:pt x="307" y="442"/>
                  </a:lnTo>
                  <a:lnTo>
                    <a:pt x="309" y="442"/>
                  </a:lnTo>
                  <a:lnTo>
                    <a:pt x="307" y="442"/>
                  </a:lnTo>
                  <a:lnTo>
                    <a:pt x="307" y="444"/>
                  </a:lnTo>
                  <a:lnTo>
                    <a:pt x="307" y="442"/>
                  </a:lnTo>
                  <a:lnTo>
                    <a:pt x="305" y="444"/>
                  </a:lnTo>
                  <a:lnTo>
                    <a:pt x="304" y="442"/>
                  </a:lnTo>
                  <a:lnTo>
                    <a:pt x="302" y="442"/>
                  </a:lnTo>
                  <a:lnTo>
                    <a:pt x="301" y="442"/>
                  </a:lnTo>
                  <a:lnTo>
                    <a:pt x="299" y="442"/>
                  </a:lnTo>
                  <a:lnTo>
                    <a:pt x="301" y="442"/>
                  </a:lnTo>
                  <a:lnTo>
                    <a:pt x="299" y="441"/>
                  </a:lnTo>
                  <a:lnTo>
                    <a:pt x="299" y="442"/>
                  </a:lnTo>
                  <a:lnTo>
                    <a:pt x="297" y="442"/>
                  </a:lnTo>
                  <a:lnTo>
                    <a:pt x="297" y="441"/>
                  </a:lnTo>
                  <a:lnTo>
                    <a:pt x="296" y="441"/>
                  </a:lnTo>
                  <a:lnTo>
                    <a:pt x="294" y="441"/>
                  </a:lnTo>
                  <a:lnTo>
                    <a:pt x="294" y="442"/>
                  </a:lnTo>
                  <a:lnTo>
                    <a:pt x="292" y="442"/>
                  </a:lnTo>
                  <a:lnTo>
                    <a:pt x="292" y="441"/>
                  </a:lnTo>
                  <a:lnTo>
                    <a:pt x="291" y="441"/>
                  </a:lnTo>
                  <a:lnTo>
                    <a:pt x="291" y="442"/>
                  </a:lnTo>
                  <a:lnTo>
                    <a:pt x="289" y="442"/>
                  </a:lnTo>
                  <a:lnTo>
                    <a:pt x="289" y="441"/>
                  </a:lnTo>
                  <a:lnTo>
                    <a:pt x="288" y="441"/>
                  </a:lnTo>
                  <a:lnTo>
                    <a:pt x="288" y="442"/>
                  </a:lnTo>
                  <a:lnTo>
                    <a:pt x="286" y="442"/>
                  </a:lnTo>
                  <a:lnTo>
                    <a:pt x="284" y="442"/>
                  </a:lnTo>
                  <a:lnTo>
                    <a:pt x="284" y="444"/>
                  </a:lnTo>
                  <a:lnTo>
                    <a:pt x="283" y="445"/>
                  </a:lnTo>
                  <a:lnTo>
                    <a:pt x="281" y="445"/>
                  </a:lnTo>
                  <a:lnTo>
                    <a:pt x="278" y="449"/>
                  </a:lnTo>
                  <a:lnTo>
                    <a:pt x="279" y="449"/>
                  </a:lnTo>
                  <a:lnTo>
                    <a:pt x="279" y="450"/>
                  </a:lnTo>
                  <a:lnTo>
                    <a:pt x="281" y="450"/>
                  </a:lnTo>
                  <a:lnTo>
                    <a:pt x="283" y="450"/>
                  </a:lnTo>
                  <a:lnTo>
                    <a:pt x="281" y="452"/>
                  </a:lnTo>
                  <a:lnTo>
                    <a:pt x="281" y="450"/>
                  </a:lnTo>
                  <a:lnTo>
                    <a:pt x="279" y="450"/>
                  </a:lnTo>
                  <a:lnTo>
                    <a:pt x="278" y="450"/>
                  </a:lnTo>
                  <a:lnTo>
                    <a:pt x="276" y="449"/>
                  </a:lnTo>
                  <a:lnTo>
                    <a:pt x="275" y="447"/>
                  </a:lnTo>
                  <a:lnTo>
                    <a:pt x="271" y="445"/>
                  </a:lnTo>
                  <a:lnTo>
                    <a:pt x="271" y="444"/>
                  </a:lnTo>
                  <a:lnTo>
                    <a:pt x="270" y="444"/>
                  </a:lnTo>
                  <a:lnTo>
                    <a:pt x="268" y="444"/>
                  </a:lnTo>
                  <a:lnTo>
                    <a:pt x="268" y="442"/>
                  </a:lnTo>
                  <a:lnTo>
                    <a:pt x="266" y="442"/>
                  </a:lnTo>
                  <a:lnTo>
                    <a:pt x="265" y="441"/>
                  </a:lnTo>
                  <a:lnTo>
                    <a:pt x="263" y="439"/>
                  </a:lnTo>
                  <a:lnTo>
                    <a:pt x="262" y="437"/>
                  </a:lnTo>
                  <a:lnTo>
                    <a:pt x="262" y="436"/>
                  </a:lnTo>
                  <a:lnTo>
                    <a:pt x="260" y="436"/>
                  </a:lnTo>
                  <a:lnTo>
                    <a:pt x="258" y="436"/>
                  </a:lnTo>
                  <a:lnTo>
                    <a:pt x="255" y="434"/>
                  </a:lnTo>
                  <a:lnTo>
                    <a:pt x="253" y="434"/>
                  </a:lnTo>
                  <a:lnTo>
                    <a:pt x="252" y="432"/>
                  </a:lnTo>
                  <a:lnTo>
                    <a:pt x="250" y="432"/>
                  </a:lnTo>
                  <a:lnTo>
                    <a:pt x="249" y="431"/>
                  </a:lnTo>
                  <a:lnTo>
                    <a:pt x="244" y="431"/>
                  </a:lnTo>
                  <a:lnTo>
                    <a:pt x="242" y="429"/>
                  </a:lnTo>
                  <a:lnTo>
                    <a:pt x="239" y="428"/>
                  </a:lnTo>
                  <a:lnTo>
                    <a:pt x="237" y="424"/>
                  </a:lnTo>
                  <a:lnTo>
                    <a:pt x="236" y="423"/>
                  </a:lnTo>
                  <a:lnTo>
                    <a:pt x="236" y="421"/>
                  </a:lnTo>
                  <a:lnTo>
                    <a:pt x="236" y="423"/>
                  </a:lnTo>
                  <a:lnTo>
                    <a:pt x="237" y="423"/>
                  </a:lnTo>
                  <a:lnTo>
                    <a:pt x="239" y="423"/>
                  </a:lnTo>
                  <a:lnTo>
                    <a:pt x="240" y="421"/>
                  </a:lnTo>
                  <a:lnTo>
                    <a:pt x="239" y="421"/>
                  </a:lnTo>
                  <a:lnTo>
                    <a:pt x="239" y="419"/>
                  </a:lnTo>
                  <a:lnTo>
                    <a:pt x="237" y="419"/>
                  </a:lnTo>
                  <a:lnTo>
                    <a:pt x="239" y="419"/>
                  </a:lnTo>
                  <a:lnTo>
                    <a:pt x="240" y="419"/>
                  </a:lnTo>
                  <a:lnTo>
                    <a:pt x="240" y="421"/>
                  </a:lnTo>
                  <a:lnTo>
                    <a:pt x="242" y="421"/>
                  </a:lnTo>
                  <a:lnTo>
                    <a:pt x="242" y="423"/>
                  </a:lnTo>
                  <a:lnTo>
                    <a:pt x="244" y="423"/>
                  </a:lnTo>
                  <a:lnTo>
                    <a:pt x="245" y="421"/>
                  </a:lnTo>
                  <a:lnTo>
                    <a:pt x="244" y="421"/>
                  </a:lnTo>
                  <a:lnTo>
                    <a:pt x="244" y="419"/>
                  </a:lnTo>
                  <a:lnTo>
                    <a:pt x="245" y="419"/>
                  </a:lnTo>
                  <a:lnTo>
                    <a:pt x="245" y="421"/>
                  </a:lnTo>
                  <a:lnTo>
                    <a:pt x="247" y="421"/>
                  </a:lnTo>
                  <a:lnTo>
                    <a:pt x="247" y="419"/>
                  </a:lnTo>
                  <a:lnTo>
                    <a:pt x="249" y="419"/>
                  </a:lnTo>
                  <a:lnTo>
                    <a:pt x="247" y="418"/>
                  </a:lnTo>
                  <a:lnTo>
                    <a:pt x="249" y="418"/>
                  </a:lnTo>
                  <a:lnTo>
                    <a:pt x="247" y="418"/>
                  </a:lnTo>
                  <a:lnTo>
                    <a:pt x="245" y="418"/>
                  </a:lnTo>
                  <a:lnTo>
                    <a:pt x="245" y="416"/>
                  </a:lnTo>
                  <a:lnTo>
                    <a:pt x="244" y="416"/>
                  </a:lnTo>
                  <a:lnTo>
                    <a:pt x="244" y="415"/>
                  </a:lnTo>
                  <a:lnTo>
                    <a:pt x="244" y="413"/>
                  </a:lnTo>
                  <a:lnTo>
                    <a:pt x="242" y="413"/>
                  </a:lnTo>
                  <a:lnTo>
                    <a:pt x="242" y="411"/>
                  </a:lnTo>
                  <a:lnTo>
                    <a:pt x="242" y="413"/>
                  </a:lnTo>
                  <a:lnTo>
                    <a:pt x="240" y="413"/>
                  </a:lnTo>
                  <a:lnTo>
                    <a:pt x="240" y="411"/>
                  </a:lnTo>
                  <a:lnTo>
                    <a:pt x="240" y="410"/>
                  </a:lnTo>
                  <a:lnTo>
                    <a:pt x="240" y="406"/>
                  </a:lnTo>
                  <a:lnTo>
                    <a:pt x="242" y="405"/>
                  </a:lnTo>
                  <a:lnTo>
                    <a:pt x="244" y="403"/>
                  </a:lnTo>
                  <a:lnTo>
                    <a:pt x="245" y="402"/>
                  </a:lnTo>
                  <a:lnTo>
                    <a:pt x="247" y="402"/>
                  </a:lnTo>
                  <a:lnTo>
                    <a:pt x="249" y="403"/>
                  </a:lnTo>
                  <a:lnTo>
                    <a:pt x="247" y="402"/>
                  </a:lnTo>
                  <a:lnTo>
                    <a:pt x="249" y="402"/>
                  </a:lnTo>
                  <a:lnTo>
                    <a:pt x="249" y="400"/>
                  </a:lnTo>
                  <a:lnTo>
                    <a:pt x="250" y="400"/>
                  </a:lnTo>
                  <a:lnTo>
                    <a:pt x="250" y="402"/>
                  </a:lnTo>
                  <a:lnTo>
                    <a:pt x="252" y="400"/>
                  </a:lnTo>
                  <a:lnTo>
                    <a:pt x="253" y="400"/>
                  </a:lnTo>
                  <a:lnTo>
                    <a:pt x="253" y="398"/>
                  </a:lnTo>
                  <a:lnTo>
                    <a:pt x="258" y="400"/>
                  </a:lnTo>
                  <a:lnTo>
                    <a:pt x="260" y="400"/>
                  </a:lnTo>
                  <a:close/>
                  <a:moveTo>
                    <a:pt x="561" y="349"/>
                  </a:moveTo>
                  <a:lnTo>
                    <a:pt x="562" y="349"/>
                  </a:lnTo>
                  <a:lnTo>
                    <a:pt x="564" y="349"/>
                  </a:lnTo>
                  <a:lnTo>
                    <a:pt x="566" y="353"/>
                  </a:lnTo>
                  <a:lnTo>
                    <a:pt x="567" y="353"/>
                  </a:lnTo>
                  <a:lnTo>
                    <a:pt x="567" y="354"/>
                  </a:lnTo>
                  <a:lnTo>
                    <a:pt x="569" y="354"/>
                  </a:lnTo>
                  <a:lnTo>
                    <a:pt x="569" y="356"/>
                  </a:lnTo>
                  <a:lnTo>
                    <a:pt x="571" y="356"/>
                  </a:lnTo>
                  <a:lnTo>
                    <a:pt x="572" y="356"/>
                  </a:lnTo>
                  <a:lnTo>
                    <a:pt x="572" y="358"/>
                  </a:lnTo>
                  <a:lnTo>
                    <a:pt x="574" y="358"/>
                  </a:lnTo>
                  <a:lnTo>
                    <a:pt x="575" y="359"/>
                  </a:lnTo>
                  <a:lnTo>
                    <a:pt x="577" y="359"/>
                  </a:lnTo>
                  <a:lnTo>
                    <a:pt x="579" y="359"/>
                  </a:lnTo>
                  <a:lnTo>
                    <a:pt x="579" y="361"/>
                  </a:lnTo>
                  <a:lnTo>
                    <a:pt x="579" y="363"/>
                  </a:lnTo>
                  <a:lnTo>
                    <a:pt x="579" y="364"/>
                  </a:lnTo>
                  <a:lnTo>
                    <a:pt x="579" y="366"/>
                  </a:lnTo>
                  <a:lnTo>
                    <a:pt x="580" y="366"/>
                  </a:lnTo>
                  <a:lnTo>
                    <a:pt x="580" y="367"/>
                  </a:lnTo>
                  <a:lnTo>
                    <a:pt x="580" y="369"/>
                  </a:lnTo>
                  <a:lnTo>
                    <a:pt x="579" y="369"/>
                  </a:lnTo>
                  <a:lnTo>
                    <a:pt x="579" y="371"/>
                  </a:lnTo>
                  <a:lnTo>
                    <a:pt x="577" y="372"/>
                  </a:lnTo>
                  <a:lnTo>
                    <a:pt x="577" y="374"/>
                  </a:lnTo>
                  <a:lnTo>
                    <a:pt x="577" y="376"/>
                  </a:lnTo>
                  <a:lnTo>
                    <a:pt x="577" y="377"/>
                  </a:lnTo>
                  <a:lnTo>
                    <a:pt x="577" y="379"/>
                  </a:lnTo>
                  <a:lnTo>
                    <a:pt x="575" y="379"/>
                  </a:lnTo>
                  <a:lnTo>
                    <a:pt x="575" y="380"/>
                  </a:lnTo>
                  <a:lnTo>
                    <a:pt x="574" y="382"/>
                  </a:lnTo>
                  <a:lnTo>
                    <a:pt x="571" y="380"/>
                  </a:lnTo>
                  <a:lnTo>
                    <a:pt x="569" y="380"/>
                  </a:lnTo>
                  <a:lnTo>
                    <a:pt x="567" y="380"/>
                  </a:lnTo>
                  <a:lnTo>
                    <a:pt x="566" y="380"/>
                  </a:lnTo>
                  <a:lnTo>
                    <a:pt x="564" y="380"/>
                  </a:lnTo>
                  <a:lnTo>
                    <a:pt x="562" y="379"/>
                  </a:lnTo>
                  <a:lnTo>
                    <a:pt x="561" y="379"/>
                  </a:lnTo>
                  <a:lnTo>
                    <a:pt x="561" y="377"/>
                  </a:lnTo>
                  <a:lnTo>
                    <a:pt x="559" y="377"/>
                  </a:lnTo>
                  <a:lnTo>
                    <a:pt x="558" y="376"/>
                  </a:lnTo>
                  <a:lnTo>
                    <a:pt x="556" y="376"/>
                  </a:lnTo>
                  <a:lnTo>
                    <a:pt x="554" y="376"/>
                  </a:lnTo>
                  <a:lnTo>
                    <a:pt x="553" y="374"/>
                  </a:lnTo>
                  <a:lnTo>
                    <a:pt x="551" y="374"/>
                  </a:lnTo>
                  <a:lnTo>
                    <a:pt x="549" y="374"/>
                  </a:lnTo>
                  <a:lnTo>
                    <a:pt x="548" y="374"/>
                  </a:lnTo>
                  <a:lnTo>
                    <a:pt x="548" y="372"/>
                  </a:lnTo>
                  <a:lnTo>
                    <a:pt x="546" y="372"/>
                  </a:lnTo>
                  <a:lnTo>
                    <a:pt x="545" y="371"/>
                  </a:lnTo>
                  <a:lnTo>
                    <a:pt x="543" y="371"/>
                  </a:lnTo>
                  <a:lnTo>
                    <a:pt x="543" y="369"/>
                  </a:lnTo>
                  <a:lnTo>
                    <a:pt x="541" y="369"/>
                  </a:lnTo>
                  <a:lnTo>
                    <a:pt x="541" y="367"/>
                  </a:lnTo>
                  <a:lnTo>
                    <a:pt x="541" y="369"/>
                  </a:lnTo>
                  <a:lnTo>
                    <a:pt x="541" y="367"/>
                  </a:lnTo>
                  <a:lnTo>
                    <a:pt x="543" y="366"/>
                  </a:lnTo>
                  <a:lnTo>
                    <a:pt x="541" y="364"/>
                  </a:lnTo>
                  <a:lnTo>
                    <a:pt x="543" y="363"/>
                  </a:lnTo>
                  <a:lnTo>
                    <a:pt x="541" y="359"/>
                  </a:lnTo>
                  <a:lnTo>
                    <a:pt x="543" y="358"/>
                  </a:lnTo>
                  <a:lnTo>
                    <a:pt x="541" y="358"/>
                  </a:lnTo>
                  <a:lnTo>
                    <a:pt x="541" y="356"/>
                  </a:lnTo>
                  <a:lnTo>
                    <a:pt x="541" y="354"/>
                  </a:lnTo>
                  <a:lnTo>
                    <a:pt x="541" y="353"/>
                  </a:lnTo>
                  <a:lnTo>
                    <a:pt x="541" y="351"/>
                  </a:lnTo>
                  <a:lnTo>
                    <a:pt x="541" y="349"/>
                  </a:lnTo>
                  <a:lnTo>
                    <a:pt x="543" y="348"/>
                  </a:lnTo>
                  <a:lnTo>
                    <a:pt x="543" y="346"/>
                  </a:lnTo>
                  <a:lnTo>
                    <a:pt x="545" y="345"/>
                  </a:lnTo>
                  <a:lnTo>
                    <a:pt x="545" y="343"/>
                  </a:lnTo>
                  <a:lnTo>
                    <a:pt x="545" y="341"/>
                  </a:lnTo>
                  <a:lnTo>
                    <a:pt x="545" y="340"/>
                  </a:lnTo>
                  <a:lnTo>
                    <a:pt x="546" y="340"/>
                  </a:lnTo>
                  <a:lnTo>
                    <a:pt x="546" y="338"/>
                  </a:lnTo>
                  <a:lnTo>
                    <a:pt x="546" y="340"/>
                  </a:lnTo>
                  <a:lnTo>
                    <a:pt x="548" y="340"/>
                  </a:lnTo>
                  <a:lnTo>
                    <a:pt x="549" y="341"/>
                  </a:lnTo>
                  <a:lnTo>
                    <a:pt x="549" y="343"/>
                  </a:lnTo>
                  <a:lnTo>
                    <a:pt x="551" y="343"/>
                  </a:lnTo>
                  <a:lnTo>
                    <a:pt x="551" y="345"/>
                  </a:lnTo>
                  <a:lnTo>
                    <a:pt x="553" y="346"/>
                  </a:lnTo>
                  <a:lnTo>
                    <a:pt x="554" y="346"/>
                  </a:lnTo>
                  <a:lnTo>
                    <a:pt x="556" y="346"/>
                  </a:lnTo>
                  <a:lnTo>
                    <a:pt x="556" y="348"/>
                  </a:lnTo>
                  <a:lnTo>
                    <a:pt x="559" y="349"/>
                  </a:lnTo>
                  <a:lnTo>
                    <a:pt x="561" y="349"/>
                  </a:lnTo>
                  <a:close/>
                  <a:moveTo>
                    <a:pt x="309" y="398"/>
                  </a:moveTo>
                  <a:lnTo>
                    <a:pt x="310" y="400"/>
                  </a:lnTo>
                  <a:lnTo>
                    <a:pt x="310" y="402"/>
                  </a:lnTo>
                  <a:lnTo>
                    <a:pt x="312" y="402"/>
                  </a:lnTo>
                  <a:lnTo>
                    <a:pt x="312" y="403"/>
                  </a:lnTo>
                  <a:lnTo>
                    <a:pt x="314" y="403"/>
                  </a:lnTo>
                  <a:lnTo>
                    <a:pt x="314" y="405"/>
                  </a:lnTo>
                  <a:lnTo>
                    <a:pt x="315" y="403"/>
                  </a:lnTo>
                  <a:lnTo>
                    <a:pt x="314" y="403"/>
                  </a:lnTo>
                  <a:lnTo>
                    <a:pt x="315" y="403"/>
                  </a:lnTo>
                  <a:lnTo>
                    <a:pt x="315" y="402"/>
                  </a:lnTo>
                  <a:lnTo>
                    <a:pt x="317" y="402"/>
                  </a:lnTo>
                  <a:lnTo>
                    <a:pt x="318" y="400"/>
                  </a:lnTo>
                  <a:lnTo>
                    <a:pt x="318" y="402"/>
                  </a:lnTo>
                  <a:lnTo>
                    <a:pt x="320" y="402"/>
                  </a:lnTo>
                  <a:lnTo>
                    <a:pt x="318" y="402"/>
                  </a:lnTo>
                  <a:lnTo>
                    <a:pt x="318" y="403"/>
                  </a:lnTo>
                  <a:lnTo>
                    <a:pt x="320" y="403"/>
                  </a:lnTo>
                  <a:lnTo>
                    <a:pt x="320" y="405"/>
                  </a:lnTo>
                  <a:lnTo>
                    <a:pt x="320" y="406"/>
                  </a:lnTo>
                  <a:lnTo>
                    <a:pt x="322" y="406"/>
                  </a:lnTo>
                  <a:lnTo>
                    <a:pt x="323" y="408"/>
                  </a:lnTo>
                  <a:lnTo>
                    <a:pt x="325" y="408"/>
                  </a:lnTo>
                  <a:lnTo>
                    <a:pt x="325" y="406"/>
                  </a:lnTo>
                  <a:lnTo>
                    <a:pt x="325" y="408"/>
                  </a:lnTo>
                  <a:lnTo>
                    <a:pt x="327" y="408"/>
                  </a:lnTo>
                  <a:lnTo>
                    <a:pt x="328" y="406"/>
                  </a:lnTo>
                  <a:lnTo>
                    <a:pt x="330" y="408"/>
                  </a:lnTo>
                  <a:lnTo>
                    <a:pt x="331" y="408"/>
                  </a:lnTo>
                  <a:lnTo>
                    <a:pt x="331" y="410"/>
                  </a:lnTo>
                  <a:lnTo>
                    <a:pt x="331" y="411"/>
                  </a:lnTo>
                  <a:lnTo>
                    <a:pt x="333" y="411"/>
                  </a:lnTo>
                  <a:lnTo>
                    <a:pt x="333" y="413"/>
                  </a:lnTo>
                  <a:lnTo>
                    <a:pt x="335" y="413"/>
                  </a:lnTo>
                  <a:lnTo>
                    <a:pt x="335" y="415"/>
                  </a:lnTo>
                  <a:lnTo>
                    <a:pt x="335" y="416"/>
                  </a:lnTo>
                  <a:lnTo>
                    <a:pt x="333" y="416"/>
                  </a:lnTo>
                  <a:lnTo>
                    <a:pt x="333" y="418"/>
                  </a:lnTo>
                  <a:lnTo>
                    <a:pt x="331" y="418"/>
                  </a:lnTo>
                  <a:lnTo>
                    <a:pt x="331" y="419"/>
                  </a:lnTo>
                  <a:lnTo>
                    <a:pt x="331" y="421"/>
                  </a:lnTo>
                  <a:lnTo>
                    <a:pt x="330" y="421"/>
                  </a:lnTo>
                  <a:lnTo>
                    <a:pt x="328" y="421"/>
                  </a:lnTo>
                  <a:lnTo>
                    <a:pt x="328" y="423"/>
                  </a:lnTo>
                  <a:lnTo>
                    <a:pt x="327" y="424"/>
                  </a:lnTo>
                  <a:lnTo>
                    <a:pt x="327" y="426"/>
                  </a:lnTo>
                  <a:lnTo>
                    <a:pt x="325" y="426"/>
                  </a:lnTo>
                  <a:lnTo>
                    <a:pt x="325" y="428"/>
                  </a:lnTo>
                  <a:lnTo>
                    <a:pt x="323" y="431"/>
                  </a:lnTo>
                  <a:lnTo>
                    <a:pt x="323" y="432"/>
                  </a:lnTo>
                  <a:lnTo>
                    <a:pt x="322" y="432"/>
                  </a:lnTo>
                  <a:lnTo>
                    <a:pt x="320" y="434"/>
                  </a:lnTo>
                  <a:lnTo>
                    <a:pt x="320" y="436"/>
                  </a:lnTo>
                  <a:lnTo>
                    <a:pt x="318" y="439"/>
                  </a:lnTo>
                  <a:lnTo>
                    <a:pt x="318" y="442"/>
                  </a:lnTo>
                  <a:lnTo>
                    <a:pt x="318" y="445"/>
                  </a:lnTo>
                  <a:lnTo>
                    <a:pt x="320" y="454"/>
                  </a:lnTo>
                  <a:lnTo>
                    <a:pt x="320" y="455"/>
                  </a:lnTo>
                  <a:lnTo>
                    <a:pt x="318" y="455"/>
                  </a:lnTo>
                  <a:lnTo>
                    <a:pt x="317" y="454"/>
                  </a:lnTo>
                  <a:lnTo>
                    <a:pt x="315" y="454"/>
                  </a:lnTo>
                  <a:lnTo>
                    <a:pt x="315" y="452"/>
                  </a:lnTo>
                  <a:lnTo>
                    <a:pt x="315" y="449"/>
                  </a:lnTo>
                  <a:lnTo>
                    <a:pt x="314" y="447"/>
                  </a:lnTo>
                  <a:lnTo>
                    <a:pt x="314" y="445"/>
                  </a:lnTo>
                  <a:lnTo>
                    <a:pt x="312" y="444"/>
                  </a:lnTo>
                  <a:lnTo>
                    <a:pt x="310" y="442"/>
                  </a:lnTo>
                  <a:lnTo>
                    <a:pt x="310" y="441"/>
                  </a:lnTo>
                  <a:lnTo>
                    <a:pt x="312" y="441"/>
                  </a:lnTo>
                  <a:lnTo>
                    <a:pt x="312" y="439"/>
                  </a:lnTo>
                  <a:lnTo>
                    <a:pt x="312" y="437"/>
                  </a:lnTo>
                  <a:lnTo>
                    <a:pt x="312" y="436"/>
                  </a:lnTo>
                  <a:lnTo>
                    <a:pt x="314" y="436"/>
                  </a:lnTo>
                  <a:lnTo>
                    <a:pt x="314" y="434"/>
                  </a:lnTo>
                  <a:lnTo>
                    <a:pt x="315" y="432"/>
                  </a:lnTo>
                  <a:lnTo>
                    <a:pt x="314" y="432"/>
                  </a:lnTo>
                  <a:lnTo>
                    <a:pt x="310" y="431"/>
                  </a:lnTo>
                  <a:lnTo>
                    <a:pt x="312" y="431"/>
                  </a:lnTo>
                  <a:lnTo>
                    <a:pt x="312" y="429"/>
                  </a:lnTo>
                  <a:lnTo>
                    <a:pt x="310" y="426"/>
                  </a:lnTo>
                  <a:lnTo>
                    <a:pt x="310" y="424"/>
                  </a:lnTo>
                  <a:lnTo>
                    <a:pt x="309" y="424"/>
                  </a:lnTo>
                  <a:lnTo>
                    <a:pt x="309" y="423"/>
                  </a:lnTo>
                  <a:lnTo>
                    <a:pt x="307" y="421"/>
                  </a:lnTo>
                  <a:lnTo>
                    <a:pt x="305" y="421"/>
                  </a:lnTo>
                  <a:lnTo>
                    <a:pt x="304" y="419"/>
                  </a:lnTo>
                  <a:lnTo>
                    <a:pt x="305" y="419"/>
                  </a:lnTo>
                  <a:lnTo>
                    <a:pt x="305" y="418"/>
                  </a:lnTo>
                  <a:lnTo>
                    <a:pt x="305" y="416"/>
                  </a:lnTo>
                  <a:lnTo>
                    <a:pt x="305" y="415"/>
                  </a:lnTo>
                  <a:lnTo>
                    <a:pt x="304" y="415"/>
                  </a:lnTo>
                  <a:lnTo>
                    <a:pt x="304" y="413"/>
                  </a:lnTo>
                  <a:lnTo>
                    <a:pt x="302" y="413"/>
                  </a:lnTo>
                  <a:lnTo>
                    <a:pt x="301" y="413"/>
                  </a:lnTo>
                  <a:lnTo>
                    <a:pt x="301" y="411"/>
                  </a:lnTo>
                  <a:lnTo>
                    <a:pt x="301" y="410"/>
                  </a:lnTo>
                  <a:lnTo>
                    <a:pt x="301" y="408"/>
                  </a:lnTo>
                  <a:lnTo>
                    <a:pt x="299" y="408"/>
                  </a:lnTo>
                  <a:lnTo>
                    <a:pt x="301" y="406"/>
                  </a:lnTo>
                  <a:lnTo>
                    <a:pt x="301" y="405"/>
                  </a:lnTo>
                  <a:lnTo>
                    <a:pt x="301" y="403"/>
                  </a:lnTo>
                  <a:lnTo>
                    <a:pt x="299" y="403"/>
                  </a:lnTo>
                  <a:lnTo>
                    <a:pt x="297" y="403"/>
                  </a:lnTo>
                  <a:lnTo>
                    <a:pt x="297" y="402"/>
                  </a:lnTo>
                  <a:lnTo>
                    <a:pt x="297" y="400"/>
                  </a:lnTo>
                  <a:lnTo>
                    <a:pt x="299" y="400"/>
                  </a:lnTo>
                  <a:lnTo>
                    <a:pt x="299" y="402"/>
                  </a:lnTo>
                  <a:lnTo>
                    <a:pt x="299" y="400"/>
                  </a:lnTo>
                  <a:lnTo>
                    <a:pt x="299" y="398"/>
                  </a:lnTo>
                  <a:lnTo>
                    <a:pt x="301" y="398"/>
                  </a:lnTo>
                  <a:lnTo>
                    <a:pt x="302" y="398"/>
                  </a:lnTo>
                  <a:lnTo>
                    <a:pt x="304" y="400"/>
                  </a:lnTo>
                  <a:lnTo>
                    <a:pt x="304" y="402"/>
                  </a:lnTo>
                  <a:lnTo>
                    <a:pt x="305" y="402"/>
                  </a:lnTo>
                  <a:lnTo>
                    <a:pt x="305" y="400"/>
                  </a:lnTo>
                  <a:lnTo>
                    <a:pt x="307" y="400"/>
                  </a:lnTo>
                  <a:lnTo>
                    <a:pt x="307" y="398"/>
                  </a:lnTo>
                  <a:lnTo>
                    <a:pt x="305" y="398"/>
                  </a:lnTo>
                  <a:lnTo>
                    <a:pt x="305" y="397"/>
                  </a:lnTo>
                  <a:lnTo>
                    <a:pt x="307" y="397"/>
                  </a:lnTo>
                  <a:lnTo>
                    <a:pt x="307" y="398"/>
                  </a:lnTo>
                  <a:lnTo>
                    <a:pt x="309" y="398"/>
                  </a:lnTo>
                  <a:close/>
                  <a:moveTo>
                    <a:pt x="70" y="114"/>
                  </a:moveTo>
                  <a:lnTo>
                    <a:pt x="70" y="115"/>
                  </a:lnTo>
                  <a:lnTo>
                    <a:pt x="70" y="117"/>
                  </a:lnTo>
                  <a:lnTo>
                    <a:pt x="71" y="119"/>
                  </a:lnTo>
                  <a:lnTo>
                    <a:pt x="70" y="120"/>
                  </a:lnTo>
                  <a:lnTo>
                    <a:pt x="70" y="122"/>
                  </a:lnTo>
                  <a:lnTo>
                    <a:pt x="70" y="123"/>
                  </a:lnTo>
                  <a:lnTo>
                    <a:pt x="70" y="125"/>
                  </a:lnTo>
                  <a:lnTo>
                    <a:pt x="68" y="125"/>
                  </a:lnTo>
                  <a:lnTo>
                    <a:pt x="68" y="127"/>
                  </a:lnTo>
                  <a:lnTo>
                    <a:pt x="68" y="125"/>
                  </a:lnTo>
                  <a:lnTo>
                    <a:pt x="68" y="123"/>
                  </a:lnTo>
                  <a:lnTo>
                    <a:pt x="66" y="123"/>
                  </a:lnTo>
                  <a:lnTo>
                    <a:pt x="66" y="125"/>
                  </a:lnTo>
                  <a:lnTo>
                    <a:pt x="66" y="123"/>
                  </a:lnTo>
                  <a:lnTo>
                    <a:pt x="65" y="123"/>
                  </a:lnTo>
                  <a:lnTo>
                    <a:pt x="65" y="125"/>
                  </a:lnTo>
                  <a:lnTo>
                    <a:pt x="63" y="125"/>
                  </a:lnTo>
                  <a:lnTo>
                    <a:pt x="63" y="127"/>
                  </a:lnTo>
                  <a:lnTo>
                    <a:pt x="65" y="128"/>
                  </a:lnTo>
                  <a:lnTo>
                    <a:pt x="65" y="130"/>
                  </a:lnTo>
                  <a:lnTo>
                    <a:pt x="65" y="132"/>
                  </a:lnTo>
                  <a:lnTo>
                    <a:pt x="65" y="133"/>
                  </a:lnTo>
                  <a:lnTo>
                    <a:pt x="66" y="135"/>
                  </a:lnTo>
                  <a:lnTo>
                    <a:pt x="68" y="135"/>
                  </a:lnTo>
                  <a:lnTo>
                    <a:pt x="68" y="136"/>
                  </a:lnTo>
                  <a:lnTo>
                    <a:pt x="68" y="138"/>
                  </a:lnTo>
                  <a:lnTo>
                    <a:pt x="66" y="138"/>
                  </a:lnTo>
                  <a:lnTo>
                    <a:pt x="66" y="136"/>
                  </a:lnTo>
                  <a:lnTo>
                    <a:pt x="65" y="136"/>
                  </a:lnTo>
                  <a:lnTo>
                    <a:pt x="65" y="138"/>
                  </a:lnTo>
                  <a:lnTo>
                    <a:pt x="66" y="138"/>
                  </a:lnTo>
                  <a:lnTo>
                    <a:pt x="65" y="138"/>
                  </a:lnTo>
                  <a:lnTo>
                    <a:pt x="65" y="140"/>
                  </a:lnTo>
                  <a:lnTo>
                    <a:pt x="63" y="141"/>
                  </a:lnTo>
                  <a:lnTo>
                    <a:pt x="65" y="141"/>
                  </a:lnTo>
                  <a:lnTo>
                    <a:pt x="65" y="143"/>
                  </a:lnTo>
                  <a:lnTo>
                    <a:pt x="63" y="143"/>
                  </a:lnTo>
                  <a:lnTo>
                    <a:pt x="63" y="145"/>
                  </a:lnTo>
                  <a:lnTo>
                    <a:pt x="61" y="145"/>
                  </a:lnTo>
                  <a:lnTo>
                    <a:pt x="61" y="146"/>
                  </a:lnTo>
                  <a:lnTo>
                    <a:pt x="60" y="146"/>
                  </a:lnTo>
                  <a:lnTo>
                    <a:pt x="60" y="148"/>
                  </a:lnTo>
                  <a:lnTo>
                    <a:pt x="58" y="148"/>
                  </a:lnTo>
                  <a:lnTo>
                    <a:pt x="58" y="149"/>
                  </a:lnTo>
                  <a:lnTo>
                    <a:pt x="58" y="151"/>
                  </a:lnTo>
                  <a:lnTo>
                    <a:pt x="55" y="153"/>
                  </a:lnTo>
                  <a:lnTo>
                    <a:pt x="53" y="153"/>
                  </a:lnTo>
                  <a:lnTo>
                    <a:pt x="52" y="153"/>
                  </a:lnTo>
                  <a:lnTo>
                    <a:pt x="48" y="154"/>
                  </a:lnTo>
                  <a:lnTo>
                    <a:pt x="48" y="153"/>
                  </a:lnTo>
                  <a:lnTo>
                    <a:pt x="47" y="153"/>
                  </a:lnTo>
                  <a:lnTo>
                    <a:pt x="47" y="151"/>
                  </a:lnTo>
                  <a:lnTo>
                    <a:pt x="48" y="151"/>
                  </a:lnTo>
                  <a:lnTo>
                    <a:pt x="47" y="149"/>
                  </a:lnTo>
                  <a:lnTo>
                    <a:pt x="45" y="148"/>
                  </a:lnTo>
                  <a:lnTo>
                    <a:pt x="47" y="148"/>
                  </a:lnTo>
                  <a:lnTo>
                    <a:pt x="47" y="146"/>
                  </a:lnTo>
                  <a:lnTo>
                    <a:pt x="47" y="148"/>
                  </a:lnTo>
                  <a:lnTo>
                    <a:pt x="48" y="148"/>
                  </a:lnTo>
                  <a:lnTo>
                    <a:pt x="50" y="148"/>
                  </a:lnTo>
                  <a:lnTo>
                    <a:pt x="48" y="148"/>
                  </a:lnTo>
                  <a:lnTo>
                    <a:pt x="47" y="146"/>
                  </a:lnTo>
                  <a:lnTo>
                    <a:pt x="45" y="146"/>
                  </a:lnTo>
                  <a:lnTo>
                    <a:pt x="45" y="148"/>
                  </a:lnTo>
                  <a:lnTo>
                    <a:pt x="45" y="146"/>
                  </a:lnTo>
                  <a:lnTo>
                    <a:pt x="45" y="145"/>
                  </a:lnTo>
                  <a:lnTo>
                    <a:pt x="44" y="145"/>
                  </a:lnTo>
                  <a:lnTo>
                    <a:pt x="44" y="146"/>
                  </a:lnTo>
                  <a:lnTo>
                    <a:pt x="42" y="145"/>
                  </a:lnTo>
                  <a:lnTo>
                    <a:pt x="40" y="143"/>
                  </a:lnTo>
                  <a:lnTo>
                    <a:pt x="40" y="145"/>
                  </a:lnTo>
                  <a:lnTo>
                    <a:pt x="39" y="146"/>
                  </a:lnTo>
                  <a:lnTo>
                    <a:pt x="37" y="146"/>
                  </a:lnTo>
                  <a:lnTo>
                    <a:pt x="37" y="145"/>
                  </a:lnTo>
                  <a:lnTo>
                    <a:pt x="37" y="143"/>
                  </a:lnTo>
                  <a:lnTo>
                    <a:pt x="39" y="143"/>
                  </a:lnTo>
                  <a:lnTo>
                    <a:pt x="40" y="141"/>
                  </a:lnTo>
                  <a:lnTo>
                    <a:pt x="42" y="141"/>
                  </a:lnTo>
                  <a:lnTo>
                    <a:pt x="42" y="140"/>
                  </a:lnTo>
                  <a:lnTo>
                    <a:pt x="42" y="138"/>
                  </a:lnTo>
                  <a:lnTo>
                    <a:pt x="40" y="136"/>
                  </a:lnTo>
                  <a:lnTo>
                    <a:pt x="42" y="136"/>
                  </a:lnTo>
                  <a:lnTo>
                    <a:pt x="44" y="136"/>
                  </a:lnTo>
                  <a:lnTo>
                    <a:pt x="44" y="135"/>
                  </a:lnTo>
                  <a:lnTo>
                    <a:pt x="45" y="136"/>
                  </a:lnTo>
                  <a:lnTo>
                    <a:pt x="47" y="136"/>
                  </a:lnTo>
                  <a:lnTo>
                    <a:pt x="48" y="136"/>
                  </a:lnTo>
                  <a:lnTo>
                    <a:pt x="50" y="135"/>
                  </a:lnTo>
                  <a:lnTo>
                    <a:pt x="50" y="133"/>
                  </a:lnTo>
                  <a:lnTo>
                    <a:pt x="48" y="133"/>
                  </a:lnTo>
                  <a:lnTo>
                    <a:pt x="47" y="132"/>
                  </a:lnTo>
                  <a:lnTo>
                    <a:pt x="47" y="130"/>
                  </a:lnTo>
                  <a:lnTo>
                    <a:pt x="48" y="130"/>
                  </a:lnTo>
                  <a:lnTo>
                    <a:pt x="48" y="127"/>
                  </a:lnTo>
                  <a:lnTo>
                    <a:pt x="48" y="125"/>
                  </a:lnTo>
                  <a:lnTo>
                    <a:pt x="48" y="123"/>
                  </a:lnTo>
                  <a:lnTo>
                    <a:pt x="50" y="123"/>
                  </a:lnTo>
                  <a:lnTo>
                    <a:pt x="50" y="122"/>
                  </a:lnTo>
                  <a:lnTo>
                    <a:pt x="52" y="122"/>
                  </a:lnTo>
                  <a:lnTo>
                    <a:pt x="53" y="122"/>
                  </a:lnTo>
                  <a:lnTo>
                    <a:pt x="55" y="122"/>
                  </a:lnTo>
                  <a:lnTo>
                    <a:pt x="57" y="122"/>
                  </a:lnTo>
                  <a:lnTo>
                    <a:pt x="58" y="122"/>
                  </a:lnTo>
                  <a:lnTo>
                    <a:pt x="60" y="122"/>
                  </a:lnTo>
                  <a:lnTo>
                    <a:pt x="60" y="120"/>
                  </a:lnTo>
                  <a:lnTo>
                    <a:pt x="61" y="120"/>
                  </a:lnTo>
                  <a:lnTo>
                    <a:pt x="63" y="120"/>
                  </a:lnTo>
                  <a:lnTo>
                    <a:pt x="63" y="119"/>
                  </a:lnTo>
                  <a:lnTo>
                    <a:pt x="63" y="117"/>
                  </a:lnTo>
                  <a:lnTo>
                    <a:pt x="65" y="115"/>
                  </a:lnTo>
                  <a:lnTo>
                    <a:pt x="66" y="114"/>
                  </a:lnTo>
                  <a:lnTo>
                    <a:pt x="68" y="114"/>
                  </a:lnTo>
                  <a:lnTo>
                    <a:pt x="70" y="114"/>
                  </a:lnTo>
                  <a:lnTo>
                    <a:pt x="71" y="112"/>
                  </a:lnTo>
                  <a:lnTo>
                    <a:pt x="71" y="110"/>
                  </a:lnTo>
                  <a:lnTo>
                    <a:pt x="73" y="110"/>
                  </a:lnTo>
                  <a:lnTo>
                    <a:pt x="73" y="109"/>
                  </a:lnTo>
                  <a:lnTo>
                    <a:pt x="73" y="110"/>
                  </a:lnTo>
                  <a:lnTo>
                    <a:pt x="71" y="110"/>
                  </a:lnTo>
                  <a:lnTo>
                    <a:pt x="71" y="112"/>
                  </a:lnTo>
                  <a:lnTo>
                    <a:pt x="70" y="114"/>
                  </a:lnTo>
                  <a:close/>
                  <a:moveTo>
                    <a:pt x="136" y="382"/>
                  </a:moveTo>
                  <a:lnTo>
                    <a:pt x="140" y="384"/>
                  </a:lnTo>
                  <a:lnTo>
                    <a:pt x="140" y="385"/>
                  </a:lnTo>
                  <a:lnTo>
                    <a:pt x="141" y="385"/>
                  </a:lnTo>
                  <a:lnTo>
                    <a:pt x="141" y="387"/>
                  </a:lnTo>
                  <a:lnTo>
                    <a:pt x="143" y="387"/>
                  </a:lnTo>
                  <a:lnTo>
                    <a:pt x="143" y="389"/>
                  </a:lnTo>
                  <a:lnTo>
                    <a:pt x="144" y="389"/>
                  </a:lnTo>
                  <a:lnTo>
                    <a:pt x="144" y="390"/>
                  </a:lnTo>
                  <a:lnTo>
                    <a:pt x="146" y="390"/>
                  </a:lnTo>
                  <a:lnTo>
                    <a:pt x="148" y="392"/>
                  </a:lnTo>
                  <a:lnTo>
                    <a:pt x="149" y="392"/>
                  </a:lnTo>
                  <a:lnTo>
                    <a:pt x="151" y="392"/>
                  </a:lnTo>
                  <a:lnTo>
                    <a:pt x="153" y="393"/>
                  </a:lnTo>
                  <a:lnTo>
                    <a:pt x="154" y="395"/>
                  </a:lnTo>
                  <a:lnTo>
                    <a:pt x="154" y="397"/>
                  </a:lnTo>
                  <a:lnTo>
                    <a:pt x="156" y="397"/>
                  </a:lnTo>
                  <a:lnTo>
                    <a:pt x="157" y="400"/>
                  </a:lnTo>
                  <a:lnTo>
                    <a:pt x="157" y="402"/>
                  </a:lnTo>
                  <a:lnTo>
                    <a:pt x="159" y="403"/>
                  </a:lnTo>
                  <a:lnTo>
                    <a:pt x="159" y="405"/>
                  </a:lnTo>
                  <a:lnTo>
                    <a:pt x="159" y="406"/>
                  </a:lnTo>
                  <a:lnTo>
                    <a:pt x="161" y="410"/>
                  </a:lnTo>
                  <a:lnTo>
                    <a:pt x="162" y="411"/>
                  </a:lnTo>
                  <a:lnTo>
                    <a:pt x="161" y="413"/>
                  </a:lnTo>
                  <a:lnTo>
                    <a:pt x="159" y="413"/>
                  </a:lnTo>
                  <a:lnTo>
                    <a:pt x="157" y="413"/>
                  </a:lnTo>
                  <a:lnTo>
                    <a:pt x="156" y="413"/>
                  </a:lnTo>
                  <a:lnTo>
                    <a:pt x="156" y="415"/>
                  </a:lnTo>
                  <a:lnTo>
                    <a:pt x="156" y="413"/>
                  </a:lnTo>
                  <a:lnTo>
                    <a:pt x="154" y="413"/>
                  </a:lnTo>
                  <a:lnTo>
                    <a:pt x="154" y="411"/>
                  </a:lnTo>
                  <a:lnTo>
                    <a:pt x="153" y="411"/>
                  </a:lnTo>
                  <a:lnTo>
                    <a:pt x="153" y="410"/>
                  </a:lnTo>
                  <a:lnTo>
                    <a:pt x="151" y="410"/>
                  </a:lnTo>
                  <a:lnTo>
                    <a:pt x="149" y="408"/>
                  </a:lnTo>
                  <a:lnTo>
                    <a:pt x="148" y="408"/>
                  </a:lnTo>
                  <a:lnTo>
                    <a:pt x="146" y="408"/>
                  </a:lnTo>
                  <a:lnTo>
                    <a:pt x="143" y="410"/>
                  </a:lnTo>
                  <a:lnTo>
                    <a:pt x="141" y="410"/>
                  </a:lnTo>
                  <a:lnTo>
                    <a:pt x="140" y="410"/>
                  </a:lnTo>
                  <a:lnTo>
                    <a:pt x="138" y="410"/>
                  </a:lnTo>
                  <a:lnTo>
                    <a:pt x="138" y="408"/>
                  </a:lnTo>
                  <a:lnTo>
                    <a:pt x="138" y="406"/>
                  </a:lnTo>
                  <a:lnTo>
                    <a:pt x="136" y="406"/>
                  </a:lnTo>
                  <a:lnTo>
                    <a:pt x="136" y="405"/>
                  </a:lnTo>
                  <a:lnTo>
                    <a:pt x="136" y="403"/>
                  </a:lnTo>
                  <a:lnTo>
                    <a:pt x="136" y="402"/>
                  </a:lnTo>
                  <a:lnTo>
                    <a:pt x="136" y="400"/>
                  </a:lnTo>
                  <a:lnTo>
                    <a:pt x="136" y="398"/>
                  </a:lnTo>
                  <a:lnTo>
                    <a:pt x="135" y="397"/>
                  </a:lnTo>
                  <a:lnTo>
                    <a:pt x="136" y="397"/>
                  </a:lnTo>
                  <a:lnTo>
                    <a:pt x="136" y="398"/>
                  </a:lnTo>
                  <a:lnTo>
                    <a:pt x="138" y="398"/>
                  </a:lnTo>
                  <a:lnTo>
                    <a:pt x="140" y="402"/>
                  </a:lnTo>
                  <a:lnTo>
                    <a:pt x="141" y="403"/>
                  </a:lnTo>
                  <a:lnTo>
                    <a:pt x="143" y="403"/>
                  </a:lnTo>
                  <a:lnTo>
                    <a:pt x="143" y="405"/>
                  </a:lnTo>
                  <a:lnTo>
                    <a:pt x="143" y="403"/>
                  </a:lnTo>
                  <a:lnTo>
                    <a:pt x="144" y="403"/>
                  </a:lnTo>
                  <a:lnTo>
                    <a:pt x="146" y="403"/>
                  </a:lnTo>
                  <a:lnTo>
                    <a:pt x="146" y="402"/>
                  </a:lnTo>
                  <a:lnTo>
                    <a:pt x="144" y="402"/>
                  </a:lnTo>
                  <a:lnTo>
                    <a:pt x="144" y="403"/>
                  </a:lnTo>
                  <a:lnTo>
                    <a:pt x="143" y="403"/>
                  </a:lnTo>
                  <a:lnTo>
                    <a:pt x="143" y="402"/>
                  </a:lnTo>
                  <a:lnTo>
                    <a:pt x="144" y="402"/>
                  </a:lnTo>
                  <a:lnTo>
                    <a:pt x="143" y="402"/>
                  </a:lnTo>
                  <a:lnTo>
                    <a:pt x="143" y="400"/>
                  </a:lnTo>
                  <a:lnTo>
                    <a:pt x="141" y="400"/>
                  </a:lnTo>
                  <a:lnTo>
                    <a:pt x="143" y="400"/>
                  </a:lnTo>
                  <a:lnTo>
                    <a:pt x="143" y="398"/>
                  </a:lnTo>
                  <a:lnTo>
                    <a:pt x="143" y="400"/>
                  </a:lnTo>
                  <a:lnTo>
                    <a:pt x="144" y="400"/>
                  </a:lnTo>
                  <a:lnTo>
                    <a:pt x="143" y="398"/>
                  </a:lnTo>
                  <a:lnTo>
                    <a:pt x="144" y="398"/>
                  </a:lnTo>
                  <a:lnTo>
                    <a:pt x="143" y="398"/>
                  </a:lnTo>
                  <a:lnTo>
                    <a:pt x="141" y="397"/>
                  </a:lnTo>
                  <a:lnTo>
                    <a:pt x="138" y="397"/>
                  </a:lnTo>
                  <a:lnTo>
                    <a:pt x="138" y="395"/>
                  </a:lnTo>
                  <a:lnTo>
                    <a:pt x="138" y="393"/>
                  </a:lnTo>
                  <a:lnTo>
                    <a:pt x="140" y="393"/>
                  </a:lnTo>
                  <a:lnTo>
                    <a:pt x="138" y="393"/>
                  </a:lnTo>
                  <a:lnTo>
                    <a:pt x="136" y="393"/>
                  </a:lnTo>
                  <a:lnTo>
                    <a:pt x="135" y="393"/>
                  </a:lnTo>
                  <a:lnTo>
                    <a:pt x="133" y="393"/>
                  </a:lnTo>
                  <a:lnTo>
                    <a:pt x="131" y="393"/>
                  </a:lnTo>
                  <a:lnTo>
                    <a:pt x="130" y="393"/>
                  </a:lnTo>
                  <a:lnTo>
                    <a:pt x="130" y="392"/>
                  </a:lnTo>
                  <a:lnTo>
                    <a:pt x="128" y="392"/>
                  </a:lnTo>
                  <a:lnTo>
                    <a:pt x="128" y="390"/>
                  </a:lnTo>
                  <a:lnTo>
                    <a:pt x="130" y="390"/>
                  </a:lnTo>
                  <a:lnTo>
                    <a:pt x="131" y="389"/>
                  </a:lnTo>
                  <a:lnTo>
                    <a:pt x="131" y="390"/>
                  </a:lnTo>
                  <a:lnTo>
                    <a:pt x="133" y="390"/>
                  </a:lnTo>
                  <a:lnTo>
                    <a:pt x="131" y="389"/>
                  </a:lnTo>
                  <a:lnTo>
                    <a:pt x="130" y="389"/>
                  </a:lnTo>
                  <a:lnTo>
                    <a:pt x="128" y="389"/>
                  </a:lnTo>
                  <a:lnTo>
                    <a:pt x="130" y="389"/>
                  </a:lnTo>
                  <a:lnTo>
                    <a:pt x="128" y="389"/>
                  </a:lnTo>
                  <a:lnTo>
                    <a:pt x="127" y="389"/>
                  </a:lnTo>
                  <a:lnTo>
                    <a:pt x="127" y="387"/>
                  </a:lnTo>
                  <a:lnTo>
                    <a:pt x="128" y="385"/>
                  </a:lnTo>
                  <a:lnTo>
                    <a:pt x="130" y="384"/>
                  </a:lnTo>
                  <a:lnTo>
                    <a:pt x="131" y="384"/>
                  </a:lnTo>
                  <a:lnTo>
                    <a:pt x="133" y="384"/>
                  </a:lnTo>
                  <a:lnTo>
                    <a:pt x="135" y="382"/>
                  </a:lnTo>
                  <a:lnTo>
                    <a:pt x="136" y="382"/>
                  </a:lnTo>
                  <a:close/>
                  <a:moveTo>
                    <a:pt x="234" y="376"/>
                  </a:moveTo>
                  <a:lnTo>
                    <a:pt x="234" y="377"/>
                  </a:lnTo>
                  <a:lnTo>
                    <a:pt x="232" y="382"/>
                  </a:lnTo>
                  <a:lnTo>
                    <a:pt x="232" y="385"/>
                  </a:lnTo>
                  <a:lnTo>
                    <a:pt x="232" y="387"/>
                  </a:lnTo>
                  <a:lnTo>
                    <a:pt x="231" y="387"/>
                  </a:lnTo>
                  <a:lnTo>
                    <a:pt x="231" y="389"/>
                  </a:lnTo>
                  <a:lnTo>
                    <a:pt x="231" y="392"/>
                  </a:lnTo>
                  <a:lnTo>
                    <a:pt x="229" y="392"/>
                  </a:lnTo>
                  <a:lnTo>
                    <a:pt x="229" y="393"/>
                  </a:lnTo>
                  <a:lnTo>
                    <a:pt x="229" y="395"/>
                  </a:lnTo>
                  <a:lnTo>
                    <a:pt x="227" y="397"/>
                  </a:lnTo>
                  <a:lnTo>
                    <a:pt x="227" y="398"/>
                  </a:lnTo>
                  <a:lnTo>
                    <a:pt x="226" y="402"/>
                  </a:lnTo>
                  <a:lnTo>
                    <a:pt x="224" y="403"/>
                  </a:lnTo>
                  <a:lnTo>
                    <a:pt x="224" y="406"/>
                  </a:lnTo>
                  <a:lnTo>
                    <a:pt x="223" y="408"/>
                  </a:lnTo>
                  <a:lnTo>
                    <a:pt x="224" y="408"/>
                  </a:lnTo>
                  <a:lnTo>
                    <a:pt x="223" y="411"/>
                  </a:lnTo>
                  <a:lnTo>
                    <a:pt x="221" y="416"/>
                  </a:lnTo>
                  <a:lnTo>
                    <a:pt x="221" y="418"/>
                  </a:lnTo>
                  <a:lnTo>
                    <a:pt x="219" y="419"/>
                  </a:lnTo>
                  <a:lnTo>
                    <a:pt x="219" y="421"/>
                  </a:lnTo>
                  <a:lnTo>
                    <a:pt x="219" y="424"/>
                  </a:lnTo>
                  <a:lnTo>
                    <a:pt x="218" y="426"/>
                  </a:lnTo>
                  <a:lnTo>
                    <a:pt x="218" y="428"/>
                  </a:lnTo>
                  <a:lnTo>
                    <a:pt x="218" y="429"/>
                  </a:lnTo>
                  <a:lnTo>
                    <a:pt x="218" y="431"/>
                  </a:lnTo>
                  <a:lnTo>
                    <a:pt x="216" y="431"/>
                  </a:lnTo>
                  <a:lnTo>
                    <a:pt x="216" y="432"/>
                  </a:lnTo>
                  <a:lnTo>
                    <a:pt x="213" y="434"/>
                  </a:lnTo>
                  <a:lnTo>
                    <a:pt x="213" y="432"/>
                  </a:lnTo>
                  <a:lnTo>
                    <a:pt x="211" y="432"/>
                  </a:lnTo>
                  <a:lnTo>
                    <a:pt x="211" y="431"/>
                  </a:lnTo>
                  <a:lnTo>
                    <a:pt x="211" y="429"/>
                  </a:lnTo>
                  <a:lnTo>
                    <a:pt x="211" y="428"/>
                  </a:lnTo>
                  <a:lnTo>
                    <a:pt x="211" y="426"/>
                  </a:lnTo>
                  <a:lnTo>
                    <a:pt x="211" y="424"/>
                  </a:lnTo>
                  <a:lnTo>
                    <a:pt x="211" y="423"/>
                  </a:lnTo>
                  <a:lnTo>
                    <a:pt x="209" y="423"/>
                  </a:lnTo>
                  <a:lnTo>
                    <a:pt x="209" y="421"/>
                  </a:lnTo>
                  <a:lnTo>
                    <a:pt x="208" y="421"/>
                  </a:lnTo>
                  <a:lnTo>
                    <a:pt x="208" y="419"/>
                  </a:lnTo>
                  <a:lnTo>
                    <a:pt x="206" y="418"/>
                  </a:lnTo>
                  <a:lnTo>
                    <a:pt x="205" y="418"/>
                  </a:lnTo>
                  <a:lnTo>
                    <a:pt x="206" y="418"/>
                  </a:lnTo>
                  <a:lnTo>
                    <a:pt x="208" y="418"/>
                  </a:lnTo>
                  <a:lnTo>
                    <a:pt x="209" y="418"/>
                  </a:lnTo>
                  <a:lnTo>
                    <a:pt x="209" y="416"/>
                  </a:lnTo>
                  <a:lnTo>
                    <a:pt x="211" y="416"/>
                  </a:lnTo>
                  <a:lnTo>
                    <a:pt x="211" y="415"/>
                  </a:lnTo>
                  <a:lnTo>
                    <a:pt x="211" y="411"/>
                  </a:lnTo>
                  <a:lnTo>
                    <a:pt x="213" y="411"/>
                  </a:lnTo>
                  <a:lnTo>
                    <a:pt x="213" y="413"/>
                  </a:lnTo>
                  <a:lnTo>
                    <a:pt x="214" y="413"/>
                  </a:lnTo>
                  <a:lnTo>
                    <a:pt x="214" y="411"/>
                  </a:lnTo>
                  <a:lnTo>
                    <a:pt x="216" y="411"/>
                  </a:lnTo>
                  <a:lnTo>
                    <a:pt x="214" y="411"/>
                  </a:lnTo>
                  <a:lnTo>
                    <a:pt x="214" y="410"/>
                  </a:lnTo>
                  <a:lnTo>
                    <a:pt x="214" y="408"/>
                  </a:lnTo>
                  <a:lnTo>
                    <a:pt x="213" y="408"/>
                  </a:lnTo>
                  <a:lnTo>
                    <a:pt x="211" y="408"/>
                  </a:lnTo>
                  <a:lnTo>
                    <a:pt x="211" y="406"/>
                  </a:lnTo>
                  <a:lnTo>
                    <a:pt x="213" y="406"/>
                  </a:lnTo>
                  <a:lnTo>
                    <a:pt x="213" y="405"/>
                  </a:lnTo>
                  <a:lnTo>
                    <a:pt x="214" y="403"/>
                  </a:lnTo>
                  <a:lnTo>
                    <a:pt x="214" y="402"/>
                  </a:lnTo>
                  <a:lnTo>
                    <a:pt x="216" y="402"/>
                  </a:lnTo>
                  <a:lnTo>
                    <a:pt x="216" y="400"/>
                  </a:lnTo>
                  <a:lnTo>
                    <a:pt x="218" y="397"/>
                  </a:lnTo>
                  <a:lnTo>
                    <a:pt x="219" y="397"/>
                  </a:lnTo>
                  <a:lnTo>
                    <a:pt x="221" y="397"/>
                  </a:lnTo>
                  <a:lnTo>
                    <a:pt x="223" y="395"/>
                  </a:lnTo>
                  <a:lnTo>
                    <a:pt x="223" y="393"/>
                  </a:lnTo>
                  <a:lnTo>
                    <a:pt x="224" y="392"/>
                  </a:lnTo>
                  <a:lnTo>
                    <a:pt x="224" y="390"/>
                  </a:lnTo>
                  <a:lnTo>
                    <a:pt x="226" y="389"/>
                  </a:lnTo>
                  <a:lnTo>
                    <a:pt x="227" y="385"/>
                  </a:lnTo>
                  <a:lnTo>
                    <a:pt x="227" y="384"/>
                  </a:lnTo>
                  <a:lnTo>
                    <a:pt x="227" y="382"/>
                  </a:lnTo>
                  <a:lnTo>
                    <a:pt x="227" y="379"/>
                  </a:lnTo>
                  <a:lnTo>
                    <a:pt x="229" y="379"/>
                  </a:lnTo>
                  <a:lnTo>
                    <a:pt x="229" y="377"/>
                  </a:lnTo>
                  <a:lnTo>
                    <a:pt x="229" y="376"/>
                  </a:lnTo>
                  <a:lnTo>
                    <a:pt x="231" y="376"/>
                  </a:lnTo>
                  <a:lnTo>
                    <a:pt x="229" y="374"/>
                  </a:lnTo>
                  <a:lnTo>
                    <a:pt x="231" y="374"/>
                  </a:lnTo>
                  <a:lnTo>
                    <a:pt x="231" y="372"/>
                  </a:lnTo>
                  <a:lnTo>
                    <a:pt x="232" y="372"/>
                  </a:lnTo>
                  <a:lnTo>
                    <a:pt x="232" y="371"/>
                  </a:lnTo>
                  <a:lnTo>
                    <a:pt x="234" y="371"/>
                  </a:lnTo>
                  <a:lnTo>
                    <a:pt x="234" y="372"/>
                  </a:lnTo>
                  <a:lnTo>
                    <a:pt x="234" y="374"/>
                  </a:lnTo>
                  <a:lnTo>
                    <a:pt x="234" y="376"/>
                  </a:lnTo>
                  <a:close/>
                  <a:moveTo>
                    <a:pt x="343" y="385"/>
                  </a:moveTo>
                  <a:lnTo>
                    <a:pt x="344" y="385"/>
                  </a:lnTo>
                  <a:lnTo>
                    <a:pt x="344" y="387"/>
                  </a:lnTo>
                  <a:lnTo>
                    <a:pt x="346" y="387"/>
                  </a:lnTo>
                  <a:lnTo>
                    <a:pt x="348" y="387"/>
                  </a:lnTo>
                  <a:lnTo>
                    <a:pt x="349" y="387"/>
                  </a:lnTo>
                  <a:lnTo>
                    <a:pt x="353" y="387"/>
                  </a:lnTo>
                  <a:lnTo>
                    <a:pt x="356" y="387"/>
                  </a:lnTo>
                  <a:lnTo>
                    <a:pt x="357" y="387"/>
                  </a:lnTo>
                  <a:lnTo>
                    <a:pt x="359" y="387"/>
                  </a:lnTo>
                  <a:lnTo>
                    <a:pt x="359" y="389"/>
                  </a:lnTo>
                  <a:lnTo>
                    <a:pt x="361" y="389"/>
                  </a:lnTo>
                  <a:lnTo>
                    <a:pt x="362" y="389"/>
                  </a:lnTo>
                  <a:lnTo>
                    <a:pt x="364" y="390"/>
                  </a:lnTo>
                  <a:lnTo>
                    <a:pt x="364" y="392"/>
                  </a:lnTo>
                  <a:lnTo>
                    <a:pt x="366" y="392"/>
                  </a:lnTo>
                  <a:lnTo>
                    <a:pt x="366" y="393"/>
                  </a:lnTo>
                  <a:lnTo>
                    <a:pt x="367" y="395"/>
                  </a:lnTo>
                  <a:lnTo>
                    <a:pt x="367" y="397"/>
                  </a:lnTo>
                  <a:lnTo>
                    <a:pt x="366" y="398"/>
                  </a:lnTo>
                  <a:lnTo>
                    <a:pt x="364" y="398"/>
                  </a:lnTo>
                  <a:lnTo>
                    <a:pt x="362" y="398"/>
                  </a:lnTo>
                  <a:lnTo>
                    <a:pt x="361" y="398"/>
                  </a:lnTo>
                  <a:lnTo>
                    <a:pt x="359" y="398"/>
                  </a:lnTo>
                  <a:lnTo>
                    <a:pt x="359" y="397"/>
                  </a:lnTo>
                  <a:lnTo>
                    <a:pt x="357" y="397"/>
                  </a:lnTo>
                  <a:lnTo>
                    <a:pt x="356" y="397"/>
                  </a:lnTo>
                  <a:lnTo>
                    <a:pt x="353" y="397"/>
                  </a:lnTo>
                  <a:lnTo>
                    <a:pt x="351" y="397"/>
                  </a:lnTo>
                  <a:lnTo>
                    <a:pt x="349" y="397"/>
                  </a:lnTo>
                  <a:lnTo>
                    <a:pt x="348" y="397"/>
                  </a:lnTo>
                  <a:lnTo>
                    <a:pt x="348" y="398"/>
                  </a:lnTo>
                  <a:lnTo>
                    <a:pt x="346" y="398"/>
                  </a:lnTo>
                  <a:lnTo>
                    <a:pt x="344" y="400"/>
                  </a:lnTo>
                  <a:lnTo>
                    <a:pt x="343" y="402"/>
                  </a:lnTo>
                  <a:lnTo>
                    <a:pt x="343" y="403"/>
                  </a:lnTo>
                  <a:lnTo>
                    <a:pt x="341" y="405"/>
                  </a:lnTo>
                  <a:lnTo>
                    <a:pt x="340" y="406"/>
                  </a:lnTo>
                  <a:lnTo>
                    <a:pt x="340" y="408"/>
                  </a:lnTo>
                  <a:lnTo>
                    <a:pt x="338" y="408"/>
                  </a:lnTo>
                  <a:lnTo>
                    <a:pt x="336" y="410"/>
                  </a:lnTo>
                  <a:lnTo>
                    <a:pt x="335" y="408"/>
                  </a:lnTo>
                  <a:lnTo>
                    <a:pt x="333" y="408"/>
                  </a:lnTo>
                  <a:lnTo>
                    <a:pt x="331" y="406"/>
                  </a:lnTo>
                  <a:lnTo>
                    <a:pt x="333" y="406"/>
                  </a:lnTo>
                  <a:lnTo>
                    <a:pt x="331" y="406"/>
                  </a:lnTo>
                  <a:lnTo>
                    <a:pt x="330" y="406"/>
                  </a:lnTo>
                  <a:lnTo>
                    <a:pt x="330" y="405"/>
                  </a:lnTo>
                  <a:lnTo>
                    <a:pt x="331" y="405"/>
                  </a:lnTo>
                  <a:lnTo>
                    <a:pt x="330" y="403"/>
                  </a:lnTo>
                  <a:lnTo>
                    <a:pt x="331" y="402"/>
                  </a:lnTo>
                  <a:lnTo>
                    <a:pt x="331" y="400"/>
                  </a:lnTo>
                  <a:lnTo>
                    <a:pt x="333" y="400"/>
                  </a:lnTo>
                  <a:lnTo>
                    <a:pt x="331" y="400"/>
                  </a:lnTo>
                  <a:lnTo>
                    <a:pt x="331" y="398"/>
                  </a:lnTo>
                  <a:lnTo>
                    <a:pt x="331" y="397"/>
                  </a:lnTo>
                  <a:lnTo>
                    <a:pt x="333" y="397"/>
                  </a:lnTo>
                  <a:lnTo>
                    <a:pt x="335" y="395"/>
                  </a:lnTo>
                  <a:lnTo>
                    <a:pt x="335" y="397"/>
                  </a:lnTo>
                  <a:lnTo>
                    <a:pt x="336" y="397"/>
                  </a:lnTo>
                  <a:lnTo>
                    <a:pt x="336" y="395"/>
                  </a:lnTo>
                  <a:lnTo>
                    <a:pt x="335" y="395"/>
                  </a:lnTo>
                  <a:lnTo>
                    <a:pt x="335" y="393"/>
                  </a:lnTo>
                  <a:lnTo>
                    <a:pt x="336" y="393"/>
                  </a:lnTo>
                  <a:lnTo>
                    <a:pt x="338" y="395"/>
                  </a:lnTo>
                  <a:lnTo>
                    <a:pt x="338" y="397"/>
                  </a:lnTo>
                  <a:lnTo>
                    <a:pt x="340" y="395"/>
                  </a:lnTo>
                  <a:lnTo>
                    <a:pt x="341" y="395"/>
                  </a:lnTo>
                  <a:lnTo>
                    <a:pt x="341" y="393"/>
                  </a:lnTo>
                  <a:lnTo>
                    <a:pt x="343" y="395"/>
                  </a:lnTo>
                  <a:lnTo>
                    <a:pt x="343" y="393"/>
                  </a:lnTo>
                  <a:lnTo>
                    <a:pt x="344" y="393"/>
                  </a:lnTo>
                  <a:lnTo>
                    <a:pt x="343" y="392"/>
                  </a:lnTo>
                  <a:lnTo>
                    <a:pt x="344" y="390"/>
                  </a:lnTo>
                  <a:lnTo>
                    <a:pt x="344" y="389"/>
                  </a:lnTo>
                  <a:lnTo>
                    <a:pt x="343" y="389"/>
                  </a:lnTo>
                  <a:lnTo>
                    <a:pt x="343" y="387"/>
                  </a:lnTo>
                  <a:lnTo>
                    <a:pt x="341" y="387"/>
                  </a:lnTo>
                  <a:lnTo>
                    <a:pt x="341" y="385"/>
                  </a:lnTo>
                  <a:lnTo>
                    <a:pt x="341" y="387"/>
                  </a:lnTo>
                  <a:lnTo>
                    <a:pt x="340" y="387"/>
                  </a:lnTo>
                  <a:lnTo>
                    <a:pt x="340" y="385"/>
                  </a:lnTo>
                  <a:lnTo>
                    <a:pt x="340" y="384"/>
                  </a:lnTo>
                  <a:lnTo>
                    <a:pt x="341" y="384"/>
                  </a:lnTo>
                  <a:lnTo>
                    <a:pt x="341" y="382"/>
                  </a:lnTo>
                  <a:lnTo>
                    <a:pt x="343" y="384"/>
                  </a:lnTo>
                  <a:lnTo>
                    <a:pt x="343" y="385"/>
                  </a:lnTo>
                  <a:close/>
                  <a:moveTo>
                    <a:pt x="249" y="60"/>
                  </a:moveTo>
                  <a:lnTo>
                    <a:pt x="249" y="62"/>
                  </a:lnTo>
                  <a:lnTo>
                    <a:pt x="249" y="63"/>
                  </a:lnTo>
                  <a:lnTo>
                    <a:pt x="249" y="65"/>
                  </a:lnTo>
                  <a:lnTo>
                    <a:pt x="249" y="66"/>
                  </a:lnTo>
                  <a:lnTo>
                    <a:pt x="249" y="65"/>
                  </a:lnTo>
                  <a:lnTo>
                    <a:pt x="249" y="63"/>
                  </a:lnTo>
                  <a:lnTo>
                    <a:pt x="247" y="63"/>
                  </a:lnTo>
                  <a:lnTo>
                    <a:pt x="249" y="63"/>
                  </a:lnTo>
                  <a:lnTo>
                    <a:pt x="247" y="63"/>
                  </a:lnTo>
                  <a:lnTo>
                    <a:pt x="245" y="63"/>
                  </a:lnTo>
                  <a:lnTo>
                    <a:pt x="244" y="65"/>
                  </a:lnTo>
                  <a:lnTo>
                    <a:pt x="242" y="63"/>
                  </a:lnTo>
                  <a:lnTo>
                    <a:pt x="242" y="65"/>
                  </a:lnTo>
                  <a:lnTo>
                    <a:pt x="240" y="65"/>
                  </a:lnTo>
                  <a:lnTo>
                    <a:pt x="239" y="66"/>
                  </a:lnTo>
                  <a:lnTo>
                    <a:pt x="240" y="66"/>
                  </a:lnTo>
                  <a:lnTo>
                    <a:pt x="240" y="68"/>
                  </a:lnTo>
                  <a:lnTo>
                    <a:pt x="240" y="70"/>
                  </a:lnTo>
                  <a:lnTo>
                    <a:pt x="240" y="71"/>
                  </a:lnTo>
                  <a:lnTo>
                    <a:pt x="239" y="73"/>
                  </a:lnTo>
                  <a:lnTo>
                    <a:pt x="237" y="75"/>
                  </a:lnTo>
                  <a:lnTo>
                    <a:pt x="234" y="76"/>
                  </a:lnTo>
                  <a:lnTo>
                    <a:pt x="232" y="76"/>
                  </a:lnTo>
                  <a:lnTo>
                    <a:pt x="234" y="76"/>
                  </a:lnTo>
                  <a:lnTo>
                    <a:pt x="232" y="75"/>
                  </a:lnTo>
                  <a:lnTo>
                    <a:pt x="232" y="76"/>
                  </a:lnTo>
                  <a:lnTo>
                    <a:pt x="231" y="76"/>
                  </a:lnTo>
                  <a:lnTo>
                    <a:pt x="232" y="75"/>
                  </a:lnTo>
                  <a:lnTo>
                    <a:pt x="231" y="75"/>
                  </a:lnTo>
                  <a:lnTo>
                    <a:pt x="231" y="73"/>
                  </a:lnTo>
                  <a:lnTo>
                    <a:pt x="229" y="73"/>
                  </a:lnTo>
                  <a:lnTo>
                    <a:pt x="229" y="71"/>
                  </a:lnTo>
                  <a:lnTo>
                    <a:pt x="227" y="71"/>
                  </a:lnTo>
                  <a:lnTo>
                    <a:pt x="226" y="71"/>
                  </a:lnTo>
                  <a:lnTo>
                    <a:pt x="224" y="71"/>
                  </a:lnTo>
                  <a:lnTo>
                    <a:pt x="224" y="70"/>
                  </a:lnTo>
                  <a:lnTo>
                    <a:pt x="224" y="68"/>
                  </a:lnTo>
                  <a:lnTo>
                    <a:pt x="226" y="68"/>
                  </a:lnTo>
                  <a:lnTo>
                    <a:pt x="227" y="66"/>
                  </a:lnTo>
                  <a:lnTo>
                    <a:pt x="227" y="65"/>
                  </a:lnTo>
                  <a:lnTo>
                    <a:pt x="229" y="63"/>
                  </a:lnTo>
                  <a:lnTo>
                    <a:pt x="231" y="63"/>
                  </a:lnTo>
                  <a:lnTo>
                    <a:pt x="232" y="63"/>
                  </a:lnTo>
                  <a:lnTo>
                    <a:pt x="234" y="63"/>
                  </a:lnTo>
                  <a:lnTo>
                    <a:pt x="236" y="62"/>
                  </a:lnTo>
                  <a:lnTo>
                    <a:pt x="239" y="62"/>
                  </a:lnTo>
                  <a:lnTo>
                    <a:pt x="240" y="62"/>
                  </a:lnTo>
                  <a:lnTo>
                    <a:pt x="242" y="62"/>
                  </a:lnTo>
                  <a:lnTo>
                    <a:pt x="242" y="60"/>
                  </a:lnTo>
                  <a:lnTo>
                    <a:pt x="244" y="60"/>
                  </a:lnTo>
                  <a:lnTo>
                    <a:pt x="245" y="60"/>
                  </a:lnTo>
                  <a:lnTo>
                    <a:pt x="247" y="60"/>
                  </a:lnTo>
                  <a:lnTo>
                    <a:pt x="249" y="60"/>
                  </a:lnTo>
                  <a:close/>
                  <a:moveTo>
                    <a:pt x="203" y="260"/>
                  </a:moveTo>
                  <a:lnTo>
                    <a:pt x="205" y="262"/>
                  </a:lnTo>
                  <a:lnTo>
                    <a:pt x="206" y="262"/>
                  </a:lnTo>
                  <a:lnTo>
                    <a:pt x="208" y="263"/>
                  </a:lnTo>
                  <a:lnTo>
                    <a:pt x="206" y="263"/>
                  </a:lnTo>
                  <a:lnTo>
                    <a:pt x="206" y="262"/>
                  </a:lnTo>
                  <a:lnTo>
                    <a:pt x="206" y="263"/>
                  </a:lnTo>
                  <a:lnTo>
                    <a:pt x="205" y="263"/>
                  </a:lnTo>
                  <a:lnTo>
                    <a:pt x="205" y="265"/>
                  </a:lnTo>
                  <a:lnTo>
                    <a:pt x="206" y="267"/>
                  </a:lnTo>
                  <a:lnTo>
                    <a:pt x="206" y="268"/>
                  </a:lnTo>
                  <a:lnTo>
                    <a:pt x="208" y="268"/>
                  </a:lnTo>
                  <a:lnTo>
                    <a:pt x="209" y="268"/>
                  </a:lnTo>
                  <a:lnTo>
                    <a:pt x="209" y="267"/>
                  </a:lnTo>
                  <a:lnTo>
                    <a:pt x="211" y="268"/>
                  </a:lnTo>
                  <a:lnTo>
                    <a:pt x="211" y="270"/>
                  </a:lnTo>
                  <a:lnTo>
                    <a:pt x="209" y="270"/>
                  </a:lnTo>
                  <a:lnTo>
                    <a:pt x="209" y="271"/>
                  </a:lnTo>
                  <a:lnTo>
                    <a:pt x="208" y="273"/>
                  </a:lnTo>
                  <a:lnTo>
                    <a:pt x="208" y="275"/>
                  </a:lnTo>
                  <a:lnTo>
                    <a:pt x="208" y="276"/>
                  </a:lnTo>
                  <a:lnTo>
                    <a:pt x="206" y="276"/>
                  </a:lnTo>
                  <a:lnTo>
                    <a:pt x="208" y="276"/>
                  </a:lnTo>
                  <a:lnTo>
                    <a:pt x="208" y="278"/>
                  </a:lnTo>
                  <a:lnTo>
                    <a:pt x="208" y="280"/>
                  </a:lnTo>
                  <a:lnTo>
                    <a:pt x="206" y="281"/>
                  </a:lnTo>
                  <a:lnTo>
                    <a:pt x="206" y="283"/>
                  </a:lnTo>
                  <a:lnTo>
                    <a:pt x="206" y="284"/>
                  </a:lnTo>
                  <a:lnTo>
                    <a:pt x="205" y="284"/>
                  </a:lnTo>
                  <a:lnTo>
                    <a:pt x="203" y="283"/>
                  </a:lnTo>
                  <a:lnTo>
                    <a:pt x="200" y="284"/>
                  </a:lnTo>
                  <a:lnTo>
                    <a:pt x="200" y="283"/>
                  </a:lnTo>
                  <a:lnTo>
                    <a:pt x="198" y="281"/>
                  </a:lnTo>
                  <a:lnTo>
                    <a:pt x="198" y="280"/>
                  </a:lnTo>
                  <a:lnTo>
                    <a:pt x="198" y="276"/>
                  </a:lnTo>
                  <a:lnTo>
                    <a:pt x="198" y="271"/>
                  </a:lnTo>
                  <a:lnTo>
                    <a:pt x="200" y="271"/>
                  </a:lnTo>
                  <a:lnTo>
                    <a:pt x="200" y="270"/>
                  </a:lnTo>
                  <a:lnTo>
                    <a:pt x="201" y="270"/>
                  </a:lnTo>
                  <a:lnTo>
                    <a:pt x="203" y="270"/>
                  </a:lnTo>
                  <a:lnTo>
                    <a:pt x="203" y="268"/>
                  </a:lnTo>
                  <a:lnTo>
                    <a:pt x="205" y="265"/>
                  </a:lnTo>
                  <a:lnTo>
                    <a:pt x="205" y="263"/>
                  </a:lnTo>
                  <a:lnTo>
                    <a:pt x="203" y="262"/>
                  </a:lnTo>
                  <a:lnTo>
                    <a:pt x="203" y="260"/>
                  </a:lnTo>
                  <a:lnTo>
                    <a:pt x="201" y="260"/>
                  </a:lnTo>
                  <a:lnTo>
                    <a:pt x="200" y="260"/>
                  </a:lnTo>
                  <a:lnTo>
                    <a:pt x="198" y="260"/>
                  </a:lnTo>
                  <a:lnTo>
                    <a:pt x="198" y="258"/>
                  </a:lnTo>
                  <a:lnTo>
                    <a:pt x="198" y="257"/>
                  </a:lnTo>
                  <a:lnTo>
                    <a:pt x="198" y="254"/>
                  </a:lnTo>
                  <a:lnTo>
                    <a:pt x="200" y="252"/>
                  </a:lnTo>
                  <a:lnTo>
                    <a:pt x="200" y="250"/>
                  </a:lnTo>
                  <a:lnTo>
                    <a:pt x="201" y="250"/>
                  </a:lnTo>
                  <a:lnTo>
                    <a:pt x="201" y="252"/>
                  </a:lnTo>
                  <a:lnTo>
                    <a:pt x="201" y="257"/>
                  </a:lnTo>
                  <a:lnTo>
                    <a:pt x="203" y="258"/>
                  </a:lnTo>
                  <a:lnTo>
                    <a:pt x="203" y="260"/>
                  </a:lnTo>
                  <a:close/>
                  <a:moveTo>
                    <a:pt x="369" y="291"/>
                  </a:moveTo>
                  <a:lnTo>
                    <a:pt x="369" y="293"/>
                  </a:lnTo>
                  <a:lnTo>
                    <a:pt x="369" y="291"/>
                  </a:lnTo>
                  <a:lnTo>
                    <a:pt x="369" y="293"/>
                  </a:lnTo>
                  <a:lnTo>
                    <a:pt x="369" y="294"/>
                  </a:lnTo>
                  <a:lnTo>
                    <a:pt x="369" y="296"/>
                  </a:lnTo>
                  <a:lnTo>
                    <a:pt x="371" y="296"/>
                  </a:lnTo>
                  <a:lnTo>
                    <a:pt x="371" y="297"/>
                  </a:lnTo>
                  <a:lnTo>
                    <a:pt x="371" y="296"/>
                  </a:lnTo>
                  <a:lnTo>
                    <a:pt x="371" y="294"/>
                  </a:lnTo>
                  <a:lnTo>
                    <a:pt x="371" y="296"/>
                  </a:lnTo>
                  <a:lnTo>
                    <a:pt x="371" y="297"/>
                  </a:lnTo>
                  <a:lnTo>
                    <a:pt x="371" y="299"/>
                  </a:lnTo>
                  <a:lnTo>
                    <a:pt x="372" y="299"/>
                  </a:lnTo>
                  <a:lnTo>
                    <a:pt x="374" y="299"/>
                  </a:lnTo>
                  <a:lnTo>
                    <a:pt x="374" y="302"/>
                  </a:lnTo>
                  <a:lnTo>
                    <a:pt x="372" y="304"/>
                  </a:lnTo>
                  <a:lnTo>
                    <a:pt x="374" y="306"/>
                  </a:lnTo>
                  <a:lnTo>
                    <a:pt x="372" y="307"/>
                  </a:lnTo>
                  <a:lnTo>
                    <a:pt x="371" y="307"/>
                  </a:lnTo>
                  <a:lnTo>
                    <a:pt x="369" y="309"/>
                  </a:lnTo>
                  <a:lnTo>
                    <a:pt x="367" y="310"/>
                  </a:lnTo>
                  <a:lnTo>
                    <a:pt x="366" y="310"/>
                  </a:lnTo>
                  <a:lnTo>
                    <a:pt x="364" y="310"/>
                  </a:lnTo>
                  <a:lnTo>
                    <a:pt x="364" y="309"/>
                  </a:lnTo>
                  <a:lnTo>
                    <a:pt x="362" y="309"/>
                  </a:lnTo>
                  <a:lnTo>
                    <a:pt x="361" y="309"/>
                  </a:lnTo>
                  <a:lnTo>
                    <a:pt x="361" y="306"/>
                  </a:lnTo>
                  <a:lnTo>
                    <a:pt x="359" y="306"/>
                  </a:lnTo>
                  <a:lnTo>
                    <a:pt x="359" y="304"/>
                  </a:lnTo>
                  <a:lnTo>
                    <a:pt x="359" y="302"/>
                  </a:lnTo>
                  <a:lnTo>
                    <a:pt x="361" y="302"/>
                  </a:lnTo>
                  <a:lnTo>
                    <a:pt x="361" y="301"/>
                  </a:lnTo>
                  <a:lnTo>
                    <a:pt x="362" y="299"/>
                  </a:lnTo>
                  <a:lnTo>
                    <a:pt x="364" y="297"/>
                  </a:lnTo>
                  <a:lnTo>
                    <a:pt x="364" y="296"/>
                  </a:lnTo>
                  <a:lnTo>
                    <a:pt x="366" y="294"/>
                  </a:lnTo>
                  <a:lnTo>
                    <a:pt x="366" y="293"/>
                  </a:lnTo>
                  <a:lnTo>
                    <a:pt x="367" y="293"/>
                  </a:lnTo>
                  <a:lnTo>
                    <a:pt x="367" y="291"/>
                  </a:lnTo>
                  <a:lnTo>
                    <a:pt x="369" y="291"/>
                  </a:lnTo>
                  <a:close/>
                  <a:moveTo>
                    <a:pt x="177" y="403"/>
                  </a:moveTo>
                  <a:lnTo>
                    <a:pt x="179" y="403"/>
                  </a:lnTo>
                  <a:lnTo>
                    <a:pt x="180" y="405"/>
                  </a:lnTo>
                  <a:lnTo>
                    <a:pt x="182" y="405"/>
                  </a:lnTo>
                  <a:lnTo>
                    <a:pt x="182" y="406"/>
                  </a:lnTo>
                  <a:lnTo>
                    <a:pt x="183" y="408"/>
                  </a:lnTo>
                  <a:lnTo>
                    <a:pt x="183" y="410"/>
                  </a:lnTo>
                  <a:lnTo>
                    <a:pt x="185" y="410"/>
                  </a:lnTo>
                  <a:lnTo>
                    <a:pt x="187" y="411"/>
                  </a:lnTo>
                  <a:lnTo>
                    <a:pt x="187" y="410"/>
                  </a:lnTo>
                  <a:lnTo>
                    <a:pt x="188" y="410"/>
                  </a:lnTo>
                  <a:lnTo>
                    <a:pt x="190" y="408"/>
                  </a:lnTo>
                  <a:lnTo>
                    <a:pt x="188" y="408"/>
                  </a:lnTo>
                  <a:lnTo>
                    <a:pt x="188" y="406"/>
                  </a:lnTo>
                  <a:lnTo>
                    <a:pt x="190" y="408"/>
                  </a:lnTo>
                  <a:lnTo>
                    <a:pt x="190" y="410"/>
                  </a:lnTo>
                  <a:lnTo>
                    <a:pt x="190" y="411"/>
                  </a:lnTo>
                  <a:lnTo>
                    <a:pt x="192" y="413"/>
                  </a:lnTo>
                  <a:lnTo>
                    <a:pt x="193" y="415"/>
                  </a:lnTo>
                  <a:lnTo>
                    <a:pt x="193" y="413"/>
                  </a:lnTo>
                  <a:lnTo>
                    <a:pt x="193" y="411"/>
                  </a:lnTo>
                  <a:lnTo>
                    <a:pt x="195" y="413"/>
                  </a:lnTo>
                  <a:lnTo>
                    <a:pt x="196" y="413"/>
                  </a:lnTo>
                  <a:lnTo>
                    <a:pt x="195" y="413"/>
                  </a:lnTo>
                  <a:lnTo>
                    <a:pt x="195" y="411"/>
                  </a:lnTo>
                  <a:lnTo>
                    <a:pt x="193" y="410"/>
                  </a:lnTo>
                  <a:lnTo>
                    <a:pt x="195" y="410"/>
                  </a:lnTo>
                  <a:lnTo>
                    <a:pt x="195" y="411"/>
                  </a:lnTo>
                  <a:lnTo>
                    <a:pt x="196" y="413"/>
                  </a:lnTo>
                  <a:lnTo>
                    <a:pt x="198" y="413"/>
                  </a:lnTo>
                  <a:lnTo>
                    <a:pt x="198" y="415"/>
                  </a:lnTo>
                  <a:lnTo>
                    <a:pt x="200" y="416"/>
                  </a:lnTo>
                  <a:lnTo>
                    <a:pt x="198" y="416"/>
                  </a:lnTo>
                  <a:lnTo>
                    <a:pt x="195" y="418"/>
                  </a:lnTo>
                  <a:lnTo>
                    <a:pt x="193" y="418"/>
                  </a:lnTo>
                  <a:lnTo>
                    <a:pt x="192" y="418"/>
                  </a:lnTo>
                  <a:lnTo>
                    <a:pt x="192" y="419"/>
                  </a:lnTo>
                  <a:lnTo>
                    <a:pt x="192" y="421"/>
                  </a:lnTo>
                  <a:lnTo>
                    <a:pt x="190" y="421"/>
                  </a:lnTo>
                  <a:lnTo>
                    <a:pt x="190" y="419"/>
                  </a:lnTo>
                  <a:lnTo>
                    <a:pt x="188" y="419"/>
                  </a:lnTo>
                  <a:lnTo>
                    <a:pt x="187" y="418"/>
                  </a:lnTo>
                  <a:lnTo>
                    <a:pt x="185" y="416"/>
                  </a:lnTo>
                  <a:lnTo>
                    <a:pt x="185" y="415"/>
                  </a:lnTo>
                  <a:lnTo>
                    <a:pt x="183" y="415"/>
                  </a:lnTo>
                  <a:lnTo>
                    <a:pt x="182" y="411"/>
                  </a:lnTo>
                  <a:lnTo>
                    <a:pt x="180" y="411"/>
                  </a:lnTo>
                  <a:lnTo>
                    <a:pt x="180" y="410"/>
                  </a:lnTo>
                  <a:lnTo>
                    <a:pt x="177" y="406"/>
                  </a:lnTo>
                  <a:lnTo>
                    <a:pt x="175" y="406"/>
                  </a:lnTo>
                  <a:lnTo>
                    <a:pt x="175" y="405"/>
                  </a:lnTo>
                  <a:lnTo>
                    <a:pt x="175" y="403"/>
                  </a:lnTo>
                  <a:lnTo>
                    <a:pt x="174" y="400"/>
                  </a:lnTo>
                  <a:lnTo>
                    <a:pt x="172" y="398"/>
                  </a:lnTo>
                  <a:lnTo>
                    <a:pt x="174" y="398"/>
                  </a:lnTo>
                  <a:lnTo>
                    <a:pt x="174" y="400"/>
                  </a:lnTo>
                  <a:lnTo>
                    <a:pt x="175" y="400"/>
                  </a:lnTo>
                  <a:lnTo>
                    <a:pt x="175" y="402"/>
                  </a:lnTo>
                  <a:lnTo>
                    <a:pt x="177" y="402"/>
                  </a:lnTo>
                  <a:lnTo>
                    <a:pt x="177" y="403"/>
                  </a:lnTo>
                  <a:close/>
                  <a:moveTo>
                    <a:pt x="208" y="389"/>
                  </a:moveTo>
                  <a:lnTo>
                    <a:pt x="209" y="389"/>
                  </a:lnTo>
                  <a:lnTo>
                    <a:pt x="209" y="390"/>
                  </a:lnTo>
                  <a:lnTo>
                    <a:pt x="209" y="392"/>
                  </a:lnTo>
                  <a:lnTo>
                    <a:pt x="208" y="393"/>
                  </a:lnTo>
                  <a:lnTo>
                    <a:pt x="208" y="395"/>
                  </a:lnTo>
                  <a:lnTo>
                    <a:pt x="208" y="397"/>
                  </a:lnTo>
                  <a:lnTo>
                    <a:pt x="209" y="397"/>
                  </a:lnTo>
                  <a:lnTo>
                    <a:pt x="211" y="397"/>
                  </a:lnTo>
                  <a:lnTo>
                    <a:pt x="211" y="395"/>
                  </a:lnTo>
                  <a:lnTo>
                    <a:pt x="213" y="395"/>
                  </a:lnTo>
                  <a:lnTo>
                    <a:pt x="213" y="397"/>
                  </a:lnTo>
                  <a:lnTo>
                    <a:pt x="213" y="398"/>
                  </a:lnTo>
                  <a:lnTo>
                    <a:pt x="211" y="398"/>
                  </a:lnTo>
                  <a:lnTo>
                    <a:pt x="209" y="398"/>
                  </a:lnTo>
                  <a:lnTo>
                    <a:pt x="209" y="400"/>
                  </a:lnTo>
                  <a:lnTo>
                    <a:pt x="208" y="400"/>
                  </a:lnTo>
                  <a:lnTo>
                    <a:pt x="208" y="402"/>
                  </a:lnTo>
                  <a:lnTo>
                    <a:pt x="206" y="402"/>
                  </a:lnTo>
                  <a:lnTo>
                    <a:pt x="205" y="400"/>
                  </a:lnTo>
                  <a:lnTo>
                    <a:pt x="203" y="400"/>
                  </a:lnTo>
                  <a:lnTo>
                    <a:pt x="203" y="402"/>
                  </a:lnTo>
                  <a:lnTo>
                    <a:pt x="201" y="402"/>
                  </a:lnTo>
                  <a:lnTo>
                    <a:pt x="203" y="402"/>
                  </a:lnTo>
                  <a:lnTo>
                    <a:pt x="201" y="402"/>
                  </a:lnTo>
                  <a:lnTo>
                    <a:pt x="201" y="400"/>
                  </a:lnTo>
                  <a:lnTo>
                    <a:pt x="200" y="398"/>
                  </a:lnTo>
                  <a:lnTo>
                    <a:pt x="200" y="397"/>
                  </a:lnTo>
                  <a:lnTo>
                    <a:pt x="200" y="395"/>
                  </a:lnTo>
                  <a:lnTo>
                    <a:pt x="198" y="395"/>
                  </a:lnTo>
                  <a:lnTo>
                    <a:pt x="200" y="395"/>
                  </a:lnTo>
                  <a:lnTo>
                    <a:pt x="198" y="395"/>
                  </a:lnTo>
                  <a:lnTo>
                    <a:pt x="198" y="393"/>
                  </a:lnTo>
                  <a:lnTo>
                    <a:pt x="200" y="393"/>
                  </a:lnTo>
                  <a:lnTo>
                    <a:pt x="200" y="392"/>
                  </a:lnTo>
                  <a:lnTo>
                    <a:pt x="201" y="392"/>
                  </a:lnTo>
                  <a:lnTo>
                    <a:pt x="203" y="390"/>
                  </a:lnTo>
                  <a:lnTo>
                    <a:pt x="205" y="389"/>
                  </a:lnTo>
                  <a:lnTo>
                    <a:pt x="206" y="387"/>
                  </a:lnTo>
                  <a:lnTo>
                    <a:pt x="208" y="387"/>
                  </a:lnTo>
                  <a:lnTo>
                    <a:pt x="209" y="387"/>
                  </a:lnTo>
                  <a:lnTo>
                    <a:pt x="209" y="389"/>
                  </a:lnTo>
                  <a:lnTo>
                    <a:pt x="208" y="389"/>
                  </a:lnTo>
                  <a:close/>
                  <a:moveTo>
                    <a:pt x="26" y="325"/>
                  </a:moveTo>
                  <a:lnTo>
                    <a:pt x="26" y="327"/>
                  </a:lnTo>
                  <a:lnTo>
                    <a:pt x="26" y="325"/>
                  </a:lnTo>
                  <a:lnTo>
                    <a:pt x="26" y="327"/>
                  </a:lnTo>
                  <a:lnTo>
                    <a:pt x="26" y="328"/>
                  </a:lnTo>
                  <a:lnTo>
                    <a:pt x="26" y="330"/>
                  </a:lnTo>
                  <a:lnTo>
                    <a:pt x="26" y="332"/>
                  </a:lnTo>
                  <a:lnTo>
                    <a:pt x="27" y="332"/>
                  </a:lnTo>
                  <a:lnTo>
                    <a:pt x="27" y="330"/>
                  </a:lnTo>
                  <a:lnTo>
                    <a:pt x="29" y="330"/>
                  </a:lnTo>
                  <a:lnTo>
                    <a:pt x="29" y="332"/>
                  </a:lnTo>
                  <a:lnTo>
                    <a:pt x="31" y="333"/>
                  </a:lnTo>
                  <a:lnTo>
                    <a:pt x="31" y="335"/>
                  </a:lnTo>
                  <a:lnTo>
                    <a:pt x="29" y="336"/>
                  </a:lnTo>
                  <a:lnTo>
                    <a:pt x="31" y="338"/>
                  </a:lnTo>
                  <a:lnTo>
                    <a:pt x="31" y="340"/>
                  </a:lnTo>
                  <a:lnTo>
                    <a:pt x="31" y="341"/>
                  </a:lnTo>
                  <a:lnTo>
                    <a:pt x="32" y="341"/>
                  </a:lnTo>
                  <a:lnTo>
                    <a:pt x="32" y="343"/>
                  </a:lnTo>
                  <a:lnTo>
                    <a:pt x="32" y="341"/>
                  </a:lnTo>
                  <a:lnTo>
                    <a:pt x="34" y="341"/>
                  </a:lnTo>
                  <a:lnTo>
                    <a:pt x="34" y="343"/>
                  </a:lnTo>
                  <a:lnTo>
                    <a:pt x="35" y="343"/>
                  </a:lnTo>
                  <a:lnTo>
                    <a:pt x="35" y="345"/>
                  </a:lnTo>
                  <a:lnTo>
                    <a:pt x="34" y="345"/>
                  </a:lnTo>
                  <a:lnTo>
                    <a:pt x="32" y="345"/>
                  </a:lnTo>
                  <a:lnTo>
                    <a:pt x="31" y="345"/>
                  </a:lnTo>
                  <a:lnTo>
                    <a:pt x="29" y="343"/>
                  </a:lnTo>
                  <a:lnTo>
                    <a:pt x="27" y="343"/>
                  </a:lnTo>
                  <a:lnTo>
                    <a:pt x="27" y="341"/>
                  </a:lnTo>
                  <a:lnTo>
                    <a:pt x="26" y="340"/>
                  </a:lnTo>
                  <a:lnTo>
                    <a:pt x="26" y="336"/>
                  </a:lnTo>
                  <a:lnTo>
                    <a:pt x="24" y="333"/>
                  </a:lnTo>
                  <a:lnTo>
                    <a:pt x="21" y="330"/>
                  </a:lnTo>
                  <a:lnTo>
                    <a:pt x="21" y="328"/>
                  </a:lnTo>
                  <a:lnTo>
                    <a:pt x="21" y="327"/>
                  </a:lnTo>
                  <a:lnTo>
                    <a:pt x="22" y="325"/>
                  </a:lnTo>
                  <a:lnTo>
                    <a:pt x="24" y="325"/>
                  </a:lnTo>
                  <a:lnTo>
                    <a:pt x="26" y="325"/>
                  </a:lnTo>
                  <a:close/>
                  <a:moveTo>
                    <a:pt x="284" y="146"/>
                  </a:moveTo>
                  <a:lnTo>
                    <a:pt x="283" y="148"/>
                  </a:lnTo>
                  <a:lnTo>
                    <a:pt x="281" y="149"/>
                  </a:lnTo>
                  <a:lnTo>
                    <a:pt x="281" y="151"/>
                  </a:lnTo>
                  <a:lnTo>
                    <a:pt x="279" y="151"/>
                  </a:lnTo>
                  <a:lnTo>
                    <a:pt x="278" y="151"/>
                  </a:lnTo>
                  <a:lnTo>
                    <a:pt x="276" y="149"/>
                  </a:lnTo>
                  <a:lnTo>
                    <a:pt x="276" y="148"/>
                  </a:lnTo>
                  <a:lnTo>
                    <a:pt x="275" y="148"/>
                  </a:lnTo>
                  <a:lnTo>
                    <a:pt x="275" y="146"/>
                  </a:lnTo>
                  <a:lnTo>
                    <a:pt x="276" y="146"/>
                  </a:lnTo>
                  <a:lnTo>
                    <a:pt x="278" y="146"/>
                  </a:lnTo>
                  <a:lnTo>
                    <a:pt x="279" y="146"/>
                  </a:lnTo>
                  <a:lnTo>
                    <a:pt x="281" y="146"/>
                  </a:lnTo>
                  <a:lnTo>
                    <a:pt x="281" y="145"/>
                  </a:lnTo>
                  <a:lnTo>
                    <a:pt x="283" y="145"/>
                  </a:lnTo>
                  <a:lnTo>
                    <a:pt x="284" y="145"/>
                  </a:lnTo>
                  <a:lnTo>
                    <a:pt x="286" y="143"/>
                  </a:lnTo>
                  <a:lnTo>
                    <a:pt x="286" y="145"/>
                  </a:lnTo>
                  <a:lnTo>
                    <a:pt x="284" y="146"/>
                  </a:lnTo>
                  <a:close/>
                  <a:moveTo>
                    <a:pt x="81" y="128"/>
                  </a:moveTo>
                  <a:lnTo>
                    <a:pt x="83" y="130"/>
                  </a:lnTo>
                  <a:lnTo>
                    <a:pt x="81" y="130"/>
                  </a:lnTo>
                  <a:lnTo>
                    <a:pt x="81" y="132"/>
                  </a:lnTo>
                  <a:lnTo>
                    <a:pt x="83" y="132"/>
                  </a:lnTo>
                  <a:lnTo>
                    <a:pt x="83" y="133"/>
                  </a:lnTo>
                  <a:lnTo>
                    <a:pt x="81" y="133"/>
                  </a:lnTo>
                  <a:lnTo>
                    <a:pt x="79" y="133"/>
                  </a:lnTo>
                  <a:lnTo>
                    <a:pt x="79" y="132"/>
                  </a:lnTo>
                  <a:lnTo>
                    <a:pt x="79" y="133"/>
                  </a:lnTo>
                  <a:lnTo>
                    <a:pt x="78" y="135"/>
                  </a:lnTo>
                  <a:lnTo>
                    <a:pt x="79" y="135"/>
                  </a:lnTo>
                  <a:lnTo>
                    <a:pt x="78" y="135"/>
                  </a:lnTo>
                  <a:lnTo>
                    <a:pt x="78" y="136"/>
                  </a:lnTo>
                  <a:lnTo>
                    <a:pt x="76" y="135"/>
                  </a:lnTo>
                  <a:lnTo>
                    <a:pt x="75" y="133"/>
                  </a:lnTo>
                  <a:lnTo>
                    <a:pt x="75" y="132"/>
                  </a:lnTo>
                  <a:lnTo>
                    <a:pt x="73" y="132"/>
                  </a:lnTo>
                  <a:lnTo>
                    <a:pt x="73" y="130"/>
                  </a:lnTo>
                  <a:lnTo>
                    <a:pt x="75" y="130"/>
                  </a:lnTo>
                  <a:lnTo>
                    <a:pt x="76" y="130"/>
                  </a:lnTo>
                  <a:lnTo>
                    <a:pt x="78" y="130"/>
                  </a:lnTo>
                  <a:lnTo>
                    <a:pt x="79" y="128"/>
                  </a:lnTo>
                  <a:lnTo>
                    <a:pt x="81" y="128"/>
                  </a:lnTo>
                  <a:close/>
                  <a:moveTo>
                    <a:pt x="380" y="294"/>
                  </a:moveTo>
                  <a:lnTo>
                    <a:pt x="382" y="296"/>
                  </a:lnTo>
                  <a:lnTo>
                    <a:pt x="382" y="297"/>
                  </a:lnTo>
                  <a:lnTo>
                    <a:pt x="382" y="299"/>
                  </a:lnTo>
                  <a:lnTo>
                    <a:pt x="382" y="301"/>
                  </a:lnTo>
                  <a:lnTo>
                    <a:pt x="384" y="302"/>
                  </a:lnTo>
                  <a:lnTo>
                    <a:pt x="382" y="302"/>
                  </a:lnTo>
                  <a:lnTo>
                    <a:pt x="380" y="302"/>
                  </a:lnTo>
                  <a:lnTo>
                    <a:pt x="380" y="301"/>
                  </a:lnTo>
                  <a:lnTo>
                    <a:pt x="379" y="301"/>
                  </a:lnTo>
                  <a:lnTo>
                    <a:pt x="379" y="299"/>
                  </a:lnTo>
                  <a:lnTo>
                    <a:pt x="379" y="301"/>
                  </a:lnTo>
                  <a:lnTo>
                    <a:pt x="379" y="299"/>
                  </a:lnTo>
                  <a:lnTo>
                    <a:pt x="377" y="299"/>
                  </a:lnTo>
                  <a:lnTo>
                    <a:pt x="379" y="299"/>
                  </a:lnTo>
                  <a:lnTo>
                    <a:pt x="377" y="299"/>
                  </a:lnTo>
                  <a:lnTo>
                    <a:pt x="377" y="297"/>
                  </a:lnTo>
                  <a:lnTo>
                    <a:pt x="379" y="297"/>
                  </a:lnTo>
                  <a:lnTo>
                    <a:pt x="379" y="296"/>
                  </a:lnTo>
                  <a:lnTo>
                    <a:pt x="379" y="294"/>
                  </a:lnTo>
                  <a:lnTo>
                    <a:pt x="380" y="294"/>
                  </a:lnTo>
                  <a:close/>
                  <a:moveTo>
                    <a:pt x="34" y="354"/>
                  </a:moveTo>
                  <a:lnTo>
                    <a:pt x="34" y="356"/>
                  </a:lnTo>
                  <a:lnTo>
                    <a:pt x="34" y="354"/>
                  </a:lnTo>
                  <a:lnTo>
                    <a:pt x="34" y="356"/>
                  </a:lnTo>
                  <a:lnTo>
                    <a:pt x="35" y="356"/>
                  </a:lnTo>
                  <a:lnTo>
                    <a:pt x="35" y="358"/>
                  </a:lnTo>
                  <a:lnTo>
                    <a:pt x="34" y="358"/>
                  </a:lnTo>
                  <a:lnTo>
                    <a:pt x="34" y="359"/>
                  </a:lnTo>
                  <a:lnTo>
                    <a:pt x="32" y="359"/>
                  </a:lnTo>
                  <a:lnTo>
                    <a:pt x="34" y="359"/>
                  </a:lnTo>
                  <a:lnTo>
                    <a:pt x="32" y="359"/>
                  </a:lnTo>
                  <a:lnTo>
                    <a:pt x="32" y="361"/>
                  </a:lnTo>
                  <a:lnTo>
                    <a:pt x="31" y="361"/>
                  </a:lnTo>
                  <a:lnTo>
                    <a:pt x="29" y="361"/>
                  </a:lnTo>
                  <a:lnTo>
                    <a:pt x="29" y="359"/>
                  </a:lnTo>
                  <a:lnTo>
                    <a:pt x="29" y="358"/>
                  </a:lnTo>
                  <a:lnTo>
                    <a:pt x="31" y="356"/>
                  </a:lnTo>
                  <a:lnTo>
                    <a:pt x="31" y="354"/>
                  </a:lnTo>
                  <a:lnTo>
                    <a:pt x="32" y="354"/>
                  </a:lnTo>
                  <a:lnTo>
                    <a:pt x="34" y="353"/>
                  </a:lnTo>
                  <a:lnTo>
                    <a:pt x="34" y="354"/>
                  </a:lnTo>
                  <a:close/>
                  <a:moveTo>
                    <a:pt x="273" y="398"/>
                  </a:moveTo>
                  <a:lnTo>
                    <a:pt x="275" y="398"/>
                  </a:lnTo>
                  <a:lnTo>
                    <a:pt x="276" y="398"/>
                  </a:lnTo>
                  <a:lnTo>
                    <a:pt x="276" y="400"/>
                  </a:lnTo>
                  <a:lnTo>
                    <a:pt x="278" y="400"/>
                  </a:lnTo>
                  <a:lnTo>
                    <a:pt x="278" y="402"/>
                  </a:lnTo>
                  <a:lnTo>
                    <a:pt x="276" y="402"/>
                  </a:lnTo>
                  <a:lnTo>
                    <a:pt x="275" y="402"/>
                  </a:lnTo>
                  <a:lnTo>
                    <a:pt x="273" y="402"/>
                  </a:lnTo>
                  <a:lnTo>
                    <a:pt x="273" y="403"/>
                  </a:lnTo>
                  <a:lnTo>
                    <a:pt x="271" y="405"/>
                  </a:lnTo>
                  <a:lnTo>
                    <a:pt x="271" y="403"/>
                  </a:lnTo>
                  <a:lnTo>
                    <a:pt x="270" y="403"/>
                  </a:lnTo>
                  <a:lnTo>
                    <a:pt x="270" y="402"/>
                  </a:lnTo>
                  <a:lnTo>
                    <a:pt x="268" y="400"/>
                  </a:lnTo>
                  <a:lnTo>
                    <a:pt x="270" y="400"/>
                  </a:lnTo>
                  <a:lnTo>
                    <a:pt x="271" y="400"/>
                  </a:lnTo>
                  <a:lnTo>
                    <a:pt x="273" y="400"/>
                  </a:lnTo>
                  <a:lnTo>
                    <a:pt x="273" y="398"/>
                  </a:lnTo>
                  <a:lnTo>
                    <a:pt x="271" y="398"/>
                  </a:lnTo>
                  <a:lnTo>
                    <a:pt x="273" y="398"/>
                  </a:lnTo>
                  <a:close/>
                  <a:moveTo>
                    <a:pt x="153" y="413"/>
                  </a:moveTo>
                  <a:lnTo>
                    <a:pt x="154" y="415"/>
                  </a:lnTo>
                  <a:lnTo>
                    <a:pt x="156" y="415"/>
                  </a:lnTo>
                  <a:lnTo>
                    <a:pt x="154" y="416"/>
                  </a:lnTo>
                  <a:lnTo>
                    <a:pt x="154" y="415"/>
                  </a:lnTo>
                  <a:lnTo>
                    <a:pt x="153" y="416"/>
                  </a:lnTo>
                  <a:lnTo>
                    <a:pt x="151" y="416"/>
                  </a:lnTo>
                  <a:lnTo>
                    <a:pt x="149" y="415"/>
                  </a:lnTo>
                  <a:lnTo>
                    <a:pt x="148" y="415"/>
                  </a:lnTo>
                  <a:lnTo>
                    <a:pt x="148" y="413"/>
                  </a:lnTo>
                  <a:lnTo>
                    <a:pt x="146" y="413"/>
                  </a:lnTo>
                  <a:lnTo>
                    <a:pt x="144" y="411"/>
                  </a:lnTo>
                  <a:lnTo>
                    <a:pt x="146" y="411"/>
                  </a:lnTo>
                  <a:lnTo>
                    <a:pt x="146" y="410"/>
                  </a:lnTo>
                  <a:lnTo>
                    <a:pt x="148" y="410"/>
                  </a:lnTo>
                  <a:lnTo>
                    <a:pt x="149" y="411"/>
                  </a:lnTo>
                  <a:lnTo>
                    <a:pt x="151" y="411"/>
                  </a:lnTo>
                  <a:lnTo>
                    <a:pt x="151" y="413"/>
                  </a:lnTo>
                  <a:lnTo>
                    <a:pt x="153" y="413"/>
                  </a:lnTo>
                  <a:close/>
                  <a:moveTo>
                    <a:pt x="305" y="280"/>
                  </a:moveTo>
                  <a:lnTo>
                    <a:pt x="305" y="281"/>
                  </a:lnTo>
                  <a:lnTo>
                    <a:pt x="304" y="283"/>
                  </a:lnTo>
                  <a:lnTo>
                    <a:pt x="304" y="284"/>
                  </a:lnTo>
                  <a:lnTo>
                    <a:pt x="302" y="284"/>
                  </a:lnTo>
                  <a:lnTo>
                    <a:pt x="301" y="283"/>
                  </a:lnTo>
                  <a:lnTo>
                    <a:pt x="301" y="281"/>
                  </a:lnTo>
                  <a:lnTo>
                    <a:pt x="299" y="281"/>
                  </a:lnTo>
                  <a:lnTo>
                    <a:pt x="299" y="280"/>
                  </a:lnTo>
                  <a:lnTo>
                    <a:pt x="301" y="280"/>
                  </a:lnTo>
                  <a:lnTo>
                    <a:pt x="302" y="280"/>
                  </a:lnTo>
                  <a:lnTo>
                    <a:pt x="304" y="280"/>
                  </a:lnTo>
                  <a:lnTo>
                    <a:pt x="304" y="278"/>
                  </a:lnTo>
                  <a:lnTo>
                    <a:pt x="302" y="278"/>
                  </a:lnTo>
                  <a:lnTo>
                    <a:pt x="302" y="276"/>
                  </a:lnTo>
                  <a:lnTo>
                    <a:pt x="304" y="276"/>
                  </a:lnTo>
                  <a:lnTo>
                    <a:pt x="304" y="278"/>
                  </a:lnTo>
                  <a:lnTo>
                    <a:pt x="305" y="278"/>
                  </a:lnTo>
                  <a:lnTo>
                    <a:pt x="305" y="280"/>
                  </a:lnTo>
                  <a:close/>
                  <a:moveTo>
                    <a:pt x="322" y="402"/>
                  </a:moveTo>
                  <a:lnTo>
                    <a:pt x="323" y="402"/>
                  </a:lnTo>
                  <a:lnTo>
                    <a:pt x="323" y="400"/>
                  </a:lnTo>
                  <a:lnTo>
                    <a:pt x="325" y="400"/>
                  </a:lnTo>
                  <a:lnTo>
                    <a:pt x="327" y="400"/>
                  </a:lnTo>
                  <a:lnTo>
                    <a:pt x="328" y="402"/>
                  </a:lnTo>
                  <a:lnTo>
                    <a:pt x="328" y="403"/>
                  </a:lnTo>
                  <a:lnTo>
                    <a:pt x="328" y="405"/>
                  </a:lnTo>
                  <a:lnTo>
                    <a:pt x="327" y="405"/>
                  </a:lnTo>
                  <a:lnTo>
                    <a:pt x="325" y="405"/>
                  </a:lnTo>
                  <a:lnTo>
                    <a:pt x="322" y="403"/>
                  </a:lnTo>
                  <a:lnTo>
                    <a:pt x="320" y="403"/>
                  </a:lnTo>
                  <a:lnTo>
                    <a:pt x="320" y="402"/>
                  </a:lnTo>
                  <a:lnTo>
                    <a:pt x="320" y="400"/>
                  </a:lnTo>
                  <a:lnTo>
                    <a:pt x="320" y="398"/>
                  </a:lnTo>
                  <a:lnTo>
                    <a:pt x="320" y="400"/>
                  </a:lnTo>
                  <a:lnTo>
                    <a:pt x="322" y="400"/>
                  </a:lnTo>
                  <a:lnTo>
                    <a:pt x="322" y="402"/>
                  </a:lnTo>
                  <a:close/>
                  <a:moveTo>
                    <a:pt x="35" y="349"/>
                  </a:moveTo>
                  <a:lnTo>
                    <a:pt x="37" y="349"/>
                  </a:lnTo>
                  <a:lnTo>
                    <a:pt x="37" y="351"/>
                  </a:lnTo>
                  <a:lnTo>
                    <a:pt x="39" y="349"/>
                  </a:lnTo>
                  <a:lnTo>
                    <a:pt x="40" y="351"/>
                  </a:lnTo>
                  <a:lnTo>
                    <a:pt x="39" y="353"/>
                  </a:lnTo>
                  <a:lnTo>
                    <a:pt x="39" y="354"/>
                  </a:lnTo>
                  <a:lnTo>
                    <a:pt x="37" y="354"/>
                  </a:lnTo>
                  <a:lnTo>
                    <a:pt x="35" y="354"/>
                  </a:lnTo>
                  <a:lnTo>
                    <a:pt x="35" y="353"/>
                  </a:lnTo>
                  <a:lnTo>
                    <a:pt x="34" y="353"/>
                  </a:lnTo>
                  <a:lnTo>
                    <a:pt x="34" y="351"/>
                  </a:lnTo>
                  <a:lnTo>
                    <a:pt x="35" y="351"/>
                  </a:lnTo>
                  <a:lnTo>
                    <a:pt x="35" y="349"/>
                  </a:lnTo>
                  <a:close/>
                  <a:moveTo>
                    <a:pt x="154" y="369"/>
                  </a:moveTo>
                  <a:lnTo>
                    <a:pt x="156" y="369"/>
                  </a:lnTo>
                  <a:lnTo>
                    <a:pt x="154" y="369"/>
                  </a:lnTo>
                  <a:lnTo>
                    <a:pt x="156" y="371"/>
                  </a:lnTo>
                  <a:lnTo>
                    <a:pt x="157" y="371"/>
                  </a:lnTo>
                  <a:lnTo>
                    <a:pt x="157" y="372"/>
                  </a:lnTo>
                  <a:lnTo>
                    <a:pt x="157" y="374"/>
                  </a:lnTo>
                  <a:lnTo>
                    <a:pt x="159" y="374"/>
                  </a:lnTo>
                  <a:lnTo>
                    <a:pt x="159" y="376"/>
                  </a:lnTo>
                  <a:lnTo>
                    <a:pt x="159" y="377"/>
                  </a:lnTo>
                  <a:lnTo>
                    <a:pt x="157" y="377"/>
                  </a:lnTo>
                  <a:lnTo>
                    <a:pt x="156" y="377"/>
                  </a:lnTo>
                  <a:lnTo>
                    <a:pt x="154" y="376"/>
                  </a:lnTo>
                  <a:lnTo>
                    <a:pt x="154" y="374"/>
                  </a:lnTo>
                  <a:lnTo>
                    <a:pt x="154" y="372"/>
                  </a:lnTo>
                  <a:lnTo>
                    <a:pt x="154" y="371"/>
                  </a:lnTo>
                  <a:lnTo>
                    <a:pt x="154" y="369"/>
                  </a:lnTo>
                  <a:close/>
                  <a:moveTo>
                    <a:pt x="247" y="263"/>
                  </a:moveTo>
                  <a:lnTo>
                    <a:pt x="247" y="265"/>
                  </a:lnTo>
                  <a:lnTo>
                    <a:pt x="249" y="265"/>
                  </a:lnTo>
                  <a:lnTo>
                    <a:pt x="250" y="267"/>
                  </a:lnTo>
                  <a:lnTo>
                    <a:pt x="252" y="268"/>
                  </a:lnTo>
                  <a:lnTo>
                    <a:pt x="252" y="270"/>
                  </a:lnTo>
                  <a:lnTo>
                    <a:pt x="253" y="270"/>
                  </a:lnTo>
                  <a:lnTo>
                    <a:pt x="252" y="270"/>
                  </a:lnTo>
                  <a:lnTo>
                    <a:pt x="250" y="268"/>
                  </a:lnTo>
                  <a:lnTo>
                    <a:pt x="249" y="268"/>
                  </a:lnTo>
                  <a:lnTo>
                    <a:pt x="247" y="268"/>
                  </a:lnTo>
                  <a:lnTo>
                    <a:pt x="247" y="267"/>
                  </a:lnTo>
                  <a:lnTo>
                    <a:pt x="245" y="265"/>
                  </a:lnTo>
                  <a:lnTo>
                    <a:pt x="244" y="265"/>
                  </a:lnTo>
                  <a:lnTo>
                    <a:pt x="244" y="263"/>
                  </a:lnTo>
                  <a:lnTo>
                    <a:pt x="242" y="263"/>
                  </a:lnTo>
                  <a:lnTo>
                    <a:pt x="242" y="262"/>
                  </a:lnTo>
                  <a:lnTo>
                    <a:pt x="244" y="262"/>
                  </a:lnTo>
                  <a:lnTo>
                    <a:pt x="245" y="263"/>
                  </a:lnTo>
                  <a:lnTo>
                    <a:pt x="247" y="263"/>
                  </a:lnTo>
                  <a:close/>
                  <a:moveTo>
                    <a:pt x="182" y="284"/>
                  </a:moveTo>
                  <a:lnTo>
                    <a:pt x="182" y="288"/>
                  </a:lnTo>
                  <a:lnTo>
                    <a:pt x="180" y="288"/>
                  </a:lnTo>
                  <a:lnTo>
                    <a:pt x="179" y="288"/>
                  </a:lnTo>
                  <a:lnTo>
                    <a:pt x="177" y="288"/>
                  </a:lnTo>
                  <a:lnTo>
                    <a:pt x="175" y="288"/>
                  </a:lnTo>
                  <a:lnTo>
                    <a:pt x="175" y="286"/>
                  </a:lnTo>
                  <a:lnTo>
                    <a:pt x="175" y="284"/>
                  </a:lnTo>
                  <a:lnTo>
                    <a:pt x="179" y="286"/>
                  </a:lnTo>
                  <a:lnTo>
                    <a:pt x="179" y="284"/>
                  </a:lnTo>
                  <a:lnTo>
                    <a:pt x="180" y="284"/>
                  </a:lnTo>
                  <a:lnTo>
                    <a:pt x="180" y="283"/>
                  </a:lnTo>
                  <a:lnTo>
                    <a:pt x="180" y="281"/>
                  </a:lnTo>
                  <a:lnTo>
                    <a:pt x="182" y="283"/>
                  </a:lnTo>
                  <a:lnTo>
                    <a:pt x="182" y="284"/>
                  </a:lnTo>
                  <a:close/>
                  <a:moveTo>
                    <a:pt x="281" y="393"/>
                  </a:moveTo>
                  <a:lnTo>
                    <a:pt x="281" y="395"/>
                  </a:lnTo>
                  <a:lnTo>
                    <a:pt x="283" y="395"/>
                  </a:lnTo>
                  <a:lnTo>
                    <a:pt x="284" y="395"/>
                  </a:lnTo>
                  <a:lnTo>
                    <a:pt x="286" y="397"/>
                  </a:lnTo>
                  <a:lnTo>
                    <a:pt x="283" y="400"/>
                  </a:lnTo>
                  <a:lnTo>
                    <a:pt x="283" y="402"/>
                  </a:lnTo>
                  <a:lnTo>
                    <a:pt x="283" y="400"/>
                  </a:lnTo>
                  <a:lnTo>
                    <a:pt x="281" y="398"/>
                  </a:lnTo>
                  <a:lnTo>
                    <a:pt x="281" y="397"/>
                  </a:lnTo>
                  <a:lnTo>
                    <a:pt x="279" y="397"/>
                  </a:lnTo>
                  <a:lnTo>
                    <a:pt x="279" y="395"/>
                  </a:lnTo>
                  <a:lnTo>
                    <a:pt x="281" y="393"/>
                  </a:lnTo>
                  <a:close/>
                  <a:moveTo>
                    <a:pt x="253" y="359"/>
                  </a:moveTo>
                  <a:lnTo>
                    <a:pt x="252" y="359"/>
                  </a:lnTo>
                  <a:lnTo>
                    <a:pt x="253" y="359"/>
                  </a:lnTo>
                  <a:lnTo>
                    <a:pt x="252" y="361"/>
                  </a:lnTo>
                  <a:lnTo>
                    <a:pt x="253" y="361"/>
                  </a:lnTo>
                  <a:lnTo>
                    <a:pt x="253" y="363"/>
                  </a:lnTo>
                  <a:lnTo>
                    <a:pt x="253" y="364"/>
                  </a:lnTo>
                  <a:lnTo>
                    <a:pt x="255" y="364"/>
                  </a:lnTo>
                  <a:lnTo>
                    <a:pt x="253" y="364"/>
                  </a:lnTo>
                  <a:lnTo>
                    <a:pt x="255" y="364"/>
                  </a:lnTo>
                  <a:lnTo>
                    <a:pt x="255" y="366"/>
                  </a:lnTo>
                  <a:lnTo>
                    <a:pt x="253" y="366"/>
                  </a:lnTo>
                  <a:lnTo>
                    <a:pt x="255" y="366"/>
                  </a:lnTo>
                  <a:lnTo>
                    <a:pt x="255" y="364"/>
                  </a:lnTo>
                  <a:lnTo>
                    <a:pt x="257" y="366"/>
                  </a:lnTo>
                  <a:lnTo>
                    <a:pt x="255" y="366"/>
                  </a:lnTo>
                  <a:lnTo>
                    <a:pt x="255" y="367"/>
                  </a:lnTo>
                  <a:lnTo>
                    <a:pt x="253" y="366"/>
                  </a:lnTo>
                  <a:lnTo>
                    <a:pt x="252" y="366"/>
                  </a:lnTo>
                  <a:lnTo>
                    <a:pt x="252" y="364"/>
                  </a:lnTo>
                  <a:lnTo>
                    <a:pt x="252" y="361"/>
                  </a:lnTo>
                  <a:lnTo>
                    <a:pt x="252" y="359"/>
                  </a:lnTo>
                  <a:lnTo>
                    <a:pt x="252" y="358"/>
                  </a:lnTo>
                  <a:lnTo>
                    <a:pt x="253" y="358"/>
                  </a:lnTo>
                  <a:lnTo>
                    <a:pt x="253" y="359"/>
                  </a:lnTo>
                  <a:close/>
                  <a:moveTo>
                    <a:pt x="47" y="154"/>
                  </a:moveTo>
                  <a:lnTo>
                    <a:pt x="47" y="156"/>
                  </a:lnTo>
                  <a:lnTo>
                    <a:pt x="48" y="156"/>
                  </a:lnTo>
                  <a:lnTo>
                    <a:pt x="48" y="154"/>
                  </a:lnTo>
                  <a:lnTo>
                    <a:pt x="48" y="156"/>
                  </a:lnTo>
                  <a:lnTo>
                    <a:pt x="47" y="156"/>
                  </a:lnTo>
                  <a:lnTo>
                    <a:pt x="47" y="158"/>
                  </a:lnTo>
                  <a:lnTo>
                    <a:pt x="48" y="158"/>
                  </a:lnTo>
                  <a:lnTo>
                    <a:pt x="48" y="159"/>
                  </a:lnTo>
                  <a:lnTo>
                    <a:pt x="47" y="159"/>
                  </a:lnTo>
                  <a:lnTo>
                    <a:pt x="47" y="161"/>
                  </a:lnTo>
                  <a:lnTo>
                    <a:pt x="48" y="161"/>
                  </a:lnTo>
                  <a:lnTo>
                    <a:pt x="47" y="161"/>
                  </a:lnTo>
                  <a:lnTo>
                    <a:pt x="47" y="159"/>
                  </a:lnTo>
                  <a:lnTo>
                    <a:pt x="45" y="159"/>
                  </a:lnTo>
                  <a:lnTo>
                    <a:pt x="45" y="158"/>
                  </a:lnTo>
                  <a:lnTo>
                    <a:pt x="45" y="156"/>
                  </a:lnTo>
                  <a:lnTo>
                    <a:pt x="44" y="156"/>
                  </a:lnTo>
                  <a:lnTo>
                    <a:pt x="44" y="154"/>
                  </a:lnTo>
                  <a:lnTo>
                    <a:pt x="45" y="154"/>
                  </a:lnTo>
                  <a:lnTo>
                    <a:pt x="47" y="154"/>
                  </a:lnTo>
                  <a:close/>
                  <a:moveTo>
                    <a:pt x="166" y="270"/>
                  </a:moveTo>
                  <a:lnTo>
                    <a:pt x="166" y="271"/>
                  </a:lnTo>
                  <a:lnTo>
                    <a:pt x="164" y="271"/>
                  </a:lnTo>
                  <a:lnTo>
                    <a:pt x="162" y="273"/>
                  </a:lnTo>
                  <a:lnTo>
                    <a:pt x="161" y="273"/>
                  </a:lnTo>
                  <a:lnTo>
                    <a:pt x="159" y="273"/>
                  </a:lnTo>
                  <a:lnTo>
                    <a:pt x="159" y="271"/>
                  </a:lnTo>
                  <a:lnTo>
                    <a:pt x="161" y="270"/>
                  </a:lnTo>
                  <a:lnTo>
                    <a:pt x="162" y="270"/>
                  </a:lnTo>
                  <a:lnTo>
                    <a:pt x="164" y="270"/>
                  </a:lnTo>
                  <a:lnTo>
                    <a:pt x="166" y="270"/>
                  </a:lnTo>
                  <a:close/>
                  <a:moveTo>
                    <a:pt x="214" y="387"/>
                  </a:moveTo>
                  <a:lnTo>
                    <a:pt x="214" y="389"/>
                  </a:lnTo>
                  <a:lnTo>
                    <a:pt x="214" y="390"/>
                  </a:lnTo>
                  <a:lnTo>
                    <a:pt x="213" y="389"/>
                  </a:lnTo>
                  <a:lnTo>
                    <a:pt x="213" y="390"/>
                  </a:lnTo>
                  <a:lnTo>
                    <a:pt x="211" y="390"/>
                  </a:lnTo>
                  <a:lnTo>
                    <a:pt x="211" y="389"/>
                  </a:lnTo>
                  <a:lnTo>
                    <a:pt x="213" y="389"/>
                  </a:lnTo>
                  <a:lnTo>
                    <a:pt x="211" y="389"/>
                  </a:lnTo>
                  <a:lnTo>
                    <a:pt x="209" y="389"/>
                  </a:lnTo>
                  <a:lnTo>
                    <a:pt x="209" y="387"/>
                  </a:lnTo>
                  <a:lnTo>
                    <a:pt x="211" y="387"/>
                  </a:lnTo>
                  <a:lnTo>
                    <a:pt x="213" y="387"/>
                  </a:lnTo>
                  <a:lnTo>
                    <a:pt x="214" y="387"/>
                  </a:lnTo>
                  <a:close/>
                  <a:moveTo>
                    <a:pt x="144" y="99"/>
                  </a:moveTo>
                  <a:lnTo>
                    <a:pt x="143" y="99"/>
                  </a:lnTo>
                  <a:lnTo>
                    <a:pt x="141" y="99"/>
                  </a:lnTo>
                  <a:lnTo>
                    <a:pt x="141" y="97"/>
                  </a:lnTo>
                  <a:lnTo>
                    <a:pt x="143" y="97"/>
                  </a:lnTo>
                  <a:lnTo>
                    <a:pt x="144" y="97"/>
                  </a:lnTo>
                  <a:lnTo>
                    <a:pt x="146" y="97"/>
                  </a:lnTo>
                  <a:lnTo>
                    <a:pt x="146" y="99"/>
                  </a:lnTo>
                  <a:lnTo>
                    <a:pt x="144" y="99"/>
                  </a:lnTo>
                  <a:close/>
                  <a:moveTo>
                    <a:pt x="141" y="348"/>
                  </a:moveTo>
                  <a:lnTo>
                    <a:pt x="141" y="349"/>
                  </a:lnTo>
                  <a:lnTo>
                    <a:pt x="141" y="351"/>
                  </a:lnTo>
                  <a:lnTo>
                    <a:pt x="140" y="351"/>
                  </a:lnTo>
                  <a:lnTo>
                    <a:pt x="140" y="349"/>
                  </a:lnTo>
                  <a:lnTo>
                    <a:pt x="138" y="349"/>
                  </a:lnTo>
                  <a:lnTo>
                    <a:pt x="140" y="348"/>
                  </a:lnTo>
                  <a:lnTo>
                    <a:pt x="141" y="348"/>
                  </a:lnTo>
                  <a:close/>
                  <a:moveTo>
                    <a:pt x="297" y="364"/>
                  </a:moveTo>
                  <a:lnTo>
                    <a:pt x="297" y="366"/>
                  </a:lnTo>
                  <a:lnTo>
                    <a:pt x="297" y="367"/>
                  </a:lnTo>
                  <a:lnTo>
                    <a:pt x="296" y="367"/>
                  </a:lnTo>
                  <a:lnTo>
                    <a:pt x="294" y="367"/>
                  </a:lnTo>
                  <a:lnTo>
                    <a:pt x="294" y="366"/>
                  </a:lnTo>
                  <a:lnTo>
                    <a:pt x="296" y="366"/>
                  </a:lnTo>
                  <a:lnTo>
                    <a:pt x="296" y="364"/>
                  </a:lnTo>
                  <a:lnTo>
                    <a:pt x="297" y="364"/>
                  </a:lnTo>
                  <a:close/>
                  <a:moveTo>
                    <a:pt x="275" y="364"/>
                  </a:moveTo>
                  <a:lnTo>
                    <a:pt x="275" y="366"/>
                  </a:lnTo>
                  <a:lnTo>
                    <a:pt x="276" y="366"/>
                  </a:lnTo>
                  <a:lnTo>
                    <a:pt x="275" y="366"/>
                  </a:lnTo>
                  <a:lnTo>
                    <a:pt x="271" y="366"/>
                  </a:lnTo>
                  <a:lnTo>
                    <a:pt x="270" y="366"/>
                  </a:lnTo>
                  <a:lnTo>
                    <a:pt x="271" y="366"/>
                  </a:lnTo>
                  <a:lnTo>
                    <a:pt x="273" y="366"/>
                  </a:lnTo>
                  <a:lnTo>
                    <a:pt x="271" y="366"/>
                  </a:lnTo>
                  <a:lnTo>
                    <a:pt x="271" y="364"/>
                  </a:lnTo>
                  <a:lnTo>
                    <a:pt x="273" y="364"/>
                  </a:lnTo>
                  <a:lnTo>
                    <a:pt x="275" y="364"/>
                  </a:lnTo>
                  <a:close/>
                  <a:moveTo>
                    <a:pt x="177" y="390"/>
                  </a:moveTo>
                  <a:lnTo>
                    <a:pt x="179" y="390"/>
                  </a:lnTo>
                  <a:lnTo>
                    <a:pt x="179" y="392"/>
                  </a:lnTo>
                  <a:lnTo>
                    <a:pt x="180" y="392"/>
                  </a:lnTo>
                  <a:lnTo>
                    <a:pt x="182" y="392"/>
                  </a:lnTo>
                  <a:lnTo>
                    <a:pt x="183" y="392"/>
                  </a:lnTo>
                  <a:lnTo>
                    <a:pt x="183" y="393"/>
                  </a:lnTo>
                  <a:lnTo>
                    <a:pt x="182" y="393"/>
                  </a:lnTo>
                  <a:lnTo>
                    <a:pt x="180" y="392"/>
                  </a:lnTo>
                  <a:lnTo>
                    <a:pt x="179" y="392"/>
                  </a:lnTo>
                  <a:lnTo>
                    <a:pt x="177" y="392"/>
                  </a:lnTo>
                  <a:lnTo>
                    <a:pt x="175" y="390"/>
                  </a:lnTo>
                  <a:lnTo>
                    <a:pt x="175" y="389"/>
                  </a:lnTo>
                  <a:lnTo>
                    <a:pt x="177" y="389"/>
                  </a:lnTo>
                  <a:lnTo>
                    <a:pt x="177" y="390"/>
                  </a:lnTo>
                  <a:close/>
                  <a:moveTo>
                    <a:pt x="338" y="387"/>
                  </a:moveTo>
                  <a:lnTo>
                    <a:pt x="336" y="385"/>
                  </a:lnTo>
                  <a:lnTo>
                    <a:pt x="335" y="385"/>
                  </a:lnTo>
                  <a:lnTo>
                    <a:pt x="336" y="385"/>
                  </a:lnTo>
                  <a:lnTo>
                    <a:pt x="338" y="384"/>
                  </a:lnTo>
                  <a:lnTo>
                    <a:pt x="340" y="384"/>
                  </a:lnTo>
                  <a:lnTo>
                    <a:pt x="340" y="382"/>
                  </a:lnTo>
                  <a:lnTo>
                    <a:pt x="340" y="384"/>
                  </a:lnTo>
                  <a:lnTo>
                    <a:pt x="340" y="385"/>
                  </a:lnTo>
                  <a:lnTo>
                    <a:pt x="338" y="387"/>
                  </a:lnTo>
                  <a:close/>
                  <a:moveTo>
                    <a:pt x="167" y="390"/>
                  </a:moveTo>
                  <a:lnTo>
                    <a:pt x="167" y="389"/>
                  </a:lnTo>
                  <a:lnTo>
                    <a:pt x="166" y="389"/>
                  </a:lnTo>
                  <a:lnTo>
                    <a:pt x="166" y="387"/>
                  </a:lnTo>
                  <a:lnTo>
                    <a:pt x="167" y="387"/>
                  </a:lnTo>
                  <a:lnTo>
                    <a:pt x="167" y="385"/>
                  </a:lnTo>
                  <a:lnTo>
                    <a:pt x="167" y="387"/>
                  </a:lnTo>
                  <a:lnTo>
                    <a:pt x="169" y="387"/>
                  </a:lnTo>
                  <a:lnTo>
                    <a:pt x="170" y="387"/>
                  </a:lnTo>
                  <a:lnTo>
                    <a:pt x="170" y="389"/>
                  </a:lnTo>
                  <a:lnTo>
                    <a:pt x="167" y="390"/>
                  </a:lnTo>
                  <a:close/>
                  <a:moveTo>
                    <a:pt x="136" y="359"/>
                  </a:moveTo>
                  <a:lnTo>
                    <a:pt x="135" y="359"/>
                  </a:lnTo>
                  <a:lnTo>
                    <a:pt x="133" y="358"/>
                  </a:lnTo>
                  <a:lnTo>
                    <a:pt x="133" y="356"/>
                  </a:lnTo>
                  <a:lnTo>
                    <a:pt x="135" y="354"/>
                  </a:lnTo>
                  <a:lnTo>
                    <a:pt x="136" y="356"/>
                  </a:lnTo>
                  <a:lnTo>
                    <a:pt x="136" y="358"/>
                  </a:lnTo>
                  <a:lnTo>
                    <a:pt x="136" y="359"/>
                  </a:lnTo>
                  <a:close/>
                  <a:moveTo>
                    <a:pt x="206" y="408"/>
                  </a:moveTo>
                  <a:lnTo>
                    <a:pt x="208" y="408"/>
                  </a:lnTo>
                  <a:lnTo>
                    <a:pt x="208" y="410"/>
                  </a:lnTo>
                  <a:lnTo>
                    <a:pt x="206" y="410"/>
                  </a:lnTo>
                  <a:lnTo>
                    <a:pt x="205" y="408"/>
                  </a:lnTo>
                  <a:lnTo>
                    <a:pt x="205" y="406"/>
                  </a:lnTo>
                  <a:lnTo>
                    <a:pt x="206" y="406"/>
                  </a:lnTo>
                  <a:lnTo>
                    <a:pt x="208" y="406"/>
                  </a:lnTo>
                  <a:lnTo>
                    <a:pt x="206" y="406"/>
                  </a:lnTo>
                  <a:lnTo>
                    <a:pt x="206" y="408"/>
                  </a:lnTo>
                  <a:close/>
                  <a:moveTo>
                    <a:pt x="252" y="369"/>
                  </a:moveTo>
                  <a:lnTo>
                    <a:pt x="253" y="369"/>
                  </a:lnTo>
                  <a:lnTo>
                    <a:pt x="252" y="371"/>
                  </a:lnTo>
                  <a:lnTo>
                    <a:pt x="250" y="372"/>
                  </a:lnTo>
                  <a:lnTo>
                    <a:pt x="250" y="374"/>
                  </a:lnTo>
                  <a:lnTo>
                    <a:pt x="250" y="372"/>
                  </a:lnTo>
                  <a:lnTo>
                    <a:pt x="249" y="371"/>
                  </a:lnTo>
                  <a:lnTo>
                    <a:pt x="250" y="371"/>
                  </a:lnTo>
                  <a:lnTo>
                    <a:pt x="250" y="369"/>
                  </a:lnTo>
                  <a:lnTo>
                    <a:pt x="252" y="369"/>
                  </a:lnTo>
                  <a:lnTo>
                    <a:pt x="253" y="367"/>
                  </a:lnTo>
                  <a:lnTo>
                    <a:pt x="252" y="369"/>
                  </a:lnTo>
                  <a:close/>
                  <a:moveTo>
                    <a:pt x="188" y="397"/>
                  </a:moveTo>
                  <a:lnTo>
                    <a:pt x="188" y="398"/>
                  </a:lnTo>
                  <a:lnTo>
                    <a:pt x="190" y="397"/>
                  </a:lnTo>
                  <a:lnTo>
                    <a:pt x="190" y="398"/>
                  </a:lnTo>
                  <a:lnTo>
                    <a:pt x="192" y="398"/>
                  </a:lnTo>
                  <a:lnTo>
                    <a:pt x="190" y="397"/>
                  </a:lnTo>
                  <a:lnTo>
                    <a:pt x="192" y="397"/>
                  </a:lnTo>
                  <a:lnTo>
                    <a:pt x="192" y="398"/>
                  </a:lnTo>
                  <a:lnTo>
                    <a:pt x="192" y="400"/>
                  </a:lnTo>
                  <a:lnTo>
                    <a:pt x="190" y="400"/>
                  </a:lnTo>
                  <a:lnTo>
                    <a:pt x="190" y="398"/>
                  </a:lnTo>
                  <a:lnTo>
                    <a:pt x="188" y="398"/>
                  </a:lnTo>
                  <a:lnTo>
                    <a:pt x="188" y="397"/>
                  </a:lnTo>
                  <a:lnTo>
                    <a:pt x="187" y="397"/>
                  </a:lnTo>
                  <a:lnTo>
                    <a:pt x="187" y="398"/>
                  </a:lnTo>
                  <a:lnTo>
                    <a:pt x="185" y="398"/>
                  </a:lnTo>
                  <a:lnTo>
                    <a:pt x="185" y="397"/>
                  </a:lnTo>
                  <a:lnTo>
                    <a:pt x="187" y="397"/>
                  </a:lnTo>
                  <a:lnTo>
                    <a:pt x="188" y="397"/>
                  </a:lnTo>
                  <a:close/>
                  <a:moveTo>
                    <a:pt x="131" y="327"/>
                  </a:moveTo>
                  <a:lnTo>
                    <a:pt x="130" y="325"/>
                  </a:lnTo>
                  <a:lnTo>
                    <a:pt x="130" y="323"/>
                  </a:lnTo>
                  <a:lnTo>
                    <a:pt x="130" y="322"/>
                  </a:lnTo>
                  <a:lnTo>
                    <a:pt x="130" y="323"/>
                  </a:lnTo>
                  <a:lnTo>
                    <a:pt x="131" y="323"/>
                  </a:lnTo>
                  <a:lnTo>
                    <a:pt x="131" y="325"/>
                  </a:lnTo>
                  <a:lnTo>
                    <a:pt x="133" y="325"/>
                  </a:lnTo>
                  <a:lnTo>
                    <a:pt x="131" y="327"/>
                  </a:lnTo>
                  <a:close/>
                  <a:moveTo>
                    <a:pt x="42" y="149"/>
                  </a:moveTo>
                  <a:lnTo>
                    <a:pt x="42" y="148"/>
                  </a:lnTo>
                  <a:lnTo>
                    <a:pt x="42" y="146"/>
                  </a:lnTo>
                  <a:lnTo>
                    <a:pt x="44" y="146"/>
                  </a:lnTo>
                  <a:lnTo>
                    <a:pt x="44" y="148"/>
                  </a:lnTo>
                  <a:lnTo>
                    <a:pt x="42" y="149"/>
                  </a:lnTo>
                  <a:close/>
                  <a:moveTo>
                    <a:pt x="237" y="76"/>
                  </a:moveTo>
                  <a:lnTo>
                    <a:pt x="237" y="78"/>
                  </a:lnTo>
                  <a:lnTo>
                    <a:pt x="236" y="78"/>
                  </a:lnTo>
                  <a:lnTo>
                    <a:pt x="234" y="78"/>
                  </a:lnTo>
                  <a:lnTo>
                    <a:pt x="232" y="78"/>
                  </a:lnTo>
                  <a:lnTo>
                    <a:pt x="234" y="76"/>
                  </a:lnTo>
                  <a:lnTo>
                    <a:pt x="236" y="76"/>
                  </a:lnTo>
                  <a:lnTo>
                    <a:pt x="237" y="76"/>
                  </a:lnTo>
                  <a:close/>
                  <a:moveTo>
                    <a:pt x="192" y="258"/>
                  </a:moveTo>
                  <a:lnTo>
                    <a:pt x="190" y="258"/>
                  </a:lnTo>
                  <a:lnTo>
                    <a:pt x="188" y="258"/>
                  </a:lnTo>
                  <a:lnTo>
                    <a:pt x="188" y="257"/>
                  </a:lnTo>
                  <a:lnTo>
                    <a:pt x="190" y="257"/>
                  </a:lnTo>
                  <a:lnTo>
                    <a:pt x="192" y="257"/>
                  </a:lnTo>
                  <a:lnTo>
                    <a:pt x="193" y="257"/>
                  </a:lnTo>
                  <a:lnTo>
                    <a:pt x="192" y="258"/>
                  </a:lnTo>
                  <a:close/>
                  <a:moveTo>
                    <a:pt x="84" y="125"/>
                  </a:moveTo>
                  <a:lnTo>
                    <a:pt x="84" y="123"/>
                  </a:lnTo>
                  <a:lnTo>
                    <a:pt x="83" y="123"/>
                  </a:lnTo>
                  <a:lnTo>
                    <a:pt x="83" y="122"/>
                  </a:lnTo>
                  <a:lnTo>
                    <a:pt x="84" y="120"/>
                  </a:lnTo>
                  <a:lnTo>
                    <a:pt x="84" y="122"/>
                  </a:lnTo>
                  <a:lnTo>
                    <a:pt x="84" y="123"/>
                  </a:lnTo>
                  <a:lnTo>
                    <a:pt x="84" y="125"/>
                  </a:lnTo>
                  <a:close/>
                  <a:moveTo>
                    <a:pt x="162" y="275"/>
                  </a:moveTo>
                  <a:lnTo>
                    <a:pt x="164" y="275"/>
                  </a:lnTo>
                  <a:lnTo>
                    <a:pt x="164" y="276"/>
                  </a:lnTo>
                  <a:lnTo>
                    <a:pt x="162" y="276"/>
                  </a:lnTo>
                  <a:lnTo>
                    <a:pt x="161" y="276"/>
                  </a:lnTo>
                  <a:lnTo>
                    <a:pt x="162" y="276"/>
                  </a:lnTo>
                  <a:lnTo>
                    <a:pt x="161" y="276"/>
                  </a:lnTo>
                  <a:lnTo>
                    <a:pt x="161" y="275"/>
                  </a:lnTo>
                  <a:lnTo>
                    <a:pt x="162" y="275"/>
                  </a:lnTo>
                  <a:close/>
                  <a:moveTo>
                    <a:pt x="279" y="408"/>
                  </a:moveTo>
                  <a:lnTo>
                    <a:pt x="281" y="408"/>
                  </a:lnTo>
                  <a:lnTo>
                    <a:pt x="281" y="410"/>
                  </a:lnTo>
                  <a:lnTo>
                    <a:pt x="279" y="410"/>
                  </a:lnTo>
                  <a:lnTo>
                    <a:pt x="278" y="410"/>
                  </a:lnTo>
                  <a:lnTo>
                    <a:pt x="278" y="408"/>
                  </a:lnTo>
                  <a:lnTo>
                    <a:pt x="279" y="408"/>
                  </a:lnTo>
                  <a:lnTo>
                    <a:pt x="279" y="406"/>
                  </a:lnTo>
                  <a:lnTo>
                    <a:pt x="279" y="408"/>
                  </a:lnTo>
                  <a:close/>
                  <a:moveTo>
                    <a:pt x="262" y="283"/>
                  </a:moveTo>
                  <a:lnTo>
                    <a:pt x="262" y="284"/>
                  </a:lnTo>
                  <a:lnTo>
                    <a:pt x="262" y="283"/>
                  </a:lnTo>
                  <a:lnTo>
                    <a:pt x="260" y="283"/>
                  </a:lnTo>
                  <a:lnTo>
                    <a:pt x="260" y="281"/>
                  </a:lnTo>
                  <a:lnTo>
                    <a:pt x="258" y="280"/>
                  </a:lnTo>
                  <a:lnTo>
                    <a:pt x="260" y="280"/>
                  </a:lnTo>
                  <a:lnTo>
                    <a:pt x="260" y="281"/>
                  </a:lnTo>
                  <a:lnTo>
                    <a:pt x="262" y="281"/>
                  </a:lnTo>
                  <a:lnTo>
                    <a:pt x="262" y="283"/>
                  </a:lnTo>
                  <a:close/>
                  <a:moveTo>
                    <a:pt x="120" y="377"/>
                  </a:moveTo>
                  <a:lnTo>
                    <a:pt x="120" y="379"/>
                  </a:lnTo>
                  <a:lnTo>
                    <a:pt x="118" y="379"/>
                  </a:lnTo>
                  <a:lnTo>
                    <a:pt x="118" y="377"/>
                  </a:lnTo>
                  <a:lnTo>
                    <a:pt x="118" y="376"/>
                  </a:lnTo>
                  <a:lnTo>
                    <a:pt x="120" y="376"/>
                  </a:lnTo>
                  <a:lnTo>
                    <a:pt x="120" y="377"/>
                  </a:lnTo>
                  <a:close/>
                  <a:moveTo>
                    <a:pt x="26" y="346"/>
                  </a:moveTo>
                  <a:lnTo>
                    <a:pt x="27" y="346"/>
                  </a:lnTo>
                  <a:lnTo>
                    <a:pt x="27" y="348"/>
                  </a:lnTo>
                  <a:lnTo>
                    <a:pt x="29" y="348"/>
                  </a:lnTo>
                  <a:lnTo>
                    <a:pt x="27" y="348"/>
                  </a:lnTo>
                  <a:lnTo>
                    <a:pt x="26" y="348"/>
                  </a:lnTo>
                  <a:lnTo>
                    <a:pt x="26" y="346"/>
                  </a:lnTo>
                  <a:lnTo>
                    <a:pt x="27" y="346"/>
                  </a:lnTo>
                  <a:lnTo>
                    <a:pt x="26" y="346"/>
                  </a:lnTo>
                  <a:close/>
                  <a:moveTo>
                    <a:pt x="34" y="346"/>
                  </a:moveTo>
                  <a:lnTo>
                    <a:pt x="32" y="346"/>
                  </a:lnTo>
                  <a:lnTo>
                    <a:pt x="31" y="348"/>
                  </a:lnTo>
                  <a:lnTo>
                    <a:pt x="31" y="346"/>
                  </a:lnTo>
                  <a:lnTo>
                    <a:pt x="32" y="345"/>
                  </a:lnTo>
                  <a:lnTo>
                    <a:pt x="32" y="346"/>
                  </a:lnTo>
                  <a:lnTo>
                    <a:pt x="34" y="346"/>
                  </a:lnTo>
                  <a:close/>
                  <a:moveTo>
                    <a:pt x="170" y="304"/>
                  </a:moveTo>
                  <a:lnTo>
                    <a:pt x="169" y="304"/>
                  </a:lnTo>
                  <a:lnTo>
                    <a:pt x="169" y="302"/>
                  </a:lnTo>
                  <a:lnTo>
                    <a:pt x="170" y="302"/>
                  </a:lnTo>
                  <a:lnTo>
                    <a:pt x="170" y="304"/>
                  </a:lnTo>
                  <a:close/>
                  <a:moveTo>
                    <a:pt x="131" y="345"/>
                  </a:moveTo>
                  <a:lnTo>
                    <a:pt x="130" y="343"/>
                  </a:lnTo>
                  <a:lnTo>
                    <a:pt x="131" y="343"/>
                  </a:lnTo>
                  <a:lnTo>
                    <a:pt x="131" y="341"/>
                  </a:lnTo>
                  <a:lnTo>
                    <a:pt x="133" y="341"/>
                  </a:lnTo>
                  <a:lnTo>
                    <a:pt x="133" y="343"/>
                  </a:lnTo>
                  <a:lnTo>
                    <a:pt x="131" y="345"/>
                  </a:lnTo>
                  <a:close/>
                  <a:moveTo>
                    <a:pt x="196" y="393"/>
                  </a:moveTo>
                  <a:lnTo>
                    <a:pt x="195" y="393"/>
                  </a:lnTo>
                  <a:lnTo>
                    <a:pt x="195" y="395"/>
                  </a:lnTo>
                  <a:lnTo>
                    <a:pt x="193" y="395"/>
                  </a:lnTo>
                  <a:lnTo>
                    <a:pt x="193" y="393"/>
                  </a:lnTo>
                  <a:lnTo>
                    <a:pt x="193" y="392"/>
                  </a:lnTo>
                  <a:lnTo>
                    <a:pt x="195" y="393"/>
                  </a:lnTo>
                  <a:lnTo>
                    <a:pt x="196" y="393"/>
                  </a:lnTo>
                  <a:close/>
                  <a:moveTo>
                    <a:pt x="330" y="398"/>
                  </a:moveTo>
                  <a:lnTo>
                    <a:pt x="328" y="398"/>
                  </a:lnTo>
                  <a:lnTo>
                    <a:pt x="330" y="398"/>
                  </a:lnTo>
                  <a:lnTo>
                    <a:pt x="328" y="398"/>
                  </a:lnTo>
                  <a:lnTo>
                    <a:pt x="327" y="398"/>
                  </a:lnTo>
                  <a:lnTo>
                    <a:pt x="327" y="400"/>
                  </a:lnTo>
                  <a:lnTo>
                    <a:pt x="327" y="398"/>
                  </a:lnTo>
                  <a:lnTo>
                    <a:pt x="328" y="398"/>
                  </a:lnTo>
                  <a:lnTo>
                    <a:pt x="328" y="397"/>
                  </a:lnTo>
                  <a:lnTo>
                    <a:pt x="328" y="398"/>
                  </a:lnTo>
                  <a:lnTo>
                    <a:pt x="330" y="397"/>
                  </a:lnTo>
                  <a:lnTo>
                    <a:pt x="330" y="398"/>
                  </a:lnTo>
                  <a:close/>
                  <a:moveTo>
                    <a:pt x="312" y="395"/>
                  </a:moveTo>
                  <a:lnTo>
                    <a:pt x="310" y="393"/>
                  </a:lnTo>
                  <a:lnTo>
                    <a:pt x="310" y="392"/>
                  </a:lnTo>
                  <a:lnTo>
                    <a:pt x="312" y="393"/>
                  </a:lnTo>
                  <a:lnTo>
                    <a:pt x="312" y="395"/>
                  </a:lnTo>
                  <a:close/>
                  <a:moveTo>
                    <a:pt x="382" y="306"/>
                  </a:moveTo>
                  <a:lnTo>
                    <a:pt x="380" y="306"/>
                  </a:lnTo>
                  <a:lnTo>
                    <a:pt x="379" y="304"/>
                  </a:lnTo>
                  <a:lnTo>
                    <a:pt x="377" y="302"/>
                  </a:lnTo>
                  <a:lnTo>
                    <a:pt x="379" y="302"/>
                  </a:lnTo>
                  <a:lnTo>
                    <a:pt x="380" y="304"/>
                  </a:lnTo>
                  <a:lnTo>
                    <a:pt x="382" y="306"/>
                  </a:lnTo>
                  <a:close/>
                  <a:moveTo>
                    <a:pt x="266" y="390"/>
                  </a:moveTo>
                  <a:lnTo>
                    <a:pt x="266" y="389"/>
                  </a:lnTo>
                  <a:lnTo>
                    <a:pt x="268" y="389"/>
                  </a:lnTo>
                  <a:lnTo>
                    <a:pt x="268" y="387"/>
                  </a:lnTo>
                  <a:lnTo>
                    <a:pt x="270" y="387"/>
                  </a:lnTo>
                  <a:lnTo>
                    <a:pt x="270" y="389"/>
                  </a:lnTo>
                  <a:lnTo>
                    <a:pt x="268" y="389"/>
                  </a:lnTo>
                  <a:lnTo>
                    <a:pt x="266" y="390"/>
                  </a:lnTo>
                  <a:close/>
                  <a:moveTo>
                    <a:pt x="297" y="374"/>
                  </a:moveTo>
                  <a:lnTo>
                    <a:pt x="297" y="376"/>
                  </a:lnTo>
                  <a:lnTo>
                    <a:pt x="297" y="374"/>
                  </a:lnTo>
                  <a:lnTo>
                    <a:pt x="296" y="372"/>
                  </a:lnTo>
                  <a:lnTo>
                    <a:pt x="297" y="372"/>
                  </a:lnTo>
                  <a:lnTo>
                    <a:pt x="297" y="374"/>
                  </a:lnTo>
                  <a:close/>
                  <a:moveTo>
                    <a:pt x="325" y="286"/>
                  </a:moveTo>
                  <a:lnTo>
                    <a:pt x="325" y="288"/>
                  </a:lnTo>
                  <a:lnTo>
                    <a:pt x="323" y="288"/>
                  </a:lnTo>
                  <a:lnTo>
                    <a:pt x="323" y="286"/>
                  </a:lnTo>
                  <a:lnTo>
                    <a:pt x="323" y="284"/>
                  </a:lnTo>
                  <a:lnTo>
                    <a:pt x="325" y="286"/>
                  </a:lnTo>
                  <a:close/>
                  <a:moveTo>
                    <a:pt x="237" y="418"/>
                  </a:moveTo>
                  <a:lnTo>
                    <a:pt x="236" y="418"/>
                  </a:lnTo>
                  <a:lnTo>
                    <a:pt x="236" y="419"/>
                  </a:lnTo>
                  <a:lnTo>
                    <a:pt x="236" y="421"/>
                  </a:lnTo>
                  <a:lnTo>
                    <a:pt x="236" y="418"/>
                  </a:lnTo>
                  <a:lnTo>
                    <a:pt x="237" y="418"/>
                  </a:lnTo>
                  <a:close/>
                  <a:moveTo>
                    <a:pt x="331" y="393"/>
                  </a:moveTo>
                  <a:lnTo>
                    <a:pt x="331" y="395"/>
                  </a:lnTo>
                  <a:lnTo>
                    <a:pt x="330" y="395"/>
                  </a:lnTo>
                  <a:lnTo>
                    <a:pt x="330" y="397"/>
                  </a:lnTo>
                  <a:lnTo>
                    <a:pt x="330" y="395"/>
                  </a:lnTo>
                  <a:lnTo>
                    <a:pt x="330" y="397"/>
                  </a:lnTo>
                  <a:lnTo>
                    <a:pt x="330" y="395"/>
                  </a:lnTo>
                  <a:lnTo>
                    <a:pt x="330" y="393"/>
                  </a:lnTo>
                  <a:lnTo>
                    <a:pt x="331" y="393"/>
                  </a:lnTo>
                  <a:close/>
                  <a:moveTo>
                    <a:pt x="177" y="385"/>
                  </a:moveTo>
                  <a:lnTo>
                    <a:pt x="177" y="387"/>
                  </a:lnTo>
                  <a:lnTo>
                    <a:pt x="175" y="385"/>
                  </a:lnTo>
                  <a:lnTo>
                    <a:pt x="175" y="384"/>
                  </a:lnTo>
                  <a:lnTo>
                    <a:pt x="177" y="385"/>
                  </a:lnTo>
                  <a:close/>
                  <a:moveTo>
                    <a:pt x="211" y="400"/>
                  </a:moveTo>
                  <a:lnTo>
                    <a:pt x="213" y="400"/>
                  </a:lnTo>
                  <a:lnTo>
                    <a:pt x="214" y="400"/>
                  </a:lnTo>
                  <a:lnTo>
                    <a:pt x="214" y="402"/>
                  </a:lnTo>
                  <a:lnTo>
                    <a:pt x="213" y="402"/>
                  </a:lnTo>
                  <a:lnTo>
                    <a:pt x="213" y="400"/>
                  </a:lnTo>
                  <a:lnTo>
                    <a:pt x="211" y="400"/>
                  </a:lnTo>
                  <a:close/>
                  <a:moveTo>
                    <a:pt x="369" y="293"/>
                  </a:moveTo>
                  <a:lnTo>
                    <a:pt x="369" y="294"/>
                  </a:lnTo>
                  <a:lnTo>
                    <a:pt x="369" y="293"/>
                  </a:lnTo>
                  <a:lnTo>
                    <a:pt x="371" y="293"/>
                  </a:lnTo>
                  <a:lnTo>
                    <a:pt x="371" y="294"/>
                  </a:lnTo>
                  <a:lnTo>
                    <a:pt x="369" y="294"/>
                  </a:lnTo>
                  <a:lnTo>
                    <a:pt x="369" y="293"/>
                  </a:lnTo>
                  <a:lnTo>
                    <a:pt x="371" y="293"/>
                  </a:lnTo>
                  <a:lnTo>
                    <a:pt x="369" y="293"/>
                  </a:lnTo>
                  <a:close/>
                  <a:moveTo>
                    <a:pt x="268" y="400"/>
                  </a:moveTo>
                  <a:lnTo>
                    <a:pt x="266" y="398"/>
                  </a:lnTo>
                  <a:lnTo>
                    <a:pt x="268" y="398"/>
                  </a:lnTo>
                  <a:lnTo>
                    <a:pt x="270" y="400"/>
                  </a:lnTo>
                  <a:lnTo>
                    <a:pt x="268" y="400"/>
                  </a:lnTo>
                  <a:close/>
                  <a:moveTo>
                    <a:pt x="236" y="345"/>
                  </a:moveTo>
                  <a:lnTo>
                    <a:pt x="236" y="346"/>
                  </a:lnTo>
                  <a:lnTo>
                    <a:pt x="234" y="346"/>
                  </a:lnTo>
                  <a:lnTo>
                    <a:pt x="232" y="348"/>
                  </a:lnTo>
                  <a:lnTo>
                    <a:pt x="232" y="346"/>
                  </a:lnTo>
                  <a:lnTo>
                    <a:pt x="234" y="346"/>
                  </a:lnTo>
                  <a:lnTo>
                    <a:pt x="236" y="345"/>
                  </a:lnTo>
                  <a:close/>
                  <a:moveTo>
                    <a:pt x="240" y="418"/>
                  </a:moveTo>
                  <a:lnTo>
                    <a:pt x="240" y="416"/>
                  </a:lnTo>
                  <a:lnTo>
                    <a:pt x="240" y="415"/>
                  </a:lnTo>
                  <a:lnTo>
                    <a:pt x="240" y="416"/>
                  </a:lnTo>
                  <a:lnTo>
                    <a:pt x="240" y="418"/>
                  </a:lnTo>
                  <a:close/>
                  <a:moveTo>
                    <a:pt x="291" y="380"/>
                  </a:moveTo>
                  <a:lnTo>
                    <a:pt x="291" y="382"/>
                  </a:lnTo>
                  <a:lnTo>
                    <a:pt x="292" y="382"/>
                  </a:lnTo>
                  <a:lnTo>
                    <a:pt x="291" y="382"/>
                  </a:lnTo>
                  <a:lnTo>
                    <a:pt x="289" y="382"/>
                  </a:lnTo>
                  <a:lnTo>
                    <a:pt x="289" y="380"/>
                  </a:lnTo>
                  <a:lnTo>
                    <a:pt x="289" y="382"/>
                  </a:lnTo>
                  <a:lnTo>
                    <a:pt x="289" y="380"/>
                  </a:lnTo>
                  <a:lnTo>
                    <a:pt x="291" y="380"/>
                  </a:lnTo>
                  <a:close/>
                  <a:moveTo>
                    <a:pt x="221" y="320"/>
                  </a:moveTo>
                  <a:lnTo>
                    <a:pt x="219" y="322"/>
                  </a:lnTo>
                  <a:lnTo>
                    <a:pt x="219" y="320"/>
                  </a:lnTo>
                  <a:lnTo>
                    <a:pt x="221" y="320"/>
                  </a:lnTo>
                  <a:close/>
                  <a:moveTo>
                    <a:pt x="19" y="320"/>
                  </a:moveTo>
                  <a:lnTo>
                    <a:pt x="18" y="320"/>
                  </a:lnTo>
                  <a:lnTo>
                    <a:pt x="18" y="319"/>
                  </a:lnTo>
                  <a:lnTo>
                    <a:pt x="19" y="319"/>
                  </a:lnTo>
                  <a:lnTo>
                    <a:pt x="19" y="320"/>
                  </a:lnTo>
                  <a:close/>
                  <a:moveTo>
                    <a:pt x="279" y="405"/>
                  </a:moveTo>
                  <a:lnTo>
                    <a:pt x="279" y="406"/>
                  </a:lnTo>
                  <a:lnTo>
                    <a:pt x="278" y="406"/>
                  </a:lnTo>
                  <a:lnTo>
                    <a:pt x="278" y="405"/>
                  </a:lnTo>
                  <a:lnTo>
                    <a:pt x="278" y="406"/>
                  </a:lnTo>
                  <a:lnTo>
                    <a:pt x="279" y="405"/>
                  </a:lnTo>
                  <a:close/>
                  <a:moveTo>
                    <a:pt x="196" y="398"/>
                  </a:moveTo>
                  <a:lnTo>
                    <a:pt x="196" y="400"/>
                  </a:lnTo>
                  <a:lnTo>
                    <a:pt x="195" y="400"/>
                  </a:lnTo>
                  <a:lnTo>
                    <a:pt x="195" y="398"/>
                  </a:lnTo>
                  <a:lnTo>
                    <a:pt x="195" y="400"/>
                  </a:lnTo>
                  <a:lnTo>
                    <a:pt x="195" y="398"/>
                  </a:lnTo>
                  <a:lnTo>
                    <a:pt x="196" y="398"/>
                  </a:lnTo>
                  <a:close/>
                  <a:moveTo>
                    <a:pt x="122" y="106"/>
                  </a:moveTo>
                  <a:lnTo>
                    <a:pt x="122" y="107"/>
                  </a:lnTo>
                  <a:lnTo>
                    <a:pt x="120" y="106"/>
                  </a:lnTo>
                  <a:lnTo>
                    <a:pt x="122" y="106"/>
                  </a:lnTo>
                  <a:close/>
                  <a:moveTo>
                    <a:pt x="292" y="221"/>
                  </a:moveTo>
                  <a:lnTo>
                    <a:pt x="291" y="221"/>
                  </a:lnTo>
                  <a:lnTo>
                    <a:pt x="292" y="221"/>
                  </a:lnTo>
                  <a:close/>
                  <a:moveTo>
                    <a:pt x="198" y="405"/>
                  </a:moveTo>
                  <a:lnTo>
                    <a:pt x="196" y="405"/>
                  </a:lnTo>
                  <a:lnTo>
                    <a:pt x="196" y="403"/>
                  </a:lnTo>
                  <a:lnTo>
                    <a:pt x="198" y="403"/>
                  </a:lnTo>
                  <a:lnTo>
                    <a:pt x="198" y="405"/>
                  </a:lnTo>
                  <a:close/>
                  <a:moveTo>
                    <a:pt x="166" y="376"/>
                  </a:moveTo>
                  <a:lnTo>
                    <a:pt x="164" y="376"/>
                  </a:lnTo>
                  <a:lnTo>
                    <a:pt x="162" y="376"/>
                  </a:lnTo>
                  <a:lnTo>
                    <a:pt x="161" y="376"/>
                  </a:lnTo>
                  <a:lnTo>
                    <a:pt x="162" y="376"/>
                  </a:lnTo>
                  <a:lnTo>
                    <a:pt x="164" y="376"/>
                  </a:lnTo>
                  <a:lnTo>
                    <a:pt x="164" y="374"/>
                  </a:lnTo>
                  <a:lnTo>
                    <a:pt x="166" y="376"/>
                  </a:lnTo>
                  <a:close/>
                  <a:moveTo>
                    <a:pt x="195" y="327"/>
                  </a:moveTo>
                  <a:lnTo>
                    <a:pt x="193" y="327"/>
                  </a:lnTo>
                  <a:lnTo>
                    <a:pt x="193" y="325"/>
                  </a:lnTo>
                  <a:lnTo>
                    <a:pt x="195" y="325"/>
                  </a:lnTo>
                  <a:lnTo>
                    <a:pt x="193" y="327"/>
                  </a:lnTo>
                  <a:lnTo>
                    <a:pt x="195" y="327"/>
                  </a:lnTo>
                  <a:close/>
                  <a:moveTo>
                    <a:pt x="265" y="398"/>
                  </a:moveTo>
                  <a:lnTo>
                    <a:pt x="263" y="398"/>
                  </a:lnTo>
                  <a:lnTo>
                    <a:pt x="263" y="397"/>
                  </a:lnTo>
                  <a:lnTo>
                    <a:pt x="265" y="398"/>
                  </a:lnTo>
                  <a:close/>
                  <a:moveTo>
                    <a:pt x="265" y="366"/>
                  </a:moveTo>
                  <a:lnTo>
                    <a:pt x="266" y="366"/>
                  </a:lnTo>
                  <a:lnTo>
                    <a:pt x="268" y="366"/>
                  </a:lnTo>
                  <a:lnTo>
                    <a:pt x="266" y="366"/>
                  </a:lnTo>
                  <a:lnTo>
                    <a:pt x="265" y="366"/>
                  </a:lnTo>
                  <a:close/>
                  <a:moveTo>
                    <a:pt x="211" y="262"/>
                  </a:moveTo>
                  <a:lnTo>
                    <a:pt x="211" y="263"/>
                  </a:lnTo>
                  <a:lnTo>
                    <a:pt x="211" y="265"/>
                  </a:lnTo>
                  <a:lnTo>
                    <a:pt x="211" y="263"/>
                  </a:lnTo>
                  <a:lnTo>
                    <a:pt x="209" y="263"/>
                  </a:lnTo>
                  <a:lnTo>
                    <a:pt x="211" y="263"/>
                  </a:lnTo>
                  <a:lnTo>
                    <a:pt x="209" y="263"/>
                  </a:lnTo>
                  <a:lnTo>
                    <a:pt x="209" y="262"/>
                  </a:lnTo>
                  <a:lnTo>
                    <a:pt x="211" y="262"/>
                  </a:lnTo>
                  <a:close/>
                  <a:moveTo>
                    <a:pt x="138" y="356"/>
                  </a:moveTo>
                  <a:lnTo>
                    <a:pt x="136" y="358"/>
                  </a:lnTo>
                  <a:lnTo>
                    <a:pt x="136" y="356"/>
                  </a:lnTo>
                  <a:lnTo>
                    <a:pt x="138" y="356"/>
                  </a:lnTo>
                  <a:lnTo>
                    <a:pt x="136" y="354"/>
                  </a:lnTo>
                  <a:lnTo>
                    <a:pt x="138" y="354"/>
                  </a:lnTo>
                  <a:lnTo>
                    <a:pt x="138" y="356"/>
                  </a:lnTo>
                  <a:close/>
                  <a:moveTo>
                    <a:pt x="278" y="364"/>
                  </a:moveTo>
                  <a:lnTo>
                    <a:pt x="278" y="366"/>
                  </a:lnTo>
                  <a:lnTo>
                    <a:pt x="276" y="366"/>
                  </a:lnTo>
                  <a:lnTo>
                    <a:pt x="278" y="364"/>
                  </a:lnTo>
                  <a:close/>
                  <a:moveTo>
                    <a:pt x="196" y="406"/>
                  </a:moveTo>
                  <a:lnTo>
                    <a:pt x="195" y="406"/>
                  </a:lnTo>
                  <a:lnTo>
                    <a:pt x="195" y="405"/>
                  </a:lnTo>
                  <a:lnTo>
                    <a:pt x="196" y="405"/>
                  </a:lnTo>
                  <a:lnTo>
                    <a:pt x="196" y="406"/>
                  </a:lnTo>
                  <a:close/>
                  <a:moveTo>
                    <a:pt x="330" y="372"/>
                  </a:moveTo>
                  <a:lnTo>
                    <a:pt x="330" y="374"/>
                  </a:lnTo>
                  <a:lnTo>
                    <a:pt x="328" y="374"/>
                  </a:lnTo>
                  <a:lnTo>
                    <a:pt x="328" y="372"/>
                  </a:lnTo>
                  <a:lnTo>
                    <a:pt x="330" y="372"/>
                  </a:lnTo>
                  <a:close/>
                  <a:moveTo>
                    <a:pt x="221" y="231"/>
                  </a:moveTo>
                  <a:lnTo>
                    <a:pt x="221" y="232"/>
                  </a:lnTo>
                  <a:lnTo>
                    <a:pt x="219" y="232"/>
                  </a:lnTo>
                  <a:lnTo>
                    <a:pt x="219" y="231"/>
                  </a:lnTo>
                  <a:lnTo>
                    <a:pt x="221" y="231"/>
                  </a:lnTo>
                  <a:close/>
                  <a:moveTo>
                    <a:pt x="218" y="258"/>
                  </a:moveTo>
                  <a:lnTo>
                    <a:pt x="216" y="258"/>
                  </a:lnTo>
                  <a:lnTo>
                    <a:pt x="218" y="258"/>
                  </a:lnTo>
                  <a:close/>
                  <a:moveTo>
                    <a:pt x="203" y="36"/>
                  </a:moveTo>
                  <a:lnTo>
                    <a:pt x="203" y="37"/>
                  </a:lnTo>
                  <a:lnTo>
                    <a:pt x="201" y="37"/>
                  </a:lnTo>
                  <a:lnTo>
                    <a:pt x="201" y="36"/>
                  </a:lnTo>
                  <a:lnTo>
                    <a:pt x="203" y="37"/>
                  </a:lnTo>
                  <a:lnTo>
                    <a:pt x="203" y="36"/>
                  </a:lnTo>
                  <a:lnTo>
                    <a:pt x="201" y="36"/>
                  </a:lnTo>
                  <a:lnTo>
                    <a:pt x="203" y="36"/>
                  </a:lnTo>
                  <a:close/>
                  <a:moveTo>
                    <a:pt x="226" y="71"/>
                  </a:moveTo>
                  <a:lnTo>
                    <a:pt x="227" y="73"/>
                  </a:lnTo>
                  <a:lnTo>
                    <a:pt x="226" y="73"/>
                  </a:lnTo>
                  <a:lnTo>
                    <a:pt x="226" y="71"/>
                  </a:lnTo>
                  <a:close/>
                  <a:moveTo>
                    <a:pt x="40" y="149"/>
                  </a:moveTo>
                  <a:lnTo>
                    <a:pt x="39" y="149"/>
                  </a:lnTo>
                  <a:lnTo>
                    <a:pt x="40" y="149"/>
                  </a:lnTo>
                  <a:close/>
                  <a:moveTo>
                    <a:pt x="302" y="286"/>
                  </a:moveTo>
                  <a:lnTo>
                    <a:pt x="302" y="284"/>
                  </a:lnTo>
                  <a:lnTo>
                    <a:pt x="302" y="286"/>
                  </a:lnTo>
                  <a:close/>
                  <a:moveTo>
                    <a:pt x="156" y="270"/>
                  </a:moveTo>
                  <a:lnTo>
                    <a:pt x="157" y="270"/>
                  </a:lnTo>
                  <a:lnTo>
                    <a:pt x="156" y="270"/>
                  </a:lnTo>
                  <a:close/>
                  <a:moveTo>
                    <a:pt x="209" y="265"/>
                  </a:moveTo>
                  <a:lnTo>
                    <a:pt x="208" y="265"/>
                  </a:lnTo>
                  <a:lnTo>
                    <a:pt x="209" y="265"/>
                  </a:lnTo>
                  <a:close/>
                  <a:moveTo>
                    <a:pt x="170" y="307"/>
                  </a:moveTo>
                  <a:lnTo>
                    <a:pt x="170" y="306"/>
                  </a:lnTo>
                  <a:lnTo>
                    <a:pt x="170" y="307"/>
                  </a:lnTo>
                  <a:close/>
                  <a:moveTo>
                    <a:pt x="198" y="411"/>
                  </a:moveTo>
                  <a:lnTo>
                    <a:pt x="196" y="410"/>
                  </a:lnTo>
                  <a:lnTo>
                    <a:pt x="195" y="410"/>
                  </a:lnTo>
                  <a:lnTo>
                    <a:pt x="196" y="410"/>
                  </a:lnTo>
                  <a:lnTo>
                    <a:pt x="198" y="410"/>
                  </a:lnTo>
                  <a:lnTo>
                    <a:pt x="198" y="411"/>
                  </a:lnTo>
                  <a:close/>
                  <a:moveTo>
                    <a:pt x="205" y="408"/>
                  </a:moveTo>
                  <a:lnTo>
                    <a:pt x="205" y="410"/>
                  </a:lnTo>
                  <a:lnTo>
                    <a:pt x="203" y="410"/>
                  </a:lnTo>
                  <a:lnTo>
                    <a:pt x="203" y="408"/>
                  </a:lnTo>
                  <a:lnTo>
                    <a:pt x="205" y="408"/>
                  </a:lnTo>
                  <a:close/>
                  <a:moveTo>
                    <a:pt x="244" y="415"/>
                  </a:moveTo>
                  <a:lnTo>
                    <a:pt x="244" y="416"/>
                  </a:lnTo>
                  <a:lnTo>
                    <a:pt x="242" y="416"/>
                  </a:lnTo>
                  <a:lnTo>
                    <a:pt x="242" y="415"/>
                  </a:lnTo>
                  <a:lnTo>
                    <a:pt x="244" y="415"/>
                  </a:lnTo>
                  <a:lnTo>
                    <a:pt x="242" y="415"/>
                  </a:lnTo>
                  <a:lnTo>
                    <a:pt x="244" y="415"/>
                  </a:lnTo>
                  <a:close/>
                  <a:moveTo>
                    <a:pt x="174" y="149"/>
                  </a:moveTo>
                  <a:lnTo>
                    <a:pt x="175" y="149"/>
                  </a:lnTo>
                  <a:lnTo>
                    <a:pt x="174" y="149"/>
                  </a:lnTo>
                  <a:close/>
                  <a:moveTo>
                    <a:pt x="206" y="310"/>
                  </a:moveTo>
                  <a:lnTo>
                    <a:pt x="205" y="312"/>
                  </a:lnTo>
                  <a:lnTo>
                    <a:pt x="205" y="310"/>
                  </a:lnTo>
                  <a:lnTo>
                    <a:pt x="206" y="310"/>
                  </a:lnTo>
                  <a:close/>
                  <a:moveTo>
                    <a:pt x="32" y="341"/>
                  </a:moveTo>
                  <a:lnTo>
                    <a:pt x="31" y="341"/>
                  </a:lnTo>
                  <a:lnTo>
                    <a:pt x="32" y="341"/>
                  </a:lnTo>
                  <a:close/>
                  <a:moveTo>
                    <a:pt x="208" y="267"/>
                  </a:moveTo>
                  <a:lnTo>
                    <a:pt x="206" y="267"/>
                  </a:lnTo>
                  <a:lnTo>
                    <a:pt x="206" y="265"/>
                  </a:lnTo>
                  <a:lnTo>
                    <a:pt x="208" y="267"/>
                  </a:lnTo>
                  <a:close/>
                  <a:moveTo>
                    <a:pt x="206" y="309"/>
                  </a:moveTo>
                  <a:lnTo>
                    <a:pt x="206" y="310"/>
                  </a:lnTo>
                  <a:lnTo>
                    <a:pt x="206" y="309"/>
                  </a:lnTo>
                  <a:lnTo>
                    <a:pt x="206" y="310"/>
                  </a:lnTo>
                  <a:lnTo>
                    <a:pt x="205" y="309"/>
                  </a:lnTo>
                  <a:lnTo>
                    <a:pt x="206" y="309"/>
                  </a:lnTo>
                  <a:close/>
                  <a:moveTo>
                    <a:pt x="231" y="76"/>
                  </a:moveTo>
                  <a:lnTo>
                    <a:pt x="229" y="76"/>
                  </a:lnTo>
                  <a:lnTo>
                    <a:pt x="231" y="75"/>
                  </a:lnTo>
                  <a:lnTo>
                    <a:pt x="231" y="76"/>
                  </a:lnTo>
                  <a:close/>
                  <a:moveTo>
                    <a:pt x="201" y="408"/>
                  </a:moveTo>
                  <a:lnTo>
                    <a:pt x="200" y="408"/>
                  </a:lnTo>
                  <a:lnTo>
                    <a:pt x="201" y="408"/>
                  </a:lnTo>
                  <a:close/>
                  <a:moveTo>
                    <a:pt x="125" y="110"/>
                  </a:moveTo>
                  <a:lnTo>
                    <a:pt x="123" y="110"/>
                  </a:lnTo>
                  <a:lnTo>
                    <a:pt x="123" y="109"/>
                  </a:lnTo>
                  <a:lnTo>
                    <a:pt x="125" y="110"/>
                  </a:lnTo>
                  <a:close/>
                  <a:moveTo>
                    <a:pt x="310" y="432"/>
                  </a:moveTo>
                  <a:lnTo>
                    <a:pt x="310" y="431"/>
                  </a:lnTo>
                  <a:lnTo>
                    <a:pt x="310" y="432"/>
                  </a:lnTo>
                  <a:close/>
                  <a:moveTo>
                    <a:pt x="169" y="307"/>
                  </a:moveTo>
                  <a:lnTo>
                    <a:pt x="169" y="309"/>
                  </a:lnTo>
                  <a:lnTo>
                    <a:pt x="169" y="307"/>
                  </a:lnTo>
                  <a:lnTo>
                    <a:pt x="170" y="307"/>
                  </a:lnTo>
                  <a:lnTo>
                    <a:pt x="169" y="307"/>
                  </a:lnTo>
                  <a:close/>
                  <a:moveTo>
                    <a:pt x="183" y="389"/>
                  </a:moveTo>
                  <a:lnTo>
                    <a:pt x="182" y="389"/>
                  </a:lnTo>
                  <a:lnTo>
                    <a:pt x="183" y="389"/>
                  </a:lnTo>
                  <a:close/>
                  <a:moveTo>
                    <a:pt x="292" y="406"/>
                  </a:moveTo>
                  <a:lnTo>
                    <a:pt x="291" y="406"/>
                  </a:lnTo>
                  <a:lnTo>
                    <a:pt x="292" y="406"/>
                  </a:lnTo>
                  <a:close/>
                  <a:moveTo>
                    <a:pt x="205" y="37"/>
                  </a:moveTo>
                  <a:lnTo>
                    <a:pt x="205" y="39"/>
                  </a:lnTo>
                  <a:lnTo>
                    <a:pt x="203" y="37"/>
                  </a:lnTo>
                  <a:lnTo>
                    <a:pt x="205" y="37"/>
                  </a:lnTo>
                  <a:lnTo>
                    <a:pt x="203" y="37"/>
                  </a:lnTo>
                  <a:lnTo>
                    <a:pt x="205" y="37"/>
                  </a:lnTo>
                  <a:close/>
                  <a:moveTo>
                    <a:pt x="140" y="97"/>
                  </a:moveTo>
                  <a:lnTo>
                    <a:pt x="138" y="97"/>
                  </a:lnTo>
                  <a:lnTo>
                    <a:pt x="138" y="96"/>
                  </a:lnTo>
                  <a:lnTo>
                    <a:pt x="140" y="96"/>
                  </a:lnTo>
                  <a:lnTo>
                    <a:pt x="140" y="97"/>
                  </a:lnTo>
                  <a:close/>
                  <a:moveTo>
                    <a:pt x="327" y="372"/>
                  </a:moveTo>
                  <a:lnTo>
                    <a:pt x="325" y="372"/>
                  </a:lnTo>
                  <a:lnTo>
                    <a:pt x="327" y="372"/>
                  </a:lnTo>
                  <a:close/>
                  <a:moveTo>
                    <a:pt x="318" y="267"/>
                  </a:moveTo>
                  <a:lnTo>
                    <a:pt x="317" y="267"/>
                  </a:lnTo>
                  <a:lnTo>
                    <a:pt x="318" y="267"/>
                  </a:lnTo>
                  <a:close/>
                  <a:moveTo>
                    <a:pt x="263" y="397"/>
                  </a:moveTo>
                  <a:lnTo>
                    <a:pt x="263" y="398"/>
                  </a:lnTo>
                  <a:lnTo>
                    <a:pt x="262" y="398"/>
                  </a:lnTo>
                  <a:lnTo>
                    <a:pt x="262" y="397"/>
                  </a:lnTo>
                  <a:lnTo>
                    <a:pt x="263" y="397"/>
                  </a:lnTo>
                  <a:close/>
                  <a:moveTo>
                    <a:pt x="179" y="265"/>
                  </a:moveTo>
                  <a:lnTo>
                    <a:pt x="179" y="263"/>
                  </a:lnTo>
                  <a:lnTo>
                    <a:pt x="179" y="265"/>
                  </a:lnTo>
                  <a:close/>
                  <a:moveTo>
                    <a:pt x="226" y="71"/>
                  </a:moveTo>
                  <a:lnTo>
                    <a:pt x="226" y="73"/>
                  </a:lnTo>
                  <a:lnTo>
                    <a:pt x="224" y="71"/>
                  </a:lnTo>
                  <a:lnTo>
                    <a:pt x="226" y="71"/>
                  </a:lnTo>
                  <a:close/>
                  <a:moveTo>
                    <a:pt x="276" y="364"/>
                  </a:moveTo>
                  <a:lnTo>
                    <a:pt x="275" y="364"/>
                  </a:lnTo>
                  <a:lnTo>
                    <a:pt x="276" y="364"/>
                  </a:lnTo>
                  <a:close/>
                  <a:moveTo>
                    <a:pt x="192" y="410"/>
                  </a:moveTo>
                  <a:lnTo>
                    <a:pt x="190" y="408"/>
                  </a:lnTo>
                  <a:lnTo>
                    <a:pt x="192" y="408"/>
                  </a:lnTo>
                  <a:lnTo>
                    <a:pt x="192" y="410"/>
                  </a:lnTo>
                  <a:close/>
                  <a:moveTo>
                    <a:pt x="193" y="327"/>
                  </a:moveTo>
                  <a:lnTo>
                    <a:pt x="193" y="328"/>
                  </a:lnTo>
                  <a:lnTo>
                    <a:pt x="193" y="327"/>
                  </a:lnTo>
                  <a:close/>
                  <a:moveTo>
                    <a:pt x="140" y="348"/>
                  </a:moveTo>
                  <a:lnTo>
                    <a:pt x="138" y="348"/>
                  </a:lnTo>
                  <a:lnTo>
                    <a:pt x="138" y="346"/>
                  </a:lnTo>
                  <a:lnTo>
                    <a:pt x="138" y="348"/>
                  </a:lnTo>
                  <a:lnTo>
                    <a:pt x="140" y="348"/>
                  </a:lnTo>
                  <a:close/>
                  <a:moveTo>
                    <a:pt x="179" y="149"/>
                  </a:moveTo>
                  <a:lnTo>
                    <a:pt x="177" y="149"/>
                  </a:lnTo>
                  <a:lnTo>
                    <a:pt x="179" y="149"/>
                  </a:lnTo>
                  <a:close/>
                  <a:moveTo>
                    <a:pt x="289" y="444"/>
                  </a:moveTo>
                  <a:lnTo>
                    <a:pt x="288" y="444"/>
                  </a:lnTo>
                  <a:lnTo>
                    <a:pt x="289" y="444"/>
                  </a:lnTo>
                  <a:close/>
                  <a:moveTo>
                    <a:pt x="172" y="307"/>
                  </a:moveTo>
                  <a:lnTo>
                    <a:pt x="172" y="309"/>
                  </a:lnTo>
                  <a:lnTo>
                    <a:pt x="172" y="307"/>
                  </a:lnTo>
                  <a:close/>
                  <a:moveTo>
                    <a:pt x="143" y="96"/>
                  </a:moveTo>
                  <a:lnTo>
                    <a:pt x="141" y="96"/>
                  </a:lnTo>
                  <a:lnTo>
                    <a:pt x="143" y="96"/>
                  </a:lnTo>
                  <a:close/>
                  <a:moveTo>
                    <a:pt x="182" y="162"/>
                  </a:moveTo>
                  <a:lnTo>
                    <a:pt x="180" y="162"/>
                  </a:lnTo>
                  <a:lnTo>
                    <a:pt x="182" y="162"/>
                  </a:lnTo>
                  <a:close/>
                  <a:moveTo>
                    <a:pt x="276" y="410"/>
                  </a:moveTo>
                  <a:lnTo>
                    <a:pt x="275" y="410"/>
                  </a:lnTo>
                  <a:lnTo>
                    <a:pt x="276" y="410"/>
                  </a:lnTo>
                  <a:close/>
                  <a:moveTo>
                    <a:pt x="206" y="265"/>
                  </a:moveTo>
                  <a:lnTo>
                    <a:pt x="205" y="265"/>
                  </a:lnTo>
                  <a:lnTo>
                    <a:pt x="206" y="265"/>
                  </a:lnTo>
                  <a:close/>
                  <a:moveTo>
                    <a:pt x="325" y="283"/>
                  </a:moveTo>
                  <a:lnTo>
                    <a:pt x="325" y="284"/>
                  </a:lnTo>
                  <a:lnTo>
                    <a:pt x="325" y="283"/>
                  </a:lnTo>
                  <a:close/>
                  <a:moveTo>
                    <a:pt x="35" y="384"/>
                  </a:moveTo>
                  <a:lnTo>
                    <a:pt x="35" y="382"/>
                  </a:lnTo>
                  <a:lnTo>
                    <a:pt x="35" y="384"/>
                  </a:lnTo>
                  <a:close/>
                  <a:moveTo>
                    <a:pt x="117" y="106"/>
                  </a:moveTo>
                  <a:lnTo>
                    <a:pt x="117" y="104"/>
                  </a:lnTo>
                  <a:lnTo>
                    <a:pt x="117" y="106"/>
                  </a:lnTo>
                  <a:close/>
                  <a:moveTo>
                    <a:pt x="166" y="374"/>
                  </a:moveTo>
                  <a:lnTo>
                    <a:pt x="166" y="372"/>
                  </a:lnTo>
                  <a:lnTo>
                    <a:pt x="166" y="374"/>
                  </a:lnTo>
                  <a:close/>
                  <a:moveTo>
                    <a:pt x="205" y="402"/>
                  </a:moveTo>
                  <a:lnTo>
                    <a:pt x="203" y="402"/>
                  </a:lnTo>
                  <a:lnTo>
                    <a:pt x="205" y="402"/>
                  </a:lnTo>
                  <a:close/>
                  <a:moveTo>
                    <a:pt x="198" y="400"/>
                  </a:moveTo>
                  <a:lnTo>
                    <a:pt x="200" y="400"/>
                  </a:lnTo>
                  <a:lnTo>
                    <a:pt x="198" y="400"/>
                  </a:lnTo>
                  <a:close/>
                  <a:moveTo>
                    <a:pt x="115" y="102"/>
                  </a:moveTo>
                  <a:lnTo>
                    <a:pt x="115" y="104"/>
                  </a:lnTo>
                  <a:lnTo>
                    <a:pt x="115" y="102"/>
                  </a:lnTo>
                  <a:close/>
                  <a:moveTo>
                    <a:pt x="211" y="262"/>
                  </a:moveTo>
                  <a:lnTo>
                    <a:pt x="213" y="260"/>
                  </a:lnTo>
                  <a:lnTo>
                    <a:pt x="213" y="262"/>
                  </a:lnTo>
                  <a:lnTo>
                    <a:pt x="211" y="262"/>
                  </a:lnTo>
                  <a:close/>
                  <a:moveTo>
                    <a:pt x="201" y="42"/>
                  </a:moveTo>
                  <a:lnTo>
                    <a:pt x="200" y="42"/>
                  </a:lnTo>
                  <a:lnTo>
                    <a:pt x="201" y="42"/>
                  </a:lnTo>
                  <a:close/>
                  <a:moveTo>
                    <a:pt x="236" y="76"/>
                  </a:moveTo>
                  <a:lnTo>
                    <a:pt x="234" y="76"/>
                  </a:lnTo>
                  <a:lnTo>
                    <a:pt x="236" y="76"/>
                  </a:lnTo>
                  <a:close/>
                  <a:moveTo>
                    <a:pt x="229" y="363"/>
                  </a:moveTo>
                  <a:lnTo>
                    <a:pt x="227" y="364"/>
                  </a:lnTo>
                  <a:lnTo>
                    <a:pt x="227" y="363"/>
                  </a:lnTo>
                  <a:lnTo>
                    <a:pt x="229" y="363"/>
                  </a:lnTo>
                  <a:close/>
                  <a:moveTo>
                    <a:pt x="309" y="262"/>
                  </a:moveTo>
                  <a:lnTo>
                    <a:pt x="309" y="260"/>
                  </a:lnTo>
                  <a:lnTo>
                    <a:pt x="309" y="262"/>
                  </a:lnTo>
                  <a:close/>
                  <a:moveTo>
                    <a:pt x="247" y="418"/>
                  </a:moveTo>
                  <a:lnTo>
                    <a:pt x="245" y="418"/>
                  </a:lnTo>
                  <a:lnTo>
                    <a:pt x="247" y="418"/>
                  </a:lnTo>
                  <a:close/>
                  <a:moveTo>
                    <a:pt x="133" y="353"/>
                  </a:moveTo>
                  <a:lnTo>
                    <a:pt x="131" y="353"/>
                  </a:lnTo>
                  <a:lnTo>
                    <a:pt x="133" y="353"/>
                  </a:lnTo>
                  <a:close/>
                  <a:moveTo>
                    <a:pt x="206" y="265"/>
                  </a:moveTo>
                  <a:lnTo>
                    <a:pt x="205" y="263"/>
                  </a:lnTo>
                  <a:lnTo>
                    <a:pt x="206" y="263"/>
                  </a:lnTo>
                  <a:lnTo>
                    <a:pt x="206" y="265"/>
                  </a:lnTo>
                  <a:close/>
                  <a:moveTo>
                    <a:pt x="195" y="410"/>
                  </a:moveTo>
                  <a:lnTo>
                    <a:pt x="193" y="410"/>
                  </a:lnTo>
                  <a:lnTo>
                    <a:pt x="195" y="410"/>
                  </a:lnTo>
                  <a:close/>
                  <a:moveTo>
                    <a:pt x="195" y="319"/>
                  </a:moveTo>
                  <a:lnTo>
                    <a:pt x="196" y="319"/>
                  </a:lnTo>
                  <a:lnTo>
                    <a:pt x="195" y="319"/>
                  </a:lnTo>
                  <a:close/>
                  <a:moveTo>
                    <a:pt x="296" y="400"/>
                  </a:moveTo>
                  <a:lnTo>
                    <a:pt x="297" y="400"/>
                  </a:lnTo>
                  <a:lnTo>
                    <a:pt x="296" y="400"/>
                  </a:lnTo>
                  <a:lnTo>
                    <a:pt x="296" y="402"/>
                  </a:lnTo>
                  <a:lnTo>
                    <a:pt x="296" y="400"/>
                  </a:lnTo>
                  <a:close/>
                  <a:moveTo>
                    <a:pt x="297" y="364"/>
                  </a:moveTo>
                  <a:lnTo>
                    <a:pt x="296" y="364"/>
                  </a:lnTo>
                  <a:lnTo>
                    <a:pt x="297" y="364"/>
                  </a:lnTo>
                  <a:close/>
                  <a:moveTo>
                    <a:pt x="182" y="164"/>
                  </a:moveTo>
                  <a:lnTo>
                    <a:pt x="180" y="164"/>
                  </a:lnTo>
                  <a:lnTo>
                    <a:pt x="182" y="162"/>
                  </a:lnTo>
                  <a:lnTo>
                    <a:pt x="182" y="164"/>
                  </a:lnTo>
                  <a:close/>
                  <a:moveTo>
                    <a:pt x="136" y="353"/>
                  </a:moveTo>
                  <a:lnTo>
                    <a:pt x="136" y="354"/>
                  </a:lnTo>
                  <a:lnTo>
                    <a:pt x="136" y="353"/>
                  </a:lnTo>
                  <a:close/>
                  <a:moveTo>
                    <a:pt x="309" y="432"/>
                  </a:moveTo>
                  <a:lnTo>
                    <a:pt x="309" y="434"/>
                  </a:lnTo>
                  <a:lnTo>
                    <a:pt x="307" y="432"/>
                  </a:lnTo>
                  <a:lnTo>
                    <a:pt x="309" y="432"/>
                  </a:lnTo>
                  <a:close/>
                  <a:moveTo>
                    <a:pt x="115" y="415"/>
                  </a:moveTo>
                  <a:lnTo>
                    <a:pt x="114" y="415"/>
                  </a:lnTo>
                  <a:lnTo>
                    <a:pt x="115" y="415"/>
                  </a:lnTo>
                  <a:close/>
                  <a:moveTo>
                    <a:pt x="307" y="397"/>
                  </a:moveTo>
                  <a:lnTo>
                    <a:pt x="305" y="397"/>
                  </a:lnTo>
                  <a:lnTo>
                    <a:pt x="307" y="397"/>
                  </a:lnTo>
                  <a:close/>
                </a:path>
              </a:pathLst>
            </a:custGeom>
            <a:solidFill>
              <a:srgbClr val="1EC08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31" name="Freeform 20">
              <a:extLst>
                <a:ext uri="{FF2B5EF4-FFF2-40B4-BE49-F238E27FC236}">
                  <a16:creationId xmlns:a16="http://schemas.microsoft.com/office/drawing/2014/main" id="{7EA416FB-8136-B355-D49C-5C01667B4F88}"/>
                </a:ext>
              </a:extLst>
            </p:cNvPr>
            <p:cNvSpPr>
              <a:spLocks noEditPoints="1"/>
            </p:cNvSpPr>
            <p:nvPr/>
          </p:nvSpPr>
          <p:spPr bwMode="auto">
            <a:xfrm>
              <a:off x="5091" y="2206"/>
              <a:ext cx="463" cy="334"/>
            </a:xfrm>
            <a:custGeom>
              <a:avLst/>
              <a:gdLst>
                <a:gd name="T0" fmla="*/ 268 w 463"/>
                <a:gd name="T1" fmla="*/ 38 h 334"/>
                <a:gd name="T2" fmla="*/ 309 w 463"/>
                <a:gd name="T3" fmla="*/ 41 h 334"/>
                <a:gd name="T4" fmla="*/ 359 w 463"/>
                <a:gd name="T5" fmla="*/ 39 h 334"/>
                <a:gd name="T6" fmla="*/ 435 w 463"/>
                <a:gd name="T7" fmla="*/ 33 h 334"/>
                <a:gd name="T8" fmla="*/ 426 w 463"/>
                <a:gd name="T9" fmla="*/ 182 h 334"/>
                <a:gd name="T10" fmla="*/ 463 w 463"/>
                <a:gd name="T11" fmla="*/ 246 h 334"/>
                <a:gd name="T12" fmla="*/ 439 w 463"/>
                <a:gd name="T13" fmla="*/ 282 h 334"/>
                <a:gd name="T14" fmla="*/ 401 w 463"/>
                <a:gd name="T15" fmla="*/ 304 h 334"/>
                <a:gd name="T16" fmla="*/ 362 w 463"/>
                <a:gd name="T17" fmla="*/ 314 h 334"/>
                <a:gd name="T18" fmla="*/ 325 w 463"/>
                <a:gd name="T19" fmla="*/ 283 h 334"/>
                <a:gd name="T20" fmla="*/ 271 w 463"/>
                <a:gd name="T21" fmla="*/ 269 h 334"/>
                <a:gd name="T22" fmla="*/ 224 w 463"/>
                <a:gd name="T23" fmla="*/ 291 h 334"/>
                <a:gd name="T24" fmla="*/ 208 w 463"/>
                <a:gd name="T25" fmla="*/ 267 h 334"/>
                <a:gd name="T26" fmla="*/ 208 w 463"/>
                <a:gd name="T27" fmla="*/ 233 h 334"/>
                <a:gd name="T28" fmla="*/ 170 w 463"/>
                <a:gd name="T29" fmla="*/ 252 h 334"/>
                <a:gd name="T30" fmla="*/ 148 w 463"/>
                <a:gd name="T31" fmla="*/ 249 h 334"/>
                <a:gd name="T32" fmla="*/ 125 w 463"/>
                <a:gd name="T33" fmla="*/ 218 h 334"/>
                <a:gd name="T34" fmla="*/ 123 w 463"/>
                <a:gd name="T35" fmla="*/ 197 h 334"/>
                <a:gd name="T36" fmla="*/ 112 w 463"/>
                <a:gd name="T37" fmla="*/ 192 h 334"/>
                <a:gd name="T38" fmla="*/ 112 w 463"/>
                <a:gd name="T39" fmla="*/ 166 h 334"/>
                <a:gd name="T40" fmla="*/ 115 w 463"/>
                <a:gd name="T41" fmla="*/ 161 h 334"/>
                <a:gd name="T42" fmla="*/ 104 w 463"/>
                <a:gd name="T43" fmla="*/ 130 h 334"/>
                <a:gd name="T44" fmla="*/ 146 w 463"/>
                <a:gd name="T45" fmla="*/ 109 h 334"/>
                <a:gd name="T46" fmla="*/ 157 w 463"/>
                <a:gd name="T47" fmla="*/ 83 h 334"/>
                <a:gd name="T48" fmla="*/ 187 w 463"/>
                <a:gd name="T49" fmla="*/ 78 h 334"/>
                <a:gd name="T50" fmla="*/ 203 w 463"/>
                <a:gd name="T51" fmla="*/ 67 h 334"/>
                <a:gd name="T52" fmla="*/ 239 w 463"/>
                <a:gd name="T53" fmla="*/ 55 h 334"/>
                <a:gd name="T54" fmla="*/ 247 w 463"/>
                <a:gd name="T55" fmla="*/ 33 h 334"/>
                <a:gd name="T56" fmla="*/ 109 w 463"/>
                <a:gd name="T57" fmla="*/ 228 h 334"/>
                <a:gd name="T58" fmla="*/ 110 w 463"/>
                <a:gd name="T59" fmla="*/ 238 h 334"/>
                <a:gd name="T60" fmla="*/ 97 w 463"/>
                <a:gd name="T61" fmla="*/ 246 h 334"/>
                <a:gd name="T62" fmla="*/ 87 w 463"/>
                <a:gd name="T63" fmla="*/ 264 h 334"/>
                <a:gd name="T64" fmla="*/ 65 w 463"/>
                <a:gd name="T65" fmla="*/ 277 h 334"/>
                <a:gd name="T66" fmla="*/ 40 w 463"/>
                <a:gd name="T67" fmla="*/ 306 h 334"/>
                <a:gd name="T68" fmla="*/ 30 w 463"/>
                <a:gd name="T69" fmla="*/ 312 h 334"/>
                <a:gd name="T70" fmla="*/ 22 w 463"/>
                <a:gd name="T71" fmla="*/ 286 h 334"/>
                <a:gd name="T72" fmla="*/ 13 w 463"/>
                <a:gd name="T73" fmla="*/ 277 h 334"/>
                <a:gd name="T74" fmla="*/ 3 w 463"/>
                <a:gd name="T75" fmla="*/ 256 h 334"/>
                <a:gd name="T76" fmla="*/ 30 w 463"/>
                <a:gd name="T77" fmla="*/ 247 h 334"/>
                <a:gd name="T78" fmla="*/ 63 w 463"/>
                <a:gd name="T79" fmla="*/ 226 h 334"/>
                <a:gd name="T80" fmla="*/ 89 w 463"/>
                <a:gd name="T81" fmla="*/ 221 h 334"/>
                <a:gd name="T82" fmla="*/ 50 w 463"/>
                <a:gd name="T83" fmla="*/ 160 h 334"/>
                <a:gd name="T84" fmla="*/ 83 w 463"/>
                <a:gd name="T85" fmla="*/ 187 h 334"/>
                <a:gd name="T86" fmla="*/ 61 w 463"/>
                <a:gd name="T87" fmla="*/ 199 h 334"/>
                <a:gd name="T88" fmla="*/ 39 w 463"/>
                <a:gd name="T89" fmla="*/ 197 h 334"/>
                <a:gd name="T90" fmla="*/ 22 w 463"/>
                <a:gd name="T91" fmla="*/ 182 h 334"/>
                <a:gd name="T92" fmla="*/ 94 w 463"/>
                <a:gd name="T93" fmla="*/ 156 h 334"/>
                <a:gd name="T94" fmla="*/ 87 w 463"/>
                <a:gd name="T95" fmla="*/ 169 h 334"/>
                <a:gd name="T96" fmla="*/ 170 w 463"/>
                <a:gd name="T97" fmla="*/ 278 h 334"/>
                <a:gd name="T98" fmla="*/ 122 w 463"/>
                <a:gd name="T99" fmla="*/ 332 h 334"/>
                <a:gd name="T100" fmla="*/ 58 w 463"/>
                <a:gd name="T101" fmla="*/ 295 h 334"/>
                <a:gd name="T102" fmla="*/ 78 w 463"/>
                <a:gd name="T103" fmla="*/ 176 h 334"/>
                <a:gd name="T104" fmla="*/ 63 w 463"/>
                <a:gd name="T105" fmla="*/ 285 h 334"/>
                <a:gd name="T106" fmla="*/ 109 w 463"/>
                <a:gd name="T107" fmla="*/ 184 h 334"/>
                <a:gd name="T108" fmla="*/ 83 w 463"/>
                <a:gd name="T109" fmla="*/ 197 h 334"/>
                <a:gd name="T110" fmla="*/ 11 w 463"/>
                <a:gd name="T111" fmla="*/ 270 h 334"/>
                <a:gd name="T112" fmla="*/ 105 w 463"/>
                <a:gd name="T113" fmla="*/ 194 h 334"/>
                <a:gd name="T114" fmla="*/ 4 w 463"/>
                <a:gd name="T115" fmla="*/ 265 h 334"/>
                <a:gd name="T116" fmla="*/ 185 w 463"/>
                <a:gd name="T117" fmla="*/ 60 h 334"/>
                <a:gd name="T118" fmla="*/ 92 w 463"/>
                <a:gd name="T119" fmla="*/ 212 h 334"/>
                <a:gd name="T120" fmla="*/ 102 w 463"/>
                <a:gd name="T121" fmla="*/ 243 h 334"/>
                <a:gd name="T122" fmla="*/ 97 w 463"/>
                <a:gd name="T123" fmla="*/ 228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63" h="334">
                  <a:moveTo>
                    <a:pt x="247" y="31"/>
                  </a:moveTo>
                  <a:lnTo>
                    <a:pt x="247" y="33"/>
                  </a:lnTo>
                  <a:lnTo>
                    <a:pt x="248" y="31"/>
                  </a:lnTo>
                  <a:lnTo>
                    <a:pt x="248" y="33"/>
                  </a:lnTo>
                  <a:lnTo>
                    <a:pt x="247" y="33"/>
                  </a:lnTo>
                  <a:lnTo>
                    <a:pt x="248" y="33"/>
                  </a:lnTo>
                  <a:lnTo>
                    <a:pt x="248" y="34"/>
                  </a:lnTo>
                  <a:lnTo>
                    <a:pt x="250" y="34"/>
                  </a:lnTo>
                  <a:lnTo>
                    <a:pt x="250" y="33"/>
                  </a:lnTo>
                  <a:lnTo>
                    <a:pt x="252" y="34"/>
                  </a:lnTo>
                  <a:lnTo>
                    <a:pt x="253" y="34"/>
                  </a:lnTo>
                  <a:lnTo>
                    <a:pt x="252" y="36"/>
                  </a:lnTo>
                  <a:lnTo>
                    <a:pt x="253" y="36"/>
                  </a:lnTo>
                  <a:lnTo>
                    <a:pt x="253" y="38"/>
                  </a:lnTo>
                  <a:lnTo>
                    <a:pt x="255" y="38"/>
                  </a:lnTo>
                  <a:lnTo>
                    <a:pt x="255" y="39"/>
                  </a:lnTo>
                  <a:lnTo>
                    <a:pt x="253" y="39"/>
                  </a:lnTo>
                  <a:lnTo>
                    <a:pt x="255" y="41"/>
                  </a:lnTo>
                  <a:lnTo>
                    <a:pt x="255" y="42"/>
                  </a:lnTo>
                  <a:lnTo>
                    <a:pt x="255" y="44"/>
                  </a:lnTo>
                  <a:lnTo>
                    <a:pt x="257" y="44"/>
                  </a:lnTo>
                  <a:lnTo>
                    <a:pt x="258" y="44"/>
                  </a:lnTo>
                  <a:lnTo>
                    <a:pt x="260" y="44"/>
                  </a:lnTo>
                  <a:lnTo>
                    <a:pt x="261" y="44"/>
                  </a:lnTo>
                  <a:lnTo>
                    <a:pt x="261" y="42"/>
                  </a:lnTo>
                  <a:lnTo>
                    <a:pt x="261" y="44"/>
                  </a:lnTo>
                  <a:lnTo>
                    <a:pt x="261" y="42"/>
                  </a:lnTo>
                  <a:lnTo>
                    <a:pt x="263" y="42"/>
                  </a:lnTo>
                  <a:lnTo>
                    <a:pt x="261" y="41"/>
                  </a:lnTo>
                  <a:lnTo>
                    <a:pt x="261" y="39"/>
                  </a:lnTo>
                  <a:lnTo>
                    <a:pt x="261" y="38"/>
                  </a:lnTo>
                  <a:lnTo>
                    <a:pt x="260" y="36"/>
                  </a:lnTo>
                  <a:lnTo>
                    <a:pt x="261" y="36"/>
                  </a:lnTo>
                  <a:lnTo>
                    <a:pt x="263" y="36"/>
                  </a:lnTo>
                  <a:lnTo>
                    <a:pt x="265" y="36"/>
                  </a:lnTo>
                  <a:lnTo>
                    <a:pt x="265" y="38"/>
                  </a:lnTo>
                  <a:lnTo>
                    <a:pt x="265" y="39"/>
                  </a:lnTo>
                  <a:lnTo>
                    <a:pt x="265" y="41"/>
                  </a:lnTo>
                  <a:lnTo>
                    <a:pt x="266" y="41"/>
                  </a:lnTo>
                  <a:lnTo>
                    <a:pt x="268" y="41"/>
                  </a:lnTo>
                  <a:lnTo>
                    <a:pt x="270" y="39"/>
                  </a:lnTo>
                  <a:lnTo>
                    <a:pt x="270" y="38"/>
                  </a:lnTo>
                  <a:lnTo>
                    <a:pt x="268" y="38"/>
                  </a:lnTo>
                  <a:lnTo>
                    <a:pt x="268" y="36"/>
                  </a:lnTo>
                  <a:lnTo>
                    <a:pt x="268" y="34"/>
                  </a:lnTo>
                  <a:lnTo>
                    <a:pt x="266" y="33"/>
                  </a:lnTo>
                  <a:lnTo>
                    <a:pt x="268" y="33"/>
                  </a:lnTo>
                  <a:lnTo>
                    <a:pt x="270" y="33"/>
                  </a:lnTo>
                  <a:lnTo>
                    <a:pt x="268" y="33"/>
                  </a:lnTo>
                  <a:lnTo>
                    <a:pt x="268" y="34"/>
                  </a:lnTo>
                  <a:lnTo>
                    <a:pt x="270" y="34"/>
                  </a:lnTo>
                  <a:lnTo>
                    <a:pt x="271" y="34"/>
                  </a:lnTo>
                  <a:lnTo>
                    <a:pt x="271" y="33"/>
                  </a:lnTo>
                  <a:lnTo>
                    <a:pt x="273" y="33"/>
                  </a:lnTo>
                  <a:lnTo>
                    <a:pt x="273" y="31"/>
                  </a:lnTo>
                  <a:lnTo>
                    <a:pt x="274" y="31"/>
                  </a:lnTo>
                  <a:lnTo>
                    <a:pt x="274" y="33"/>
                  </a:lnTo>
                  <a:lnTo>
                    <a:pt x="273" y="33"/>
                  </a:lnTo>
                  <a:lnTo>
                    <a:pt x="274" y="34"/>
                  </a:lnTo>
                  <a:lnTo>
                    <a:pt x="276" y="34"/>
                  </a:lnTo>
                  <a:lnTo>
                    <a:pt x="278" y="34"/>
                  </a:lnTo>
                  <a:lnTo>
                    <a:pt x="278" y="36"/>
                  </a:lnTo>
                  <a:lnTo>
                    <a:pt x="276" y="36"/>
                  </a:lnTo>
                  <a:lnTo>
                    <a:pt x="278" y="36"/>
                  </a:lnTo>
                  <a:lnTo>
                    <a:pt x="278" y="38"/>
                  </a:lnTo>
                  <a:lnTo>
                    <a:pt x="279" y="38"/>
                  </a:lnTo>
                  <a:lnTo>
                    <a:pt x="279" y="36"/>
                  </a:lnTo>
                  <a:lnTo>
                    <a:pt x="281" y="36"/>
                  </a:lnTo>
                  <a:lnTo>
                    <a:pt x="284" y="36"/>
                  </a:lnTo>
                  <a:lnTo>
                    <a:pt x="286" y="36"/>
                  </a:lnTo>
                  <a:lnTo>
                    <a:pt x="286" y="34"/>
                  </a:lnTo>
                  <a:lnTo>
                    <a:pt x="289" y="34"/>
                  </a:lnTo>
                  <a:lnTo>
                    <a:pt x="291" y="34"/>
                  </a:lnTo>
                  <a:lnTo>
                    <a:pt x="292" y="36"/>
                  </a:lnTo>
                  <a:lnTo>
                    <a:pt x="294" y="36"/>
                  </a:lnTo>
                  <a:lnTo>
                    <a:pt x="296" y="38"/>
                  </a:lnTo>
                  <a:lnTo>
                    <a:pt x="297" y="38"/>
                  </a:lnTo>
                  <a:lnTo>
                    <a:pt x="299" y="38"/>
                  </a:lnTo>
                  <a:lnTo>
                    <a:pt x="300" y="38"/>
                  </a:lnTo>
                  <a:lnTo>
                    <a:pt x="302" y="38"/>
                  </a:lnTo>
                  <a:lnTo>
                    <a:pt x="304" y="38"/>
                  </a:lnTo>
                  <a:lnTo>
                    <a:pt x="304" y="39"/>
                  </a:lnTo>
                  <a:lnTo>
                    <a:pt x="305" y="39"/>
                  </a:lnTo>
                  <a:lnTo>
                    <a:pt x="305" y="38"/>
                  </a:lnTo>
                  <a:lnTo>
                    <a:pt x="307" y="39"/>
                  </a:lnTo>
                  <a:lnTo>
                    <a:pt x="309" y="41"/>
                  </a:lnTo>
                  <a:lnTo>
                    <a:pt x="310" y="41"/>
                  </a:lnTo>
                  <a:lnTo>
                    <a:pt x="309" y="39"/>
                  </a:lnTo>
                  <a:lnTo>
                    <a:pt x="312" y="39"/>
                  </a:lnTo>
                  <a:lnTo>
                    <a:pt x="312" y="38"/>
                  </a:lnTo>
                  <a:lnTo>
                    <a:pt x="312" y="39"/>
                  </a:lnTo>
                  <a:lnTo>
                    <a:pt x="313" y="39"/>
                  </a:lnTo>
                  <a:lnTo>
                    <a:pt x="313" y="38"/>
                  </a:lnTo>
                  <a:lnTo>
                    <a:pt x="315" y="38"/>
                  </a:lnTo>
                  <a:lnTo>
                    <a:pt x="315" y="36"/>
                  </a:lnTo>
                  <a:lnTo>
                    <a:pt x="313" y="34"/>
                  </a:lnTo>
                  <a:lnTo>
                    <a:pt x="313" y="33"/>
                  </a:lnTo>
                  <a:lnTo>
                    <a:pt x="315" y="34"/>
                  </a:lnTo>
                  <a:lnTo>
                    <a:pt x="315" y="33"/>
                  </a:lnTo>
                  <a:lnTo>
                    <a:pt x="317" y="33"/>
                  </a:lnTo>
                  <a:lnTo>
                    <a:pt x="317" y="34"/>
                  </a:lnTo>
                  <a:lnTo>
                    <a:pt x="318" y="33"/>
                  </a:lnTo>
                  <a:lnTo>
                    <a:pt x="318" y="34"/>
                  </a:lnTo>
                  <a:lnTo>
                    <a:pt x="320" y="34"/>
                  </a:lnTo>
                  <a:lnTo>
                    <a:pt x="322" y="34"/>
                  </a:lnTo>
                  <a:lnTo>
                    <a:pt x="323" y="34"/>
                  </a:lnTo>
                  <a:lnTo>
                    <a:pt x="323" y="36"/>
                  </a:lnTo>
                  <a:lnTo>
                    <a:pt x="325" y="36"/>
                  </a:lnTo>
                  <a:lnTo>
                    <a:pt x="326" y="36"/>
                  </a:lnTo>
                  <a:lnTo>
                    <a:pt x="326" y="38"/>
                  </a:lnTo>
                  <a:lnTo>
                    <a:pt x="328" y="38"/>
                  </a:lnTo>
                  <a:lnTo>
                    <a:pt x="330" y="38"/>
                  </a:lnTo>
                  <a:lnTo>
                    <a:pt x="330" y="39"/>
                  </a:lnTo>
                  <a:lnTo>
                    <a:pt x="331" y="39"/>
                  </a:lnTo>
                  <a:lnTo>
                    <a:pt x="333" y="39"/>
                  </a:lnTo>
                  <a:lnTo>
                    <a:pt x="335" y="41"/>
                  </a:lnTo>
                  <a:lnTo>
                    <a:pt x="338" y="42"/>
                  </a:lnTo>
                  <a:lnTo>
                    <a:pt x="338" y="41"/>
                  </a:lnTo>
                  <a:lnTo>
                    <a:pt x="338" y="42"/>
                  </a:lnTo>
                  <a:lnTo>
                    <a:pt x="339" y="42"/>
                  </a:lnTo>
                  <a:lnTo>
                    <a:pt x="341" y="44"/>
                  </a:lnTo>
                  <a:lnTo>
                    <a:pt x="344" y="44"/>
                  </a:lnTo>
                  <a:lnTo>
                    <a:pt x="346" y="42"/>
                  </a:lnTo>
                  <a:lnTo>
                    <a:pt x="348" y="42"/>
                  </a:lnTo>
                  <a:lnTo>
                    <a:pt x="351" y="42"/>
                  </a:lnTo>
                  <a:lnTo>
                    <a:pt x="352" y="42"/>
                  </a:lnTo>
                  <a:lnTo>
                    <a:pt x="354" y="41"/>
                  </a:lnTo>
                  <a:lnTo>
                    <a:pt x="357" y="41"/>
                  </a:lnTo>
                  <a:lnTo>
                    <a:pt x="359" y="39"/>
                  </a:lnTo>
                  <a:lnTo>
                    <a:pt x="362" y="38"/>
                  </a:lnTo>
                  <a:lnTo>
                    <a:pt x="367" y="36"/>
                  </a:lnTo>
                  <a:lnTo>
                    <a:pt x="372" y="34"/>
                  </a:lnTo>
                  <a:lnTo>
                    <a:pt x="374" y="34"/>
                  </a:lnTo>
                  <a:lnTo>
                    <a:pt x="377" y="34"/>
                  </a:lnTo>
                  <a:lnTo>
                    <a:pt x="380" y="34"/>
                  </a:lnTo>
                  <a:lnTo>
                    <a:pt x="383" y="34"/>
                  </a:lnTo>
                  <a:lnTo>
                    <a:pt x="385" y="34"/>
                  </a:lnTo>
                  <a:lnTo>
                    <a:pt x="387" y="34"/>
                  </a:lnTo>
                  <a:lnTo>
                    <a:pt x="388" y="34"/>
                  </a:lnTo>
                  <a:lnTo>
                    <a:pt x="390" y="36"/>
                  </a:lnTo>
                  <a:lnTo>
                    <a:pt x="396" y="33"/>
                  </a:lnTo>
                  <a:lnTo>
                    <a:pt x="398" y="33"/>
                  </a:lnTo>
                  <a:lnTo>
                    <a:pt x="400" y="33"/>
                  </a:lnTo>
                  <a:lnTo>
                    <a:pt x="401" y="33"/>
                  </a:lnTo>
                  <a:lnTo>
                    <a:pt x="401" y="34"/>
                  </a:lnTo>
                  <a:lnTo>
                    <a:pt x="403" y="34"/>
                  </a:lnTo>
                  <a:lnTo>
                    <a:pt x="405" y="34"/>
                  </a:lnTo>
                  <a:lnTo>
                    <a:pt x="406" y="34"/>
                  </a:lnTo>
                  <a:lnTo>
                    <a:pt x="406" y="33"/>
                  </a:lnTo>
                  <a:lnTo>
                    <a:pt x="408" y="33"/>
                  </a:lnTo>
                  <a:lnTo>
                    <a:pt x="409" y="33"/>
                  </a:lnTo>
                  <a:lnTo>
                    <a:pt x="413" y="31"/>
                  </a:lnTo>
                  <a:lnTo>
                    <a:pt x="414" y="29"/>
                  </a:lnTo>
                  <a:lnTo>
                    <a:pt x="416" y="29"/>
                  </a:lnTo>
                  <a:lnTo>
                    <a:pt x="416" y="28"/>
                  </a:lnTo>
                  <a:lnTo>
                    <a:pt x="418" y="25"/>
                  </a:lnTo>
                  <a:lnTo>
                    <a:pt x="419" y="23"/>
                  </a:lnTo>
                  <a:lnTo>
                    <a:pt x="419" y="21"/>
                  </a:lnTo>
                  <a:lnTo>
                    <a:pt x="419" y="20"/>
                  </a:lnTo>
                  <a:lnTo>
                    <a:pt x="421" y="20"/>
                  </a:lnTo>
                  <a:lnTo>
                    <a:pt x="422" y="20"/>
                  </a:lnTo>
                  <a:lnTo>
                    <a:pt x="426" y="21"/>
                  </a:lnTo>
                  <a:lnTo>
                    <a:pt x="427" y="23"/>
                  </a:lnTo>
                  <a:lnTo>
                    <a:pt x="427" y="25"/>
                  </a:lnTo>
                  <a:lnTo>
                    <a:pt x="429" y="25"/>
                  </a:lnTo>
                  <a:lnTo>
                    <a:pt x="431" y="25"/>
                  </a:lnTo>
                  <a:lnTo>
                    <a:pt x="431" y="26"/>
                  </a:lnTo>
                  <a:lnTo>
                    <a:pt x="432" y="26"/>
                  </a:lnTo>
                  <a:lnTo>
                    <a:pt x="434" y="28"/>
                  </a:lnTo>
                  <a:lnTo>
                    <a:pt x="434" y="29"/>
                  </a:lnTo>
                  <a:lnTo>
                    <a:pt x="435" y="31"/>
                  </a:lnTo>
                  <a:lnTo>
                    <a:pt x="435" y="33"/>
                  </a:lnTo>
                  <a:lnTo>
                    <a:pt x="434" y="34"/>
                  </a:lnTo>
                  <a:lnTo>
                    <a:pt x="434" y="38"/>
                  </a:lnTo>
                  <a:lnTo>
                    <a:pt x="434" y="41"/>
                  </a:lnTo>
                  <a:lnTo>
                    <a:pt x="432" y="42"/>
                  </a:lnTo>
                  <a:lnTo>
                    <a:pt x="431" y="44"/>
                  </a:lnTo>
                  <a:lnTo>
                    <a:pt x="427" y="44"/>
                  </a:lnTo>
                  <a:lnTo>
                    <a:pt x="426" y="44"/>
                  </a:lnTo>
                  <a:lnTo>
                    <a:pt x="426" y="46"/>
                  </a:lnTo>
                  <a:lnTo>
                    <a:pt x="424" y="46"/>
                  </a:lnTo>
                  <a:lnTo>
                    <a:pt x="424" y="47"/>
                  </a:lnTo>
                  <a:lnTo>
                    <a:pt x="422" y="47"/>
                  </a:lnTo>
                  <a:lnTo>
                    <a:pt x="421" y="49"/>
                  </a:lnTo>
                  <a:lnTo>
                    <a:pt x="419" y="51"/>
                  </a:lnTo>
                  <a:lnTo>
                    <a:pt x="419" y="52"/>
                  </a:lnTo>
                  <a:lnTo>
                    <a:pt x="419" y="54"/>
                  </a:lnTo>
                  <a:lnTo>
                    <a:pt x="419" y="57"/>
                  </a:lnTo>
                  <a:lnTo>
                    <a:pt x="419" y="60"/>
                  </a:lnTo>
                  <a:lnTo>
                    <a:pt x="419" y="62"/>
                  </a:lnTo>
                  <a:lnTo>
                    <a:pt x="418" y="67"/>
                  </a:lnTo>
                  <a:lnTo>
                    <a:pt x="418" y="68"/>
                  </a:lnTo>
                  <a:lnTo>
                    <a:pt x="416" y="72"/>
                  </a:lnTo>
                  <a:lnTo>
                    <a:pt x="416" y="73"/>
                  </a:lnTo>
                  <a:lnTo>
                    <a:pt x="416" y="75"/>
                  </a:lnTo>
                  <a:lnTo>
                    <a:pt x="416" y="77"/>
                  </a:lnTo>
                  <a:lnTo>
                    <a:pt x="416" y="78"/>
                  </a:lnTo>
                  <a:lnTo>
                    <a:pt x="416" y="80"/>
                  </a:lnTo>
                  <a:lnTo>
                    <a:pt x="416" y="82"/>
                  </a:lnTo>
                  <a:lnTo>
                    <a:pt x="416" y="83"/>
                  </a:lnTo>
                  <a:lnTo>
                    <a:pt x="416" y="85"/>
                  </a:lnTo>
                  <a:lnTo>
                    <a:pt x="416" y="86"/>
                  </a:lnTo>
                  <a:lnTo>
                    <a:pt x="414" y="86"/>
                  </a:lnTo>
                  <a:lnTo>
                    <a:pt x="416" y="88"/>
                  </a:lnTo>
                  <a:lnTo>
                    <a:pt x="416" y="90"/>
                  </a:lnTo>
                  <a:lnTo>
                    <a:pt x="416" y="91"/>
                  </a:lnTo>
                  <a:lnTo>
                    <a:pt x="416" y="93"/>
                  </a:lnTo>
                  <a:lnTo>
                    <a:pt x="416" y="95"/>
                  </a:lnTo>
                  <a:lnTo>
                    <a:pt x="406" y="111"/>
                  </a:lnTo>
                  <a:lnTo>
                    <a:pt x="403" y="116"/>
                  </a:lnTo>
                  <a:lnTo>
                    <a:pt x="396" y="127"/>
                  </a:lnTo>
                  <a:lnTo>
                    <a:pt x="401" y="137"/>
                  </a:lnTo>
                  <a:lnTo>
                    <a:pt x="408" y="148"/>
                  </a:lnTo>
                  <a:lnTo>
                    <a:pt x="416" y="166"/>
                  </a:lnTo>
                  <a:lnTo>
                    <a:pt x="426" y="182"/>
                  </a:lnTo>
                  <a:lnTo>
                    <a:pt x="426" y="184"/>
                  </a:lnTo>
                  <a:lnTo>
                    <a:pt x="424" y="184"/>
                  </a:lnTo>
                  <a:lnTo>
                    <a:pt x="422" y="190"/>
                  </a:lnTo>
                  <a:lnTo>
                    <a:pt x="424" y="194"/>
                  </a:lnTo>
                  <a:lnTo>
                    <a:pt x="426" y="203"/>
                  </a:lnTo>
                  <a:lnTo>
                    <a:pt x="429" y="205"/>
                  </a:lnTo>
                  <a:lnTo>
                    <a:pt x="431" y="207"/>
                  </a:lnTo>
                  <a:lnTo>
                    <a:pt x="439" y="215"/>
                  </a:lnTo>
                  <a:lnTo>
                    <a:pt x="440" y="218"/>
                  </a:lnTo>
                  <a:lnTo>
                    <a:pt x="440" y="220"/>
                  </a:lnTo>
                  <a:lnTo>
                    <a:pt x="440" y="221"/>
                  </a:lnTo>
                  <a:lnTo>
                    <a:pt x="440" y="225"/>
                  </a:lnTo>
                  <a:lnTo>
                    <a:pt x="442" y="226"/>
                  </a:lnTo>
                  <a:lnTo>
                    <a:pt x="442" y="228"/>
                  </a:lnTo>
                  <a:lnTo>
                    <a:pt x="442" y="230"/>
                  </a:lnTo>
                  <a:lnTo>
                    <a:pt x="444" y="231"/>
                  </a:lnTo>
                  <a:lnTo>
                    <a:pt x="445" y="231"/>
                  </a:lnTo>
                  <a:lnTo>
                    <a:pt x="447" y="231"/>
                  </a:lnTo>
                  <a:lnTo>
                    <a:pt x="445" y="230"/>
                  </a:lnTo>
                  <a:lnTo>
                    <a:pt x="445" y="228"/>
                  </a:lnTo>
                  <a:lnTo>
                    <a:pt x="447" y="228"/>
                  </a:lnTo>
                  <a:lnTo>
                    <a:pt x="447" y="230"/>
                  </a:lnTo>
                  <a:lnTo>
                    <a:pt x="448" y="230"/>
                  </a:lnTo>
                  <a:lnTo>
                    <a:pt x="450" y="230"/>
                  </a:lnTo>
                  <a:lnTo>
                    <a:pt x="450" y="231"/>
                  </a:lnTo>
                  <a:lnTo>
                    <a:pt x="450" y="233"/>
                  </a:lnTo>
                  <a:lnTo>
                    <a:pt x="450" y="234"/>
                  </a:lnTo>
                  <a:lnTo>
                    <a:pt x="450" y="236"/>
                  </a:lnTo>
                  <a:lnTo>
                    <a:pt x="448" y="238"/>
                  </a:lnTo>
                  <a:lnTo>
                    <a:pt x="450" y="239"/>
                  </a:lnTo>
                  <a:lnTo>
                    <a:pt x="452" y="239"/>
                  </a:lnTo>
                  <a:lnTo>
                    <a:pt x="452" y="241"/>
                  </a:lnTo>
                  <a:lnTo>
                    <a:pt x="453" y="241"/>
                  </a:lnTo>
                  <a:lnTo>
                    <a:pt x="455" y="241"/>
                  </a:lnTo>
                  <a:lnTo>
                    <a:pt x="455" y="243"/>
                  </a:lnTo>
                  <a:lnTo>
                    <a:pt x="453" y="243"/>
                  </a:lnTo>
                  <a:lnTo>
                    <a:pt x="455" y="244"/>
                  </a:lnTo>
                  <a:lnTo>
                    <a:pt x="455" y="243"/>
                  </a:lnTo>
                  <a:lnTo>
                    <a:pt x="457" y="243"/>
                  </a:lnTo>
                  <a:lnTo>
                    <a:pt x="458" y="244"/>
                  </a:lnTo>
                  <a:lnTo>
                    <a:pt x="461" y="244"/>
                  </a:lnTo>
                  <a:lnTo>
                    <a:pt x="463" y="244"/>
                  </a:lnTo>
                  <a:lnTo>
                    <a:pt x="463" y="246"/>
                  </a:lnTo>
                  <a:lnTo>
                    <a:pt x="463" y="247"/>
                  </a:lnTo>
                  <a:lnTo>
                    <a:pt x="461" y="249"/>
                  </a:lnTo>
                  <a:lnTo>
                    <a:pt x="463" y="251"/>
                  </a:lnTo>
                  <a:lnTo>
                    <a:pt x="461" y="252"/>
                  </a:lnTo>
                  <a:lnTo>
                    <a:pt x="460" y="252"/>
                  </a:lnTo>
                  <a:lnTo>
                    <a:pt x="458" y="254"/>
                  </a:lnTo>
                  <a:lnTo>
                    <a:pt x="457" y="252"/>
                  </a:lnTo>
                  <a:lnTo>
                    <a:pt x="455" y="252"/>
                  </a:lnTo>
                  <a:lnTo>
                    <a:pt x="455" y="254"/>
                  </a:lnTo>
                  <a:lnTo>
                    <a:pt x="453" y="254"/>
                  </a:lnTo>
                  <a:lnTo>
                    <a:pt x="452" y="254"/>
                  </a:lnTo>
                  <a:lnTo>
                    <a:pt x="450" y="254"/>
                  </a:lnTo>
                  <a:lnTo>
                    <a:pt x="448" y="256"/>
                  </a:lnTo>
                  <a:lnTo>
                    <a:pt x="447" y="256"/>
                  </a:lnTo>
                  <a:lnTo>
                    <a:pt x="445" y="256"/>
                  </a:lnTo>
                  <a:lnTo>
                    <a:pt x="445" y="257"/>
                  </a:lnTo>
                  <a:lnTo>
                    <a:pt x="445" y="259"/>
                  </a:lnTo>
                  <a:lnTo>
                    <a:pt x="445" y="260"/>
                  </a:lnTo>
                  <a:lnTo>
                    <a:pt x="445" y="262"/>
                  </a:lnTo>
                  <a:lnTo>
                    <a:pt x="445" y="264"/>
                  </a:lnTo>
                  <a:lnTo>
                    <a:pt x="444" y="264"/>
                  </a:lnTo>
                  <a:lnTo>
                    <a:pt x="442" y="264"/>
                  </a:lnTo>
                  <a:lnTo>
                    <a:pt x="444" y="265"/>
                  </a:lnTo>
                  <a:lnTo>
                    <a:pt x="444" y="267"/>
                  </a:lnTo>
                  <a:lnTo>
                    <a:pt x="445" y="267"/>
                  </a:lnTo>
                  <a:lnTo>
                    <a:pt x="445" y="269"/>
                  </a:lnTo>
                  <a:lnTo>
                    <a:pt x="447" y="269"/>
                  </a:lnTo>
                  <a:lnTo>
                    <a:pt x="447" y="270"/>
                  </a:lnTo>
                  <a:lnTo>
                    <a:pt x="448" y="270"/>
                  </a:lnTo>
                  <a:lnTo>
                    <a:pt x="447" y="270"/>
                  </a:lnTo>
                  <a:lnTo>
                    <a:pt x="447" y="272"/>
                  </a:lnTo>
                  <a:lnTo>
                    <a:pt x="447" y="273"/>
                  </a:lnTo>
                  <a:lnTo>
                    <a:pt x="447" y="275"/>
                  </a:lnTo>
                  <a:lnTo>
                    <a:pt x="445" y="275"/>
                  </a:lnTo>
                  <a:lnTo>
                    <a:pt x="445" y="273"/>
                  </a:lnTo>
                  <a:lnTo>
                    <a:pt x="444" y="273"/>
                  </a:lnTo>
                  <a:lnTo>
                    <a:pt x="444" y="275"/>
                  </a:lnTo>
                  <a:lnTo>
                    <a:pt x="442" y="275"/>
                  </a:lnTo>
                  <a:lnTo>
                    <a:pt x="440" y="275"/>
                  </a:lnTo>
                  <a:lnTo>
                    <a:pt x="440" y="277"/>
                  </a:lnTo>
                  <a:lnTo>
                    <a:pt x="440" y="278"/>
                  </a:lnTo>
                  <a:lnTo>
                    <a:pt x="439" y="280"/>
                  </a:lnTo>
                  <a:lnTo>
                    <a:pt x="439" y="282"/>
                  </a:lnTo>
                  <a:lnTo>
                    <a:pt x="439" y="283"/>
                  </a:lnTo>
                  <a:lnTo>
                    <a:pt x="440" y="285"/>
                  </a:lnTo>
                  <a:lnTo>
                    <a:pt x="442" y="286"/>
                  </a:lnTo>
                  <a:lnTo>
                    <a:pt x="442" y="288"/>
                  </a:lnTo>
                  <a:lnTo>
                    <a:pt x="442" y="290"/>
                  </a:lnTo>
                  <a:lnTo>
                    <a:pt x="442" y="291"/>
                  </a:lnTo>
                  <a:lnTo>
                    <a:pt x="440" y="291"/>
                  </a:lnTo>
                  <a:lnTo>
                    <a:pt x="439" y="293"/>
                  </a:lnTo>
                  <a:lnTo>
                    <a:pt x="439" y="295"/>
                  </a:lnTo>
                  <a:lnTo>
                    <a:pt x="439" y="296"/>
                  </a:lnTo>
                  <a:lnTo>
                    <a:pt x="439" y="298"/>
                  </a:lnTo>
                  <a:lnTo>
                    <a:pt x="439" y="299"/>
                  </a:lnTo>
                  <a:lnTo>
                    <a:pt x="440" y="301"/>
                  </a:lnTo>
                  <a:lnTo>
                    <a:pt x="440" y="303"/>
                  </a:lnTo>
                  <a:lnTo>
                    <a:pt x="442" y="303"/>
                  </a:lnTo>
                  <a:lnTo>
                    <a:pt x="440" y="303"/>
                  </a:lnTo>
                  <a:lnTo>
                    <a:pt x="437" y="303"/>
                  </a:lnTo>
                  <a:lnTo>
                    <a:pt x="435" y="303"/>
                  </a:lnTo>
                  <a:lnTo>
                    <a:pt x="434" y="301"/>
                  </a:lnTo>
                  <a:lnTo>
                    <a:pt x="432" y="301"/>
                  </a:lnTo>
                  <a:lnTo>
                    <a:pt x="431" y="301"/>
                  </a:lnTo>
                  <a:lnTo>
                    <a:pt x="429" y="303"/>
                  </a:lnTo>
                  <a:lnTo>
                    <a:pt x="427" y="303"/>
                  </a:lnTo>
                  <a:lnTo>
                    <a:pt x="426" y="301"/>
                  </a:lnTo>
                  <a:lnTo>
                    <a:pt x="422" y="303"/>
                  </a:lnTo>
                  <a:lnTo>
                    <a:pt x="421" y="301"/>
                  </a:lnTo>
                  <a:lnTo>
                    <a:pt x="419" y="301"/>
                  </a:lnTo>
                  <a:lnTo>
                    <a:pt x="416" y="299"/>
                  </a:lnTo>
                  <a:lnTo>
                    <a:pt x="416" y="298"/>
                  </a:lnTo>
                  <a:lnTo>
                    <a:pt x="414" y="298"/>
                  </a:lnTo>
                  <a:lnTo>
                    <a:pt x="411" y="298"/>
                  </a:lnTo>
                  <a:lnTo>
                    <a:pt x="409" y="298"/>
                  </a:lnTo>
                  <a:lnTo>
                    <a:pt x="409" y="299"/>
                  </a:lnTo>
                  <a:lnTo>
                    <a:pt x="408" y="299"/>
                  </a:lnTo>
                  <a:lnTo>
                    <a:pt x="408" y="298"/>
                  </a:lnTo>
                  <a:lnTo>
                    <a:pt x="406" y="296"/>
                  </a:lnTo>
                  <a:lnTo>
                    <a:pt x="405" y="296"/>
                  </a:lnTo>
                  <a:lnTo>
                    <a:pt x="403" y="298"/>
                  </a:lnTo>
                  <a:lnTo>
                    <a:pt x="401" y="299"/>
                  </a:lnTo>
                  <a:lnTo>
                    <a:pt x="401" y="301"/>
                  </a:lnTo>
                  <a:lnTo>
                    <a:pt x="403" y="303"/>
                  </a:lnTo>
                  <a:lnTo>
                    <a:pt x="401" y="303"/>
                  </a:lnTo>
                  <a:lnTo>
                    <a:pt x="401" y="304"/>
                  </a:lnTo>
                  <a:lnTo>
                    <a:pt x="400" y="304"/>
                  </a:lnTo>
                  <a:lnTo>
                    <a:pt x="398" y="304"/>
                  </a:lnTo>
                  <a:lnTo>
                    <a:pt x="398" y="306"/>
                  </a:lnTo>
                  <a:lnTo>
                    <a:pt x="396" y="306"/>
                  </a:lnTo>
                  <a:lnTo>
                    <a:pt x="396" y="308"/>
                  </a:lnTo>
                  <a:lnTo>
                    <a:pt x="396" y="309"/>
                  </a:lnTo>
                  <a:lnTo>
                    <a:pt x="395" y="308"/>
                  </a:lnTo>
                  <a:lnTo>
                    <a:pt x="396" y="308"/>
                  </a:lnTo>
                  <a:lnTo>
                    <a:pt x="396" y="306"/>
                  </a:lnTo>
                  <a:lnTo>
                    <a:pt x="395" y="306"/>
                  </a:lnTo>
                  <a:lnTo>
                    <a:pt x="393" y="306"/>
                  </a:lnTo>
                  <a:lnTo>
                    <a:pt x="393" y="308"/>
                  </a:lnTo>
                  <a:lnTo>
                    <a:pt x="392" y="309"/>
                  </a:lnTo>
                  <a:lnTo>
                    <a:pt x="390" y="309"/>
                  </a:lnTo>
                  <a:lnTo>
                    <a:pt x="388" y="309"/>
                  </a:lnTo>
                  <a:lnTo>
                    <a:pt x="390" y="311"/>
                  </a:lnTo>
                  <a:lnTo>
                    <a:pt x="388" y="311"/>
                  </a:lnTo>
                  <a:lnTo>
                    <a:pt x="388" y="312"/>
                  </a:lnTo>
                  <a:lnTo>
                    <a:pt x="387" y="312"/>
                  </a:lnTo>
                  <a:lnTo>
                    <a:pt x="387" y="314"/>
                  </a:lnTo>
                  <a:lnTo>
                    <a:pt x="387" y="316"/>
                  </a:lnTo>
                  <a:lnTo>
                    <a:pt x="387" y="317"/>
                  </a:lnTo>
                  <a:lnTo>
                    <a:pt x="387" y="319"/>
                  </a:lnTo>
                  <a:lnTo>
                    <a:pt x="385" y="319"/>
                  </a:lnTo>
                  <a:lnTo>
                    <a:pt x="385" y="317"/>
                  </a:lnTo>
                  <a:lnTo>
                    <a:pt x="383" y="317"/>
                  </a:lnTo>
                  <a:lnTo>
                    <a:pt x="383" y="316"/>
                  </a:lnTo>
                  <a:lnTo>
                    <a:pt x="383" y="314"/>
                  </a:lnTo>
                  <a:lnTo>
                    <a:pt x="383" y="316"/>
                  </a:lnTo>
                  <a:lnTo>
                    <a:pt x="382" y="316"/>
                  </a:lnTo>
                  <a:lnTo>
                    <a:pt x="382" y="317"/>
                  </a:lnTo>
                  <a:lnTo>
                    <a:pt x="383" y="317"/>
                  </a:lnTo>
                  <a:lnTo>
                    <a:pt x="383" y="319"/>
                  </a:lnTo>
                  <a:lnTo>
                    <a:pt x="382" y="319"/>
                  </a:lnTo>
                  <a:lnTo>
                    <a:pt x="379" y="319"/>
                  </a:lnTo>
                  <a:lnTo>
                    <a:pt x="377" y="319"/>
                  </a:lnTo>
                  <a:lnTo>
                    <a:pt x="377" y="316"/>
                  </a:lnTo>
                  <a:lnTo>
                    <a:pt x="374" y="312"/>
                  </a:lnTo>
                  <a:lnTo>
                    <a:pt x="369" y="312"/>
                  </a:lnTo>
                  <a:lnTo>
                    <a:pt x="369" y="314"/>
                  </a:lnTo>
                  <a:lnTo>
                    <a:pt x="364" y="312"/>
                  </a:lnTo>
                  <a:lnTo>
                    <a:pt x="364" y="314"/>
                  </a:lnTo>
                  <a:lnTo>
                    <a:pt x="362" y="314"/>
                  </a:lnTo>
                  <a:lnTo>
                    <a:pt x="361" y="314"/>
                  </a:lnTo>
                  <a:lnTo>
                    <a:pt x="362" y="312"/>
                  </a:lnTo>
                  <a:lnTo>
                    <a:pt x="361" y="312"/>
                  </a:lnTo>
                  <a:lnTo>
                    <a:pt x="359" y="312"/>
                  </a:lnTo>
                  <a:lnTo>
                    <a:pt x="357" y="312"/>
                  </a:lnTo>
                  <a:lnTo>
                    <a:pt x="357" y="311"/>
                  </a:lnTo>
                  <a:lnTo>
                    <a:pt x="356" y="311"/>
                  </a:lnTo>
                  <a:lnTo>
                    <a:pt x="356" y="309"/>
                  </a:lnTo>
                  <a:lnTo>
                    <a:pt x="354" y="308"/>
                  </a:lnTo>
                  <a:lnTo>
                    <a:pt x="354" y="306"/>
                  </a:lnTo>
                  <a:lnTo>
                    <a:pt x="352" y="306"/>
                  </a:lnTo>
                  <a:lnTo>
                    <a:pt x="354" y="306"/>
                  </a:lnTo>
                  <a:lnTo>
                    <a:pt x="354" y="304"/>
                  </a:lnTo>
                  <a:lnTo>
                    <a:pt x="352" y="304"/>
                  </a:lnTo>
                  <a:lnTo>
                    <a:pt x="351" y="304"/>
                  </a:lnTo>
                  <a:lnTo>
                    <a:pt x="351" y="303"/>
                  </a:lnTo>
                  <a:lnTo>
                    <a:pt x="351" y="301"/>
                  </a:lnTo>
                  <a:lnTo>
                    <a:pt x="349" y="301"/>
                  </a:lnTo>
                  <a:lnTo>
                    <a:pt x="348" y="301"/>
                  </a:lnTo>
                  <a:lnTo>
                    <a:pt x="348" y="299"/>
                  </a:lnTo>
                  <a:lnTo>
                    <a:pt x="349" y="298"/>
                  </a:lnTo>
                  <a:lnTo>
                    <a:pt x="348" y="296"/>
                  </a:lnTo>
                  <a:lnTo>
                    <a:pt x="346" y="296"/>
                  </a:lnTo>
                  <a:lnTo>
                    <a:pt x="344" y="296"/>
                  </a:lnTo>
                  <a:lnTo>
                    <a:pt x="343" y="295"/>
                  </a:lnTo>
                  <a:lnTo>
                    <a:pt x="341" y="293"/>
                  </a:lnTo>
                  <a:lnTo>
                    <a:pt x="339" y="293"/>
                  </a:lnTo>
                  <a:lnTo>
                    <a:pt x="338" y="293"/>
                  </a:lnTo>
                  <a:lnTo>
                    <a:pt x="336" y="293"/>
                  </a:lnTo>
                  <a:lnTo>
                    <a:pt x="335" y="293"/>
                  </a:lnTo>
                  <a:lnTo>
                    <a:pt x="333" y="293"/>
                  </a:lnTo>
                  <a:lnTo>
                    <a:pt x="333" y="291"/>
                  </a:lnTo>
                  <a:lnTo>
                    <a:pt x="333" y="290"/>
                  </a:lnTo>
                  <a:lnTo>
                    <a:pt x="333" y="288"/>
                  </a:lnTo>
                  <a:lnTo>
                    <a:pt x="333" y="286"/>
                  </a:lnTo>
                  <a:lnTo>
                    <a:pt x="333" y="283"/>
                  </a:lnTo>
                  <a:lnTo>
                    <a:pt x="333" y="282"/>
                  </a:lnTo>
                  <a:lnTo>
                    <a:pt x="331" y="282"/>
                  </a:lnTo>
                  <a:lnTo>
                    <a:pt x="330" y="282"/>
                  </a:lnTo>
                  <a:lnTo>
                    <a:pt x="330" y="280"/>
                  </a:lnTo>
                  <a:lnTo>
                    <a:pt x="328" y="282"/>
                  </a:lnTo>
                  <a:lnTo>
                    <a:pt x="326" y="283"/>
                  </a:lnTo>
                  <a:lnTo>
                    <a:pt x="325" y="283"/>
                  </a:lnTo>
                  <a:lnTo>
                    <a:pt x="322" y="283"/>
                  </a:lnTo>
                  <a:lnTo>
                    <a:pt x="320" y="283"/>
                  </a:lnTo>
                  <a:lnTo>
                    <a:pt x="320" y="282"/>
                  </a:lnTo>
                  <a:lnTo>
                    <a:pt x="318" y="283"/>
                  </a:lnTo>
                  <a:lnTo>
                    <a:pt x="317" y="283"/>
                  </a:lnTo>
                  <a:lnTo>
                    <a:pt x="315" y="283"/>
                  </a:lnTo>
                  <a:lnTo>
                    <a:pt x="312" y="280"/>
                  </a:lnTo>
                  <a:lnTo>
                    <a:pt x="312" y="278"/>
                  </a:lnTo>
                  <a:lnTo>
                    <a:pt x="312" y="277"/>
                  </a:lnTo>
                  <a:lnTo>
                    <a:pt x="309" y="277"/>
                  </a:lnTo>
                  <a:lnTo>
                    <a:pt x="307" y="277"/>
                  </a:lnTo>
                  <a:lnTo>
                    <a:pt x="305" y="278"/>
                  </a:lnTo>
                  <a:lnTo>
                    <a:pt x="304" y="278"/>
                  </a:lnTo>
                  <a:lnTo>
                    <a:pt x="302" y="278"/>
                  </a:lnTo>
                  <a:lnTo>
                    <a:pt x="300" y="278"/>
                  </a:lnTo>
                  <a:lnTo>
                    <a:pt x="300" y="277"/>
                  </a:lnTo>
                  <a:lnTo>
                    <a:pt x="299" y="277"/>
                  </a:lnTo>
                  <a:lnTo>
                    <a:pt x="296" y="275"/>
                  </a:lnTo>
                  <a:lnTo>
                    <a:pt x="296" y="273"/>
                  </a:lnTo>
                  <a:lnTo>
                    <a:pt x="296" y="272"/>
                  </a:lnTo>
                  <a:lnTo>
                    <a:pt x="294" y="272"/>
                  </a:lnTo>
                  <a:lnTo>
                    <a:pt x="294" y="273"/>
                  </a:lnTo>
                  <a:lnTo>
                    <a:pt x="292" y="273"/>
                  </a:lnTo>
                  <a:lnTo>
                    <a:pt x="292" y="272"/>
                  </a:lnTo>
                  <a:lnTo>
                    <a:pt x="289" y="273"/>
                  </a:lnTo>
                  <a:lnTo>
                    <a:pt x="289" y="272"/>
                  </a:lnTo>
                  <a:lnTo>
                    <a:pt x="287" y="272"/>
                  </a:lnTo>
                  <a:lnTo>
                    <a:pt x="287" y="273"/>
                  </a:lnTo>
                  <a:lnTo>
                    <a:pt x="283" y="270"/>
                  </a:lnTo>
                  <a:lnTo>
                    <a:pt x="284" y="269"/>
                  </a:lnTo>
                  <a:lnTo>
                    <a:pt x="283" y="267"/>
                  </a:lnTo>
                  <a:lnTo>
                    <a:pt x="281" y="267"/>
                  </a:lnTo>
                  <a:lnTo>
                    <a:pt x="279" y="267"/>
                  </a:lnTo>
                  <a:lnTo>
                    <a:pt x="276" y="267"/>
                  </a:lnTo>
                  <a:lnTo>
                    <a:pt x="274" y="265"/>
                  </a:lnTo>
                  <a:lnTo>
                    <a:pt x="273" y="262"/>
                  </a:lnTo>
                  <a:lnTo>
                    <a:pt x="270" y="262"/>
                  </a:lnTo>
                  <a:lnTo>
                    <a:pt x="268" y="262"/>
                  </a:lnTo>
                  <a:lnTo>
                    <a:pt x="268" y="264"/>
                  </a:lnTo>
                  <a:lnTo>
                    <a:pt x="268" y="265"/>
                  </a:lnTo>
                  <a:lnTo>
                    <a:pt x="270" y="265"/>
                  </a:lnTo>
                  <a:lnTo>
                    <a:pt x="271" y="267"/>
                  </a:lnTo>
                  <a:lnTo>
                    <a:pt x="271" y="269"/>
                  </a:lnTo>
                  <a:lnTo>
                    <a:pt x="271" y="270"/>
                  </a:lnTo>
                  <a:lnTo>
                    <a:pt x="273" y="270"/>
                  </a:lnTo>
                  <a:lnTo>
                    <a:pt x="273" y="272"/>
                  </a:lnTo>
                  <a:lnTo>
                    <a:pt x="273" y="273"/>
                  </a:lnTo>
                  <a:lnTo>
                    <a:pt x="271" y="273"/>
                  </a:lnTo>
                  <a:lnTo>
                    <a:pt x="270" y="273"/>
                  </a:lnTo>
                  <a:lnTo>
                    <a:pt x="266" y="272"/>
                  </a:lnTo>
                  <a:lnTo>
                    <a:pt x="266" y="270"/>
                  </a:lnTo>
                  <a:lnTo>
                    <a:pt x="268" y="270"/>
                  </a:lnTo>
                  <a:lnTo>
                    <a:pt x="266" y="270"/>
                  </a:lnTo>
                  <a:lnTo>
                    <a:pt x="266" y="269"/>
                  </a:lnTo>
                  <a:lnTo>
                    <a:pt x="265" y="267"/>
                  </a:lnTo>
                  <a:lnTo>
                    <a:pt x="265" y="265"/>
                  </a:lnTo>
                  <a:lnTo>
                    <a:pt x="265" y="267"/>
                  </a:lnTo>
                  <a:lnTo>
                    <a:pt x="265" y="265"/>
                  </a:lnTo>
                  <a:lnTo>
                    <a:pt x="263" y="265"/>
                  </a:lnTo>
                  <a:lnTo>
                    <a:pt x="263" y="264"/>
                  </a:lnTo>
                  <a:lnTo>
                    <a:pt x="263" y="262"/>
                  </a:lnTo>
                  <a:lnTo>
                    <a:pt x="261" y="262"/>
                  </a:lnTo>
                  <a:lnTo>
                    <a:pt x="261" y="264"/>
                  </a:lnTo>
                  <a:lnTo>
                    <a:pt x="258" y="264"/>
                  </a:lnTo>
                  <a:lnTo>
                    <a:pt x="257" y="264"/>
                  </a:lnTo>
                  <a:lnTo>
                    <a:pt x="255" y="265"/>
                  </a:lnTo>
                  <a:lnTo>
                    <a:pt x="257" y="267"/>
                  </a:lnTo>
                  <a:lnTo>
                    <a:pt x="255" y="267"/>
                  </a:lnTo>
                  <a:lnTo>
                    <a:pt x="253" y="269"/>
                  </a:lnTo>
                  <a:lnTo>
                    <a:pt x="250" y="275"/>
                  </a:lnTo>
                  <a:lnTo>
                    <a:pt x="245" y="277"/>
                  </a:lnTo>
                  <a:lnTo>
                    <a:pt x="240" y="282"/>
                  </a:lnTo>
                  <a:lnTo>
                    <a:pt x="239" y="283"/>
                  </a:lnTo>
                  <a:lnTo>
                    <a:pt x="237" y="282"/>
                  </a:lnTo>
                  <a:lnTo>
                    <a:pt x="235" y="282"/>
                  </a:lnTo>
                  <a:lnTo>
                    <a:pt x="234" y="283"/>
                  </a:lnTo>
                  <a:lnTo>
                    <a:pt x="232" y="283"/>
                  </a:lnTo>
                  <a:lnTo>
                    <a:pt x="232" y="285"/>
                  </a:lnTo>
                  <a:lnTo>
                    <a:pt x="232" y="286"/>
                  </a:lnTo>
                  <a:lnTo>
                    <a:pt x="231" y="288"/>
                  </a:lnTo>
                  <a:lnTo>
                    <a:pt x="229" y="290"/>
                  </a:lnTo>
                  <a:lnTo>
                    <a:pt x="227" y="290"/>
                  </a:lnTo>
                  <a:lnTo>
                    <a:pt x="227" y="288"/>
                  </a:lnTo>
                  <a:lnTo>
                    <a:pt x="226" y="288"/>
                  </a:lnTo>
                  <a:lnTo>
                    <a:pt x="226" y="290"/>
                  </a:lnTo>
                  <a:lnTo>
                    <a:pt x="224" y="291"/>
                  </a:lnTo>
                  <a:lnTo>
                    <a:pt x="222" y="291"/>
                  </a:lnTo>
                  <a:lnTo>
                    <a:pt x="222" y="290"/>
                  </a:lnTo>
                  <a:lnTo>
                    <a:pt x="221" y="290"/>
                  </a:lnTo>
                  <a:lnTo>
                    <a:pt x="219" y="290"/>
                  </a:lnTo>
                  <a:lnTo>
                    <a:pt x="219" y="291"/>
                  </a:lnTo>
                  <a:lnTo>
                    <a:pt x="216" y="293"/>
                  </a:lnTo>
                  <a:lnTo>
                    <a:pt x="216" y="295"/>
                  </a:lnTo>
                  <a:lnTo>
                    <a:pt x="213" y="296"/>
                  </a:lnTo>
                  <a:lnTo>
                    <a:pt x="211" y="298"/>
                  </a:lnTo>
                  <a:lnTo>
                    <a:pt x="213" y="299"/>
                  </a:lnTo>
                  <a:lnTo>
                    <a:pt x="213" y="303"/>
                  </a:lnTo>
                  <a:lnTo>
                    <a:pt x="211" y="304"/>
                  </a:lnTo>
                  <a:lnTo>
                    <a:pt x="209" y="304"/>
                  </a:lnTo>
                  <a:lnTo>
                    <a:pt x="204" y="304"/>
                  </a:lnTo>
                  <a:lnTo>
                    <a:pt x="206" y="304"/>
                  </a:lnTo>
                  <a:lnTo>
                    <a:pt x="206" y="303"/>
                  </a:lnTo>
                  <a:lnTo>
                    <a:pt x="204" y="303"/>
                  </a:lnTo>
                  <a:lnTo>
                    <a:pt x="206" y="301"/>
                  </a:lnTo>
                  <a:lnTo>
                    <a:pt x="206" y="299"/>
                  </a:lnTo>
                  <a:lnTo>
                    <a:pt x="206" y="298"/>
                  </a:lnTo>
                  <a:lnTo>
                    <a:pt x="206" y="293"/>
                  </a:lnTo>
                  <a:lnTo>
                    <a:pt x="206" y="291"/>
                  </a:lnTo>
                  <a:lnTo>
                    <a:pt x="206" y="290"/>
                  </a:lnTo>
                  <a:lnTo>
                    <a:pt x="206" y="286"/>
                  </a:lnTo>
                  <a:lnTo>
                    <a:pt x="208" y="286"/>
                  </a:lnTo>
                  <a:lnTo>
                    <a:pt x="208" y="285"/>
                  </a:lnTo>
                  <a:lnTo>
                    <a:pt x="208" y="283"/>
                  </a:lnTo>
                  <a:lnTo>
                    <a:pt x="208" y="280"/>
                  </a:lnTo>
                  <a:lnTo>
                    <a:pt x="209" y="280"/>
                  </a:lnTo>
                  <a:lnTo>
                    <a:pt x="208" y="280"/>
                  </a:lnTo>
                  <a:lnTo>
                    <a:pt x="209" y="278"/>
                  </a:lnTo>
                  <a:lnTo>
                    <a:pt x="209" y="275"/>
                  </a:lnTo>
                  <a:lnTo>
                    <a:pt x="208" y="273"/>
                  </a:lnTo>
                  <a:lnTo>
                    <a:pt x="209" y="273"/>
                  </a:lnTo>
                  <a:lnTo>
                    <a:pt x="208" y="273"/>
                  </a:lnTo>
                  <a:lnTo>
                    <a:pt x="208" y="272"/>
                  </a:lnTo>
                  <a:lnTo>
                    <a:pt x="208" y="270"/>
                  </a:lnTo>
                  <a:lnTo>
                    <a:pt x="206" y="270"/>
                  </a:lnTo>
                  <a:lnTo>
                    <a:pt x="208" y="270"/>
                  </a:lnTo>
                  <a:lnTo>
                    <a:pt x="208" y="269"/>
                  </a:lnTo>
                  <a:lnTo>
                    <a:pt x="208" y="267"/>
                  </a:lnTo>
                  <a:lnTo>
                    <a:pt x="206" y="267"/>
                  </a:lnTo>
                  <a:lnTo>
                    <a:pt x="208" y="267"/>
                  </a:lnTo>
                  <a:lnTo>
                    <a:pt x="206" y="265"/>
                  </a:lnTo>
                  <a:lnTo>
                    <a:pt x="206" y="264"/>
                  </a:lnTo>
                  <a:lnTo>
                    <a:pt x="206" y="262"/>
                  </a:lnTo>
                  <a:lnTo>
                    <a:pt x="204" y="262"/>
                  </a:lnTo>
                  <a:lnTo>
                    <a:pt x="204" y="260"/>
                  </a:lnTo>
                  <a:lnTo>
                    <a:pt x="204" y="262"/>
                  </a:lnTo>
                  <a:lnTo>
                    <a:pt x="204" y="260"/>
                  </a:lnTo>
                  <a:lnTo>
                    <a:pt x="204" y="259"/>
                  </a:lnTo>
                  <a:lnTo>
                    <a:pt x="204" y="257"/>
                  </a:lnTo>
                  <a:lnTo>
                    <a:pt x="203" y="257"/>
                  </a:lnTo>
                  <a:lnTo>
                    <a:pt x="203" y="256"/>
                  </a:lnTo>
                  <a:lnTo>
                    <a:pt x="204" y="256"/>
                  </a:lnTo>
                  <a:lnTo>
                    <a:pt x="204" y="254"/>
                  </a:lnTo>
                  <a:lnTo>
                    <a:pt x="204" y="252"/>
                  </a:lnTo>
                  <a:lnTo>
                    <a:pt x="204" y="251"/>
                  </a:lnTo>
                  <a:lnTo>
                    <a:pt x="203" y="251"/>
                  </a:lnTo>
                  <a:lnTo>
                    <a:pt x="204" y="251"/>
                  </a:lnTo>
                  <a:lnTo>
                    <a:pt x="204" y="249"/>
                  </a:lnTo>
                  <a:lnTo>
                    <a:pt x="206" y="247"/>
                  </a:lnTo>
                  <a:lnTo>
                    <a:pt x="206" y="246"/>
                  </a:lnTo>
                  <a:lnTo>
                    <a:pt x="208" y="246"/>
                  </a:lnTo>
                  <a:lnTo>
                    <a:pt x="208" y="244"/>
                  </a:lnTo>
                  <a:lnTo>
                    <a:pt x="209" y="244"/>
                  </a:lnTo>
                  <a:lnTo>
                    <a:pt x="209" y="243"/>
                  </a:lnTo>
                  <a:lnTo>
                    <a:pt x="209" y="241"/>
                  </a:lnTo>
                  <a:lnTo>
                    <a:pt x="209" y="239"/>
                  </a:lnTo>
                  <a:lnTo>
                    <a:pt x="209" y="238"/>
                  </a:lnTo>
                  <a:lnTo>
                    <a:pt x="208" y="238"/>
                  </a:lnTo>
                  <a:lnTo>
                    <a:pt x="208" y="236"/>
                  </a:lnTo>
                  <a:lnTo>
                    <a:pt x="206" y="234"/>
                  </a:lnTo>
                  <a:lnTo>
                    <a:pt x="204" y="234"/>
                  </a:lnTo>
                  <a:lnTo>
                    <a:pt x="203" y="233"/>
                  </a:lnTo>
                  <a:lnTo>
                    <a:pt x="200" y="233"/>
                  </a:lnTo>
                  <a:lnTo>
                    <a:pt x="200" y="231"/>
                  </a:lnTo>
                  <a:lnTo>
                    <a:pt x="201" y="230"/>
                  </a:lnTo>
                  <a:lnTo>
                    <a:pt x="203" y="230"/>
                  </a:lnTo>
                  <a:lnTo>
                    <a:pt x="204" y="231"/>
                  </a:lnTo>
                  <a:lnTo>
                    <a:pt x="206" y="231"/>
                  </a:lnTo>
                  <a:lnTo>
                    <a:pt x="206" y="233"/>
                  </a:lnTo>
                  <a:lnTo>
                    <a:pt x="208" y="233"/>
                  </a:lnTo>
                  <a:lnTo>
                    <a:pt x="209" y="231"/>
                  </a:lnTo>
                  <a:lnTo>
                    <a:pt x="209" y="230"/>
                  </a:lnTo>
                  <a:lnTo>
                    <a:pt x="208" y="233"/>
                  </a:lnTo>
                  <a:lnTo>
                    <a:pt x="206" y="233"/>
                  </a:lnTo>
                  <a:lnTo>
                    <a:pt x="206" y="231"/>
                  </a:lnTo>
                  <a:lnTo>
                    <a:pt x="204" y="231"/>
                  </a:lnTo>
                  <a:lnTo>
                    <a:pt x="203" y="230"/>
                  </a:lnTo>
                  <a:lnTo>
                    <a:pt x="201" y="230"/>
                  </a:lnTo>
                  <a:lnTo>
                    <a:pt x="200" y="231"/>
                  </a:lnTo>
                  <a:lnTo>
                    <a:pt x="200" y="233"/>
                  </a:lnTo>
                  <a:lnTo>
                    <a:pt x="198" y="233"/>
                  </a:lnTo>
                  <a:lnTo>
                    <a:pt x="196" y="231"/>
                  </a:lnTo>
                  <a:lnTo>
                    <a:pt x="195" y="231"/>
                  </a:lnTo>
                  <a:lnTo>
                    <a:pt x="190" y="233"/>
                  </a:lnTo>
                  <a:lnTo>
                    <a:pt x="188" y="234"/>
                  </a:lnTo>
                  <a:lnTo>
                    <a:pt x="187" y="234"/>
                  </a:lnTo>
                  <a:lnTo>
                    <a:pt x="187" y="236"/>
                  </a:lnTo>
                  <a:lnTo>
                    <a:pt x="187" y="238"/>
                  </a:lnTo>
                  <a:lnTo>
                    <a:pt x="187" y="239"/>
                  </a:lnTo>
                  <a:lnTo>
                    <a:pt x="187" y="241"/>
                  </a:lnTo>
                  <a:lnTo>
                    <a:pt x="187" y="243"/>
                  </a:lnTo>
                  <a:lnTo>
                    <a:pt x="187" y="244"/>
                  </a:lnTo>
                  <a:lnTo>
                    <a:pt x="187" y="246"/>
                  </a:lnTo>
                  <a:lnTo>
                    <a:pt x="188" y="246"/>
                  </a:lnTo>
                  <a:lnTo>
                    <a:pt x="187" y="247"/>
                  </a:lnTo>
                  <a:lnTo>
                    <a:pt x="187" y="249"/>
                  </a:lnTo>
                  <a:lnTo>
                    <a:pt x="187" y="251"/>
                  </a:lnTo>
                  <a:lnTo>
                    <a:pt x="185" y="251"/>
                  </a:lnTo>
                  <a:lnTo>
                    <a:pt x="183" y="251"/>
                  </a:lnTo>
                  <a:lnTo>
                    <a:pt x="183" y="252"/>
                  </a:lnTo>
                  <a:lnTo>
                    <a:pt x="182" y="252"/>
                  </a:lnTo>
                  <a:lnTo>
                    <a:pt x="180" y="252"/>
                  </a:lnTo>
                  <a:lnTo>
                    <a:pt x="180" y="254"/>
                  </a:lnTo>
                  <a:lnTo>
                    <a:pt x="178" y="254"/>
                  </a:lnTo>
                  <a:lnTo>
                    <a:pt x="178" y="256"/>
                  </a:lnTo>
                  <a:lnTo>
                    <a:pt x="177" y="256"/>
                  </a:lnTo>
                  <a:lnTo>
                    <a:pt x="177" y="257"/>
                  </a:lnTo>
                  <a:lnTo>
                    <a:pt x="177" y="259"/>
                  </a:lnTo>
                  <a:lnTo>
                    <a:pt x="177" y="257"/>
                  </a:lnTo>
                  <a:lnTo>
                    <a:pt x="175" y="257"/>
                  </a:lnTo>
                  <a:lnTo>
                    <a:pt x="174" y="257"/>
                  </a:lnTo>
                  <a:lnTo>
                    <a:pt x="174" y="256"/>
                  </a:lnTo>
                  <a:lnTo>
                    <a:pt x="172" y="256"/>
                  </a:lnTo>
                  <a:lnTo>
                    <a:pt x="172" y="254"/>
                  </a:lnTo>
                  <a:lnTo>
                    <a:pt x="172" y="252"/>
                  </a:lnTo>
                  <a:lnTo>
                    <a:pt x="170" y="252"/>
                  </a:lnTo>
                  <a:lnTo>
                    <a:pt x="170" y="251"/>
                  </a:lnTo>
                  <a:lnTo>
                    <a:pt x="169" y="249"/>
                  </a:lnTo>
                  <a:lnTo>
                    <a:pt x="167" y="249"/>
                  </a:lnTo>
                  <a:lnTo>
                    <a:pt x="167" y="247"/>
                  </a:lnTo>
                  <a:lnTo>
                    <a:pt x="165" y="247"/>
                  </a:lnTo>
                  <a:lnTo>
                    <a:pt x="167" y="249"/>
                  </a:lnTo>
                  <a:lnTo>
                    <a:pt x="167" y="251"/>
                  </a:lnTo>
                  <a:lnTo>
                    <a:pt x="165" y="251"/>
                  </a:lnTo>
                  <a:lnTo>
                    <a:pt x="165" y="249"/>
                  </a:lnTo>
                  <a:lnTo>
                    <a:pt x="164" y="249"/>
                  </a:lnTo>
                  <a:lnTo>
                    <a:pt x="165" y="249"/>
                  </a:lnTo>
                  <a:lnTo>
                    <a:pt x="165" y="251"/>
                  </a:lnTo>
                  <a:lnTo>
                    <a:pt x="165" y="249"/>
                  </a:lnTo>
                  <a:lnTo>
                    <a:pt x="165" y="251"/>
                  </a:lnTo>
                  <a:lnTo>
                    <a:pt x="164" y="249"/>
                  </a:lnTo>
                  <a:lnTo>
                    <a:pt x="162" y="247"/>
                  </a:lnTo>
                  <a:lnTo>
                    <a:pt x="162" y="249"/>
                  </a:lnTo>
                  <a:lnTo>
                    <a:pt x="161" y="247"/>
                  </a:lnTo>
                  <a:lnTo>
                    <a:pt x="159" y="247"/>
                  </a:lnTo>
                  <a:lnTo>
                    <a:pt x="159" y="249"/>
                  </a:lnTo>
                  <a:lnTo>
                    <a:pt x="157" y="249"/>
                  </a:lnTo>
                  <a:lnTo>
                    <a:pt x="156" y="247"/>
                  </a:lnTo>
                  <a:lnTo>
                    <a:pt x="154" y="246"/>
                  </a:lnTo>
                  <a:lnTo>
                    <a:pt x="156" y="246"/>
                  </a:lnTo>
                  <a:lnTo>
                    <a:pt x="154" y="246"/>
                  </a:lnTo>
                  <a:lnTo>
                    <a:pt x="154" y="244"/>
                  </a:lnTo>
                  <a:lnTo>
                    <a:pt x="152" y="244"/>
                  </a:lnTo>
                  <a:lnTo>
                    <a:pt x="152" y="246"/>
                  </a:lnTo>
                  <a:lnTo>
                    <a:pt x="152" y="247"/>
                  </a:lnTo>
                  <a:lnTo>
                    <a:pt x="151" y="247"/>
                  </a:lnTo>
                  <a:lnTo>
                    <a:pt x="151" y="246"/>
                  </a:lnTo>
                  <a:lnTo>
                    <a:pt x="151" y="247"/>
                  </a:lnTo>
                  <a:lnTo>
                    <a:pt x="149" y="247"/>
                  </a:lnTo>
                  <a:lnTo>
                    <a:pt x="149" y="246"/>
                  </a:lnTo>
                  <a:lnTo>
                    <a:pt x="149" y="247"/>
                  </a:lnTo>
                  <a:lnTo>
                    <a:pt x="148" y="246"/>
                  </a:lnTo>
                  <a:lnTo>
                    <a:pt x="148" y="247"/>
                  </a:lnTo>
                  <a:lnTo>
                    <a:pt x="149" y="247"/>
                  </a:lnTo>
                  <a:lnTo>
                    <a:pt x="151" y="249"/>
                  </a:lnTo>
                  <a:lnTo>
                    <a:pt x="149" y="249"/>
                  </a:lnTo>
                  <a:lnTo>
                    <a:pt x="149" y="247"/>
                  </a:lnTo>
                  <a:lnTo>
                    <a:pt x="148" y="247"/>
                  </a:lnTo>
                  <a:lnTo>
                    <a:pt x="148" y="249"/>
                  </a:lnTo>
                  <a:lnTo>
                    <a:pt x="146" y="247"/>
                  </a:lnTo>
                  <a:lnTo>
                    <a:pt x="146" y="246"/>
                  </a:lnTo>
                  <a:lnTo>
                    <a:pt x="146" y="244"/>
                  </a:lnTo>
                  <a:lnTo>
                    <a:pt x="144" y="244"/>
                  </a:lnTo>
                  <a:lnTo>
                    <a:pt x="143" y="243"/>
                  </a:lnTo>
                  <a:lnTo>
                    <a:pt x="143" y="241"/>
                  </a:lnTo>
                  <a:lnTo>
                    <a:pt x="143" y="239"/>
                  </a:lnTo>
                  <a:lnTo>
                    <a:pt x="141" y="239"/>
                  </a:lnTo>
                  <a:lnTo>
                    <a:pt x="141" y="238"/>
                  </a:lnTo>
                  <a:lnTo>
                    <a:pt x="139" y="238"/>
                  </a:lnTo>
                  <a:lnTo>
                    <a:pt x="139" y="236"/>
                  </a:lnTo>
                  <a:lnTo>
                    <a:pt x="139" y="234"/>
                  </a:lnTo>
                  <a:lnTo>
                    <a:pt x="139" y="233"/>
                  </a:lnTo>
                  <a:lnTo>
                    <a:pt x="138" y="233"/>
                  </a:lnTo>
                  <a:lnTo>
                    <a:pt x="138" y="231"/>
                  </a:lnTo>
                  <a:lnTo>
                    <a:pt x="138" y="230"/>
                  </a:lnTo>
                  <a:lnTo>
                    <a:pt x="138" y="228"/>
                  </a:lnTo>
                  <a:lnTo>
                    <a:pt x="138" y="226"/>
                  </a:lnTo>
                  <a:lnTo>
                    <a:pt x="136" y="226"/>
                  </a:lnTo>
                  <a:lnTo>
                    <a:pt x="138" y="226"/>
                  </a:lnTo>
                  <a:lnTo>
                    <a:pt x="136" y="225"/>
                  </a:lnTo>
                  <a:lnTo>
                    <a:pt x="138" y="225"/>
                  </a:lnTo>
                  <a:lnTo>
                    <a:pt x="136" y="225"/>
                  </a:lnTo>
                  <a:lnTo>
                    <a:pt x="138" y="225"/>
                  </a:lnTo>
                  <a:lnTo>
                    <a:pt x="136" y="223"/>
                  </a:lnTo>
                  <a:lnTo>
                    <a:pt x="135" y="225"/>
                  </a:lnTo>
                  <a:lnTo>
                    <a:pt x="136" y="225"/>
                  </a:lnTo>
                  <a:lnTo>
                    <a:pt x="135" y="225"/>
                  </a:lnTo>
                  <a:lnTo>
                    <a:pt x="133" y="225"/>
                  </a:lnTo>
                  <a:lnTo>
                    <a:pt x="133" y="223"/>
                  </a:lnTo>
                  <a:lnTo>
                    <a:pt x="131" y="223"/>
                  </a:lnTo>
                  <a:lnTo>
                    <a:pt x="131" y="221"/>
                  </a:lnTo>
                  <a:lnTo>
                    <a:pt x="130" y="221"/>
                  </a:lnTo>
                  <a:lnTo>
                    <a:pt x="128" y="221"/>
                  </a:lnTo>
                  <a:lnTo>
                    <a:pt x="128" y="220"/>
                  </a:lnTo>
                  <a:lnTo>
                    <a:pt x="126" y="220"/>
                  </a:lnTo>
                  <a:lnTo>
                    <a:pt x="128" y="218"/>
                  </a:lnTo>
                  <a:lnTo>
                    <a:pt x="126" y="218"/>
                  </a:lnTo>
                  <a:lnTo>
                    <a:pt x="128" y="218"/>
                  </a:lnTo>
                  <a:lnTo>
                    <a:pt x="128" y="216"/>
                  </a:lnTo>
                  <a:lnTo>
                    <a:pt x="126" y="216"/>
                  </a:lnTo>
                  <a:lnTo>
                    <a:pt x="126" y="218"/>
                  </a:lnTo>
                  <a:lnTo>
                    <a:pt x="125" y="218"/>
                  </a:lnTo>
                  <a:lnTo>
                    <a:pt x="126" y="220"/>
                  </a:lnTo>
                  <a:lnTo>
                    <a:pt x="125" y="220"/>
                  </a:lnTo>
                  <a:lnTo>
                    <a:pt x="126" y="220"/>
                  </a:lnTo>
                  <a:lnTo>
                    <a:pt x="126" y="221"/>
                  </a:lnTo>
                  <a:lnTo>
                    <a:pt x="126" y="220"/>
                  </a:lnTo>
                  <a:lnTo>
                    <a:pt x="125" y="220"/>
                  </a:lnTo>
                  <a:lnTo>
                    <a:pt x="123" y="220"/>
                  </a:lnTo>
                  <a:lnTo>
                    <a:pt x="123" y="221"/>
                  </a:lnTo>
                  <a:lnTo>
                    <a:pt x="123" y="220"/>
                  </a:lnTo>
                  <a:lnTo>
                    <a:pt x="122" y="220"/>
                  </a:lnTo>
                  <a:lnTo>
                    <a:pt x="123" y="220"/>
                  </a:lnTo>
                  <a:lnTo>
                    <a:pt x="123" y="218"/>
                  </a:lnTo>
                  <a:lnTo>
                    <a:pt x="123" y="216"/>
                  </a:lnTo>
                  <a:lnTo>
                    <a:pt x="125" y="216"/>
                  </a:lnTo>
                  <a:lnTo>
                    <a:pt x="126" y="216"/>
                  </a:lnTo>
                  <a:lnTo>
                    <a:pt x="126" y="215"/>
                  </a:lnTo>
                  <a:lnTo>
                    <a:pt x="125" y="215"/>
                  </a:lnTo>
                  <a:lnTo>
                    <a:pt x="125" y="216"/>
                  </a:lnTo>
                  <a:lnTo>
                    <a:pt x="125" y="215"/>
                  </a:lnTo>
                  <a:lnTo>
                    <a:pt x="123" y="215"/>
                  </a:lnTo>
                  <a:lnTo>
                    <a:pt x="123" y="213"/>
                  </a:lnTo>
                  <a:lnTo>
                    <a:pt x="122" y="212"/>
                  </a:lnTo>
                  <a:lnTo>
                    <a:pt x="122" y="210"/>
                  </a:lnTo>
                  <a:lnTo>
                    <a:pt x="120" y="210"/>
                  </a:lnTo>
                  <a:lnTo>
                    <a:pt x="120" y="208"/>
                  </a:lnTo>
                  <a:lnTo>
                    <a:pt x="120" y="205"/>
                  </a:lnTo>
                  <a:lnTo>
                    <a:pt x="118" y="205"/>
                  </a:lnTo>
                  <a:lnTo>
                    <a:pt x="118" y="203"/>
                  </a:lnTo>
                  <a:lnTo>
                    <a:pt x="120" y="202"/>
                  </a:lnTo>
                  <a:lnTo>
                    <a:pt x="118" y="200"/>
                  </a:lnTo>
                  <a:lnTo>
                    <a:pt x="120" y="200"/>
                  </a:lnTo>
                  <a:lnTo>
                    <a:pt x="122" y="200"/>
                  </a:lnTo>
                  <a:lnTo>
                    <a:pt x="123" y="200"/>
                  </a:lnTo>
                  <a:lnTo>
                    <a:pt x="123" y="199"/>
                  </a:lnTo>
                  <a:lnTo>
                    <a:pt x="122" y="199"/>
                  </a:lnTo>
                  <a:lnTo>
                    <a:pt x="122" y="197"/>
                  </a:lnTo>
                  <a:lnTo>
                    <a:pt x="120" y="197"/>
                  </a:lnTo>
                  <a:lnTo>
                    <a:pt x="120" y="195"/>
                  </a:lnTo>
                  <a:lnTo>
                    <a:pt x="118" y="195"/>
                  </a:lnTo>
                  <a:lnTo>
                    <a:pt x="120" y="195"/>
                  </a:lnTo>
                  <a:lnTo>
                    <a:pt x="122" y="195"/>
                  </a:lnTo>
                  <a:lnTo>
                    <a:pt x="123" y="195"/>
                  </a:lnTo>
                  <a:lnTo>
                    <a:pt x="123" y="197"/>
                  </a:lnTo>
                  <a:lnTo>
                    <a:pt x="125" y="195"/>
                  </a:lnTo>
                  <a:lnTo>
                    <a:pt x="126" y="195"/>
                  </a:lnTo>
                  <a:lnTo>
                    <a:pt x="128" y="195"/>
                  </a:lnTo>
                  <a:lnTo>
                    <a:pt x="128" y="194"/>
                  </a:lnTo>
                  <a:lnTo>
                    <a:pt x="128" y="195"/>
                  </a:lnTo>
                  <a:lnTo>
                    <a:pt x="130" y="195"/>
                  </a:lnTo>
                  <a:lnTo>
                    <a:pt x="130" y="194"/>
                  </a:lnTo>
                  <a:lnTo>
                    <a:pt x="128" y="194"/>
                  </a:lnTo>
                  <a:lnTo>
                    <a:pt x="128" y="192"/>
                  </a:lnTo>
                  <a:lnTo>
                    <a:pt x="130" y="192"/>
                  </a:lnTo>
                  <a:lnTo>
                    <a:pt x="131" y="192"/>
                  </a:lnTo>
                  <a:lnTo>
                    <a:pt x="133" y="190"/>
                  </a:lnTo>
                  <a:lnTo>
                    <a:pt x="131" y="190"/>
                  </a:lnTo>
                  <a:lnTo>
                    <a:pt x="133" y="190"/>
                  </a:lnTo>
                  <a:lnTo>
                    <a:pt x="133" y="189"/>
                  </a:lnTo>
                  <a:lnTo>
                    <a:pt x="135" y="190"/>
                  </a:lnTo>
                  <a:lnTo>
                    <a:pt x="135" y="189"/>
                  </a:lnTo>
                  <a:lnTo>
                    <a:pt x="133" y="189"/>
                  </a:lnTo>
                  <a:lnTo>
                    <a:pt x="135" y="189"/>
                  </a:lnTo>
                  <a:lnTo>
                    <a:pt x="135" y="187"/>
                  </a:lnTo>
                  <a:lnTo>
                    <a:pt x="133" y="187"/>
                  </a:lnTo>
                  <a:lnTo>
                    <a:pt x="135" y="187"/>
                  </a:lnTo>
                  <a:lnTo>
                    <a:pt x="133" y="186"/>
                  </a:lnTo>
                  <a:lnTo>
                    <a:pt x="133" y="187"/>
                  </a:lnTo>
                  <a:lnTo>
                    <a:pt x="131" y="187"/>
                  </a:lnTo>
                  <a:lnTo>
                    <a:pt x="131" y="186"/>
                  </a:lnTo>
                  <a:lnTo>
                    <a:pt x="131" y="187"/>
                  </a:lnTo>
                  <a:lnTo>
                    <a:pt x="130" y="187"/>
                  </a:lnTo>
                  <a:lnTo>
                    <a:pt x="128" y="187"/>
                  </a:lnTo>
                  <a:lnTo>
                    <a:pt x="126" y="187"/>
                  </a:lnTo>
                  <a:lnTo>
                    <a:pt x="125" y="187"/>
                  </a:lnTo>
                  <a:lnTo>
                    <a:pt x="123" y="187"/>
                  </a:lnTo>
                  <a:lnTo>
                    <a:pt x="123" y="189"/>
                  </a:lnTo>
                  <a:lnTo>
                    <a:pt x="122" y="189"/>
                  </a:lnTo>
                  <a:lnTo>
                    <a:pt x="122" y="190"/>
                  </a:lnTo>
                  <a:lnTo>
                    <a:pt x="120" y="190"/>
                  </a:lnTo>
                  <a:lnTo>
                    <a:pt x="118" y="190"/>
                  </a:lnTo>
                  <a:lnTo>
                    <a:pt x="117" y="190"/>
                  </a:lnTo>
                  <a:lnTo>
                    <a:pt x="115" y="190"/>
                  </a:lnTo>
                  <a:lnTo>
                    <a:pt x="115" y="192"/>
                  </a:lnTo>
                  <a:lnTo>
                    <a:pt x="113" y="192"/>
                  </a:lnTo>
                  <a:lnTo>
                    <a:pt x="112" y="194"/>
                  </a:lnTo>
                  <a:lnTo>
                    <a:pt x="112" y="192"/>
                  </a:lnTo>
                  <a:lnTo>
                    <a:pt x="113" y="192"/>
                  </a:lnTo>
                  <a:lnTo>
                    <a:pt x="113" y="190"/>
                  </a:lnTo>
                  <a:lnTo>
                    <a:pt x="112" y="189"/>
                  </a:lnTo>
                  <a:lnTo>
                    <a:pt x="113" y="189"/>
                  </a:lnTo>
                  <a:lnTo>
                    <a:pt x="113" y="187"/>
                  </a:lnTo>
                  <a:lnTo>
                    <a:pt x="115" y="187"/>
                  </a:lnTo>
                  <a:lnTo>
                    <a:pt x="113" y="186"/>
                  </a:lnTo>
                  <a:lnTo>
                    <a:pt x="113" y="184"/>
                  </a:lnTo>
                  <a:lnTo>
                    <a:pt x="115" y="184"/>
                  </a:lnTo>
                  <a:lnTo>
                    <a:pt x="115" y="186"/>
                  </a:lnTo>
                  <a:lnTo>
                    <a:pt x="113" y="186"/>
                  </a:lnTo>
                  <a:lnTo>
                    <a:pt x="115" y="186"/>
                  </a:lnTo>
                  <a:lnTo>
                    <a:pt x="117" y="186"/>
                  </a:lnTo>
                  <a:lnTo>
                    <a:pt x="118" y="186"/>
                  </a:lnTo>
                  <a:lnTo>
                    <a:pt x="117" y="186"/>
                  </a:lnTo>
                  <a:lnTo>
                    <a:pt x="118" y="184"/>
                  </a:lnTo>
                  <a:lnTo>
                    <a:pt x="117" y="184"/>
                  </a:lnTo>
                  <a:lnTo>
                    <a:pt x="117" y="182"/>
                  </a:lnTo>
                  <a:lnTo>
                    <a:pt x="117" y="181"/>
                  </a:lnTo>
                  <a:lnTo>
                    <a:pt x="115" y="181"/>
                  </a:lnTo>
                  <a:lnTo>
                    <a:pt x="113" y="181"/>
                  </a:lnTo>
                  <a:lnTo>
                    <a:pt x="113" y="179"/>
                  </a:lnTo>
                  <a:lnTo>
                    <a:pt x="112" y="179"/>
                  </a:lnTo>
                  <a:lnTo>
                    <a:pt x="112" y="177"/>
                  </a:lnTo>
                  <a:lnTo>
                    <a:pt x="110" y="177"/>
                  </a:lnTo>
                  <a:lnTo>
                    <a:pt x="110" y="176"/>
                  </a:lnTo>
                  <a:lnTo>
                    <a:pt x="109" y="176"/>
                  </a:lnTo>
                  <a:lnTo>
                    <a:pt x="109" y="174"/>
                  </a:lnTo>
                  <a:lnTo>
                    <a:pt x="110" y="176"/>
                  </a:lnTo>
                  <a:lnTo>
                    <a:pt x="110" y="174"/>
                  </a:lnTo>
                  <a:lnTo>
                    <a:pt x="109" y="173"/>
                  </a:lnTo>
                  <a:lnTo>
                    <a:pt x="109" y="174"/>
                  </a:lnTo>
                  <a:lnTo>
                    <a:pt x="107" y="174"/>
                  </a:lnTo>
                  <a:lnTo>
                    <a:pt x="107" y="173"/>
                  </a:lnTo>
                  <a:lnTo>
                    <a:pt x="107" y="171"/>
                  </a:lnTo>
                  <a:lnTo>
                    <a:pt x="107" y="169"/>
                  </a:lnTo>
                  <a:lnTo>
                    <a:pt x="107" y="168"/>
                  </a:lnTo>
                  <a:lnTo>
                    <a:pt x="109" y="168"/>
                  </a:lnTo>
                  <a:lnTo>
                    <a:pt x="109" y="169"/>
                  </a:lnTo>
                  <a:lnTo>
                    <a:pt x="110" y="169"/>
                  </a:lnTo>
                  <a:lnTo>
                    <a:pt x="110" y="168"/>
                  </a:lnTo>
                  <a:lnTo>
                    <a:pt x="112" y="168"/>
                  </a:lnTo>
                  <a:lnTo>
                    <a:pt x="112" y="166"/>
                  </a:lnTo>
                  <a:lnTo>
                    <a:pt x="113" y="168"/>
                  </a:lnTo>
                  <a:lnTo>
                    <a:pt x="113" y="166"/>
                  </a:lnTo>
                  <a:lnTo>
                    <a:pt x="113" y="164"/>
                  </a:lnTo>
                  <a:lnTo>
                    <a:pt x="113" y="166"/>
                  </a:lnTo>
                  <a:lnTo>
                    <a:pt x="112" y="164"/>
                  </a:lnTo>
                  <a:lnTo>
                    <a:pt x="113" y="164"/>
                  </a:lnTo>
                  <a:lnTo>
                    <a:pt x="112" y="164"/>
                  </a:lnTo>
                  <a:lnTo>
                    <a:pt x="113" y="164"/>
                  </a:lnTo>
                  <a:lnTo>
                    <a:pt x="113" y="166"/>
                  </a:lnTo>
                  <a:lnTo>
                    <a:pt x="115" y="166"/>
                  </a:lnTo>
                  <a:lnTo>
                    <a:pt x="115" y="164"/>
                  </a:lnTo>
                  <a:lnTo>
                    <a:pt x="115" y="166"/>
                  </a:lnTo>
                  <a:lnTo>
                    <a:pt x="115" y="164"/>
                  </a:lnTo>
                  <a:lnTo>
                    <a:pt x="117" y="164"/>
                  </a:lnTo>
                  <a:lnTo>
                    <a:pt x="118" y="164"/>
                  </a:lnTo>
                  <a:lnTo>
                    <a:pt x="117" y="164"/>
                  </a:lnTo>
                  <a:lnTo>
                    <a:pt x="118" y="163"/>
                  </a:lnTo>
                  <a:lnTo>
                    <a:pt x="118" y="161"/>
                  </a:lnTo>
                  <a:lnTo>
                    <a:pt x="117" y="161"/>
                  </a:lnTo>
                  <a:lnTo>
                    <a:pt x="118" y="161"/>
                  </a:lnTo>
                  <a:lnTo>
                    <a:pt x="120" y="161"/>
                  </a:lnTo>
                  <a:lnTo>
                    <a:pt x="122" y="161"/>
                  </a:lnTo>
                  <a:lnTo>
                    <a:pt x="123" y="161"/>
                  </a:lnTo>
                  <a:lnTo>
                    <a:pt x="122" y="160"/>
                  </a:lnTo>
                  <a:lnTo>
                    <a:pt x="123" y="160"/>
                  </a:lnTo>
                  <a:lnTo>
                    <a:pt x="122" y="160"/>
                  </a:lnTo>
                  <a:lnTo>
                    <a:pt x="122" y="158"/>
                  </a:lnTo>
                  <a:lnTo>
                    <a:pt x="120" y="158"/>
                  </a:lnTo>
                  <a:lnTo>
                    <a:pt x="122" y="158"/>
                  </a:lnTo>
                  <a:lnTo>
                    <a:pt x="120" y="158"/>
                  </a:lnTo>
                  <a:lnTo>
                    <a:pt x="118" y="156"/>
                  </a:lnTo>
                  <a:lnTo>
                    <a:pt x="118" y="158"/>
                  </a:lnTo>
                  <a:lnTo>
                    <a:pt x="118" y="160"/>
                  </a:lnTo>
                  <a:lnTo>
                    <a:pt x="120" y="158"/>
                  </a:lnTo>
                  <a:lnTo>
                    <a:pt x="120" y="160"/>
                  </a:lnTo>
                  <a:lnTo>
                    <a:pt x="118" y="160"/>
                  </a:lnTo>
                  <a:lnTo>
                    <a:pt x="118" y="158"/>
                  </a:lnTo>
                  <a:lnTo>
                    <a:pt x="117" y="158"/>
                  </a:lnTo>
                  <a:lnTo>
                    <a:pt x="115" y="158"/>
                  </a:lnTo>
                  <a:lnTo>
                    <a:pt x="115" y="156"/>
                  </a:lnTo>
                  <a:lnTo>
                    <a:pt x="115" y="158"/>
                  </a:lnTo>
                  <a:lnTo>
                    <a:pt x="115" y="160"/>
                  </a:lnTo>
                  <a:lnTo>
                    <a:pt x="115" y="161"/>
                  </a:lnTo>
                  <a:lnTo>
                    <a:pt x="117" y="161"/>
                  </a:lnTo>
                  <a:lnTo>
                    <a:pt x="117" y="163"/>
                  </a:lnTo>
                  <a:lnTo>
                    <a:pt x="115" y="163"/>
                  </a:lnTo>
                  <a:lnTo>
                    <a:pt x="113" y="163"/>
                  </a:lnTo>
                  <a:lnTo>
                    <a:pt x="112" y="161"/>
                  </a:lnTo>
                  <a:lnTo>
                    <a:pt x="110" y="161"/>
                  </a:lnTo>
                  <a:lnTo>
                    <a:pt x="109" y="163"/>
                  </a:lnTo>
                  <a:lnTo>
                    <a:pt x="107" y="161"/>
                  </a:lnTo>
                  <a:lnTo>
                    <a:pt x="105" y="161"/>
                  </a:lnTo>
                  <a:lnTo>
                    <a:pt x="107" y="161"/>
                  </a:lnTo>
                  <a:lnTo>
                    <a:pt x="105" y="161"/>
                  </a:lnTo>
                  <a:lnTo>
                    <a:pt x="105" y="160"/>
                  </a:lnTo>
                  <a:lnTo>
                    <a:pt x="104" y="160"/>
                  </a:lnTo>
                  <a:lnTo>
                    <a:pt x="104" y="158"/>
                  </a:lnTo>
                  <a:lnTo>
                    <a:pt x="102" y="156"/>
                  </a:lnTo>
                  <a:lnTo>
                    <a:pt x="104" y="156"/>
                  </a:lnTo>
                  <a:lnTo>
                    <a:pt x="105" y="156"/>
                  </a:lnTo>
                  <a:lnTo>
                    <a:pt x="105" y="155"/>
                  </a:lnTo>
                  <a:lnTo>
                    <a:pt x="104" y="155"/>
                  </a:lnTo>
                  <a:lnTo>
                    <a:pt x="104" y="153"/>
                  </a:lnTo>
                  <a:lnTo>
                    <a:pt x="104" y="151"/>
                  </a:lnTo>
                  <a:lnTo>
                    <a:pt x="104" y="150"/>
                  </a:lnTo>
                  <a:lnTo>
                    <a:pt x="102" y="150"/>
                  </a:lnTo>
                  <a:lnTo>
                    <a:pt x="104" y="148"/>
                  </a:lnTo>
                  <a:lnTo>
                    <a:pt x="104" y="150"/>
                  </a:lnTo>
                  <a:lnTo>
                    <a:pt x="105" y="148"/>
                  </a:lnTo>
                  <a:lnTo>
                    <a:pt x="107" y="148"/>
                  </a:lnTo>
                  <a:lnTo>
                    <a:pt x="107" y="147"/>
                  </a:lnTo>
                  <a:lnTo>
                    <a:pt x="107" y="145"/>
                  </a:lnTo>
                  <a:lnTo>
                    <a:pt x="109" y="145"/>
                  </a:lnTo>
                  <a:lnTo>
                    <a:pt x="110" y="145"/>
                  </a:lnTo>
                  <a:lnTo>
                    <a:pt x="110" y="147"/>
                  </a:lnTo>
                  <a:lnTo>
                    <a:pt x="110" y="145"/>
                  </a:lnTo>
                  <a:lnTo>
                    <a:pt x="109" y="143"/>
                  </a:lnTo>
                  <a:lnTo>
                    <a:pt x="109" y="142"/>
                  </a:lnTo>
                  <a:lnTo>
                    <a:pt x="109" y="140"/>
                  </a:lnTo>
                  <a:lnTo>
                    <a:pt x="107" y="138"/>
                  </a:lnTo>
                  <a:lnTo>
                    <a:pt x="107" y="137"/>
                  </a:lnTo>
                  <a:lnTo>
                    <a:pt x="107" y="135"/>
                  </a:lnTo>
                  <a:lnTo>
                    <a:pt x="105" y="135"/>
                  </a:lnTo>
                  <a:lnTo>
                    <a:pt x="104" y="134"/>
                  </a:lnTo>
                  <a:lnTo>
                    <a:pt x="104" y="132"/>
                  </a:lnTo>
                  <a:lnTo>
                    <a:pt x="104" y="130"/>
                  </a:lnTo>
                  <a:lnTo>
                    <a:pt x="104" y="129"/>
                  </a:lnTo>
                  <a:lnTo>
                    <a:pt x="105" y="129"/>
                  </a:lnTo>
                  <a:lnTo>
                    <a:pt x="104" y="127"/>
                  </a:lnTo>
                  <a:lnTo>
                    <a:pt x="105" y="127"/>
                  </a:lnTo>
                  <a:lnTo>
                    <a:pt x="107" y="129"/>
                  </a:lnTo>
                  <a:lnTo>
                    <a:pt x="107" y="127"/>
                  </a:lnTo>
                  <a:lnTo>
                    <a:pt x="109" y="127"/>
                  </a:lnTo>
                  <a:lnTo>
                    <a:pt x="110" y="127"/>
                  </a:lnTo>
                  <a:lnTo>
                    <a:pt x="112" y="125"/>
                  </a:lnTo>
                  <a:lnTo>
                    <a:pt x="112" y="124"/>
                  </a:lnTo>
                  <a:lnTo>
                    <a:pt x="113" y="124"/>
                  </a:lnTo>
                  <a:lnTo>
                    <a:pt x="113" y="122"/>
                  </a:lnTo>
                  <a:lnTo>
                    <a:pt x="115" y="122"/>
                  </a:lnTo>
                  <a:lnTo>
                    <a:pt x="115" y="124"/>
                  </a:lnTo>
                  <a:lnTo>
                    <a:pt x="117" y="124"/>
                  </a:lnTo>
                  <a:lnTo>
                    <a:pt x="118" y="124"/>
                  </a:lnTo>
                  <a:lnTo>
                    <a:pt x="120" y="122"/>
                  </a:lnTo>
                  <a:lnTo>
                    <a:pt x="120" y="121"/>
                  </a:lnTo>
                  <a:lnTo>
                    <a:pt x="120" y="119"/>
                  </a:lnTo>
                  <a:lnTo>
                    <a:pt x="118" y="119"/>
                  </a:lnTo>
                  <a:lnTo>
                    <a:pt x="118" y="117"/>
                  </a:lnTo>
                  <a:lnTo>
                    <a:pt x="120" y="117"/>
                  </a:lnTo>
                  <a:lnTo>
                    <a:pt x="122" y="117"/>
                  </a:lnTo>
                  <a:lnTo>
                    <a:pt x="122" y="116"/>
                  </a:lnTo>
                  <a:lnTo>
                    <a:pt x="125" y="114"/>
                  </a:lnTo>
                  <a:lnTo>
                    <a:pt x="126" y="114"/>
                  </a:lnTo>
                  <a:lnTo>
                    <a:pt x="128" y="116"/>
                  </a:lnTo>
                  <a:lnTo>
                    <a:pt x="130" y="114"/>
                  </a:lnTo>
                  <a:lnTo>
                    <a:pt x="130" y="116"/>
                  </a:lnTo>
                  <a:lnTo>
                    <a:pt x="131" y="114"/>
                  </a:lnTo>
                  <a:lnTo>
                    <a:pt x="135" y="114"/>
                  </a:lnTo>
                  <a:lnTo>
                    <a:pt x="136" y="114"/>
                  </a:lnTo>
                  <a:lnTo>
                    <a:pt x="136" y="112"/>
                  </a:lnTo>
                  <a:lnTo>
                    <a:pt x="138" y="112"/>
                  </a:lnTo>
                  <a:lnTo>
                    <a:pt x="139" y="111"/>
                  </a:lnTo>
                  <a:lnTo>
                    <a:pt x="141" y="111"/>
                  </a:lnTo>
                  <a:lnTo>
                    <a:pt x="143" y="111"/>
                  </a:lnTo>
                  <a:lnTo>
                    <a:pt x="144" y="111"/>
                  </a:lnTo>
                  <a:lnTo>
                    <a:pt x="144" y="112"/>
                  </a:lnTo>
                  <a:lnTo>
                    <a:pt x="146" y="111"/>
                  </a:lnTo>
                  <a:lnTo>
                    <a:pt x="146" y="109"/>
                  </a:lnTo>
                  <a:lnTo>
                    <a:pt x="146" y="108"/>
                  </a:lnTo>
                  <a:lnTo>
                    <a:pt x="146" y="109"/>
                  </a:lnTo>
                  <a:lnTo>
                    <a:pt x="144" y="109"/>
                  </a:lnTo>
                  <a:lnTo>
                    <a:pt x="144" y="108"/>
                  </a:lnTo>
                  <a:lnTo>
                    <a:pt x="146" y="108"/>
                  </a:lnTo>
                  <a:lnTo>
                    <a:pt x="144" y="106"/>
                  </a:lnTo>
                  <a:lnTo>
                    <a:pt x="144" y="104"/>
                  </a:lnTo>
                  <a:lnTo>
                    <a:pt x="143" y="104"/>
                  </a:lnTo>
                  <a:lnTo>
                    <a:pt x="141" y="104"/>
                  </a:lnTo>
                  <a:lnTo>
                    <a:pt x="141" y="103"/>
                  </a:lnTo>
                  <a:lnTo>
                    <a:pt x="139" y="103"/>
                  </a:lnTo>
                  <a:lnTo>
                    <a:pt x="139" y="101"/>
                  </a:lnTo>
                  <a:lnTo>
                    <a:pt x="138" y="99"/>
                  </a:lnTo>
                  <a:lnTo>
                    <a:pt x="138" y="96"/>
                  </a:lnTo>
                  <a:lnTo>
                    <a:pt x="139" y="96"/>
                  </a:lnTo>
                  <a:lnTo>
                    <a:pt x="141" y="96"/>
                  </a:lnTo>
                  <a:lnTo>
                    <a:pt x="143" y="98"/>
                  </a:lnTo>
                  <a:lnTo>
                    <a:pt x="144" y="98"/>
                  </a:lnTo>
                  <a:lnTo>
                    <a:pt x="146" y="98"/>
                  </a:lnTo>
                  <a:lnTo>
                    <a:pt x="146" y="99"/>
                  </a:lnTo>
                  <a:lnTo>
                    <a:pt x="148" y="99"/>
                  </a:lnTo>
                  <a:lnTo>
                    <a:pt x="149" y="99"/>
                  </a:lnTo>
                  <a:lnTo>
                    <a:pt x="149" y="101"/>
                  </a:lnTo>
                  <a:lnTo>
                    <a:pt x="151" y="101"/>
                  </a:lnTo>
                  <a:lnTo>
                    <a:pt x="152" y="101"/>
                  </a:lnTo>
                  <a:lnTo>
                    <a:pt x="154" y="99"/>
                  </a:lnTo>
                  <a:lnTo>
                    <a:pt x="154" y="98"/>
                  </a:lnTo>
                  <a:lnTo>
                    <a:pt x="152" y="96"/>
                  </a:lnTo>
                  <a:lnTo>
                    <a:pt x="151" y="95"/>
                  </a:lnTo>
                  <a:lnTo>
                    <a:pt x="149" y="95"/>
                  </a:lnTo>
                  <a:lnTo>
                    <a:pt x="148" y="93"/>
                  </a:lnTo>
                  <a:lnTo>
                    <a:pt x="148" y="91"/>
                  </a:lnTo>
                  <a:lnTo>
                    <a:pt x="149" y="91"/>
                  </a:lnTo>
                  <a:lnTo>
                    <a:pt x="149" y="93"/>
                  </a:lnTo>
                  <a:lnTo>
                    <a:pt x="151" y="93"/>
                  </a:lnTo>
                  <a:lnTo>
                    <a:pt x="152" y="91"/>
                  </a:lnTo>
                  <a:lnTo>
                    <a:pt x="154" y="91"/>
                  </a:lnTo>
                  <a:lnTo>
                    <a:pt x="156" y="90"/>
                  </a:lnTo>
                  <a:lnTo>
                    <a:pt x="156" y="88"/>
                  </a:lnTo>
                  <a:lnTo>
                    <a:pt x="157" y="88"/>
                  </a:lnTo>
                  <a:lnTo>
                    <a:pt x="157" y="86"/>
                  </a:lnTo>
                  <a:lnTo>
                    <a:pt x="159" y="86"/>
                  </a:lnTo>
                  <a:lnTo>
                    <a:pt x="159" y="85"/>
                  </a:lnTo>
                  <a:lnTo>
                    <a:pt x="157" y="85"/>
                  </a:lnTo>
                  <a:lnTo>
                    <a:pt x="157" y="83"/>
                  </a:lnTo>
                  <a:lnTo>
                    <a:pt x="157" y="82"/>
                  </a:lnTo>
                  <a:lnTo>
                    <a:pt x="159" y="80"/>
                  </a:lnTo>
                  <a:lnTo>
                    <a:pt x="157" y="80"/>
                  </a:lnTo>
                  <a:lnTo>
                    <a:pt x="159" y="80"/>
                  </a:lnTo>
                  <a:lnTo>
                    <a:pt x="162" y="78"/>
                  </a:lnTo>
                  <a:lnTo>
                    <a:pt x="164" y="80"/>
                  </a:lnTo>
                  <a:lnTo>
                    <a:pt x="164" y="78"/>
                  </a:lnTo>
                  <a:lnTo>
                    <a:pt x="165" y="80"/>
                  </a:lnTo>
                  <a:lnTo>
                    <a:pt x="165" y="78"/>
                  </a:lnTo>
                  <a:lnTo>
                    <a:pt x="165" y="80"/>
                  </a:lnTo>
                  <a:lnTo>
                    <a:pt x="167" y="80"/>
                  </a:lnTo>
                  <a:lnTo>
                    <a:pt x="169" y="82"/>
                  </a:lnTo>
                  <a:lnTo>
                    <a:pt x="170" y="82"/>
                  </a:lnTo>
                  <a:lnTo>
                    <a:pt x="172" y="82"/>
                  </a:lnTo>
                  <a:lnTo>
                    <a:pt x="174" y="82"/>
                  </a:lnTo>
                  <a:lnTo>
                    <a:pt x="174" y="80"/>
                  </a:lnTo>
                  <a:lnTo>
                    <a:pt x="174" y="78"/>
                  </a:lnTo>
                  <a:lnTo>
                    <a:pt x="175" y="78"/>
                  </a:lnTo>
                  <a:lnTo>
                    <a:pt x="175" y="80"/>
                  </a:lnTo>
                  <a:lnTo>
                    <a:pt x="177" y="80"/>
                  </a:lnTo>
                  <a:lnTo>
                    <a:pt x="178" y="82"/>
                  </a:lnTo>
                  <a:lnTo>
                    <a:pt x="180" y="82"/>
                  </a:lnTo>
                  <a:lnTo>
                    <a:pt x="182" y="82"/>
                  </a:lnTo>
                  <a:lnTo>
                    <a:pt x="182" y="80"/>
                  </a:lnTo>
                  <a:lnTo>
                    <a:pt x="182" y="78"/>
                  </a:lnTo>
                  <a:lnTo>
                    <a:pt x="180" y="78"/>
                  </a:lnTo>
                  <a:lnTo>
                    <a:pt x="180" y="77"/>
                  </a:lnTo>
                  <a:lnTo>
                    <a:pt x="178" y="78"/>
                  </a:lnTo>
                  <a:lnTo>
                    <a:pt x="180" y="78"/>
                  </a:lnTo>
                  <a:lnTo>
                    <a:pt x="178" y="78"/>
                  </a:lnTo>
                  <a:lnTo>
                    <a:pt x="178" y="77"/>
                  </a:lnTo>
                  <a:lnTo>
                    <a:pt x="180" y="77"/>
                  </a:lnTo>
                  <a:lnTo>
                    <a:pt x="182" y="77"/>
                  </a:lnTo>
                  <a:lnTo>
                    <a:pt x="182" y="75"/>
                  </a:lnTo>
                  <a:lnTo>
                    <a:pt x="180" y="73"/>
                  </a:lnTo>
                  <a:lnTo>
                    <a:pt x="182" y="73"/>
                  </a:lnTo>
                  <a:lnTo>
                    <a:pt x="183" y="73"/>
                  </a:lnTo>
                  <a:lnTo>
                    <a:pt x="183" y="75"/>
                  </a:lnTo>
                  <a:lnTo>
                    <a:pt x="185" y="75"/>
                  </a:lnTo>
                  <a:lnTo>
                    <a:pt x="183" y="75"/>
                  </a:lnTo>
                  <a:lnTo>
                    <a:pt x="183" y="77"/>
                  </a:lnTo>
                  <a:lnTo>
                    <a:pt x="185" y="77"/>
                  </a:lnTo>
                  <a:lnTo>
                    <a:pt x="187" y="78"/>
                  </a:lnTo>
                  <a:lnTo>
                    <a:pt x="187" y="77"/>
                  </a:lnTo>
                  <a:lnTo>
                    <a:pt x="187" y="78"/>
                  </a:lnTo>
                  <a:lnTo>
                    <a:pt x="188" y="77"/>
                  </a:lnTo>
                  <a:lnTo>
                    <a:pt x="188" y="78"/>
                  </a:lnTo>
                  <a:lnTo>
                    <a:pt x="190" y="78"/>
                  </a:lnTo>
                  <a:lnTo>
                    <a:pt x="190" y="77"/>
                  </a:lnTo>
                  <a:lnTo>
                    <a:pt x="190" y="75"/>
                  </a:lnTo>
                  <a:lnTo>
                    <a:pt x="191" y="73"/>
                  </a:lnTo>
                  <a:lnTo>
                    <a:pt x="191" y="72"/>
                  </a:lnTo>
                  <a:lnTo>
                    <a:pt x="191" y="70"/>
                  </a:lnTo>
                  <a:lnTo>
                    <a:pt x="190" y="70"/>
                  </a:lnTo>
                  <a:lnTo>
                    <a:pt x="190" y="68"/>
                  </a:lnTo>
                  <a:lnTo>
                    <a:pt x="188" y="68"/>
                  </a:lnTo>
                  <a:lnTo>
                    <a:pt x="190" y="68"/>
                  </a:lnTo>
                  <a:lnTo>
                    <a:pt x="190" y="67"/>
                  </a:lnTo>
                  <a:lnTo>
                    <a:pt x="188" y="67"/>
                  </a:lnTo>
                  <a:lnTo>
                    <a:pt x="187" y="65"/>
                  </a:lnTo>
                  <a:lnTo>
                    <a:pt x="187" y="64"/>
                  </a:lnTo>
                  <a:lnTo>
                    <a:pt x="187" y="62"/>
                  </a:lnTo>
                  <a:lnTo>
                    <a:pt x="187" y="60"/>
                  </a:lnTo>
                  <a:lnTo>
                    <a:pt x="188" y="60"/>
                  </a:lnTo>
                  <a:lnTo>
                    <a:pt x="188" y="62"/>
                  </a:lnTo>
                  <a:lnTo>
                    <a:pt x="190" y="62"/>
                  </a:lnTo>
                  <a:lnTo>
                    <a:pt x="191" y="62"/>
                  </a:lnTo>
                  <a:lnTo>
                    <a:pt x="193" y="62"/>
                  </a:lnTo>
                  <a:lnTo>
                    <a:pt x="195" y="62"/>
                  </a:lnTo>
                  <a:lnTo>
                    <a:pt x="193" y="64"/>
                  </a:lnTo>
                  <a:lnTo>
                    <a:pt x="195" y="64"/>
                  </a:lnTo>
                  <a:lnTo>
                    <a:pt x="195" y="65"/>
                  </a:lnTo>
                  <a:lnTo>
                    <a:pt x="196" y="65"/>
                  </a:lnTo>
                  <a:lnTo>
                    <a:pt x="196" y="67"/>
                  </a:lnTo>
                  <a:lnTo>
                    <a:pt x="196" y="68"/>
                  </a:lnTo>
                  <a:lnTo>
                    <a:pt x="198" y="68"/>
                  </a:lnTo>
                  <a:lnTo>
                    <a:pt x="198" y="67"/>
                  </a:lnTo>
                  <a:lnTo>
                    <a:pt x="200" y="67"/>
                  </a:lnTo>
                  <a:lnTo>
                    <a:pt x="198" y="67"/>
                  </a:lnTo>
                  <a:lnTo>
                    <a:pt x="198" y="68"/>
                  </a:lnTo>
                  <a:lnTo>
                    <a:pt x="200" y="68"/>
                  </a:lnTo>
                  <a:lnTo>
                    <a:pt x="200" y="67"/>
                  </a:lnTo>
                  <a:lnTo>
                    <a:pt x="200" y="68"/>
                  </a:lnTo>
                  <a:lnTo>
                    <a:pt x="201" y="68"/>
                  </a:lnTo>
                  <a:lnTo>
                    <a:pt x="203" y="68"/>
                  </a:lnTo>
                  <a:lnTo>
                    <a:pt x="203" y="67"/>
                  </a:lnTo>
                  <a:lnTo>
                    <a:pt x="203" y="65"/>
                  </a:lnTo>
                  <a:lnTo>
                    <a:pt x="204" y="65"/>
                  </a:lnTo>
                  <a:lnTo>
                    <a:pt x="206" y="65"/>
                  </a:lnTo>
                  <a:lnTo>
                    <a:pt x="208" y="65"/>
                  </a:lnTo>
                  <a:lnTo>
                    <a:pt x="209" y="64"/>
                  </a:lnTo>
                  <a:lnTo>
                    <a:pt x="209" y="65"/>
                  </a:lnTo>
                  <a:lnTo>
                    <a:pt x="211" y="67"/>
                  </a:lnTo>
                  <a:lnTo>
                    <a:pt x="213" y="67"/>
                  </a:lnTo>
                  <a:lnTo>
                    <a:pt x="214" y="67"/>
                  </a:lnTo>
                  <a:lnTo>
                    <a:pt x="216" y="65"/>
                  </a:lnTo>
                  <a:lnTo>
                    <a:pt x="216" y="64"/>
                  </a:lnTo>
                  <a:lnTo>
                    <a:pt x="214" y="64"/>
                  </a:lnTo>
                  <a:lnTo>
                    <a:pt x="214" y="62"/>
                  </a:lnTo>
                  <a:lnTo>
                    <a:pt x="214" y="64"/>
                  </a:lnTo>
                  <a:lnTo>
                    <a:pt x="213" y="62"/>
                  </a:lnTo>
                  <a:lnTo>
                    <a:pt x="213" y="60"/>
                  </a:lnTo>
                  <a:lnTo>
                    <a:pt x="211" y="59"/>
                  </a:lnTo>
                  <a:lnTo>
                    <a:pt x="213" y="59"/>
                  </a:lnTo>
                  <a:lnTo>
                    <a:pt x="213" y="60"/>
                  </a:lnTo>
                  <a:lnTo>
                    <a:pt x="214" y="60"/>
                  </a:lnTo>
                  <a:lnTo>
                    <a:pt x="216" y="60"/>
                  </a:lnTo>
                  <a:lnTo>
                    <a:pt x="216" y="62"/>
                  </a:lnTo>
                  <a:lnTo>
                    <a:pt x="218" y="62"/>
                  </a:lnTo>
                  <a:lnTo>
                    <a:pt x="218" y="64"/>
                  </a:lnTo>
                  <a:lnTo>
                    <a:pt x="219" y="62"/>
                  </a:lnTo>
                  <a:lnTo>
                    <a:pt x="221" y="60"/>
                  </a:lnTo>
                  <a:lnTo>
                    <a:pt x="221" y="59"/>
                  </a:lnTo>
                  <a:lnTo>
                    <a:pt x="222" y="59"/>
                  </a:lnTo>
                  <a:lnTo>
                    <a:pt x="222" y="60"/>
                  </a:lnTo>
                  <a:lnTo>
                    <a:pt x="222" y="62"/>
                  </a:lnTo>
                  <a:lnTo>
                    <a:pt x="224" y="62"/>
                  </a:lnTo>
                  <a:lnTo>
                    <a:pt x="226" y="62"/>
                  </a:lnTo>
                  <a:lnTo>
                    <a:pt x="227" y="62"/>
                  </a:lnTo>
                  <a:lnTo>
                    <a:pt x="229" y="62"/>
                  </a:lnTo>
                  <a:lnTo>
                    <a:pt x="231" y="62"/>
                  </a:lnTo>
                  <a:lnTo>
                    <a:pt x="232" y="62"/>
                  </a:lnTo>
                  <a:lnTo>
                    <a:pt x="234" y="62"/>
                  </a:lnTo>
                  <a:lnTo>
                    <a:pt x="234" y="60"/>
                  </a:lnTo>
                  <a:lnTo>
                    <a:pt x="235" y="60"/>
                  </a:lnTo>
                  <a:lnTo>
                    <a:pt x="235" y="59"/>
                  </a:lnTo>
                  <a:lnTo>
                    <a:pt x="235" y="57"/>
                  </a:lnTo>
                  <a:lnTo>
                    <a:pt x="237" y="55"/>
                  </a:lnTo>
                  <a:lnTo>
                    <a:pt x="239" y="55"/>
                  </a:lnTo>
                  <a:lnTo>
                    <a:pt x="240" y="55"/>
                  </a:lnTo>
                  <a:lnTo>
                    <a:pt x="240" y="54"/>
                  </a:lnTo>
                  <a:lnTo>
                    <a:pt x="240" y="52"/>
                  </a:lnTo>
                  <a:lnTo>
                    <a:pt x="240" y="51"/>
                  </a:lnTo>
                  <a:lnTo>
                    <a:pt x="239" y="51"/>
                  </a:lnTo>
                  <a:lnTo>
                    <a:pt x="239" y="49"/>
                  </a:lnTo>
                  <a:lnTo>
                    <a:pt x="237" y="49"/>
                  </a:lnTo>
                  <a:lnTo>
                    <a:pt x="239" y="47"/>
                  </a:lnTo>
                  <a:lnTo>
                    <a:pt x="237" y="47"/>
                  </a:lnTo>
                  <a:lnTo>
                    <a:pt x="235" y="46"/>
                  </a:lnTo>
                  <a:lnTo>
                    <a:pt x="235" y="44"/>
                  </a:lnTo>
                  <a:lnTo>
                    <a:pt x="234" y="42"/>
                  </a:lnTo>
                  <a:lnTo>
                    <a:pt x="234" y="41"/>
                  </a:lnTo>
                  <a:lnTo>
                    <a:pt x="234" y="39"/>
                  </a:lnTo>
                  <a:lnTo>
                    <a:pt x="234" y="38"/>
                  </a:lnTo>
                  <a:lnTo>
                    <a:pt x="235" y="38"/>
                  </a:lnTo>
                  <a:lnTo>
                    <a:pt x="235" y="39"/>
                  </a:lnTo>
                  <a:lnTo>
                    <a:pt x="235" y="41"/>
                  </a:lnTo>
                  <a:lnTo>
                    <a:pt x="237" y="42"/>
                  </a:lnTo>
                  <a:lnTo>
                    <a:pt x="239" y="42"/>
                  </a:lnTo>
                  <a:lnTo>
                    <a:pt x="240" y="42"/>
                  </a:lnTo>
                  <a:lnTo>
                    <a:pt x="242" y="44"/>
                  </a:lnTo>
                  <a:lnTo>
                    <a:pt x="242" y="42"/>
                  </a:lnTo>
                  <a:lnTo>
                    <a:pt x="244" y="44"/>
                  </a:lnTo>
                  <a:lnTo>
                    <a:pt x="244" y="46"/>
                  </a:lnTo>
                  <a:lnTo>
                    <a:pt x="245" y="46"/>
                  </a:lnTo>
                  <a:lnTo>
                    <a:pt x="245" y="47"/>
                  </a:lnTo>
                  <a:lnTo>
                    <a:pt x="247" y="47"/>
                  </a:lnTo>
                  <a:lnTo>
                    <a:pt x="248" y="47"/>
                  </a:lnTo>
                  <a:lnTo>
                    <a:pt x="250" y="46"/>
                  </a:lnTo>
                  <a:lnTo>
                    <a:pt x="250" y="44"/>
                  </a:lnTo>
                  <a:lnTo>
                    <a:pt x="250" y="42"/>
                  </a:lnTo>
                  <a:lnTo>
                    <a:pt x="250" y="41"/>
                  </a:lnTo>
                  <a:lnTo>
                    <a:pt x="248" y="41"/>
                  </a:lnTo>
                  <a:lnTo>
                    <a:pt x="248" y="39"/>
                  </a:lnTo>
                  <a:lnTo>
                    <a:pt x="248" y="41"/>
                  </a:lnTo>
                  <a:lnTo>
                    <a:pt x="247" y="39"/>
                  </a:lnTo>
                  <a:lnTo>
                    <a:pt x="247" y="38"/>
                  </a:lnTo>
                  <a:lnTo>
                    <a:pt x="247" y="36"/>
                  </a:lnTo>
                  <a:lnTo>
                    <a:pt x="247" y="34"/>
                  </a:lnTo>
                  <a:lnTo>
                    <a:pt x="245" y="34"/>
                  </a:lnTo>
                  <a:lnTo>
                    <a:pt x="245" y="33"/>
                  </a:lnTo>
                  <a:lnTo>
                    <a:pt x="247" y="33"/>
                  </a:lnTo>
                  <a:lnTo>
                    <a:pt x="247" y="31"/>
                  </a:lnTo>
                  <a:close/>
                  <a:moveTo>
                    <a:pt x="96" y="208"/>
                  </a:moveTo>
                  <a:lnTo>
                    <a:pt x="97" y="208"/>
                  </a:lnTo>
                  <a:lnTo>
                    <a:pt x="99" y="208"/>
                  </a:lnTo>
                  <a:lnTo>
                    <a:pt x="100" y="208"/>
                  </a:lnTo>
                  <a:lnTo>
                    <a:pt x="104" y="210"/>
                  </a:lnTo>
                  <a:lnTo>
                    <a:pt x="105" y="210"/>
                  </a:lnTo>
                  <a:lnTo>
                    <a:pt x="107" y="210"/>
                  </a:lnTo>
                  <a:lnTo>
                    <a:pt x="109" y="210"/>
                  </a:lnTo>
                  <a:lnTo>
                    <a:pt x="110" y="212"/>
                  </a:lnTo>
                  <a:lnTo>
                    <a:pt x="110" y="213"/>
                  </a:lnTo>
                  <a:lnTo>
                    <a:pt x="110" y="215"/>
                  </a:lnTo>
                  <a:lnTo>
                    <a:pt x="109" y="215"/>
                  </a:lnTo>
                  <a:lnTo>
                    <a:pt x="110" y="215"/>
                  </a:lnTo>
                  <a:lnTo>
                    <a:pt x="110" y="216"/>
                  </a:lnTo>
                  <a:lnTo>
                    <a:pt x="110" y="218"/>
                  </a:lnTo>
                  <a:lnTo>
                    <a:pt x="112" y="218"/>
                  </a:lnTo>
                  <a:lnTo>
                    <a:pt x="113" y="220"/>
                  </a:lnTo>
                  <a:lnTo>
                    <a:pt x="115" y="220"/>
                  </a:lnTo>
                  <a:lnTo>
                    <a:pt x="113" y="221"/>
                  </a:lnTo>
                  <a:lnTo>
                    <a:pt x="115" y="221"/>
                  </a:lnTo>
                  <a:lnTo>
                    <a:pt x="115" y="223"/>
                  </a:lnTo>
                  <a:lnTo>
                    <a:pt x="115" y="225"/>
                  </a:lnTo>
                  <a:lnTo>
                    <a:pt x="115" y="226"/>
                  </a:lnTo>
                  <a:lnTo>
                    <a:pt x="113" y="226"/>
                  </a:lnTo>
                  <a:lnTo>
                    <a:pt x="113" y="228"/>
                  </a:lnTo>
                  <a:lnTo>
                    <a:pt x="113" y="230"/>
                  </a:lnTo>
                  <a:lnTo>
                    <a:pt x="115" y="228"/>
                  </a:lnTo>
                  <a:lnTo>
                    <a:pt x="115" y="230"/>
                  </a:lnTo>
                  <a:lnTo>
                    <a:pt x="113" y="230"/>
                  </a:lnTo>
                  <a:lnTo>
                    <a:pt x="112" y="230"/>
                  </a:lnTo>
                  <a:lnTo>
                    <a:pt x="113" y="228"/>
                  </a:lnTo>
                  <a:lnTo>
                    <a:pt x="113" y="226"/>
                  </a:lnTo>
                  <a:lnTo>
                    <a:pt x="112" y="226"/>
                  </a:lnTo>
                  <a:lnTo>
                    <a:pt x="110" y="226"/>
                  </a:lnTo>
                  <a:lnTo>
                    <a:pt x="110" y="225"/>
                  </a:lnTo>
                  <a:lnTo>
                    <a:pt x="109" y="225"/>
                  </a:lnTo>
                  <a:lnTo>
                    <a:pt x="109" y="226"/>
                  </a:lnTo>
                  <a:lnTo>
                    <a:pt x="109" y="228"/>
                  </a:lnTo>
                  <a:lnTo>
                    <a:pt x="109" y="226"/>
                  </a:lnTo>
                  <a:lnTo>
                    <a:pt x="107" y="226"/>
                  </a:lnTo>
                  <a:lnTo>
                    <a:pt x="109" y="226"/>
                  </a:lnTo>
                  <a:lnTo>
                    <a:pt x="109" y="228"/>
                  </a:lnTo>
                  <a:lnTo>
                    <a:pt x="107" y="228"/>
                  </a:lnTo>
                  <a:lnTo>
                    <a:pt x="107" y="226"/>
                  </a:lnTo>
                  <a:lnTo>
                    <a:pt x="105" y="226"/>
                  </a:lnTo>
                  <a:lnTo>
                    <a:pt x="105" y="228"/>
                  </a:lnTo>
                  <a:lnTo>
                    <a:pt x="107" y="228"/>
                  </a:lnTo>
                  <a:lnTo>
                    <a:pt x="107" y="230"/>
                  </a:lnTo>
                  <a:lnTo>
                    <a:pt x="105" y="230"/>
                  </a:lnTo>
                  <a:lnTo>
                    <a:pt x="105" y="228"/>
                  </a:lnTo>
                  <a:lnTo>
                    <a:pt x="104" y="228"/>
                  </a:lnTo>
                  <a:lnTo>
                    <a:pt x="105" y="228"/>
                  </a:lnTo>
                  <a:lnTo>
                    <a:pt x="104" y="228"/>
                  </a:lnTo>
                  <a:lnTo>
                    <a:pt x="104" y="230"/>
                  </a:lnTo>
                  <a:lnTo>
                    <a:pt x="104" y="231"/>
                  </a:lnTo>
                  <a:lnTo>
                    <a:pt x="104" y="230"/>
                  </a:lnTo>
                  <a:lnTo>
                    <a:pt x="102" y="230"/>
                  </a:lnTo>
                  <a:lnTo>
                    <a:pt x="102" y="228"/>
                  </a:lnTo>
                  <a:lnTo>
                    <a:pt x="100" y="228"/>
                  </a:lnTo>
                  <a:lnTo>
                    <a:pt x="100" y="226"/>
                  </a:lnTo>
                  <a:lnTo>
                    <a:pt x="100" y="228"/>
                  </a:lnTo>
                  <a:lnTo>
                    <a:pt x="100" y="226"/>
                  </a:lnTo>
                  <a:lnTo>
                    <a:pt x="99" y="226"/>
                  </a:lnTo>
                  <a:lnTo>
                    <a:pt x="99" y="225"/>
                  </a:lnTo>
                  <a:lnTo>
                    <a:pt x="97" y="225"/>
                  </a:lnTo>
                  <a:lnTo>
                    <a:pt x="97" y="226"/>
                  </a:lnTo>
                  <a:lnTo>
                    <a:pt x="96" y="226"/>
                  </a:lnTo>
                  <a:lnTo>
                    <a:pt x="97" y="228"/>
                  </a:lnTo>
                  <a:lnTo>
                    <a:pt x="96" y="228"/>
                  </a:lnTo>
                  <a:lnTo>
                    <a:pt x="96" y="230"/>
                  </a:lnTo>
                  <a:lnTo>
                    <a:pt x="96" y="231"/>
                  </a:lnTo>
                  <a:lnTo>
                    <a:pt x="97" y="231"/>
                  </a:lnTo>
                  <a:lnTo>
                    <a:pt x="97" y="233"/>
                  </a:lnTo>
                  <a:lnTo>
                    <a:pt x="99" y="233"/>
                  </a:lnTo>
                  <a:lnTo>
                    <a:pt x="100" y="231"/>
                  </a:lnTo>
                  <a:lnTo>
                    <a:pt x="100" y="233"/>
                  </a:lnTo>
                  <a:lnTo>
                    <a:pt x="102" y="233"/>
                  </a:lnTo>
                  <a:lnTo>
                    <a:pt x="104" y="233"/>
                  </a:lnTo>
                  <a:lnTo>
                    <a:pt x="105" y="234"/>
                  </a:lnTo>
                  <a:lnTo>
                    <a:pt x="105" y="233"/>
                  </a:lnTo>
                  <a:lnTo>
                    <a:pt x="107" y="234"/>
                  </a:lnTo>
                  <a:lnTo>
                    <a:pt x="109" y="234"/>
                  </a:lnTo>
                  <a:lnTo>
                    <a:pt x="109" y="236"/>
                  </a:lnTo>
                  <a:lnTo>
                    <a:pt x="110" y="236"/>
                  </a:lnTo>
                  <a:lnTo>
                    <a:pt x="110" y="238"/>
                  </a:lnTo>
                  <a:lnTo>
                    <a:pt x="112" y="238"/>
                  </a:lnTo>
                  <a:lnTo>
                    <a:pt x="112" y="239"/>
                  </a:lnTo>
                  <a:lnTo>
                    <a:pt x="112" y="243"/>
                  </a:lnTo>
                  <a:lnTo>
                    <a:pt x="110" y="241"/>
                  </a:lnTo>
                  <a:lnTo>
                    <a:pt x="112" y="241"/>
                  </a:lnTo>
                  <a:lnTo>
                    <a:pt x="110" y="239"/>
                  </a:lnTo>
                  <a:lnTo>
                    <a:pt x="110" y="238"/>
                  </a:lnTo>
                  <a:lnTo>
                    <a:pt x="110" y="239"/>
                  </a:lnTo>
                  <a:lnTo>
                    <a:pt x="109" y="239"/>
                  </a:lnTo>
                  <a:lnTo>
                    <a:pt x="107" y="239"/>
                  </a:lnTo>
                  <a:lnTo>
                    <a:pt x="109" y="239"/>
                  </a:lnTo>
                  <a:lnTo>
                    <a:pt x="107" y="239"/>
                  </a:lnTo>
                  <a:lnTo>
                    <a:pt x="105" y="239"/>
                  </a:lnTo>
                  <a:lnTo>
                    <a:pt x="105" y="241"/>
                  </a:lnTo>
                  <a:lnTo>
                    <a:pt x="107" y="241"/>
                  </a:lnTo>
                  <a:lnTo>
                    <a:pt x="109" y="241"/>
                  </a:lnTo>
                  <a:lnTo>
                    <a:pt x="109" y="243"/>
                  </a:lnTo>
                  <a:lnTo>
                    <a:pt x="107" y="243"/>
                  </a:lnTo>
                  <a:lnTo>
                    <a:pt x="105" y="243"/>
                  </a:lnTo>
                  <a:lnTo>
                    <a:pt x="104" y="241"/>
                  </a:lnTo>
                  <a:lnTo>
                    <a:pt x="104" y="243"/>
                  </a:lnTo>
                  <a:lnTo>
                    <a:pt x="104" y="241"/>
                  </a:lnTo>
                  <a:lnTo>
                    <a:pt x="104" y="239"/>
                  </a:lnTo>
                  <a:lnTo>
                    <a:pt x="102" y="239"/>
                  </a:lnTo>
                  <a:lnTo>
                    <a:pt x="102" y="241"/>
                  </a:lnTo>
                  <a:lnTo>
                    <a:pt x="100" y="241"/>
                  </a:lnTo>
                  <a:lnTo>
                    <a:pt x="100" y="239"/>
                  </a:lnTo>
                  <a:lnTo>
                    <a:pt x="100" y="238"/>
                  </a:lnTo>
                  <a:lnTo>
                    <a:pt x="99" y="238"/>
                  </a:lnTo>
                  <a:lnTo>
                    <a:pt x="99" y="239"/>
                  </a:lnTo>
                  <a:lnTo>
                    <a:pt x="99" y="241"/>
                  </a:lnTo>
                  <a:lnTo>
                    <a:pt x="100" y="243"/>
                  </a:lnTo>
                  <a:lnTo>
                    <a:pt x="100" y="244"/>
                  </a:lnTo>
                  <a:lnTo>
                    <a:pt x="100" y="243"/>
                  </a:lnTo>
                  <a:lnTo>
                    <a:pt x="99" y="243"/>
                  </a:lnTo>
                  <a:lnTo>
                    <a:pt x="97" y="243"/>
                  </a:lnTo>
                  <a:lnTo>
                    <a:pt x="97" y="244"/>
                  </a:lnTo>
                  <a:lnTo>
                    <a:pt x="99" y="243"/>
                  </a:lnTo>
                  <a:lnTo>
                    <a:pt x="99" y="244"/>
                  </a:lnTo>
                  <a:lnTo>
                    <a:pt x="99" y="246"/>
                  </a:lnTo>
                  <a:lnTo>
                    <a:pt x="99" y="247"/>
                  </a:lnTo>
                  <a:lnTo>
                    <a:pt x="97" y="247"/>
                  </a:lnTo>
                  <a:lnTo>
                    <a:pt x="97" y="246"/>
                  </a:lnTo>
                  <a:lnTo>
                    <a:pt x="96" y="246"/>
                  </a:lnTo>
                  <a:lnTo>
                    <a:pt x="94" y="246"/>
                  </a:lnTo>
                  <a:lnTo>
                    <a:pt x="94" y="247"/>
                  </a:lnTo>
                  <a:lnTo>
                    <a:pt x="96" y="247"/>
                  </a:lnTo>
                  <a:lnTo>
                    <a:pt x="96" y="246"/>
                  </a:lnTo>
                  <a:lnTo>
                    <a:pt x="96" y="247"/>
                  </a:lnTo>
                  <a:lnTo>
                    <a:pt x="94" y="247"/>
                  </a:lnTo>
                  <a:lnTo>
                    <a:pt x="96" y="249"/>
                  </a:lnTo>
                  <a:lnTo>
                    <a:pt x="96" y="251"/>
                  </a:lnTo>
                  <a:lnTo>
                    <a:pt x="97" y="251"/>
                  </a:lnTo>
                  <a:lnTo>
                    <a:pt x="96" y="251"/>
                  </a:lnTo>
                  <a:lnTo>
                    <a:pt x="97" y="249"/>
                  </a:lnTo>
                  <a:lnTo>
                    <a:pt x="96" y="249"/>
                  </a:lnTo>
                  <a:lnTo>
                    <a:pt x="97" y="249"/>
                  </a:lnTo>
                  <a:lnTo>
                    <a:pt x="97" y="251"/>
                  </a:lnTo>
                  <a:lnTo>
                    <a:pt x="97" y="252"/>
                  </a:lnTo>
                  <a:lnTo>
                    <a:pt x="96" y="252"/>
                  </a:lnTo>
                  <a:lnTo>
                    <a:pt x="94" y="252"/>
                  </a:lnTo>
                  <a:lnTo>
                    <a:pt x="94" y="251"/>
                  </a:lnTo>
                  <a:lnTo>
                    <a:pt x="96" y="252"/>
                  </a:lnTo>
                  <a:lnTo>
                    <a:pt x="96" y="251"/>
                  </a:lnTo>
                  <a:lnTo>
                    <a:pt x="94" y="251"/>
                  </a:lnTo>
                  <a:lnTo>
                    <a:pt x="94" y="252"/>
                  </a:lnTo>
                  <a:lnTo>
                    <a:pt x="92" y="252"/>
                  </a:lnTo>
                  <a:lnTo>
                    <a:pt x="94" y="252"/>
                  </a:lnTo>
                  <a:lnTo>
                    <a:pt x="94" y="254"/>
                  </a:lnTo>
                  <a:lnTo>
                    <a:pt x="94" y="256"/>
                  </a:lnTo>
                  <a:lnTo>
                    <a:pt x="92" y="256"/>
                  </a:lnTo>
                  <a:lnTo>
                    <a:pt x="91" y="256"/>
                  </a:lnTo>
                  <a:lnTo>
                    <a:pt x="89" y="256"/>
                  </a:lnTo>
                  <a:lnTo>
                    <a:pt x="89" y="254"/>
                  </a:lnTo>
                  <a:lnTo>
                    <a:pt x="87" y="254"/>
                  </a:lnTo>
                  <a:lnTo>
                    <a:pt x="87" y="252"/>
                  </a:lnTo>
                  <a:lnTo>
                    <a:pt x="87" y="254"/>
                  </a:lnTo>
                  <a:lnTo>
                    <a:pt x="87" y="256"/>
                  </a:lnTo>
                  <a:lnTo>
                    <a:pt x="89" y="257"/>
                  </a:lnTo>
                  <a:lnTo>
                    <a:pt x="89" y="259"/>
                  </a:lnTo>
                  <a:lnTo>
                    <a:pt x="87" y="259"/>
                  </a:lnTo>
                  <a:lnTo>
                    <a:pt x="87" y="260"/>
                  </a:lnTo>
                  <a:lnTo>
                    <a:pt x="87" y="262"/>
                  </a:lnTo>
                  <a:lnTo>
                    <a:pt x="87" y="264"/>
                  </a:lnTo>
                  <a:lnTo>
                    <a:pt x="86" y="264"/>
                  </a:lnTo>
                  <a:lnTo>
                    <a:pt x="87" y="264"/>
                  </a:lnTo>
                  <a:lnTo>
                    <a:pt x="86" y="265"/>
                  </a:lnTo>
                  <a:lnTo>
                    <a:pt x="87" y="265"/>
                  </a:lnTo>
                  <a:lnTo>
                    <a:pt x="86" y="265"/>
                  </a:lnTo>
                  <a:lnTo>
                    <a:pt x="86" y="267"/>
                  </a:lnTo>
                  <a:lnTo>
                    <a:pt x="84" y="265"/>
                  </a:lnTo>
                  <a:lnTo>
                    <a:pt x="84" y="267"/>
                  </a:lnTo>
                  <a:lnTo>
                    <a:pt x="84" y="265"/>
                  </a:lnTo>
                  <a:lnTo>
                    <a:pt x="83" y="265"/>
                  </a:lnTo>
                  <a:lnTo>
                    <a:pt x="83" y="267"/>
                  </a:lnTo>
                  <a:lnTo>
                    <a:pt x="81" y="267"/>
                  </a:lnTo>
                  <a:lnTo>
                    <a:pt x="81" y="269"/>
                  </a:lnTo>
                  <a:lnTo>
                    <a:pt x="81" y="270"/>
                  </a:lnTo>
                  <a:lnTo>
                    <a:pt x="81" y="272"/>
                  </a:lnTo>
                  <a:lnTo>
                    <a:pt x="79" y="272"/>
                  </a:lnTo>
                  <a:lnTo>
                    <a:pt x="78" y="272"/>
                  </a:lnTo>
                  <a:lnTo>
                    <a:pt x="76" y="272"/>
                  </a:lnTo>
                  <a:lnTo>
                    <a:pt x="74" y="272"/>
                  </a:lnTo>
                  <a:lnTo>
                    <a:pt x="73" y="272"/>
                  </a:lnTo>
                  <a:lnTo>
                    <a:pt x="71" y="272"/>
                  </a:lnTo>
                  <a:lnTo>
                    <a:pt x="71" y="273"/>
                  </a:lnTo>
                  <a:lnTo>
                    <a:pt x="73" y="275"/>
                  </a:lnTo>
                  <a:lnTo>
                    <a:pt x="74" y="277"/>
                  </a:lnTo>
                  <a:lnTo>
                    <a:pt x="74" y="278"/>
                  </a:lnTo>
                  <a:lnTo>
                    <a:pt x="76" y="278"/>
                  </a:lnTo>
                  <a:lnTo>
                    <a:pt x="76" y="280"/>
                  </a:lnTo>
                  <a:lnTo>
                    <a:pt x="74" y="280"/>
                  </a:lnTo>
                  <a:lnTo>
                    <a:pt x="74" y="282"/>
                  </a:lnTo>
                  <a:lnTo>
                    <a:pt x="73" y="282"/>
                  </a:lnTo>
                  <a:lnTo>
                    <a:pt x="73" y="280"/>
                  </a:lnTo>
                  <a:lnTo>
                    <a:pt x="71" y="282"/>
                  </a:lnTo>
                  <a:lnTo>
                    <a:pt x="71" y="280"/>
                  </a:lnTo>
                  <a:lnTo>
                    <a:pt x="70" y="280"/>
                  </a:lnTo>
                  <a:lnTo>
                    <a:pt x="70" y="278"/>
                  </a:lnTo>
                  <a:lnTo>
                    <a:pt x="70" y="280"/>
                  </a:lnTo>
                  <a:lnTo>
                    <a:pt x="70" y="278"/>
                  </a:lnTo>
                  <a:lnTo>
                    <a:pt x="68" y="278"/>
                  </a:lnTo>
                  <a:lnTo>
                    <a:pt x="68" y="280"/>
                  </a:lnTo>
                  <a:lnTo>
                    <a:pt x="68" y="278"/>
                  </a:lnTo>
                  <a:lnTo>
                    <a:pt x="68" y="277"/>
                  </a:lnTo>
                  <a:lnTo>
                    <a:pt x="66" y="277"/>
                  </a:lnTo>
                  <a:lnTo>
                    <a:pt x="65" y="277"/>
                  </a:lnTo>
                  <a:lnTo>
                    <a:pt x="66" y="277"/>
                  </a:lnTo>
                  <a:lnTo>
                    <a:pt x="65" y="277"/>
                  </a:lnTo>
                  <a:lnTo>
                    <a:pt x="66" y="280"/>
                  </a:lnTo>
                  <a:lnTo>
                    <a:pt x="65" y="282"/>
                  </a:lnTo>
                  <a:lnTo>
                    <a:pt x="65" y="280"/>
                  </a:lnTo>
                  <a:lnTo>
                    <a:pt x="63" y="280"/>
                  </a:lnTo>
                  <a:lnTo>
                    <a:pt x="61" y="282"/>
                  </a:lnTo>
                  <a:lnTo>
                    <a:pt x="61" y="280"/>
                  </a:lnTo>
                  <a:lnTo>
                    <a:pt x="60" y="280"/>
                  </a:lnTo>
                  <a:lnTo>
                    <a:pt x="60" y="278"/>
                  </a:lnTo>
                  <a:lnTo>
                    <a:pt x="60" y="280"/>
                  </a:lnTo>
                  <a:lnTo>
                    <a:pt x="60" y="278"/>
                  </a:lnTo>
                  <a:lnTo>
                    <a:pt x="58" y="278"/>
                  </a:lnTo>
                  <a:lnTo>
                    <a:pt x="58" y="280"/>
                  </a:lnTo>
                  <a:lnTo>
                    <a:pt x="58" y="282"/>
                  </a:lnTo>
                  <a:lnTo>
                    <a:pt x="58" y="283"/>
                  </a:lnTo>
                  <a:lnTo>
                    <a:pt x="56" y="283"/>
                  </a:lnTo>
                  <a:lnTo>
                    <a:pt x="56" y="282"/>
                  </a:lnTo>
                  <a:lnTo>
                    <a:pt x="56" y="280"/>
                  </a:lnTo>
                  <a:lnTo>
                    <a:pt x="55" y="280"/>
                  </a:lnTo>
                  <a:lnTo>
                    <a:pt x="53" y="280"/>
                  </a:lnTo>
                  <a:lnTo>
                    <a:pt x="53" y="282"/>
                  </a:lnTo>
                  <a:lnTo>
                    <a:pt x="53" y="283"/>
                  </a:lnTo>
                  <a:lnTo>
                    <a:pt x="52" y="285"/>
                  </a:lnTo>
                  <a:lnTo>
                    <a:pt x="50" y="283"/>
                  </a:lnTo>
                  <a:lnTo>
                    <a:pt x="50" y="285"/>
                  </a:lnTo>
                  <a:lnTo>
                    <a:pt x="52" y="285"/>
                  </a:lnTo>
                  <a:lnTo>
                    <a:pt x="50" y="285"/>
                  </a:lnTo>
                  <a:lnTo>
                    <a:pt x="48" y="285"/>
                  </a:lnTo>
                  <a:lnTo>
                    <a:pt x="47" y="285"/>
                  </a:lnTo>
                  <a:lnTo>
                    <a:pt x="45" y="286"/>
                  </a:lnTo>
                  <a:lnTo>
                    <a:pt x="43" y="288"/>
                  </a:lnTo>
                  <a:lnTo>
                    <a:pt x="42" y="290"/>
                  </a:lnTo>
                  <a:lnTo>
                    <a:pt x="40" y="291"/>
                  </a:lnTo>
                  <a:lnTo>
                    <a:pt x="40" y="295"/>
                  </a:lnTo>
                  <a:lnTo>
                    <a:pt x="40" y="296"/>
                  </a:lnTo>
                  <a:lnTo>
                    <a:pt x="42" y="296"/>
                  </a:lnTo>
                  <a:lnTo>
                    <a:pt x="42" y="298"/>
                  </a:lnTo>
                  <a:lnTo>
                    <a:pt x="42" y="299"/>
                  </a:lnTo>
                  <a:lnTo>
                    <a:pt x="42" y="301"/>
                  </a:lnTo>
                  <a:lnTo>
                    <a:pt x="42" y="303"/>
                  </a:lnTo>
                  <a:lnTo>
                    <a:pt x="42" y="304"/>
                  </a:lnTo>
                  <a:lnTo>
                    <a:pt x="40" y="306"/>
                  </a:lnTo>
                  <a:lnTo>
                    <a:pt x="40" y="308"/>
                  </a:lnTo>
                  <a:lnTo>
                    <a:pt x="40" y="306"/>
                  </a:lnTo>
                  <a:lnTo>
                    <a:pt x="42" y="306"/>
                  </a:lnTo>
                  <a:lnTo>
                    <a:pt x="40" y="308"/>
                  </a:lnTo>
                  <a:lnTo>
                    <a:pt x="42" y="309"/>
                  </a:lnTo>
                  <a:lnTo>
                    <a:pt x="42" y="311"/>
                  </a:lnTo>
                  <a:lnTo>
                    <a:pt x="40" y="312"/>
                  </a:lnTo>
                  <a:lnTo>
                    <a:pt x="40" y="314"/>
                  </a:lnTo>
                  <a:lnTo>
                    <a:pt x="39" y="316"/>
                  </a:lnTo>
                  <a:lnTo>
                    <a:pt x="40" y="317"/>
                  </a:lnTo>
                  <a:lnTo>
                    <a:pt x="42" y="319"/>
                  </a:lnTo>
                  <a:lnTo>
                    <a:pt x="42" y="321"/>
                  </a:lnTo>
                  <a:lnTo>
                    <a:pt x="40" y="321"/>
                  </a:lnTo>
                  <a:lnTo>
                    <a:pt x="40" y="322"/>
                  </a:lnTo>
                  <a:lnTo>
                    <a:pt x="39" y="324"/>
                  </a:lnTo>
                  <a:lnTo>
                    <a:pt x="37" y="324"/>
                  </a:lnTo>
                  <a:lnTo>
                    <a:pt x="37" y="325"/>
                  </a:lnTo>
                  <a:lnTo>
                    <a:pt x="35" y="327"/>
                  </a:lnTo>
                  <a:lnTo>
                    <a:pt x="35" y="329"/>
                  </a:lnTo>
                  <a:lnTo>
                    <a:pt x="34" y="329"/>
                  </a:lnTo>
                  <a:lnTo>
                    <a:pt x="34" y="330"/>
                  </a:lnTo>
                  <a:lnTo>
                    <a:pt x="32" y="330"/>
                  </a:lnTo>
                  <a:lnTo>
                    <a:pt x="32" y="332"/>
                  </a:lnTo>
                  <a:lnTo>
                    <a:pt x="30" y="332"/>
                  </a:lnTo>
                  <a:lnTo>
                    <a:pt x="29" y="332"/>
                  </a:lnTo>
                  <a:lnTo>
                    <a:pt x="29" y="330"/>
                  </a:lnTo>
                  <a:lnTo>
                    <a:pt x="27" y="330"/>
                  </a:lnTo>
                  <a:lnTo>
                    <a:pt x="27" y="329"/>
                  </a:lnTo>
                  <a:lnTo>
                    <a:pt x="27" y="327"/>
                  </a:lnTo>
                  <a:lnTo>
                    <a:pt x="26" y="329"/>
                  </a:lnTo>
                  <a:lnTo>
                    <a:pt x="26" y="327"/>
                  </a:lnTo>
                  <a:lnTo>
                    <a:pt x="26" y="325"/>
                  </a:lnTo>
                  <a:lnTo>
                    <a:pt x="26" y="324"/>
                  </a:lnTo>
                  <a:lnTo>
                    <a:pt x="26" y="322"/>
                  </a:lnTo>
                  <a:lnTo>
                    <a:pt x="27" y="324"/>
                  </a:lnTo>
                  <a:lnTo>
                    <a:pt x="27" y="322"/>
                  </a:lnTo>
                  <a:lnTo>
                    <a:pt x="27" y="321"/>
                  </a:lnTo>
                  <a:lnTo>
                    <a:pt x="27" y="319"/>
                  </a:lnTo>
                  <a:lnTo>
                    <a:pt x="29" y="319"/>
                  </a:lnTo>
                  <a:lnTo>
                    <a:pt x="29" y="317"/>
                  </a:lnTo>
                  <a:lnTo>
                    <a:pt x="27" y="316"/>
                  </a:lnTo>
                  <a:lnTo>
                    <a:pt x="29" y="316"/>
                  </a:lnTo>
                  <a:lnTo>
                    <a:pt x="29" y="314"/>
                  </a:lnTo>
                  <a:lnTo>
                    <a:pt x="29" y="312"/>
                  </a:lnTo>
                  <a:lnTo>
                    <a:pt x="30" y="312"/>
                  </a:lnTo>
                  <a:lnTo>
                    <a:pt x="29" y="311"/>
                  </a:lnTo>
                  <a:lnTo>
                    <a:pt x="30" y="311"/>
                  </a:lnTo>
                  <a:lnTo>
                    <a:pt x="29" y="309"/>
                  </a:lnTo>
                  <a:lnTo>
                    <a:pt x="30" y="309"/>
                  </a:lnTo>
                  <a:lnTo>
                    <a:pt x="30" y="308"/>
                  </a:lnTo>
                  <a:lnTo>
                    <a:pt x="32" y="308"/>
                  </a:lnTo>
                  <a:lnTo>
                    <a:pt x="30" y="306"/>
                  </a:lnTo>
                  <a:lnTo>
                    <a:pt x="32" y="306"/>
                  </a:lnTo>
                  <a:lnTo>
                    <a:pt x="32" y="308"/>
                  </a:lnTo>
                  <a:lnTo>
                    <a:pt x="34" y="308"/>
                  </a:lnTo>
                  <a:lnTo>
                    <a:pt x="34" y="309"/>
                  </a:lnTo>
                  <a:lnTo>
                    <a:pt x="35" y="309"/>
                  </a:lnTo>
                  <a:lnTo>
                    <a:pt x="37" y="309"/>
                  </a:lnTo>
                  <a:lnTo>
                    <a:pt x="37" y="308"/>
                  </a:lnTo>
                  <a:lnTo>
                    <a:pt x="37" y="306"/>
                  </a:lnTo>
                  <a:lnTo>
                    <a:pt x="35" y="306"/>
                  </a:lnTo>
                  <a:lnTo>
                    <a:pt x="35" y="304"/>
                  </a:lnTo>
                  <a:lnTo>
                    <a:pt x="37" y="304"/>
                  </a:lnTo>
                  <a:lnTo>
                    <a:pt x="37" y="303"/>
                  </a:lnTo>
                  <a:lnTo>
                    <a:pt x="37" y="301"/>
                  </a:lnTo>
                  <a:lnTo>
                    <a:pt x="37" y="299"/>
                  </a:lnTo>
                  <a:lnTo>
                    <a:pt x="39" y="299"/>
                  </a:lnTo>
                  <a:lnTo>
                    <a:pt x="39" y="298"/>
                  </a:lnTo>
                  <a:lnTo>
                    <a:pt x="39" y="296"/>
                  </a:lnTo>
                  <a:lnTo>
                    <a:pt x="37" y="295"/>
                  </a:lnTo>
                  <a:lnTo>
                    <a:pt x="37" y="296"/>
                  </a:lnTo>
                  <a:lnTo>
                    <a:pt x="35" y="296"/>
                  </a:lnTo>
                  <a:lnTo>
                    <a:pt x="34" y="296"/>
                  </a:lnTo>
                  <a:lnTo>
                    <a:pt x="32" y="296"/>
                  </a:lnTo>
                  <a:lnTo>
                    <a:pt x="32" y="295"/>
                  </a:lnTo>
                  <a:lnTo>
                    <a:pt x="30" y="295"/>
                  </a:lnTo>
                  <a:lnTo>
                    <a:pt x="29" y="295"/>
                  </a:lnTo>
                  <a:lnTo>
                    <a:pt x="29" y="293"/>
                  </a:lnTo>
                  <a:lnTo>
                    <a:pt x="27" y="293"/>
                  </a:lnTo>
                  <a:lnTo>
                    <a:pt x="27" y="295"/>
                  </a:lnTo>
                  <a:lnTo>
                    <a:pt x="26" y="295"/>
                  </a:lnTo>
                  <a:lnTo>
                    <a:pt x="26" y="293"/>
                  </a:lnTo>
                  <a:lnTo>
                    <a:pt x="26" y="291"/>
                  </a:lnTo>
                  <a:lnTo>
                    <a:pt x="24" y="291"/>
                  </a:lnTo>
                  <a:lnTo>
                    <a:pt x="24" y="290"/>
                  </a:lnTo>
                  <a:lnTo>
                    <a:pt x="24" y="288"/>
                  </a:lnTo>
                  <a:lnTo>
                    <a:pt x="22" y="288"/>
                  </a:lnTo>
                  <a:lnTo>
                    <a:pt x="22" y="286"/>
                  </a:lnTo>
                  <a:lnTo>
                    <a:pt x="21" y="286"/>
                  </a:lnTo>
                  <a:lnTo>
                    <a:pt x="21" y="285"/>
                  </a:lnTo>
                  <a:lnTo>
                    <a:pt x="19" y="285"/>
                  </a:lnTo>
                  <a:lnTo>
                    <a:pt x="19" y="286"/>
                  </a:lnTo>
                  <a:lnTo>
                    <a:pt x="19" y="288"/>
                  </a:lnTo>
                  <a:lnTo>
                    <a:pt x="21" y="288"/>
                  </a:lnTo>
                  <a:lnTo>
                    <a:pt x="19" y="288"/>
                  </a:lnTo>
                  <a:lnTo>
                    <a:pt x="19" y="286"/>
                  </a:lnTo>
                  <a:lnTo>
                    <a:pt x="17" y="286"/>
                  </a:lnTo>
                  <a:lnTo>
                    <a:pt x="17" y="288"/>
                  </a:lnTo>
                  <a:lnTo>
                    <a:pt x="17" y="286"/>
                  </a:lnTo>
                  <a:lnTo>
                    <a:pt x="16" y="286"/>
                  </a:lnTo>
                  <a:lnTo>
                    <a:pt x="14" y="286"/>
                  </a:lnTo>
                  <a:lnTo>
                    <a:pt x="13" y="286"/>
                  </a:lnTo>
                  <a:lnTo>
                    <a:pt x="11" y="286"/>
                  </a:lnTo>
                  <a:lnTo>
                    <a:pt x="11" y="285"/>
                  </a:lnTo>
                  <a:lnTo>
                    <a:pt x="9" y="285"/>
                  </a:lnTo>
                  <a:lnTo>
                    <a:pt x="9" y="283"/>
                  </a:lnTo>
                  <a:lnTo>
                    <a:pt x="9" y="285"/>
                  </a:lnTo>
                  <a:lnTo>
                    <a:pt x="8" y="285"/>
                  </a:lnTo>
                  <a:lnTo>
                    <a:pt x="8" y="283"/>
                  </a:lnTo>
                  <a:lnTo>
                    <a:pt x="6" y="283"/>
                  </a:lnTo>
                  <a:lnTo>
                    <a:pt x="6" y="282"/>
                  </a:lnTo>
                  <a:lnTo>
                    <a:pt x="6" y="280"/>
                  </a:lnTo>
                  <a:lnTo>
                    <a:pt x="4" y="278"/>
                  </a:lnTo>
                  <a:lnTo>
                    <a:pt x="6" y="278"/>
                  </a:lnTo>
                  <a:lnTo>
                    <a:pt x="8" y="278"/>
                  </a:lnTo>
                  <a:lnTo>
                    <a:pt x="9" y="280"/>
                  </a:lnTo>
                  <a:lnTo>
                    <a:pt x="11" y="280"/>
                  </a:lnTo>
                  <a:lnTo>
                    <a:pt x="11" y="278"/>
                  </a:lnTo>
                  <a:lnTo>
                    <a:pt x="11" y="277"/>
                  </a:lnTo>
                  <a:lnTo>
                    <a:pt x="9" y="277"/>
                  </a:lnTo>
                  <a:lnTo>
                    <a:pt x="9" y="275"/>
                  </a:lnTo>
                  <a:lnTo>
                    <a:pt x="8" y="275"/>
                  </a:lnTo>
                  <a:lnTo>
                    <a:pt x="8" y="273"/>
                  </a:lnTo>
                  <a:lnTo>
                    <a:pt x="9" y="273"/>
                  </a:lnTo>
                  <a:lnTo>
                    <a:pt x="8" y="273"/>
                  </a:lnTo>
                  <a:lnTo>
                    <a:pt x="9" y="273"/>
                  </a:lnTo>
                  <a:lnTo>
                    <a:pt x="11" y="273"/>
                  </a:lnTo>
                  <a:lnTo>
                    <a:pt x="11" y="275"/>
                  </a:lnTo>
                  <a:lnTo>
                    <a:pt x="13" y="275"/>
                  </a:lnTo>
                  <a:lnTo>
                    <a:pt x="11" y="275"/>
                  </a:lnTo>
                  <a:lnTo>
                    <a:pt x="13" y="277"/>
                  </a:lnTo>
                  <a:lnTo>
                    <a:pt x="14" y="277"/>
                  </a:lnTo>
                  <a:lnTo>
                    <a:pt x="14" y="275"/>
                  </a:lnTo>
                  <a:lnTo>
                    <a:pt x="14" y="273"/>
                  </a:lnTo>
                  <a:lnTo>
                    <a:pt x="13" y="272"/>
                  </a:lnTo>
                  <a:lnTo>
                    <a:pt x="13" y="270"/>
                  </a:lnTo>
                  <a:lnTo>
                    <a:pt x="14" y="272"/>
                  </a:lnTo>
                  <a:lnTo>
                    <a:pt x="16" y="272"/>
                  </a:lnTo>
                  <a:lnTo>
                    <a:pt x="14" y="272"/>
                  </a:lnTo>
                  <a:lnTo>
                    <a:pt x="16" y="273"/>
                  </a:lnTo>
                  <a:lnTo>
                    <a:pt x="16" y="272"/>
                  </a:lnTo>
                  <a:lnTo>
                    <a:pt x="16" y="273"/>
                  </a:lnTo>
                  <a:lnTo>
                    <a:pt x="16" y="272"/>
                  </a:lnTo>
                  <a:lnTo>
                    <a:pt x="17" y="272"/>
                  </a:lnTo>
                  <a:lnTo>
                    <a:pt x="16" y="270"/>
                  </a:lnTo>
                  <a:lnTo>
                    <a:pt x="17" y="270"/>
                  </a:lnTo>
                  <a:lnTo>
                    <a:pt x="17" y="269"/>
                  </a:lnTo>
                  <a:lnTo>
                    <a:pt x="17" y="270"/>
                  </a:lnTo>
                  <a:lnTo>
                    <a:pt x="16" y="270"/>
                  </a:lnTo>
                  <a:lnTo>
                    <a:pt x="16" y="269"/>
                  </a:lnTo>
                  <a:lnTo>
                    <a:pt x="14" y="269"/>
                  </a:lnTo>
                  <a:lnTo>
                    <a:pt x="16" y="269"/>
                  </a:lnTo>
                  <a:lnTo>
                    <a:pt x="17" y="269"/>
                  </a:lnTo>
                  <a:lnTo>
                    <a:pt x="19" y="269"/>
                  </a:lnTo>
                  <a:lnTo>
                    <a:pt x="17" y="267"/>
                  </a:lnTo>
                  <a:lnTo>
                    <a:pt x="16" y="267"/>
                  </a:lnTo>
                  <a:lnTo>
                    <a:pt x="16" y="265"/>
                  </a:lnTo>
                  <a:lnTo>
                    <a:pt x="14" y="265"/>
                  </a:lnTo>
                  <a:lnTo>
                    <a:pt x="16" y="265"/>
                  </a:lnTo>
                  <a:lnTo>
                    <a:pt x="14" y="265"/>
                  </a:lnTo>
                  <a:lnTo>
                    <a:pt x="14" y="264"/>
                  </a:lnTo>
                  <a:lnTo>
                    <a:pt x="14" y="265"/>
                  </a:lnTo>
                  <a:lnTo>
                    <a:pt x="14" y="264"/>
                  </a:lnTo>
                  <a:lnTo>
                    <a:pt x="13" y="264"/>
                  </a:lnTo>
                  <a:lnTo>
                    <a:pt x="13" y="262"/>
                  </a:lnTo>
                  <a:lnTo>
                    <a:pt x="11" y="262"/>
                  </a:lnTo>
                  <a:lnTo>
                    <a:pt x="11" y="260"/>
                  </a:lnTo>
                  <a:lnTo>
                    <a:pt x="9" y="259"/>
                  </a:lnTo>
                  <a:lnTo>
                    <a:pt x="8" y="259"/>
                  </a:lnTo>
                  <a:lnTo>
                    <a:pt x="8" y="257"/>
                  </a:lnTo>
                  <a:lnTo>
                    <a:pt x="6" y="256"/>
                  </a:lnTo>
                  <a:lnTo>
                    <a:pt x="6" y="254"/>
                  </a:lnTo>
                  <a:lnTo>
                    <a:pt x="4" y="256"/>
                  </a:lnTo>
                  <a:lnTo>
                    <a:pt x="3" y="256"/>
                  </a:lnTo>
                  <a:lnTo>
                    <a:pt x="3" y="254"/>
                  </a:lnTo>
                  <a:lnTo>
                    <a:pt x="1" y="254"/>
                  </a:lnTo>
                  <a:lnTo>
                    <a:pt x="1" y="252"/>
                  </a:lnTo>
                  <a:lnTo>
                    <a:pt x="3" y="252"/>
                  </a:lnTo>
                  <a:lnTo>
                    <a:pt x="4" y="254"/>
                  </a:lnTo>
                  <a:lnTo>
                    <a:pt x="6" y="254"/>
                  </a:lnTo>
                  <a:lnTo>
                    <a:pt x="8" y="252"/>
                  </a:lnTo>
                  <a:lnTo>
                    <a:pt x="6" y="251"/>
                  </a:lnTo>
                  <a:lnTo>
                    <a:pt x="6" y="249"/>
                  </a:lnTo>
                  <a:lnTo>
                    <a:pt x="6" y="247"/>
                  </a:lnTo>
                  <a:lnTo>
                    <a:pt x="8" y="247"/>
                  </a:lnTo>
                  <a:lnTo>
                    <a:pt x="9" y="249"/>
                  </a:lnTo>
                  <a:lnTo>
                    <a:pt x="11" y="249"/>
                  </a:lnTo>
                  <a:lnTo>
                    <a:pt x="13" y="247"/>
                  </a:lnTo>
                  <a:lnTo>
                    <a:pt x="14" y="249"/>
                  </a:lnTo>
                  <a:lnTo>
                    <a:pt x="17" y="254"/>
                  </a:lnTo>
                  <a:lnTo>
                    <a:pt x="17" y="256"/>
                  </a:lnTo>
                  <a:lnTo>
                    <a:pt x="19" y="256"/>
                  </a:lnTo>
                  <a:lnTo>
                    <a:pt x="19" y="257"/>
                  </a:lnTo>
                  <a:lnTo>
                    <a:pt x="21" y="259"/>
                  </a:lnTo>
                  <a:lnTo>
                    <a:pt x="21" y="260"/>
                  </a:lnTo>
                  <a:lnTo>
                    <a:pt x="22" y="260"/>
                  </a:lnTo>
                  <a:lnTo>
                    <a:pt x="24" y="260"/>
                  </a:lnTo>
                  <a:lnTo>
                    <a:pt x="24" y="259"/>
                  </a:lnTo>
                  <a:lnTo>
                    <a:pt x="24" y="257"/>
                  </a:lnTo>
                  <a:lnTo>
                    <a:pt x="22" y="257"/>
                  </a:lnTo>
                  <a:lnTo>
                    <a:pt x="24" y="256"/>
                  </a:lnTo>
                  <a:lnTo>
                    <a:pt x="22" y="256"/>
                  </a:lnTo>
                  <a:lnTo>
                    <a:pt x="22" y="254"/>
                  </a:lnTo>
                  <a:lnTo>
                    <a:pt x="22" y="252"/>
                  </a:lnTo>
                  <a:lnTo>
                    <a:pt x="22" y="251"/>
                  </a:lnTo>
                  <a:lnTo>
                    <a:pt x="24" y="247"/>
                  </a:lnTo>
                  <a:lnTo>
                    <a:pt x="26" y="249"/>
                  </a:lnTo>
                  <a:lnTo>
                    <a:pt x="26" y="247"/>
                  </a:lnTo>
                  <a:lnTo>
                    <a:pt x="26" y="246"/>
                  </a:lnTo>
                  <a:lnTo>
                    <a:pt x="27" y="246"/>
                  </a:lnTo>
                  <a:lnTo>
                    <a:pt x="27" y="244"/>
                  </a:lnTo>
                  <a:lnTo>
                    <a:pt x="27" y="243"/>
                  </a:lnTo>
                  <a:lnTo>
                    <a:pt x="27" y="241"/>
                  </a:lnTo>
                  <a:lnTo>
                    <a:pt x="29" y="241"/>
                  </a:lnTo>
                  <a:lnTo>
                    <a:pt x="30" y="243"/>
                  </a:lnTo>
                  <a:lnTo>
                    <a:pt x="30" y="244"/>
                  </a:lnTo>
                  <a:lnTo>
                    <a:pt x="30" y="247"/>
                  </a:lnTo>
                  <a:lnTo>
                    <a:pt x="32" y="247"/>
                  </a:lnTo>
                  <a:lnTo>
                    <a:pt x="32" y="249"/>
                  </a:lnTo>
                  <a:lnTo>
                    <a:pt x="32" y="247"/>
                  </a:lnTo>
                  <a:lnTo>
                    <a:pt x="35" y="247"/>
                  </a:lnTo>
                  <a:lnTo>
                    <a:pt x="35" y="246"/>
                  </a:lnTo>
                  <a:lnTo>
                    <a:pt x="35" y="244"/>
                  </a:lnTo>
                  <a:lnTo>
                    <a:pt x="35" y="243"/>
                  </a:lnTo>
                  <a:lnTo>
                    <a:pt x="35" y="241"/>
                  </a:lnTo>
                  <a:lnTo>
                    <a:pt x="34" y="239"/>
                  </a:lnTo>
                  <a:lnTo>
                    <a:pt x="34" y="241"/>
                  </a:lnTo>
                  <a:lnTo>
                    <a:pt x="34" y="243"/>
                  </a:lnTo>
                  <a:lnTo>
                    <a:pt x="34" y="241"/>
                  </a:lnTo>
                  <a:lnTo>
                    <a:pt x="34" y="239"/>
                  </a:lnTo>
                  <a:lnTo>
                    <a:pt x="32" y="238"/>
                  </a:lnTo>
                  <a:lnTo>
                    <a:pt x="32" y="236"/>
                  </a:lnTo>
                  <a:lnTo>
                    <a:pt x="34" y="236"/>
                  </a:lnTo>
                  <a:lnTo>
                    <a:pt x="35" y="236"/>
                  </a:lnTo>
                  <a:lnTo>
                    <a:pt x="35" y="234"/>
                  </a:lnTo>
                  <a:lnTo>
                    <a:pt x="37" y="234"/>
                  </a:lnTo>
                  <a:lnTo>
                    <a:pt x="39" y="234"/>
                  </a:lnTo>
                  <a:lnTo>
                    <a:pt x="40" y="234"/>
                  </a:lnTo>
                  <a:lnTo>
                    <a:pt x="42" y="233"/>
                  </a:lnTo>
                  <a:lnTo>
                    <a:pt x="43" y="233"/>
                  </a:lnTo>
                  <a:lnTo>
                    <a:pt x="45" y="233"/>
                  </a:lnTo>
                  <a:lnTo>
                    <a:pt x="47" y="231"/>
                  </a:lnTo>
                  <a:lnTo>
                    <a:pt x="48" y="230"/>
                  </a:lnTo>
                  <a:lnTo>
                    <a:pt x="48" y="228"/>
                  </a:lnTo>
                  <a:lnTo>
                    <a:pt x="48" y="226"/>
                  </a:lnTo>
                  <a:lnTo>
                    <a:pt x="48" y="225"/>
                  </a:lnTo>
                  <a:lnTo>
                    <a:pt x="48" y="223"/>
                  </a:lnTo>
                  <a:lnTo>
                    <a:pt x="48" y="225"/>
                  </a:lnTo>
                  <a:lnTo>
                    <a:pt x="50" y="225"/>
                  </a:lnTo>
                  <a:lnTo>
                    <a:pt x="50" y="223"/>
                  </a:lnTo>
                  <a:lnTo>
                    <a:pt x="48" y="223"/>
                  </a:lnTo>
                  <a:lnTo>
                    <a:pt x="50" y="223"/>
                  </a:lnTo>
                  <a:lnTo>
                    <a:pt x="52" y="223"/>
                  </a:lnTo>
                  <a:lnTo>
                    <a:pt x="56" y="230"/>
                  </a:lnTo>
                  <a:lnTo>
                    <a:pt x="58" y="230"/>
                  </a:lnTo>
                  <a:lnTo>
                    <a:pt x="60" y="230"/>
                  </a:lnTo>
                  <a:lnTo>
                    <a:pt x="61" y="230"/>
                  </a:lnTo>
                  <a:lnTo>
                    <a:pt x="61" y="228"/>
                  </a:lnTo>
                  <a:lnTo>
                    <a:pt x="61" y="226"/>
                  </a:lnTo>
                  <a:lnTo>
                    <a:pt x="63" y="226"/>
                  </a:lnTo>
                  <a:lnTo>
                    <a:pt x="65" y="226"/>
                  </a:lnTo>
                  <a:lnTo>
                    <a:pt x="63" y="228"/>
                  </a:lnTo>
                  <a:lnTo>
                    <a:pt x="65" y="228"/>
                  </a:lnTo>
                  <a:lnTo>
                    <a:pt x="65" y="230"/>
                  </a:lnTo>
                  <a:lnTo>
                    <a:pt x="66" y="230"/>
                  </a:lnTo>
                  <a:lnTo>
                    <a:pt x="68" y="230"/>
                  </a:lnTo>
                  <a:lnTo>
                    <a:pt x="66" y="228"/>
                  </a:lnTo>
                  <a:lnTo>
                    <a:pt x="68" y="228"/>
                  </a:lnTo>
                  <a:lnTo>
                    <a:pt x="68" y="226"/>
                  </a:lnTo>
                  <a:lnTo>
                    <a:pt x="68" y="225"/>
                  </a:lnTo>
                  <a:lnTo>
                    <a:pt x="68" y="223"/>
                  </a:lnTo>
                  <a:lnTo>
                    <a:pt x="68" y="221"/>
                  </a:lnTo>
                  <a:lnTo>
                    <a:pt x="70" y="221"/>
                  </a:lnTo>
                  <a:lnTo>
                    <a:pt x="73" y="221"/>
                  </a:lnTo>
                  <a:lnTo>
                    <a:pt x="74" y="221"/>
                  </a:lnTo>
                  <a:lnTo>
                    <a:pt x="74" y="220"/>
                  </a:lnTo>
                  <a:lnTo>
                    <a:pt x="76" y="221"/>
                  </a:lnTo>
                  <a:lnTo>
                    <a:pt x="78" y="221"/>
                  </a:lnTo>
                  <a:lnTo>
                    <a:pt x="79" y="221"/>
                  </a:lnTo>
                  <a:lnTo>
                    <a:pt x="81" y="221"/>
                  </a:lnTo>
                  <a:lnTo>
                    <a:pt x="83" y="221"/>
                  </a:lnTo>
                  <a:lnTo>
                    <a:pt x="84" y="223"/>
                  </a:lnTo>
                  <a:lnTo>
                    <a:pt x="86" y="223"/>
                  </a:lnTo>
                  <a:lnTo>
                    <a:pt x="87" y="225"/>
                  </a:lnTo>
                  <a:lnTo>
                    <a:pt x="89" y="225"/>
                  </a:lnTo>
                  <a:lnTo>
                    <a:pt x="89" y="226"/>
                  </a:lnTo>
                  <a:lnTo>
                    <a:pt x="91" y="226"/>
                  </a:lnTo>
                  <a:lnTo>
                    <a:pt x="92" y="226"/>
                  </a:lnTo>
                  <a:lnTo>
                    <a:pt x="94" y="228"/>
                  </a:lnTo>
                  <a:lnTo>
                    <a:pt x="94" y="226"/>
                  </a:lnTo>
                  <a:lnTo>
                    <a:pt x="96" y="226"/>
                  </a:lnTo>
                  <a:lnTo>
                    <a:pt x="96" y="228"/>
                  </a:lnTo>
                  <a:lnTo>
                    <a:pt x="96" y="226"/>
                  </a:lnTo>
                  <a:lnTo>
                    <a:pt x="97" y="225"/>
                  </a:lnTo>
                  <a:lnTo>
                    <a:pt x="97" y="223"/>
                  </a:lnTo>
                  <a:lnTo>
                    <a:pt x="96" y="223"/>
                  </a:lnTo>
                  <a:lnTo>
                    <a:pt x="96" y="225"/>
                  </a:lnTo>
                  <a:lnTo>
                    <a:pt x="94" y="225"/>
                  </a:lnTo>
                  <a:lnTo>
                    <a:pt x="94" y="223"/>
                  </a:lnTo>
                  <a:lnTo>
                    <a:pt x="92" y="223"/>
                  </a:lnTo>
                  <a:lnTo>
                    <a:pt x="91" y="223"/>
                  </a:lnTo>
                  <a:lnTo>
                    <a:pt x="91" y="221"/>
                  </a:lnTo>
                  <a:lnTo>
                    <a:pt x="89" y="221"/>
                  </a:lnTo>
                  <a:lnTo>
                    <a:pt x="89" y="220"/>
                  </a:lnTo>
                  <a:lnTo>
                    <a:pt x="89" y="218"/>
                  </a:lnTo>
                  <a:lnTo>
                    <a:pt x="91" y="218"/>
                  </a:lnTo>
                  <a:lnTo>
                    <a:pt x="91" y="216"/>
                  </a:lnTo>
                  <a:lnTo>
                    <a:pt x="92" y="218"/>
                  </a:lnTo>
                  <a:lnTo>
                    <a:pt x="94" y="216"/>
                  </a:lnTo>
                  <a:lnTo>
                    <a:pt x="94" y="215"/>
                  </a:lnTo>
                  <a:lnTo>
                    <a:pt x="94" y="213"/>
                  </a:lnTo>
                  <a:lnTo>
                    <a:pt x="92" y="213"/>
                  </a:lnTo>
                  <a:lnTo>
                    <a:pt x="94" y="213"/>
                  </a:lnTo>
                  <a:lnTo>
                    <a:pt x="92" y="212"/>
                  </a:lnTo>
                  <a:lnTo>
                    <a:pt x="92" y="210"/>
                  </a:lnTo>
                  <a:lnTo>
                    <a:pt x="94" y="210"/>
                  </a:lnTo>
                  <a:lnTo>
                    <a:pt x="92" y="210"/>
                  </a:lnTo>
                  <a:lnTo>
                    <a:pt x="94" y="208"/>
                  </a:lnTo>
                  <a:lnTo>
                    <a:pt x="94" y="210"/>
                  </a:lnTo>
                  <a:lnTo>
                    <a:pt x="96" y="208"/>
                  </a:lnTo>
                  <a:close/>
                  <a:moveTo>
                    <a:pt x="35" y="171"/>
                  </a:moveTo>
                  <a:lnTo>
                    <a:pt x="35" y="169"/>
                  </a:lnTo>
                  <a:lnTo>
                    <a:pt x="34" y="168"/>
                  </a:lnTo>
                  <a:lnTo>
                    <a:pt x="35" y="169"/>
                  </a:lnTo>
                  <a:lnTo>
                    <a:pt x="37" y="169"/>
                  </a:lnTo>
                  <a:lnTo>
                    <a:pt x="39" y="169"/>
                  </a:lnTo>
                  <a:lnTo>
                    <a:pt x="37" y="169"/>
                  </a:lnTo>
                  <a:lnTo>
                    <a:pt x="39" y="168"/>
                  </a:lnTo>
                  <a:lnTo>
                    <a:pt x="40" y="168"/>
                  </a:lnTo>
                  <a:lnTo>
                    <a:pt x="39" y="168"/>
                  </a:lnTo>
                  <a:lnTo>
                    <a:pt x="40" y="168"/>
                  </a:lnTo>
                  <a:lnTo>
                    <a:pt x="42" y="168"/>
                  </a:lnTo>
                  <a:lnTo>
                    <a:pt x="42" y="166"/>
                  </a:lnTo>
                  <a:lnTo>
                    <a:pt x="42" y="164"/>
                  </a:lnTo>
                  <a:lnTo>
                    <a:pt x="42" y="163"/>
                  </a:lnTo>
                  <a:lnTo>
                    <a:pt x="42" y="161"/>
                  </a:lnTo>
                  <a:lnTo>
                    <a:pt x="40" y="160"/>
                  </a:lnTo>
                  <a:lnTo>
                    <a:pt x="40" y="158"/>
                  </a:lnTo>
                  <a:lnTo>
                    <a:pt x="42" y="158"/>
                  </a:lnTo>
                  <a:lnTo>
                    <a:pt x="43" y="160"/>
                  </a:lnTo>
                  <a:lnTo>
                    <a:pt x="45" y="158"/>
                  </a:lnTo>
                  <a:lnTo>
                    <a:pt x="47" y="158"/>
                  </a:lnTo>
                  <a:lnTo>
                    <a:pt x="47" y="160"/>
                  </a:lnTo>
                  <a:lnTo>
                    <a:pt x="50" y="160"/>
                  </a:lnTo>
                  <a:lnTo>
                    <a:pt x="50" y="161"/>
                  </a:lnTo>
                  <a:lnTo>
                    <a:pt x="50" y="160"/>
                  </a:lnTo>
                  <a:lnTo>
                    <a:pt x="50" y="161"/>
                  </a:lnTo>
                  <a:lnTo>
                    <a:pt x="48" y="161"/>
                  </a:lnTo>
                  <a:lnTo>
                    <a:pt x="48" y="163"/>
                  </a:lnTo>
                  <a:lnTo>
                    <a:pt x="50" y="163"/>
                  </a:lnTo>
                  <a:lnTo>
                    <a:pt x="50" y="164"/>
                  </a:lnTo>
                  <a:lnTo>
                    <a:pt x="50" y="166"/>
                  </a:lnTo>
                  <a:lnTo>
                    <a:pt x="50" y="168"/>
                  </a:lnTo>
                  <a:lnTo>
                    <a:pt x="52" y="168"/>
                  </a:lnTo>
                  <a:lnTo>
                    <a:pt x="53" y="169"/>
                  </a:lnTo>
                  <a:lnTo>
                    <a:pt x="55" y="168"/>
                  </a:lnTo>
                  <a:lnTo>
                    <a:pt x="56" y="168"/>
                  </a:lnTo>
                  <a:lnTo>
                    <a:pt x="58" y="168"/>
                  </a:lnTo>
                  <a:lnTo>
                    <a:pt x="58" y="169"/>
                  </a:lnTo>
                  <a:lnTo>
                    <a:pt x="58" y="168"/>
                  </a:lnTo>
                  <a:lnTo>
                    <a:pt x="60" y="169"/>
                  </a:lnTo>
                  <a:lnTo>
                    <a:pt x="60" y="168"/>
                  </a:lnTo>
                  <a:lnTo>
                    <a:pt x="61" y="169"/>
                  </a:lnTo>
                  <a:lnTo>
                    <a:pt x="61" y="168"/>
                  </a:lnTo>
                  <a:lnTo>
                    <a:pt x="63" y="168"/>
                  </a:lnTo>
                  <a:lnTo>
                    <a:pt x="65" y="169"/>
                  </a:lnTo>
                  <a:lnTo>
                    <a:pt x="66" y="171"/>
                  </a:lnTo>
                  <a:lnTo>
                    <a:pt x="66" y="169"/>
                  </a:lnTo>
                  <a:lnTo>
                    <a:pt x="68" y="171"/>
                  </a:lnTo>
                  <a:lnTo>
                    <a:pt x="70" y="169"/>
                  </a:lnTo>
                  <a:lnTo>
                    <a:pt x="70" y="171"/>
                  </a:lnTo>
                  <a:lnTo>
                    <a:pt x="71" y="173"/>
                  </a:lnTo>
                  <a:lnTo>
                    <a:pt x="71" y="174"/>
                  </a:lnTo>
                  <a:lnTo>
                    <a:pt x="71" y="176"/>
                  </a:lnTo>
                  <a:lnTo>
                    <a:pt x="73" y="176"/>
                  </a:lnTo>
                  <a:lnTo>
                    <a:pt x="73" y="177"/>
                  </a:lnTo>
                  <a:lnTo>
                    <a:pt x="74" y="177"/>
                  </a:lnTo>
                  <a:lnTo>
                    <a:pt x="76" y="177"/>
                  </a:lnTo>
                  <a:lnTo>
                    <a:pt x="76" y="179"/>
                  </a:lnTo>
                  <a:lnTo>
                    <a:pt x="78" y="179"/>
                  </a:lnTo>
                  <a:lnTo>
                    <a:pt x="78" y="181"/>
                  </a:lnTo>
                  <a:lnTo>
                    <a:pt x="79" y="181"/>
                  </a:lnTo>
                  <a:lnTo>
                    <a:pt x="79" y="182"/>
                  </a:lnTo>
                  <a:lnTo>
                    <a:pt x="78" y="182"/>
                  </a:lnTo>
                  <a:lnTo>
                    <a:pt x="79" y="182"/>
                  </a:lnTo>
                  <a:lnTo>
                    <a:pt x="79" y="184"/>
                  </a:lnTo>
                  <a:lnTo>
                    <a:pt x="81" y="184"/>
                  </a:lnTo>
                  <a:lnTo>
                    <a:pt x="81" y="186"/>
                  </a:lnTo>
                  <a:lnTo>
                    <a:pt x="83" y="187"/>
                  </a:lnTo>
                  <a:lnTo>
                    <a:pt x="83" y="189"/>
                  </a:lnTo>
                  <a:lnTo>
                    <a:pt x="81" y="190"/>
                  </a:lnTo>
                  <a:lnTo>
                    <a:pt x="79" y="190"/>
                  </a:lnTo>
                  <a:lnTo>
                    <a:pt x="79" y="189"/>
                  </a:lnTo>
                  <a:lnTo>
                    <a:pt x="79" y="187"/>
                  </a:lnTo>
                  <a:lnTo>
                    <a:pt x="78" y="189"/>
                  </a:lnTo>
                  <a:lnTo>
                    <a:pt x="76" y="187"/>
                  </a:lnTo>
                  <a:lnTo>
                    <a:pt x="74" y="187"/>
                  </a:lnTo>
                  <a:lnTo>
                    <a:pt x="74" y="189"/>
                  </a:lnTo>
                  <a:lnTo>
                    <a:pt x="73" y="187"/>
                  </a:lnTo>
                  <a:lnTo>
                    <a:pt x="74" y="189"/>
                  </a:lnTo>
                  <a:lnTo>
                    <a:pt x="74" y="190"/>
                  </a:lnTo>
                  <a:lnTo>
                    <a:pt x="73" y="190"/>
                  </a:lnTo>
                  <a:lnTo>
                    <a:pt x="73" y="189"/>
                  </a:lnTo>
                  <a:lnTo>
                    <a:pt x="73" y="187"/>
                  </a:lnTo>
                  <a:lnTo>
                    <a:pt x="71" y="187"/>
                  </a:lnTo>
                  <a:lnTo>
                    <a:pt x="71" y="189"/>
                  </a:lnTo>
                  <a:lnTo>
                    <a:pt x="71" y="190"/>
                  </a:lnTo>
                  <a:lnTo>
                    <a:pt x="73" y="190"/>
                  </a:lnTo>
                  <a:lnTo>
                    <a:pt x="73" y="192"/>
                  </a:lnTo>
                  <a:lnTo>
                    <a:pt x="71" y="192"/>
                  </a:lnTo>
                  <a:lnTo>
                    <a:pt x="71" y="190"/>
                  </a:lnTo>
                  <a:lnTo>
                    <a:pt x="71" y="192"/>
                  </a:lnTo>
                  <a:lnTo>
                    <a:pt x="70" y="192"/>
                  </a:lnTo>
                  <a:lnTo>
                    <a:pt x="70" y="194"/>
                  </a:lnTo>
                  <a:lnTo>
                    <a:pt x="70" y="195"/>
                  </a:lnTo>
                  <a:lnTo>
                    <a:pt x="71" y="197"/>
                  </a:lnTo>
                  <a:lnTo>
                    <a:pt x="70" y="197"/>
                  </a:lnTo>
                  <a:lnTo>
                    <a:pt x="70" y="199"/>
                  </a:lnTo>
                  <a:lnTo>
                    <a:pt x="70" y="197"/>
                  </a:lnTo>
                  <a:lnTo>
                    <a:pt x="68" y="197"/>
                  </a:lnTo>
                  <a:lnTo>
                    <a:pt x="68" y="199"/>
                  </a:lnTo>
                  <a:lnTo>
                    <a:pt x="66" y="200"/>
                  </a:lnTo>
                  <a:lnTo>
                    <a:pt x="66" y="202"/>
                  </a:lnTo>
                  <a:lnTo>
                    <a:pt x="65" y="202"/>
                  </a:lnTo>
                  <a:lnTo>
                    <a:pt x="66" y="202"/>
                  </a:lnTo>
                  <a:lnTo>
                    <a:pt x="66" y="200"/>
                  </a:lnTo>
                  <a:lnTo>
                    <a:pt x="65" y="200"/>
                  </a:lnTo>
                  <a:lnTo>
                    <a:pt x="66" y="200"/>
                  </a:lnTo>
                  <a:lnTo>
                    <a:pt x="65" y="200"/>
                  </a:lnTo>
                  <a:lnTo>
                    <a:pt x="63" y="200"/>
                  </a:lnTo>
                  <a:lnTo>
                    <a:pt x="63" y="199"/>
                  </a:lnTo>
                  <a:lnTo>
                    <a:pt x="61" y="199"/>
                  </a:lnTo>
                  <a:lnTo>
                    <a:pt x="60" y="197"/>
                  </a:lnTo>
                  <a:lnTo>
                    <a:pt x="60" y="199"/>
                  </a:lnTo>
                  <a:lnTo>
                    <a:pt x="60" y="197"/>
                  </a:lnTo>
                  <a:lnTo>
                    <a:pt x="58" y="199"/>
                  </a:lnTo>
                  <a:lnTo>
                    <a:pt x="60" y="199"/>
                  </a:lnTo>
                  <a:lnTo>
                    <a:pt x="58" y="200"/>
                  </a:lnTo>
                  <a:lnTo>
                    <a:pt x="58" y="202"/>
                  </a:lnTo>
                  <a:lnTo>
                    <a:pt x="60" y="202"/>
                  </a:lnTo>
                  <a:lnTo>
                    <a:pt x="60" y="203"/>
                  </a:lnTo>
                  <a:lnTo>
                    <a:pt x="58" y="205"/>
                  </a:lnTo>
                  <a:lnTo>
                    <a:pt x="58" y="208"/>
                  </a:lnTo>
                  <a:lnTo>
                    <a:pt x="58" y="210"/>
                  </a:lnTo>
                  <a:lnTo>
                    <a:pt x="56" y="212"/>
                  </a:lnTo>
                  <a:lnTo>
                    <a:pt x="56" y="213"/>
                  </a:lnTo>
                  <a:lnTo>
                    <a:pt x="55" y="213"/>
                  </a:lnTo>
                  <a:lnTo>
                    <a:pt x="53" y="215"/>
                  </a:lnTo>
                  <a:lnTo>
                    <a:pt x="52" y="215"/>
                  </a:lnTo>
                  <a:lnTo>
                    <a:pt x="50" y="215"/>
                  </a:lnTo>
                  <a:lnTo>
                    <a:pt x="50" y="216"/>
                  </a:lnTo>
                  <a:lnTo>
                    <a:pt x="47" y="215"/>
                  </a:lnTo>
                  <a:lnTo>
                    <a:pt x="47" y="216"/>
                  </a:lnTo>
                  <a:lnTo>
                    <a:pt x="47" y="215"/>
                  </a:lnTo>
                  <a:lnTo>
                    <a:pt x="45" y="215"/>
                  </a:lnTo>
                  <a:lnTo>
                    <a:pt x="43" y="215"/>
                  </a:lnTo>
                  <a:lnTo>
                    <a:pt x="43" y="213"/>
                  </a:lnTo>
                  <a:lnTo>
                    <a:pt x="42" y="213"/>
                  </a:lnTo>
                  <a:lnTo>
                    <a:pt x="42" y="212"/>
                  </a:lnTo>
                  <a:lnTo>
                    <a:pt x="43" y="212"/>
                  </a:lnTo>
                  <a:lnTo>
                    <a:pt x="43" y="210"/>
                  </a:lnTo>
                  <a:lnTo>
                    <a:pt x="42" y="210"/>
                  </a:lnTo>
                  <a:lnTo>
                    <a:pt x="42" y="208"/>
                  </a:lnTo>
                  <a:lnTo>
                    <a:pt x="40" y="208"/>
                  </a:lnTo>
                  <a:lnTo>
                    <a:pt x="42" y="207"/>
                  </a:lnTo>
                  <a:lnTo>
                    <a:pt x="42" y="205"/>
                  </a:lnTo>
                  <a:lnTo>
                    <a:pt x="40" y="203"/>
                  </a:lnTo>
                  <a:lnTo>
                    <a:pt x="39" y="203"/>
                  </a:lnTo>
                  <a:lnTo>
                    <a:pt x="40" y="202"/>
                  </a:lnTo>
                  <a:lnTo>
                    <a:pt x="40" y="200"/>
                  </a:lnTo>
                  <a:lnTo>
                    <a:pt x="39" y="200"/>
                  </a:lnTo>
                  <a:lnTo>
                    <a:pt x="37" y="200"/>
                  </a:lnTo>
                  <a:lnTo>
                    <a:pt x="39" y="200"/>
                  </a:lnTo>
                  <a:lnTo>
                    <a:pt x="39" y="199"/>
                  </a:lnTo>
                  <a:lnTo>
                    <a:pt x="39" y="197"/>
                  </a:lnTo>
                  <a:lnTo>
                    <a:pt x="39" y="195"/>
                  </a:lnTo>
                  <a:lnTo>
                    <a:pt x="37" y="194"/>
                  </a:lnTo>
                  <a:lnTo>
                    <a:pt x="35" y="194"/>
                  </a:lnTo>
                  <a:lnTo>
                    <a:pt x="35" y="192"/>
                  </a:lnTo>
                  <a:lnTo>
                    <a:pt x="34" y="190"/>
                  </a:lnTo>
                  <a:lnTo>
                    <a:pt x="32" y="190"/>
                  </a:lnTo>
                  <a:lnTo>
                    <a:pt x="32" y="189"/>
                  </a:lnTo>
                  <a:lnTo>
                    <a:pt x="30" y="189"/>
                  </a:lnTo>
                  <a:lnTo>
                    <a:pt x="29" y="189"/>
                  </a:lnTo>
                  <a:lnTo>
                    <a:pt x="27" y="190"/>
                  </a:lnTo>
                  <a:lnTo>
                    <a:pt x="26" y="192"/>
                  </a:lnTo>
                  <a:lnTo>
                    <a:pt x="26" y="190"/>
                  </a:lnTo>
                  <a:lnTo>
                    <a:pt x="24" y="190"/>
                  </a:lnTo>
                  <a:lnTo>
                    <a:pt x="22" y="190"/>
                  </a:lnTo>
                  <a:lnTo>
                    <a:pt x="22" y="192"/>
                  </a:lnTo>
                  <a:lnTo>
                    <a:pt x="21" y="192"/>
                  </a:lnTo>
                  <a:lnTo>
                    <a:pt x="19" y="192"/>
                  </a:lnTo>
                  <a:lnTo>
                    <a:pt x="19" y="194"/>
                  </a:lnTo>
                  <a:lnTo>
                    <a:pt x="17" y="194"/>
                  </a:lnTo>
                  <a:lnTo>
                    <a:pt x="16" y="194"/>
                  </a:lnTo>
                  <a:lnTo>
                    <a:pt x="16" y="192"/>
                  </a:lnTo>
                  <a:lnTo>
                    <a:pt x="14" y="192"/>
                  </a:lnTo>
                  <a:lnTo>
                    <a:pt x="13" y="190"/>
                  </a:lnTo>
                  <a:lnTo>
                    <a:pt x="11" y="190"/>
                  </a:lnTo>
                  <a:lnTo>
                    <a:pt x="9" y="189"/>
                  </a:lnTo>
                  <a:lnTo>
                    <a:pt x="8" y="190"/>
                  </a:lnTo>
                  <a:lnTo>
                    <a:pt x="8" y="189"/>
                  </a:lnTo>
                  <a:lnTo>
                    <a:pt x="6" y="189"/>
                  </a:lnTo>
                  <a:lnTo>
                    <a:pt x="4" y="189"/>
                  </a:lnTo>
                  <a:lnTo>
                    <a:pt x="6" y="187"/>
                  </a:lnTo>
                  <a:lnTo>
                    <a:pt x="4" y="187"/>
                  </a:lnTo>
                  <a:lnTo>
                    <a:pt x="6" y="186"/>
                  </a:lnTo>
                  <a:lnTo>
                    <a:pt x="8" y="186"/>
                  </a:lnTo>
                  <a:lnTo>
                    <a:pt x="9" y="186"/>
                  </a:lnTo>
                  <a:lnTo>
                    <a:pt x="11" y="186"/>
                  </a:lnTo>
                  <a:lnTo>
                    <a:pt x="13" y="186"/>
                  </a:lnTo>
                  <a:lnTo>
                    <a:pt x="14" y="186"/>
                  </a:lnTo>
                  <a:lnTo>
                    <a:pt x="16" y="186"/>
                  </a:lnTo>
                  <a:lnTo>
                    <a:pt x="17" y="186"/>
                  </a:lnTo>
                  <a:lnTo>
                    <a:pt x="19" y="186"/>
                  </a:lnTo>
                  <a:lnTo>
                    <a:pt x="19" y="184"/>
                  </a:lnTo>
                  <a:lnTo>
                    <a:pt x="21" y="184"/>
                  </a:lnTo>
                  <a:lnTo>
                    <a:pt x="22" y="182"/>
                  </a:lnTo>
                  <a:lnTo>
                    <a:pt x="24" y="182"/>
                  </a:lnTo>
                  <a:lnTo>
                    <a:pt x="26" y="182"/>
                  </a:lnTo>
                  <a:lnTo>
                    <a:pt x="27" y="182"/>
                  </a:lnTo>
                  <a:lnTo>
                    <a:pt x="27" y="184"/>
                  </a:lnTo>
                  <a:lnTo>
                    <a:pt x="29" y="184"/>
                  </a:lnTo>
                  <a:lnTo>
                    <a:pt x="30" y="184"/>
                  </a:lnTo>
                  <a:lnTo>
                    <a:pt x="30" y="182"/>
                  </a:lnTo>
                  <a:lnTo>
                    <a:pt x="32" y="182"/>
                  </a:lnTo>
                  <a:lnTo>
                    <a:pt x="32" y="181"/>
                  </a:lnTo>
                  <a:lnTo>
                    <a:pt x="32" y="179"/>
                  </a:lnTo>
                  <a:lnTo>
                    <a:pt x="32" y="181"/>
                  </a:lnTo>
                  <a:lnTo>
                    <a:pt x="32" y="179"/>
                  </a:lnTo>
                  <a:lnTo>
                    <a:pt x="32" y="177"/>
                  </a:lnTo>
                  <a:lnTo>
                    <a:pt x="32" y="179"/>
                  </a:lnTo>
                  <a:lnTo>
                    <a:pt x="34" y="179"/>
                  </a:lnTo>
                  <a:lnTo>
                    <a:pt x="35" y="179"/>
                  </a:lnTo>
                  <a:lnTo>
                    <a:pt x="34" y="177"/>
                  </a:lnTo>
                  <a:lnTo>
                    <a:pt x="35" y="179"/>
                  </a:lnTo>
                  <a:lnTo>
                    <a:pt x="35" y="177"/>
                  </a:lnTo>
                  <a:lnTo>
                    <a:pt x="34" y="177"/>
                  </a:lnTo>
                  <a:lnTo>
                    <a:pt x="34" y="176"/>
                  </a:lnTo>
                  <a:lnTo>
                    <a:pt x="32" y="174"/>
                  </a:lnTo>
                  <a:lnTo>
                    <a:pt x="34" y="174"/>
                  </a:lnTo>
                  <a:lnTo>
                    <a:pt x="35" y="174"/>
                  </a:lnTo>
                  <a:lnTo>
                    <a:pt x="37" y="176"/>
                  </a:lnTo>
                  <a:lnTo>
                    <a:pt x="37" y="174"/>
                  </a:lnTo>
                  <a:lnTo>
                    <a:pt x="35" y="174"/>
                  </a:lnTo>
                  <a:lnTo>
                    <a:pt x="35" y="173"/>
                  </a:lnTo>
                  <a:lnTo>
                    <a:pt x="37" y="173"/>
                  </a:lnTo>
                  <a:lnTo>
                    <a:pt x="35" y="173"/>
                  </a:lnTo>
                  <a:lnTo>
                    <a:pt x="35" y="171"/>
                  </a:lnTo>
                  <a:close/>
                  <a:moveTo>
                    <a:pt x="86" y="156"/>
                  </a:moveTo>
                  <a:lnTo>
                    <a:pt x="86" y="158"/>
                  </a:lnTo>
                  <a:lnTo>
                    <a:pt x="87" y="158"/>
                  </a:lnTo>
                  <a:lnTo>
                    <a:pt x="89" y="158"/>
                  </a:lnTo>
                  <a:lnTo>
                    <a:pt x="89" y="156"/>
                  </a:lnTo>
                  <a:lnTo>
                    <a:pt x="89" y="158"/>
                  </a:lnTo>
                  <a:lnTo>
                    <a:pt x="91" y="158"/>
                  </a:lnTo>
                  <a:lnTo>
                    <a:pt x="92" y="158"/>
                  </a:lnTo>
                  <a:lnTo>
                    <a:pt x="92" y="160"/>
                  </a:lnTo>
                  <a:lnTo>
                    <a:pt x="92" y="158"/>
                  </a:lnTo>
                  <a:lnTo>
                    <a:pt x="94" y="158"/>
                  </a:lnTo>
                  <a:lnTo>
                    <a:pt x="94" y="156"/>
                  </a:lnTo>
                  <a:lnTo>
                    <a:pt x="96" y="156"/>
                  </a:lnTo>
                  <a:lnTo>
                    <a:pt x="96" y="158"/>
                  </a:lnTo>
                  <a:lnTo>
                    <a:pt x="96" y="156"/>
                  </a:lnTo>
                  <a:lnTo>
                    <a:pt x="97" y="156"/>
                  </a:lnTo>
                  <a:lnTo>
                    <a:pt x="96" y="156"/>
                  </a:lnTo>
                  <a:lnTo>
                    <a:pt x="97" y="156"/>
                  </a:lnTo>
                  <a:lnTo>
                    <a:pt x="99" y="158"/>
                  </a:lnTo>
                  <a:lnTo>
                    <a:pt x="100" y="158"/>
                  </a:lnTo>
                  <a:lnTo>
                    <a:pt x="99" y="160"/>
                  </a:lnTo>
                  <a:lnTo>
                    <a:pt x="100" y="160"/>
                  </a:lnTo>
                  <a:lnTo>
                    <a:pt x="100" y="161"/>
                  </a:lnTo>
                  <a:lnTo>
                    <a:pt x="102" y="161"/>
                  </a:lnTo>
                  <a:lnTo>
                    <a:pt x="102" y="163"/>
                  </a:lnTo>
                  <a:lnTo>
                    <a:pt x="102" y="164"/>
                  </a:lnTo>
                  <a:lnTo>
                    <a:pt x="100" y="164"/>
                  </a:lnTo>
                  <a:lnTo>
                    <a:pt x="99" y="163"/>
                  </a:lnTo>
                  <a:lnTo>
                    <a:pt x="99" y="164"/>
                  </a:lnTo>
                  <a:lnTo>
                    <a:pt x="97" y="164"/>
                  </a:lnTo>
                  <a:lnTo>
                    <a:pt x="99" y="164"/>
                  </a:lnTo>
                  <a:lnTo>
                    <a:pt x="97" y="164"/>
                  </a:lnTo>
                  <a:lnTo>
                    <a:pt x="97" y="166"/>
                  </a:lnTo>
                  <a:lnTo>
                    <a:pt x="97" y="164"/>
                  </a:lnTo>
                  <a:lnTo>
                    <a:pt x="97" y="166"/>
                  </a:lnTo>
                  <a:lnTo>
                    <a:pt x="96" y="166"/>
                  </a:lnTo>
                  <a:lnTo>
                    <a:pt x="96" y="164"/>
                  </a:lnTo>
                  <a:lnTo>
                    <a:pt x="96" y="166"/>
                  </a:lnTo>
                  <a:lnTo>
                    <a:pt x="96" y="168"/>
                  </a:lnTo>
                  <a:lnTo>
                    <a:pt x="97" y="168"/>
                  </a:lnTo>
                  <a:lnTo>
                    <a:pt x="96" y="168"/>
                  </a:lnTo>
                  <a:lnTo>
                    <a:pt x="94" y="166"/>
                  </a:lnTo>
                  <a:lnTo>
                    <a:pt x="92" y="166"/>
                  </a:lnTo>
                  <a:lnTo>
                    <a:pt x="92" y="164"/>
                  </a:lnTo>
                  <a:lnTo>
                    <a:pt x="91" y="164"/>
                  </a:lnTo>
                  <a:lnTo>
                    <a:pt x="91" y="166"/>
                  </a:lnTo>
                  <a:lnTo>
                    <a:pt x="89" y="164"/>
                  </a:lnTo>
                  <a:lnTo>
                    <a:pt x="89" y="166"/>
                  </a:lnTo>
                  <a:lnTo>
                    <a:pt x="91" y="168"/>
                  </a:lnTo>
                  <a:lnTo>
                    <a:pt x="89" y="168"/>
                  </a:lnTo>
                  <a:lnTo>
                    <a:pt x="87" y="166"/>
                  </a:lnTo>
                  <a:lnTo>
                    <a:pt x="87" y="168"/>
                  </a:lnTo>
                  <a:lnTo>
                    <a:pt x="89" y="169"/>
                  </a:lnTo>
                  <a:lnTo>
                    <a:pt x="87" y="168"/>
                  </a:lnTo>
                  <a:lnTo>
                    <a:pt x="87" y="169"/>
                  </a:lnTo>
                  <a:lnTo>
                    <a:pt x="86" y="169"/>
                  </a:lnTo>
                  <a:lnTo>
                    <a:pt x="86" y="168"/>
                  </a:lnTo>
                  <a:lnTo>
                    <a:pt x="86" y="166"/>
                  </a:lnTo>
                  <a:lnTo>
                    <a:pt x="86" y="168"/>
                  </a:lnTo>
                  <a:lnTo>
                    <a:pt x="86" y="166"/>
                  </a:lnTo>
                  <a:lnTo>
                    <a:pt x="84" y="164"/>
                  </a:lnTo>
                  <a:lnTo>
                    <a:pt x="83" y="164"/>
                  </a:lnTo>
                  <a:lnTo>
                    <a:pt x="83" y="163"/>
                  </a:lnTo>
                  <a:lnTo>
                    <a:pt x="81" y="161"/>
                  </a:lnTo>
                  <a:lnTo>
                    <a:pt x="81" y="160"/>
                  </a:lnTo>
                  <a:lnTo>
                    <a:pt x="83" y="160"/>
                  </a:lnTo>
                  <a:lnTo>
                    <a:pt x="83" y="158"/>
                  </a:lnTo>
                  <a:lnTo>
                    <a:pt x="84" y="158"/>
                  </a:lnTo>
                  <a:lnTo>
                    <a:pt x="84" y="156"/>
                  </a:lnTo>
                  <a:lnTo>
                    <a:pt x="86" y="156"/>
                  </a:lnTo>
                  <a:close/>
                  <a:moveTo>
                    <a:pt x="169" y="68"/>
                  </a:moveTo>
                  <a:lnTo>
                    <a:pt x="167" y="68"/>
                  </a:lnTo>
                  <a:lnTo>
                    <a:pt x="165" y="67"/>
                  </a:lnTo>
                  <a:lnTo>
                    <a:pt x="164" y="67"/>
                  </a:lnTo>
                  <a:lnTo>
                    <a:pt x="164" y="65"/>
                  </a:lnTo>
                  <a:lnTo>
                    <a:pt x="164" y="64"/>
                  </a:lnTo>
                  <a:lnTo>
                    <a:pt x="164" y="62"/>
                  </a:lnTo>
                  <a:lnTo>
                    <a:pt x="164" y="60"/>
                  </a:lnTo>
                  <a:lnTo>
                    <a:pt x="164" y="59"/>
                  </a:lnTo>
                  <a:lnTo>
                    <a:pt x="165" y="59"/>
                  </a:lnTo>
                  <a:lnTo>
                    <a:pt x="165" y="60"/>
                  </a:lnTo>
                  <a:lnTo>
                    <a:pt x="167" y="62"/>
                  </a:lnTo>
                  <a:lnTo>
                    <a:pt x="169" y="65"/>
                  </a:lnTo>
                  <a:lnTo>
                    <a:pt x="170" y="67"/>
                  </a:lnTo>
                  <a:lnTo>
                    <a:pt x="170" y="68"/>
                  </a:lnTo>
                  <a:lnTo>
                    <a:pt x="169" y="68"/>
                  </a:lnTo>
                  <a:close/>
                  <a:moveTo>
                    <a:pt x="169" y="272"/>
                  </a:moveTo>
                  <a:lnTo>
                    <a:pt x="170" y="270"/>
                  </a:lnTo>
                  <a:lnTo>
                    <a:pt x="172" y="270"/>
                  </a:lnTo>
                  <a:lnTo>
                    <a:pt x="172" y="272"/>
                  </a:lnTo>
                  <a:lnTo>
                    <a:pt x="174" y="272"/>
                  </a:lnTo>
                  <a:lnTo>
                    <a:pt x="172" y="272"/>
                  </a:lnTo>
                  <a:lnTo>
                    <a:pt x="172" y="273"/>
                  </a:lnTo>
                  <a:lnTo>
                    <a:pt x="172" y="275"/>
                  </a:lnTo>
                  <a:lnTo>
                    <a:pt x="174" y="277"/>
                  </a:lnTo>
                  <a:lnTo>
                    <a:pt x="172" y="277"/>
                  </a:lnTo>
                  <a:lnTo>
                    <a:pt x="172" y="278"/>
                  </a:lnTo>
                  <a:lnTo>
                    <a:pt x="170" y="278"/>
                  </a:lnTo>
                  <a:lnTo>
                    <a:pt x="170" y="280"/>
                  </a:lnTo>
                  <a:lnTo>
                    <a:pt x="170" y="278"/>
                  </a:lnTo>
                  <a:lnTo>
                    <a:pt x="169" y="278"/>
                  </a:lnTo>
                  <a:lnTo>
                    <a:pt x="169" y="277"/>
                  </a:lnTo>
                  <a:lnTo>
                    <a:pt x="169" y="275"/>
                  </a:lnTo>
                  <a:lnTo>
                    <a:pt x="169" y="273"/>
                  </a:lnTo>
                  <a:lnTo>
                    <a:pt x="169" y="272"/>
                  </a:lnTo>
                  <a:close/>
                  <a:moveTo>
                    <a:pt x="136" y="104"/>
                  </a:moveTo>
                  <a:lnTo>
                    <a:pt x="138" y="106"/>
                  </a:lnTo>
                  <a:lnTo>
                    <a:pt x="138" y="108"/>
                  </a:lnTo>
                  <a:lnTo>
                    <a:pt x="136" y="108"/>
                  </a:lnTo>
                  <a:lnTo>
                    <a:pt x="135" y="108"/>
                  </a:lnTo>
                  <a:lnTo>
                    <a:pt x="135" y="106"/>
                  </a:lnTo>
                  <a:lnTo>
                    <a:pt x="133" y="104"/>
                  </a:lnTo>
                  <a:lnTo>
                    <a:pt x="133" y="106"/>
                  </a:lnTo>
                  <a:lnTo>
                    <a:pt x="133" y="104"/>
                  </a:lnTo>
                  <a:lnTo>
                    <a:pt x="131" y="104"/>
                  </a:lnTo>
                  <a:lnTo>
                    <a:pt x="131" y="103"/>
                  </a:lnTo>
                  <a:lnTo>
                    <a:pt x="131" y="101"/>
                  </a:lnTo>
                  <a:lnTo>
                    <a:pt x="133" y="101"/>
                  </a:lnTo>
                  <a:lnTo>
                    <a:pt x="135" y="103"/>
                  </a:lnTo>
                  <a:lnTo>
                    <a:pt x="136" y="104"/>
                  </a:lnTo>
                  <a:close/>
                  <a:moveTo>
                    <a:pt x="126" y="104"/>
                  </a:moveTo>
                  <a:lnTo>
                    <a:pt x="128" y="104"/>
                  </a:lnTo>
                  <a:lnTo>
                    <a:pt x="130" y="104"/>
                  </a:lnTo>
                  <a:lnTo>
                    <a:pt x="131" y="106"/>
                  </a:lnTo>
                  <a:lnTo>
                    <a:pt x="130" y="106"/>
                  </a:lnTo>
                  <a:lnTo>
                    <a:pt x="131" y="106"/>
                  </a:lnTo>
                  <a:lnTo>
                    <a:pt x="133" y="108"/>
                  </a:lnTo>
                  <a:lnTo>
                    <a:pt x="133" y="109"/>
                  </a:lnTo>
                  <a:lnTo>
                    <a:pt x="133" y="111"/>
                  </a:lnTo>
                  <a:lnTo>
                    <a:pt x="131" y="109"/>
                  </a:lnTo>
                  <a:lnTo>
                    <a:pt x="130" y="109"/>
                  </a:lnTo>
                  <a:lnTo>
                    <a:pt x="130" y="108"/>
                  </a:lnTo>
                  <a:lnTo>
                    <a:pt x="128" y="108"/>
                  </a:lnTo>
                  <a:lnTo>
                    <a:pt x="126" y="106"/>
                  </a:lnTo>
                  <a:lnTo>
                    <a:pt x="126" y="104"/>
                  </a:lnTo>
                  <a:close/>
                  <a:moveTo>
                    <a:pt x="126" y="332"/>
                  </a:moveTo>
                  <a:lnTo>
                    <a:pt x="126" y="334"/>
                  </a:lnTo>
                  <a:lnTo>
                    <a:pt x="125" y="334"/>
                  </a:lnTo>
                  <a:lnTo>
                    <a:pt x="123" y="334"/>
                  </a:lnTo>
                  <a:lnTo>
                    <a:pt x="123" y="332"/>
                  </a:lnTo>
                  <a:lnTo>
                    <a:pt x="122" y="332"/>
                  </a:lnTo>
                  <a:lnTo>
                    <a:pt x="122" y="330"/>
                  </a:lnTo>
                  <a:lnTo>
                    <a:pt x="123" y="330"/>
                  </a:lnTo>
                  <a:lnTo>
                    <a:pt x="122" y="330"/>
                  </a:lnTo>
                  <a:lnTo>
                    <a:pt x="122" y="329"/>
                  </a:lnTo>
                  <a:lnTo>
                    <a:pt x="123" y="329"/>
                  </a:lnTo>
                  <a:lnTo>
                    <a:pt x="125" y="329"/>
                  </a:lnTo>
                  <a:lnTo>
                    <a:pt x="125" y="330"/>
                  </a:lnTo>
                  <a:lnTo>
                    <a:pt x="126" y="330"/>
                  </a:lnTo>
                  <a:lnTo>
                    <a:pt x="126" y="332"/>
                  </a:lnTo>
                  <a:close/>
                  <a:moveTo>
                    <a:pt x="9" y="267"/>
                  </a:moveTo>
                  <a:lnTo>
                    <a:pt x="9" y="269"/>
                  </a:lnTo>
                  <a:lnTo>
                    <a:pt x="8" y="269"/>
                  </a:lnTo>
                  <a:lnTo>
                    <a:pt x="6" y="269"/>
                  </a:lnTo>
                  <a:lnTo>
                    <a:pt x="6" y="270"/>
                  </a:lnTo>
                  <a:lnTo>
                    <a:pt x="4" y="270"/>
                  </a:lnTo>
                  <a:lnTo>
                    <a:pt x="3" y="270"/>
                  </a:lnTo>
                  <a:lnTo>
                    <a:pt x="3" y="269"/>
                  </a:lnTo>
                  <a:lnTo>
                    <a:pt x="1" y="269"/>
                  </a:lnTo>
                  <a:lnTo>
                    <a:pt x="3" y="267"/>
                  </a:lnTo>
                  <a:lnTo>
                    <a:pt x="4" y="267"/>
                  </a:lnTo>
                  <a:lnTo>
                    <a:pt x="6" y="267"/>
                  </a:lnTo>
                  <a:lnTo>
                    <a:pt x="8" y="267"/>
                  </a:lnTo>
                  <a:lnTo>
                    <a:pt x="6" y="267"/>
                  </a:lnTo>
                  <a:lnTo>
                    <a:pt x="6" y="265"/>
                  </a:lnTo>
                  <a:lnTo>
                    <a:pt x="8" y="265"/>
                  </a:lnTo>
                  <a:lnTo>
                    <a:pt x="8" y="267"/>
                  </a:lnTo>
                  <a:lnTo>
                    <a:pt x="9" y="265"/>
                  </a:lnTo>
                  <a:lnTo>
                    <a:pt x="9" y="267"/>
                  </a:lnTo>
                  <a:close/>
                  <a:moveTo>
                    <a:pt x="58" y="290"/>
                  </a:moveTo>
                  <a:lnTo>
                    <a:pt x="58" y="288"/>
                  </a:lnTo>
                  <a:lnTo>
                    <a:pt x="60" y="288"/>
                  </a:lnTo>
                  <a:lnTo>
                    <a:pt x="60" y="290"/>
                  </a:lnTo>
                  <a:lnTo>
                    <a:pt x="60" y="288"/>
                  </a:lnTo>
                  <a:lnTo>
                    <a:pt x="60" y="290"/>
                  </a:lnTo>
                  <a:lnTo>
                    <a:pt x="61" y="290"/>
                  </a:lnTo>
                  <a:lnTo>
                    <a:pt x="60" y="291"/>
                  </a:lnTo>
                  <a:lnTo>
                    <a:pt x="61" y="290"/>
                  </a:lnTo>
                  <a:lnTo>
                    <a:pt x="61" y="291"/>
                  </a:lnTo>
                  <a:lnTo>
                    <a:pt x="61" y="293"/>
                  </a:lnTo>
                  <a:lnTo>
                    <a:pt x="61" y="295"/>
                  </a:lnTo>
                  <a:lnTo>
                    <a:pt x="60" y="296"/>
                  </a:lnTo>
                  <a:lnTo>
                    <a:pt x="60" y="295"/>
                  </a:lnTo>
                  <a:lnTo>
                    <a:pt x="58" y="295"/>
                  </a:lnTo>
                  <a:lnTo>
                    <a:pt x="58" y="293"/>
                  </a:lnTo>
                  <a:lnTo>
                    <a:pt x="58" y="295"/>
                  </a:lnTo>
                  <a:lnTo>
                    <a:pt x="58" y="291"/>
                  </a:lnTo>
                  <a:lnTo>
                    <a:pt x="58" y="290"/>
                  </a:lnTo>
                  <a:close/>
                  <a:moveTo>
                    <a:pt x="196" y="46"/>
                  </a:moveTo>
                  <a:lnTo>
                    <a:pt x="196" y="47"/>
                  </a:lnTo>
                  <a:lnTo>
                    <a:pt x="198" y="46"/>
                  </a:lnTo>
                  <a:lnTo>
                    <a:pt x="198" y="47"/>
                  </a:lnTo>
                  <a:lnTo>
                    <a:pt x="200" y="47"/>
                  </a:lnTo>
                  <a:lnTo>
                    <a:pt x="200" y="49"/>
                  </a:lnTo>
                  <a:lnTo>
                    <a:pt x="201" y="49"/>
                  </a:lnTo>
                  <a:lnTo>
                    <a:pt x="203" y="49"/>
                  </a:lnTo>
                  <a:lnTo>
                    <a:pt x="203" y="51"/>
                  </a:lnTo>
                  <a:lnTo>
                    <a:pt x="201" y="51"/>
                  </a:lnTo>
                  <a:lnTo>
                    <a:pt x="200" y="51"/>
                  </a:lnTo>
                  <a:lnTo>
                    <a:pt x="198" y="51"/>
                  </a:lnTo>
                  <a:lnTo>
                    <a:pt x="198" y="52"/>
                  </a:lnTo>
                  <a:lnTo>
                    <a:pt x="198" y="51"/>
                  </a:lnTo>
                  <a:lnTo>
                    <a:pt x="198" y="49"/>
                  </a:lnTo>
                  <a:lnTo>
                    <a:pt x="200" y="49"/>
                  </a:lnTo>
                  <a:lnTo>
                    <a:pt x="198" y="49"/>
                  </a:lnTo>
                  <a:lnTo>
                    <a:pt x="198" y="47"/>
                  </a:lnTo>
                  <a:lnTo>
                    <a:pt x="196" y="47"/>
                  </a:lnTo>
                  <a:lnTo>
                    <a:pt x="195" y="47"/>
                  </a:lnTo>
                  <a:lnTo>
                    <a:pt x="196" y="47"/>
                  </a:lnTo>
                  <a:lnTo>
                    <a:pt x="196" y="46"/>
                  </a:lnTo>
                  <a:close/>
                  <a:moveTo>
                    <a:pt x="92" y="117"/>
                  </a:moveTo>
                  <a:lnTo>
                    <a:pt x="94" y="119"/>
                  </a:lnTo>
                  <a:lnTo>
                    <a:pt x="96" y="119"/>
                  </a:lnTo>
                  <a:lnTo>
                    <a:pt x="96" y="121"/>
                  </a:lnTo>
                  <a:lnTo>
                    <a:pt x="97" y="121"/>
                  </a:lnTo>
                  <a:lnTo>
                    <a:pt x="96" y="121"/>
                  </a:lnTo>
                  <a:lnTo>
                    <a:pt x="96" y="122"/>
                  </a:lnTo>
                  <a:lnTo>
                    <a:pt x="94" y="121"/>
                  </a:lnTo>
                  <a:lnTo>
                    <a:pt x="92" y="121"/>
                  </a:lnTo>
                  <a:lnTo>
                    <a:pt x="91" y="119"/>
                  </a:lnTo>
                  <a:lnTo>
                    <a:pt x="91" y="117"/>
                  </a:lnTo>
                  <a:lnTo>
                    <a:pt x="92" y="117"/>
                  </a:lnTo>
                  <a:close/>
                  <a:moveTo>
                    <a:pt x="79" y="179"/>
                  </a:moveTo>
                  <a:lnTo>
                    <a:pt x="78" y="179"/>
                  </a:lnTo>
                  <a:lnTo>
                    <a:pt x="76" y="177"/>
                  </a:lnTo>
                  <a:lnTo>
                    <a:pt x="76" y="176"/>
                  </a:lnTo>
                  <a:lnTo>
                    <a:pt x="78" y="176"/>
                  </a:lnTo>
                  <a:lnTo>
                    <a:pt x="79" y="177"/>
                  </a:lnTo>
                  <a:lnTo>
                    <a:pt x="79" y="179"/>
                  </a:lnTo>
                  <a:close/>
                  <a:moveTo>
                    <a:pt x="112" y="186"/>
                  </a:moveTo>
                  <a:lnTo>
                    <a:pt x="110" y="186"/>
                  </a:lnTo>
                  <a:lnTo>
                    <a:pt x="110" y="184"/>
                  </a:lnTo>
                  <a:lnTo>
                    <a:pt x="110" y="182"/>
                  </a:lnTo>
                  <a:lnTo>
                    <a:pt x="110" y="184"/>
                  </a:lnTo>
                  <a:lnTo>
                    <a:pt x="112" y="184"/>
                  </a:lnTo>
                  <a:lnTo>
                    <a:pt x="113" y="184"/>
                  </a:lnTo>
                  <a:lnTo>
                    <a:pt x="113" y="186"/>
                  </a:lnTo>
                  <a:lnTo>
                    <a:pt x="112" y="186"/>
                  </a:lnTo>
                  <a:close/>
                  <a:moveTo>
                    <a:pt x="185" y="57"/>
                  </a:moveTo>
                  <a:lnTo>
                    <a:pt x="185" y="59"/>
                  </a:lnTo>
                  <a:lnTo>
                    <a:pt x="183" y="59"/>
                  </a:lnTo>
                  <a:lnTo>
                    <a:pt x="183" y="60"/>
                  </a:lnTo>
                  <a:lnTo>
                    <a:pt x="182" y="60"/>
                  </a:lnTo>
                  <a:lnTo>
                    <a:pt x="182" y="59"/>
                  </a:lnTo>
                  <a:lnTo>
                    <a:pt x="183" y="57"/>
                  </a:lnTo>
                  <a:lnTo>
                    <a:pt x="183" y="59"/>
                  </a:lnTo>
                  <a:lnTo>
                    <a:pt x="185" y="57"/>
                  </a:lnTo>
                  <a:lnTo>
                    <a:pt x="183" y="57"/>
                  </a:lnTo>
                  <a:lnTo>
                    <a:pt x="185" y="57"/>
                  </a:lnTo>
                  <a:close/>
                  <a:moveTo>
                    <a:pt x="84" y="218"/>
                  </a:moveTo>
                  <a:lnTo>
                    <a:pt x="84" y="215"/>
                  </a:lnTo>
                  <a:lnTo>
                    <a:pt x="86" y="215"/>
                  </a:lnTo>
                  <a:lnTo>
                    <a:pt x="86" y="216"/>
                  </a:lnTo>
                  <a:lnTo>
                    <a:pt x="87" y="218"/>
                  </a:lnTo>
                  <a:lnTo>
                    <a:pt x="86" y="218"/>
                  </a:lnTo>
                  <a:lnTo>
                    <a:pt x="84" y="218"/>
                  </a:lnTo>
                  <a:close/>
                  <a:moveTo>
                    <a:pt x="178" y="260"/>
                  </a:moveTo>
                  <a:lnTo>
                    <a:pt x="178" y="262"/>
                  </a:lnTo>
                  <a:lnTo>
                    <a:pt x="177" y="262"/>
                  </a:lnTo>
                  <a:lnTo>
                    <a:pt x="177" y="260"/>
                  </a:lnTo>
                  <a:lnTo>
                    <a:pt x="178" y="260"/>
                  </a:lnTo>
                  <a:lnTo>
                    <a:pt x="178" y="259"/>
                  </a:lnTo>
                  <a:lnTo>
                    <a:pt x="178" y="257"/>
                  </a:lnTo>
                  <a:lnTo>
                    <a:pt x="180" y="257"/>
                  </a:lnTo>
                  <a:lnTo>
                    <a:pt x="178" y="259"/>
                  </a:lnTo>
                  <a:lnTo>
                    <a:pt x="178" y="260"/>
                  </a:lnTo>
                  <a:close/>
                  <a:moveTo>
                    <a:pt x="63" y="283"/>
                  </a:moveTo>
                  <a:lnTo>
                    <a:pt x="65" y="283"/>
                  </a:lnTo>
                  <a:lnTo>
                    <a:pt x="65" y="285"/>
                  </a:lnTo>
                  <a:lnTo>
                    <a:pt x="63" y="285"/>
                  </a:lnTo>
                  <a:lnTo>
                    <a:pt x="65" y="283"/>
                  </a:lnTo>
                  <a:lnTo>
                    <a:pt x="63" y="283"/>
                  </a:lnTo>
                  <a:close/>
                  <a:moveTo>
                    <a:pt x="115" y="210"/>
                  </a:moveTo>
                  <a:lnTo>
                    <a:pt x="117" y="212"/>
                  </a:lnTo>
                  <a:lnTo>
                    <a:pt x="115" y="213"/>
                  </a:lnTo>
                  <a:lnTo>
                    <a:pt x="115" y="212"/>
                  </a:lnTo>
                  <a:lnTo>
                    <a:pt x="113" y="212"/>
                  </a:lnTo>
                  <a:lnTo>
                    <a:pt x="115" y="210"/>
                  </a:lnTo>
                  <a:lnTo>
                    <a:pt x="115" y="212"/>
                  </a:lnTo>
                  <a:lnTo>
                    <a:pt x="115" y="210"/>
                  </a:lnTo>
                  <a:close/>
                  <a:moveTo>
                    <a:pt x="3" y="275"/>
                  </a:moveTo>
                  <a:lnTo>
                    <a:pt x="3" y="277"/>
                  </a:lnTo>
                  <a:lnTo>
                    <a:pt x="3" y="275"/>
                  </a:lnTo>
                  <a:lnTo>
                    <a:pt x="3" y="277"/>
                  </a:lnTo>
                  <a:lnTo>
                    <a:pt x="1" y="277"/>
                  </a:lnTo>
                  <a:lnTo>
                    <a:pt x="0" y="275"/>
                  </a:lnTo>
                  <a:lnTo>
                    <a:pt x="1" y="275"/>
                  </a:lnTo>
                  <a:lnTo>
                    <a:pt x="3" y="275"/>
                  </a:lnTo>
                  <a:close/>
                  <a:moveTo>
                    <a:pt x="86" y="187"/>
                  </a:moveTo>
                  <a:lnTo>
                    <a:pt x="87" y="187"/>
                  </a:lnTo>
                  <a:lnTo>
                    <a:pt x="89" y="187"/>
                  </a:lnTo>
                  <a:lnTo>
                    <a:pt x="87" y="187"/>
                  </a:lnTo>
                  <a:lnTo>
                    <a:pt x="87" y="189"/>
                  </a:lnTo>
                  <a:lnTo>
                    <a:pt x="86" y="189"/>
                  </a:lnTo>
                  <a:lnTo>
                    <a:pt x="87" y="189"/>
                  </a:lnTo>
                  <a:lnTo>
                    <a:pt x="86" y="187"/>
                  </a:lnTo>
                  <a:close/>
                  <a:moveTo>
                    <a:pt x="79" y="195"/>
                  </a:moveTo>
                  <a:lnTo>
                    <a:pt x="79" y="194"/>
                  </a:lnTo>
                  <a:lnTo>
                    <a:pt x="78" y="194"/>
                  </a:lnTo>
                  <a:lnTo>
                    <a:pt x="78" y="192"/>
                  </a:lnTo>
                  <a:lnTo>
                    <a:pt x="78" y="194"/>
                  </a:lnTo>
                  <a:lnTo>
                    <a:pt x="79" y="194"/>
                  </a:lnTo>
                  <a:lnTo>
                    <a:pt x="79" y="195"/>
                  </a:lnTo>
                  <a:close/>
                  <a:moveTo>
                    <a:pt x="214" y="52"/>
                  </a:moveTo>
                  <a:lnTo>
                    <a:pt x="216" y="52"/>
                  </a:lnTo>
                  <a:lnTo>
                    <a:pt x="218" y="52"/>
                  </a:lnTo>
                  <a:lnTo>
                    <a:pt x="218" y="54"/>
                  </a:lnTo>
                  <a:lnTo>
                    <a:pt x="216" y="54"/>
                  </a:lnTo>
                  <a:lnTo>
                    <a:pt x="214" y="52"/>
                  </a:lnTo>
                  <a:close/>
                  <a:moveTo>
                    <a:pt x="107" y="182"/>
                  </a:moveTo>
                  <a:lnTo>
                    <a:pt x="107" y="184"/>
                  </a:lnTo>
                  <a:lnTo>
                    <a:pt x="107" y="182"/>
                  </a:lnTo>
                  <a:lnTo>
                    <a:pt x="109" y="184"/>
                  </a:lnTo>
                  <a:lnTo>
                    <a:pt x="107" y="184"/>
                  </a:lnTo>
                  <a:lnTo>
                    <a:pt x="105" y="182"/>
                  </a:lnTo>
                  <a:lnTo>
                    <a:pt x="107" y="182"/>
                  </a:lnTo>
                  <a:close/>
                  <a:moveTo>
                    <a:pt x="84" y="192"/>
                  </a:moveTo>
                  <a:lnTo>
                    <a:pt x="83" y="192"/>
                  </a:lnTo>
                  <a:lnTo>
                    <a:pt x="83" y="190"/>
                  </a:lnTo>
                  <a:lnTo>
                    <a:pt x="84" y="190"/>
                  </a:lnTo>
                  <a:lnTo>
                    <a:pt x="83" y="190"/>
                  </a:lnTo>
                  <a:lnTo>
                    <a:pt x="83" y="189"/>
                  </a:lnTo>
                  <a:lnTo>
                    <a:pt x="84" y="189"/>
                  </a:lnTo>
                  <a:lnTo>
                    <a:pt x="84" y="190"/>
                  </a:lnTo>
                  <a:lnTo>
                    <a:pt x="84" y="192"/>
                  </a:lnTo>
                  <a:close/>
                  <a:moveTo>
                    <a:pt x="229" y="60"/>
                  </a:moveTo>
                  <a:lnTo>
                    <a:pt x="229" y="59"/>
                  </a:lnTo>
                  <a:lnTo>
                    <a:pt x="227" y="59"/>
                  </a:lnTo>
                  <a:lnTo>
                    <a:pt x="229" y="57"/>
                  </a:lnTo>
                  <a:lnTo>
                    <a:pt x="229" y="59"/>
                  </a:lnTo>
                  <a:lnTo>
                    <a:pt x="231" y="59"/>
                  </a:lnTo>
                  <a:lnTo>
                    <a:pt x="229" y="60"/>
                  </a:lnTo>
                  <a:close/>
                  <a:moveTo>
                    <a:pt x="130" y="189"/>
                  </a:moveTo>
                  <a:lnTo>
                    <a:pt x="130" y="190"/>
                  </a:lnTo>
                  <a:lnTo>
                    <a:pt x="128" y="189"/>
                  </a:lnTo>
                  <a:lnTo>
                    <a:pt x="128" y="190"/>
                  </a:lnTo>
                  <a:lnTo>
                    <a:pt x="128" y="189"/>
                  </a:lnTo>
                  <a:lnTo>
                    <a:pt x="130" y="189"/>
                  </a:lnTo>
                  <a:close/>
                  <a:moveTo>
                    <a:pt x="253" y="29"/>
                  </a:moveTo>
                  <a:lnTo>
                    <a:pt x="255" y="29"/>
                  </a:lnTo>
                  <a:lnTo>
                    <a:pt x="253" y="29"/>
                  </a:lnTo>
                  <a:lnTo>
                    <a:pt x="253" y="28"/>
                  </a:lnTo>
                  <a:lnTo>
                    <a:pt x="253" y="29"/>
                  </a:lnTo>
                  <a:close/>
                  <a:moveTo>
                    <a:pt x="104" y="169"/>
                  </a:moveTo>
                  <a:lnTo>
                    <a:pt x="102" y="169"/>
                  </a:lnTo>
                  <a:lnTo>
                    <a:pt x="104" y="169"/>
                  </a:lnTo>
                  <a:lnTo>
                    <a:pt x="102" y="168"/>
                  </a:lnTo>
                  <a:lnTo>
                    <a:pt x="102" y="166"/>
                  </a:lnTo>
                  <a:lnTo>
                    <a:pt x="104" y="166"/>
                  </a:lnTo>
                  <a:lnTo>
                    <a:pt x="104" y="168"/>
                  </a:lnTo>
                  <a:lnTo>
                    <a:pt x="104" y="169"/>
                  </a:lnTo>
                  <a:close/>
                  <a:moveTo>
                    <a:pt x="84" y="197"/>
                  </a:moveTo>
                  <a:lnTo>
                    <a:pt x="83" y="197"/>
                  </a:lnTo>
                  <a:lnTo>
                    <a:pt x="84" y="197"/>
                  </a:lnTo>
                  <a:lnTo>
                    <a:pt x="83" y="199"/>
                  </a:lnTo>
                  <a:lnTo>
                    <a:pt x="83" y="197"/>
                  </a:lnTo>
                  <a:lnTo>
                    <a:pt x="83" y="195"/>
                  </a:lnTo>
                  <a:lnTo>
                    <a:pt x="84" y="195"/>
                  </a:lnTo>
                  <a:lnTo>
                    <a:pt x="84" y="197"/>
                  </a:lnTo>
                  <a:close/>
                  <a:moveTo>
                    <a:pt x="94" y="169"/>
                  </a:moveTo>
                  <a:lnTo>
                    <a:pt x="96" y="169"/>
                  </a:lnTo>
                  <a:lnTo>
                    <a:pt x="97" y="171"/>
                  </a:lnTo>
                  <a:lnTo>
                    <a:pt x="96" y="171"/>
                  </a:lnTo>
                  <a:lnTo>
                    <a:pt x="96" y="169"/>
                  </a:lnTo>
                  <a:lnTo>
                    <a:pt x="94" y="169"/>
                  </a:lnTo>
                  <a:close/>
                  <a:moveTo>
                    <a:pt x="118" y="225"/>
                  </a:moveTo>
                  <a:lnTo>
                    <a:pt x="117" y="225"/>
                  </a:lnTo>
                  <a:lnTo>
                    <a:pt x="118" y="223"/>
                  </a:lnTo>
                  <a:lnTo>
                    <a:pt x="118" y="225"/>
                  </a:lnTo>
                  <a:close/>
                  <a:moveTo>
                    <a:pt x="204" y="51"/>
                  </a:moveTo>
                  <a:lnTo>
                    <a:pt x="206" y="51"/>
                  </a:lnTo>
                  <a:lnTo>
                    <a:pt x="208" y="52"/>
                  </a:lnTo>
                  <a:lnTo>
                    <a:pt x="206" y="51"/>
                  </a:lnTo>
                  <a:lnTo>
                    <a:pt x="204" y="51"/>
                  </a:lnTo>
                  <a:close/>
                  <a:moveTo>
                    <a:pt x="58" y="295"/>
                  </a:moveTo>
                  <a:lnTo>
                    <a:pt x="56" y="296"/>
                  </a:lnTo>
                  <a:lnTo>
                    <a:pt x="56" y="295"/>
                  </a:lnTo>
                  <a:lnTo>
                    <a:pt x="58" y="293"/>
                  </a:lnTo>
                  <a:lnTo>
                    <a:pt x="58" y="291"/>
                  </a:lnTo>
                  <a:lnTo>
                    <a:pt x="58" y="293"/>
                  </a:lnTo>
                  <a:lnTo>
                    <a:pt x="58" y="295"/>
                  </a:lnTo>
                  <a:close/>
                  <a:moveTo>
                    <a:pt x="109" y="243"/>
                  </a:moveTo>
                  <a:lnTo>
                    <a:pt x="110" y="243"/>
                  </a:lnTo>
                  <a:lnTo>
                    <a:pt x="110" y="244"/>
                  </a:lnTo>
                  <a:lnTo>
                    <a:pt x="109" y="243"/>
                  </a:lnTo>
                  <a:close/>
                  <a:moveTo>
                    <a:pt x="136" y="233"/>
                  </a:moveTo>
                  <a:lnTo>
                    <a:pt x="135" y="233"/>
                  </a:lnTo>
                  <a:lnTo>
                    <a:pt x="136" y="233"/>
                  </a:lnTo>
                  <a:lnTo>
                    <a:pt x="138" y="231"/>
                  </a:lnTo>
                  <a:lnTo>
                    <a:pt x="138" y="233"/>
                  </a:lnTo>
                  <a:lnTo>
                    <a:pt x="136" y="233"/>
                  </a:lnTo>
                  <a:close/>
                  <a:moveTo>
                    <a:pt x="63" y="295"/>
                  </a:moveTo>
                  <a:lnTo>
                    <a:pt x="63" y="293"/>
                  </a:lnTo>
                  <a:lnTo>
                    <a:pt x="63" y="291"/>
                  </a:lnTo>
                  <a:lnTo>
                    <a:pt x="63" y="293"/>
                  </a:lnTo>
                  <a:lnTo>
                    <a:pt x="63" y="295"/>
                  </a:lnTo>
                  <a:close/>
                  <a:moveTo>
                    <a:pt x="11" y="270"/>
                  </a:moveTo>
                  <a:lnTo>
                    <a:pt x="11" y="269"/>
                  </a:lnTo>
                  <a:lnTo>
                    <a:pt x="11" y="270"/>
                  </a:lnTo>
                  <a:close/>
                  <a:moveTo>
                    <a:pt x="125" y="221"/>
                  </a:moveTo>
                  <a:lnTo>
                    <a:pt x="123" y="221"/>
                  </a:lnTo>
                  <a:lnTo>
                    <a:pt x="123" y="220"/>
                  </a:lnTo>
                  <a:lnTo>
                    <a:pt x="123" y="221"/>
                  </a:lnTo>
                  <a:lnTo>
                    <a:pt x="125" y="221"/>
                  </a:lnTo>
                  <a:close/>
                  <a:moveTo>
                    <a:pt x="71" y="199"/>
                  </a:moveTo>
                  <a:lnTo>
                    <a:pt x="70" y="199"/>
                  </a:lnTo>
                  <a:lnTo>
                    <a:pt x="70" y="197"/>
                  </a:lnTo>
                  <a:lnTo>
                    <a:pt x="71" y="197"/>
                  </a:lnTo>
                  <a:lnTo>
                    <a:pt x="71" y="199"/>
                  </a:lnTo>
                  <a:close/>
                  <a:moveTo>
                    <a:pt x="87" y="218"/>
                  </a:moveTo>
                  <a:lnTo>
                    <a:pt x="89" y="218"/>
                  </a:lnTo>
                  <a:lnTo>
                    <a:pt x="87" y="218"/>
                  </a:lnTo>
                  <a:close/>
                  <a:moveTo>
                    <a:pt x="115" y="163"/>
                  </a:moveTo>
                  <a:lnTo>
                    <a:pt x="117" y="163"/>
                  </a:lnTo>
                  <a:lnTo>
                    <a:pt x="117" y="164"/>
                  </a:lnTo>
                  <a:lnTo>
                    <a:pt x="115" y="164"/>
                  </a:lnTo>
                  <a:lnTo>
                    <a:pt x="117" y="164"/>
                  </a:lnTo>
                  <a:lnTo>
                    <a:pt x="115" y="164"/>
                  </a:lnTo>
                  <a:lnTo>
                    <a:pt x="115" y="163"/>
                  </a:lnTo>
                  <a:close/>
                  <a:moveTo>
                    <a:pt x="1" y="278"/>
                  </a:moveTo>
                  <a:lnTo>
                    <a:pt x="3" y="278"/>
                  </a:lnTo>
                  <a:lnTo>
                    <a:pt x="1" y="278"/>
                  </a:lnTo>
                  <a:close/>
                  <a:moveTo>
                    <a:pt x="89" y="200"/>
                  </a:moveTo>
                  <a:lnTo>
                    <a:pt x="91" y="200"/>
                  </a:lnTo>
                  <a:lnTo>
                    <a:pt x="89" y="200"/>
                  </a:lnTo>
                  <a:close/>
                  <a:moveTo>
                    <a:pt x="65" y="282"/>
                  </a:moveTo>
                  <a:lnTo>
                    <a:pt x="63" y="282"/>
                  </a:lnTo>
                  <a:lnTo>
                    <a:pt x="65" y="282"/>
                  </a:lnTo>
                  <a:close/>
                  <a:moveTo>
                    <a:pt x="219" y="55"/>
                  </a:moveTo>
                  <a:lnTo>
                    <a:pt x="221" y="55"/>
                  </a:lnTo>
                  <a:lnTo>
                    <a:pt x="221" y="57"/>
                  </a:lnTo>
                  <a:lnTo>
                    <a:pt x="221" y="55"/>
                  </a:lnTo>
                  <a:lnTo>
                    <a:pt x="219" y="55"/>
                  </a:lnTo>
                  <a:close/>
                  <a:moveTo>
                    <a:pt x="185" y="265"/>
                  </a:moveTo>
                  <a:lnTo>
                    <a:pt x="185" y="264"/>
                  </a:lnTo>
                  <a:lnTo>
                    <a:pt x="185" y="265"/>
                  </a:lnTo>
                  <a:close/>
                  <a:moveTo>
                    <a:pt x="74" y="168"/>
                  </a:moveTo>
                  <a:lnTo>
                    <a:pt x="74" y="169"/>
                  </a:lnTo>
                  <a:lnTo>
                    <a:pt x="74" y="168"/>
                  </a:lnTo>
                  <a:lnTo>
                    <a:pt x="73" y="168"/>
                  </a:lnTo>
                  <a:lnTo>
                    <a:pt x="74" y="168"/>
                  </a:lnTo>
                  <a:close/>
                  <a:moveTo>
                    <a:pt x="105" y="194"/>
                  </a:moveTo>
                  <a:lnTo>
                    <a:pt x="105" y="195"/>
                  </a:lnTo>
                  <a:lnTo>
                    <a:pt x="104" y="195"/>
                  </a:lnTo>
                  <a:lnTo>
                    <a:pt x="105" y="195"/>
                  </a:lnTo>
                  <a:lnTo>
                    <a:pt x="105" y="194"/>
                  </a:lnTo>
                  <a:close/>
                  <a:moveTo>
                    <a:pt x="92" y="199"/>
                  </a:moveTo>
                  <a:lnTo>
                    <a:pt x="94" y="199"/>
                  </a:lnTo>
                  <a:lnTo>
                    <a:pt x="92" y="199"/>
                  </a:lnTo>
                  <a:close/>
                  <a:moveTo>
                    <a:pt x="79" y="168"/>
                  </a:moveTo>
                  <a:lnTo>
                    <a:pt x="81" y="169"/>
                  </a:lnTo>
                  <a:lnTo>
                    <a:pt x="79" y="169"/>
                  </a:lnTo>
                  <a:lnTo>
                    <a:pt x="79" y="168"/>
                  </a:lnTo>
                  <a:lnTo>
                    <a:pt x="81" y="168"/>
                  </a:lnTo>
                  <a:lnTo>
                    <a:pt x="79" y="168"/>
                  </a:lnTo>
                  <a:close/>
                  <a:moveTo>
                    <a:pt x="96" y="247"/>
                  </a:moveTo>
                  <a:lnTo>
                    <a:pt x="96" y="249"/>
                  </a:lnTo>
                  <a:lnTo>
                    <a:pt x="96" y="247"/>
                  </a:lnTo>
                  <a:close/>
                  <a:moveTo>
                    <a:pt x="71" y="194"/>
                  </a:moveTo>
                  <a:lnTo>
                    <a:pt x="71" y="195"/>
                  </a:lnTo>
                  <a:lnTo>
                    <a:pt x="71" y="194"/>
                  </a:lnTo>
                  <a:close/>
                  <a:moveTo>
                    <a:pt x="151" y="247"/>
                  </a:moveTo>
                  <a:lnTo>
                    <a:pt x="151" y="249"/>
                  </a:lnTo>
                  <a:lnTo>
                    <a:pt x="151" y="247"/>
                  </a:lnTo>
                  <a:close/>
                  <a:moveTo>
                    <a:pt x="14" y="288"/>
                  </a:moveTo>
                  <a:lnTo>
                    <a:pt x="13" y="288"/>
                  </a:lnTo>
                  <a:lnTo>
                    <a:pt x="13" y="286"/>
                  </a:lnTo>
                  <a:lnTo>
                    <a:pt x="14" y="286"/>
                  </a:lnTo>
                  <a:lnTo>
                    <a:pt x="14" y="288"/>
                  </a:lnTo>
                  <a:close/>
                  <a:moveTo>
                    <a:pt x="131" y="106"/>
                  </a:moveTo>
                  <a:lnTo>
                    <a:pt x="131" y="104"/>
                  </a:lnTo>
                  <a:lnTo>
                    <a:pt x="133" y="104"/>
                  </a:lnTo>
                  <a:lnTo>
                    <a:pt x="133" y="106"/>
                  </a:lnTo>
                  <a:lnTo>
                    <a:pt x="131" y="106"/>
                  </a:lnTo>
                  <a:close/>
                  <a:moveTo>
                    <a:pt x="128" y="223"/>
                  </a:moveTo>
                  <a:lnTo>
                    <a:pt x="130" y="223"/>
                  </a:lnTo>
                  <a:lnTo>
                    <a:pt x="128" y="223"/>
                  </a:lnTo>
                  <a:close/>
                  <a:moveTo>
                    <a:pt x="86" y="199"/>
                  </a:moveTo>
                  <a:lnTo>
                    <a:pt x="86" y="197"/>
                  </a:lnTo>
                  <a:lnTo>
                    <a:pt x="86" y="199"/>
                  </a:lnTo>
                  <a:close/>
                  <a:moveTo>
                    <a:pt x="112" y="205"/>
                  </a:moveTo>
                  <a:lnTo>
                    <a:pt x="112" y="203"/>
                  </a:lnTo>
                  <a:lnTo>
                    <a:pt x="112" y="205"/>
                  </a:lnTo>
                  <a:close/>
                  <a:moveTo>
                    <a:pt x="3" y="265"/>
                  </a:moveTo>
                  <a:lnTo>
                    <a:pt x="4" y="265"/>
                  </a:lnTo>
                  <a:lnTo>
                    <a:pt x="3" y="267"/>
                  </a:lnTo>
                  <a:lnTo>
                    <a:pt x="3" y="265"/>
                  </a:lnTo>
                  <a:lnTo>
                    <a:pt x="3" y="267"/>
                  </a:lnTo>
                  <a:lnTo>
                    <a:pt x="3" y="265"/>
                  </a:lnTo>
                  <a:close/>
                  <a:moveTo>
                    <a:pt x="89" y="220"/>
                  </a:moveTo>
                  <a:lnTo>
                    <a:pt x="89" y="218"/>
                  </a:lnTo>
                  <a:lnTo>
                    <a:pt x="89" y="220"/>
                  </a:lnTo>
                  <a:close/>
                  <a:moveTo>
                    <a:pt x="73" y="169"/>
                  </a:moveTo>
                  <a:lnTo>
                    <a:pt x="73" y="168"/>
                  </a:lnTo>
                  <a:lnTo>
                    <a:pt x="73" y="169"/>
                  </a:lnTo>
                  <a:close/>
                  <a:moveTo>
                    <a:pt x="122" y="216"/>
                  </a:moveTo>
                  <a:lnTo>
                    <a:pt x="122" y="215"/>
                  </a:lnTo>
                  <a:lnTo>
                    <a:pt x="122" y="216"/>
                  </a:lnTo>
                  <a:close/>
                  <a:moveTo>
                    <a:pt x="110" y="186"/>
                  </a:moveTo>
                  <a:lnTo>
                    <a:pt x="110" y="187"/>
                  </a:lnTo>
                  <a:lnTo>
                    <a:pt x="112" y="187"/>
                  </a:lnTo>
                  <a:lnTo>
                    <a:pt x="110" y="187"/>
                  </a:lnTo>
                  <a:lnTo>
                    <a:pt x="110" y="186"/>
                  </a:lnTo>
                  <a:close/>
                  <a:moveTo>
                    <a:pt x="100" y="241"/>
                  </a:moveTo>
                  <a:lnTo>
                    <a:pt x="100" y="239"/>
                  </a:lnTo>
                  <a:lnTo>
                    <a:pt x="100" y="241"/>
                  </a:lnTo>
                  <a:close/>
                  <a:moveTo>
                    <a:pt x="29" y="176"/>
                  </a:moveTo>
                  <a:lnTo>
                    <a:pt x="30" y="176"/>
                  </a:lnTo>
                  <a:lnTo>
                    <a:pt x="30" y="177"/>
                  </a:lnTo>
                  <a:lnTo>
                    <a:pt x="30" y="176"/>
                  </a:lnTo>
                  <a:lnTo>
                    <a:pt x="29" y="176"/>
                  </a:lnTo>
                  <a:close/>
                  <a:moveTo>
                    <a:pt x="102" y="174"/>
                  </a:moveTo>
                  <a:lnTo>
                    <a:pt x="102" y="176"/>
                  </a:lnTo>
                  <a:lnTo>
                    <a:pt x="100" y="174"/>
                  </a:lnTo>
                  <a:lnTo>
                    <a:pt x="102" y="174"/>
                  </a:lnTo>
                  <a:close/>
                  <a:moveTo>
                    <a:pt x="117" y="163"/>
                  </a:moveTo>
                  <a:lnTo>
                    <a:pt x="118" y="163"/>
                  </a:lnTo>
                  <a:lnTo>
                    <a:pt x="117" y="163"/>
                  </a:lnTo>
                  <a:close/>
                  <a:moveTo>
                    <a:pt x="86" y="199"/>
                  </a:moveTo>
                  <a:lnTo>
                    <a:pt x="87" y="199"/>
                  </a:lnTo>
                  <a:lnTo>
                    <a:pt x="87" y="200"/>
                  </a:lnTo>
                  <a:lnTo>
                    <a:pt x="87" y="199"/>
                  </a:lnTo>
                  <a:lnTo>
                    <a:pt x="86" y="199"/>
                  </a:lnTo>
                  <a:close/>
                  <a:moveTo>
                    <a:pt x="107" y="140"/>
                  </a:moveTo>
                  <a:lnTo>
                    <a:pt x="109" y="140"/>
                  </a:lnTo>
                  <a:lnTo>
                    <a:pt x="107" y="140"/>
                  </a:lnTo>
                  <a:close/>
                  <a:moveTo>
                    <a:pt x="185" y="59"/>
                  </a:moveTo>
                  <a:lnTo>
                    <a:pt x="185" y="60"/>
                  </a:lnTo>
                  <a:lnTo>
                    <a:pt x="185" y="59"/>
                  </a:lnTo>
                  <a:close/>
                  <a:moveTo>
                    <a:pt x="104" y="158"/>
                  </a:moveTo>
                  <a:lnTo>
                    <a:pt x="104" y="160"/>
                  </a:lnTo>
                  <a:lnTo>
                    <a:pt x="104" y="158"/>
                  </a:lnTo>
                  <a:close/>
                  <a:moveTo>
                    <a:pt x="87" y="200"/>
                  </a:moveTo>
                  <a:lnTo>
                    <a:pt x="87" y="202"/>
                  </a:lnTo>
                  <a:lnTo>
                    <a:pt x="87" y="200"/>
                  </a:lnTo>
                  <a:close/>
                  <a:moveTo>
                    <a:pt x="100" y="158"/>
                  </a:moveTo>
                  <a:lnTo>
                    <a:pt x="102" y="158"/>
                  </a:lnTo>
                  <a:lnTo>
                    <a:pt x="100" y="160"/>
                  </a:lnTo>
                  <a:lnTo>
                    <a:pt x="100" y="158"/>
                  </a:lnTo>
                  <a:close/>
                  <a:moveTo>
                    <a:pt x="55" y="282"/>
                  </a:moveTo>
                  <a:lnTo>
                    <a:pt x="55" y="280"/>
                  </a:lnTo>
                  <a:lnTo>
                    <a:pt x="55" y="282"/>
                  </a:lnTo>
                  <a:close/>
                  <a:moveTo>
                    <a:pt x="61" y="296"/>
                  </a:moveTo>
                  <a:lnTo>
                    <a:pt x="61" y="298"/>
                  </a:lnTo>
                  <a:lnTo>
                    <a:pt x="61" y="296"/>
                  </a:lnTo>
                  <a:close/>
                  <a:moveTo>
                    <a:pt x="92" y="168"/>
                  </a:moveTo>
                  <a:lnTo>
                    <a:pt x="94" y="168"/>
                  </a:lnTo>
                  <a:lnTo>
                    <a:pt x="92" y="168"/>
                  </a:lnTo>
                  <a:close/>
                  <a:moveTo>
                    <a:pt x="244" y="46"/>
                  </a:moveTo>
                  <a:lnTo>
                    <a:pt x="245" y="44"/>
                  </a:lnTo>
                  <a:lnTo>
                    <a:pt x="245" y="46"/>
                  </a:lnTo>
                  <a:lnTo>
                    <a:pt x="244" y="46"/>
                  </a:lnTo>
                  <a:close/>
                  <a:moveTo>
                    <a:pt x="304" y="18"/>
                  </a:moveTo>
                  <a:lnTo>
                    <a:pt x="304" y="16"/>
                  </a:lnTo>
                  <a:lnTo>
                    <a:pt x="304" y="18"/>
                  </a:lnTo>
                  <a:close/>
                  <a:moveTo>
                    <a:pt x="65" y="299"/>
                  </a:moveTo>
                  <a:lnTo>
                    <a:pt x="65" y="298"/>
                  </a:lnTo>
                  <a:lnTo>
                    <a:pt x="65" y="299"/>
                  </a:lnTo>
                  <a:close/>
                  <a:moveTo>
                    <a:pt x="0" y="277"/>
                  </a:moveTo>
                  <a:lnTo>
                    <a:pt x="1" y="277"/>
                  </a:lnTo>
                  <a:lnTo>
                    <a:pt x="0" y="278"/>
                  </a:lnTo>
                  <a:lnTo>
                    <a:pt x="0" y="277"/>
                  </a:lnTo>
                  <a:close/>
                  <a:moveTo>
                    <a:pt x="48" y="221"/>
                  </a:moveTo>
                  <a:lnTo>
                    <a:pt x="50" y="221"/>
                  </a:lnTo>
                  <a:lnTo>
                    <a:pt x="48" y="221"/>
                  </a:lnTo>
                  <a:close/>
                  <a:moveTo>
                    <a:pt x="162" y="265"/>
                  </a:moveTo>
                  <a:lnTo>
                    <a:pt x="164" y="265"/>
                  </a:lnTo>
                  <a:lnTo>
                    <a:pt x="164" y="267"/>
                  </a:lnTo>
                  <a:lnTo>
                    <a:pt x="162" y="265"/>
                  </a:lnTo>
                  <a:close/>
                  <a:moveTo>
                    <a:pt x="92" y="213"/>
                  </a:moveTo>
                  <a:lnTo>
                    <a:pt x="92" y="212"/>
                  </a:lnTo>
                  <a:lnTo>
                    <a:pt x="92" y="213"/>
                  </a:lnTo>
                  <a:close/>
                  <a:moveTo>
                    <a:pt x="138" y="233"/>
                  </a:moveTo>
                  <a:lnTo>
                    <a:pt x="138" y="234"/>
                  </a:lnTo>
                  <a:lnTo>
                    <a:pt x="138" y="233"/>
                  </a:lnTo>
                  <a:close/>
                  <a:moveTo>
                    <a:pt x="287" y="0"/>
                  </a:moveTo>
                  <a:lnTo>
                    <a:pt x="289" y="0"/>
                  </a:lnTo>
                  <a:lnTo>
                    <a:pt x="287" y="0"/>
                  </a:lnTo>
                  <a:close/>
                  <a:moveTo>
                    <a:pt x="109" y="241"/>
                  </a:moveTo>
                  <a:lnTo>
                    <a:pt x="109" y="243"/>
                  </a:lnTo>
                  <a:lnTo>
                    <a:pt x="109" y="241"/>
                  </a:lnTo>
                  <a:close/>
                  <a:moveTo>
                    <a:pt x="126" y="194"/>
                  </a:moveTo>
                  <a:lnTo>
                    <a:pt x="128" y="194"/>
                  </a:lnTo>
                  <a:lnTo>
                    <a:pt x="126" y="194"/>
                  </a:lnTo>
                  <a:close/>
                  <a:moveTo>
                    <a:pt x="136" y="234"/>
                  </a:moveTo>
                  <a:lnTo>
                    <a:pt x="138" y="234"/>
                  </a:lnTo>
                  <a:lnTo>
                    <a:pt x="136" y="234"/>
                  </a:lnTo>
                  <a:close/>
                  <a:moveTo>
                    <a:pt x="92" y="168"/>
                  </a:moveTo>
                  <a:lnTo>
                    <a:pt x="92" y="169"/>
                  </a:lnTo>
                  <a:lnTo>
                    <a:pt x="92" y="168"/>
                  </a:lnTo>
                  <a:close/>
                  <a:moveTo>
                    <a:pt x="97" y="156"/>
                  </a:moveTo>
                  <a:lnTo>
                    <a:pt x="96" y="155"/>
                  </a:lnTo>
                  <a:lnTo>
                    <a:pt x="97" y="155"/>
                  </a:lnTo>
                  <a:lnTo>
                    <a:pt x="97" y="156"/>
                  </a:lnTo>
                  <a:close/>
                  <a:moveTo>
                    <a:pt x="130" y="190"/>
                  </a:moveTo>
                  <a:lnTo>
                    <a:pt x="131" y="192"/>
                  </a:lnTo>
                  <a:lnTo>
                    <a:pt x="130" y="192"/>
                  </a:lnTo>
                  <a:lnTo>
                    <a:pt x="130" y="190"/>
                  </a:lnTo>
                  <a:close/>
                  <a:moveTo>
                    <a:pt x="198" y="38"/>
                  </a:moveTo>
                  <a:lnTo>
                    <a:pt x="198" y="39"/>
                  </a:lnTo>
                  <a:lnTo>
                    <a:pt x="198" y="38"/>
                  </a:lnTo>
                  <a:close/>
                  <a:moveTo>
                    <a:pt x="185" y="59"/>
                  </a:moveTo>
                  <a:lnTo>
                    <a:pt x="187" y="59"/>
                  </a:lnTo>
                  <a:lnTo>
                    <a:pt x="185" y="59"/>
                  </a:lnTo>
                  <a:close/>
                  <a:moveTo>
                    <a:pt x="32" y="304"/>
                  </a:moveTo>
                  <a:lnTo>
                    <a:pt x="32" y="306"/>
                  </a:lnTo>
                  <a:lnTo>
                    <a:pt x="32" y="304"/>
                  </a:lnTo>
                  <a:lnTo>
                    <a:pt x="32" y="306"/>
                  </a:lnTo>
                  <a:lnTo>
                    <a:pt x="32" y="304"/>
                  </a:lnTo>
                  <a:close/>
                  <a:moveTo>
                    <a:pt x="70" y="197"/>
                  </a:moveTo>
                  <a:lnTo>
                    <a:pt x="71" y="197"/>
                  </a:lnTo>
                  <a:lnTo>
                    <a:pt x="70" y="197"/>
                  </a:lnTo>
                  <a:close/>
                  <a:moveTo>
                    <a:pt x="100" y="243"/>
                  </a:moveTo>
                  <a:lnTo>
                    <a:pt x="102" y="243"/>
                  </a:lnTo>
                  <a:lnTo>
                    <a:pt x="100" y="243"/>
                  </a:lnTo>
                  <a:close/>
                  <a:moveTo>
                    <a:pt x="32" y="174"/>
                  </a:moveTo>
                  <a:lnTo>
                    <a:pt x="32" y="173"/>
                  </a:lnTo>
                  <a:lnTo>
                    <a:pt x="32" y="174"/>
                  </a:lnTo>
                  <a:close/>
                  <a:moveTo>
                    <a:pt x="96" y="246"/>
                  </a:moveTo>
                  <a:lnTo>
                    <a:pt x="97" y="246"/>
                  </a:lnTo>
                  <a:lnTo>
                    <a:pt x="96" y="246"/>
                  </a:lnTo>
                  <a:close/>
                  <a:moveTo>
                    <a:pt x="16" y="267"/>
                  </a:moveTo>
                  <a:lnTo>
                    <a:pt x="16" y="269"/>
                  </a:lnTo>
                  <a:lnTo>
                    <a:pt x="16" y="267"/>
                  </a:lnTo>
                  <a:close/>
                  <a:moveTo>
                    <a:pt x="105" y="186"/>
                  </a:moveTo>
                  <a:lnTo>
                    <a:pt x="105" y="184"/>
                  </a:lnTo>
                  <a:lnTo>
                    <a:pt x="105" y="186"/>
                  </a:lnTo>
                  <a:close/>
                  <a:moveTo>
                    <a:pt x="115" y="163"/>
                  </a:moveTo>
                  <a:lnTo>
                    <a:pt x="117" y="163"/>
                  </a:lnTo>
                  <a:lnTo>
                    <a:pt x="115" y="163"/>
                  </a:lnTo>
                  <a:close/>
                  <a:moveTo>
                    <a:pt x="65" y="169"/>
                  </a:moveTo>
                  <a:lnTo>
                    <a:pt x="66" y="169"/>
                  </a:lnTo>
                  <a:lnTo>
                    <a:pt x="65" y="169"/>
                  </a:lnTo>
                  <a:close/>
                  <a:moveTo>
                    <a:pt x="222" y="46"/>
                  </a:moveTo>
                  <a:lnTo>
                    <a:pt x="222" y="47"/>
                  </a:lnTo>
                  <a:lnTo>
                    <a:pt x="222" y="46"/>
                  </a:lnTo>
                  <a:close/>
                  <a:moveTo>
                    <a:pt x="278" y="34"/>
                  </a:moveTo>
                  <a:lnTo>
                    <a:pt x="278" y="36"/>
                  </a:lnTo>
                  <a:lnTo>
                    <a:pt x="278" y="34"/>
                  </a:lnTo>
                  <a:close/>
                  <a:moveTo>
                    <a:pt x="222" y="46"/>
                  </a:moveTo>
                  <a:lnTo>
                    <a:pt x="221" y="44"/>
                  </a:lnTo>
                  <a:lnTo>
                    <a:pt x="222" y="44"/>
                  </a:lnTo>
                  <a:lnTo>
                    <a:pt x="222" y="46"/>
                  </a:lnTo>
                  <a:close/>
                  <a:moveTo>
                    <a:pt x="100" y="244"/>
                  </a:moveTo>
                  <a:lnTo>
                    <a:pt x="100" y="243"/>
                  </a:lnTo>
                  <a:lnTo>
                    <a:pt x="102" y="244"/>
                  </a:lnTo>
                  <a:lnTo>
                    <a:pt x="100" y="244"/>
                  </a:lnTo>
                  <a:close/>
                  <a:moveTo>
                    <a:pt x="13" y="272"/>
                  </a:moveTo>
                  <a:lnTo>
                    <a:pt x="14" y="272"/>
                  </a:lnTo>
                  <a:lnTo>
                    <a:pt x="13" y="272"/>
                  </a:lnTo>
                  <a:close/>
                  <a:moveTo>
                    <a:pt x="97" y="207"/>
                  </a:moveTo>
                  <a:lnTo>
                    <a:pt x="97" y="208"/>
                  </a:lnTo>
                  <a:lnTo>
                    <a:pt x="97" y="207"/>
                  </a:lnTo>
                  <a:close/>
                  <a:moveTo>
                    <a:pt x="14" y="269"/>
                  </a:moveTo>
                  <a:lnTo>
                    <a:pt x="14" y="270"/>
                  </a:lnTo>
                  <a:lnTo>
                    <a:pt x="14" y="269"/>
                  </a:lnTo>
                  <a:close/>
                  <a:moveTo>
                    <a:pt x="97" y="228"/>
                  </a:moveTo>
                  <a:lnTo>
                    <a:pt x="96" y="230"/>
                  </a:lnTo>
                  <a:lnTo>
                    <a:pt x="96" y="228"/>
                  </a:lnTo>
                  <a:lnTo>
                    <a:pt x="97" y="228"/>
                  </a:lnTo>
                  <a:close/>
                  <a:moveTo>
                    <a:pt x="8" y="275"/>
                  </a:moveTo>
                  <a:lnTo>
                    <a:pt x="8" y="273"/>
                  </a:lnTo>
                  <a:lnTo>
                    <a:pt x="8" y="275"/>
                  </a:lnTo>
                  <a:close/>
                  <a:moveTo>
                    <a:pt x="14" y="270"/>
                  </a:moveTo>
                  <a:lnTo>
                    <a:pt x="16" y="270"/>
                  </a:lnTo>
                  <a:lnTo>
                    <a:pt x="14" y="270"/>
                  </a:lnTo>
                  <a:close/>
                  <a:moveTo>
                    <a:pt x="4" y="277"/>
                  </a:moveTo>
                  <a:lnTo>
                    <a:pt x="6" y="277"/>
                  </a:lnTo>
                  <a:lnTo>
                    <a:pt x="4" y="277"/>
                  </a:lnTo>
                  <a:close/>
                  <a:moveTo>
                    <a:pt x="99" y="239"/>
                  </a:moveTo>
                  <a:lnTo>
                    <a:pt x="100" y="239"/>
                  </a:lnTo>
                  <a:lnTo>
                    <a:pt x="99" y="239"/>
                  </a:lnTo>
                  <a:close/>
                  <a:moveTo>
                    <a:pt x="4" y="278"/>
                  </a:moveTo>
                  <a:lnTo>
                    <a:pt x="6" y="278"/>
                  </a:lnTo>
                  <a:lnTo>
                    <a:pt x="4" y="278"/>
                  </a:lnTo>
                  <a:close/>
                  <a:moveTo>
                    <a:pt x="11" y="278"/>
                  </a:moveTo>
                  <a:lnTo>
                    <a:pt x="11" y="277"/>
                  </a:lnTo>
                  <a:lnTo>
                    <a:pt x="11" y="278"/>
                  </a:lnTo>
                  <a:close/>
                  <a:moveTo>
                    <a:pt x="34" y="298"/>
                  </a:moveTo>
                  <a:lnTo>
                    <a:pt x="34" y="299"/>
                  </a:lnTo>
                  <a:lnTo>
                    <a:pt x="34" y="298"/>
                  </a:lnTo>
                  <a:close/>
                  <a:moveTo>
                    <a:pt x="109" y="184"/>
                  </a:moveTo>
                  <a:lnTo>
                    <a:pt x="109" y="182"/>
                  </a:lnTo>
                  <a:lnTo>
                    <a:pt x="109" y="184"/>
                  </a:lnTo>
                  <a:close/>
                  <a:moveTo>
                    <a:pt x="86" y="265"/>
                  </a:moveTo>
                  <a:lnTo>
                    <a:pt x="87" y="265"/>
                  </a:lnTo>
                  <a:lnTo>
                    <a:pt x="86" y="265"/>
                  </a:lnTo>
                  <a:close/>
                </a:path>
              </a:pathLst>
            </a:custGeom>
            <a:solidFill>
              <a:srgbClr val="1EC08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35" name="Freeform 21">
              <a:extLst>
                <a:ext uri="{FF2B5EF4-FFF2-40B4-BE49-F238E27FC236}">
                  <a16:creationId xmlns:a16="http://schemas.microsoft.com/office/drawing/2014/main" id="{DD0FFD12-CBDF-CC47-5E88-7DE17F8F4DE2}"/>
                </a:ext>
              </a:extLst>
            </p:cNvPr>
            <p:cNvSpPr>
              <a:spLocks noEditPoints="1"/>
            </p:cNvSpPr>
            <p:nvPr/>
          </p:nvSpPr>
          <p:spPr bwMode="auto">
            <a:xfrm>
              <a:off x="2194" y="4421"/>
              <a:ext cx="1384" cy="1326"/>
            </a:xfrm>
            <a:custGeom>
              <a:avLst/>
              <a:gdLst>
                <a:gd name="T0" fmla="*/ 73 w 1384"/>
                <a:gd name="T1" fmla="*/ 944 h 1326"/>
                <a:gd name="T2" fmla="*/ 1054 w 1384"/>
                <a:gd name="T3" fmla="*/ 875 h 1326"/>
                <a:gd name="T4" fmla="*/ 1067 w 1384"/>
                <a:gd name="T5" fmla="*/ 835 h 1326"/>
                <a:gd name="T6" fmla="*/ 1026 w 1384"/>
                <a:gd name="T7" fmla="*/ 849 h 1326"/>
                <a:gd name="T8" fmla="*/ 1247 w 1384"/>
                <a:gd name="T9" fmla="*/ 744 h 1326"/>
                <a:gd name="T10" fmla="*/ 1264 w 1384"/>
                <a:gd name="T11" fmla="*/ 804 h 1326"/>
                <a:gd name="T12" fmla="*/ 1192 w 1384"/>
                <a:gd name="T13" fmla="*/ 783 h 1326"/>
                <a:gd name="T14" fmla="*/ 1213 w 1384"/>
                <a:gd name="T15" fmla="*/ 742 h 1326"/>
                <a:gd name="T16" fmla="*/ 1376 w 1384"/>
                <a:gd name="T17" fmla="*/ 737 h 1326"/>
                <a:gd name="T18" fmla="*/ 1327 w 1384"/>
                <a:gd name="T19" fmla="*/ 732 h 1326"/>
                <a:gd name="T20" fmla="*/ 16 w 1384"/>
                <a:gd name="T21" fmla="*/ 187 h 1326"/>
                <a:gd name="T22" fmla="*/ 566 w 1384"/>
                <a:gd name="T23" fmla="*/ 129 h 1326"/>
                <a:gd name="T24" fmla="*/ 119 w 1384"/>
                <a:gd name="T25" fmla="*/ 33 h 1326"/>
                <a:gd name="T26" fmla="*/ 172 w 1384"/>
                <a:gd name="T27" fmla="*/ 9 h 1326"/>
                <a:gd name="T28" fmla="*/ 207 w 1384"/>
                <a:gd name="T29" fmla="*/ 17 h 1326"/>
                <a:gd name="T30" fmla="*/ 262 w 1384"/>
                <a:gd name="T31" fmla="*/ 51 h 1326"/>
                <a:gd name="T32" fmla="*/ 355 w 1384"/>
                <a:gd name="T33" fmla="*/ 70 h 1326"/>
                <a:gd name="T34" fmla="*/ 415 w 1384"/>
                <a:gd name="T35" fmla="*/ 87 h 1326"/>
                <a:gd name="T36" fmla="*/ 514 w 1384"/>
                <a:gd name="T37" fmla="*/ 130 h 1326"/>
                <a:gd name="T38" fmla="*/ 581 w 1384"/>
                <a:gd name="T39" fmla="*/ 135 h 1326"/>
                <a:gd name="T40" fmla="*/ 612 w 1384"/>
                <a:gd name="T41" fmla="*/ 152 h 1326"/>
                <a:gd name="T42" fmla="*/ 665 w 1384"/>
                <a:gd name="T43" fmla="*/ 152 h 1326"/>
                <a:gd name="T44" fmla="*/ 761 w 1384"/>
                <a:gd name="T45" fmla="*/ 186 h 1326"/>
                <a:gd name="T46" fmla="*/ 847 w 1384"/>
                <a:gd name="T47" fmla="*/ 244 h 1326"/>
                <a:gd name="T48" fmla="*/ 964 w 1384"/>
                <a:gd name="T49" fmla="*/ 303 h 1326"/>
                <a:gd name="T50" fmla="*/ 1083 w 1384"/>
                <a:gd name="T51" fmla="*/ 318 h 1326"/>
                <a:gd name="T52" fmla="*/ 1179 w 1384"/>
                <a:gd name="T53" fmla="*/ 370 h 1326"/>
                <a:gd name="T54" fmla="*/ 1296 w 1384"/>
                <a:gd name="T55" fmla="*/ 394 h 1326"/>
                <a:gd name="T56" fmla="*/ 1270 w 1384"/>
                <a:gd name="T57" fmla="*/ 462 h 1326"/>
                <a:gd name="T58" fmla="*/ 1158 w 1384"/>
                <a:gd name="T59" fmla="*/ 531 h 1326"/>
                <a:gd name="T60" fmla="*/ 1031 w 1384"/>
                <a:gd name="T61" fmla="*/ 553 h 1326"/>
                <a:gd name="T62" fmla="*/ 979 w 1384"/>
                <a:gd name="T63" fmla="*/ 558 h 1326"/>
                <a:gd name="T64" fmla="*/ 995 w 1384"/>
                <a:gd name="T65" fmla="*/ 612 h 1326"/>
                <a:gd name="T66" fmla="*/ 909 w 1384"/>
                <a:gd name="T67" fmla="*/ 692 h 1326"/>
                <a:gd name="T68" fmla="*/ 880 w 1384"/>
                <a:gd name="T69" fmla="*/ 835 h 1326"/>
                <a:gd name="T70" fmla="*/ 844 w 1384"/>
                <a:gd name="T71" fmla="*/ 900 h 1326"/>
                <a:gd name="T72" fmla="*/ 781 w 1384"/>
                <a:gd name="T73" fmla="*/ 986 h 1326"/>
                <a:gd name="T74" fmla="*/ 751 w 1384"/>
                <a:gd name="T75" fmla="*/ 1014 h 1326"/>
                <a:gd name="T76" fmla="*/ 655 w 1384"/>
                <a:gd name="T77" fmla="*/ 1053 h 1326"/>
                <a:gd name="T78" fmla="*/ 559 w 1384"/>
                <a:gd name="T79" fmla="*/ 1095 h 1326"/>
                <a:gd name="T80" fmla="*/ 421 w 1384"/>
                <a:gd name="T81" fmla="*/ 1079 h 1326"/>
                <a:gd name="T82" fmla="*/ 270 w 1384"/>
                <a:gd name="T83" fmla="*/ 1092 h 1326"/>
                <a:gd name="T84" fmla="*/ 181 w 1384"/>
                <a:gd name="T85" fmla="*/ 1129 h 1326"/>
                <a:gd name="T86" fmla="*/ 138 w 1384"/>
                <a:gd name="T87" fmla="*/ 1062 h 1326"/>
                <a:gd name="T88" fmla="*/ 130 w 1384"/>
                <a:gd name="T89" fmla="*/ 1010 h 1326"/>
                <a:gd name="T90" fmla="*/ 72 w 1384"/>
                <a:gd name="T91" fmla="*/ 931 h 1326"/>
                <a:gd name="T92" fmla="*/ 24 w 1384"/>
                <a:gd name="T93" fmla="*/ 934 h 1326"/>
                <a:gd name="T94" fmla="*/ 62 w 1384"/>
                <a:gd name="T95" fmla="*/ 825 h 1326"/>
                <a:gd name="T96" fmla="*/ 81 w 1384"/>
                <a:gd name="T97" fmla="*/ 726 h 1326"/>
                <a:gd name="T98" fmla="*/ 88 w 1384"/>
                <a:gd name="T99" fmla="*/ 601 h 1326"/>
                <a:gd name="T100" fmla="*/ 159 w 1384"/>
                <a:gd name="T101" fmla="*/ 540 h 1326"/>
                <a:gd name="T102" fmla="*/ 185 w 1384"/>
                <a:gd name="T103" fmla="*/ 409 h 1326"/>
                <a:gd name="T104" fmla="*/ 276 w 1384"/>
                <a:gd name="T105" fmla="*/ 344 h 1326"/>
                <a:gd name="T106" fmla="*/ 179 w 1384"/>
                <a:gd name="T107" fmla="*/ 282 h 1326"/>
                <a:gd name="T108" fmla="*/ 86 w 1384"/>
                <a:gd name="T109" fmla="*/ 243 h 1326"/>
                <a:gd name="T110" fmla="*/ 10 w 1384"/>
                <a:gd name="T111" fmla="*/ 231 h 1326"/>
                <a:gd name="T112" fmla="*/ 42 w 1384"/>
                <a:gd name="T113" fmla="*/ 187 h 1326"/>
                <a:gd name="T114" fmla="*/ 26 w 1384"/>
                <a:gd name="T115" fmla="*/ 163 h 1326"/>
                <a:gd name="T116" fmla="*/ 46 w 1384"/>
                <a:gd name="T117" fmla="*/ 134 h 1326"/>
                <a:gd name="T118" fmla="*/ 31 w 1384"/>
                <a:gd name="T119" fmla="*/ 114 h 1326"/>
                <a:gd name="T120" fmla="*/ 3 w 1384"/>
                <a:gd name="T121" fmla="*/ 85 h 1326"/>
                <a:gd name="T122" fmla="*/ 37 w 1384"/>
                <a:gd name="T123" fmla="*/ 49 h 1326"/>
                <a:gd name="T124" fmla="*/ 107 w 1384"/>
                <a:gd name="T125" fmla="*/ 39 h 1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84" h="1326">
                  <a:moveTo>
                    <a:pt x="545" y="1326"/>
                  </a:moveTo>
                  <a:lnTo>
                    <a:pt x="543" y="1326"/>
                  </a:lnTo>
                  <a:lnTo>
                    <a:pt x="543" y="1324"/>
                  </a:lnTo>
                  <a:lnTo>
                    <a:pt x="545" y="1324"/>
                  </a:lnTo>
                  <a:lnTo>
                    <a:pt x="545" y="1326"/>
                  </a:lnTo>
                  <a:close/>
                  <a:moveTo>
                    <a:pt x="545" y="1324"/>
                  </a:moveTo>
                  <a:lnTo>
                    <a:pt x="545" y="1326"/>
                  </a:lnTo>
                  <a:lnTo>
                    <a:pt x="545" y="1324"/>
                  </a:lnTo>
                  <a:close/>
                  <a:moveTo>
                    <a:pt x="542" y="1324"/>
                  </a:moveTo>
                  <a:lnTo>
                    <a:pt x="543" y="1324"/>
                  </a:lnTo>
                  <a:lnTo>
                    <a:pt x="543" y="1326"/>
                  </a:lnTo>
                  <a:lnTo>
                    <a:pt x="542" y="1326"/>
                  </a:lnTo>
                  <a:lnTo>
                    <a:pt x="542" y="1324"/>
                  </a:lnTo>
                  <a:close/>
                  <a:moveTo>
                    <a:pt x="486" y="1298"/>
                  </a:moveTo>
                  <a:lnTo>
                    <a:pt x="488" y="1298"/>
                  </a:lnTo>
                  <a:lnTo>
                    <a:pt x="488" y="1300"/>
                  </a:lnTo>
                  <a:lnTo>
                    <a:pt x="486" y="1300"/>
                  </a:lnTo>
                  <a:lnTo>
                    <a:pt x="486" y="1302"/>
                  </a:lnTo>
                  <a:lnTo>
                    <a:pt x="485" y="1300"/>
                  </a:lnTo>
                  <a:lnTo>
                    <a:pt x="483" y="1298"/>
                  </a:lnTo>
                  <a:lnTo>
                    <a:pt x="483" y="1297"/>
                  </a:lnTo>
                  <a:lnTo>
                    <a:pt x="483" y="1295"/>
                  </a:lnTo>
                  <a:lnTo>
                    <a:pt x="485" y="1293"/>
                  </a:lnTo>
                  <a:lnTo>
                    <a:pt x="486" y="1295"/>
                  </a:lnTo>
                  <a:lnTo>
                    <a:pt x="486" y="1297"/>
                  </a:lnTo>
                  <a:lnTo>
                    <a:pt x="486" y="1298"/>
                  </a:lnTo>
                  <a:close/>
                  <a:moveTo>
                    <a:pt x="218" y="1160"/>
                  </a:moveTo>
                  <a:lnTo>
                    <a:pt x="220" y="1160"/>
                  </a:lnTo>
                  <a:lnTo>
                    <a:pt x="221" y="1160"/>
                  </a:lnTo>
                  <a:lnTo>
                    <a:pt x="221" y="1162"/>
                  </a:lnTo>
                  <a:lnTo>
                    <a:pt x="223" y="1163"/>
                  </a:lnTo>
                  <a:lnTo>
                    <a:pt x="224" y="1163"/>
                  </a:lnTo>
                  <a:lnTo>
                    <a:pt x="226" y="1163"/>
                  </a:lnTo>
                  <a:lnTo>
                    <a:pt x="224" y="1163"/>
                  </a:lnTo>
                  <a:lnTo>
                    <a:pt x="224" y="1165"/>
                  </a:lnTo>
                  <a:lnTo>
                    <a:pt x="226" y="1165"/>
                  </a:lnTo>
                  <a:lnTo>
                    <a:pt x="224" y="1165"/>
                  </a:lnTo>
                  <a:lnTo>
                    <a:pt x="226" y="1165"/>
                  </a:lnTo>
                  <a:lnTo>
                    <a:pt x="226" y="1163"/>
                  </a:lnTo>
                  <a:lnTo>
                    <a:pt x="228" y="1165"/>
                  </a:lnTo>
                  <a:lnTo>
                    <a:pt x="228" y="1163"/>
                  </a:lnTo>
                  <a:lnTo>
                    <a:pt x="229" y="1163"/>
                  </a:lnTo>
                  <a:lnTo>
                    <a:pt x="229" y="1165"/>
                  </a:lnTo>
                  <a:lnTo>
                    <a:pt x="228" y="1165"/>
                  </a:lnTo>
                  <a:lnTo>
                    <a:pt x="226" y="1165"/>
                  </a:lnTo>
                  <a:lnTo>
                    <a:pt x="224" y="1165"/>
                  </a:lnTo>
                  <a:lnTo>
                    <a:pt x="223" y="1167"/>
                  </a:lnTo>
                  <a:lnTo>
                    <a:pt x="223" y="1165"/>
                  </a:lnTo>
                  <a:lnTo>
                    <a:pt x="223" y="1167"/>
                  </a:lnTo>
                  <a:lnTo>
                    <a:pt x="221" y="1167"/>
                  </a:lnTo>
                  <a:lnTo>
                    <a:pt x="220" y="1167"/>
                  </a:lnTo>
                  <a:lnTo>
                    <a:pt x="220" y="1165"/>
                  </a:lnTo>
                  <a:lnTo>
                    <a:pt x="218" y="1165"/>
                  </a:lnTo>
                  <a:lnTo>
                    <a:pt x="218" y="1163"/>
                  </a:lnTo>
                  <a:lnTo>
                    <a:pt x="218" y="1162"/>
                  </a:lnTo>
                  <a:lnTo>
                    <a:pt x="218" y="1160"/>
                  </a:lnTo>
                  <a:close/>
                  <a:moveTo>
                    <a:pt x="133" y="1074"/>
                  </a:moveTo>
                  <a:lnTo>
                    <a:pt x="135" y="1074"/>
                  </a:lnTo>
                  <a:lnTo>
                    <a:pt x="135" y="1075"/>
                  </a:lnTo>
                  <a:lnTo>
                    <a:pt x="133" y="1075"/>
                  </a:lnTo>
                  <a:lnTo>
                    <a:pt x="133" y="1074"/>
                  </a:lnTo>
                  <a:close/>
                  <a:moveTo>
                    <a:pt x="758" y="1017"/>
                  </a:moveTo>
                  <a:lnTo>
                    <a:pt x="758" y="1015"/>
                  </a:lnTo>
                  <a:lnTo>
                    <a:pt x="758" y="1017"/>
                  </a:lnTo>
                  <a:close/>
                  <a:moveTo>
                    <a:pt x="784" y="1005"/>
                  </a:moveTo>
                  <a:lnTo>
                    <a:pt x="784" y="1004"/>
                  </a:lnTo>
                  <a:lnTo>
                    <a:pt x="784" y="1005"/>
                  </a:lnTo>
                  <a:close/>
                  <a:moveTo>
                    <a:pt x="782" y="1001"/>
                  </a:moveTo>
                  <a:lnTo>
                    <a:pt x="782" y="999"/>
                  </a:lnTo>
                  <a:lnTo>
                    <a:pt x="784" y="1001"/>
                  </a:lnTo>
                  <a:lnTo>
                    <a:pt x="782" y="1001"/>
                  </a:lnTo>
                  <a:close/>
                  <a:moveTo>
                    <a:pt x="790" y="997"/>
                  </a:moveTo>
                  <a:lnTo>
                    <a:pt x="790" y="996"/>
                  </a:lnTo>
                  <a:lnTo>
                    <a:pt x="790" y="997"/>
                  </a:lnTo>
                  <a:close/>
                  <a:moveTo>
                    <a:pt x="85" y="957"/>
                  </a:moveTo>
                  <a:lnTo>
                    <a:pt x="85" y="958"/>
                  </a:lnTo>
                  <a:lnTo>
                    <a:pt x="85" y="957"/>
                  </a:lnTo>
                  <a:close/>
                  <a:moveTo>
                    <a:pt x="85" y="955"/>
                  </a:moveTo>
                  <a:lnTo>
                    <a:pt x="85" y="957"/>
                  </a:lnTo>
                  <a:lnTo>
                    <a:pt x="85" y="955"/>
                  </a:lnTo>
                  <a:close/>
                  <a:moveTo>
                    <a:pt x="83" y="953"/>
                  </a:moveTo>
                  <a:lnTo>
                    <a:pt x="83" y="955"/>
                  </a:lnTo>
                  <a:lnTo>
                    <a:pt x="85" y="955"/>
                  </a:lnTo>
                  <a:lnTo>
                    <a:pt x="83" y="953"/>
                  </a:lnTo>
                  <a:close/>
                  <a:moveTo>
                    <a:pt x="76" y="947"/>
                  </a:moveTo>
                  <a:lnTo>
                    <a:pt x="76" y="949"/>
                  </a:lnTo>
                  <a:lnTo>
                    <a:pt x="78" y="949"/>
                  </a:lnTo>
                  <a:lnTo>
                    <a:pt x="78" y="950"/>
                  </a:lnTo>
                  <a:lnTo>
                    <a:pt x="80" y="952"/>
                  </a:lnTo>
                  <a:lnTo>
                    <a:pt x="81" y="952"/>
                  </a:lnTo>
                  <a:lnTo>
                    <a:pt x="81" y="953"/>
                  </a:lnTo>
                  <a:lnTo>
                    <a:pt x="83" y="953"/>
                  </a:lnTo>
                  <a:lnTo>
                    <a:pt x="80" y="952"/>
                  </a:lnTo>
                  <a:lnTo>
                    <a:pt x="80" y="950"/>
                  </a:lnTo>
                  <a:lnTo>
                    <a:pt x="76" y="949"/>
                  </a:lnTo>
                  <a:lnTo>
                    <a:pt x="76" y="947"/>
                  </a:lnTo>
                  <a:close/>
                  <a:moveTo>
                    <a:pt x="75" y="944"/>
                  </a:moveTo>
                  <a:lnTo>
                    <a:pt x="76" y="947"/>
                  </a:lnTo>
                  <a:lnTo>
                    <a:pt x="75" y="945"/>
                  </a:lnTo>
                  <a:lnTo>
                    <a:pt x="73" y="945"/>
                  </a:lnTo>
                  <a:lnTo>
                    <a:pt x="73" y="944"/>
                  </a:lnTo>
                  <a:lnTo>
                    <a:pt x="73" y="942"/>
                  </a:lnTo>
                  <a:lnTo>
                    <a:pt x="72" y="942"/>
                  </a:lnTo>
                  <a:lnTo>
                    <a:pt x="72" y="940"/>
                  </a:lnTo>
                  <a:lnTo>
                    <a:pt x="72" y="939"/>
                  </a:lnTo>
                  <a:lnTo>
                    <a:pt x="73" y="939"/>
                  </a:lnTo>
                  <a:lnTo>
                    <a:pt x="75" y="940"/>
                  </a:lnTo>
                  <a:lnTo>
                    <a:pt x="75" y="942"/>
                  </a:lnTo>
                  <a:lnTo>
                    <a:pt x="75" y="944"/>
                  </a:lnTo>
                  <a:close/>
                  <a:moveTo>
                    <a:pt x="823" y="939"/>
                  </a:moveTo>
                  <a:lnTo>
                    <a:pt x="825" y="939"/>
                  </a:lnTo>
                  <a:lnTo>
                    <a:pt x="826" y="939"/>
                  </a:lnTo>
                  <a:lnTo>
                    <a:pt x="825" y="939"/>
                  </a:lnTo>
                  <a:lnTo>
                    <a:pt x="823" y="939"/>
                  </a:lnTo>
                  <a:close/>
                  <a:moveTo>
                    <a:pt x="70" y="937"/>
                  </a:moveTo>
                  <a:lnTo>
                    <a:pt x="70" y="939"/>
                  </a:lnTo>
                  <a:lnTo>
                    <a:pt x="70" y="937"/>
                  </a:lnTo>
                  <a:lnTo>
                    <a:pt x="68" y="936"/>
                  </a:lnTo>
                  <a:lnTo>
                    <a:pt x="70" y="936"/>
                  </a:lnTo>
                  <a:lnTo>
                    <a:pt x="72" y="934"/>
                  </a:lnTo>
                  <a:lnTo>
                    <a:pt x="70" y="936"/>
                  </a:lnTo>
                  <a:lnTo>
                    <a:pt x="70" y="937"/>
                  </a:lnTo>
                  <a:close/>
                  <a:moveTo>
                    <a:pt x="72" y="937"/>
                  </a:moveTo>
                  <a:lnTo>
                    <a:pt x="72" y="939"/>
                  </a:lnTo>
                  <a:lnTo>
                    <a:pt x="72" y="937"/>
                  </a:lnTo>
                  <a:lnTo>
                    <a:pt x="70" y="937"/>
                  </a:lnTo>
                  <a:lnTo>
                    <a:pt x="70" y="936"/>
                  </a:lnTo>
                  <a:lnTo>
                    <a:pt x="72" y="934"/>
                  </a:lnTo>
                  <a:lnTo>
                    <a:pt x="73" y="936"/>
                  </a:lnTo>
                  <a:lnTo>
                    <a:pt x="72" y="937"/>
                  </a:lnTo>
                  <a:close/>
                  <a:moveTo>
                    <a:pt x="83" y="934"/>
                  </a:moveTo>
                  <a:lnTo>
                    <a:pt x="85" y="934"/>
                  </a:lnTo>
                  <a:lnTo>
                    <a:pt x="83" y="936"/>
                  </a:lnTo>
                  <a:lnTo>
                    <a:pt x="81" y="936"/>
                  </a:lnTo>
                  <a:lnTo>
                    <a:pt x="83" y="934"/>
                  </a:lnTo>
                  <a:close/>
                  <a:moveTo>
                    <a:pt x="52" y="932"/>
                  </a:moveTo>
                  <a:lnTo>
                    <a:pt x="50" y="932"/>
                  </a:lnTo>
                  <a:lnTo>
                    <a:pt x="50" y="931"/>
                  </a:lnTo>
                  <a:lnTo>
                    <a:pt x="52" y="931"/>
                  </a:lnTo>
                  <a:lnTo>
                    <a:pt x="52" y="932"/>
                  </a:lnTo>
                  <a:close/>
                  <a:moveTo>
                    <a:pt x="875" y="892"/>
                  </a:moveTo>
                  <a:lnTo>
                    <a:pt x="877" y="892"/>
                  </a:lnTo>
                  <a:lnTo>
                    <a:pt x="875" y="892"/>
                  </a:lnTo>
                  <a:close/>
                  <a:moveTo>
                    <a:pt x="1047" y="875"/>
                  </a:moveTo>
                  <a:lnTo>
                    <a:pt x="1047" y="877"/>
                  </a:lnTo>
                  <a:lnTo>
                    <a:pt x="1047" y="879"/>
                  </a:lnTo>
                  <a:lnTo>
                    <a:pt x="1049" y="880"/>
                  </a:lnTo>
                  <a:lnTo>
                    <a:pt x="1049" y="884"/>
                  </a:lnTo>
                  <a:lnTo>
                    <a:pt x="1049" y="885"/>
                  </a:lnTo>
                  <a:lnTo>
                    <a:pt x="1051" y="887"/>
                  </a:lnTo>
                  <a:lnTo>
                    <a:pt x="1052" y="887"/>
                  </a:lnTo>
                  <a:lnTo>
                    <a:pt x="1052" y="888"/>
                  </a:lnTo>
                  <a:lnTo>
                    <a:pt x="1052" y="890"/>
                  </a:lnTo>
                  <a:lnTo>
                    <a:pt x="1054" y="892"/>
                  </a:lnTo>
                  <a:lnTo>
                    <a:pt x="1056" y="893"/>
                  </a:lnTo>
                  <a:lnTo>
                    <a:pt x="1057" y="895"/>
                  </a:lnTo>
                  <a:lnTo>
                    <a:pt x="1059" y="895"/>
                  </a:lnTo>
                  <a:lnTo>
                    <a:pt x="1060" y="893"/>
                  </a:lnTo>
                  <a:lnTo>
                    <a:pt x="1062" y="893"/>
                  </a:lnTo>
                  <a:lnTo>
                    <a:pt x="1064" y="893"/>
                  </a:lnTo>
                  <a:lnTo>
                    <a:pt x="1064" y="895"/>
                  </a:lnTo>
                  <a:lnTo>
                    <a:pt x="1064" y="897"/>
                  </a:lnTo>
                  <a:lnTo>
                    <a:pt x="1062" y="898"/>
                  </a:lnTo>
                  <a:lnTo>
                    <a:pt x="1059" y="898"/>
                  </a:lnTo>
                  <a:lnTo>
                    <a:pt x="1057" y="898"/>
                  </a:lnTo>
                  <a:lnTo>
                    <a:pt x="1056" y="897"/>
                  </a:lnTo>
                  <a:lnTo>
                    <a:pt x="1054" y="895"/>
                  </a:lnTo>
                  <a:lnTo>
                    <a:pt x="1052" y="893"/>
                  </a:lnTo>
                  <a:lnTo>
                    <a:pt x="1051" y="893"/>
                  </a:lnTo>
                  <a:lnTo>
                    <a:pt x="1049" y="892"/>
                  </a:lnTo>
                  <a:lnTo>
                    <a:pt x="1047" y="893"/>
                  </a:lnTo>
                  <a:lnTo>
                    <a:pt x="1046" y="895"/>
                  </a:lnTo>
                  <a:lnTo>
                    <a:pt x="1044" y="895"/>
                  </a:lnTo>
                  <a:lnTo>
                    <a:pt x="1044" y="897"/>
                  </a:lnTo>
                  <a:lnTo>
                    <a:pt x="1043" y="897"/>
                  </a:lnTo>
                  <a:lnTo>
                    <a:pt x="1043" y="898"/>
                  </a:lnTo>
                  <a:lnTo>
                    <a:pt x="1041" y="898"/>
                  </a:lnTo>
                  <a:lnTo>
                    <a:pt x="1041" y="897"/>
                  </a:lnTo>
                  <a:lnTo>
                    <a:pt x="1041" y="895"/>
                  </a:lnTo>
                  <a:lnTo>
                    <a:pt x="1041" y="893"/>
                  </a:lnTo>
                  <a:lnTo>
                    <a:pt x="1041" y="890"/>
                  </a:lnTo>
                  <a:lnTo>
                    <a:pt x="1043" y="890"/>
                  </a:lnTo>
                  <a:lnTo>
                    <a:pt x="1043" y="888"/>
                  </a:lnTo>
                  <a:lnTo>
                    <a:pt x="1041" y="887"/>
                  </a:lnTo>
                  <a:lnTo>
                    <a:pt x="1043" y="887"/>
                  </a:lnTo>
                  <a:lnTo>
                    <a:pt x="1043" y="885"/>
                  </a:lnTo>
                  <a:lnTo>
                    <a:pt x="1044" y="885"/>
                  </a:lnTo>
                  <a:lnTo>
                    <a:pt x="1046" y="885"/>
                  </a:lnTo>
                  <a:lnTo>
                    <a:pt x="1047" y="885"/>
                  </a:lnTo>
                  <a:lnTo>
                    <a:pt x="1047" y="884"/>
                  </a:lnTo>
                  <a:lnTo>
                    <a:pt x="1047" y="882"/>
                  </a:lnTo>
                  <a:lnTo>
                    <a:pt x="1047" y="884"/>
                  </a:lnTo>
                  <a:lnTo>
                    <a:pt x="1047" y="882"/>
                  </a:lnTo>
                  <a:lnTo>
                    <a:pt x="1047" y="880"/>
                  </a:lnTo>
                  <a:lnTo>
                    <a:pt x="1047" y="879"/>
                  </a:lnTo>
                  <a:lnTo>
                    <a:pt x="1046" y="877"/>
                  </a:lnTo>
                  <a:lnTo>
                    <a:pt x="1047" y="877"/>
                  </a:lnTo>
                  <a:lnTo>
                    <a:pt x="1047" y="875"/>
                  </a:lnTo>
                  <a:close/>
                  <a:moveTo>
                    <a:pt x="1054" y="877"/>
                  </a:moveTo>
                  <a:lnTo>
                    <a:pt x="1054" y="879"/>
                  </a:lnTo>
                  <a:lnTo>
                    <a:pt x="1052" y="877"/>
                  </a:lnTo>
                  <a:lnTo>
                    <a:pt x="1054" y="875"/>
                  </a:lnTo>
                  <a:lnTo>
                    <a:pt x="1054" y="877"/>
                  </a:lnTo>
                  <a:close/>
                  <a:moveTo>
                    <a:pt x="1046" y="872"/>
                  </a:moveTo>
                  <a:lnTo>
                    <a:pt x="1046" y="874"/>
                  </a:lnTo>
                  <a:lnTo>
                    <a:pt x="1046" y="872"/>
                  </a:lnTo>
                  <a:close/>
                  <a:moveTo>
                    <a:pt x="912" y="866"/>
                  </a:moveTo>
                  <a:lnTo>
                    <a:pt x="914" y="866"/>
                  </a:lnTo>
                  <a:lnTo>
                    <a:pt x="912" y="866"/>
                  </a:lnTo>
                  <a:close/>
                  <a:moveTo>
                    <a:pt x="1049" y="864"/>
                  </a:moveTo>
                  <a:lnTo>
                    <a:pt x="1051" y="864"/>
                  </a:lnTo>
                  <a:lnTo>
                    <a:pt x="1049" y="864"/>
                  </a:lnTo>
                  <a:close/>
                  <a:moveTo>
                    <a:pt x="1051" y="864"/>
                  </a:moveTo>
                  <a:lnTo>
                    <a:pt x="1051" y="862"/>
                  </a:lnTo>
                  <a:lnTo>
                    <a:pt x="1051" y="864"/>
                  </a:lnTo>
                  <a:close/>
                  <a:moveTo>
                    <a:pt x="1025" y="864"/>
                  </a:moveTo>
                  <a:lnTo>
                    <a:pt x="1025" y="862"/>
                  </a:lnTo>
                  <a:lnTo>
                    <a:pt x="1025" y="864"/>
                  </a:lnTo>
                  <a:close/>
                  <a:moveTo>
                    <a:pt x="1023" y="864"/>
                  </a:moveTo>
                  <a:lnTo>
                    <a:pt x="1021" y="864"/>
                  </a:lnTo>
                  <a:lnTo>
                    <a:pt x="1023" y="864"/>
                  </a:lnTo>
                  <a:lnTo>
                    <a:pt x="1023" y="862"/>
                  </a:lnTo>
                  <a:lnTo>
                    <a:pt x="1025" y="862"/>
                  </a:lnTo>
                  <a:lnTo>
                    <a:pt x="1023" y="864"/>
                  </a:lnTo>
                  <a:close/>
                  <a:moveTo>
                    <a:pt x="1069" y="851"/>
                  </a:moveTo>
                  <a:lnTo>
                    <a:pt x="1069" y="853"/>
                  </a:lnTo>
                  <a:lnTo>
                    <a:pt x="1069" y="851"/>
                  </a:lnTo>
                  <a:close/>
                  <a:moveTo>
                    <a:pt x="1023" y="851"/>
                  </a:moveTo>
                  <a:lnTo>
                    <a:pt x="1025" y="849"/>
                  </a:lnTo>
                  <a:lnTo>
                    <a:pt x="1025" y="851"/>
                  </a:lnTo>
                  <a:lnTo>
                    <a:pt x="1023" y="851"/>
                  </a:lnTo>
                  <a:close/>
                  <a:moveTo>
                    <a:pt x="1026" y="849"/>
                  </a:moveTo>
                  <a:lnTo>
                    <a:pt x="1026" y="848"/>
                  </a:lnTo>
                  <a:lnTo>
                    <a:pt x="1028" y="849"/>
                  </a:lnTo>
                  <a:lnTo>
                    <a:pt x="1026" y="849"/>
                  </a:lnTo>
                  <a:close/>
                  <a:moveTo>
                    <a:pt x="1021" y="848"/>
                  </a:moveTo>
                  <a:lnTo>
                    <a:pt x="1021" y="849"/>
                  </a:lnTo>
                  <a:lnTo>
                    <a:pt x="1021" y="848"/>
                  </a:lnTo>
                  <a:close/>
                  <a:moveTo>
                    <a:pt x="1221" y="846"/>
                  </a:moveTo>
                  <a:lnTo>
                    <a:pt x="1221" y="848"/>
                  </a:lnTo>
                  <a:lnTo>
                    <a:pt x="1221" y="846"/>
                  </a:lnTo>
                  <a:close/>
                  <a:moveTo>
                    <a:pt x="1021" y="848"/>
                  </a:moveTo>
                  <a:lnTo>
                    <a:pt x="1020" y="848"/>
                  </a:lnTo>
                  <a:lnTo>
                    <a:pt x="1020" y="846"/>
                  </a:lnTo>
                  <a:lnTo>
                    <a:pt x="1021" y="846"/>
                  </a:lnTo>
                  <a:lnTo>
                    <a:pt x="1021" y="848"/>
                  </a:lnTo>
                  <a:close/>
                  <a:moveTo>
                    <a:pt x="1026" y="848"/>
                  </a:moveTo>
                  <a:lnTo>
                    <a:pt x="1026" y="846"/>
                  </a:lnTo>
                  <a:lnTo>
                    <a:pt x="1026" y="844"/>
                  </a:lnTo>
                  <a:lnTo>
                    <a:pt x="1028" y="846"/>
                  </a:lnTo>
                  <a:lnTo>
                    <a:pt x="1026" y="846"/>
                  </a:lnTo>
                  <a:lnTo>
                    <a:pt x="1028" y="846"/>
                  </a:lnTo>
                  <a:lnTo>
                    <a:pt x="1026" y="846"/>
                  </a:lnTo>
                  <a:lnTo>
                    <a:pt x="1028" y="848"/>
                  </a:lnTo>
                  <a:lnTo>
                    <a:pt x="1026" y="848"/>
                  </a:lnTo>
                  <a:close/>
                  <a:moveTo>
                    <a:pt x="1075" y="844"/>
                  </a:moveTo>
                  <a:lnTo>
                    <a:pt x="1077" y="846"/>
                  </a:lnTo>
                  <a:lnTo>
                    <a:pt x="1075" y="846"/>
                  </a:lnTo>
                  <a:lnTo>
                    <a:pt x="1075" y="844"/>
                  </a:lnTo>
                  <a:close/>
                  <a:moveTo>
                    <a:pt x="1223" y="841"/>
                  </a:moveTo>
                  <a:lnTo>
                    <a:pt x="1225" y="841"/>
                  </a:lnTo>
                  <a:lnTo>
                    <a:pt x="1225" y="843"/>
                  </a:lnTo>
                  <a:lnTo>
                    <a:pt x="1226" y="843"/>
                  </a:lnTo>
                  <a:lnTo>
                    <a:pt x="1225" y="844"/>
                  </a:lnTo>
                  <a:lnTo>
                    <a:pt x="1225" y="843"/>
                  </a:lnTo>
                  <a:lnTo>
                    <a:pt x="1225" y="844"/>
                  </a:lnTo>
                  <a:lnTo>
                    <a:pt x="1223" y="844"/>
                  </a:lnTo>
                  <a:lnTo>
                    <a:pt x="1223" y="846"/>
                  </a:lnTo>
                  <a:lnTo>
                    <a:pt x="1223" y="848"/>
                  </a:lnTo>
                  <a:lnTo>
                    <a:pt x="1223" y="846"/>
                  </a:lnTo>
                  <a:lnTo>
                    <a:pt x="1221" y="848"/>
                  </a:lnTo>
                  <a:lnTo>
                    <a:pt x="1221" y="846"/>
                  </a:lnTo>
                  <a:lnTo>
                    <a:pt x="1220" y="846"/>
                  </a:lnTo>
                  <a:lnTo>
                    <a:pt x="1220" y="844"/>
                  </a:lnTo>
                  <a:lnTo>
                    <a:pt x="1218" y="844"/>
                  </a:lnTo>
                  <a:lnTo>
                    <a:pt x="1220" y="843"/>
                  </a:lnTo>
                  <a:lnTo>
                    <a:pt x="1218" y="843"/>
                  </a:lnTo>
                  <a:lnTo>
                    <a:pt x="1220" y="843"/>
                  </a:lnTo>
                  <a:lnTo>
                    <a:pt x="1220" y="841"/>
                  </a:lnTo>
                  <a:lnTo>
                    <a:pt x="1220" y="843"/>
                  </a:lnTo>
                  <a:lnTo>
                    <a:pt x="1220" y="844"/>
                  </a:lnTo>
                  <a:lnTo>
                    <a:pt x="1221" y="844"/>
                  </a:lnTo>
                  <a:lnTo>
                    <a:pt x="1221" y="843"/>
                  </a:lnTo>
                  <a:lnTo>
                    <a:pt x="1220" y="843"/>
                  </a:lnTo>
                  <a:lnTo>
                    <a:pt x="1221" y="843"/>
                  </a:lnTo>
                  <a:lnTo>
                    <a:pt x="1223" y="843"/>
                  </a:lnTo>
                  <a:lnTo>
                    <a:pt x="1223" y="841"/>
                  </a:lnTo>
                  <a:close/>
                  <a:moveTo>
                    <a:pt x="1039" y="840"/>
                  </a:moveTo>
                  <a:lnTo>
                    <a:pt x="1039" y="838"/>
                  </a:lnTo>
                  <a:lnTo>
                    <a:pt x="1039" y="840"/>
                  </a:lnTo>
                  <a:close/>
                  <a:moveTo>
                    <a:pt x="1225" y="840"/>
                  </a:moveTo>
                  <a:lnTo>
                    <a:pt x="1223" y="840"/>
                  </a:lnTo>
                  <a:lnTo>
                    <a:pt x="1225" y="838"/>
                  </a:lnTo>
                  <a:lnTo>
                    <a:pt x="1226" y="838"/>
                  </a:lnTo>
                  <a:lnTo>
                    <a:pt x="1225" y="840"/>
                  </a:lnTo>
                  <a:close/>
                  <a:moveTo>
                    <a:pt x="1226" y="836"/>
                  </a:moveTo>
                  <a:lnTo>
                    <a:pt x="1226" y="838"/>
                  </a:lnTo>
                  <a:lnTo>
                    <a:pt x="1226" y="836"/>
                  </a:lnTo>
                  <a:close/>
                  <a:moveTo>
                    <a:pt x="1062" y="831"/>
                  </a:moveTo>
                  <a:lnTo>
                    <a:pt x="1064" y="831"/>
                  </a:lnTo>
                  <a:lnTo>
                    <a:pt x="1065" y="833"/>
                  </a:lnTo>
                  <a:lnTo>
                    <a:pt x="1065" y="835"/>
                  </a:lnTo>
                  <a:lnTo>
                    <a:pt x="1067" y="835"/>
                  </a:lnTo>
                  <a:lnTo>
                    <a:pt x="1067" y="836"/>
                  </a:lnTo>
                  <a:lnTo>
                    <a:pt x="1069" y="835"/>
                  </a:lnTo>
                  <a:lnTo>
                    <a:pt x="1070" y="835"/>
                  </a:lnTo>
                  <a:lnTo>
                    <a:pt x="1070" y="836"/>
                  </a:lnTo>
                  <a:lnTo>
                    <a:pt x="1070" y="835"/>
                  </a:lnTo>
                  <a:lnTo>
                    <a:pt x="1072" y="836"/>
                  </a:lnTo>
                  <a:lnTo>
                    <a:pt x="1072" y="838"/>
                  </a:lnTo>
                  <a:lnTo>
                    <a:pt x="1072" y="840"/>
                  </a:lnTo>
                  <a:lnTo>
                    <a:pt x="1070" y="840"/>
                  </a:lnTo>
                  <a:lnTo>
                    <a:pt x="1070" y="838"/>
                  </a:lnTo>
                  <a:lnTo>
                    <a:pt x="1070" y="840"/>
                  </a:lnTo>
                  <a:lnTo>
                    <a:pt x="1070" y="841"/>
                  </a:lnTo>
                  <a:lnTo>
                    <a:pt x="1072" y="843"/>
                  </a:lnTo>
                  <a:lnTo>
                    <a:pt x="1072" y="844"/>
                  </a:lnTo>
                  <a:lnTo>
                    <a:pt x="1073" y="844"/>
                  </a:lnTo>
                  <a:lnTo>
                    <a:pt x="1072" y="846"/>
                  </a:lnTo>
                  <a:lnTo>
                    <a:pt x="1073" y="846"/>
                  </a:lnTo>
                  <a:lnTo>
                    <a:pt x="1072" y="846"/>
                  </a:lnTo>
                  <a:lnTo>
                    <a:pt x="1070" y="846"/>
                  </a:lnTo>
                  <a:lnTo>
                    <a:pt x="1070" y="848"/>
                  </a:lnTo>
                  <a:lnTo>
                    <a:pt x="1069" y="848"/>
                  </a:lnTo>
                  <a:lnTo>
                    <a:pt x="1069" y="849"/>
                  </a:lnTo>
                  <a:lnTo>
                    <a:pt x="1067" y="849"/>
                  </a:lnTo>
                  <a:lnTo>
                    <a:pt x="1069" y="849"/>
                  </a:lnTo>
                  <a:lnTo>
                    <a:pt x="1067" y="849"/>
                  </a:lnTo>
                  <a:lnTo>
                    <a:pt x="1069" y="849"/>
                  </a:lnTo>
                  <a:lnTo>
                    <a:pt x="1067" y="851"/>
                  </a:lnTo>
                  <a:lnTo>
                    <a:pt x="1069" y="851"/>
                  </a:lnTo>
                  <a:lnTo>
                    <a:pt x="1067" y="851"/>
                  </a:lnTo>
                  <a:lnTo>
                    <a:pt x="1065" y="849"/>
                  </a:lnTo>
                  <a:lnTo>
                    <a:pt x="1065" y="851"/>
                  </a:lnTo>
                  <a:lnTo>
                    <a:pt x="1065" y="849"/>
                  </a:lnTo>
                  <a:lnTo>
                    <a:pt x="1064" y="851"/>
                  </a:lnTo>
                  <a:lnTo>
                    <a:pt x="1064" y="849"/>
                  </a:lnTo>
                  <a:lnTo>
                    <a:pt x="1064" y="851"/>
                  </a:lnTo>
                  <a:lnTo>
                    <a:pt x="1062" y="851"/>
                  </a:lnTo>
                  <a:lnTo>
                    <a:pt x="1062" y="854"/>
                  </a:lnTo>
                  <a:lnTo>
                    <a:pt x="1062" y="856"/>
                  </a:lnTo>
                  <a:lnTo>
                    <a:pt x="1060" y="854"/>
                  </a:lnTo>
                  <a:lnTo>
                    <a:pt x="1060" y="856"/>
                  </a:lnTo>
                  <a:lnTo>
                    <a:pt x="1062" y="856"/>
                  </a:lnTo>
                  <a:lnTo>
                    <a:pt x="1060" y="856"/>
                  </a:lnTo>
                  <a:lnTo>
                    <a:pt x="1059" y="856"/>
                  </a:lnTo>
                  <a:lnTo>
                    <a:pt x="1059" y="857"/>
                  </a:lnTo>
                  <a:lnTo>
                    <a:pt x="1057" y="857"/>
                  </a:lnTo>
                  <a:lnTo>
                    <a:pt x="1057" y="859"/>
                  </a:lnTo>
                  <a:lnTo>
                    <a:pt x="1056" y="859"/>
                  </a:lnTo>
                  <a:lnTo>
                    <a:pt x="1056" y="861"/>
                  </a:lnTo>
                  <a:lnTo>
                    <a:pt x="1056" y="859"/>
                  </a:lnTo>
                  <a:lnTo>
                    <a:pt x="1056" y="861"/>
                  </a:lnTo>
                  <a:lnTo>
                    <a:pt x="1054" y="861"/>
                  </a:lnTo>
                  <a:lnTo>
                    <a:pt x="1054" y="859"/>
                  </a:lnTo>
                  <a:lnTo>
                    <a:pt x="1052" y="859"/>
                  </a:lnTo>
                  <a:lnTo>
                    <a:pt x="1052" y="861"/>
                  </a:lnTo>
                  <a:lnTo>
                    <a:pt x="1051" y="859"/>
                  </a:lnTo>
                  <a:lnTo>
                    <a:pt x="1051" y="861"/>
                  </a:lnTo>
                  <a:lnTo>
                    <a:pt x="1049" y="861"/>
                  </a:lnTo>
                  <a:lnTo>
                    <a:pt x="1049" y="862"/>
                  </a:lnTo>
                  <a:lnTo>
                    <a:pt x="1047" y="862"/>
                  </a:lnTo>
                  <a:lnTo>
                    <a:pt x="1047" y="864"/>
                  </a:lnTo>
                  <a:lnTo>
                    <a:pt x="1046" y="866"/>
                  </a:lnTo>
                  <a:lnTo>
                    <a:pt x="1047" y="866"/>
                  </a:lnTo>
                  <a:lnTo>
                    <a:pt x="1046" y="866"/>
                  </a:lnTo>
                  <a:lnTo>
                    <a:pt x="1046" y="867"/>
                  </a:lnTo>
                  <a:lnTo>
                    <a:pt x="1046" y="869"/>
                  </a:lnTo>
                  <a:lnTo>
                    <a:pt x="1046" y="871"/>
                  </a:lnTo>
                  <a:lnTo>
                    <a:pt x="1044" y="869"/>
                  </a:lnTo>
                  <a:lnTo>
                    <a:pt x="1043" y="871"/>
                  </a:lnTo>
                  <a:lnTo>
                    <a:pt x="1043" y="869"/>
                  </a:lnTo>
                  <a:lnTo>
                    <a:pt x="1043" y="867"/>
                  </a:lnTo>
                  <a:lnTo>
                    <a:pt x="1041" y="866"/>
                  </a:lnTo>
                  <a:lnTo>
                    <a:pt x="1039" y="864"/>
                  </a:lnTo>
                  <a:lnTo>
                    <a:pt x="1039" y="866"/>
                  </a:lnTo>
                  <a:lnTo>
                    <a:pt x="1038" y="866"/>
                  </a:lnTo>
                  <a:lnTo>
                    <a:pt x="1036" y="866"/>
                  </a:lnTo>
                  <a:lnTo>
                    <a:pt x="1038" y="866"/>
                  </a:lnTo>
                  <a:lnTo>
                    <a:pt x="1036" y="864"/>
                  </a:lnTo>
                  <a:lnTo>
                    <a:pt x="1036" y="866"/>
                  </a:lnTo>
                  <a:lnTo>
                    <a:pt x="1034" y="866"/>
                  </a:lnTo>
                  <a:lnTo>
                    <a:pt x="1034" y="864"/>
                  </a:lnTo>
                  <a:lnTo>
                    <a:pt x="1033" y="862"/>
                  </a:lnTo>
                  <a:lnTo>
                    <a:pt x="1033" y="864"/>
                  </a:lnTo>
                  <a:lnTo>
                    <a:pt x="1033" y="862"/>
                  </a:lnTo>
                  <a:lnTo>
                    <a:pt x="1031" y="862"/>
                  </a:lnTo>
                  <a:lnTo>
                    <a:pt x="1029" y="864"/>
                  </a:lnTo>
                  <a:lnTo>
                    <a:pt x="1029" y="866"/>
                  </a:lnTo>
                  <a:lnTo>
                    <a:pt x="1028" y="866"/>
                  </a:lnTo>
                  <a:lnTo>
                    <a:pt x="1028" y="864"/>
                  </a:lnTo>
                  <a:lnTo>
                    <a:pt x="1028" y="862"/>
                  </a:lnTo>
                  <a:lnTo>
                    <a:pt x="1026" y="862"/>
                  </a:lnTo>
                  <a:lnTo>
                    <a:pt x="1026" y="861"/>
                  </a:lnTo>
                  <a:lnTo>
                    <a:pt x="1026" y="859"/>
                  </a:lnTo>
                  <a:lnTo>
                    <a:pt x="1025" y="859"/>
                  </a:lnTo>
                  <a:lnTo>
                    <a:pt x="1025" y="857"/>
                  </a:lnTo>
                  <a:lnTo>
                    <a:pt x="1026" y="857"/>
                  </a:lnTo>
                  <a:lnTo>
                    <a:pt x="1026" y="856"/>
                  </a:lnTo>
                  <a:lnTo>
                    <a:pt x="1028" y="856"/>
                  </a:lnTo>
                  <a:lnTo>
                    <a:pt x="1028" y="854"/>
                  </a:lnTo>
                  <a:lnTo>
                    <a:pt x="1028" y="853"/>
                  </a:lnTo>
                  <a:lnTo>
                    <a:pt x="1026" y="851"/>
                  </a:lnTo>
                  <a:lnTo>
                    <a:pt x="1026" y="849"/>
                  </a:lnTo>
                  <a:lnTo>
                    <a:pt x="1028" y="849"/>
                  </a:lnTo>
                  <a:lnTo>
                    <a:pt x="1028" y="848"/>
                  </a:lnTo>
                  <a:lnTo>
                    <a:pt x="1029" y="849"/>
                  </a:lnTo>
                  <a:lnTo>
                    <a:pt x="1031" y="849"/>
                  </a:lnTo>
                  <a:lnTo>
                    <a:pt x="1033" y="849"/>
                  </a:lnTo>
                  <a:lnTo>
                    <a:pt x="1034" y="849"/>
                  </a:lnTo>
                  <a:lnTo>
                    <a:pt x="1036" y="849"/>
                  </a:lnTo>
                  <a:lnTo>
                    <a:pt x="1038" y="849"/>
                  </a:lnTo>
                  <a:lnTo>
                    <a:pt x="1036" y="849"/>
                  </a:lnTo>
                  <a:lnTo>
                    <a:pt x="1036" y="848"/>
                  </a:lnTo>
                  <a:lnTo>
                    <a:pt x="1034" y="848"/>
                  </a:lnTo>
                  <a:lnTo>
                    <a:pt x="1034" y="846"/>
                  </a:lnTo>
                  <a:lnTo>
                    <a:pt x="1036" y="846"/>
                  </a:lnTo>
                  <a:lnTo>
                    <a:pt x="1036" y="844"/>
                  </a:lnTo>
                  <a:lnTo>
                    <a:pt x="1036" y="843"/>
                  </a:lnTo>
                  <a:lnTo>
                    <a:pt x="1036" y="841"/>
                  </a:lnTo>
                  <a:lnTo>
                    <a:pt x="1038" y="841"/>
                  </a:lnTo>
                  <a:lnTo>
                    <a:pt x="1038" y="840"/>
                  </a:lnTo>
                  <a:lnTo>
                    <a:pt x="1039" y="840"/>
                  </a:lnTo>
                  <a:lnTo>
                    <a:pt x="1041" y="840"/>
                  </a:lnTo>
                  <a:lnTo>
                    <a:pt x="1039" y="838"/>
                  </a:lnTo>
                  <a:lnTo>
                    <a:pt x="1041" y="838"/>
                  </a:lnTo>
                  <a:lnTo>
                    <a:pt x="1043" y="838"/>
                  </a:lnTo>
                  <a:lnTo>
                    <a:pt x="1043" y="836"/>
                  </a:lnTo>
                  <a:lnTo>
                    <a:pt x="1043" y="838"/>
                  </a:lnTo>
                  <a:lnTo>
                    <a:pt x="1044" y="836"/>
                  </a:lnTo>
                  <a:lnTo>
                    <a:pt x="1044" y="838"/>
                  </a:lnTo>
                  <a:lnTo>
                    <a:pt x="1046" y="838"/>
                  </a:lnTo>
                  <a:lnTo>
                    <a:pt x="1047" y="836"/>
                  </a:lnTo>
                  <a:lnTo>
                    <a:pt x="1049" y="836"/>
                  </a:lnTo>
                  <a:lnTo>
                    <a:pt x="1051" y="836"/>
                  </a:lnTo>
                  <a:lnTo>
                    <a:pt x="1051" y="835"/>
                  </a:lnTo>
                  <a:lnTo>
                    <a:pt x="1052" y="835"/>
                  </a:lnTo>
                  <a:lnTo>
                    <a:pt x="1054" y="835"/>
                  </a:lnTo>
                  <a:lnTo>
                    <a:pt x="1054" y="836"/>
                  </a:lnTo>
                  <a:lnTo>
                    <a:pt x="1054" y="835"/>
                  </a:lnTo>
                  <a:lnTo>
                    <a:pt x="1056" y="835"/>
                  </a:lnTo>
                  <a:lnTo>
                    <a:pt x="1054" y="835"/>
                  </a:lnTo>
                  <a:lnTo>
                    <a:pt x="1056" y="835"/>
                  </a:lnTo>
                  <a:lnTo>
                    <a:pt x="1056" y="833"/>
                  </a:lnTo>
                  <a:lnTo>
                    <a:pt x="1057" y="833"/>
                  </a:lnTo>
                  <a:lnTo>
                    <a:pt x="1059" y="833"/>
                  </a:lnTo>
                  <a:lnTo>
                    <a:pt x="1060" y="833"/>
                  </a:lnTo>
                  <a:lnTo>
                    <a:pt x="1059" y="833"/>
                  </a:lnTo>
                  <a:lnTo>
                    <a:pt x="1060" y="833"/>
                  </a:lnTo>
                  <a:lnTo>
                    <a:pt x="1060" y="835"/>
                  </a:lnTo>
                  <a:lnTo>
                    <a:pt x="1062" y="833"/>
                  </a:lnTo>
                  <a:lnTo>
                    <a:pt x="1060" y="833"/>
                  </a:lnTo>
                  <a:lnTo>
                    <a:pt x="1062" y="831"/>
                  </a:lnTo>
                  <a:lnTo>
                    <a:pt x="1062" y="833"/>
                  </a:lnTo>
                  <a:lnTo>
                    <a:pt x="1062" y="831"/>
                  </a:lnTo>
                  <a:close/>
                  <a:moveTo>
                    <a:pt x="1171" y="789"/>
                  </a:moveTo>
                  <a:lnTo>
                    <a:pt x="1173" y="788"/>
                  </a:lnTo>
                  <a:lnTo>
                    <a:pt x="1173" y="789"/>
                  </a:lnTo>
                  <a:lnTo>
                    <a:pt x="1171" y="789"/>
                  </a:lnTo>
                  <a:close/>
                  <a:moveTo>
                    <a:pt x="1160" y="775"/>
                  </a:moveTo>
                  <a:lnTo>
                    <a:pt x="1158" y="776"/>
                  </a:lnTo>
                  <a:lnTo>
                    <a:pt x="1156" y="776"/>
                  </a:lnTo>
                  <a:lnTo>
                    <a:pt x="1156" y="775"/>
                  </a:lnTo>
                  <a:lnTo>
                    <a:pt x="1158" y="775"/>
                  </a:lnTo>
                  <a:lnTo>
                    <a:pt x="1160" y="773"/>
                  </a:lnTo>
                  <a:lnTo>
                    <a:pt x="1160" y="775"/>
                  </a:lnTo>
                  <a:close/>
                  <a:moveTo>
                    <a:pt x="1378" y="763"/>
                  </a:moveTo>
                  <a:lnTo>
                    <a:pt x="1379" y="763"/>
                  </a:lnTo>
                  <a:lnTo>
                    <a:pt x="1378" y="763"/>
                  </a:lnTo>
                  <a:close/>
                  <a:moveTo>
                    <a:pt x="1379" y="740"/>
                  </a:moveTo>
                  <a:lnTo>
                    <a:pt x="1379" y="742"/>
                  </a:lnTo>
                  <a:lnTo>
                    <a:pt x="1378" y="742"/>
                  </a:lnTo>
                  <a:lnTo>
                    <a:pt x="1379" y="740"/>
                  </a:lnTo>
                  <a:lnTo>
                    <a:pt x="1378" y="740"/>
                  </a:lnTo>
                  <a:lnTo>
                    <a:pt x="1379" y="740"/>
                  </a:lnTo>
                  <a:close/>
                  <a:moveTo>
                    <a:pt x="1254" y="736"/>
                  </a:moveTo>
                  <a:lnTo>
                    <a:pt x="1254" y="737"/>
                  </a:lnTo>
                  <a:lnTo>
                    <a:pt x="1254" y="736"/>
                  </a:lnTo>
                  <a:close/>
                  <a:moveTo>
                    <a:pt x="1371" y="732"/>
                  </a:moveTo>
                  <a:lnTo>
                    <a:pt x="1373" y="732"/>
                  </a:lnTo>
                  <a:lnTo>
                    <a:pt x="1371" y="732"/>
                  </a:lnTo>
                  <a:close/>
                  <a:moveTo>
                    <a:pt x="1260" y="732"/>
                  </a:moveTo>
                  <a:lnTo>
                    <a:pt x="1262" y="731"/>
                  </a:lnTo>
                  <a:lnTo>
                    <a:pt x="1262" y="732"/>
                  </a:lnTo>
                  <a:lnTo>
                    <a:pt x="1260" y="732"/>
                  </a:lnTo>
                  <a:lnTo>
                    <a:pt x="1260" y="734"/>
                  </a:lnTo>
                  <a:lnTo>
                    <a:pt x="1259" y="734"/>
                  </a:lnTo>
                  <a:lnTo>
                    <a:pt x="1257" y="734"/>
                  </a:lnTo>
                  <a:lnTo>
                    <a:pt x="1256" y="736"/>
                  </a:lnTo>
                  <a:lnTo>
                    <a:pt x="1254" y="736"/>
                  </a:lnTo>
                  <a:lnTo>
                    <a:pt x="1252" y="736"/>
                  </a:lnTo>
                  <a:lnTo>
                    <a:pt x="1251" y="737"/>
                  </a:lnTo>
                  <a:lnTo>
                    <a:pt x="1249" y="737"/>
                  </a:lnTo>
                  <a:lnTo>
                    <a:pt x="1249" y="739"/>
                  </a:lnTo>
                  <a:lnTo>
                    <a:pt x="1249" y="737"/>
                  </a:lnTo>
                  <a:lnTo>
                    <a:pt x="1247" y="737"/>
                  </a:lnTo>
                  <a:lnTo>
                    <a:pt x="1246" y="737"/>
                  </a:lnTo>
                  <a:lnTo>
                    <a:pt x="1247" y="737"/>
                  </a:lnTo>
                  <a:lnTo>
                    <a:pt x="1247" y="739"/>
                  </a:lnTo>
                  <a:lnTo>
                    <a:pt x="1246" y="739"/>
                  </a:lnTo>
                  <a:lnTo>
                    <a:pt x="1246" y="737"/>
                  </a:lnTo>
                  <a:lnTo>
                    <a:pt x="1246" y="739"/>
                  </a:lnTo>
                  <a:lnTo>
                    <a:pt x="1246" y="740"/>
                  </a:lnTo>
                  <a:lnTo>
                    <a:pt x="1246" y="742"/>
                  </a:lnTo>
                  <a:lnTo>
                    <a:pt x="1247" y="744"/>
                  </a:lnTo>
                  <a:lnTo>
                    <a:pt x="1247" y="745"/>
                  </a:lnTo>
                  <a:lnTo>
                    <a:pt x="1249" y="745"/>
                  </a:lnTo>
                  <a:lnTo>
                    <a:pt x="1249" y="744"/>
                  </a:lnTo>
                  <a:lnTo>
                    <a:pt x="1251" y="744"/>
                  </a:lnTo>
                  <a:lnTo>
                    <a:pt x="1252" y="744"/>
                  </a:lnTo>
                  <a:lnTo>
                    <a:pt x="1254" y="744"/>
                  </a:lnTo>
                  <a:lnTo>
                    <a:pt x="1256" y="744"/>
                  </a:lnTo>
                  <a:lnTo>
                    <a:pt x="1256" y="742"/>
                  </a:lnTo>
                  <a:lnTo>
                    <a:pt x="1257" y="742"/>
                  </a:lnTo>
                  <a:lnTo>
                    <a:pt x="1257" y="740"/>
                  </a:lnTo>
                  <a:lnTo>
                    <a:pt x="1259" y="740"/>
                  </a:lnTo>
                  <a:lnTo>
                    <a:pt x="1259" y="742"/>
                  </a:lnTo>
                  <a:lnTo>
                    <a:pt x="1257" y="742"/>
                  </a:lnTo>
                  <a:lnTo>
                    <a:pt x="1257" y="744"/>
                  </a:lnTo>
                  <a:lnTo>
                    <a:pt x="1257" y="745"/>
                  </a:lnTo>
                  <a:lnTo>
                    <a:pt x="1259" y="745"/>
                  </a:lnTo>
                  <a:lnTo>
                    <a:pt x="1257" y="747"/>
                  </a:lnTo>
                  <a:lnTo>
                    <a:pt x="1256" y="749"/>
                  </a:lnTo>
                  <a:lnTo>
                    <a:pt x="1254" y="749"/>
                  </a:lnTo>
                  <a:lnTo>
                    <a:pt x="1252" y="749"/>
                  </a:lnTo>
                  <a:lnTo>
                    <a:pt x="1251" y="749"/>
                  </a:lnTo>
                  <a:lnTo>
                    <a:pt x="1251" y="747"/>
                  </a:lnTo>
                  <a:lnTo>
                    <a:pt x="1251" y="749"/>
                  </a:lnTo>
                  <a:lnTo>
                    <a:pt x="1251" y="747"/>
                  </a:lnTo>
                  <a:lnTo>
                    <a:pt x="1249" y="749"/>
                  </a:lnTo>
                  <a:lnTo>
                    <a:pt x="1249" y="750"/>
                  </a:lnTo>
                  <a:lnTo>
                    <a:pt x="1249" y="753"/>
                  </a:lnTo>
                  <a:lnTo>
                    <a:pt x="1249" y="755"/>
                  </a:lnTo>
                  <a:lnTo>
                    <a:pt x="1251" y="757"/>
                  </a:lnTo>
                  <a:lnTo>
                    <a:pt x="1252" y="757"/>
                  </a:lnTo>
                  <a:lnTo>
                    <a:pt x="1252" y="758"/>
                  </a:lnTo>
                  <a:lnTo>
                    <a:pt x="1254" y="758"/>
                  </a:lnTo>
                  <a:lnTo>
                    <a:pt x="1254" y="760"/>
                  </a:lnTo>
                  <a:lnTo>
                    <a:pt x="1257" y="760"/>
                  </a:lnTo>
                  <a:lnTo>
                    <a:pt x="1257" y="762"/>
                  </a:lnTo>
                  <a:lnTo>
                    <a:pt x="1259" y="762"/>
                  </a:lnTo>
                  <a:lnTo>
                    <a:pt x="1259" y="763"/>
                  </a:lnTo>
                  <a:lnTo>
                    <a:pt x="1260" y="763"/>
                  </a:lnTo>
                  <a:lnTo>
                    <a:pt x="1262" y="763"/>
                  </a:lnTo>
                  <a:lnTo>
                    <a:pt x="1262" y="765"/>
                  </a:lnTo>
                  <a:lnTo>
                    <a:pt x="1264" y="765"/>
                  </a:lnTo>
                  <a:lnTo>
                    <a:pt x="1264" y="763"/>
                  </a:lnTo>
                  <a:lnTo>
                    <a:pt x="1265" y="763"/>
                  </a:lnTo>
                  <a:lnTo>
                    <a:pt x="1267" y="763"/>
                  </a:lnTo>
                  <a:lnTo>
                    <a:pt x="1269" y="762"/>
                  </a:lnTo>
                  <a:lnTo>
                    <a:pt x="1270" y="762"/>
                  </a:lnTo>
                  <a:lnTo>
                    <a:pt x="1272" y="762"/>
                  </a:lnTo>
                  <a:lnTo>
                    <a:pt x="1272" y="760"/>
                  </a:lnTo>
                  <a:lnTo>
                    <a:pt x="1272" y="758"/>
                  </a:lnTo>
                  <a:lnTo>
                    <a:pt x="1273" y="757"/>
                  </a:lnTo>
                  <a:lnTo>
                    <a:pt x="1275" y="757"/>
                  </a:lnTo>
                  <a:lnTo>
                    <a:pt x="1275" y="758"/>
                  </a:lnTo>
                  <a:lnTo>
                    <a:pt x="1277" y="758"/>
                  </a:lnTo>
                  <a:lnTo>
                    <a:pt x="1277" y="760"/>
                  </a:lnTo>
                  <a:lnTo>
                    <a:pt x="1278" y="760"/>
                  </a:lnTo>
                  <a:lnTo>
                    <a:pt x="1280" y="762"/>
                  </a:lnTo>
                  <a:lnTo>
                    <a:pt x="1282" y="762"/>
                  </a:lnTo>
                  <a:lnTo>
                    <a:pt x="1282" y="763"/>
                  </a:lnTo>
                  <a:lnTo>
                    <a:pt x="1283" y="763"/>
                  </a:lnTo>
                  <a:lnTo>
                    <a:pt x="1285" y="765"/>
                  </a:lnTo>
                  <a:lnTo>
                    <a:pt x="1286" y="763"/>
                  </a:lnTo>
                  <a:lnTo>
                    <a:pt x="1286" y="765"/>
                  </a:lnTo>
                  <a:lnTo>
                    <a:pt x="1286" y="766"/>
                  </a:lnTo>
                  <a:lnTo>
                    <a:pt x="1285" y="766"/>
                  </a:lnTo>
                  <a:lnTo>
                    <a:pt x="1285" y="768"/>
                  </a:lnTo>
                  <a:lnTo>
                    <a:pt x="1286" y="768"/>
                  </a:lnTo>
                  <a:lnTo>
                    <a:pt x="1288" y="768"/>
                  </a:lnTo>
                  <a:lnTo>
                    <a:pt x="1288" y="770"/>
                  </a:lnTo>
                  <a:lnTo>
                    <a:pt x="1286" y="770"/>
                  </a:lnTo>
                  <a:lnTo>
                    <a:pt x="1285" y="770"/>
                  </a:lnTo>
                  <a:lnTo>
                    <a:pt x="1285" y="771"/>
                  </a:lnTo>
                  <a:lnTo>
                    <a:pt x="1285" y="773"/>
                  </a:lnTo>
                  <a:lnTo>
                    <a:pt x="1285" y="775"/>
                  </a:lnTo>
                  <a:lnTo>
                    <a:pt x="1285" y="776"/>
                  </a:lnTo>
                  <a:lnTo>
                    <a:pt x="1283" y="776"/>
                  </a:lnTo>
                  <a:lnTo>
                    <a:pt x="1283" y="778"/>
                  </a:lnTo>
                  <a:lnTo>
                    <a:pt x="1282" y="779"/>
                  </a:lnTo>
                  <a:lnTo>
                    <a:pt x="1280" y="779"/>
                  </a:lnTo>
                  <a:lnTo>
                    <a:pt x="1278" y="779"/>
                  </a:lnTo>
                  <a:lnTo>
                    <a:pt x="1277" y="781"/>
                  </a:lnTo>
                  <a:lnTo>
                    <a:pt x="1277" y="783"/>
                  </a:lnTo>
                  <a:lnTo>
                    <a:pt x="1277" y="784"/>
                  </a:lnTo>
                  <a:lnTo>
                    <a:pt x="1277" y="786"/>
                  </a:lnTo>
                  <a:lnTo>
                    <a:pt x="1278" y="786"/>
                  </a:lnTo>
                  <a:lnTo>
                    <a:pt x="1278" y="788"/>
                  </a:lnTo>
                  <a:lnTo>
                    <a:pt x="1277" y="788"/>
                  </a:lnTo>
                  <a:lnTo>
                    <a:pt x="1275" y="788"/>
                  </a:lnTo>
                  <a:lnTo>
                    <a:pt x="1275" y="789"/>
                  </a:lnTo>
                  <a:lnTo>
                    <a:pt x="1275" y="791"/>
                  </a:lnTo>
                  <a:lnTo>
                    <a:pt x="1273" y="791"/>
                  </a:lnTo>
                  <a:lnTo>
                    <a:pt x="1272" y="791"/>
                  </a:lnTo>
                  <a:lnTo>
                    <a:pt x="1270" y="792"/>
                  </a:lnTo>
                  <a:lnTo>
                    <a:pt x="1269" y="794"/>
                  </a:lnTo>
                  <a:lnTo>
                    <a:pt x="1267" y="794"/>
                  </a:lnTo>
                  <a:lnTo>
                    <a:pt x="1267" y="796"/>
                  </a:lnTo>
                  <a:lnTo>
                    <a:pt x="1265" y="797"/>
                  </a:lnTo>
                  <a:lnTo>
                    <a:pt x="1265" y="799"/>
                  </a:lnTo>
                  <a:lnTo>
                    <a:pt x="1264" y="799"/>
                  </a:lnTo>
                  <a:lnTo>
                    <a:pt x="1264" y="801"/>
                  </a:lnTo>
                  <a:lnTo>
                    <a:pt x="1264" y="802"/>
                  </a:lnTo>
                  <a:lnTo>
                    <a:pt x="1264" y="804"/>
                  </a:lnTo>
                  <a:lnTo>
                    <a:pt x="1262" y="804"/>
                  </a:lnTo>
                  <a:lnTo>
                    <a:pt x="1264" y="804"/>
                  </a:lnTo>
                  <a:lnTo>
                    <a:pt x="1262" y="804"/>
                  </a:lnTo>
                  <a:lnTo>
                    <a:pt x="1262" y="805"/>
                  </a:lnTo>
                  <a:lnTo>
                    <a:pt x="1262" y="807"/>
                  </a:lnTo>
                  <a:lnTo>
                    <a:pt x="1262" y="809"/>
                  </a:lnTo>
                  <a:lnTo>
                    <a:pt x="1260" y="809"/>
                  </a:lnTo>
                  <a:lnTo>
                    <a:pt x="1260" y="807"/>
                  </a:lnTo>
                  <a:lnTo>
                    <a:pt x="1260" y="809"/>
                  </a:lnTo>
                  <a:lnTo>
                    <a:pt x="1260" y="810"/>
                  </a:lnTo>
                  <a:lnTo>
                    <a:pt x="1259" y="810"/>
                  </a:lnTo>
                  <a:lnTo>
                    <a:pt x="1259" y="812"/>
                  </a:lnTo>
                  <a:lnTo>
                    <a:pt x="1259" y="814"/>
                  </a:lnTo>
                  <a:lnTo>
                    <a:pt x="1257" y="815"/>
                  </a:lnTo>
                  <a:lnTo>
                    <a:pt x="1256" y="815"/>
                  </a:lnTo>
                  <a:lnTo>
                    <a:pt x="1257" y="815"/>
                  </a:lnTo>
                  <a:lnTo>
                    <a:pt x="1257" y="817"/>
                  </a:lnTo>
                  <a:lnTo>
                    <a:pt x="1256" y="817"/>
                  </a:lnTo>
                  <a:lnTo>
                    <a:pt x="1254" y="817"/>
                  </a:lnTo>
                  <a:lnTo>
                    <a:pt x="1252" y="817"/>
                  </a:lnTo>
                  <a:lnTo>
                    <a:pt x="1251" y="817"/>
                  </a:lnTo>
                  <a:lnTo>
                    <a:pt x="1252" y="818"/>
                  </a:lnTo>
                  <a:lnTo>
                    <a:pt x="1251" y="818"/>
                  </a:lnTo>
                  <a:lnTo>
                    <a:pt x="1251" y="820"/>
                  </a:lnTo>
                  <a:lnTo>
                    <a:pt x="1249" y="820"/>
                  </a:lnTo>
                  <a:lnTo>
                    <a:pt x="1247" y="820"/>
                  </a:lnTo>
                  <a:lnTo>
                    <a:pt x="1246" y="820"/>
                  </a:lnTo>
                  <a:lnTo>
                    <a:pt x="1246" y="822"/>
                  </a:lnTo>
                  <a:lnTo>
                    <a:pt x="1244" y="822"/>
                  </a:lnTo>
                  <a:lnTo>
                    <a:pt x="1243" y="822"/>
                  </a:lnTo>
                  <a:lnTo>
                    <a:pt x="1243" y="823"/>
                  </a:lnTo>
                  <a:lnTo>
                    <a:pt x="1241" y="823"/>
                  </a:lnTo>
                  <a:lnTo>
                    <a:pt x="1241" y="825"/>
                  </a:lnTo>
                  <a:lnTo>
                    <a:pt x="1239" y="825"/>
                  </a:lnTo>
                  <a:lnTo>
                    <a:pt x="1239" y="827"/>
                  </a:lnTo>
                  <a:lnTo>
                    <a:pt x="1238" y="828"/>
                  </a:lnTo>
                  <a:lnTo>
                    <a:pt x="1236" y="828"/>
                  </a:lnTo>
                  <a:lnTo>
                    <a:pt x="1234" y="828"/>
                  </a:lnTo>
                  <a:lnTo>
                    <a:pt x="1234" y="827"/>
                  </a:lnTo>
                  <a:lnTo>
                    <a:pt x="1233" y="825"/>
                  </a:lnTo>
                  <a:lnTo>
                    <a:pt x="1231" y="823"/>
                  </a:lnTo>
                  <a:lnTo>
                    <a:pt x="1233" y="823"/>
                  </a:lnTo>
                  <a:lnTo>
                    <a:pt x="1233" y="822"/>
                  </a:lnTo>
                  <a:lnTo>
                    <a:pt x="1231" y="822"/>
                  </a:lnTo>
                  <a:lnTo>
                    <a:pt x="1231" y="820"/>
                  </a:lnTo>
                  <a:lnTo>
                    <a:pt x="1230" y="820"/>
                  </a:lnTo>
                  <a:lnTo>
                    <a:pt x="1230" y="822"/>
                  </a:lnTo>
                  <a:lnTo>
                    <a:pt x="1230" y="820"/>
                  </a:lnTo>
                  <a:lnTo>
                    <a:pt x="1228" y="820"/>
                  </a:lnTo>
                  <a:lnTo>
                    <a:pt x="1228" y="818"/>
                  </a:lnTo>
                  <a:lnTo>
                    <a:pt x="1230" y="818"/>
                  </a:lnTo>
                  <a:lnTo>
                    <a:pt x="1230" y="817"/>
                  </a:lnTo>
                  <a:lnTo>
                    <a:pt x="1228" y="815"/>
                  </a:lnTo>
                  <a:lnTo>
                    <a:pt x="1226" y="814"/>
                  </a:lnTo>
                  <a:lnTo>
                    <a:pt x="1225" y="814"/>
                  </a:lnTo>
                  <a:lnTo>
                    <a:pt x="1223" y="814"/>
                  </a:lnTo>
                  <a:lnTo>
                    <a:pt x="1221" y="814"/>
                  </a:lnTo>
                  <a:lnTo>
                    <a:pt x="1221" y="815"/>
                  </a:lnTo>
                  <a:lnTo>
                    <a:pt x="1220" y="814"/>
                  </a:lnTo>
                  <a:lnTo>
                    <a:pt x="1218" y="814"/>
                  </a:lnTo>
                  <a:lnTo>
                    <a:pt x="1218" y="812"/>
                  </a:lnTo>
                  <a:lnTo>
                    <a:pt x="1217" y="812"/>
                  </a:lnTo>
                  <a:lnTo>
                    <a:pt x="1215" y="812"/>
                  </a:lnTo>
                  <a:lnTo>
                    <a:pt x="1213" y="812"/>
                  </a:lnTo>
                  <a:lnTo>
                    <a:pt x="1212" y="812"/>
                  </a:lnTo>
                  <a:lnTo>
                    <a:pt x="1212" y="814"/>
                  </a:lnTo>
                  <a:lnTo>
                    <a:pt x="1210" y="812"/>
                  </a:lnTo>
                  <a:lnTo>
                    <a:pt x="1208" y="812"/>
                  </a:lnTo>
                  <a:lnTo>
                    <a:pt x="1207" y="812"/>
                  </a:lnTo>
                  <a:lnTo>
                    <a:pt x="1207" y="810"/>
                  </a:lnTo>
                  <a:lnTo>
                    <a:pt x="1205" y="810"/>
                  </a:lnTo>
                  <a:lnTo>
                    <a:pt x="1205" y="809"/>
                  </a:lnTo>
                  <a:lnTo>
                    <a:pt x="1204" y="807"/>
                  </a:lnTo>
                  <a:lnTo>
                    <a:pt x="1202" y="804"/>
                  </a:lnTo>
                  <a:lnTo>
                    <a:pt x="1204" y="801"/>
                  </a:lnTo>
                  <a:lnTo>
                    <a:pt x="1204" y="799"/>
                  </a:lnTo>
                  <a:lnTo>
                    <a:pt x="1202" y="797"/>
                  </a:lnTo>
                  <a:lnTo>
                    <a:pt x="1202" y="796"/>
                  </a:lnTo>
                  <a:lnTo>
                    <a:pt x="1202" y="794"/>
                  </a:lnTo>
                  <a:lnTo>
                    <a:pt x="1204" y="794"/>
                  </a:lnTo>
                  <a:lnTo>
                    <a:pt x="1204" y="792"/>
                  </a:lnTo>
                  <a:lnTo>
                    <a:pt x="1204" y="791"/>
                  </a:lnTo>
                  <a:lnTo>
                    <a:pt x="1205" y="791"/>
                  </a:lnTo>
                  <a:lnTo>
                    <a:pt x="1204" y="789"/>
                  </a:lnTo>
                  <a:lnTo>
                    <a:pt x="1202" y="788"/>
                  </a:lnTo>
                  <a:lnTo>
                    <a:pt x="1202" y="786"/>
                  </a:lnTo>
                  <a:lnTo>
                    <a:pt x="1202" y="788"/>
                  </a:lnTo>
                  <a:lnTo>
                    <a:pt x="1200" y="786"/>
                  </a:lnTo>
                  <a:lnTo>
                    <a:pt x="1199" y="784"/>
                  </a:lnTo>
                  <a:lnTo>
                    <a:pt x="1197" y="783"/>
                  </a:lnTo>
                  <a:lnTo>
                    <a:pt x="1195" y="783"/>
                  </a:lnTo>
                  <a:lnTo>
                    <a:pt x="1195" y="781"/>
                  </a:lnTo>
                  <a:lnTo>
                    <a:pt x="1194" y="781"/>
                  </a:lnTo>
                  <a:lnTo>
                    <a:pt x="1192" y="783"/>
                  </a:lnTo>
                  <a:lnTo>
                    <a:pt x="1192" y="781"/>
                  </a:lnTo>
                  <a:lnTo>
                    <a:pt x="1194" y="781"/>
                  </a:lnTo>
                  <a:lnTo>
                    <a:pt x="1192" y="781"/>
                  </a:lnTo>
                  <a:lnTo>
                    <a:pt x="1192" y="783"/>
                  </a:lnTo>
                  <a:lnTo>
                    <a:pt x="1191" y="784"/>
                  </a:lnTo>
                  <a:lnTo>
                    <a:pt x="1192" y="784"/>
                  </a:lnTo>
                  <a:lnTo>
                    <a:pt x="1192" y="783"/>
                  </a:lnTo>
                  <a:lnTo>
                    <a:pt x="1194" y="783"/>
                  </a:lnTo>
                  <a:lnTo>
                    <a:pt x="1192" y="784"/>
                  </a:lnTo>
                  <a:lnTo>
                    <a:pt x="1191" y="784"/>
                  </a:lnTo>
                  <a:lnTo>
                    <a:pt x="1189" y="783"/>
                  </a:lnTo>
                  <a:lnTo>
                    <a:pt x="1189" y="784"/>
                  </a:lnTo>
                  <a:lnTo>
                    <a:pt x="1187" y="786"/>
                  </a:lnTo>
                  <a:lnTo>
                    <a:pt x="1186" y="786"/>
                  </a:lnTo>
                  <a:lnTo>
                    <a:pt x="1184" y="786"/>
                  </a:lnTo>
                  <a:lnTo>
                    <a:pt x="1182" y="786"/>
                  </a:lnTo>
                  <a:lnTo>
                    <a:pt x="1181" y="786"/>
                  </a:lnTo>
                  <a:lnTo>
                    <a:pt x="1181" y="788"/>
                  </a:lnTo>
                  <a:lnTo>
                    <a:pt x="1182" y="788"/>
                  </a:lnTo>
                  <a:lnTo>
                    <a:pt x="1182" y="789"/>
                  </a:lnTo>
                  <a:lnTo>
                    <a:pt x="1181" y="788"/>
                  </a:lnTo>
                  <a:lnTo>
                    <a:pt x="1181" y="789"/>
                  </a:lnTo>
                  <a:lnTo>
                    <a:pt x="1181" y="791"/>
                  </a:lnTo>
                  <a:lnTo>
                    <a:pt x="1181" y="792"/>
                  </a:lnTo>
                  <a:lnTo>
                    <a:pt x="1179" y="792"/>
                  </a:lnTo>
                  <a:lnTo>
                    <a:pt x="1179" y="794"/>
                  </a:lnTo>
                  <a:lnTo>
                    <a:pt x="1179" y="796"/>
                  </a:lnTo>
                  <a:lnTo>
                    <a:pt x="1177" y="796"/>
                  </a:lnTo>
                  <a:lnTo>
                    <a:pt x="1177" y="794"/>
                  </a:lnTo>
                  <a:lnTo>
                    <a:pt x="1176" y="794"/>
                  </a:lnTo>
                  <a:lnTo>
                    <a:pt x="1176" y="792"/>
                  </a:lnTo>
                  <a:lnTo>
                    <a:pt x="1174" y="792"/>
                  </a:lnTo>
                  <a:lnTo>
                    <a:pt x="1174" y="794"/>
                  </a:lnTo>
                  <a:lnTo>
                    <a:pt x="1174" y="792"/>
                  </a:lnTo>
                  <a:lnTo>
                    <a:pt x="1174" y="791"/>
                  </a:lnTo>
                  <a:lnTo>
                    <a:pt x="1174" y="789"/>
                  </a:lnTo>
                  <a:lnTo>
                    <a:pt x="1173" y="791"/>
                  </a:lnTo>
                  <a:lnTo>
                    <a:pt x="1173" y="789"/>
                  </a:lnTo>
                  <a:lnTo>
                    <a:pt x="1173" y="788"/>
                  </a:lnTo>
                  <a:lnTo>
                    <a:pt x="1174" y="788"/>
                  </a:lnTo>
                  <a:lnTo>
                    <a:pt x="1174" y="786"/>
                  </a:lnTo>
                  <a:lnTo>
                    <a:pt x="1173" y="786"/>
                  </a:lnTo>
                  <a:lnTo>
                    <a:pt x="1173" y="784"/>
                  </a:lnTo>
                  <a:lnTo>
                    <a:pt x="1173" y="783"/>
                  </a:lnTo>
                  <a:lnTo>
                    <a:pt x="1171" y="784"/>
                  </a:lnTo>
                  <a:lnTo>
                    <a:pt x="1169" y="784"/>
                  </a:lnTo>
                  <a:lnTo>
                    <a:pt x="1168" y="784"/>
                  </a:lnTo>
                  <a:lnTo>
                    <a:pt x="1169" y="784"/>
                  </a:lnTo>
                  <a:lnTo>
                    <a:pt x="1169" y="783"/>
                  </a:lnTo>
                  <a:lnTo>
                    <a:pt x="1168" y="783"/>
                  </a:lnTo>
                  <a:lnTo>
                    <a:pt x="1166" y="783"/>
                  </a:lnTo>
                  <a:lnTo>
                    <a:pt x="1168" y="784"/>
                  </a:lnTo>
                  <a:lnTo>
                    <a:pt x="1166" y="784"/>
                  </a:lnTo>
                  <a:lnTo>
                    <a:pt x="1164" y="784"/>
                  </a:lnTo>
                  <a:lnTo>
                    <a:pt x="1164" y="783"/>
                  </a:lnTo>
                  <a:lnTo>
                    <a:pt x="1163" y="783"/>
                  </a:lnTo>
                  <a:lnTo>
                    <a:pt x="1164" y="781"/>
                  </a:lnTo>
                  <a:lnTo>
                    <a:pt x="1163" y="781"/>
                  </a:lnTo>
                  <a:lnTo>
                    <a:pt x="1163" y="779"/>
                  </a:lnTo>
                  <a:lnTo>
                    <a:pt x="1161" y="779"/>
                  </a:lnTo>
                  <a:lnTo>
                    <a:pt x="1161" y="778"/>
                  </a:lnTo>
                  <a:lnTo>
                    <a:pt x="1161" y="776"/>
                  </a:lnTo>
                  <a:lnTo>
                    <a:pt x="1161" y="775"/>
                  </a:lnTo>
                  <a:lnTo>
                    <a:pt x="1161" y="773"/>
                  </a:lnTo>
                  <a:lnTo>
                    <a:pt x="1163" y="773"/>
                  </a:lnTo>
                  <a:lnTo>
                    <a:pt x="1163" y="771"/>
                  </a:lnTo>
                  <a:lnTo>
                    <a:pt x="1164" y="771"/>
                  </a:lnTo>
                  <a:lnTo>
                    <a:pt x="1166" y="771"/>
                  </a:lnTo>
                  <a:lnTo>
                    <a:pt x="1169" y="770"/>
                  </a:lnTo>
                  <a:lnTo>
                    <a:pt x="1169" y="768"/>
                  </a:lnTo>
                  <a:lnTo>
                    <a:pt x="1171" y="768"/>
                  </a:lnTo>
                  <a:lnTo>
                    <a:pt x="1173" y="768"/>
                  </a:lnTo>
                  <a:lnTo>
                    <a:pt x="1174" y="768"/>
                  </a:lnTo>
                  <a:lnTo>
                    <a:pt x="1174" y="766"/>
                  </a:lnTo>
                  <a:lnTo>
                    <a:pt x="1176" y="766"/>
                  </a:lnTo>
                  <a:lnTo>
                    <a:pt x="1177" y="765"/>
                  </a:lnTo>
                  <a:lnTo>
                    <a:pt x="1179" y="765"/>
                  </a:lnTo>
                  <a:lnTo>
                    <a:pt x="1179" y="763"/>
                  </a:lnTo>
                  <a:lnTo>
                    <a:pt x="1181" y="762"/>
                  </a:lnTo>
                  <a:lnTo>
                    <a:pt x="1182" y="762"/>
                  </a:lnTo>
                  <a:lnTo>
                    <a:pt x="1184" y="762"/>
                  </a:lnTo>
                  <a:lnTo>
                    <a:pt x="1186" y="762"/>
                  </a:lnTo>
                  <a:lnTo>
                    <a:pt x="1187" y="760"/>
                  </a:lnTo>
                  <a:lnTo>
                    <a:pt x="1189" y="760"/>
                  </a:lnTo>
                  <a:lnTo>
                    <a:pt x="1191" y="758"/>
                  </a:lnTo>
                  <a:lnTo>
                    <a:pt x="1191" y="757"/>
                  </a:lnTo>
                  <a:lnTo>
                    <a:pt x="1192" y="757"/>
                  </a:lnTo>
                  <a:lnTo>
                    <a:pt x="1192" y="755"/>
                  </a:lnTo>
                  <a:lnTo>
                    <a:pt x="1194" y="755"/>
                  </a:lnTo>
                  <a:lnTo>
                    <a:pt x="1194" y="753"/>
                  </a:lnTo>
                  <a:lnTo>
                    <a:pt x="1194" y="755"/>
                  </a:lnTo>
                  <a:lnTo>
                    <a:pt x="1195" y="753"/>
                  </a:lnTo>
                  <a:lnTo>
                    <a:pt x="1197" y="753"/>
                  </a:lnTo>
                  <a:lnTo>
                    <a:pt x="1199" y="752"/>
                  </a:lnTo>
                  <a:lnTo>
                    <a:pt x="1199" y="750"/>
                  </a:lnTo>
                  <a:lnTo>
                    <a:pt x="1200" y="749"/>
                  </a:lnTo>
                  <a:lnTo>
                    <a:pt x="1202" y="749"/>
                  </a:lnTo>
                  <a:lnTo>
                    <a:pt x="1202" y="750"/>
                  </a:lnTo>
                  <a:lnTo>
                    <a:pt x="1202" y="749"/>
                  </a:lnTo>
                  <a:lnTo>
                    <a:pt x="1204" y="747"/>
                  </a:lnTo>
                  <a:lnTo>
                    <a:pt x="1205" y="747"/>
                  </a:lnTo>
                  <a:lnTo>
                    <a:pt x="1207" y="745"/>
                  </a:lnTo>
                  <a:lnTo>
                    <a:pt x="1208" y="745"/>
                  </a:lnTo>
                  <a:lnTo>
                    <a:pt x="1210" y="745"/>
                  </a:lnTo>
                  <a:lnTo>
                    <a:pt x="1210" y="744"/>
                  </a:lnTo>
                  <a:lnTo>
                    <a:pt x="1212" y="744"/>
                  </a:lnTo>
                  <a:lnTo>
                    <a:pt x="1212" y="742"/>
                  </a:lnTo>
                  <a:lnTo>
                    <a:pt x="1213" y="742"/>
                  </a:lnTo>
                  <a:lnTo>
                    <a:pt x="1215" y="742"/>
                  </a:lnTo>
                  <a:lnTo>
                    <a:pt x="1215" y="740"/>
                  </a:lnTo>
                  <a:lnTo>
                    <a:pt x="1217" y="742"/>
                  </a:lnTo>
                  <a:lnTo>
                    <a:pt x="1215" y="742"/>
                  </a:lnTo>
                  <a:lnTo>
                    <a:pt x="1217" y="742"/>
                  </a:lnTo>
                  <a:lnTo>
                    <a:pt x="1218" y="742"/>
                  </a:lnTo>
                  <a:lnTo>
                    <a:pt x="1218" y="740"/>
                  </a:lnTo>
                  <a:lnTo>
                    <a:pt x="1220" y="740"/>
                  </a:lnTo>
                  <a:lnTo>
                    <a:pt x="1220" y="742"/>
                  </a:lnTo>
                  <a:lnTo>
                    <a:pt x="1220" y="740"/>
                  </a:lnTo>
                  <a:lnTo>
                    <a:pt x="1221" y="740"/>
                  </a:lnTo>
                  <a:lnTo>
                    <a:pt x="1223" y="739"/>
                  </a:lnTo>
                  <a:lnTo>
                    <a:pt x="1225" y="739"/>
                  </a:lnTo>
                  <a:lnTo>
                    <a:pt x="1226" y="737"/>
                  </a:lnTo>
                  <a:lnTo>
                    <a:pt x="1228" y="737"/>
                  </a:lnTo>
                  <a:lnTo>
                    <a:pt x="1230" y="737"/>
                  </a:lnTo>
                  <a:lnTo>
                    <a:pt x="1231" y="736"/>
                  </a:lnTo>
                  <a:lnTo>
                    <a:pt x="1231" y="734"/>
                  </a:lnTo>
                  <a:lnTo>
                    <a:pt x="1233" y="734"/>
                  </a:lnTo>
                  <a:lnTo>
                    <a:pt x="1233" y="736"/>
                  </a:lnTo>
                  <a:lnTo>
                    <a:pt x="1234" y="736"/>
                  </a:lnTo>
                  <a:lnTo>
                    <a:pt x="1236" y="736"/>
                  </a:lnTo>
                  <a:lnTo>
                    <a:pt x="1238" y="736"/>
                  </a:lnTo>
                  <a:lnTo>
                    <a:pt x="1238" y="734"/>
                  </a:lnTo>
                  <a:lnTo>
                    <a:pt x="1241" y="732"/>
                  </a:lnTo>
                  <a:lnTo>
                    <a:pt x="1241" y="734"/>
                  </a:lnTo>
                  <a:lnTo>
                    <a:pt x="1243" y="732"/>
                  </a:lnTo>
                  <a:lnTo>
                    <a:pt x="1241" y="734"/>
                  </a:lnTo>
                  <a:lnTo>
                    <a:pt x="1243" y="734"/>
                  </a:lnTo>
                  <a:lnTo>
                    <a:pt x="1244" y="734"/>
                  </a:lnTo>
                  <a:lnTo>
                    <a:pt x="1244" y="736"/>
                  </a:lnTo>
                  <a:lnTo>
                    <a:pt x="1246" y="736"/>
                  </a:lnTo>
                  <a:lnTo>
                    <a:pt x="1247" y="734"/>
                  </a:lnTo>
                  <a:lnTo>
                    <a:pt x="1249" y="734"/>
                  </a:lnTo>
                  <a:lnTo>
                    <a:pt x="1247" y="734"/>
                  </a:lnTo>
                  <a:lnTo>
                    <a:pt x="1249" y="734"/>
                  </a:lnTo>
                  <a:lnTo>
                    <a:pt x="1251" y="734"/>
                  </a:lnTo>
                  <a:lnTo>
                    <a:pt x="1252" y="734"/>
                  </a:lnTo>
                  <a:lnTo>
                    <a:pt x="1252" y="732"/>
                  </a:lnTo>
                  <a:lnTo>
                    <a:pt x="1254" y="732"/>
                  </a:lnTo>
                  <a:lnTo>
                    <a:pt x="1254" y="731"/>
                  </a:lnTo>
                  <a:lnTo>
                    <a:pt x="1256" y="731"/>
                  </a:lnTo>
                  <a:lnTo>
                    <a:pt x="1257" y="731"/>
                  </a:lnTo>
                  <a:lnTo>
                    <a:pt x="1257" y="732"/>
                  </a:lnTo>
                  <a:lnTo>
                    <a:pt x="1259" y="731"/>
                  </a:lnTo>
                  <a:lnTo>
                    <a:pt x="1259" y="732"/>
                  </a:lnTo>
                  <a:lnTo>
                    <a:pt x="1260" y="732"/>
                  </a:lnTo>
                  <a:close/>
                  <a:moveTo>
                    <a:pt x="1353" y="723"/>
                  </a:moveTo>
                  <a:lnTo>
                    <a:pt x="1353" y="724"/>
                  </a:lnTo>
                  <a:lnTo>
                    <a:pt x="1353" y="723"/>
                  </a:lnTo>
                  <a:close/>
                  <a:moveTo>
                    <a:pt x="1358" y="721"/>
                  </a:moveTo>
                  <a:lnTo>
                    <a:pt x="1360" y="721"/>
                  </a:lnTo>
                  <a:lnTo>
                    <a:pt x="1360" y="723"/>
                  </a:lnTo>
                  <a:lnTo>
                    <a:pt x="1360" y="724"/>
                  </a:lnTo>
                  <a:lnTo>
                    <a:pt x="1360" y="726"/>
                  </a:lnTo>
                  <a:lnTo>
                    <a:pt x="1360" y="727"/>
                  </a:lnTo>
                  <a:lnTo>
                    <a:pt x="1361" y="727"/>
                  </a:lnTo>
                  <a:lnTo>
                    <a:pt x="1361" y="726"/>
                  </a:lnTo>
                  <a:lnTo>
                    <a:pt x="1363" y="726"/>
                  </a:lnTo>
                  <a:lnTo>
                    <a:pt x="1363" y="724"/>
                  </a:lnTo>
                  <a:lnTo>
                    <a:pt x="1365" y="726"/>
                  </a:lnTo>
                  <a:lnTo>
                    <a:pt x="1363" y="727"/>
                  </a:lnTo>
                  <a:lnTo>
                    <a:pt x="1363" y="729"/>
                  </a:lnTo>
                  <a:lnTo>
                    <a:pt x="1363" y="731"/>
                  </a:lnTo>
                  <a:lnTo>
                    <a:pt x="1363" y="729"/>
                  </a:lnTo>
                  <a:lnTo>
                    <a:pt x="1365" y="729"/>
                  </a:lnTo>
                  <a:lnTo>
                    <a:pt x="1365" y="727"/>
                  </a:lnTo>
                  <a:lnTo>
                    <a:pt x="1365" y="726"/>
                  </a:lnTo>
                  <a:lnTo>
                    <a:pt x="1365" y="724"/>
                  </a:lnTo>
                  <a:lnTo>
                    <a:pt x="1366" y="724"/>
                  </a:lnTo>
                  <a:lnTo>
                    <a:pt x="1366" y="726"/>
                  </a:lnTo>
                  <a:lnTo>
                    <a:pt x="1368" y="726"/>
                  </a:lnTo>
                  <a:lnTo>
                    <a:pt x="1368" y="727"/>
                  </a:lnTo>
                  <a:lnTo>
                    <a:pt x="1366" y="727"/>
                  </a:lnTo>
                  <a:lnTo>
                    <a:pt x="1366" y="729"/>
                  </a:lnTo>
                  <a:lnTo>
                    <a:pt x="1368" y="729"/>
                  </a:lnTo>
                  <a:lnTo>
                    <a:pt x="1368" y="731"/>
                  </a:lnTo>
                  <a:lnTo>
                    <a:pt x="1369" y="731"/>
                  </a:lnTo>
                  <a:lnTo>
                    <a:pt x="1369" y="729"/>
                  </a:lnTo>
                  <a:lnTo>
                    <a:pt x="1371" y="729"/>
                  </a:lnTo>
                  <a:lnTo>
                    <a:pt x="1371" y="731"/>
                  </a:lnTo>
                  <a:lnTo>
                    <a:pt x="1369" y="731"/>
                  </a:lnTo>
                  <a:lnTo>
                    <a:pt x="1371" y="731"/>
                  </a:lnTo>
                  <a:lnTo>
                    <a:pt x="1371" y="732"/>
                  </a:lnTo>
                  <a:lnTo>
                    <a:pt x="1371" y="731"/>
                  </a:lnTo>
                  <a:lnTo>
                    <a:pt x="1371" y="732"/>
                  </a:lnTo>
                  <a:lnTo>
                    <a:pt x="1371" y="734"/>
                  </a:lnTo>
                  <a:lnTo>
                    <a:pt x="1371" y="736"/>
                  </a:lnTo>
                  <a:lnTo>
                    <a:pt x="1371" y="734"/>
                  </a:lnTo>
                  <a:lnTo>
                    <a:pt x="1371" y="732"/>
                  </a:lnTo>
                  <a:lnTo>
                    <a:pt x="1373" y="734"/>
                  </a:lnTo>
                  <a:lnTo>
                    <a:pt x="1371" y="734"/>
                  </a:lnTo>
                  <a:lnTo>
                    <a:pt x="1373" y="734"/>
                  </a:lnTo>
                  <a:lnTo>
                    <a:pt x="1373" y="736"/>
                  </a:lnTo>
                  <a:lnTo>
                    <a:pt x="1374" y="736"/>
                  </a:lnTo>
                  <a:lnTo>
                    <a:pt x="1376" y="736"/>
                  </a:lnTo>
                  <a:lnTo>
                    <a:pt x="1376" y="734"/>
                  </a:lnTo>
                  <a:lnTo>
                    <a:pt x="1376" y="736"/>
                  </a:lnTo>
                  <a:lnTo>
                    <a:pt x="1378" y="736"/>
                  </a:lnTo>
                  <a:lnTo>
                    <a:pt x="1376" y="736"/>
                  </a:lnTo>
                  <a:lnTo>
                    <a:pt x="1376" y="737"/>
                  </a:lnTo>
                  <a:lnTo>
                    <a:pt x="1378" y="737"/>
                  </a:lnTo>
                  <a:lnTo>
                    <a:pt x="1378" y="739"/>
                  </a:lnTo>
                  <a:lnTo>
                    <a:pt x="1376" y="739"/>
                  </a:lnTo>
                  <a:lnTo>
                    <a:pt x="1376" y="740"/>
                  </a:lnTo>
                  <a:lnTo>
                    <a:pt x="1378" y="740"/>
                  </a:lnTo>
                  <a:lnTo>
                    <a:pt x="1378" y="742"/>
                  </a:lnTo>
                  <a:lnTo>
                    <a:pt x="1379" y="742"/>
                  </a:lnTo>
                  <a:lnTo>
                    <a:pt x="1379" y="744"/>
                  </a:lnTo>
                  <a:lnTo>
                    <a:pt x="1378" y="744"/>
                  </a:lnTo>
                  <a:lnTo>
                    <a:pt x="1378" y="745"/>
                  </a:lnTo>
                  <a:lnTo>
                    <a:pt x="1379" y="745"/>
                  </a:lnTo>
                  <a:lnTo>
                    <a:pt x="1379" y="747"/>
                  </a:lnTo>
                  <a:lnTo>
                    <a:pt x="1379" y="749"/>
                  </a:lnTo>
                  <a:lnTo>
                    <a:pt x="1379" y="747"/>
                  </a:lnTo>
                  <a:lnTo>
                    <a:pt x="1379" y="749"/>
                  </a:lnTo>
                  <a:lnTo>
                    <a:pt x="1381" y="749"/>
                  </a:lnTo>
                  <a:lnTo>
                    <a:pt x="1381" y="750"/>
                  </a:lnTo>
                  <a:lnTo>
                    <a:pt x="1382" y="750"/>
                  </a:lnTo>
                  <a:lnTo>
                    <a:pt x="1381" y="750"/>
                  </a:lnTo>
                  <a:lnTo>
                    <a:pt x="1382" y="752"/>
                  </a:lnTo>
                  <a:lnTo>
                    <a:pt x="1382" y="753"/>
                  </a:lnTo>
                  <a:lnTo>
                    <a:pt x="1384" y="753"/>
                  </a:lnTo>
                  <a:lnTo>
                    <a:pt x="1382" y="753"/>
                  </a:lnTo>
                  <a:lnTo>
                    <a:pt x="1381" y="753"/>
                  </a:lnTo>
                  <a:lnTo>
                    <a:pt x="1381" y="752"/>
                  </a:lnTo>
                  <a:lnTo>
                    <a:pt x="1379" y="752"/>
                  </a:lnTo>
                  <a:lnTo>
                    <a:pt x="1379" y="750"/>
                  </a:lnTo>
                  <a:lnTo>
                    <a:pt x="1378" y="750"/>
                  </a:lnTo>
                  <a:lnTo>
                    <a:pt x="1376" y="750"/>
                  </a:lnTo>
                  <a:lnTo>
                    <a:pt x="1378" y="750"/>
                  </a:lnTo>
                  <a:lnTo>
                    <a:pt x="1378" y="752"/>
                  </a:lnTo>
                  <a:lnTo>
                    <a:pt x="1379" y="752"/>
                  </a:lnTo>
                  <a:lnTo>
                    <a:pt x="1381" y="752"/>
                  </a:lnTo>
                  <a:lnTo>
                    <a:pt x="1379" y="753"/>
                  </a:lnTo>
                  <a:lnTo>
                    <a:pt x="1381" y="753"/>
                  </a:lnTo>
                  <a:lnTo>
                    <a:pt x="1381" y="755"/>
                  </a:lnTo>
                  <a:lnTo>
                    <a:pt x="1381" y="757"/>
                  </a:lnTo>
                  <a:lnTo>
                    <a:pt x="1381" y="758"/>
                  </a:lnTo>
                  <a:lnTo>
                    <a:pt x="1381" y="760"/>
                  </a:lnTo>
                  <a:lnTo>
                    <a:pt x="1379" y="760"/>
                  </a:lnTo>
                  <a:lnTo>
                    <a:pt x="1379" y="762"/>
                  </a:lnTo>
                  <a:lnTo>
                    <a:pt x="1378" y="762"/>
                  </a:lnTo>
                  <a:lnTo>
                    <a:pt x="1376" y="762"/>
                  </a:lnTo>
                  <a:lnTo>
                    <a:pt x="1374" y="762"/>
                  </a:lnTo>
                  <a:lnTo>
                    <a:pt x="1373" y="762"/>
                  </a:lnTo>
                  <a:lnTo>
                    <a:pt x="1373" y="760"/>
                  </a:lnTo>
                  <a:lnTo>
                    <a:pt x="1371" y="760"/>
                  </a:lnTo>
                  <a:lnTo>
                    <a:pt x="1369" y="758"/>
                  </a:lnTo>
                  <a:lnTo>
                    <a:pt x="1369" y="760"/>
                  </a:lnTo>
                  <a:lnTo>
                    <a:pt x="1369" y="758"/>
                  </a:lnTo>
                  <a:lnTo>
                    <a:pt x="1368" y="758"/>
                  </a:lnTo>
                  <a:lnTo>
                    <a:pt x="1368" y="757"/>
                  </a:lnTo>
                  <a:lnTo>
                    <a:pt x="1366" y="757"/>
                  </a:lnTo>
                  <a:lnTo>
                    <a:pt x="1366" y="755"/>
                  </a:lnTo>
                  <a:lnTo>
                    <a:pt x="1365" y="755"/>
                  </a:lnTo>
                  <a:lnTo>
                    <a:pt x="1363" y="753"/>
                  </a:lnTo>
                  <a:lnTo>
                    <a:pt x="1361" y="753"/>
                  </a:lnTo>
                  <a:lnTo>
                    <a:pt x="1361" y="752"/>
                  </a:lnTo>
                  <a:lnTo>
                    <a:pt x="1361" y="753"/>
                  </a:lnTo>
                  <a:lnTo>
                    <a:pt x="1360" y="752"/>
                  </a:lnTo>
                  <a:lnTo>
                    <a:pt x="1358" y="752"/>
                  </a:lnTo>
                  <a:lnTo>
                    <a:pt x="1358" y="750"/>
                  </a:lnTo>
                  <a:lnTo>
                    <a:pt x="1356" y="750"/>
                  </a:lnTo>
                  <a:lnTo>
                    <a:pt x="1356" y="749"/>
                  </a:lnTo>
                  <a:lnTo>
                    <a:pt x="1355" y="747"/>
                  </a:lnTo>
                  <a:lnTo>
                    <a:pt x="1353" y="747"/>
                  </a:lnTo>
                  <a:lnTo>
                    <a:pt x="1353" y="745"/>
                  </a:lnTo>
                  <a:lnTo>
                    <a:pt x="1352" y="745"/>
                  </a:lnTo>
                  <a:lnTo>
                    <a:pt x="1350" y="744"/>
                  </a:lnTo>
                  <a:lnTo>
                    <a:pt x="1348" y="744"/>
                  </a:lnTo>
                  <a:lnTo>
                    <a:pt x="1347" y="744"/>
                  </a:lnTo>
                  <a:lnTo>
                    <a:pt x="1347" y="742"/>
                  </a:lnTo>
                  <a:lnTo>
                    <a:pt x="1345" y="742"/>
                  </a:lnTo>
                  <a:lnTo>
                    <a:pt x="1343" y="742"/>
                  </a:lnTo>
                  <a:lnTo>
                    <a:pt x="1342" y="742"/>
                  </a:lnTo>
                  <a:lnTo>
                    <a:pt x="1340" y="740"/>
                  </a:lnTo>
                  <a:lnTo>
                    <a:pt x="1340" y="742"/>
                  </a:lnTo>
                  <a:lnTo>
                    <a:pt x="1339" y="742"/>
                  </a:lnTo>
                  <a:lnTo>
                    <a:pt x="1337" y="744"/>
                  </a:lnTo>
                  <a:lnTo>
                    <a:pt x="1337" y="742"/>
                  </a:lnTo>
                  <a:lnTo>
                    <a:pt x="1337" y="744"/>
                  </a:lnTo>
                  <a:lnTo>
                    <a:pt x="1337" y="742"/>
                  </a:lnTo>
                  <a:lnTo>
                    <a:pt x="1335" y="742"/>
                  </a:lnTo>
                  <a:lnTo>
                    <a:pt x="1335" y="744"/>
                  </a:lnTo>
                  <a:lnTo>
                    <a:pt x="1334" y="744"/>
                  </a:lnTo>
                  <a:lnTo>
                    <a:pt x="1334" y="742"/>
                  </a:lnTo>
                  <a:lnTo>
                    <a:pt x="1334" y="744"/>
                  </a:lnTo>
                  <a:lnTo>
                    <a:pt x="1332" y="742"/>
                  </a:lnTo>
                  <a:lnTo>
                    <a:pt x="1330" y="742"/>
                  </a:lnTo>
                  <a:lnTo>
                    <a:pt x="1329" y="742"/>
                  </a:lnTo>
                  <a:lnTo>
                    <a:pt x="1327" y="742"/>
                  </a:lnTo>
                  <a:lnTo>
                    <a:pt x="1329" y="740"/>
                  </a:lnTo>
                  <a:lnTo>
                    <a:pt x="1329" y="739"/>
                  </a:lnTo>
                  <a:lnTo>
                    <a:pt x="1330" y="737"/>
                  </a:lnTo>
                  <a:lnTo>
                    <a:pt x="1330" y="736"/>
                  </a:lnTo>
                  <a:lnTo>
                    <a:pt x="1329" y="736"/>
                  </a:lnTo>
                  <a:lnTo>
                    <a:pt x="1330" y="734"/>
                  </a:lnTo>
                  <a:lnTo>
                    <a:pt x="1329" y="732"/>
                  </a:lnTo>
                  <a:lnTo>
                    <a:pt x="1330" y="732"/>
                  </a:lnTo>
                  <a:lnTo>
                    <a:pt x="1329" y="732"/>
                  </a:lnTo>
                  <a:lnTo>
                    <a:pt x="1327" y="732"/>
                  </a:lnTo>
                  <a:lnTo>
                    <a:pt x="1327" y="731"/>
                  </a:lnTo>
                  <a:lnTo>
                    <a:pt x="1327" y="732"/>
                  </a:lnTo>
                  <a:lnTo>
                    <a:pt x="1325" y="731"/>
                  </a:lnTo>
                  <a:lnTo>
                    <a:pt x="1325" y="729"/>
                  </a:lnTo>
                  <a:lnTo>
                    <a:pt x="1327" y="727"/>
                  </a:lnTo>
                  <a:lnTo>
                    <a:pt x="1327" y="726"/>
                  </a:lnTo>
                  <a:lnTo>
                    <a:pt x="1329" y="726"/>
                  </a:lnTo>
                  <a:lnTo>
                    <a:pt x="1329" y="724"/>
                  </a:lnTo>
                  <a:lnTo>
                    <a:pt x="1330" y="724"/>
                  </a:lnTo>
                  <a:lnTo>
                    <a:pt x="1332" y="724"/>
                  </a:lnTo>
                  <a:lnTo>
                    <a:pt x="1334" y="724"/>
                  </a:lnTo>
                  <a:lnTo>
                    <a:pt x="1335" y="724"/>
                  </a:lnTo>
                  <a:lnTo>
                    <a:pt x="1337" y="724"/>
                  </a:lnTo>
                  <a:lnTo>
                    <a:pt x="1339" y="724"/>
                  </a:lnTo>
                  <a:lnTo>
                    <a:pt x="1339" y="726"/>
                  </a:lnTo>
                  <a:lnTo>
                    <a:pt x="1340" y="724"/>
                  </a:lnTo>
                  <a:lnTo>
                    <a:pt x="1340" y="726"/>
                  </a:lnTo>
                  <a:lnTo>
                    <a:pt x="1340" y="724"/>
                  </a:lnTo>
                  <a:lnTo>
                    <a:pt x="1342" y="724"/>
                  </a:lnTo>
                  <a:lnTo>
                    <a:pt x="1343" y="724"/>
                  </a:lnTo>
                  <a:lnTo>
                    <a:pt x="1345" y="724"/>
                  </a:lnTo>
                  <a:lnTo>
                    <a:pt x="1345" y="726"/>
                  </a:lnTo>
                  <a:lnTo>
                    <a:pt x="1347" y="726"/>
                  </a:lnTo>
                  <a:lnTo>
                    <a:pt x="1348" y="726"/>
                  </a:lnTo>
                  <a:lnTo>
                    <a:pt x="1348" y="724"/>
                  </a:lnTo>
                  <a:lnTo>
                    <a:pt x="1350" y="724"/>
                  </a:lnTo>
                  <a:lnTo>
                    <a:pt x="1352" y="726"/>
                  </a:lnTo>
                  <a:lnTo>
                    <a:pt x="1352" y="724"/>
                  </a:lnTo>
                  <a:lnTo>
                    <a:pt x="1353" y="724"/>
                  </a:lnTo>
                  <a:lnTo>
                    <a:pt x="1352" y="724"/>
                  </a:lnTo>
                  <a:lnTo>
                    <a:pt x="1353" y="724"/>
                  </a:lnTo>
                  <a:lnTo>
                    <a:pt x="1355" y="726"/>
                  </a:lnTo>
                  <a:lnTo>
                    <a:pt x="1353" y="726"/>
                  </a:lnTo>
                  <a:lnTo>
                    <a:pt x="1355" y="726"/>
                  </a:lnTo>
                  <a:lnTo>
                    <a:pt x="1356" y="724"/>
                  </a:lnTo>
                  <a:lnTo>
                    <a:pt x="1356" y="726"/>
                  </a:lnTo>
                  <a:lnTo>
                    <a:pt x="1356" y="724"/>
                  </a:lnTo>
                  <a:lnTo>
                    <a:pt x="1358" y="726"/>
                  </a:lnTo>
                  <a:lnTo>
                    <a:pt x="1358" y="724"/>
                  </a:lnTo>
                  <a:lnTo>
                    <a:pt x="1358" y="723"/>
                  </a:lnTo>
                  <a:lnTo>
                    <a:pt x="1360" y="724"/>
                  </a:lnTo>
                  <a:lnTo>
                    <a:pt x="1360" y="723"/>
                  </a:lnTo>
                  <a:lnTo>
                    <a:pt x="1358" y="721"/>
                  </a:lnTo>
                  <a:close/>
                  <a:moveTo>
                    <a:pt x="981" y="713"/>
                  </a:moveTo>
                  <a:lnTo>
                    <a:pt x="981" y="714"/>
                  </a:lnTo>
                  <a:lnTo>
                    <a:pt x="981" y="713"/>
                  </a:lnTo>
                  <a:close/>
                  <a:moveTo>
                    <a:pt x="982" y="711"/>
                  </a:moveTo>
                  <a:lnTo>
                    <a:pt x="982" y="709"/>
                  </a:lnTo>
                  <a:lnTo>
                    <a:pt x="982" y="711"/>
                  </a:lnTo>
                  <a:close/>
                  <a:moveTo>
                    <a:pt x="990" y="615"/>
                  </a:moveTo>
                  <a:lnTo>
                    <a:pt x="992" y="615"/>
                  </a:lnTo>
                  <a:lnTo>
                    <a:pt x="990" y="615"/>
                  </a:lnTo>
                  <a:close/>
                  <a:moveTo>
                    <a:pt x="1002" y="588"/>
                  </a:moveTo>
                  <a:lnTo>
                    <a:pt x="1002" y="586"/>
                  </a:lnTo>
                  <a:lnTo>
                    <a:pt x="1000" y="586"/>
                  </a:lnTo>
                  <a:lnTo>
                    <a:pt x="1002" y="586"/>
                  </a:lnTo>
                  <a:lnTo>
                    <a:pt x="1003" y="588"/>
                  </a:lnTo>
                  <a:lnTo>
                    <a:pt x="1002" y="588"/>
                  </a:lnTo>
                  <a:close/>
                  <a:moveTo>
                    <a:pt x="1103" y="539"/>
                  </a:moveTo>
                  <a:lnTo>
                    <a:pt x="1103" y="540"/>
                  </a:lnTo>
                  <a:lnTo>
                    <a:pt x="1103" y="539"/>
                  </a:lnTo>
                  <a:close/>
                  <a:moveTo>
                    <a:pt x="1280" y="461"/>
                  </a:moveTo>
                  <a:lnTo>
                    <a:pt x="1282" y="461"/>
                  </a:lnTo>
                  <a:lnTo>
                    <a:pt x="1280" y="461"/>
                  </a:lnTo>
                  <a:close/>
                  <a:moveTo>
                    <a:pt x="1286" y="436"/>
                  </a:moveTo>
                  <a:lnTo>
                    <a:pt x="1288" y="435"/>
                  </a:lnTo>
                  <a:lnTo>
                    <a:pt x="1288" y="436"/>
                  </a:lnTo>
                  <a:lnTo>
                    <a:pt x="1286" y="436"/>
                  </a:lnTo>
                  <a:close/>
                  <a:moveTo>
                    <a:pt x="1288" y="435"/>
                  </a:moveTo>
                  <a:lnTo>
                    <a:pt x="1286" y="435"/>
                  </a:lnTo>
                  <a:lnTo>
                    <a:pt x="1288" y="435"/>
                  </a:lnTo>
                  <a:close/>
                  <a:moveTo>
                    <a:pt x="1286" y="435"/>
                  </a:moveTo>
                  <a:lnTo>
                    <a:pt x="1288" y="435"/>
                  </a:lnTo>
                  <a:lnTo>
                    <a:pt x="1286" y="435"/>
                  </a:lnTo>
                  <a:close/>
                  <a:moveTo>
                    <a:pt x="1301" y="397"/>
                  </a:moveTo>
                  <a:lnTo>
                    <a:pt x="1301" y="396"/>
                  </a:lnTo>
                  <a:lnTo>
                    <a:pt x="1301" y="397"/>
                  </a:lnTo>
                  <a:close/>
                  <a:moveTo>
                    <a:pt x="1161" y="365"/>
                  </a:moveTo>
                  <a:lnTo>
                    <a:pt x="1160" y="365"/>
                  </a:lnTo>
                  <a:lnTo>
                    <a:pt x="1158" y="363"/>
                  </a:lnTo>
                  <a:lnTo>
                    <a:pt x="1160" y="360"/>
                  </a:lnTo>
                  <a:lnTo>
                    <a:pt x="1161" y="358"/>
                  </a:lnTo>
                  <a:lnTo>
                    <a:pt x="1163" y="358"/>
                  </a:lnTo>
                  <a:lnTo>
                    <a:pt x="1161" y="361"/>
                  </a:lnTo>
                  <a:lnTo>
                    <a:pt x="1163" y="363"/>
                  </a:lnTo>
                  <a:lnTo>
                    <a:pt x="1163" y="365"/>
                  </a:lnTo>
                  <a:lnTo>
                    <a:pt x="1161" y="365"/>
                  </a:lnTo>
                  <a:close/>
                  <a:moveTo>
                    <a:pt x="16" y="192"/>
                  </a:moveTo>
                  <a:lnTo>
                    <a:pt x="16" y="194"/>
                  </a:lnTo>
                  <a:lnTo>
                    <a:pt x="18" y="194"/>
                  </a:lnTo>
                  <a:lnTo>
                    <a:pt x="18" y="196"/>
                  </a:lnTo>
                  <a:lnTo>
                    <a:pt x="16" y="196"/>
                  </a:lnTo>
                  <a:lnTo>
                    <a:pt x="16" y="194"/>
                  </a:lnTo>
                  <a:lnTo>
                    <a:pt x="15" y="194"/>
                  </a:lnTo>
                  <a:lnTo>
                    <a:pt x="15" y="192"/>
                  </a:lnTo>
                  <a:lnTo>
                    <a:pt x="16" y="192"/>
                  </a:lnTo>
                  <a:close/>
                  <a:moveTo>
                    <a:pt x="16" y="191"/>
                  </a:moveTo>
                  <a:lnTo>
                    <a:pt x="15" y="191"/>
                  </a:lnTo>
                  <a:lnTo>
                    <a:pt x="16" y="191"/>
                  </a:lnTo>
                  <a:lnTo>
                    <a:pt x="16" y="189"/>
                  </a:lnTo>
                  <a:lnTo>
                    <a:pt x="16" y="187"/>
                  </a:lnTo>
                  <a:lnTo>
                    <a:pt x="16" y="186"/>
                  </a:lnTo>
                  <a:lnTo>
                    <a:pt x="18" y="187"/>
                  </a:lnTo>
                  <a:lnTo>
                    <a:pt x="18" y="189"/>
                  </a:lnTo>
                  <a:lnTo>
                    <a:pt x="16" y="189"/>
                  </a:lnTo>
                  <a:lnTo>
                    <a:pt x="16" y="191"/>
                  </a:lnTo>
                  <a:close/>
                  <a:moveTo>
                    <a:pt x="18" y="173"/>
                  </a:moveTo>
                  <a:lnTo>
                    <a:pt x="18" y="171"/>
                  </a:lnTo>
                  <a:lnTo>
                    <a:pt x="18" y="173"/>
                  </a:lnTo>
                  <a:close/>
                  <a:moveTo>
                    <a:pt x="709" y="171"/>
                  </a:moveTo>
                  <a:lnTo>
                    <a:pt x="709" y="170"/>
                  </a:lnTo>
                  <a:lnTo>
                    <a:pt x="709" y="171"/>
                  </a:lnTo>
                  <a:close/>
                  <a:moveTo>
                    <a:pt x="44" y="170"/>
                  </a:moveTo>
                  <a:lnTo>
                    <a:pt x="42" y="170"/>
                  </a:lnTo>
                  <a:lnTo>
                    <a:pt x="42" y="168"/>
                  </a:lnTo>
                  <a:lnTo>
                    <a:pt x="44" y="168"/>
                  </a:lnTo>
                  <a:lnTo>
                    <a:pt x="44" y="170"/>
                  </a:lnTo>
                  <a:close/>
                  <a:moveTo>
                    <a:pt x="20" y="165"/>
                  </a:moveTo>
                  <a:lnTo>
                    <a:pt x="21" y="165"/>
                  </a:lnTo>
                  <a:lnTo>
                    <a:pt x="21" y="166"/>
                  </a:lnTo>
                  <a:lnTo>
                    <a:pt x="20" y="166"/>
                  </a:lnTo>
                  <a:lnTo>
                    <a:pt x="20" y="168"/>
                  </a:lnTo>
                  <a:lnTo>
                    <a:pt x="18" y="170"/>
                  </a:lnTo>
                  <a:lnTo>
                    <a:pt x="18" y="171"/>
                  </a:lnTo>
                  <a:lnTo>
                    <a:pt x="18" y="170"/>
                  </a:lnTo>
                  <a:lnTo>
                    <a:pt x="16" y="171"/>
                  </a:lnTo>
                  <a:lnTo>
                    <a:pt x="16" y="170"/>
                  </a:lnTo>
                  <a:lnTo>
                    <a:pt x="16" y="168"/>
                  </a:lnTo>
                  <a:lnTo>
                    <a:pt x="18" y="168"/>
                  </a:lnTo>
                  <a:lnTo>
                    <a:pt x="18" y="170"/>
                  </a:lnTo>
                  <a:lnTo>
                    <a:pt x="18" y="168"/>
                  </a:lnTo>
                  <a:lnTo>
                    <a:pt x="18" y="166"/>
                  </a:lnTo>
                  <a:lnTo>
                    <a:pt x="20" y="166"/>
                  </a:lnTo>
                  <a:lnTo>
                    <a:pt x="20" y="165"/>
                  </a:lnTo>
                  <a:close/>
                  <a:moveTo>
                    <a:pt x="31" y="157"/>
                  </a:moveTo>
                  <a:lnTo>
                    <a:pt x="31" y="158"/>
                  </a:lnTo>
                  <a:lnTo>
                    <a:pt x="31" y="157"/>
                  </a:lnTo>
                  <a:close/>
                  <a:moveTo>
                    <a:pt x="29" y="158"/>
                  </a:moveTo>
                  <a:lnTo>
                    <a:pt x="29" y="157"/>
                  </a:lnTo>
                  <a:lnTo>
                    <a:pt x="29" y="158"/>
                  </a:lnTo>
                  <a:close/>
                  <a:moveTo>
                    <a:pt x="33" y="155"/>
                  </a:moveTo>
                  <a:lnTo>
                    <a:pt x="33" y="153"/>
                  </a:lnTo>
                  <a:lnTo>
                    <a:pt x="33" y="155"/>
                  </a:lnTo>
                  <a:close/>
                  <a:moveTo>
                    <a:pt x="33" y="155"/>
                  </a:moveTo>
                  <a:lnTo>
                    <a:pt x="31" y="155"/>
                  </a:lnTo>
                  <a:lnTo>
                    <a:pt x="31" y="153"/>
                  </a:lnTo>
                  <a:lnTo>
                    <a:pt x="33" y="153"/>
                  </a:lnTo>
                  <a:lnTo>
                    <a:pt x="33" y="155"/>
                  </a:lnTo>
                  <a:close/>
                  <a:moveTo>
                    <a:pt x="15" y="153"/>
                  </a:moveTo>
                  <a:lnTo>
                    <a:pt x="13" y="153"/>
                  </a:lnTo>
                  <a:lnTo>
                    <a:pt x="13" y="152"/>
                  </a:lnTo>
                  <a:lnTo>
                    <a:pt x="13" y="150"/>
                  </a:lnTo>
                  <a:lnTo>
                    <a:pt x="15" y="150"/>
                  </a:lnTo>
                  <a:lnTo>
                    <a:pt x="15" y="152"/>
                  </a:lnTo>
                  <a:lnTo>
                    <a:pt x="15" y="153"/>
                  </a:lnTo>
                  <a:close/>
                  <a:moveTo>
                    <a:pt x="15" y="150"/>
                  </a:moveTo>
                  <a:lnTo>
                    <a:pt x="16" y="150"/>
                  </a:lnTo>
                  <a:lnTo>
                    <a:pt x="15" y="150"/>
                  </a:lnTo>
                  <a:close/>
                  <a:moveTo>
                    <a:pt x="15" y="148"/>
                  </a:moveTo>
                  <a:lnTo>
                    <a:pt x="16" y="148"/>
                  </a:lnTo>
                  <a:lnTo>
                    <a:pt x="15" y="150"/>
                  </a:lnTo>
                  <a:lnTo>
                    <a:pt x="15" y="148"/>
                  </a:lnTo>
                  <a:close/>
                  <a:moveTo>
                    <a:pt x="11" y="147"/>
                  </a:moveTo>
                  <a:lnTo>
                    <a:pt x="11" y="145"/>
                  </a:lnTo>
                  <a:lnTo>
                    <a:pt x="13" y="145"/>
                  </a:lnTo>
                  <a:lnTo>
                    <a:pt x="13" y="147"/>
                  </a:lnTo>
                  <a:lnTo>
                    <a:pt x="11" y="147"/>
                  </a:lnTo>
                  <a:close/>
                  <a:moveTo>
                    <a:pt x="28" y="147"/>
                  </a:moveTo>
                  <a:lnTo>
                    <a:pt x="28" y="145"/>
                  </a:lnTo>
                  <a:lnTo>
                    <a:pt x="28" y="147"/>
                  </a:lnTo>
                  <a:close/>
                  <a:moveTo>
                    <a:pt x="8" y="143"/>
                  </a:moveTo>
                  <a:lnTo>
                    <a:pt x="8" y="145"/>
                  </a:lnTo>
                  <a:lnTo>
                    <a:pt x="8" y="143"/>
                  </a:lnTo>
                  <a:close/>
                  <a:moveTo>
                    <a:pt x="31" y="142"/>
                  </a:moveTo>
                  <a:lnTo>
                    <a:pt x="31" y="143"/>
                  </a:lnTo>
                  <a:lnTo>
                    <a:pt x="33" y="143"/>
                  </a:lnTo>
                  <a:lnTo>
                    <a:pt x="33" y="145"/>
                  </a:lnTo>
                  <a:lnTo>
                    <a:pt x="33" y="147"/>
                  </a:lnTo>
                  <a:lnTo>
                    <a:pt x="31" y="147"/>
                  </a:lnTo>
                  <a:lnTo>
                    <a:pt x="31" y="148"/>
                  </a:lnTo>
                  <a:lnTo>
                    <a:pt x="29" y="148"/>
                  </a:lnTo>
                  <a:lnTo>
                    <a:pt x="31" y="148"/>
                  </a:lnTo>
                  <a:lnTo>
                    <a:pt x="29" y="148"/>
                  </a:lnTo>
                  <a:lnTo>
                    <a:pt x="29" y="147"/>
                  </a:lnTo>
                  <a:lnTo>
                    <a:pt x="31" y="148"/>
                  </a:lnTo>
                  <a:lnTo>
                    <a:pt x="31" y="147"/>
                  </a:lnTo>
                  <a:lnTo>
                    <a:pt x="29" y="147"/>
                  </a:lnTo>
                  <a:lnTo>
                    <a:pt x="31" y="145"/>
                  </a:lnTo>
                  <a:lnTo>
                    <a:pt x="31" y="143"/>
                  </a:lnTo>
                  <a:lnTo>
                    <a:pt x="29" y="143"/>
                  </a:lnTo>
                  <a:lnTo>
                    <a:pt x="29" y="142"/>
                  </a:lnTo>
                  <a:lnTo>
                    <a:pt x="31" y="142"/>
                  </a:lnTo>
                  <a:close/>
                  <a:moveTo>
                    <a:pt x="33" y="137"/>
                  </a:moveTo>
                  <a:lnTo>
                    <a:pt x="33" y="139"/>
                  </a:lnTo>
                  <a:lnTo>
                    <a:pt x="33" y="137"/>
                  </a:lnTo>
                  <a:close/>
                  <a:moveTo>
                    <a:pt x="42" y="137"/>
                  </a:moveTo>
                  <a:lnTo>
                    <a:pt x="42" y="139"/>
                  </a:lnTo>
                  <a:lnTo>
                    <a:pt x="42" y="137"/>
                  </a:lnTo>
                  <a:close/>
                  <a:moveTo>
                    <a:pt x="585" y="134"/>
                  </a:moveTo>
                  <a:lnTo>
                    <a:pt x="585" y="132"/>
                  </a:lnTo>
                  <a:lnTo>
                    <a:pt x="585" y="134"/>
                  </a:lnTo>
                  <a:close/>
                  <a:moveTo>
                    <a:pt x="566" y="129"/>
                  </a:moveTo>
                  <a:lnTo>
                    <a:pt x="568" y="129"/>
                  </a:lnTo>
                  <a:lnTo>
                    <a:pt x="566" y="129"/>
                  </a:lnTo>
                  <a:close/>
                  <a:moveTo>
                    <a:pt x="496" y="127"/>
                  </a:moveTo>
                  <a:lnTo>
                    <a:pt x="496" y="126"/>
                  </a:lnTo>
                  <a:lnTo>
                    <a:pt x="496" y="127"/>
                  </a:lnTo>
                  <a:close/>
                  <a:moveTo>
                    <a:pt x="10" y="113"/>
                  </a:moveTo>
                  <a:lnTo>
                    <a:pt x="10" y="111"/>
                  </a:lnTo>
                  <a:lnTo>
                    <a:pt x="10" y="113"/>
                  </a:lnTo>
                  <a:close/>
                  <a:moveTo>
                    <a:pt x="8" y="103"/>
                  </a:moveTo>
                  <a:lnTo>
                    <a:pt x="10" y="103"/>
                  </a:lnTo>
                  <a:lnTo>
                    <a:pt x="8" y="103"/>
                  </a:lnTo>
                  <a:close/>
                  <a:moveTo>
                    <a:pt x="11" y="95"/>
                  </a:moveTo>
                  <a:lnTo>
                    <a:pt x="11" y="93"/>
                  </a:lnTo>
                  <a:lnTo>
                    <a:pt x="11" y="95"/>
                  </a:lnTo>
                  <a:close/>
                  <a:moveTo>
                    <a:pt x="10" y="91"/>
                  </a:moveTo>
                  <a:lnTo>
                    <a:pt x="10" y="90"/>
                  </a:lnTo>
                  <a:lnTo>
                    <a:pt x="10" y="91"/>
                  </a:lnTo>
                  <a:close/>
                  <a:moveTo>
                    <a:pt x="107" y="44"/>
                  </a:moveTo>
                  <a:lnTo>
                    <a:pt x="109" y="44"/>
                  </a:lnTo>
                  <a:lnTo>
                    <a:pt x="107" y="44"/>
                  </a:lnTo>
                  <a:close/>
                  <a:moveTo>
                    <a:pt x="101" y="41"/>
                  </a:moveTo>
                  <a:lnTo>
                    <a:pt x="102" y="39"/>
                  </a:lnTo>
                  <a:lnTo>
                    <a:pt x="101" y="41"/>
                  </a:lnTo>
                  <a:close/>
                  <a:moveTo>
                    <a:pt x="60" y="33"/>
                  </a:moveTo>
                  <a:lnTo>
                    <a:pt x="62" y="33"/>
                  </a:lnTo>
                  <a:lnTo>
                    <a:pt x="62" y="35"/>
                  </a:lnTo>
                  <a:lnTo>
                    <a:pt x="62" y="33"/>
                  </a:lnTo>
                  <a:lnTo>
                    <a:pt x="60" y="35"/>
                  </a:lnTo>
                  <a:lnTo>
                    <a:pt x="60" y="33"/>
                  </a:lnTo>
                  <a:close/>
                  <a:moveTo>
                    <a:pt x="213" y="22"/>
                  </a:moveTo>
                  <a:lnTo>
                    <a:pt x="215" y="20"/>
                  </a:lnTo>
                  <a:lnTo>
                    <a:pt x="215" y="22"/>
                  </a:lnTo>
                  <a:lnTo>
                    <a:pt x="213" y="22"/>
                  </a:lnTo>
                  <a:close/>
                  <a:moveTo>
                    <a:pt x="197" y="9"/>
                  </a:moveTo>
                  <a:lnTo>
                    <a:pt x="195" y="9"/>
                  </a:lnTo>
                  <a:lnTo>
                    <a:pt x="197" y="7"/>
                  </a:lnTo>
                  <a:lnTo>
                    <a:pt x="197" y="9"/>
                  </a:lnTo>
                  <a:close/>
                  <a:moveTo>
                    <a:pt x="127" y="41"/>
                  </a:moveTo>
                  <a:lnTo>
                    <a:pt x="127" y="39"/>
                  </a:lnTo>
                  <a:lnTo>
                    <a:pt x="125" y="39"/>
                  </a:lnTo>
                  <a:lnTo>
                    <a:pt x="124" y="39"/>
                  </a:lnTo>
                  <a:lnTo>
                    <a:pt x="124" y="41"/>
                  </a:lnTo>
                  <a:lnTo>
                    <a:pt x="124" y="39"/>
                  </a:lnTo>
                  <a:lnTo>
                    <a:pt x="122" y="39"/>
                  </a:lnTo>
                  <a:lnTo>
                    <a:pt x="122" y="38"/>
                  </a:lnTo>
                  <a:lnTo>
                    <a:pt x="120" y="38"/>
                  </a:lnTo>
                  <a:lnTo>
                    <a:pt x="120" y="36"/>
                  </a:lnTo>
                  <a:lnTo>
                    <a:pt x="119" y="36"/>
                  </a:lnTo>
                  <a:lnTo>
                    <a:pt x="117" y="36"/>
                  </a:lnTo>
                  <a:lnTo>
                    <a:pt x="117" y="35"/>
                  </a:lnTo>
                  <a:lnTo>
                    <a:pt x="119" y="35"/>
                  </a:lnTo>
                  <a:lnTo>
                    <a:pt x="117" y="35"/>
                  </a:lnTo>
                  <a:lnTo>
                    <a:pt x="117" y="33"/>
                  </a:lnTo>
                  <a:lnTo>
                    <a:pt x="119" y="35"/>
                  </a:lnTo>
                  <a:lnTo>
                    <a:pt x="120" y="35"/>
                  </a:lnTo>
                  <a:lnTo>
                    <a:pt x="120" y="33"/>
                  </a:lnTo>
                  <a:lnTo>
                    <a:pt x="122" y="33"/>
                  </a:lnTo>
                  <a:lnTo>
                    <a:pt x="122" y="35"/>
                  </a:lnTo>
                  <a:lnTo>
                    <a:pt x="124" y="33"/>
                  </a:lnTo>
                  <a:lnTo>
                    <a:pt x="124" y="35"/>
                  </a:lnTo>
                  <a:lnTo>
                    <a:pt x="124" y="33"/>
                  </a:lnTo>
                  <a:lnTo>
                    <a:pt x="124" y="35"/>
                  </a:lnTo>
                  <a:lnTo>
                    <a:pt x="125" y="35"/>
                  </a:lnTo>
                  <a:lnTo>
                    <a:pt x="127" y="35"/>
                  </a:lnTo>
                  <a:lnTo>
                    <a:pt x="125" y="35"/>
                  </a:lnTo>
                  <a:lnTo>
                    <a:pt x="127" y="35"/>
                  </a:lnTo>
                  <a:lnTo>
                    <a:pt x="127" y="36"/>
                  </a:lnTo>
                  <a:lnTo>
                    <a:pt x="127" y="35"/>
                  </a:lnTo>
                  <a:lnTo>
                    <a:pt x="128" y="36"/>
                  </a:lnTo>
                  <a:lnTo>
                    <a:pt x="130" y="35"/>
                  </a:lnTo>
                  <a:lnTo>
                    <a:pt x="132" y="35"/>
                  </a:lnTo>
                  <a:lnTo>
                    <a:pt x="130" y="35"/>
                  </a:lnTo>
                  <a:lnTo>
                    <a:pt x="130" y="33"/>
                  </a:lnTo>
                  <a:lnTo>
                    <a:pt x="132" y="33"/>
                  </a:lnTo>
                  <a:lnTo>
                    <a:pt x="132" y="35"/>
                  </a:lnTo>
                  <a:lnTo>
                    <a:pt x="133" y="35"/>
                  </a:lnTo>
                  <a:lnTo>
                    <a:pt x="133" y="33"/>
                  </a:lnTo>
                  <a:lnTo>
                    <a:pt x="133" y="31"/>
                  </a:lnTo>
                  <a:lnTo>
                    <a:pt x="135" y="30"/>
                  </a:lnTo>
                  <a:lnTo>
                    <a:pt x="133" y="30"/>
                  </a:lnTo>
                  <a:lnTo>
                    <a:pt x="133" y="31"/>
                  </a:lnTo>
                  <a:lnTo>
                    <a:pt x="132" y="31"/>
                  </a:lnTo>
                  <a:lnTo>
                    <a:pt x="130" y="31"/>
                  </a:lnTo>
                  <a:lnTo>
                    <a:pt x="130" y="33"/>
                  </a:lnTo>
                  <a:lnTo>
                    <a:pt x="128" y="33"/>
                  </a:lnTo>
                  <a:lnTo>
                    <a:pt x="128" y="31"/>
                  </a:lnTo>
                  <a:lnTo>
                    <a:pt x="128" y="33"/>
                  </a:lnTo>
                  <a:lnTo>
                    <a:pt x="127" y="33"/>
                  </a:lnTo>
                  <a:lnTo>
                    <a:pt x="127" y="31"/>
                  </a:lnTo>
                  <a:lnTo>
                    <a:pt x="125" y="33"/>
                  </a:lnTo>
                  <a:lnTo>
                    <a:pt x="125" y="31"/>
                  </a:lnTo>
                  <a:lnTo>
                    <a:pt x="125" y="33"/>
                  </a:lnTo>
                  <a:lnTo>
                    <a:pt x="125" y="31"/>
                  </a:lnTo>
                  <a:lnTo>
                    <a:pt x="124" y="31"/>
                  </a:lnTo>
                  <a:lnTo>
                    <a:pt x="125" y="31"/>
                  </a:lnTo>
                  <a:lnTo>
                    <a:pt x="125" y="30"/>
                  </a:lnTo>
                  <a:lnTo>
                    <a:pt x="124" y="30"/>
                  </a:lnTo>
                  <a:lnTo>
                    <a:pt x="124" y="31"/>
                  </a:lnTo>
                  <a:lnTo>
                    <a:pt x="122" y="33"/>
                  </a:lnTo>
                  <a:lnTo>
                    <a:pt x="120" y="33"/>
                  </a:lnTo>
                  <a:lnTo>
                    <a:pt x="119" y="33"/>
                  </a:lnTo>
                  <a:lnTo>
                    <a:pt x="119" y="31"/>
                  </a:lnTo>
                  <a:lnTo>
                    <a:pt x="117" y="31"/>
                  </a:lnTo>
                  <a:lnTo>
                    <a:pt x="115" y="31"/>
                  </a:lnTo>
                  <a:lnTo>
                    <a:pt x="115" y="33"/>
                  </a:lnTo>
                  <a:lnTo>
                    <a:pt x="115" y="31"/>
                  </a:lnTo>
                  <a:lnTo>
                    <a:pt x="114" y="31"/>
                  </a:lnTo>
                  <a:lnTo>
                    <a:pt x="115" y="31"/>
                  </a:lnTo>
                  <a:lnTo>
                    <a:pt x="115" y="30"/>
                  </a:lnTo>
                  <a:lnTo>
                    <a:pt x="117" y="30"/>
                  </a:lnTo>
                  <a:lnTo>
                    <a:pt x="117" y="28"/>
                  </a:lnTo>
                  <a:lnTo>
                    <a:pt x="119" y="28"/>
                  </a:lnTo>
                  <a:lnTo>
                    <a:pt x="119" y="26"/>
                  </a:lnTo>
                  <a:lnTo>
                    <a:pt x="117" y="26"/>
                  </a:lnTo>
                  <a:lnTo>
                    <a:pt x="117" y="25"/>
                  </a:lnTo>
                  <a:lnTo>
                    <a:pt x="119" y="25"/>
                  </a:lnTo>
                  <a:lnTo>
                    <a:pt x="119" y="23"/>
                  </a:lnTo>
                  <a:lnTo>
                    <a:pt x="120" y="23"/>
                  </a:lnTo>
                  <a:lnTo>
                    <a:pt x="120" y="25"/>
                  </a:lnTo>
                  <a:lnTo>
                    <a:pt x="122" y="23"/>
                  </a:lnTo>
                  <a:lnTo>
                    <a:pt x="122" y="22"/>
                  </a:lnTo>
                  <a:lnTo>
                    <a:pt x="120" y="22"/>
                  </a:lnTo>
                  <a:lnTo>
                    <a:pt x="120" y="20"/>
                  </a:lnTo>
                  <a:lnTo>
                    <a:pt x="120" y="18"/>
                  </a:lnTo>
                  <a:lnTo>
                    <a:pt x="120" y="17"/>
                  </a:lnTo>
                  <a:lnTo>
                    <a:pt x="122" y="18"/>
                  </a:lnTo>
                  <a:lnTo>
                    <a:pt x="122" y="20"/>
                  </a:lnTo>
                  <a:lnTo>
                    <a:pt x="124" y="20"/>
                  </a:lnTo>
                  <a:lnTo>
                    <a:pt x="125" y="20"/>
                  </a:lnTo>
                  <a:lnTo>
                    <a:pt x="127" y="20"/>
                  </a:lnTo>
                  <a:lnTo>
                    <a:pt x="128" y="20"/>
                  </a:lnTo>
                  <a:lnTo>
                    <a:pt x="128" y="18"/>
                  </a:lnTo>
                  <a:lnTo>
                    <a:pt x="132" y="18"/>
                  </a:lnTo>
                  <a:lnTo>
                    <a:pt x="132" y="17"/>
                  </a:lnTo>
                  <a:lnTo>
                    <a:pt x="133" y="17"/>
                  </a:lnTo>
                  <a:lnTo>
                    <a:pt x="133" y="15"/>
                  </a:lnTo>
                  <a:lnTo>
                    <a:pt x="135" y="15"/>
                  </a:lnTo>
                  <a:lnTo>
                    <a:pt x="135" y="13"/>
                  </a:lnTo>
                  <a:lnTo>
                    <a:pt x="137" y="13"/>
                  </a:lnTo>
                  <a:lnTo>
                    <a:pt x="137" y="15"/>
                  </a:lnTo>
                  <a:lnTo>
                    <a:pt x="138" y="15"/>
                  </a:lnTo>
                  <a:lnTo>
                    <a:pt x="140" y="15"/>
                  </a:lnTo>
                  <a:lnTo>
                    <a:pt x="140" y="13"/>
                  </a:lnTo>
                  <a:lnTo>
                    <a:pt x="141" y="13"/>
                  </a:lnTo>
                  <a:lnTo>
                    <a:pt x="143" y="12"/>
                  </a:lnTo>
                  <a:lnTo>
                    <a:pt x="143" y="13"/>
                  </a:lnTo>
                  <a:lnTo>
                    <a:pt x="145" y="12"/>
                  </a:lnTo>
                  <a:lnTo>
                    <a:pt x="146" y="12"/>
                  </a:lnTo>
                  <a:lnTo>
                    <a:pt x="146" y="10"/>
                  </a:lnTo>
                  <a:lnTo>
                    <a:pt x="146" y="12"/>
                  </a:lnTo>
                  <a:lnTo>
                    <a:pt x="148" y="12"/>
                  </a:lnTo>
                  <a:lnTo>
                    <a:pt x="146" y="13"/>
                  </a:lnTo>
                  <a:lnTo>
                    <a:pt x="148" y="13"/>
                  </a:lnTo>
                  <a:lnTo>
                    <a:pt x="148" y="15"/>
                  </a:lnTo>
                  <a:lnTo>
                    <a:pt x="150" y="15"/>
                  </a:lnTo>
                  <a:lnTo>
                    <a:pt x="150" y="13"/>
                  </a:lnTo>
                  <a:lnTo>
                    <a:pt x="148" y="13"/>
                  </a:lnTo>
                  <a:lnTo>
                    <a:pt x="148" y="12"/>
                  </a:lnTo>
                  <a:lnTo>
                    <a:pt x="150" y="12"/>
                  </a:lnTo>
                  <a:lnTo>
                    <a:pt x="150" y="13"/>
                  </a:lnTo>
                  <a:lnTo>
                    <a:pt x="151" y="12"/>
                  </a:lnTo>
                  <a:lnTo>
                    <a:pt x="150" y="12"/>
                  </a:lnTo>
                  <a:lnTo>
                    <a:pt x="148" y="12"/>
                  </a:lnTo>
                  <a:lnTo>
                    <a:pt x="148" y="10"/>
                  </a:lnTo>
                  <a:lnTo>
                    <a:pt x="148" y="9"/>
                  </a:lnTo>
                  <a:lnTo>
                    <a:pt x="150" y="9"/>
                  </a:lnTo>
                  <a:lnTo>
                    <a:pt x="150" y="7"/>
                  </a:lnTo>
                  <a:lnTo>
                    <a:pt x="150" y="9"/>
                  </a:lnTo>
                  <a:lnTo>
                    <a:pt x="150" y="7"/>
                  </a:lnTo>
                  <a:lnTo>
                    <a:pt x="150" y="5"/>
                  </a:lnTo>
                  <a:lnTo>
                    <a:pt x="151" y="5"/>
                  </a:lnTo>
                  <a:lnTo>
                    <a:pt x="151" y="4"/>
                  </a:lnTo>
                  <a:lnTo>
                    <a:pt x="153" y="4"/>
                  </a:lnTo>
                  <a:lnTo>
                    <a:pt x="155" y="4"/>
                  </a:lnTo>
                  <a:lnTo>
                    <a:pt x="155" y="5"/>
                  </a:lnTo>
                  <a:lnTo>
                    <a:pt x="156" y="5"/>
                  </a:lnTo>
                  <a:lnTo>
                    <a:pt x="156" y="7"/>
                  </a:lnTo>
                  <a:lnTo>
                    <a:pt x="158" y="7"/>
                  </a:lnTo>
                  <a:lnTo>
                    <a:pt x="158" y="5"/>
                  </a:lnTo>
                  <a:lnTo>
                    <a:pt x="159" y="5"/>
                  </a:lnTo>
                  <a:lnTo>
                    <a:pt x="161" y="5"/>
                  </a:lnTo>
                  <a:lnTo>
                    <a:pt x="163" y="5"/>
                  </a:lnTo>
                  <a:lnTo>
                    <a:pt x="163" y="4"/>
                  </a:lnTo>
                  <a:lnTo>
                    <a:pt x="164" y="4"/>
                  </a:lnTo>
                  <a:lnTo>
                    <a:pt x="163" y="4"/>
                  </a:lnTo>
                  <a:lnTo>
                    <a:pt x="163" y="2"/>
                  </a:lnTo>
                  <a:lnTo>
                    <a:pt x="164" y="2"/>
                  </a:lnTo>
                  <a:lnTo>
                    <a:pt x="166" y="4"/>
                  </a:lnTo>
                  <a:lnTo>
                    <a:pt x="166" y="2"/>
                  </a:lnTo>
                  <a:lnTo>
                    <a:pt x="168" y="2"/>
                  </a:lnTo>
                  <a:lnTo>
                    <a:pt x="169" y="0"/>
                  </a:lnTo>
                  <a:lnTo>
                    <a:pt x="171" y="0"/>
                  </a:lnTo>
                  <a:lnTo>
                    <a:pt x="172" y="0"/>
                  </a:lnTo>
                  <a:lnTo>
                    <a:pt x="174" y="2"/>
                  </a:lnTo>
                  <a:lnTo>
                    <a:pt x="172" y="2"/>
                  </a:lnTo>
                  <a:lnTo>
                    <a:pt x="172" y="4"/>
                  </a:lnTo>
                  <a:lnTo>
                    <a:pt x="172" y="5"/>
                  </a:lnTo>
                  <a:lnTo>
                    <a:pt x="171" y="5"/>
                  </a:lnTo>
                  <a:lnTo>
                    <a:pt x="172" y="7"/>
                  </a:lnTo>
                  <a:lnTo>
                    <a:pt x="172" y="9"/>
                  </a:lnTo>
                  <a:lnTo>
                    <a:pt x="172" y="10"/>
                  </a:lnTo>
                  <a:lnTo>
                    <a:pt x="172" y="9"/>
                  </a:lnTo>
                  <a:lnTo>
                    <a:pt x="171" y="9"/>
                  </a:lnTo>
                  <a:lnTo>
                    <a:pt x="171" y="7"/>
                  </a:lnTo>
                  <a:lnTo>
                    <a:pt x="171" y="9"/>
                  </a:lnTo>
                  <a:lnTo>
                    <a:pt x="169" y="10"/>
                  </a:lnTo>
                  <a:lnTo>
                    <a:pt x="169" y="12"/>
                  </a:lnTo>
                  <a:lnTo>
                    <a:pt x="168" y="12"/>
                  </a:lnTo>
                  <a:lnTo>
                    <a:pt x="169" y="12"/>
                  </a:lnTo>
                  <a:lnTo>
                    <a:pt x="169" y="13"/>
                  </a:lnTo>
                  <a:lnTo>
                    <a:pt x="168" y="15"/>
                  </a:lnTo>
                  <a:lnTo>
                    <a:pt x="168" y="13"/>
                  </a:lnTo>
                  <a:lnTo>
                    <a:pt x="166" y="13"/>
                  </a:lnTo>
                  <a:lnTo>
                    <a:pt x="168" y="15"/>
                  </a:lnTo>
                  <a:lnTo>
                    <a:pt x="169" y="15"/>
                  </a:lnTo>
                  <a:lnTo>
                    <a:pt x="171" y="15"/>
                  </a:lnTo>
                  <a:lnTo>
                    <a:pt x="172" y="15"/>
                  </a:lnTo>
                  <a:lnTo>
                    <a:pt x="171" y="13"/>
                  </a:lnTo>
                  <a:lnTo>
                    <a:pt x="171" y="12"/>
                  </a:lnTo>
                  <a:lnTo>
                    <a:pt x="171" y="10"/>
                  </a:lnTo>
                  <a:lnTo>
                    <a:pt x="172" y="10"/>
                  </a:lnTo>
                  <a:lnTo>
                    <a:pt x="174" y="10"/>
                  </a:lnTo>
                  <a:lnTo>
                    <a:pt x="174" y="12"/>
                  </a:lnTo>
                  <a:lnTo>
                    <a:pt x="176" y="12"/>
                  </a:lnTo>
                  <a:lnTo>
                    <a:pt x="176" y="10"/>
                  </a:lnTo>
                  <a:lnTo>
                    <a:pt x="174" y="10"/>
                  </a:lnTo>
                  <a:lnTo>
                    <a:pt x="176" y="10"/>
                  </a:lnTo>
                  <a:lnTo>
                    <a:pt x="176" y="9"/>
                  </a:lnTo>
                  <a:lnTo>
                    <a:pt x="176" y="10"/>
                  </a:lnTo>
                  <a:lnTo>
                    <a:pt x="177" y="10"/>
                  </a:lnTo>
                  <a:lnTo>
                    <a:pt x="177" y="9"/>
                  </a:lnTo>
                  <a:lnTo>
                    <a:pt x="179" y="9"/>
                  </a:lnTo>
                  <a:lnTo>
                    <a:pt x="179" y="7"/>
                  </a:lnTo>
                  <a:lnTo>
                    <a:pt x="181" y="9"/>
                  </a:lnTo>
                  <a:lnTo>
                    <a:pt x="181" y="7"/>
                  </a:lnTo>
                  <a:lnTo>
                    <a:pt x="182" y="7"/>
                  </a:lnTo>
                  <a:lnTo>
                    <a:pt x="184" y="7"/>
                  </a:lnTo>
                  <a:lnTo>
                    <a:pt x="185" y="7"/>
                  </a:lnTo>
                  <a:lnTo>
                    <a:pt x="187" y="7"/>
                  </a:lnTo>
                  <a:lnTo>
                    <a:pt x="187" y="5"/>
                  </a:lnTo>
                  <a:lnTo>
                    <a:pt x="187" y="7"/>
                  </a:lnTo>
                  <a:lnTo>
                    <a:pt x="187" y="5"/>
                  </a:lnTo>
                  <a:lnTo>
                    <a:pt x="189" y="5"/>
                  </a:lnTo>
                  <a:lnTo>
                    <a:pt x="189" y="4"/>
                  </a:lnTo>
                  <a:lnTo>
                    <a:pt x="190" y="4"/>
                  </a:lnTo>
                  <a:lnTo>
                    <a:pt x="192" y="4"/>
                  </a:lnTo>
                  <a:lnTo>
                    <a:pt x="192" y="2"/>
                  </a:lnTo>
                  <a:lnTo>
                    <a:pt x="192" y="4"/>
                  </a:lnTo>
                  <a:lnTo>
                    <a:pt x="194" y="4"/>
                  </a:lnTo>
                  <a:lnTo>
                    <a:pt x="194" y="5"/>
                  </a:lnTo>
                  <a:lnTo>
                    <a:pt x="192" y="5"/>
                  </a:lnTo>
                  <a:lnTo>
                    <a:pt x="192" y="7"/>
                  </a:lnTo>
                  <a:lnTo>
                    <a:pt x="190" y="7"/>
                  </a:lnTo>
                  <a:lnTo>
                    <a:pt x="190" y="9"/>
                  </a:lnTo>
                  <a:lnTo>
                    <a:pt x="189" y="9"/>
                  </a:lnTo>
                  <a:lnTo>
                    <a:pt x="189" y="10"/>
                  </a:lnTo>
                  <a:lnTo>
                    <a:pt x="189" y="12"/>
                  </a:lnTo>
                  <a:lnTo>
                    <a:pt x="187" y="12"/>
                  </a:lnTo>
                  <a:lnTo>
                    <a:pt x="187" y="13"/>
                  </a:lnTo>
                  <a:lnTo>
                    <a:pt x="187" y="12"/>
                  </a:lnTo>
                  <a:lnTo>
                    <a:pt x="187" y="13"/>
                  </a:lnTo>
                  <a:lnTo>
                    <a:pt x="189" y="13"/>
                  </a:lnTo>
                  <a:lnTo>
                    <a:pt x="189" y="12"/>
                  </a:lnTo>
                  <a:lnTo>
                    <a:pt x="189" y="10"/>
                  </a:lnTo>
                  <a:lnTo>
                    <a:pt x="190" y="10"/>
                  </a:lnTo>
                  <a:lnTo>
                    <a:pt x="192" y="10"/>
                  </a:lnTo>
                  <a:lnTo>
                    <a:pt x="190" y="10"/>
                  </a:lnTo>
                  <a:lnTo>
                    <a:pt x="192" y="9"/>
                  </a:lnTo>
                  <a:lnTo>
                    <a:pt x="194" y="9"/>
                  </a:lnTo>
                  <a:lnTo>
                    <a:pt x="194" y="10"/>
                  </a:lnTo>
                  <a:lnTo>
                    <a:pt x="194" y="9"/>
                  </a:lnTo>
                  <a:lnTo>
                    <a:pt x="195" y="9"/>
                  </a:lnTo>
                  <a:lnTo>
                    <a:pt x="195" y="10"/>
                  </a:lnTo>
                  <a:lnTo>
                    <a:pt x="195" y="12"/>
                  </a:lnTo>
                  <a:lnTo>
                    <a:pt x="195" y="13"/>
                  </a:lnTo>
                  <a:lnTo>
                    <a:pt x="197" y="13"/>
                  </a:lnTo>
                  <a:lnTo>
                    <a:pt x="197" y="15"/>
                  </a:lnTo>
                  <a:lnTo>
                    <a:pt x="197" y="13"/>
                  </a:lnTo>
                  <a:lnTo>
                    <a:pt x="197" y="15"/>
                  </a:lnTo>
                  <a:lnTo>
                    <a:pt x="197" y="17"/>
                  </a:lnTo>
                  <a:lnTo>
                    <a:pt x="195" y="18"/>
                  </a:lnTo>
                  <a:lnTo>
                    <a:pt x="195" y="20"/>
                  </a:lnTo>
                  <a:lnTo>
                    <a:pt x="197" y="22"/>
                  </a:lnTo>
                  <a:lnTo>
                    <a:pt x="195" y="23"/>
                  </a:lnTo>
                  <a:lnTo>
                    <a:pt x="197" y="23"/>
                  </a:lnTo>
                  <a:lnTo>
                    <a:pt x="197" y="22"/>
                  </a:lnTo>
                  <a:lnTo>
                    <a:pt x="197" y="20"/>
                  </a:lnTo>
                  <a:lnTo>
                    <a:pt x="198" y="18"/>
                  </a:lnTo>
                  <a:lnTo>
                    <a:pt x="200" y="18"/>
                  </a:lnTo>
                  <a:lnTo>
                    <a:pt x="200" y="17"/>
                  </a:lnTo>
                  <a:lnTo>
                    <a:pt x="198" y="17"/>
                  </a:lnTo>
                  <a:lnTo>
                    <a:pt x="200" y="15"/>
                  </a:lnTo>
                  <a:lnTo>
                    <a:pt x="200" y="17"/>
                  </a:lnTo>
                  <a:lnTo>
                    <a:pt x="202" y="17"/>
                  </a:lnTo>
                  <a:lnTo>
                    <a:pt x="202" y="15"/>
                  </a:lnTo>
                  <a:lnTo>
                    <a:pt x="203" y="15"/>
                  </a:lnTo>
                  <a:lnTo>
                    <a:pt x="203" y="13"/>
                  </a:lnTo>
                  <a:lnTo>
                    <a:pt x="205" y="13"/>
                  </a:lnTo>
                  <a:lnTo>
                    <a:pt x="205" y="15"/>
                  </a:lnTo>
                  <a:lnTo>
                    <a:pt x="205" y="13"/>
                  </a:lnTo>
                  <a:lnTo>
                    <a:pt x="207" y="13"/>
                  </a:lnTo>
                  <a:lnTo>
                    <a:pt x="207" y="15"/>
                  </a:lnTo>
                  <a:lnTo>
                    <a:pt x="207" y="17"/>
                  </a:lnTo>
                  <a:lnTo>
                    <a:pt x="207" y="15"/>
                  </a:lnTo>
                  <a:lnTo>
                    <a:pt x="208" y="15"/>
                  </a:lnTo>
                  <a:lnTo>
                    <a:pt x="210" y="15"/>
                  </a:lnTo>
                  <a:lnTo>
                    <a:pt x="210" y="17"/>
                  </a:lnTo>
                  <a:lnTo>
                    <a:pt x="211" y="17"/>
                  </a:lnTo>
                  <a:lnTo>
                    <a:pt x="211" y="18"/>
                  </a:lnTo>
                  <a:lnTo>
                    <a:pt x="213" y="18"/>
                  </a:lnTo>
                  <a:lnTo>
                    <a:pt x="211" y="17"/>
                  </a:lnTo>
                  <a:lnTo>
                    <a:pt x="211" y="18"/>
                  </a:lnTo>
                  <a:lnTo>
                    <a:pt x="210" y="18"/>
                  </a:lnTo>
                  <a:lnTo>
                    <a:pt x="210" y="20"/>
                  </a:lnTo>
                  <a:lnTo>
                    <a:pt x="211" y="20"/>
                  </a:lnTo>
                  <a:lnTo>
                    <a:pt x="211" y="18"/>
                  </a:lnTo>
                  <a:lnTo>
                    <a:pt x="211" y="20"/>
                  </a:lnTo>
                  <a:lnTo>
                    <a:pt x="213" y="20"/>
                  </a:lnTo>
                  <a:lnTo>
                    <a:pt x="213" y="22"/>
                  </a:lnTo>
                  <a:lnTo>
                    <a:pt x="215" y="22"/>
                  </a:lnTo>
                  <a:lnTo>
                    <a:pt x="216" y="23"/>
                  </a:lnTo>
                  <a:lnTo>
                    <a:pt x="216" y="25"/>
                  </a:lnTo>
                  <a:lnTo>
                    <a:pt x="218" y="25"/>
                  </a:lnTo>
                  <a:lnTo>
                    <a:pt x="220" y="25"/>
                  </a:lnTo>
                  <a:lnTo>
                    <a:pt x="220" y="26"/>
                  </a:lnTo>
                  <a:lnTo>
                    <a:pt x="221" y="26"/>
                  </a:lnTo>
                  <a:lnTo>
                    <a:pt x="221" y="28"/>
                  </a:lnTo>
                  <a:lnTo>
                    <a:pt x="221" y="30"/>
                  </a:lnTo>
                  <a:lnTo>
                    <a:pt x="221" y="31"/>
                  </a:lnTo>
                  <a:lnTo>
                    <a:pt x="223" y="31"/>
                  </a:lnTo>
                  <a:lnTo>
                    <a:pt x="223" y="33"/>
                  </a:lnTo>
                  <a:lnTo>
                    <a:pt x="221" y="33"/>
                  </a:lnTo>
                  <a:lnTo>
                    <a:pt x="223" y="33"/>
                  </a:lnTo>
                  <a:lnTo>
                    <a:pt x="223" y="35"/>
                  </a:lnTo>
                  <a:lnTo>
                    <a:pt x="224" y="36"/>
                  </a:lnTo>
                  <a:lnTo>
                    <a:pt x="224" y="38"/>
                  </a:lnTo>
                  <a:lnTo>
                    <a:pt x="226" y="38"/>
                  </a:lnTo>
                  <a:lnTo>
                    <a:pt x="224" y="39"/>
                  </a:lnTo>
                  <a:lnTo>
                    <a:pt x="226" y="39"/>
                  </a:lnTo>
                  <a:lnTo>
                    <a:pt x="226" y="41"/>
                  </a:lnTo>
                  <a:lnTo>
                    <a:pt x="228" y="41"/>
                  </a:lnTo>
                  <a:lnTo>
                    <a:pt x="229" y="43"/>
                  </a:lnTo>
                  <a:lnTo>
                    <a:pt x="229" y="44"/>
                  </a:lnTo>
                  <a:lnTo>
                    <a:pt x="228" y="44"/>
                  </a:lnTo>
                  <a:lnTo>
                    <a:pt x="228" y="46"/>
                  </a:lnTo>
                  <a:lnTo>
                    <a:pt x="226" y="48"/>
                  </a:lnTo>
                  <a:lnTo>
                    <a:pt x="228" y="46"/>
                  </a:lnTo>
                  <a:lnTo>
                    <a:pt x="229" y="46"/>
                  </a:lnTo>
                  <a:lnTo>
                    <a:pt x="229" y="44"/>
                  </a:lnTo>
                  <a:lnTo>
                    <a:pt x="231" y="44"/>
                  </a:lnTo>
                  <a:lnTo>
                    <a:pt x="233" y="44"/>
                  </a:lnTo>
                  <a:lnTo>
                    <a:pt x="236" y="46"/>
                  </a:lnTo>
                  <a:lnTo>
                    <a:pt x="236" y="48"/>
                  </a:lnTo>
                  <a:lnTo>
                    <a:pt x="237" y="48"/>
                  </a:lnTo>
                  <a:lnTo>
                    <a:pt x="239" y="48"/>
                  </a:lnTo>
                  <a:lnTo>
                    <a:pt x="241" y="48"/>
                  </a:lnTo>
                  <a:lnTo>
                    <a:pt x="242" y="49"/>
                  </a:lnTo>
                  <a:lnTo>
                    <a:pt x="242" y="48"/>
                  </a:lnTo>
                  <a:lnTo>
                    <a:pt x="244" y="49"/>
                  </a:lnTo>
                  <a:lnTo>
                    <a:pt x="246" y="49"/>
                  </a:lnTo>
                  <a:lnTo>
                    <a:pt x="247" y="49"/>
                  </a:lnTo>
                  <a:lnTo>
                    <a:pt x="247" y="51"/>
                  </a:lnTo>
                  <a:lnTo>
                    <a:pt x="247" y="49"/>
                  </a:lnTo>
                  <a:lnTo>
                    <a:pt x="249" y="51"/>
                  </a:lnTo>
                  <a:lnTo>
                    <a:pt x="250" y="51"/>
                  </a:lnTo>
                  <a:lnTo>
                    <a:pt x="249" y="52"/>
                  </a:lnTo>
                  <a:lnTo>
                    <a:pt x="249" y="54"/>
                  </a:lnTo>
                  <a:lnTo>
                    <a:pt x="247" y="56"/>
                  </a:lnTo>
                  <a:lnTo>
                    <a:pt x="247" y="57"/>
                  </a:lnTo>
                  <a:lnTo>
                    <a:pt x="247" y="59"/>
                  </a:lnTo>
                  <a:lnTo>
                    <a:pt x="246" y="59"/>
                  </a:lnTo>
                  <a:lnTo>
                    <a:pt x="246" y="61"/>
                  </a:lnTo>
                  <a:lnTo>
                    <a:pt x="247" y="61"/>
                  </a:lnTo>
                  <a:lnTo>
                    <a:pt x="246" y="61"/>
                  </a:lnTo>
                  <a:lnTo>
                    <a:pt x="246" y="62"/>
                  </a:lnTo>
                  <a:lnTo>
                    <a:pt x="247" y="61"/>
                  </a:lnTo>
                  <a:lnTo>
                    <a:pt x="247" y="59"/>
                  </a:lnTo>
                  <a:lnTo>
                    <a:pt x="249" y="59"/>
                  </a:lnTo>
                  <a:lnTo>
                    <a:pt x="247" y="59"/>
                  </a:lnTo>
                  <a:lnTo>
                    <a:pt x="247" y="57"/>
                  </a:lnTo>
                  <a:lnTo>
                    <a:pt x="249" y="57"/>
                  </a:lnTo>
                  <a:lnTo>
                    <a:pt x="249" y="56"/>
                  </a:lnTo>
                  <a:lnTo>
                    <a:pt x="250" y="54"/>
                  </a:lnTo>
                  <a:lnTo>
                    <a:pt x="250" y="56"/>
                  </a:lnTo>
                  <a:lnTo>
                    <a:pt x="252" y="56"/>
                  </a:lnTo>
                  <a:lnTo>
                    <a:pt x="252" y="54"/>
                  </a:lnTo>
                  <a:lnTo>
                    <a:pt x="250" y="54"/>
                  </a:lnTo>
                  <a:lnTo>
                    <a:pt x="250" y="52"/>
                  </a:lnTo>
                  <a:lnTo>
                    <a:pt x="252" y="52"/>
                  </a:lnTo>
                  <a:lnTo>
                    <a:pt x="252" y="51"/>
                  </a:lnTo>
                  <a:lnTo>
                    <a:pt x="250" y="51"/>
                  </a:lnTo>
                  <a:lnTo>
                    <a:pt x="252" y="51"/>
                  </a:lnTo>
                  <a:lnTo>
                    <a:pt x="254" y="51"/>
                  </a:lnTo>
                  <a:lnTo>
                    <a:pt x="255" y="51"/>
                  </a:lnTo>
                  <a:lnTo>
                    <a:pt x="255" y="52"/>
                  </a:lnTo>
                  <a:lnTo>
                    <a:pt x="255" y="51"/>
                  </a:lnTo>
                  <a:lnTo>
                    <a:pt x="255" y="52"/>
                  </a:lnTo>
                  <a:lnTo>
                    <a:pt x="257" y="52"/>
                  </a:lnTo>
                  <a:lnTo>
                    <a:pt x="257" y="51"/>
                  </a:lnTo>
                  <a:lnTo>
                    <a:pt x="259" y="51"/>
                  </a:lnTo>
                  <a:lnTo>
                    <a:pt x="260" y="51"/>
                  </a:lnTo>
                  <a:lnTo>
                    <a:pt x="260" y="49"/>
                  </a:lnTo>
                  <a:lnTo>
                    <a:pt x="260" y="51"/>
                  </a:lnTo>
                  <a:lnTo>
                    <a:pt x="262" y="51"/>
                  </a:lnTo>
                  <a:lnTo>
                    <a:pt x="263" y="51"/>
                  </a:lnTo>
                  <a:lnTo>
                    <a:pt x="263" y="52"/>
                  </a:lnTo>
                  <a:lnTo>
                    <a:pt x="265" y="52"/>
                  </a:lnTo>
                  <a:lnTo>
                    <a:pt x="267" y="54"/>
                  </a:lnTo>
                  <a:lnTo>
                    <a:pt x="267" y="52"/>
                  </a:lnTo>
                  <a:lnTo>
                    <a:pt x="268" y="52"/>
                  </a:lnTo>
                  <a:lnTo>
                    <a:pt x="268" y="54"/>
                  </a:lnTo>
                  <a:lnTo>
                    <a:pt x="270" y="54"/>
                  </a:lnTo>
                  <a:lnTo>
                    <a:pt x="272" y="54"/>
                  </a:lnTo>
                  <a:lnTo>
                    <a:pt x="272" y="56"/>
                  </a:lnTo>
                  <a:lnTo>
                    <a:pt x="273" y="56"/>
                  </a:lnTo>
                  <a:lnTo>
                    <a:pt x="275" y="56"/>
                  </a:lnTo>
                  <a:lnTo>
                    <a:pt x="276" y="56"/>
                  </a:lnTo>
                  <a:lnTo>
                    <a:pt x="276" y="54"/>
                  </a:lnTo>
                  <a:lnTo>
                    <a:pt x="278" y="56"/>
                  </a:lnTo>
                  <a:lnTo>
                    <a:pt x="278" y="54"/>
                  </a:lnTo>
                  <a:lnTo>
                    <a:pt x="278" y="56"/>
                  </a:lnTo>
                  <a:lnTo>
                    <a:pt x="280" y="56"/>
                  </a:lnTo>
                  <a:lnTo>
                    <a:pt x="281" y="56"/>
                  </a:lnTo>
                  <a:lnTo>
                    <a:pt x="281" y="57"/>
                  </a:lnTo>
                  <a:lnTo>
                    <a:pt x="281" y="59"/>
                  </a:lnTo>
                  <a:lnTo>
                    <a:pt x="281" y="61"/>
                  </a:lnTo>
                  <a:lnTo>
                    <a:pt x="281" y="57"/>
                  </a:lnTo>
                  <a:lnTo>
                    <a:pt x="283" y="57"/>
                  </a:lnTo>
                  <a:lnTo>
                    <a:pt x="285" y="57"/>
                  </a:lnTo>
                  <a:lnTo>
                    <a:pt x="286" y="59"/>
                  </a:lnTo>
                  <a:lnTo>
                    <a:pt x="286" y="57"/>
                  </a:lnTo>
                  <a:lnTo>
                    <a:pt x="288" y="57"/>
                  </a:lnTo>
                  <a:lnTo>
                    <a:pt x="289" y="57"/>
                  </a:lnTo>
                  <a:lnTo>
                    <a:pt x="289" y="59"/>
                  </a:lnTo>
                  <a:lnTo>
                    <a:pt x="289" y="57"/>
                  </a:lnTo>
                  <a:lnTo>
                    <a:pt x="291" y="57"/>
                  </a:lnTo>
                  <a:lnTo>
                    <a:pt x="293" y="57"/>
                  </a:lnTo>
                  <a:lnTo>
                    <a:pt x="293" y="59"/>
                  </a:lnTo>
                  <a:lnTo>
                    <a:pt x="294" y="59"/>
                  </a:lnTo>
                  <a:lnTo>
                    <a:pt x="294" y="61"/>
                  </a:lnTo>
                  <a:lnTo>
                    <a:pt x="296" y="61"/>
                  </a:lnTo>
                  <a:lnTo>
                    <a:pt x="298" y="61"/>
                  </a:lnTo>
                  <a:lnTo>
                    <a:pt x="299" y="62"/>
                  </a:lnTo>
                  <a:lnTo>
                    <a:pt x="301" y="62"/>
                  </a:lnTo>
                  <a:lnTo>
                    <a:pt x="299" y="62"/>
                  </a:lnTo>
                  <a:lnTo>
                    <a:pt x="301" y="64"/>
                  </a:lnTo>
                  <a:lnTo>
                    <a:pt x="301" y="62"/>
                  </a:lnTo>
                  <a:lnTo>
                    <a:pt x="301" y="64"/>
                  </a:lnTo>
                  <a:lnTo>
                    <a:pt x="303" y="64"/>
                  </a:lnTo>
                  <a:lnTo>
                    <a:pt x="304" y="64"/>
                  </a:lnTo>
                  <a:lnTo>
                    <a:pt x="306" y="64"/>
                  </a:lnTo>
                  <a:lnTo>
                    <a:pt x="307" y="64"/>
                  </a:lnTo>
                  <a:lnTo>
                    <a:pt x="307" y="62"/>
                  </a:lnTo>
                  <a:lnTo>
                    <a:pt x="309" y="62"/>
                  </a:lnTo>
                  <a:lnTo>
                    <a:pt x="311" y="64"/>
                  </a:lnTo>
                  <a:lnTo>
                    <a:pt x="312" y="65"/>
                  </a:lnTo>
                  <a:lnTo>
                    <a:pt x="312" y="64"/>
                  </a:lnTo>
                  <a:lnTo>
                    <a:pt x="314" y="65"/>
                  </a:lnTo>
                  <a:lnTo>
                    <a:pt x="316" y="65"/>
                  </a:lnTo>
                  <a:lnTo>
                    <a:pt x="317" y="65"/>
                  </a:lnTo>
                  <a:lnTo>
                    <a:pt x="319" y="65"/>
                  </a:lnTo>
                  <a:lnTo>
                    <a:pt x="317" y="67"/>
                  </a:lnTo>
                  <a:lnTo>
                    <a:pt x="319" y="67"/>
                  </a:lnTo>
                  <a:lnTo>
                    <a:pt x="320" y="67"/>
                  </a:lnTo>
                  <a:lnTo>
                    <a:pt x="320" y="65"/>
                  </a:lnTo>
                  <a:lnTo>
                    <a:pt x="320" y="67"/>
                  </a:lnTo>
                  <a:lnTo>
                    <a:pt x="322" y="65"/>
                  </a:lnTo>
                  <a:lnTo>
                    <a:pt x="324" y="65"/>
                  </a:lnTo>
                  <a:lnTo>
                    <a:pt x="325" y="67"/>
                  </a:lnTo>
                  <a:lnTo>
                    <a:pt x="325" y="65"/>
                  </a:lnTo>
                  <a:lnTo>
                    <a:pt x="327" y="65"/>
                  </a:lnTo>
                  <a:lnTo>
                    <a:pt x="329" y="65"/>
                  </a:lnTo>
                  <a:lnTo>
                    <a:pt x="330" y="65"/>
                  </a:lnTo>
                  <a:lnTo>
                    <a:pt x="332" y="65"/>
                  </a:lnTo>
                  <a:lnTo>
                    <a:pt x="332" y="64"/>
                  </a:lnTo>
                  <a:lnTo>
                    <a:pt x="333" y="64"/>
                  </a:lnTo>
                  <a:lnTo>
                    <a:pt x="333" y="65"/>
                  </a:lnTo>
                  <a:lnTo>
                    <a:pt x="335" y="65"/>
                  </a:lnTo>
                  <a:lnTo>
                    <a:pt x="335" y="67"/>
                  </a:lnTo>
                  <a:lnTo>
                    <a:pt x="337" y="67"/>
                  </a:lnTo>
                  <a:lnTo>
                    <a:pt x="337" y="69"/>
                  </a:lnTo>
                  <a:lnTo>
                    <a:pt x="338" y="69"/>
                  </a:lnTo>
                  <a:lnTo>
                    <a:pt x="340" y="69"/>
                  </a:lnTo>
                  <a:lnTo>
                    <a:pt x="340" y="70"/>
                  </a:lnTo>
                  <a:lnTo>
                    <a:pt x="342" y="70"/>
                  </a:lnTo>
                  <a:lnTo>
                    <a:pt x="343" y="70"/>
                  </a:lnTo>
                  <a:lnTo>
                    <a:pt x="343" y="72"/>
                  </a:lnTo>
                  <a:lnTo>
                    <a:pt x="345" y="72"/>
                  </a:lnTo>
                  <a:lnTo>
                    <a:pt x="346" y="72"/>
                  </a:lnTo>
                  <a:lnTo>
                    <a:pt x="346" y="70"/>
                  </a:lnTo>
                  <a:lnTo>
                    <a:pt x="348" y="72"/>
                  </a:lnTo>
                  <a:lnTo>
                    <a:pt x="346" y="72"/>
                  </a:lnTo>
                  <a:lnTo>
                    <a:pt x="346" y="74"/>
                  </a:lnTo>
                  <a:lnTo>
                    <a:pt x="346" y="75"/>
                  </a:lnTo>
                  <a:lnTo>
                    <a:pt x="348" y="75"/>
                  </a:lnTo>
                  <a:lnTo>
                    <a:pt x="346" y="75"/>
                  </a:lnTo>
                  <a:lnTo>
                    <a:pt x="346" y="74"/>
                  </a:lnTo>
                  <a:lnTo>
                    <a:pt x="348" y="74"/>
                  </a:lnTo>
                  <a:lnTo>
                    <a:pt x="348" y="72"/>
                  </a:lnTo>
                  <a:lnTo>
                    <a:pt x="350" y="72"/>
                  </a:lnTo>
                  <a:lnTo>
                    <a:pt x="351" y="70"/>
                  </a:lnTo>
                  <a:lnTo>
                    <a:pt x="353" y="70"/>
                  </a:lnTo>
                  <a:lnTo>
                    <a:pt x="353" y="69"/>
                  </a:lnTo>
                  <a:lnTo>
                    <a:pt x="355" y="69"/>
                  </a:lnTo>
                  <a:lnTo>
                    <a:pt x="355" y="70"/>
                  </a:lnTo>
                  <a:lnTo>
                    <a:pt x="356" y="70"/>
                  </a:lnTo>
                  <a:lnTo>
                    <a:pt x="356" y="72"/>
                  </a:lnTo>
                  <a:lnTo>
                    <a:pt x="356" y="70"/>
                  </a:lnTo>
                  <a:lnTo>
                    <a:pt x="358" y="72"/>
                  </a:lnTo>
                  <a:lnTo>
                    <a:pt x="358" y="70"/>
                  </a:lnTo>
                  <a:lnTo>
                    <a:pt x="358" y="72"/>
                  </a:lnTo>
                  <a:lnTo>
                    <a:pt x="358" y="70"/>
                  </a:lnTo>
                  <a:lnTo>
                    <a:pt x="359" y="72"/>
                  </a:lnTo>
                  <a:lnTo>
                    <a:pt x="361" y="72"/>
                  </a:lnTo>
                  <a:lnTo>
                    <a:pt x="363" y="72"/>
                  </a:lnTo>
                  <a:lnTo>
                    <a:pt x="363" y="70"/>
                  </a:lnTo>
                  <a:lnTo>
                    <a:pt x="363" y="72"/>
                  </a:lnTo>
                  <a:lnTo>
                    <a:pt x="364" y="72"/>
                  </a:lnTo>
                  <a:lnTo>
                    <a:pt x="364" y="70"/>
                  </a:lnTo>
                  <a:lnTo>
                    <a:pt x="364" y="72"/>
                  </a:lnTo>
                  <a:lnTo>
                    <a:pt x="363" y="75"/>
                  </a:lnTo>
                  <a:lnTo>
                    <a:pt x="364" y="75"/>
                  </a:lnTo>
                  <a:lnTo>
                    <a:pt x="364" y="74"/>
                  </a:lnTo>
                  <a:lnTo>
                    <a:pt x="364" y="72"/>
                  </a:lnTo>
                  <a:lnTo>
                    <a:pt x="364" y="70"/>
                  </a:lnTo>
                  <a:lnTo>
                    <a:pt x="363" y="70"/>
                  </a:lnTo>
                  <a:lnTo>
                    <a:pt x="363" y="69"/>
                  </a:lnTo>
                  <a:lnTo>
                    <a:pt x="364" y="70"/>
                  </a:lnTo>
                  <a:lnTo>
                    <a:pt x="366" y="69"/>
                  </a:lnTo>
                  <a:lnTo>
                    <a:pt x="366" y="67"/>
                  </a:lnTo>
                  <a:lnTo>
                    <a:pt x="368" y="67"/>
                  </a:lnTo>
                  <a:lnTo>
                    <a:pt x="369" y="67"/>
                  </a:lnTo>
                  <a:lnTo>
                    <a:pt x="371" y="67"/>
                  </a:lnTo>
                  <a:lnTo>
                    <a:pt x="371" y="65"/>
                  </a:lnTo>
                  <a:lnTo>
                    <a:pt x="372" y="65"/>
                  </a:lnTo>
                  <a:lnTo>
                    <a:pt x="372" y="64"/>
                  </a:lnTo>
                  <a:lnTo>
                    <a:pt x="374" y="64"/>
                  </a:lnTo>
                  <a:lnTo>
                    <a:pt x="374" y="62"/>
                  </a:lnTo>
                  <a:lnTo>
                    <a:pt x="374" y="64"/>
                  </a:lnTo>
                  <a:lnTo>
                    <a:pt x="376" y="64"/>
                  </a:lnTo>
                  <a:lnTo>
                    <a:pt x="374" y="65"/>
                  </a:lnTo>
                  <a:lnTo>
                    <a:pt x="376" y="65"/>
                  </a:lnTo>
                  <a:lnTo>
                    <a:pt x="377" y="65"/>
                  </a:lnTo>
                  <a:lnTo>
                    <a:pt x="377" y="67"/>
                  </a:lnTo>
                  <a:lnTo>
                    <a:pt x="377" y="69"/>
                  </a:lnTo>
                  <a:lnTo>
                    <a:pt x="377" y="67"/>
                  </a:lnTo>
                  <a:lnTo>
                    <a:pt x="379" y="67"/>
                  </a:lnTo>
                  <a:lnTo>
                    <a:pt x="379" y="69"/>
                  </a:lnTo>
                  <a:lnTo>
                    <a:pt x="379" y="70"/>
                  </a:lnTo>
                  <a:lnTo>
                    <a:pt x="379" y="72"/>
                  </a:lnTo>
                  <a:lnTo>
                    <a:pt x="379" y="70"/>
                  </a:lnTo>
                  <a:lnTo>
                    <a:pt x="379" y="72"/>
                  </a:lnTo>
                  <a:lnTo>
                    <a:pt x="381" y="72"/>
                  </a:lnTo>
                  <a:lnTo>
                    <a:pt x="381" y="74"/>
                  </a:lnTo>
                  <a:lnTo>
                    <a:pt x="381" y="75"/>
                  </a:lnTo>
                  <a:lnTo>
                    <a:pt x="382" y="75"/>
                  </a:lnTo>
                  <a:lnTo>
                    <a:pt x="382" y="77"/>
                  </a:lnTo>
                  <a:lnTo>
                    <a:pt x="382" y="78"/>
                  </a:lnTo>
                  <a:lnTo>
                    <a:pt x="384" y="78"/>
                  </a:lnTo>
                  <a:lnTo>
                    <a:pt x="385" y="78"/>
                  </a:lnTo>
                  <a:lnTo>
                    <a:pt x="387" y="78"/>
                  </a:lnTo>
                  <a:lnTo>
                    <a:pt x="387" y="80"/>
                  </a:lnTo>
                  <a:lnTo>
                    <a:pt x="389" y="80"/>
                  </a:lnTo>
                  <a:lnTo>
                    <a:pt x="387" y="80"/>
                  </a:lnTo>
                  <a:lnTo>
                    <a:pt x="385" y="78"/>
                  </a:lnTo>
                  <a:lnTo>
                    <a:pt x="385" y="80"/>
                  </a:lnTo>
                  <a:lnTo>
                    <a:pt x="387" y="80"/>
                  </a:lnTo>
                  <a:lnTo>
                    <a:pt x="385" y="80"/>
                  </a:lnTo>
                  <a:lnTo>
                    <a:pt x="387" y="80"/>
                  </a:lnTo>
                  <a:lnTo>
                    <a:pt x="385" y="80"/>
                  </a:lnTo>
                  <a:lnTo>
                    <a:pt x="387" y="82"/>
                  </a:lnTo>
                  <a:lnTo>
                    <a:pt x="385" y="82"/>
                  </a:lnTo>
                  <a:lnTo>
                    <a:pt x="387" y="82"/>
                  </a:lnTo>
                  <a:lnTo>
                    <a:pt x="387" y="80"/>
                  </a:lnTo>
                  <a:lnTo>
                    <a:pt x="387" y="82"/>
                  </a:lnTo>
                  <a:lnTo>
                    <a:pt x="387" y="80"/>
                  </a:lnTo>
                  <a:lnTo>
                    <a:pt x="387" y="82"/>
                  </a:lnTo>
                  <a:lnTo>
                    <a:pt x="385" y="82"/>
                  </a:lnTo>
                  <a:lnTo>
                    <a:pt x="387" y="83"/>
                  </a:lnTo>
                  <a:lnTo>
                    <a:pt x="389" y="83"/>
                  </a:lnTo>
                  <a:lnTo>
                    <a:pt x="389" y="82"/>
                  </a:lnTo>
                  <a:lnTo>
                    <a:pt x="390" y="83"/>
                  </a:lnTo>
                  <a:lnTo>
                    <a:pt x="389" y="83"/>
                  </a:lnTo>
                  <a:lnTo>
                    <a:pt x="390" y="83"/>
                  </a:lnTo>
                  <a:lnTo>
                    <a:pt x="390" y="85"/>
                  </a:lnTo>
                  <a:lnTo>
                    <a:pt x="390" y="83"/>
                  </a:lnTo>
                  <a:lnTo>
                    <a:pt x="392" y="83"/>
                  </a:lnTo>
                  <a:lnTo>
                    <a:pt x="394" y="83"/>
                  </a:lnTo>
                  <a:lnTo>
                    <a:pt x="394" y="82"/>
                  </a:lnTo>
                  <a:lnTo>
                    <a:pt x="395" y="83"/>
                  </a:lnTo>
                  <a:lnTo>
                    <a:pt x="397" y="85"/>
                  </a:lnTo>
                  <a:lnTo>
                    <a:pt x="398" y="85"/>
                  </a:lnTo>
                  <a:lnTo>
                    <a:pt x="400" y="85"/>
                  </a:lnTo>
                  <a:lnTo>
                    <a:pt x="402" y="85"/>
                  </a:lnTo>
                  <a:lnTo>
                    <a:pt x="403" y="85"/>
                  </a:lnTo>
                  <a:lnTo>
                    <a:pt x="403" y="87"/>
                  </a:lnTo>
                  <a:lnTo>
                    <a:pt x="403" y="85"/>
                  </a:lnTo>
                  <a:lnTo>
                    <a:pt x="405" y="85"/>
                  </a:lnTo>
                  <a:lnTo>
                    <a:pt x="405" y="87"/>
                  </a:lnTo>
                  <a:lnTo>
                    <a:pt x="407" y="87"/>
                  </a:lnTo>
                  <a:lnTo>
                    <a:pt x="408" y="87"/>
                  </a:lnTo>
                  <a:lnTo>
                    <a:pt x="410" y="87"/>
                  </a:lnTo>
                  <a:lnTo>
                    <a:pt x="411" y="87"/>
                  </a:lnTo>
                  <a:lnTo>
                    <a:pt x="413" y="87"/>
                  </a:lnTo>
                  <a:lnTo>
                    <a:pt x="413" y="88"/>
                  </a:lnTo>
                  <a:lnTo>
                    <a:pt x="415" y="87"/>
                  </a:lnTo>
                  <a:lnTo>
                    <a:pt x="416" y="88"/>
                  </a:lnTo>
                  <a:lnTo>
                    <a:pt x="418" y="90"/>
                  </a:lnTo>
                  <a:lnTo>
                    <a:pt x="416" y="90"/>
                  </a:lnTo>
                  <a:lnTo>
                    <a:pt x="418" y="90"/>
                  </a:lnTo>
                  <a:lnTo>
                    <a:pt x="416" y="90"/>
                  </a:lnTo>
                  <a:lnTo>
                    <a:pt x="416" y="91"/>
                  </a:lnTo>
                  <a:lnTo>
                    <a:pt x="415" y="93"/>
                  </a:lnTo>
                  <a:lnTo>
                    <a:pt x="416" y="93"/>
                  </a:lnTo>
                  <a:lnTo>
                    <a:pt x="415" y="93"/>
                  </a:lnTo>
                  <a:lnTo>
                    <a:pt x="413" y="93"/>
                  </a:lnTo>
                  <a:lnTo>
                    <a:pt x="415" y="93"/>
                  </a:lnTo>
                  <a:lnTo>
                    <a:pt x="416" y="93"/>
                  </a:lnTo>
                  <a:lnTo>
                    <a:pt x="416" y="91"/>
                  </a:lnTo>
                  <a:lnTo>
                    <a:pt x="418" y="93"/>
                  </a:lnTo>
                  <a:lnTo>
                    <a:pt x="418" y="91"/>
                  </a:lnTo>
                  <a:lnTo>
                    <a:pt x="416" y="91"/>
                  </a:lnTo>
                  <a:lnTo>
                    <a:pt x="418" y="91"/>
                  </a:lnTo>
                  <a:lnTo>
                    <a:pt x="418" y="90"/>
                  </a:lnTo>
                  <a:lnTo>
                    <a:pt x="420" y="90"/>
                  </a:lnTo>
                  <a:lnTo>
                    <a:pt x="420" y="91"/>
                  </a:lnTo>
                  <a:lnTo>
                    <a:pt x="421" y="91"/>
                  </a:lnTo>
                  <a:lnTo>
                    <a:pt x="423" y="91"/>
                  </a:lnTo>
                  <a:lnTo>
                    <a:pt x="424" y="91"/>
                  </a:lnTo>
                  <a:lnTo>
                    <a:pt x="424" y="93"/>
                  </a:lnTo>
                  <a:lnTo>
                    <a:pt x="426" y="93"/>
                  </a:lnTo>
                  <a:lnTo>
                    <a:pt x="428" y="93"/>
                  </a:lnTo>
                  <a:lnTo>
                    <a:pt x="428" y="95"/>
                  </a:lnTo>
                  <a:lnTo>
                    <a:pt x="429" y="96"/>
                  </a:lnTo>
                  <a:lnTo>
                    <a:pt x="428" y="96"/>
                  </a:lnTo>
                  <a:lnTo>
                    <a:pt x="429" y="98"/>
                  </a:lnTo>
                  <a:lnTo>
                    <a:pt x="431" y="100"/>
                  </a:lnTo>
                  <a:lnTo>
                    <a:pt x="433" y="101"/>
                  </a:lnTo>
                  <a:lnTo>
                    <a:pt x="433" y="103"/>
                  </a:lnTo>
                  <a:lnTo>
                    <a:pt x="434" y="103"/>
                  </a:lnTo>
                  <a:lnTo>
                    <a:pt x="436" y="103"/>
                  </a:lnTo>
                  <a:lnTo>
                    <a:pt x="437" y="103"/>
                  </a:lnTo>
                  <a:lnTo>
                    <a:pt x="439" y="103"/>
                  </a:lnTo>
                  <a:lnTo>
                    <a:pt x="441" y="103"/>
                  </a:lnTo>
                  <a:lnTo>
                    <a:pt x="442" y="103"/>
                  </a:lnTo>
                  <a:lnTo>
                    <a:pt x="444" y="104"/>
                  </a:lnTo>
                  <a:lnTo>
                    <a:pt x="446" y="104"/>
                  </a:lnTo>
                  <a:lnTo>
                    <a:pt x="447" y="106"/>
                  </a:lnTo>
                  <a:lnTo>
                    <a:pt x="447" y="108"/>
                  </a:lnTo>
                  <a:lnTo>
                    <a:pt x="449" y="106"/>
                  </a:lnTo>
                  <a:lnTo>
                    <a:pt x="449" y="108"/>
                  </a:lnTo>
                  <a:lnTo>
                    <a:pt x="451" y="108"/>
                  </a:lnTo>
                  <a:lnTo>
                    <a:pt x="452" y="108"/>
                  </a:lnTo>
                  <a:lnTo>
                    <a:pt x="454" y="109"/>
                  </a:lnTo>
                  <a:lnTo>
                    <a:pt x="455" y="109"/>
                  </a:lnTo>
                  <a:lnTo>
                    <a:pt x="457" y="109"/>
                  </a:lnTo>
                  <a:lnTo>
                    <a:pt x="459" y="109"/>
                  </a:lnTo>
                  <a:lnTo>
                    <a:pt x="460" y="109"/>
                  </a:lnTo>
                  <a:lnTo>
                    <a:pt x="460" y="111"/>
                  </a:lnTo>
                  <a:lnTo>
                    <a:pt x="462" y="111"/>
                  </a:lnTo>
                  <a:lnTo>
                    <a:pt x="464" y="111"/>
                  </a:lnTo>
                  <a:lnTo>
                    <a:pt x="464" y="113"/>
                  </a:lnTo>
                  <a:lnTo>
                    <a:pt x="465" y="113"/>
                  </a:lnTo>
                  <a:lnTo>
                    <a:pt x="467" y="113"/>
                  </a:lnTo>
                  <a:lnTo>
                    <a:pt x="467" y="114"/>
                  </a:lnTo>
                  <a:lnTo>
                    <a:pt x="468" y="114"/>
                  </a:lnTo>
                  <a:lnTo>
                    <a:pt x="470" y="114"/>
                  </a:lnTo>
                  <a:lnTo>
                    <a:pt x="470" y="116"/>
                  </a:lnTo>
                  <a:lnTo>
                    <a:pt x="472" y="116"/>
                  </a:lnTo>
                  <a:lnTo>
                    <a:pt x="473" y="116"/>
                  </a:lnTo>
                  <a:lnTo>
                    <a:pt x="473" y="117"/>
                  </a:lnTo>
                  <a:lnTo>
                    <a:pt x="475" y="117"/>
                  </a:lnTo>
                  <a:lnTo>
                    <a:pt x="477" y="117"/>
                  </a:lnTo>
                  <a:lnTo>
                    <a:pt x="478" y="117"/>
                  </a:lnTo>
                  <a:lnTo>
                    <a:pt x="478" y="119"/>
                  </a:lnTo>
                  <a:lnTo>
                    <a:pt x="480" y="119"/>
                  </a:lnTo>
                  <a:lnTo>
                    <a:pt x="480" y="121"/>
                  </a:lnTo>
                  <a:lnTo>
                    <a:pt x="481" y="121"/>
                  </a:lnTo>
                  <a:lnTo>
                    <a:pt x="483" y="121"/>
                  </a:lnTo>
                  <a:lnTo>
                    <a:pt x="483" y="122"/>
                  </a:lnTo>
                  <a:lnTo>
                    <a:pt x="485" y="122"/>
                  </a:lnTo>
                  <a:lnTo>
                    <a:pt x="486" y="122"/>
                  </a:lnTo>
                  <a:lnTo>
                    <a:pt x="486" y="124"/>
                  </a:lnTo>
                  <a:lnTo>
                    <a:pt x="488" y="124"/>
                  </a:lnTo>
                  <a:lnTo>
                    <a:pt x="490" y="124"/>
                  </a:lnTo>
                  <a:lnTo>
                    <a:pt x="491" y="126"/>
                  </a:lnTo>
                  <a:lnTo>
                    <a:pt x="493" y="126"/>
                  </a:lnTo>
                  <a:lnTo>
                    <a:pt x="494" y="126"/>
                  </a:lnTo>
                  <a:lnTo>
                    <a:pt x="496" y="126"/>
                  </a:lnTo>
                  <a:lnTo>
                    <a:pt x="496" y="127"/>
                  </a:lnTo>
                  <a:lnTo>
                    <a:pt x="498" y="127"/>
                  </a:lnTo>
                  <a:lnTo>
                    <a:pt x="499" y="127"/>
                  </a:lnTo>
                  <a:lnTo>
                    <a:pt x="501" y="127"/>
                  </a:lnTo>
                  <a:lnTo>
                    <a:pt x="503" y="127"/>
                  </a:lnTo>
                  <a:lnTo>
                    <a:pt x="503" y="129"/>
                  </a:lnTo>
                  <a:lnTo>
                    <a:pt x="504" y="129"/>
                  </a:lnTo>
                  <a:lnTo>
                    <a:pt x="506" y="129"/>
                  </a:lnTo>
                  <a:lnTo>
                    <a:pt x="507" y="129"/>
                  </a:lnTo>
                  <a:lnTo>
                    <a:pt x="507" y="130"/>
                  </a:lnTo>
                  <a:lnTo>
                    <a:pt x="507" y="129"/>
                  </a:lnTo>
                  <a:lnTo>
                    <a:pt x="509" y="129"/>
                  </a:lnTo>
                  <a:lnTo>
                    <a:pt x="509" y="130"/>
                  </a:lnTo>
                  <a:lnTo>
                    <a:pt x="509" y="129"/>
                  </a:lnTo>
                  <a:lnTo>
                    <a:pt x="511" y="129"/>
                  </a:lnTo>
                  <a:lnTo>
                    <a:pt x="511" y="130"/>
                  </a:lnTo>
                  <a:lnTo>
                    <a:pt x="511" y="129"/>
                  </a:lnTo>
                  <a:lnTo>
                    <a:pt x="514" y="130"/>
                  </a:lnTo>
                  <a:lnTo>
                    <a:pt x="516" y="132"/>
                  </a:lnTo>
                  <a:lnTo>
                    <a:pt x="517" y="132"/>
                  </a:lnTo>
                  <a:lnTo>
                    <a:pt x="519" y="130"/>
                  </a:lnTo>
                  <a:lnTo>
                    <a:pt x="520" y="130"/>
                  </a:lnTo>
                  <a:lnTo>
                    <a:pt x="520" y="132"/>
                  </a:lnTo>
                  <a:lnTo>
                    <a:pt x="522" y="132"/>
                  </a:lnTo>
                  <a:lnTo>
                    <a:pt x="524" y="132"/>
                  </a:lnTo>
                  <a:lnTo>
                    <a:pt x="524" y="134"/>
                  </a:lnTo>
                  <a:lnTo>
                    <a:pt x="525" y="134"/>
                  </a:lnTo>
                  <a:lnTo>
                    <a:pt x="525" y="132"/>
                  </a:lnTo>
                  <a:lnTo>
                    <a:pt x="525" y="134"/>
                  </a:lnTo>
                  <a:lnTo>
                    <a:pt x="527" y="134"/>
                  </a:lnTo>
                  <a:lnTo>
                    <a:pt x="529" y="134"/>
                  </a:lnTo>
                  <a:lnTo>
                    <a:pt x="530" y="134"/>
                  </a:lnTo>
                  <a:lnTo>
                    <a:pt x="532" y="134"/>
                  </a:lnTo>
                  <a:lnTo>
                    <a:pt x="533" y="134"/>
                  </a:lnTo>
                  <a:lnTo>
                    <a:pt x="535" y="134"/>
                  </a:lnTo>
                  <a:lnTo>
                    <a:pt x="537" y="134"/>
                  </a:lnTo>
                  <a:lnTo>
                    <a:pt x="538" y="134"/>
                  </a:lnTo>
                  <a:lnTo>
                    <a:pt x="540" y="134"/>
                  </a:lnTo>
                  <a:lnTo>
                    <a:pt x="542" y="134"/>
                  </a:lnTo>
                  <a:lnTo>
                    <a:pt x="543" y="134"/>
                  </a:lnTo>
                  <a:lnTo>
                    <a:pt x="545" y="132"/>
                  </a:lnTo>
                  <a:lnTo>
                    <a:pt x="546" y="132"/>
                  </a:lnTo>
                  <a:lnTo>
                    <a:pt x="548" y="130"/>
                  </a:lnTo>
                  <a:lnTo>
                    <a:pt x="548" y="132"/>
                  </a:lnTo>
                  <a:lnTo>
                    <a:pt x="550" y="132"/>
                  </a:lnTo>
                  <a:lnTo>
                    <a:pt x="551" y="132"/>
                  </a:lnTo>
                  <a:lnTo>
                    <a:pt x="551" y="130"/>
                  </a:lnTo>
                  <a:lnTo>
                    <a:pt x="553" y="130"/>
                  </a:lnTo>
                  <a:lnTo>
                    <a:pt x="551" y="132"/>
                  </a:lnTo>
                  <a:lnTo>
                    <a:pt x="553" y="132"/>
                  </a:lnTo>
                  <a:lnTo>
                    <a:pt x="555" y="132"/>
                  </a:lnTo>
                  <a:lnTo>
                    <a:pt x="555" y="130"/>
                  </a:lnTo>
                  <a:lnTo>
                    <a:pt x="556" y="132"/>
                  </a:lnTo>
                  <a:lnTo>
                    <a:pt x="558" y="132"/>
                  </a:lnTo>
                  <a:lnTo>
                    <a:pt x="558" y="134"/>
                  </a:lnTo>
                  <a:lnTo>
                    <a:pt x="559" y="134"/>
                  </a:lnTo>
                  <a:lnTo>
                    <a:pt x="559" y="132"/>
                  </a:lnTo>
                  <a:lnTo>
                    <a:pt x="559" y="134"/>
                  </a:lnTo>
                  <a:lnTo>
                    <a:pt x="561" y="132"/>
                  </a:lnTo>
                  <a:lnTo>
                    <a:pt x="561" y="134"/>
                  </a:lnTo>
                  <a:lnTo>
                    <a:pt x="561" y="132"/>
                  </a:lnTo>
                  <a:lnTo>
                    <a:pt x="559" y="132"/>
                  </a:lnTo>
                  <a:lnTo>
                    <a:pt x="561" y="130"/>
                  </a:lnTo>
                  <a:lnTo>
                    <a:pt x="563" y="130"/>
                  </a:lnTo>
                  <a:lnTo>
                    <a:pt x="563" y="129"/>
                  </a:lnTo>
                  <a:lnTo>
                    <a:pt x="564" y="129"/>
                  </a:lnTo>
                  <a:lnTo>
                    <a:pt x="566" y="129"/>
                  </a:lnTo>
                  <a:lnTo>
                    <a:pt x="568" y="129"/>
                  </a:lnTo>
                  <a:lnTo>
                    <a:pt x="569" y="129"/>
                  </a:lnTo>
                  <a:lnTo>
                    <a:pt x="568" y="129"/>
                  </a:lnTo>
                  <a:lnTo>
                    <a:pt x="569" y="129"/>
                  </a:lnTo>
                  <a:lnTo>
                    <a:pt x="571" y="129"/>
                  </a:lnTo>
                  <a:lnTo>
                    <a:pt x="571" y="130"/>
                  </a:lnTo>
                  <a:lnTo>
                    <a:pt x="572" y="129"/>
                  </a:lnTo>
                  <a:lnTo>
                    <a:pt x="574" y="129"/>
                  </a:lnTo>
                  <a:lnTo>
                    <a:pt x="574" y="130"/>
                  </a:lnTo>
                  <a:lnTo>
                    <a:pt x="574" y="129"/>
                  </a:lnTo>
                  <a:lnTo>
                    <a:pt x="576" y="129"/>
                  </a:lnTo>
                  <a:lnTo>
                    <a:pt x="577" y="129"/>
                  </a:lnTo>
                  <a:lnTo>
                    <a:pt x="579" y="129"/>
                  </a:lnTo>
                  <a:lnTo>
                    <a:pt x="581" y="129"/>
                  </a:lnTo>
                  <a:lnTo>
                    <a:pt x="579" y="130"/>
                  </a:lnTo>
                  <a:lnTo>
                    <a:pt x="581" y="130"/>
                  </a:lnTo>
                  <a:lnTo>
                    <a:pt x="579" y="130"/>
                  </a:lnTo>
                  <a:lnTo>
                    <a:pt x="581" y="132"/>
                  </a:lnTo>
                  <a:lnTo>
                    <a:pt x="582" y="132"/>
                  </a:lnTo>
                  <a:lnTo>
                    <a:pt x="581" y="134"/>
                  </a:lnTo>
                  <a:lnTo>
                    <a:pt x="581" y="132"/>
                  </a:lnTo>
                  <a:lnTo>
                    <a:pt x="579" y="134"/>
                  </a:lnTo>
                  <a:lnTo>
                    <a:pt x="577" y="134"/>
                  </a:lnTo>
                  <a:lnTo>
                    <a:pt x="576" y="134"/>
                  </a:lnTo>
                  <a:lnTo>
                    <a:pt x="574" y="134"/>
                  </a:lnTo>
                  <a:lnTo>
                    <a:pt x="576" y="135"/>
                  </a:lnTo>
                  <a:lnTo>
                    <a:pt x="574" y="135"/>
                  </a:lnTo>
                  <a:lnTo>
                    <a:pt x="576" y="135"/>
                  </a:lnTo>
                  <a:lnTo>
                    <a:pt x="574" y="135"/>
                  </a:lnTo>
                  <a:lnTo>
                    <a:pt x="574" y="137"/>
                  </a:lnTo>
                  <a:lnTo>
                    <a:pt x="576" y="137"/>
                  </a:lnTo>
                  <a:lnTo>
                    <a:pt x="576" y="139"/>
                  </a:lnTo>
                  <a:lnTo>
                    <a:pt x="574" y="139"/>
                  </a:lnTo>
                  <a:lnTo>
                    <a:pt x="574" y="140"/>
                  </a:lnTo>
                  <a:lnTo>
                    <a:pt x="574" y="142"/>
                  </a:lnTo>
                  <a:lnTo>
                    <a:pt x="576" y="142"/>
                  </a:lnTo>
                  <a:lnTo>
                    <a:pt x="577" y="142"/>
                  </a:lnTo>
                  <a:lnTo>
                    <a:pt x="579" y="142"/>
                  </a:lnTo>
                  <a:lnTo>
                    <a:pt x="577" y="142"/>
                  </a:lnTo>
                  <a:lnTo>
                    <a:pt x="576" y="142"/>
                  </a:lnTo>
                  <a:lnTo>
                    <a:pt x="574" y="142"/>
                  </a:lnTo>
                  <a:lnTo>
                    <a:pt x="574" y="140"/>
                  </a:lnTo>
                  <a:lnTo>
                    <a:pt x="576" y="140"/>
                  </a:lnTo>
                  <a:lnTo>
                    <a:pt x="576" y="139"/>
                  </a:lnTo>
                  <a:lnTo>
                    <a:pt x="576" y="140"/>
                  </a:lnTo>
                  <a:lnTo>
                    <a:pt x="577" y="140"/>
                  </a:lnTo>
                  <a:lnTo>
                    <a:pt x="577" y="139"/>
                  </a:lnTo>
                  <a:lnTo>
                    <a:pt x="579" y="139"/>
                  </a:lnTo>
                  <a:lnTo>
                    <a:pt x="577" y="137"/>
                  </a:lnTo>
                  <a:lnTo>
                    <a:pt x="579" y="137"/>
                  </a:lnTo>
                  <a:lnTo>
                    <a:pt x="581" y="137"/>
                  </a:lnTo>
                  <a:lnTo>
                    <a:pt x="581" y="135"/>
                  </a:lnTo>
                  <a:lnTo>
                    <a:pt x="582" y="135"/>
                  </a:lnTo>
                  <a:lnTo>
                    <a:pt x="582" y="137"/>
                  </a:lnTo>
                  <a:lnTo>
                    <a:pt x="581" y="137"/>
                  </a:lnTo>
                  <a:lnTo>
                    <a:pt x="581" y="139"/>
                  </a:lnTo>
                  <a:lnTo>
                    <a:pt x="582" y="139"/>
                  </a:lnTo>
                  <a:lnTo>
                    <a:pt x="584" y="139"/>
                  </a:lnTo>
                  <a:lnTo>
                    <a:pt x="584" y="137"/>
                  </a:lnTo>
                  <a:lnTo>
                    <a:pt x="584" y="139"/>
                  </a:lnTo>
                  <a:lnTo>
                    <a:pt x="582" y="139"/>
                  </a:lnTo>
                  <a:lnTo>
                    <a:pt x="582" y="137"/>
                  </a:lnTo>
                  <a:lnTo>
                    <a:pt x="582" y="135"/>
                  </a:lnTo>
                  <a:lnTo>
                    <a:pt x="581" y="134"/>
                  </a:lnTo>
                  <a:lnTo>
                    <a:pt x="579" y="134"/>
                  </a:lnTo>
                  <a:lnTo>
                    <a:pt x="581" y="134"/>
                  </a:lnTo>
                  <a:lnTo>
                    <a:pt x="582" y="135"/>
                  </a:lnTo>
                  <a:lnTo>
                    <a:pt x="584" y="135"/>
                  </a:lnTo>
                  <a:lnTo>
                    <a:pt x="585" y="134"/>
                  </a:lnTo>
                  <a:lnTo>
                    <a:pt x="585" y="132"/>
                  </a:lnTo>
                  <a:lnTo>
                    <a:pt x="587" y="132"/>
                  </a:lnTo>
                  <a:lnTo>
                    <a:pt x="589" y="132"/>
                  </a:lnTo>
                  <a:lnTo>
                    <a:pt x="589" y="134"/>
                  </a:lnTo>
                  <a:lnTo>
                    <a:pt x="590" y="132"/>
                  </a:lnTo>
                  <a:lnTo>
                    <a:pt x="592" y="132"/>
                  </a:lnTo>
                  <a:lnTo>
                    <a:pt x="594" y="132"/>
                  </a:lnTo>
                  <a:lnTo>
                    <a:pt x="594" y="130"/>
                  </a:lnTo>
                  <a:lnTo>
                    <a:pt x="595" y="130"/>
                  </a:lnTo>
                  <a:lnTo>
                    <a:pt x="597" y="130"/>
                  </a:lnTo>
                  <a:lnTo>
                    <a:pt x="597" y="132"/>
                  </a:lnTo>
                  <a:lnTo>
                    <a:pt x="597" y="130"/>
                  </a:lnTo>
                  <a:lnTo>
                    <a:pt x="597" y="132"/>
                  </a:lnTo>
                  <a:lnTo>
                    <a:pt x="599" y="130"/>
                  </a:lnTo>
                  <a:lnTo>
                    <a:pt x="600" y="129"/>
                  </a:lnTo>
                  <a:lnTo>
                    <a:pt x="600" y="130"/>
                  </a:lnTo>
                  <a:lnTo>
                    <a:pt x="602" y="130"/>
                  </a:lnTo>
                  <a:lnTo>
                    <a:pt x="600" y="132"/>
                  </a:lnTo>
                  <a:lnTo>
                    <a:pt x="600" y="134"/>
                  </a:lnTo>
                  <a:lnTo>
                    <a:pt x="599" y="134"/>
                  </a:lnTo>
                  <a:lnTo>
                    <a:pt x="600" y="134"/>
                  </a:lnTo>
                  <a:lnTo>
                    <a:pt x="600" y="135"/>
                  </a:lnTo>
                  <a:lnTo>
                    <a:pt x="600" y="134"/>
                  </a:lnTo>
                  <a:lnTo>
                    <a:pt x="599" y="134"/>
                  </a:lnTo>
                  <a:lnTo>
                    <a:pt x="600" y="134"/>
                  </a:lnTo>
                  <a:lnTo>
                    <a:pt x="600" y="132"/>
                  </a:lnTo>
                  <a:lnTo>
                    <a:pt x="600" y="130"/>
                  </a:lnTo>
                  <a:lnTo>
                    <a:pt x="602" y="130"/>
                  </a:lnTo>
                  <a:lnTo>
                    <a:pt x="603" y="130"/>
                  </a:lnTo>
                  <a:lnTo>
                    <a:pt x="605" y="130"/>
                  </a:lnTo>
                  <a:lnTo>
                    <a:pt x="605" y="132"/>
                  </a:lnTo>
                  <a:lnTo>
                    <a:pt x="605" y="134"/>
                  </a:lnTo>
                  <a:lnTo>
                    <a:pt x="603" y="134"/>
                  </a:lnTo>
                  <a:lnTo>
                    <a:pt x="603" y="135"/>
                  </a:lnTo>
                  <a:lnTo>
                    <a:pt x="605" y="134"/>
                  </a:lnTo>
                  <a:lnTo>
                    <a:pt x="603" y="134"/>
                  </a:lnTo>
                  <a:lnTo>
                    <a:pt x="605" y="134"/>
                  </a:lnTo>
                  <a:lnTo>
                    <a:pt x="607" y="134"/>
                  </a:lnTo>
                  <a:lnTo>
                    <a:pt x="608" y="134"/>
                  </a:lnTo>
                  <a:lnTo>
                    <a:pt x="607" y="135"/>
                  </a:lnTo>
                  <a:lnTo>
                    <a:pt x="608" y="137"/>
                  </a:lnTo>
                  <a:lnTo>
                    <a:pt x="610" y="137"/>
                  </a:lnTo>
                  <a:lnTo>
                    <a:pt x="610" y="139"/>
                  </a:lnTo>
                  <a:lnTo>
                    <a:pt x="612" y="139"/>
                  </a:lnTo>
                  <a:lnTo>
                    <a:pt x="613" y="139"/>
                  </a:lnTo>
                  <a:lnTo>
                    <a:pt x="615" y="140"/>
                  </a:lnTo>
                  <a:lnTo>
                    <a:pt x="616" y="140"/>
                  </a:lnTo>
                  <a:lnTo>
                    <a:pt x="616" y="142"/>
                  </a:lnTo>
                  <a:lnTo>
                    <a:pt x="615" y="142"/>
                  </a:lnTo>
                  <a:lnTo>
                    <a:pt x="615" y="143"/>
                  </a:lnTo>
                  <a:lnTo>
                    <a:pt x="613" y="143"/>
                  </a:lnTo>
                  <a:lnTo>
                    <a:pt x="612" y="142"/>
                  </a:lnTo>
                  <a:lnTo>
                    <a:pt x="612" y="140"/>
                  </a:lnTo>
                  <a:lnTo>
                    <a:pt x="612" y="139"/>
                  </a:lnTo>
                  <a:lnTo>
                    <a:pt x="612" y="140"/>
                  </a:lnTo>
                  <a:lnTo>
                    <a:pt x="610" y="140"/>
                  </a:lnTo>
                  <a:lnTo>
                    <a:pt x="610" y="142"/>
                  </a:lnTo>
                  <a:lnTo>
                    <a:pt x="610" y="140"/>
                  </a:lnTo>
                  <a:lnTo>
                    <a:pt x="608" y="142"/>
                  </a:lnTo>
                  <a:lnTo>
                    <a:pt x="610" y="142"/>
                  </a:lnTo>
                  <a:lnTo>
                    <a:pt x="608" y="142"/>
                  </a:lnTo>
                  <a:lnTo>
                    <a:pt x="610" y="143"/>
                  </a:lnTo>
                  <a:lnTo>
                    <a:pt x="608" y="143"/>
                  </a:lnTo>
                  <a:lnTo>
                    <a:pt x="607" y="143"/>
                  </a:lnTo>
                  <a:lnTo>
                    <a:pt x="608" y="142"/>
                  </a:lnTo>
                  <a:lnTo>
                    <a:pt x="607" y="142"/>
                  </a:lnTo>
                  <a:lnTo>
                    <a:pt x="607" y="143"/>
                  </a:lnTo>
                  <a:lnTo>
                    <a:pt x="605" y="143"/>
                  </a:lnTo>
                  <a:lnTo>
                    <a:pt x="607" y="143"/>
                  </a:lnTo>
                  <a:lnTo>
                    <a:pt x="608" y="143"/>
                  </a:lnTo>
                  <a:lnTo>
                    <a:pt x="608" y="145"/>
                  </a:lnTo>
                  <a:lnTo>
                    <a:pt x="608" y="143"/>
                  </a:lnTo>
                  <a:lnTo>
                    <a:pt x="610" y="145"/>
                  </a:lnTo>
                  <a:lnTo>
                    <a:pt x="610" y="147"/>
                  </a:lnTo>
                  <a:lnTo>
                    <a:pt x="610" y="150"/>
                  </a:lnTo>
                  <a:lnTo>
                    <a:pt x="610" y="152"/>
                  </a:lnTo>
                  <a:lnTo>
                    <a:pt x="608" y="152"/>
                  </a:lnTo>
                  <a:lnTo>
                    <a:pt x="610" y="152"/>
                  </a:lnTo>
                  <a:lnTo>
                    <a:pt x="610" y="150"/>
                  </a:lnTo>
                  <a:lnTo>
                    <a:pt x="612" y="150"/>
                  </a:lnTo>
                  <a:lnTo>
                    <a:pt x="613" y="152"/>
                  </a:lnTo>
                  <a:lnTo>
                    <a:pt x="613" y="153"/>
                  </a:lnTo>
                  <a:lnTo>
                    <a:pt x="613" y="152"/>
                  </a:lnTo>
                  <a:lnTo>
                    <a:pt x="612" y="152"/>
                  </a:lnTo>
                  <a:lnTo>
                    <a:pt x="612" y="150"/>
                  </a:lnTo>
                  <a:lnTo>
                    <a:pt x="610" y="150"/>
                  </a:lnTo>
                  <a:lnTo>
                    <a:pt x="612" y="148"/>
                  </a:lnTo>
                  <a:lnTo>
                    <a:pt x="612" y="147"/>
                  </a:lnTo>
                  <a:lnTo>
                    <a:pt x="612" y="145"/>
                  </a:lnTo>
                  <a:lnTo>
                    <a:pt x="613" y="143"/>
                  </a:lnTo>
                  <a:lnTo>
                    <a:pt x="613" y="145"/>
                  </a:lnTo>
                  <a:lnTo>
                    <a:pt x="615" y="147"/>
                  </a:lnTo>
                  <a:lnTo>
                    <a:pt x="616" y="147"/>
                  </a:lnTo>
                  <a:lnTo>
                    <a:pt x="615" y="147"/>
                  </a:lnTo>
                  <a:lnTo>
                    <a:pt x="616" y="147"/>
                  </a:lnTo>
                  <a:lnTo>
                    <a:pt x="618" y="147"/>
                  </a:lnTo>
                  <a:lnTo>
                    <a:pt x="620" y="147"/>
                  </a:lnTo>
                  <a:lnTo>
                    <a:pt x="621" y="147"/>
                  </a:lnTo>
                  <a:lnTo>
                    <a:pt x="621" y="148"/>
                  </a:lnTo>
                  <a:lnTo>
                    <a:pt x="623" y="148"/>
                  </a:lnTo>
                  <a:lnTo>
                    <a:pt x="625" y="148"/>
                  </a:lnTo>
                  <a:lnTo>
                    <a:pt x="626" y="148"/>
                  </a:lnTo>
                  <a:lnTo>
                    <a:pt x="625" y="148"/>
                  </a:lnTo>
                  <a:lnTo>
                    <a:pt x="625" y="150"/>
                  </a:lnTo>
                  <a:lnTo>
                    <a:pt x="626" y="152"/>
                  </a:lnTo>
                  <a:lnTo>
                    <a:pt x="625" y="152"/>
                  </a:lnTo>
                  <a:lnTo>
                    <a:pt x="626" y="152"/>
                  </a:lnTo>
                  <a:lnTo>
                    <a:pt x="626" y="150"/>
                  </a:lnTo>
                  <a:lnTo>
                    <a:pt x="628" y="150"/>
                  </a:lnTo>
                  <a:lnTo>
                    <a:pt x="629" y="150"/>
                  </a:lnTo>
                  <a:lnTo>
                    <a:pt x="629" y="152"/>
                  </a:lnTo>
                  <a:lnTo>
                    <a:pt x="631" y="152"/>
                  </a:lnTo>
                  <a:lnTo>
                    <a:pt x="633" y="152"/>
                  </a:lnTo>
                  <a:lnTo>
                    <a:pt x="634" y="152"/>
                  </a:lnTo>
                  <a:lnTo>
                    <a:pt x="633" y="152"/>
                  </a:lnTo>
                  <a:lnTo>
                    <a:pt x="634" y="152"/>
                  </a:lnTo>
                  <a:lnTo>
                    <a:pt x="634" y="153"/>
                  </a:lnTo>
                  <a:lnTo>
                    <a:pt x="636" y="153"/>
                  </a:lnTo>
                  <a:lnTo>
                    <a:pt x="634" y="153"/>
                  </a:lnTo>
                  <a:lnTo>
                    <a:pt x="634" y="155"/>
                  </a:lnTo>
                  <a:lnTo>
                    <a:pt x="636" y="155"/>
                  </a:lnTo>
                  <a:lnTo>
                    <a:pt x="636" y="157"/>
                  </a:lnTo>
                  <a:lnTo>
                    <a:pt x="638" y="157"/>
                  </a:lnTo>
                  <a:lnTo>
                    <a:pt x="638" y="158"/>
                  </a:lnTo>
                  <a:lnTo>
                    <a:pt x="639" y="158"/>
                  </a:lnTo>
                  <a:lnTo>
                    <a:pt x="639" y="160"/>
                  </a:lnTo>
                  <a:lnTo>
                    <a:pt x="639" y="158"/>
                  </a:lnTo>
                  <a:lnTo>
                    <a:pt x="639" y="160"/>
                  </a:lnTo>
                  <a:lnTo>
                    <a:pt x="641" y="160"/>
                  </a:lnTo>
                  <a:lnTo>
                    <a:pt x="642" y="161"/>
                  </a:lnTo>
                  <a:lnTo>
                    <a:pt x="644" y="161"/>
                  </a:lnTo>
                  <a:lnTo>
                    <a:pt x="644" y="160"/>
                  </a:lnTo>
                  <a:lnTo>
                    <a:pt x="644" y="161"/>
                  </a:lnTo>
                  <a:lnTo>
                    <a:pt x="644" y="163"/>
                  </a:lnTo>
                  <a:lnTo>
                    <a:pt x="646" y="161"/>
                  </a:lnTo>
                  <a:lnTo>
                    <a:pt x="646" y="160"/>
                  </a:lnTo>
                  <a:lnTo>
                    <a:pt x="647" y="160"/>
                  </a:lnTo>
                  <a:lnTo>
                    <a:pt x="649" y="158"/>
                  </a:lnTo>
                  <a:lnTo>
                    <a:pt x="647" y="158"/>
                  </a:lnTo>
                  <a:lnTo>
                    <a:pt x="647" y="160"/>
                  </a:lnTo>
                  <a:lnTo>
                    <a:pt x="649" y="161"/>
                  </a:lnTo>
                  <a:lnTo>
                    <a:pt x="651" y="160"/>
                  </a:lnTo>
                  <a:lnTo>
                    <a:pt x="651" y="161"/>
                  </a:lnTo>
                  <a:lnTo>
                    <a:pt x="652" y="161"/>
                  </a:lnTo>
                  <a:lnTo>
                    <a:pt x="651" y="161"/>
                  </a:lnTo>
                  <a:lnTo>
                    <a:pt x="649" y="161"/>
                  </a:lnTo>
                  <a:lnTo>
                    <a:pt x="651" y="163"/>
                  </a:lnTo>
                  <a:lnTo>
                    <a:pt x="652" y="163"/>
                  </a:lnTo>
                  <a:lnTo>
                    <a:pt x="652" y="165"/>
                  </a:lnTo>
                  <a:lnTo>
                    <a:pt x="652" y="163"/>
                  </a:lnTo>
                  <a:lnTo>
                    <a:pt x="654" y="163"/>
                  </a:lnTo>
                  <a:lnTo>
                    <a:pt x="652" y="163"/>
                  </a:lnTo>
                  <a:lnTo>
                    <a:pt x="652" y="165"/>
                  </a:lnTo>
                  <a:lnTo>
                    <a:pt x="654" y="163"/>
                  </a:lnTo>
                  <a:lnTo>
                    <a:pt x="654" y="165"/>
                  </a:lnTo>
                  <a:lnTo>
                    <a:pt x="652" y="165"/>
                  </a:lnTo>
                  <a:lnTo>
                    <a:pt x="654" y="165"/>
                  </a:lnTo>
                  <a:lnTo>
                    <a:pt x="652" y="165"/>
                  </a:lnTo>
                  <a:lnTo>
                    <a:pt x="654" y="165"/>
                  </a:lnTo>
                  <a:lnTo>
                    <a:pt x="654" y="166"/>
                  </a:lnTo>
                  <a:lnTo>
                    <a:pt x="655" y="168"/>
                  </a:lnTo>
                  <a:lnTo>
                    <a:pt x="659" y="170"/>
                  </a:lnTo>
                  <a:lnTo>
                    <a:pt x="659" y="171"/>
                  </a:lnTo>
                  <a:lnTo>
                    <a:pt x="659" y="170"/>
                  </a:lnTo>
                  <a:lnTo>
                    <a:pt x="657" y="170"/>
                  </a:lnTo>
                  <a:lnTo>
                    <a:pt x="655" y="168"/>
                  </a:lnTo>
                  <a:lnTo>
                    <a:pt x="655" y="166"/>
                  </a:lnTo>
                  <a:lnTo>
                    <a:pt x="655" y="165"/>
                  </a:lnTo>
                  <a:lnTo>
                    <a:pt x="655" y="163"/>
                  </a:lnTo>
                  <a:lnTo>
                    <a:pt x="655" y="161"/>
                  </a:lnTo>
                  <a:lnTo>
                    <a:pt x="654" y="160"/>
                  </a:lnTo>
                  <a:lnTo>
                    <a:pt x="655" y="160"/>
                  </a:lnTo>
                  <a:lnTo>
                    <a:pt x="657" y="158"/>
                  </a:lnTo>
                  <a:lnTo>
                    <a:pt x="657" y="160"/>
                  </a:lnTo>
                  <a:lnTo>
                    <a:pt x="657" y="158"/>
                  </a:lnTo>
                  <a:lnTo>
                    <a:pt x="659" y="158"/>
                  </a:lnTo>
                  <a:lnTo>
                    <a:pt x="660" y="158"/>
                  </a:lnTo>
                  <a:lnTo>
                    <a:pt x="660" y="157"/>
                  </a:lnTo>
                  <a:lnTo>
                    <a:pt x="662" y="155"/>
                  </a:lnTo>
                  <a:lnTo>
                    <a:pt x="664" y="155"/>
                  </a:lnTo>
                  <a:lnTo>
                    <a:pt x="664" y="157"/>
                  </a:lnTo>
                  <a:lnTo>
                    <a:pt x="664" y="155"/>
                  </a:lnTo>
                  <a:lnTo>
                    <a:pt x="664" y="153"/>
                  </a:lnTo>
                  <a:lnTo>
                    <a:pt x="665" y="153"/>
                  </a:lnTo>
                  <a:lnTo>
                    <a:pt x="665" y="152"/>
                  </a:lnTo>
                  <a:lnTo>
                    <a:pt x="665" y="153"/>
                  </a:lnTo>
                  <a:lnTo>
                    <a:pt x="667" y="153"/>
                  </a:lnTo>
                  <a:lnTo>
                    <a:pt x="668" y="153"/>
                  </a:lnTo>
                  <a:lnTo>
                    <a:pt x="670" y="153"/>
                  </a:lnTo>
                  <a:lnTo>
                    <a:pt x="668" y="153"/>
                  </a:lnTo>
                  <a:lnTo>
                    <a:pt x="670" y="153"/>
                  </a:lnTo>
                  <a:lnTo>
                    <a:pt x="672" y="153"/>
                  </a:lnTo>
                  <a:lnTo>
                    <a:pt x="672" y="155"/>
                  </a:lnTo>
                  <a:lnTo>
                    <a:pt x="673" y="155"/>
                  </a:lnTo>
                  <a:lnTo>
                    <a:pt x="675" y="155"/>
                  </a:lnTo>
                  <a:lnTo>
                    <a:pt x="677" y="155"/>
                  </a:lnTo>
                  <a:lnTo>
                    <a:pt x="678" y="155"/>
                  </a:lnTo>
                  <a:lnTo>
                    <a:pt x="680" y="155"/>
                  </a:lnTo>
                  <a:lnTo>
                    <a:pt x="681" y="153"/>
                  </a:lnTo>
                  <a:lnTo>
                    <a:pt x="681" y="155"/>
                  </a:lnTo>
                  <a:lnTo>
                    <a:pt x="683" y="153"/>
                  </a:lnTo>
                  <a:lnTo>
                    <a:pt x="685" y="153"/>
                  </a:lnTo>
                  <a:lnTo>
                    <a:pt x="685" y="155"/>
                  </a:lnTo>
                  <a:lnTo>
                    <a:pt x="686" y="157"/>
                  </a:lnTo>
                  <a:lnTo>
                    <a:pt x="686" y="158"/>
                  </a:lnTo>
                  <a:lnTo>
                    <a:pt x="688" y="158"/>
                  </a:lnTo>
                  <a:lnTo>
                    <a:pt x="688" y="160"/>
                  </a:lnTo>
                  <a:lnTo>
                    <a:pt x="688" y="158"/>
                  </a:lnTo>
                  <a:lnTo>
                    <a:pt x="688" y="160"/>
                  </a:lnTo>
                  <a:lnTo>
                    <a:pt x="690" y="160"/>
                  </a:lnTo>
                  <a:lnTo>
                    <a:pt x="690" y="161"/>
                  </a:lnTo>
                  <a:lnTo>
                    <a:pt x="690" y="163"/>
                  </a:lnTo>
                  <a:lnTo>
                    <a:pt x="690" y="165"/>
                  </a:lnTo>
                  <a:lnTo>
                    <a:pt x="690" y="166"/>
                  </a:lnTo>
                  <a:lnTo>
                    <a:pt x="690" y="168"/>
                  </a:lnTo>
                  <a:lnTo>
                    <a:pt x="691" y="166"/>
                  </a:lnTo>
                  <a:lnTo>
                    <a:pt x="691" y="165"/>
                  </a:lnTo>
                  <a:lnTo>
                    <a:pt x="691" y="163"/>
                  </a:lnTo>
                  <a:lnTo>
                    <a:pt x="691" y="161"/>
                  </a:lnTo>
                  <a:lnTo>
                    <a:pt x="691" y="160"/>
                  </a:lnTo>
                  <a:lnTo>
                    <a:pt x="693" y="161"/>
                  </a:lnTo>
                  <a:lnTo>
                    <a:pt x="694" y="161"/>
                  </a:lnTo>
                  <a:lnTo>
                    <a:pt x="696" y="161"/>
                  </a:lnTo>
                  <a:lnTo>
                    <a:pt x="696" y="163"/>
                  </a:lnTo>
                  <a:lnTo>
                    <a:pt x="696" y="165"/>
                  </a:lnTo>
                  <a:lnTo>
                    <a:pt x="698" y="165"/>
                  </a:lnTo>
                  <a:lnTo>
                    <a:pt x="699" y="165"/>
                  </a:lnTo>
                  <a:lnTo>
                    <a:pt x="701" y="166"/>
                  </a:lnTo>
                  <a:lnTo>
                    <a:pt x="703" y="166"/>
                  </a:lnTo>
                  <a:lnTo>
                    <a:pt x="704" y="166"/>
                  </a:lnTo>
                  <a:lnTo>
                    <a:pt x="704" y="168"/>
                  </a:lnTo>
                  <a:lnTo>
                    <a:pt x="706" y="168"/>
                  </a:lnTo>
                  <a:lnTo>
                    <a:pt x="707" y="168"/>
                  </a:lnTo>
                  <a:lnTo>
                    <a:pt x="709" y="170"/>
                  </a:lnTo>
                  <a:lnTo>
                    <a:pt x="709" y="171"/>
                  </a:lnTo>
                  <a:lnTo>
                    <a:pt x="711" y="171"/>
                  </a:lnTo>
                  <a:lnTo>
                    <a:pt x="711" y="173"/>
                  </a:lnTo>
                  <a:lnTo>
                    <a:pt x="712" y="174"/>
                  </a:lnTo>
                  <a:lnTo>
                    <a:pt x="714" y="176"/>
                  </a:lnTo>
                  <a:lnTo>
                    <a:pt x="716" y="176"/>
                  </a:lnTo>
                  <a:lnTo>
                    <a:pt x="717" y="178"/>
                  </a:lnTo>
                  <a:lnTo>
                    <a:pt x="716" y="178"/>
                  </a:lnTo>
                  <a:lnTo>
                    <a:pt x="717" y="178"/>
                  </a:lnTo>
                  <a:lnTo>
                    <a:pt x="719" y="178"/>
                  </a:lnTo>
                  <a:lnTo>
                    <a:pt x="719" y="179"/>
                  </a:lnTo>
                  <a:lnTo>
                    <a:pt x="720" y="179"/>
                  </a:lnTo>
                  <a:lnTo>
                    <a:pt x="720" y="181"/>
                  </a:lnTo>
                  <a:lnTo>
                    <a:pt x="722" y="181"/>
                  </a:lnTo>
                  <a:lnTo>
                    <a:pt x="722" y="183"/>
                  </a:lnTo>
                  <a:lnTo>
                    <a:pt x="724" y="183"/>
                  </a:lnTo>
                  <a:lnTo>
                    <a:pt x="725" y="183"/>
                  </a:lnTo>
                  <a:lnTo>
                    <a:pt x="727" y="183"/>
                  </a:lnTo>
                  <a:lnTo>
                    <a:pt x="729" y="184"/>
                  </a:lnTo>
                  <a:lnTo>
                    <a:pt x="730" y="184"/>
                  </a:lnTo>
                  <a:lnTo>
                    <a:pt x="732" y="184"/>
                  </a:lnTo>
                  <a:lnTo>
                    <a:pt x="732" y="183"/>
                  </a:lnTo>
                  <a:lnTo>
                    <a:pt x="733" y="184"/>
                  </a:lnTo>
                  <a:lnTo>
                    <a:pt x="733" y="183"/>
                  </a:lnTo>
                  <a:lnTo>
                    <a:pt x="733" y="184"/>
                  </a:lnTo>
                  <a:lnTo>
                    <a:pt x="735" y="184"/>
                  </a:lnTo>
                  <a:lnTo>
                    <a:pt x="735" y="183"/>
                  </a:lnTo>
                  <a:lnTo>
                    <a:pt x="737" y="183"/>
                  </a:lnTo>
                  <a:lnTo>
                    <a:pt x="738" y="184"/>
                  </a:lnTo>
                  <a:lnTo>
                    <a:pt x="738" y="183"/>
                  </a:lnTo>
                  <a:lnTo>
                    <a:pt x="738" y="184"/>
                  </a:lnTo>
                  <a:lnTo>
                    <a:pt x="740" y="186"/>
                  </a:lnTo>
                  <a:lnTo>
                    <a:pt x="740" y="187"/>
                  </a:lnTo>
                  <a:lnTo>
                    <a:pt x="742" y="187"/>
                  </a:lnTo>
                  <a:lnTo>
                    <a:pt x="743" y="187"/>
                  </a:lnTo>
                  <a:lnTo>
                    <a:pt x="743" y="186"/>
                  </a:lnTo>
                  <a:lnTo>
                    <a:pt x="743" y="187"/>
                  </a:lnTo>
                  <a:lnTo>
                    <a:pt x="745" y="187"/>
                  </a:lnTo>
                  <a:lnTo>
                    <a:pt x="745" y="189"/>
                  </a:lnTo>
                  <a:lnTo>
                    <a:pt x="745" y="187"/>
                  </a:lnTo>
                  <a:lnTo>
                    <a:pt x="747" y="187"/>
                  </a:lnTo>
                  <a:lnTo>
                    <a:pt x="747" y="186"/>
                  </a:lnTo>
                  <a:lnTo>
                    <a:pt x="748" y="186"/>
                  </a:lnTo>
                  <a:lnTo>
                    <a:pt x="751" y="186"/>
                  </a:lnTo>
                  <a:lnTo>
                    <a:pt x="753" y="186"/>
                  </a:lnTo>
                  <a:lnTo>
                    <a:pt x="755" y="186"/>
                  </a:lnTo>
                  <a:lnTo>
                    <a:pt x="755" y="184"/>
                  </a:lnTo>
                  <a:lnTo>
                    <a:pt x="756" y="184"/>
                  </a:lnTo>
                  <a:lnTo>
                    <a:pt x="758" y="184"/>
                  </a:lnTo>
                  <a:lnTo>
                    <a:pt x="760" y="184"/>
                  </a:lnTo>
                  <a:lnTo>
                    <a:pt x="760" y="186"/>
                  </a:lnTo>
                  <a:lnTo>
                    <a:pt x="761" y="186"/>
                  </a:lnTo>
                  <a:lnTo>
                    <a:pt x="761" y="184"/>
                  </a:lnTo>
                  <a:lnTo>
                    <a:pt x="763" y="184"/>
                  </a:lnTo>
                  <a:lnTo>
                    <a:pt x="764" y="184"/>
                  </a:lnTo>
                  <a:lnTo>
                    <a:pt x="766" y="184"/>
                  </a:lnTo>
                  <a:lnTo>
                    <a:pt x="768" y="184"/>
                  </a:lnTo>
                  <a:lnTo>
                    <a:pt x="768" y="186"/>
                  </a:lnTo>
                  <a:lnTo>
                    <a:pt x="769" y="187"/>
                  </a:lnTo>
                  <a:lnTo>
                    <a:pt x="768" y="186"/>
                  </a:lnTo>
                  <a:lnTo>
                    <a:pt x="768" y="184"/>
                  </a:lnTo>
                  <a:lnTo>
                    <a:pt x="769" y="184"/>
                  </a:lnTo>
                  <a:lnTo>
                    <a:pt x="773" y="183"/>
                  </a:lnTo>
                  <a:lnTo>
                    <a:pt x="774" y="181"/>
                  </a:lnTo>
                  <a:lnTo>
                    <a:pt x="776" y="181"/>
                  </a:lnTo>
                  <a:lnTo>
                    <a:pt x="776" y="179"/>
                  </a:lnTo>
                  <a:lnTo>
                    <a:pt x="777" y="179"/>
                  </a:lnTo>
                  <a:lnTo>
                    <a:pt x="779" y="179"/>
                  </a:lnTo>
                  <a:lnTo>
                    <a:pt x="781" y="179"/>
                  </a:lnTo>
                  <a:lnTo>
                    <a:pt x="782" y="178"/>
                  </a:lnTo>
                  <a:lnTo>
                    <a:pt x="782" y="179"/>
                  </a:lnTo>
                  <a:lnTo>
                    <a:pt x="782" y="181"/>
                  </a:lnTo>
                  <a:lnTo>
                    <a:pt x="782" y="183"/>
                  </a:lnTo>
                  <a:lnTo>
                    <a:pt x="782" y="184"/>
                  </a:lnTo>
                  <a:lnTo>
                    <a:pt x="781" y="184"/>
                  </a:lnTo>
                  <a:lnTo>
                    <a:pt x="782" y="184"/>
                  </a:lnTo>
                  <a:lnTo>
                    <a:pt x="782" y="186"/>
                  </a:lnTo>
                  <a:lnTo>
                    <a:pt x="784" y="186"/>
                  </a:lnTo>
                  <a:lnTo>
                    <a:pt x="786" y="186"/>
                  </a:lnTo>
                  <a:lnTo>
                    <a:pt x="786" y="187"/>
                  </a:lnTo>
                  <a:lnTo>
                    <a:pt x="787" y="187"/>
                  </a:lnTo>
                  <a:lnTo>
                    <a:pt x="787" y="189"/>
                  </a:lnTo>
                  <a:lnTo>
                    <a:pt x="787" y="191"/>
                  </a:lnTo>
                  <a:lnTo>
                    <a:pt x="786" y="191"/>
                  </a:lnTo>
                  <a:lnTo>
                    <a:pt x="787" y="191"/>
                  </a:lnTo>
                  <a:lnTo>
                    <a:pt x="787" y="192"/>
                  </a:lnTo>
                  <a:lnTo>
                    <a:pt x="789" y="192"/>
                  </a:lnTo>
                  <a:lnTo>
                    <a:pt x="790" y="192"/>
                  </a:lnTo>
                  <a:lnTo>
                    <a:pt x="790" y="191"/>
                  </a:lnTo>
                  <a:lnTo>
                    <a:pt x="794" y="191"/>
                  </a:lnTo>
                  <a:lnTo>
                    <a:pt x="795" y="192"/>
                  </a:lnTo>
                  <a:lnTo>
                    <a:pt x="797" y="192"/>
                  </a:lnTo>
                  <a:lnTo>
                    <a:pt x="799" y="194"/>
                  </a:lnTo>
                  <a:lnTo>
                    <a:pt x="797" y="196"/>
                  </a:lnTo>
                  <a:lnTo>
                    <a:pt x="797" y="197"/>
                  </a:lnTo>
                  <a:lnTo>
                    <a:pt x="799" y="200"/>
                  </a:lnTo>
                  <a:lnTo>
                    <a:pt x="802" y="202"/>
                  </a:lnTo>
                  <a:lnTo>
                    <a:pt x="803" y="202"/>
                  </a:lnTo>
                  <a:lnTo>
                    <a:pt x="805" y="200"/>
                  </a:lnTo>
                  <a:lnTo>
                    <a:pt x="805" y="199"/>
                  </a:lnTo>
                  <a:lnTo>
                    <a:pt x="805" y="197"/>
                  </a:lnTo>
                  <a:lnTo>
                    <a:pt x="810" y="197"/>
                  </a:lnTo>
                  <a:lnTo>
                    <a:pt x="812" y="199"/>
                  </a:lnTo>
                  <a:lnTo>
                    <a:pt x="813" y="200"/>
                  </a:lnTo>
                  <a:lnTo>
                    <a:pt x="815" y="202"/>
                  </a:lnTo>
                  <a:lnTo>
                    <a:pt x="816" y="202"/>
                  </a:lnTo>
                  <a:lnTo>
                    <a:pt x="820" y="200"/>
                  </a:lnTo>
                  <a:lnTo>
                    <a:pt x="823" y="205"/>
                  </a:lnTo>
                  <a:lnTo>
                    <a:pt x="823" y="207"/>
                  </a:lnTo>
                  <a:lnTo>
                    <a:pt x="821" y="209"/>
                  </a:lnTo>
                  <a:lnTo>
                    <a:pt x="821" y="213"/>
                  </a:lnTo>
                  <a:lnTo>
                    <a:pt x="820" y="215"/>
                  </a:lnTo>
                  <a:lnTo>
                    <a:pt x="818" y="215"/>
                  </a:lnTo>
                  <a:lnTo>
                    <a:pt x="818" y="217"/>
                  </a:lnTo>
                  <a:lnTo>
                    <a:pt x="816" y="218"/>
                  </a:lnTo>
                  <a:lnTo>
                    <a:pt x="816" y="220"/>
                  </a:lnTo>
                  <a:lnTo>
                    <a:pt x="816" y="222"/>
                  </a:lnTo>
                  <a:lnTo>
                    <a:pt x="815" y="223"/>
                  </a:lnTo>
                  <a:lnTo>
                    <a:pt x="810" y="226"/>
                  </a:lnTo>
                  <a:lnTo>
                    <a:pt x="810" y="230"/>
                  </a:lnTo>
                  <a:lnTo>
                    <a:pt x="812" y="233"/>
                  </a:lnTo>
                  <a:lnTo>
                    <a:pt x="820" y="238"/>
                  </a:lnTo>
                  <a:lnTo>
                    <a:pt x="821" y="236"/>
                  </a:lnTo>
                  <a:lnTo>
                    <a:pt x="821" y="235"/>
                  </a:lnTo>
                  <a:lnTo>
                    <a:pt x="823" y="231"/>
                  </a:lnTo>
                  <a:lnTo>
                    <a:pt x="823" y="230"/>
                  </a:lnTo>
                  <a:lnTo>
                    <a:pt x="823" y="228"/>
                  </a:lnTo>
                  <a:lnTo>
                    <a:pt x="825" y="226"/>
                  </a:lnTo>
                  <a:lnTo>
                    <a:pt x="826" y="225"/>
                  </a:lnTo>
                  <a:lnTo>
                    <a:pt x="828" y="225"/>
                  </a:lnTo>
                  <a:lnTo>
                    <a:pt x="831" y="225"/>
                  </a:lnTo>
                  <a:lnTo>
                    <a:pt x="831" y="226"/>
                  </a:lnTo>
                  <a:lnTo>
                    <a:pt x="828" y="228"/>
                  </a:lnTo>
                  <a:lnTo>
                    <a:pt x="828" y="230"/>
                  </a:lnTo>
                  <a:lnTo>
                    <a:pt x="826" y="230"/>
                  </a:lnTo>
                  <a:lnTo>
                    <a:pt x="826" y="231"/>
                  </a:lnTo>
                  <a:lnTo>
                    <a:pt x="826" y="233"/>
                  </a:lnTo>
                  <a:lnTo>
                    <a:pt x="828" y="233"/>
                  </a:lnTo>
                  <a:lnTo>
                    <a:pt x="829" y="236"/>
                  </a:lnTo>
                  <a:lnTo>
                    <a:pt x="831" y="236"/>
                  </a:lnTo>
                  <a:lnTo>
                    <a:pt x="833" y="236"/>
                  </a:lnTo>
                  <a:lnTo>
                    <a:pt x="834" y="235"/>
                  </a:lnTo>
                  <a:lnTo>
                    <a:pt x="834" y="236"/>
                  </a:lnTo>
                  <a:lnTo>
                    <a:pt x="836" y="236"/>
                  </a:lnTo>
                  <a:lnTo>
                    <a:pt x="838" y="238"/>
                  </a:lnTo>
                  <a:lnTo>
                    <a:pt x="838" y="239"/>
                  </a:lnTo>
                  <a:lnTo>
                    <a:pt x="839" y="239"/>
                  </a:lnTo>
                  <a:lnTo>
                    <a:pt x="841" y="239"/>
                  </a:lnTo>
                  <a:lnTo>
                    <a:pt x="842" y="241"/>
                  </a:lnTo>
                  <a:lnTo>
                    <a:pt x="842" y="243"/>
                  </a:lnTo>
                  <a:lnTo>
                    <a:pt x="846" y="241"/>
                  </a:lnTo>
                  <a:lnTo>
                    <a:pt x="846" y="243"/>
                  </a:lnTo>
                  <a:lnTo>
                    <a:pt x="847" y="244"/>
                  </a:lnTo>
                  <a:lnTo>
                    <a:pt x="849" y="246"/>
                  </a:lnTo>
                  <a:lnTo>
                    <a:pt x="851" y="246"/>
                  </a:lnTo>
                  <a:lnTo>
                    <a:pt x="852" y="246"/>
                  </a:lnTo>
                  <a:lnTo>
                    <a:pt x="855" y="248"/>
                  </a:lnTo>
                  <a:lnTo>
                    <a:pt x="857" y="249"/>
                  </a:lnTo>
                  <a:lnTo>
                    <a:pt x="857" y="251"/>
                  </a:lnTo>
                  <a:lnTo>
                    <a:pt x="859" y="251"/>
                  </a:lnTo>
                  <a:lnTo>
                    <a:pt x="859" y="252"/>
                  </a:lnTo>
                  <a:lnTo>
                    <a:pt x="862" y="254"/>
                  </a:lnTo>
                  <a:lnTo>
                    <a:pt x="864" y="254"/>
                  </a:lnTo>
                  <a:lnTo>
                    <a:pt x="865" y="252"/>
                  </a:lnTo>
                  <a:lnTo>
                    <a:pt x="867" y="254"/>
                  </a:lnTo>
                  <a:lnTo>
                    <a:pt x="867" y="256"/>
                  </a:lnTo>
                  <a:lnTo>
                    <a:pt x="868" y="254"/>
                  </a:lnTo>
                  <a:lnTo>
                    <a:pt x="870" y="254"/>
                  </a:lnTo>
                  <a:lnTo>
                    <a:pt x="870" y="256"/>
                  </a:lnTo>
                  <a:lnTo>
                    <a:pt x="873" y="256"/>
                  </a:lnTo>
                  <a:lnTo>
                    <a:pt x="875" y="256"/>
                  </a:lnTo>
                  <a:lnTo>
                    <a:pt x="877" y="256"/>
                  </a:lnTo>
                  <a:lnTo>
                    <a:pt x="878" y="254"/>
                  </a:lnTo>
                  <a:lnTo>
                    <a:pt x="880" y="254"/>
                  </a:lnTo>
                  <a:lnTo>
                    <a:pt x="881" y="254"/>
                  </a:lnTo>
                  <a:lnTo>
                    <a:pt x="881" y="256"/>
                  </a:lnTo>
                  <a:lnTo>
                    <a:pt x="881" y="257"/>
                  </a:lnTo>
                  <a:lnTo>
                    <a:pt x="883" y="259"/>
                  </a:lnTo>
                  <a:lnTo>
                    <a:pt x="883" y="261"/>
                  </a:lnTo>
                  <a:lnTo>
                    <a:pt x="883" y="262"/>
                  </a:lnTo>
                  <a:lnTo>
                    <a:pt x="883" y="264"/>
                  </a:lnTo>
                  <a:lnTo>
                    <a:pt x="883" y="265"/>
                  </a:lnTo>
                  <a:lnTo>
                    <a:pt x="883" y="267"/>
                  </a:lnTo>
                  <a:lnTo>
                    <a:pt x="885" y="267"/>
                  </a:lnTo>
                  <a:lnTo>
                    <a:pt x="886" y="269"/>
                  </a:lnTo>
                  <a:lnTo>
                    <a:pt x="888" y="269"/>
                  </a:lnTo>
                  <a:lnTo>
                    <a:pt x="890" y="269"/>
                  </a:lnTo>
                  <a:lnTo>
                    <a:pt x="890" y="272"/>
                  </a:lnTo>
                  <a:lnTo>
                    <a:pt x="891" y="272"/>
                  </a:lnTo>
                  <a:lnTo>
                    <a:pt x="891" y="274"/>
                  </a:lnTo>
                  <a:lnTo>
                    <a:pt x="893" y="275"/>
                  </a:lnTo>
                  <a:lnTo>
                    <a:pt x="895" y="275"/>
                  </a:lnTo>
                  <a:lnTo>
                    <a:pt x="895" y="277"/>
                  </a:lnTo>
                  <a:lnTo>
                    <a:pt x="895" y="280"/>
                  </a:lnTo>
                  <a:lnTo>
                    <a:pt x="896" y="280"/>
                  </a:lnTo>
                  <a:lnTo>
                    <a:pt x="898" y="280"/>
                  </a:lnTo>
                  <a:lnTo>
                    <a:pt x="898" y="282"/>
                  </a:lnTo>
                  <a:lnTo>
                    <a:pt x="898" y="283"/>
                  </a:lnTo>
                  <a:lnTo>
                    <a:pt x="899" y="283"/>
                  </a:lnTo>
                  <a:lnTo>
                    <a:pt x="901" y="283"/>
                  </a:lnTo>
                  <a:lnTo>
                    <a:pt x="903" y="283"/>
                  </a:lnTo>
                  <a:lnTo>
                    <a:pt x="903" y="282"/>
                  </a:lnTo>
                  <a:lnTo>
                    <a:pt x="903" y="280"/>
                  </a:lnTo>
                  <a:lnTo>
                    <a:pt x="904" y="278"/>
                  </a:lnTo>
                  <a:lnTo>
                    <a:pt x="906" y="278"/>
                  </a:lnTo>
                  <a:lnTo>
                    <a:pt x="906" y="280"/>
                  </a:lnTo>
                  <a:lnTo>
                    <a:pt x="908" y="280"/>
                  </a:lnTo>
                  <a:lnTo>
                    <a:pt x="908" y="282"/>
                  </a:lnTo>
                  <a:lnTo>
                    <a:pt x="909" y="282"/>
                  </a:lnTo>
                  <a:lnTo>
                    <a:pt x="911" y="283"/>
                  </a:lnTo>
                  <a:lnTo>
                    <a:pt x="912" y="283"/>
                  </a:lnTo>
                  <a:lnTo>
                    <a:pt x="916" y="282"/>
                  </a:lnTo>
                  <a:lnTo>
                    <a:pt x="916" y="283"/>
                  </a:lnTo>
                  <a:lnTo>
                    <a:pt x="917" y="283"/>
                  </a:lnTo>
                  <a:lnTo>
                    <a:pt x="919" y="283"/>
                  </a:lnTo>
                  <a:lnTo>
                    <a:pt x="919" y="282"/>
                  </a:lnTo>
                  <a:lnTo>
                    <a:pt x="921" y="280"/>
                  </a:lnTo>
                  <a:lnTo>
                    <a:pt x="922" y="278"/>
                  </a:lnTo>
                  <a:lnTo>
                    <a:pt x="924" y="280"/>
                  </a:lnTo>
                  <a:lnTo>
                    <a:pt x="925" y="278"/>
                  </a:lnTo>
                  <a:lnTo>
                    <a:pt x="927" y="280"/>
                  </a:lnTo>
                  <a:lnTo>
                    <a:pt x="929" y="280"/>
                  </a:lnTo>
                  <a:lnTo>
                    <a:pt x="930" y="282"/>
                  </a:lnTo>
                  <a:lnTo>
                    <a:pt x="930" y="283"/>
                  </a:lnTo>
                  <a:lnTo>
                    <a:pt x="932" y="283"/>
                  </a:lnTo>
                  <a:lnTo>
                    <a:pt x="934" y="285"/>
                  </a:lnTo>
                  <a:lnTo>
                    <a:pt x="935" y="287"/>
                  </a:lnTo>
                  <a:lnTo>
                    <a:pt x="937" y="287"/>
                  </a:lnTo>
                  <a:lnTo>
                    <a:pt x="938" y="288"/>
                  </a:lnTo>
                  <a:lnTo>
                    <a:pt x="938" y="290"/>
                  </a:lnTo>
                  <a:lnTo>
                    <a:pt x="940" y="288"/>
                  </a:lnTo>
                  <a:lnTo>
                    <a:pt x="940" y="287"/>
                  </a:lnTo>
                  <a:lnTo>
                    <a:pt x="942" y="288"/>
                  </a:lnTo>
                  <a:lnTo>
                    <a:pt x="942" y="290"/>
                  </a:lnTo>
                  <a:lnTo>
                    <a:pt x="942" y="291"/>
                  </a:lnTo>
                  <a:lnTo>
                    <a:pt x="943" y="295"/>
                  </a:lnTo>
                  <a:lnTo>
                    <a:pt x="943" y="296"/>
                  </a:lnTo>
                  <a:lnTo>
                    <a:pt x="945" y="298"/>
                  </a:lnTo>
                  <a:lnTo>
                    <a:pt x="945" y="300"/>
                  </a:lnTo>
                  <a:lnTo>
                    <a:pt x="947" y="300"/>
                  </a:lnTo>
                  <a:lnTo>
                    <a:pt x="948" y="300"/>
                  </a:lnTo>
                  <a:lnTo>
                    <a:pt x="950" y="301"/>
                  </a:lnTo>
                  <a:lnTo>
                    <a:pt x="948" y="303"/>
                  </a:lnTo>
                  <a:lnTo>
                    <a:pt x="950" y="305"/>
                  </a:lnTo>
                  <a:lnTo>
                    <a:pt x="953" y="305"/>
                  </a:lnTo>
                  <a:lnTo>
                    <a:pt x="953" y="306"/>
                  </a:lnTo>
                  <a:lnTo>
                    <a:pt x="955" y="306"/>
                  </a:lnTo>
                  <a:lnTo>
                    <a:pt x="956" y="306"/>
                  </a:lnTo>
                  <a:lnTo>
                    <a:pt x="956" y="305"/>
                  </a:lnTo>
                  <a:lnTo>
                    <a:pt x="958" y="305"/>
                  </a:lnTo>
                  <a:lnTo>
                    <a:pt x="960" y="305"/>
                  </a:lnTo>
                  <a:lnTo>
                    <a:pt x="961" y="305"/>
                  </a:lnTo>
                  <a:lnTo>
                    <a:pt x="963" y="305"/>
                  </a:lnTo>
                  <a:lnTo>
                    <a:pt x="964" y="303"/>
                  </a:lnTo>
                  <a:lnTo>
                    <a:pt x="966" y="303"/>
                  </a:lnTo>
                  <a:lnTo>
                    <a:pt x="968" y="305"/>
                  </a:lnTo>
                  <a:lnTo>
                    <a:pt x="969" y="303"/>
                  </a:lnTo>
                  <a:lnTo>
                    <a:pt x="971" y="303"/>
                  </a:lnTo>
                  <a:lnTo>
                    <a:pt x="973" y="303"/>
                  </a:lnTo>
                  <a:lnTo>
                    <a:pt x="974" y="303"/>
                  </a:lnTo>
                  <a:lnTo>
                    <a:pt x="973" y="303"/>
                  </a:lnTo>
                  <a:lnTo>
                    <a:pt x="974" y="301"/>
                  </a:lnTo>
                  <a:lnTo>
                    <a:pt x="977" y="301"/>
                  </a:lnTo>
                  <a:lnTo>
                    <a:pt x="977" y="303"/>
                  </a:lnTo>
                  <a:lnTo>
                    <a:pt x="979" y="303"/>
                  </a:lnTo>
                  <a:lnTo>
                    <a:pt x="981" y="305"/>
                  </a:lnTo>
                  <a:lnTo>
                    <a:pt x="982" y="305"/>
                  </a:lnTo>
                  <a:lnTo>
                    <a:pt x="984" y="306"/>
                  </a:lnTo>
                  <a:lnTo>
                    <a:pt x="984" y="308"/>
                  </a:lnTo>
                  <a:lnTo>
                    <a:pt x="984" y="309"/>
                  </a:lnTo>
                  <a:lnTo>
                    <a:pt x="986" y="311"/>
                  </a:lnTo>
                  <a:lnTo>
                    <a:pt x="989" y="311"/>
                  </a:lnTo>
                  <a:lnTo>
                    <a:pt x="989" y="309"/>
                  </a:lnTo>
                  <a:lnTo>
                    <a:pt x="990" y="308"/>
                  </a:lnTo>
                  <a:lnTo>
                    <a:pt x="992" y="308"/>
                  </a:lnTo>
                  <a:lnTo>
                    <a:pt x="994" y="306"/>
                  </a:lnTo>
                  <a:lnTo>
                    <a:pt x="995" y="308"/>
                  </a:lnTo>
                  <a:lnTo>
                    <a:pt x="997" y="308"/>
                  </a:lnTo>
                  <a:lnTo>
                    <a:pt x="997" y="309"/>
                  </a:lnTo>
                  <a:lnTo>
                    <a:pt x="1000" y="311"/>
                  </a:lnTo>
                  <a:lnTo>
                    <a:pt x="1002" y="311"/>
                  </a:lnTo>
                  <a:lnTo>
                    <a:pt x="1003" y="311"/>
                  </a:lnTo>
                  <a:lnTo>
                    <a:pt x="1005" y="311"/>
                  </a:lnTo>
                  <a:lnTo>
                    <a:pt x="1007" y="311"/>
                  </a:lnTo>
                  <a:lnTo>
                    <a:pt x="1008" y="313"/>
                  </a:lnTo>
                  <a:lnTo>
                    <a:pt x="1010" y="313"/>
                  </a:lnTo>
                  <a:lnTo>
                    <a:pt x="1010" y="311"/>
                  </a:lnTo>
                  <a:lnTo>
                    <a:pt x="1013" y="311"/>
                  </a:lnTo>
                  <a:lnTo>
                    <a:pt x="1018" y="313"/>
                  </a:lnTo>
                  <a:lnTo>
                    <a:pt x="1018" y="311"/>
                  </a:lnTo>
                  <a:lnTo>
                    <a:pt x="1020" y="313"/>
                  </a:lnTo>
                  <a:lnTo>
                    <a:pt x="1021" y="313"/>
                  </a:lnTo>
                  <a:lnTo>
                    <a:pt x="1025" y="314"/>
                  </a:lnTo>
                  <a:lnTo>
                    <a:pt x="1026" y="314"/>
                  </a:lnTo>
                  <a:lnTo>
                    <a:pt x="1026" y="313"/>
                  </a:lnTo>
                  <a:lnTo>
                    <a:pt x="1028" y="313"/>
                  </a:lnTo>
                  <a:lnTo>
                    <a:pt x="1028" y="311"/>
                  </a:lnTo>
                  <a:lnTo>
                    <a:pt x="1028" y="309"/>
                  </a:lnTo>
                  <a:lnTo>
                    <a:pt x="1026" y="308"/>
                  </a:lnTo>
                  <a:lnTo>
                    <a:pt x="1026" y="306"/>
                  </a:lnTo>
                  <a:lnTo>
                    <a:pt x="1025" y="305"/>
                  </a:lnTo>
                  <a:lnTo>
                    <a:pt x="1023" y="305"/>
                  </a:lnTo>
                  <a:lnTo>
                    <a:pt x="1025" y="305"/>
                  </a:lnTo>
                  <a:lnTo>
                    <a:pt x="1026" y="303"/>
                  </a:lnTo>
                  <a:lnTo>
                    <a:pt x="1028" y="303"/>
                  </a:lnTo>
                  <a:lnTo>
                    <a:pt x="1025" y="301"/>
                  </a:lnTo>
                  <a:lnTo>
                    <a:pt x="1026" y="300"/>
                  </a:lnTo>
                  <a:lnTo>
                    <a:pt x="1028" y="298"/>
                  </a:lnTo>
                  <a:lnTo>
                    <a:pt x="1028" y="296"/>
                  </a:lnTo>
                  <a:lnTo>
                    <a:pt x="1028" y="295"/>
                  </a:lnTo>
                  <a:lnTo>
                    <a:pt x="1026" y="293"/>
                  </a:lnTo>
                  <a:lnTo>
                    <a:pt x="1028" y="293"/>
                  </a:lnTo>
                  <a:lnTo>
                    <a:pt x="1029" y="291"/>
                  </a:lnTo>
                  <a:lnTo>
                    <a:pt x="1031" y="291"/>
                  </a:lnTo>
                  <a:lnTo>
                    <a:pt x="1033" y="290"/>
                  </a:lnTo>
                  <a:lnTo>
                    <a:pt x="1033" y="291"/>
                  </a:lnTo>
                  <a:lnTo>
                    <a:pt x="1034" y="291"/>
                  </a:lnTo>
                  <a:lnTo>
                    <a:pt x="1036" y="293"/>
                  </a:lnTo>
                  <a:lnTo>
                    <a:pt x="1038" y="293"/>
                  </a:lnTo>
                  <a:lnTo>
                    <a:pt x="1039" y="295"/>
                  </a:lnTo>
                  <a:lnTo>
                    <a:pt x="1041" y="295"/>
                  </a:lnTo>
                  <a:lnTo>
                    <a:pt x="1043" y="295"/>
                  </a:lnTo>
                  <a:lnTo>
                    <a:pt x="1044" y="295"/>
                  </a:lnTo>
                  <a:lnTo>
                    <a:pt x="1044" y="296"/>
                  </a:lnTo>
                  <a:lnTo>
                    <a:pt x="1047" y="298"/>
                  </a:lnTo>
                  <a:lnTo>
                    <a:pt x="1049" y="298"/>
                  </a:lnTo>
                  <a:lnTo>
                    <a:pt x="1049" y="300"/>
                  </a:lnTo>
                  <a:lnTo>
                    <a:pt x="1051" y="300"/>
                  </a:lnTo>
                  <a:lnTo>
                    <a:pt x="1052" y="301"/>
                  </a:lnTo>
                  <a:lnTo>
                    <a:pt x="1054" y="303"/>
                  </a:lnTo>
                  <a:lnTo>
                    <a:pt x="1056" y="305"/>
                  </a:lnTo>
                  <a:lnTo>
                    <a:pt x="1056" y="303"/>
                  </a:lnTo>
                  <a:lnTo>
                    <a:pt x="1057" y="303"/>
                  </a:lnTo>
                  <a:lnTo>
                    <a:pt x="1057" y="301"/>
                  </a:lnTo>
                  <a:lnTo>
                    <a:pt x="1059" y="301"/>
                  </a:lnTo>
                  <a:lnTo>
                    <a:pt x="1059" y="303"/>
                  </a:lnTo>
                  <a:lnTo>
                    <a:pt x="1060" y="305"/>
                  </a:lnTo>
                  <a:lnTo>
                    <a:pt x="1062" y="305"/>
                  </a:lnTo>
                  <a:lnTo>
                    <a:pt x="1064" y="305"/>
                  </a:lnTo>
                  <a:lnTo>
                    <a:pt x="1065" y="306"/>
                  </a:lnTo>
                  <a:lnTo>
                    <a:pt x="1067" y="306"/>
                  </a:lnTo>
                  <a:lnTo>
                    <a:pt x="1069" y="306"/>
                  </a:lnTo>
                  <a:lnTo>
                    <a:pt x="1070" y="306"/>
                  </a:lnTo>
                  <a:lnTo>
                    <a:pt x="1072" y="308"/>
                  </a:lnTo>
                  <a:lnTo>
                    <a:pt x="1073" y="309"/>
                  </a:lnTo>
                  <a:lnTo>
                    <a:pt x="1075" y="309"/>
                  </a:lnTo>
                  <a:lnTo>
                    <a:pt x="1075" y="311"/>
                  </a:lnTo>
                  <a:lnTo>
                    <a:pt x="1075" y="313"/>
                  </a:lnTo>
                  <a:lnTo>
                    <a:pt x="1075" y="314"/>
                  </a:lnTo>
                  <a:lnTo>
                    <a:pt x="1075" y="316"/>
                  </a:lnTo>
                  <a:lnTo>
                    <a:pt x="1077" y="316"/>
                  </a:lnTo>
                  <a:lnTo>
                    <a:pt x="1078" y="318"/>
                  </a:lnTo>
                  <a:lnTo>
                    <a:pt x="1080" y="318"/>
                  </a:lnTo>
                  <a:lnTo>
                    <a:pt x="1082" y="318"/>
                  </a:lnTo>
                  <a:lnTo>
                    <a:pt x="1083" y="318"/>
                  </a:lnTo>
                  <a:lnTo>
                    <a:pt x="1085" y="316"/>
                  </a:lnTo>
                  <a:lnTo>
                    <a:pt x="1086" y="318"/>
                  </a:lnTo>
                  <a:lnTo>
                    <a:pt x="1088" y="318"/>
                  </a:lnTo>
                  <a:lnTo>
                    <a:pt x="1090" y="318"/>
                  </a:lnTo>
                  <a:lnTo>
                    <a:pt x="1090" y="319"/>
                  </a:lnTo>
                  <a:lnTo>
                    <a:pt x="1091" y="318"/>
                  </a:lnTo>
                  <a:lnTo>
                    <a:pt x="1095" y="319"/>
                  </a:lnTo>
                  <a:lnTo>
                    <a:pt x="1095" y="318"/>
                  </a:lnTo>
                  <a:lnTo>
                    <a:pt x="1096" y="318"/>
                  </a:lnTo>
                  <a:lnTo>
                    <a:pt x="1096" y="319"/>
                  </a:lnTo>
                  <a:lnTo>
                    <a:pt x="1098" y="319"/>
                  </a:lnTo>
                  <a:lnTo>
                    <a:pt x="1098" y="321"/>
                  </a:lnTo>
                  <a:lnTo>
                    <a:pt x="1101" y="322"/>
                  </a:lnTo>
                  <a:lnTo>
                    <a:pt x="1101" y="324"/>
                  </a:lnTo>
                  <a:lnTo>
                    <a:pt x="1101" y="326"/>
                  </a:lnTo>
                  <a:lnTo>
                    <a:pt x="1103" y="326"/>
                  </a:lnTo>
                  <a:lnTo>
                    <a:pt x="1103" y="327"/>
                  </a:lnTo>
                  <a:lnTo>
                    <a:pt x="1103" y="329"/>
                  </a:lnTo>
                  <a:lnTo>
                    <a:pt x="1104" y="331"/>
                  </a:lnTo>
                  <a:lnTo>
                    <a:pt x="1103" y="332"/>
                  </a:lnTo>
                  <a:lnTo>
                    <a:pt x="1104" y="332"/>
                  </a:lnTo>
                  <a:lnTo>
                    <a:pt x="1104" y="335"/>
                  </a:lnTo>
                  <a:lnTo>
                    <a:pt x="1106" y="335"/>
                  </a:lnTo>
                  <a:lnTo>
                    <a:pt x="1106" y="337"/>
                  </a:lnTo>
                  <a:lnTo>
                    <a:pt x="1106" y="339"/>
                  </a:lnTo>
                  <a:lnTo>
                    <a:pt x="1104" y="339"/>
                  </a:lnTo>
                  <a:lnTo>
                    <a:pt x="1104" y="340"/>
                  </a:lnTo>
                  <a:lnTo>
                    <a:pt x="1106" y="340"/>
                  </a:lnTo>
                  <a:lnTo>
                    <a:pt x="1106" y="342"/>
                  </a:lnTo>
                  <a:lnTo>
                    <a:pt x="1103" y="342"/>
                  </a:lnTo>
                  <a:lnTo>
                    <a:pt x="1101" y="345"/>
                  </a:lnTo>
                  <a:lnTo>
                    <a:pt x="1104" y="345"/>
                  </a:lnTo>
                  <a:lnTo>
                    <a:pt x="1106" y="345"/>
                  </a:lnTo>
                  <a:lnTo>
                    <a:pt x="1106" y="347"/>
                  </a:lnTo>
                  <a:lnTo>
                    <a:pt x="1106" y="348"/>
                  </a:lnTo>
                  <a:lnTo>
                    <a:pt x="1108" y="350"/>
                  </a:lnTo>
                  <a:lnTo>
                    <a:pt x="1106" y="350"/>
                  </a:lnTo>
                  <a:lnTo>
                    <a:pt x="1104" y="352"/>
                  </a:lnTo>
                  <a:lnTo>
                    <a:pt x="1103" y="352"/>
                  </a:lnTo>
                  <a:lnTo>
                    <a:pt x="1101" y="352"/>
                  </a:lnTo>
                  <a:lnTo>
                    <a:pt x="1103" y="353"/>
                  </a:lnTo>
                  <a:lnTo>
                    <a:pt x="1104" y="355"/>
                  </a:lnTo>
                  <a:lnTo>
                    <a:pt x="1103" y="357"/>
                  </a:lnTo>
                  <a:lnTo>
                    <a:pt x="1104" y="357"/>
                  </a:lnTo>
                  <a:lnTo>
                    <a:pt x="1104" y="358"/>
                  </a:lnTo>
                  <a:lnTo>
                    <a:pt x="1104" y="360"/>
                  </a:lnTo>
                  <a:lnTo>
                    <a:pt x="1106" y="360"/>
                  </a:lnTo>
                  <a:lnTo>
                    <a:pt x="1111" y="361"/>
                  </a:lnTo>
                  <a:lnTo>
                    <a:pt x="1112" y="361"/>
                  </a:lnTo>
                  <a:lnTo>
                    <a:pt x="1116" y="361"/>
                  </a:lnTo>
                  <a:lnTo>
                    <a:pt x="1116" y="360"/>
                  </a:lnTo>
                  <a:lnTo>
                    <a:pt x="1116" y="358"/>
                  </a:lnTo>
                  <a:lnTo>
                    <a:pt x="1117" y="358"/>
                  </a:lnTo>
                  <a:lnTo>
                    <a:pt x="1117" y="360"/>
                  </a:lnTo>
                  <a:lnTo>
                    <a:pt x="1119" y="358"/>
                  </a:lnTo>
                  <a:lnTo>
                    <a:pt x="1121" y="358"/>
                  </a:lnTo>
                  <a:lnTo>
                    <a:pt x="1124" y="358"/>
                  </a:lnTo>
                  <a:lnTo>
                    <a:pt x="1125" y="358"/>
                  </a:lnTo>
                  <a:lnTo>
                    <a:pt x="1127" y="357"/>
                  </a:lnTo>
                  <a:lnTo>
                    <a:pt x="1127" y="355"/>
                  </a:lnTo>
                  <a:lnTo>
                    <a:pt x="1129" y="353"/>
                  </a:lnTo>
                  <a:lnTo>
                    <a:pt x="1130" y="355"/>
                  </a:lnTo>
                  <a:lnTo>
                    <a:pt x="1132" y="355"/>
                  </a:lnTo>
                  <a:lnTo>
                    <a:pt x="1134" y="355"/>
                  </a:lnTo>
                  <a:lnTo>
                    <a:pt x="1134" y="353"/>
                  </a:lnTo>
                  <a:lnTo>
                    <a:pt x="1135" y="355"/>
                  </a:lnTo>
                  <a:lnTo>
                    <a:pt x="1137" y="355"/>
                  </a:lnTo>
                  <a:lnTo>
                    <a:pt x="1138" y="357"/>
                  </a:lnTo>
                  <a:lnTo>
                    <a:pt x="1140" y="357"/>
                  </a:lnTo>
                  <a:lnTo>
                    <a:pt x="1142" y="357"/>
                  </a:lnTo>
                  <a:lnTo>
                    <a:pt x="1143" y="357"/>
                  </a:lnTo>
                  <a:lnTo>
                    <a:pt x="1145" y="357"/>
                  </a:lnTo>
                  <a:lnTo>
                    <a:pt x="1145" y="358"/>
                  </a:lnTo>
                  <a:lnTo>
                    <a:pt x="1147" y="360"/>
                  </a:lnTo>
                  <a:lnTo>
                    <a:pt x="1148" y="361"/>
                  </a:lnTo>
                  <a:lnTo>
                    <a:pt x="1150" y="361"/>
                  </a:lnTo>
                  <a:lnTo>
                    <a:pt x="1150" y="363"/>
                  </a:lnTo>
                  <a:lnTo>
                    <a:pt x="1151" y="363"/>
                  </a:lnTo>
                  <a:lnTo>
                    <a:pt x="1153" y="365"/>
                  </a:lnTo>
                  <a:lnTo>
                    <a:pt x="1155" y="363"/>
                  </a:lnTo>
                  <a:lnTo>
                    <a:pt x="1156" y="363"/>
                  </a:lnTo>
                  <a:lnTo>
                    <a:pt x="1156" y="365"/>
                  </a:lnTo>
                  <a:lnTo>
                    <a:pt x="1156" y="366"/>
                  </a:lnTo>
                  <a:lnTo>
                    <a:pt x="1158" y="368"/>
                  </a:lnTo>
                  <a:lnTo>
                    <a:pt x="1158" y="373"/>
                  </a:lnTo>
                  <a:lnTo>
                    <a:pt x="1158" y="374"/>
                  </a:lnTo>
                  <a:lnTo>
                    <a:pt x="1160" y="376"/>
                  </a:lnTo>
                  <a:lnTo>
                    <a:pt x="1161" y="378"/>
                  </a:lnTo>
                  <a:lnTo>
                    <a:pt x="1163" y="378"/>
                  </a:lnTo>
                  <a:lnTo>
                    <a:pt x="1164" y="378"/>
                  </a:lnTo>
                  <a:lnTo>
                    <a:pt x="1166" y="378"/>
                  </a:lnTo>
                  <a:lnTo>
                    <a:pt x="1168" y="378"/>
                  </a:lnTo>
                  <a:lnTo>
                    <a:pt x="1169" y="378"/>
                  </a:lnTo>
                  <a:lnTo>
                    <a:pt x="1171" y="378"/>
                  </a:lnTo>
                  <a:lnTo>
                    <a:pt x="1171" y="376"/>
                  </a:lnTo>
                  <a:lnTo>
                    <a:pt x="1174" y="376"/>
                  </a:lnTo>
                  <a:lnTo>
                    <a:pt x="1174" y="374"/>
                  </a:lnTo>
                  <a:lnTo>
                    <a:pt x="1174" y="373"/>
                  </a:lnTo>
                  <a:lnTo>
                    <a:pt x="1176" y="371"/>
                  </a:lnTo>
                  <a:lnTo>
                    <a:pt x="1177" y="371"/>
                  </a:lnTo>
                  <a:lnTo>
                    <a:pt x="1179" y="370"/>
                  </a:lnTo>
                  <a:lnTo>
                    <a:pt x="1182" y="371"/>
                  </a:lnTo>
                  <a:lnTo>
                    <a:pt x="1184" y="371"/>
                  </a:lnTo>
                  <a:lnTo>
                    <a:pt x="1186" y="371"/>
                  </a:lnTo>
                  <a:lnTo>
                    <a:pt x="1187" y="370"/>
                  </a:lnTo>
                  <a:lnTo>
                    <a:pt x="1189" y="370"/>
                  </a:lnTo>
                  <a:lnTo>
                    <a:pt x="1191" y="370"/>
                  </a:lnTo>
                  <a:lnTo>
                    <a:pt x="1192" y="371"/>
                  </a:lnTo>
                  <a:lnTo>
                    <a:pt x="1194" y="371"/>
                  </a:lnTo>
                  <a:lnTo>
                    <a:pt x="1195" y="371"/>
                  </a:lnTo>
                  <a:lnTo>
                    <a:pt x="1197" y="373"/>
                  </a:lnTo>
                  <a:lnTo>
                    <a:pt x="1199" y="373"/>
                  </a:lnTo>
                  <a:lnTo>
                    <a:pt x="1199" y="374"/>
                  </a:lnTo>
                  <a:lnTo>
                    <a:pt x="1200" y="374"/>
                  </a:lnTo>
                  <a:lnTo>
                    <a:pt x="1202" y="376"/>
                  </a:lnTo>
                  <a:lnTo>
                    <a:pt x="1204" y="378"/>
                  </a:lnTo>
                  <a:lnTo>
                    <a:pt x="1205" y="378"/>
                  </a:lnTo>
                  <a:lnTo>
                    <a:pt x="1207" y="378"/>
                  </a:lnTo>
                  <a:lnTo>
                    <a:pt x="1207" y="379"/>
                  </a:lnTo>
                  <a:lnTo>
                    <a:pt x="1208" y="381"/>
                  </a:lnTo>
                  <a:lnTo>
                    <a:pt x="1210" y="383"/>
                  </a:lnTo>
                  <a:lnTo>
                    <a:pt x="1212" y="384"/>
                  </a:lnTo>
                  <a:lnTo>
                    <a:pt x="1212" y="386"/>
                  </a:lnTo>
                  <a:lnTo>
                    <a:pt x="1215" y="386"/>
                  </a:lnTo>
                  <a:lnTo>
                    <a:pt x="1217" y="386"/>
                  </a:lnTo>
                  <a:lnTo>
                    <a:pt x="1217" y="387"/>
                  </a:lnTo>
                  <a:lnTo>
                    <a:pt x="1218" y="387"/>
                  </a:lnTo>
                  <a:lnTo>
                    <a:pt x="1218" y="386"/>
                  </a:lnTo>
                  <a:lnTo>
                    <a:pt x="1220" y="386"/>
                  </a:lnTo>
                  <a:lnTo>
                    <a:pt x="1220" y="384"/>
                  </a:lnTo>
                  <a:lnTo>
                    <a:pt x="1221" y="384"/>
                  </a:lnTo>
                  <a:lnTo>
                    <a:pt x="1223" y="386"/>
                  </a:lnTo>
                  <a:lnTo>
                    <a:pt x="1225" y="386"/>
                  </a:lnTo>
                  <a:lnTo>
                    <a:pt x="1226" y="386"/>
                  </a:lnTo>
                  <a:lnTo>
                    <a:pt x="1230" y="387"/>
                  </a:lnTo>
                  <a:lnTo>
                    <a:pt x="1231" y="387"/>
                  </a:lnTo>
                  <a:lnTo>
                    <a:pt x="1233" y="387"/>
                  </a:lnTo>
                  <a:lnTo>
                    <a:pt x="1233" y="386"/>
                  </a:lnTo>
                  <a:lnTo>
                    <a:pt x="1231" y="384"/>
                  </a:lnTo>
                  <a:lnTo>
                    <a:pt x="1231" y="383"/>
                  </a:lnTo>
                  <a:lnTo>
                    <a:pt x="1231" y="381"/>
                  </a:lnTo>
                  <a:lnTo>
                    <a:pt x="1233" y="381"/>
                  </a:lnTo>
                  <a:lnTo>
                    <a:pt x="1233" y="378"/>
                  </a:lnTo>
                  <a:lnTo>
                    <a:pt x="1234" y="378"/>
                  </a:lnTo>
                  <a:lnTo>
                    <a:pt x="1236" y="378"/>
                  </a:lnTo>
                  <a:lnTo>
                    <a:pt x="1238" y="376"/>
                  </a:lnTo>
                  <a:lnTo>
                    <a:pt x="1239" y="376"/>
                  </a:lnTo>
                  <a:lnTo>
                    <a:pt x="1241" y="376"/>
                  </a:lnTo>
                  <a:lnTo>
                    <a:pt x="1243" y="378"/>
                  </a:lnTo>
                  <a:lnTo>
                    <a:pt x="1244" y="378"/>
                  </a:lnTo>
                  <a:lnTo>
                    <a:pt x="1246" y="378"/>
                  </a:lnTo>
                  <a:lnTo>
                    <a:pt x="1247" y="376"/>
                  </a:lnTo>
                  <a:lnTo>
                    <a:pt x="1249" y="374"/>
                  </a:lnTo>
                  <a:lnTo>
                    <a:pt x="1251" y="374"/>
                  </a:lnTo>
                  <a:lnTo>
                    <a:pt x="1251" y="373"/>
                  </a:lnTo>
                  <a:lnTo>
                    <a:pt x="1252" y="373"/>
                  </a:lnTo>
                  <a:lnTo>
                    <a:pt x="1256" y="371"/>
                  </a:lnTo>
                  <a:lnTo>
                    <a:pt x="1256" y="373"/>
                  </a:lnTo>
                  <a:lnTo>
                    <a:pt x="1259" y="374"/>
                  </a:lnTo>
                  <a:lnTo>
                    <a:pt x="1260" y="373"/>
                  </a:lnTo>
                  <a:lnTo>
                    <a:pt x="1260" y="371"/>
                  </a:lnTo>
                  <a:lnTo>
                    <a:pt x="1262" y="371"/>
                  </a:lnTo>
                  <a:lnTo>
                    <a:pt x="1262" y="370"/>
                  </a:lnTo>
                  <a:lnTo>
                    <a:pt x="1264" y="370"/>
                  </a:lnTo>
                  <a:lnTo>
                    <a:pt x="1264" y="371"/>
                  </a:lnTo>
                  <a:lnTo>
                    <a:pt x="1265" y="373"/>
                  </a:lnTo>
                  <a:lnTo>
                    <a:pt x="1267" y="371"/>
                  </a:lnTo>
                  <a:lnTo>
                    <a:pt x="1269" y="373"/>
                  </a:lnTo>
                  <a:lnTo>
                    <a:pt x="1270" y="373"/>
                  </a:lnTo>
                  <a:lnTo>
                    <a:pt x="1272" y="373"/>
                  </a:lnTo>
                  <a:lnTo>
                    <a:pt x="1273" y="373"/>
                  </a:lnTo>
                  <a:lnTo>
                    <a:pt x="1273" y="374"/>
                  </a:lnTo>
                  <a:lnTo>
                    <a:pt x="1273" y="376"/>
                  </a:lnTo>
                  <a:lnTo>
                    <a:pt x="1277" y="379"/>
                  </a:lnTo>
                  <a:lnTo>
                    <a:pt x="1278" y="379"/>
                  </a:lnTo>
                  <a:lnTo>
                    <a:pt x="1280" y="378"/>
                  </a:lnTo>
                  <a:lnTo>
                    <a:pt x="1283" y="379"/>
                  </a:lnTo>
                  <a:lnTo>
                    <a:pt x="1286" y="379"/>
                  </a:lnTo>
                  <a:lnTo>
                    <a:pt x="1285" y="379"/>
                  </a:lnTo>
                  <a:lnTo>
                    <a:pt x="1286" y="381"/>
                  </a:lnTo>
                  <a:lnTo>
                    <a:pt x="1285" y="383"/>
                  </a:lnTo>
                  <a:lnTo>
                    <a:pt x="1285" y="384"/>
                  </a:lnTo>
                  <a:lnTo>
                    <a:pt x="1283" y="384"/>
                  </a:lnTo>
                  <a:lnTo>
                    <a:pt x="1285" y="386"/>
                  </a:lnTo>
                  <a:lnTo>
                    <a:pt x="1283" y="386"/>
                  </a:lnTo>
                  <a:lnTo>
                    <a:pt x="1283" y="387"/>
                  </a:lnTo>
                  <a:lnTo>
                    <a:pt x="1285" y="387"/>
                  </a:lnTo>
                  <a:lnTo>
                    <a:pt x="1285" y="389"/>
                  </a:lnTo>
                  <a:lnTo>
                    <a:pt x="1285" y="391"/>
                  </a:lnTo>
                  <a:lnTo>
                    <a:pt x="1286" y="391"/>
                  </a:lnTo>
                  <a:lnTo>
                    <a:pt x="1286" y="392"/>
                  </a:lnTo>
                  <a:lnTo>
                    <a:pt x="1288" y="394"/>
                  </a:lnTo>
                  <a:lnTo>
                    <a:pt x="1288" y="392"/>
                  </a:lnTo>
                  <a:lnTo>
                    <a:pt x="1290" y="392"/>
                  </a:lnTo>
                  <a:lnTo>
                    <a:pt x="1291" y="392"/>
                  </a:lnTo>
                  <a:lnTo>
                    <a:pt x="1291" y="391"/>
                  </a:lnTo>
                  <a:lnTo>
                    <a:pt x="1293" y="392"/>
                  </a:lnTo>
                  <a:lnTo>
                    <a:pt x="1291" y="392"/>
                  </a:lnTo>
                  <a:lnTo>
                    <a:pt x="1293" y="392"/>
                  </a:lnTo>
                  <a:lnTo>
                    <a:pt x="1293" y="394"/>
                  </a:lnTo>
                  <a:lnTo>
                    <a:pt x="1295" y="394"/>
                  </a:lnTo>
                  <a:lnTo>
                    <a:pt x="1296" y="394"/>
                  </a:lnTo>
                  <a:lnTo>
                    <a:pt x="1298" y="394"/>
                  </a:lnTo>
                  <a:lnTo>
                    <a:pt x="1298" y="396"/>
                  </a:lnTo>
                  <a:lnTo>
                    <a:pt x="1299" y="396"/>
                  </a:lnTo>
                  <a:lnTo>
                    <a:pt x="1299" y="397"/>
                  </a:lnTo>
                  <a:lnTo>
                    <a:pt x="1299" y="396"/>
                  </a:lnTo>
                  <a:lnTo>
                    <a:pt x="1301" y="397"/>
                  </a:lnTo>
                  <a:lnTo>
                    <a:pt x="1299" y="397"/>
                  </a:lnTo>
                  <a:lnTo>
                    <a:pt x="1299" y="399"/>
                  </a:lnTo>
                  <a:lnTo>
                    <a:pt x="1299" y="397"/>
                  </a:lnTo>
                  <a:lnTo>
                    <a:pt x="1298" y="397"/>
                  </a:lnTo>
                  <a:lnTo>
                    <a:pt x="1298" y="399"/>
                  </a:lnTo>
                  <a:lnTo>
                    <a:pt x="1296" y="399"/>
                  </a:lnTo>
                  <a:lnTo>
                    <a:pt x="1298" y="399"/>
                  </a:lnTo>
                  <a:lnTo>
                    <a:pt x="1298" y="400"/>
                  </a:lnTo>
                  <a:lnTo>
                    <a:pt x="1296" y="400"/>
                  </a:lnTo>
                  <a:lnTo>
                    <a:pt x="1298" y="400"/>
                  </a:lnTo>
                  <a:lnTo>
                    <a:pt x="1298" y="402"/>
                  </a:lnTo>
                  <a:lnTo>
                    <a:pt x="1296" y="402"/>
                  </a:lnTo>
                  <a:lnTo>
                    <a:pt x="1296" y="400"/>
                  </a:lnTo>
                  <a:lnTo>
                    <a:pt x="1296" y="402"/>
                  </a:lnTo>
                  <a:lnTo>
                    <a:pt x="1296" y="404"/>
                  </a:lnTo>
                  <a:lnTo>
                    <a:pt x="1296" y="405"/>
                  </a:lnTo>
                  <a:lnTo>
                    <a:pt x="1295" y="405"/>
                  </a:lnTo>
                  <a:lnTo>
                    <a:pt x="1293" y="405"/>
                  </a:lnTo>
                  <a:lnTo>
                    <a:pt x="1293" y="407"/>
                  </a:lnTo>
                  <a:lnTo>
                    <a:pt x="1295" y="407"/>
                  </a:lnTo>
                  <a:lnTo>
                    <a:pt x="1293" y="409"/>
                  </a:lnTo>
                  <a:lnTo>
                    <a:pt x="1291" y="407"/>
                  </a:lnTo>
                  <a:lnTo>
                    <a:pt x="1291" y="405"/>
                  </a:lnTo>
                  <a:lnTo>
                    <a:pt x="1291" y="407"/>
                  </a:lnTo>
                  <a:lnTo>
                    <a:pt x="1290" y="405"/>
                  </a:lnTo>
                  <a:lnTo>
                    <a:pt x="1290" y="407"/>
                  </a:lnTo>
                  <a:lnTo>
                    <a:pt x="1290" y="409"/>
                  </a:lnTo>
                  <a:lnTo>
                    <a:pt x="1288" y="409"/>
                  </a:lnTo>
                  <a:lnTo>
                    <a:pt x="1288" y="407"/>
                  </a:lnTo>
                  <a:lnTo>
                    <a:pt x="1286" y="407"/>
                  </a:lnTo>
                  <a:lnTo>
                    <a:pt x="1286" y="405"/>
                  </a:lnTo>
                  <a:lnTo>
                    <a:pt x="1286" y="407"/>
                  </a:lnTo>
                  <a:lnTo>
                    <a:pt x="1285" y="405"/>
                  </a:lnTo>
                  <a:lnTo>
                    <a:pt x="1285" y="404"/>
                  </a:lnTo>
                  <a:lnTo>
                    <a:pt x="1283" y="404"/>
                  </a:lnTo>
                  <a:lnTo>
                    <a:pt x="1282" y="404"/>
                  </a:lnTo>
                  <a:lnTo>
                    <a:pt x="1280" y="405"/>
                  </a:lnTo>
                  <a:lnTo>
                    <a:pt x="1278" y="407"/>
                  </a:lnTo>
                  <a:lnTo>
                    <a:pt x="1278" y="409"/>
                  </a:lnTo>
                  <a:lnTo>
                    <a:pt x="1277" y="410"/>
                  </a:lnTo>
                  <a:lnTo>
                    <a:pt x="1277" y="413"/>
                  </a:lnTo>
                  <a:lnTo>
                    <a:pt x="1277" y="417"/>
                  </a:lnTo>
                  <a:lnTo>
                    <a:pt x="1277" y="420"/>
                  </a:lnTo>
                  <a:lnTo>
                    <a:pt x="1277" y="422"/>
                  </a:lnTo>
                  <a:lnTo>
                    <a:pt x="1278" y="422"/>
                  </a:lnTo>
                  <a:lnTo>
                    <a:pt x="1278" y="423"/>
                  </a:lnTo>
                  <a:lnTo>
                    <a:pt x="1278" y="425"/>
                  </a:lnTo>
                  <a:lnTo>
                    <a:pt x="1280" y="423"/>
                  </a:lnTo>
                  <a:lnTo>
                    <a:pt x="1282" y="425"/>
                  </a:lnTo>
                  <a:lnTo>
                    <a:pt x="1283" y="425"/>
                  </a:lnTo>
                  <a:lnTo>
                    <a:pt x="1283" y="426"/>
                  </a:lnTo>
                  <a:lnTo>
                    <a:pt x="1282" y="425"/>
                  </a:lnTo>
                  <a:lnTo>
                    <a:pt x="1282" y="426"/>
                  </a:lnTo>
                  <a:lnTo>
                    <a:pt x="1283" y="426"/>
                  </a:lnTo>
                  <a:lnTo>
                    <a:pt x="1285" y="428"/>
                  </a:lnTo>
                  <a:lnTo>
                    <a:pt x="1285" y="430"/>
                  </a:lnTo>
                  <a:lnTo>
                    <a:pt x="1285" y="431"/>
                  </a:lnTo>
                  <a:lnTo>
                    <a:pt x="1286" y="431"/>
                  </a:lnTo>
                  <a:lnTo>
                    <a:pt x="1286" y="433"/>
                  </a:lnTo>
                  <a:lnTo>
                    <a:pt x="1285" y="433"/>
                  </a:lnTo>
                  <a:lnTo>
                    <a:pt x="1285" y="435"/>
                  </a:lnTo>
                  <a:lnTo>
                    <a:pt x="1283" y="438"/>
                  </a:lnTo>
                  <a:lnTo>
                    <a:pt x="1282" y="438"/>
                  </a:lnTo>
                  <a:lnTo>
                    <a:pt x="1283" y="438"/>
                  </a:lnTo>
                  <a:lnTo>
                    <a:pt x="1283" y="440"/>
                  </a:lnTo>
                  <a:lnTo>
                    <a:pt x="1283" y="441"/>
                  </a:lnTo>
                  <a:lnTo>
                    <a:pt x="1285" y="443"/>
                  </a:lnTo>
                  <a:lnTo>
                    <a:pt x="1285" y="444"/>
                  </a:lnTo>
                  <a:lnTo>
                    <a:pt x="1285" y="446"/>
                  </a:lnTo>
                  <a:lnTo>
                    <a:pt x="1285" y="444"/>
                  </a:lnTo>
                  <a:lnTo>
                    <a:pt x="1286" y="444"/>
                  </a:lnTo>
                  <a:lnTo>
                    <a:pt x="1286" y="446"/>
                  </a:lnTo>
                  <a:lnTo>
                    <a:pt x="1286" y="448"/>
                  </a:lnTo>
                  <a:lnTo>
                    <a:pt x="1286" y="449"/>
                  </a:lnTo>
                  <a:lnTo>
                    <a:pt x="1285" y="449"/>
                  </a:lnTo>
                  <a:lnTo>
                    <a:pt x="1285" y="451"/>
                  </a:lnTo>
                  <a:lnTo>
                    <a:pt x="1285" y="453"/>
                  </a:lnTo>
                  <a:lnTo>
                    <a:pt x="1283" y="453"/>
                  </a:lnTo>
                  <a:lnTo>
                    <a:pt x="1283" y="454"/>
                  </a:lnTo>
                  <a:lnTo>
                    <a:pt x="1285" y="454"/>
                  </a:lnTo>
                  <a:lnTo>
                    <a:pt x="1283" y="454"/>
                  </a:lnTo>
                  <a:lnTo>
                    <a:pt x="1283" y="456"/>
                  </a:lnTo>
                  <a:lnTo>
                    <a:pt x="1283" y="457"/>
                  </a:lnTo>
                  <a:lnTo>
                    <a:pt x="1282" y="456"/>
                  </a:lnTo>
                  <a:lnTo>
                    <a:pt x="1282" y="457"/>
                  </a:lnTo>
                  <a:lnTo>
                    <a:pt x="1280" y="457"/>
                  </a:lnTo>
                  <a:lnTo>
                    <a:pt x="1280" y="459"/>
                  </a:lnTo>
                  <a:lnTo>
                    <a:pt x="1280" y="461"/>
                  </a:lnTo>
                  <a:lnTo>
                    <a:pt x="1278" y="461"/>
                  </a:lnTo>
                  <a:lnTo>
                    <a:pt x="1277" y="461"/>
                  </a:lnTo>
                  <a:lnTo>
                    <a:pt x="1277" y="462"/>
                  </a:lnTo>
                  <a:lnTo>
                    <a:pt x="1275" y="462"/>
                  </a:lnTo>
                  <a:lnTo>
                    <a:pt x="1273" y="462"/>
                  </a:lnTo>
                  <a:lnTo>
                    <a:pt x="1272" y="462"/>
                  </a:lnTo>
                  <a:lnTo>
                    <a:pt x="1270" y="462"/>
                  </a:lnTo>
                  <a:lnTo>
                    <a:pt x="1270" y="464"/>
                  </a:lnTo>
                  <a:lnTo>
                    <a:pt x="1270" y="466"/>
                  </a:lnTo>
                  <a:lnTo>
                    <a:pt x="1269" y="466"/>
                  </a:lnTo>
                  <a:lnTo>
                    <a:pt x="1267" y="467"/>
                  </a:lnTo>
                  <a:lnTo>
                    <a:pt x="1267" y="469"/>
                  </a:lnTo>
                  <a:lnTo>
                    <a:pt x="1265" y="470"/>
                  </a:lnTo>
                  <a:lnTo>
                    <a:pt x="1265" y="469"/>
                  </a:lnTo>
                  <a:lnTo>
                    <a:pt x="1265" y="470"/>
                  </a:lnTo>
                  <a:lnTo>
                    <a:pt x="1264" y="470"/>
                  </a:lnTo>
                  <a:lnTo>
                    <a:pt x="1264" y="472"/>
                  </a:lnTo>
                  <a:lnTo>
                    <a:pt x="1262" y="472"/>
                  </a:lnTo>
                  <a:lnTo>
                    <a:pt x="1260" y="472"/>
                  </a:lnTo>
                  <a:lnTo>
                    <a:pt x="1259" y="474"/>
                  </a:lnTo>
                  <a:lnTo>
                    <a:pt x="1257" y="474"/>
                  </a:lnTo>
                  <a:lnTo>
                    <a:pt x="1256" y="475"/>
                  </a:lnTo>
                  <a:lnTo>
                    <a:pt x="1256" y="477"/>
                  </a:lnTo>
                  <a:lnTo>
                    <a:pt x="1254" y="477"/>
                  </a:lnTo>
                  <a:lnTo>
                    <a:pt x="1254" y="479"/>
                  </a:lnTo>
                  <a:lnTo>
                    <a:pt x="1252" y="479"/>
                  </a:lnTo>
                  <a:lnTo>
                    <a:pt x="1251" y="479"/>
                  </a:lnTo>
                  <a:lnTo>
                    <a:pt x="1251" y="480"/>
                  </a:lnTo>
                  <a:lnTo>
                    <a:pt x="1251" y="479"/>
                  </a:lnTo>
                  <a:lnTo>
                    <a:pt x="1249" y="480"/>
                  </a:lnTo>
                  <a:lnTo>
                    <a:pt x="1247" y="480"/>
                  </a:lnTo>
                  <a:lnTo>
                    <a:pt x="1246" y="480"/>
                  </a:lnTo>
                  <a:lnTo>
                    <a:pt x="1244" y="480"/>
                  </a:lnTo>
                  <a:lnTo>
                    <a:pt x="1243" y="480"/>
                  </a:lnTo>
                  <a:lnTo>
                    <a:pt x="1243" y="482"/>
                  </a:lnTo>
                  <a:lnTo>
                    <a:pt x="1241" y="482"/>
                  </a:lnTo>
                  <a:lnTo>
                    <a:pt x="1239" y="482"/>
                  </a:lnTo>
                  <a:lnTo>
                    <a:pt x="1239" y="483"/>
                  </a:lnTo>
                  <a:lnTo>
                    <a:pt x="1238" y="483"/>
                  </a:lnTo>
                  <a:lnTo>
                    <a:pt x="1236" y="483"/>
                  </a:lnTo>
                  <a:lnTo>
                    <a:pt x="1234" y="485"/>
                  </a:lnTo>
                  <a:lnTo>
                    <a:pt x="1234" y="487"/>
                  </a:lnTo>
                  <a:lnTo>
                    <a:pt x="1233" y="487"/>
                  </a:lnTo>
                  <a:lnTo>
                    <a:pt x="1231" y="487"/>
                  </a:lnTo>
                  <a:lnTo>
                    <a:pt x="1230" y="488"/>
                  </a:lnTo>
                  <a:lnTo>
                    <a:pt x="1228" y="490"/>
                  </a:lnTo>
                  <a:lnTo>
                    <a:pt x="1226" y="490"/>
                  </a:lnTo>
                  <a:lnTo>
                    <a:pt x="1225" y="490"/>
                  </a:lnTo>
                  <a:lnTo>
                    <a:pt x="1220" y="492"/>
                  </a:lnTo>
                  <a:lnTo>
                    <a:pt x="1218" y="492"/>
                  </a:lnTo>
                  <a:lnTo>
                    <a:pt x="1215" y="493"/>
                  </a:lnTo>
                  <a:lnTo>
                    <a:pt x="1212" y="493"/>
                  </a:lnTo>
                  <a:lnTo>
                    <a:pt x="1212" y="495"/>
                  </a:lnTo>
                  <a:lnTo>
                    <a:pt x="1210" y="495"/>
                  </a:lnTo>
                  <a:lnTo>
                    <a:pt x="1205" y="496"/>
                  </a:lnTo>
                  <a:lnTo>
                    <a:pt x="1204" y="496"/>
                  </a:lnTo>
                  <a:lnTo>
                    <a:pt x="1204" y="498"/>
                  </a:lnTo>
                  <a:lnTo>
                    <a:pt x="1200" y="498"/>
                  </a:lnTo>
                  <a:lnTo>
                    <a:pt x="1199" y="498"/>
                  </a:lnTo>
                  <a:lnTo>
                    <a:pt x="1197" y="500"/>
                  </a:lnTo>
                  <a:lnTo>
                    <a:pt x="1197" y="501"/>
                  </a:lnTo>
                  <a:lnTo>
                    <a:pt x="1197" y="500"/>
                  </a:lnTo>
                  <a:lnTo>
                    <a:pt x="1194" y="501"/>
                  </a:lnTo>
                  <a:lnTo>
                    <a:pt x="1192" y="503"/>
                  </a:lnTo>
                  <a:lnTo>
                    <a:pt x="1191" y="505"/>
                  </a:lnTo>
                  <a:lnTo>
                    <a:pt x="1187" y="505"/>
                  </a:lnTo>
                  <a:lnTo>
                    <a:pt x="1186" y="506"/>
                  </a:lnTo>
                  <a:lnTo>
                    <a:pt x="1182" y="506"/>
                  </a:lnTo>
                  <a:lnTo>
                    <a:pt x="1181" y="506"/>
                  </a:lnTo>
                  <a:lnTo>
                    <a:pt x="1179" y="508"/>
                  </a:lnTo>
                  <a:lnTo>
                    <a:pt x="1177" y="508"/>
                  </a:lnTo>
                  <a:lnTo>
                    <a:pt x="1176" y="509"/>
                  </a:lnTo>
                  <a:lnTo>
                    <a:pt x="1174" y="511"/>
                  </a:lnTo>
                  <a:lnTo>
                    <a:pt x="1174" y="513"/>
                  </a:lnTo>
                  <a:lnTo>
                    <a:pt x="1173" y="513"/>
                  </a:lnTo>
                  <a:lnTo>
                    <a:pt x="1173" y="514"/>
                  </a:lnTo>
                  <a:lnTo>
                    <a:pt x="1171" y="516"/>
                  </a:lnTo>
                  <a:lnTo>
                    <a:pt x="1171" y="518"/>
                  </a:lnTo>
                  <a:lnTo>
                    <a:pt x="1169" y="516"/>
                  </a:lnTo>
                  <a:lnTo>
                    <a:pt x="1169" y="518"/>
                  </a:lnTo>
                  <a:lnTo>
                    <a:pt x="1168" y="518"/>
                  </a:lnTo>
                  <a:lnTo>
                    <a:pt x="1168" y="519"/>
                  </a:lnTo>
                  <a:lnTo>
                    <a:pt x="1168" y="521"/>
                  </a:lnTo>
                  <a:lnTo>
                    <a:pt x="1166" y="521"/>
                  </a:lnTo>
                  <a:lnTo>
                    <a:pt x="1166" y="522"/>
                  </a:lnTo>
                  <a:lnTo>
                    <a:pt x="1166" y="524"/>
                  </a:lnTo>
                  <a:lnTo>
                    <a:pt x="1166" y="522"/>
                  </a:lnTo>
                  <a:lnTo>
                    <a:pt x="1166" y="521"/>
                  </a:lnTo>
                  <a:lnTo>
                    <a:pt x="1168" y="521"/>
                  </a:lnTo>
                  <a:lnTo>
                    <a:pt x="1168" y="519"/>
                  </a:lnTo>
                  <a:lnTo>
                    <a:pt x="1166" y="519"/>
                  </a:lnTo>
                  <a:lnTo>
                    <a:pt x="1166" y="521"/>
                  </a:lnTo>
                  <a:lnTo>
                    <a:pt x="1166" y="522"/>
                  </a:lnTo>
                  <a:lnTo>
                    <a:pt x="1164" y="522"/>
                  </a:lnTo>
                  <a:lnTo>
                    <a:pt x="1163" y="524"/>
                  </a:lnTo>
                  <a:lnTo>
                    <a:pt x="1163" y="522"/>
                  </a:lnTo>
                  <a:lnTo>
                    <a:pt x="1163" y="524"/>
                  </a:lnTo>
                  <a:lnTo>
                    <a:pt x="1163" y="526"/>
                  </a:lnTo>
                  <a:lnTo>
                    <a:pt x="1163" y="524"/>
                  </a:lnTo>
                  <a:lnTo>
                    <a:pt x="1164" y="524"/>
                  </a:lnTo>
                  <a:lnTo>
                    <a:pt x="1163" y="526"/>
                  </a:lnTo>
                  <a:lnTo>
                    <a:pt x="1164" y="526"/>
                  </a:lnTo>
                  <a:lnTo>
                    <a:pt x="1163" y="526"/>
                  </a:lnTo>
                  <a:lnTo>
                    <a:pt x="1163" y="527"/>
                  </a:lnTo>
                  <a:lnTo>
                    <a:pt x="1161" y="527"/>
                  </a:lnTo>
                  <a:lnTo>
                    <a:pt x="1161" y="529"/>
                  </a:lnTo>
                  <a:lnTo>
                    <a:pt x="1160" y="531"/>
                  </a:lnTo>
                  <a:lnTo>
                    <a:pt x="1158" y="531"/>
                  </a:lnTo>
                  <a:lnTo>
                    <a:pt x="1155" y="532"/>
                  </a:lnTo>
                  <a:lnTo>
                    <a:pt x="1150" y="532"/>
                  </a:lnTo>
                  <a:lnTo>
                    <a:pt x="1148" y="534"/>
                  </a:lnTo>
                  <a:lnTo>
                    <a:pt x="1145" y="534"/>
                  </a:lnTo>
                  <a:lnTo>
                    <a:pt x="1140" y="532"/>
                  </a:lnTo>
                  <a:lnTo>
                    <a:pt x="1138" y="532"/>
                  </a:lnTo>
                  <a:lnTo>
                    <a:pt x="1138" y="534"/>
                  </a:lnTo>
                  <a:lnTo>
                    <a:pt x="1137" y="534"/>
                  </a:lnTo>
                  <a:lnTo>
                    <a:pt x="1137" y="532"/>
                  </a:lnTo>
                  <a:lnTo>
                    <a:pt x="1137" y="534"/>
                  </a:lnTo>
                  <a:lnTo>
                    <a:pt x="1135" y="534"/>
                  </a:lnTo>
                  <a:lnTo>
                    <a:pt x="1134" y="534"/>
                  </a:lnTo>
                  <a:lnTo>
                    <a:pt x="1132" y="535"/>
                  </a:lnTo>
                  <a:lnTo>
                    <a:pt x="1130" y="535"/>
                  </a:lnTo>
                  <a:lnTo>
                    <a:pt x="1127" y="535"/>
                  </a:lnTo>
                  <a:lnTo>
                    <a:pt x="1125" y="535"/>
                  </a:lnTo>
                  <a:lnTo>
                    <a:pt x="1124" y="535"/>
                  </a:lnTo>
                  <a:lnTo>
                    <a:pt x="1122" y="537"/>
                  </a:lnTo>
                  <a:lnTo>
                    <a:pt x="1121" y="537"/>
                  </a:lnTo>
                  <a:lnTo>
                    <a:pt x="1119" y="537"/>
                  </a:lnTo>
                  <a:lnTo>
                    <a:pt x="1117" y="537"/>
                  </a:lnTo>
                  <a:lnTo>
                    <a:pt x="1116" y="537"/>
                  </a:lnTo>
                  <a:lnTo>
                    <a:pt x="1116" y="539"/>
                  </a:lnTo>
                  <a:lnTo>
                    <a:pt x="1117" y="537"/>
                  </a:lnTo>
                  <a:lnTo>
                    <a:pt x="1116" y="537"/>
                  </a:lnTo>
                  <a:lnTo>
                    <a:pt x="1116" y="539"/>
                  </a:lnTo>
                  <a:lnTo>
                    <a:pt x="1116" y="537"/>
                  </a:lnTo>
                  <a:lnTo>
                    <a:pt x="1114" y="537"/>
                  </a:lnTo>
                  <a:lnTo>
                    <a:pt x="1112" y="537"/>
                  </a:lnTo>
                  <a:lnTo>
                    <a:pt x="1111" y="537"/>
                  </a:lnTo>
                  <a:lnTo>
                    <a:pt x="1111" y="539"/>
                  </a:lnTo>
                  <a:lnTo>
                    <a:pt x="1109" y="539"/>
                  </a:lnTo>
                  <a:lnTo>
                    <a:pt x="1108" y="539"/>
                  </a:lnTo>
                  <a:lnTo>
                    <a:pt x="1106" y="539"/>
                  </a:lnTo>
                  <a:lnTo>
                    <a:pt x="1104" y="539"/>
                  </a:lnTo>
                  <a:lnTo>
                    <a:pt x="1099" y="539"/>
                  </a:lnTo>
                  <a:lnTo>
                    <a:pt x="1095" y="539"/>
                  </a:lnTo>
                  <a:lnTo>
                    <a:pt x="1093" y="539"/>
                  </a:lnTo>
                  <a:lnTo>
                    <a:pt x="1093" y="540"/>
                  </a:lnTo>
                  <a:lnTo>
                    <a:pt x="1093" y="539"/>
                  </a:lnTo>
                  <a:lnTo>
                    <a:pt x="1090" y="540"/>
                  </a:lnTo>
                  <a:lnTo>
                    <a:pt x="1088" y="540"/>
                  </a:lnTo>
                  <a:lnTo>
                    <a:pt x="1086" y="540"/>
                  </a:lnTo>
                  <a:lnTo>
                    <a:pt x="1085" y="542"/>
                  </a:lnTo>
                  <a:lnTo>
                    <a:pt x="1083" y="542"/>
                  </a:lnTo>
                  <a:lnTo>
                    <a:pt x="1080" y="544"/>
                  </a:lnTo>
                  <a:lnTo>
                    <a:pt x="1080" y="545"/>
                  </a:lnTo>
                  <a:lnTo>
                    <a:pt x="1078" y="545"/>
                  </a:lnTo>
                  <a:lnTo>
                    <a:pt x="1077" y="544"/>
                  </a:lnTo>
                  <a:lnTo>
                    <a:pt x="1075" y="544"/>
                  </a:lnTo>
                  <a:lnTo>
                    <a:pt x="1075" y="545"/>
                  </a:lnTo>
                  <a:lnTo>
                    <a:pt x="1073" y="545"/>
                  </a:lnTo>
                  <a:lnTo>
                    <a:pt x="1072" y="545"/>
                  </a:lnTo>
                  <a:lnTo>
                    <a:pt x="1072" y="544"/>
                  </a:lnTo>
                  <a:lnTo>
                    <a:pt x="1070" y="545"/>
                  </a:lnTo>
                  <a:lnTo>
                    <a:pt x="1070" y="544"/>
                  </a:lnTo>
                  <a:lnTo>
                    <a:pt x="1069" y="544"/>
                  </a:lnTo>
                  <a:lnTo>
                    <a:pt x="1067" y="544"/>
                  </a:lnTo>
                  <a:lnTo>
                    <a:pt x="1067" y="545"/>
                  </a:lnTo>
                  <a:lnTo>
                    <a:pt x="1065" y="545"/>
                  </a:lnTo>
                  <a:lnTo>
                    <a:pt x="1064" y="545"/>
                  </a:lnTo>
                  <a:lnTo>
                    <a:pt x="1064" y="547"/>
                  </a:lnTo>
                  <a:lnTo>
                    <a:pt x="1062" y="547"/>
                  </a:lnTo>
                  <a:lnTo>
                    <a:pt x="1060" y="547"/>
                  </a:lnTo>
                  <a:lnTo>
                    <a:pt x="1060" y="548"/>
                  </a:lnTo>
                  <a:lnTo>
                    <a:pt x="1059" y="550"/>
                  </a:lnTo>
                  <a:lnTo>
                    <a:pt x="1060" y="548"/>
                  </a:lnTo>
                  <a:lnTo>
                    <a:pt x="1059" y="548"/>
                  </a:lnTo>
                  <a:lnTo>
                    <a:pt x="1060" y="548"/>
                  </a:lnTo>
                  <a:lnTo>
                    <a:pt x="1060" y="547"/>
                  </a:lnTo>
                  <a:lnTo>
                    <a:pt x="1062" y="547"/>
                  </a:lnTo>
                  <a:lnTo>
                    <a:pt x="1060" y="547"/>
                  </a:lnTo>
                  <a:lnTo>
                    <a:pt x="1059" y="547"/>
                  </a:lnTo>
                  <a:lnTo>
                    <a:pt x="1057" y="547"/>
                  </a:lnTo>
                  <a:lnTo>
                    <a:pt x="1057" y="548"/>
                  </a:lnTo>
                  <a:lnTo>
                    <a:pt x="1057" y="550"/>
                  </a:lnTo>
                  <a:lnTo>
                    <a:pt x="1057" y="548"/>
                  </a:lnTo>
                  <a:lnTo>
                    <a:pt x="1056" y="548"/>
                  </a:lnTo>
                  <a:lnTo>
                    <a:pt x="1054" y="550"/>
                  </a:lnTo>
                  <a:lnTo>
                    <a:pt x="1054" y="552"/>
                  </a:lnTo>
                  <a:lnTo>
                    <a:pt x="1054" y="553"/>
                  </a:lnTo>
                  <a:lnTo>
                    <a:pt x="1052" y="553"/>
                  </a:lnTo>
                  <a:lnTo>
                    <a:pt x="1052" y="552"/>
                  </a:lnTo>
                  <a:lnTo>
                    <a:pt x="1051" y="552"/>
                  </a:lnTo>
                  <a:lnTo>
                    <a:pt x="1051" y="550"/>
                  </a:lnTo>
                  <a:lnTo>
                    <a:pt x="1049" y="550"/>
                  </a:lnTo>
                  <a:lnTo>
                    <a:pt x="1047" y="550"/>
                  </a:lnTo>
                  <a:lnTo>
                    <a:pt x="1046" y="550"/>
                  </a:lnTo>
                  <a:lnTo>
                    <a:pt x="1044" y="550"/>
                  </a:lnTo>
                  <a:lnTo>
                    <a:pt x="1043" y="550"/>
                  </a:lnTo>
                  <a:lnTo>
                    <a:pt x="1041" y="550"/>
                  </a:lnTo>
                  <a:lnTo>
                    <a:pt x="1043" y="550"/>
                  </a:lnTo>
                  <a:lnTo>
                    <a:pt x="1041" y="550"/>
                  </a:lnTo>
                  <a:lnTo>
                    <a:pt x="1039" y="550"/>
                  </a:lnTo>
                  <a:lnTo>
                    <a:pt x="1038" y="550"/>
                  </a:lnTo>
                  <a:lnTo>
                    <a:pt x="1038" y="552"/>
                  </a:lnTo>
                  <a:lnTo>
                    <a:pt x="1036" y="552"/>
                  </a:lnTo>
                  <a:lnTo>
                    <a:pt x="1034" y="552"/>
                  </a:lnTo>
                  <a:lnTo>
                    <a:pt x="1033" y="552"/>
                  </a:lnTo>
                  <a:lnTo>
                    <a:pt x="1033" y="553"/>
                  </a:lnTo>
                  <a:lnTo>
                    <a:pt x="1031" y="553"/>
                  </a:lnTo>
                  <a:lnTo>
                    <a:pt x="1029" y="555"/>
                  </a:lnTo>
                  <a:lnTo>
                    <a:pt x="1028" y="557"/>
                  </a:lnTo>
                  <a:lnTo>
                    <a:pt x="1026" y="558"/>
                  </a:lnTo>
                  <a:lnTo>
                    <a:pt x="1026" y="560"/>
                  </a:lnTo>
                  <a:lnTo>
                    <a:pt x="1026" y="558"/>
                  </a:lnTo>
                  <a:lnTo>
                    <a:pt x="1025" y="560"/>
                  </a:lnTo>
                  <a:lnTo>
                    <a:pt x="1025" y="558"/>
                  </a:lnTo>
                  <a:lnTo>
                    <a:pt x="1023" y="560"/>
                  </a:lnTo>
                  <a:lnTo>
                    <a:pt x="1023" y="561"/>
                  </a:lnTo>
                  <a:lnTo>
                    <a:pt x="1021" y="563"/>
                  </a:lnTo>
                  <a:lnTo>
                    <a:pt x="1020" y="563"/>
                  </a:lnTo>
                  <a:lnTo>
                    <a:pt x="1018" y="565"/>
                  </a:lnTo>
                  <a:lnTo>
                    <a:pt x="1018" y="566"/>
                  </a:lnTo>
                  <a:lnTo>
                    <a:pt x="1016" y="566"/>
                  </a:lnTo>
                  <a:lnTo>
                    <a:pt x="1015" y="568"/>
                  </a:lnTo>
                  <a:lnTo>
                    <a:pt x="1013" y="570"/>
                  </a:lnTo>
                  <a:lnTo>
                    <a:pt x="1013" y="571"/>
                  </a:lnTo>
                  <a:lnTo>
                    <a:pt x="1012" y="571"/>
                  </a:lnTo>
                  <a:lnTo>
                    <a:pt x="1012" y="573"/>
                  </a:lnTo>
                  <a:lnTo>
                    <a:pt x="1010" y="573"/>
                  </a:lnTo>
                  <a:lnTo>
                    <a:pt x="1010" y="574"/>
                  </a:lnTo>
                  <a:lnTo>
                    <a:pt x="1008" y="576"/>
                  </a:lnTo>
                  <a:lnTo>
                    <a:pt x="1007" y="576"/>
                  </a:lnTo>
                  <a:lnTo>
                    <a:pt x="1005" y="578"/>
                  </a:lnTo>
                  <a:lnTo>
                    <a:pt x="1005" y="576"/>
                  </a:lnTo>
                  <a:lnTo>
                    <a:pt x="1005" y="578"/>
                  </a:lnTo>
                  <a:lnTo>
                    <a:pt x="1003" y="578"/>
                  </a:lnTo>
                  <a:lnTo>
                    <a:pt x="1003" y="579"/>
                  </a:lnTo>
                  <a:lnTo>
                    <a:pt x="1002" y="579"/>
                  </a:lnTo>
                  <a:lnTo>
                    <a:pt x="1002" y="581"/>
                  </a:lnTo>
                  <a:lnTo>
                    <a:pt x="1000" y="581"/>
                  </a:lnTo>
                  <a:lnTo>
                    <a:pt x="999" y="581"/>
                  </a:lnTo>
                  <a:lnTo>
                    <a:pt x="999" y="583"/>
                  </a:lnTo>
                  <a:lnTo>
                    <a:pt x="999" y="584"/>
                  </a:lnTo>
                  <a:lnTo>
                    <a:pt x="1000" y="586"/>
                  </a:lnTo>
                  <a:lnTo>
                    <a:pt x="1000" y="588"/>
                  </a:lnTo>
                  <a:lnTo>
                    <a:pt x="1003" y="589"/>
                  </a:lnTo>
                  <a:lnTo>
                    <a:pt x="1005" y="589"/>
                  </a:lnTo>
                  <a:lnTo>
                    <a:pt x="1007" y="588"/>
                  </a:lnTo>
                  <a:lnTo>
                    <a:pt x="1003" y="586"/>
                  </a:lnTo>
                  <a:lnTo>
                    <a:pt x="1002" y="586"/>
                  </a:lnTo>
                  <a:lnTo>
                    <a:pt x="1000" y="584"/>
                  </a:lnTo>
                  <a:lnTo>
                    <a:pt x="1003" y="584"/>
                  </a:lnTo>
                  <a:lnTo>
                    <a:pt x="1005" y="584"/>
                  </a:lnTo>
                  <a:lnTo>
                    <a:pt x="1007" y="586"/>
                  </a:lnTo>
                  <a:lnTo>
                    <a:pt x="1008" y="589"/>
                  </a:lnTo>
                  <a:lnTo>
                    <a:pt x="1012" y="594"/>
                  </a:lnTo>
                  <a:lnTo>
                    <a:pt x="1013" y="594"/>
                  </a:lnTo>
                  <a:lnTo>
                    <a:pt x="1015" y="594"/>
                  </a:lnTo>
                  <a:lnTo>
                    <a:pt x="1015" y="596"/>
                  </a:lnTo>
                  <a:lnTo>
                    <a:pt x="1015" y="594"/>
                  </a:lnTo>
                  <a:lnTo>
                    <a:pt x="1013" y="594"/>
                  </a:lnTo>
                  <a:lnTo>
                    <a:pt x="1015" y="594"/>
                  </a:lnTo>
                  <a:lnTo>
                    <a:pt x="1015" y="596"/>
                  </a:lnTo>
                  <a:lnTo>
                    <a:pt x="1013" y="596"/>
                  </a:lnTo>
                  <a:lnTo>
                    <a:pt x="1015" y="596"/>
                  </a:lnTo>
                  <a:lnTo>
                    <a:pt x="1013" y="597"/>
                  </a:lnTo>
                  <a:lnTo>
                    <a:pt x="1012" y="597"/>
                  </a:lnTo>
                  <a:lnTo>
                    <a:pt x="1010" y="597"/>
                  </a:lnTo>
                  <a:lnTo>
                    <a:pt x="1008" y="599"/>
                  </a:lnTo>
                  <a:lnTo>
                    <a:pt x="1007" y="599"/>
                  </a:lnTo>
                  <a:lnTo>
                    <a:pt x="1005" y="599"/>
                  </a:lnTo>
                  <a:lnTo>
                    <a:pt x="1003" y="597"/>
                  </a:lnTo>
                  <a:lnTo>
                    <a:pt x="1002" y="596"/>
                  </a:lnTo>
                  <a:lnTo>
                    <a:pt x="1000" y="596"/>
                  </a:lnTo>
                  <a:lnTo>
                    <a:pt x="997" y="596"/>
                  </a:lnTo>
                  <a:lnTo>
                    <a:pt x="997" y="594"/>
                  </a:lnTo>
                  <a:lnTo>
                    <a:pt x="995" y="594"/>
                  </a:lnTo>
                  <a:lnTo>
                    <a:pt x="994" y="594"/>
                  </a:lnTo>
                  <a:lnTo>
                    <a:pt x="992" y="594"/>
                  </a:lnTo>
                  <a:lnTo>
                    <a:pt x="989" y="596"/>
                  </a:lnTo>
                  <a:lnTo>
                    <a:pt x="987" y="594"/>
                  </a:lnTo>
                  <a:lnTo>
                    <a:pt x="986" y="594"/>
                  </a:lnTo>
                  <a:lnTo>
                    <a:pt x="984" y="592"/>
                  </a:lnTo>
                  <a:lnTo>
                    <a:pt x="984" y="591"/>
                  </a:lnTo>
                  <a:lnTo>
                    <a:pt x="984" y="589"/>
                  </a:lnTo>
                  <a:lnTo>
                    <a:pt x="982" y="588"/>
                  </a:lnTo>
                  <a:lnTo>
                    <a:pt x="981" y="588"/>
                  </a:lnTo>
                  <a:lnTo>
                    <a:pt x="981" y="586"/>
                  </a:lnTo>
                  <a:lnTo>
                    <a:pt x="981" y="584"/>
                  </a:lnTo>
                  <a:lnTo>
                    <a:pt x="979" y="583"/>
                  </a:lnTo>
                  <a:lnTo>
                    <a:pt x="977" y="583"/>
                  </a:lnTo>
                  <a:lnTo>
                    <a:pt x="976" y="583"/>
                  </a:lnTo>
                  <a:lnTo>
                    <a:pt x="976" y="581"/>
                  </a:lnTo>
                  <a:lnTo>
                    <a:pt x="977" y="581"/>
                  </a:lnTo>
                  <a:lnTo>
                    <a:pt x="979" y="579"/>
                  </a:lnTo>
                  <a:lnTo>
                    <a:pt x="979" y="578"/>
                  </a:lnTo>
                  <a:lnTo>
                    <a:pt x="979" y="574"/>
                  </a:lnTo>
                  <a:lnTo>
                    <a:pt x="981" y="574"/>
                  </a:lnTo>
                  <a:lnTo>
                    <a:pt x="979" y="573"/>
                  </a:lnTo>
                  <a:lnTo>
                    <a:pt x="979" y="571"/>
                  </a:lnTo>
                  <a:lnTo>
                    <a:pt x="979" y="568"/>
                  </a:lnTo>
                  <a:lnTo>
                    <a:pt x="977" y="568"/>
                  </a:lnTo>
                  <a:lnTo>
                    <a:pt x="977" y="566"/>
                  </a:lnTo>
                  <a:lnTo>
                    <a:pt x="977" y="565"/>
                  </a:lnTo>
                  <a:lnTo>
                    <a:pt x="979" y="565"/>
                  </a:lnTo>
                  <a:lnTo>
                    <a:pt x="979" y="563"/>
                  </a:lnTo>
                  <a:lnTo>
                    <a:pt x="977" y="561"/>
                  </a:lnTo>
                  <a:lnTo>
                    <a:pt x="977" y="560"/>
                  </a:lnTo>
                  <a:lnTo>
                    <a:pt x="977" y="558"/>
                  </a:lnTo>
                  <a:lnTo>
                    <a:pt x="979" y="558"/>
                  </a:lnTo>
                  <a:lnTo>
                    <a:pt x="977" y="558"/>
                  </a:lnTo>
                  <a:lnTo>
                    <a:pt x="977" y="560"/>
                  </a:lnTo>
                  <a:lnTo>
                    <a:pt x="977" y="561"/>
                  </a:lnTo>
                  <a:lnTo>
                    <a:pt x="979" y="565"/>
                  </a:lnTo>
                  <a:lnTo>
                    <a:pt x="977" y="565"/>
                  </a:lnTo>
                  <a:lnTo>
                    <a:pt x="977" y="566"/>
                  </a:lnTo>
                  <a:lnTo>
                    <a:pt x="977" y="568"/>
                  </a:lnTo>
                  <a:lnTo>
                    <a:pt x="979" y="568"/>
                  </a:lnTo>
                  <a:lnTo>
                    <a:pt x="979" y="571"/>
                  </a:lnTo>
                  <a:lnTo>
                    <a:pt x="979" y="573"/>
                  </a:lnTo>
                  <a:lnTo>
                    <a:pt x="981" y="574"/>
                  </a:lnTo>
                  <a:lnTo>
                    <a:pt x="979" y="574"/>
                  </a:lnTo>
                  <a:lnTo>
                    <a:pt x="979" y="578"/>
                  </a:lnTo>
                  <a:lnTo>
                    <a:pt x="977" y="579"/>
                  </a:lnTo>
                  <a:lnTo>
                    <a:pt x="977" y="581"/>
                  </a:lnTo>
                  <a:lnTo>
                    <a:pt x="976" y="581"/>
                  </a:lnTo>
                  <a:lnTo>
                    <a:pt x="976" y="583"/>
                  </a:lnTo>
                  <a:lnTo>
                    <a:pt x="977" y="583"/>
                  </a:lnTo>
                  <a:lnTo>
                    <a:pt x="979" y="583"/>
                  </a:lnTo>
                  <a:lnTo>
                    <a:pt x="979" y="584"/>
                  </a:lnTo>
                  <a:lnTo>
                    <a:pt x="979" y="586"/>
                  </a:lnTo>
                  <a:lnTo>
                    <a:pt x="981" y="588"/>
                  </a:lnTo>
                  <a:lnTo>
                    <a:pt x="982" y="588"/>
                  </a:lnTo>
                  <a:lnTo>
                    <a:pt x="982" y="589"/>
                  </a:lnTo>
                  <a:lnTo>
                    <a:pt x="984" y="592"/>
                  </a:lnTo>
                  <a:lnTo>
                    <a:pt x="984" y="594"/>
                  </a:lnTo>
                  <a:lnTo>
                    <a:pt x="986" y="594"/>
                  </a:lnTo>
                  <a:lnTo>
                    <a:pt x="987" y="596"/>
                  </a:lnTo>
                  <a:lnTo>
                    <a:pt x="989" y="594"/>
                  </a:lnTo>
                  <a:lnTo>
                    <a:pt x="990" y="594"/>
                  </a:lnTo>
                  <a:lnTo>
                    <a:pt x="992" y="594"/>
                  </a:lnTo>
                  <a:lnTo>
                    <a:pt x="994" y="594"/>
                  </a:lnTo>
                  <a:lnTo>
                    <a:pt x="995" y="594"/>
                  </a:lnTo>
                  <a:lnTo>
                    <a:pt x="997" y="594"/>
                  </a:lnTo>
                  <a:lnTo>
                    <a:pt x="997" y="596"/>
                  </a:lnTo>
                  <a:lnTo>
                    <a:pt x="999" y="596"/>
                  </a:lnTo>
                  <a:lnTo>
                    <a:pt x="1000" y="596"/>
                  </a:lnTo>
                  <a:lnTo>
                    <a:pt x="1002" y="596"/>
                  </a:lnTo>
                  <a:lnTo>
                    <a:pt x="1003" y="597"/>
                  </a:lnTo>
                  <a:lnTo>
                    <a:pt x="1005" y="599"/>
                  </a:lnTo>
                  <a:lnTo>
                    <a:pt x="1007" y="599"/>
                  </a:lnTo>
                  <a:lnTo>
                    <a:pt x="1008" y="599"/>
                  </a:lnTo>
                  <a:lnTo>
                    <a:pt x="1010" y="597"/>
                  </a:lnTo>
                  <a:lnTo>
                    <a:pt x="1012" y="597"/>
                  </a:lnTo>
                  <a:lnTo>
                    <a:pt x="1013" y="597"/>
                  </a:lnTo>
                  <a:lnTo>
                    <a:pt x="1015" y="597"/>
                  </a:lnTo>
                  <a:lnTo>
                    <a:pt x="1015" y="596"/>
                  </a:lnTo>
                  <a:lnTo>
                    <a:pt x="1016" y="594"/>
                  </a:lnTo>
                  <a:lnTo>
                    <a:pt x="1016" y="596"/>
                  </a:lnTo>
                  <a:lnTo>
                    <a:pt x="1016" y="597"/>
                  </a:lnTo>
                  <a:lnTo>
                    <a:pt x="1015" y="599"/>
                  </a:lnTo>
                  <a:lnTo>
                    <a:pt x="1015" y="601"/>
                  </a:lnTo>
                  <a:lnTo>
                    <a:pt x="1013" y="601"/>
                  </a:lnTo>
                  <a:lnTo>
                    <a:pt x="1012" y="602"/>
                  </a:lnTo>
                  <a:lnTo>
                    <a:pt x="1010" y="602"/>
                  </a:lnTo>
                  <a:lnTo>
                    <a:pt x="1008" y="604"/>
                  </a:lnTo>
                  <a:lnTo>
                    <a:pt x="1003" y="605"/>
                  </a:lnTo>
                  <a:lnTo>
                    <a:pt x="1002" y="607"/>
                  </a:lnTo>
                  <a:lnTo>
                    <a:pt x="999" y="609"/>
                  </a:lnTo>
                  <a:lnTo>
                    <a:pt x="999" y="610"/>
                  </a:lnTo>
                  <a:lnTo>
                    <a:pt x="995" y="614"/>
                  </a:lnTo>
                  <a:lnTo>
                    <a:pt x="994" y="615"/>
                  </a:lnTo>
                  <a:lnTo>
                    <a:pt x="990" y="617"/>
                  </a:lnTo>
                  <a:lnTo>
                    <a:pt x="989" y="617"/>
                  </a:lnTo>
                  <a:lnTo>
                    <a:pt x="987" y="617"/>
                  </a:lnTo>
                  <a:lnTo>
                    <a:pt x="986" y="617"/>
                  </a:lnTo>
                  <a:lnTo>
                    <a:pt x="984" y="617"/>
                  </a:lnTo>
                  <a:lnTo>
                    <a:pt x="984" y="615"/>
                  </a:lnTo>
                  <a:lnTo>
                    <a:pt x="984" y="614"/>
                  </a:lnTo>
                  <a:lnTo>
                    <a:pt x="986" y="614"/>
                  </a:lnTo>
                  <a:lnTo>
                    <a:pt x="986" y="612"/>
                  </a:lnTo>
                  <a:lnTo>
                    <a:pt x="987" y="612"/>
                  </a:lnTo>
                  <a:lnTo>
                    <a:pt x="987" y="614"/>
                  </a:lnTo>
                  <a:lnTo>
                    <a:pt x="989" y="614"/>
                  </a:lnTo>
                  <a:lnTo>
                    <a:pt x="990" y="614"/>
                  </a:lnTo>
                  <a:lnTo>
                    <a:pt x="989" y="614"/>
                  </a:lnTo>
                  <a:lnTo>
                    <a:pt x="989" y="612"/>
                  </a:lnTo>
                  <a:lnTo>
                    <a:pt x="990" y="612"/>
                  </a:lnTo>
                  <a:lnTo>
                    <a:pt x="990" y="614"/>
                  </a:lnTo>
                  <a:lnTo>
                    <a:pt x="992" y="614"/>
                  </a:lnTo>
                  <a:lnTo>
                    <a:pt x="992" y="615"/>
                  </a:lnTo>
                  <a:lnTo>
                    <a:pt x="990" y="614"/>
                  </a:lnTo>
                  <a:lnTo>
                    <a:pt x="990" y="615"/>
                  </a:lnTo>
                  <a:lnTo>
                    <a:pt x="990" y="614"/>
                  </a:lnTo>
                  <a:lnTo>
                    <a:pt x="990" y="615"/>
                  </a:lnTo>
                  <a:lnTo>
                    <a:pt x="990" y="617"/>
                  </a:lnTo>
                  <a:lnTo>
                    <a:pt x="992" y="617"/>
                  </a:lnTo>
                  <a:lnTo>
                    <a:pt x="992" y="615"/>
                  </a:lnTo>
                  <a:lnTo>
                    <a:pt x="994" y="615"/>
                  </a:lnTo>
                  <a:lnTo>
                    <a:pt x="992" y="615"/>
                  </a:lnTo>
                  <a:lnTo>
                    <a:pt x="994" y="615"/>
                  </a:lnTo>
                  <a:lnTo>
                    <a:pt x="995" y="614"/>
                  </a:lnTo>
                  <a:lnTo>
                    <a:pt x="994" y="614"/>
                  </a:lnTo>
                  <a:lnTo>
                    <a:pt x="992" y="614"/>
                  </a:lnTo>
                  <a:lnTo>
                    <a:pt x="992" y="612"/>
                  </a:lnTo>
                  <a:lnTo>
                    <a:pt x="992" y="614"/>
                  </a:lnTo>
                  <a:lnTo>
                    <a:pt x="990" y="614"/>
                  </a:lnTo>
                  <a:lnTo>
                    <a:pt x="990" y="612"/>
                  </a:lnTo>
                  <a:lnTo>
                    <a:pt x="992" y="612"/>
                  </a:lnTo>
                  <a:lnTo>
                    <a:pt x="994" y="612"/>
                  </a:lnTo>
                  <a:lnTo>
                    <a:pt x="995" y="612"/>
                  </a:lnTo>
                  <a:lnTo>
                    <a:pt x="997" y="612"/>
                  </a:lnTo>
                  <a:lnTo>
                    <a:pt x="997" y="610"/>
                  </a:lnTo>
                  <a:lnTo>
                    <a:pt x="1000" y="607"/>
                  </a:lnTo>
                  <a:lnTo>
                    <a:pt x="999" y="605"/>
                  </a:lnTo>
                  <a:lnTo>
                    <a:pt x="997" y="605"/>
                  </a:lnTo>
                  <a:lnTo>
                    <a:pt x="995" y="605"/>
                  </a:lnTo>
                  <a:lnTo>
                    <a:pt x="994" y="605"/>
                  </a:lnTo>
                  <a:lnTo>
                    <a:pt x="992" y="607"/>
                  </a:lnTo>
                  <a:lnTo>
                    <a:pt x="990" y="607"/>
                  </a:lnTo>
                  <a:lnTo>
                    <a:pt x="987" y="607"/>
                  </a:lnTo>
                  <a:lnTo>
                    <a:pt x="986" y="607"/>
                  </a:lnTo>
                  <a:lnTo>
                    <a:pt x="984" y="607"/>
                  </a:lnTo>
                  <a:lnTo>
                    <a:pt x="986" y="607"/>
                  </a:lnTo>
                  <a:lnTo>
                    <a:pt x="984" y="607"/>
                  </a:lnTo>
                  <a:lnTo>
                    <a:pt x="984" y="609"/>
                  </a:lnTo>
                  <a:lnTo>
                    <a:pt x="984" y="607"/>
                  </a:lnTo>
                  <a:lnTo>
                    <a:pt x="984" y="609"/>
                  </a:lnTo>
                  <a:lnTo>
                    <a:pt x="984" y="607"/>
                  </a:lnTo>
                  <a:lnTo>
                    <a:pt x="982" y="609"/>
                  </a:lnTo>
                  <a:lnTo>
                    <a:pt x="981" y="610"/>
                  </a:lnTo>
                  <a:lnTo>
                    <a:pt x="979" y="612"/>
                  </a:lnTo>
                  <a:lnTo>
                    <a:pt x="977" y="612"/>
                  </a:lnTo>
                  <a:lnTo>
                    <a:pt x="979" y="614"/>
                  </a:lnTo>
                  <a:lnTo>
                    <a:pt x="977" y="614"/>
                  </a:lnTo>
                  <a:lnTo>
                    <a:pt x="976" y="615"/>
                  </a:lnTo>
                  <a:lnTo>
                    <a:pt x="976" y="617"/>
                  </a:lnTo>
                  <a:lnTo>
                    <a:pt x="974" y="617"/>
                  </a:lnTo>
                  <a:lnTo>
                    <a:pt x="974" y="618"/>
                  </a:lnTo>
                  <a:lnTo>
                    <a:pt x="974" y="620"/>
                  </a:lnTo>
                  <a:lnTo>
                    <a:pt x="973" y="620"/>
                  </a:lnTo>
                  <a:lnTo>
                    <a:pt x="973" y="622"/>
                  </a:lnTo>
                  <a:lnTo>
                    <a:pt x="971" y="623"/>
                  </a:lnTo>
                  <a:lnTo>
                    <a:pt x="971" y="625"/>
                  </a:lnTo>
                  <a:lnTo>
                    <a:pt x="969" y="625"/>
                  </a:lnTo>
                  <a:lnTo>
                    <a:pt x="969" y="627"/>
                  </a:lnTo>
                  <a:lnTo>
                    <a:pt x="969" y="628"/>
                  </a:lnTo>
                  <a:lnTo>
                    <a:pt x="968" y="628"/>
                  </a:lnTo>
                  <a:lnTo>
                    <a:pt x="969" y="628"/>
                  </a:lnTo>
                  <a:lnTo>
                    <a:pt x="968" y="627"/>
                  </a:lnTo>
                  <a:lnTo>
                    <a:pt x="968" y="628"/>
                  </a:lnTo>
                  <a:lnTo>
                    <a:pt x="966" y="630"/>
                  </a:lnTo>
                  <a:lnTo>
                    <a:pt x="964" y="630"/>
                  </a:lnTo>
                  <a:lnTo>
                    <a:pt x="964" y="631"/>
                  </a:lnTo>
                  <a:lnTo>
                    <a:pt x="964" y="633"/>
                  </a:lnTo>
                  <a:lnTo>
                    <a:pt x="963" y="635"/>
                  </a:lnTo>
                  <a:lnTo>
                    <a:pt x="963" y="633"/>
                  </a:lnTo>
                  <a:lnTo>
                    <a:pt x="963" y="635"/>
                  </a:lnTo>
                  <a:lnTo>
                    <a:pt x="961" y="635"/>
                  </a:lnTo>
                  <a:lnTo>
                    <a:pt x="960" y="636"/>
                  </a:lnTo>
                  <a:lnTo>
                    <a:pt x="960" y="641"/>
                  </a:lnTo>
                  <a:lnTo>
                    <a:pt x="958" y="643"/>
                  </a:lnTo>
                  <a:lnTo>
                    <a:pt x="958" y="641"/>
                  </a:lnTo>
                  <a:lnTo>
                    <a:pt x="960" y="641"/>
                  </a:lnTo>
                  <a:lnTo>
                    <a:pt x="958" y="641"/>
                  </a:lnTo>
                  <a:lnTo>
                    <a:pt x="958" y="643"/>
                  </a:lnTo>
                  <a:lnTo>
                    <a:pt x="956" y="644"/>
                  </a:lnTo>
                  <a:lnTo>
                    <a:pt x="955" y="646"/>
                  </a:lnTo>
                  <a:lnTo>
                    <a:pt x="953" y="646"/>
                  </a:lnTo>
                  <a:lnTo>
                    <a:pt x="953" y="648"/>
                  </a:lnTo>
                  <a:lnTo>
                    <a:pt x="951" y="649"/>
                  </a:lnTo>
                  <a:lnTo>
                    <a:pt x="950" y="649"/>
                  </a:lnTo>
                  <a:lnTo>
                    <a:pt x="950" y="651"/>
                  </a:lnTo>
                  <a:lnTo>
                    <a:pt x="950" y="653"/>
                  </a:lnTo>
                  <a:lnTo>
                    <a:pt x="947" y="653"/>
                  </a:lnTo>
                  <a:lnTo>
                    <a:pt x="947" y="654"/>
                  </a:lnTo>
                  <a:lnTo>
                    <a:pt x="945" y="654"/>
                  </a:lnTo>
                  <a:lnTo>
                    <a:pt x="945" y="656"/>
                  </a:lnTo>
                  <a:lnTo>
                    <a:pt x="943" y="656"/>
                  </a:lnTo>
                  <a:lnTo>
                    <a:pt x="943" y="657"/>
                  </a:lnTo>
                  <a:lnTo>
                    <a:pt x="942" y="659"/>
                  </a:lnTo>
                  <a:lnTo>
                    <a:pt x="942" y="661"/>
                  </a:lnTo>
                  <a:lnTo>
                    <a:pt x="940" y="661"/>
                  </a:lnTo>
                  <a:lnTo>
                    <a:pt x="938" y="662"/>
                  </a:lnTo>
                  <a:lnTo>
                    <a:pt x="937" y="662"/>
                  </a:lnTo>
                  <a:lnTo>
                    <a:pt x="935" y="664"/>
                  </a:lnTo>
                  <a:lnTo>
                    <a:pt x="934" y="664"/>
                  </a:lnTo>
                  <a:lnTo>
                    <a:pt x="932" y="666"/>
                  </a:lnTo>
                  <a:lnTo>
                    <a:pt x="929" y="670"/>
                  </a:lnTo>
                  <a:lnTo>
                    <a:pt x="927" y="674"/>
                  </a:lnTo>
                  <a:lnTo>
                    <a:pt x="927" y="675"/>
                  </a:lnTo>
                  <a:lnTo>
                    <a:pt x="927" y="677"/>
                  </a:lnTo>
                  <a:lnTo>
                    <a:pt x="925" y="677"/>
                  </a:lnTo>
                  <a:lnTo>
                    <a:pt x="925" y="679"/>
                  </a:lnTo>
                  <a:lnTo>
                    <a:pt x="922" y="679"/>
                  </a:lnTo>
                  <a:lnTo>
                    <a:pt x="922" y="680"/>
                  </a:lnTo>
                  <a:lnTo>
                    <a:pt x="921" y="680"/>
                  </a:lnTo>
                  <a:lnTo>
                    <a:pt x="919" y="680"/>
                  </a:lnTo>
                  <a:lnTo>
                    <a:pt x="917" y="680"/>
                  </a:lnTo>
                  <a:lnTo>
                    <a:pt x="916" y="682"/>
                  </a:lnTo>
                  <a:lnTo>
                    <a:pt x="914" y="682"/>
                  </a:lnTo>
                  <a:lnTo>
                    <a:pt x="914" y="683"/>
                  </a:lnTo>
                  <a:lnTo>
                    <a:pt x="914" y="685"/>
                  </a:lnTo>
                  <a:lnTo>
                    <a:pt x="912" y="685"/>
                  </a:lnTo>
                  <a:lnTo>
                    <a:pt x="912" y="687"/>
                  </a:lnTo>
                  <a:lnTo>
                    <a:pt x="911" y="690"/>
                  </a:lnTo>
                  <a:lnTo>
                    <a:pt x="911" y="692"/>
                  </a:lnTo>
                  <a:lnTo>
                    <a:pt x="911" y="690"/>
                  </a:lnTo>
                  <a:lnTo>
                    <a:pt x="911" y="692"/>
                  </a:lnTo>
                  <a:lnTo>
                    <a:pt x="909" y="692"/>
                  </a:lnTo>
                  <a:lnTo>
                    <a:pt x="911" y="692"/>
                  </a:lnTo>
                  <a:lnTo>
                    <a:pt x="909" y="692"/>
                  </a:lnTo>
                  <a:lnTo>
                    <a:pt x="909" y="693"/>
                  </a:lnTo>
                  <a:lnTo>
                    <a:pt x="908" y="695"/>
                  </a:lnTo>
                  <a:lnTo>
                    <a:pt x="908" y="696"/>
                  </a:lnTo>
                  <a:lnTo>
                    <a:pt x="906" y="698"/>
                  </a:lnTo>
                  <a:lnTo>
                    <a:pt x="906" y="700"/>
                  </a:lnTo>
                  <a:lnTo>
                    <a:pt x="904" y="700"/>
                  </a:lnTo>
                  <a:lnTo>
                    <a:pt x="901" y="703"/>
                  </a:lnTo>
                  <a:lnTo>
                    <a:pt x="899" y="705"/>
                  </a:lnTo>
                  <a:lnTo>
                    <a:pt x="898" y="705"/>
                  </a:lnTo>
                  <a:lnTo>
                    <a:pt x="896" y="706"/>
                  </a:lnTo>
                  <a:lnTo>
                    <a:pt x="895" y="708"/>
                  </a:lnTo>
                  <a:lnTo>
                    <a:pt x="893" y="711"/>
                  </a:lnTo>
                  <a:lnTo>
                    <a:pt x="891" y="713"/>
                  </a:lnTo>
                  <a:lnTo>
                    <a:pt x="890" y="714"/>
                  </a:lnTo>
                  <a:lnTo>
                    <a:pt x="888" y="716"/>
                  </a:lnTo>
                  <a:lnTo>
                    <a:pt x="886" y="718"/>
                  </a:lnTo>
                  <a:lnTo>
                    <a:pt x="886" y="719"/>
                  </a:lnTo>
                  <a:lnTo>
                    <a:pt x="885" y="721"/>
                  </a:lnTo>
                  <a:lnTo>
                    <a:pt x="883" y="723"/>
                  </a:lnTo>
                  <a:lnTo>
                    <a:pt x="883" y="724"/>
                  </a:lnTo>
                  <a:lnTo>
                    <a:pt x="881" y="727"/>
                  </a:lnTo>
                  <a:lnTo>
                    <a:pt x="881" y="729"/>
                  </a:lnTo>
                  <a:lnTo>
                    <a:pt x="880" y="731"/>
                  </a:lnTo>
                  <a:lnTo>
                    <a:pt x="880" y="732"/>
                  </a:lnTo>
                  <a:lnTo>
                    <a:pt x="881" y="734"/>
                  </a:lnTo>
                  <a:lnTo>
                    <a:pt x="880" y="732"/>
                  </a:lnTo>
                  <a:lnTo>
                    <a:pt x="880" y="734"/>
                  </a:lnTo>
                  <a:lnTo>
                    <a:pt x="880" y="732"/>
                  </a:lnTo>
                  <a:lnTo>
                    <a:pt x="878" y="732"/>
                  </a:lnTo>
                  <a:lnTo>
                    <a:pt x="880" y="734"/>
                  </a:lnTo>
                  <a:lnTo>
                    <a:pt x="877" y="734"/>
                  </a:lnTo>
                  <a:lnTo>
                    <a:pt x="875" y="736"/>
                  </a:lnTo>
                  <a:lnTo>
                    <a:pt x="873" y="737"/>
                  </a:lnTo>
                  <a:lnTo>
                    <a:pt x="873" y="739"/>
                  </a:lnTo>
                  <a:lnTo>
                    <a:pt x="872" y="742"/>
                  </a:lnTo>
                  <a:lnTo>
                    <a:pt x="870" y="744"/>
                  </a:lnTo>
                  <a:lnTo>
                    <a:pt x="868" y="745"/>
                  </a:lnTo>
                  <a:lnTo>
                    <a:pt x="867" y="747"/>
                  </a:lnTo>
                  <a:lnTo>
                    <a:pt x="865" y="749"/>
                  </a:lnTo>
                  <a:lnTo>
                    <a:pt x="865" y="752"/>
                  </a:lnTo>
                  <a:lnTo>
                    <a:pt x="864" y="757"/>
                  </a:lnTo>
                  <a:lnTo>
                    <a:pt x="864" y="758"/>
                  </a:lnTo>
                  <a:lnTo>
                    <a:pt x="865" y="758"/>
                  </a:lnTo>
                  <a:lnTo>
                    <a:pt x="864" y="758"/>
                  </a:lnTo>
                  <a:lnTo>
                    <a:pt x="865" y="760"/>
                  </a:lnTo>
                  <a:lnTo>
                    <a:pt x="865" y="762"/>
                  </a:lnTo>
                  <a:lnTo>
                    <a:pt x="865" y="760"/>
                  </a:lnTo>
                  <a:lnTo>
                    <a:pt x="865" y="762"/>
                  </a:lnTo>
                  <a:lnTo>
                    <a:pt x="865" y="760"/>
                  </a:lnTo>
                  <a:lnTo>
                    <a:pt x="864" y="758"/>
                  </a:lnTo>
                  <a:lnTo>
                    <a:pt x="864" y="760"/>
                  </a:lnTo>
                  <a:lnTo>
                    <a:pt x="864" y="762"/>
                  </a:lnTo>
                  <a:lnTo>
                    <a:pt x="862" y="762"/>
                  </a:lnTo>
                  <a:lnTo>
                    <a:pt x="864" y="762"/>
                  </a:lnTo>
                  <a:lnTo>
                    <a:pt x="865" y="762"/>
                  </a:lnTo>
                  <a:lnTo>
                    <a:pt x="864" y="762"/>
                  </a:lnTo>
                  <a:lnTo>
                    <a:pt x="865" y="762"/>
                  </a:lnTo>
                  <a:lnTo>
                    <a:pt x="864" y="763"/>
                  </a:lnTo>
                  <a:lnTo>
                    <a:pt x="862" y="763"/>
                  </a:lnTo>
                  <a:lnTo>
                    <a:pt x="862" y="762"/>
                  </a:lnTo>
                  <a:lnTo>
                    <a:pt x="862" y="763"/>
                  </a:lnTo>
                  <a:lnTo>
                    <a:pt x="860" y="762"/>
                  </a:lnTo>
                  <a:lnTo>
                    <a:pt x="859" y="762"/>
                  </a:lnTo>
                  <a:lnTo>
                    <a:pt x="860" y="762"/>
                  </a:lnTo>
                  <a:lnTo>
                    <a:pt x="862" y="763"/>
                  </a:lnTo>
                  <a:lnTo>
                    <a:pt x="862" y="765"/>
                  </a:lnTo>
                  <a:lnTo>
                    <a:pt x="862" y="766"/>
                  </a:lnTo>
                  <a:lnTo>
                    <a:pt x="862" y="770"/>
                  </a:lnTo>
                  <a:lnTo>
                    <a:pt x="864" y="773"/>
                  </a:lnTo>
                  <a:lnTo>
                    <a:pt x="865" y="779"/>
                  </a:lnTo>
                  <a:lnTo>
                    <a:pt x="865" y="781"/>
                  </a:lnTo>
                  <a:lnTo>
                    <a:pt x="867" y="784"/>
                  </a:lnTo>
                  <a:lnTo>
                    <a:pt x="868" y="792"/>
                  </a:lnTo>
                  <a:lnTo>
                    <a:pt x="868" y="794"/>
                  </a:lnTo>
                  <a:lnTo>
                    <a:pt x="870" y="796"/>
                  </a:lnTo>
                  <a:lnTo>
                    <a:pt x="870" y="797"/>
                  </a:lnTo>
                  <a:lnTo>
                    <a:pt x="870" y="799"/>
                  </a:lnTo>
                  <a:lnTo>
                    <a:pt x="868" y="799"/>
                  </a:lnTo>
                  <a:lnTo>
                    <a:pt x="868" y="801"/>
                  </a:lnTo>
                  <a:lnTo>
                    <a:pt x="867" y="802"/>
                  </a:lnTo>
                  <a:lnTo>
                    <a:pt x="868" y="802"/>
                  </a:lnTo>
                  <a:lnTo>
                    <a:pt x="867" y="804"/>
                  </a:lnTo>
                  <a:lnTo>
                    <a:pt x="868" y="807"/>
                  </a:lnTo>
                  <a:lnTo>
                    <a:pt x="867" y="805"/>
                  </a:lnTo>
                  <a:lnTo>
                    <a:pt x="868" y="807"/>
                  </a:lnTo>
                  <a:lnTo>
                    <a:pt x="868" y="809"/>
                  </a:lnTo>
                  <a:lnTo>
                    <a:pt x="868" y="810"/>
                  </a:lnTo>
                  <a:lnTo>
                    <a:pt x="870" y="815"/>
                  </a:lnTo>
                  <a:lnTo>
                    <a:pt x="870" y="817"/>
                  </a:lnTo>
                  <a:lnTo>
                    <a:pt x="872" y="818"/>
                  </a:lnTo>
                  <a:lnTo>
                    <a:pt x="872" y="820"/>
                  </a:lnTo>
                  <a:lnTo>
                    <a:pt x="872" y="822"/>
                  </a:lnTo>
                  <a:lnTo>
                    <a:pt x="873" y="825"/>
                  </a:lnTo>
                  <a:lnTo>
                    <a:pt x="875" y="825"/>
                  </a:lnTo>
                  <a:lnTo>
                    <a:pt x="875" y="827"/>
                  </a:lnTo>
                  <a:lnTo>
                    <a:pt x="873" y="827"/>
                  </a:lnTo>
                  <a:lnTo>
                    <a:pt x="875" y="827"/>
                  </a:lnTo>
                  <a:lnTo>
                    <a:pt x="875" y="828"/>
                  </a:lnTo>
                  <a:lnTo>
                    <a:pt x="877" y="830"/>
                  </a:lnTo>
                  <a:lnTo>
                    <a:pt x="878" y="835"/>
                  </a:lnTo>
                  <a:lnTo>
                    <a:pt x="880" y="835"/>
                  </a:lnTo>
                  <a:lnTo>
                    <a:pt x="880" y="836"/>
                  </a:lnTo>
                  <a:lnTo>
                    <a:pt x="881" y="838"/>
                  </a:lnTo>
                  <a:lnTo>
                    <a:pt x="881" y="840"/>
                  </a:lnTo>
                  <a:lnTo>
                    <a:pt x="883" y="840"/>
                  </a:lnTo>
                  <a:lnTo>
                    <a:pt x="883" y="841"/>
                  </a:lnTo>
                  <a:lnTo>
                    <a:pt x="885" y="843"/>
                  </a:lnTo>
                  <a:lnTo>
                    <a:pt x="886" y="843"/>
                  </a:lnTo>
                  <a:lnTo>
                    <a:pt x="888" y="846"/>
                  </a:lnTo>
                  <a:lnTo>
                    <a:pt x="890" y="846"/>
                  </a:lnTo>
                  <a:lnTo>
                    <a:pt x="891" y="848"/>
                  </a:lnTo>
                  <a:lnTo>
                    <a:pt x="893" y="848"/>
                  </a:lnTo>
                  <a:lnTo>
                    <a:pt x="895" y="848"/>
                  </a:lnTo>
                  <a:lnTo>
                    <a:pt x="896" y="848"/>
                  </a:lnTo>
                  <a:lnTo>
                    <a:pt x="898" y="849"/>
                  </a:lnTo>
                  <a:lnTo>
                    <a:pt x="899" y="849"/>
                  </a:lnTo>
                  <a:lnTo>
                    <a:pt x="901" y="851"/>
                  </a:lnTo>
                  <a:lnTo>
                    <a:pt x="903" y="851"/>
                  </a:lnTo>
                  <a:lnTo>
                    <a:pt x="903" y="853"/>
                  </a:lnTo>
                  <a:lnTo>
                    <a:pt x="901" y="851"/>
                  </a:lnTo>
                  <a:lnTo>
                    <a:pt x="903" y="853"/>
                  </a:lnTo>
                  <a:lnTo>
                    <a:pt x="904" y="853"/>
                  </a:lnTo>
                  <a:lnTo>
                    <a:pt x="904" y="854"/>
                  </a:lnTo>
                  <a:lnTo>
                    <a:pt x="906" y="854"/>
                  </a:lnTo>
                  <a:lnTo>
                    <a:pt x="908" y="856"/>
                  </a:lnTo>
                  <a:lnTo>
                    <a:pt x="909" y="857"/>
                  </a:lnTo>
                  <a:lnTo>
                    <a:pt x="911" y="859"/>
                  </a:lnTo>
                  <a:lnTo>
                    <a:pt x="909" y="859"/>
                  </a:lnTo>
                  <a:lnTo>
                    <a:pt x="909" y="861"/>
                  </a:lnTo>
                  <a:lnTo>
                    <a:pt x="909" y="862"/>
                  </a:lnTo>
                  <a:lnTo>
                    <a:pt x="911" y="864"/>
                  </a:lnTo>
                  <a:lnTo>
                    <a:pt x="912" y="864"/>
                  </a:lnTo>
                  <a:lnTo>
                    <a:pt x="912" y="866"/>
                  </a:lnTo>
                  <a:lnTo>
                    <a:pt x="912" y="864"/>
                  </a:lnTo>
                  <a:lnTo>
                    <a:pt x="912" y="866"/>
                  </a:lnTo>
                  <a:lnTo>
                    <a:pt x="912" y="867"/>
                  </a:lnTo>
                  <a:lnTo>
                    <a:pt x="914" y="867"/>
                  </a:lnTo>
                  <a:lnTo>
                    <a:pt x="914" y="869"/>
                  </a:lnTo>
                  <a:lnTo>
                    <a:pt x="912" y="869"/>
                  </a:lnTo>
                  <a:lnTo>
                    <a:pt x="911" y="869"/>
                  </a:lnTo>
                  <a:lnTo>
                    <a:pt x="911" y="871"/>
                  </a:lnTo>
                  <a:lnTo>
                    <a:pt x="911" y="869"/>
                  </a:lnTo>
                  <a:lnTo>
                    <a:pt x="909" y="869"/>
                  </a:lnTo>
                  <a:lnTo>
                    <a:pt x="908" y="871"/>
                  </a:lnTo>
                  <a:lnTo>
                    <a:pt x="906" y="871"/>
                  </a:lnTo>
                  <a:lnTo>
                    <a:pt x="906" y="872"/>
                  </a:lnTo>
                  <a:lnTo>
                    <a:pt x="904" y="872"/>
                  </a:lnTo>
                  <a:lnTo>
                    <a:pt x="904" y="874"/>
                  </a:lnTo>
                  <a:lnTo>
                    <a:pt x="903" y="875"/>
                  </a:lnTo>
                  <a:lnTo>
                    <a:pt x="903" y="874"/>
                  </a:lnTo>
                  <a:lnTo>
                    <a:pt x="901" y="874"/>
                  </a:lnTo>
                  <a:lnTo>
                    <a:pt x="899" y="874"/>
                  </a:lnTo>
                  <a:lnTo>
                    <a:pt x="899" y="875"/>
                  </a:lnTo>
                  <a:lnTo>
                    <a:pt x="898" y="875"/>
                  </a:lnTo>
                  <a:lnTo>
                    <a:pt x="896" y="875"/>
                  </a:lnTo>
                  <a:lnTo>
                    <a:pt x="896" y="877"/>
                  </a:lnTo>
                  <a:lnTo>
                    <a:pt x="895" y="877"/>
                  </a:lnTo>
                  <a:lnTo>
                    <a:pt x="895" y="879"/>
                  </a:lnTo>
                  <a:lnTo>
                    <a:pt x="895" y="880"/>
                  </a:lnTo>
                  <a:lnTo>
                    <a:pt x="895" y="882"/>
                  </a:lnTo>
                  <a:lnTo>
                    <a:pt x="893" y="880"/>
                  </a:lnTo>
                  <a:lnTo>
                    <a:pt x="891" y="879"/>
                  </a:lnTo>
                  <a:lnTo>
                    <a:pt x="890" y="880"/>
                  </a:lnTo>
                  <a:lnTo>
                    <a:pt x="890" y="882"/>
                  </a:lnTo>
                  <a:lnTo>
                    <a:pt x="888" y="882"/>
                  </a:lnTo>
                  <a:lnTo>
                    <a:pt x="888" y="880"/>
                  </a:lnTo>
                  <a:lnTo>
                    <a:pt x="886" y="880"/>
                  </a:lnTo>
                  <a:lnTo>
                    <a:pt x="885" y="880"/>
                  </a:lnTo>
                  <a:lnTo>
                    <a:pt x="883" y="880"/>
                  </a:lnTo>
                  <a:lnTo>
                    <a:pt x="883" y="882"/>
                  </a:lnTo>
                  <a:lnTo>
                    <a:pt x="881" y="882"/>
                  </a:lnTo>
                  <a:lnTo>
                    <a:pt x="880" y="884"/>
                  </a:lnTo>
                  <a:lnTo>
                    <a:pt x="878" y="885"/>
                  </a:lnTo>
                  <a:lnTo>
                    <a:pt x="877" y="887"/>
                  </a:lnTo>
                  <a:lnTo>
                    <a:pt x="878" y="888"/>
                  </a:lnTo>
                  <a:lnTo>
                    <a:pt x="878" y="890"/>
                  </a:lnTo>
                  <a:lnTo>
                    <a:pt x="877" y="890"/>
                  </a:lnTo>
                  <a:lnTo>
                    <a:pt x="877" y="892"/>
                  </a:lnTo>
                  <a:lnTo>
                    <a:pt x="875" y="892"/>
                  </a:lnTo>
                  <a:lnTo>
                    <a:pt x="873" y="893"/>
                  </a:lnTo>
                  <a:lnTo>
                    <a:pt x="872" y="893"/>
                  </a:lnTo>
                  <a:lnTo>
                    <a:pt x="872" y="892"/>
                  </a:lnTo>
                  <a:lnTo>
                    <a:pt x="870" y="892"/>
                  </a:lnTo>
                  <a:lnTo>
                    <a:pt x="868" y="892"/>
                  </a:lnTo>
                  <a:lnTo>
                    <a:pt x="867" y="892"/>
                  </a:lnTo>
                  <a:lnTo>
                    <a:pt x="865" y="892"/>
                  </a:lnTo>
                  <a:lnTo>
                    <a:pt x="865" y="893"/>
                  </a:lnTo>
                  <a:lnTo>
                    <a:pt x="864" y="893"/>
                  </a:lnTo>
                  <a:lnTo>
                    <a:pt x="862" y="893"/>
                  </a:lnTo>
                  <a:lnTo>
                    <a:pt x="860" y="893"/>
                  </a:lnTo>
                  <a:lnTo>
                    <a:pt x="859" y="895"/>
                  </a:lnTo>
                  <a:lnTo>
                    <a:pt x="859" y="893"/>
                  </a:lnTo>
                  <a:lnTo>
                    <a:pt x="857" y="895"/>
                  </a:lnTo>
                  <a:lnTo>
                    <a:pt x="855" y="895"/>
                  </a:lnTo>
                  <a:lnTo>
                    <a:pt x="854" y="895"/>
                  </a:lnTo>
                  <a:lnTo>
                    <a:pt x="852" y="895"/>
                  </a:lnTo>
                  <a:lnTo>
                    <a:pt x="852" y="897"/>
                  </a:lnTo>
                  <a:lnTo>
                    <a:pt x="851" y="897"/>
                  </a:lnTo>
                  <a:lnTo>
                    <a:pt x="849" y="897"/>
                  </a:lnTo>
                  <a:lnTo>
                    <a:pt x="847" y="898"/>
                  </a:lnTo>
                  <a:lnTo>
                    <a:pt x="846" y="898"/>
                  </a:lnTo>
                  <a:lnTo>
                    <a:pt x="844" y="900"/>
                  </a:lnTo>
                  <a:lnTo>
                    <a:pt x="842" y="900"/>
                  </a:lnTo>
                  <a:lnTo>
                    <a:pt x="841" y="901"/>
                  </a:lnTo>
                  <a:lnTo>
                    <a:pt x="839" y="901"/>
                  </a:lnTo>
                  <a:lnTo>
                    <a:pt x="839" y="903"/>
                  </a:lnTo>
                  <a:lnTo>
                    <a:pt x="838" y="905"/>
                  </a:lnTo>
                  <a:lnTo>
                    <a:pt x="836" y="905"/>
                  </a:lnTo>
                  <a:lnTo>
                    <a:pt x="836" y="906"/>
                  </a:lnTo>
                  <a:lnTo>
                    <a:pt x="836" y="908"/>
                  </a:lnTo>
                  <a:lnTo>
                    <a:pt x="836" y="910"/>
                  </a:lnTo>
                  <a:lnTo>
                    <a:pt x="834" y="913"/>
                  </a:lnTo>
                  <a:lnTo>
                    <a:pt x="836" y="913"/>
                  </a:lnTo>
                  <a:lnTo>
                    <a:pt x="834" y="913"/>
                  </a:lnTo>
                  <a:lnTo>
                    <a:pt x="833" y="913"/>
                  </a:lnTo>
                  <a:lnTo>
                    <a:pt x="833" y="911"/>
                  </a:lnTo>
                  <a:lnTo>
                    <a:pt x="831" y="911"/>
                  </a:lnTo>
                  <a:lnTo>
                    <a:pt x="829" y="911"/>
                  </a:lnTo>
                  <a:lnTo>
                    <a:pt x="829" y="913"/>
                  </a:lnTo>
                  <a:lnTo>
                    <a:pt x="828" y="913"/>
                  </a:lnTo>
                  <a:lnTo>
                    <a:pt x="826" y="913"/>
                  </a:lnTo>
                  <a:lnTo>
                    <a:pt x="826" y="914"/>
                  </a:lnTo>
                  <a:lnTo>
                    <a:pt x="826" y="913"/>
                  </a:lnTo>
                  <a:lnTo>
                    <a:pt x="826" y="914"/>
                  </a:lnTo>
                  <a:lnTo>
                    <a:pt x="825" y="914"/>
                  </a:lnTo>
                  <a:lnTo>
                    <a:pt x="823" y="914"/>
                  </a:lnTo>
                  <a:lnTo>
                    <a:pt x="823" y="916"/>
                  </a:lnTo>
                  <a:lnTo>
                    <a:pt x="821" y="918"/>
                  </a:lnTo>
                  <a:lnTo>
                    <a:pt x="821" y="921"/>
                  </a:lnTo>
                  <a:lnTo>
                    <a:pt x="821" y="924"/>
                  </a:lnTo>
                  <a:lnTo>
                    <a:pt x="821" y="926"/>
                  </a:lnTo>
                  <a:lnTo>
                    <a:pt x="821" y="927"/>
                  </a:lnTo>
                  <a:lnTo>
                    <a:pt x="821" y="929"/>
                  </a:lnTo>
                  <a:lnTo>
                    <a:pt x="821" y="931"/>
                  </a:lnTo>
                  <a:lnTo>
                    <a:pt x="821" y="932"/>
                  </a:lnTo>
                  <a:lnTo>
                    <a:pt x="820" y="934"/>
                  </a:lnTo>
                  <a:lnTo>
                    <a:pt x="818" y="934"/>
                  </a:lnTo>
                  <a:lnTo>
                    <a:pt x="816" y="934"/>
                  </a:lnTo>
                  <a:lnTo>
                    <a:pt x="815" y="934"/>
                  </a:lnTo>
                  <a:lnTo>
                    <a:pt x="812" y="934"/>
                  </a:lnTo>
                  <a:lnTo>
                    <a:pt x="810" y="934"/>
                  </a:lnTo>
                  <a:lnTo>
                    <a:pt x="808" y="936"/>
                  </a:lnTo>
                  <a:lnTo>
                    <a:pt x="808" y="937"/>
                  </a:lnTo>
                  <a:lnTo>
                    <a:pt x="807" y="937"/>
                  </a:lnTo>
                  <a:lnTo>
                    <a:pt x="807" y="939"/>
                  </a:lnTo>
                  <a:lnTo>
                    <a:pt x="805" y="939"/>
                  </a:lnTo>
                  <a:lnTo>
                    <a:pt x="805" y="940"/>
                  </a:lnTo>
                  <a:lnTo>
                    <a:pt x="805" y="942"/>
                  </a:lnTo>
                  <a:lnTo>
                    <a:pt x="805" y="944"/>
                  </a:lnTo>
                  <a:lnTo>
                    <a:pt x="803" y="944"/>
                  </a:lnTo>
                  <a:lnTo>
                    <a:pt x="805" y="944"/>
                  </a:lnTo>
                  <a:lnTo>
                    <a:pt x="803" y="947"/>
                  </a:lnTo>
                  <a:lnTo>
                    <a:pt x="803" y="949"/>
                  </a:lnTo>
                  <a:lnTo>
                    <a:pt x="802" y="952"/>
                  </a:lnTo>
                  <a:lnTo>
                    <a:pt x="802" y="953"/>
                  </a:lnTo>
                  <a:lnTo>
                    <a:pt x="802" y="955"/>
                  </a:lnTo>
                  <a:lnTo>
                    <a:pt x="802" y="957"/>
                  </a:lnTo>
                  <a:lnTo>
                    <a:pt x="802" y="958"/>
                  </a:lnTo>
                  <a:lnTo>
                    <a:pt x="802" y="960"/>
                  </a:lnTo>
                  <a:lnTo>
                    <a:pt x="800" y="962"/>
                  </a:lnTo>
                  <a:lnTo>
                    <a:pt x="799" y="962"/>
                  </a:lnTo>
                  <a:lnTo>
                    <a:pt x="799" y="963"/>
                  </a:lnTo>
                  <a:lnTo>
                    <a:pt x="797" y="962"/>
                  </a:lnTo>
                  <a:lnTo>
                    <a:pt x="797" y="963"/>
                  </a:lnTo>
                  <a:lnTo>
                    <a:pt x="797" y="962"/>
                  </a:lnTo>
                  <a:lnTo>
                    <a:pt x="797" y="963"/>
                  </a:lnTo>
                  <a:lnTo>
                    <a:pt x="795" y="963"/>
                  </a:lnTo>
                  <a:lnTo>
                    <a:pt x="795" y="965"/>
                  </a:lnTo>
                  <a:lnTo>
                    <a:pt x="794" y="966"/>
                  </a:lnTo>
                  <a:lnTo>
                    <a:pt x="792" y="966"/>
                  </a:lnTo>
                  <a:lnTo>
                    <a:pt x="792" y="968"/>
                  </a:lnTo>
                  <a:lnTo>
                    <a:pt x="792" y="970"/>
                  </a:lnTo>
                  <a:lnTo>
                    <a:pt x="792" y="971"/>
                  </a:lnTo>
                  <a:lnTo>
                    <a:pt x="792" y="970"/>
                  </a:lnTo>
                  <a:lnTo>
                    <a:pt x="790" y="970"/>
                  </a:lnTo>
                  <a:lnTo>
                    <a:pt x="790" y="971"/>
                  </a:lnTo>
                  <a:lnTo>
                    <a:pt x="790" y="970"/>
                  </a:lnTo>
                  <a:lnTo>
                    <a:pt x="789" y="971"/>
                  </a:lnTo>
                  <a:lnTo>
                    <a:pt x="787" y="975"/>
                  </a:lnTo>
                  <a:lnTo>
                    <a:pt x="787" y="976"/>
                  </a:lnTo>
                  <a:lnTo>
                    <a:pt x="787" y="978"/>
                  </a:lnTo>
                  <a:lnTo>
                    <a:pt x="786" y="978"/>
                  </a:lnTo>
                  <a:lnTo>
                    <a:pt x="786" y="979"/>
                  </a:lnTo>
                  <a:lnTo>
                    <a:pt x="786" y="981"/>
                  </a:lnTo>
                  <a:lnTo>
                    <a:pt x="787" y="983"/>
                  </a:lnTo>
                  <a:lnTo>
                    <a:pt x="786" y="983"/>
                  </a:lnTo>
                  <a:lnTo>
                    <a:pt x="787" y="986"/>
                  </a:lnTo>
                  <a:lnTo>
                    <a:pt x="787" y="988"/>
                  </a:lnTo>
                  <a:lnTo>
                    <a:pt x="786" y="988"/>
                  </a:lnTo>
                  <a:lnTo>
                    <a:pt x="786" y="986"/>
                  </a:lnTo>
                  <a:lnTo>
                    <a:pt x="786" y="984"/>
                  </a:lnTo>
                  <a:lnTo>
                    <a:pt x="786" y="983"/>
                  </a:lnTo>
                  <a:lnTo>
                    <a:pt x="786" y="981"/>
                  </a:lnTo>
                  <a:lnTo>
                    <a:pt x="786" y="983"/>
                  </a:lnTo>
                  <a:lnTo>
                    <a:pt x="786" y="981"/>
                  </a:lnTo>
                  <a:lnTo>
                    <a:pt x="786" y="979"/>
                  </a:lnTo>
                  <a:lnTo>
                    <a:pt x="784" y="981"/>
                  </a:lnTo>
                  <a:lnTo>
                    <a:pt x="784" y="983"/>
                  </a:lnTo>
                  <a:lnTo>
                    <a:pt x="784" y="981"/>
                  </a:lnTo>
                  <a:lnTo>
                    <a:pt x="784" y="983"/>
                  </a:lnTo>
                  <a:lnTo>
                    <a:pt x="782" y="983"/>
                  </a:lnTo>
                  <a:lnTo>
                    <a:pt x="781" y="984"/>
                  </a:lnTo>
                  <a:lnTo>
                    <a:pt x="781" y="986"/>
                  </a:lnTo>
                  <a:lnTo>
                    <a:pt x="781" y="988"/>
                  </a:lnTo>
                  <a:lnTo>
                    <a:pt x="779" y="989"/>
                  </a:lnTo>
                  <a:lnTo>
                    <a:pt x="777" y="991"/>
                  </a:lnTo>
                  <a:lnTo>
                    <a:pt x="776" y="991"/>
                  </a:lnTo>
                  <a:lnTo>
                    <a:pt x="774" y="992"/>
                  </a:lnTo>
                  <a:lnTo>
                    <a:pt x="774" y="994"/>
                  </a:lnTo>
                  <a:lnTo>
                    <a:pt x="773" y="994"/>
                  </a:lnTo>
                  <a:lnTo>
                    <a:pt x="773" y="996"/>
                  </a:lnTo>
                  <a:lnTo>
                    <a:pt x="774" y="999"/>
                  </a:lnTo>
                  <a:lnTo>
                    <a:pt x="776" y="1001"/>
                  </a:lnTo>
                  <a:lnTo>
                    <a:pt x="776" y="1002"/>
                  </a:lnTo>
                  <a:lnTo>
                    <a:pt x="777" y="1004"/>
                  </a:lnTo>
                  <a:lnTo>
                    <a:pt x="777" y="1005"/>
                  </a:lnTo>
                  <a:lnTo>
                    <a:pt x="779" y="1005"/>
                  </a:lnTo>
                  <a:lnTo>
                    <a:pt x="781" y="1005"/>
                  </a:lnTo>
                  <a:lnTo>
                    <a:pt x="782" y="1007"/>
                  </a:lnTo>
                  <a:lnTo>
                    <a:pt x="784" y="1009"/>
                  </a:lnTo>
                  <a:lnTo>
                    <a:pt x="786" y="1009"/>
                  </a:lnTo>
                  <a:lnTo>
                    <a:pt x="786" y="1010"/>
                  </a:lnTo>
                  <a:lnTo>
                    <a:pt x="786" y="1009"/>
                  </a:lnTo>
                  <a:lnTo>
                    <a:pt x="787" y="1009"/>
                  </a:lnTo>
                  <a:lnTo>
                    <a:pt x="787" y="1007"/>
                  </a:lnTo>
                  <a:lnTo>
                    <a:pt x="787" y="1005"/>
                  </a:lnTo>
                  <a:lnTo>
                    <a:pt x="786" y="1005"/>
                  </a:lnTo>
                  <a:lnTo>
                    <a:pt x="787" y="1005"/>
                  </a:lnTo>
                  <a:lnTo>
                    <a:pt x="786" y="1005"/>
                  </a:lnTo>
                  <a:lnTo>
                    <a:pt x="786" y="1004"/>
                  </a:lnTo>
                  <a:lnTo>
                    <a:pt x="786" y="1002"/>
                  </a:lnTo>
                  <a:lnTo>
                    <a:pt x="786" y="1001"/>
                  </a:lnTo>
                  <a:lnTo>
                    <a:pt x="786" y="999"/>
                  </a:lnTo>
                  <a:lnTo>
                    <a:pt x="787" y="996"/>
                  </a:lnTo>
                  <a:lnTo>
                    <a:pt x="787" y="994"/>
                  </a:lnTo>
                  <a:lnTo>
                    <a:pt x="786" y="994"/>
                  </a:lnTo>
                  <a:lnTo>
                    <a:pt x="787" y="992"/>
                  </a:lnTo>
                  <a:lnTo>
                    <a:pt x="787" y="994"/>
                  </a:lnTo>
                  <a:lnTo>
                    <a:pt x="787" y="992"/>
                  </a:lnTo>
                  <a:lnTo>
                    <a:pt x="786" y="992"/>
                  </a:lnTo>
                  <a:lnTo>
                    <a:pt x="787" y="992"/>
                  </a:lnTo>
                  <a:lnTo>
                    <a:pt x="786" y="992"/>
                  </a:lnTo>
                  <a:lnTo>
                    <a:pt x="786" y="991"/>
                  </a:lnTo>
                  <a:lnTo>
                    <a:pt x="786" y="989"/>
                  </a:lnTo>
                  <a:lnTo>
                    <a:pt x="786" y="988"/>
                  </a:lnTo>
                  <a:lnTo>
                    <a:pt x="787" y="989"/>
                  </a:lnTo>
                  <a:lnTo>
                    <a:pt x="787" y="988"/>
                  </a:lnTo>
                  <a:lnTo>
                    <a:pt x="787" y="989"/>
                  </a:lnTo>
                  <a:lnTo>
                    <a:pt x="787" y="991"/>
                  </a:lnTo>
                  <a:lnTo>
                    <a:pt x="787" y="992"/>
                  </a:lnTo>
                  <a:lnTo>
                    <a:pt x="789" y="994"/>
                  </a:lnTo>
                  <a:lnTo>
                    <a:pt x="789" y="992"/>
                  </a:lnTo>
                  <a:lnTo>
                    <a:pt x="789" y="994"/>
                  </a:lnTo>
                  <a:lnTo>
                    <a:pt x="787" y="994"/>
                  </a:lnTo>
                  <a:lnTo>
                    <a:pt x="787" y="996"/>
                  </a:lnTo>
                  <a:lnTo>
                    <a:pt x="786" y="997"/>
                  </a:lnTo>
                  <a:lnTo>
                    <a:pt x="786" y="999"/>
                  </a:lnTo>
                  <a:lnTo>
                    <a:pt x="787" y="1002"/>
                  </a:lnTo>
                  <a:lnTo>
                    <a:pt x="787" y="1005"/>
                  </a:lnTo>
                  <a:lnTo>
                    <a:pt x="789" y="1009"/>
                  </a:lnTo>
                  <a:lnTo>
                    <a:pt x="789" y="1010"/>
                  </a:lnTo>
                  <a:lnTo>
                    <a:pt x="790" y="1010"/>
                  </a:lnTo>
                  <a:lnTo>
                    <a:pt x="789" y="1010"/>
                  </a:lnTo>
                  <a:lnTo>
                    <a:pt x="789" y="1012"/>
                  </a:lnTo>
                  <a:lnTo>
                    <a:pt x="787" y="1012"/>
                  </a:lnTo>
                  <a:lnTo>
                    <a:pt x="787" y="1014"/>
                  </a:lnTo>
                  <a:lnTo>
                    <a:pt x="786" y="1014"/>
                  </a:lnTo>
                  <a:lnTo>
                    <a:pt x="784" y="1014"/>
                  </a:lnTo>
                  <a:lnTo>
                    <a:pt x="782" y="1014"/>
                  </a:lnTo>
                  <a:lnTo>
                    <a:pt x="781" y="1014"/>
                  </a:lnTo>
                  <a:lnTo>
                    <a:pt x="781" y="1015"/>
                  </a:lnTo>
                  <a:lnTo>
                    <a:pt x="779" y="1014"/>
                  </a:lnTo>
                  <a:lnTo>
                    <a:pt x="779" y="1015"/>
                  </a:lnTo>
                  <a:lnTo>
                    <a:pt x="777" y="1015"/>
                  </a:lnTo>
                  <a:lnTo>
                    <a:pt x="776" y="1015"/>
                  </a:lnTo>
                  <a:lnTo>
                    <a:pt x="774" y="1017"/>
                  </a:lnTo>
                  <a:lnTo>
                    <a:pt x="774" y="1015"/>
                  </a:lnTo>
                  <a:lnTo>
                    <a:pt x="773" y="1015"/>
                  </a:lnTo>
                  <a:lnTo>
                    <a:pt x="771" y="1015"/>
                  </a:lnTo>
                  <a:lnTo>
                    <a:pt x="769" y="1015"/>
                  </a:lnTo>
                  <a:lnTo>
                    <a:pt x="768" y="1015"/>
                  </a:lnTo>
                  <a:lnTo>
                    <a:pt x="768" y="1017"/>
                  </a:lnTo>
                  <a:lnTo>
                    <a:pt x="764" y="1017"/>
                  </a:lnTo>
                  <a:lnTo>
                    <a:pt x="763" y="1019"/>
                  </a:lnTo>
                  <a:lnTo>
                    <a:pt x="763" y="1017"/>
                  </a:lnTo>
                  <a:lnTo>
                    <a:pt x="761" y="1017"/>
                  </a:lnTo>
                  <a:lnTo>
                    <a:pt x="760" y="1017"/>
                  </a:lnTo>
                  <a:lnTo>
                    <a:pt x="758" y="1017"/>
                  </a:lnTo>
                  <a:lnTo>
                    <a:pt x="758" y="1015"/>
                  </a:lnTo>
                  <a:lnTo>
                    <a:pt x="760" y="1015"/>
                  </a:lnTo>
                  <a:lnTo>
                    <a:pt x="758" y="1015"/>
                  </a:lnTo>
                  <a:lnTo>
                    <a:pt x="760" y="1014"/>
                  </a:lnTo>
                  <a:lnTo>
                    <a:pt x="758" y="1014"/>
                  </a:lnTo>
                  <a:lnTo>
                    <a:pt x="756" y="1012"/>
                  </a:lnTo>
                  <a:lnTo>
                    <a:pt x="758" y="1012"/>
                  </a:lnTo>
                  <a:lnTo>
                    <a:pt x="756" y="1012"/>
                  </a:lnTo>
                  <a:lnTo>
                    <a:pt x="758" y="1012"/>
                  </a:lnTo>
                  <a:lnTo>
                    <a:pt x="758" y="1010"/>
                  </a:lnTo>
                  <a:lnTo>
                    <a:pt x="756" y="1010"/>
                  </a:lnTo>
                  <a:lnTo>
                    <a:pt x="756" y="1012"/>
                  </a:lnTo>
                  <a:lnTo>
                    <a:pt x="755" y="1012"/>
                  </a:lnTo>
                  <a:lnTo>
                    <a:pt x="753" y="1012"/>
                  </a:lnTo>
                  <a:lnTo>
                    <a:pt x="753" y="1014"/>
                  </a:lnTo>
                  <a:lnTo>
                    <a:pt x="751" y="1014"/>
                  </a:lnTo>
                  <a:lnTo>
                    <a:pt x="751" y="1012"/>
                  </a:lnTo>
                  <a:lnTo>
                    <a:pt x="750" y="1012"/>
                  </a:lnTo>
                  <a:lnTo>
                    <a:pt x="748" y="1012"/>
                  </a:lnTo>
                  <a:lnTo>
                    <a:pt x="747" y="1012"/>
                  </a:lnTo>
                  <a:lnTo>
                    <a:pt x="747" y="1010"/>
                  </a:lnTo>
                  <a:lnTo>
                    <a:pt x="747" y="1012"/>
                  </a:lnTo>
                  <a:lnTo>
                    <a:pt x="745" y="1012"/>
                  </a:lnTo>
                  <a:lnTo>
                    <a:pt x="743" y="1012"/>
                  </a:lnTo>
                  <a:lnTo>
                    <a:pt x="742" y="1012"/>
                  </a:lnTo>
                  <a:lnTo>
                    <a:pt x="742" y="1014"/>
                  </a:lnTo>
                  <a:lnTo>
                    <a:pt x="740" y="1014"/>
                  </a:lnTo>
                  <a:lnTo>
                    <a:pt x="740" y="1015"/>
                  </a:lnTo>
                  <a:lnTo>
                    <a:pt x="740" y="1017"/>
                  </a:lnTo>
                  <a:lnTo>
                    <a:pt x="742" y="1017"/>
                  </a:lnTo>
                  <a:lnTo>
                    <a:pt x="740" y="1017"/>
                  </a:lnTo>
                  <a:lnTo>
                    <a:pt x="738" y="1017"/>
                  </a:lnTo>
                  <a:lnTo>
                    <a:pt x="737" y="1017"/>
                  </a:lnTo>
                  <a:lnTo>
                    <a:pt x="737" y="1015"/>
                  </a:lnTo>
                  <a:lnTo>
                    <a:pt x="735" y="1015"/>
                  </a:lnTo>
                  <a:lnTo>
                    <a:pt x="733" y="1014"/>
                  </a:lnTo>
                  <a:lnTo>
                    <a:pt x="735" y="1014"/>
                  </a:lnTo>
                  <a:lnTo>
                    <a:pt x="735" y="1012"/>
                  </a:lnTo>
                  <a:lnTo>
                    <a:pt x="733" y="1012"/>
                  </a:lnTo>
                  <a:lnTo>
                    <a:pt x="732" y="1010"/>
                  </a:lnTo>
                  <a:lnTo>
                    <a:pt x="730" y="1010"/>
                  </a:lnTo>
                  <a:lnTo>
                    <a:pt x="729" y="1010"/>
                  </a:lnTo>
                  <a:lnTo>
                    <a:pt x="729" y="1009"/>
                  </a:lnTo>
                  <a:lnTo>
                    <a:pt x="727" y="1009"/>
                  </a:lnTo>
                  <a:lnTo>
                    <a:pt x="725" y="1010"/>
                  </a:lnTo>
                  <a:lnTo>
                    <a:pt x="725" y="1012"/>
                  </a:lnTo>
                  <a:lnTo>
                    <a:pt x="724" y="1012"/>
                  </a:lnTo>
                  <a:lnTo>
                    <a:pt x="724" y="1010"/>
                  </a:lnTo>
                  <a:lnTo>
                    <a:pt x="724" y="1012"/>
                  </a:lnTo>
                  <a:lnTo>
                    <a:pt x="722" y="1012"/>
                  </a:lnTo>
                  <a:lnTo>
                    <a:pt x="722" y="1010"/>
                  </a:lnTo>
                  <a:lnTo>
                    <a:pt x="722" y="1012"/>
                  </a:lnTo>
                  <a:lnTo>
                    <a:pt x="722" y="1010"/>
                  </a:lnTo>
                  <a:lnTo>
                    <a:pt x="720" y="1010"/>
                  </a:lnTo>
                  <a:lnTo>
                    <a:pt x="719" y="1010"/>
                  </a:lnTo>
                  <a:lnTo>
                    <a:pt x="717" y="1010"/>
                  </a:lnTo>
                  <a:lnTo>
                    <a:pt x="716" y="1010"/>
                  </a:lnTo>
                  <a:lnTo>
                    <a:pt x="714" y="1010"/>
                  </a:lnTo>
                  <a:lnTo>
                    <a:pt x="712" y="1012"/>
                  </a:lnTo>
                  <a:lnTo>
                    <a:pt x="711" y="1012"/>
                  </a:lnTo>
                  <a:lnTo>
                    <a:pt x="711" y="1014"/>
                  </a:lnTo>
                  <a:lnTo>
                    <a:pt x="709" y="1014"/>
                  </a:lnTo>
                  <a:lnTo>
                    <a:pt x="709" y="1015"/>
                  </a:lnTo>
                  <a:lnTo>
                    <a:pt x="707" y="1015"/>
                  </a:lnTo>
                  <a:lnTo>
                    <a:pt x="707" y="1017"/>
                  </a:lnTo>
                  <a:lnTo>
                    <a:pt x="706" y="1017"/>
                  </a:lnTo>
                  <a:lnTo>
                    <a:pt x="704" y="1017"/>
                  </a:lnTo>
                  <a:lnTo>
                    <a:pt x="703" y="1017"/>
                  </a:lnTo>
                  <a:lnTo>
                    <a:pt x="701" y="1017"/>
                  </a:lnTo>
                  <a:lnTo>
                    <a:pt x="701" y="1019"/>
                  </a:lnTo>
                  <a:lnTo>
                    <a:pt x="699" y="1019"/>
                  </a:lnTo>
                  <a:lnTo>
                    <a:pt x="699" y="1020"/>
                  </a:lnTo>
                  <a:lnTo>
                    <a:pt x="698" y="1022"/>
                  </a:lnTo>
                  <a:lnTo>
                    <a:pt x="698" y="1023"/>
                  </a:lnTo>
                  <a:lnTo>
                    <a:pt x="696" y="1025"/>
                  </a:lnTo>
                  <a:lnTo>
                    <a:pt x="698" y="1025"/>
                  </a:lnTo>
                  <a:lnTo>
                    <a:pt x="698" y="1027"/>
                  </a:lnTo>
                  <a:lnTo>
                    <a:pt x="696" y="1027"/>
                  </a:lnTo>
                  <a:lnTo>
                    <a:pt x="694" y="1027"/>
                  </a:lnTo>
                  <a:lnTo>
                    <a:pt x="694" y="1025"/>
                  </a:lnTo>
                  <a:lnTo>
                    <a:pt x="693" y="1025"/>
                  </a:lnTo>
                  <a:lnTo>
                    <a:pt x="691" y="1025"/>
                  </a:lnTo>
                  <a:lnTo>
                    <a:pt x="691" y="1027"/>
                  </a:lnTo>
                  <a:lnTo>
                    <a:pt x="690" y="1027"/>
                  </a:lnTo>
                  <a:lnTo>
                    <a:pt x="688" y="1027"/>
                  </a:lnTo>
                  <a:lnTo>
                    <a:pt x="688" y="1028"/>
                  </a:lnTo>
                  <a:lnTo>
                    <a:pt x="686" y="1028"/>
                  </a:lnTo>
                  <a:lnTo>
                    <a:pt x="686" y="1027"/>
                  </a:lnTo>
                  <a:lnTo>
                    <a:pt x="686" y="1028"/>
                  </a:lnTo>
                  <a:lnTo>
                    <a:pt x="685" y="1028"/>
                  </a:lnTo>
                  <a:lnTo>
                    <a:pt x="683" y="1028"/>
                  </a:lnTo>
                  <a:lnTo>
                    <a:pt x="681" y="1028"/>
                  </a:lnTo>
                  <a:lnTo>
                    <a:pt x="681" y="1030"/>
                  </a:lnTo>
                  <a:lnTo>
                    <a:pt x="680" y="1030"/>
                  </a:lnTo>
                  <a:lnTo>
                    <a:pt x="680" y="1032"/>
                  </a:lnTo>
                  <a:lnTo>
                    <a:pt x="678" y="1032"/>
                  </a:lnTo>
                  <a:lnTo>
                    <a:pt x="677" y="1032"/>
                  </a:lnTo>
                  <a:lnTo>
                    <a:pt x="677" y="1033"/>
                  </a:lnTo>
                  <a:lnTo>
                    <a:pt x="675" y="1033"/>
                  </a:lnTo>
                  <a:lnTo>
                    <a:pt x="673" y="1033"/>
                  </a:lnTo>
                  <a:lnTo>
                    <a:pt x="672" y="1035"/>
                  </a:lnTo>
                  <a:lnTo>
                    <a:pt x="670" y="1038"/>
                  </a:lnTo>
                  <a:lnTo>
                    <a:pt x="668" y="1038"/>
                  </a:lnTo>
                  <a:lnTo>
                    <a:pt x="668" y="1040"/>
                  </a:lnTo>
                  <a:lnTo>
                    <a:pt x="667" y="1041"/>
                  </a:lnTo>
                  <a:lnTo>
                    <a:pt x="665" y="1041"/>
                  </a:lnTo>
                  <a:lnTo>
                    <a:pt x="665" y="1043"/>
                  </a:lnTo>
                  <a:lnTo>
                    <a:pt x="664" y="1043"/>
                  </a:lnTo>
                  <a:lnTo>
                    <a:pt x="664" y="1045"/>
                  </a:lnTo>
                  <a:lnTo>
                    <a:pt x="662" y="1045"/>
                  </a:lnTo>
                  <a:lnTo>
                    <a:pt x="662" y="1046"/>
                  </a:lnTo>
                  <a:lnTo>
                    <a:pt x="660" y="1048"/>
                  </a:lnTo>
                  <a:lnTo>
                    <a:pt x="659" y="1048"/>
                  </a:lnTo>
                  <a:lnTo>
                    <a:pt x="657" y="1048"/>
                  </a:lnTo>
                  <a:lnTo>
                    <a:pt x="657" y="1049"/>
                  </a:lnTo>
                  <a:lnTo>
                    <a:pt x="655" y="1051"/>
                  </a:lnTo>
                  <a:lnTo>
                    <a:pt x="655" y="1053"/>
                  </a:lnTo>
                  <a:lnTo>
                    <a:pt x="654" y="1054"/>
                  </a:lnTo>
                  <a:lnTo>
                    <a:pt x="654" y="1056"/>
                  </a:lnTo>
                  <a:lnTo>
                    <a:pt x="652" y="1059"/>
                  </a:lnTo>
                  <a:lnTo>
                    <a:pt x="652" y="1061"/>
                  </a:lnTo>
                  <a:lnTo>
                    <a:pt x="652" y="1062"/>
                  </a:lnTo>
                  <a:lnTo>
                    <a:pt x="651" y="1062"/>
                  </a:lnTo>
                  <a:lnTo>
                    <a:pt x="651" y="1064"/>
                  </a:lnTo>
                  <a:lnTo>
                    <a:pt x="649" y="1064"/>
                  </a:lnTo>
                  <a:lnTo>
                    <a:pt x="649" y="1067"/>
                  </a:lnTo>
                  <a:lnTo>
                    <a:pt x="649" y="1071"/>
                  </a:lnTo>
                  <a:lnTo>
                    <a:pt x="647" y="1071"/>
                  </a:lnTo>
                  <a:lnTo>
                    <a:pt x="647" y="1072"/>
                  </a:lnTo>
                  <a:lnTo>
                    <a:pt x="646" y="1074"/>
                  </a:lnTo>
                  <a:lnTo>
                    <a:pt x="644" y="1074"/>
                  </a:lnTo>
                  <a:lnTo>
                    <a:pt x="644" y="1075"/>
                  </a:lnTo>
                  <a:lnTo>
                    <a:pt x="644" y="1077"/>
                  </a:lnTo>
                  <a:lnTo>
                    <a:pt x="642" y="1079"/>
                  </a:lnTo>
                  <a:lnTo>
                    <a:pt x="642" y="1080"/>
                  </a:lnTo>
                  <a:lnTo>
                    <a:pt x="641" y="1080"/>
                  </a:lnTo>
                  <a:lnTo>
                    <a:pt x="641" y="1082"/>
                  </a:lnTo>
                  <a:lnTo>
                    <a:pt x="641" y="1084"/>
                  </a:lnTo>
                  <a:lnTo>
                    <a:pt x="641" y="1085"/>
                  </a:lnTo>
                  <a:lnTo>
                    <a:pt x="641" y="1087"/>
                  </a:lnTo>
                  <a:lnTo>
                    <a:pt x="639" y="1087"/>
                  </a:lnTo>
                  <a:lnTo>
                    <a:pt x="639" y="1088"/>
                  </a:lnTo>
                  <a:lnTo>
                    <a:pt x="638" y="1088"/>
                  </a:lnTo>
                  <a:lnTo>
                    <a:pt x="638" y="1087"/>
                  </a:lnTo>
                  <a:lnTo>
                    <a:pt x="636" y="1087"/>
                  </a:lnTo>
                  <a:lnTo>
                    <a:pt x="634" y="1088"/>
                  </a:lnTo>
                  <a:lnTo>
                    <a:pt x="633" y="1088"/>
                  </a:lnTo>
                  <a:lnTo>
                    <a:pt x="634" y="1090"/>
                  </a:lnTo>
                  <a:lnTo>
                    <a:pt x="633" y="1090"/>
                  </a:lnTo>
                  <a:lnTo>
                    <a:pt x="633" y="1092"/>
                  </a:lnTo>
                  <a:lnTo>
                    <a:pt x="631" y="1092"/>
                  </a:lnTo>
                  <a:lnTo>
                    <a:pt x="629" y="1092"/>
                  </a:lnTo>
                  <a:lnTo>
                    <a:pt x="628" y="1092"/>
                  </a:lnTo>
                  <a:lnTo>
                    <a:pt x="628" y="1093"/>
                  </a:lnTo>
                  <a:lnTo>
                    <a:pt x="626" y="1095"/>
                  </a:lnTo>
                  <a:lnTo>
                    <a:pt x="628" y="1095"/>
                  </a:lnTo>
                  <a:lnTo>
                    <a:pt x="626" y="1097"/>
                  </a:lnTo>
                  <a:lnTo>
                    <a:pt x="626" y="1098"/>
                  </a:lnTo>
                  <a:lnTo>
                    <a:pt x="628" y="1098"/>
                  </a:lnTo>
                  <a:lnTo>
                    <a:pt x="626" y="1098"/>
                  </a:lnTo>
                  <a:lnTo>
                    <a:pt x="626" y="1100"/>
                  </a:lnTo>
                  <a:lnTo>
                    <a:pt x="625" y="1100"/>
                  </a:lnTo>
                  <a:lnTo>
                    <a:pt x="623" y="1100"/>
                  </a:lnTo>
                  <a:lnTo>
                    <a:pt x="621" y="1101"/>
                  </a:lnTo>
                  <a:lnTo>
                    <a:pt x="620" y="1101"/>
                  </a:lnTo>
                  <a:lnTo>
                    <a:pt x="620" y="1103"/>
                  </a:lnTo>
                  <a:lnTo>
                    <a:pt x="618" y="1103"/>
                  </a:lnTo>
                  <a:lnTo>
                    <a:pt x="618" y="1105"/>
                  </a:lnTo>
                  <a:lnTo>
                    <a:pt x="620" y="1105"/>
                  </a:lnTo>
                  <a:lnTo>
                    <a:pt x="618" y="1105"/>
                  </a:lnTo>
                  <a:lnTo>
                    <a:pt x="618" y="1106"/>
                  </a:lnTo>
                  <a:lnTo>
                    <a:pt x="618" y="1108"/>
                  </a:lnTo>
                  <a:lnTo>
                    <a:pt x="616" y="1108"/>
                  </a:lnTo>
                  <a:lnTo>
                    <a:pt x="615" y="1110"/>
                  </a:lnTo>
                  <a:lnTo>
                    <a:pt x="615" y="1108"/>
                  </a:lnTo>
                  <a:lnTo>
                    <a:pt x="613" y="1110"/>
                  </a:lnTo>
                  <a:lnTo>
                    <a:pt x="613" y="1108"/>
                  </a:lnTo>
                  <a:lnTo>
                    <a:pt x="613" y="1110"/>
                  </a:lnTo>
                  <a:lnTo>
                    <a:pt x="612" y="1110"/>
                  </a:lnTo>
                  <a:lnTo>
                    <a:pt x="612" y="1111"/>
                  </a:lnTo>
                  <a:lnTo>
                    <a:pt x="610" y="1111"/>
                  </a:lnTo>
                  <a:lnTo>
                    <a:pt x="612" y="1111"/>
                  </a:lnTo>
                  <a:lnTo>
                    <a:pt x="612" y="1113"/>
                  </a:lnTo>
                  <a:lnTo>
                    <a:pt x="610" y="1113"/>
                  </a:lnTo>
                  <a:lnTo>
                    <a:pt x="608" y="1113"/>
                  </a:lnTo>
                  <a:lnTo>
                    <a:pt x="607" y="1113"/>
                  </a:lnTo>
                  <a:lnTo>
                    <a:pt x="605" y="1113"/>
                  </a:lnTo>
                  <a:lnTo>
                    <a:pt x="603" y="1113"/>
                  </a:lnTo>
                  <a:lnTo>
                    <a:pt x="602" y="1113"/>
                  </a:lnTo>
                  <a:lnTo>
                    <a:pt x="602" y="1111"/>
                  </a:lnTo>
                  <a:lnTo>
                    <a:pt x="600" y="1110"/>
                  </a:lnTo>
                  <a:lnTo>
                    <a:pt x="599" y="1106"/>
                  </a:lnTo>
                  <a:lnTo>
                    <a:pt x="597" y="1101"/>
                  </a:lnTo>
                  <a:lnTo>
                    <a:pt x="592" y="1097"/>
                  </a:lnTo>
                  <a:lnTo>
                    <a:pt x="590" y="1095"/>
                  </a:lnTo>
                  <a:lnTo>
                    <a:pt x="589" y="1095"/>
                  </a:lnTo>
                  <a:lnTo>
                    <a:pt x="587" y="1093"/>
                  </a:lnTo>
                  <a:lnTo>
                    <a:pt x="585" y="1093"/>
                  </a:lnTo>
                  <a:lnTo>
                    <a:pt x="584" y="1093"/>
                  </a:lnTo>
                  <a:lnTo>
                    <a:pt x="581" y="1095"/>
                  </a:lnTo>
                  <a:lnTo>
                    <a:pt x="579" y="1095"/>
                  </a:lnTo>
                  <a:lnTo>
                    <a:pt x="577" y="1095"/>
                  </a:lnTo>
                  <a:lnTo>
                    <a:pt x="577" y="1097"/>
                  </a:lnTo>
                  <a:lnTo>
                    <a:pt x="576" y="1095"/>
                  </a:lnTo>
                  <a:lnTo>
                    <a:pt x="574" y="1092"/>
                  </a:lnTo>
                  <a:lnTo>
                    <a:pt x="572" y="1092"/>
                  </a:lnTo>
                  <a:lnTo>
                    <a:pt x="572" y="1093"/>
                  </a:lnTo>
                  <a:lnTo>
                    <a:pt x="572" y="1092"/>
                  </a:lnTo>
                  <a:lnTo>
                    <a:pt x="571" y="1092"/>
                  </a:lnTo>
                  <a:lnTo>
                    <a:pt x="569" y="1092"/>
                  </a:lnTo>
                  <a:lnTo>
                    <a:pt x="569" y="1093"/>
                  </a:lnTo>
                  <a:lnTo>
                    <a:pt x="568" y="1093"/>
                  </a:lnTo>
                  <a:lnTo>
                    <a:pt x="566" y="1092"/>
                  </a:lnTo>
                  <a:lnTo>
                    <a:pt x="566" y="1093"/>
                  </a:lnTo>
                  <a:lnTo>
                    <a:pt x="564" y="1093"/>
                  </a:lnTo>
                  <a:lnTo>
                    <a:pt x="563" y="1093"/>
                  </a:lnTo>
                  <a:lnTo>
                    <a:pt x="561" y="1093"/>
                  </a:lnTo>
                  <a:lnTo>
                    <a:pt x="559" y="1095"/>
                  </a:lnTo>
                  <a:lnTo>
                    <a:pt x="556" y="1098"/>
                  </a:lnTo>
                  <a:lnTo>
                    <a:pt x="556" y="1100"/>
                  </a:lnTo>
                  <a:lnTo>
                    <a:pt x="555" y="1101"/>
                  </a:lnTo>
                  <a:lnTo>
                    <a:pt x="555" y="1103"/>
                  </a:lnTo>
                  <a:lnTo>
                    <a:pt x="553" y="1103"/>
                  </a:lnTo>
                  <a:lnTo>
                    <a:pt x="550" y="1106"/>
                  </a:lnTo>
                  <a:lnTo>
                    <a:pt x="548" y="1108"/>
                  </a:lnTo>
                  <a:lnTo>
                    <a:pt x="546" y="1108"/>
                  </a:lnTo>
                  <a:lnTo>
                    <a:pt x="545" y="1108"/>
                  </a:lnTo>
                  <a:lnTo>
                    <a:pt x="543" y="1110"/>
                  </a:lnTo>
                  <a:lnTo>
                    <a:pt x="542" y="1108"/>
                  </a:lnTo>
                  <a:lnTo>
                    <a:pt x="540" y="1108"/>
                  </a:lnTo>
                  <a:lnTo>
                    <a:pt x="538" y="1108"/>
                  </a:lnTo>
                  <a:lnTo>
                    <a:pt x="537" y="1108"/>
                  </a:lnTo>
                  <a:lnTo>
                    <a:pt x="535" y="1108"/>
                  </a:lnTo>
                  <a:lnTo>
                    <a:pt x="535" y="1106"/>
                  </a:lnTo>
                  <a:lnTo>
                    <a:pt x="533" y="1106"/>
                  </a:lnTo>
                  <a:lnTo>
                    <a:pt x="532" y="1105"/>
                  </a:lnTo>
                  <a:lnTo>
                    <a:pt x="533" y="1105"/>
                  </a:lnTo>
                  <a:lnTo>
                    <a:pt x="532" y="1105"/>
                  </a:lnTo>
                  <a:lnTo>
                    <a:pt x="532" y="1103"/>
                  </a:lnTo>
                  <a:lnTo>
                    <a:pt x="530" y="1103"/>
                  </a:lnTo>
                  <a:lnTo>
                    <a:pt x="529" y="1103"/>
                  </a:lnTo>
                  <a:lnTo>
                    <a:pt x="527" y="1103"/>
                  </a:lnTo>
                  <a:lnTo>
                    <a:pt x="527" y="1105"/>
                  </a:lnTo>
                  <a:lnTo>
                    <a:pt x="525" y="1103"/>
                  </a:lnTo>
                  <a:lnTo>
                    <a:pt x="524" y="1100"/>
                  </a:lnTo>
                  <a:lnTo>
                    <a:pt x="522" y="1097"/>
                  </a:lnTo>
                  <a:lnTo>
                    <a:pt x="520" y="1095"/>
                  </a:lnTo>
                  <a:lnTo>
                    <a:pt x="519" y="1095"/>
                  </a:lnTo>
                  <a:lnTo>
                    <a:pt x="517" y="1095"/>
                  </a:lnTo>
                  <a:lnTo>
                    <a:pt x="516" y="1095"/>
                  </a:lnTo>
                  <a:lnTo>
                    <a:pt x="514" y="1095"/>
                  </a:lnTo>
                  <a:lnTo>
                    <a:pt x="512" y="1095"/>
                  </a:lnTo>
                  <a:lnTo>
                    <a:pt x="511" y="1095"/>
                  </a:lnTo>
                  <a:lnTo>
                    <a:pt x="509" y="1095"/>
                  </a:lnTo>
                  <a:lnTo>
                    <a:pt x="509" y="1093"/>
                  </a:lnTo>
                  <a:lnTo>
                    <a:pt x="507" y="1093"/>
                  </a:lnTo>
                  <a:lnTo>
                    <a:pt x="506" y="1093"/>
                  </a:lnTo>
                  <a:lnTo>
                    <a:pt x="504" y="1093"/>
                  </a:lnTo>
                  <a:lnTo>
                    <a:pt x="503" y="1093"/>
                  </a:lnTo>
                  <a:lnTo>
                    <a:pt x="501" y="1092"/>
                  </a:lnTo>
                  <a:lnTo>
                    <a:pt x="499" y="1092"/>
                  </a:lnTo>
                  <a:lnTo>
                    <a:pt x="498" y="1092"/>
                  </a:lnTo>
                  <a:lnTo>
                    <a:pt x="496" y="1092"/>
                  </a:lnTo>
                  <a:lnTo>
                    <a:pt x="496" y="1090"/>
                  </a:lnTo>
                  <a:lnTo>
                    <a:pt x="494" y="1090"/>
                  </a:lnTo>
                  <a:lnTo>
                    <a:pt x="494" y="1092"/>
                  </a:lnTo>
                  <a:lnTo>
                    <a:pt x="493" y="1092"/>
                  </a:lnTo>
                  <a:lnTo>
                    <a:pt x="491" y="1092"/>
                  </a:lnTo>
                  <a:lnTo>
                    <a:pt x="491" y="1090"/>
                  </a:lnTo>
                  <a:lnTo>
                    <a:pt x="490" y="1090"/>
                  </a:lnTo>
                  <a:lnTo>
                    <a:pt x="488" y="1090"/>
                  </a:lnTo>
                  <a:lnTo>
                    <a:pt x="486" y="1090"/>
                  </a:lnTo>
                  <a:lnTo>
                    <a:pt x="485" y="1088"/>
                  </a:lnTo>
                  <a:lnTo>
                    <a:pt x="483" y="1088"/>
                  </a:lnTo>
                  <a:lnTo>
                    <a:pt x="481" y="1088"/>
                  </a:lnTo>
                  <a:lnTo>
                    <a:pt x="478" y="1088"/>
                  </a:lnTo>
                  <a:lnTo>
                    <a:pt x="477" y="1088"/>
                  </a:lnTo>
                  <a:lnTo>
                    <a:pt x="475" y="1088"/>
                  </a:lnTo>
                  <a:lnTo>
                    <a:pt x="473" y="1088"/>
                  </a:lnTo>
                  <a:lnTo>
                    <a:pt x="472" y="1088"/>
                  </a:lnTo>
                  <a:lnTo>
                    <a:pt x="470" y="1088"/>
                  </a:lnTo>
                  <a:lnTo>
                    <a:pt x="470" y="1090"/>
                  </a:lnTo>
                  <a:lnTo>
                    <a:pt x="468" y="1092"/>
                  </a:lnTo>
                  <a:lnTo>
                    <a:pt x="467" y="1092"/>
                  </a:lnTo>
                  <a:lnTo>
                    <a:pt x="465" y="1092"/>
                  </a:lnTo>
                  <a:lnTo>
                    <a:pt x="464" y="1092"/>
                  </a:lnTo>
                  <a:lnTo>
                    <a:pt x="462" y="1092"/>
                  </a:lnTo>
                  <a:lnTo>
                    <a:pt x="462" y="1093"/>
                  </a:lnTo>
                  <a:lnTo>
                    <a:pt x="460" y="1093"/>
                  </a:lnTo>
                  <a:lnTo>
                    <a:pt x="459" y="1092"/>
                  </a:lnTo>
                  <a:lnTo>
                    <a:pt x="457" y="1092"/>
                  </a:lnTo>
                  <a:lnTo>
                    <a:pt x="455" y="1092"/>
                  </a:lnTo>
                  <a:lnTo>
                    <a:pt x="454" y="1092"/>
                  </a:lnTo>
                  <a:lnTo>
                    <a:pt x="452" y="1090"/>
                  </a:lnTo>
                  <a:lnTo>
                    <a:pt x="452" y="1088"/>
                  </a:lnTo>
                  <a:lnTo>
                    <a:pt x="451" y="1087"/>
                  </a:lnTo>
                  <a:lnTo>
                    <a:pt x="451" y="1088"/>
                  </a:lnTo>
                  <a:lnTo>
                    <a:pt x="451" y="1087"/>
                  </a:lnTo>
                  <a:lnTo>
                    <a:pt x="449" y="1087"/>
                  </a:lnTo>
                  <a:lnTo>
                    <a:pt x="447" y="1087"/>
                  </a:lnTo>
                  <a:lnTo>
                    <a:pt x="446" y="1087"/>
                  </a:lnTo>
                  <a:lnTo>
                    <a:pt x="444" y="1085"/>
                  </a:lnTo>
                  <a:lnTo>
                    <a:pt x="442" y="1084"/>
                  </a:lnTo>
                  <a:lnTo>
                    <a:pt x="441" y="1082"/>
                  </a:lnTo>
                  <a:lnTo>
                    <a:pt x="439" y="1082"/>
                  </a:lnTo>
                  <a:lnTo>
                    <a:pt x="436" y="1082"/>
                  </a:lnTo>
                  <a:lnTo>
                    <a:pt x="436" y="1080"/>
                  </a:lnTo>
                  <a:lnTo>
                    <a:pt x="434" y="1080"/>
                  </a:lnTo>
                  <a:lnTo>
                    <a:pt x="434" y="1082"/>
                  </a:lnTo>
                  <a:lnTo>
                    <a:pt x="433" y="1084"/>
                  </a:lnTo>
                  <a:lnTo>
                    <a:pt x="431" y="1082"/>
                  </a:lnTo>
                  <a:lnTo>
                    <a:pt x="429" y="1082"/>
                  </a:lnTo>
                  <a:lnTo>
                    <a:pt x="428" y="1082"/>
                  </a:lnTo>
                  <a:lnTo>
                    <a:pt x="426" y="1084"/>
                  </a:lnTo>
                  <a:lnTo>
                    <a:pt x="426" y="1082"/>
                  </a:lnTo>
                  <a:lnTo>
                    <a:pt x="424" y="1080"/>
                  </a:lnTo>
                  <a:lnTo>
                    <a:pt x="423" y="1080"/>
                  </a:lnTo>
                  <a:lnTo>
                    <a:pt x="421" y="1080"/>
                  </a:lnTo>
                  <a:lnTo>
                    <a:pt x="421" y="1079"/>
                  </a:lnTo>
                  <a:lnTo>
                    <a:pt x="420" y="1079"/>
                  </a:lnTo>
                  <a:lnTo>
                    <a:pt x="418" y="1077"/>
                  </a:lnTo>
                  <a:lnTo>
                    <a:pt x="416" y="1077"/>
                  </a:lnTo>
                  <a:lnTo>
                    <a:pt x="415" y="1075"/>
                  </a:lnTo>
                  <a:lnTo>
                    <a:pt x="415" y="1077"/>
                  </a:lnTo>
                  <a:lnTo>
                    <a:pt x="415" y="1075"/>
                  </a:lnTo>
                  <a:lnTo>
                    <a:pt x="413" y="1077"/>
                  </a:lnTo>
                  <a:lnTo>
                    <a:pt x="411" y="1075"/>
                  </a:lnTo>
                  <a:lnTo>
                    <a:pt x="410" y="1077"/>
                  </a:lnTo>
                  <a:lnTo>
                    <a:pt x="408" y="1077"/>
                  </a:lnTo>
                  <a:lnTo>
                    <a:pt x="407" y="1075"/>
                  </a:lnTo>
                  <a:lnTo>
                    <a:pt x="405" y="1075"/>
                  </a:lnTo>
                  <a:lnTo>
                    <a:pt x="405" y="1077"/>
                  </a:lnTo>
                  <a:lnTo>
                    <a:pt x="402" y="1077"/>
                  </a:lnTo>
                  <a:lnTo>
                    <a:pt x="400" y="1077"/>
                  </a:lnTo>
                  <a:lnTo>
                    <a:pt x="398" y="1077"/>
                  </a:lnTo>
                  <a:lnTo>
                    <a:pt x="397" y="1075"/>
                  </a:lnTo>
                  <a:lnTo>
                    <a:pt x="395" y="1074"/>
                  </a:lnTo>
                  <a:lnTo>
                    <a:pt x="394" y="1074"/>
                  </a:lnTo>
                  <a:lnTo>
                    <a:pt x="392" y="1074"/>
                  </a:lnTo>
                  <a:lnTo>
                    <a:pt x="390" y="1072"/>
                  </a:lnTo>
                  <a:lnTo>
                    <a:pt x="389" y="1072"/>
                  </a:lnTo>
                  <a:lnTo>
                    <a:pt x="387" y="1072"/>
                  </a:lnTo>
                  <a:lnTo>
                    <a:pt x="385" y="1072"/>
                  </a:lnTo>
                  <a:lnTo>
                    <a:pt x="385" y="1074"/>
                  </a:lnTo>
                  <a:lnTo>
                    <a:pt x="384" y="1074"/>
                  </a:lnTo>
                  <a:lnTo>
                    <a:pt x="381" y="1074"/>
                  </a:lnTo>
                  <a:lnTo>
                    <a:pt x="379" y="1074"/>
                  </a:lnTo>
                  <a:lnTo>
                    <a:pt x="377" y="1074"/>
                  </a:lnTo>
                  <a:lnTo>
                    <a:pt x="376" y="1074"/>
                  </a:lnTo>
                  <a:lnTo>
                    <a:pt x="374" y="1074"/>
                  </a:lnTo>
                  <a:lnTo>
                    <a:pt x="368" y="1074"/>
                  </a:lnTo>
                  <a:lnTo>
                    <a:pt x="363" y="1072"/>
                  </a:lnTo>
                  <a:lnTo>
                    <a:pt x="361" y="1072"/>
                  </a:lnTo>
                  <a:lnTo>
                    <a:pt x="359" y="1072"/>
                  </a:lnTo>
                  <a:lnTo>
                    <a:pt x="358" y="1072"/>
                  </a:lnTo>
                  <a:lnTo>
                    <a:pt x="358" y="1071"/>
                  </a:lnTo>
                  <a:lnTo>
                    <a:pt x="356" y="1071"/>
                  </a:lnTo>
                  <a:lnTo>
                    <a:pt x="355" y="1071"/>
                  </a:lnTo>
                  <a:lnTo>
                    <a:pt x="353" y="1071"/>
                  </a:lnTo>
                  <a:lnTo>
                    <a:pt x="353" y="1069"/>
                  </a:lnTo>
                  <a:lnTo>
                    <a:pt x="351" y="1069"/>
                  </a:lnTo>
                  <a:lnTo>
                    <a:pt x="350" y="1069"/>
                  </a:lnTo>
                  <a:lnTo>
                    <a:pt x="348" y="1069"/>
                  </a:lnTo>
                  <a:lnTo>
                    <a:pt x="348" y="1071"/>
                  </a:lnTo>
                  <a:lnTo>
                    <a:pt x="348" y="1072"/>
                  </a:lnTo>
                  <a:lnTo>
                    <a:pt x="348" y="1071"/>
                  </a:lnTo>
                  <a:lnTo>
                    <a:pt x="348" y="1069"/>
                  </a:lnTo>
                  <a:lnTo>
                    <a:pt x="346" y="1069"/>
                  </a:lnTo>
                  <a:lnTo>
                    <a:pt x="348" y="1069"/>
                  </a:lnTo>
                  <a:lnTo>
                    <a:pt x="346" y="1071"/>
                  </a:lnTo>
                  <a:lnTo>
                    <a:pt x="348" y="1071"/>
                  </a:lnTo>
                  <a:lnTo>
                    <a:pt x="346" y="1071"/>
                  </a:lnTo>
                  <a:lnTo>
                    <a:pt x="348" y="1071"/>
                  </a:lnTo>
                  <a:lnTo>
                    <a:pt x="346" y="1071"/>
                  </a:lnTo>
                  <a:lnTo>
                    <a:pt x="345" y="1072"/>
                  </a:lnTo>
                  <a:lnTo>
                    <a:pt x="345" y="1074"/>
                  </a:lnTo>
                  <a:lnTo>
                    <a:pt x="342" y="1075"/>
                  </a:lnTo>
                  <a:lnTo>
                    <a:pt x="338" y="1079"/>
                  </a:lnTo>
                  <a:lnTo>
                    <a:pt x="337" y="1080"/>
                  </a:lnTo>
                  <a:lnTo>
                    <a:pt x="337" y="1082"/>
                  </a:lnTo>
                  <a:lnTo>
                    <a:pt x="335" y="1082"/>
                  </a:lnTo>
                  <a:lnTo>
                    <a:pt x="335" y="1084"/>
                  </a:lnTo>
                  <a:lnTo>
                    <a:pt x="333" y="1084"/>
                  </a:lnTo>
                  <a:lnTo>
                    <a:pt x="332" y="1085"/>
                  </a:lnTo>
                  <a:lnTo>
                    <a:pt x="330" y="1085"/>
                  </a:lnTo>
                  <a:lnTo>
                    <a:pt x="329" y="1085"/>
                  </a:lnTo>
                  <a:lnTo>
                    <a:pt x="327" y="1085"/>
                  </a:lnTo>
                  <a:lnTo>
                    <a:pt x="325" y="1085"/>
                  </a:lnTo>
                  <a:lnTo>
                    <a:pt x="324" y="1087"/>
                  </a:lnTo>
                  <a:lnTo>
                    <a:pt x="322" y="1087"/>
                  </a:lnTo>
                  <a:lnTo>
                    <a:pt x="320" y="1088"/>
                  </a:lnTo>
                  <a:lnTo>
                    <a:pt x="320" y="1090"/>
                  </a:lnTo>
                  <a:lnTo>
                    <a:pt x="319" y="1092"/>
                  </a:lnTo>
                  <a:lnTo>
                    <a:pt x="317" y="1093"/>
                  </a:lnTo>
                  <a:lnTo>
                    <a:pt x="316" y="1093"/>
                  </a:lnTo>
                  <a:lnTo>
                    <a:pt x="314" y="1093"/>
                  </a:lnTo>
                  <a:lnTo>
                    <a:pt x="312" y="1093"/>
                  </a:lnTo>
                  <a:lnTo>
                    <a:pt x="311" y="1095"/>
                  </a:lnTo>
                  <a:lnTo>
                    <a:pt x="309" y="1095"/>
                  </a:lnTo>
                  <a:lnTo>
                    <a:pt x="307" y="1095"/>
                  </a:lnTo>
                  <a:lnTo>
                    <a:pt x="306" y="1095"/>
                  </a:lnTo>
                  <a:lnTo>
                    <a:pt x="303" y="1093"/>
                  </a:lnTo>
                  <a:lnTo>
                    <a:pt x="298" y="1090"/>
                  </a:lnTo>
                  <a:lnTo>
                    <a:pt x="294" y="1090"/>
                  </a:lnTo>
                  <a:lnTo>
                    <a:pt x="293" y="1088"/>
                  </a:lnTo>
                  <a:lnTo>
                    <a:pt x="291" y="1088"/>
                  </a:lnTo>
                  <a:lnTo>
                    <a:pt x="289" y="1088"/>
                  </a:lnTo>
                  <a:lnTo>
                    <a:pt x="286" y="1087"/>
                  </a:lnTo>
                  <a:lnTo>
                    <a:pt x="286" y="1088"/>
                  </a:lnTo>
                  <a:lnTo>
                    <a:pt x="285" y="1088"/>
                  </a:lnTo>
                  <a:lnTo>
                    <a:pt x="283" y="1088"/>
                  </a:lnTo>
                  <a:lnTo>
                    <a:pt x="281" y="1088"/>
                  </a:lnTo>
                  <a:lnTo>
                    <a:pt x="281" y="1090"/>
                  </a:lnTo>
                  <a:lnTo>
                    <a:pt x="280" y="1090"/>
                  </a:lnTo>
                  <a:lnTo>
                    <a:pt x="278" y="1090"/>
                  </a:lnTo>
                  <a:lnTo>
                    <a:pt x="276" y="1092"/>
                  </a:lnTo>
                  <a:lnTo>
                    <a:pt x="275" y="1092"/>
                  </a:lnTo>
                  <a:lnTo>
                    <a:pt x="273" y="1092"/>
                  </a:lnTo>
                  <a:lnTo>
                    <a:pt x="272" y="1092"/>
                  </a:lnTo>
                  <a:lnTo>
                    <a:pt x="270" y="1092"/>
                  </a:lnTo>
                  <a:lnTo>
                    <a:pt x="268" y="1092"/>
                  </a:lnTo>
                  <a:lnTo>
                    <a:pt x="267" y="1092"/>
                  </a:lnTo>
                  <a:lnTo>
                    <a:pt x="265" y="1092"/>
                  </a:lnTo>
                  <a:lnTo>
                    <a:pt x="263" y="1092"/>
                  </a:lnTo>
                  <a:lnTo>
                    <a:pt x="263" y="1093"/>
                  </a:lnTo>
                  <a:lnTo>
                    <a:pt x="262" y="1093"/>
                  </a:lnTo>
                  <a:lnTo>
                    <a:pt x="260" y="1093"/>
                  </a:lnTo>
                  <a:lnTo>
                    <a:pt x="259" y="1093"/>
                  </a:lnTo>
                  <a:lnTo>
                    <a:pt x="257" y="1093"/>
                  </a:lnTo>
                  <a:lnTo>
                    <a:pt x="257" y="1095"/>
                  </a:lnTo>
                  <a:lnTo>
                    <a:pt x="255" y="1095"/>
                  </a:lnTo>
                  <a:lnTo>
                    <a:pt x="254" y="1095"/>
                  </a:lnTo>
                  <a:lnTo>
                    <a:pt x="252" y="1095"/>
                  </a:lnTo>
                  <a:lnTo>
                    <a:pt x="252" y="1097"/>
                  </a:lnTo>
                  <a:lnTo>
                    <a:pt x="250" y="1097"/>
                  </a:lnTo>
                  <a:lnTo>
                    <a:pt x="250" y="1098"/>
                  </a:lnTo>
                  <a:lnTo>
                    <a:pt x="249" y="1098"/>
                  </a:lnTo>
                  <a:lnTo>
                    <a:pt x="247" y="1100"/>
                  </a:lnTo>
                  <a:lnTo>
                    <a:pt x="247" y="1101"/>
                  </a:lnTo>
                  <a:lnTo>
                    <a:pt x="246" y="1101"/>
                  </a:lnTo>
                  <a:lnTo>
                    <a:pt x="246" y="1103"/>
                  </a:lnTo>
                  <a:lnTo>
                    <a:pt x="244" y="1108"/>
                  </a:lnTo>
                  <a:lnTo>
                    <a:pt x="242" y="1108"/>
                  </a:lnTo>
                  <a:lnTo>
                    <a:pt x="242" y="1106"/>
                  </a:lnTo>
                  <a:lnTo>
                    <a:pt x="242" y="1108"/>
                  </a:lnTo>
                  <a:lnTo>
                    <a:pt x="241" y="1108"/>
                  </a:lnTo>
                  <a:lnTo>
                    <a:pt x="241" y="1110"/>
                  </a:lnTo>
                  <a:lnTo>
                    <a:pt x="239" y="1111"/>
                  </a:lnTo>
                  <a:lnTo>
                    <a:pt x="239" y="1110"/>
                  </a:lnTo>
                  <a:lnTo>
                    <a:pt x="237" y="1108"/>
                  </a:lnTo>
                  <a:lnTo>
                    <a:pt x="237" y="1110"/>
                  </a:lnTo>
                  <a:lnTo>
                    <a:pt x="239" y="1110"/>
                  </a:lnTo>
                  <a:lnTo>
                    <a:pt x="239" y="1111"/>
                  </a:lnTo>
                  <a:lnTo>
                    <a:pt x="237" y="1113"/>
                  </a:lnTo>
                  <a:lnTo>
                    <a:pt x="236" y="1114"/>
                  </a:lnTo>
                  <a:lnTo>
                    <a:pt x="236" y="1116"/>
                  </a:lnTo>
                  <a:lnTo>
                    <a:pt x="234" y="1116"/>
                  </a:lnTo>
                  <a:lnTo>
                    <a:pt x="233" y="1118"/>
                  </a:lnTo>
                  <a:lnTo>
                    <a:pt x="229" y="1124"/>
                  </a:lnTo>
                  <a:lnTo>
                    <a:pt x="229" y="1127"/>
                  </a:lnTo>
                  <a:lnTo>
                    <a:pt x="228" y="1127"/>
                  </a:lnTo>
                  <a:lnTo>
                    <a:pt x="228" y="1126"/>
                  </a:lnTo>
                  <a:lnTo>
                    <a:pt x="226" y="1124"/>
                  </a:lnTo>
                  <a:lnTo>
                    <a:pt x="224" y="1124"/>
                  </a:lnTo>
                  <a:lnTo>
                    <a:pt x="224" y="1123"/>
                  </a:lnTo>
                  <a:lnTo>
                    <a:pt x="223" y="1123"/>
                  </a:lnTo>
                  <a:lnTo>
                    <a:pt x="221" y="1121"/>
                  </a:lnTo>
                  <a:lnTo>
                    <a:pt x="221" y="1123"/>
                  </a:lnTo>
                  <a:lnTo>
                    <a:pt x="220" y="1123"/>
                  </a:lnTo>
                  <a:lnTo>
                    <a:pt x="218" y="1123"/>
                  </a:lnTo>
                  <a:lnTo>
                    <a:pt x="216" y="1124"/>
                  </a:lnTo>
                  <a:lnTo>
                    <a:pt x="216" y="1126"/>
                  </a:lnTo>
                  <a:lnTo>
                    <a:pt x="216" y="1127"/>
                  </a:lnTo>
                  <a:lnTo>
                    <a:pt x="218" y="1126"/>
                  </a:lnTo>
                  <a:lnTo>
                    <a:pt x="218" y="1127"/>
                  </a:lnTo>
                  <a:lnTo>
                    <a:pt x="216" y="1127"/>
                  </a:lnTo>
                  <a:lnTo>
                    <a:pt x="218" y="1127"/>
                  </a:lnTo>
                  <a:lnTo>
                    <a:pt x="216" y="1129"/>
                  </a:lnTo>
                  <a:lnTo>
                    <a:pt x="218" y="1129"/>
                  </a:lnTo>
                  <a:lnTo>
                    <a:pt x="218" y="1127"/>
                  </a:lnTo>
                  <a:lnTo>
                    <a:pt x="218" y="1129"/>
                  </a:lnTo>
                  <a:lnTo>
                    <a:pt x="216" y="1129"/>
                  </a:lnTo>
                  <a:lnTo>
                    <a:pt x="218" y="1129"/>
                  </a:lnTo>
                  <a:lnTo>
                    <a:pt x="216" y="1129"/>
                  </a:lnTo>
                  <a:lnTo>
                    <a:pt x="216" y="1131"/>
                  </a:lnTo>
                  <a:lnTo>
                    <a:pt x="218" y="1131"/>
                  </a:lnTo>
                  <a:lnTo>
                    <a:pt x="218" y="1132"/>
                  </a:lnTo>
                  <a:lnTo>
                    <a:pt x="216" y="1132"/>
                  </a:lnTo>
                  <a:lnTo>
                    <a:pt x="215" y="1132"/>
                  </a:lnTo>
                  <a:lnTo>
                    <a:pt x="216" y="1134"/>
                  </a:lnTo>
                  <a:lnTo>
                    <a:pt x="218" y="1136"/>
                  </a:lnTo>
                  <a:lnTo>
                    <a:pt x="216" y="1136"/>
                  </a:lnTo>
                  <a:lnTo>
                    <a:pt x="216" y="1137"/>
                  </a:lnTo>
                  <a:lnTo>
                    <a:pt x="215" y="1137"/>
                  </a:lnTo>
                  <a:lnTo>
                    <a:pt x="213" y="1139"/>
                  </a:lnTo>
                  <a:lnTo>
                    <a:pt x="211" y="1139"/>
                  </a:lnTo>
                  <a:lnTo>
                    <a:pt x="210" y="1137"/>
                  </a:lnTo>
                  <a:lnTo>
                    <a:pt x="208" y="1139"/>
                  </a:lnTo>
                  <a:lnTo>
                    <a:pt x="207" y="1139"/>
                  </a:lnTo>
                  <a:lnTo>
                    <a:pt x="205" y="1139"/>
                  </a:lnTo>
                  <a:lnTo>
                    <a:pt x="203" y="1139"/>
                  </a:lnTo>
                  <a:lnTo>
                    <a:pt x="203" y="1140"/>
                  </a:lnTo>
                  <a:lnTo>
                    <a:pt x="200" y="1140"/>
                  </a:lnTo>
                  <a:lnTo>
                    <a:pt x="198" y="1140"/>
                  </a:lnTo>
                  <a:lnTo>
                    <a:pt x="195" y="1140"/>
                  </a:lnTo>
                  <a:lnTo>
                    <a:pt x="195" y="1142"/>
                  </a:lnTo>
                  <a:lnTo>
                    <a:pt x="195" y="1140"/>
                  </a:lnTo>
                  <a:lnTo>
                    <a:pt x="195" y="1142"/>
                  </a:lnTo>
                  <a:lnTo>
                    <a:pt x="194" y="1142"/>
                  </a:lnTo>
                  <a:lnTo>
                    <a:pt x="195" y="1142"/>
                  </a:lnTo>
                  <a:lnTo>
                    <a:pt x="195" y="1140"/>
                  </a:lnTo>
                  <a:lnTo>
                    <a:pt x="194" y="1137"/>
                  </a:lnTo>
                  <a:lnTo>
                    <a:pt x="192" y="1136"/>
                  </a:lnTo>
                  <a:lnTo>
                    <a:pt x="190" y="1134"/>
                  </a:lnTo>
                  <a:lnTo>
                    <a:pt x="189" y="1132"/>
                  </a:lnTo>
                  <a:lnTo>
                    <a:pt x="187" y="1131"/>
                  </a:lnTo>
                  <a:lnTo>
                    <a:pt x="185" y="1131"/>
                  </a:lnTo>
                  <a:lnTo>
                    <a:pt x="184" y="1132"/>
                  </a:lnTo>
                  <a:lnTo>
                    <a:pt x="184" y="1131"/>
                  </a:lnTo>
                  <a:lnTo>
                    <a:pt x="182" y="1131"/>
                  </a:lnTo>
                  <a:lnTo>
                    <a:pt x="181" y="1129"/>
                  </a:lnTo>
                  <a:lnTo>
                    <a:pt x="179" y="1127"/>
                  </a:lnTo>
                  <a:lnTo>
                    <a:pt x="177" y="1126"/>
                  </a:lnTo>
                  <a:lnTo>
                    <a:pt x="176" y="1126"/>
                  </a:lnTo>
                  <a:lnTo>
                    <a:pt x="176" y="1127"/>
                  </a:lnTo>
                  <a:lnTo>
                    <a:pt x="174" y="1127"/>
                  </a:lnTo>
                  <a:lnTo>
                    <a:pt x="174" y="1126"/>
                  </a:lnTo>
                  <a:lnTo>
                    <a:pt x="174" y="1124"/>
                  </a:lnTo>
                  <a:lnTo>
                    <a:pt x="172" y="1124"/>
                  </a:lnTo>
                  <a:lnTo>
                    <a:pt x="172" y="1123"/>
                  </a:lnTo>
                  <a:lnTo>
                    <a:pt x="171" y="1119"/>
                  </a:lnTo>
                  <a:lnTo>
                    <a:pt x="171" y="1118"/>
                  </a:lnTo>
                  <a:lnTo>
                    <a:pt x="169" y="1116"/>
                  </a:lnTo>
                  <a:lnTo>
                    <a:pt x="168" y="1113"/>
                  </a:lnTo>
                  <a:lnTo>
                    <a:pt x="166" y="1113"/>
                  </a:lnTo>
                  <a:lnTo>
                    <a:pt x="166" y="1111"/>
                  </a:lnTo>
                  <a:lnTo>
                    <a:pt x="164" y="1110"/>
                  </a:lnTo>
                  <a:lnTo>
                    <a:pt x="163" y="1108"/>
                  </a:lnTo>
                  <a:lnTo>
                    <a:pt x="163" y="1110"/>
                  </a:lnTo>
                  <a:lnTo>
                    <a:pt x="163" y="1108"/>
                  </a:lnTo>
                  <a:lnTo>
                    <a:pt x="163" y="1110"/>
                  </a:lnTo>
                  <a:lnTo>
                    <a:pt x="161" y="1110"/>
                  </a:lnTo>
                  <a:lnTo>
                    <a:pt x="161" y="1108"/>
                  </a:lnTo>
                  <a:lnTo>
                    <a:pt x="159" y="1108"/>
                  </a:lnTo>
                  <a:lnTo>
                    <a:pt x="158" y="1108"/>
                  </a:lnTo>
                  <a:lnTo>
                    <a:pt x="158" y="1110"/>
                  </a:lnTo>
                  <a:lnTo>
                    <a:pt x="156" y="1108"/>
                  </a:lnTo>
                  <a:lnTo>
                    <a:pt x="155" y="1108"/>
                  </a:lnTo>
                  <a:lnTo>
                    <a:pt x="153" y="1108"/>
                  </a:lnTo>
                  <a:lnTo>
                    <a:pt x="153" y="1106"/>
                  </a:lnTo>
                  <a:lnTo>
                    <a:pt x="151" y="1106"/>
                  </a:lnTo>
                  <a:lnTo>
                    <a:pt x="150" y="1106"/>
                  </a:lnTo>
                  <a:lnTo>
                    <a:pt x="150" y="1105"/>
                  </a:lnTo>
                  <a:lnTo>
                    <a:pt x="148" y="1103"/>
                  </a:lnTo>
                  <a:lnTo>
                    <a:pt x="148" y="1101"/>
                  </a:lnTo>
                  <a:lnTo>
                    <a:pt x="146" y="1098"/>
                  </a:lnTo>
                  <a:lnTo>
                    <a:pt x="146" y="1097"/>
                  </a:lnTo>
                  <a:lnTo>
                    <a:pt x="146" y="1095"/>
                  </a:lnTo>
                  <a:lnTo>
                    <a:pt x="146" y="1093"/>
                  </a:lnTo>
                  <a:lnTo>
                    <a:pt x="145" y="1088"/>
                  </a:lnTo>
                  <a:lnTo>
                    <a:pt x="143" y="1088"/>
                  </a:lnTo>
                  <a:lnTo>
                    <a:pt x="141" y="1088"/>
                  </a:lnTo>
                  <a:lnTo>
                    <a:pt x="140" y="1087"/>
                  </a:lnTo>
                  <a:lnTo>
                    <a:pt x="140" y="1080"/>
                  </a:lnTo>
                  <a:lnTo>
                    <a:pt x="138" y="1079"/>
                  </a:lnTo>
                  <a:lnTo>
                    <a:pt x="138" y="1077"/>
                  </a:lnTo>
                  <a:lnTo>
                    <a:pt x="137" y="1075"/>
                  </a:lnTo>
                  <a:lnTo>
                    <a:pt x="137" y="1074"/>
                  </a:lnTo>
                  <a:lnTo>
                    <a:pt x="135" y="1074"/>
                  </a:lnTo>
                  <a:lnTo>
                    <a:pt x="137" y="1074"/>
                  </a:lnTo>
                  <a:lnTo>
                    <a:pt x="137" y="1072"/>
                  </a:lnTo>
                  <a:lnTo>
                    <a:pt x="138" y="1072"/>
                  </a:lnTo>
                  <a:lnTo>
                    <a:pt x="137" y="1071"/>
                  </a:lnTo>
                  <a:lnTo>
                    <a:pt x="137" y="1069"/>
                  </a:lnTo>
                  <a:lnTo>
                    <a:pt x="138" y="1067"/>
                  </a:lnTo>
                  <a:lnTo>
                    <a:pt x="140" y="1067"/>
                  </a:lnTo>
                  <a:lnTo>
                    <a:pt x="138" y="1066"/>
                  </a:lnTo>
                  <a:lnTo>
                    <a:pt x="138" y="1067"/>
                  </a:lnTo>
                  <a:lnTo>
                    <a:pt x="137" y="1067"/>
                  </a:lnTo>
                  <a:lnTo>
                    <a:pt x="137" y="1069"/>
                  </a:lnTo>
                  <a:lnTo>
                    <a:pt x="135" y="1069"/>
                  </a:lnTo>
                  <a:lnTo>
                    <a:pt x="137" y="1072"/>
                  </a:lnTo>
                  <a:lnTo>
                    <a:pt x="135" y="1072"/>
                  </a:lnTo>
                  <a:lnTo>
                    <a:pt x="135" y="1071"/>
                  </a:lnTo>
                  <a:lnTo>
                    <a:pt x="135" y="1069"/>
                  </a:lnTo>
                  <a:lnTo>
                    <a:pt x="135" y="1067"/>
                  </a:lnTo>
                  <a:lnTo>
                    <a:pt x="135" y="1066"/>
                  </a:lnTo>
                  <a:lnTo>
                    <a:pt x="133" y="1066"/>
                  </a:lnTo>
                  <a:lnTo>
                    <a:pt x="133" y="1064"/>
                  </a:lnTo>
                  <a:lnTo>
                    <a:pt x="133" y="1066"/>
                  </a:lnTo>
                  <a:lnTo>
                    <a:pt x="133" y="1064"/>
                  </a:lnTo>
                  <a:lnTo>
                    <a:pt x="133" y="1062"/>
                  </a:lnTo>
                  <a:lnTo>
                    <a:pt x="132" y="1061"/>
                  </a:lnTo>
                  <a:lnTo>
                    <a:pt x="132" y="1058"/>
                  </a:lnTo>
                  <a:lnTo>
                    <a:pt x="130" y="1054"/>
                  </a:lnTo>
                  <a:lnTo>
                    <a:pt x="130" y="1053"/>
                  </a:lnTo>
                  <a:lnTo>
                    <a:pt x="128" y="1051"/>
                  </a:lnTo>
                  <a:lnTo>
                    <a:pt x="130" y="1051"/>
                  </a:lnTo>
                  <a:lnTo>
                    <a:pt x="130" y="1049"/>
                  </a:lnTo>
                  <a:lnTo>
                    <a:pt x="132" y="1049"/>
                  </a:lnTo>
                  <a:lnTo>
                    <a:pt x="132" y="1051"/>
                  </a:lnTo>
                  <a:lnTo>
                    <a:pt x="130" y="1051"/>
                  </a:lnTo>
                  <a:lnTo>
                    <a:pt x="132" y="1051"/>
                  </a:lnTo>
                  <a:lnTo>
                    <a:pt x="130" y="1051"/>
                  </a:lnTo>
                  <a:lnTo>
                    <a:pt x="132" y="1053"/>
                  </a:lnTo>
                  <a:lnTo>
                    <a:pt x="132" y="1051"/>
                  </a:lnTo>
                  <a:lnTo>
                    <a:pt x="132" y="1053"/>
                  </a:lnTo>
                  <a:lnTo>
                    <a:pt x="132" y="1051"/>
                  </a:lnTo>
                  <a:lnTo>
                    <a:pt x="133" y="1053"/>
                  </a:lnTo>
                  <a:lnTo>
                    <a:pt x="132" y="1053"/>
                  </a:lnTo>
                  <a:lnTo>
                    <a:pt x="132" y="1056"/>
                  </a:lnTo>
                  <a:lnTo>
                    <a:pt x="133" y="1056"/>
                  </a:lnTo>
                  <a:lnTo>
                    <a:pt x="133" y="1058"/>
                  </a:lnTo>
                  <a:lnTo>
                    <a:pt x="133" y="1056"/>
                  </a:lnTo>
                  <a:lnTo>
                    <a:pt x="133" y="1058"/>
                  </a:lnTo>
                  <a:lnTo>
                    <a:pt x="132" y="1058"/>
                  </a:lnTo>
                  <a:lnTo>
                    <a:pt x="132" y="1061"/>
                  </a:lnTo>
                  <a:lnTo>
                    <a:pt x="133" y="1061"/>
                  </a:lnTo>
                  <a:lnTo>
                    <a:pt x="133" y="1062"/>
                  </a:lnTo>
                  <a:lnTo>
                    <a:pt x="135" y="1062"/>
                  </a:lnTo>
                  <a:lnTo>
                    <a:pt x="137" y="1062"/>
                  </a:lnTo>
                  <a:lnTo>
                    <a:pt x="138" y="1062"/>
                  </a:lnTo>
                  <a:lnTo>
                    <a:pt x="138" y="1061"/>
                  </a:lnTo>
                  <a:lnTo>
                    <a:pt x="140" y="1061"/>
                  </a:lnTo>
                  <a:lnTo>
                    <a:pt x="140" y="1059"/>
                  </a:lnTo>
                  <a:lnTo>
                    <a:pt x="140" y="1058"/>
                  </a:lnTo>
                  <a:lnTo>
                    <a:pt x="141" y="1059"/>
                  </a:lnTo>
                  <a:lnTo>
                    <a:pt x="141" y="1061"/>
                  </a:lnTo>
                  <a:lnTo>
                    <a:pt x="141" y="1059"/>
                  </a:lnTo>
                  <a:lnTo>
                    <a:pt x="141" y="1058"/>
                  </a:lnTo>
                  <a:lnTo>
                    <a:pt x="143" y="1058"/>
                  </a:lnTo>
                  <a:lnTo>
                    <a:pt x="143" y="1056"/>
                  </a:lnTo>
                  <a:lnTo>
                    <a:pt x="141" y="1054"/>
                  </a:lnTo>
                  <a:lnTo>
                    <a:pt x="140" y="1054"/>
                  </a:lnTo>
                  <a:lnTo>
                    <a:pt x="141" y="1056"/>
                  </a:lnTo>
                  <a:lnTo>
                    <a:pt x="140" y="1056"/>
                  </a:lnTo>
                  <a:lnTo>
                    <a:pt x="138" y="1058"/>
                  </a:lnTo>
                  <a:lnTo>
                    <a:pt x="138" y="1056"/>
                  </a:lnTo>
                  <a:lnTo>
                    <a:pt x="137" y="1058"/>
                  </a:lnTo>
                  <a:lnTo>
                    <a:pt x="135" y="1056"/>
                  </a:lnTo>
                  <a:lnTo>
                    <a:pt x="135" y="1054"/>
                  </a:lnTo>
                  <a:lnTo>
                    <a:pt x="133" y="1054"/>
                  </a:lnTo>
                  <a:lnTo>
                    <a:pt x="133" y="1053"/>
                  </a:lnTo>
                  <a:lnTo>
                    <a:pt x="135" y="1053"/>
                  </a:lnTo>
                  <a:lnTo>
                    <a:pt x="137" y="1054"/>
                  </a:lnTo>
                  <a:lnTo>
                    <a:pt x="138" y="1054"/>
                  </a:lnTo>
                  <a:lnTo>
                    <a:pt x="140" y="1051"/>
                  </a:lnTo>
                  <a:lnTo>
                    <a:pt x="140" y="1049"/>
                  </a:lnTo>
                  <a:lnTo>
                    <a:pt x="141" y="1049"/>
                  </a:lnTo>
                  <a:lnTo>
                    <a:pt x="140" y="1048"/>
                  </a:lnTo>
                  <a:lnTo>
                    <a:pt x="140" y="1049"/>
                  </a:lnTo>
                  <a:lnTo>
                    <a:pt x="140" y="1051"/>
                  </a:lnTo>
                  <a:lnTo>
                    <a:pt x="138" y="1053"/>
                  </a:lnTo>
                  <a:lnTo>
                    <a:pt x="138" y="1054"/>
                  </a:lnTo>
                  <a:lnTo>
                    <a:pt x="137" y="1054"/>
                  </a:lnTo>
                  <a:lnTo>
                    <a:pt x="137" y="1053"/>
                  </a:lnTo>
                  <a:lnTo>
                    <a:pt x="138" y="1051"/>
                  </a:lnTo>
                  <a:lnTo>
                    <a:pt x="138" y="1049"/>
                  </a:lnTo>
                  <a:lnTo>
                    <a:pt x="138" y="1048"/>
                  </a:lnTo>
                  <a:lnTo>
                    <a:pt x="138" y="1046"/>
                  </a:lnTo>
                  <a:lnTo>
                    <a:pt x="138" y="1045"/>
                  </a:lnTo>
                  <a:lnTo>
                    <a:pt x="138" y="1046"/>
                  </a:lnTo>
                  <a:lnTo>
                    <a:pt x="138" y="1045"/>
                  </a:lnTo>
                  <a:lnTo>
                    <a:pt x="137" y="1045"/>
                  </a:lnTo>
                  <a:lnTo>
                    <a:pt x="137" y="1046"/>
                  </a:lnTo>
                  <a:lnTo>
                    <a:pt x="135" y="1046"/>
                  </a:lnTo>
                  <a:lnTo>
                    <a:pt x="133" y="1045"/>
                  </a:lnTo>
                  <a:lnTo>
                    <a:pt x="133" y="1043"/>
                  </a:lnTo>
                  <a:lnTo>
                    <a:pt x="133" y="1041"/>
                  </a:lnTo>
                  <a:lnTo>
                    <a:pt x="132" y="1040"/>
                  </a:lnTo>
                  <a:lnTo>
                    <a:pt x="130" y="1040"/>
                  </a:lnTo>
                  <a:lnTo>
                    <a:pt x="130" y="1038"/>
                  </a:lnTo>
                  <a:lnTo>
                    <a:pt x="128" y="1038"/>
                  </a:lnTo>
                  <a:lnTo>
                    <a:pt x="128" y="1040"/>
                  </a:lnTo>
                  <a:lnTo>
                    <a:pt x="127" y="1038"/>
                  </a:lnTo>
                  <a:lnTo>
                    <a:pt x="128" y="1038"/>
                  </a:lnTo>
                  <a:lnTo>
                    <a:pt x="127" y="1036"/>
                  </a:lnTo>
                  <a:lnTo>
                    <a:pt x="125" y="1038"/>
                  </a:lnTo>
                  <a:lnTo>
                    <a:pt x="122" y="1036"/>
                  </a:lnTo>
                  <a:lnTo>
                    <a:pt x="122" y="1035"/>
                  </a:lnTo>
                  <a:lnTo>
                    <a:pt x="122" y="1033"/>
                  </a:lnTo>
                  <a:lnTo>
                    <a:pt x="122" y="1032"/>
                  </a:lnTo>
                  <a:lnTo>
                    <a:pt x="120" y="1030"/>
                  </a:lnTo>
                  <a:lnTo>
                    <a:pt x="120" y="1028"/>
                  </a:lnTo>
                  <a:lnTo>
                    <a:pt x="120" y="1027"/>
                  </a:lnTo>
                  <a:lnTo>
                    <a:pt x="119" y="1023"/>
                  </a:lnTo>
                  <a:lnTo>
                    <a:pt x="119" y="1022"/>
                  </a:lnTo>
                  <a:lnTo>
                    <a:pt x="119" y="1020"/>
                  </a:lnTo>
                  <a:lnTo>
                    <a:pt x="119" y="1019"/>
                  </a:lnTo>
                  <a:lnTo>
                    <a:pt x="120" y="1019"/>
                  </a:lnTo>
                  <a:lnTo>
                    <a:pt x="122" y="1019"/>
                  </a:lnTo>
                  <a:lnTo>
                    <a:pt x="124" y="1017"/>
                  </a:lnTo>
                  <a:lnTo>
                    <a:pt x="125" y="1017"/>
                  </a:lnTo>
                  <a:lnTo>
                    <a:pt x="127" y="1015"/>
                  </a:lnTo>
                  <a:lnTo>
                    <a:pt x="128" y="1015"/>
                  </a:lnTo>
                  <a:lnTo>
                    <a:pt x="130" y="1014"/>
                  </a:lnTo>
                  <a:lnTo>
                    <a:pt x="132" y="1014"/>
                  </a:lnTo>
                  <a:lnTo>
                    <a:pt x="132" y="1012"/>
                  </a:lnTo>
                  <a:lnTo>
                    <a:pt x="132" y="1009"/>
                  </a:lnTo>
                  <a:lnTo>
                    <a:pt x="132" y="1007"/>
                  </a:lnTo>
                  <a:lnTo>
                    <a:pt x="133" y="1002"/>
                  </a:lnTo>
                  <a:lnTo>
                    <a:pt x="133" y="1001"/>
                  </a:lnTo>
                  <a:lnTo>
                    <a:pt x="135" y="999"/>
                  </a:lnTo>
                  <a:lnTo>
                    <a:pt x="137" y="999"/>
                  </a:lnTo>
                  <a:lnTo>
                    <a:pt x="138" y="999"/>
                  </a:lnTo>
                  <a:lnTo>
                    <a:pt x="141" y="999"/>
                  </a:lnTo>
                  <a:lnTo>
                    <a:pt x="141" y="1001"/>
                  </a:lnTo>
                  <a:lnTo>
                    <a:pt x="143" y="1001"/>
                  </a:lnTo>
                  <a:lnTo>
                    <a:pt x="143" y="1002"/>
                  </a:lnTo>
                  <a:lnTo>
                    <a:pt x="145" y="1002"/>
                  </a:lnTo>
                  <a:lnTo>
                    <a:pt x="146" y="1002"/>
                  </a:lnTo>
                  <a:lnTo>
                    <a:pt x="145" y="1002"/>
                  </a:lnTo>
                  <a:lnTo>
                    <a:pt x="143" y="1002"/>
                  </a:lnTo>
                  <a:lnTo>
                    <a:pt x="143" y="1001"/>
                  </a:lnTo>
                  <a:lnTo>
                    <a:pt x="143" y="999"/>
                  </a:lnTo>
                  <a:lnTo>
                    <a:pt x="141" y="999"/>
                  </a:lnTo>
                  <a:lnTo>
                    <a:pt x="135" y="999"/>
                  </a:lnTo>
                  <a:lnTo>
                    <a:pt x="133" y="1001"/>
                  </a:lnTo>
                  <a:lnTo>
                    <a:pt x="132" y="1002"/>
                  </a:lnTo>
                  <a:lnTo>
                    <a:pt x="132" y="1005"/>
                  </a:lnTo>
                  <a:lnTo>
                    <a:pt x="130" y="1007"/>
                  </a:lnTo>
                  <a:lnTo>
                    <a:pt x="130" y="1009"/>
                  </a:lnTo>
                  <a:lnTo>
                    <a:pt x="130" y="1010"/>
                  </a:lnTo>
                  <a:lnTo>
                    <a:pt x="132" y="1012"/>
                  </a:lnTo>
                  <a:lnTo>
                    <a:pt x="132" y="1014"/>
                  </a:lnTo>
                  <a:lnTo>
                    <a:pt x="130" y="1014"/>
                  </a:lnTo>
                  <a:lnTo>
                    <a:pt x="130" y="1012"/>
                  </a:lnTo>
                  <a:lnTo>
                    <a:pt x="130" y="1014"/>
                  </a:lnTo>
                  <a:lnTo>
                    <a:pt x="128" y="1012"/>
                  </a:lnTo>
                  <a:lnTo>
                    <a:pt x="127" y="1012"/>
                  </a:lnTo>
                  <a:lnTo>
                    <a:pt x="125" y="1010"/>
                  </a:lnTo>
                  <a:lnTo>
                    <a:pt x="124" y="1001"/>
                  </a:lnTo>
                  <a:lnTo>
                    <a:pt x="124" y="997"/>
                  </a:lnTo>
                  <a:lnTo>
                    <a:pt x="122" y="996"/>
                  </a:lnTo>
                  <a:lnTo>
                    <a:pt x="122" y="994"/>
                  </a:lnTo>
                  <a:lnTo>
                    <a:pt x="122" y="992"/>
                  </a:lnTo>
                  <a:lnTo>
                    <a:pt x="119" y="988"/>
                  </a:lnTo>
                  <a:lnTo>
                    <a:pt x="115" y="984"/>
                  </a:lnTo>
                  <a:lnTo>
                    <a:pt x="109" y="975"/>
                  </a:lnTo>
                  <a:lnTo>
                    <a:pt x="101" y="968"/>
                  </a:lnTo>
                  <a:lnTo>
                    <a:pt x="94" y="960"/>
                  </a:lnTo>
                  <a:lnTo>
                    <a:pt x="91" y="958"/>
                  </a:lnTo>
                  <a:lnTo>
                    <a:pt x="89" y="957"/>
                  </a:lnTo>
                  <a:lnTo>
                    <a:pt x="88" y="955"/>
                  </a:lnTo>
                  <a:lnTo>
                    <a:pt x="86" y="955"/>
                  </a:lnTo>
                  <a:lnTo>
                    <a:pt x="85" y="953"/>
                  </a:lnTo>
                  <a:lnTo>
                    <a:pt x="86" y="955"/>
                  </a:lnTo>
                  <a:lnTo>
                    <a:pt x="85" y="955"/>
                  </a:lnTo>
                  <a:lnTo>
                    <a:pt x="85" y="953"/>
                  </a:lnTo>
                  <a:lnTo>
                    <a:pt x="81" y="950"/>
                  </a:lnTo>
                  <a:lnTo>
                    <a:pt x="80" y="949"/>
                  </a:lnTo>
                  <a:lnTo>
                    <a:pt x="78" y="949"/>
                  </a:lnTo>
                  <a:lnTo>
                    <a:pt x="80" y="949"/>
                  </a:lnTo>
                  <a:lnTo>
                    <a:pt x="78" y="947"/>
                  </a:lnTo>
                  <a:lnTo>
                    <a:pt x="76" y="945"/>
                  </a:lnTo>
                  <a:lnTo>
                    <a:pt x="76" y="944"/>
                  </a:lnTo>
                  <a:lnTo>
                    <a:pt x="75" y="944"/>
                  </a:lnTo>
                  <a:lnTo>
                    <a:pt x="76" y="944"/>
                  </a:lnTo>
                  <a:lnTo>
                    <a:pt x="76" y="942"/>
                  </a:lnTo>
                  <a:lnTo>
                    <a:pt x="75" y="942"/>
                  </a:lnTo>
                  <a:lnTo>
                    <a:pt x="76" y="942"/>
                  </a:lnTo>
                  <a:lnTo>
                    <a:pt x="75" y="942"/>
                  </a:lnTo>
                  <a:lnTo>
                    <a:pt x="75" y="940"/>
                  </a:lnTo>
                  <a:lnTo>
                    <a:pt x="76" y="940"/>
                  </a:lnTo>
                  <a:lnTo>
                    <a:pt x="76" y="942"/>
                  </a:lnTo>
                  <a:lnTo>
                    <a:pt x="76" y="940"/>
                  </a:lnTo>
                  <a:lnTo>
                    <a:pt x="80" y="939"/>
                  </a:lnTo>
                  <a:lnTo>
                    <a:pt x="81" y="937"/>
                  </a:lnTo>
                  <a:lnTo>
                    <a:pt x="83" y="936"/>
                  </a:lnTo>
                  <a:lnTo>
                    <a:pt x="85" y="934"/>
                  </a:lnTo>
                  <a:lnTo>
                    <a:pt x="86" y="934"/>
                  </a:lnTo>
                  <a:lnTo>
                    <a:pt x="85" y="934"/>
                  </a:lnTo>
                  <a:lnTo>
                    <a:pt x="86" y="931"/>
                  </a:lnTo>
                  <a:lnTo>
                    <a:pt x="88" y="931"/>
                  </a:lnTo>
                  <a:lnTo>
                    <a:pt x="88" y="929"/>
                  </a:lnTo>
                  <a:lnTo>
                    <a:pt x="88" y="931"/>
                  </a:lnTo>
                  <a:lnTo>
                    <a:pt x="89" y="931"/>
                  </a:lnTo>
                  <a:lnTo>
                    <a:pt x="88" y="931"/>
                  </a:lnTo>
                  <a:lnTo>
                    <a:pt x="88" y="929"/>
                  </a:lnTo>
                  <a:lnTo>
                    <a:pt x="88" y="931"/>
                  </a:lnTo>
                  <a:lnTo>
                    <a:pt x="86" y="931"/>
                  </a:lnTo>
                  <a:lnTo>
                    <a:pt x="85" y="934"/>
                  </a:lnTo>
                  <a:lnTo>
                    <a:pt x="83" y="934"/>
                  </a:lnTo>
                  <a:lnTo>
                    <a:pt x="83" y="936"/>
                  </a:lnTo>
                  <a:lnTo>
                    <a:pt x="81" y="936"/>
                  </a:lnTo>
                  <a:lnTo>
                    <a:pt x="78" y="937"/>
                  </a:lnTo>
                  <a:lnTo>
                    <a:pt x="78" y="939"/>
                  </a:lnTo>
                  <a:lnTo>
                    <a:pt x="76" y="939"/>
                  </a:lnTo>
                  <a:lnTo>
                    <a:pt x="76" y="940"/>
                  </a:lnTo>
                  <a:lnTo>
                    <a:pt x="75" y="940"/>
                  </a:lnTo>
                  <a:lnTo>
                    <a:pt x="75" y="939"/>
                  </a:lnTo>
                  <a:lnTo>
                    <a:pt x="75" y="937"/>
                  </a:lnTo>
                  <a:lnTo>
                    <a:pt x="75" y="936"/>
                  </a:lnTo>
                  <a:lnTo>
                    <a:pt x="75" y="934"/>
                  </a:lnTo>
                  <a:lnTo>
                    <a:pt x="75" y="936"/>
                  </a:lnTo>
                  <a:lnTo>
                    <a:pt x="75" y="934"/>
                  </a:lnTo>
                  <a:lnTo>
                    <a:pt x="75" y="932"/>
                  </a:lnTo>
                  <a:lnTo>
                    <a:pt x="76" y="931"/>
                  </a:lnTo>
                  <a:lnTo>
                    <a:pt x="76" y="929"/>
                  </a:lnTo>
                  <a:lnTo>
                    <a:pt x="76" y="931"/>
                  </a:lnTo>
                  <a:lnTo>
                    <a:pt x="75" y="931"/>
                  </a:lnTo>
                  <a:lnTo>
                    <a:pt x="76" y="929"/>
                  </a:lnTo>
                  <a:lnTo>
                    <a:pt x="75" y="929"/>
                  </a:lnTo>
                  <a:lnTo>
                    <a:pt x="75" y="927"/>
                  </a:lnTo>
                  <a:lnTo>
                    <a:pt x="75" y="929"/>
                  </a:lnTo>
                  <a:lnTo>
                    <a:pt x="75" y="931"/>
                  </a:lnTo>
                  <a:lnTo>
                    <a:pt x="75" y="929"/>
                  </a:lnTo>
                  <a:lnTo>
                    <a:pt x="75" y="927"/>
                  </a:lnTo>
                  <a:lnTo>
                    <a:pt x="73" y="927"/>
                  </a:lnTo>
                  <a:lnTo>
                    <a:pt x="73" y="926"/>
                  </a:lnTo>
                  <a:lnTo>
                    <a:pt x="73" y="927"/>
                  </a:lnTo>
                  <a:lnTo>
                    <a:pt x="75" y="929"/>
                  </a:lnTo>
                  <a:lnTo>
                    <a:pt x="73" y="931"/>
                  </a:lnTo>
                  <a:lnTo>
                    <a:pt x="75" y="932"/>
                  </a:lnTo>
                  <a:lnTo>
                    <a:pt x="73" y="932"/>
                  </a:lnTo>
                  <a:lnTo>
                    <a:pt x="73" y="931"/>
                  </a:lnTo>
                  <a:lnTo>
                    <a:pt x="73" y="932"/>
                  </a:lnTo>
                  <a:lnTo>
                    <a:pt x="72" y="931"/>
                  </a:lnTo>
                  <a:lnTo>
                    <a:pt x="72" y="932"/>
                  </a:lnTo>
                  <a:lnTo>
                    <a:pt x="70" y="932"/>
                  </a:lnTo>
                  <a:lnTo>
                    <a:pt x="72" y="932"/>
                  </a:lnTo>
                  <a:lnTo>
                    <a:pt x="70" y="932"/>
                  </a:lnTo>
                  <a:lnTo>
                    <a:pt x="72" y="932"/>
                  </a:lnTo>
                  <a:lnTo>
                    <a:pt x="72" y="931"/>
                  </a:lnTo>
                  <a:lnTo>
                    <a:pt x="73" y="932"/>
                  </a:lnTo>
                  <a:lnTo>
                    <a:pt x="73" y="934"/>
                  </a:lnTo>
                  <a:lnTo>
                    <a:pt x="73" y="936"/>
                  </a:lnTo>
                  <a:lnTo>
                    <a:pt x="73" y="939"/>
                  </a:lnTo>
                  <a:lnTo>
                    <a:pt x="73" y="937"/>
                  </a:lnTo>
                  <a:lnTo>
                    <a:pt x="72" y="937"/>
                  </a:lnTo>
                  <a:lnTo>
                    <a:pt x="73" y="936"/>
                  </a:lnTo>
                  <a:lnTo>
                    <a:pt x="72" y="934"/>
                  </a:lnTo>
                  <a:lnTo>
                    <a:pt x="72" y="932"/>
                  </a:lnTo>
                  <a:lnTo>
                    <a:pt x="72" y="934"/>
                  </a:lnTo>
                  <a:lnTo>
                    <a:pt x="72" y="932"/>
                  </a:lnTo>
                  <a:lnTo>
                    <a:pt x="70" y="932"/>
                  </a:lnTo>
                  <a:lnTo>
                    <a:pt x="70" y="934"/>
                  </a:lnTo>
                  <a:lnTo>
                    <a:pt x="68" y="934"/>
                  </a:lnTo>
                  <a:lnTo>
                    <a:pt x="70" y="934"/>
                  </a:lnTo>
                  <a:lnTo>
                    <a:pt x="68" y="936"/>
                  </a:lnTo>
                  <a:lnTo>
                    <a:pt x="68" y="934"/>
                  </a:lnTo>
                  <a:lnTo>
                    <a:pt x="68" y="936"/>
                  </a:lnTo>
                  <a:lnTo>
                    <a:pt x="67" y="936"/>
                  </a:lnTo>
                  <a:lnTo>
                    <a:pt x="67" y="937"/>
                  </a:lnTo>
                  <a:lnTo>
                    <a:pt x="67" y="939"/>
                  </a:lnTo>
                  <a:lnTo>
                    <a:pt x="68" y="937"/>
                  </a:lnTo>
                  <a:lnTo>
                    <a:pt x="70" y="939"/>
                  </a:lnTo>
                  <a:lnTo>
                    <a:pt x="72" y="940"/>
                  </a:lnTo>
                  <a:lnTo>
                    <a:pt x="72" y="939"/>
                  </a:lnTo>
                  <a:lnTo>
                    <a:pt x="72" y="940"/>
                  </a:lnTo>
                  <a:lnTo>
                    <a:pt x="70" y="939"/>
                  </a:lnTo>
                  <a:lnTo>
                    <a:pt x="68" y="937"/>
                  </a:lnTo>
                  <a:lnTo>
                    <a:pt x="68" y="939"/>
                  </a:lnTo>
                  <a:lnTo>
                    <a:pt x="70" y="939"/>
                  </a:lnTo>
                  <a:lnTo>
                    <a:pt x="72" y="940"/>
                  </a:lnTo>
                  <a:lnTo>
                    <a:pt x="72" y="942"/>
                  </a:lnTo>
                  <a:lnTo>
                    <a:pt x="72" y="944"/>
                  </a:lnTo>
                  <a:lnTo>
                    <a:pt x="73" y="945"/>
                  </a:lnTo>
                  <a:lnTo>
                    <a:pt x="73" y="947"/>
                  </a:lnTo>
                  <a:lnTo>
                    <a:pt x="73" y="945"/>
                  </a:lnTo>
                  <a:lnTo>
                    <a:pt x="72" y="944"/>
                  </a:lnTo>
                  <a:lnTo>
                    <a:pt x="67" y="940"/>
                  </a:lnTo>
                  <a:lnTo>
                    <a:pt x="65" y="939"/>
                  </a:lnTo>
                  <a:lnTo>
                    <a:pt x="59" y="936"/>
                  </a:lnTo>
                  <a:lnTo>
                    <a:pt x="55" y="936"/>
                  </a:lnTo>
                  <a:lnTo>
                    <a:pt x="54" y="934"/>
                  </a:lnTo>
                  <a:lnTo>
                    <a:pt x="52" y="936"/>
                  </a:lnTo>
                  <a:lnTo>
                    <a:pt x="52" y="934"/>
                  </a:lnTo>
                  <a:lnTo>
                    <a:pt x="50" y="934"/>
                  </a:lnTo>
                  <a:lnTo>
                    <a:pt x="50" y="932"/>
                  </a:lnTo>
                  <a:lnTo>
                    <a:pt x="52" y="932"/>
                  </a:lnTo>
                  <a:lnTo>
                    <a:pt x="52" y="931"/>
                  </a:lnTo>
                  <a:lnTo>
                    <a:pt x="50" y="931"/>
                  </a:lnTo>
                  <a:lnTo>
                    <a:pt x="52" y="929"/>
                  </a:lnTo>
                  <a:lnTo>
                    <a:pt x="52" y="927"/>
                  </a:lnTo>
                  <a:lnTo>
                    <a:pt x="50" y="927"/>
                  </a:lnTo>
                  <a:lnTo>
                    <a:pt x="50" y="926"/>
                  </a:lnTo>
                  <a:lnTo>
                    <a:pt x="50" y="927"/>
                  </a:lnTo>
                  <a:lnTo>
                    <a:pt x="52" y="927"/>
                  </a:lnTo>
                  <a:lnTo>
                    <a:pt x="52" y="929"/>
                  </a:lnTo>
                  <a:lnTo>
                    <a:pt x="50" y="931"/>
                  </a:lnTo>
                  <a:lnTo>
                    <a:pt x="50" y="932"/>
                  </a:lnTo>
                  <a:lnTo>
                    <a:pt x="49" y="932"/>
                  </a:lnTo>
                  <a:lnTo>
                    <a:pt x="49" y="934"/>
                  </a:lnTo>
                  <a:lnTo>
                    <a:pt x="50" y="934"/>
                  </a:lnTo>
                  <a:lnTo>
                    <a:pt x="50" y="936"/>
                  </a:lnTo>
                  <a:lnTo>
                    <a:pt x="52" y="936"/>
                  </a:lnTo>
                  <a:lnTo>
                    <a:pt x="54" y="936"/>
                  </a:lnTo>
                  <a:lnTo>
                    <a:pt x="57" y="937"/>
                  </a:lnTo>
                  <a:lnTo>
                    <a:pt x="60" y="937"/>
                  </a:lnTo>
                  <a:lnTo>
                    <a:pt x="62" y="937"/>
                  </a:lnTo>
                  <a:lnTo>
                    <a:pt x="62" y="939"/>
                  </a:lnTo>
                  <a:lnTo>
                    <a:pt x="60" y="937"/>
                  </a:lnTo>
                  <a:lnTo>
                    <a:pt x="52" y="936"/>
                  </a:lnTo>
                  <a:lnTo>
                    <a:pt x="49" y="936"/>
                  </a:lnTo>
                  <a:lnTo>
                    <a:pt x="47" y="934"/>
                  </a:lnTo>
                  <a:lnTo>
                    <a:pt x="46" y="934"/>
                  </a:lnTo>
                  <a:lnTo>
                    <a:pt x="39" y="934"/>
                  </a:lnTo>
                  <a:lnTo>
                    <a:pt x="36" y="932"/>
                  </a:lnTo>
                  <a:lnTo>
                    <a:pt x="34" y="934"/>
                  </a:lnTo>
                  <a:lnTo>
                    <a:pt x="33" y="934"/>
                  </a:lnTo>
                  <a:lnTo>
                    <a:pt x="33" y="932"/>
                  </a:lnTo>
                  <a:lnTo>
                    <a:pt x="33" y="934"/>
                  </a:lnTo>
                  <a:lnTo>
                    <a:pt x="31" y="932"/>
                  </a:lnTo>
                  <a:lnTo>
                    <a:pt x="31" y="934"/>
                  </a:lnTo>
                  <a:lnTo>
                    <a:pt x="31" y="932"/>
                  </a:lnTo>
                  <a:lnTo>
                    <a:pt x="31" y="931"/>
                  </a:lnTo>
                  <a:lnTo>
                    <a:pt x="33" y="931"/>
                  </a:lnTo>
                  <a:lnTo>
                    <a:pt x="33" y="932"/>
                  </a:lnTo>
                  <a:lnTo>
                    <a:pt x="33" y="931"/>
                  </a:lnTo>
                  <a:lnTo>
                    <a:pt x="33" y="932"/>
                  </a:lnTo>
                  <a:lnTo>
                    <a:pt x="34" y="932"/>
                  </a:lnTo>
                  <a:lnTo>
                    <a:pt x="33" y="932"/>
                  </a:lnTo>
                  <a:lnTo>
                    <a:pt x="33" y="931"/>
                  </a:lnTo>
                  <a:lnTo>
                    <a:pt x="31" y="931"/>
                  </a:lnTo>
                  <a:lnTo>
                    <a:pt x="29" y="931"/>
                  </a:lnTo>
                  <a:lnTo>
                    <a:pt x="28" y="931"/>
                  </a:lnTo>
                  <a:lnTo>
                    <a:pt x="29" y="931"/>
                  </a:lnTo>
                  <a:lnTo>
                    <a:pt x="31" y="931"/>
                  </a:lnTo>
                  <a:lnTo>
                    <a:pt x="31" y="932"/>
                  </a:lnTo>
                  <a:lnTo>
                    <a:pt x="31" y="934"/>
                  </a:lnTo>
                  <a:lnTo>
                    <a:pt x="29" y="934"/>
                  </a:lnTo>
                  <a:lnTo>
                    <a:pt x="28" y="934"/>
                  </a:lnTo>
                  <a:lnTo>
                    <a:pt x="26" y="936"/>
                  </a:lnTo>
                  <a:lnTo>
                    <a:pt x="24" y="934"/>
                  </a:lnTo>
                  <a:lnTo>
                    <a:pt x="23" y="932"/>
                  </a:lnTo>
                  <a:lnTo>
                    <a:pt x="23" y="931"/>
                  </a:lnTo>
                  <a:lnTo>
                    <a:pt x="23" y="929"/>
                  </a:lnTo>
                  <a:lnTo>
                    <a:pt x="23" y="926"/>
                  </a:lnTo>
                  <a:lnTo>
                    <a:pt x="23" y="924"/>
                  </a:lnTo>
                  <a:lnTo>
                    <a:pt x="21" y="923"/>
                  </a:lnTo>
                  <a:lnTo>
                    <a:pt x="21" y="921"/>
                  </a:lnTo>
                  <a:lnTo>
                    <a:pt x="23" y="919"/>
                  </a:lnTo>
                  <a:lnTo>
                    <a:pt x="23" y="918"/>
                  </a:lnTo>
                  <a:lnTo>
                    <a:pt x="23" y="916"/>
                  </a:lnTo>
                  <a:lnTo>
                    <a:pt x="23" y="914"/>
                  </a:lnTo>
                  <a:lnTo>
                    <a:pt x="23" y="913"/>
                  </a:lnTo>
                  <a:lnTo>
                    <a:pt x="23" y="911"/>
                  </a:lnTo>
                  <a:lnTo>
                    <a:pt x="23" y="910"/>
                  </a:lnTo>
                  <a:lnTo>
                    <a:pt x="23" y="908"/>
                  </a:lnTo>
                  <a:lnTo>
                    <a:pt x="24" y="908"/>
                  </a:lnTo>
                  <a:lnTo>
                    <a:pt x="24" y="906"/>
                  </a:lnTo>
                  <a:lnTo>
                    <a:pt x="24" y="905"/>
                  </a:lnTo>
                  <a:lnTo>
                    <a:pt x="24" y="903"/>
                  </a:lnTo>
                  <a:lnTo>
                    <a:pt x="24" y="901"/>
                  </a:lnTo>
                  <a:lnTo>
                    <a:pt x="24" y="900"/>
                  </a:lnTo>
                  <a:lnTo>
                    <a:pt x="23" y="900"/>
                  </a:lnTo>
                  <a:lnTo>
                    <a:pt x="23" y="898"/>
                  </a:lnTo>
                  <a:lnTo>
                    <a:pt x="24" y="900"/>
                  </a:lnTo>
                  <a:lnTo>
                    <a:pt x="24" y="898"/>
                  </a:lnTo>
                  <a:lnTo>
                    <a:pt x="24" y="897"/>
                  </a:lnTo>
                  <a:lnTo>
                    <a:pt x="24" y="895"/>
                  </a:lnTo>
                  <a:lnTo>
                    <a:pt x="24" y="893"/>
                  </a:lnTo>
                  <a:lnTo>
                    <a:pt x="24" y="892"/>
                  </a:lnTo>
                  <a:lnTo>
                    <a:pt x="24" y="890"/>
                  </a:lnTo>
                  <a:lnTo>
                    <a:pt x="24" y="888"/>
                  </a:lnTo>
                  <a:lnTo>
                    <a:pt x="24" y="887"/>
                  </a:lnTo>
                  <a:lnTo>
                    <a:pt x="23" y="887"/>
                  </a:lnTo>
                  <a:lnTo>
                    <a:pt x="23" y="885"/>
                  </a:lnTo>
                  <a:lnTo>
                    <a:pt x="23" y="884"/>
                  </a:lnTo>
                  <a:lnTo>
                    <a:pt x="23" y="882"/>
                  </a:lnTo>
                  <a:lnTo>
                    <a:pt x="21" y="882"/>
                  </a:lnTo>
                  <a:lnTo>
                    <a:pt x="21" y="880"/>
                  </a:lnTo>
                  <a:lnTo>
                    <a:pt x="20" y="879"/>
                  </a:lnTo>
                  <a:lnTo>
                    <a:pt x="20" y="877"/>
                  </a:lnTo>
                  <a:lnTo>
                    <a:pt x="21" y="877"/>
                  </a:lnTo>
                  <a:lnTo>
                    <a:pt x="23" y="877"/>
                  </a:lnTo>
                  <a:lnTo>
                    <a:pt x="21" y="875"/>
                  </a:lnTo>
                  <a:lnTo>
                    <a:pt x="23" y="875"/>
                  </a:lnTo>
                  <a:lnTo>
                    <a:pt x="23" y="874"/>
                  </a:lnTo>
                  <a:lnTo>
                    <a:pt x="24" y="874"/>
                  </a:lnTo>
                  <a:lnTo>
                    <a:pt x="24" y="872"/>
                  </a:lnTo>
                  <a:lnTo>
                    <a:pt x="24" y="871"/>
                  </a:lnTo>
                  <a:lnTo>
                    <a:pt x="24" y="872"/>
                  </a:lnTo>
                  <a:lnTo>
                    <a:pt x="26" y="872"/>
                  </a:lnTo>
                  <a:lnTo>
                    <a:pt x="26" y="871"/>
                  </a:lnTo>
                  <a:lnTo>
                    <a:pt x="26" y="869"/>
                  </a:lnTo>
                  <a:lnTo>
                    <a:pt x="28" y="869"/>
                  </a:lnTo>
                  <a:lnTo>
                    <a:pt x="28" y="867"/>
                  </a:lnTo>
                  <a:lnTo>
                    <a:pt x="29" y="867"/>
                  </a:lnTo>
                  <a:lnTo>
                    <a:pt x="29" y="866"/>
                  </a:lnTo>
                  <a:lnTo>
                    <a:pt x="31" y="867"/>
                  </a:lnTo>
                  <a:lnTo>
                    <a:pt x="31" y="866"/>
                  </a:lnTo>
                  <a:lnTo>
                    <a:pt x="31" y="864"/>
                  </a:lnTo>
                  <a:lnTo>
                    <a:pt x="33" y="864"/>
                  </a:lnTo>
                  <a:lnTo>
                    <a:pt x="33" y="862"/>
                  </a:lnTo>
                  <a:lnTo>
                    <a:pt x="31" y="862"/>
                  </a:lnTo>
                  <a:lnTo>
                    <a:pt x="33" y="862"/>
                  </a:lnTo>
                  <a:lnTo>
                    <a:pt x="33" y="861"/>
                  </a:lnTo>
                  <a:lnTo>
                    <a:pt x="33" y="859"/>
                  </a:lnTo>
                  <a:lnTo>
                    <a:pt x="34" y="859"/>
                  </a:lnTo>
                  <a:lnTo>
                    <a:pt x="34" y="857"/>
                  </a:lnTo>
                  <a:lnTo>
                    <a:pt x="36" y="856"/>
                  </a:lnTo>
                  <a:lnTo>
                    <a:pt x="36" y="854"/>
                  </a:lnTo>
                  <a:lnTo>
                    <a:pt x="37" y="854"/>
                  </a:lnTo>
                  <a:lnTo>
                    <a:pt x="37" y="853"/>
                  </a:lnTo>
                  <a:lnTo>
                    <a:pt x="37" y="851"/>
                  </a:lnTo>
                  <a:lnTo>
                    <a:pt x="37" y="853"/>
                  </a:lnTo>
                  <a:lnTo>
                    <a:pt x="39" y="851"/>
                  </a:lnTo>
                  <a:lnTo>
                    <a:pt x="41" y="851"/>
                  </a:lnTo>
                  <a:lnTo>
                    <a:pt x="42" y="851"/>
                  </a:lnTo>
                  <a:lnTo>
                    <a:pt x="42" y="849"/>
                  </a:lnTo>
                  <a:lnTo>
                    <a:pt x="44" y="849"/>
                  </a:lnTo>
                  <a:lnTo>
                    <a:pt x="44" y="848"/>
                  </a:lnTo>
                  <a:lnTo>
                    <a:pt x="46" y="848"/>
                  </a:lnTo>
                  <a:lnTo>
                    <a:pt x="47" y="848"/>
                  </a:lnTo>
                  <a:lnTo>
                    <a:pt x="49" y="846"/>
                  </a:lnTo>
                  <a:lnTo>
                    <a:pt x="50" y="846"/>
                  </a:lnTo>
                  <a:lnTo>
                    <a:pt x="50" y="844"/>
                  </a:lnTo>
                  <a:lnTo>
                    <a:pt x="52" y="844"/>
                  </a:lnTo>
                  <a:lnTo>
                    <a:pt x="52" y="843"/>
                  </a:lnTo>
                  <a:lnTo>
                    <a:pt x="54" y="843"/>
                  </a:lnTo>
                  <a:lnTo>
                    <a:pt x="54" y="841"/>
                  </a:lnTo>
                  <a:lnTo>
                    <a:pt x="55" y="841"/>
                  </a:lnTo>
                  <a:lnTo>
                    <a:pt x="55" y="840"/>
                  </a:lnTo>
                  <a:lnTo>
                    <a:pt x="57" y="840"/>
                  </a:lnTo>
                  <a:lnTo>
                    <a:pt x="57" y="836"/>
                  </a:lnTo>
                  <a:lnTo>
                    <a:pt x="59" y="836"/>
                  </a:lnTo>
                  <a:lnTo>
                    <a:pt x="59" y="835"/>
                  </a:lnTo>
                  <a:lnTo>
                    <a:pt x="60" y="833"/>
                  </a:lnTo>
                  <a:lnTo>
                    <a:pt x="60" y="831"/>
                  </a:lnTo>
                  <a:lnTo>
                    <a:pt x="62" y="831"/>
                  </a:lnTo>
                  <a:lnTo>
                    <a:pt x="62" y="830"/>
                  </a:lnTo>
                  <a:lnTo>
                    <a:pt x="62" y="828"/>
                  </a:lnTo>
                  <a:lnTo>
                    <a:pt x="62" y="827"/>
                  </a:lnTo>
                  <a:lnTo>
                    <a:pt x="62" y="825"/>
                  </a:lnTo>
                  <a:lnTo>
                    <a:pt x="63" y="823"/>
                  </a:lnTo>
                  <a:lnTo>
                    <a:pt x="65" y="823"/>
                  </a:lnTo>
                  <a:lnTo>
                    <a:pt x="65" y="825"/>
                  </a:lnTo>
                  <a:lnTo>
                    <a:pt x="67" y="825"/>
                  </a:lnTo>
                  <a:lnTo>
                    <a:pt x="67" y="823"/>
                  </a:lnTo>
                  <a:lnTo>
                    <a:pt x="68" y="823"/>
                  </a:lnTo>
                  <a:lnTo>
                    <a:pt x="70" y="823"/>
                  </a:lnTo>
                  <a:lnTo>
                    <a:pt x="70" y="825"/>
                  </a:lnTo>
                  <a:lnTo>
                    <a:pt x="72" y="825"/>
                  </a:lnTo>
                  <a:lnTo>
                    <a:pt x="73" y="825"/>
                  </a:lnTo>
                  <a:lnTo>
                    <a:pt x="75" y="825"/>
                  </a:lnTo>
                  <a:lnTo>
                    <a:pt x="76" y="825"/>
                  </a:lnTo>
                  <a:lnTo>
                    <a:pt x="78" y="825"/>
                  </a:lnTo>
                  <a:lnTo>
                    <a:pt x="76" y="823"/>
                  </a:lnTo>
                  <a:lnTo>
                    <a:pt x="76" y="822"/>
                  </a:lnTo>
                  <a:lnTo>
                    <a:pt x="78" y="822"/>
                  </a:lnTo>
                  <a:lnTo>
                    <a:pt x="80" y="820"/>
                  </a:lnTo>
                  <a:lnTo>
                    <a:pt x="81" y="820"/>
                  </a:lnTo>
                  <a:lnTo>
                    <a:pt x="83" y="822"/>
                  </a:lnTo>
                  <a:lnTo>
                    <a:pt x="85" y="822"/>
                  </a:lnTo>
                  <a:lnTo>
                    <a:pt x="85" y="823"/>
                  </a:lnTo>
                  <a:lnTo>
                    <a:pt x="85" y="825"/>
                  </a:lnTo>
                  <a:lnTo>
                    <a:pt x="88" y="825"/>
                  </a:lnTo>
                  <a:lnTo>
                    <a:pt x="89" y="825"/>
                  </a:lnTo>
                  <a:lnTo>
                    <a:pt x="91" y="825"/>
                  </a:lnTo>
                  <a:lnTo>
                    <a:pt x="93" y="823"/>
                  </a:lnTo>
                  <a:lnTo>
                    <a:pt x="93" y="822"/>
                  </a:lnTo>
                  <a:lnTo>
                    <a:pt x="94" y="822"/>
                  </a:lnTo>
                  <a:lnTo>
                    <a:pt x="94" y="820"/>
                  </a:lnTo>
                  <a:lnTo>
                    <a:pt x="94" y="815"/>
                  </a:lnTo>
                  <a:lnTo>
                    <a:pt x="96" y="815"/>
                  </a:lnTo>
                  <a:lnTo>
                    <a:pt x="98" y="814"/>
                  </a:lnTo>
                  <a:lnTo>
                    <a:pt x="101" y="809"/>
                  </a:lnTo>
                  <a:lnTo>
                    <a:pt x="99" y="807"/>
                  </a:lnTo>
                  <a:lnTo>
                    <a:pt x="99" y="805"/>
                  </a:lnTo>
                  <a:lnTo>
                    <a:pt x="101" y="804"/>
                  </a:lnTo>
                  <a:lnTo>
                    <a:pt x="104" y="802"/>
                  </a:lnTo>
                  <a:lnTo>
                    <a:pt x="104" y="801"/>
                  </a:lnTo>
                  <a:lnTo>
                    <a:pt x="104" y="799"/>
                  </a:lnTo>
                  <a:lnTo>
                    <a:pt x="104" y="801"/>
                  </a:lnTo>
                  <a:lnTo>
                    <a:pt x="102" y="801"/>
                  </a:lnTo>
                  <a:lnTo>
                    <a:pt x="102" y="799"/>
                  </a:lnTo>
                  <a:lnTo>
                    <a:pt x="102" y="801"/>
                  </a:lnTo>
                  <a:lnTo>
                    <a:pt x="99" y="801"/>
                  </a:lnTo>
                  <a:lnTo>
                    <a:pt x="99" y="799"/>
                  </a:lnTo>
                  <a:lnTo>
                    <a:pt x="98" y="801"/>
                  </a:lnTo>
                  <a:lnTo>
                    <a:pt x="96" y="801"/>
                  </a:lnTo>
                  <a:lnTo>
                    <a:pt x="94" y="801"/>
                  </a:lnTo>
                  <a:lnTo>
                    <a:pt x="94" y="802"/>
                  </a:lnTo>
                  <a:lnTo>
                    <a:pt x="93" y="802"/>
                  </a:lnTo>
                  <a:lnTo>
                    <a:pt x="91" y="802"/>
                  </a:lnTo>
                  <a:lnTo>
                    <a:pt x="89" y="802"/>
                  </a:lnTo>
                  <a:lnTo>
                    <a:pt x="89" y="801"/>
                  </a:lnTo>
                  <a:lnTo>
                    <a:pt x="89" y="802"/>
                  </a:lnTo>
                  <a:lnTo>
                    <a:pt x="88" y="802"/>
                  </a:lnTo>
                  <a:lnTo>
                    <a:pt x="86" y="802"/>
                  </a:lnTo>
                  <a:lnTo>
                    <a:pt x="85" y="801"/>
                  </a:lnTo>
                  <a:lnTo>
                    <a:pt x="83" y="796"/>
                  </a:lnTo>
                  <a:lnTo>
                    <a:pt x="83" y="794"/>
                  </a:lnTo>
                  <a:lnTo>
                    <a:pt x="83" y="791"/>
                  </a:lnTo>
                  <a:lnTo>
                    <a:pt x="83" y="789"/>
                  </a:lnTo>
                  <a:lnTo>
                    <a:pt x="83" y="788"/>
                  </a:lnTo>
                  <a:lnTo>
                    <a:pt x="81" y="788"/>
                  </a:lnTo>
                  <a:lnTo>
                    <a:pt x="81" y="786"/>
                  </a:lnTo>
                  <a:lnTo>
                    <a:pt x="80" y="784"/>
                  </a:lnTo>
                  <a:lnTo>
                    <a:pt x="80" y="783"/>
                  </a:lnTo>
                  <a:lnTo>
                    <a:pt x="78" y="778"/>
                  </a:lnTo>
                  <a:lnTo>
                    <a:pt x="76" y="775"/>
                  </a:lnTo>
                  <a:lnTo>
                    <a:pt x="73" y="771"/>
                  </a:lnTo>
                  <a:lnTo>
                    <a:pt x="72" y="766"/>
                  </a:lnTo>
                  <a:lnTo>
                    <a:pt x="72" y="763"/>
                  </a:lnTo>
                  <a:lnTo>
                    <a:pt x="72" y="762"/>
                  </a:lnTo>
                  <a:lnTo>
                    <a:pt x="70" y="760"/>
                  </a:lnTo>
                  <a:lnTo>
                    <a:pt x="68" y="760"/>
                  </a:lnTo>
                  <a:lnTo>
                    <a:pt x="68" y="758"/>
                  </a:lnTo>
                  <a:lnTo>
                    <a:pt x="70" y="757"/>
                  </a:lnTo>
                  <a:lnTo>
                    <a:pt x="72" y="757"/>
                  </a:lnTo>
                  <a:lnTo>
                    <a:pt x="72" y="755"/>
                  </a:lnTo>
                  <a:lnTo>
                    <a:pt x="72" y="753"/>
                  </a:lnTo>
                  <a:lnTo>
                    <a:pt x="70" y="753"/>
                  </a:lnTo>
                  <a:lnTo>
                    <a:pt x="70" y="755"/>
                  </a:lnTo>
                  <a:lnTo>
                    <a:pt x="68" y="753"/>
                  </a:lnTo>
                  <a:lnTo>
                    <a:pt x="70" y="753"/>
                  </a:lnTo>
                  <a:lnTo>
                    <a:pt x="70" y="752"/>
                  </a:lnTo>
                  <a:lnTo>
                    <a:pt x="72" y="749"/>
                  </a:lnTo>
                  <a:lnTo>
                    <a:pt x="73" y="749"/>
                  </a:lnTo>
                  <a:lnTo>
                    <a:pt x="73" y="747"/>
                  </a:lnTo>
                  <a:lnTo>
                    <a:pt x="73" y="745"/>
                  </a:lnTo>
                  <a:lnTo>
                    <a:pt x="75" y="744"/>
                  </a:lnTo>
                  <a:lnTo>
                    <a:pt x="76" y="740"/>
                  </a:lnTo>
                  <a:lnTo>
                    <a:pt x="76" y="742"/>
                  </a:lnTo>
                  <a:lnTo>
                    <a:pt x="78" y="740"/>
                  </a:lnTo>
                  <a:lnTo>
                    <a:pt x="80" y="739"/>
                  </a:lnTo>
                  <a:lnTo>
                    <a:pt x="80" y="737"/>
                  </a:lnTo>
                  <a:lnTo>
                    <a:pt x="81" y="736"/>
                  </a:lnTo>
                  <a:lnTo>
                    <a:pt x="80" y="734"/>
                  </a:lnTo>
                  <a:lnTo>
                    <a:pt x="80" y="732"/>
                  </a:lnTo>
                  <a:lnTo>
                    <a:pt x="80" y="731"/>
                  </a:lnTo>
                  <a:lnTo>
                    <a:pt x="80" y="729"/>
                  </a:lnTo>
                  <a:lnTo>
                    <a:pt x="81" y="727"/>
                  </a:lnTo>
                  <a:lnTo>
                    <a:pt x="81" y="726"/>
                  </a:lnTo>
                  <a:lnTo>
                    <a:pt x="81" y="724"/>
                  </a:lnTo>
                  <a:lnTo>
                    <a:pt x="83" y="723"/>
                  </a:lnTo>
                  <a:lnTo>
                    <a:pt x="83" y="721"/>
                  </a:lnTo>
                  <a:lnTo>
                    <a:pt x="85" y="719"/>
                  </a:lnTo>
                  <a:lnTo>
                    <a:pt x="86" y="721"/>
                  </a:lnTo>
                  <a:lnTo>
                    <a:pt x="88" y="719"/>
                  </a:lnTo>
                  <a:lnTo>
                    <a:pt x="89" y="719"/>
                  </a:lnTo>
                  <a:lnTo>
                    <a:pt x="91" y="719"/>
                  </a:lnTo>
                  <a:lnTo>
                    <a:pt x="91" y="718"/>
                  </a:lnTo>
                  <a:lnTo>
                    <a:pt x="93" y="716"/>
                  </a:lnTo>
                  <a:lnTo>
                    <a:pt x="94" y="716"/>
                  </a:lnTo>
                  <a:lnTo>
                    <a:pt x="96" y="714"/>
                  </a:lnTo>
                  <a:lnTo>
                    <a:pt x="99" y="713"/>
                  </a:lnTo>
                  <a:lnTo>
                    <a:pt x="101" y="711"/>
                  </a:lnTo>
                  <a:lnTo>
                    <a:pt x="102" y="713"/>
                  </a:lnTo>
                  <a:lnTo>
                    <a:pt x="104" y="713"/>
                  </a:lnTo>
                  <a:lnTo>
                    <a:pt x="104" y="711"/>
                  </a:lnTo>
                  <a:lnTo>
                    <a:pt x="106" y="711"/>
                  </a:lnTo>
                  <a:lnTo>
                    <a:pt x="106" y="709"/>
                  </a:lnTo>
                  <a:lnTo>
                    <a:pt x="107" y="708"/>
                  </a:lnTo>
                  <a:lnTo>
                    <a:pt x="109" y="708"/>
                  </a:lnTo>
                  <a:lnTo>
                    <a:pt x="111" y="708"/>
                  </a:lnTo>
                  <a:lnTo>
                    <a:pt x="111" y="706"/>
                  </a:lnTo>
                  <a:lnTo>
                    <a:pt x="112" y="706"/>
                  </a:lnTo>
                  <a:lnTo>
                    <a:pt x="112" y="705"/>
                  </a:lnTo>
                  <a:lnTo>
                    <a:pt x="112" y="703"/>
                  </a:lnTo>
                  <a:lnTo>
                    <a:pt x="112" y="701"/>
                  </a:lnTo>
                  <a:lnTo>
                    <a:pt x="112" y="700"/>
                  </a:lnTo>
                  <a:lnTo>
                    <a:pt x="114" y="700"/>
                  </a:lnTo>
                  <a:lnTo>
                    <a:pt x="115" y="696"/>
                  </a:lnTo>
                  <a:lnTo>
                    <a:pt x="117" y="695"/>
                  </a:lnTo>
                  <a:lnTo>
                    <a:pt x="120" y="693"/>
                  </a:lnTo>
                  <a:lnTo>
                    <a:pt x="124" y="688"/>
                  </a:lnTo>
                  <a:lnTo>
                    <a:pt x="125" y="687"/>
                  </a:lnTo>
                  <a:lnTo>
                    <a:pt x="125" y="685"/>
                  </a:lnTo>
                  <a:lnTo>
                    <a:pt x="124" y="685"/>
                  </a:lnTo>
                  <a:lnTo>
                    <a:pt x="124" y="683"/>
                  </a:lnTo>
                  <a:lnTo>
                    <a:pt x="125" y="682"/>
                  </a:lnTo>
                  <a:lnTo>
                    <a:pt x="124" y="679"/>
                  </a:lnTo>
                  <a:lnTo>
                    <a:pt x="124" y="677"/>
                  </a:lnTo>
                  <a:lnTo>
                    <a:pt x="122" y="675"/>
                  </a:lnTo>
                  <a:lnTo>
                    <a:pt x="120" y="674"/>
                  </a:lnTo>
                  <a:lnTo>
                    <a:pt x="120" y="672"/>
                  </a:lnTo>
                  <a:lnTo>
                    <a:pt x="119" y="672"/>
                  </a:lnTo>
                  <a:lnTo>
                    <a:pt x="115" y="670"/>
                  </a:lnTo>
                  <a:lnTo>
                    <a:pt x="114" y="672"/>
                  </a:lnTo>
                  <a:lnTo>
                    <a:pt x="112" y="672"/>
                  </a:lnTo>
                  <a:lnTo>
                    <a:pt x="111" y="672"/>
                  </a:lnTo>
                  <a:lnTo>
                    <a:pt x="107" y="670"/>
                  </a:lnTo>
                  <a:lnTo>
                    <a:pt x="107" y="669"/>
                  </a:lnTo>
                  <a:lnTo>
                    <a:pt x="107" y="667"/>
                  </a:lnTo>
                  <a:lnTo>
                    <a:pt x="107" y="666"/>
                  </a:lnTo>
                  <a:lnTo>
                    <a:pt x="109" y="666"/>
                  </a:lnTo>
                  <a:lnTo>
                    <a:pt x="109" y="664"/>
                  </a:lnTo>
                  <a:lnTo>
                    <a:pt x="109" y="662"/>
                  </a:lnTo>
                  <a:lnTo>
                    <a:pt x="109" y="661"/>
                  </a:lnTo>
                  <a:lnTo>
                    <a:pt x="107" y="659"/>
                  </a:lnTo>
                  <a:lnTo>
                    <a:pt x="106" y="659"/>
                  </a:lnTo>
                  <a:lnTo>
                    <a:pt x="104" y="657"/>
                  </a:lnTo>
                  <a:lnTo>
                    <a:pt x="102" y="657"/>
                  </a:lnTo>
                  <a:lnTo>
                    <a:pt x="101" y="656"/>
                  </a:lnTo>
                  <a:lnTo>
                    <a:pt x="101" y="654"/>
                  </a:lnTo>
                  <a:lnTo>
                    <a:pt x="99" y="654"/>
                  </a:lnTo>
                  <a:lnTo>
                    <a:pt x="101" y="648"/>
                  </a:lnTo>
                  <a:lnTo>
                    <a:pt x="101" y="646"/>
                  </a:lnTo>
                  <a:lnTo>
                    <a:pt x="102" y="644"/>
                  </a:lnTo>
                  <a:lnTo>
                    <a:pt x="99" y="640"/>
                  </a:lnTo>
                  <a:lnTo>
                    <a:pt x="99" y="638"/>
                  </a:lnTo>
                  <a:lnTo>
                    <a:pt x="98" y="638"/>
                  </a:lnTo>
                  <a:lnTo>
                    <a:pt x="96" y="633"/>
                  </a:lnTo>
                  <a:lnTo>
                    <a:pt x="96" y="631"/>
                  </a:lnTo>
                  <a:lnTo>
                    <a:pt x="96" y="628"/>
                  </a:lnTo>
                  <a:lnTo>
                    <a:pt x="96" y="627"/>
                  </a:lnTo>
                  <a:lnTo>
                    <a:pt x="96" y="625"/>
                  </a:lnTo>
                  <a:lnTo>
                    <a:pt x="98" y="625"/>
                  </a:lnTo>
                  <a:lnTo>
                    <a:pt x="98" y="623"/>
                  </a:lnTo>
                  <a:lnTo>
                    <a:pt x="99" y="623"/>
                  </a:lnTo>
                  <a:lnTo>
                    <a:pt x="99" y="622"/>
                  </a:lnTo>
                  <a:lnTo>
                    <a:pt x="98" y="622"/>
                  </a:lnTo>
                  <a:lnTo>
                    <a:pt x="99" y="620"/>
                  </a:lnTo>
                  <a:lnTo>
                    <a:pt x="99" y="618"/>
                  </a:lnTo>
                  <a:lnTo>
                    <a:pt x="101" y="618"/>
                  </a:lnTo>
                  <a:lnTo>
                    <a:pt x="101" y="617"/>
                  </a:lnTo>
                  <a:lnTo>
                    <a:pt x="98" y="615"/>
                  </a:lnTo>
                  <a:lnTo>
                    <a:pt x="96" y="614"/>
                  </a:lnTo>
                  <a:lnTo>
                    <a:pt x="96" y="612"/>
                  </a:lnTo>
                  <a:lnTo>
                    <a:pt x="94" y="612"/>
                  </a:lnTo>
                  <a:lnTo>
                    <a:pt x="93" y="612"/>
                  </a:lnTo>
                  <a:lnTo>
                    <a:pt x="93" y="610"/>
                  </a:lnTo>
                  <a:lnTo>
                    <a:pt x="91" y="610"/>
                  </a:lnTo>
                  <a:lnTo>
                    <a:pt x="91" y="609"/>
                  </a:lnTo>
                  <a:lnTo>
                    <a:pt x="93" y="609"/>
                  </a:lnTo>
                  <a:lnTo>
                    <a:pt x="93" y="607"/>
                  </a:lnTo>
                  <a:lnTo>
                    <a:pt x="93" y="605"/>
                  </a:lnTo>
                  <a:lnTo>
                    <a:pt x="91" y="604"/>
                  </a:lnTo>
                  <a:lnTo>
                    <a:pt x="91" y="605"/>
                  </a:lnTo>
                  <a:lnTo>
                    <a:pt x="89" y="604"/>
                  </a:lnTo>
                  <a:lnTo>
                    <a:pt x="88" y="604"/>
                  </a:lnTo>
                  <a:lnTo>
                    <a:pt x="88" y="602"/>
                  </a:lnTo>
                  <a:lnTo>
                    <a:pt x="86" y="601"/>
                  </a:lnTo>
                  <a:lnTo>
                    <a:pt x="88" y="601"/>
                  </a:lnTo>
                  <a:lnTo>
                    <a:pt x="86" y="601"/>
                  </a:lnTo>
                  <a:lnTo>
                    <a:pt x="86" y="599"/>
                  </a:lnTo>
                  <a:lnTo>
                    <a:pt x="86" y="597"/>
                  </a:lnTo>
                  <a:lnTo>
                    <a:pt x="85" y="597"/>
                  </a:lnTo>
                  <a:lnTo>
                    <a:pt x="85" y="596"/>
                  </a:lnTo>
                  <a:lnTo>
                    <a:pt x="83" y="596"/>
                  </a:lnTo>
                  <a:lnTo>
                    <a:pt x="83" y="594"/>
                  </a:lnTo>
                  <a:lnTo>
                    <a:pt x="83" y="592"/>
                  </a:lnTo>
                  <a:lnTo>
                    <a:pt x="81" y="592"/>
                  </a:lnTo>
                  <a:lnTo>
                    <a:pt x="83" y="592"/>
                  </a:lnTo>
                  <a:lnTo>
                    <a:pt x="81" y="591"/>
                  </a:lnTo>
                  <a:lnTo>
                    <a:pt x="81" y="589"/>
                  </a:lnTo>
                  <a:lnTo>
                    <a:pt x="81" y="588"/>
                  </a:lnTo>
                  <a:lnTo>
                    <a:pt x="81" y="586"/>
                  </a:lnTo>
                  <a:lnTo>
                    <a:pt x="81" y="584"/>
                  </a:lnTo>
                  <a:lnTo>
                    <a:pt x="81" y="583"/>
                  </a:lnTo>
                  <a:lnTo>
                    <a:pt x="80" y="583"/>
                  </a:lnTo>
                  <a:lnTo>
                    <a:pt x="81" y="583"/>
                  </a:lnTo>
                  <a:lnTo>
                    <a:pt x="86" y="584"/>
                  </a:lnTo>
                  <a:lnTo>
                    <a:pt x="88" y="584"/>
                  </a:lnTo>
                  <a:lnTo>
                    <a:pt x="89" y="584"/>
                  </a:lnTo>
                  <a:lnTo>
                    <a:pt x="91" y="586"/>
                  </a:lnTo>
                  <a:lnTo>
                    <a:pt x="91" y="588"/>
                  </a:lnTo>
                  <a:lnTo>
                    <a:pt x="93" y="588"/>
                  </a:lnTo>
                  <a:lnTo>
                    <a:pt x="94" y="589"/>
                  </a:lnTo>
                  <a:lnTo>
                    <a:pt x="96" y="589"/>
                  </a:lnTo>
                  <a:lnTo>
                    <a:pt x="98" y="589"/>
                  </a:lnTo>
                  <a:lnTo>
                    <a:pt x="102" y="591"/>
                  </a:lnTo>
                  <a:lnTo>
                    <a:pt x="104" y="591"/>
                  </a:lnTo>
                  <a:lnTo>
                    <a:pt x="106" y="591"/>
                  </a:lnTo>
                  <a:lnTo>
                    <a:pt x="107" y="589"/>
                  </a:lnTo>
                  <a:lnTo>
                    <a:pt x="111" y="589"/>
                  </a:lnTo>
                  <a:lnTo>
                    <a:pt x="112" y="589"/>
                  </a:lnTo>
                  <a:lnTo>
                    <a:pt x="115" y="591"/>
                  </a:lnTo>
                  <a:lnTo>
                    <a:pt x="117" y="591"/>
                  </a:lnTo>
                  <a:lnTo>
                    <a:pt x="117" y="592"/>
                  </a:lnTo>
                  <a:lnTo>
                    <a:pt x="119" y="592"/>
                  </a:lnTo>
                  <a:lnTo>
                    <a:pt x="120" y="592"/>
                  </a:lnTo>
                  <a:lnTo>
                    <a:pt x="122" y="594"/>
                  </a:lnTo>
                  <a:lnTo>
                    <a:pt x="124" y="594"/>
                  </a:lnTo>
                  <a:lnTo>
                    <a:pt x="125" y="592"/>
                  </a:lnTo>
                  <a:lnTo>
                    <a:pt x="127" y="594"/>
                  </a:lnTo>
                  <a:lnTo>
                    <a:pt x="128" y="594"/>
                  </a:lnTo>
                  <a:lnTo>
                    <a:pt x="130" y="596"/>
                  </a:lnTo>
                  <a:lnTo>
                    <a:pt x="132" y="596"/>
                  </a:lnTo>
                  <a:lnTo>
                    <a:pt x="135" y="596"/>
                  </a:lnTo>
                  <a:lnTo>
                    <a:pt x="137" y="596"/>
                  </a:lnTo>
                  <a:lnTo>
                    <a:pt x="137" y="594"/>
                  </a:lnTo>
                  <a:lnTo>
                    <a:pt x="138" y="592"/>
                  </a:lnTo>
                  <a:lnTo>
                    <a:pt x="138" y="591"/>
                  </a:lnTo>
                  <a:lnTo>
                    <a:pt x="140" y="589"/>
                  </a:lnTo>
                  <a:lnTo>
                    <a:pt x="141" y="588"/>
                  </a:lnTo>
                  <a:lnTo>
                    <a:pt x="141" y="586"/>
                  </a:lnTo>
                  <a:lnTo>
                    <a:pt x="141" y="584"/>
                  </a:lnTo>
                  <a:lnTo>
                    <a:pt x="143" y="584"/>
                  </a:lnTo>
                  <a:lnTo>
                    <a:pt x="143" y="583"/>
                  </a:lnTo>
                  <a:lnTo>
                    <a:pt x="145" y="581"/>
                  </a:lnTo>
                  <a:lnTo>
                    <a:pt x="143" y="579"/>
                  </a:lnTo>
                  <a:lnTo>
                    <a:pt x="143" y="578"/>
                  </a:lnTo>
                  <a:lnTo>
                    <a:pt x="143" y="576"/>
                  </a:lnTo>
                  <a:lnTo>
                    <a:pt x="145" y="576"/>
                  </a:lnTo>
                  <a:lnTo>
                    <a:pt x="145" y="574"/>
                  </a:lnTo>
                  <a:lnTo>
                    <a:pt x="146" y="574"/>
                  </a:lnTo>
                  <a:lnTo>
                    <a:pt x="148" y="574"/>
                  </a:lnTo>
                  <a:lnTo>
                    <a:pt x="150" y="573"/>
                  </a:lnTo>
                  <a:lnTo>
                    <a:pt x="150" y="574"/>
                  </a:lnTo>
                  <a:lnTo>
                    <a:pt x="150" y="573"/>
                  </a:lnTo>
                  <a:lnTo>
                    <a:pt x="151" y="573"/>
                  </a:lnTo>
                  <a:lnTo>
                    <a:pt x="151" y="571"/>
                  </a:lnTo>
                  <a:lnTo>
                    <a:pt x="153" y="571"/>
                  </a:lnTo>
                  <a:lnTo>
                    <a:pt x="155" y="571"/>
                  </a:lnTo>
                  <a:lnTo>
                    <a:pt x="155" y="570"/>
                  </a:lnTo>
                  <a:lnTo>
                    <a:pt x="155" y="568"/>
                  </a:lnTo>
                  <a:lnTo>
                    <a:pt x="156" y="568"/>
                  </a:lnTo>
                  <a:lnTo>
                    <a:pt x="155" y="566"/>
                  </a:lnTo>
                  <a:lnTo>
                    <a:pt x="156" y="566"/>
                  </a:lnTo>
                  <a:lnTo>
                    <a:pt x="156" y="565"/>
                  </a:lnTo>
                  <a:lnTo>
                    <a:pt x="156" y="563"/>
                  </a:lnTo>
                  <a:lnTo>
                    <a:pt x="156" y="561"/>
                  </a:lnTo>
                  <a:lnTo>
                    <a:pt x="158" y="561"/>
                  </a:lnTo>
                  <a:lnTo>
                    <a:pt x="158" y="560"/>
                  </a:lnTo>
                  <a:lnTo>
                    <a:pt x="159" y="560"/>
                  </a:lnTo>
                  <a:lnTo>
                    <a:pt x="159" y="558"/>
                  </a:lnTo>
                  <a:lnTo>
                    <a:pt x="159" y="557"/>
                  </a:lnTo>
                  <a:lnTo>
                    <a:pt x="161" y="557"/>
                  </a:lnTo>
                  <a:lnTo>
                    <a:pt x="161" y="555"/>
                  </a:lnTo>
                  <a:lnTo>
                    <a:pt x="159" y="555"/>
                  </a:lnTo>
                  <a:lnTo>
                    <a:pt x="161" y="553"/>
                  </a:lnTo>
                  <a:lnTo>
                    <a:pt x="163" y="552"/>
                  </a:lnTo>
                  <a:lnTo>
                    <a:pt x="161" y="552"/>
                  </a:lnTo>
                  <a:lnTo>
                    <a:pt x="163" y="552"/>
                  </a:lnTo>
                  <a:lnTo>
                    <a:pt x="163" y="550"/>
                  </a:lnTo>
                  <a:lnTo>
                    <a:pt x="163" y="548"/>
                  </a:lnTo>
                  <a:lnTo>
                    <a:pt x="161" y="547"/>
                  </a:lnTo>
                  <a:lnTo>
                    <a:pt x="163" y="547"/>
                  </a:lnTo>
                  <a:lnTo>
                    <a:pt x="161" y="545"/>
                  </a:lnTo>
                  <a:lnTo>
                    <a:pt x="163" y="545"/>
                  </a:lnTo>
                  <a:lnTo>
                    <a:pt x="161" y="545"/>
                  </a:lnTo>
                  <a:lnTo>
                    <a:pt x="161" y="544"/>
                  </a:lnTo>
                  <a:lnTo>
                    <a:pt x="159" y="542"/>
                  </a:lnTo>
                  <a:lnTo>
                    <a:pt x="159" y="540"/>
                  </a:lnTo>
                  <a:lnTo>
                    <a:pt x="159" y="539"/>
                  </a:lnTo>
                  <a:lnTo>
                    <a:pt x="158" y="537"/>
                  </a:lnTo>
                  <a:lnTo>
                    <a:pt x="158" y="535"/>
                  </a:lnTo>
                  <a:lnTo>
                    <a:pt x="156" y="535"/>
                  </a:lnTo>
                  <a:lnTo>
                    <a:pt x="156" y="534"/>
                  </a:lnTo>
                  <a:lnTo>
                    <a:pt x="156" y="535"/>
                  </a:lnTo>
                  <a:lnTo>
                    <a:pt x="156" y="534"/>
                  </a:lnTo>
                  <a:lnTo>
                    <a:pt x="155" y="534"/>
                  </a:lnTo>
                  <a:lnTo>
                    <a:pt x="153" y="534"/>
                  </a:lnTo>
                  <a:lnTo>
                    <a:pt x="153" y="532"/>
                  </a:lnTo>
                  <a:lnTo>
                    <a:pt x="153" y="534"/>
                  </a:lnTo>
                  <a:lnTo>
                    <a:pt x="153" y="532"/>
                  </a:lnTo>
                  <a:lnTo>
                    <a:pt x="151" y="532"/>
                  </a:lnTo>
                  <a:lnTo>
                    <a:pt x="151" y="531"/>
                  </a:lnTo>
                  <a:lnTo>
                    <a:pt x="151" y="529"/>
                  </a:lnTo>
                  <a:lnTo>
                    <a:pt x="151" y="527"/>
                  </a:lnTo>
                  <a:lnTo>
                    <a:pt x="151" y="526"/>
                  </a:lnTo>
                  <a:lnTo>
                    <a:pt x="151" y="524"/>
                  </a:lnTo>
                  <a:lnTo>
                    <a:pt x="151" y="522"/>
                  </a:lnTo>
                  <a:lnTo>
                    <a:pt x="151" y="521"/>
                  </a:lnTo>
                  <a:lnTo>
                    <a:pt x="155" y="518"/>
                  </a:lnTo>
                  <a:lnTo>
                    <a:pt x="156" y="516"/>
                  </a:lnTo>
                  <a:lnTo>
                    <a:pt x="158" y="516"/>
                  </a:lnTo>
                  <a:lnTo>
                    <a:pt x="159" y="516"/>
                  </a:lnTo>
                  <a:lnTo>
                    <a:pt x="161" y="514"/>
                  </a:lnTo>
                  <a:lnTo>
                    <a:pt x="163" y="514"/>
                  </a:lnTo>
                  <a:lnTo>
                    <a:pt x="164" y="516"/>
                  </a:lnTo>
                  <a:lnTo>
                    <a:pt x="166" y="516"/>
                  </a:lnTo>
                  <a:lnTo>
                    <a:pt x="168" y="516"/>
                  </a:lnTo>
                  <a:lnTo>
                    <a:pt x="169" y="516"/>
                  </a:lnTo>
                  <a:lnTo>
                    <a:pt x="171" y="514"/>
                  </a:lnTo>
                  <a:lnTo>
                    <a:pt x="171" y="513"/>
                  </a:lnTo>
                  <a:lnTo>
                    <a:pt x="172" y="511"/>
                  </a:lnTo>
                  <a:lnTo>
                    <a:pt x="176" y="509"/>
                  </a:lnTo>
                  <a:lnTo>
                    <a:pt x="177" y="508"/>
                  </a:lnTo>
                  <a:lnTo>
                    <a:pt x="179" y="508"/>
                  </a:lnTo>
                  <a:lnTo>
                    <a:pt x="181" y="506"/>
                  </a:lnTo>
                  <a:lnTo>
                    <a:pt x="181" y="505"/>
                  </a:lnTo>
                  <a:lnTo>
                    <a:pt x="182" y="503"/>
                  </a:lnTo>
                  <a:lnTo>
                    <a:pt x="181" y="501"/>
                  </a:lnTo>
                  <a:lnTo>
                    <a:pt x="177" y="495"/>
                  </a:lnTo>
                  <a:lnTo>
                    <a:pt x="177" y="493"/>
                  </a:lnTo>
                  <a:lnTo>
                    <a:pt x="177" y="490"/>
                  </a:lnTo>
                  <a:lnTo>
                    <a:pt x="179" y="488"/>
                  </a:lnTo>
                  <a:lnTo>
                    <a:pt x="181" y="487"/>
                  </a:lnTo>
                  <a:lnTo>
                    <a:pt x="182" y="485"/>
                  </a:lnTo>
                  <a:lnTo>
                    <a:pt x="182" y="483"/>
                  </a:lnTo>
                  <a:lnTo>
                    <a:pt x="184" y="483"/>
                  </a:lnTo>
                  <a:lnTo>
                    <a:pt x="185" y="482"/>
                  </a:lnTo>
                  <a:lnTo>
                    <a:pt x="185" y="480"/>
                  </a:lnTo>
                  <a:lnTo>
                    <a:pt x="185" y="479"/>
                  </a:lnTo>
                  <a:lnTo>
                    <a:pt x="185" y="477"/>
                  </a:lnTo>
                  <a:lnTo>
                    <a:pt x="185" y="475"/>
                  </a:lnTo>
                  <a:lnTo>
                    <a:pt x="182" y="474"/>
                  </a:lnTo>
                  <a:lnTo>
                    <a:pt x="182" y="472"/>
                  </a:lnTo>
                  <a:lnTo>
                    <a:pt x="182" y="470"/>
                  </a:lnTo>
                  <a:lnTo>
                    <a:pt x="185" y="467"/>
                  </a:lnTo>
                  <a:lnTo>
                    <a:pt x="187" y="464"/>
                  </a:lnTo>
                  <a:lnTo>
                    <a:pt x="189" y="461"/>
                  </a:lnTo>
                  <a:lnTo>
                    <a:pt x="190" y="461"/>
                  </a:lnTo>
                  <a:lnTo>
                    <a:pt x="190" y="459"/>
                  </a:lnTo>
                  <a:lnTo>
                    <a:pt x="189" y="456"/>
                  </a:lnTo>
                  <a:lnTo>
                    <a:pt x="189" y="454"/>
                  </a:lnTo>
                  <a:lnTo>
                    <a:pt x="189" y="453"/>
                  </a:lnTo>
                  <a:lnTo>
                    <a:pt x="189" y="451"/>
                  </a:lnTo>
                  <a:lnTo>
                    <a:pt x="187" y="451"/>
                  </a:lnTo>
                  <a:lnTo>
                    <a:pt x="189" y="448"/>
                  </a:lnTo>
                  <a:lnTo>
                    <a:pt x="189" y="446"/>
                  </a:lnTo>
                  <a:lnTo>
                    <a:pt x="189" y="444"/>
                  </a:lnTo>
                  <a:lnTo>
                    <a:pt x="189" y="443"/>
                  </a:lnTo>
                  <a:lnTo>
                    <a:pt x="190" y="443"/>
                  </a:lnTo>
                  <a:lnTo>
                    <a:pt x="190" y="441"/>
                  </a:lnTo>
                  <a:lnTo>
                    <a:pt x="192" y="441"/>
                  </a:lnTo>
                  <a:lnTo>
                    <a:pt x="190" y="440"/>
                  </a:lnTo>
                  <a:lnTo>
                    <a:pt x="192" y="438"/>
                  </a:lnTo>
                  <a:lnTo>
                    <a:pt x="192" y="436"/>
                  </a:lnTo>
                  <a:lnTo>
                    <a:pt x="190" y="436"/>
                  </a:lnTo>
                  <a:lnTo>
                    <a:pt x="192" y="435"/>
                  </a:lnTo>
                  <a:lnTo>
                    <a:pt x="194" y="435"/>
                  </a:lnTo>
                  <a:lnTo>
                    <a:pt x="194" y="433"/>
                  </a:lnTo>
                  <a:lnTo>
                    <a:pt x="194" y="431"/>
                  </a:lnTo>
                  <a:lnTo>
                    <a:pt x="194" y="430"/>
                  </a:lnTo>
                  <a:lnTo>
                    <a:pt x="192" y="430"/>
                  </a:lnTo>
                  <a:lnTo>
                    <a:pt x="192" y="428"/>
                  </a:lnTo>
                  <a:lnTo>
                    <a:pt x="190" y="428"/>
                  </a:lnTo>
                  <a:lnTo>
                    <a:pt x="190" y="426"/>
                  </a:lnTo>
                  <a:lnTo>
                    <a:pt x="192" y="425"/>
                  </a:lnTo>
                  <a:lnTo>
                    <a:pt x="190" y="423"/>
                  </a:lnTo>
                  <a:lnTo>
                    <a:pt x="192" y="423"/>
                  </a:lnTo>
                  <a:lnTo>
                    <a:pt x="190" y="423"/>
                  </a:lnTo>
                  <a:lnTo>
                    <a:pt x="190" y="422"/>
                  </a:lnTo>
                  <a:lnTo>
                    <a:pt x="190" y="420"/>
                  </a:lnTo>
                  <a:lnTo>
                    <a:pt x="190" y="418"/>
                  </a:lnTo>
                  <a:lnTo>
                    <a:pt x="189" y="418"/>
                  </a:lnTo>
                  <a:lnTo>
                    <a:pt x="189" y="417"/>
                  </a:lnTo>
                  <a:lnTo>
                    <a:pt x="189" y="415"/>
                  </a:lnTo>
                  <a:lnTo>
                    <a:pt x="187" y="413"/>
                  </a:lnTo>
                  <a:lnTo>
                    <a:pt x="187" y="412"/>
                  </a:lnTo>
                  <a:lnTo>
                    <a:pt x="185" y="412"/>
                  </a:lnTo>
                  <a:lnTo>
                    <a:pt x="185" y="410"/>
                  </a:lnTo>
                  <a:lnTo>
                    <a:pt x="185" y="409"/>
                  </a:lnTo>
                  <a:lnTo>
                    <a:pt x="185" y="407"/>
                  </a:lnTo>
                  <a:lnTo>
                    <a:pt x="187" y="405"/>
                  </a:lnTo>
                  <a:lnTo>
                    <a:pt x="189" y="407"/>
                  </a:lnTo>
                  <a:lnTo>
                    <a:pt x="190" y="409"/>
                  </a:lnTo>
                  <a:lnTo>
                    <a:pt x="192" y="409"/>
                  </a:lnTo>
                  <a:lnTo>
                    <a:pt x="195" y="409"/>
                  </a:lnTo>
                  <a:lnTo>
                    <a:pt x="197" y="409"/>
                  </a:lnTo>
                  <a:lnTo>
                    <a:pt x="198" y="409"/>
                  </a:lnTo>
                  <a:lnTo>
                    <a:pt x="198" y="407"/>
                  </a:lnTo>
                  <a:lnTo>
                    <a:pt x="200" y="407"/>
                  </a:lnTo>
                  <a:lnTo>
                    <a:pt x="202" y="407"/>
                  </a:lnTo>
                  <a:lnTo>
                    <a:pt x="203" y="405"/>
                  </a:lnTo>
                  <a:lnTo>
                    <a:pt x="205" y="402"/>
                  </a:lnTo>
                  <a:lnTo>
                    <a:pt x="207" y="400"/>
                  </a:lnTo>
                  <a:lnTo>
                    <a:pt x="207" y="399"/>
                  </a:lnTo>
                  <a:lnTo>
                    <a:pt x="205" y="397"/>
                  </a:lnTo>
                  <a:lnTo>
                    <a:pt x="207" y="396"/>
                  </a:lnTo>
                  <a:lnTo>
                    <a:pt x="208" y="396"/>
                  </a:lnTo>
                  <a:lnTo>
                    <a:pt x="210" y="394"/>
                  </a:lnTo>
                  <a:lnTo>
                    <a:pt x="211" y="392"/>
                  </a:lnTo>
                  <a:lnTo>
                    <a:pt x="213" y="392"/>
                  </a:lnTo>
                  <a:lnTo>
                    <a:pt x="215" y="391"/>
                  </a:lnTo>
                  <a:lnTo>
                    <a:pt x="215" y="389"/>
                  </a:lnTo>
                  <a:lnTo>
                    <a:pt x="216" y="389"/>
                  </a:lnTo>
                  <a:lnTo>
                    <a:pt x="216" y="387"/>
                  </a:lnTo>
                  <a:lnTo>
                    <a:pt x="218" y="386"/>
                  </a:lnTo>
                  <a:lnTo>
                    <a:pt x="220" y="386"/>
                  </a:lnTo>
                  <a:lnTo>
                    <a:pt x="220" y="384"/>
                  </a:lnTo>
                  <a:lnTo>
                    <a:pt x="221" y="384"/>
                  </a:lnTo>
                  <a:lnTo>
                    <a:pt x="221" y="383"/>
                  </a:lnTo>
                  <a:lnTo>
                    <a:pt x="223" y="383"/>
                  </a:lnTo>
                  <a:lnTo>
                    <a:pt x="223" y="384"/>
                  </a:lnTo>
                  <a:lnTo>
                    <a:pt x="224" y="384"/>
                  </a:lnTo>
                  <a:lnTo>
                    <a:pt x="226" y="384"/>
                  </a:lnTo>
                  <a:lnTo>
                    <a:pt x="228" y="384"/>
                  </a:lnTo>
                  <a:lnTo>
                    <a:pt x="228" y="386"/>
                  </a:lnTo>
                  <a:lnTo>
                    <a:pt x="229" y="386"/>
                  </a:lnTo>
                  <a:lnTo>
                    <a:pt x="231" y="386"/>
                  </a:lnTo>
                  <a:lnTo>
                    <a:pt x="233" y="386"/>
                  </a:lnTo>
                  <a:lnTo>
                    <a:pt x="233" y="384"/>
                  </a:lnTo>
                  <a:lnTo>
                    <a:pt x="234" y="384"/>
                  </a:lnTo>
                  <a:lnTo>
                    <a:pt x="234" y="383"/>
                  </a:lnTo>
                  <a:lnTo>
                    <a:pt x="236" y="383"/>
                  </a:lnTo>
                  <a:lnTo>
                    <a:pt x="236" y="384"/>
                  </a:lnTo>
                  <a:lnTo>
                    <a:pt x="237" y="384"/>
                  </a:lnTo>
                  <a:lnTo>
                    <a:pt x="239" y="384"/>
                  </a:lnTo>
                  <a:lnTo>
                    <a:pt x="241" y="384"/>
                  </a:lnTo>
                  <a:lnTo>
                    <a:pt x="241" y="383"/>
                  </a:lnTo>
                  <a:lnTo>
                    <a:pt x="239" y="383"/>
                  </a:lnTo>
                  <a:lnTo>
                    <a:pt x="239" y="381"/>
                  </a:lnTo>
                  <a:lnTo>
                    <a:pt x="241" y="381"/>
                  </a:lnTo>
                  <a:lnTo>
                    <a:pt x="242" y="379"/>
                  </a:lnTo>
                  <a:lnTo>
                    <a:pt x="244" y="381"/>
                  </a:lnTo>
                  <a:lnTo>
                    <a:pt x="246" y="379"/>
                  </a:lnTo>
                  <a:lnTo>
                    <a:pt x="246" y="378"/>
                  </a:lnTo>
                  <a:lnTo>
                    <a:pt x="249" y="378"/>
                  </a:lnTo>
                  <a:lnTo>
                    <a:pt x="247" y="376"/>
                  </a:lnTo>
                  <a:lnTo>
                    <a:pt x="249" y="376"/>
                  </a:lnTo>
                  <a:lnTo>
                    <a:pt x="249" y="374"/>
                  </a:lnTo>
                  <a:lnTo>
                    <a:pt x="250" y="374"/>
                  </a:lnTo>
                  <a:lnTo>
                    <a:pt x="252" y="374"/>
                  </a:lnTo>
                  <a:lnTo>
                    <a:pt x="254" y="374"/>
                  </a:lnTo>
                  <a:lnTo>
                    <a:pt x="254" y="373"/>
                  </a:lnTo>
                  <a:lnTo>
                    <a:pt x="252" y="373"/>
                  </a:lnTo>
                  <a:lnTo>
                    <a:pt x="252" y="371"/>
                  </a:lnTo>
                  <a:lnTo>
                    <a:pt x="254" y="370"/>
                  </a:lnTo>
                  <a:lnTo>
                    <a:pt x="255" y="370"/>
                  </a:lnTo>
                  <a:lnTo>
                    <a:pt x="255" y="371"/>
                  </a:lnTo>
                  <a:lnTo>
                    <a:pt x="257" y="371"/>
                  </a:lnTo>
                  <a:lnTo>
                    <a:pt x="259" y="371"/>
                  </a:lnTo>
                  <a:lnTo>
                    <a:pt x="260" y="371"/>
                  </a:lnTo>
                  <a:lnTo>
                    <a:pt x="260" y="370"/>
                  </a:lnTo>
                  <a:lnTo>
                    <a:pt x="260" y="368"/>
                  </a:lnTo>
                  <a:lnTo>
                    <a:pt x="260" y="366"/>
                  </a:lnTo>
                  <a:lnTo>
                    <a:pt x="262" y="368"/>
                  </a:lnTo>
                  <a:lnTo>
                    <a:pt x="262" y="366"/>
                  </a:lnTo>
                  <a:lnTo>
                    <a:pt x="263" y="366"/>
                  </a:lnTo>
                  <a:lnTo>
                    <a:pt x="265" y="365"/>
                  </a:lnTo>
                  <a:lnTo>
                    <a:pt x="263" y="365"/>
                  </a:lnTo>
                  <a:lnTo>
                    <a:pt x="263" y="363"/>
                  </a:lnTo>
                  <a:lnTo>
                    <a:pt x="265" y="361"/>
                  </a:lnTo>
                  <a:lnTo>
                    <a:pt x="267" y="361"/>
                  </a:lnTo>
                  <a:lnTo>
                    <a:pt x="267" y="360"/>
                  </a:lnTo>
                  <a:lnTo>
                    <a:pt x="268" y="358"/>
                  </a:lnTo>
                  <a:lnTo>
                    <a:pt x="270" y="358"/>
                  </a:lnTo>
                  <a:lnTo>
                    <a:pt x="268" y="357"/>
                  </a:lnTo>
                  <a:lnTo>
                    <a:pt x="270" y="357"/>
                  </a:lnTo>
                  <a:lnTo>
                    <a:pt x="270" y="358"/>
                  </a:lnTo>
                  <a:lnTo>
                    <a:pt x="272" y="357"/>
                  </a:lnTo>
                  <a:lnTo>
                    <a:pt x="270" y="355"/>
                  </a:lnTo>
                  <a:lnTo>
                    <a:pt x="272" y="355"/>
                  </a:lnTo>
                  <a:lnTo>
                    <a:pt x="273" y="355"/>
                  </a:lnTo>
                  <a:lnTo>
                    <a:pt x="275" y="353"/>
                  </a:lnTo>
                  <a:lnTo>
                    <a:pt x="275" y="352"/>
                  </a:lnTo>
                  <a:lnTo>
                    <a:pt x="276" y="352"/>
                  </a:lnTo>
                  <a:lnTo>
                    <a:pt x="276" y="350"/>
                  </a:lnTo>
                  <a:lnTo>
                    <a:pt x="278" y="348"/>
                  </a:lnTo>
                  <a:lnTo>
                    <a:pt x="280" y="348"/>
                  </a:lnTo>
                  <a:lnTo>
                    <a:pt x="280" y="345"/>
                  </a:lnTo>
                  <a:lnTo>
                    <a:pt x="278" y="345"/>
                  </a:lnTo>
                  <a:lnTo>
                    <a:pt x="276" y="344"/>
                  </a:lnTo>
                  <a:lnTo>
                    <a:pt x="276" y="342"/>
                  </a:lnTo>
                  <a:lnTo>
                    <a:pt x="275" y="342"/>
                  </a:lnTo>
                  <a:lnTo>
                    <a:pt x="275" y="339"/>
                  </a:lnTo>
                  <a:lnTo>
                    <a:pt x="273" y="337"/>
                  </a:lnTo>
                  <a:lnTo>
                    <a:pt x="272" y="334"/>
                  </a:lnTo>
                  <a:lnTo>
                    <a:pt x="270" y="334"/>
                  </a:lnTo>
                  <a:lnTo>
                    <a:pt x="265" y="331"/>
                  </a:lnTo>
                  <a:lnTo>
                    <a:pt x="263" y="331"/>
                  </a:lnTo>
                  <a:lnTo>
                    <a:pt x="262" y="329"/>
                  </a:lnTo>
                  <a:lnTo>
                    <a:pt x="260" y="327"/>
                  </a:lnTo>
                  <a:lnTo>
                    <a:pt x="259" y="329"/>
                  </a:lnTo>
                  <a:lnTo>
                    <a:pt x="259" y="327"/>
                  </a:lnTo>
                  <a:lnTo>
                    <a:pt x="257" y="327"/>
                  </a:lnTo>
                  <a:lnTo>
                    <a:pt x="255" y="327"/>
                  </a:lnTo>
                  <a:lnTo>
                    <a:pt x="254" y="327"/>
                  </a:lnTo>
                  <a:lnTo>
                    <a:pt x="252" y="329"/>
                  </a:lnTo>
                  <a:lnTo>
                    <a:pt x="250" y="329"/>
                  </a:lnTo>
                  <a:lnTo>
                    <a:pt x="249" y="329"/>
                  </a:lnTo>
                  <a:lnTo>
                    <a:pt x="247" y="327"/>
                  </a:lnTo>
                  <a:lnTo>
                    <a:pt x="247" y="326"/>
                  </a:lnTo>
                  <a:lnTo>
                    <a:pt x="246" y="324"/>
                  </a:lnTo>
                  <a:lnTo>
                    <a:pt x="244" y="322"/>
                  </a:lnTo>
                  <a:lnTo>
                    <a:pt x="246" y="322"/>
                  </a:lnTo>
                  <a:lnTo>
                    <a:pt x="246" y="321"/>
                  </a:lnTo>
                  <a:lnTo>
                    <a:pt x="246" y="319"/>
                  </a:lnTo>
                  <a:lnTo>
                    <a:pt x="246" y="318"/>
                  </a:lnTo>
                  <a:lnTo>
                    <a:pt x="246" y="316"/>
                  </a:lnTo>
                  <a:lnTo>
                    <a:pt x="244" y="316"/>
                  </a:lnTo>
                  <a:lnTo>
                    <a:pt x="246" y="314"/>
                  </a:lnTo>
                  <a:lnTo>
                    <a:pt x="247" y="313"/>
                  </a:lnTo>
                  <a:lnTo>
                    <a:pt x="247" y="311"/>
                  </a:lnTo>
                  <a:lnTo>
                    <a:pt x="249" y="309"/>
                  </a:lnTo>
                  <a:lnTo>
                    <a:pt x="249" y="308"/>
                  </a:lnTo>
                  <a:lnTo>
                    <a:pt x="249" y="306"/>
                  </a:lnTo>
                  <a:lnTo>
                    <a:pt x="250" y="306"/>
                  </a:lnTo>
                  <a:lnTo>
                    <a:pt x="250" y="305"/>
                  </a:lnTo>
                  <a:lnTo>
                    <a:pt x="250" y="303"/>
                  </a:lnTo>
                  <a:lnTo>
                    <a:pt x="252" y="303"/>
                  </a:lnTo>
                  <a:lnTo>
                    <a:pt x="252" y="301"/>
                  </a:lnTo>
                  <a:lnTo>
                    <a:pt x="252" y="300"/>
                  </a:lnTo>
                  <a:lnTo>
                    <a:pt x="254" y="300"/>
                  </a:lnTo>
                  <a:lnTo>
                    <a:pt x="254" y="298"/>
                  </a:lnTo>
                  <a:lnTo>
                    <a:pt x="252" y="298"/>
                  </a:lnTo>
                  <a:lnTo>
                    <a:pt x="249" y="296"/>
                  </a:lnTo>
                  <a:lnTo>
                    <a:pt x="252" y="291"/>
                  </a:lnTo>
                  <a:lnTo>
                    <a:pt x="252" y="290"/>
                  </a:lnTo>
                  <a:lnTo>
                    <a:pt x="252" y="288"/>
                  </a:lnTo>
                  <a:lnTo>
                    <a:pt x="252" y="287"/>
                  </a:lnTo>
                  <a:lnTo>
                    <a:pt x="249" y="283"/>
                  </a:lnTo>
                  <a:lnTo>
                    <a:pt x="247" y="287"/>
                  </a:lnTo>
                  <a:lnTo>
                    <a:pt x="246" y="287"/>
                  </a:lnTo>
                  <a:lnTo>
                    <a:pt x="244" y="287"/>
                  </a:lnTo>
                  <a:lnTo>
                    <a:pt x="242" y="287"/>
                  </a:lnTo>
                  <a:lnTo>
                    <a:pt x="236" y="287"/>
                  </a:lnTo>
                  <a:lnTo>
                    <a:pt x="234" y="285"/>
                  </a:lnTo>
                  <a:lnTo>
                    <a:pt x="231" y="283"/>
                  </a:lnTo>
                  <a:lnTo>
                    <a:pt x="231" y="282"/>
                  </a:lnTo>
                  <a:lnTo>
                    <a:pt x="231" y="278"/>
                  </a:lnTo>
                  <a:lnTo>
                    <a:pt x="231" y="277"/>
                  </a:lnTo>
                  <a:lnTo>
                    <a:pt x="229" y="277"/>
                  </a:lnTo>
                  <a:lnTo>
                    <a:pt x="228" y="275"/>
                  </a:lnTo>
                  <a:lnTo>
                    <a:pt x="226" y="275"/>
                  </a:lnTo>
                  <a:lnTo>
                    <a:pt x="226" y="277"/>
                  </a:lnTo>
                  <a:lnTo>
                    <a:pt x="226" y="278"/>
                  </a:lnTo>
                  <a:lnTo>
                    <a:pt x="224" y="282"/>
                  </a:lnTo>
                  <a:lnTo>
                    <a:pt x="223" y="282"/>
                  </a:lnTo>
                  <a:lnTo>
                    <a:pt x="221" y="282"/>
                  </a:lnTo>
                  <a:lnTo>
                    <a:pt x="220" y="280"/>
                  </a:lnTo>
                  <a:lnTo>
                    <a:pt x="216" y="280"/>
                  </a:lnTo>
                  <a:lnTo>
                    <a:pt x="213" y="278"/>
                  </a:lnTo>
                  <a:lnTo>
                    <a:pt x="211" y="278"/>
                  </a:lnTo>
                  <a:lnTo>
                    <a:pt x="211" y="275"/>
                  </a:lnTo>
                  <a:lnTo>
                    <a:pt x="210" y="275"/>
                  </a:lnTo>
                  <a:lnTo>
                    <a:pt x="210" y="274"/>
                  </a:lnTo>
                  <a:lnTo>
                    <a:pt x="208" y="274"/>
                  </a:lnTo>
                  <a:lnTo>
                    <a:pt x="207" y="274"/>
                  </a:lnTo>
                  <a:lnTo>
                    <a:pt x="205" y="275"/>
                  </a:lnTo>
                  <a:lnTo>
                    <a:pt x="202" y="275"/>
                  </a:lnTo>
                  <a:lnTo>
                    <a:pt x="200" y="275"/>
                  </a:lnTo>
                  <a:lnTo>
                    <a:pt x="198" y="274"/>
                  </a:lnTo>
                  <a:lnTo>
                    <a:pt x="197" y="274"/>
                  </a:lnTo>
                  <a:lnTo>
                    <a:pt x="197" y="270"/>
                  </a:lnTo>
                  <a:lnTo>
                    <a:pt x="195" y="269"/>
                  </a:lnTo>
                  <a:lnTo>
                    <a:pt x="192" y="267"/>
                  </a:lnTo>
                  <a:lnTo>
                    <a:pt x="190" y="267"/>
                  </a:lnTo>
                  <a:lnTo>
                    <a:pt x="189" y="269"/>
                  </a:lnTo>
                  <a:lnTo>
                    <a:pt x="187" y="269"/>
                  </a:lnTo>
                  <a:lnTo>
                    <a:pt x="187" y="270"/>
                  </a:lnTo>
                  <a:lnTo>
                    <a:pt x="185" y="270"/>
                  </a:lnTo>
                  <a:lnTo>
                    <a:pt x="187" y="270"/>
                  </a:lnTo>
                  <a:lnTo>
                    <a:pt x="187" y="272"/>
                  </a:lnTo>
                  <a:lnTo>
                    <a:pt x="185" y="272"/>
                  </a:lnTo>
                  <a:lnTo>
                    <a:pt x="185" y="274"/>
                  </a:lnTo>
                  <a:lnTo>
                    <a:pt x="185" y="275"/>
                  </a:lnTo>
                  <a:lnTo>
                    <a:pt x="187" y="277"/>
                  </a:lnTo>
                  <a:lnTo>
                    <a:pt x="185" y="277"/>
                  </a:lnTo>
                  <a:lnTo>
                    <a:pt x="185" y="278"/>
                  </a:lnTo>
                  <a:lnTo>
                    <a:pt x="184" y="280"/>
                  </a:lnTo>
                  <a:lnTo>
                    <a:pt x="182" y="282"/>
                  </a:lnTo>
                  <a:lnTo>
                    <a:pt x="181" y="282"/>
                  </a:lnTo>
                  <a:lnTo>
                    <a:pt x="179" y="282"/>
                  </a:lnTo>
                  <a:lnTo>
                    <a:pt x="177" y="282"/>
                  </a:lnTo>
                  <a:lnTo>
                    <a:pt x="174" y="282"/>
                  </a:lnTo>
                  <a:lnTo>
                    <a:pt x="172" y="283"/>
                  </a:lnTo>
                  <a:lnTo>
                    <a:pt x="171" y="283"/>
                  </a:lnTo>
                  <a:lnTo>
                    <a:pt x="169" y="283"/>
                  </a:lnTo>
                  <a:lnTo>
                    <a:pt x="168" y="283"/>
                  </a:lnTo>
                  <a:lnTo>
                    <a:pt x="166" y="283"/>
                  </a:lnTo>
                  <a:lnTo>
                    <a:pt x="164" y="282"/>
                  </a:lnTo>
                  <a:lnTo>
                    <a:pt x="163" y="282"/>
                  </a:lnTo>
                  <a:lnTo>
                    <a:pt x="161" y="282"/>
                  </a:lnTo>
                  <a:lnTo>
                    <a:pt x="159" y="285"/>
                  </a:lnTo>
                  <a:lnTo>
                    <a:pt x="158" y="285"/>
                  </a:lnTo>
                  <a:lnTo>
                    <a:pt x="156" y="285"/>
                  </a:lnTo>
                  <a:lnTo>
                    <a:pt x="158" y="285"/>
                  </a:lnTo>
                  <a:lnTo>
                    <a:pt x="156" y="283"/>
                  </a:lnTo>
                  <a:lnTo>
                    <a:pt x="158" y="283"/>
                  </a:lnTo>
                  <a:lnTo>
                    <a:pt x="158" y="282"/>
                  </a:lnTo>
                  <a:lnTo>
                    <a:pt x="156" y="282"/>
                  </a:lnTo>
                  <a:lnTo>
                    <a:pt x="156" y="280"/>
                  </a:lnTo>
                  <a:lnTo>
                    <a:pt x="156" y="278"/>
                  </a:lnTo>
                  <a:lnTo>
                    <a:pt x="156" y="277"/>
                  </a:lnTo>
                  <a:lnTo>
                    <a:pt x="155" y="277"/>
                  </a:lnTo>
                  <a:lnTo>
                    <a:pt x="153" y="277"/>
                  </a:lnTo>
                  <a:lnTo>
                    <a:pt x="153" y="275"/>
                  </a:lnTo>
                  <a:lnTo>
                    <a:pt x="151" y="275"/>
                  </a:lnTo>
                  <a:lnTo>
                    <a:pt x="150" y="275"/>
                  </a:lnTo>
                  <a:lnTo>
                    <a:pt x="150" y="277"/>
                  </a:lnTo>
                  <a:lnTo>
                    <a:pt x="150" y="278"/>
                  </a:lnTo>
                  <a:lnTo>
                    <a:pt x="148" y="278"/>
                  </a:lnTo>
                  <a:lnTo>
                    <a:pt x="146" y="278"/>
                  </a:lnTo>
                  <a:lnTo>
                    <a:pt x="143" y="278"/>
                  </a:lnTo>
                  <a:lnTo>
                    <a:pt x="140" y="278"/>
                  </a:lnTo>
                  <a:lnTo>
                    <a:pt x="138" y="278"/>
                  </a:lnTo>
                  <a:lnTo>
                    <a:pt x="138" y="277"/>
                  </a:lnTo>
                  <a:lnTo>
                    <a:pt x="138" y="275"/>
                  </a:lnTo>
                  <a:lnTo>
                    <a:pt x="140" y="275"/>
                  </a:lnTo>
                  <a:lnTo>
                    <a:pt x="140" y="274"/>
                  </a:lnTo>
                  <a:lnTo>
                    <a:pt x="141" y="274"/>
                  </a:lnTo>
                  <a:lnTo>
                    <a:pt x="141" y="272"/>
                  </a:lnTo>
                  <a:lnTo>
                    <a:pt x="140" y="272"/>
                  </a:lnTo>
                  <a:lnTo>
                    <a:pt x="140" y="270"/>
                  </a:lnTo>
                  <a:lnTo>
                    <a:pt x="137" y="270"/>
                  </a:lnTo>
                  <a:lnTo>
                    <a:pt x="135" y="269"/>
                  </a:lnTo>
                  <a:lnTo>
                    <a:pt x="133" y="267"/>
                  </a:lnTo>
                  <a:lnTo>
                    <a:pt x="132" y="265"/>
                  </a:lnTo>
                  <a:lnTo>
                    <a:pt x="130" y="265"/>
                  </a:lnTo>
                  <a:lnTo>
                    <a:pt x="128" y="265"/>
                  </a:lnTo>
                  <a:lnTo>
                    <a:pt x="127" y="267"/>
                  </a:lnTo>
                  <a:lnTo>
                    <a:pt x="127" y="265"/>
                  </a:lnTo>
                  <a:lnTo>
                    <a:pt x="125" y="265"/>
                  </a:lnTo>
                  <a:lnTo>
                    <a:pt x="122" y="267"/>
                  </a:lnTo>
                  <a:lnTo>
                    <a:pt x="120" y="267"/>
                  </a:lnTo>
                  <a:lnTo>
                    <a:pt x="115" y="265"/>
                  </a:lnTo>
                  <a:lnTo>
                    <a:pt x="115" y="267"/>
                  </a:lnTo>
                  <a:lnTo>
                    <a:pt x="114" y="267"/>
                  </a:lnTo>
                  <a:lnTo>
                    <a:pt x="112" y="269"/>
                  </a:lnTo>
                  <a:lnTo>
                    <a:pt x="111" y="267"/>
                  </a:lnTo>
                  <a:lnTo>
                    <a:pt x="111" y="265"/>
                  </a:lnTo>
                  <a:lnTo>
                    <a:pt x="112" y="264"/>
                  </a:lnTo>
                  <a:lnTo>
                    <a:pt x="112" y="261"/>
                  </a:lnTo>
                  <a:lnTo>
                    <a:pt x="112" y="259"/>
                  </a:lnTo>
                  <a:lnTo>
                    <a:pt x="112" y="257"/>
                  </a:lnTo>
                  <a:lnTo>
                    <a:pt x="111" y="257"/>
                  </a:lnTo>
                  <a:lnTo>
                    <a:pt x="109" y="261"/>
                  </a:lnTo>
                  <a:lnTo>
                    <a:pt x="109" y="262"/>
                  </a:lnTo>
                  <a:lnTo>
                    <a:pt x="107" y="262"/>
                  </a:lnTo>
                  <a:lnTo>
                    <a:pt x="107" y="264"/>
                  </a:lnTo>
                  <a:lnTo>
                    <a:pt x="106" y="264"/>
                  </a:lnTo>
                  <a:lnTo>
                    <a:pt x="102" y="262"/>
                  </a:lnTo>
                  <a:lnTo>
                    <a:pt x="101" y="264"/>
                  </a:lnTo>
                  <a:lnTo>
                    <a:pt x="99" y="264"/>
                  </a:lnTo>
                  <a:lnTo>
                    <a:pt x="99" y="265"/>
                  </a:lnTo>
                  <a:lnTo>
                    <a:pt x="98" y="267"/>
                  </a:lnTo>
                  <a:lnTo>
                    <a:pt x="96" y="267"/>
                  </a:lnTo>
                  <a:lnTo>
                    <a:pt x="94" y="267"/>
                  </a:lnTo>
                  <a:lnTo>
                    <a:pt x="93" y="269"/>
                  </a:lnTo>
                  <a:lnTo>
                    <a:pt x="89" y="269"/>
                  </a:lnTo>
                  <a:lnTo>
                    <a:pt x="85" y="269"/>
                  </a:lnTo>
                  <a:lnTo>
                    <a:pt x="83" y="269"/>
                  </a:lnTo>
                  <a:lnTo>
                    <a:pt x="83" y="267"/>
                  </a:lnTo>
                  <a:lnTo>
                    <a:pt x="81" y="265"/>
                  </a:lnTo>
                  <a:lnTo>
                    <a:pt x="80" y="265"/>
                  </a:lnTo>
                  <a:lnTo>
                    <a:pt x="81" y="264"/>
                  </a:lnTo>
                  <a:lnTo>
                    <a:pt x="81" y="262"/>
                  </a:lnTo>
                  <a:lnTo>
                    <a:pt x="81" y="261"/>
                  </a:lnTo>
                  <a:lnTo>
                    <a:pt x="81" y="259"/>
                  </a:lnTo>
                  <a:lnTo>
                    <a:pt x="81" y="257"/>
                  </a:lnTo>
                  <a:lnTo>
                    <a:pt x="80" y="257"/>
                  </a:lnTo>
                  <a:lnTo>
                    <a:pt x="78" y="257"/>
                  </a:lnTo>
                  <a:lnTo>
                    <a:pt x="78" y="256"/>
                  </a:lnTo>
                  <a:lnTo>
                    <a:pt x="78" y="254"/>
                  </a:lnTo>
                  <a:lnTo>
                    <a:pt x="78" y="252"/>
                  </a:lnTo>
                  <a:lnTo>
                    <a:pt x="78" y="251"/>
                  </a:lnTo>
                  <a:lnTo>
                    <a:pt x="78" y="249"/>
                  </a:lnTo>
                  <a:lnTo>
                    <a:pt x="80" y="249"/>
                  </a:lnTo>
                  <a:lnTo>
                    <a:pt x="80" y="248"/>
                  </a:lnTo>
                  <a:lnTo>
                    <a:pt x="81" y="248"/>
                  </a:lnTo>
                  <a:lnTo>
                    <a:pt x="83" y="246"/>
                  </a:lnTo>
                  <a:lnTo>
                    <a:pt x="85" y="246"/>
                  </a:lnTo>
                  <a:lnTo>
                    <a:pt x="85" y="244"/>
                  </a:lnTo>
                  <a:lnTo>
                    <a:pt x="86" y="243"/>
                  </a:lnTo>
                  <a:lnTo>
                    <a:pt x="88" y="243"/>
                  </a:lnTo>
                  <a:lnTo>
                    <a:pt x="89" y="241"/>
                  </a:lnTo>
                  <a:lnTo>
                    <a:pt x="93" y="241"/>
                  </a:lnTo>
                  <a:lnTo>
                    <a:pt x="94" y="241"/>
                  </a:lnTo>
                  <a:lnTo>
                    <a:pt x="94" y="239"/>
                  </a:lnTo>
                  <a:lnTo>
                    <a:pt x="96" y="239"/>
                  </a:lnTo>
                  <a:lnTo>
                    <a:pt x="96" y="238"/>
                  </a:lnTo>
                  <a:lnTo>
                    <a:pt x="96" y="235"/>
                  </a:lnTo>
                  <a:lnTo>
                    <a:pt x="96" y="233"/>
                  </a:lnTo>
                  <a:lnTo>
                    <a:pt x="96" y="231"/>
                  </a:lnTo>
                  <a:lnTo>
                    <a:pt x="94" y="231"/>
                  </a:lnTo>
                  <a:lnTo>
                    <a:pt x="94" y="230"/>
                  </a:lnTo>
                  <a:lnTo>
                    <a:pt x="93" y="230"/>
                  </a:lnTo>
                  <a:lnTo>
                    <a:pt x="91" y="231"/>
                  </a:lnTo>
                  <a:lnTo>
                    <a:pt x="91" y="230"/>
                  </a:lnTo>
                  <a:lnTo>
                    <a:pt x="89" y="230"/>
                  </a:lnTo>
                  <a:lnTo>
                    <a:pt x="88" y="231"/>
                  </a:lnTo>
                  <a:lnTo>
                    <a:pt x="86" y="231"/>
                  </a:lnTo>
                  <a:lnTo>
                    <a:pt x="86" y="230"/>
                  </a:lnTo>
                  <a:lnTo>
                    <a:pt x="86" y="226"/>
                  </a:lnTo>
                  <a:lnTo>
                    <a:pt x="88" y="222"/>
                  </a:lnTo>
                  <a:lnTo>
                    <a:pt x="86" y="222"/>
                  </a:lnTo>
                  <a:lnTo>
                    <a:pt x="88" y="222"/>
                  </a:lnTo>
                  <a:lnTo>
                    <a:pt x="88" y="220"/>
                  </a:lnTo>
                  <a:lnTo>
                    <a:pt x="88" y="218"/>
                  </a:lnTo>
                  <a:lnTo>
                    <a:pt x="86" y="220"/>
                  </a:lnTo>
                  <a:lnTo>
                    <a:pt x="85" y="220"/>
                  </a:lnTo>
                  <a:lnTo>
                    <a:pt x="83" y="220"/>
                  </a:lnTo>
                  <a:lnTo>
                    <a:pt x="83" y="218"/>
                  </a:lnTo>
                  <a:lnTo>
                    <a:pt x="81" y="218"/>
                  </a:lnTo>
                  <a:lnTo>
                    <a:pt x="81" y="220"/>
                  </a:lnTo>
                  <a:lnTo>
                    <a:pt x="80" y="220"/>
                  </a:lnTo>
                  <a:lnTo>
                    <a:pt x="80" y="222"/>
                  </a:lnTo>
                  <a:lnTo>
                    <a:pt x="78" y="220"/>
                  </a:lnTo>
                  <a:lnTo>
                    <a:pt x="76" y="222"/>
                  </a:lnTo>
                  <a:lnTo>
                    <a:pt x="75" y="222"/>
                  </a:lnTo>
                  <a:lnTo>
                    <a:pt x="73" y="222"/>
                  </a:lnTo>
                  <a:lnTo>
                    <a:pt x="73" y="223"/>
                  </a:lnTo>
                  <a:lnTo>
                    <a:pt x="72" y="223"/>
                  </a:lnTo>
                  <a:lnTo>
                    <a:pt x="72" y="225"/>
                  </a:lnTo>
                  <a:lnTo>
                    <a:pt x="70" y="223"/>
                  </a:lnTo>
                  <a:lnTo>
                    <a:pt x="68" y="223"/>
                  </a:lnTo>
                  <a:lnTo>
                    <a:pt x="67" y="223"/>
                  </a:lnTo>
                  <a:lnTo>
                    <a:pt x="67" y="225"/>
                  </a:lnTo>
                  <a:lnTo>
                    <a:pt x="65" y="223"/>
                  </a:lnTo>
                  <a:lnTo>
                    <a:pt x="65" y="225"/>
                  </a:lnTo>
                  <a:lnTo>
                    <a:pt x="65" y="223"/>
                  </a:lnTo>
                  <a:lnTo>
                    <a:pt x="63" y="223"/>
                  </a:lnTo>
                  <a:lnTo>
                    <a:pt x="62" y="223"/>
                  </a:lnTo>
                  <a:lnTo>
                    <a:pt x="60" y="223"/>
                  </a:lnTo>
                  <a:lnTo>
                    <a:pt x="60" y="222"/>
                  </a:lnTo>
                  <a:lnTo>
                    <a:pt x="59" y="222"/>
                  </a:lnTo>
                  <a:lnTo>
                    <a:pt x="57" y="222"/>
                  </a:lnTo>
                  <a:lnTo>
                    <a:pt x="55" y="222"/>
                  </a:lnTo>
                  <a:lnTo>
                    <a:pt x="55" y="220"/>
                  </a:lnTo>
                  <a:lnTo>
                    <a:pt x="54" y="222"/>
                  </a:lnTo>
                  <a:lnTo>
                    <a:pt x="50" y="220"/>
                  </a:lnTo>
                  <a:lnTo>
                    <a:pt x="50" y="222"/>
                  </a:lnTo>
                  <a:lnTo>
                    <a:pt x="50" y="223"/>
                  </a:lnTo>
                  <a:lnTo>
                    <a:pt x="49" y="223"/>
                  </a:lnTo>
                  <a:lnTo>
                    <a:pt x="47" y="223"/>
                  </a:lnTo>
                  <a:lnTo>
                    <a:pt x="44" y="223"/>
                  </a:lnTo>
                  <a:lnTo>
                    <a:pt x="44" y="222"/>
                  </a:lnTo>
                  <a:lnTo>
                    <a:pt x="42" y="222"/>
                  </a:lnTo>
                  <a:lnTo>
                    <a:pt x="41" y="222"/>
                  </a:lnTo>
                  <a:lnTo>
                    <a:pt x="39" y="222"/>
                  </a:lnTo>
                  <a:lnTo>
                    <a:pt x="37" y="222"/>
                  </a:lnTo>
                  <a:lnTo>
                    <a:pt x="37" y="223"/>
                  </a:lnTo>
                  <a:lnTo>
                    <a:pt x="36" y="223"/>
                  </a:lnTo>
                  <a:lnTo>
                    <a:pt x="36" y="225"/>
                  </a:lnTo>
                  <a:lnTo>
                    <a:pt x="34" y="226"/>
                  </a:lnTo>
                  <a:lnTo>
                    <a:pt x="33" y="228"/>
                  </a:lnTo>
                  <a:lnTo>
                    <a:pt x="31" y="228"/>
                  </a:lnTo>
                  <a:lnTo>
                    <a:pt x="29" y="228"/>
                  </a:lnTo>
                  <a:lnTo>
                    <a:pt x="28" y="228"/>
                  </a:lnTo>
                  <a:lnTo>
                    <a:pt x="26" y="230"/>
                  </a:lnTo>
                  <a:lnTo>
                    <a:pt x="24" y="230"/>
                  </a:lnTo>
                  <a:lnTo>
                    <a:pt x="24" y="231"/>
                  </a:lnTo>
                  <a:lnTo>
                    <a:pt x="23" y="233"/>
                  </a:lnTo>
                  <a:lnTo>
                    <a:pt x="23" y="235"/>
                  </a:lnTo>
                  <a:lnTo>
                    <a:pt x="21" y="235"/>
                  </a:lnTo>
                  <a:lnTo>
                    <a:pt x="20" y="235"/>
                  </a:lnTo>
                  <a:lnTo>
                    <a:pt x="18" y="236"/>
                  </a:lnTo>
                  <a:lnTo>
                    <a:pt x="16" y="236"/>
                  </a:lnTo>
                  <a:lnTo>
                    <a:pt x="15" y="236"/>
                  </a:lnTo>
                  <a:lnTo>
                    <a:pt x="15" y="235"/>
                  </a:lnTo>
                  <a:lnTo>
                    <a:pt x="15" y="236"/>
                  </a:lnTo>
                  <a:lnTo>
                    <a:pt x="13" y="238"/>
                  </a:lnTo>
                  <a:lnTo>
                    <a:pt x="13" y="236"/>
                  </a:lnTo>
                  <a:lnTo>
                    <a:pt x="11" y="238"/>
                  </a:lnTo>
                  <a:lnTo>
                    <a:pt x="10" y="238"/>
                  </a:lnTo>
                  <a:lnTo>
                    <a:pt x="10" y="239"/>
                  </a:lnTo>
                  <a:lnTo>
                    <a:pt x="8" y="239"/>
                  </a:lnTo>
                  <a:lnTo>
                    <a:pt x="8" y="238"/>
                  </a:lnTo>
                  <a:lnTo>
                    <a:pt x="8" y="236"/>
                  </a:lnTo>
                  <a:lnTo>
                    <a:pt x="10" y="236"/>
                  </a:lnTo>
                  <a:lnTo>
                    <a:pt x="8" y="235"/>
                  </a:lnTo>
                  <a:lnTo>
                    <a:pt x="10" y="235"/>
                  </a:lnTo>
                  <a:lnTo>
                    <a:pt x="8" y="235"/>
                  </a:lnTo>
                  <a:lnTo>
                    <a:pt x="8" y="233"/>
                  </a:lnTo>
                  <a:lnTo>
                    <a:pt x="10" y="231"/>
                  </a:lnTo>
                  <a:lnTo>
                    <a:pt x="10" y="230"/>
                  </a:lnTo>
                  <a:lnTo>
                    <a:pt x="10" y="228"/>
                  </a:lnTo>
                  <a:lnTo>
                    <a:pt x="10" y="226"/>
                  </a:lnTo>
                  <a:lnTo>
                    <a:pt x="10" y="225"/>
                  </a:lnTo>
                  <a:lnTo>
                    <a:pt x="11" y="223"/>
                  </a:lnTo>
                  <a:lnTo>
                    <a:pt x="11" y="222"/>
                  </a:lnTo>
                  <a:lnTo>
                    <a:pt x="13" y="222"/>
                  </a:lnTo>
                  <a:lnTo>
                    <a:pt x="11" y="222"/>
                  </a:lnTo>
                  <a:lnTo>
                    <a:pt x="11" y="220"/>
                  </a:lnTo>
                  <a:lnTo>
                    <a:pt x="11" y="218"/>
                  </a:lnTo>
                  <a:lnTo>
                    <a:pt x="13" y="217"/>
                  </a:lnTo>
                  <a:lnTo>
                    <a:pt x="13" y="215"/>
                  </a:lnTo>
                  <a:lnTo>
                    <a:pt x="13" y="213"/>
                  </a:lnTo>
                  <a:lnTo>
                    <a:pt x="13" y="212"/>
                  </a:lnTo>
                  <a:lnTo>
                    <a:pt x="13" y="210"/>
                  </a:lnTo>
                  <a:lnTo>
                    <a:pt x="13" y="209"/>
                  </a:lnTo>
                  <a:lnTo>
                    <a:pt x="13" y="207"/>
                  </a:lnTo>
                  <a:lnTo>
                    <a:pt x="13" y="205"/>
                  </a:lnTo>
                  <a:lnTo>
                    <a:pt x="15" y="205"/>
                  </a:lnTo>
                  <a:lnTo>
                    <a:pt x="16" y="207"/>
                  </a:lnTo>
                  <a:lnTo>
                    <a:pt x="16" y="205"/>
                  </a:lnTo>
                  <a:lnTo>
                    <a:pt x="18" y="205"/>
                  </a:lnTo>
                  <a:lnTo>
                    <a:pt x="20" y="205"/>
                  </a:lnTo>
                  <a:lnTo>
                    <a:pt x="20" y="207"/>
                  </a:lnTo>
                  <a:lnTo>
                    <a:pt x="21" y="207"/>
                  </a:lnTo>
                  <a:lnTo>
                    <a:pt x="23" y="207"/>
                  </a:lnTo>
                  <a:lnTo>
                    <a:pt x="21" y="207"/>
                  </a:lnTo>
                  <a:lnTo>
                    <a:pt x="21" y="205"/>
                  </a:lnTo>
                  <a:lnTo>
                    <a:pt x="23" y="205"/>
                  </a:lnTo>
                  <a:lnTo>
                    <a:pt x="23" y="204"/>
                  </a:lnTo>
                  <a:lnTo>
                    <a:pt x="23" y="202"/>
                  </a:lnTo>
                  <a:lnTo>
                    <a:pt x="21" y="202"/>
                  </a:lnTo>
                  <a:lnTo>
                    <a:pt x="20" y="202"/>
                  </a:lnTo>
                  <a:lnTo>
                    <a:pt x="20" y="200"/>
                  </a:lnTo>
                  <a:lnTo>
                    <a:pt x="21" y="200"/>
                  </a:lnTo>
                  <a:lnTo>
                    <a:pt x="21" y="202"/>
                  </a:lnTo>
                  <a:lnTo>
                    <a:pt x="23" y="202"/>
                  </a:lnTo>
                  <a:lnTo>
                    <a:pt x="23" y="200"/>
                  </a:lnTo>
                  <a:lnTo>
                    <a:pt x="24" y="200"/>
                  </a:lnTo>
                  <a:lnTo>
                    <a:pt x="24" y="199"/>
                  </a:lnTo>
                  <a:lnTo>
                    <a:pt x="24" y="197"/>
                  </a:lnTo>
                  <a:lnTo>
                    <a:pt x="26" y="197"/>
                  </a:lnTo>
                  <a:lnTo>
                    <a:pt x="28" y="197"/>
                  </a:lnTo>
                  <a:lnTo>
                    <a:pt x="26" y="196"/>
                  </a:lnTo>
                  <a:lnTo>
                    <a:pt x="28" y="196"/>
                  </a:lnTo>
                  <a:lnTo>
                    <a:pt x="28" y="197"/>
                  </a:lnTo>
                  <a:lnTo>
                    <a:pt x="28" y="196"/>
                  </a:lnTo>
                  <a:lnTo>
                    <a:pt x="29" y="196"/>
                  </a:lnTo>
                  <a:lnTo>
                    <a:pt x="29" y="194"/>
                  </a:lnTo>
                  <a:lnTo>
                    <a:pt x="31" y="194"/>
                  </a:lnTo>
                  <a:lnTo>
                    <a:pt x="33" y="194"/>
                  </a:lnTo>
                  <a:lnTo>
                    <a:pt x="31" y="194"/>
                  </a:lnTo>
                  <a:lnTo>
                    <a:pt x="31" y="192"/>
                  </a:lnTo>
                  <a:lnTo>
                    <a:pt x="33" y="192"/>
                  </a:lnTo>
                  <a:lnTo>
                    <a:pt x="34" y="192"/>
                  </a:lnTo>
                  <a:lnTo>
                    <a:pt x="34" y="194"/>
                  </a:lnTo>
                  <a:lnTo>
                    <a:pt x="33" y="192"/>
                  </a:lnTo>
                  <a:lnTo>
                    <a:pt x="33" y="194"/>
                  </a:lnTo>
                  <a:lnTo>
                    <a:pt x="34" y="194"/>
                  </a:lnTo>
                  <a:lnTo>
                    <a:pt x="34" y="192"/>
                  </a:lnTo>
                  <a:lnTo>
                    <a:pt x="36" y="192"/>
                  </a:lnTo>
                  <a:lnTo>
                    <a:pt x="37" y="192"/>
                  </a:lnTo>
                  <a:lnTo>
                    <a:pt x="37" y="191"/>
                  </a:lnTo>
                  <a:lnTo>
                    <a:pt x="39" y="191"/>
                  </a:lnTo>
                  <a:lnTo>
                    <a:pt x="37" y="191"/>
                  </a:lnTo>
                  <a:lnTo>
                    <a:pt x="39" y="191"/>
                  </a:lnTo>
                  <a:lnTo>
                    <a:pt x="41" y="191"/>
                  </a:lnTo>
                  <a:lnTo>
                    <a:pt x="42" y="191"/>
                  </a:lnTo>
                  <a:lnTo>
                    <a:pt x="42" y="189"/>
                  </a:lnTo>
                  <a:lnTo>
                    <a:pt x="44" y="189"/>
                  </a:lnTo>
                  <a:lnTo>
                    <a:pt x="44" y="187"/>
                  </a:lnTo>
                  <a:lnTo>
                    <a:pt x="46" y="187"/>
                  </a:lnTo>
                  <a:lnTo>
                    <a:pt x="47" y="189"/>
                  </a:lnTo>
                  <a:lnTo>
                    <a:pt x="47" y="187"/>
                  </a:lnTo>
                  <a:lnTo>
                    <a:pt x="47" y="189"/>
                  </a:lnTo>
                  <a:lnTo>
                    <a:pt x="47" y="187"/>
                  </a:lnTo>
                  <a:lnTo>
                    <a:pt x="49" y="189"/>
                  </a:lnTo>
                  <a:lnTo>
                    <a:pt x="49" y="187"/>
                  </a:lnTo>
                  <a:lnTo>
                    <a:pt x="49" y="186"/>
                  </a:lnTo>
                  <a:lnTo>
                    <a:pt x="49" y="184"/>
                  </a:lnTo>
                  <a:lnTo>
                    <a:pt x="50" y="184"/>
                  </a:lnTo>
                  <a:lnTo>
                    <a:pt x="50" y="183"/>
                  </a:lnTo>
                  <a:lnTo>
                    <a:pt x="50" y="181"/>
                  </a:lnTo>
                  <a:lnTo>
                    <a:pt x="52" y="181"/>
                  </a:lnTo>
                  <a:lnTo>
                    <a:pt x="50" y="181"/>
                  </a:lnTo>
                  <a:lnTo>
                    <a:pt x="50" y="179"/>
                  </a:lnTo>
                  <a:lnTo>
                    <a:pt x="50" y="181"/>
                  </a:lnTo>
                  <a:lnTo>
                    <a:pt x="49" y="181"/>
                  </a:lnTo>
                  <a:lnTo>
                    <a:pt x="49" y="179"/>
                  </a:lnTo>
                  <a:lnTo>
                    <a:pt x="47" y="181"/>
                  </a:lnTo>
                  <a:lnTo>
                    <a:pt x="49" y="183"/>
                  </a:lnTo>
                  <a:lnTo>
                    <a:pt x="47" y="183"/>
                  </a:lnTo>
                  <a:lnTo>
                    <a:pt x="46" y="183"/>
                  </a:lnTo>
                  <a:lnTo>
                    <a:pt x="46" y="184"/>
                  </a:lnTo>
                  <a:lnTo>
                    <a:pt x="44" y="184"/>
                  </a:lnTo>
                  <a:lnTo>
                    <a:pt x="46" y="184"/>
                  </a:lnTo>
                  <a:lnTo>
                    <a:pt x="46" y="186"/>
                  </a:lnTo>
                  <a:lnTo>
                    <a:pt x="44" y="187"/>
                  </a:lnTo>
                  <a:lnTo>
                    <a:pt x="42" y="187"/>
                  </a:lnTo>
                  <a:lnTo>
                    <a:pt x="42" y="186"/>
                  </a:lnTo>
                  <a:lnTo>
                    <a:pt x="42" y="187"/>
                  </a:lnTo>
                  <a:lnTo>
                    <a:pt x="41" y="187"/>
                  </a:lnTo>
                  <a:lnTo>
                    <a:pt x="39" y="187"/>
                  </a:lnTo>
                  <a:lnTo>
                    <a:pt x="37" y="187"/>
                  </a:lnTo>
                  <a:lnTo>
                    <a:pt x="39" y="187"/>
                  </a:lnTo>
                  <a:lnTo>
                    <a:pt x="39" y="186"/>
                  </a:lnTo>
                  <a:lnTo>
                    <a:pt x="37" y="186"/>
                  </a:lnTo>
                  <a:lnTo>
                    <a:pt x="37" y="187"/>
                  </a:lnTo>
                  <a:lnTo>
                    <a:pt x="37" y="186"/>
                  </a:lnTo>
                  <a:lnTo>
                    <a:pt x="36" y="186"/>
                  </a:lnTo>
                  <a:lnTo>
                    <a:pt x="36" y="187"/>
                  </a:lnTo>
                  <a:lnTo>
                    <a:pt x="34" y="187"/>
                  </a:lnTo>
                  <a:lnTo>
                    <a:pt x="34" y="189"/>
                  </a:lnTo>
                  <a:lnTo>
                    <a:pt x="33" y="189"/>
                  </a:lnTo>
                  <a:lnTo>
                    <a:pt x="31" y="187"/>
                  </a:lnTo>
                  <a:lnTo>
                    <a:pt x="31" y="189"/>
                  </a:lnTo>
                  <a:lnTo>
                    <a:pt x="29" y="189"/>
                  </a:lnTo>
                  <a:lnTo>
                    <a:pt x="28" y="189"/>
                  </a:lnTo>
                  <a:lnTo>
                    <a:pt x="28" y="187"/>
                  </a:lnTo>
                  <a:lnTo>
                    <a:pt x="26" y="187"/>
                  </a:lnTo>
                  <a:lnTo>
                    <a:pt x="24" y="187"/>
                  </a:lnTo>
                  <a:lnTo>
                    <a:pt x="23" y="186"/>
                  </a:lnTo>
                  <a:lnTo>
                    <a:pt x="21" y="187"/>
                  </a:lnTo>
                  <a:lnTo>
                    <a:pt x="21" y="186"/>
                  </a:lnTo>
                  <a:lnTo>
                    <a:pt x="23" y="186"/>
                  </a:lnTo>
                  <a:lnTo>
                    <a:pt x="23" y="184"/>
                  </a:lnTo>
                  <a:lnTo>
                    <a:pt x="23" y="183"/>
                  </a:lnTo>
                  <a:lnTo>
                    <a:pt x="23" y="181"/>
                  </a:lnTo>
                  <a:lnTo>
                    <a:pt x="24" y="181"/>
                  </a:lnTo>
                  <a:lnTo>
                    <a:pt x="24" y="179"/>
                  </a:lnTo>
                  <a:lnTo>
                    <a:pt x="26" y="181"/>
                  </a:lnTo>
                  <a:lnTo>
                    <a:pt x="24" y="183"/>
                  </a:lnTo>
                  <a:lnTo>
                    <a:pt x="26" y="183"/>
                  </a:lnTo>
                  <a:lnTo>
                    <a:pt x="26" y="184"/>
                  </a:lnTo>
                  <a:lnTo>
                    <a:pt x="28" y="186"/>
                  </a:lnTo>
                  <a:lnTo>
                    <a:pt x="28" y="184"/>
                  </a:lnTo>
                  <a:lnTo>
                    <a:pt x="28" y="183"/>
                  </a:lnTo>
                  <a:lnTo>
                    <a:pt x="28" y="181"/>
                  </a:lnTo>
                  <a:lnTo>
                    <a:pt x="29" y="179"/>
                  </a:lnTo>
                  <a:lnTo>
                    <a:pt x="28" y="179"/>
                  </a:lnTo>
                  <a:lnTo>
                    <a:pt x="28" y="178"/>
                  </a:lnTo>
                  <a:lnTo>
                    <a:pt x="28" y="176"/>
                  </a:lnTo>
                  <a:lnTo>
                    <a:pt x="28" y="174"/>
                  </a:lnTo>
                  <a:lnTo>
                    <a:pt x="28" y="176"/>
                  </a:lnTo>
                  <a:lnTo>
                    <a:pt x="29" y="176"/>
                  </a:lnTo>
                  <a:lnTo>
                    <a:pt x="31" y="176"/>
                  </a:lnTo>
                  <a:lnTo>
                    <a:pt x="31" y="178"/>
                  </a:lnTo>
                  <a:lnTo>
                    <a:pt x="33" y="178"/>
                  </a:lnTo>
                  <a:lnTo>
                    <a:pt x="33" y="179"/>
                  </a:lnTo>
                  <a:lnTo>
                    <a:pt x="33" y="178"/>
                  </a:lnTo>
                  <a:lnTo>
                    <a:pt x="33" y="179"/>
                  </a:lnTo>
                  <a:lnTo>
                    <a:pt x="33" y="178"/>
                  </a:lnTo>
                  <a:lnTo>
                    <a:pt x="33" y="179"/>
                  </a:lnTo>
                  <a:lnTo>
                    <a:pt x="34" y="178"/>
                  </a:lnTo>
                  <a:lnTo>
                    <a:pt x="36" y="178"/>
                  </a:lnTo>
                  <a:lnTo>
                    <a:pt x="37" y="176"/>
                  </a:lnTo>
                  <a:lnTo>
                    <a:pt x="37" y="174"/>
                  </a:lnTo>
                  <a:lnTo>
                    <a:pt x="39" y="174"/>
                  </a:lnTo>
                  <a:lnTo>
                    <a:pt x="39" y="173"/>
                  </a:lnTo>
                  <a:lnTo>
                    <a:pt x="41" y="173"/>
                  </a:lnTo>
                  <a:lnTo>
                    <a:pt x="41" y="171"/>
                  </a:lnTo>
                  <a:lnTo>
                    <a:pt x="42" y="171"/>
                  </a:lnTo>
                  <a:lnTo>
                    <a:pt x="44" y="171"/>
                  </a:lnTo>
                  <a:lnTo>
                    <a:pt x="44" y="170"/>
                  </a:lnTo>
                  <a:lnTo>
                    <a:pt x="44" y="171"/>
                  </a:lnTo>
                  <a:lnTo>
                    <a:pt x="46" y="171"/>
                  </a:lnTo>
                  <a:lnTo>
                    <a:pt x="46" y="170"/>
                  </a:lnTo>
                  <a:lnTo>
                    <a:pt x="47" y="170"/>
                  </a:lnTo>
                  <a:lnTo>
                    <a:pt x="49" y="168"/>
                  </a:lnTo>
                  <a:lnTo>
                    <a:pt x="50" y="168"/>
                  </a:lnTo>
                  <a:lnTo>
                    <a:pt x="50" y="166"/>
                  </a:lnTo>
                  <a:lnTo>
                    <a:pt x="49" y="168"/>
                  </a:lnTo>
                  <a:lnTo>
                    <a:pt x="47" y="168"/>
                  </a:lnTo>
                  <a:lnTo>
                    <a:pt x="46" y="168"/>
                  </a:lnTo>
                  <a:lnTo>
                    <a:pt x="46" y="166"/>
                  </a:lnTo>
                  <a:lnTo>
                    <a:pt x="44" y="166"/>
                  </a:lnTo>
                  <a:lnTo>
                    <a:pt x="44" y="168"/>
                  </a:lnTo>
                  <a:lnTo>
                    <a:pt x="42" y="168"/>
                  </a:lnTo>
                  <a:lnTo>
                    <a:pt x="42" y="166"/>
                  </a:lnTo>
                  <a:lnTo>
                    <a:pt x="42" y="168"/>
                  </a:lnTo>
                  <a:lnTo>
                    <a:pt x="41" y="168"/>
                  </a:lnTo>
                  <a:lnTo>
                    <a:pt x="39" y="168"/>
                  </a:lnTo>
                  <a:lnTo>
                    <a:pt x="39" y="170"/>
                  </a:lnTo>
                  <a:lnTo>
                    <a:pt x="37" y="170"/>
                  </a:lnTo>
                  <a:lnTo>
                    <a:pt x="36" y="170"/>
                  </a:lnTo>
                  <a:lnTo>
                    <a:pt x="36" y="171"/>
                  </a:lnTo>
                  <a:lnTo>
                    <a:pt x="36" y="170"/>
                  </a:lnTo>
                  <a:lnTo>
                    <a:pt x="34" y="170"/>
                  </a:lnTo>
                  <a:lnTo>
                    <a:pt x="34" y="168"/>
                  </a:lnTo>
                  <a:lnTo>
                    <a:pt x="34" y="170"/>
                  </a:lnTo>
                  <a:lnTo>
                    <a:pt x="33" y="168"/>
                  </a:lnTo>
                  <a:lnTo>
                    <a:pt x="31" y="168"/>
                  </a:lnTo>
                  <a:lnTo>
                    <a:pt x="31" y="170"/>
                  </a:lnTo>
                  <a:lnTo>
                    <a:pt x="29" y="168"/>
                  </a:lnTo>
                  <a:lnTo>
                    <a:pt x="29" y="170"/>
                  </a:lnTo>
                  <a:lnTo>
                    <a:pt x="29" y="168"/>
                  </a:lnTo>
                  <a:lnTo>
                    <a:pt x="28" y="168"/>
                  </a:lnTo>
                  <a:lnTo>
                    <a:pt x="29" y="168"/>
                  </a:lnTo>
                  <a:lnTo>
                    <a:pt x="28" y="166"/>
                  </a:lnTo>
                  <a:lnTo>
                    <a:pt x="28" y="165"/>
                  </a:lnTo>
                  <a:lnTo>
                    <a:pt x="26" y="165"/>
                  </a:lnTo>
                  <a:lnTo>
                    <a:pt x="26" y="163"/>
                  </a:lnTo>
                  <a:lnTo>
                    <a:pt x="26" y="161"/>
                  </a:lnTo>
                  <a:lnTo>
                    <a:pt x="28" y="161"/>
                  </a:lnTo>
                  <a:lnTo>
                    <a:pt x="26" y="161"/>
                  </a:lnTo>
                  <a:lnTo>
                    <a:pt x="28" y="161"/>
                  </a:lnTo>
                  <a:lnTo>
                    <a:pt x="28" y="160"/>
                  </a:lnTo>
                  <a:lnTo>
                    <a:pt x="26" y="158"/>
                  </a:lnTo>
                  <a:lnTo>
                    <a:pt x="26" y="157"/>
                  </a:lnTo>
                  <a:lnTo>
                    <a:pt x="24" y="157"/>
                  </a:lnTo>
                  <a:lnTo>
                    <a:pt x="23" y="157"/>
                  </a:lnTo>
                  <a:lnTo>
                    <a:pt x="23" y="158"/>
                  </a:lnTo>
                  <a:lnTo>
                    <a:pt x="21" y="158"/>
                  </a:lnTo>
                  <a:lnTo>
                    <a:pt x="21" y="157"/>
                  </a:lnTo>
                  <a:lnTo>
                    <a:pt x="21" y="155"/>
                  </a:lnTo>
                  <a:lnTo>
                    <a:pt x="21" y="153"/>
                  </a:lnTo>
                  <a:lnTo>
                    <a:pt x="23" y="153"/>
                  </a:lnTo>
                  <a:lnTo>
                    <a:pt x="24" y="155"/>
                  </a:lnTo>
                  <a:lnTo>
                    <a:pt x="26" y="155"/>
                  </a:lnTo>
                  <a:lnTo>
                    <a:pt x="28" y="153"/>
                  </a:lnTo>
                  <a:lnTo>
                    <a:pt x="28" y="155"/>
                  </a:lnTo>
                  <a:lnTo>
                    <a:pt x="28" y="153"/>
                  </a:lnTo>
                  <a:lnTo>
                    <a:pt x="28" y="152"/>
                  </a:lnTo>
                  <a:lnTo>
                    <a:pt x="29" y="152"/>
                  </a:lnTo>
                  <a:lnTo>
                    <a:pt x="29" y="153"/>
                  </a:lnTo>
                  <a:lnTo>
                    <a:pt x="31" y="153"/>
                  </a:lnTo>
                  <a:lnTo>
                    <a:pt x="31" y="155"/>
                  </a:lnTo>
                  <a:lnTo>
                    <a:pt x="29" y="155"/>
                  </a:lnTo>
                  <a:lnTo>
                    <a:pt x="31" y="157"/>
                  </a:lnTo>
                  <a:lnTo>
                    <a:pt x="29" y="157"/>
                  </a:lnTo>
                  <a:lnTo>
                    <a:pt x="28" y="157"/>
                  </a:lnTo>
                  <a:lnTo>
                    <a:pt x="28" y="158"/>
                  </a:lnTo>
                  <a:lnTo>
                    <a:pt x="28" y="160"/>
                  </a:lnTo>
                  <a:lnTo>
                    <a:pt x="29" y="160"/>
                  </a:lnTo>
                  <a:lnTo>
                    <a:pt x="31" y="160"/>
                  </a:lnTo>
                  <a:lnTo>
                    <a:pt x="31" y="158"/>
                  </a:lnTo>
                  <a:lnTo>
                    <a:pt x="31" y="160"/>
                  </a:lnTo>
                  <a:lnTo>
                    <a:pt x="31" y="158"/>
                  </a:lnTo>
                  <a:lnTo>
                    <a:pt x="31" y="160"/>
                  </a:lnTo>
                  <a:lnTo>
                    <a:pt x="33" y="160"/>
                  </a:lnTo>
                  <a:lnTo>
                    <a:pt x="33" y="158"/>
                  </a:lnTo>
                  <a:lnTo>
                    <a:pt x="34" y="158"/>
                  </a:lnTo>
                  <a:lnTo>
                    <a:pt x="33" y="158"/>
                  </a:lnTo>
                  <a:lnTo>
                    <a:pt x="33" y="157"/>
                  </a:lnTo>
                  <a:lnTo>
                    <a:pt x="33" y="155"/>
                  </a:lnTo>
                  <a:lnTo>
                    <a:pt x="34" y="155"/>
                  </a:lnTo>
                  <a:lnTo>
                    <a:pt x="36" y="155"/>
                  </a:lnTo>
                  <a:lnTo>
                    <a:pt x="36" y="153"/>
                  </a:lnTo>
                  <a:lnTo>
                    <a:pt x="36" y="155"/>
                  </a:lnTo>
                  <a:lnTo>
                    <a:pt x="36" y="153"/>
                  </a:lnTo>
                  <a:lnTo>
                    <a:pt x="34" y="153"/>
                  </a:lnTo>
                  <a:lnTo>
                    <a:pt x="36" y="152"/>
                  </a:lnTo>
                  <a:lnTo>
                    <a:pt x="36" y="150"/>
                  </a:lnTo>
                  <a:lnTo>
                    <a:pt x="36" y="152"/>
                  </a:lnTo>
                  <a:lnTo>
                    <a:pt x="36" y="150"/>
                  </a:lnTo>
                  <a:lnTo>
                    <a:pt x="34" y="150"/>
                  </a:lnTo>
                  <a:lnTo>
                    <a:pt x="36" y="148"/>
                  </a:lnTo>
                  <a:lnTo>
                    <a:pt x="36" y="147"/>
                  </a:lnTo>
                  <a:lnTo>
                    <a:pt x="34" y="147"/>
                  </a:lnTo>
                  <a:lnTo>
                    <a:pt x="34" y="145"/>
                  </a:lnTo>
                  <a:lnTo>
                    <a:pt x="36" y="145"/>
                  </a:lnTo>
                  <a:lnTo>
                    <a:pt x="36" y="147"/>
                  </a:lnTo>
                  <a:lnTo>
                    <a:pt x="36" y="145"/>
                  </a:lnTo>
                  <a:lnTo>
                    <a:pt x="37" y="145"/>
                  </a:lnTo>
                  <a:lnTo>
                    <a:pt x="36" y="145"/>
                  </a:lnTo>
                  <a:lnTo>
                    <a:pt x="36" y="143"/>
                  </a:lnTo>
                  <a:lnTo>
                    <a:pt x="37" y="142"/>
                  </a:lnTo>
                  <a:lnTo>
                    <a:pt x="37" y="143"/>
                  </a:lnTo>
                  <a:lnTo>
                    <a:pt x="39" y="143"/>
                  </a:lnTo>
                  <a:lnTo>
                    <a:pt x="39" y="142"/>
                  </a:lnTo>
                  <a:lnTo>
                    <a:pt x="39" y="143"/>
                  </a:lnTo>
                  <a:lnTo>
                    <a:pt x="41" y="142"/>
                  </a:lnTo>
                  <a:lnTo>
                    <a:pt x="41" y="140"/>
                  </a:lnTo>
                  <a:lnTo>
                    <a:pt x="42" y="140"/>
                  </a:lnTo>
                  <a:lnTo>
                    <a:pt x="42" y="142"/>
                  </a:lnTo>
                  <a:lnTo>
                    <a:pt x="42" y="140"/>
                  </a:lnTo>
                  <a:lnTo>
                    <a:pt x="44" y="140"/>
                  </a:lnTo>
                  <a:lnTo>
                    <a:pt x="42" y="139"/>
                  </a:lnTo>
                  <a:lnTo>
                    <a:pt x="44" y="139"/>
                  </a:lnTo>
                  <a:lnTo>
                    <a:pt x="44" y="137"/>
                  </a:lnTo>
                  <a:lnTo>
                    <a:pt x="46" y="137"/>
                  </a:lnTo>
                  <a:lnTo>
                    <a:pt x="46" y="135"/>
                  </a:lnTo>
                  <a:lnTo>
                    <a:pt x="47" y="135"/>
                  </a:lnTo>
                  <a:lnTo>
                    <a:pt x="49" y="134"/>
                  </a:lnTo>
                  <a:lnTo>
                    <a:pt x="49" y="132"/>
                  </a:lnTo>
                  <a:lnTo>
                    <a:pt x="50" y="132"/>
                  </a:lnTo>
                  <a:lnTo>
                    <a:pt x="50" y="130"/>
                  </a:lnTo>
                  <a:lnTo>
                    <a:pt x="50" y="129"/>
                  </a:lnTo>
                  <a:lnTo>
                    <a:pt x="52" y="129"/>
                  </a:lnTo>
                  <a:lnTo>
                    <a:pt x="50" y="129"/>
                  </a:lnTo>
                  <a:lnTo>
                    <a:pt x="52" y="127"/>
                  </a:lnTo>
                  <a:lnTo>
                    <a:pt x="54" y="127"/>
                  </a:lnTo>
                  <a:lnTo>
                    <a:pt x="55" y="127"/>
                  </a:lnTo>
                  <a:lnTo>
                    <a:pt x="54" y="127"/>
                  </a:lnTo>
                  <a:lnTo>
                    <a:pt x="52" y="127"/>
                  </a:lnTo>
                  <a:lnTo>
                    <a:pt x="50" y="129"/>
                  </a:lnTo>
                  <a:lnTo>
                    <a:pt x="50" y="130"/>
                  </a:lnTo>
                  <a:lnTo>
                    <a:pt x="50" y="132"/>
                  </a:lnTo>
                  <a:lnTo>
                    <a:pt x="49" y="132"/>
                  </a:lnTo>
                  <a:lnTo>
                    <a:pt x="47" y="132"/>
                  </a:lnTo>
                  <a:lnTo>
                    <a:pt x="47" y="134"/>
                  </a:lnTo>
                  <a:lnTo>
                    <a:pt x="46" y="135"/>
                  </a:lnTo>
                  <a:lnTo>
                    <a:pt x="46" y="134"/>
                  </a:lnTo>
                  <a:lnTo>
                    <a:pt x="44" y="134"/>
                  </a:lnTo>
                  <a:lnTo>
                    <a:pt x="44" y="135"/>
                  </a:lnTo>
                  <a:lnTo>
                    <a:pt x="42" y="135"/>
                  </a:lnTo>
                  <a:lnTo>
                    <a:pt x="41" y="135"/>
                  </a:lnTo>
                  <a:lnTo>
                    <a:pt x="41" y="134"/>
                  </a:lnTo>
                  <a:lnTo>
                    <a:pt x="39" y="134"/>
                  </a:lnTo>
                  <a:lnTo>
                    <a:pt x="39" y="132"/>
                  </a:lnTo>
                  <a:lnTo>
                    <a:pt x="41" y="132"/>
                  </a:lnTo>
                  <a:lnTo>
                    <a:pt x="41" y="130"/>
                  </a:lnTo>
                  <a:lnTo>
                    <a:pt x="39" y="130"/>
                  </a:lnTo>
                  <a:lnTo>
                    <a:pt x="39" y="129"/>
                  </a:lnTo>
                  <a:lnTo>
                    <a:pt x="39" y="127"/>
                  </a:lnTo>
                  <a:lnTo>
                    <a:pt x="39" y="129"/>
                  </a:lnTo>
                  <a:lnTo>
                    <a:pt x="37" y="129"/>
                  </a:lnTo>
                  <a:lnTo>
                    <a:pt x="37" y="130"/>
                  </a:lnTo>
                  <a:lnTo>
                    <a:pt x="37" y="129"/>
                  </a:lnTo>
                  <a:lnTo>
                    <a:pt x="37" y="130"/>
                  </a:lnTo>
                  <a:lnTo>
                    <a:pt x="36" y="132"/>
                  </a:lnTo>
                  <a:lnTo>
                    <a:pt x="36" y="134"/>
                  </a:lnTo>
                  <a:lnTo>
                    <a:pt x="37" y="134"/>
                  </a:lnTo>
                  <a:lnTo>
                    <a:pt x="37" y="135"/>
                  </a:lnTo>
                  <a:lnTo>
                    <a:pt x="36" y="135"/>
                  </a:lnTo>
                  <a:lnTo>
                    <a:pt x="36" y="134"/>
                  </a:lnTo>
                  <a:lnTo>
                    <a:pt x="36" y="135"/>
                  </a:lnTo>
                  <a:lnTo>
                    <a:pt x="34" y="135"/>
                  </a:lnTo>
                  <a:lnTo>
                    <a:pt x="34" y="137"/>
                  </a:lnTo>
                  <a:lnTo>
                    <a:pt x="33" y="137"/>
                  </a:lnTo>
                  <a:lnTo>
                    <a:pt x="33" y="135"/>
                  </a:lnTo>
                  <a:lnTo>
                    <a:pt x="31" y="137"/>
                  </a:lnTo>
                  <a:lnTo>
                    <a:pt x="31" y="135"/>
                  </a:lnTo>
                  <a:lnTo>
                    <a:pt x="33" y="135"/>
                  </a:lnTo>
                  <a:lnTo>
                    <a:pt x="31" y="135"/>
                  </a:lnTo>
                  <a:lnTo>
                    <a:pt x="33" y="134"/>
                  </a:lnTo>
                  <a:lnTo>
                    <a:pt x="34" y="134"/>
                  </a:lnTo>
                  <a:lnTo>
                    <a:pt x="33" y="134"/>
                  </a:lnTo>
                  <a:lnTo>
                    <a:pt x="33" y="132"/>
                  </a:lnTo>
                  <a:lnTo>
                    <a:pt x="31" y="132"/>
                  </a:lnTo>
                  <a:lnTo>
                    <a:pt x="33" y="132"/>
                  </a:lnTo>
                  <a:lnTo>
                    <a:pt x="31" y="132"/>
                  </a:lnTo>
                  <a:lnTo>
                    <a:pt x="29" y="134"/>
                  </a:lnTo>
                  <a:lnTo>
                    <a:pt x="28" y="134"/>
                  </a:lnTo>
                  <a:lnTo>
                    <a:pt x="28" y="135"/>
                  </a:lnTo>
                  <a:lnTo>
                    <a:pt x="26" y="135"/>
                  </a:lnTo>
                  <a:lnTo>
                    <a:pt x="28" y="135"/>
                  </a:lnTo>
                  <a:lnTo>
                    <a:pt x="26" y="135"/>
                  </a:lnTo>
                  <a:lnTo>
                    <a:pt x="26" y="137"/>
                  </a:lnTo>
                  <a:lnTo>
                    <a:pt x="28" y="137"/>
                  </a:lnTo>
                  <a:lnTo>
                    <a:pt x="28" y="139"/>
                  </a:lnTo>
                  <a:lnTo>
                    <a:pt x="26" y="139"/>
                  </a:lnTo>
                  <a:lnTo>
                    <a:pt x="24" y="139"/>
                  </a:lnTo>
                  <a:lnTo>
                    <a:pt x="23" y="139"/>
                  </a:lnTo>
                  <a:lnTo>
                    <a:pt x="23" y="140"/>
                  </a:lnTo>
                  <a:lnTo>
                    <a:pt x="21" y="140"/>
                  </a:lnTo>
                  <a:lnTo>
                    <a:pt x="20" y="140"/>
                  </a:lnTo>
                  <a:lnTo>
                    <a:pt x="20" y="142"/>
                  </a:lnTo>
                  <a:lnTo>
                    <a:pt x="20" y="143"/>
                  </a:lnTo>
                  <a:lnTo>
                    <a:pt x="18" y="145"/>
                  </a:lnTo>
                  <a:lnTo>
                    <a:pt x="16" y="145"/>
                  </a:lnTo>
                  <a:lnTo>
                    <a:pt x="16" y="147"/>
                  </a:lnTo>
                  <a:lnTo>
                    <a:pt x="16" y="145"/>
                  </a:lnTo>
                  <a:lnTo>
                    <a:pt x="15" y="145"/>
                  </a:lnTo>
                  <a:lnTo>
                    <a:pt x="13" y="145"/>
                  </a:lnTo>
                  <a:lnTo>
                    <a:pt x="11" y="145"/>
                  </a:lnTo>
                  <a:lnTo>
                    <a:pt x="13" y="145"/>
                  </a:lnTo>
                  <a:lnTo>
                    <a:pt x="13" y="143"/>
                  </a:lnTo>
                  <a:lnTo>
                    <a:pt x="13" y="142"/>
                  </a:lnTo>
                  <a:lnTo>
                    <a:pt x="15" y="142"/>
                  </a:lnTo>
                  <a:lnTo>
                    <a:pt x="15" y="140"/>
                  </a:lnTo>
                  <a:lnTo>
                    <a:pt x="15" y="139"/>
                  </a:lnTo>
                  <a:lnTo>
                    <a:pt x="13" y="137"/>
                  </a:lnTo>
                  <a:lnTo>
                    <a:pt x="11" y="137"/>
                  </a:lnTo>
                  <a:lnTo>
                    <a:pt x="10" y="137"/>
                  </a:lnTo>
                  <a:lnTo>
                    <a:pt x="10" y="135"/>
                  </a:lnTo>
                  <a:lnTo>
                    <a:pt x="11" y="135"/>
                  </a:lnTo>
                  <a:lnTo>
                    <a:pt x="11" y="134"/>
                  </a:lnTo>
                  <a:lnTo>
                    <a:pt x="11" y="132"/>
                  </a:lnTo>
                  <a:lnTo>
                    <a:pt x="13" y="134"/>
                  </a:lnTo>
                  <a:lnTo>
                    <a:pt x="13" y="132"/>
                  </a:lnTo>
                  <a:lnTo>
                    <a:pt x="13" y="130"/>
                  </a:lnTo>
                  <a:lnTo>
                    <a:pt x="15" y="130"/>
                  </a:lnTo>
                  <a:lnTo>
                    <a:pt x="16" y="127"/>
                  </a:lnTo>
                  <a:lnTo>
                    <a:pt x="18" y="127"/>
                  </a:lnTo>
                  <a:lnTo>
                    <a:pt x="16" y="126"/>
                  </a:lnTo>
                  <a:lnTo>
                    <a:pt x="18" y="126"/>
                  </a:lnTo>
                  <a:lnTo>
                    <a:pt x="16" y="126"/>
                  </a:lnTo>
                  <a:lnTo>
                    <a:pt x="18" y="124"/>
                  </a:lnTo>
                  <a:lnTo>
                    <a:pt x="20" y="122"/>
                  </a:lnTo>
                  <a:lnTo>
                    <a:pt x="20" y="121"/>
                  </a:lnTo>
                  <a:lnTo>
                    <a:pt x="20" y="119"/>
                  </a:lnTo>
                  <a:lnTo>
                    <a:pt x="21" y="119"/>
                  </a:lnTo>
                  <a:lnTo>
                    <a:pt x="23" y="119"/>
                  </a:lnTo>
                  <a:lnTo>
                    <a:pt x="23" y="117"/>
                  </a:lnTo>
                  <a:lnTo>
                    <a:pt x="24" y="117"/>
                  </a:lnTo>
                  <a:lnTo>
                    <a:pt x="24" y="116"/>
                  </a:lnTo>
                  <a:lnTo>
                    <a:pt x="26" y="116"/>
                  </a:lnTo>
                  <a:lnTo>
                    <a:pt x="28" y="116"/>
                  </a:lnTo>
                  <a:lnTo>
                    <a:pt x="26" y="116"/>
                  </a:lnTo>
                  <a:lnTo>
                    <a:pt x="28" y="116"/>
                  </a:lnTo>
                  <a:lnTo>
                    <a:pt x="29" y="116"/>
                  </a:lnTo>
                  <a:lnTo>
                    <a:pt x="29" y="114"/>
                  </a:lnTo>
                  <a:lnTo>
                    <a:pt x="31" y="114"/>
                  </a:lnTo>
                  <a:lnTo>
                    <a:pt x="31" y="113"/>
                  </a:lnTo>
                  <a:lnTo>
                    <a:pt x="33" y="111"/>
                  </a:lnTo>
                  <a:lnTo>
                    <a:pt x="33" y="113"/>
                  </a:lnTo>
                  <a:lnTo>
                    <a:pt x="33" y="111"/>
                  </a:lnTo>
                  <a:lnTo>
                    <a:pt x="34" y="111"/>
                  </a:lnTo>
                  <a:lnTo>
                    <a:pt x="36" y="111"/>
                  </a:lnTo>
                  <a:lnTo>
                    <a:pt x="36" y="113"/>
                  </a:lnTo>
                  <a:lnTo>
                    <a:pt x="37" y="113"/>
                  </a:lnTo>
                  <a:lnTo>
                    <a:pt x="37" y="111"/>
                  </a:lnTo>
                  <a:lnTo>
                    <a:pt x="36" y="111"/>
                  </a:lnTo>
                  <a:lnTo>
                    <a:pt x="37" y="111"/>
                  </a:lnTo>
                  <a:lnTo>
                    <a:pt x="36" y="109"/>
                  </a:lnTo>
                  <a:lnTo>
                    <a:pt x="37" y="109"/>
                  </a:lnTo>
                  <a:lnTo>
                    <a:pt x="37" y="108"/>
                  </a:lnTo>
                  <a:lnTo>
                    <a:pt x="39" y="108"/>
                  </a:lnTo>
                  <a:lnTo>
                    <a:pt x="39" y="106"/>
                  </a:lnTo>
                  <a:lnTo>
                    <a:pt x="41" y="106"/>
                  </a:lnTo>
                  <a:lnTo>
                    <a:pt x="39" y="106"/>
                  </a:lnTo>
                  <a:lnTo>
                    <a:pt x="39" y="108"/>
                  </a:lnTo>
                  <a:lnTo>
                    <a:pt x="37" y="108"/>
                  </a:lnTo>
                  <a:lnTo>
                    <a:pt x="37" y="106"/>
                  </a:lnTo>
                  <a:lnTo>
                    <a:pt x="36" y="108"/>
                  </a:lnTo>
                  <a:lnTo>
                    <a:pt x="36" y="109"/>
                  </a:lnTo>
                  <a:lnTo>
                    <a:pt x="34" y="109"/>
                  </a:lnTo>
                  <a:lnTo>
                    <a:pt x="33" y="108"/>
                  </a:lnTo>
                  <a:lnTo>
                    <a:pt x="34" y="108"/>
                  </a:lnTo>
                  <a:lnTo>
                    <a:pt x="33" y="108"/>
                  </a:lnTo>
                  <a:lnTo>
                    <a:pt x="31" y="109"/>
                  </a:lnTo>
                  <a:lnTo>
                    <a:pt x="31" y="111"/>
                  </a:lnTo>
                  <a:lnTo>
                    <a:pt x="29" y="111"/>
                  </a:lnTo>
                  <a:lnTo>
                    <a:pt x="29" y="109"/>
                  </a:lnTo>
                  <a:lnTo>
                    <a:pt x="28" y="109"/>
                  </a:lnTo>
                  <a:lnTo>
                    <a:pt x="28" y="108"/>
                  </a:lnTo>
                  <a:lnTo>
                    <a:pt x="28" y="109"/>
                  </a:lnTo>
                  <a:lnTo>
                    <a:pt x="28" y="111"/>
                  </a:lnTo>
                  <a:lnTo>
                    <a:pt x="26" y="111"/>
                  </a:lnTo>
                  <a:lnTo>
                    <a:pt x="26" y="109"/>
                  </a:lnTo>
                  <a:lnTo>
                    <a:pt x="24" y="109"/>
                  </a:lnTo>
                  <a:lnTo>
                    <a:pt x="24" y="108"/>
                  </a:lnTo>
                  <a:lnTo>
                    <a:pt x="24" y="106"/>
                  </a:lnTo>
                  <a:lnTo>
                    <a:pt x="24" y="108"/>
                  </a:lnTo>
                  <a:lnTo>
                    <a:pt x="24" y="106"/>
                  </a:lnTo>
                  <a:lnTo>
                    <a:pt x="23" y="106"/>
                  </a:lnTo>
                  <a:lnTo>
                    <a:pt x="23" y="108"/>
                  </a:lnTo>
                  <a:lnTo>
                    <a:pt x="21" y="108"/>
                  </a:lnTo>
                  <a:lnTo>
                    <a:pt x="20" y="108"/>
                  </a:lnTo>
                  <a:lnTo>
                    <a:pt x="20" y="109"/>
                  </a:lnTo>
                  <a:lnTo>
                    <a:pt x="21" y="109"/>
                  </a:lnTo>
                  <a:lnTo>
                    <a:pt x="20" y="109"/>
                  </a:lnTo>
                  <a:lnTo>
                    <a:pt x="20" y="111"/>
                  </a:lnTo>
                  <a:lnTo>
                    <a:pt x="18" y="111"/>
                  </a:lnTo>
                  <a:lnTo>
                    <a:pt x="16" y="111"/>
                  </a:lnTo>
                  <a:lnTo>
                    <a:pt x="16" y="113"/>
                  </a:lnTo>
                  <a:lnTo>
                    <a:pt x="16" y="114"/>
                  </a:lnTo>
                  <a:lnTo>
                    <a:pt x="15" y="113"/>
                  </a:lnTo>
                  <a:lnTo>
                    <a:pt x="15" y="111"/>
                  </a:lnTo>
                  <a:lnTo>
                    <a:pt x="13" y="111"/>
                  </a:lnTo>
                  <a:lnTo>
                    <a:pt x="13" y="109"/>
                  </a:lnTo>
                  <a:lnTo>
                    <a:pt x="13" y="108"/>
                  </a:lnTo>
                  <a:lnTo>
                    <a:pt x="13" y="106"/>
                  </a:lnTo>
                  <a:lnTo>
                    <a:pt x="11" y="104"/>
                  </a:lnTo>
                  <a:lnTo>
                    <a:pt x="11" y="103"/>
                  </a:lnTo>
                  <a:lnTo>
                    <a:pt x="13" y="103"/>
                  </a:lnTo>
                  <a:lnTo>
                    <a:pt x="15" y="103"/>
                  </a:lnTo>
                  <a:lnTo>
                    <a:pt x="16" y="103"/>
                  </a:lnTo>
                  <a:lnTo>
                    <a:pt x="16" y="101"/>
                  </a:lnTo>
                  <a:lnTo>
                    <a:pt x="16" y="100"/>
                  </a:lnTo>
                  <a:lnTo>
                    <a:pt x="16" y="98"/>
                  </a:lnTo>
                  <a:lnTo>
                    <a:pt x="15" y="96"/>
                  </a:lnTo>
                  <a:lnTo>
                    <a:pt x="15" y="98"/>
                  </a:lnTo>
                  <a:lnTo>
                    <a:pt x="15" y="96"/>
                  </a:lnTo>
                  <a:lnTo>
                    <a:pt x="13" y="96"/>
                  </a:lnTo>
                  <a:lnTo>
                    <a:pt x="13" y="95"/>
                  </a:lnTo>
                  <a:lnTo>
                    <a:pt x="13" y="93"/>
                  </a:lnTo>
                  <a:lnTo>
                    <a:pt x="15" y="93"/>
                  </a:lnTo>
                  <a:lnTo>
                    <a:pt x="13" y="91"/>
                  </a:lnTo>
                  <a:lnTo>
                    <a:pt x="15" y="91"/>
                  </a:lnTo>
                  <a:lnTo>
                    <a:pt x="15" y="90"/>
                  </a:lnTo>
                  <a:lnTo>
                    <a:pt x="16" y="90"/>
                  </a:lnTo>
                  <a:lnTo>
                    <a:pt x="16" y="88"/>
                  </a:lnTo>
                  <a:lnTo>
                    <a:pt x="15" y="88"/>
                  </a:lnTo>
                  <a:lnTo>
                    <a:pt x="15" y="87"/>
                  </a:lnTo>
                  <a:lnTo>
                    <a:pt x="13" y="87"/>
                  </a:lnTo>
                  <a:lnTo>
                    <a:pt x="13" y="85"/>
                  </a:lnTo>
                  <a:lnTo>
                    <a:pt x="13" y="83"/>
                  </a:lnTo>
                  <a:lnTo>
                    <a:pt x="13" y="82"/>
                  </a:lnTo>
                  <a:lnTo>
                    <a:pt x="11" y="80"/>
                  </a:lnTo>
                  <a:lnTo>
                    <a:pt x="11" y="82"/>
                  </a:lnTo>
                  <a:lnTo>
                    <a:pt x="11" y="83"/>
                  </a:lnTo>
                  <a:lnTo>
                    <a:pt x="11" y="85"/>
                  </a:lnTo>
                  <a:lnTo>
                    <a:pt x="11" y="87"/>
                  </a:lnTo>
                  <a:lnTo>
                    <a:pt x="10" y="85"/>
                  </a:lnTo>
                  <a:lnTo>
                    <a:pt x="8" y="85"/>
                  </a:lnTo>
                  <a:lnTo>
                    <a:pt x="10" y="83"/>
                  </a:lnTo>
                  <a:lnTo>
                    <a:pt x="8" y="83"/>
                  </a:lnTo>
                  <a:lnTo>
                    <a:pt x="8" y="82"/>
                  </a:lnTo>
                  <a:lnTo>
                    <a:pt x="7" y="82"/>
                  </a:lnTo>
                  <a:lnTo>
                    <a:pt x="7" y="83"/>
                  </a:lnTo>
                  <a:lnTo>
                    <a:pt x="5" y="83"/>
                  </a:lnTo>
                  <a:lnTo>
                    <a:pt x="3" y="83"/>
                  </a:lnTo>
                  <a:lnTo>
                    <a:pt x="3" y="85"/>
                  </a:lnTo>
                  <a:lnTo>
                    <a:pt x="3" y="87"/>
                  </a:lnTo>
                  <a:lnTo>
                    <a:pt x="2" y="87"/>
                  </a:lnTo>
                  <a:lnTo>
                    <a:pt x="2" y="88"/>
                  </a:lnTo>
                  <a:lnTo>
                    <a:pt x="0" y="87"/>
                  </a:lnTo>
                  <a:lnTo>
                    <a:pt x="2" y="85"/>
                  </a:lnTo>
                  <a:lnTo>
                    <a:pt x="2" y="83"/>
                  </a:lnTo>
                  <a:lnTo>
                    <a:pt x="0" y="83"/>
                  </a:lnTo>
                  <a:lnTo>
                    <a:pt x="0" y="82"/>
                  </a:lnTo>
                  <a:lnTo>
                    <a:pt x="2" y="80"/>
                  </a:lnTo>
                  <a:lnTo>
                    <a:pt x="2" y="78"/>
                  </a:lnTo>
                  <a:lnTo>
                    <a:pt x="2" y="80"/>
                  </a:lnTo>
                  <a:lnTo>
                    <a:pt x="3" y="78"/>
                  </a:lnTo>
                  <a:lnTo>
                    <a:pt x="2" y="78"/>
                  </a:lnTo>
                  <a:lnTo>
                    <a:pt x="3" y="78"/>
                  </a:lnTo>
                  <a:lnTo>
                    <a:pt x="3" y="77"/>
                  </a:lnTo>
                  <a:lnTo>
                    <a:pt x="5" y="77"/>
                  </a:lnTo>
                  <a:lnTo>
                    <a:pt x="5" y="75"/>
                  </a:lnTo>
                  <a:lnTo>
                    <a:pt x="7" y="74"/>
                  </a:lnTo>
                  <a:lnTo>
                    <a:pt x="7" y="72"/>
                  </a:lnTo>
                  <a:lnTo>
                    <a:pt x="8" y="72"/>
                  </a:lnTo>
                  <a:lnTo>
                    <a:pt x="7" y="72"/>
                  </a:lnTo>
                  <a:lnTo>
                    <a:pt x="7" y="70"/>
                  </a:lnTo>
                  <a:lnTo>
                    <a:pt x="5" y="70"/>
                  </a:lnTo>
                  <a:lnTo>
                    <a:pt x="5" y="69"/>
                  </a:lnTo>
                  <a:lnTo>
                    <a:pt x="5" y="67"/>
                  </a:lnTo>
                  <a:lnTo>
                    <a:pt x="5" y="65"/>
                  </a:lnTo>
                  <a:lnTo>
                    <a:pt x="5" y="64"/>
                  </a:lnTo>
                  <a:lnTo>
                    <a:pt x="3" y="64"/>
                  </a:lnTo>
                  <a:lnTo>
                    <a:pt x="5" y="64"/>
                  </a:lnTo>
                  <a:lnTo>
                    <a:pt x="5" y="65"/>
                  </a:lnTo>
                  <a:lnTo>
                    <a:pt x="7" y="65"/>
                  </a:lnTo>
                  <a:lnTo>
                    <a:pt x="8" y="64"/>
                  </a:lnTo>
                  <a:lnTo>
                    <a:pt x="8" y="65"/>
                  </a:lnTo>
                  <a:lnTo>
                    <a:pt x="10" y="64"/>
                  </a:lnTo>
                  <a:lnTo>
                    <a:pt x="10" y="62"/>
                  </a:lnTo>
                  <a:lnTo>
                    <a:pt x="10" y="61"/>
                  </a:lnTo>
                  <a:lnTo>
                    <a:pt x="10" y="59"/>
                  </a:lnTo>
                  <a:lnTo>
                    <a:pt x="11" y="59"/>
                  </a:lnTo>
                  <a:lnTo>
                    <a:pt x="11" y="61"/>
                  </a:lnTo>
                  <a:lnTo>
                    <a:pt x="13" y="61"/>
                  </a:lnTo>
                  <a:lnTo>
                    <a:pt x="13" y="59"/>
                  </a:lnTo>
                  <a:lnTo>
                    <a:pt x="15" y="59"/>
                  </a:lnTo>
                  <a:lnTo>
                    <a:pt x="15" y="57"/>
                  </a:lnTo>
                  <a:lnTo>
                    <a:pt x="15" y="59"/>
                  </a:lnTo>
                  <a:lnTo>
                    <a:pt x="16" y="59"/>
                  </a:lnTo>
                  <a:lnTo>
                    <a:pt x="16" y="61"/>
                  </a:lnTo>
                  <a:lnTo>
                    <a:pt x="16" y="62"/>
                  </a:lnTo>
                  <a:lnTo>
                    <a:pt x="18" y="61"/>
                  </a:lnTo>
                  <a:lnTo>
                    <a:pt x="20" y="61"/>
                  </a:lnTo>
                  <a:lnTo>
                    <a:pt x="20" y="59"/>
                  </a:lnTo>
                  <a:lnTo>
                    <a:pt x="21" y="59"/>
                  </a:lnTo>
                  <a:lnTo>
                    <a:pt x="21" y="57"/>
                  </a:lnTo>
                  <a:lnTo>
                    <a:pt x="23" y="57"/>
                  </a:lnTo>
                  <a:lnTo>
                    <a:pt x="24" y="57"/>
                  </a:lnTo>
                  <a:lnTo>
                    <a:pt x="23" y="57"/>
                  </a:lnTo>
                  <a:lnTo>
                    <a:pt x="21" y="57"/>
                  </a:lnTo>
                  <a:lnTo>
                    <a:pt x="21" y="56"/>
                  </a:lnTo>
                  <a:lnTo>
                    <a:pt x="21" y="54"/>
                  </a:lnTo>
                  <a:lnTo>
                    <a:pt x="20" y="56"/>
                  </a:lnTo>
                  <a:lnTo>
                    <a:pt x="18" y="56"/>
                  </a:lnTo>
                  <a:lnTo>
                    <a:pt x="18" y="57"/>
                  </a:lnTo>
                  <a:lnTo>
                    <a:pt x="18" y="56"/>
                  </a:lnTo>
                  <a:lnTo>
                    <a:pt x="16" y="56"/>
                  </a:lnTo>
                  <a:lnTo>
                    <a:pt x="16" y="54"/>
                  </a:lnTo>
                  <a:lnTo>
                    <a:pt x="16" y="52"/>
                  </a:lnTo>
                  <a:lnTo>
                    <a:pt x="16" y="51"/>
                  </a:lnTo>
                  <a:lnTo>
                    <a:pt x="18" y="51"/>
                  </a:lnTo>
                  <a:lnTo>
                    <a:pt x="18" y="52"/>
                  </a:lnTo>
                  <a:lnTo>
                    <a:pt x="18" y="51"/>
                  </a:lnTo>
                  <a:lnTo>
                    <a:pt x="20" y="51"/>
                  </a:lnTo>
                  <a:lnTo>
                    <a:pt x="20" y="52"/>
                  </a:lnTo>
                  <a:lnTo>
                    <a:pt x="20" y="51"/>
                  </a:lnTo>
                  <a:lnTo>
                    <a:pt x="21" y="51"/>
                  </a:lnTo>
                  <a:lnTo>
                    <a:pt x="21" y="49"/>
                  </a:lnTo>
                  <a:lnTo>
                    <a:pt x="21" y="48"/>
                  </a:lnTo>
                  <a:lnTo>
                    <a:pt x="23" y="49"/>
                  </a:lnTo>
                  <a:lnTo>
                    <a:pt x="24" y="49"/>
                  </a:lnTo>
                  <a:lnTo>
                    <a:pt x="24" y="48"/>
                  </a:lnTo>
                  <a:lnTo>
                    <a:pt x="24" y="49"/>
                  </a:lnTo>
                  <a:lnTo>
                    <a:pt x="26" y="49"/>
                  </a:lnTo>
                  <a:lnTo>
                    <a:pt x="26" y="48"/>
                  </a:lnTo>
                  <a:lnTo>
                    <a:pt x="26" y="49"/>
                  </a:lnTo>
                  <a:lnTo>
                    <a:pt x="26" y="48"/>
                  </a:lnTo>
                  <a:lnTo>
                    <a:pt x="26" y="49"/>
                  </a:lnTo>
                  <a:lnTo>
                    <a:pt x="28" y="49"/>
                  </a:lnTo>
                  <a:lnTo>
                    <a:pt x="28" y="51"/>
                  </a:lnTo>
                  <a:lnTo>
                    <a:pt x="29" y="51"/>
                  </a:lnTo>
                  <a:lnTo>
                    <a:pt x="29" y="49"/>
                  </a:lnTo>
                  <a:lnTo>
                    <a:pt x="29" y="51"/>
                  </a:lnTo>
                  <a:lnTo>
                    <a:pt x="29" y="49"/>
                  </a:lnTo>
                  <a:lnTo>
                    <a:pt x="29" y="51"/>
                  </a:lnTo>
                  <a:lnTo>
                    <a:pt x="31" y="51"/>
                  </a:lnTo>
                  <a:lnTo>
                    <a:pt x="29" y="51"/>
                  </a:lnTo>
                  <a:lnTo>
                    <a:pt x="31" y="51"/>
                  </a:lnTo>
                  <a:lnTo>
                    <a:pt x="33" y="51"/>
                  </a:lnTo>
                  <a:lnTo>
                    <a:pt x="33" y="52"/>
                  </a:lnTo>
                  <a:lnTo>
                    <a:pt x="34" y="52"/>
                  </a:lnTo>
                  <a:lnTo>
                    <a:pt x="36" y="51"/>
                  </a:lnTo>
                  <a:lnTo>
                    <a:pt x="36" y="49"/>
                  </a:lnTo>
                  <a:lnTo>
                    <a:pt x="37" y="48"/>
                  </a:lnTo>
                  <a:lnTo>
                    <a:pt x="37" y="49"/>
                  </a:lnTo>
                  <a:lnTo>
                    <a:pt x="39" y="49"/>
                  </a:lnTo>
                  <a:lnTo>
                    <a:pt x="39" y="48"/>
                  </a:lnTo>
                  <a:lnTo>
                    <a:pt x="39" y="46"/>
                  </a:lnTo>
                  <a:lnTo>
                    <a:pt x="41" y="46"/>
                  </a:lnTo>
                  <a:lnTo>
                    <a:pt x="41" y="48"/>
                  </a:lnTo>
                  <a:lnTo>
                    <a:pt x="41" y="49"/>
                  </a:lnTo>
                  <a:lnTo>
                    <a:pt x="42" y="49"/>
                  </a:lnTo>
                  <a:lnTo>
                    <a:pt x="42" y="48"/>
                  </a:lnTo>
                  <a:lnTo>
                    <a:pt x="44" y="49"/>
                  </a:lnTo>
                  <a:lnTo>
                    <a:pt x="44" y="48"/>
                  </a:lnTo>
                  <a:lnTo>
                    <a:pt x="46" y="48"/>
                  </a:lnTo>
                  <a:lnTo>
                    <a:pt x="46" y="49"/>
                  </a:lnTo>
                  <a:lnTo>
                    <a:pt x="46" y="51"/>
                  </a:lnTo>
                  <a:lnTo>
                    <a:pt x="47" y="51"/>
                  </a:lnTo>
                  <a:lnTo>
                    <a:pt x="47" y="49"/>
                  </a:lnTo>
                  <a:lnTo>
                    <a:pt x="49" y="49"/>
                  </a:lnTo>
                  <a:lnTo>
                    <a:pt x="49" y="48"/>
                  </a:lnTo>
                  <a:lnTo>
                    <a:pt x="50" y="48"/>
                  </a:lnTo>
                  <a:lnTo>
                    <a:pt x="49" y="48"/>
                  </a:lnTo>
                  <a:lnTo>
                    <a:pt x="49" y="49"/>
                  </a:lnTo>
                  <a:lnTo>
                    <a:pt x="47" y="49"/>
                  </a:lnTo>
                  <a:lnTo>
                    <a:pt x="47" y="48"/>
                  </a:lnTo>
                  <a:lnTo>
                    <a:pt x="46" y="46"/>
                  </a:lnTo>
                  <a:lnTo>
                    <a:pt x="47" y="46"/>
                  </a:lnTo>
                  <a:lnTo>
                    <a:pt x="46" y="44"/>
                  </a:lnTo>
                  <a:lnTo>
                    <a:pt x="47" y="44"/>
                  </a:lnTo>
                  <a:lnTo>
                    <a:pt x="46" y="43"/>
                  </a:lnTo>
                  <a:lnTo>
                    <a:pt x="46" y="44"/>
                  </a:lnTo>
                  <a:lnTo>
                    <a:pt x="44" y="43"/>
                  </a:lnTo>
                  <a:lnTo>
                    <a:pt x="44" y="41"/>
                  </a:lnTo>
                  <a:lnTo>
                    <a:pt x="42" y="41"/>
                  </a:lnTo>
                  <a:lnTo>
                    <a:pt x="44" y="41"/>
                  </a:lnTo>
                  <a:lnTo>
                    <a:pt x="44" y="39"/>
                  </a:lnTo>
                  <a:lnTo>
                    <a:pt x="46" y="39"/>
                  </a:lnTo>
                  <a:lnTo>
                    <a:pt x="47" y="39"/>
                  </a:lnTo>
                  <a:lnTo>
                    <a:pt x="49" y="39"/>
                  </a:lnTo>
                  <a:lnTo>
                    <a:pt x="49" y="41"/>
                  </a:lnTo>
                  <a:lnTo>
                    <a:pt x="50" y="41"/>
                  </a:lnTo>
                  <a:lnTo>
                    <a:pt x="50" y="39"/>
                  </a:lnTo>
                  <a:lnTo>
                    <a:pt x="52" y="39"/>
                  </a:lnTo>
                  <a:lnTo>
                    <a:pt x="52" y="41"/>
                  </a:lnTo>
                  <a:lnTo>
                    <a:pt x="52" y="39"/>
                  </a:lnTo>
                  <a:lnTo>
                    <a:pt x="52" y="36"/>
                  </a:lnTo>
                  <a:lnTo>
                    <a:pt x="54" y="36"/>
                  </a:lnTo>
                  <a:lnTo>
                    <a:pt x="55" y="38"/>
                  </a:lnTo>
                  <a:lnTo>
                    <a:pt x="57" y="39"/>
                  </a:lnTo>
                  <a:lnTo>
                    <a:pt x="57" y="38"/>
                  </a:lnTo>
                  <a:lnTo>
                    <a:pt x="59" y="38"/>
                  </a:lnTo>
                  <a:lnTo>
                    <a:pt x="60" y="38"/>
                  </a:lnTo>
                  <a:lnTo>
                    <a:pt x="59" y="38"/>
                  </a:lnTo>
                  <a:lnTo>
                    <a:pt x="60" y="38"/>
                  </a:lnTo>
                  <a:lnTo>
                    <a:pt x="60" y="36"/>
                  </a:lnTo>
                  <a:lnTo>
                    <a:pt x="60" y="35"/>
                  </a:lnTo>
                  <a:lnTo>
                    <a:pt x="62" y="36"/>
                  </a:lnTo>
                  <a:lnTo>
                    <a:pt x="62" y="38"/>
                  </a:lnTo>
                  <a:lnTo>
                    <a:pt x="62" y="39"/>
                  </a:lnTo>
                  <a:lnTo>
                    <a:pt x="63" y="39"/>
                  </a:lnTo>
                  <a:lnTo>
                    <a:pt x="63" y="38"/>
                  </a:lnTo>
                  <a:lnTo>
                    <a:pt x="63" y="39"/>
                  </a:lnTo>
                  <a:lnTo>
                    <a:pt x="63" y="41"/>
                  </a:lnTo>
                  <a:lnTo>
                    <a:pt x="65" y="41"/>
                  </a:lnTo>
                  <a:lnTo>
                    <a:pt x="65" y="43"/>
                  </a:lnTo>
                  <a:lnTo>
                    <a:pt x="67" y="43"/>
                  </a:lnTo>
                  <a:lnTo>
                    <a:pt x="68" y="44"/>
                  </a:lnTo>
                  <a:lnTo>
                    <a:pt x="70" y="44"/>
                  </a:lnTo>
                  <a:lnTo>
                    <a:pt x="72" y="44"/>
                  </a:lnTo>
                  <a:lnTo>
                    <a:pt x="72" y="46"/>
                  </a:lnTo>
                  <a:lnTo>
                    <a:pt x="73" y="46"/>
                  </a:lnTo>
                  <a:lnTo>
                    <a:pt x="75" y="46"/>
                  </a:lnTo>
                  <a:lnTo>
                    <a:pt x="76" y="46"/>
                  </a:lnTo>
                  <a:lnTo>
                    <a:pt x="80" y="46"/>
                  </a:lnTo>
                  <a:lnTo>
                    <a:pt x="81" y="44"/>
                  </a:lnTo>
                  <a:lnTo>
                    <a:pt x="83" y="44"/>
                  </a:lnTo>
                  <a:lnTo>
                    <a:pt x="83" y="46"/>
                  </a:lnTo>
                  <a:lnTo>
                    <a:pt x="83" y="44"/>
                  </a:lnTo>
                  <a:lnTo>
                    <a:pt x="85" y="44"/>
                  </a:lnTo>
                  <a:lnTo>
                    <a:pt x="83" y="44"/>
                  </a:lnTo>
                  <a:lnTo>
                    <a:pt x="85" y="44"/>
                  </a:lnTo>
                  <a:lnTo>
                    <a:pt x="85" y="46"/>
                  </a:lnTo>
                  <a:lnTo>
                    <a:pt x="86" y="46"/>
                  </a:lnTo>
                  <a:lnTo>
                    <a:pt x="88" y="46"/>
                  </a:lnTo>
                  <a:lnTo>
                    <a:pt x="88" y="48"/>
                  </a:lnTo>
                  <a:lnTo>
                    <a:pt x="89" y="48"/>
                  </a:lnTo>
                  <a:lnTo>
                    <a:pt x="91" y="48"/>
                  </a:lnTo>
                  <a:lnTo>
                    <a:pt x="91" y="46"/>
                  </a:lnTo>
                  <a:lnTo>
                    <a:pt x="93" y="46"/>
                  </a:lnTo>
                  <a:lnTo>
                    <a:pt x="94" y="46"/>
                  </a:lnTo>
                  <a:lnTo>
                    <a:pt x="96" y="43"/>
                  </a:lnTo>
                  <a:lnTo>
                    <a:pt x="98" y="43"/>
                  </a:lnTo>
                  <a:lnTo>
                    <a:pt x="96" y="43"/>
                  </a:lnTo>
                  <a:lnTo>
                    <a:pt x="98" y="43"/>
                  </a:lnTo>
                  <a:lnTo>
                    <a:pt x="99" y="43"/>
                  </a:lnTo>
                  <a:lnTo>
                    <a:pt x="101" y="43"/>
                  </a:lnTo>
                  <a:lnTo>
                    <a:pt x="99" y="41"/>
                  </a:lnTo>
                  <a:lnTo>
                    <a:pt x="101" y="41"/>
                  </a:lnTo>
                  <a:lnTo>
                    <a:pt x="102" y="41"/>
                  </a:lnTo>
                  <a:lnTo>
                    <a:pt x="104" y="41"/>
                  </a:lnTo>
                  <a:lnTo>
                    <a:pt x="104" y="43"/>
                  </a:lnTo>
                  <a:lnTo>
                    <a:pt x="106" y="43"/>
                  </a:lnTo>
                  <a:lnTo>
                    <a:pt x="106" y="41"/>
                  </a:lnTo>
                  <a:lnTo>
                    <a:pt x="107" y="39"/>
                  </a:lnTo>
                  <a:lnTo>
                    <a:pt x="107" y="41"/>
                  </a:lnTo>
                  <a:lnTo>
                    <a:pt x="107" y="43"/>
                  </a:lnTo>
                  <a:lnTo>
                    <a:pt x="107" y="44"/>
                  </a:lnTo>
                  <a:lnTo>
                    <a:pt x="106" y="44"/>
                  </a:lnTo>
                  <a:lnTo>
                    <a:pt x="107" y="44"/>
                  </a:lnTo>
                  <a:lnTo>
                    <a:pt x="106" y="44"/>
                  </a:lnTo>
                  <a:lnTo>
                    <a:pt x="107" y="46"/>
                  </a:lnTo>
                  <a:lnTo>
                    <a:pt x="107" y="48"/>
                  </a:lnTo>
                  <a:lnTo>
                    <a:pt x="106" y="48"/>
                  </a:lnTo>
                  <a:lnTo>
                    <a:pt x="107" y="49"/>
                  </a:lnTo>
                  <a:lnTo>
                    <a:pt x="107" y="51"/>
                  </a:lnTo>
                  <a:lnTo>
                    <a:pt x="109" y="51"/>
                  </a:lnTo>
                  <a:lnTo>
                    <a:pt x="107" y="51"/>
                  </a:lnTo>
                  <a:lnTo>
                    <a:pt x="107" y="49"/>
                  </a:lnTo>
                  <a:lnTo>
                    <a:pt x="107" y="48"/>
                  </a:lnTo>
                  <a:lnTo>
                    <a:pt x="109" y="48"/>
                  </a:lnTo>
                  <a:lnTo>
                    <a:pt x="111" y="48"/>
                  </a:lnTo>
                  <a:lnTo>
                    <a:pt x="111" y="46"/>
                  </a:lnTo>
                  <a:lnTo>
                    <a:pt x="111" y="44"/>
                  </a:lnTo>
                  <a:lnTo>
                    <a:pt x="112" y="44"/>
                  </a:lnTo>
                  <a:lnTo>
                    <a:pt x="112" y="43"/>
                  </a:lnTo>
                  <a:lnTo>
                    <a:pt x="111" y="43"/>
                  </a:lnTo>
                  <a:lnTo>
                    <a:pt x="112" y="43"/>
                  </a:lnTo>
                  <a:lnTo>
                    <a:pt x="111" y="41"/>
                  </a:lnTo>
                  <a:lnTo>
                    <a:pt x="112" y="41"/>
                  </a:lnTo>
                  <a:lnTo>
                    <a:pt x="114" y="41"/>
                  </a:lnTo>
                  <a:lnTo>
                    <a:pt x="115" y="41"/>
                  </a:lnTo>
                  <a:lnTo>
                    <a:pt x="117" y="41"/>
                  </a:lnTo>
                  <a:lnTo>
                    <a:pt x="117" y="43"/>
                  </a:lnTo>
                  <a:lnTo>
                    <a:pt x="117" y="44"/>
                  </a:lnTo>
                  <a:lnTo>
                    <a:pt x="119" y="44"/>
                  </a:lnTo>
                  <a:lnTo>
                    <a:pt x="120" y="44"/>
                  </a:lnTo>
                  <a:lnTo>
                    <a:pt x="120" y="46"/>
                  </a:lnTo>
                  <a:lnTo>
                    <a:pt x="120" y="48"/>
                  </a:lnTo>
                  <a:lnTo>
                    <a:pt x="122" y="48"/>
                  </a:lnTo>
                  <a:lnTo>
                    <a:pt x="120" y="48"/>
                  </a:lnTo>
                  <a:lnTo>
                    <a:pt x="120" y="49"/>
                  </a:lnTo>
                  <a:lnTo>
                    <a:pt x="122" y="49"/>
                  </a:lnTo>
                  <a:lnTo>
                    <a:pt x="120" y="49"/>
                  </a:lnTo>
                  <a:lnTo>
                    <a:pt x="120" y="51"/>
                  </a:lnTo>
                  <a:lnTo>
                    <a:pt x="122" y="51"/>
                  </a:lnTo>
                  <a:lnTo>
                    <a:pt x="124" y="52"/>
                  </a:lnTo>
                  <a:lnTo>
                    <a:pt x="122" y="52"/>
                  </a:lnTo>
                  <a:lnTo>
                    <a:pt x="124" y="52"/>
                  </a:lnTo>
                  <a:lnTo>
                    <a:pt x="124" y="54"/>
                  </a:lnTo>
                  <a:lnTo>
                    <a:pt x="124" y="56"/>
                  </a:lnTo>
                  <a:lnTo>
                    <a:pt x="122" y="57"/>
                  </a:lnTo>
                  <a:lnTo>
                    <a:pt x="122" y="59"/>
                  </a:lnTo>
                  <a:lnTo>
                    <a:pt x="122" y="57"/>
                  </a:lnTo>
                  <a:lnTo>
                    <a:pt x="124" y="57"/>
                  </a:lnTo>
                  <a:lnTo>
                    <a:pt x="124" y="56"/>
                  </a:lnTo>
                  <a:lnTo>
                    <a:pt x="125" y="54"/>
                  </a:lnTo>
                  <a:lnTo>
                    <a:pt x="124" y="54"/>
                  </a:lnTo>
                  <a:lnTo>
                    <a:pt x="124" y="52"/>
                  </a:lnTo>
                  <a:lnTo>
                    <a:pt x="125" y="52"/>
                  </a:lnTo>
                  <a:lnTo>
                    <a:pt x="125" y="51"/>
                  </a:lnTo>
                  <a:lnTo>
                    <a:pt x="124" y="51"/>
                  </a:lnTo>
                  <a:lnTo>
                    <a:pt x="124" y="49"/>
                  </a:lnTo>
                  <a:lnTo>
                    <a:pt x="125" y="49"/>
                  </a:lnTo>
                  <a:lnTo>
                    <a:pt x="125" y="48"/>
                  </a:lnTo>
                  <a:lnTo>
                    <a:pt x="125" y="46"/>
                  </a:lnTo>
                  <a:lnTo>
                    <a:pt x="124" y="46"/>
                  </a:lnTo>
                  <a:lnTo>
                    <a:pt x="125" y="46"/>
                  </a:lnTo>
                  <a:lnTo>
                    <a:pt x="125" y="44"/>
                  </a:lnTo>
                  <a:lnTo>
                    <a:pt x="127" y="43"/>
                  </a:lnTo>
                  <a:lnTo>
                    <a:pt x="128" y="43"/>
                  </a:lnTo>
                  <a:lnTo>
                    <a:pt x="130" y="43"/>
                  </a:lnTo>
                  <a:lnTo>
                    <a:pt x="132" y="44"/>
                  </a:lnTo>
                  <a:lnTo>
                    <a:pt x="133" y="43"/>
                  </a:lnTo>
                  <a:lnTo>
                    <a:pt x="135" y="43"/>
                  </a:lnTo>
                  <a:lnTo>
                    <a:pt x="133" y="43"/>
                  </a:lnTo>
                  <a:lnTo>
                    <a:pt x="132" y="43"/>
                  </a:lnTo>
                  <a:lnTo>
                    <a:pt x="130" y="43"/>
                  </a:lnTo>
                  <a:lnTo>
                    <a:pt x="130" y="41"/>
                  </a:lnTo>
                  <a:lnTo>
                    <a:pt x="130" y="43"/>
                  </a:lnTo>
                  <a:lnTo>
                    <a:pt x="130" y="41"/>
                  </a:lnTo>
                  <a:lnTo>
                    <a:pt x="128" y="41"/>
                  </a:lnTo>
                  <a:lnTo>
                    <a:pt x="127" y="41"/>
                  </a:lnTo>
                  <a:close/>
                </a:path>
              </a:pathLst>
            </a:custGeom>
            <a:solidFill>
              <a:srgbClr val="FFC0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1097" name="Freeform 22">
              <a:extLst>
                <a:ext uri="{FF2B5EF4-FFF2-40B4-BE49-F238E27FC236}">
                  <a16:creationId xmlns:a16="http://schemas.microsoft.com/office/drawing/2014/main" id="{5246A0A6-AFCC-0A6E-A069-F67C0C8779E0}"/>
                </a:ext>
              </a:extLst>
            </p:cNvPr>
            <p:cNvSpPr>
              <a:spLocks noEditPoints="1"/>
            </p:cNvSpPr>
            <p:nvPr/>
          </p:nvSpPr>
          <p:spPr bwMode="auto">
            <a:xfrm>
              <a:off x="4752" y="760"/>
              <a:ext cx="849" cy="1529"/>
            </a:xfrm>
            <a:custGeom>
              <a:avLst/>
              <a:gdLst>
                <a:gd name="T0" fmla="*/ 256 w 849"/>
                <a:gd name="T1" fmla="*/ 976 h 1529"/>
                <a:gd name="T2" fmla="*/ 308 w 849"/>
                <a:gd name="T3" fmla="*/ 883 h 1529"/>
                <a:gd name="T4" fmla="*/ 368 w 849"/>
                <a:gd name="T5" fmla="*/ 696 h 1529"/>
                <a:gd name="T6" fmla="*/ 225 w 849"/>
                <a:gd name="T7" fmla="*/ 475 h 1529"/>
                <a:gd name="T8" fmla="*/ 252 w 849"/>
                <a:gd name="T9" fmla="*/ 85 h 1529"/>
                <a:gd name="T10" fmla="*/ 732 w 849"/>
                <a:gd name="T11" fmla="*/ 1256 h 1529"/>
                <a:gd name="T12" fmla="*/ 597 w 849"/>
                <a:gd name="T13" fmla="*/ 1371 h 1529"/>
                <a:gd name="T14" fmla="*/ 498 w 849"/>
                <a:gd name="T15" fmla="*/ 1430 h 1529"/>
                <a:gd name="T16" fmla="*/ 389 w 849"/>
                <a:gd name="T17" fmla="*/ 1495 h 1529"/>
                <a:gd name="T18" fmla="*/ 332 w 849"/>
                <a:gd name="T19" fmla="*/ 1423 h 1529"/>
                <a:gd name="T20" fmla="*/ 247 w 849"/>
                <a:gd name="T21" fmla="*/ 1334 h 1529"/>
                <a:gd name="T22" fmla="*/ 215 w 849"/>
                <a:gd name="T23" fmla="*/ 1183 h 1529"/>
                <a:gd name="T24" fmla="*/ 165 w 849"/>
                <a:gd name="T25" fmla="*/ 1453 h 1529"/>
                <a:gd name="T26" fmla="*/ 345 w 849"/>
                <a:gd name="T27" fmla="*/ 1448 h 1529"/>
                <a:gd name="T28" fmla="*/ 322 w 849"/>
                <a:gd name="T29" fmla="*/ 1453 h 1529"/>
                <a:gd name="T30" fmla="*/ 332 w 849"/>
                <a:gd name="T31" fmla="*/ 1435 h 1529"/>
                <a:gd name="T32" fmla="*/ 415 w 849"/>
                <a:gd name="T33" fmla="*/ 1477 h 1529"/>
                <a:gd name="T34" fmla="*/ 197 w 849"/>
                <a:gd name="T35" fmla="*/ 1500 h 1529"/>
                <a:gd name="T36" fmla="*/ 374 w 849"/>
                <a:gd name="T37" fmla="*/ 1454 h 1529"/>
                <a:gd name="T38" fmla="*/ 236 w 849"/>
                <a:gd name="T39" fmla="*/ 1254 h 1529"/>
                <a:gd name="T40" fmla="*/ 594 w 849"/>
                <a:gd name="T41" fmla="*/ 1386 h 1529"/>
                <a:gd name="T42" fmla="*/ 298 w 849"/>
                <a:gd name="T43" fmla="*/ 1492 h 1529"/>
                <a:gd name="T44" fmla="*/ 236 w 849"/>
                <a:gd name="T45" fmla="*/ 1438 h 1529"/>
                <a:gd name="T46" fmla="*/ 244 w 849"/>
                <a:gd name="T47" fmla="*/ 1321 h 1529"/>
                <a:gd name="T48" fmla="*/ 304 w 849"/>
                <a:gd name="T49" fmla="*/ 1462 h 1529"/>
                <a:gd name="T50" fmla="*/ 143 w 849"/>
                <a:gd name="T51" fmla="*/ 1461 h 1529"/>
                <a:gd name="T52" fmla="*/ 350 w 849"/>
                <a:gd name="T53" fmla="*/ 1503 h 1529"/>
                <a:gd name="T54" fmla="*/ 142 w 849"/>
                <a:gd name="T55" fmla="*/ 1487 h 1529"/>
                <a:gd name="T56" fmla="*/ 184 w 849"/>
                <a:gd name="T57" fmla="*/ 1443 h 1529"/>
                <a:gd name="T58" fmla="*/ 285 w 849"/>
                <a:gd name="T59" fmla="*/ 1425 h 1529"/>
                <a:gd name="T60" fmla="*/ 475 w 849"/>
                <a:gd name="T61" fmla="*/ 1446 h 1529"/>
                <a:gd name="T62" fmla="*/ 290 w 849"/>
                <a:gd name="T63" fmla="*/ 1445 h 1529"/>
                <a:gd name="T64" fmla="*/ 656 w 849"/>
                <a:gd name="T65" fmla="*/ 1350 h 1529"/>
                <a:gd name="T66" fmla="*/ 265 w 849"/>
                <a:gd name="T67" fmla="*/ 1446 h 1529"/>
                <a:gd name="T68" fmla="*/ 251 w 849"/>
                <a:gd name="T69" fmla="*/ 1314 h 1529"/>
                <a:gd name="T70" fmla="*/ 226 w 849"/>
                <a:gd name="T71" fmla="*/ 1436 h 1529"/>
                <a:gd name="T72" fmla="*/ 378 w 849"/>
                <a:gd name="T73" fmla="*/ 1500 h 1529"/>
                <a:gd name="T74" fmla="*/ 247 w 849"/>
                <a:gd name="T75" fmla="*/ 1353 h 1529"/>
                <a:gd name="T76" fmla="*/ 205 w 849"/>
                <a:gd name="T77" fmla="*/ 1462 h 1529"/>
                <a:gd name="T78" fmla="*/ 187 w 849"/>
                <a:gd name="T79" fmla="*/ 1446 h 1529"/>
                <a:gd name="T80" fmla="*/ 306 w 849"/>
                <a:gd name="T81" fmla="*/ 646 h 1529"/>
                <a:gd name="T82" fmla="*/ 199 w 849"/>
                <a:gd name="T83" fmla="*/ 1155 h 1529"/>
                <a:gd name="T84" fmla="*/ 202 w 849"/>
                <a:gd name="T85" fmla="*/ 1464 h 1529"/>
                <a:gd name="T86" fmla="*/ 254 w 849"/>
                <a:gd name="T87" fmla="*/ 1497 h 1529"/>
                <a:gd name="T88" fmla="*/ 274 w 849"/>
                <a:gd name="T89" fmla="*/ 1516 h 1529"/>
                <a:gd name="T90" fmla="*/ 369 w 849"/>
                <a:gd name="T91" fmla="*/ 1480 h 1529"/>
                <a:gd name="T92" fmla="*/ 589 w 849"/>
                <a:gd name="T93" fmla="*/ 1384 h 1529"/>
                <a:gd name="T94" fmla="*/ 205 w 849"/>
                <a:gd name="T95" fmla="*/ 1048 h 1529"/>
                <a:gd name="T96" fmla="*/ 259 w 849"/>
                <a:gd name="T97" fmla="*/ 949 h 1529"/>
                <a:gd name="T98" fmla="*/ 317 w 849"/>
                <a:gd name="T99" fmla="*/ 1449 h 1529"/>
                <a:gd name="T100" fmla="*/ 324 w 849"/>
                <a:gd name="T101" fmla="*/ 1467 h 1529"/>
                <a:gd name="T102" fmla="*/ 249 w 849"/>
                <a:gd name="T103" fmla="*/ 1409 h 1529"/>
                <a:gd name="T104" fmla="*/ 225 w 849"/>
                <a:gd name="T105" fmla="*/ 1222 h 1529"/>
                <a:gd name="T106" fmla="*/ 238 w 849"/>
                <a:gd name="T107" fmla="*/ 1401 h 1529"/>
                <a:gd name="T108" fmla="*/ 290 w 849"/>
                <a:gd name="T109" fmla="*/ 1443 h 1529"/>
                <a:gd name="T110" fmla="*/ 228 w 849"/>
                <a:gd name="T111" fmla="*/ 1471 h 1529"/>
                <a:gd name="T112" fmla="*/ 238 w 849"/>
                <a:gd name="T113" fmla="*/ 1422 h 1529"/>
                <a:gd name="T114" fmla="*/ 181 w 849"/>
                <a:gd name="T115" fmla="*/ 1433 h 1529"/>
                <a:gd name="T116" fmla="*/ 135 w 849"/>
                <a:gd name="T117" fmla="*/ 1487 h 1529"/>
                <a:gd name="T118" fmla="*/ 261 w 849"/>
                <a:gd name="T119" fmla="*/ 1420 h 1529"/>
                <a:gd name="T120" fmla="*/ 199 w 849"/>
                <a:gd name="T121" fmla="*/ 1432 h 1529"/>
                <a:gd name="T122" fmla="*/ 612 w 849"/>
                <a:gd name="T123" fmla="*/ 1373 h 1529"/>
                <a:gd name="T124" fmla="*/ 228 w 849"/>
                <a:gd name="T125" fmla="*/ 1225 h 15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849" h="1529">
                  <a:moveTo>
                    <a:pt x="191" y="1083"/>
                  </a:moveTo>
                  <a:lnTo>
                    <a:pt x="191" y="1082"/>
                  </a:lnTo>
                  <a:lnTo>
                    <a:pt x="192" y="1083"/>
                  </a:lnTo>
                  <a:lnTo>
                    <a:pt x="192" y="1082"/>
                  </a:lnTo>
                  <a:lnTo>
                    <a:pt x="192" y="1083"/>
                  </a:lnTo>
                  <a:lnTo>
                    <a:pt x="194" y="1082"/>
                  </a:lnTo>
                  <a:lnTo>
                    <a:pt x="194" y="1083"/>
                  </a:lnTo>
                  <a:lnTo>
                    <a:pt x="195" y="1083"/>
                  </a:lnTo>
                  <a:lnTo>
                    <a:pt x="195" y="1082"/>
                  </a:lnTo>
                  <a:lnTo>
                    <a:pt x="195" y="1083"/>
                  </a:lnTo>
                  <a:lnTo>
                    <a:pt x="197" y="1083"/>
                  </a:lnTo>
                  <a:lnTo>
                    <a:pt x="199" y="1085"/>
                  </a:lnTo>
                  <a:lnTo>
                    <a:pt x="200" y="1085"/>
                  </a:lnTo>
                  <a:lnTo>
                    <a:pt x="199" y="1083"/>
                  </a:lnTo>
                  <a:lnTo>
                    <a:pt x="200" y="1083"/>
                  </a:lnTo>
                  <a:lnTo>
                    <a:pt x="199" y="1083"/>
                  </a:lnTo>
                  <a:lnTo>
                    <a:pt x="199" y="1082"/>
                  </a:lnTo>
                  <a:lnTo>
                    <a:pt x="199" y="1080"/>
                  </a:lnTo>
                  <a:lnTo>
                    <a:pt x="200" y="1080"/>
                  </a:lnTo>
                  <a:lnTo>
                    <a:pt x="200" y="1082"/>
                  </a:lnTo>
                  <a:lnTo>
                    <a:pt x="200" y="1083"/>
                  </a:lnTo>
                  <a:lnTo>
                    <a:pt x="202" y="1083"/>
                  </a:lnTo>
                  <a:lnTo>
                    <a:pt x="202" y="1082"/>
                  </a:lnTo>
                  <a:lnTo>
                    <a:pt x="200" y="1080"/>
                  </a:lnTo>
                  <a:lnTo>
                    <a:pt x="202" y="1080"/>
                  </a:lnTo>
                  <a:lnTo>
                    <a:pt x="202" y="1079"/>
                  </a:lnTo>
                  <a:lnTo>
                    <a:pt x="202" y="1077"/>
                  </a:lnTo>
                  <a:lnTo>
                    <a:pt x="202" y="1075"/>
                  </a:lnTo>
                  <a:lnTo>
                    <a:pt x="202" y="1074"/>
                  </a:lnTo>
                  <a:lnTo>
                    <a:pt x="202" y="1072"/>
                  </a:lnTo>
                  <a:lnTo>
                    <a:pt x="202" y="1070"/>
                  </a:lnTo>
                  <a:lnTo>
                    <a:pt x="204" y="1070"/>
                  </a:lnTo>
                  <a:lnTo>
                    <a:pt x="204" y="1069"/>
                  </a:lnTo>
                  <a:lnTo>
                    <a:pt x="205" y="1070"/>
                  </a:lnTo>
                  <a:lnTo>
                    <a:pt x="205" y="1069"/>
                  </a:lnTo>
                  <a:lnTo>
                    <a:pt x="205" y="1070"/>
                  </a:lnTo>
                  <a:lnTo>
                    <a:pt x="205" y="1069"/>
                  </a:lnTo>
                  <a:lnTo>
                    <a:pt x="204" y="1069"/>
                  </a:lnTo>
                  <a:lnTo>
                    <a:pt x="204" y="1067"/>
                  </a:lnTo>
                  <a:lnTo>
                    <a:pt x="204" y="1066"/>
                  </a:lnTo>
                  <a:lnTo>
                    <a:pt x="204" y="1064"/>
                  </a:lnTo>
                  <a:lnTo>
                    <a:pt x="204" y="1066"/>
                  </a:lnTo>
                  <a:lnTo>
                    <a:pt x="204" y="1064"/>
                  </a:lnTo>
                  <a:lnTo>
                    <a:pt x="202" y="1064"/>
                  </a:lnTo>
                  <a:lnTo>
                    <a:pt x="200" y="1064"/>
                  </a:lnTo>
                  <a:lnTo>
                    <a:pt x="200" y="1062"/>
                  </a:lnTo>
                  <a:lnTo>
                    <a:pt x="200" y="1064"/>
                  </a:lnTo>
                  <a:lnTo>
                    <a:pt x="202" y="1064"/>
                  </a:lnTo>
                  <a:lnTo>
                    <a:pt x="202" y="1066"/>
                  </a:lnTo>
                  <a:lnTo>
                    <a:pt x="202" y="1064"/>
                  </a:lnTo>
                  <a:lnTo>
                    <a:pt x="200" y="1066"/>
                  </a:lnTo>
                  <a:lnTo>
                    <a:pt x="200" y="1064"/>
                  </a:lnTo>
                  <a:lnTo>
                    <a:pt x="199" y="1064"/>
                  </a:lnTo>
                  <a:lnTo>
                    <a:pt x="197" y="1064"/>
                  </a:lnTo>
                  <a:lnTo>
                    <a:pt x="195" y="1062"/>
                  </a:lnTo>
                  <a:lnTo>
                    <a:pt x="194" y="1062"/>
                  </a:lnTo>
                  <a:lnTo>
                    <a:pt x="192" y="1062"/>
                  </a:lnTo>
                  <a:lnTo>
                    <a:pt x="194" y="1062"/>
                  </a:lnTo>
                  <a:lnTo>
                    <a:pt x="192" y="1062"/>
                  </a:lnTo>
                  <a:lnTo>
                    <a:pt x="192" y="1061"/>
                  </a:lnTo>
                  <a:lnTo>
                    <a:pt x="194" y="1062"/>
                  </a:lnTo>
                  <a:lnTo>
                    <a:pt x="194" y="1061"/>
                  </a:lnTo>
                  <a:lnTo>
                    <a:pt x="195" y="1061"/>
                  </a:lnTo>
                  <a:lnTo>
                    <a:pt x="197" y="1061"/>
                  </a:lnTo>
                  <a:lnTo>
                    <a:pt x="197" y="1059"/>
                  </a:lnTo>
                  <a:lnTo>
                    <a:pt x="197" y="1057"/>
                  </a:lnTo>
                  <a:lnTo>
                    <a:pt x="197" y="1059"/>
                  </a:lnTo>
                  <a:lnTo>
                    <a:pt x="197" y="1057"/>
                  </a:lnTo>
                  <a:lnTo>
                    <a:pt x="195" y="1057"/>
                  </a:lnTo>
                  <a:lnTo>
                    <a:pt x="197" y="1057"/>
                  </a:lnTo>
                  <a:lnTo>
                    <a:pt x="197" y="1056"/>
                  </a:lnTo>
                  <a:lnTo>
                    <a:pt x="195" y="1056"/>
                  </a:lnTo>
                  <a:lnTo>
                    <a:pt x="195" y="1054"/>
                  </a:lnTo>
                  <a:lnTo>
                    <a:pt x="197" y="1054"/>
                  </a:lnTo>
                  <a:lnTo>
                    <a:pt x="195" y="1054"/>
                  </a:lnTo>
                  <a:lnTo>
                    <a:pt x="197" y="1054"/>
                  </a:lnTo>
                  <a:lnTo>
                    <a:pt x="199" y="1054"/>
                  </a:lnTo>
                  <a:lnTo>
                    <a:pt x="199" y="1056"/>
                  </a:lnTo>
                  <a:lnTo>
                    <a:pt x="200" y="1056"/>
                  </a:lnTo>
                  <a:lnTo>
                    <a:pt x="200" y="1057"/>
                  </a:lnTo>
                  <a:lnTo>
                    <a:pt x="199" y="1057"/>
                  </a:lnTo>
                  <a:lnTo>
                    <a:pt x="199" y="1059"/>
                  </a:lnTo>
                  <a:lnTo>
                    <a:pt x="200" y="1059"/>
                  </a:lnTo>
                  <a:lnTo>
                    <a:pt x="199" y="1059"/>
                  </a:lnTo>
                  <a:lnTo>
                    <a:pt x="200" y="1061"/>
                  </a:lnTo>
                  <a:lnTo>
                    <a:pt x="200" y="1059"/>
                  </a:lnTo>
                  <a:lnTo>
                    <a:pt x="200" y="1061"/>
                  </a:lnTo>
                  <a:lnTo>
                    <a:pt x="199" y="1061"/>
                  </a:lnTo>
                  <a:lnTo>
                    <a:pt x="199" y="1062"/>
                  </a:lnTo>
                  <a:lnTo>
                    <a:pt x="200" y="1062"/>
                  </a:lnTo>
                  <a:lnTo>
                    <a:pt x="200" y="1061"/>
                  </a:lnTo>
                  <a:lnTo>
                    <a:pt x="200" y="1062"/>
                  </a:lnTo>
                  <a:lnTo>
                    <a:pt x="202" y="1062"/>
                  </a:lnTo>
                  <a:lnTo>
                    <a:pt x="202" y="1061"/>
                  </a:lnTo>
                  <a:lnTo>
                    <a:pt x="200" y="1061"/>
                  </a:lnTo>
                  <a:lnTo>
                    <a:pt x="202" y="1061"/>
                  </a:lnTo>
                  <a:lnTo>
                    <a:pt x="202" y="1059"/>
                  </a:lnTo>
                  <a:lnTo>
                    <a:pt x="200" y="1059"/>
                  </a:lnTo>
                  <a:lnTo>
                    <a:pt x="200" y="1057"/>
                  </a:lnTo>
                  <a:lnTo>
                    <a:pt x="202" y="1057"/>
                  </a:lnTo>
                  <a:lnTo>
                    <a:pt x="200" y="1057"/>
                  </a:lnTo>
                  <a:lnTo>
                    <a:pt x="202" y="1057"/>
                  </a:lnTo>
                  <a:lnTo>
                    <a:pt x="202" y="1056"/>
                  </a:lnTo>
                  <a:lnTo>
                    <a:pt x="200" y="1057"/>
                  </a:lnTo>
                  <a:lnTo>
                    <a:pt x="200" y="1056"/>
                  </a:lnTo>
                  <a:lnTo>
                    <a:pt x="202" y="1056"/>
                  </a:lnTo>
                  <a:lnTo>
                    <a:pt x="200" y="1054"/>
                  </a:lnTo>
                  <a:lnTo>
                    <a:pt x="202" y="1056"/>
                  </a:lnTo>
                  <a:lnTo>
                    <a:pt x="202" y="1057"/>
                  </a:lnTo>
                  <a:lnTo>
                    <a:pt x="204" y="1057"/>
                  </a:lnTo>
                  <a:lnTo>
                    <a:pt x="204" y="1056"/>
                  </a:lnTo>
                  <a:lnTo>
                    <a:pt x="204" y="1057"/>
                  </a:lnTo>
                  <a:lnTo>
                    <a:pt x="205" y="1057"/>
                  </a:lnTo>
                  <a:lnTo>
                    <a:pt x="205" y="1056"/>
                  </a:lnTo>
                  <a:lnTo>
                    <a:pt x="204" y="1056"/>
                  </a:lnTo>
                  <a:lnTo>
                    <a:pt x="204" y="1054"/>
                  </a:lnTo>
                  <a:lnTo>
                    <a:pt x="205" y="1054"/>
                  </a:lnTo>
                  <a:lnTo>
                    <a:pt x="205" y="1053"/>
                  </a:lnTo>
                  <a:lnTo>
                    <a:pt x="207" y="1053"/>
                  </a:lnTo>
                  <a:lnTo>
                    <a:pt x="207" y="1054"/>
                  </a:lnTo>
                  <a:lnTo>
                    <a:pt x="208" y="1054"/>
                  </a:lnTo>
                  <a:lnTo>
                    <a:pt x="208" y="1056"/>
                  </a:lnTo>
                  <a:lnTo>
                    <a:pt x="210" y="1056"/>
                  </a:lnTo>
                  <a:lnTo>
                    <a:pt x="212" y="1056"/>
                  </a:lnTo>
                  <a:lnTo>
                    <a:pt x="212" y="1057"/>
                  </a:lnTo>
                  <a:lnTo>
                    <a:pt x="212" y="1056"/>
                  </a:lnTo>
                  <a:lnTo>
                    <a:pt x="213" y="1057"/>
                  </a:lnTo>
                  <a:lnTo>
                    <a:pt x="215" y="1057"/>
                  </a:lnTo>
                  <a:lnTo>
                    <a:pt x="215" y="1056"/>
                  </a:lnTo>
                  <a:lnTo>
                    <a:pt x="215" y="1054"/>
                  </a:lnTo>
                  <a:lnTo>
                    <a:pt x="213" y="1054"/>
                  </a:lnTo>
                  <a:lnTo>
                    <a:pt x="215" y="1054"/>
                  </a:lnTo>
                  <a:lnTo>
                    <a:pt x="213" y="1054"/>
                  </a:lnTo>
                  <a:lnTo>
                    <a:pt x="212" y="1053"/>
                  </a:lnTo>
                  <a:lnTo>
                    <a:pt x="210" y="1053"/>
                  </a:lnTo>
                  <a:lnTo>
                    <a:pt x="208" y="1051"/>
                  </a:lnTo>
                  <a:lnTo>
                    <a:pt x="208" y="1049"/>
                  </a:lnTo>
                  <a:lnTo>
                    <a:pt x="207" y="1049"/>
                  </a:lnTo>
                  <a:lnTo>
                    <a:pt x="207" y="1048"/>
                  </a:lnTo>
                  <a:lnTo>
                    <a:pt x="208" y="1048"/>
                  </a:lnTo>
                  <a:lnTo>
                    <a:pt x="207" y="1048"/>
                  </a:lnTo>
                  <a:lnTo>
                    <a:pt x="207" y="1046"/>
                  </a:lnTo>
                  <a:lnTo>
                    <a:pt x="207" y="1048"/>
                  </a:lnTo>
                  <a:lnTo>
                    <a:pt x="205" y="1048"/>
                  </a:lnTo>
                  <a:lnTo>
                    <a:pt x="205" y="1046"/>
                  </a:lnTo>
                  <a:lnTo>
                    <a:pt x="204" y="1044"/>
                  </a:lnTo>
                  <a:lnTo>
                    <a:pt x="204" y="1043"/>
                  </a:lnTo>
                  <a:lnTo>
                    <a:pt x="202" y="1041"/>
                  </a:lnTo>
                  <a:lnTo>
                    <a:pt x="202" y="1043"/>
                  </a:lnTo>
                  <a:lnTo>
                    <a:pt x="204" y="1043"/>
                  </a:lnTo>
                  <a:lnTo>
                    <a:pt x="202" y="1043"/>
                  </a:lnTo>
                  <a:lnTo>
                    <a:pt x="202" y="1041"/>
                  </a:lnTo>
                  <a:lnTo>
                    <a:pt x="200" y="1041"/>
                  </a:lnTo>
                  <a:lnTo>
                    <a:pt x="202" y="1041"/>
                  </a:lnTo>
                  <a:lnTo>
                    <a:pt x="200" y="1041"/>
                  </a:lnTo>
                  <a:lnTo>
                    <a:pt x="200" y="1040"/>
                  </a:lnTo>
                  <a:lnTo>
                    <a:pt x="202" y="1040"/>
                  </a:lnTo>
                  <a:lnTo>
                    <a:pt x="202" y="1041"/>
                  </a:lnTo>
                  <a:lnTo>
                    <a:pt x="202" y="1040"/>
                  </a:lnTo>
                  <a:lnTo>
                    <a:pt x="202" y="1038"/>
                  </a:lnTo>
                  <a:lnTo>
                    <a:pt x="204" y="1038"/>
                  </a:lnTo>
                  <a:lnTo>
                    <a:pt x="202" y="1038"/>
                  </a:lnTo>
                  <a:lnTo>
                    <a:pt x="204" y="1038"/>
                  </a:lnTo>
                  <a:lnTo>
                    <a:pt x="204" y="1040"/>
                  </a:lnTo>
                  <a:lnTo>
                    <a:pt x="204" y="1038"/>
                  </a:lnTo>
                  <a:lnTo>
                    <a:pt x="202" y="1036"/>
                  </a:lnTo>
                  <a:lnTo>
                    <a:pt x="202" y="1038"/>
                  </a:lnTo>
                  <a:lnTo>
                    <a:pt x="202" y="1036"/>
                  </a:lnTo>
                  <a:lnTo>
                    <a:pt x="200" y="1036"/>
                  </a:lnTo>
                  <a:lnTo>
                    <a:pt x="200" y="1035"/>
                  </a:lnTo>
                  <a:lnTo>
                    <a:pt x="200" y="1033"/>
                  </a:lnTo>
                  <a:lnTo>
                    <a:pt x="200" y="1031"/>
                  </a:lnTo>
                  <a:lnTo>
                    <a:pt x="202" y="1031"/>
                  </a:lnTo>
                  <a:lnTo>
                    <a:pt x="200" y="1031"/>
                  </a:lnTo>
                  <a:lnTo>
                    <a:pt x="202" y="1031"/>
                  </a:lnTo>
                  <a:lnTo>
                    <a:pt x="202" y="1030"/>
                  </a:lnTo>
                  <a:lnTo>
                    <a:pt x="202" y="1028"/>
                  </a:lnTo>
                  <a:lnTo>
                    <a:pt x="200" y="1028"/>
                  </a:lnTo>
                  <a:lnTo>
                    <a:pt x="202" y="1028"/>
                  </a:lnTo>
                  <a:lnTo>
                    <a:pt x="200" y="1028"/>
                  </a:lnTo>
                  <a:lnTo>
                    <a:pt x="200" y="1027"/>
                  </a:lnTo>
                  <a:lnTo>
                    <a:pt x="202" y="1027"/>
                  </a:lnTo>
                  <a:lnTo>
                    <a:pt x="202" y="1025"/>
                  </a:lnTo>
                  <a:lnTo>
                    <a:pt x="202" y="1023"/>
                  </a:lnTo>
                  <a:lnTo>
                    <a:pt x="204" y="1023"/>
                  </a:lnTo>
                  <a:lnTo>
                    <a:pt x="204" y="1025"/>
                  </a:lnTo>
                  <a:lnTo>
                    <a:pt x="202" y="1025"/>
                  </a:lnTo>
                  <a:lnTo>
                    <a:pt x="204" y="1025"/>
                  </a:lnTo>
                  <a:lnTo>
                    <a:pt x="205" y="1025"/>
                  </a:lnTo>
                  <a:lnTo>
                    <a:pt x="207" y="1025"/>
                  </a:lnTo>
                  <a:lnTo>
                    <a:pt x="205" y="1025"/>
                  </a:lnTo>
                  <a:lnTo>
                    <a:pt x="204" y="1025"/>
                  </a:lnTo>
                  <a:lnTo>
                    <a:pt x="204" y="1027"/>
                  </a:lnTo>
                  <a:lnTo>
                    <a:pt x="204" y="1025"/>
                  </a:lnTo>
                  <a:lnTo>
                    <a:pt x="205" y="1025"/>
                  </a:lnTo>
                  <a:lnTo>
                    <a:pt x="205" y="1027"/>
                  </a:lnTo>
                  <a:lnTo>
                    <a:pt x="205" y="1028"/>
                  </a:lnTo>
                  <a:lnTo>
                    <a:pt x="204" y="1028"/>
                  </a:lnTo>
                  <a:lnTo>
                    <a:pt x="204" y="1027"/>
                  </a:lnTo>
                  <a:lnTo>
                    <a:pt x="204" y="1028"/>
                  </a:lnTo>
                  <a:lnTo>
                    <a:pt x="204" y="1027"/>
                  </a:lnTo>
                  <a:lnTo>
                    <a:pt x="204" y="1025"/>
                  </a:lnTo>
                  <a:lnTo>
                    <a:pt x="202" y="1027"/>
                  </a:lnTo>
                  <a:lnTo>
                    <a:pt x="204" y="1027"/>
                  </a:lnTo>
                  <a:lnTo>
                    <a:pt x="204" y="1028"/>
                  </a:lnTo>
                  <a:lnTo>
                    <a:pt x="204" y="1030"/>
                  </a:lnTo>
                  <a:lnTo>
                    <a:pt x="205" y="1030"/>
                  </a:lnTo>
                  <a:lnTo>
                    <a:pt x="205" y="1031"/>
                  </a:lnTo>
                  <a:lnTo>
                    <a:pt x="207" y="1031"/>
                  </a:lnTo>
                  <a:lnTo>
                    <a:pt x="207" y="1030"/>
                  </a:lnTo>
                  <a:lnTo>
                    <a:pt x="207" y="1031"/>
                  </a:lnTo>
                  <a:lnTo>
                    <a:pt x="205" y="1031"/>
                  </a:lnTo>
                  <a:lnTo>
                    <a:pt x="207" y="1031"/>
                  </a:lnTo>
                  <a:lnTo>
                    <a:pt x="207" y="1033"/>
                  </a:lnTo>
                  <a:lnTo>
                    <a:pt x="207" y="1031"/>
                  </a:lnTo>
                  <a:lnTo>
                    <a:pt x="207" y="1033"/>
                  </a:lnTo>
                  <a:lnTo>
                    <a:pt x="208" y="1033"/>
                  </a:lnTo>
                  <a:lnTo>
                    <a:pt x="208" y="1031"/>
                  </a:lnTo>
                  <a:lnTo>
                    <a:pt x="208" y="1033"/>
                  </a:lnTo>
                  <a:lnTo>
                    <a:pt x="210" y="1033"/>
                  </a:lnTo>
                  <a:lnTo>
                    <a:pt x="210" y="1031"/>
                  </a:lnTo>
                  <a:lnTo>
                    <a:pt x="212" y="1031"/>
                  </a:lnTo>
                  <a:lnTo>
                    <a:pt x="212" y="1030"/>
                  </a:lnTo>
                  <a:lnTo>
                    <a:pt x="213" y="1030"/>
                  </a:lnTo>
                  <a:lnTo>
                    <a:pt x="213" y="1031"/>
                  </a:lnTo>
                  <a:lnTo>
                    <a:pt x="215" y="1031"/>
                  </a:lnTo>
                  <a:lnTo>
                    <a:pt x="215" y="1030"/>
                  </a:lnTo>
                  <a:lnTo>
                    <a:pt x="213" y="1030"/>
                  </a:lnTo>
                  <a:lnTo>
                    <a:pt x="215" y="1030"/>
                  </a:lnTo>
                  <a:lnTo>
                    <a:pt x="213" y="1028"/>
                  </a:lnTo>
                  <a:lnTo>
                    <a:pt x="215" y="1028"/>
                  </a:lnTo>
                  <a:lnTo>
                    <a:pt x="215" y="1027"/>
                  </a:lnTo>
                  <a:lnTo>
                    <a:pt x="215" y="1028"/>
                  </a:lnTo>
                  <a:lnTo>
                    <a:pt x="215" y="1027"/>
                  </a:lnTo>
                  <a:lnTo>
                    <a:pt x="217" y="1027"/>
                  </a:lnTo>
                  <a:lnTo>
                    <a:pt x="217" y="1025"/>
                  </a:lnTo>
                  <a:lnTo>
                    <a:pt x="217" y="1027"/>
                  </a:lnTo>
                  <a:lnTo>
                    <a:pt x="215" y="1027"/>
                  </a:lnTo>
                  <a:lnTo>
                    <a:pt x="217" y="1027"/>
                  </a:lnTo>
                  <a:lnTo>
                    <a:pt x="215" y="1027"/>
                  </a:lnTo>
                  <a:lnTo>
                    <a:pt x="217" y="1025"/>
                  </a:lnTo>
                  <a:lnTo>
                    <a:pt x="217" y="1023"/>
                  </a:lnTo>
                  <a:lnTo>
                    <a:pt x="218" y="1023"/>
                  </a:lnTo>
                  <a:lnTo>
                    <a:pt x="217" y="1023"/>
                  </a:lnTo>
                  <a:lnTo>
                    <a:pt x="217" y="1025"/>
                  </a:lnTo>
                  <a:lnTo>
                    <a:pt x="218" y="1025"/>
                  </a:lnTo>
                  <a:lnTo>
                    <a:pt x="218" y="1027"/>
                  </a:lnTo>
                  <a:lnTo>
                    <a:pt x="218" y="1025"/>
                  </a:lnTo>
                  <a:lnTo>
                    <a:pt x="220" y="1025"/>
                  </a:lnTo>
                  <a:lnTo>
                    <a:pt x="220" y="1023"/>
                  </a:lnTo>
                  <a:lnTo>
                    <a:pt x="221" y="1023"/>
                  </a:lnTo>
                  <a:lnTo>
                    <a:pt x="220" y="1023"/>
                  </a:lnTo>
                  <a:lnTo>
                    <a:pt x="221" y="1025"/>
                  </a:lnTo>
                  <a:lnTo>
                    <a:pt x="221" y="1023"/>
                  </a:lnTo>
                  <a:lnTo>
                    <a:pt x="223" y="1025"/>
                  </a:lnTo>
                  <a:lnTo>
                    <a:pt x="223" y="1023"/>
                  </a:lnTo>
                  <a:lnTo>
                    <a:pt x="221" y="1023"/>
                  </a:lnTo>
                  <a:lnTo>
                    <a:pt x="223" y="1023"/>
                  </a:lnTo>
                  <a:lnTo>
                    <a:pt x="223" y="1022"/>
                  </a:lnTo>
                  <a:lnTo>
                    <a:pt x="221" y="1022"/>
                  </a:lnTo>
                  <a:lnTo>
                    <a:pt x="223" y="1022"/>
                  </a:lnTo>
                  <a:lnTo>
                    <a:pt x="225" y="1022"/>
                  </a:lnTo>
                  <a:lnTo>
                    <a:pt x="225" y="1023"/>
                  </a:lnTo>
                  <a:lnTo>
                    <a:pt x="226" y="1023"/>
                  </a:lnTo>
                  <a:lnTo>
                    <a:pt x="225" y="1025"/>
                  </a:lnTo>
                  <a:lnTo>
                    <a:pt x="226" y="1027"/>
                  </a:lnTo>
                  <a:lnTo>
                    <a:pt x="226" y="1028"/>
                  </a:lnTo>
                  <a:lnTo>
                    <a:pt x="226" y="1027"/>
                  </a:lnTo>
                  <a:lnTo>
                    <a:pt x="226" y="1025"/>
                  </a:lnTo>
                  <a:lnTo>
                    <a:pt x="226" y="1023"/>
                  </a:lnTo>
                  <a:lnTo>
                    <a:pt x="228" y="1023"/>
                  </a:lnTo>
                  <a:lnTo>
                    <a:pt x="228" y="1025"/>
                  </a:lnTo>
                  <a:lnTo>
                    <a:pt x="228" y="1023"/>
                  </a:lnTo>
                  <a:lnTo>
                    <a:pt x="230" y="1022"/>
                  </a:lnTo>
                  <a:lnTo>
                    <a:pt x="230" y="1023"/>
                  </a:lnTo>
                  <a:lnTo>
                    <a:pt x="230" y="1025"/>
                  </a:lnTo>
                  <a:lnTo>
                    <a:pt x="230" y="1023"/>
                  </a:lnTo>
                  <a:lnTo>
                    <a:pt x="231" y="1025"/>
                  </a:lnTo>
                  <a:lnTo>
                    <a:pt x="231" y="1023"/>
                  </a:lnTo>
                  <a:lnTo>
                    <a:pt x="231" y="1025"/>
                  </a:lnTo>
                  <a:lnTo>
                    <a:pt x="231" y="1027"/>
                  </a:lnTo>
                  <a:lnTo>
                    <a:pt x="231" y="1028"/>
                  </a:lnTo>
                  <a:lnTo>
                    <a:pt x="231" y="1027"/>
                  </a:lnTo>
                  <a:lnTo>
                    <a:pt x="231" y="1028"/>
                  </a:lnTo>
                  <a:lnTo>
                    <a:pt x="233" y="1028"/>
                  </a:lnTo>
                  <a:lnTo>
                    <a:pt x="233" y="1030"/>
                  </a:lnTo>
                  <a:lnTo>
                    <a:pt x="233" y="1028"/>
                  </a:lnTo>
                  <a:lnTo>
                    <a:pt x="233" y="1030"/>
                  </a:lnTo>
                  <a:lnTo>
                    <a:pt x="231" y="1030"/>
                  </a:lnTo>
                  <a:lnTo>
                    <a:pt x="230" y="1030"/>
                  </a:lnTo>
                  <a:lnTo>
                    <a:pt x="228" y="1030"/>
                  </a:lnTo>
                  <a:lnTo>
                    <a:pt x="230" y="1031"/>
                  </a:lnTo>
                  <a:lnTo>
                    <a:pt x="230" y="1033"/>
                  </a:lnTo>
                  <a:lnTo>
                    <a:pt x="230" y="1035"/>
                  </a:lnTo>
                  <a:lnTo>
                    <a:pt x="226" y="1033"/>
                  </a:lnTo>
                  <a:lnTo>
                    <a:pt x="226" y="1035"/>
                  </a:lnTo>
                  <a:lnTo>
                    <a:pt x="225" y="1035"/>
                  </a:lnTo>
                  <a:lnTo>
                    <a:pt x="223" y="1036"/>
                  </a:lnTo>
                  <a:lnTo>
                    <a:pt x="225" y="1036"/>
                  </a:lnTo>
                  <a:lnTo>
                    <a:pt x="225" y="1035"/>
                  </a:lnTo>
                  <a:lnTo>
                    <a:pt x="226" y="1035"/>
                  </a:lnTo>
                  <a:lnTo>
                    <a:pt x="230" y="1035"/>
                  </a:lnTo>
                  <a:lnTo>
                    <a:pt x="230" y="1036"/>
                  </a:lnTo>
                  <a:lnTo>
                    <a:pt x="231" y="1036"/>
                  </a:lnTo>
                  <a:lnTo>
                    <a:pt x="233" y="1038"/>
                  </a:lnTo>
                  <a:lnTo>
                    <a:pt x="233" y="1036"/>
                  </a:lnTo>
                  <a:lnTo>
                    <a:pt x="233" y="1035"/>
                  </a:lnTo>
                  <a:lnTo>
                    <a:pt x="231" y="1035"/>
                  </a:lnTo>
                  <a:lnTo>
                    <a:pt x="231" y="1033"/>
                  </a:lnTo>
                  <a:lnTo>
                    <a:pt x="231" y="1031"/>
                  </a:lnTo>
                  <a:lnTo>
                    <a:pt x="230" y="1031"/>
                  </a:lnTo>
                  <a:lnTo>
                    <a:pt x="230" y="1030"/>
                  </a:lnTo>
                  <a:lnTo>
                    <a:pt x="231" y="1030"/>
                  </a:lnTo>
                  <a:lnTo>
                    <a:pt x="231" y="1031"/>
                  </a:lnTo>
                  <a:lnTo>
                    <a:pt x="231" y="1030"/>
                  </a:lnTo>
                  <a:lnTo>
                    <a:pt x="231" y="1031"/>
                  </a:lnTo>
                  <a:lnTo>
                    <a:pt x="233" y="1030"/>
                  </a:lnTo>
                  <a:lnTo>
                    <a:pt x="233" y="1031"/>
                  </a:lnTo>
                  <a:lnTo>
                    <a:pt x="233" y="1030"/>
                  </a:lnTo>
                  <a:lnTo>
                    <a:pt x="234" y="1031"/>
                  </a:lnTo>
                  <a:lnTo>
                    <a:pt x="234" y="1030"/>
                  </a:lnTo>
                  <a:lnTo>
                    <a:pt x="233" y="1030"/>
                  </a:lnTo>
                  <a:lnTo>
                    <a:pt x="233" y="1028"/>
                  </a:lnTo>
                  <a:lnTo>
                    <a:pt x="233" y="1027"/>
                  </a:lnTo>
                  <a:lnTo>
                    <a:pt x="231" y="1027"/>
                  </a:lnTo>
                  <a:lnTo>
                    <a:pt x="233" y="1025"/>
                  </a:lnTo>
                  <a:lnTo>
                    <a:pt x="233" y="1027"/>
                  </a:lnTo>
                  <a:lnTo>
                    <a:pt x="233" y="1025"/>
                  </a:lnTo>
                  <a:lnTo>
                    <a:pt x="233" y="1027"/>
                  </a:lnTo>
                  <a:lnTo>
                    <a:pt x="233" y="1025"/>
                  </a:lnTo>
                  <a:lnTo>
                    <a:pt x="231" y="1025"/>
                  </a:lnTo>
                  <a:lnTo>
                    <a:pt x="231" y="1023"/>
                  </a:lnTo>
                  <a:lnTo>
                    <a:pt x="233" y="1023"/>
                  </a:lnTo>
                  <a:lnTo>
                    <a:pt x="233" y="1025"/>
                  </a:lnTo>
                  <a:lnTo>
                    <a:pt x="233" y="1023"/>
                  </a:lnTo>
                  <a:lnTo>
                    <a:pt x="233" y="1025"/>
                  </a:lnTo>
                  <a:lnTo>
                    <a:pt x="233" y="1023"/>
                  </a:lnTo>
                  <a:lnTo>
                    <a:pt x="233" y="1025"/>
                  </a:lnTo>
                  <a:lnTo>
                    <a:pt x="233" y="1023"/>
                  </a:lnTo>
                  <a:lnTo>
                    <a:pt x="234" y="1023"/>
                  </a:lnTo>
                  <a:lnTo>
                    <a:pt x="236" y="1023"/>
                  </a:lnTo>
                  <a:lnTo>
                    <a:pt x="234" y="1023"/>
                  </a:lnTo>
                  <a:lnTo>
                    <a:pt x="234" y="1022"/>
                  </a:lnTo>
                  <a:lnTo>
                    <a:pt x="236" y="1023"/>
                  </a:lnTo>
                  <a:lnTo>
                    <a:pt x="236" y="1025"/>
                  </a:lnTo>
                  <a:lnTo>
                    <a:pt x="236" y="1027"/>
                  </a:lnTo>
                  <a:lnTo>
                    <a:pt x="236" y="1025"/>
                  </a:lnTo>
                  <a:lnTo>
                    <a:pt x="236" y="1027"/>
                  </a:lnTo>
                  <a:lnTo>
                    <a:pt x="236" y="1028"/>
                  </a:lnTo>
                  <a:lnTo>
                    <a:pt x="236" y="1027"/>
                  </a:lnTo>
                  <a:lnTo>
                    <a:pt x="238" y="1027"/>
                  </a:lnTo>
                  <a:lnTo>
                    <a:pt x="238" y="1025"/>
                  </a:lnTo>
                  <a:lnTo>
                    <a:pt x="238" y="1027"/>
                  </a:lnTo>
                  <a:lnTo>
                    <a:pt x="238" y="1025"/>
                  </a:lnTo>
                  <a:lnTo>
                    <a:pt x="239" y="1025"/>
                  </a:lnTo>
                  <a:lnTo>
                    <a:pt x="239" y="1023"/>
                  </a:lnTo>
                  <a:lnTo>
                    <a:pt x="239" y="1025"/>
                  </a:lnTo>
                  <a:lnTo>
                    <a:pt x="239" y="1023"/>
                  </a:lnTo>
                  <a:lnTo>
                    <a:pt x="241" y="1023"/>
                  </a:lnTo>
                  <a:lnTo>
                    <a:pt x="243" y="1025"/>
                  </a:lnTo>
                  <a:lnTo>
                    <a:pt x="243" y="1023"/>
                  </a:lnTo>
                  <a:lnTo>
                    <a:pt x="243" y="1022"/>
                  </a:lnTo>
                  <a:lnTo>
                    <a:pt x="243" y="1020"/>
                  </a:lnTo>
                  <a:lnTo>
                    <a:pt x="244" y="1020"/>
                  </a:lnTo>
                  <a:lnTo>
                    <a:pt x="244" y="1022"/>
                  </a:lnTo>
                  <a:lnTo>
                    <a:pt x="246" y="1022"/>
                  </a:lnTo>
                  <a:lnTo>
                    <a:pt x="246" y="1020"/>
                  </a:lnTo>
                  <a:lnTo>
                    <a:pt x="244" y="1018"/>
                  </a:lnTo>
                  <a:lnTo>
                    <a:pt x="244" y="1017"/>
                  </a:lnTo>
                  <a:lnTo>
                    <a:pt x="246" y="1017"/>
                  </a:lnTo>
                  <a:lnTo>
                    <a:pt x="246" y="1015"/>
                  </a:lnTo>
                  <a:lnTo>
                    <a:pt x="246" y="1014"/>
                  </a:lnTo>
                  <a:lnTo>
                    <a:pt x="247" y="1015"/>
                  </a:lnTo>
                  <a:lnTo>
                    <a:pt x="247" y="1014"/>
                  </a:lnTo>
                  <a:lnTo>
                    <a:pt x="247" y="1012"/>
                  </a:lnTo>
                  <a:lnTo>
                    <a:pt x="249" y="1012"/>
                  </a:lnTo>
                  <a:lnTo>
                    <a:pt x="249" y="1014"/>
                  </a:lnTo>
                  <a:lnTo>
                    <a:pt x="251" y="1014"/>
                  </a:lnTo>
                  <a:lnTo>
                    <a:pt x="251" y="1015"/>
                  </a:lnTo>
                  <a:lnTo>
                    <a:pt x="252" y="1015"/>
                  </a:lnTo>
                  <a:lnTo>
                    <a:pt x="252" y="1014"/>
                  </a:lnTo>
                  <a:lnTo>
                    <a:pt x="251" y="1012"/>
                  </a:lnTo>
                  <a:lnTo>
                    <a:pt x="251" y="1010"/>
                  </a:lnTo>
                  <a:lnTo>
                    <a:pt x="252" y="1010"/>
                  </a:lnTo>
                  <a:lnTo>
                    <a:pt x="252" y="1009"/>
                  </a:lnTo>
                  <a:lnTo>
                    <a:pt x="252" y="1007"/>
                  </a:lnTo>
                  <a:lnTo>
                    <a:pt x="251" y="1005"/>
                  </a:lnTo>
                  <a:lnTo>
                    <a:pt x="251" y="1004"/>
                  </a:lnTo>
                  <a:lnTo>
                    <a:pt x="249" y="1004"/>
                  </a:lnTo>
                  <a:lnTo>
                    <a:pt x="249" y="1002"/>
                  </a:lnTo>
                  <a:lnTo>
                    <a:pt x="247" y="1002"/>
                  </a:lnTo>
                  <a:lnTo>
                    <a:pt x="246" y="1001"/>
                  </a:lnTo>
                  <a:lnTo>
                    <a:pt x="246" y="999"/>
                  </a:lnTo>
                  <a:lnTo>
                    <a:pt x="244" y="999"/>
                  </a:lnTo>
                  <a:lnTo>
                    <a:pt x="243" y="999"/>
                  </a:lnTo>
                  <a:lnTo>
                    <a:pt x="243" y="997"/>
                  </a:lnTo>
                  <a:lnTo>
                    <a:pt x="241" y="996"/>
                  </a:lnTo>
                  <a:lnTo>
                    <a:pt x="239" y="996"/>
                  </a:lnTo>
                  <a:lnTo>
                    <a:pt x="239" y="994"/>
                  </a:lnTo>
                  <a:lnTo>
                    <a:pt x="238" y="994"/>
                  </a:lnTo>
                  <a:lnTo>
                    <a:pt x="238" y="992"/>
                  </a:lnTo>
                  <a:lnTo>
                    <a:pt x="238" y="991"/>
                  </a:lnTo>
                  <a:lnTo>
                    <a:pt x="238" y="989"/>
                  </a:lnTo>
                  <a:lnTo>
                    <a:pt x="239" y="989"/>
                  </a:lnTo>
                  <a:lnTo>
                    <a:pt x="241" y="989"/>
                  </a:lnTo>
                  <a:lnTo>
                    <a:pt x="241" y="988"/>
                  </a:lnTo>
                  <a:lnTo>
                    <a:pt x="243" y="988"/>
                  </a:lnTo>
                  <a:lnTo>
                    <a:pt x="244" y="988"/>
                  </a:lnTo>
                  <a:lnTo>
                    <a:pt x="244" y="989"/>
                  </a:lnTo>
                  <a:lnTo>
                    <a:pt x="246" y="989"/>
                  </a:lnTo>
                  <a:lnTo>
                    <a:pt x="246" y="991"/>
                  </a:lnTo>
                  <a:lnTo>
                    <a:pt x="247" y="992"/>
                  </a:lnTo>
                  <a:lnTo>
                    <a:pt x="247" y="991"/>
                  </a:lnTo>
                  <a:lnTo>
                    <a:pt x="249" y="992"/>
                  </a:lnTo>
                  <a:lnTo>
                    <a:pt x="251" y="994"/>
                  </a:lnTo>
                  <a:lnTo>
                    <a:pt x="251" y="992"/>
                  </a:lnTo>
                  <a:lnTo>
                    <a:pt x="249" y="992"/>
                  </a:lnTo>
                  <a:lnTo>
                    <a:pt x="247" y="991"/>
                  </a:lnTo>
                  <a:lnTo>
                    <a:pt x="246" y="989"/>
                  </a:lnTo>
                  <a:lnTo>
                    <a:pt x="244" y="989"/>
                  </a:lnTo>
                  <a:lnTo>
                    <a:pt x="244" y="988"/>
                  </a:lnTo>
                  <a:lnTo>
                    <a:pt x="244" y="986"/>
                  </a:lnTo>
                  <a:lnTo>
                    <a:pt x="243" y="986"/>
                  </a:lnTo>
                  <a:lnTo>
                    <a:pt x="243" y="984"/>
                  </a:lnTo>
                  <a:lnTo>
                    <a:pt x="241" y="984"/>
                  </a:lnTo>
                  <a:lnTo>
                    <a:pt x="241" y="983"/>
                  </a:lnTo>
                  <a:lnTo>
                    <a:pt x="243" y="983"/>
                  </a:lnTo>
                  <a:lnTo>
                    <a:pt x="243" y="981"/>
                  </a:lnTo>
                  <a:lnTo>
                    <a:pt x="243" y="979"/>
                  </a:lnTo>
                  <a:lnTo>
                    <a:pt x="243" y="978"/>
                  </a:lnTo>
                  <a:lnTo>
                    <a:pt x="243" y="976"/>
                  </a:lnTo>
                  <a:lnTo>
                    <a:pt x="244" y="976"/>
                  </a:lnTo>
                  <a:lnTo>
                    <a:pt x="243" y="975"/>
                  </a:lnTo>
                  <a:lnTo>
                    <a:pt x="241" y="973"/>
                  </a:lnTo>
                  <a:lnTo>
                    <a:pt x="243" y="973"/>
                  </a:lnTo>
                  <a:lnTo>
                    <a:pt x="243" y="975"/>
                  </a:lnTo>
                  <a:lnTo>
                    <a:pt x="244" y="975"/>
                  </a:lnTo>
                  <a:lnTo>
                    <a:pt x="246" y="975"/>
                  </a:lnTo>
                  <a:lnTo>
                    <a:pt x="244" y="975"/>
                  </a:lnTo>
                  <a:lnTo>
                    <a:pt x="246" y="975"/>
                  </a:lnTo>
                  <a:lnTo>
                    <a:pt x="246" y="976"/>
                  </a:lnTo>
                  <a:lnTo>
                    <a:pt x="246" y="978"/>
                  </a:lnTo>
                  <a:lnTo>
                    <a:pt x="246" y="979"/>
                  </a:lnTo>
                  <a:lnTo>
                    <a:pt x="244" y="978"/>
                  </a:lnTo>
                  <a:lnTo>
                    <a:pt x="244" y="979"/>
                  </a:lnTo>
                  <a:lnTo>
                    <a:pt x="246" y="979"/>
                  </a:lnTo>
                  <a:lnTo>
                    <a:pt x="247" y="981"/>
                  </a:lnTo>
                  <a:lnTo>
                    <a:pt x="247" y="983"/>
                  </a:lnTo>
                  <a:lnTo>
                    <a:pt x="246" y="983"/>
                  </a:lnTo>
                  <a:lnTo>
                    <a:pt x="246" y="984"/>
                  </a:lnTo>
                  <a:lnTo>
                    <a:pt x="247" y="984"/>
                  </a:lnTo>
                  <a:lnTo>
                    <a:pt x="247" y="983"/>
                  </a:lnTo>
                  <a:lnTo>
                    <a:pt x="249" y="983"/>
                  </a:lnTo>
                  <a:lnTo>
                    <a:pt x="249" y="984"/>
                  </a:lnTo>
                  <a:lnTo>
                    <a:pt x="251" y="984"/>
                  </a:lnTo>
                  <a:lnTo>
                    <a:pt x="251" y="986"/>
                  </a:lnTo>
                  <a:lnTo>
                    <a:pt x="249" y="986"/>
                  </a:lnTo>
                  <a:lnTo>
                    <a:pt x="249" y="988"/>
                  </a:lnTo>
                  <a:lnTo>
                    <a:pt x="251" y="986"/>
                  </a:lnTo>
                  <a:lnTo>
                    <a:pt x="251" y="988"/>
                  </a:lnTo>
                  <a:lnTo>
                    <a:pt x="251" y="986"/>
                  </a:lnTo>
                  <a:lnTo>
                    <a:pt x="252" y="986"/>
                  </a:lnTo>
                  <a:lnTo>
                    <a:pt x="252" y="988"/>
                  </a:lnTo>
                  <a:lnTo>
                    <a:pt x="252" y="986"/>
                  </a:lnTo>
                  <a:lnTo>
                    <a:pt x="252" y="984"/>
                  </a:lnTo>
                  <a:lnTo>
                    <a:pt x="252" y="983"/>
                  </a:lnTo>
                  <a:lnTo>
                    <a:pt x="252" y="981"/>
                  </a:lnTo>
                  <a:lnTo>
                    <a:pt x="252" y="979"/>
                  </a:lnTo>
                  <a:lnTo>
                    <a:pt x="254" y="978"/>
                  </a:lnTo>
                  <a:lnTo>
                    <a:pt x="252" y="978"/>
                  </a:lnTo>
                  <a:lnTo>
                    <a:pt x="252" y="976"/>
                  </a:lnTo>
                  <a:lnTo>
                    <a:pt x="251" y="975"/>
                  </a:lnTo>
                  <a:lnTo>
                    <a:pt x="252" y="975"/>
                  </a:lnTo>
                  <a:lnTo>
                    <a:pt x="252" y="973"/>
                  </a:lnTo>
                  <a:lnTo>
                    <a:pt x="252" y="975"/>
                  </a:lnTo>
                  <a:lnTo>
                    <a:pt x="254" y="975"/>
                  </a:lnTo>
                  <a:lnTo>
                    <a:pt x="256" y="976"/>
                  </a:lnTo>
                  <a:lnTo>
                    <a:pt x="257" y="978"/>
                  </a:lnTo>
                  <a:lnTo>
                    <a:pt x="256" y="976"/>
                  </a:lnTo>
                  <a:lnTo>
                    <a:pt x="254" y="975"/>
                  </a:lnTo>
                  <a:lnTo>
                    <a:pt x="252" y="973"/>
                  </a:lnTo>
                  <a:lnTo>
                    <a:pt x="254" y="973"/>
                  </a:lnTo>
                  <a:lnTo>
                    <a:pt x="252" y="973"/>
                  </a:lnTo>
                  <a:lnTo>
                    <a:pt x="254" y="973"/>
                  </a:lnTo>
                  <a:lnTo>
                    <a:pt x="254" y="971"/>
                  </a:lnTo>
                  <a:lnTo>
                    <a:pt x="254" y="970"/>
                  </a:lnTo>
                  <a:lnTo>
                    <a:pt x="252" y="970"/>
                  </a:lnTo>
                  <a:lnTo>
                    <a:pt x="252" y="971"/>
                  </a:lnTo>
                  <a:lnTo>
                    <a:pt x="252" y="973"/>
                  </a:lnTo>
                  <a:lnTo>
                    <a:pt x="251" y="973"/>
                  </a:lnTo>
                  <a:lnTo>
                    <a:pt x="251" y="971"/>
                  </a:lnTo>
                  <a:lnTo>
                    <a:pt x="249" y="971"/>
                  </a:lnTo>
                  <a:lnTo>
                    <a:pt x="247" y="971"/>
                  </a:lnTo>
                  <a:lnTo>
                    <a:pt x="249" y="971"/>
                  </a:lnTo>
                  <a:lnTo>
                    <a:pt x="247" y="970"/>
                  </a:lnTo>
                  <a:lnTo>
                    <a:pt x="249" y="970"/>
                  </a:lnTo>
                  <a:lnTo>
                    <a:pt x="251" y="970"/>
                  </a:lnTo>
                  <a:lnTo>
                    <a:pt x="251" y="968"/>
                  </a:lnTo>
                  <a:lnTo>
                    <a:pt x="251" y="970"/>
                  </a:lnTo>
                  <a:lnTo>
                    <a:pt x="252" y="968"/>
                  </a:lnTo>
                  <a:lnTo>
                    <a:pt x="251" y="968"/>
                  </a:lnTo>
                  <a:lnTo>
                    <a:pt x="252" y="968"/>
                  </a:lnTo>
                  <a:lnTo>
                    <a:pt x="252" y="966"/>
                  </a:lnTo>
                  <a:lnTo>
                    <a:pt x="254" y="966"/>
                  </a:lnTo>
                  <a:lnTo>
                    <a:pt x="252" y="965"/>
                  </a:lnTo>
                  <a:lnTo>
                    <a:pt x="252" y="963"/>
                  </a:lnTo>
                  <a:lnTo>
                    <a:pt x="252" y="962"/>
                  </a:lnTo>
                  <a:lnTo>
                    <a:pt x="254" y="962"/>
                  </a:lnTo>
                  <a:lnTo>
                    <a:pt x="254" y="960"/>
                  </a:lnTo>
                  <a:lnTo>
                    <a:pt x="254" y="958"/>
                  </a:lnTo>
                  <a:lnTo>
                    <a:pt x="256" y="958"/>
                  </a:lnTo>
                  <a:lnTo>
                    <a:pt x="257" y="960"/>
                  </a:lnTo>
                  <a:lnTo>
                    <a:pt x="257" y="957"/>
                  </a:lnTo>
                  <a:lnTo>
                    <a:pt x="257" y="955"/>
                  </a:lnTo>
                  <a:lnTo>
                    <a:pt x="257" y="953"/>
                  </a:lnTo>
                  <a:lnTo>
                    <a:pt x="256" y="953"/>
                  </a:lnTo>
                  <a:lnTo>
                    <a:pt x="257" y="952"/>
                  </a:lnTo>
                  <a:lnTo>
                    <a:pt x="256" y="952"/>
                  </a:lnTo>
                  <a:lnTo>
                    <a:pt x="257" y="952"/>
                  </a:lnTo>
                  <a:lnTo>
                    <a:pt x="259" y="952"/>
                  </a:lnTo>
                  <a:lnTo>
                    <a:pt x="259" y="953"/>
                  </a:lnTo>
                  <a:lnTo>
                    <a:pt x="257" y="953"/>
                  </a:lnTo>
                  <a:lnTo>
                    <a:pt x="259" y="955"/>
                  </a:lnTo>
                  <a:lnTo>
                    <a:pt x="259" y="953"/>
                  </a:lnTo>
                  <a:lnTo>
                    <a:pt x="259" y="955"/>
                  </a:lnTo>
                  <a:lnTo>
                    <a:pt x="259" y="953"/>
                  </a:lnTo>
                  <a:lnTo>
                    <a:pt x="261" y="953"/>
                  </a:lnTo>
                  <a:lnTo>
                    <a:pt x="261" y="955"/>
                  </a:lnTo>
                  <a:lnTo>
                    <a:pt x="261" y="953"/>
                  </a:lnTo>
                  <a:lnTo>
                    <a:pt x="262" y="955"/>
                  </a:lnTo>
                  <a:lnTo>
                    <a:pt x="262" y="957"/>
                  </a:lnTo>
                  <a:lnTo>
                    <a:pt x="262" y="955"/>
                  </a:lnTo>
                  <a:lnTo>
                    <a:pt x="262" y="953"/>
                  </a:lnTo>
                  <a:lnTo>
                    <a:pt x="262" y="952"/>
                  </a:lnTo>
                  <a:lnTo>
                    <a:pt x="262" y="950"/>
                  </a:lnTo>
                  <a:lnTo>
                    <a:pt x="262" y="952"/>
                  </a:lnTo>
                  <a:lnTo>
                    <a:pt x="262" y="950"/>
                  </a:lnTo>
                  <a:lnTo>
                    <a:pt x="264" y="952"/>
                  </a:lnTo>
                  <a:lnTo>
                    <a:pt x="265" y="952"/>
                  </a:lnTo>
                  <a:lnTo>
                    <a:pt x="265" y="953"/>
                  </a:lnTo>
                  <a:lnTo>
                    <a:pt x="267" y="953"/>
                  </a:lnTo>
                  <a:lnTo>
                    <a:pt x="267" y="955"/>
                  </a:lnTo>
                  <a:lnTo>
                    <a:pt x="267" y="957"/>
                  </a:lnTo>
                  <a:lnTo>
                    <a:pt x="269" y="957"/>
                  </a:lnTo>
                  <a:lnTo>
                    <a:pt x="269" y="958"/>
                  </a:lnTo>
                  <a:lnTo>
                    <a:pt x="269" y="957"/>
                  </a:lnTo>
                  <a:lnTo>
                    <a:pt x="267" y="955"/>
                  </a:lnTo>
                  <a:lnTo>
                    <a:pt x="267" y="953"/>
                  </a:lnTo>
                  <a:lnTo>
                    <a:pt x="269" y="953"/>
                  </a:lnTo>
                  <a:lnTo>
                    <a:pt x="269" y="955"/>
                  </a:lnTo>
                  <a:lnTo>
                    <a:pt x="270" y="955"/>
                  </a:lnTo>
                  <a:lnTo>
                    <a:pt x="270" y="957"/>
                  </a:lnTo>
                  <a:lnTo>
                    <a:pt x="272" y="957"/>
                  </a:lnTo>
                  <a:lnTo>
                    <a:pt x="272" y="958"/>
                  </a:lnTo>
                  <a:lnTo>
                    <a:pt x="272" y="957"/>
                  </a:lnTo>
                  <a:lnTo>
                    <a:pt x="270" y="957"/>
                  </a:lnTo>
                  <a:lnTo>
                    <a:pt x="272" y="957"/>
                  </a:lnTo>
                  <a:lnTo>
                    <a:pt x="272" y="958"/>
                  </a:lnTo>
                  <a:lnTo>
                    <a:pt x="274" y="958"/>
                  </a:lnTo>
                  <a:lnTo>
                    <a:pt x="272" y="958"/>
                  </a:lnTo>
                  <a:lnTo>
                    <a:pt x="274" y="958"/>
                  </a:lnTo>
                  <a:lnTo>
                    <a:pt x="274" y="957"/>
                  </a:lnTo>
                  <a:lnTo>
                    <a:pt x="272" y="955"/>
                  </a:lnTo>
                  <a:lnTo>
                    <a:pt x="272" y="953"/>
                  </a:lnTo>
                  <a:lnTo>
                    <a:pt x="270" y="953"/>
                  </a:lnTo>
                  <a:lnTo>
                    <a:pt x="272" y="953"/>
                  </a:lnTo>
                  <a:lnTo>
                    <a:pt x="272" y="952"/>
                  </a:lnTo>
                  <a:lnTo>
                    <a:pt x="270" y="952"/>
                  </a:lnTo>
                  <a:lnTo>
                    <a:pt x="270" y="950"/>
                  </a:lnTo>
                  <a:lnTo>
                    <a:pt x="270" y="952"/>
                  </a:lnTo>
                  <a:lnTo>
                    <a:pt x="272" y="952"/>
                  </a:lnTo>
                  <a:lnTo>
                    <a:pt x="272" y="950"/>
                  </a:lnTo>
                  <a:lnTo>
                    <a:pt x="272" y="952"/>
                  </a:lnTo>
                  <a:lnTo>
                    <a:pt x="272" y="950"/>
                  </a:lnTo>
                  <a:lnTo>
                    <a:pt x="274" y="952"/>
                  </a:lnTo>
                  <a:lnTo>
                    <a:pt x="272" y="952"/>
                  </a:lnTo>
                  <a:lnTo>
                    <a:pt x="274" y="952"/>
                  </a:lnTo>
                  <a:lnTo>
                    <a:pt x="272" y="952"/>
                  </a:lnTo>
                  <a:lnTo>
                    <a:pt x="272" y="953"/>
                  </a:lnTo>
                  <a:lnTo>
                    <a:pt x="272" y="952"/>
                  </a:lnTo>
                  <a:lnTo>
                    <a:pt x="272" y="953"/>
                  </a:lnTo>
                  <a:lnTo>
                    <a:pt x="274" y="953"/>
                  </a:lnTo>
                  <a:lnTo>
                    <a:pt x="274" y="955"/>
                  </a:lnTo>
                  <a:lnTo>
                    <a:pt x="274" y="953"/>
                  </a:lnTo>
                  <a:lnTo>
                    <a:pt x="274" y="952"/>
                  </a:lnTo>
                  <a:lnTo>
                    <a:pt x="274" y="953"/>
                  </a:lnTo>
                  <a:lnTo>
                    <a:pt x="274" y="952"/>
                  </a:lnTo>
                  <a:lnTo>
                    <a:pt x="275" y="952"/>
                  </a:lnTo>
                  <a:lnTo>
                    <a:pt x="275" y="950"/>
                  </a:lnTo>
                  <a:lnTo>
                    <a:pt x="275" y="949"/>
                  </a:lnTo>
                  <a:lnTo>
                    <a:pt x="275" y="950"/>
                  </a:lnTo>
                  <a:lnTo>
                    <a:pt x="275" y="949"/>
                  </a:lnTo>
                  <a:lnTo>
                    <a:pt x="274" y="949"/>
                  </a:lnTo>
                  <a:lnTo>
                    <a:pt x="274" y="947"/>
                  </a:lnTo>
                  <a:lnTo>
                    <a:pt x="275" y="949"/>
                  </a:lnTo>
                  <a:lnTo>
                    <a:pt x="277" y="949"/>
                  </a:lnTo>
                  <a:lnTo>
                    <a:pt x="275" y="949"/>
                  </a:lnTo>
                  <a:lnTo>
                    <a:pt x="277" y="947"/>
                  </a:lnTo>
                  <a:lnTo>
                    <a:pt x="275" y="947"/>
                  </a:lnTo>
                  <a:lnTo>
                    <a:pt x="274" y="947"/>
                  </a:lnTo>
                  <a:lnTo>
                    <a:pt x="275" y="947"/>
                  </a:lnTo>
                  <a:lnTo>
                    <a:pt x="274" y="947"/>
                  </a:lnTo>
                  <a:lnTo>
                    <a:pt x="274" y="945"/>
                  </a:lnTo>
                  <a:lnTo>
                    <a:pt x="274" y="947"/>
                  </a:lnTo>
                  <a:lnTo>
                    <a:pt x="272" y="947"/>
                  </a:lnTo>
                  <a:lnTo>
                    <a:pt x="272" y="945"/>
                  </a:lnTo>
                  <a:lnTo>
                    <a:pt x="272" y="944"/>
                  </a:lnTo>
                  <a:lnTo>
                    <a:pt x="274" y="944"/>
                  </a:lnTo>
                  <a:lnTo>
                    <a:pt x="272" y="944"/>
                  </a:lnTo>
                  <a:lnTo>
                    <a:pt x="274" y="944"/>
                  </a:lnTo>
                  <a:lnTo>
                    <a:pt x="274" y="942"/>
                  </a:lnTo>
                  <a:lnTo>
                    <a:pt x="275" y="942"/>
                  </a:lnTo>
                  <a:lnTo>
                    <a:pt x="275" y="940"/>
                  </a:lnTo>
                  <a:lnTo>
                    <a:pt x="274" y="940"/>
                  </a:lnTo>
                  <a:lnTo>
                    <a:pt x="275" y="940"/>
                  </a:lnTo>
                  <a:lnTo>
                    <a:pt x="274" y="940"/>
                  </a:lnTo>
                  <a:lnTo>
                    <a:pt x="274" y="939"/>
                  </a:lnTo>
                  <a:lnTo>
                    <a:pt x="274" y="940"/>
                  </a:lnTo>
                  <a:lnTo>
                    <a:pt x="274" y="939"/>
                  </a:lnTo>
                  <a:lnTo>
                    <a:pt x="274" y="940"/>
                  </a:lnTo>
                  <a:lnTo>
                    <a:pt x="272" y="939"/>
                  </a:lnTo>
                  <a:lnTo>
                    <a:pt x="274" y="939"/>
                  </a:lnTo>
                  <a:lnTo>
                    <a:pt x="272" y="939"/>
                  </a:lnTo>
                  <a:lnTo>
                    <a:pt x="272" y="937"/>
                  </a:lnTo>
                  <a:lnTo>
                    <a:pt x="270" y="937"/>
                  </a:lnTo>
                  <a:lnTo>
                    <a:pt x="269" y="937"/>
                  </a:lnTo>
                  <a:lnTo>
                    <a:pt x="269" y="939"/>
                  </a:lnTo>
                  <a:lnTo>
                    <a:pt x="267" y="939"/>
                  </a:lnTo>
                  <a:lnTo>
                    <a:pt x="265" y="939"/>
                  </a:lnTo>
                  <a:lnTo>
                    <a:pt x="265" y="937"/>
                  </a:lnTo>
                  <a:lnTo>
                    <a:pt x="265" y="939"/>
                  </a:lnTo>
                  <a:lnTo>
                    <a:pt x="264" y="939"/>
                  </a:lnTo>
                  <a:lnTo>
                    <a:pt x="265" y="939"/>
                  </a:lnTo>
                  <a:lnTo>
                    <a:pt x="265" y="940"/>
                  </a:lnTo>
                  <a:lnTo>
                    <a:pt x="265" y="939"/>
                  </a:lnTo>
                  <a:lnTo>
                    <a:pt x="265" y="940"/>
                  </a:lnTo>
                  <a:lnTo>
                    <a:pt x="267" y="940"/>
                  </a:lnTo>
                  <a:lnTo>
                    <a:pt x="267" y="942"/>
                  </a:lnTo>
                  <a:lnTo>
                    <a:pt x="267" y="940"/>
                  </a:lnTo>
                  <a:lnTo>
                    <a:pt x="269" y="940"/>
                  </a:lnTo>
                  <a:lnTo>
                    <a:pt x="269" y="942"/>
                  </a:lnTo>
                  <a:lnTo>
                    <a:pt x="269" y="944"/>
                  </a:lnTo>
                  <a:lnTo>
                    <a:pt x="267" y="944"/>
                  </a:lnTo>
                  <a:lnTo>
                    <a:pt x="269" y="944"/>
                  </a:lnTo>
                  <a:lnTo>
                    <a:pt x="269" y="945"/>
                  </a:lnTo>
                  <a:lnTo>
                    <a:pt x="269" y="947"/>
                  </a:lnTo>
                  <a:lnTo>
                    <a:pt x="267" y="947"/>
                  </a:lnTo>
                  <a:lnTo>
                    <a:pt x="269" y="947"/>
                  </a:lnTo>
                  <a:lnTo>
                    <a:pt x="267" y="947"/>
                  </a:lnTo>
                  <a:lnTo>
                    <a:pt x="267" y="945"/>
                  </a:lnTo>
                  <a:lnTo>
                    <a:pt x="267" y="947"/>
                  </a:lnTo>
                  <a:lnTo>
                    <a:pt x="265" y="945"/>
                  </a:lnTo>
                  <a:lnTo>
                    <a:pt x="265" y="947"/>
                  </a:lnTo>
                  <a:lnTo>
                    <a:pt x="267" y="947"/>
                  </a:lnTo>
                  <a:lnTo>
                    <a:pt x="267" y="949"/>
                  </a:lnTo>
                  <a:lnTo>
                    <a:pt x="265" y="949"/>
                  </a:lnTo>
                  <a:lnTo>
                    <a:pt x="265" y="950"/>
                  </a:lnTo>
                  <a:lnTo>
                    <a:pt x="267" y="949"/>
                  </a:lnTo>
                  <a:lnTo>
                    <a:pt x="267" y="950"/>
                  </a:lnTo>
                  <a:lnTo>
                    <a:pt x="265" y="950"/>
                  </a:lnTo>
                  <a:lnTo>
                    <a:pt x="267" y="950"/>
                  </a:lnTo>
                  <a:lnTo>
                    <a:pt x="267" y="952"/>
                  </a:lnTo>
                  <a:lnTo>
                    <a:pt x="267" y="953"/>
                  </a:lnTo>
                  <a:lnTo>
                    <a:pt x="265" y="952"/>
                  </a:lnTo>
                  <a:lnTo>
                    <a:pt x="267" y="952"/>
                  </a:lnTo>
                  <a:lnTo>
                    <a:pt x="265" y="952"/>
                  </a:lnTo>
                  <a:lnTo>
                    <a:pt x="265" y="950"/>
                  </a:lnTo>
                  <a:lnTo>
                    <a:pt x="264" y="950"/>
                  </a:lnTo>
                  <a:lnTo>
                    <a:pt x="262" y="950"/>
                  </a:lnTo>
                  <a:lnTo>
                    <a:pt x="262" y="949"/>
                  </a:lnTo>
                  <a:lnTo>
                    <a:pt x="262" y="947"/>
                  </a:lnTo>
                  <a:lnTo>
                    <a:pt x="261" y="947"/>
                  </a:lnTo>
                  <a:lnTo>
                    <a:pt x="261" y="945"/>
                  </a:lnTo>
                  <a:lnTo>
                    <a:pt x="259" y="945"/>
                  </a:lnTo>
                  <a:lnTo>
                    <a:pt x="259" y="944"/>
                  </a:lnTo>
                  <a:lnTo>
                    <a:pt x="259" y="945"/>
                  </a:lnTo>
                  <a:lnTo>
                    <a:pt x="261" y="945"/>
                  </a:lnTo>
                  <a:lnTo>
                    <a:pt x="261" y="944"/>
                  </a:lnTo>
                  <a:lnTo>
                    <a:pt x="262" y="944"/>
                  </a:lnTo>
                  <a:lnTo>
                    <a:pt x="261" y="944"/>
                  </a:lnTo>
                  <a:lnTo>
                    <a:pt x="261" y="942"/>
                  </a:lnTo>
                  <a:lnTo>
                    <a:pt x="261" y="944"/>
                  </a:lnTo>
                  <a:lnTo>
                    <a:pt x="261" y="942"/>
                  </a:lnTo>
                  <a:lnTo>
                    <a:pt x="262" y="942"/>
                  </a:lnTo>
                  <a:lnTo>
                    <a:pt x="262" y="940"/>
                  </a:lnTo>
                  <a:lnTo>
                    <a:pt x="264" y="940"/>
                  </a:lnTo>
                  <a:lnTo>
                    <a:pt x="264" y="939"/>
                  </a:lnTo>
                  <a:lnTo>
                    <a:pt x="264" y="940"/>
                  </a:lnTo>
                  <a:lnTo>
                    <a:pt x="262" y="939"/>
                  </a:lnTo>
                  <a:lnTo>
                    <a:pt x="264" y="939"/>
                  </a:lnTo>
                  <a:lnTo>
                    <a:pt x="262" y="939"/>
                  </a:lnTo>
                  <a:lnTo>
                    <a:pt x="262" y="940"/>
                  </a:lnTo>
                  <a:lnTo>
                    <a:pt x="261" y="940"/>
                  </a:lnTo>
                  <a:lnTo>
                    <a:pt x="259" y="939"/>
                  </a:lnTo>
                  <a:lnTo>
                    <a:pt x="259" y="940"/>
                  </a:lnTo>
                  <a:lnTo>
                    <a:pt x="259" y="939"/>
                  </a:lnTo>
                  <a:lnTo>
                    <a:pt x="257" y="939"/>
                  </a:lnTo>
                  <a:lnTo>
                    <a:pt x="257" y="937"/>
                  </a:lnTo>
                  <a:lnTo>
                    <a:pt x="259" y="937"/>
                  </a:lnTo>
                  <a:lnTo>
                    <a:pt x="259" y="935"/>
                  </a:lnTo>
                  <a:lnTo>
                    <a:pt x="259" y="934"/>
                  </a:lnTo>
                  <a:lnTo>
                    <a:pt x="259" y="935"/>
                  </a:lnTo>
                  <a:lnTo>
                    <a:pt x="259" y="934"/>
                  </a:lnTo>
                  <a:lnTo>
                    <a:pt x="257" y="934"/>
                  </a:lnTo>
                  <a:lnTo>
                    <a:pt x="259" y="934"/>
                  </a:lnTo>
                  <a:lnTo>
                    <a:pt x="257" y="934"/>
                  </a:lnTo>
                  <a:lnTo>
                    <a:pt x="259" y="934"/>
                  </a:lnTo>
                  <a:lnTo>
                    <a:pt x="259" y="932"/>
                  </a:lnTo>
                  <a:lnTo>
                    <a:pt x="261" y="932"/>
                  </a:lnTo>
                  <a:lnTo>
                    <a:pt x="261" y="934"/>
                  </a:lnTo>
                  <a:lnTo>
                    <a:pt x="261" y="932"/>
                  </a:lnTo>
                  <a:lnTo>
                    <a:pt x="262" y="932"/>
                  </a:lnTo>
                  <a:lnTo>
                    <a:pt x="264" y="932"/>
                  </a:lnTo>
                  <a:lnTo>
                    <a:pt x="264" y="934"/>
                  </a:lnTo>
                  <a:lnTo>
                    <a:pt x="264" y="932"/>
                  </a:lnTo>
                  <a:lnTo>
                    <a:pt x="265" y="932"/>
                  </a:lnTo>
                  <a:lnTo>
                    <a:pt x="265" y="931"/>
                  </a:lnTo>
                  <a:lnTo>
                    <a:pt x="265" y="932"/>
                  </a:lnTo>
                  <a:lnTo>
                    <a:pt x="264" y="931"/>
                  </a:lnTo>
                  <a:lnTo>
                    <a:pt x="264" y="929"/>
                  </a:lnTo>
                  <a:lnTo>
                    <a:pt x="264" y="931"/>
                  </a:lnTo>
                  <a:lnTo>
                    <a:pt x="264" y="929"/>
                  </a:lnTo>
                  <a:lnTo>
                    <a:pt x="265" y="931"/>
                  </a:lnTo>
                  <a:lnTo>
                    <a:pt x="267" y="931"/>
                  </a:lnTo>
                  <a:lnTo>
                    <a:pt x="267" y="929"/>
                  </a:lnTo>
                  <a:lnTo>
                    <a:pt x="267" y="931"/>
                  </a:lnTo>
                  <a:lnTo>
                    <a:pt x="269" y="931"/>
                  </a:lnTo>
                  <a:lnTo>
                    <a:pt x="267" y="931"/>
                  </a:lnTo>
                  <a:lnTo>
                    <a:pt x="269" y="932"/>
                  </a:lnTo>
                  <a:lnTo>
                    <a:pt x="270" y="934"/>
                  </a:lnTo>
                  <a:lnTo>
                    <a:pt x="270" y="932"/>
                  </a:lnTo>
                  <a:lnTo>
                    <a:pt x="269" y="932"/>
                  </a:lnTo>
                  <a:lnTo>
                    <a:pt x="269" y="931"/>
                  </a:lnTo>
                  <a:lnTo>
                    <a:pt x="270" y="932"/>
                  </a:lnTo>
                  <a:lnTo>
                    <a:pt x="272" y="932"/>
                  </a:lnTo>
                  <a:lnTo>
                    <a:pt x="270" y="931"/>
                  </a:lnTo>
                  <a:lnTo>
                    <a:pt x="270" y="929"/>
                  </a:lnTo>
                  <a:lnTo>
                    <a:pt x="270" y="931"/>
                  </a:lnTo>
                  <a:lnTo>
                    <a:pt x="270" y="929"/>
                  </a:lnTo>
                  <a:lnTo>
                    <a:pt x="272" y="929"/>
                  </a:lnTo>
                  <a:lnTo>
                    <a:pt x="270" y="929"/>
                  </a:lnTo>
                  <a:lnTo>
                    <a:pt x="270" y="927"/>
                  </a:lnTo>
                  <a:lnTo>
                    <a:pt x="270" y="929"/>
                  </a:lnTo>
                  <a:lnTo>
                    <a:pt x="269" y="929"/>
                  </a:lnTo>
                  <a:lnTo>
                    <a:pt x="270" y="929"/>
                  </a:lnTo>
                  <a:lnTo>
                    <a:pt x="269" y="929"/>
                  </a:lnTo>
                  <a:lnTo>
                    <a:pt x="267" y="927"/>
                  </a:lnTo>
                  <a:lnTo>
                    <a:pt x="265" y="927"/>
                  </a:lnTo>
                  <a:lnTo>
                    <a:pt x="265" y="926"/>
                  </a:lnTo>
                  <a:lnTo>
                    <a:pt x="264" y="926"/>
                  </a:lnTo>
                  <a:lnTo>
                    <a:pt x="265" y="926"/>
                  </a:lnTo>
                  <a:lnTo>
                    <a:pt x="265" y="924"/>
                  </a:lnTo>
                  <a:lnTo>
                    <a:pt x="264" y="924"/>
                  </a:lnTo>
                  <a:lnTo>
                    <a:pt x="265" y="924"/>
                  </a:lnTo>
                  <a:lnTo>
                    <a:pt x="265" y="922"/>
                  </a:lnTo>
                  <a:lnTo>
                    <a:pt x="267" y="924"/>
                  </a:lnTo>
                  <a:lnTo>
                    <a:pt x="267" y="922"/>
                  </a:lnTo>
                  <a:lnTo>
                    <a:pt x="265" y="922"/>
                  </a:lnTo>
                  <a:lnTo>
                    <a:pt x="267" y="922"/>
                  </a:lnTo>
                  <a:lnTo>
                    <a:pt x="267" y="924"/>
                  </a:lnTo>
                  <a:lnTo>
                    <a:pt x="267" y="922"/>
                  </a:lnTo>
                  <a:lnTo>
                    <a:pt x="269" y="924"/>
                  </a:lnTo>
                  <a:lnTo>
                    <a:pt x="269" y="922"/>
                  </a:lnTo>
                  <a:lnTo>
                    <a:pt x="270" y="924"/>
                  </a:lnTo>
                  <a:lnTo>
                    <a:pt x="270" y="922"/>
                  </a:lnTo>
                  <a:lnTo>
                    <a:pt x="270" y="924"/>
                  </a:lnTo>
                  <a:lnTo>
                    <a:pt x="270" y="922"/>
                  </a:lnTo>
                  <a:lnTo>
                    <a:pt x="270" y="924"/>
                  </a:lnTo>
                  <a:lnTo>
                    <a:pt x="272" y="924"/>
                  </a:lnTo>
                  <a:lnTo>
                    <a:pt x="272" y="926"/>
                  </a:lnTo>
                  <a:lnTo>
                    <a:pt x="274" y="926"/>
                  </a:lnTo>
                  <a:lnTo>
                    <a:pt x="274" y="927"/>
                  </a:lnTo>
                  <a:lnTo>
                    <a:pt x="275" y="927"/>
                  </a:lnTo>
                  <a:lnTo>
                    <a:pt x="274" y="927"/>
                  </a:lnTo>
                  <a:lnTo>
                    <a:pt x="274" y="929"/>
                  </a:lnTo>
                  <a:lnTo>
                    <a:pt x="275" y="929"/>
                  </a:lnTo>
                  <a:lnTo>
                    <a:pt x="275" y="931"/>
                  </a:lnTo>
                  <a:lnTo>
                    <a:pt x="275" y="929"/>
                  </a:lnTo>
                  <a:lnTo>
                    <a:pt x="274" y="929"/>
                  </a:lnTo>
                  <a:lnTo>
                    <a:pt x="274" y="931"/>
                  </a:lnTo>
                  <a:lnTo>
                    <a:pt x="275" y="931"/>
                  </a:lnTo>
                  <a:lnTo>
                    <a:pt x="275" y="932"/>
                  </a:lnTo>
                  <a:lnTo>
                    <a:pt x="274" y="932"/>
                  </a:lnTo>
                  <a:lnTo>
                    <a:pt x="275" y="932"/>
                  </a:lnTo>
                  <a:lnTo>
                    <a:pt x="275" y="934"/>
                  </a:lnTo>
                  <a:lnTo>
                    <a:pt x="275" y="932"/>
                  </a:lnTo>
                  <a:lnTo>
                    <a:pt x="277" y="934"/>
                  </a:lnTo>
                  <a:lnTo>
                    <a:pt x="278" y="934"/>
                  </a:lnTo>
                  <a:lnTo>
                    <a:pt x="278" y="935"/>
                  </a:lnTo>
                  <a:lnTo>
                    <a:pt x="278" y="937"/>
                  </a:lnTo>
                  <a:lnTo>
                    <a:pt x="278" y="939"/>
                  </a:lnTo>
                  <a:lnTo>
                    <a:pt x="280" y="939"/>
                  </a:lnTo>
                  <a:lnTo>
                    <a:pt x="280" y="937"/>
                  </a:lnTo>
                  <a:lnTo>
                    <a:pt x="278" y="937"/>
                  </a:lnTo>
                  <a:lnTo>
                    <a:pt x="280" y="937"/>
                  </a:lnTo>
                  <a:lnTo>
                    <a:pt x="280" y="935"/>
                  </a:lnTo>
                  <a:lnTo>
                    <a:pt x="278" y="937"/>
                  </a:lnTo>
                  <a:lnTo>
                    <a:pt x="278" y="935"/>
                  </a:lnTo>
                  <a:lnTo>
                    <a:pt x="280" y="935"/>
                  </a:lnTo>
                  <a:lnTo>
                    <a:pt x="278" y="934"/>
                  </a:lnTo>
                  <a:lnTo>
                    <a:pt x="278" y="932"/>
                  </a:lnTo>
                  <a:lnTo>
                    <a:pt x="277" y="932"/>
                  </a:lnTo>
                  <a:lnTo>
                    <a:pt x="278" y="932"/>
                  </a:lnTo>
                  <a:lnTo>
                    <a:pt x="277" y="932"/>
                  </a:lnTo>
                  <a:lnTo>
                    <a:pt x="275" y="932"/>
                  </a:lnTo>
                  <a:lnTo>
                    <a:pt x="275" y="931"/>
                  </a:lnTo>
                  <a:lnTo>
                    <a:pt x="277" y="931"/>
                  </a:lnTo>
                  <a:lnTo>
                    <a:pt x="278" y="931"/>
                  </a:lnTo>
                  <a:lnTo>
                    <a:pt x="278" y="932"/>
                  </a:lnTo>
                  <a:lnTo>
                    <a:pt x="280" y="932"/>
                  </a:lnTo>
                  <a:lnTo>
                    <a:pt x="280" y="931"/>
                  </a:lnTo>
                  <a:lnTo>
                    <a:pt x="278" y="929"/>
                  </a:lnTo>
                  <a:lnTo>
                    <a:pt x="278" y="927"/>
                  </a:lnTo>
                  <a:lnTo>
                    <a:pt x="280" y="927"/>
                  </a:lnTo>
                  <a:lnTo>
                    <a:pt x="278" y="926"/>
                  </a:lnTo>
                  <a:lnTo>
                    <a:pt x="278" y="924"/>
                  </a:lnTo>
                  <a:lnTo>
                    <a:pt x="280" y="924"/>
                  </a:lnTo>
                  <a:lnTo>
                    <a:pt x="280" y="922"/>
                  </a:lnTo>
                  <a:lnTo>
                    <a:pt x="282" y="924"/>
                  </a:lnTo>
                  <a:lnTo>
                    <a:pt x="283" y="926"/>
                  </a:lnTo>
                  <a:lnTo>
                    <a:pt x="283" y="927"/>
                  </a:lnTo>
                  <a:lnTo>
                    <a:pt x="283" y="926"/>
                  </a:lnTo>
                  <a:lnTo>
                    <a:pt x="285" y="926"/>
                  </a:lnTo>
                  <a:lnTo>
                    <a:pt x="283" y="926"/>
                  </a:lnTo>
                  <a:lnTo>
                    <a:pt x="285" y="926"/>
                  </a:lnTo>
                  <a:lnTo>
                    <a:pt x="283" y="924"/>
                  </a:lnTo>
                  <a:lnTo>
                    <a:pt x="285" y="924"/>
                  </a:lnTo>
                  <a:lnTo>
                    <a:pt x="283" y="922"/>
                  </a:lnTo>
                  <a:lnTo>
                    <a:pt x="282" y="921"/>
                  </a:lnTo>
                  <a:lnTo>
                    <a:pt x="280" y="921"/>
                  </a:lnTo>
                  <a:lnTo>
                    <a:pt x="280" y="919"/>
                  </a:lnTo>
                  <a:lnTo>
                    <a:pt x="282" y="919"/>
                  </a:lnTo>
                  <a:lnTo>
                    <a:pt x="282" y="921"/>
                  </a:lnTo>
                  <a:lnTo>
                    <a:pt x="283" y="921"/>
                  </a:lnTo>
                  <a:lnTo>
                    <a:pt x="283" y="922"/>
                  </a:lnTo>
                  <a:lnTo>
                    <a:pt x="285" y="922"/>
                  </a:lnTo>
                  <a:lnTo>
                    <a:pt x="285" y="921"/>
                  </a:lnTo>
                  <a:lnTo>
                    <a:pt x="285" y="922"/>
                  </a:lnTo>
                  <a:lnTo>
                    <a:pt x="288" y="924"/>
                  </a:lnTo>
                  <a:lnTo>
                    <a:pt x="287" y="922"/>
                  </a:lnTo>
                  <a:lnTo>
                    <a:pt x="285" y="922"/>
                  </a:lnTo>
                  <a:lnTo>
                    <a:pt x="285" y="921"/>
                  </a:lnTo>
                  <a:lnTo>
                    <a:pt x="283" y="919"/>
                  </a:lnTo>
                  <a:lnTo>
                    <a:pt x="285" y="921"/>
                  </a:lnTo>
                  <a:lnTo>
                    <a:pt x="283" y="919"/>
                  </a:lnTo>
                  <a:lnTo>
                    <a:pt x="283" y="918"/>
                  </a:lnTo>
                  <a:lnTo>
                    <a:pt x="283" y="919"/>
                  </a:lnTo>
                  <a:lnTo>
                    <a:pt x="283" y="918"/>
                  </a:lnTo>
                  <a:lnTo>
                    <a:pt x="285" y="919"/>
                  </a:lnTo>
                  <a:lnTo>
                    <a:pt x="285" y="918"/>
                  </a:lnTo>
                  <a:lnTo>
                    <a:pt x="287" y="918"/>
                  </a:lnTo>
                  <a:lnTo>
                    <a:pt x="287" y="919"/>
                  </a:lnTo>
                  <a:lnTo>
                    <a:pt x="287" y="918"/>
                  </a:lnTo>
                  <a:lnTo>
                    <a:pt x="288" y="919"/>
                  </a:lnTo>
                  <a:lnTo>
                    <a:pt x="288" y="918"/>
                  </a:lnTo>
                  <a:lnTo>
                    <a:pt x="288" y="919"/>
                  </a:lnTo>
                  <a:lnTo>
                    <a:pt x="288" y="918"/>
                  </a:lnTo>
                  <a:lnTo>
                    <a:pt x="290" y="918"/>
                  </a:lnTo>
                  <a:lnTo>
                    <a:pt x="288" y="918"/>
                  </a:lnTo>
                  <a:lnTo>
                    <a:pt x="288" y="916"/>
                  </a:lnTo>
                  <a:lnTo>
                    <a:pt x="288" y="918"/>
                  </a:lnTo>
                  <a:lnTo>
                    <a:pt x="290" y="918"/>
                  </a:lnTo>
                  <a:lnTo>
                    <a:pt x="291" y="918"/>
                  </a:lnTo>
                  <a:lnTo>
                    <a:pt x="290" y="918"/>
                  </a:lnTo>
                  <a:lnTo>
                    <a:pt x="291" y="918"/>
                  </a:lnTo>
                  <a:lnTo>
                    <a:pt x="291" y="916"/>
                  </a:lnTo>
                  <a:lnTo>
                    <a:pt x="293" y="916"/>
                  </a:lnTo>
                  <a:lnTo>
                    <a:pt x="291" y="916"/>
                  </a:lnTo>
                  <a:lnTo>
                    <a:pt x="293" y="916"/>
                  </a:lnTo>
                  <a:lnTo>
                    <a:pt x="293" y="918"/>
                  </a:lnTo>
                  <a:lnTo>
                    <a:pt x="293" y="916"/>
                  </a:lnTo>
                  <a:lnTo>
                    <a:pt x="295" y="916"/>
                  </a:lnTo>
                  <a:lnTo>
                    <a:pt x="295" y="914"/>
                  </a:lnTo>
                  <a:lnTo>
                    <a:pt x="293" y="914"/>
                  </a:lnTo>
                  <a:lnTo>
                    <a:pt x="295" y="914"/>
                  </a:lnTo>
                  <a:lnTo>
                    <a:pt x="293" y="914"/>
                  </a:lnTo>
                  <a:lnTo>
                    <a:pt x="293" y="913"/>
                  </a:lnTo>
                  <a:lnTo>
                    <a:pt x="293" y="914"/>
                  </a:lnTo>
                  <a:lnTo>
                    <a:pt x="293" y="913"/>
                  </a:lnTo>
                  <a:lnTo>
                    <a:pt x="291" y="913"/>
                  </a:lnTo>
                  <a:lnTo>
                    <a:pt x="293" y="913"/>
                  </a:lnTo>
                  <a:lnTo>
                    <a:pt x="291" y="911"/>
                  </a:lnTo>
                  <a:lnTo>
                    <a:pt x="293" y="911"/>
                  </a:lnTo>
                  <a:lnTo>
                    <a:pt x="293" y="913"/>
                  </a:lnTo>
                  <a:lnTo>
                    <a:pt x="293" y="911"/>
                  </a:lnTo>
                  <a:lnTo>
                    <a:pt x="293" y="913"/>
                  </a:lnTo>
                  <a:lnTo>
                    <a:pt x="295" y="913"/>
                  </a:lnTo>
                  <a:lnTo>
                    <a:pt x="295" y="914"/>
                  </a:lnTo>
                  <a:lnTo>
                    <a:pt x="296" y="914"/>
                  </a:lnTo>
                  <a:lnTo>
                    <a:pt x="298" y="914"/>
                  </a:lnTo>
                  <a:lnTo>
                    <a:pt x="298" y="916"/>
                  </a:lnTo>
                  <a:lnTo>
                    <a:pt x="298" y="914"/>
                  </a:lnTo>
                  <a:lnTo>
                    <a:pt x="300" y="914"/>
                  </a:lnTo>
                  <a:lnTo>
                    <a:pt x="298" y="914"/>
                  </a:lnTo>
                  <a:lnTo>
                    <a:pt x="298" y="913"/>
                  </a:lnTo>
                  <a:lnTo>
                    <a:pt x="300" y="913"/>
                  </a:lnTo>
                  <a:lnTo>
                    <a:pt x="300" y="911"/>
                  </a:lnTo>
                  <a:lnTo>
                    <a:pt x="300" y="909"/>
                  </a:lnTo>
                  <a:lnTo>
                    <a:pt x="298" y="908"/>
                  </a:lnTo>
                  <a:lnTo>
                    <a:pt x="296" y="908"/>
                  </a:lnTo>
                  <a:lnTo>
                    <a:pt x="298" y="908"/>
                  </a:lnTo>
                  <a:lnTo>
                    <a:pt x="298" y="906"/>
                  </a:lnTo>
                  <a:lnTo>
                    <a:pt x="298" y="905"/>
                  </a:lnTo>
                  <a:lnTo>
                    <a:pt x="296" y="905"/>
                  </a:lnTo>
                  <a:lnTo>
                    <a:pt x="298" y="905"/>
                  </a:lnTo>
                  <a:lnTo>
                    <a:pt x="296" y="903"/>
                  </a:lnTo>
                  <a:lnTo>
                    <a:pt x="296" y="901"/>
                  </a:lnTo>
                  <a:lnTo>
                    <a:pt x="296" y="900"/>
                  </a:lnTo>
                  <a:lnTo>
                    <a:pt x="295" y="898"/>
                  </a:lnTo>
                  <a:lnTo>
                    <a:pt x="295" y="895"/>
                  </a:lnTo>
                  <a:lnTo>
                    <a:pt x="295" y="893"/>
                  </a:lnTo>
                  <a:lnTo>
                    <a:pt x="296" y="893"/>
                  </a:lnTo>
                  <a:lnTo>
                    <a:pt x="296" y="892"/>
                  </a:lnTo>
                  <a:lnTo>
                    <a:pt x="295" y="892"/>
                  </a:lnTo>
                  <a:lnTo>
                    <a:pt x="296" y="892"/>
                  </a:lnTo>
                  <a:lnTo>
                    <a:pt x="296" y="890"/>
                  </a:lnTo>
                  <a:lnTo>
                    <a:pt x="295" y="890"/>
                  </a:lnTo>
                  <a:lnTo>
                    <a:pt x="296" y="890"/>
                  </a:lnTo>
                  <a:lnTo>
                    <a:pt x="296" y="892"/>
                  </a:lnTo>
                  <a:lnTo>
                    <a:pt x="298" y="892"/>
                  </a:lnTo>
                  <a:lnTo>
                    <a:pt x="300" y="892"/>
                  </a:lnTo>
                  <a:lnTo>
                    <a:pt x="300" y="893"/>
                  </a:lnTo>
                  <a:lnTo>
                    <a:pt x="301" y="893"/>
                  </a:lnTo>
                  <a:lnTo>
                    <a:pt x="301" y="895"/>
                  </a:lnTo>
                  <a:lnTo>
                    <a:pt x="303" y="893"/>
                  </a:lnTo>
                  <a:lnTo>
                    <a:pt x="303" y="895"/>
                  </a:lnTo>
                  <a:lnTo>
                    <a:pt x="303" y="893"/>
                  </a:lnTo>
                  <a:lnTo>
                    <a:pt x="304" y="893"/>
                  </a:lnTo>
                  <a:lnTo>
                    <a:pt x="303" y="895"/>
                  </a:lnTo>
                  <a:lnTo>
                    <a:pt x="304" y="895"/>
                  </a:lnTo>
                  <a:lnTo>
                    <a:pt x="306" y="895"/>
                  </a:lnTo>
                  <a:lnTo>
                    <a:pt x="308" y="895"/>
                  </a:lnTo>
                  <a:lnTo>
                    <a:pt x="308" y="893"/>
                  </a:lnTo>
                  <a:lnTo>
                    <a:pt x="309" y="893"/>
                  </a:lnTo>
                  <a:lnTo>
                    <a:pt x="309" y="895"/>
                  </a:lnTo>
                  <a:lnTo>
                    <a:pt x="309" y="893"/>
                  </a:lnTo>
                  <a:lnTo>
                    <a:pt x="309" y="892"/>
                  </a:lnTo>
                  <a:lnTo>
                    <a:pt x="309" y="890"/>
                  </a:lnTo>
                  <a:lnTo>
                    <a:pt x="311" y="890"/>
                  </a:lnTo>
                  <a:lnTo>
                    <a:pt x="311" y="892"/>
                  </a:lnTo>
                  <a:lnTo>
                    <a:pt x="311" y="890"/>
                  </a:lnTo>
                  <a:lnTo>
                    <a:pt x="309" y="890"/>
                  </a:lnTo>
                  <a:lnTo>
                    <a:pt x="308" y="888"/>
                  </a:lnTo>
                  <a:lnTo>
                    <a:pt x="308" y="887"/>
                  </a:lnTo>
                  <a:lnTo>
                    <a:pt x="306" y="887"/>
                  </a:lnTo>
                  <a:lnTo>
                    <a:pt x="308" y="888"/>
                  </a:lnTo>
                  <a:lnTo>
                    <a:pt x="306" y="888"/>
                  </a:lnTo>
                  <a:lnTo>
                    <a:pt x="306" y="887"/>
                  </a:lnTo>
                  <a:lnTo>
                    <a:pt x="308" y="887"/>
                  </a:lnTo>
                  <a:lnTo>
                    <a:pt x="306" y="887"/>
                  </a:lnTo>
                  <a:lnTo>
                    <a:pt x="308" y="887"/>
                  </a:lnTo>
                  <a:lnTo>
                    <a:pt x="306" y="887"/>
                  </a:lnTo>
                  <a:lnTo>
                    <a:pt x="306" y="883"/>
                  </a:lnTo>
                  <a:lnTo>
                    <a:pt x="308" y="883"/>
                  </a:lnTo>
                  <a:lnTo>
                    <a:pt x="309" y="883"/>
                  </a:lnTo>
                  <a:lnTo>
                    <a:pt x="308" y="882"/>
                  </a:lnTo>
                  <a:lnTo>
                    <a:pt x="309" y="882"/>
                  </a:lnTo>
                  <a:lnTo>
                    <a:pt x="308" y="882"/>
                  </a:lnTo>
                  <a:lnTo>
                    <a:pt x="308" y="880"/>
                  </a:lnTo>
                  <a:lnTo>
                    <a:pt x="309" y="880"/>
                  </a:lnTo>
                  <a:lnTo>
                    <a:pt x="309" y="879"/>
                  </a:lnTo>
                  <a:lnTo>
                    <a:pt x="308" y="879"/>
                  </a:lnTo>
                  <a:lnTo>
                    <a:pt x="306" y="877"/>
                  </a:lnTo>
                  <a:lnTo>
                    <a:pt x="308" y="877"/>
                  </a:lnTo>
                  <a:lnTo>
                    <a:pt x="308" y="879"/>
                  </a:lnTo>
                  <a:lnTo>
                    <a:pt x="309" y="879"/>
                  </a:lnTo>
                  <a:lnTo>
                    <a:pt x="309" y="880"/>
                  </a:lnTo>
                  <a:lnTo>
                    <a:pt x="309" y="879"/>
                  </a:lnTo>
                  <a:lnTo>
                    <a:pt x="309" y="880"/>
                  </a:lnTo>
                  <a:lnTo>
                    <a:pt x="309" y="879"/>
                  </a:lnTo>
                  <a:lnTo>
                    <a:pt x="311" y="879"/>
                  </a:lnTo>
                  <a:lnTo>
                    <a:pt x="309" y="877"/>
                  </a:lnTo>
                  <a:lnTo>
                    <a:pt x="311" y="877"/>
                  </a:lnTo>
                  <a:lnTo>
                    <a:pt x="311" y="875"/>
                  </a:lnTo>
                  <a:lnTo>
                    <a:pt x="311" y="874"/>
                  </a:lnTo>
                  <a:lnTo>
                    <a:pt x="311" y="875"/>
                  </a:lnTo>
                  <a:lnTo>
                    <a:pt x="311" y="874"/>
                  </a:lnTo>
                  <a:lnTo>
                    <a:pt x="313" y="872"/>
                  </a:lnTo>
                  <a:lnTo>
                    <a:pt x="311" y="872"/>
                  </a:lnTo>
                  <a:lnTo>
                    <a:pt x="311" y="870"/>
                  </a:lnTo>
                  <a:lnTo>
                    <a:pt x="309" y="870"/>
                  </a:lnTo>
                  <a:lnTo>
                    <a:pt x="309" y="869"/>
                  </a:lnTo>
                  <a:lnTo>
                    <a:pt x="309" y="870"/>
                  </a:lnTo>
                  <a:lnTo>
                    <a:pt x="309" y="869"/>
                  </a:lnTo>
                  <a:lnTo>
                    <a:pt x="309" y="867"/>
                  </a:lnTo>
                  <a:lnTo>
                    <a:pt x="309" y="869"/>
                  </a:lnTo>
                  <a:lnTo>
                    <a:pt x="309" y="867"/>
                  </a:lnTo>
                  <a:lnTo>
                    <a:pt x="311" y="867"/>
                  </a:lnTo>
                  <a:lnTo>
                    <a:pt x="309" y="867"/>
                  </a:lnTo>
                  <a:lnTo>
                    <a:pt x="311" y="869"/>
                  </a:lnTo>
                  <a:lnTo>
                    <a:pt x="311" y="867"/>
                  </a:lnTo>
                  <a:lnTo>
                    <a:pt x="311" y="869"/>
                  </a:lnTo>
                  <a:lnTo>
                    <a:pt x="311" y="867"/>
                  </a:lnTo>
                  <a:lnTo>
                    <a:pt x="313" y="867"/>
                  </a:lnTo>
                  <a:lnTo>
                    <a:pt x="314" y="867"/>
                  </a:lnTo>
                  <a:lnTo>
                    <a:pt x="314" y="866"/>
                  </a:lnTo>
                  <a:lnTo>
                    <a:pt x="316" y="864"/>
                  </a:lnTo>
                  <a:lnTo>
                    <a:pt x="316" y="862"/>
                  </a:lnTo>
                  <a:lnTo>
                    <a:pt x="317" y="862"/>
                  </a:lnTo>
                  <a:lnTo>
                    <a:pt x="316" y="861"/>
                  </a:lnTo>
                  <a:lnTo>
                    <a:pt x="316" y="862"/>
                  </a:lnTo>
                  <a:lnTo>
                    <a:pt x="316" y="861"/>
                  </a:lnTo>
                  <a:lnTo>
                    <a:pt x="316" y="859"/>
                  </a:lnTo>
                  <a:lnTo>
                    <a:pt x="316" y="857"/>
                  </a:lnTo>
                  <a:lnTo>
                    <a:pt x="317" y="857"/>
                  </a:lnTo>
                  <a:lnTo>
                    <a:pt x="316" y="856"/>
                  </a:lnTo>
                  <a:lnTo>
                    <a:pt x="317" y="857"/>
                  </a:lnTo>
                  <a:lnTo>
                    <a:pt x="319" y="857"/>
                  </a:lnTo>
                  <a:lnTo>
                    <a:pt x="321" y="856"/>
                  </a:lnTo>
                  <a:lnTo>
                    <a:pt x="321" y="857"/>
                  </a:lnTo>
                  <a:lnTo>
                    <a:pt x="322" y="859"/>
                  </a:lnTo>
                  <a:lnTo>
                    <a:pt x="321" y="859"/>
                  </a:lnTo>
                  <a:lnTo>
                    <a:pt x="322" y="859"/>
                  </a:lnTo>
                  <a:lnTo>
                    <a:pt x="324" y="861"/>
                  </a:lnTo>
                  <a:lnTo>
                    <a:pt x="322" y="859"/>
                  </a:lnTo>
                  <a:lnTo>
                    <a:pt x="321" y="857"/>
                  </a:lnTo>
                  <a:lnTo>
                    <a:pt x="321" y="854"/>
                  </a:lnTo>
                  <a:lnTo>
                    <a:pt x="321" y="853"/>
                  </a:lnTo>
                  <a:lnTo>
                    <a:pt x="319" y="851"/>
                  </a:lnTo>
                  <a:lnTo>
                    <a:pt x="319" y="849"/>
                  </a:lnTo>
                  <a:lnTo>
                    <a:pt x="321" y="849"/>
                  </a:lnTo>
                  <a:lnTo>
                    <a:pt x="321" y="848"/>
                  </a:lnTo>
                  <a:lnTo>
                    <a:pt x="322" y="848"/>
                  </a:lnTo>
                  <a:lnTo>
                    <a:pt x="322" y="846"/>
                  </a:lnTo>
                  <a:lnTo>
                    <a:pt x="322" y="844"/>
                  </a:lnTo>
                  <a:lnTo>
                    <a:pt x="322" y="843"/>
                  </a:lnTo>
                  <a:lnTo>
                    <a:pt x="322" y="841"/>
                  </a:lnTo>
                  <a:lnTo>
                    <a:pt x="324" y="841"/>
                  </a:lnTo>
                  <a:lnTo>
                    <a:pt x="324" y="840"/>
                  </a:lnTo>
                  <a:lnTo>
                    <a:pt x="324" y="841"/>
                  </a:lnTo>
                  <a:lnTo>
                    <a:pt x="324" y="840"/>
                  </a:lnTo>
                  <a:lnTo>
                    <a:pt x="324" y="838"/>
                  </a:lnTo>
                  <a:lnTo>
                    <a:pt x="324" y="836"/>
                  </a:lnTo>
                  <a:lnTo>
                    <a:pt x="326" y="836"/>
                  </a:lnTo>
                  <a:lnTo>
                    <a:pt x="326" y="838"/>
                  </a:lnTo>
                  <a:lnTo>
                    <a:pt x="327" y="836"/>
                  </a:lnTo>
                  <a:lnTo>
                    <a:pt x="327" y="835"/>
                  </a:lnTo>
                  <a:lnTo>
                    <a:pt x="327" y="833"/>
                  </a:lnTo>
                  <a:lnTo>
                    <a:pt x="326" y="833"/>
                  </a:lnTo>
                  <a:lnTo>
                    <a:pt x="327" y="833"/>
                  </a:lnTo>
                  <a:lnTo>
                    <a:pt x="329" y="833"/>
                  </a:lnTo>
                  <a:lnTo>
                    <a:pt x="329" y="831"/>
                  </a:lnTo>
                  <a:lnTo>
                    <a:pt x="327" y="831"/>
                  </a:lnTo>
                  <a:lnTo>
                    <a:pt x="329" y="831"/>
                  </a:lnTo>
                  <a:lnTo>
                    <a:pt x="329" y="830"/>
                  </a:lnTo>
                  <a:lnTo>
                    <a:pt x="330" y="830"/>
                  </a:lnTo>
                  <a:lnTo>
                    <a:pt x="332" y="828"/>
                  </a:lnTo>
                  <a:lnTo>
                    <a:pt x="330" y="828"/>
                  </a:lnTo>
                  <a:lnTo>
                    <a:pt x="332" y="828"/>
                  </a:lnTo>
                  <a:lnTo>
                    <a:pt x="332" y="827"/>
                  </a:lnTo>
                  <a:lnTo>
                    <a:pt x="332" y="825"/>
                  </a:lnTo>
                  <a:lnTo>
                    <a:pt x="334" y="825"/>
                  </a:lnTo>
                  <a:lnTo>
                    <a:pt x="334" y="827"/>
                  </a:lnTo>
                  <a:lnTo>
                    <a:pt x="334" y="825"/>
                  </a:lnTo>
                  <a:lnTo>
                    <a:pt x="334" y="827"/>
                  </a:lnTo>
                  <a:lnTo>
                    <a:pt x="335" y="827"/>
                  </a:lnTo>
                  <a:lnTo>
                    <a:pt x="334" y="827"/>
                  </a:lnTo>
                  <a:lnTo>
                    <a:pt x="334" y="825"/>
                  </a:lnTo>
                  <a:lnTo>
                    <a:pt x="334" y="823"/>
                  </a:lnTo>
                  <a:lnTo>
                    <a:pt x="335" y="822"/>
                  </a:lnTo>
                  <a:lnTo>
                    <a:pt x="334" y="822"/>
                  </a:lnTo>
                  <a:lnTo>
                    <a:pt x="335" y="822"/>
                  </a:lnTo>
                  <a:lnTo>
                    <a:pt x="334" y="822"/>
                  </a:lnTo>
                  <a:lnTo>
                    <a:pt x="335" y="822"/>
                  </a:lnTo>
                  <a:lnTo>
                    <a:pt x="337" y="822"/>
                  </a:lnTo>
                  <a:lnTo>
                    <a:pt x="335" y="822"/>
                  </a:lnTo>
                  <a:lnTo>
                    <a:pt x="335" y="820"/>
                  </a:lnTo>
                  <a:lnTo>
                    <a:pt x="335" y="818"/>
                  </a:lnTo>
                  <a:lnTo>
                    <a:pt x="334" y="818"/>
                  </a:lnTo>
                  <a:lnTo>
                    <a:pt x="334" y="817"/>
                  </a:lnTo>
                  <a:lnTo>
                    <a:pt x="335" y="817"/>
                  </a:lnTo>
                  <a:lnTo>
                    <a:pt x="335" y="818"/>
                  </a:lnTo>
                  <a:lnTo>
                    <a:pt x="337" y="818"/>
                  </a:lnTo>
                  <a:lnTo>
                    <a:pt x="339" y="817"/>
                  </a:lnTo>
                  <a:lnTo>
                    <a:pt x="340" y="817"/>
                  </a:lnTo>
                  <a:lnTo>
                    <a:pt x="340" y="815"/>
                  </a:lnTo>
                  <a:lnTo>
                    <a:pt x="340" y="814"/>
                  </a:lnTo>
                  <a:lnTo>
                    <a:pt x="340" y="812"/>
                  </a:lnTo>
                  <a:lnTo>
                    <a:pt x="339" y="812"/>
                  </a:lnTo>
                  <a:lnTo>
                    <a:pt x="340" y="812"/>
                  </a:lnTo>
                  <a:lnTo>
                    <a:pt x="339" y="810"/>
                  </a:lnTo>
                  <a:lnTo>
                    <a:pt x="340" y="810"/>
                  </a:lnTo>
                  <a:lnTo>
                    <a:pt x="340" y="809"/>
                  </a:lnTo>
                  <a:lnTo>
                    <a:pt x="339" y="809"/>
                  </a:lnTo>
                  <a:lnTo>
                    <a:pt x="339" y="807"/>
                  </a:lnTo>
                  <a:lnTo>
                    <a:pt x="339" y="805"/>
                  </a:lnTo>
                  <a:lnTo>
                    <a:pt x="339" y="804"/>
                  </a:lnTo>
                  <a:lnTo>
                    <a:pt x="340" y="804"/>
                  </a:lnTo>
                  <a:lnTo>
                    <a:pt x="340" y="802"/>
                  </a:lnTo>
                  <a:lnTo>
                    <a:pt x="342" y="800"/>
                  </a:lnTo>
                  <a:lnTo>
                    <a:pt x="340" y="800"/>
                  </a:lnTo>
                  <a:lnTo>
                    <a:pt x="339" y="802"/>
                  </a:lnTo>
                  <a:lnTo>
                    <a:pt x="339" y="800"/>
                  </a:lnTo>
                  <a:lnTo>
                    <a:pt x="340" y="800"/>
                  </a:lnTo>
                  <a:lnTo>
                    <a:pt x="339" y="800"/>
                  </a:lnTo>
                  <a:lnTo>
                    <a:pt x="339" y="799"/>
                  </a:lnTo>
                  <a:lnTo>
                    <a:pt x="340" y="799"/>
                  </a:lnTo>
                  <a:lnTo>
                    <a:pt x="339" y="799"/>
                  </a:lnTo>
                  <a:lnTo>
                    <a:pt x="340" y="799"/>
                  </a:lnTo>
                  <a:lnTo>
                    <a:pt x="340" y="797"/>
                  </a:lnTo>
                  <a:lnTo>
                    <a:pt x="339" y="797"/>
                  </a:lnTo>
                  <a:lnTo>
                    <a:pt x="340" y="797"/>
                  </a:lnTo>
                  <a:lnTo>
                    <a:pt x="340" y="796"/>
                  </a:lnTo>
                  <a:lnTo>
                    <a:pt x="342" y="796"/>
                  </a:lnTo>
                  <a:lnTo>
                    <a:pt x="342" y="794"/>
                  </a:lnTo>
                  <a:lnTo>
                    <a:pt x="342" y="792"/>
                  </a:lnTo>
                  <a:lnTo>
                    <a:pt x="342" y="794"/>
                  </a:lnTo>
                  <a:lnTo>
                    <a:pt x="340" y="794"/>
                  </a:lnTo>
                  <a:lnTo>
                    <a:pt x="339" y="794"/>
                  </a:lnTo>
                  <a:lnTo>
                    <a:pt x="340" y="794"/>
                  </a:lnTo>
                  <a:lnTo>
                    <a:pt x="340" y="792"/>
                  </a:lnTo>
                  <a:lnTo>
                    <a:pt x="342" y="792"/>
                  </a:lnTo>
                  <a:lnTo>
                    <a:pt x="342" y="791"/>
                  </a:lnTo>
                  <a:lnTo>
                    <a:pt x="343" y="791"/>
                  </a:lnTo>
                  <a:lnTo>
                    <a:pt x="342" y="792"/>
                  </a:lnTo>
                  <a:lnTo>
                    <a:pt x="343" y="792"/>
                  </a:lnTo>
                  <a:lnTo>
                    <a:pt x="343" y="791"/>
                  </a:lnTo>
                  <a:lnTo>
                    <a:pt x="343" y="789"/>
                  </a:lnTo>
                  <a:lnTo>
                    <a:pt x="343" y="791"/>
                  </a:lnTo>
                  <a:lnTo>
                    <a:pt x="343" y="789"/>
                  </a:lnTo>
                  <a:lnTo>
                    <a:pt x="345" y="789"/>
                  </a:lnTo>
                  <a:lnTo>
                    <a:pt x="345" y="787"/>
                  </a:lnTo>
                  <a:lnTo>
                    <a:pt x="345" y="789"/>
                  </a:lnTo>
                  <a:lnTo>
                    <a:pt x="345" y="787"/>
                  </a:lnTo>
                  <a:lnTo>
                    <a:pt x="347" y="787"/>
                  </a:lnTo>
                  <a:lnTo>
                    <a:pt x="347" y="786"/>
                  </a:lnTo>
                  <a:lnTo>
                    <a:pt x="347" y="784"/>
                  </a:lnTo>
                  <a:lnTo>
                    <a:pt x="345" y="784"/>
                  </a:lnTo>
                  <a:lnTo>
                    <a:pt x="345" y="783"/>
                  </a:lnTo>
                  <a:lnTo>
                    <a:pt x="345" y="781"/>
                  </a:lnTo>
                  <a:lnTo>
                    <a:pt x="345" y="779"/>
                  </a:lnTo>
                  <a:lnTo>
                    <a:pt x="345" y="778"/>
                  </a:lnTo>
                  <a:lnTo>
                    <a:pt x="345" y="776"/>
                  </a:lnTo>
                  <a:lnTo>
                    <a:pt x="343" y="776"/>
                  </a:lnTo>
                  <a:lnTo>
                    <a:pt x="342" y="774"/>
                  </a:lnTo>
                  <a:lnTo>
                    <a:pt x="343" y="774"/>
                  </a:lnTo>
                  <a:lnTo>
                    <a:pt x="347" y="771"/>
                  </a:lnTo>
                  <a:lnTo>
                    <a:pt x="348" y="771"/>
                  </a:lnTo>
                  <a:lnTo>
                    <a:pt x="348" y="773"/>
                  </a:lnTo>
                  <a:lnTo>
                    <a:pt x="348" y="774"/>
                  </a:lnTo>
                  <a:lnTo>
                    <a:pt x="350" y="774"/>
                  </a:lnTo>
                  <a:lnTo>
                    <a:pt x="350" y="773"/>
                  </a:lnTo>
                  <a:lnTo>
                    <a:pt x="350" y="771"/>
                  </a:lnTo>
                  <a:lnTo>
                    <a:pt x="350" y="770"/>
                  </a:lnTo>
                  <a:lnTo>
                    <a:pt x="350" y="768"/>
                  </a:lnTo>
                  <a:lnTo>
                    <a:pt x="350" y="766"/>
                  </a:lnTo>
                  <a:lnTo>
                    <a:pt x="352" y="766"/>
                  </a:lnTo>
                  <a:lnTo>
                    <a:pt x="350" y="766"/>
                  </a:lnTo>
                  <a:lnTo>
                    <a:pt x="352" y="765"/>
                  </a:lnTo>
                  <a:lnTo>
                    <a:pt x="352" y="766"/>
                  </a:lnTo>
                  <a:lnTo>
                    <a:pt x="352" y="765"/>
                  </a:lnTo>
                  <a:lnTo>
                    <a:pt x="353" y="763"/>
                  </a:lnTo>
                  <a:lnTo>
                    <a:pt x="355" y="763"/>
                  </a:lnTo>
                  <a:lnTo>
                    <a:pt x="356" y="763"/>
                  </a:lnTo>
                  <a:lnTo>
                    <a:pt x="355" y="761"/>
                  </a:lnTo>
                  <a:lnTo>
                    <a:pt x="356" y="761"/>
                  </a:lnTo>
                  <a:lnTo>
                    <a:pt x="358" y="761"/>
                  </a:lnTo>
                  <a:lnTo>
                    <a:pt x="360" y="761"/>
                  </a:lnTo>
                  <a:lnTo>
                    <a:pt x="360" y="760"/>
                  </a:lnTo>
                  <a:lnTo>
                    <a:pt x="361" y="760"/>
                  </a:lnTo>
                  <a:lnTo>
                    <a:pt x="363" y="760"/>
                  </a:lnTo>
                  <a:lnTo>
                    <a:pt x="365" y="760"/>
                  </a:lnTo>
                  <a:lnTo>
                    <a:pt x="365" y="758"/>
                  </a:lnTo>
                  <a:lnTo>
                    <a:pt x="365" y="757"/>
                  </a:lnTo>
                  <a:lnTo>
                    <a:pt x="366" y="757"/>
                  </a:lnTo>
                  <a:lnTo>
                    <a:pt x="366" y="755"/>
                  </a:lnTo>
                  <a:lnTo>
                    <a:pt x="368" y="755"/>
                  </a:lnTo>
                  <a:lnTo>
                    <a:pt x="369" y="755"/>
                  </a:lnTo>
                  <a:lnTo>
                    <a:pt x="371" y="753"/>
                  </a:lnTo>
                  <a:lnTo>
                    <a:pt x="373" y="752"/>
                  </a:lnTo>
                  <a:lnTo>
                    <a:pt x="373" y="753"/>
                  </a:lnTo>
                  <a:lnTo>
                    <a:pt x="374" y="753"/>
                  </a:lnTo>
                  <a:lnTo>
                    <a:pt x="374" y="755"/>
                  </a:lnTo>
                  <a:lnTo>
                    <a:pt x="376" y="755"/>
                  </a:lnTo>
                  <a:lnTo>
                    <a:pt x="376" y="753"/>
                  </a:lnTo>
                  <a:lnTo>
                    <a:pt x="378" y="753"/>
                  </a:lnTo>
                  <a:lnTo>
                    <a:pt x="379" y="755"/>
                  </a:lnTo>
                  <a:lnTo>
                    <a:pt x="379" y="757"/>
                  </a:lnTo>
                  <a:lnTo>
                    <a:pt x="381" y="757"/>
                  </a:lnTo>
                  <a:lnTo>
                    <a:pt x="381" y="758"/>
                  </a:lnTo>
                  <a:lnTo>
                    <a:pt x="382" y="758"/>
                  </a:lnTo>
                  <a:lnTo>
                    <a:pt x="382" y="757"/>
                  </a:lnTo>
                  <a:lnTo>
                    <a:pt x="384" y="757"/>
                  </a:lnTo>
                  <a:lnTo>
                    <a:pt x="384" y="758"/>
                  </a:lnTo>
                  <a:lnTo>
                    <a:pt x="386" y="758"/>
                  </a:lnTo>
                  <a:lnTo>
                    <a:pt x="387" y="760"/>
                  </a:lnTo>
                  <a:lnTo>
                    <a:pt x="386" y="760"/>
                  </a:lnTo>
                  <a:lnTo>
                    <a:pt x="386" y="761"/>
                  </a:lnTo>
                  <a:lnTo>
                    <a:pt x="387" y="761"/>
                  </a:lnTo>
                  <a:lnTo>
                    <a:pt x="387" y="763"/>
                  </a:lnTo>
                  <a:lnTo>
                    <a:pt x="389" y="761"/>
                  </a:lnTo>
                  <a:lnTo>
                    <a:pt x="389" y="760"/>
                  </a:lnTo>
                  <a:lnTo>
                    <a:pt x="389" y="758"/>
                  </a:lnTo>
                  <a:lnTo>
                    <a:pt x="389" y="757"/>
                  </a:lnTo>
                  <a:lnTo>
                    <a:pt x="389" y="755"/>
                  </a:lnTo>
                  <a:lnTo>
                    <a:pt x="391" y="753"/>
                  </a:lnTo>
                  <a:lnTo>
                    <a:pt x="389" y="753"/>
                  </a:lnTo>
                  <a:lnTo>
                    <a:pt x="391" y="753"/>
                  </a:lnTo>
                  <a:lnTo>
                    <a:pt x="391" y="752"/>
                  </a:lnTo>
                  <a:lnTo>
                    <a:pt x="389" y="752"/>
                  </a:lnTo>
                  <a:lnTo>
                    <a:pt x="389" y="750"/>
                  </a:lnTo>
                  <a:lnTo>
                    <a:pt x="387" y="750"/>
                  </a:lnTo>
                  <a:lnTo>
                    <a:pt x="387" y="752"/>
                  </a:lnTo>
                  <a:lnTo>
                    <a:pt x="386" y="752"/>
                  </a:lnTo>
                  <a:lnTo>
                    <a:pt x="386" y="750"/>
                  </a:lnTo>
                  <a:lnTo>
                    <a:pt x="384" y="750"/>
                  </a:lnTo>
                  <a:lnTo>
                    <a:pt x="382" y="750"/>
                  </a:lnTo>
                  <a:lnTo>
                    <a:pt x="382" y="748"/>
                  </a:lnTo>
                  <a:lnTo>
                    <a:pt x="381" y="748"/>
                  </a:lnTo>
                  <a:lnTo>
                    <a:pt x="379" y="748"/>
                  </a:lnTo>
                  <a:lnTo>
                    <a:pt x="379" y="747"/>
                  </a:lnTo>
                  <a:lnTo>
                    <a:pt x="378" y="747"/>
                  </a:lnTo>
                  <a:lnTo>
                    <a:pt x="378" y="745"/>
                  </a:lnTo>
                  <a:lnTo>
                    <a:pt x="376" y="744"/>
                  </a:lnTo>
                  <a:lnTo>
                    <a:pt x="376" y="742"/>
                  </a:lnTo>
                  <a:lnTo>
                    <a:pt x="376" y="740"/>
                  </a:lnTo>
                  <a:lnTo>
                    <a:pt x="376" y="739"/>
                  </a:lnTo>
                  <a:lnTo>
                    <a:pt x="378" y="740"/>
                  </a:lnTo>
                  <a:lnTo>
                    <a:pt x="378" y="739"/>
                  </a:lnTo>
                  <a:lnTo>
                    <a:pt x="379" y="739"/>
                  </a:lnTo>
                  <a:lnTo>
                    <a:pt x="379" y="740"/>
                  </a:lnTo>
                  <a:lnTo>
                    <a:pt x="382" y="740"/>
                  </a:lnTo>
                  <a:lnTo>
                    <a:pt x="384" y="740"/>
                  </a:lnTo>
                  <a:lnTo>
                    <a:pt x="386" y="742"/>
                  </a:lnTo>
                  <a:lnTo>
                    <a:pt x="387" y="742"/>
                  </a:lnTo>
                  <a:lnTo>
                    <a:pt x="387" y="744"/>
                  </a:lnTo>
                  <a:lnTo>
                    <a:pt x="389" y="744"/>
                  </a:lnTo>
                  <a:lnTo>
                    <a:pt x="391" y="744"/>
                  </a:lnTo>
                  <a:lnTo>
                    <a:pt x="391" y="745"/>
                  </a:lnTo>
                  <a:lnTo>
                    <a:pt x="392" y="744"/>
                  </a:lnTo>
                  <a:lnTo>
                    <a:pt x="394" y="744"/>
                  </a:lnTo>
                  <a:lnTo>
                    <a:pt x="394" y="742"/>
                  </a:lnTo>
                  <a:lnTo>
                    <a:pt x="394" y="740"/>
                  </a:lnTo>
                  <a:lnTo>
                    <a:pt x="392" y="740"/>
                  </a:lnTo>
                  <a:lnTo>
                    <a:pt x="391" y="739"/>
                  </a:lnTo>
                  <a:lnTo>
                    <a:pt x="389" y="739"/>
                  </a:lnTo>
                  <a:lnTo>
                    <a:pt x="387" y="739"/>
                  </a:lnTo>
                  <a:lnTo>
                    <a:pt x="387" y="737"/>
                  </a:lnTo>
                  <a:lnTo>
                    <a:pt x="389" y="737"/>
                  </a:lnTo>
                  <a:lnTo>
                    <a:pt x="389" y="735"/>
                  </a:lnTo>
                  <a:lnTo>
                    <a:pt x="391" y="735"/>
                  </a:lnTo>
                  <a:lnTo>
                    <a:pt x="391" y="734"/>
                  </a:lnTo>
                  <a:lnTo>
                    <a:pt x="392" y="734"/>
                  </a:lnTo>
                  <a:lnTo>
                    <a:pt x="394" y="734"/>
                  </a:lnTo>
                  <a:lnTo>
                    <a:pt x="395" y="734"/>
                  </a:lnTo>
                  <a:lnTo>
                    <a:pt x="397" y="735"/>
                  </a:lnTo>
                  <a:lnTo>
                    <a:pt x="399" y="737"/>
                  </a:lnTo>
                  <a:lnTo>
                    <a:pt x="400" y="737"/>
                  </a:lnTo>
                  <a:lnTo>
                    <a:pt x="400" y="739"/>
                  </a:lnTo>
                  <a:lnTo>
                    <a:pt x="402" y="739"/>
                  </a:lnTo>
                  <a:lnTo>
                    <a:pt x="404" y="739"/>
                  </a:lnTo>
                  <a:lnTo>
                    <a:pt x="404" y="740"/>
                  </a:lnTo>
                  <a:lnTo>
                    <a:pt x="407" y="740"/>
                  </a:lnTo>
                  <a:lnTo>
                    <a:pt x="409" y="742"/>
                  </a:lnTo>
                  <a:lnTo>
                    <a:pt x="410" y="742"/>
                  </a:lnTo>
                  <a:lnTo>
                    <a:pt x="412" y="742"/>
                  </a:lnTo>
                  <a:lnTo>
                    <a:pt x="413" y="744"/>
                  </a:lnTo>
                  <a:lnTo>
                    <a:pt x="415" y="744"/>
                  </a:lnTo>
                  <a:lnTo>
                    <a:pt x="415" y="745"/>
                  </a:lnTo>
                  <a:lnTo>
                    <a:pt x="417" y="747"/>
                  </a:lnTo>
                  <a:lnTo>
                    <a:pt x="418" y="747"/>
                  </a:lnTo>
                  <a:lnTo>
                    <a:pt x="420" y="748"/>
                  </a:lnTo>
                  <a:lnTo>
                    <a:pt x="422" y="750"/>
                  </a:lnTo>
                  <a:lnTo>
                    <a:pt x="422" y="752"/>
                  </a:lnTo>
                  <a:lnTo>
                    <a:pt x="423" y="752"/>
                  </a:lnTo>
                  <a:lnTo>
                    <a:pt x="425" y="753"/>
                  </a:lnTo>
                  <a:lnTo>
                    <a:pt x="428" y="755"/>
                  </a:lnTo>
                  <a:lnTo>
                    <a:pt x="430" y="755"/>
                  </a:lnTo>
                  <a:lnTo>
                    <a:pt x="431" y="755"/>
                  </a:lnTo>
                  <a:lnTo>
                    <a:pt x="431" y="753"/>
                  </a:lnTo>
                  <a:lnTo>
                    <a:pt x="430" y="753"/>
                  </a:lnTo>
                  <a:lnTo>
                    <a:pt x="431" y="755"/>
                  </a:lnTo>
                  <a:lnTo>
                    <a:pt x="430" y="755"/>
                  </a:lnTo>
                  <a:lnTo>
                    <a:pt x="430" y="753"/>
                  </a:lnTo>
                  <a:lnTo>
                    <a:pt x="431" y="753"/>
                  </a:lnTo>
                  <a:lnTo>
                    <a:pt x="431" y="752"/>
                  </a:lnTo>
                  <a:lnTo>
                    <a:pt x="430" y="752"/>
                  </a:lnTo>
                  <a:lnTo>
                    <a:pt x="430" y="750"/>
                  </a:lnTo>
                  <a:lnTo>
                    <a:pt x="431" y="750"/>
                  </a:lnTo>
                  <a:lnTo>
                    <a:pt x="433" y="748"/>
                  </a:lnTo>
                  <a:lnTo>
                    <a:pt x="435" y="748"/>
                  </a:lnTo>
                  <a:lnTo>
                    <a:pt x="436" y="748"/>
                  </a:lnTo>
                  <a:lnTo>
                    <a:pt x="438" y="747"/>
                  </a:lnTo>
                  <a:lnTo>
                    <a:pt x="439" y="747"/>
                  </a:lnTo>
                  <a:lnTo>
                    <a:pt x="439" y="748"/>
                  </a:lnTo>
                  <a:lnTo>
                    <a:pt x="441" y="748"/>
                  </a:lnTo>
                  <a:lnTo>
                    <a:pt x="441" y="750"/>
                  </a:lnTo>
                  <a:lnTo>
                    <a:pt x="443" y="750"/>
                  </a:lnTo>
                  <a:lnTo>
                    <a:pt x="443" y="752"/>
                  </a:lnTo>
                  <a:lnTo>
                    <a:pt x="444" y="752"/>
                  </a:lnTo>
                  <a:lnTo>
                    <a:pt x="444" y="753"/>
                  </a:lnTo>
                  <a:lnTo>
                    <a:pt x="446" y="753"/>
                  </a:lnTo>
                  <a:lnTo>
                    <a:pt x="446" y="755"/>
                  </a:lnTo>
                  <a:lnTo>
                    <a:pt x="448" y="755"/>
                  </a:lnTo>
                  <a:lnTo>
                    <a:pt x="449" y="755"/>
                  </a:lnTo>
                  <a:lnTo>
                    <a:pt x="448" y="755"/>
                  </a:lnTo>
                  <a:lnTo>
                    <a:pt x="449" y="755"/>
                  </a:lnTo>
                  <a:lnTo>
                    <a:pt x="448" y="753"/>
                  </a:lnTo>
                  <a:lnTo>
                    <a:pt x="446" y="753"/>
                  </a:lnTo>
                  <a:lnTo>
                    <a:pt x="444" y="753"/>
                  </a:lnTo>
                  <a:lnTo>
                    <a:pt x="446" y="753"/>
                  </a:lnTo>
                  <a:lnTo>
                    <a:pt x="444" y="753"/>
                  </a:lnTo>
                  <a:lnTo>
                    <a:pt x="444" y="752"/>
                  </a:lnTo>
                  <a:lnTo>
                    <a:pt x="443" y="752"/>
                  </a:lnTo>
                  <a:lnTo>
                    <a:pt x="443" y="750"/>
                  </a:lnTo>
                  <a:lnTo>
                    <a:pt x="441" y="748"/>
                  </a:lnTo>
                  <a:lnTo>
                    <a:pt x="439" y="747"/>
                  </a:lnTo>
                  <a:lnTo>
                    <a:pt x="438" y="747"/>
                  </a:lnTo>
                  <a:lnTo>
                    <a:pt x="436" y="747"/>
                  </a:lnTo>
                  <a:lnTo>
                    <a:pt x="436" y="748"/>
                  </a:lnTo>
                  <a:lnTo>
                    <a:pt x="435" y="748"/>
                  </a:lnTo>
                  <a:lnTo>
                    <a:pt x="433" y="748"/>
                  </a:lnTo>
                  <a:lnTo>
                    <a:pt x="431" y="750"/>
                  </a:lnTo>
                  <a:lnTo>
                    <a:pt x="430" y="750"/>
                  </a:lnTo>
                  <a:lnTo>
                    <a:pt x="430" y="752"/>
                  </a:lnTo>
                  <a:lnTo>
                    <a:pt x="430" y="753"/>
                  </a:lnTo>
                  <a:lnTo>
                    <a:pt x="430" y="755"/>
                  </a:lnTo>
                  <a:lnTo>
                    <a:pt x="428" y="755"/>
                  </a:lnTo>
                  <a:lnTo>
                    <a:pt x="426" y="755"/>
                  </a:lnTo>
                  <a:lnTo>
                    <a:pt x="426" y="753"/>
                  </a:lnTo>
                  <a:lnTo>
                    <a:pt x="425" y="753"/>
                  </a:lnTo>
                  <a:lnTo>
                    <a:pt x="423" y="752"/>
                  </a:lnTo>
                  <a:lnTo>
                    <a:pt x="422" y="750"/>
                  </a:lnTo>
                  <a:lnTo>
                    <a:pt x="420" y="748"/>
                  </a:lnTo>
                  <a:lnTo>
                    <a:pt x="417" y="747"/>
                  </a:lnTo>
                  <a:lnTo>
                    <a:pt x="415" y="745"/>
                  </a:lnTo>
                  <a:lnTo>
                    <a:pt x="415" y="744"/>
                  </a:lnTo>
                  <a:lnTo>
                    <a:pt x="413" y="742"/>
                  </a:lnTo>
                  <a:lnTo>
                    <a:pt x="410" y="742"/>
                  </a:lnTo>
                  <a:lnTo>
                    <a:pt x="409" y="742"/>
                  </a:lnTo>
                  <a:lnTo>
                    <a:pt x="409" y="740"/>
                  </a:lnTo>
                  <a:lnTo>
                    <a:pt x="407" y="740"/>
                  </a:lnTo>
                  <a:lnTo>
                    <a:pt x="405" y="739"/>
                  </a:lnTo>
                  <a:lnTo>
                    <a:pt x="404" y="740"/>
                  </a:lnTo>
                  <a:lnTo>
                    <a:pt x="404" y="739"/>
                  </a:lnTo>
                  <a:lnTo>
                    <a:pt x="402" y="739"/>
                  </a:lnTo>
                  <a:lnTo>
                    <a:pt x="402" y="737"/>
                  </a:lnTo>
                  <a:lnTo>
                    <a:pt x="400" y="739"/>
                  </a:lnTo>
                  <a:lnTo>
                    <a:pt x="400" y="737"/>
                  </a:lnTo>
                  <a:lnTo>
                    <a:pt x="399" y="737"/>
                  </a:lnTo>
                  <a:lnTo>
                    <a:pt x="399" y="735"/>
                  </a:lnTo>
                  <a:lnTo>
                    <a:pt x="399" y="737"/>
                  </a:lnTo>
                  <a:lnTo>
                    <a:pt x="397" y="735"/>
                  </a:lnTo>
                  <a:lnTo>
                    <a:pt x="395" y="734"/>
                  </a:lnTo>
                  <a:lnTo>
                    <a:pt x="394" y="732"/>
                  </a:lnTo>
                  <a:lnTo>
                    <a:pt x="391" y="734"/>
                  </a:lnTo>
                  <a:lnTo>
                    <a:pt x="389" y="734"/>
                  </a:lnTo>
                  <a:lnTo>
                    <a:pt x="389" y="732"/>
                  </a:lnTo>
                  <a:lnTo>
                    <a:pt x="387" y="732"/>
                  </a:lnTo>
                  <a:lnTo>
                    <a:pt x="387" y="731"/>
                  </a:lnTo>
                  <a:lnTo>
                    <a:pt x="386" y="731"/>
                  </a:lnTo>
                  <a:lnTo>
                    <a:pt x="384" y="729"/>
                  </a:lnTo>
                  <a:lnTo>
                    <a:pt x="386" y="729"/>
                  </a:lnTo>
                  <a:lnTo>
                    <a:pt x="384" y="729"/>
                  </a:lnTo>
                  <a:lnTo>
                    <a:pt x="384" y="727"/>
                  </a:lnTo>
                  <a:lnTo>
                    <a:pt x="384" y="726"/>
                  </a:lnTo>
                  <a:lnTo>
                    <a:pt x="382" y="726"/>
                  </a:lnTo>
                  <a:lnTo>
                    <a:pt x="382" y="724"/>
                  </a:lnTo>
                  <a:lnTo>
                    <a:pt x="381" y="724"/>
                  </a:lnTo>
                  <a:lnTo>
                    <a:pt x="382" y="724"/>
                  </a:lnTo>
                  <a:lnTo>
                    <a:pt x="381" y="724"/>
                  </a:lnTo>
                  <a:lnTo>
                    <a:pt x="379" y="724"/>
                  </a:lnTo>
                  <a:lnTo>
                    <a:pt x="379" y="722"/>
                  </a:lnTo>
                  <a:lnTo>
                    <a:pt x="378" y="722"/>
                  </a:lnTo>
                  <a:lnTo>
                    <a:pt x="376" y="722"/>
                  </a:lnTo>
                  <a:lnTo>
                    <a:pt x="374" y="722"/>
                  </a:lnTo>
                  <a:lnTo>
                    <a:pt x="373" y="722"/>
                  </a:lnTo>
                  <a:lnTo>
                    <a:pt x="373" y="721"/>
                  </a:lnTo>
                  <a:lnTo>
                    <a:pt x="373" y="719"/>
                  </a:lnTo>
                  <a:lnTo>
                    <a:pt x="373" y="718"/>
                  </a:lnTo>
                  <a:lnTo>
                    <a:pt x="371" y="718"/>
                  </a:lnTo>
                  <a:lnTo>
                    <a:pt x="371" y="716"/>
                  </a:lnTo>
                  <a:lnTo>
                    <a:pt x="373" y="716"/>
                  </a:lnTo>
                  <a:lnTo>
                    <a:pt x="374" y="716"/>
                  </a:lnTo>
                  <a:lnTo>
                    <a:pt x="374" y="714"/>
                  </a:lnTo>
                  <a:lnTo>
                    <a:pt x="374" y="713"/>
                  </a:lnTo>
                  <a:lnTo>
                    <a:pt x="373" y="713"/>
                  </a:lnTo>
                  <a:lnTo>
                    <a:pt x="373" y="711"/>
                  </a:lnTo>
                  <a:lnTo>
                    <a:pt x="374" y="711"/>
                  </a:lnTo>
                  <a:lnTo>
                    <a:pt x="374" y="713"/>
                  </a:lnTo>
                  <a:lnTo>
                    <a:pt x="376" y="711"/>
                  </a:lnTo>
                  <a:lnTo>
                    <a:pt x="376" y="713"/>
                  </a:lnTo>
                  <a:lnTo>
                    <a:pt x="378" y="713"/>
                  </a:lnTo>
                  <a:lnTo>
                    <a:pt x="379" y="713"/>
                  </a:lnTo>
                  <a:lnTo>
                    <a:pt x="379" y="711"/>
                  </a:lnTo>
                  <a:lnTo>
                    <a:pt x="381" y="711"/>
                  </a:lnTo>
                  <a:lnTo>
                    <a:pt x="382" y="711"/>
                  </a:lnTo>
                  <a:lnTo>
                    <a:pt x="381" y="711"/>
                  </a:lnTo>
                  <a:lnTo>
                    <a:pt x="379" y="711"/>
                  </a:lnTo>
                  <a:lnTo>
                    <a:pt x="379" y="713"/>
                  </a:lnTo>
                  <a:lnTo>
                    <a:pt x="376" y="711"/>
                  </a:lnTo>
                  <a:lnTo>
                    <a:pt x="374" y="711"/>
                  </a:lnTo>
                  <a:lnTo>
                    <a:pt x="376" y="711"/>
                  </a:lnTo>
                  <a:lnTo>
                    <a:pt x="374" y="711"/>
                  </a:lnTo>
                  <a:lnTo>
                    <a:pt x="374" y="709"/>
                  </a:lnTo>
                  <a:lnTo>
                    <a:pt x="373" y="709"/>
                  </a:lnTo>
                  <a:lnTo>
                    <a:pt x="371" y="709"/>
                  </a:lnTo>
                  <a:lnTo>
                    <a:pt x="373" y="708"/>
                  </a:lnTo>
                  <a:lnTo>
                    <a:pt x="373" y="709"/>
                  </a:lnTo>
                  <a:lnTo>
                    <a:pt x="374" y="709"/>
                  </a:lnTo>
                  <a:lnTo>
                    <a:pt x="373" y="708"/>
                  </a:lnTo>
                  <a:lnTo>
                    <a:pt x="373" y="709"/>
                  </a:lnTo>
                  <a:lnTo>
                    <a:pt x="373" y="708"/>
                  </a:lnTo>
                  <a:lnTo>
                    <a:pt x="373" y="706"/>
                  </a:lnTo>
                  <a:lnTo>
                    <a:pt x="371" y="708"/>
                  </a:lnTo>
                  <a:lnTo>
                    <a:pt x="371" y="706"/>
                  </a:lnTo>
                  <a:lnTo>
                    <a:pt x="373" y="706"/>
                  </a:lnTo>
                  <a:lnTo>
                    <a:pt x="374" y="706"/>
                  </a:lnTo>
                  <a:lnTo>
                    <a:pt x="376" y="706"/>
                  </a:lnTo>
                  <a:lnTo>
                    <a:pt x="376" y="705"/>
                  </a:lnTo>
                  <a:lnTo>
                    <a:pt x="374" y="705"/>
                  </a:lnTo>
                  <a:lnTo>
                    <a:pt x="374" y="706"/>
                  </a:lnTo>
                  <a:lnTo>
                    <a:pt x="374" y="705"/>
                  </a:lnTo>
                  <a:lnTo>
                    <a:pt x="373" y="705"/>
                  </a:lnTo>
                  <a:lnTo>
                    <a:pt x="374" y="705"/>
                  </a:lnTo>
                  <a:lnTo>
                    <a:pt x="373" y="703"/>
                  </a:lnTo>
                  <a:lnTo>
                    <a:pt x="374" y="703"/>
                  </a:lnTo>
                  <a:lnTo>
                    <a:pt x="374" y="701"/>
                  </a:lnTo>
                  <a:lnTo>
                    <a:pt x="373" y="701"/>
                  </a:lnTo>
                  <a:lnTo>
                    <a:pt x="371" y="701"/>
                  </a:lnTo>
                  <a:lnTo>
                    <a:pt x="371" y="703"/>
                  </a:lnTo>
                  <a:lnTo>
                    <a:pt x="369" y="701"/>
                  </a:lnTo>
                  <a:lnTo>
                    <a:pt x="371" y="701"/>
                  </a:lnTo>
                  <a:lnTo>
                    <a:pt x="371" y="700"/>
                  </a:lnTo>
                  <a:lnTo>
                    <a:pt x="373" y="700"/>
                  </a:lnTo>
                  <a:lnTo>
                    <a:pt x="373" y="698"/>
                  </a:lnTo>
                  <a:lnTo>
                    <a:pt x="371" y="698"/>
                  </a:lnTo>
                  <a:lnTo>
                    <a:pt x="371" y="696"/>
                  </a:lnTo>
                  <a:lnTo>
                    <a:pt x="369" y="696"/>
                  </a:lnTo>
                  <a:lnTo>
                    <a:pt x="368" y="695"/>
                  </a:lnTo>
                  <a:lnTo>
                    <a:pt x="368" y="696"/>
                  </a:lnTo>
                  <a:lnTo>
                    <a:pt x="368" y="695"/>
                  </a:lnTo>
                  <a:lnTo>
                    <a:pt x="368" y="693"/>
                  </a:lnTo>
                  <a:lnTo>
                    <a:pt x="366" y="695"/>
                  </a:lnTo>
                  <a:lnTo>
                    <a:pt x="366" y="693"/>
                  </a:lnTo>
                  <a:lnTo>
                    <a:pt x="368" y="693"/>
                  </a:lnTo>
                  <a:lnTo>
                    <a:pt x="368" y="692"/>
                  </a:lnTo>
                  <a:lnTo>
                    <a:pt x="369" y="693"/>
                  </a:lnTo>
                  <a:lnTo>
                    <a:pt x="371" y="693"/>
                  </a:lnTo>
                  <a:lnTo>
                    <a:pt x="373" y="693"/>
                  </a:lnTo>
                  <a:lnTo>
                    <a:pt x="373" y="695"/>
                  </a:lnTo>
                  <a:lnTo>
                    <a:pt x="374" y="693"/>
                  </a:lnTo>
                  <a:lnTo>
                    <a:pt x="374" y="692"/>
                  </a:lnTo>
                  <a:lnTo>
                    <a:pt x="374" y="693"/>
                  </a:lnTo>
                  <a:lnTo>
                    <a:pt x="373" y="693"/>
                  </a:lnTo>
                  <a:lnTo>
                    <a:pt x="371" y="693"/>
                  </a:lnTo>
                  <a:lnTo>
                    <a:pt x="369" y="692"/>
                  </a:lnTo>
                  <a:lnTo>
                    <a:pt x="368" y="692"/>
                  </a:lnTo>
                  <a:lnTo>
                    <a:pt x="369" y="692"/>
                  </a:lnTo>
                  <a:lnTo>
                    <a:pt x="368" y="692"/>
                  </a:lnTo>
                  <a:lnTo>
                    <a:pt x="368" y="690"/>
                  </a:lnTo>
                  <a:lnTo>
                    <a:pt x="369" y="690"/>
                  </a:lnTo>
                  <a:lnTo>
                    <a:pt x="369" y="688"/>
                  </a:lnTo>
                  <a:lnTo>
                    <a:pt x="368" y="688"/>
                  </a:lnTo>
                  <a:lnTo>
                    <a:pt x="369" y="688"/>
                  </a:lnTo>
                  <a:lnTo>
                    <a:pt x="371" y="688"/>
                  </a:lnTo>
                  <a:lnTo>
                    <a:pt x="371" y="690"/>
                  </a:lnTo>
                  <a:lnTo>
                    <a:pt x="369" y="688"/>
                  </a:lnTo>
                  <a:lnTo>
                    <a:pt x="371" y="688"/>
                  </a:lnTo>
                  <a:lnTo>
                    <a:pt x="369" y="688"/>
                  </a:lnTo>
                  <a:lnTo>
                    <a:pt x="369" y="687"/>
                  </a:lnTo>
                  <a:lnTo>
                    <a:pt x="369" y="688"/>
                  </a:lnTo>
                  <a:lnTo>
                    <a:pt x="369" y="687"/>
                  </a:lnTo>
                  <a:lnTo>
                    <a:pt x="369" y="688"/>
                  </a:lnTo>
                  <a:lnTo>
                    <a:pt x="368" y="687"/>
                  </a:lnTo>
                  <a:lnTo>
                    <a:pt x="368" y="688"/>
                  </a:lnTo>
                  <a:lnTo>
                    <a:pt x="366" y="688"/>
                  </a:lnTo>
                  <a:lnTo>
                    <a:pt x="366" y="687"/>
                  </a:lnTo>
                  <a:lnTo>
                    <a:pt x="368" y="687"/>
                  </a:lnTo>
                  <a:lnTo>
                    <a:pt x="366" y="687"/>
                  </a:lnTo>
                  <a:lnTo>
                    <a:pt x="368" y="687"/>
                  </a:lnTo>
                  <a:lnTo>
                    <a:pt x="368" y="685"/>
                  </a:lnTo>
                  <a:lnTo>
                    <a:pt x="366" y="685"/>
                  </a:lnTo>
                  <a:lnTo>
                    <a:pt x="366" y="683"/>
                  </a:lnTo>
                  <a:lnTo>
                    <a:pt x="365" y="683"/>
                  </a:lnTo>
                  <a:lnTo>
                    <a:pt x="365" y="682"/>
                  </a:lnTo>
                  <a:lnTo>
                    <a:pt x="366" y="682"/>
                  </a:lnTo>
                  <a:lnTo>
                    <a:pt x="368" y="683"/>
                  </a:lnTo>
                  <a:lnTo>
                    <a:pt x="368" y="682"/>
                  </a:lnTo>
                  <a:lnTo>
                    <a:pt x="369" y="682"/>
                  </a:lnTo>
                  <a:lnTo>
                    <a:pt x="369" y="680"/>
                  </a:lnTo>
                  <a:lnTo>
                    <a:pt x="368" y="680"/>
                  </a:lnTo>
                  <a:lnTo>
                    <a:pt x="368" y="679"/>
                  </a:lnTo>
                  <a:lnTo>
                    <a:pt x="369" y="679"/>
                  </a:lnTo>
                  <a:lnTo>
                    <a:pt x="369" y="680"/>
                  </a:lnTo>
                  <a:lnTo>
                    <a:pt x="371" y="680"/>
                  </a:lnTo>
                  <a:lnTo>
                    <a:pt x="371" y="679"/>
                  </a:lnTo>
                  <a:lnTo>
                    <a:pt x="369" y="679"/>
                  </a:lnTo>
                  <a:lnTo>
                    <a:pt x="369" y="677"/>
                  </a:lnTo>
                  <a:lnTo>
                    <a:pt x="368" y="677"/>
                  </a:lnTo>
                  <a:lnTo>
                    <a:pt x="369" y="677"/>
                  </a:lnTo>
                  <a:lnTo>
                    <a:pt x="368" y="677"/>
                  </a:lnTo>
                  <a:lnTo>
                    <a:pt x="368" y="675"/>
                  </a:lnTo>
                  <a:lnTo>
                    <a:pt x="369" y="675"/>
                  </a:lnTo>
                  <a:lnTo>
                    <a:pt x="368" y="675"/>
                  </a:lnTo>
                  <a:lnTo>
                    <a:pt x="369" y="675"/>
                  </a:lnTo>
                  <a:lnTo>
                    <a:pt x="369" y="674"/>
                  </a:lnTo>
                  <a:lnTo>
                    <a:pt x="368" y="674"/>
                  </a:lnTo>
                  <a:lnTo>
                    <a:pt x="366" y="674"/>
                  </a:lnTo>
                  <a:lnTo>
                    <a:pt x="368" y="674"/>
                  </a:lnTo>
                  <a:lnTo>
                    <a:pt x="366" y="672"/>
                  </a:lnTo>
                  <a:lnTo>
                    <a:pt x="366" y="670"/>
                  </a:lnTo>
                  <a:lnTo>
                    <a:pt x="366" y="672"/>
                  </a:lnTo>
                  <a:lnTo>
                    <a:pt x="366" y="670"/>
                  </a:lnTo>
                  <a:lnTo>
                    <a:pt x="366" y="672"/>
                  </a:lnTo>
                  <a:lnTo>
                    <a:pt x="365" y="672"/>
                  </a:lnTo>
                  <a:lnTo>
                    <a:pt x="366" y="672"/>
                  </a:lnTo>
                  <a:lnTo>
                    <a:pt x="365" y="672"/>
                  </a:lnTo>
                  <a:lnTo>
                    <a:pt x="365" y="670"/>
                  </a:lnTo>
                  <a:lnTo>
                    <a:pt x="363" y="670"/>
                  </a:lnTo>
                  <a:lnTo>
                    <a:pt x="363" y="669"/>
                  </a:lnTo>
                  <a:lnTo>
                    <a:pt x="361" y="669"/>
                  </a:lnTo>
                  <a:lnTo>
                    <a:pt x="361" y="667"/>
                  </a:lnTo>
                  <a:lnTo>
                    <a:pt x="361" y="666"/>
                  </a:lnTo>
                  <a:lnTo>
                    <a:pt x="361" y="667"/>
                  </a:lnTo>
                  <a:lnTo>
                    <a:pt x="361" y="666"/>
                  </a:lnTo>
                  <a:lnTo>
                    <a:pt x="360" y="666"/>
                  </a:lnTo>
                  <a:lnTo>
                    <a:pt x="358" y="666"/>
                  </a:lnTo>
                  <a:lnTo>
                    <a:pt x="358" y="664"/>
                  </a:lnTo>
                  <a:lnTo>
                    <a:pt x="356" y="662"/>
                  </a:lnTo>
                  <a:lnTo>
                    <a:pt x="355" y="662"/>
                  </a:lnTo>
                  <a:lnTo>
                    <a:pt x="355" y="661"/>
                  </a:lnTo>
                  <a:lnTo>
                    <a:pt x="355" y="659"/>
                  </a:lnTo>
                  <a:lnTo>
                    <a:pt x="355" y="657"/>
                  </a:lnTo>
                  <a:lnTo>
                    <a:pt x="355" y="659"/>
                  </a:lnTo>
                  <a:lnTo>
                    <a:pt x="355" y="661"/>
                  </a:lnTo>
                  <a:lnTo>
                    <a:pt x="355" y="662"/>
                  </a:lnTo>
                  <a:lnTo>
                    <a:pt x="353" y="662"/>
                  </a:lnTo>
                  <a:lnTo>
                    <a:pt x="355" y="662"/>
                  </a:lnTo>
                  <a:lnTo>
                    <a:pt x="353" y="662"/>
                  </a:lnTo>
                  <a:lnTo>
                    <a:pt x="353" y="664"/>
                  </a:lnTo>
                  <a:lnTo>
                    <a:pt x="352" y="662"/>
                  </a:lnTo>
                  <a:lnTo>
                    <a:pt x="352" y="664"/>
                  </a:lnTo>
                  <a:lnTo>
                    <a:pt x="353" y="664"/>
                  </a:lnTo>
                  <a:lnTo>
                    <a:pt x="352" y="664"/>
                  </a:lnTo>
                  <a:lnTo>
                    <a:pt x="352" y="662"/>
                  </a:lnTo>
                  <a:lnTo>
                    <a:pt x="350" y="662"/>
                  </a:lnTo>
                  <a:lnTo>
                    <a:pt x="348" y="661"/>
                  </a:lnTo>
                  <a:lnTo>
                    <a:pt x="350" y="661"/>
                  </a:lnTo>
                  <a:lnTo>
                    <a:pt x="348" y="659"/>
                  </a:lnTo>
                  <a:lnTo>
                    <a:pt x="348" y="661"/>
                  </a:lnTo>
                  <a:lnTo>
                    <a:pt x="348" y="659"/>
                  </a:lnTo>
                  <a:lnTo>
                    <a:pt x="348" y="657"/>
                  </a:lnTo>
                  <a:lnTo>
                    <a:pt x="347" y="657"/>
                  </a:lnTo>
                  <a:lnTo>
                    <a:pt x="347" y="656"/>
                  </a:lnTo>
                  <a:lnTo>
                    <a:pt x="345" y="656"/>
                  </a:lnTo>
                  <a:lnTo>
                    <a:pt x="347" y="654"/>
                  </a:lnTo>
                  <a:lnTo>
                    <a:pt x="345" y="656"/>
                  </a:lnTo>
                  <a:lnTo>
                    <a:pt x="343" y="656"/>
                  </a:lnTo>
                  <a:lnTo>
                    <a:pt x="342" y="656"/>
                  </a:lnTo>
                  <a:lnTo>
                    <a:pt x="342" y="654"/>
                  </a:lnTo>
                  <a:lnTo>
                    <a:pt x="342" y="656"/>
                  </a:lnTo>
                  <a:lnTo>
                    <a:pt x="342" y="654"/>
                  </a:lnTo>
                  <a:lnTo>
                    <a:pt x="340" y="656"/>
                  </a:lnTo>
                  <a:lnTo>
                    <a:pt x="339" y="656"/>
                  </a:lnTo>
                  <a:lnTo>
                    <a:pt x="337" y="654"/>
                  </a:lnTo>
                  <a:lnTo>
                    <a:pt x="335" y="654"/>
                  </a:lnTo>
                  <a:lnTo>
                    <a:pt x="337" y="652"/>
                  </a:lnTo>
                  <a:lnTo>
                    <a:pt x="335" y="652"/>
                  </a:lnTo>
                  <a:lnTo>
                    <a:pt x="334" y="652"/>
                  </a:lnTo>
                  <a:lnTo>
                    <a:pt x="334" y="651"/>
                  </a:lnTo>
                  <a:lnTo>
                    <a:pt x="334" y="652"/>
                  </a:lnTo>
                  <a:lnTo>
                    <a:pt x="332" y="652"/>
                  </a:lnTo>
                  <a:lnTo>
                    <a:pt x="330" y="652"/>
                  </a:lnTo>
                  <a:lnTo>
                    <a:pt x="330" y="654"/>
                  </a:lnTo>
                  <a:lnTo>
                    <a:pt x="330" y="656"/>
                  </a:lnTo>
                  <a:lnTo>
                    <a:pt x="330" y="654"/>
                  </a:lnTo>
                  <a:lnTo>
                    <a:pt x="329" y="654"/>
                  </a:lnTo>
                  <a:lnTo>
                    <a:pt x="329" y="652"/>
                  </a:lnTo>
                  <a:lnTo>
                    <a:pt x="327" y="652"/>
                  </a:lnTo>
                  <a:lnTo>
                    <a:pt x="327" y="654"/>
                  </a:lnTo>
                  <a:lnTo>
                    <a:pt x="327" y="652"/>
                  </a:lnTo>
                  <a:lnTo>
                    <a:pt x="327" y="654"/>
                  </a:lnTo>
                  <a:lnTo>
                    <a:pt x="327" y="656"/>
                  </a:lnTo>
                  <a:lnTo>
                    <a:pt x="326" y="656"/>
                  </a:lnTo>
                  <a:lnTo>
                    <a:pt x="326" y="657"/>
                  </a:lnTo>
                  <a:lnTo>
                    <a:pt x="327" y="657"/>
                  </a:lnTo>
                  <a:lnTo>
                    <a:pt x="326" y="657"/>
                  </a:lnTo>
                  <a:lnTo>
                    <a:pt x="326" y="659"/>
                  </a:lnTo>
                  <a:lnTo>
                    <a:pt x="326" y="657"/>
                  </a:lnTo>
                  <a:lnTo>
                    <a:pt x="326" y="659"/>
                  </a:lnTo>
                  <a:lnTo>
                    <a:pt x="326" y="657"/>
                  </a:lnTo>
                  <a:lnTo>
                    <a:pt x="326" y="659"/>
                  </a:lnTo>
                  <a:lnTo>
                    <a:pt x="324" y="659"/>
                  </a:lnTo>
                  <a:lnTo>
                    <a:pt x="324" y="657"/>
                  </a:lnTo>
                  <a:lnTo>
                    <a:pt x="322" y="657"/>
                  </a:lnTo>
                  <a:lnTo>
                    <a:pt x="322" y="656"/>
                  </a:lnTo>
                  <a:lnTo>
                    <a:pt x="322" y="654"/>
                  </a:lnTo>
                  <a:lnTo>
                    <a:pt x="321" y="654"/>
                  </a:lnTo>
                  <a:lnTo>
                    <a:pt x="321" y="652"/>
                  </a:lnTo>
                  <a:lnTo>
                    <a:pt x="319" y="652"/>
                  </a:lnTo>
                  <a:lnTo>
                    <a:pt x="319" y="651"/>
                  </a:lnTo>
                  <a:lnTo>
                    <a:pt x="319" y="652"/>
                  </a:lnTo>
                  <a:lnTo>
                    <a:pt x="317" y="651"/>
                  </a:lnTo>
                  <a:lnTo>
                    <a:pt x="317" y="649"/>
                  </a:lnTo>
                  <a:lnTo>
                    <a:pt x="319" y="651"/>
                  </a:lnTo>
                  <a:lnTo>
                    <a:pt x="321" y="651"/>
                  </a:lnTo>
                  <a:lnTo>
                    <a:pt x="321" y="652"/>
                  </a:lnTo>
                  <a:lnTo>
                    <a:pt x="321" y="651"/>
                  </a:lnTo>
                  <a:lnTo>
                    <a:pt x="321" y="649"/>
                  </a:lnTo>
                  <a:lnTo>
                    <a:pt x="319" y="649"/>
                  </a:lnTo>
                  <a:lnTo>
                    <a:pt x="321" y="651"/>
                  </a:lnTo>
                  <a:lnTo>
                    <a:pt x="319" y="651"/>
                  </a:lnTo>
                  <a:lnTo>
                    <a:pt x="321" y="651"/>
                  </a:lnTo>
                  <a:lnTo>
                    <a:pt x="319" y="651"/>
                  </a:lnTo>
                  <a:lnTo>
                    <a:pt x="319" y="649"/>
                  </a:lnTo>
                  <a:lnTo>
                    <a:pt x="317" y="648"/>
                  </a:lnTo>
                  <a:lnTo>
                    <a:pt x="317" y="649"/>
                  </a:lnTo>
                  <a:lnTo>
                    <a:pt x="316" y="648"/>
                  </a:lnTo>
                  <a:lnTo>
                    <a:pt x="314" y="646"/>
                  </a:lnTo>
                  <a:lnTo>
                    <a:pt x="314" y="648"/>
                  </a:lnTo>
                  <a:lnTo>
                    <a:pt x="313" y="646"/>
                  </a:lnTo>
                  <a:lnTo>
                    <a:pt x="313" y="644"/>
                  </a:lnTo>
                  <a:lnTo>
                    <a:pt x="313" y="646"/>
                  </a:lnTo>
                  <a:lnTo>
                    <a:pt x="313" y="644"/>
                  </a:lnTo>
                  <a:lnTo>
                    <a:pt x="311" y="646"/>
                  </a:lnTo>
                  <a:lnTo>
                    <a:pt x="311" y="643"/>
                  </a:lnTo>
                  <a:lnTo>
                    <a:pt x="311" y="644"/>
                  </a:lnTo>
                  <a:lnTo>
                    <a:pt x="311" y="646"/>
                  </a:lnTo>
                  <a:lnTo>
                    <a:pt x="311" y="644"/>
                  </a:lnTo>
                  <a:lnTo>
                    <a:pt x="311" y="643"/>
                  </a:lnTo>
                  <a:lnTo>
                    <a:pt x="309" y="643"/>
                  </a:lnTo>
                  <a:lnTo>
                    <a:pt x="309" y="644"/>
                  </a:lnTo>
                  <a:lnTo>
                    <a:pt x="311" y="646"/>
                  </a:lnTo>
                  <a:lnTo>
                    <a:pt x="309" y="646"/>
                  </a:lnTo>
                  <a:lnTo>
                    <a:pt x="309" y="644"/>
                  </a:lnTo>
                  <a:lnTo>
                    <a:pt x="309" y="646"/>
                  </a:lnTo>
                  <a:lnTo>
                    <a:pt x="308" y="646"/>
                  </a:lnTo>
                  <a:lnTo>
                    <a:pt x="308" y="644"/>
                  </a:lnTo>
                  <a:lnTo>
                    <a:pt x="308" y="646"/>
                  </a:lnTo>
                  <a:lnTo>
                    <a:pt x="308" y="644"/>
                  </a:lnTo>
                  <a:lnTo>
                    <a:pt x="306" y="644"/>
                  </a:lnTo>
                  <a:lnTo>
                    <a:pt x="308" y="644"/>
                  </a:lnTo>
                  <a:lnTo>
                    <a:pt x="308" y="643"/>
                  </a:lnTo>
                  <a:lnTo>
                    <a:pt x="309" y="643"/>
                  </a:lnTo>
                  <a:lnTo>
                    <a:pt x="309" y="641"/>
                  </a:lnTo>
                  <a:lnTo>
                    <a:pt x="309" y="639"/>
                  </a:lnTo>
                  <a:lnTo>
                    <a:pt x="311" y="639"/>
                  </a:lnTo>
                  <a:lnTo>
                    <a:pt x="311" y="638"/>
                  </a:lnTo>
                  <a:lnTo>
                    <a:pt x="313" y="636"/>
                  </a:lnTo>
                  <a:lnTo>
                    <a:pt x="313" y="633"/>
                  </a:lnTo>
                  <a:lnTo>
                    <a:pt x="313" y="631"/>
                  </a:lnTo>
                  <a:lnTo>
                    <a:pt x="313" y="630"/>
                  </a:lnTo>
                  <a:lnTo>
                    <a:pt x="313" y="628"/>
                  </a:lnTo>
                  <a:lnTo>
                    <a:pt x="313" y="626"/>
                  </a:lnTo>
                  <a:lnTo>
                    <a:pt x="313" y="625"/>
                  </a:lnTo>
                  <a:lnTo>
                    <a:pt x="313" y="623"/>
                  </a:lnTo>
                  <a:lnTo>
                    <a:pt x="314" y="623"/>
                  </a:lnTo>
                  <a:lnTo>
                    <a:pt x="316" y="622"/>
                  </a:lnTo>
                  <a:lnTo>
                    <a:pt x="317" y="622"/>
                  </a:lnTo>
                  <a:lnTo>
                    <a:pt x="317" y="620"/>
                  </a:lnTo>
                  <a:lnTo>
                    <a:pt x="316" y="618"/>
                  </a:lnTo>
                  <a:lnTo>
                    <a:pt x="316" y="617"/>
                  </a:lnTo>
                  <a:lnTo>
                    <a:pt x="316" y="615"/>
                  </a:lnTo>
                  <a:lnTo>
                    <a:pt x="316" y="613"/>
                  </a:lnTo>
                  <a:lnTo>
                    <a:pt x="316" y="612"/>
                  </a:lnTo>
                  <a:lnTo>
                    <a:pt x="316" y="610"/>
                  </a:lnTo>
                  <a:lnTo>
                    <a:pt x="314" y="610"/>
                  </a:lnTo>
                  <a:lnTo>
                    <a:pt x="316" y="609"/>
                  </a:lnTo>
                  <a:lnTo>
                    <a:pt x="314" y="607"/>
                  </a:lnTo>
                  <a:lnTo>
                    <a:pt x="314" y="605"/>
                  </a:lnTo>
                  <a:lnTo>
                    <a:pt x="314" y="604"/>
                  </a:lnTo>
                  <a:lnTo>
                    <a:pt x="316" y="602"/>
                  </a:lnTo>
                  <a:lnTo>
                    <a:pt x="316" y="600"/>
                  </a:lnTo>
                  <a:lnTo>
                    <a:pt x="317" y="599"/>
                  </a:lnTo>
                  <a:lnTo>
                    <a:pt x="316" y="597"/>
                  </a:lnTo>
                  <a:lnTo>
                    <a:pt x="316" y="594"/>
                  </a:lnTo>
                  <a:lnTo>
                    <a:pt x="316" y="592"/>
                  </a:lnTo>
                  <a:lnTo>
                    <a:pt x="317" y="592"/>
                  </a:lnTo>
                  <a:lnTo>
                    <a:pt x="317" y="591"/>
                  </a:lnTo>
                  <a:lnTo>
                    <a:pt x="319" y="591"/>
                  </a:lnTo>
                  <a:lnTo>
                    <a:pt x="319" y="589"/>
                  </a:lnTo>
                  <a:lnTo>
                    <a:pt x="321" y="589"/>
                  </a:lnTo>
                  <a:lnTo>
                    <a:pt x="321" y="587"/>
                  </a:lnTo>
                  <a:lnTo>
                    <a:pt x="324" y="587"/>
                  </a:lnTo>
                  <a:lnTo>
                    <a:pt x="326" y="586"/>
                  </a:lnTo>
                  <a:lnTo>
                    <a:pt x="327" y="584"/>
                  </a:lnTo>
                  <a:lnTo>
                    <a:pt x="329" y="584"/>
                  </a:lnTo>
                  <a:lnTo>
                    <a:pt x="332" y="583"/>
                  </a:lnTo>
                  <a:lnTo>
                    <a:pt x="334" y="581"/>
                  </a:lnTo>
                  <a:lnTo>
                    <a:pt x="332" y="581"/>
                  </a:lnTo>
                  <a:lnTo>
                    <a:pt x="332" y="583"/>
                  </a:lnTo>
                  <a:lnTo>
                    <a:pt x="332" y="581"/>
                  </a:lnTo>
                  <a:lnTo>
                    <a:pt x="332" y="583"/>
                  </a:lnTo>
                  <a:lnTo>
                    <a:pt x="330" y="583"/>
                  </a:lnTo>
                  <a:lnTo>
                    <a:pt x="329" y="583"/>
                  </a:lnTo>
                  <a:lnTo>
                    <a:pt x="327" y="583"/>
                  </a:lnTo>
                  <a:lnTo>
                    <a:pt x="326" y="583"/>
                  </a:lnTo>
                  <a:lnTo>
                    <a:pt x="327" y="583"/>
                  </a:lnTo>
                  <a:lnTo>
                    <a:pt x="327" y="584"/>
                  </a:lnTo>
                  <a:lnTo>
                    <a:pt x="326" y="584"/>
                  </a:lnTo>
                  <a:lnTo>
                    <a:pt x="324" y="586"/>
                  </a:lnTo>
                  <a:lnTo>
                    <a:pt x="324" y="587"/>
                  </a:lnTo>
                  <a:lnTo>
                    <a:pt x="322" y="587"/>
                  </a:lnTo>
                  <a:lnTo>
                    <a:pt x="321" y="587"/>
                  </a:lnTo>
                  <a:lnTo>
                    <a:pt x="319" y="587"/>
                  </a:lnTo>
                  <a:lnTo>
                    <a:pt x="321" y="587"/>
                  </a:lnTo>
                  <a:lnTo>
                    <a:pt x="317" y="589"/>
                  </a:lnTo>
                  <a:lnTo>
                    <a:pt x="317" y="591"/>
                  </a:lnTo>
                  <a:lnTo>
                    <a:pt x="316" y="591"/>
                  </a:lnTo>
                  <a:lnTo>
                    <a:pt x="316" y="592"/>
                  </a:lnTo>
                  <a:lnTo>
                    <a:pt x="316" y="594"/>
                  </a:lnTo>
                  <a:lnTo>
                    <a:pt x="316" y="596"/>
                  </a:lnTo>
                  <a:lnTo>
                    <a:pt x="316" y="597"/>
                  </a:lnTo>
                  <a:lnTo>
                    <a:pt x="316" y="599"/>
                  </a:lnTo>
                  <a:lnTo>
                    <a:pt x="316" y="600"/>
                  </a:lnTo>
                  <a:lnTo>
                    <a:pt x="316" y="602"/>
                  </a:lnTo>
                  <a:lnTo>
                    <a:pt x="314" y="602"/>
                  </a:lnTo>
                  <a:lnTo>
                    <a:pt x="316" y="602"/>
                  </a:lnTo>
                  <a:lnTo>
                    <a:pt x="314" y="604"/>
                  </a:lnTo>
                  <a:lnTo>
                    <a:pt x="314" y="602"/>
                  </a:lnTo>
                  <a:lnTo>
                    <a:pt x="314" y="604"/>
                  </a:lnTo>
                  <a:lnTo>
                    <a:pt x="314" y="605"/>
                  </a:lnTo>
                  <a:lnTo>
                    <a:pt x="314" y="607"/>
                  </a:lnTo>
                  <a:lnTo>
                    <a:pt x="314" y="610"/>
                  </a:lnTo>
                  <a:lnTo>
                    <a:pt x="314" y="612"/>
                  </a:lnTo>
                  <a:lnTo>
                    <a:pt x="314" y="613"/>
                  </a:lnTo>
                  <a:lnTo>
                    <a:pt x="314" y="615"/>
                  </a:lnTo>
                  <a:lnTo>
                    <a:pt x="316" y="615"/>
                  </a:lnTo>
                  <a:lnTo>
                    <a:pt x="316" y="617"/>
                  </a:lnTo>
                  <a:lnTo>
                    <a:pt x="316" y="618"/>
                  </a:lnTo>
                  <a:lnTo>
                    <a:pt x="316" y="620"/>
                  </a:lnTo>
                  <a:lnTo>
                    <a:pt x="316" y="622"/>
                  </a:lnTo>
                  <a:lnTo>
                    <a:pt x="313" y="623"/>
                  </a:lnTo>
                  <a:lnTo>
                    <a:pt x="311" y="623"/>
                  </a:lnTo>
                  <a:lnTo>
                    <a:pt x="311" y="626"/>
                  </a:lnTo>
                  <a:lnTo>
                    <a:pt x="313" y="628"/>
                  </a:lnTo>
                  <a:lnTo>
                    <a:pt x="311" y="630"/>
                  </a:lnTo>
                  <a:lnTo>
                    <a:pt x="311" y="631"/>
                  </a:lnTo>
                  <a:lnTo>
                    <a:pt x="311" y="633"/>
                  </a:lnTo>
                  <a:lnTo>
                    <a:pt x="311" y="635"/>
                  </a:lnTo>
                  <a:lnTo>
                    <a:pt x="311" y="638"/>
                  </a:lnTo>
                  <a:lnTo>
                    <a:pt x="311" y="639"/>
                  </a:lnTo>
                  <a:lnTo>
                    <a:pt x="309" y="639"/>
                  </a:lnTo>
                  <a:lnTo>
                    <a:pt x="308" y="641"/>
                  </a:lnTo>
                  <a:lnTo>
                    <a:pt x="306" y="641"/>
                  </a:lnTo>
                  <a:lnTo>
                    <a:pt x="306" y="643"/>
                  </a:lnTo>
                  <a:lnTo>
                    <a:pt x="304" y="641"/>
                  </a:lnTo>
                  <a:lnTo>
                    <a:pt x="306" y="641"/>
                  </a:lnTo>
                  <a:lnTo>
                    <a:pt x="304" y="641"/>
                  </a:lnTo>
                  <a:lnTo>
                    <a:pt x="304" y="643"/>
                  </a:lnTo>
                  <a:lnTo>
                    <a:pt x="303" y="643"/>
                  </a:lnTo>
                  <a:lnTo>
                    <a:pt x="303" y="641"/>
                  </a:lnTo>
                  <a:lnTo>
                    <a:pt x="301" y="641"/>
                  </a:lnTo>
                  <a:lnTo>
                    <a:pt x="301" y="643"/>
                  </a:lnTo>
                  <a:lnTo>
                    <a:pt x="301" y="641"/>
                  </a:lnTo>
                  <a:lnTo>
                    <a:pt x="301" y="643"/>
                  </a:lnTo>
                  <a:lnTo>
                    <a:pt x="301" y="641"/>
                  </a:lnTo>
                  <a:lnTo>
                    <a:pt x="300" y="641"/>
                  </a:lnTo>
                  <a:lnTo>
                    <a:pt x="298" y="641"/>
                  </a:lnTo>
                  <a:lnTo>
                    <a:pt x="298" y="639"/>
                  </a:lnTo>
                  <a:lnTo>
                    <a:pt x="298" y="641"/>
                  </a:lnTo>
                  <a:lnTo>
                    <a:pt x="296" y="641"/>
                  </a:lnTo>
                  <a:lnTo>
                    <a:pt x="295" y="639"/>
                  </a:lnTo>
                  <a:lnTo>
                    <a:pt x="296" y="641"/>
                  </a:lnTo>
                  <a:lnTo>
                    <a:pt x="295" y="641"/>
                  </a:lnTo>
                  <a:lnTo>
                    <a:pt x="295" y="639"/>
                  </a:lnTo>
                  <a:lnTo>
                    <a:pt x="293" y="638"/>
                  </a:lnTo>
                  <a:lnTo>
                    <a:pt x="291" y="636"/>
                  </a:lnTo>
                  <a:lnTo>
                    <a:pt x="293" y="638"/>
                  </a:lnTo>
                  <a:lnTo>
                    <a:pt x="293" y="639"/>
                  </a:lnTo>
                  <a:lnTo>
                    <a:pt x="293" y="638"/>
                  </a:lnTo>
                  <a:lnTo>
                    <a:pt x="291" y="638"/>
                  </a:lnTo>
                  <a:lnTo>
                    <a:pt x="290" y="638"/>
                  </a:lnTo>
                  <a:lnTo>
                    <a:pt x="288" y="638"/>
                  </a:lnTo>
                  <a:lnTo>
                    <a:pt x="287" y="636"/>
                  </a:lnTo>
                  <a:lnTo>
                    <a:pt x="287" y="635"/>
                  </a:lnTo>
                  <a:lnTo>
                    <a:pt x="287" y="633"/>
                  </a:lnTo>
                  <a:lnTo>
                    <a:pt x="287" y="631"/>
                  </a:lnTo>
                  <a:lnTo>
                    <a:pt x="285" y="631"/>
                  </a:lnTo>
                  <a:lnTo>
                    <a:pt x="285" y="630"/>
                  </a:lnTo>
                  <a:lnTo>
                    <a:pt x="287" y="631"/>
                  </a:lnTo>
                  <a:lnTo>
                    <a:pt x="285" y="630"/>
                  </a:lnTo>
                  <a:lnTo>
                    <a:pt x="283" y="628"/>
                  </a:lnTo>
                  <a:lnTo>
                    <a:pt x="282" y="626"/>
                  </a:lnTo>
                  <a:lnTo>
                    <a:pt x="283" y="626"/>
                  </a:lnTo>
                  <a:lnTo>
                    <a:pt x="283" y="625"/>
                  </a:lnTo>
                  <a:lnTo>
                    <a:pt x="282" y="623"/>
                  </a:lnTo>
                  <a:lnTo>
                    <a:pt x="280" y="625"/>
                  </a:lnTo>
                  <a:lnTo>
                    <a:pt x="280" y="623"/>
                  </a:lnTo>
                  <a:lnTo>
                    <a:pt x="278" y="622"/>
                  </a:lnTo>
                  <a:lnTo>
                    <a:pt x="277" y="620"/>
                  </a:lnTo>
                  <a:lnTo>
                    <a:pt x="277" y="618"/>
                  </a:lnTo>
                  <a:lnTo>
                    <a:pt x="277" y="617"/>
                  </a:lnTo>
                  <a:lnTo>
                    <a:pt x="277" y="615"/>
                  </a:lnTo>
                  <a:lnTo>
                    <a:pt x="275" y="615"/>
                  </a:lnTo>
                  <a:lnTo>
                    <a:pt x="277" y="615"/>
                  </a:lnTo>
                  <a:lnTo>
                    <a:pt x="275" y="613"/>
                  </a:lnTo>
                  <a:lnTo>
                    <a:pt x="277" y="613"/>
                  </a:lnTo>
                  <a:lnTo>
                    <a:pt x="275" y="613"/>
                  </a:lnTo>
                  <a:lnTo>
                    <a:pt x="274" y="612"/>
                  </a:lnTo>
                  <a:lnTo>
                    <a:pt x="272" y="610"/>
                  </a:lnTo>
                  <a:lnTo>
                    <a:pt x="272" y="609"/>
                  </a:lnTo>
                  <a:lnTo>
                    <a:pt x="270" y="607"/>
                  </a:lnTo>
                  <a:lnTo>
                    <a:pt x="269" y="607"/>
                  </a:lnTo>
                  <a:lnTo>
                    <a:pt x="269" y="605"/>
                  </a:lnTo>
                  <a:lnTo>
                    <a:pt x="267" y="605"/>
                  </a:lnTo>
                  <a:lnTo>
                    <a:pt x="269" y="605"/>
                  </a:lnTo>
                  <a:lnTo>
                    <a:pt x="269" y="607"/>
                  </a:lnTo>
                  <a:lnTo>
                    <a:pt x="269" y="605"/>
                  </a:lnTo>
                  <a:lnTo>
                    <a:pt x="267" y="605"/>
                  </a:lnTo>
                  <a:lnTo>
                    <a:pt x="267" y="604"/>
                  </a:lnTo>
                  <a:lnTo>
                    <a:pt x="267" y="602"/>
                  </a:lnTo>
                  <a:lnTo>
                    <a:pt x="265" y="600"/>
                  </a:lnTo>
                  <a:lnTo>
                    <a:pt x="265" y="597"/>
                  </a:lnTo>
                  <a:lnTo>
                    <a:pt x="264" y="597"/>
                  </a:lnTo>
                  <a:lnTo>
                    <a:pt x="264" y="596"/>
                  </a:lnTo>
                  <a:lnTo>
                    <a:pt x="264" y="594"/>
                  </a:lnTo>
                  <a:lnTo>
                    <a:pt x="262" y="594"/>
                  </a:lnTo>
                  <a:lnTo>
                    <a:pt x="261" y="594"/>
                  </a:lnTo>
                  <a:lnTo>
                    <a:pt x="259" y="594"/>
                  </a:lnTo>
                  <a:lnTo>
                    <a:pt x="257" y="594"/>
                  </a:lnTo>
                  <a:lnTo>
                    <a:pt x="257" y="592"/>
                  </a:lnTo>
                  <a:lnTo>
                    <a:pt x="256" y="592"/>
                  </a:lnTo>
                  <a:lnTo>
                    <a:pt x="254" y="591"/>
                  </a:lnTo>
                  <a:lnTo>
                    <a:pt x="252" y="587"/>
                  </a:lnTo>
                  <a:lnTo>
                    <a:pt x="251" y="586"/>
                  </a:lnTo>
                  <a:lnTo>
                    <a:pt x="249" y="586"/>
                  </a:lnTo>
                  <a:lnTo>
                    <a:pt x="247" y="584"/>
                  </a:lnTo>
                  <a:lnTo>
                    <a:pt x="247" y="583"/>
                  </a:lnTo>
                  <a:lnTo>
                    <a:pt x="246" y="581"/>
                  </a:lnTo>
                  <a:lnTo>
                    <a:pt x="246" y="579"/>
                  </a:lnTo>
                  <a:lnTo>
                    <a:pt x="244" y="579"/>
                  </a:lnTo>
                  <a:lnTo>
                    <a:pt x="244" y="578"/>
                  </a:lnTo>
                  <a:lnTo>
                    <a:pt x="244" y="576"/>
                  </a:lnTo>
                  <a:lnTo>
                    <a:pt x="244" y="574"/>
                  </a:lnTo>
                  <a:lnTo>
                    <a:pt x="244" y="573"/>
                  </a:lnTo>
                  <a:lnTo>
                    <a:pt x="244" y="570"/>
                  </a:lnTo>
                  <a:lnTo>
                    <a:pt x="244" y="566"/>
                  </a:lnTo>
                  <a:lnTo>
                    <a:pt x="243" y="566"/>
                  </a:lnTo>
                  <a:lnTo>
                    <a:pt x="244" y="566"/>
                  </a:lnTo>
                  <a:lnTo>
                    <a:pt x="244" y="565"/>
                  </a:lnTo>
                  <a:lnTo>
                    <a:pt x="244" y="566"/>
                  </a:lnTo>
                  <a:lnTo>
                    <a:pt x="243" y="566"/>
                  </a:lnTo>
                  <a:lnTo>
                    <a:pt x="243" y="565"/>
                  </a:lnTo>
                  <a:lnTo>
                    <a:pt x="241" y="563"/>
                  </a:lnTo>
                  <a:lnTo>
                    <a:pt x="243" y="563"/>
                  </a:lnTo>
                  <a:lnTo>
                    <a:pt x="241" y="563"/>
                  </a:lnTo>
                  <a:lnTo>
                    <a:pt x="241" y="561"/>
                  </a:lnTo>
                  <a:lnTo>
                    <a:pt x="239" y="560"/>
                  </a:lnTo>
                  <a:lnTo>
                    <a:pt x="239" y="558"/>
                  </a:lnTo>
                  <a:lnTo>
                    <a:pt x="239" y="557"/>
                  </a:lnTo>
                  <a:lnTo>
                    <a:pt x="239" y="555"/>
                  </a:lnTo>
                  <a:lnTo>
                    <a:pt x="241" y="553"/>
                  </a:lnTo>
                  <a:lnTo>
                    <a:pt x="243" y="553"/>
                  </a:lnTo>
                  <a:lnTo>
                    <a:pt x="241" y="553"/>
                  </a:lnTo>
                  <a:lnTo>
                    <a:pt x="243" y="553"/>
                  </a:lnTo>
                  <a:lnTo>
                    <a:pt x="243" y="552"/>
                  </a:lnTo>
                  <a:lnTo>
                    <a:pt x="241" y="552"/>
                  </a:lnTo>
                  <a:lnTo>
                    <a:pt x="241" y="550"/>
                  </a:lnTo>
                  <a:lnTo>
                    <a:pt x="243" y="550"/>
                  </a:lnTo>
                  <a:lnTo>
                    <a:pt x="243" y="548"/>
                  </a:lnTo>
                  <a:lnTo>
                    <a:pt x="244" y="547"/>
                  </a:lnTo>
                  <a:lnTo>
                    <a:pt x="246" y="545"/>
                  </a:lnTo>
                  <a:lnTo>
                    <a:pt x="244" y="544"/>
                  </a:lnTo>
                  <a:lnTo>
                    <a:pt x="244" y="542"/>
                  </a:lnTo>
                  <a:lnTo>
                    <a:pt x="246" y="542"/>
                  </a:lnTo>
                  <a:lnTo>
                    <a:pt x="247" y="542"/>
                  </a:lnTo>
                  <a:lnTo>
                    <a:pt x="247" y="540"/>
                  </a:lnTo>
                  <a:lnTo>
                    <a:pt x="247" y="539"/>
                  </a:lnTo>
                  <a:lnTo>
                    <a:pt x="247" y="537"/>
                  </a:lnTo>
                  <a:lnTo>
                    <a:pt x="247" y="535"/>
                  </a:lnTo>
                  <a:lnTo>
                    <a:pt x="247" y="534"/>
                  </a:lnTo>
                  <a:lnTo>
                    <a:pt x="247" y="531"/>
                  </a:lnTo>
                  <a:lnTo>
                    <a:pt x="246" y="529"/>
                  </a:lnTo>
                  <a:lnTo>
                    <a:pt x="246" y="527"/>
                  </a:lnTo>
                  <a:lnTo>
                    <a:pt x="244" y="526"/>
                  </a:lnTo>
                  <a:lnTo>
                    <a:pt x="246" y="524"/>
                  </a:lnTo>
                  <a:lnTo>
                    <a:pt x="246" y="522"/>
                  </a:lnTo>
                  <a:lnTo>
                    <a:pt x="246" y="521"/>
                  </a:lnTo>
                  <a:lnTo>
                    <a:pt x="244" y="519"/>
                  </a:lnTo>
                  <a:lnTo>
                    <a:pt x="246" y="519"/>
                  </a:lnTo>
                  <a:lnTo>
                    <a:pt x="246" y="517"/>
                  </a:lnTo>
                  <a:lnTo>
                    <a:pt x="244" y="517"/>
                  </a:lnTo>
                  <a:lnTo>
                    <a:pt x="246" y="517"/>
                  </a:lnTo>
                  <a:lnTo>
                    <a:pt x="244" y="516"/>
                  </a:lnTo>
                  <a:lnTo>
                    <a:pt x="246" y="516"/>
                  </a:lnTo>
                  <a:lnTo>
                    <a:pt x="244" y="514"/>
                  </a:lnTo>
                  <a:lnTo>
                    <a:pt x="243" y="513"/>
                  </a:lnTo>
                  <a:lnTo>
                    <a:pt x="243" y="511"/>
                  </a:lnTo>
                  <a:lnTo>
                    <a:pt x="243" y="509"/>
                  </a:lnTo>
                  <a:lnTo>
                    <a:pt x="244" y="509"/>
                  </a:lnTo>
                  <a:lnTo>
                    <a:pt x="244" y="508"/>
                  </a:lnTo>
                  <a:lnTo>
                    <a:pt x="243" y="506"/>
                  </a:lnTo>
                  <a:lnTo>
                    <a:pt x="244" y="506"/>
                  </a:lnTo>
                  <a:lnTo>
                    <a:pt x="246" y="506"/>
                  </a:lnTo>
                  <a:lnTo>
                    <a:pt x="246" y="504"/>
                  </a:lnTo>
                  <a:lnTo>
                    <a:pt x="247" y="504"/>
                  </a:lnTo>
                  <a:lnTo>
                    <a:pt x="247" y="503"/>
                  </a:lnTo>
                  <a:lnTo>
                    <a:pt x="247" y="501"/>
                  </a:lnTo>
                  <a:lnTo>
                    <a:pt x="244" y="498"/>
                  </a:lnTo>
                  <a:lnTo>
                    <a:pt x="243" y="496"/>
                  </a:lnTo>
                  <a:lnTo>
                    <a:pt x="243" y="495"/>
                  </a:lnTo>
                  <a:lnTo>
                    <a:pt x="241" y="493"/>
                  </a:lnTo>
                  <a:lnTo>
                    <a:pt x="238" y="490"/>
                  </a:lnTo>
                  <a:lnTo>
                    <a:pt x="236" y="488"/>
                  </a:lnTo>
                  <a:lnTo>
                    <a:pt x="236" y="487"/>
                  </a:lnTo>
                  <a:lnTo>
                    <a:pt x="236" y="485"/>
                  </a:lnTo>
                  <a:lnTo>
                    <a:pt x="234" y="483"/>
                  </a:lnTo>
                  <a:lnTo>
                    <a:pt x="233" y="483"/>
                  </a:lnTo>
                  <a:lnTo>
                    <a:pt x="233" y="482"/>
                  </a:lnTo>
                  <a:lnTo>
                    <a:pt x="231" y="482"/>
                  </a:lnTo>
                  <a:lnTo>
                    <a:pt x="231" y="480"/>
                  </a:lnTo>
                  <a:lnTo>
                    <a:pt x="230" y="478"/>
                  </a:lnTo>
                  <a:lnTo>
                    <a:pt x="228" y="478"/>
                  </a:lnTo>
                  <a:lnTo>
                    <a:pt x="228" y="477"/>
                  </a:lnTo>
                  <a:lnTo>
                    <a:pt x="226" y="477"/>
                  </a:lnTo>
                  <a:lnTo>
                    <a:pt x="225" y="475"/>
                  </a:lnTo>
                  <a:lnTo>
                    <a:pt x="225" y="474"/>
                  </a:lnTo>
                  <a:lnTo>
                    <a:pt x="223" y="474"/>
                  </a:lnTo>
                  <a:lnTo>
                    <a:pt x="223" y="472"/>
                  </a:lnTo>
                  <a:lnTo>
                    <a:pt x="221" y="470"/>
                  </a:lnTo>
                  <a:lnTo>
                    <a:pt x="220" y="469"/>
                  </a:lnTo>
                  <a:lnTo>
                    <a:pt x="220" y="465"/>
                  </a:lnTo>
                  <a:lnTo>
                    <a:pt x="218" y="465"/>
                  </a:lnTo>
                  <a:lnTo>
                    <a:pt x="217" y="464"/>
                  </a:lnTo>
                  <a:lnTo>
                    <a:pt x="215" y="461"/>
                  </a:lnTo>
                  <a:lnTo>
                    <a:pt x="213" y="459"/>
                  </a:lnTo>
                  <a:lnTo>
                    <a:pt x="212" y="457"/>
                  </a:lnTo>
                  <a:lnTo>
                    <a:pt x="212" y="456"/>
                  </a:lnTo>
                  <a:lnTo>
                    <a:pt x="213" y="454"/>
                  </a:lnTo>
                  <a:lnTo>
                    <a:pt x="212" y="452"/>
                  </a:lnTo>
                  <a:lnTo>
                    <a:pt x="213" y="452"/>
                  </a:lnTo>
                  <a:lnTo>
                    <a:pt x="213" y="451"/>
                  </a:lnTo>
                  <a:lnTo>
                    <a:pt x="212" y="451"/>
                  </a:lnTo>
                  <a:lnTo>
                    <a:pt x="210" y="449"/>
                  </a:lnTo>
                  <a:lnTo>
                    <a:pt x="210" y="448"/>
                  </a:lnTo>
                  <a:lnTo>
                    <a:pt x="208" y="446"/>
                  </a:lnTo>
                  <a:lnTo>
                    <a:pt x="210" y="446"/>
                  </a:lnTo>
                  <a:lnTo>
                    <a:pt x="210" y="444"/>
                  </a:lnTo>
                  <a:lnTo>
                    <a:pt x="210" y="443"/>
                  </a:lnTo>
                  <a:lnTo>
                    <a:pt x="212" y="443"/>
                  </a:lnTo>
                  <a:lnTo>
                    <a:pt x="213" y="441"/>
                  </a:lnTo>
                  <a:lnTo>
                    <a:pt x="215" y="441"/>
                  </a:lnTo>
                  <a:lnTo>
                    <a:pt x="215" y="439"/>
                  </a:lnTo>
                  <a:lnTo>
                    <a:pt x="217" y="439"/>
                  </a:lnTo>
                  <a:lnTo>
                    <a:pt x="218" y="439"/>
                  </a:lnTo>
                  <a:lnTo>
                    <a:pt x="218" y="436"/>
                  </a:lnTo>
                  <a:lnTo>
                    <a:pt x="218" y="435"/>
                  </a:lnTo>
                  <a:lnTo>
                    <a:pt x="218" y="433"/>
                  </a:lnTo>
                  <a:lnTo>
                    <a:pt x="218" y="431"/>
                  </a:lnTo>
                  <a:lnTo>
                    <a:pt x="217" y="430"/>
                  </a:lnTo>
                  <a:lnTo>
                    <a:pt x="215" y="428"/>
                  </a:lnTo>
                  <a:lnTo>
                    <a:pt x="215" y="426"/>
                  </a:lnTo>
                  <a:lnTo>
                    <a:pt x="213" y="425"/>
                  </a:lnTo>
                  <a:lnTo>
                    <a:pt x="215" y="425"/>
                  </a:lnTo>
                  <a:lnTo>
                    <a:pt x="215" y="423"/>
                  </a:lnTo>
                  <a:lnTo>
                    <a:pt x="215" y="422"/>
                  </a:lnTo>
                  <a:lnTo>
                    <a:pt x="215" y="420"/>
                  </a:lnTo>
                  <a:lnTo>
                    <a:pt x="215" y="418"/>
                  </a:lnTo>
                  <a:lnTo>
                    <a:pt x="213" y="418"/>
                  </a:lnTo>
                  <a:lnTo>
                    <a:pt x="212" y="417"/>
                  </a:lnTo>
                  <a:lnTo>
                    <a:pt x="210" y="418"/>
                  </a:lnTo>
                  <a:lnTo>
                    <a:pt x="208" y="418"/>
                  </a:lnTo>
                  <a:lnTo>
                    <a:pt x="207" y="417"/>
                  </a:lnTo>
                  <a:lnTo>
                    <a:pt x="207" y="418"/>
                  </a:lnTo>
                  <a:lnTo>
                    <a:pt x="205" y="417"/>
                  </a:lnTo>
                  <a:lnTo>
                    <a:pt x="204" y="417"/>
                  </a:lnTo>
                  <a:lnTo>
                    <a:pt x="202" y="417"/>
                  </a:lnTo>
                  <a:lnTo>
                    <a:pt x="200" y="418"/>
                  </a:lnTo>
                  <a:lnTo>
                    <a:pt x="200" y="420"/>
                  </a:lnTo>
                  <a:lnTo>
                    <a:pt x="199" y="418"/>
                  </a:lnTo>
                  <a:lnTo>
                    <a:pt x="197" y="418"/>
                  </a:lnTo>
                  <a:lnTo>
                    <a:pt x="195" y="418"/>
                  </a:lnTo>
                  <a:lnTo>
                    <a:pt x="194" y="417"/>
                  </a:lnTo>
                  <a:lnTo>
                    <a:pt x="194" y="415"/>
                  </a:lnTo>
                  <a:lnTo>
                    <a:pt x="194" y="413"/>
                  </a:lnTo>
                  <a:lnTo>
                    <a:pt x="194" y="412"/>
                  </a:lnTo>
                  <a:lnTo>
                    <a:pt x="194" y="410"/>
                  </a:lnTo>
                  <a:lnTo>
                    <a:pt x="195" y="409"/>
                  </a:lnTo>
                  <a:lnTo>
                    <a:pt x="195" y="407"/>
                  </a:lnTo>
                  <a:lnTo>
                    <a:pt x="197" y="407"/>
                  </a:lnTo>
                  <a:lnTo>
                    <a:pt x="195" y="405"/>
                  </a:lnTo>
                  <a:lnTo>
                    <a:pt x="194" y="404"/>
                  </a:lnTo>
                  <a:lnTo>
                    <a:pt x="195" y="402"/>
                  </a:lnTo>
                  <a:lnTo>
                    <a:pt x="197" y="402"/>
                  </a:lnTo>
                  <a:lnTo>
                    <a:pt x="197" y="404"/>
                  </a:lnTo>
                  <a:lnTo>
                    <a:pt x="197" y="402"/>
                  </a:lnTo>
                  <a:lnTo>
                    <a:pt x="197" y="400"/>
                  </a:lnTo>
                  <a:lnTo>
                    <a:pt x="199" y="400"/>
                  </a:lnTo>
                  <a:lnTo>
                    <a:pt x="199" y="399"/>
                  </a:lnTo>
                  <a:lnTo>
                    <a:pt x="199" y="397"/>
                  </a:lnTo>
                  <a:lnTo>
                    <a:pt x="197" y="397"/>
                  </a:lnTo>
                  <a:lnTo>
                    <a:pt x="197" y="396"/>
                  </a:lnTo>
                  <a:lnTo>
                    <a:pt x="199" y="394"/>
                  </a:lnTo>
                  <a:lnTo>
                    <a:pt x="197" y="394"/>
                  </a:lnTo>
                  <a:lnTo>
                    <a:pt x="197" y="392"/>
                  </a:lnTo>
                  <a:lnTo>
                    <a:pt x="195" y="391"/>
                  </a:lnTo>
                  <a:lnTo>
                    <a:pt x="194" y="389"/>
                  </a:lnTo>
                  <a:lnTo>
                    <a:pt x="192" y="386"/>
                  </a:lnTo>
                  <a:lnTo>
                    <a:pt x="192" y="384"/>
                  </a:lnTo>
                  <a:lnTo>
                    <a:pt x="191" y="384"/>
                  </a:lnTo>
                  <a:lnTo>
                    <a:pt x="191" y="383"/>
                  </a:lnTo>
                  <a:lnTo>
                    <a:pt x="191" y="381"/>
                  </a:lnTo>
                  <a:lnTo>
                    <a:pt x="191" y="379"/>
                  </a:lnTo>
                  <a:lnTo>
                    <a:pt x="191" y="376"/>
                  </a:lnTo>
                  <a:lnTo>
                    <a:pt x="191" y="374"/>
                  </a:lnTo>
                  <a:lnTo>
                    <a:pt x="189" y="374"/>
                  </a:lnTo>
                  <a:lnTo>
                    <a:pt x="189" y="373"/>
                  </a:lnTo>
                  <a:lnTo>
                    <a:pt x="189" y="371"/>
                  </a:lnTo>
                  <a:lnTo>
                    <a:pt x="187" y="368"/>
                  </a:lnTo>
                  <a:lnTo>
                    <a:pt x="187" y="366"/>
                  </a:lnTo>
                  <a:lnTo>
                    <a:pt x="187" y="365"/>
                  </a:lnTo>
                  <a:lnTo>
                    <a:pt x="187" y="363"/>
                  </a:lnTo>
                  <a:lnTo>
                    <a:pt x="187" y="361"/>
                  </a:lnTo>
                  <a:lnTo>
                    <a:pt x="187" y="360"/>
                  </a:lnTo>
                  <a:lnTo>
                    <a:pt x="187" y="358"/>
                  </a:lnTo>
                  <a:lnTo>
                    <a:pt x="189" y="356"/>
                  </a:lnTo>
                  <a:lnTo>
                    <a:pt x="189" y="355"/>
                  </a:lnTo>
                  <a:lnTo>
                    <a:pt x="191" y="355"/>
                  </a:lnTo>
                  <a:lnTo>
                    <a:pt x="191" y="356"/>
                  </a:lnTo>
                  <a:lnTo>
                    <a:pt x="191" y="355"/>
                  </a:lnTo>
                  <a:lnTo>
                    <a:pt x="192" y="355"/>
                  </a:lnTo>
                  <a:lnTo>
                    <a:pt x="192" y="353"/>
                  </a:lnTo>
                  <a:lnTo>
                    <a:pt x="194" y="352"/>
                  </a:lnTo>
                  <a:lnTo>
                    <a:pt x="194" y="350"/>
                  </a:lnTo>
                  <a:lnTo>
                    <a:pt x="194" y="348"/>
                  </a:lnTo>
                  <a:lnTo>
                    <a:pt x="192" y="347"/>
                  </a:lnTo>
                  <a:lnTo>
                    <a:pt x="191" y="345"/>
                  </a:lnTo>
                  <a:lnTo>
                    <a:pt x="189" y="345"/>
                  </a:lnTo>
                  <a:lnTo>
                    <a:pt x="187" y="345"/>
                  </a:lnTo>
                  <a:lnTo>
                    <a:pt x="186" y="343"/>
                  </a:lnTo>
                  <a:lnTo>
                    <a:pt x="186" y="342"/>
                  </a:lnTo>
                  <a:lnTo>
                    <a:pt x="186" y="340"/>
                  </a:lnTo>
                  <a:lnTo>
                    <a:pt x="184" y="339"/>
                  </a:lnTo>
                  <a:lnTo>
                    <a:pt x="182" y="339"/>
                  </a:lnTo>
                  <a:lnTo>
                    <a:pt x="181" y="340"/>
                  </a:lnTo>
                  <a:lnTo>
                    <a:pt x="181" y="339"/>
                  </a:lnTo>
                  <a:lnTo>
                    <a:pt x="179" y="337"/>
                  </a:lnTo>
                  <a:lnTo>
                    <a:pt x="178" y="337"/>
                  </a:lnTo>
                  <a:lnTo>
                    <a:pt x="176" y="337"/>
                  </a:lnTo>
                  <a:lnTo>
                    <a:pt x="176" y="335"/>
                  </a:lnTo>
                  <a:lnTo>
                    <a:pt x="174" y="335"/>
                  </a:lnTo>
                  <a:lnTo>
                    <a:pt x="174" y="334"/>
                  </a:lnTo>
                  <a:lnTo>
                    <a:pt x="173" y="332"/>
                  </a:lnTo>
                  <a:lnTo>
                    <a:pt x="173" y="330"/>
                  </a:lnTo>
                  <a:lnTo>
                    <a:pt x="171" y="330"/>
                  </a:lnTo>
                  <a:lnTo>
                    <a:pt x="171" y="329"/>
                  </a:lnTo>
                  <a:lnTo>
                    <a:pt x="171" y="327"/>
                  </a:lnTo>
                  <a:lnTo>
                    <a:pt x="169" y="326"/>
                  </a:lnTo>
                  <a:lnTo>
                    <a:pt x="169" y="324"/>
                  </a:lnTo>
                  <a:lnTo>
                    <a:pt x="168" y="324"/>
                  </a:lnTo>
                  <a:lnTo>
                    <a:pt x="168" y="322"/>
                  </a:lnTo>
                  <a:lnTo>
                    <a:pt x="166" y="322"/>
                  </a:lnTo>
                  <a:lnTo>
                    <a:pt x="166" y="324"/>
                  </a:lnTo>
                  <a:lnTo>
                    <a:pt x="165" y="324"/>
                  </a:lnTo>
                  <a:lnTo>
                    <a:pt x="163" y="324"/>
                  </a:lnTo>
                  <a:lnTo>
                    <a:pt x="163" y="326"/>
                  </a:lnTo>
                  <a:lnTo>
                    <a:pt x="161" y="327"/>
                  </a:lnTo>
                  <a:lnTo>
                    <a:pt x="160" y="324"/>
                  </a:lnTo>
                  <a:lnTo>
                    <a:pt x="160" y="322"/>
                  </a:lnTo>
                  <a:lnTo>
                    <a:pt x="160" y="321"/>
                  </a:lnTo>
                  <a:lnTo>
                    <a:pt x="158" y="321"/>
                  </a:lnTo>
                  <a:lnTo>
                    <a:pt x="160" y="321"/>
                  </a:lnTo>
                  <a:lnTo>
                    <a:pt x="158" y="319"/>
                  </a:lnTo>
                  <a:lnTo>
                    <a:pt x="160" y="319"/>
                  </a:lnTo>
                  <a:lnTo>
                    <a:pt x="160" y="317"/>
                  </a:lnTo>
                  <a:lnTo>
                    <a:pt x="158" y="317"/>
                  </a:lnTo>
                  <a:lnTo>
                    <a:pt x="158" y="316"/>
                  </a:lnTo>
                  <a:lnTo>
                    <a:pt x="158" y="313"/>
                  </a:lnTo>
                  <a:lnTo>
                    <a:pt x="156" y="311"/>
                  </a:lnTo>
                  <a:lnTo>
                    <a:pt x="155" y="311"/>
                  </a:lnTo>
                  <a:lnTo>
                    <a:pt x="155" y="309"/>
                  </a:lnTo>
                  <a:lnTo>
                    <a:pt x="153" y="309"/>
                  </a:lnTo>
                  <a:lnTo>
                    <a:pt x="153" y="308"/>
                  </a:lnTo>
                  <a:lnTo>
                    <a:pt x="152" y="308"/>
                  </a:lnTo>
                  <a:lnTo>
                    <a:pt x="152" y="306"/>
                  </a:lnTo>
                  <a:lnTo>
                    <a:pt x="152" y="304"/>
                  </a:lnTo>
                  <a:lnTo>
                    <a:pt x="150" y="304"/>
                  </a:lnTo>
                  <a:lnTo>
                    <a:pt x="147" y="303"/>
                  </a:lnTo>
                  <a:lnTo>
                    <a:pt x="147" y="301"/>
                  </a:lnTo>
                  <a:lnTo>
                    <a:pt x="145" y="301"/>
                  </a:lnTo>
                  <a:lnTo>
                    <a:pt x="143" y="301"/>
                  </a:lnTo>
                  <a:lnTo>
                    <a:pt x="142" y="301"/>
                  </a:lnTo>
                  <a:lnTo>
                    <a:pt x="142" y="300"/>
                  </a:lnTo>
                  <a:lnTo>
                    <a:pt x="140" y="300"/>
                  </a:lnTo>
                  <a:lnTo>
                    <a:pt x="139" y="298"/>
                  </a:lnTo>
                  <a:lnTo>
                    <a:pt x="137" y="298"/>
                  </a:lnTo>
                  <a:lnTo>
                    <a:pt x="137" y="295"/>
                  </a:lnTo>
                  <a:lnTo>
                    <a:pt x="135" y="295"/>
                  </a:lnTo>
                  <a:lnTo>
                    <a:pt x="134" y="295"/>
                  </a:lnTo>
                  <a:lnTo>
                    <a:pt x="134" y="296"/>
                  </a:lnTo>
                  <a:lnTo>
                    <a:pt x="132" y="296"/>
                  </a:lnTo>
                  <a:lnTo>
                    <a:pt x="130" y="296"/>
                  </a:lnTo>
                  <a:lnTo>
                    <a:pt x="130" y="295"/>
                  </a:lnTo>
                  <a:lnTo>
                    <a:pt x="129" y="295"/>
                  </a:lnTo>
                  <a:lnTo>
                    <a:pt x="129" y="293"/>
                  </a:lnTo>
                  <a:lnTo>
                    <a:pt x="127" y="293"/>
                  </a:lnTo>
                  <a:lnTo>
                    <a:pt x="126" y="293"/>
                  </a:lnTo>
                  <a:lnTo>
                    <a:pt x="126" y="291"/>
                  </a:lnTo>
                  <a:lnTo>
                    <a:pt x="126" y="290"/>
                  </a:lnTo>
                  <a:lnTo>
                    <a:pt x="124" y="290"/>
                  </a:lnTo>
                  <a:lnTo>
                    <a:pt x="124" y="291"/>
                  </a:lnTo>
                  <a:lnTo>
                    <a:pt x="122" y="291"/>
                  </a:lnTo>
                  <a:lnTo>
                    <a:pt x="122" y="293"/>
                  </a:lnTo>
                  <a:lnTo>
                    <a:pt x="121" y="291"/>
                  </a:lnTo>
                  <a:lnTo>
                    <a:pt x="119" y="291"/>
                  </a:lnTo>
                  <a:lnTo>
                    <a:pt x="117" y="290"/>
                  </a:lnTo>
                  <a:lnTo>
                    <a:pt x="116" y="291"/>
                  </a:lnTo>
                  <a:lnTo>
                    <a:pt x="116" y="290"/>
                  </a:lnTo>
                  <a:lnTo>
                    <a:pt x="114" y="288"/>
                  </a:lnTo>
                  <a:lnTo>
                    <a:pt x="113" y="288"/>
                  </a:lnTo>
                  <a:lnTo>
                    <a:pt x="111" y="288"/>
                  </a:lnTo>
                  <a:lnTo>
                    <a:pt x="109" y="291"/>
                  </a:lnTo>
                  <a:lnTo>
                    <a:pt x="109" y="290"/>
                  </a:lnTo>
                  <a:lnTo>
                    <a:pt x="109" y="288"/>
                  </a:lnTo>
                  <a:lnTo>
                    <a:pt x="108" y="288"/>
                  </a:lnTo>
                  <a:lnTo>
                    <a:pt x="109" y="287"/>
                  </a:lnTo>
                  <a:lnTo>
                    <a:pt x="108" y="287"/>
                  </a:lnTo>
                  <a:lnTo>
                    <a:pt x="106" y="287"/>
                  </a:lnTo>
                  <a:lnTo>
                    <a:pt x="104" y="287"/>
                  </a:lnTo>
                  <a:lnTo>
                    <a:pt x="103" y="287"/>
                  </a:lnTo>
                  <a:lnTo>
                    <a:pt x="103" y="288"/>
                  </a:lnTo>
                  <a:lnTo>
                    <a:pt x="101" y="288"/>
                  </a:lnTo>
                  <a:lnTo>
                    <a:pt x="99" y="288"/>
                  </a:lnTo>
                  <a:lnTo>
                    <a:pt x="98" y="290"/>
                  </a:lnTo>
                  <a:lnTo>
                    <a:pt x="96" y="290"/>
                  </a:lnTo>
                  <a:lnTo>
                    <a:pt x="96" y="288"/>
                  </a:lnTo>
                  <a:lnTo>
                    <a:pt x="95" y="288"/>
                  </a:lnTo>
                  <a:lnTo>
                    <a:pt x="93" y="290"/>
                  </a:lnTo>
                  <a:lnTo>
                    <a:pt x="91" y="288"/>
                  </a:lnTo>
                  <a:lnTo>
                    <a:pt x="90" y="287"/>
                  </a:lnTo>
                  <a:lnTo>
                    <a:pt x="90" y="283"/>
                  </a:lnTo>
                  <a:lnTo>
                    <a:pt x="88" y="282"/>
                  </a:lnTo>
                  <a:lnTo>
                    <a:pt x="86" y="282"/>
                  </a:lnTo>
                  <a:lnTo>
                    <a:pt x="86" y="280"/>
                  </a:lnTo>
                  <a:lnTo>
                    <a:pt x="85" y="280"/>
                  </a:lnTo>
                  <a:lnTo>
                    <a:pt x="83" y="278"/>
                  </a:lnTo>
                  <a:lnTo>
                    <a:pt x="83" y="277"/>
                  </a:lnTo>
                  <a:lnTo>
                    <a:pt x="82" y="277"/>
                  </a:lnTo>
                  <a:lnTo>
                    <a:pt x="80" y="277"/>
                  </a:lnTo>
                  <a:lnTo>
                    <a:pt x="80" y="275"/>
                  </a:lnTo>
                  <a:lnTo>
                    <a:pt x="78" y="275"/>
                  </a:lnTo>
                  <a:lnTo>
                    <a:pt x="78" y="277"/>
                  </a:lnTo>
                  <a:lnTo>
                    <a:pt x="77" y="277"/>
                  </a:lnTo>
                  <a:lnTo>
                    <a:pt x="75" y="277"/>
                  </a:lnTo>
                  <a:lnTo>
                    <a:pt x="73" y="277"/>
                  </a:lnTo>
                  <a:lnTo>
                    <a:pt x="72" y="277"/>
                  </a:lnTo>
                  <a:lnTo>
                    <a:pt x="72" y="275"/>
                  </a:lnTo>
                  <a:lnTo>
                    <a:pt x="70" y="275"/>
                  </a:lnTo>
                  <a:lnTo>
                    <a:pt x="70" y="274"/>
                  </a:lnTo>
                  <a:lnTo>
                    <a:pt x="72" y="274"/>
                  </a:lnTo>
                  <a:lnTo>
                    <a:pt x="72" y="272"/>
                  </a:lnTo>
                  <a:lnTo>
                    <a:pt x="70" y="272"/>
                  </a:lnTo>
                  <a:lnTo>
                    <a:pt x="69" y="270"/>
                  </a:lnTo>
                  <a:lnTo>
                    <a:pt x="67" y="269"/>
                  </a:lnTo>
                  <a:lnTo>
                    <a:pt x="65" y="269"/>
                  </a:lnTo>
                  <a:lnTo>
                    <a:pt x="65" y="267"/>
                  </a:lnTo>
                  <a:lnTo>
                    <a:pt x="62" y="267"/>
                  </a:lnTo>
                  <a:lnTo>
                    <a:pt x="60" y="267"/>
                  </a:lnTo>
                  <a:lnTo>
                    <a:pt x="59" y="267"/>
                  </a:lnTo>
                  <a:lnTo>
                    <a:pt x="57" y="265"/>
                  </a:lnTo>
                  <a:lnTo>
                    <a:pt x="57" y="267"/>
                  </a:lnTo>
                  <a:lnTo>
                    <a:pt x="56" y="265"/>
                  </a:lnTo>
                  <a:lnTo>
                    <a:pt x="54" y="265"/>
                  </a:lnTo>
                  <a:lnTo>
                    <a:pt x="54" y="264"/>
                  </a:lnTo>
                  <a:lnTo>
                    <a:pt x="54" y="262"/>
                  </a:lnTo>
                  <a:lnTo>
                    <a:pt x="52" y="261"/>
                  </a:lnTo>
                  <a:lnTo>
                    <a:pt x="52" y="259"/>
                  </a:lnTo>
                  <a:lnTo>
                    <a:pt x="52" y="257"/>
                  </a:lnTo>
                  <a:lnTo>
                    <a:pt x="51" y="256"/>
                  </a:lnTo>
                  <a:lnTo>
                    <a:pt x="49" y="256"/>
                  </a:lnTo>
                  <a:lnTo>
                    <a:pt x="47" y="257"/>
                  </a:lnTo>
                  <a:lnTo>
                    <a:pt x="46" y="256"/>
                  </a:lnTo>
                  <a:lnTo>
                    <a:pt x="44" y="254"/>
                  </a:lnTo>
                  <a:lnTo>
                    <a:pt x="44" y="252"/>
                  </a:lnTo>
                  <a:lnTo>
                    <a:pt x="43" y="252"/>
                  </a:lnTo>
                  <a:lnTo>
                    <a:pt x="43" y="251"/>
                  </a:lnTo>
                  <a:lnTo>
                    <a:pt x="41" y="251"/>
                  </a:lnTo>
                  <a:lnTo>
                    <a:pt x="41" y="249"/>
                  </a:lnTo>
                  <a:lnTo>
                    <a:pt x="39" y="249"/>
                  </a:lnTo>
                  <a:lnTo>
                    <a:pt x="38" y="248"/>
                  </a:lnTo>
                  <a:lnTo>
                    <a:pt x="36" y="248"/>
                  </a:lnTo>
                  <a:lnTo>
                    <a:pt x="36" y="246"/>
                  </a:lnTo>
                  <a:lnTo>
                    <a:pt x="34" y="246"/>
                  </a:lnTo>
                  <a:lnTo>
                    <a:pt x="34" y="244"/>
                  </a:lnTo>
                  <a:lnTo>
                    <a:pt x="33" y="244"/>
                  </a:lnTo>
                  <a:lnTo>
                    <a:pt x="31" y="243"/>
                  </a:lnTo>
                  <a:lnTo>
                    <a:pt x="30" y="243"/>
                  </a:lnTo>
                  <a:lnTo>
                    <a:pt x="30" y="241"/>
                  </a:lnTo>
                  <a:lnTo>
                    <a:pt x="30" y="243"/>
                  </a:lnTo>
                  <a:lnTo>
                    <a:pt x="30" y="241"/>
                  </a:lnTo>
                  <a:lnTo>
                    <a:pt x="28" y="241"/>
                  </a:lnTo>
                  <a:lnTo>
                    <a:pt x="26" y="239"/>
                  </a:lnTo>
                  <a:lnTo>
                    <a:pt x="26" y="241"/>
                  </a:lnTo>
                  <a:lnTo>
                    <a:pt x="25" y="241"/>
                  </a:lnTo>
                  <a:lnTo>
                    <a:pt x="23" y="241"/>
                  </a:lnTo>
                  <a:lnTo>
                    <a:pt x="21" y="241"/>
                  </a:lnTo>
                  <a:lnTo>
                    <a:pt x="21" y="239"/>
                  </a:lnTo>
                  <a:lnTo>
                    <a:pt x="20" y="238"/>
                  </a:lnTo>
                  <a:lnTo>
                    <a:pt x="18" y="238"/>
                  </a:lnTo>
                  <a:lnTo>
                    <a:pt x="18" y="236"/>
                  </a:lnTo>
                  <a:lnTo>
                    <a:pt x="18" y="235"/>
                  </a:lnTo>
                  <a:lnTo>
                    <a:pt x="20" y="235"/>
                  </a:lnTo>
                  <a:lnTo>
                    <a:pt x="21" y="233"/>
                  </a:lnTo>
                  <a:lnTo>
                    <a:pt x="21" y="231"/>
                  </a:lnTo>
                  <a:lnTo>
                    <a:pt x="20" y="231"/>
                  </a:lnTo>
                  <a:lnTo>
                    <a:pt x="20" y="230"/>
                  </a:lnTo>
                  <a:lnTo>
                    <a:pt x="18" y="228"/>
                  </a:lnTo>
                  <a:lnTo>
                    <a:pt x="17" y="228"/>
                  </a:lnTo>
                  <a:lnTo>
                    <a:pt x="13" y="225"/>
                  </a:lnTo>
                  <a:lnTo>
                    <a:pt x="10" y="223"/>
                  </a:lnTo>
                  <a:lnTo>
                    <a:pt x="8" y="223"/>
                  </a:lnTo>
                  <a:lnTo>
                    <a:pt x="5" y="221"/>
                  </a:lnTo>
                  <a:lnTo>
                    <a:pt x="4" y="221"/>
                  </a:lnTo>
                  <a:lnTo>
                    <a:pt x="2" y="221"/>
                  </a:lnTo>
                  <a:lnTo>
                    <a:pt x="0" y="221"/>
                  </a:lnTo>
                  <a:lnTo>
                    <a:pt x="7" y="212"/>
                  </a:lnTo>
                  <a:lnTo>
                    <a:pt x="8" y="212"/>
                  </a:lnTo>
                  <a:lnTo>
                    <a:pt x="25" y="220"/>
                  </a:lnTo>
                  <a:lnTo>
                    <a:pt x="26" y="220"/>
                  </a:lnTo>
                  <a:lnTo>
                    <a:pt x="28" y="210"/>
                  </a:lnTo>
                  <a:lnTo>
                    <a:pt x="25" y="208"/>
                  </a:lnTo>
                  <a:lnTo>
                    <a:pt x="23" y="205"/>
                  </a:lnTo>
                  <a:lnTo>
                    <a:pt x="20" y="199"/>
                  </a:lnTo>
                  <a:lnTo>
                    <a:pt x="20" y="195"/>
                  </a:lnTo>
                  <a:lnTo>
                    <a:pt x="20" y="194"/>
                  </a:lnTo>
                  <a:lnTo>
                    <a:pt x="23" y="189"/>
                  </a:lnTo>
                  <a:lnTo>
                    <a:pt x="31" y="179"/>
                  </a:lnTo>
                  <a:lnTo>
                    <a:pt x="49" y="181"/>
                  </a:lnTo>
                  <a:lnTo>
                    <a:pt x="57" y="189"/>
                  </a:lnTo>
                  <a:lnTo>
                    <a:pt x="73" y="207"/>
                  </a:lnTo>
                  <a:lnTo>
                    <a:pt x="78" y="213"/>
                  </a:lnTo>
                  <a:lnTo>
                    <a:pt x="86" y="221"/>
                  </a:lnTo>
                  <a:lnTo>
                    <a:pt x="88" y="226"/>
                  </a:lnTo>
                  <a:lnTo>
                    <a:pt x="98" y="238"/>
                  </a:lnTo>
                  <a:lnTo>
                    <a:pt x="103" y="252"/>
                  </a:lnTo>
                  <a:lnTo>
                    <a:pt x="111" y="248"/>
                  </a:lnTo>
                  <a:lnTo>
                    <a:pt x="114" y="249"/>
                  </a:lnTo>
                  <a:lnTo>
                    <a:pt x="126" y="252"/>
                  </a:lnTo>
                  <a:lnTo>
                    <a:pt x="139" y="251"/>
                  </a:lnTo>
                  <a:lnTo>
                    <a:pt x="147" y="257"/>
                  </a:lnTo>
                  <a:lnTo>
                    <a:pt x="148" y="256"/>
                  </a:lnTo>
                  <a:lnTo>
                    <a:pt x="153" y="252"/>
                  </a:lnTo>
                  <a:lnTo>
                    <a:pt x="160" y="246"/>
                  </a:lnTo>
                  <a:lnTo>
                    <a:pt x="171" y="241"/>
                  </a:lnTo>
                  <a:lnTo>
                    <a:pt x="173" y="235"/>
                  </a:lnTo>
                  <a:lnTo>
                    <a:pt x="173" y="225"/>
                  </a:lnTo>
                  <a:lnTo>
                    <a:pt x="176" y="221"/>
                  </a:lnTo>
                  <a:lnTo>
                    <a:pt x="182" y="221"/>
                  </a:lnTo>
                  <a:lnTo>
                    <a:pt x="189" y="226"/>
                  </a:lnTo>
                  <a:lnTo>
                    <a:pt x="192" y="225"/>
                  </a:lnTo>
                  <a:lnTo>
                    <a:pt x="194" y="226"/>
                  </a:lnTo>
                  <a:lnTo>
                    <a:pt x="194" y="230"/>
                  </a:lnTo>
                  <a:lnTo>
                    <a:pt x="197" y="231"/>
                  </a:lnTo>
                  <a:lnTo>
                    <a:pt x="200" y="233"/>
                  </a:lnTo>
                  <a:lnTo>
                    <a:pt x="204" y="235"/>
                  </a:lnTo>
                  <a:lnTo>
                    <a:pt x="220" y="236"/>
                  </a:lnTo>
                  <a:lnTo>
                    <a:pt x="225" y="238"/>
                  </a:lnTo>
                  <a:lnTo>
                    <a:pt x="228" y="239"/>
                  </a:lnTo>
                  <a:lnTo>
                    <a:pt x="230" y="241"/>
                  </a:lnTo>
                  <a:lnTo>
                    <a:pt x="231" y="243"/>
                  </a:lnTo>
                  <a:lnTo>
                    <a:pt x="234" y="246"/>
                  </a:lnTo>
                  <a:lnTo>
                    <a:pt x="236" y="249"/>
                  </a:lnTo>
                  <a:lnTo>
                    <a:pt x="238" y="249"/>
                  </a:lnTo>
                  <a:lnTo>
                    <a:pt x="239" y="249"/>
                  </a:lnTo>
                  <a:lnTo>
                    <a:pt x="238" y="246"/>
                  </a:lnTo>
                  <a:lnTo>
                    <a:pt x="238" y="244"/>
                  </a:lnTo>
                  <a:lnTo>
                    <a:pt x="238" y="243"/>
                  </a:lnTo>
                  <a:lnTo>
                    <a:pt x="239" y="241"/>
                  </a:lnTo>
                  <a:lnTo>
                    <a:pt x="239" y="239"/>
                  </a:lnTo>
                  <a:lnTo>
                    <a:pt x="241" y="239"/>
                  </a:lnTo>
                  <a:lnTo>
                    <a:pt x="241" y="241"/>
                  </a:lnTo>
                  <a:lnTo>
                    <a:pt x="243" y="241"/>
                  </a:lnTo>
                  <a:lnTo>
                    <a:pt x="243" y="239"/>
                  </a:lnTo>
                  <a:lnTo>
                    <a:pt x="244" y="238"/>
                  </a:lnTo>
                  <a:lnTo>
                    <a:pt x="246" y="238"/>
                  </a:lnTo>
                  <a:lnTo>
                    <a:pt x="246" y="236"/>
                  </a:lnTo>
                  <a:lnTo>
                    <a:pt x="247" y="236"/>
                  </a:lnTo>
                  <a:lnTo>
                    <a:pt x="247" y="235"/>
                  </a:lnTo>
                  <a:lnTo>
                    <a:pt x="247" y="233"/>
                  </a:lnTo>
                  <a:lnTo>
                    <a:pt x="246" y="233"/>
                  </a:lnTo>
                  <a:lnTo>
                    <a:pt x="246" y="231"/>
                  </a:lnTo>
                  <a:lnTo>
                    <a:pt x="246" y="230"/>
                  </a:lnTo>
                  <a:lnTo>
                    <a:pt x="246" y="228"/>
                  </a:lnTo>
                  <a:lnTo>
                    <a:pt x="244" y="226"/>
                  </a:lnTo>
                  <a:lnTo>
                    <a:pt x="244" y="225"/>
                  </a:lnTo>
                  <a:lnTo>
                    <a:pt x="246" y="225"/>
                  </a:lnTo>
                  <a:lnTo>
                    <a:pt x="244" y="225"/>
                  </a:lnTo>
                  <a:lnTo>
                    <a:pt x="244" y="223"/>
                  </a:lnTo>
                  <a:lnTo>
                    <a:pt x="244" y="221"/>
                  </a:lnTo>
                  <a:lnTo>
                    <a:pt x="244" y="220"/>
                  </a:lnTo>
                  <a:lnTo>
                    <a:pt x="244" y="218"/>
                  </a:lnTo>
                  <a:lnTo>
                    <a:pt x="244" y="217"/>
                  </a:lnTo>
                  <a:lnTo>
                    <a:pt x="244" y="215"/>
                  </a:lnTo>
                  <a:lnTo>
                    <a:pt x="243" y="215"/>
                  </a:lnTo>
                  <a:lnTo>
                    <a:pt x="244" y="213"/>
                  </a:lnTo>
                  <a:lnTo>
                    <a:pt x="244" y="212"/>
                  </a:lnTo>
                  <a:lnTo>
                    <a:pt x="246" y="210"/>
                  </a:lnTo>
                  <a:lnTo>
                    <a:pt x="246" y="208"/>
                  </a:lnTo>
                  <a:lnTo>
                    <a:pt x="246" y="207"/>
                  </a:lnTo>
                  <a:lnTo>
                    <a:pt x="246" y="205"/>
                  </a:lnTo>
                  <a:lnTo>
                    <a:pt x="247" y="205"/>
                  </a:lnTo>
                  <a:lnTo>
                    <a:pt x="247" y="204"/>
                  </a:lnTo>
                  <a:lnTo>
                    <a:pt x="249" y="202"/>
                  </a:lnTo>
                  <a:lnTo>
                    <a:pt x="251" y="200"/>
                  </a:lnTo>
                  <a:lnTo>
                    <a:pt x="251" y="199"/>
                  </a:lnTo>
                  <a:lnTo>
                    <a:pt x="252" y="199"/>
                  </a:lnTo>
                  <a:lnTo>
                    <a:pt x="252" y="197"/>
                  </a:lnTo>
                  <a:lnTo>
                    <a:pt x="254" y="197"/>
                  </a:lnTo>
                  <a:lnTo>
                    <a:pt x="256" y="195"/>
                  </a:lnTo>
                  <a:lnTo>
                    <a:pt x="256" y="194"/>
                  </a:lnTo>
                  <a:lnTo>
                    <a:pt x="257" y="194"/>
                  </a:lnTo>
                  <a:lnTo>
                    <a:pt x="259" y="195"/>
                  </a:lnTo>
                  <a:lnTo>
                    <a:pt x="261" y="195"/>
                  </a:lnTo>
                  <a:lnTo>
                    <a:pt x="262" y="195"/>
                  </a:lnTo>
                  <a:lnTo>
                    <a:pt x="264" y="194"/>
                  </a:lnTo>
                  <a:lnTo>
                    <a:pt x="264" y="192"/>
                  </a:lnTo>
                  <a:lnTo>
                    <a:pt x="265" y="192"/>
                  </a:lnTo>
                  <a:lnTo>
                    <a:pt x="265" y="191"/>
                  </a:lnTo>
                  <a:lnTo>
                    <a:pt x="265" y="189"/>
                  </a:lnTo>
                  <a:lnTo>
                    <a:pt x="265" y="187"/>
                  </a:lnTo>
                  <a:lnTo>
                    <a:pt x="265" y="186"/>
                  </a:lnTo>
                  <a:lnTo>
                    <a:pt x="265" y="184"/>
                  </a:lnTo>
                  <a:lnTo>
                    <a:pt x="265" y="182"/>
                  </a:lnTo>
                  <a:lnTo>
                    <a:pt x="265" y="181"/>
                  </a:lnTo>
                  <a:lnTo>
                    <a:pt x="265" y="179"/>
                  </a:lnTo>
                  <a:lnTo>
                    <a:pt x="267" y="178"/>
                  </a:lnTo>
                  <a:lnTo>
                    <a:pt x="267" y="176"/>
                  </a:lnTo>
                  <a:lnTo>
                    <a:pt x="267" y="174"/>
                  </a:lnTo>
                  <a:lnTo>
                    <a:pt x="267" y="173"/>
                  </a:lnTo>
                  <a:lnTo>
                    <a:pt x="265" y="174"/>
                  </a:lnTo>
                  <a:lnTo>
                    <a:pt x="265" y="173"/>
                  </a:lnTo>
                  <a:lnTo>
                    <a:pt x="265" y="171"/>
                  </a:lnTo>
                  <a:lnTo>
                    <a:pt x="265" y="169"/>
                  </a:lnTo>
                  <a:lnTo>
                    <a:pt x="264" y="168"/>
                  </a:lnTo>
                  <a:lnTo>
                    <a:pt x="262" y="166"/>
                  </a:lnTo>
                  <a:lnTo>
                    <a:pt x="262" y="165"/>
                  </a:lnTo>
                  <a:lnTo>
                    <a:pt x="262" y="163"/>
                  </a:lnTo>
                  <a:lnTo>
                    <a:pt x="262" y="161"/>
                  </a:lnTo>
                  <a:lnTo>
                    <a:pt x="261" y="160"/>
                  </a:lnTo>
                  <a:lnTo>
                    <a:pt x="262" y="160"/>
                  </a:lnTo>
                  <a:lnTo>
                    <a:pt x="262" y="158"/>
                  </a:lnTo>
                  <a:lnTo>
                    <a:pt x="261" y="158"/>
                  </a:lnTo>
                  <a:lnTo>
                    <a:pt x="261" y="156"/>
                  </a:lnTo>
                  <a:lnTo>
                    <a:pt x="259" y="155"/>
                  </a:lnTo>
                  <a:lnTo>
                    <a:pt x="257" y="153"/>
                  </a:lnTo>
                  <a:lnTo>
                    <a:pt x="257" y="152"/>
                  </a:lnTo>
                  <a:lnTo>
                    <a:pt x="257" y="150"/>
                  </a:lnTo>
                  <a:lnTo>
                    <a:pt x="257" y="148"/>
                  </a:lnTo>
                  <a:lnTo>
                    <a:pt x="257" y="147"/>
                  </a:lnTo>
                  <a:lnTo>
                    <a:pt x="256" y="147"/>
                  </a:lnTo>
                  <a:lnTo>
                    <a:pt x="256" y="145"/>
                  </a:lnTo>
                  <a:lnTo>
                    <a:pt x="256" y="143"/>
                  </a:lnTo>
                  <a:lnTo>
                    <a:pt x="256" y="142"/>
                  </a:lnTo>
                  <a:lnTo>
                    <a:pt x="256" y="140"/>
                  </a:lnTo>
                  <a:lnTo>
                    <a:pt x="256" y="139"/>
                  </a:lnTo>
                  <a:lnTo>
                    <a:pt x="256" y="137"/>
                  </a:lnTo>
                  <a:lnTo>
                    <a:pt x="256" y="135"/>
                  </a:lnTo>
                  <a:lnTo>
                    <a:pt x="256" y="134"/>
                  </a:lnTo>
                  <a:lnTo>
                    <a:pt x="256" y="132"/>
                  </a:lnTo>
                  <a:lnTo>
                    <a:pt x="256" y="130"/>
                  </a:lnTo>
                  <a:lnTo>
                    <a:pt x="256" y="129"/>
                  </a:lnTo>
                  <a:lnTo>
                    <a:pt x="257" y="127"/>
                  </a:lnTo>
                  <a:lnTo>
                    <a:pt x="257" y="126"/>
                  </a:lnTo>
                  <a:lnTo>
                    <a:pt x="256" y="126"/>
                  </a:lnTo>
                  <a:lnTo>
                    <a:pt x="257" y="124"/>
                  </a:lnTo>
                  <a:lnTo>
                    <a:pt x="257" y="122"/>
                  </a:lnTo>
                  <a:lnTo>
                    <a:pt x="256" y="121"/>
                  </a:lnTo>
                  <a:lnTo>
                    <a:pt x="256" y="119"/>
                  </a:lnTo>
                  <a:lnTo>
                    <a:pt x="254" y="119"/>
                  </a:lnTo>
                  <a:lnTo>
                    <a:pt x="254" y="117"/>
                  </a:lnTo>
                  <a:lnTo>
                    <a:pt x="254" y="116"/>
                  </a:lnTo>
                  <a:lnTo>
                    <a:pt x="254" y="114"/>
                  </a:lnTo>
                  <a:lnTo>
                    <a:pt x="254" y="113"/>
                  </a:lnTo>
                  <a:lnTo>
                    <a:pt x="256" y="111"/>
                  </a:lnTo>
                  <a:lnTo>
                    <a:pt x="254" y="109"/>
                  </a:lnTo>
                  <a:lnTo>
                    <a:pt x="254" y="108"/>
                  </a:lnTo>
                  <a:lnTo>
                    <a:pt x="254" y="106"/>
                  </a:lnTo>
                  <a:lnTo>
                    <a:pt x="254" y="104"/>
                  </a:lnTo>
                  <a:lnTo>
                    <a:pt x="254" y="103"/>
                  </a:lnTo>
                  <a:lnTo>
                    <a:pt x="252" y="103"/>
                  </a:lnTo>
                  <a:lnTo>
                    <a:pt x="252" y="101"/>
                  </a:lnTo>
                  <a:lnTo>
                    <a:pt x="251" y="101"/>
                  </a:lnTo>
                  <a:lnTo>
                    <a:pt x="252" y="100"/>
                  </a:lnTo>
                  <a:lnTo>
                    <a:pt x="254" y="100"/>
                  </a:lnTo>
                  <a:lnTo>
                    <a:pt x="254" y="98"/>
                  </a:lnTo>
                  <a:lnTo>
                    <a:pt x="256" y="96"/>
                  </a:lnTo>
                  <a:lnTo>
                    <a:pt x="256" y="95"/>
                  </a:lnTo>
                  <a:lnTo>
                    <a:pt x="256" y="93"/>
                  </a:lnTo>
                  <a:lnTo>
                    <a:pt x="256" y="90"/>
                  </a:lnTo>
                  <a:lnTo>
                    <a:pt x="254" y="90"/>
                  </a:lnTo>
                  <a:lnTo>
                    <a:pt x="254" y="88"/>
                  </a:lnTo>
                  <a:lnTo>
                    <a:pt x="254" y="86"/>
                  </a:lnTo>
                  <a:lnTo>
                    <a:pt x="252" y="85"/>
                  </a:lnTo>
                  <a:lnTo>
                    <a:pt x="251" y="85"/>
                  </a:lnTo>
                  <a:lnTo>
                    <a:pt x="249" y="85"/>
                  </a:lnTo>
                  <a:lnTo>
                    <a:pt x="249" y="83"/>
                  </a:lnTo>
                  <a:lnTo>
                    <a:pt x="251" y="82"/>
                  </a:lnTo>
                  <a:lnTo>
                    <a:pt x="251" y="80"/>
                  </a:lnTo>
                  <a:lnTo>
                    <a:pt x="252" y="78"/>
                  </a:lnTo>
                  <a:lnTo>
                    <a:pt x="252" y="77"/>
                  </a:lnTo>
                  <a:lnTo>
                    <a:pt x="252" y="75"/>
                  </a:lnTo>
                  <a:lnTo>
                    <a:pt x="254" y="75"/>
                  </a:lnTo>
                  <a:lnTo>
                    <a:pt x="256" y="75"/>
                  </a:lnTo>
                  <a:lnTo>
                    <a:pt x="257" y="73"/>
                  </a:lnTo>
                  <a:lnTo>
                    <a:pt x="257" y="72"/>
                  </a:lnTo>
                  <a:lnTo>
                    <a:pt x="259" y="72"/>
                  </a:lnTo>
                  <a:lnTo>
                    <a:pt x="259" y="70"/>
                  </a:lnTo>
                  <a:lnTo>
                    <a:pt x="259" y="69"/>
                  </a:lnTo>
                  <a:lnTo>
                    <a:pt x="261" y="69"/>
                  </a:lnTo>
                  <a:lnTo>
                    <a:pt x="261" y="67"/>
                  </a:lnTo>
                  <a:lnTo>
                    <a:pt x="261" y="65"/>
                  </a:lnTo>
                  <a:lnTo>
                    <a:pt x="262" y="64"/>
                  </a:lnTo>
                  <a:lnTo>
                    <a:pt x="261" y="64"/>
                  </a:lnTo>
                  <a:lnTo>
                    <a:pt x="262" y="62"/>
                  </a:lnTo>
                  <a:lnTo>
                    <a:pt x="262" y="60"/>
                  </a:lnTo>
                  <a:lnTo>
                    <a:pt x="262" y="59"/>
                  </a:lnTo>
                  <a:lnTo>
                    <a:pt x="264" y="56"/>
                  </a:lnTo>
                  <a:lnTo>
                    <a:pt x="265" y="56"/>
                  </a:lnTo>
                  <a:lnTo>
                    <a:pt x="265" y="54"/>
                  </a:lnTo>
                  <a:lnTo>
                    <a:pt x="267" y="52"/>
                  </a:lnTo>
                  <a:lnTo>
                    <a:pt x="267" y="51"/>
                  </a:lnTo>
                  <a:lnTo>
                    <a:pt x="267" y="49"/>
                  </a:lnTo>
                  <a:lnTo>
                    <a:pt x="267" y="47"/>
                  </a:lnTo>
                  <a:lnTo>
                    <a:pt x="267" y="46"/>
                  </a:lnTo>
                  <a:lnTo>
                    <a:pt x="265" y="46"/>
                  </a:lnTo>
                  <a:lnTo>
                    <a:pt x="267" y="44"/>
                  </a:lnTo>
                  <a:lnTo>
                    <a:pt x="267" y="43"/>
                  </a:lnTo>
                  <a:lnTo>
                    <a:pt x="267" y="41"/>
                  </a:lnTo>
                  <a:lnTo>
                    <a:pt x="267" y="39"/>
                  </a:lnTo>
                  <a:lnTo>
                    <a:pt x="269" y="39"/>
                  </a:lnTo>
                  <a:lnTo>
                    <a:pt x="269" y="38"/>
                  </a:lnTo>
                  <a:lnTo>
                    <a:pt x="270" y="38"/>
                  </a:lnTo>
                  <a:lnTo>
                    <a:pt x="272" y="38"/>
                  </a:lnTo>
                  <a:lnTo>
                    <a:pt x="272" y="36"/>
                  </a:lnTo>
                  <a:lnTo>
                    <a:pt x="274" y="34"/>
                  </a:lnTo>
                  <a:lnTo>
                    <a:pt x="277" y="34"/>
                  </a:lnTo>
                  <a:lnTo>
                    <a:pt x="277" y="33"/>
                  </a:lnTo>
                  <a:lnTo>
                    <a:pt x="278" y="34"/>
                  </a:lnTo>
                  <a:lnTo>
                    <a:pt x="278" y="36"/>
                  </a:lnTo>
                  <a:lnTo>
                    <a:pt x="280" y="36"/>
                  </a:lnTo>
                  <a:lnTo>
                    <a:pt x="282" y="34"/>
                  </a:lnTo>
                  <a:lnTo>
                    <a:pt x="282" y="33"/>
                  </a:lnTo>
                  <a:lnTo>
                    <a:pt x="283" y="33"/>
                  </a:lnTo>
                  <a:lnTo>
                    <a:pt x="285" y="33"/>
                  </a:lnTo>
                  <a:lnTo>
                    <a:pt x="287" y="33"/>
                  </a:lnTo>
                  <a:lnTo>
                    <a:pt x="287" y="34"/>
                  </a:lnTo>
                  <a:lnTo>
                    <a:pt x="288" y="36"/>
                  </a:lnTo>
                  <a:lnTo>
                    <a:pt x="290" y="34"/>
                  </a:lnTo>
                  <a:lnTo>
                    <a:pt x="291" y="33"/>
                  </a:lnTo>
                  <a:lnTo>
                    <a:pt x="293" y="34"/>
                  </a:lnTo>
                  <a:lnTo>
                    <a:pt x="295" y="34"/>
                  </a:lnTo>
                  <a:lnTo>
                    <a:pt x="295" y="36"/>
                  </a:lnTo>
                  <a:lnTo>
                    <a:pt x="296" y="36"/>
                  </a:lnTo>
                  <a:lnTo>
                    <a:pt x="298" y="34"/>
                  </a:lnTo>
                  <a:lnTo>
                    <a:pt x="300" y="34"/>
                  </a:lnTo>
                  <a:lnTo>
                    <a:pt x="300" y="33"/>
                  </a:lnTo>
                  <a:lnTo>
                    <a:pt x="301" y="33"/>
                  </a:lnTo>
                  <a:lnTo>
                    <a:pt x="303" y="31"/>
                  </a:lnTo>
                  <a:lnTo>
                    <a:pt x="303" y="30"/>
                  </a:lnTo>
                  <a:lnTo>
                    <a:pt x="304" y="30"/>
                  </a:lnTo>
                  <a:lnTo>
                    <a:pt x="306" y="28"/>
                  </a:lnTo>
                  <a:lnTo>
                    <a:pt x="308" y="26"/>
                  </a:lnTo>
                  <a:lnTo>
                    <a:pt x="306" y="26"/>
                  </a:lnTo>
                  <a:lnTo>
                    <a:pt x="306" y="25"/>
                  </a:lnTo>
                  <a:lnTo>
                    <a:pt x="304" y="25"/>
                  </a:lnTo>
                  <a:lnTo>
                    <a:pt x="306" y="23"/>
                  </a:lnTo>
                  <a:lnTo>
                    <a:pt x="306" y="21"/>
                  </a:lnTo>
                  <a:lnTo>
                    <a:pt x="308" y="21"/>
                  </a:lnTo>
                  <a:lnTo>
                    <a:pt x="309" y="20"/>
                  </a:lnTo>
                  <a:lnTo>
                    <a:pt x="309" y="18"/>
                  </a:lnTo>
                  <a:lnTo>
                    <a:pt x="311" y="17"/>
                  </a:lnTo>
                  <a:lnTo>
                    <a:pt x="313" y="17"/>
                  </a:lnTo>
                  <a:lnTo>
                    <a:pt x="314" y="17"/>
                  </a:lnTo>
                  <a:lnTo>
                    <a:pt x="314" y="15"/>
                  </a:lnTo>
                  <a:lnTo>
                    <a:pt x="316" y="15"/>
                  </a:lnTo>
                  <a:lnTo>
                    <a:pt x="316" y="13"/>
                  </a:lnTo>
                  <a:lnTo>
                    <a:pt x="314" y="12"/>
                  </a:lnTo>
                  <a:lnTo>
                    <a:pt x="316" y="10"/>
                  </a:lnTo>
                  <a:lnTo>
                    <a:pt x="316" y="8"/>
                  </a:lnTo>
                  <a:lnTo>
                    <a:pt x="317" y="7"/>
                  </a:lnTo>
                  <a:lnTo>
                    <a:pt x="319" y="7"/>
                  </a:lnTo>
                  <a:lnTo>
                    <a:pt x="321" y="5"/>
                  </a:lnTo>
                  <a:lnTo>
                    <a:pt x="322" y="5"/>
                  </a:lnTo>
                  <a:lnTo>
                    <a:pt x="322" y="7"/>
                  </a:lnTo>
                  <a:lnTo>
                    <a:pt x="324" y="7"/>
                  </a:lnTo>
                  <a:lnTo>
                    <a:pt x="326" y="5"/>
                  </a:lnTo>
                  <a:lnTo>
                    <a:pt x="327" y="4"/>
                  </a:lnTo>
                  <a:lnTo>
                    <a:pt x="329" y="2"/>
                  </a:lnTo>
                  <a:lnTo>
                    <a:pt x="330" y="2"/>
                  </a:lnTo>
                  <a:lnTo>
                    <a:pt x="332" y="0"/>
                  </a:lnTo>
                  <a:lnTo>
                    <a:pt x="334" y="0"/>
                  </a:lnTo>
                  <a:lnTo>
                    <a:pt x="334" y="2"/>
                  </a:lnTo>
                  <a:lnTo>
                    <a:pt x="335" y="7"/>
                  </a:lnTo>
                  <a:lnTo>
                    <a:pt x="337" y="10"/>
                  </a:lnTo>
                  <a:lnTo>
                    <a:pt x="339" y="12"/>
                  </a:lnTo>
                  <a:lnTo>
                    <a:pt x="340" y="13"/>
                  </a:lnTo>
                  <a:lnTo>
                    <a:pt x="342" y="15"/>
                  </a:lnTo>
                  <a:lnTo>
                    <a:pt x="347" y="18"/>
                  </a:lnTo>
                  <a:lnTo>
                    <a:pt x="348" y="20"/>
                  </a:lnTo>
                  <a:lnTo>
                    <a:pt x="352" y="21"/>
                  </a:lnTo>
                  <a:lnTo>
                    <a:pt x="360" y="23"/>
                  </a:lnTo>
                  <a:lnTo>
                    <a:pt x="361" y="23"/>
                  </a:lnTo>
                  <a:lnTo>
                    <a:pt x="361" y="28"/>
                  </a:lnTo>
                  <a:lnTo>
                    <a:pt x="365" y="30"/>
                  </a:lnTo>
                  <a:lnTo>
                    <a:pt x="366" y="31"/>
                  </a:lnTo>
                  <a:lnTo>
                    <a:pt x="369" y="33"/>
                  </a:lnTo>
                  <a:lnTo>
                    <a:pt x="378" y="33"/>
                  </a:lnTo>
                  <a:lnTo>
                    <a:pt x="399" y="38"/>
                  </a:lnTo>
                  <a:lnTo>
                    <a:pt x="405" y="39"/>
                  </a:lnTo>
                  <a:lnTo>
                    <a:pt x="415" y="52"/>
                  </a:lnTo>
                  <a:lnTo>
                    <a:pt x="425" y="64"/>
                  </a:lnTo>
                  <a:lnTo>
                    <a:pt x="423" y="77"/>
                  </a:lnTo>
                  <a:lnTo>
                    <a:pt x="423" y="78"/>
                  </a:lnTo>
                  <a:lnTo>
                    <a:pt x="418" y="93"/>
                  </a:lnTo>
                  <a:lnTo>
                    <a:pt x="412" y="108"/>
                  </a:lnTo>
                  <a:lnTo>
                    <a:pt x="413" y="111"/>
                  </a:lnTo>
                  <a:lnTo>
                    <a:pt x="413" y="114"/>
                  </a:lnTo>
                  <a:lnTo>
                    <a:pt x="415" y="119"/>
                  </a:lnTo>
                  <a:lnTo>
                    <a:pt x="415" y="122"/>
                  </a:lnTo>
                  <a:lnTo>
                    <a:pt x="417" y="124"/>
                  </a:lnTo>
                  <a:lnTo>
                    <a:pt x="418" y="126"/>
                  </a:lnTo>
                  <a:lnTo>
                    <a:pt x="420" y="127"/>
                  </a:lnTo>
                  <a:lnTo>
                    <a:pt x="423" y="129"/>
                  </a:lnTo>
                  <a:lnTo>
                    <a:pt x="420" y="135"/>
                  </a:lnTo>
                  <a:lnTo>
                    <a:pt x="407" y="152"/>
                  </a:lnTo>
                  <a:lnTo>
                    <a:pt x="404" y="155"/>
                  </a:lnTo>
                  <a:lnTo>
                    <a:pt x="409" y="158"/>
                  </a:lnTo>
                  <a:lnTo>
                    <a:pt x="417" y="156"/>
                  </a:lnTo>
                  <a:lnTo>
                    <a:pt x="425" y="156"/>
                  </a:lnTo>
                  <a:lnTo>
                    <a:pt x="426" y="174"/>
                  </a:lnTo>
                  <a:lnTo>
                    <a:pt x="425" y="184"/>
                  </a:lnTo>
                  <a:lnTo>
                    <a:pt x="423" y="194"/>
                  </a:lnTo>
                  <a:lnTo>
                    <a:pt x="422" y="207"/>
                  </a:lnTo>
                  <a:lnTo>
                    <a:pt x="443" y="244"/>
                  </a:lnTo>
                  <a:lnTo>
                    <a:pt x="446" y="251"/>
                  </a:lnTo>
                  <a:lnTo>
                    <a:pt x="449" y="251"/>
                  </a:lnTo>
                  <a:lnTo>
                    <a:pt x="487" y="257"/>
                  </a:lnTo>
                  <a:lnTo>
                    <a:pt x="516" y="290"/>
                  </a:lnTo>
                  <a:lnTo>
                    <a:pt x="517" y="290"/>
                  </a:lnTo>
                  <a:lnTo>
                    <a:pt x="540" y="301"/>
                  </a:lnTo>
                  <a:lnTo>
                    <a:pt x="540" y="308"/>
                  </a:lnTo>
                  <a:lnTo>
                    <a:pt x="542" y="322"/>
                  </a:lnTo>
                  <a:lnTo>
                    <a:pt x="540" y="329"/>
                  </a:lnTo>
                  <a:lnTo>
                    <a:pt x="539" y="339"/>
                  </a:lnTo>
                  <a:lnTo>
                    <a:pt x="537" y="343"/>
                  </a:lnTo>
                  <a:lnTo>
                    <a:pt x="537" y="345"/>
                  </a:lnTo>
                  <a:lnTo>
                    <a:pt x="535" y="347"/>
                  </a:lnTo>
                  <a:lnTo>
                    <a:pt x="535" y="348"/>
                  </a:lnTo>
                  <a:lnTo>
                    <a:pt x="535" y="350"/>
                  </a:lnTo>
                  <a:lnTo>
                    <a:pt x="534" y="352"/>
                  </a:lnTo>
                  <a:lnTo>
                    <a:pt x="534" y="353"/>
                  </a:lnTo>
                  <a:lnTo>
                    <a:pt x="535" y="352"/>
                  </a:lnTo>
                  <a:lnTo>
                    <a:pt x="535" y="353"/>
                  </a:lnTo>
                  <a:lnTo>
                    <a:pt x="534" y="355"/>
                  </a:lnTo>
                  <a:lnTo>
                    <a:pt x="532" y="355"/>
                  </a:lnTo>
                  <a:lnTo>
                    <a:pt x="532" y="356"/>
                  </a:lnTo>
                  <a:lnTo>
                    <a:pt x="534" y="356"/>
                  </a:lnTo>
                  <a:lnTo>
                    <a:pt x="532" y="358"/>
                  </a:lnTo>
                  <a:lnTo>
                    <a:pt x="530" y="358"/>
                  </a:lnTo>
                  <a:lnTo>
                    <a:pt x="530" y="360"/>
                  </a:lnTo>
                  <a:lnTo>
                    <a:pt x="530" y="361"/>
                  </a:lnTo>
                  <a:lnTo>
                    <a:pt x="530" y="363"/>
                  </a:lnTo>
                  <a:lnTo>
                    <a:pt x="530" y="366"/>
                  </a:lnTo>
                  <a:lnTo>
                    <a:pt x="527" y="379"/>
                  </a:lnTo>
                  <a:lnTo>
                    <a:pt x="521" y="405"/>
                  </a:lnTo>
                  <a:lnTo>
                    <a:pt x="519" y="410"/>
                  </a:lnTo>
                  <a:lnTo>
                    <a:pt x="519" y="413"/>
                  </a:lnTo>
                  <a:lnTo>
                    <a:pt x="519" y="415"/>
                  </a:lnTo>
                  <a:lnTo>
                    <a:pt x="521" y="417"/>
                  </a:lnTo>
                  <a:lnTo>
                    <a:pt x="521" y="418"/>
                  </a:lnTo>
                  <a:lnTo>
                    <a:pt x="521" y="420"/>
                  </a:lnTo>
                  <a:lnTo>
                    <a:pt x="526" y="428"/>
                  </a:lnTo>
                  <a:lnTo>
                    <a:pt x="530" y="435"/>
                  </a:lnTo>
                  <a:lnTo>
                    <a:pt x="530" y="436"/>
                  </a:lnTo>
                  <a:lnTo>
                    <a:pt x="532" y="436"/>
                  </a:lnTo>
                  <a:lnTo>
                    <a:pt x="532" y="438"/>
                  </a:lnTo>
                  <a:lnTo>
                    <a:pt x="534" y="438"/>
                  </a:lnTo>
                  <a:lnTo>
                    <a:pt x="540" y="444"/>
                  </a:lnTo>
                  <a:lnTo>
                    <a:pt x="550" y="452"/>
                  </a:lnTo>
                  <a:lnTo>
                    <a:pt x="550" y="454"/>
                  </a:lnTo>
                  <a:lnTo>
                    <a:pt x="552" y="454"/>
                  </a:lnTo>
                  <a:lnTo>
                    <a:pt x="552" y="456"/>
                  </a:lnTo>
                  <a:lnTo>
                    <a:pt x="553" y="456"/>
                  </a:lnTo>
                  <a:lnTo>
                    <a:pt x="553" y="457"/>
                  </a:lnTo>
                  <a:lnTo>
                    <a:pt x="553" y="459"/>
                  </a:lnTo>
                  <a:lnTo>
                    <a:pt x="555" y="457"/>
                  </a:lnTo>
                  <a:lnTo>
                    <a:pt x="555" y="459"/>
                  </a:lnTo>
                  <a:lnTo>
                    <a:pt x="557" y="459"/>
                  </a:lnTo>
                  <a:lnTo>
                    <a:pt x="557" y="461"/>
                  </a:lnTo>
                  <a:lnTo>
                    <a:pt x="560" y="462"/>
                  </a:lnTo>
                  <a:lnTo>
                    <a:pt x="565" y="469"/>
                  </a:lnTo>
                  <a:lnTo>
                    <a:pt x="578" y="487"/>
                  </a:lnTo>
                  <a:lnTo>
                    <a:pt x="581" y="491"/>
                  </a:lnTo>
                  <a:lnTo>
                    <a:pt x="584" y="496"/>
                  </a:lnTo>
                  <a:lnTo>
                    <a:pt x="586" y="496"/>
                  </a:lnTo>
                  <a:lnTo>
                    <a:pt x="587" y="500"/>
                  </a:lnTo>
                  <a:lnTo>
                    <a:pt x="604" y="513"/>
                  </a:lnTo>
                  <a:lnTo>
                    <a:pt x="604" y="514"/>
                  </a:lnTo>
                  <a:lnTo>
                    <a:pt x="605" y="514"/>
                  </a:lnTo>
                  <a:lnTo>
                    <a:pt x="610" y="526"/>
                  </a:lnTo>
                  <a:lnTo>
                    <a:pt x="612" y="526"/>
                  </a:lnTo>
                  <a:lnTo>
                    <a:pt x="612" y="527"/>
                  </a:lnTo>
                  <a:lnTo>
                    <a:pt x="613" y="527"/>
                  </a:lnTo>
                  <a:lnTo>
                    <a:pt x="615" y="532"/>
                  </a:lnTo>
                  <a:lnTo>
                    <a:pt x="615" y="534"/>
                  </a:lnTo>
                  <a:lnTo>
                    <a:pt x="617" y="534"/>
                  </a:lnTo>
                  <a:lnTo>
                    <a:pt x="623" y="544"/>
                  </a:lnTo>
                  <a:lnTo>
                    <a:pt x="628" y="553"/>
                  </a:lnTo>
                  <a:lnTo>
                    <a:pt x="631" y="561"/>
                  </a:lnTo>
                  <a:lnTo>
                    <a:pt x="635" y="568"/>
                  </a:lnTo>
                  <a:lnTo>
                    <a:pt x="636" y="573"/>
                  </a:lnTo>
                  <a:lnTo>
                    <a:pt x="630" y="571"/>
                  </a:lnTo>
                  <a:lnTo>
                    <a:pt x="628" y="571"/>
                  </a:lnTo>
                  <a:lnTo>
                    <a:pt x="623" y="576"/>
                  </a:lnTo>
                  <a:lnTo>
                    <a:pt x="622" y="578"/>
                  </a:lnTo>
                  <a:lnTo>
                    <a:pt x="613" y="584"/>
                  </a:lnTo>
                  <a:lnTo>
                    <a:pt x="618" y="589"/>
                  </a:lnTo>
                  <a:lnTo>
                    <a:pt x="626" y="592"/>
                  </a:lnTo>
                  <a:lnTo>
                    <a:pt x="623" y="599"/>
                  </a:lnTo>
                  <a:lnTo>
                    <a:pt x="622" y="604"/>
                  </a:lnTo>
                  <a:lnTo>
                    <a:pt x="622" y="605"/>
                  </a:lnTo>
                  <a:lnTo>
                    <a:pt x="623" y="609"/>
                  </a:lnTo>
                  <a:lnTo>
                    <a:pt x="625" y="617"/>
                  </a:lnTo>
                  <a:lnTo>
                    <a:pt x="626" y="620"/>
                  </a:lnTo>
                  <a:lnTo>
                    <a:pt x="628" y="623"/>
                  </a:lnTo>
                  <a:lnTo>
                    <a:pt x="628" y="625"/>
                  </a:lnTo>
                  <a:lnTo>
                    <a:pt x="626" y="628"/>
                  </a:lnTo>
                  <a:lnTo>
                    <a:pt x="625" y="631"/>
                  </a:lnTo>
                  <a:lnTo>
                    <a:pt x="623" y="636"/>
                  </a:lnTo>
                  <a:lnTo>
                    <a:pt x="623" y="638"/>
                  </a:lnTo>
                  <a:lnTo>
                    <a:pt x="625" y="638"/>
                  </a:lnTo>
                  <a:lnTo>
                    <a:pt x="626" y="641"/>
                  </a:lnTo>
                  <a:lnTo>
                    <a:pt x="631" y="641"/>
                  </a:lnTo>
                  <a:lnTo>
                    <a:pt x="633" y="639"/>
                  </a:lnTo>
                  <a:lnTo>
                    <a:pt x="635" y="639"/>
                  </a:lnTo>
                  <a:lnTo>
                    <a:pt x="636" y="639"/>
                  </a:lnTo>
                  <a:lnTo>
                    <a:pt x="641" y="639"/>
                  </a:lnTo>
                  <a:lnTo>
                    <a:pt x="643" y="641"/>
                  </a:lnTo>
                  <a:lnTo>
                    <a:pt x="643" y="643"/>
                  </a:lnTo>
                  <a:lnTo>
                    <a:pt x="641" y="649"/>
                  </a:lnTo>
                  <a:lnTo>
                    <a:pt x="643" y="651"/>
                  </a:lnTo>
                  <a:lnTo>
                    <a:pt x="644" y="652"/>
                  </a:lnTo>
                  <a:lnTo>
                    <a:pt x="644" y="651"/>
                  </a:lnTo>
                  <a:lnTo>
                    <a:pt x="644" y="652"/>
                  </a:lnTo>
                  <a:lnTo>
                    <a:pt x="648" y="654"/>
                  </a:lnTo>
                  <a:lnTo>
                    <a:pt x="644" y="657"/>
                  </a:lnTo>
                  <a:lnTo>
                    <a:pt x="641" y="659"/>
                  </a:lnTo>
                  <a:lnTo>
                    <a:pt x="639" y="659"/>
                  </a:lnTo>
                  <a:lnTo>
                    <a:pt x="633" y="666"/>
                  </a:lnTo>
                  <a:lnTo>
                    <a:pt x="635" y="672"/>
                  </a:lnTo>
                  <a:lnTo>
                    <a:pt x="635" y="674"/>
                  </a:lnTo>
                  <a:lnTo>
                    <a:pt x="638" y="679"/>
                  </a:lnTo>
                  <a:lnTo>
                    <a:pt x="639" y="683"/>
                  </a:lnTo>
                  <a:lnTo>
                    <a:pt x="639" y="685"/>
                  </a:lnTo>
                  <a:lnTo>
                    <a:pt x="643" y="692"/>
                  </a:lnTo>
                  <a:lnTo>
                    <a:pt x="646" y="693"/>
                  </a:lnTo>
                  <a:lnTo>
                    <a:pt x="648" y="695"/>
                  </a:lnTo>
                  <a:lnTo>
                    <a:pt x="648" y="696"/>
                  </a:lnTo>
                  <a:lnTo>
                    <a:pt x="651" y="698"/>
                  </a:lnTo>
                  <a:lnTo>
                    <a:pt x="652" y="700"/>
                  </a:lnTo>
                  <a:lnTo>
                    <a:pt x="659" y="698"/>
                  </a:lnTo>
                  <a:lnTo>
                    <a:pt x="661" y="696"/>
                  </a:lnTo>
                  <a:lnTo>
                    <a:pt x="662" y="696"/>
                  </a:lnTo>
                  <a:lnTo>
                    <a:pt x="665" y="695"/>
                  </a:lnTo>
                  <a:lnTo>
                    <a:pt x="670" y="695"/>
                  </a:lnTo>
                  <a:lnTo>
                    <a:pt x="674" y="696"/>
                  </a:lnTo>
                  <a:lnTo>
                    <a:pt x="672" y="701"/>
                  </a:lnTo>
                  <a:lnTo>
                    <a:pt x="674" y="705"/>
                  </a:lnTo>
                  <a:lnTo>
                    <a:pt x="682" y="713"/>
                  </a:lnTo>
                  <a:lnTo>
                    <a:pt x="682" y="714"/>
                  </a:lnTo>
                  <a:lnTo>
                    <a:pt x="682" y="716"/>
                  </a:lnTo>
                  <a:lnTo>
                    <a:pt x="678" y="719"/>
                  </a:lnTo>
                  <a:lnTo>
                    <a:pt x="677" y="719"/>
                  </a:lnTo>
                  <a:lnTo>
                    <a:pt x="675" y="722"/>
                  </a:lnTo>
                  <a:lnTo>
                    <a:pt x="675" y="724"/>
                  </a:lnTo>
                  <a:lnTo>
                    <a:pt x="678" y="731"/>
                  </a:lnTo>
                  <a:lnTo>
                    <a:pt x="680" y="734"/>
                  </a:lnTo>
                  <a:lnTo>
                    <a:pt x="682" y="734"/>
                  </a:lnTo>
                  <a:lnTo>
                    <a:pt x="682" y="735"/>
                  </a:lnTo>
                  <a:lnTo>
                    <a:pt x="683" y="737"/>
                  </a:lnTo>
                  <a:lnTo>
                    <a:pt x="683" y="739"/>
                  </a:lnTo>
                  <a:lnTo>
                    <a:pt x="685" y="740"/>
                  </a:lnTo>
                  <a:lnTo>
                    <a:pt x="687" y="742"/>
                  </a:lnTo>
                  <a:lnTo>
                    <a:pt x="687" y="744"/>
                  </a:lnTo>
                  <a:lnTo>
                    <a:pt x="687" y="748"/>
                  </a:lnTo>
                  <a:lnTo>
                    <a:pt x="693" y="752"/>
                  </a:lnTo>
                  <a:lnTo>
                    <a:pt x="696" y="753"/>
                  </a:lnTo>
                  <a:lnTo>
                    <a:pt x="700" y="752"/>
                  </a:lnTo>
                  <a:lnTo>
                    <a:pt x="701" y="753"/>
                  </a:lnTo>
                  <a:lnTo>
                    <a:pt x="711" y="757"/>
                  </a:lnTo>
                  <a:lnTo>
                    <a:pt x="711" y="758"/>
                  </a:lnTo>
                  <a:lnTo>
                    <a:pt x="713" y="760"/>
                  </a:lnTo>
                  <a:lnTo>
                    <a:pt x="719" y="760"/>
                  </a:lnTo>
                  <a:lnTo>
                    <a:pt x="721" y="760"/>
                  </a:lnTo>
                  <a:lnTo>
                    <a:pt x="722" y="765"/>
                  </a:lnTo>
                  <a:lnTo>
                    <a:pt x="721" y="768"/>
                  </a:lnTo>
                  <a:lnTo>
                    <a:pt x="726" y="773"/>
                  </a:lnTo>
                  <a:lnTo>
                    <a:pt x="729" y="776"/>
                  </a:lnTo>
                  <a:lnTo>
                    <a:pt x="731" y="779"/>
                  </a:lnTo>
                  <a:lnTo>
                    <a:pt x="731" y="783"/>
                  </a:lnTo>
                  <a:lnTo>
                    <a:pt x="732" y="786"/>
                  </a:lnTo>
                  <a:lnTo>
                    <a:pt x="732" y="787"/>
                  </a:lnTo>
                  <a:lnTo>
                    <a:pt x="731" y="792"/>
                  </a:lnTo>
                  <a:lnTo>
                    <a:pt x="731" y="797"/>
                  </a:lnTo>
                  <a:lnTo>
                    <a:pt x="727" y="805"/>
                  </a:lnTo>
                  <a:lnTo>
                    <a:pt x="726" y="807"/>
                  </a:lnTo>
                  <a:lnTo>
                    <a:pt x="726" y="810"/>
                  </a:lnTo>
                  <a:lnTo>
                    <a:pt x="726" y="823"/>
                  </a:lnTo>
                  <a:lnTo>
                    <a:pt x="721" y="828"/>
                  </a:lnTo>
                  <a:lnTo>
                    <a:pt x="711" y="838"/>
                  </a:lnTo>
                  <a:lnTo>
                    <a:pt x="719" y="843"/>
                  </a:lnTo>
                  <a:lnTo>
                    <a:pt x="719" y="844"/>
                  </a:lnTo>
                  <a:lnTo>
                    <a:pt x="721" y="844"/>
                  </a:lnTo>
                  <a:lnTo>
                    <a:pt x="722" y="846"/>
                  </a:lnTo>
                  <a:lnTo>
                    <a:pt x="724" y="846"/>
                  </a:lnTo>
                  <a:lnTo>
                    <a:pt x="724" y="848"/>
                  </a:lnTo>
                  <a:lnTo>
                    <a:pt x="734" y="853"/>
                  </a:lnTo>
                  <a:lnTo>
                    <a:pt x="735" y="856"/>
                  </a:lnTo>
                  <a:lnTo>
                    <a:pt x="739" y="857"/>
                  </a:lnTo>
                  <a:lnTo>
                    <a:pt x="745" y="859"/>
                  </a:lnTo>
                  <a:lnTo>
                    <a:pt x="755" y="867"/>
                  </a:lnTo>
                  <a:lnTo>
                    <a:pt x="757" y="869"/>
                  </a:lnTo>
                  <a:lnTo>
                    <a:pt x="763" y="869"/>
                  </a:lnTo>
                  <a:lnTo>
                    <a:pt x="771" y="870"/>
                  </a:lnTo>
                  <a:lnTo>
                    <a:pt x="776" y="870"/>
                  </a:lnTo>
                  <a:lnTo>
                    <a:pt x="778" y="872"/>
                  </a:lnTo>
                  <a:lnTo>
                    <a:pt x="781" y="874"/>
                  </a:lnTo>
                  <a:lnTo>
                    <a:pt x="783" y="875"/>
                  </a:lnTo>
                  <a:lnTo>
                    <a:pt x="787" y="875"/>
                  </a:lnTo>
                  <a:lnTo>
                    <a:pt x="789" y="877"/>
                  </a:lnTo>
                  <a:lnTo>
                    <a:pt x="792" y="880"/>
                  </a:lnTo>
                  <a:lnTo>
                    <a:pt x="794" y="880"/>
                  </a:lnTo>
                  <a:lnTo>
                    <a:pt x="796" y="880"/>
                  </a:lnTo>
                  <a:lnTo>
                    <a:pt x="799" y="882"/>
                  </a:lnTo>
                  <a:lnTo>
                    <a:pt x="800" y="882"/>
                  </a:lnTo>
                  <a:lnTo>
                    <a:pt x="800" y="883"/>
                  </a:lnTo>
                  <a:lnTo>
                    <a:pt x="802" y="883"/>
                  </a:lnTo>
                  <a:lnTo>
                    <a:pt x="804" y="883"/>
                  </a:lnTo>
                  <a:lnTo>
                    <a:pt x="805" y="883"/>
                  </a:lnTo>
                  <a:lnTo>
                    <a:pt x="807" y="885"/>
                  </a:lnTo>
                  <a:lnTo>
                    <a:pt x="809" y="887"/>
                  </a:lnTo>
                  <a:lnTo>
                    <a:pt x="810" y="887"/>
                  </a:lnTo>
                  <a:lnTo>
                    <a:pt x="812" y="887"/>
                  </a:lnTo>
                  <a:lnTo>
                    <a:pt x="812" y="888"/>
                  </a:lnTo>
                  <a:lnTo>
                    <a:pt x="813" y="888"/>
                  </a:lnTo>
                  <a:lnTo>
                    <a:pt x="813" y="892"/>
                  </a:lnTo>
                  <a:lnTo>
                    <a:pt x="815" y="892"/>
                  </a:lnTo>
                  <a:lnTo>
                    <a:pt x="815" y="893"/>
                  </a:lnTo>
                  <a:lnTo>
                    <a:pt x="818" y="900"/>
                  </a:lnTo>
                  <a:lnTo>
                    <a:pt x="820" y="901"/>
                  </a:lnTo>
                  <a:lnTo>
                    <a:pt x="820" y="903"/>
                  </a:lnTo>
                  <a:lnTo>
                    <a:pt x="822" y="903"/>
                  </a:lnTo>
                  <a:lnTo>
                    <a:pt x="825" y="905"/>
                  </a:lnTo>
                  <a:lnTo>
                    <a:pt x="826" y="905"/>
                  </a:lnTo>
                  <a:lnTo>
                    <a:pt x="831" y="908"/>
                  </a:lnTo>
                  <a:lnTo>
                    <a:pt x="833" y="908"/>
                  </a:lnTo>
                  <a:lnTo>
                    <a:pt x="835" y="909"/>
                  </a:lnTo>
                  <a:lnTo>
                    <a:pt x="836" y="913"/>
                  </a:lnTo>
                  <a:lnTo>
                    <a:pt x="838" y="913"/>
                  </a:lnTo>
                  <a:lnTo>
                    <a:pt x="839" y="913"/>
                  </a:lnTo>
                  <a:lnTo>
                    <a:pt x="846" y="921"/>
                  </a:lnTo>
                  <a:lnTo>
                    <a:pt x="849" y="924"/>
                  </a:lnTo>
                  <a:lnTo>
                    <a:pt x="846" y="937"/>
                  </a:lnTo>
                  <a:lnTo>
                    <a:pt x="846" y="940"/>
                  </a:lnTo>
                  <a:lnTo>
                    <a:pt x="846" y="942"/>
                  </a:lnTo>
                  <a:lnTo>
                    <a:pt x="844" y="944"/>
                  </a:lnTo>
                  <a:lnTo>
                    <a:pt x="846" y="957"/>
                  </a:lnTo>
                  <a:lnTo>
                    <a:pt x="846" y="958"/>
                  </a:lnTo>
                  <a:lnTo>
                    <a:pt x="846" y="960"/>
                  </a:lnTo>
                  <a:lnTo>
                    <a:pt x="848" y="962"/>
                  </a:lnTo>
                  <a:lnTo>
                    <a:pt x="848" y="963"/>
                  </a:lnTo>
                  <a:lnTo>
                    <a:pt x="846" y="965"/>
                  </a:lnTo>
                  <a:lnTo>
                    <a:pt x="844" y="981"/>
                  </a:lnTo>
                  <a:lnTo>
                    <a:pt x="844" y="986"/>
                  </a:lnTo>
                  <a:lnTo>
                    <a:pt x="843" y="988"/>
                  </a:lnTo>
                  <a:lnTo>
                    <a:pt x="843" y="989"/>
                  </a:lnTo>
                  <a:lnTo>
                    <a:pt x="843" y="992"/>
                  </a:lnTo>
                  <a:lnTo>
                    <a:pt x="843" y="994"/>
                  </a:lnTo>
                  <a:lnTo>
                    <a:pt x="841" y="996"/>
                  </a:lnTo>
                  <a:lnTo>
                    <a:pt x="835" y="1015"/>
                  </a:lnTo>
                  <a:lnTo>
                    <a:pt x="836" y="1015"/>
                  </a:lnTo>
                  <a:lnTo>
                    <a:pt x="836" y="1017"/>
                  </a:lnTo>
                  <a:lnTo>
                    <a:pt x="836" y="1018"/>
                  </a:lnTo>
                  <a:lnTo>
                    <a:pt x="833" y="1018"/>
                  </a:lnTo>
                  <a:lnTo>
                    <a:pt x="831" y="1020"/>
                  </a:lnTo>
                  <a:lnTo>
                    <a:pt x="830" y="1023"/>
                  </a:lnTo>
                  <a:lnTo>
                    <a:pt x="830" y="1025"/>
                  </a:lnTo>
                  <a:lnTo>
                    <a:pt x="828" y="1025"/>
                  </a:lnTo>
                  <a:lnTo>
                    <a:pt x="828" y="1027"/>
                  </a:lnTo>
                  <a:lnTo>
                    <a:pt x="830" y="1027"/>
                  </a:lnTo>
                  <a:lnTo>
                    <a:pt x="828" y="1028"/>
                  </a:lnTo>
                  <a:lnTo>
                    <a:pt x="826" y="1033"/>
                  </a:lnTo>
                  <a:lnTo>
                    <a:pt x="826" y="1036"/>
                  </a:lnTo>
                  <a:lnTo>
                    <a:pt x="823" y="1036"/>
                  </a:lnTo>
                  <a:lnTo>
                    <a:pt x="822" y="1038"/>
                  </a:lnTo>
                  <a:lnTo>
                    <a:pt x="822" y="1040"/>
                  </a:lnTo>
                  <a:lnTo>
                    <a:pt x="820" y="1041"/>
                  </a:lnTo>
                  <a:lnTo>
                    <a:pt x="822" y="1041"/>
                  </a:lnTo>
                  <a:lnTo>
                    <a:pt x="822" y="1043"/>
                  </a:lnTo>
                  <a:lnTo>
                    <a:pt x="822" y="1048"/>
                  </a:lnTo>
                  <a:lnTo>
                    <a:pt x="820" y="1051"/>
                  </a:lnTo>
                  <a:lnTo>
                    <a:pt x="815" y="1067"/>
                  </a:lnTo>
                  <a:lnTo>
                    <a:pt x="813" y="1070"/>
                  </a:lnTo>
                  <a:lnTo>
                    <a:pt x="812" y="1074"/>
                  </a:lnTo>
                  <a:lnTo>
                    <a:pt x="812" y="1075"/>
                  </a:lnTo>
                  <a:lnTo>
                    <a:pt x="810" y="1077"/>
                  </a:lnTo>
                  <a:lnTo>
                    <a:pt x="812" y="1080"/>
                  </a:lnTo>
                  <a:lnTo>
                    <a:pt x="812" y="1082"/>
                  </a:lnTo>
                  <a:lnTo>
                    <a:pt x="810" y="1082"/>
                  </a:lnTo>
                  <a:lnTo>
                    <a:pt x="809" y="1083"/>
                  </a:lnTo>
                  <a:lnTo>
                    <a:pt x="809" y="1085"/>
                  </a:lnTo>
                  <a:lnTo>
                    <a:pt x="807" y="1090"/>
                  </a:lnTo>
                  <a:lnTo>
                    <a:pt x="805" y="1090"/>
                  </a:lnTo>
                  <a:lnTo>
                    <a:pt x="807" y="1092"/>
                  </a:lnTo>
                  <a:lnTo>
                    <a:pt x="804" y="1097"/>
                  </a:lnTo>
                  <a:lnTo>
                    <a:pt x="800" y="1103"/>
                  </a:lnTo>
                  <a:lnTo>
                    <a:pt x="802" y="1108"/>
                  </a:lnTo>
                  <a:lnTo>
                    <a:pt x="802" y="1110"/>
                  </a:lnTo>
                  <a:lnTo>
                    <a:pt x="796" y="1119"/>
                  </a:lnTo>
                  <a:lnTo>
                    <a:pt x="794" y="1126"/>
                  </a:lnTo>
                  <a:lnTo>
                    <a:pt x="792" y="1127"/>
                  </a:lnTo>
                  <a:lnTo>
                    <a:pt x="792" y="1129"/>
                  </a:lnTo>
                  <a:lnTo>
                    <a:pt x="792" y="1132"/>
                  </a:lnTo>
                  <a:lnTo>
                    <a:pt x="789" y="1139"/>
                  </a:lnTo>
                  <a:lnTo>
                    <a:pt x="789" y="1140"/>
                  </a:lnTo>
                  <a:lnTo>
                    <a:pt x="791" y="1140"/>
                  </a:lnTo>
                  <a:lnTo>
                    <a:pt x="789" y="1142"/>
                  </a:lnTo>
                  <a:lnTo>
                    <a:pt x="789" y="1144"/>
                  </a:lnTo>
                  <a:lnTo>
                    <a:pt x="787" y="1145"/>
                  </a:lnTo>
                  <a:lnTo>
                    <a:pt x="786" y="1149"/>
                  </a:lnTo>
                  <a:lnTo>
                    <a:pt x="786" y="1150"/>
                  </a:lnTo>
                  <a:lnTo>
                    <a:pt x="786" y="1152"/>
                  </a:lnTo>
                  <a:lnTo>
                    <a:pt x="783" y="1157"/>
                  </a:lnTo>
                  <a:lnTo>
                    <a:pt x="781" y="1157"/>
                  </a:lnTo>
                  <a:lnTo>
                    <a:pt x="779" y="1158"/>
                  </a:lnTo>
                  <a:lnTo>
                    <a:pt x="778" y="1158"/>
                  </a:lnTo>
                  <a:lnTo>
                    <a:pt x="779" y="1162"/>
                  </a:lnTo>
                  <a:lnTo>
                    <a:pt x="774" y="1175"/>
                  </a:lnTo>
                  <a:lnTo>
                    <a:pt x="771" y="1181"/>
                  </a:lnTo>
                  <a:lnTo>
                    <a:pt x="771" y="1184"/>
                  </a:lnTo>
                  <a:lnTo>
                    <a:pt x="770" y="1191"/>
                  </a:lnTo>
                  <a:lnTo>
                    <a:pt x="770" y="1192"/>
                  </a:lnTo>
                  <a:lnTo>
                    <a:pt x="770" y="1194"/>
                  </a:lnTo>
                  <a:lnTo>
                    <a:pt x="768" y="1196"/>
                  </a:lnTo>
                  <a:lnTo>
                    <a:pt x="766" y="1197"/>
                  </a:lnTo>
                  <a:lnTo>
                    <a:pt x="766" y="1199"/>
                  </a:lnTo>
                  <a:lnTo>
                    <a:pt x="763" y="1202"/>
                  </a:lnTo>
                  <a:lnTo>
                    <a:pt x="761" y="1205"/>
                  </a:lnTo>
                  <a:lnTo>
                    <a:pt x="758" y="1209"/>
                  </a:lnTo>
                  <a:lnTo>
                    <a:pt x="757" y="1212"/>
                  </a:lnTo>
                  <a:lnTo>
                    <a:pt x="755" y="1215"/>
                  </a:lnTo>
                  <a:lnTo>
                    <a:pt x="753" y="1217"/>
                  </a:lnTo>
                  <a:lnTo>
                    <a:pt x="752" y="1217"/>
                  </a:lnTo>
                  <a:lnTo>
                    <a:pt x="752" y="1218"/>
                  </a:lnTo>
                  <a:lnTo>
                    <a:pt x="750" y="1218"/>
                  </a:lnTo>
                  <a:lnTo>
                    <a:pt x="747" y="1222"/>
                  </a:lnTo>
                  <a:lnTo>
                    <a:pt x="748" y="1225"/>
                  </a:lnTo>
                  <a:lnTo>
                    <a:pt x="747" y="1230"/>
                  </a:lnTo>
                  <a:lnTo>
                    <a:pt x="744" y="1235"/>
                  </a:lnTo>
                  <a:lnTo>
                    <a:pt x="744" y="1238"/>
                  </a:lnTo>
                  <a:lnTo>
                    <a:pt x="744" y="1245"/>
                  </a:lnTo>
                  <a:lnTo>
                    <a:pt x="744" y="1248"/>
                  </a:lnTo>
                  <a:lnTo>
                    <a:pt x="744" y="1249"/>
                  </a:lnTo>
                  <a:lnTo>
                    <a:pt x="740" y="1249"/>
                  </a:lnTo>
                  <a:lnTo>
                    <a:pt x="739" y="1249"/>
                  </a:lnTo>
                  <a:lnTo>
                    <a:pt x="737" y="1249"/>
                  </a:lnTo>
                  <a:lnTo>
                    <a:pt x="734" y="1249"/>
                  </a:lnTo>
                  <a:lnTo>
                    <a:pt x="734" y="1251"/>
                  </a:lnTo>
                  <a:lnTo>
                    <a:pt x="732" y="1254"/>
                  </a:lnTo>
                  <a:lnTo>
                    <a:pt x="732" y="1256"/>
                  </a:lnTo>
                  <a:lnTo>
                    <a:pt x="731" y="1258"/>
                  </a:lnTo>
                  <a:lnTo>
                    <a:pt x="729" y="1259"/>
                  </a:lnTo>
                  <a:lnTo>
                    <a:pt x="726" y="1267"/>
                  </a:lnTo>
                  <a:lnTo>
                    <a:pt x="724" y="1267"/>
                  </a:lnTo>
                  <a:lnTo>
                    <a:pt x="724" y="1271"/>
                  </a:lnTo>
                  <a:lnTo>
                    <a:pt x="722" y="1275"/>
                  </a:lnTo>
                  <a:lnTo>
                    <a:pt x="721" y="1280"/>
                  </a:lnTo>
                  <a:lnTo>
                    <a:pt x="718" y="1282"/>
                  </a:lnTo>
                  <a:lnTo>
                    <a:pt x="716" y="1287"/>
                  </a:lnTo>
                  <a:lnTo>
                    <a:pt x="716" y="1288"/>
                  </a:lnTo>
                  <a:lnTo>
                    <a:pt x="713" y="1295"/>
                  </a:lnTo>
                  <a:lnTo>
                    <a:pt x="705" y="1310"/>
                  </a:lnTo>
                  <a:lnTo>
                    <a:pt x="705" y="1311"/>
                  </a:lnTo>
                  <a:lnTo>
                    <a:pt x="703" y="1314"/>
                  </a:lnTo>
                  <a:lnTo>
                    <a:pt x="703" y="1316"/>
                  </a:lnTo>
                  <a:lnTo>
                    <a:pt x="703" y="1318"/>
                  </a:lnTo>
                  <a:lnTo>
                    <a:pt x="701" y="1319"/>
                  </a:lnTo>
                  <a:lnTo>
                    <a:pt x="701" y="1321"/>
                  </a:lnTo>
                  <a:lnTo>
                    <a:pt x="700" y="1321"/>
                  </a:lnTo>
                  <a:lnTo>
                    <a:pt x="700" y="1319"/>
                  </a:lnTo>
                  <a:lnTo>
                    <a:pt x="700" y="1321"/>
                  </a:lnTo>
                  <a:lnTo>
                    <a:pt x="700" y="1319"/>
                  </a:lnTo>
                  <a:lnTo>
                    <a:pt x="698" y="1318"/>
                  </a:lnTo>
                  <a:lnTo>
                    <a:pt x="698" y="1316"/>
                  </a:lnTo>
                  <a:lnTo>
                    <a:pt x="696" y="1316"/>
                  </a:lnTo>
                  <a:lnTo>
                    <a:pt x="695" y="1316"/>
                  </a:lnTo>
                  <a:lnTo>
                    <a:pt x="695" y="1318"/>
                  </a:lnTo>
                  <a:lnTo>
                    <a:pt x="696" y="1318"/>
                  </a:lnTo>
                  <a:lnTo>
                    <a:pt x="695" y="1318"/>
                  </a:lnTo>
                  <a:lnTo>
                    <a:pt x="695" y="1319"/>
                  </a:lnTo>
                  <a:lnTo>
                    <a:pt x="695" y="1321"/>
                  </a:lnTo>
                  <a:lnTo>
                    <a:pt x="696" y="1321"/>
                  </a:lnTo>
                  <a:lnTo>
                    <a:pt x="695" y="1321"/>
                  </a:lnTo>
                  <a:lnTo>
                    <a:pt x="695" y="1323"/>
                  </a:lnTo>
                  <a:lnTo>
                    <a:pt x="696" y="1323"/>
                  </a:lnTo>
                  <a:lnTo>
                    <a:pt x="696" y="1324"/>
                  </a:lnTo>
                  <a:lnTo>
                    <a:pt x="698" y="1324"/>
                  </a:lnTo>
                  <a:lnTo>
                    <a:pt x="698" y="1323"/>
                  </a:lnTo>
                  <a:lnTo>
                    <a:pt x="698" y="1324"/>
                  </a:lnTo>
                  <a:lnTo>
                    <a:pt x="696" y="1324"/>
                  </a:lnTo>
                  <a:lnTo>
                    <a:pt x="696" y="1326"/>
                  </a:lnTo>
                  <a:lnTo>
                    <a:pt x="698" y="1326"/>
                  </a:lnTo>
                  <a:lnTo>
                    <a:pt x="696" y="1326"/>
                  </a:lnTo>
                  <a:lnTo>
                    <a:pt x="696" y="1324"/>
                  </a:lnTo>
                  <a:lnTo>
                    <a:pt x="698" y="1326"/>
                  </a:lnTo>
                  <a:lnTo>
                    <a:pt x="698" y="1327"/>
                  </a:lnTo>
                  <a:lnTo>
                    <a:pt x="698" y="1326"/>
                  </a:lnTo>
                  <a:lnTo>
                    <a:pt x="698" y="1327"/>
                  </a:lnTo>
                  <a:lnTo>
                    <a:pt x="700" y="1327"/>
                  </a:lnTo>
                  <a:lnTo>
                    <a:pt x="698" y="1327"/>
                  </a:lnTo>
                  <a:lnTo>
                    <a:pt x="700" y="1327"/>
                  </a:lnTo>
                  <a:lnTo>
                    <a:pt x="700" y="1329"/>
                  </a:lnTo>
                  <a:lnTo>
                    <a:pt x="698" y="1329"/>
                  </a:lnTo>
                  <a:lnTo>
                    <a:pt x="700" y="1329"/>
                  </a:lnTo>
                  <a:lnTo>
                    <a:pt x="698" y="1329"/>
                  </a:lnTo>
                  <a:lnTo>
                    <a:pt x="696" y="1329"/>
                  </a:lnTo>
                  <a:lnTo>
                    <a:pt x="695" y="1329"/>
                  </a:lnTo>
                  <a:lnTo>
                    <a:pt x="696" y="1331"/>
                  </a:lnTo>
                  <a:lnTo>
                    <a:pt x="695" y="1331"/>
                  </a:lnTo>
                  <a:lnTo>
                    <a:pt x="693" y="1331"/>
                  </a:lnTo>
                  <a:lnTo>
                    <a:pt x="691" y="1331"/>
                  </a:lnTo>
                  <a:lnTo>
                    <a:pt x="691" y="1332"/>
                  </a:lnTo>
                  <a:lnTo>
                    <a:pt x="690" y="1332"/>
                  </a:lnTo>
                  <a:lnTo>
                    <a:pt x="690" y="1331"/>
                  </a:lnTo>
                  <a:lnTo>
                    <a:pt x="688" y="1331"/>
                  </a:lnTo>
                  <a:lnTo>
                    <a:pt x="688" y="1329"/>
                  </a:lnTo>
                  <a:lnTo>
                    <a:pt x="690" y="1329"/>
                  </a:lnTo>
                  <a:lnTo>
                    <a:pt x="688" y="1327"/>
                  </a:lnTo>
                  <a:lnTo>
                    <a:pt x="690" y="1327"/>
                  </a:lnTo>
                  <a:lnTo>
                    <a:pt x="691" y="1327"/>
                  </a:lnTo>
                  <a:lnTo>
                    <a:pt x="691" y="1326"/>
                  </a:lnTo>
                  <a:lnTo>
                    <a:pt x="690" y="1326"/>
                  </a:lnTo>
                  <a:lnTo>
                    <a:pt x="688" y="1327"/>
                  </a:lnTo>
                  <a:lnTo>
                    <a:pt x="688" y="1329"/>
                  </a:lnTo>
                  <a:lnTo>
                    <a:pt x="687" y="1329"/>
                  </a:lnTo>
                  <a:lnTo>
                    <a:pt x="687" y="1331"/>
                  </a:lnTo>
                  <a:lnTo>
                    <a:pt x="688" y="1331"/>
                  </a:lnTo>
                  <a:lnTo>
                    <a:pt x="688" y="1332"/>
                  </a:lnTo>
                  <a:lnTo>
                    <a:pt x="688" y="1331"/>
                  </a:lnTo>
                  <a:lnTo>
                    <a:pt x="688" y="1332"/>
                  </a:lnTo>
                  <a:lnTo>
                    <a:pt x="690" y="1332"/>
                  </a:lnTo>
                  <a:lnTo>
                    <a:pt x="691" y="1334"/>
                  </a:lnTo>
                  <a:lnTo>
                    <a:pt x="690" y="1334"/>
                  </a:lnTo>
                  <a:lnTo>
                    <a:pt x="688" y="1334"/>
                  </a:lnTo>
                  <a:lnTo>
                    <a:pt x="687" y="1334"/>
                  </a:lnTo>
                  <a:lnTo>
                    <a:pt x="687" y="1332"/>
                  </a:lnTo>
                  <a:lnTo>
                    <a:pt x="685" y="1332"/>
                  </a:lnTo>
                  <a:lnTo>
                    <a:pt x="683" y="1332"/>
                  </a:lnTo>
                  <a:lnTo>
                    <a:pt x="685" y="1332"/>
                  </a:lnTo>
                  <a:lnTo>
                    <a:pt x="685" y="1334"/>
                  </a:lnTo>
                  <a:lnTo>
                    <a:pt x="685" y="1332"/>
                  </a:lnTo>
                  <a:lnTo>
                    <a:pt x="683" y="1332"/>
                  </a:lnTo>
                  <a:lnTo>
                    <a:pt x="683" y="1331"/>
                  </a:lnTo>
                  <a:lnTo>
                    <a:pt x="682" y="1331"/>
                  </a:lnTo>
                  <a:lnTo>
                    <a:pt x="682" y="1332"/>
                  </a:lnTo>
                  <a:lnTo>
                    <a:pt x="682" y="1331"/>
                  </a:lnTo>
                  <a:lnTo>
                    <a:pt x="680" y="1331"/>
                  </a:lnTo>
                  <a:lnTo>
                    <a:pt x="682" y="1332"/>
                  </a:lnTo>
                  <a:lnTo>
                    <a:pt x="680" y="1332"/>
                  </a:lnTo>
                  <a:lnTo>
                    <a:pt x="680" y="1334"/>
                  </a:lnTo>
                  <a:lnTo>
                    <a:pt x="680" y="1332"/>
                  </a:lnTo>
                  <a:lnTo>
                    <a:pt x="680" y="1334"/>
                  </a:lnTo>
                  <a:lnTo>
                    <a:pt x="680" y="1336"/>
                  </a:lnTo>
                  <a:lnTo>
                    <a:pt x="682" y="1336"/>
                  </a:lnTo>
                  <a:lnTo>
                    <a:pt x="683" y="1337"/>
                  </a:lnTo>
                  <a:lnTo>
                    <a:pt x="682" y="1337"/>
                  </a:lnTo>
                  <a:lnTo>
                    <a:pt x="680" y="1337"/>
                  </a:lnTo>
                  <a:lnTo>
                    <a:pt x="678" y="1337"/>
                  </a:lnTo>
                  <a:lnTo>
                    <a:pt x="677" y="1337"/>
                  </a:lnTo>
                  <a:lnTo>
                    <a:pt x="677" y="1336"/>
                  </a:lnTo>
                  <a:lnTo>
                    <a:pt x="675" y="1336"/>
                  </a:lnTo>
                  <a:lnTo>
                    <a:pt x="675" y="1334"/>
                  </a:lnTo>
                  <a:lnTo>
                    <a:pt x="674" y="1334"/>
                  </a:lnTo>
                  <a:lnTo>
                    <a:pt x="675" y="1334"/>
                  </a:lnTo>
                  <a:lnTo>
                    <a:pt x="674" y="1334"/>
                  </a:lnTo>
                  <a:lnTo>
                    <a:pt x="674" y="1332"/>
                  </a:lnTo>
                  <a:lnTo>
                    <a:pt x="672" y="1332"/>
                  </a:lnTo>
                  <a:lnTo>
                    <a:pt x="674" y="1334"/>
                  </a:lnTo>
                  <a:lnTo>
                    <a:pt x="674" y="1336"/>
                  </a:lnTo>
                  <a:lnTo>
                    <a:pt x="672" y="1336"/>
                  </a:lnTo>
                  <a:lnTo>
                    <a:pt x="672" y="1334"/>
                  </a:lnTo>
                  <a:lnTo>
                    <a:pt x="674" y="1334"/>
                  </a:lnTo>
                  <a:lnTo>
                    <a:pt x="672" y="1334"/>
                  </a:lnTo>
                  <a:lnTo>
                    <a:pt x="670" y="1334"/>
                  </a:lnTo>
                  <a:lnTo>
                    <a:pt x="670" y="1332"/>
                  </a:lnTo>
                  <a:lnTo>
                    <a:pt x="670" y="1334"/>
                  </a:lnTo>
                  <a:lnTo>
                    <a:pt x="669" y="1334"/>
                  </a:lnTo>
                  <a:lnTo>
                    <a:pt x="667" y="1334"/>
                  </a:lnTo>
                  <a:lnTo>
                    <a:pt x="667" y="1332"/>
                  </a:lnTo>
                  <a:lnTo>
                    <a:pt x="669" y="1332"/>
                  </a:lnTo>
                  <a:lnTo>
                    <a:pt x="667" y="1334"/>
                  </a:lnTo>
                  <a:lnTo>
                    <a:pt x="665" y="1334"/>
                  </a:lnTo>
                  <a:lnTo>
                    <a:pt x="664" y="1332"/>
                  </a:lnTo>
                  <a:lnTo>
                    <a:pt x="662" y="1332"/>
                  </a:lnTo>
                  <a:lnTo>
                    <a:pt x="662" y="1334"/>
                  </a:lnTo>
                  <a:lnTo>
                    <a:pt x="664" y="1334"/>
                  </a:lnTo>
                  <a:lnTo>
                    <a:pt x="664" y="1336"/>
                  </a:lnTo>
                  <a:lnTo>
                    <a:pt x="662" y="1336"/>
                  </a:lnTo>
                  <a:lnTo>
                    <a:pt x="662" y="1334"/>
                  </a:lnTo>
                  <a:lnTo>
                    <a:pt x="661" y="1334"/>
                  </a:lnTo>
                  <a:lnTo>
                    <a:pt x="661" y="1336"/>
                  </a:lnTo>
                  <a:lnTo>
                    <a:pt x="661" y="1334"/>
                  </a:lnTo>
                  <a:lnTo>
                    <a:pt x="661" y="1332"/>
                  </a:lnTo>
                  <a:lnTo>
                    <a:pt x="659" y="1331"/>
                  </a:lnTo>
                  <a:lnTo>
                    <a:pt x="659" y="1329"/>
                  </a:lnTo>
                  <a:lnTo>
                    <a:pt x="657" y="1329"/>
                  </a:lnTo>
                  <a:lnTo>
                    <a:pt x="659" y="1329"/>
                  </a:lnTo>
                  <a:lnTo>
                    <a:pt x="659" y="1327"/>
                  </a:lnTo>
                  <a:lnTo>
                    <a:pt x="657" y="1327"/>
                  </a:lnTo>
                  <a:lnTo>
                    <a:pt x="657" y="1326"/>
                  </a:lnTo>
                  <a:lnTo>
                    <a:pt x="657" y="1327"/>
                  </a:lnTo>
                  <a:lnTo>
                    <a:pt x="656" y="1327"/>
                  </a:lnTo>
                  <a:lnTo>
                    <a:pt x="657" y="1327"/>
                  </a:lnTo>
                  <a:lnTo>
                    <a:pt x="656" y="1327"/>
                  </a:lnTo>
                  <a:lnTo>
                    <a:pt x="657" y="1329"/>
                  </a:lnTo>
                  <a:lnTo>
                    <a:pt x="657" y="1327"/>
                  </a:lnTo>
                  <a:lnTo>
                    <a:pt x="657" y="1329"/>
                  </a:lnTo>
                  <a:lnTo>
                    <a:pt x="657" y="1331"/>
                  </a:lnTo>
                  <a:lnTo>
                    <a:pt x="659" y="1331"/>
                  </a:lnTo>
                  <a:lnTo>
                    <a:pt x="657" y="1331"/>
                  </a:lnTo>
                  <a:lnTo>
                    <a:pt x="657" y="1332"/>
                  </a:lnTo>
                  <a:lnTo>
                    <a:pt x="659" y="1332"/>
                  </a:lnTo>
                  <a:lnTo>
                    <a:pt x="659" y="1334"/>
                  </a:lnTo>
                  <a:lnTo>
                    <a:pt x="659" y="1336"/>
                  </a:lnTo>
                  <a:lnTo>
                    <a:pt x="657" y="1336"/>
                  </a:lnTo>
                  <a:lnTo>
                    <a:pt x="657" y="1334"/>
                  </a:lnTo>
                  <a:lnTo>
                    <a:pt x="657" y="1336"/>
                  </a:lnTo>
                  <a:lnTo>
                    <a:pt x="656" y="1336"/>
                  </a:lnTo>
                  <a:lnTo>
                    <a:pt x="656" y="1334"/>
                  </a:lnTo>
                  <a:lnTo>
                    <a:pt x="657" y="1332"/>
                  </a:lnTo>
                  <a:lnTo>
                    <a:pt x="656" y="1334"/>
                  </a:lnTo>
                  <a:lnTo>
                    <a:pt x="654" y="1334"/>
                  </a:lnTo>
                  <a:lnTo>
                    <a:pt x="654" y="1332"/>
                  </a:lnTo>
                  <a:lnTo>
                    <a:pt x="652" y="1332"/>
                  </a:lnTo>
                  <a:lnTo>
                    <a:pt x="652" y="1331"/>
                  </a:lnTo>
                  <a:lnTo>
                    <a:pt x="652" y="1332"/>
                  </a:lnTo>
                  <a:lnTo>
                    <a:pt x="652" y="1331"/>
                  </a:lnTo>
                  <a:lnTo>
                    <a:pt x="652" y="1332"/>
                  </a:lnTo>
                  <a:lnTo>
                    <a:pt x="652" y="1334"/>
                  </a:lnTo>
                  <a:lnTo>
                    <a:pt x="654" y="1334"/>
                  </a:lnTo>
                  <a:lnTo>
                    <a:pt x="652" y="1334"/>
                  </a:lnTo>
                  <a:lnTo>
                    <a:pt x="651" y="1334"/>
                  </a:lnTo>
                  <a:lnTo>
                    <a:pt x="649" y="1332"/>
                  </a:lnTo>
                  <a:lnTo>
                    <a:pt x="649" y="1334"/>
                  </a:lnTo>
                  <a:lnTo>
                    <a:pt x="651" y="1334"/>
                  </a:lnTo>
                  <a:lnTo>
                    <a:pt x="651" y="1336"/>
                  </a:lnTo>
                  <a:lnTo>
                    <a:pt x="649" y="1337"/>
                  </a:lnTo>
                  <a:lnTo>
                    <a:pt x="649" y="1336"/>
                  </a:lnTo>
                  <a:lnTo>
                    <a:pt x="649" y="1334"/>
                  </a:lnTo>
                  <a:lnTo>
                    <a:pt x="648" y="1336"/>
                  </a:lnTo>
                  <a:lnTo>
                    <a:pt x="648" y="1334"/>
                  </a:lnTo>
                  <a:lnTo>
                    <a:pt x="648" y="1332"/>
                  </a:lnTo>
                  <a:lnTo>
                    <a:pt x="648" y="1334"/>
                  </a:lnTo>
                  <a:lnTo>
                    <a:pt x="646" y="1334"/>
                  </a:lnTo>
                  <a:lnTo>
                    <a:pt x="648" y="1334"/>
                  </a:lnTo>
                  <a:lnTo>
                    <a:pt x="646" y="1334"/>
                  </a:lnTo>
                  <a:lnTo>
                    <a:pt x="648" y="1334"/>
                  </a:lnTo>
                  <a:lnTo>
                    <a:pt x="648" y="1336"/>
                  </a:lnTo>
                  <a:lnTo>
                    <a:pt x="649" y="1337"/>
                  </a:lnTo>
                  <a:lnTo>
                    <a:pt x="648" y="1339"/>
                  </a:lnTo>
                  <a:lnTo>
                    <a:pt x="649" y="1339"/>
                  </a:lnTo>
                  <a:lnTo>
                    <a:pt x="648" y="1339"/>
                  </a:lnTo>
                  <a:lnTo>
                    <a:pt x="646" y="1339"/>
                  </a:lnTo>
                  <a:lnTo>
                    <a:pt x="646" y="1340"/>
                  </a:lnTo>
                  <a:lnTo>
                    <a:pt x="648" y="1340"/>
                  </a:lnTo>
                  <a:lnTo>
                    <a:pt x="648" y="1342"/>
                  </a:lnTo>
                  <a:lnTo>
                    <a:pt x="646" y="1342"/>
                  </a:lnTo>
                  <a:lnTo>
                    <a:pt x="648" y="1344"/>
                  </a:lnTo>
                  <a:lnTo>
                    <a:pt x="648" y="1345"/>
                  </a:lnTo>
                  <a:lnTo>
                    <a:pt x="648" y="1344"/>
                  </a:lnTo>
                  <a:lnTo>
                    <a:pt x="646" y="1344"/>
                  </a:lnTo>
                  <a:lnTo>
                    <a:pt x="646" y="1342"/>
                  </a:lnTo>
                  <a:lnTo>
                    <a:pt x="644" y="1342"/>
                  </a:lnTo>
                  <a:lnTo>
                    <a:pt x="646" y="1342"/>
                  </a:lnTo>
                  <a:lnTo>
                    <a:pt x="646" y="1344"/>
                  </a:lnTo>
                  <a:lnTo>
                    <a:pt x="644" y="1342"/>
                  </a:lnTo>
                  <a:lnTo>
                    <a:pt x="643" y="1340"/>
                  </a:lnTo>
                  <a:lnTo>
                    <a:pt x="644" y="1342"/>
                  </a:lnTo>
                  <a:lnTo>
                    <a:pt x="643" y="1342"/>
                  </a:lnTo>
                  <a:lnTo>
                    <a:pt x="643" y="1340"/>
                  </a:lnTo>
                  <a:lnTo>
                    <a:pt x="643" y="1342"/>
                  </a:lnTo>
                  <a:lnTo>
                    <a:pt x="641" y="1342"/>
                  </a:lnTo>
                  <a:lnTo>
                    <a:pt x="643" y="1342"/>
                  </a:lnTo>
                  <a:lnTo>
                    <a:pt x="643" y="1344"/>
                  </a:lnTo>
                  <a:lnTo>
                    <a:pt x="644" y="1344"/>
                  </a:lnTo>
                  <a:lnTo>
                    <a:pt x="644" y="1342"/>
                  </a:lnTo>
                  <a:lnTo>
                    <a:pt x="644" y="1344"/>
                  </a:lnTo>
                  <a:lnTo>
                    <a:pt x="644" y="1345"/>
                  </a:lnTo>
                  <a:lnTo>
                    <a:pt x="644" y="1344"/>
                  </a:lnTo>
                  <a:lnTo>
                    <a:pt x="644" y="1345"/>
                  </a:lnTo>
                  <a:lnTo>
                    <a:pt x="644" y="1347"/>
                  </a:lnTo>
                  <a:lnTo>
                    <a:pt x="644" y="1345"/>
                  </a:lnTo>
                  <a:lnTo>
                    <a:pt x="646" y="1345"/>
                  </a:lnTo>
                  <a:lnTo>
                    <a:pt x="646" y="1347"/>
                  </a:lnTo>
                  <a:lnTo>
                    <a:pt x="646" y="1349"/>
                  </a:lnTo>
                  <a:lnTo>
                    <a:pt x="644" y="1349"/>
                  </a:lnTo>
                  <a:lnTo>
                    <a:pt x="644" y="1347"/>
                  </a:lnTo>
                  <a:lnTo>
                    <a:pt x="643" y="1345"/>
                  </a:lnTo>
                  <a:lnTo>
                    <a:pt x="641" y="1345"/>
                  </a:lnTo>
                  <a:lnTo>
                    <a:pt x="641" y="1344"/>
                  </a:lnTo>
                  <a:lnTo>
                    <a:pt x="641" y="1345"/>
                  </a:lnTo>
                  <a:lnTo>
                    <a:pt x="641" y="1347"/>
                  </a:lnTo>
                  <a:lnTo>
                    <a:pt x="641" y="1345"/>
                  </a:lnTo>
                  <a:lnTo>
                    <a:pt x="641" y="1347"/>
                  </a:lnTo>
                  <a:lnTo>
                    <a:pt x="641" y="1349"/>
                  </a:lnTo>
                  <a:lnTo>
                    <a:pt x="643" y="1349"/>
                  </a:lnTo>
                  <a:lnTo>
                    <a:pt x="643" y="1347"/>
                  </a:lnTo>
                  <a:lnTo>
                    <a:pt x="644" y="1349"/>
                  </a:lnTo>
                  <a:lnTo>
                    <a:pt x="643" y="1349"/>
                  </a:lnTo>
                  <a:lnTo>
                    <a:pt x="644" y="1349"/>
                  </a:lnTo>
                  <a:lnTo>
                    <a:pt x="644" y="1350"/>
                  </a:lnTo>
                  <a:lnTo>
                    <a:pt x="644" y="1352"/>
                  </a:lnTo>
                  <a:lnTo>
                    <a:pt x="644" y="1350"/>
                  </a:lnTo>
                  <a:lnTo>
                    <a:pt x="643" y="1350"/>
                  </a:lnTo>
                  <a:lnTo>
                    <a:pt x="643" y="1352"/>
                  </a:lnTo>
                  <a:lnTo>
                    <a:pt x="644" y="1352"/>
                  </a:lnTo>
                  <a:lnTo>
                    <a:pt x="646" y="1352"/>
                  </a:lnTo>
                  <a:lnTo>
                    <a:pt x="644" y="1352"/>
                  </a:lnTo>
                  <a:lnTo>
                    <a:pt x="646" y="1352"/>
                  </a:lnTo>
                  <a:lnTo>
                    <a:pt x="646" y="1353"/>
                  </a:lnTo>
                  <a:lnTo>
                    <a:pt x="644" y="1353"/>
                  </a:lnTo>
                  <a:lnTo>
                    <a:pt x="643" y="1352"/>
                  </a:lnTo>
                  <a:lnTo>
                    <a:pt x="641" y="1352"/>
                  </a:lnTo>
                  <a:lnTo>
                    <a:pt x="641" y="1353"/>
                  </a:lnTo>
                  <a:lnTo>
                    <a:pt x="641" y="1352"/>
                  </a:lnTo>
                  <a:lnTo>
                    <a:pt x="641" y="1353"/>
                  </a:lnTo>
                  <a:lnTo>
                    <a:pt x="639" y="1352"/>
                  </a:lnTo>
                  <a:lnTo>
                    <a:pt x="639" y="1350"/>
                  </a:lnTo>
                  <a:lnTo>
                    <a:pt x="641" y="1350"/>
                  </a:lnTo>
                  <a:lnTo>
                    <a:pt x="639" y="1350"/>
                  </a:lnTo>
                  <a:lnTo>
                    <a:pt x="639" y="1349"/>
                  </a:lnTo>
                  <a:lnTo>
                    <a:pt x="641" y="1349"/>
                  </a:lnTo>
                  <a:lnTo>
                    <a:pt x="639" y="1349"/>
                  </a:lnTo>
                  <a:lnTo>
                    <a:pt x="641" y="1347"/>
                  </a:lnTo>
                  <a:lnTo>
                    <a:pt x="639" y="1347"/>
                  </a:lnTo>
                  <a:lnTo>
                    <a:pt x="641" y="1347"/>
                  </a:lnTo>
                  <a:lnTo>
                    <a:pt x="639" y="1347"/>
                  </a:lnTo>
                  <a:lnTo>
                    <a:pt x="639" y="1345"/>
                  </a:lnTo>
                  <a:lnTo>
                    <a:pt x="638" y="1345"/>
                  </a:lnTo>
                  <a:lnTo>
                    <a:pt x="638" y="1347"/>
                  </a:lnTo>
                  <a:lnTo>
                    <a:pt x="638" y="1349"/>
                  </a:lnTo>
                  <a:lnTo>
                    <a:pt x="638" y="1347"/>
                  </a:lnTo>
                  <a:lnTo>
                    <a:pt x="639" y="1347"/>
                  </a:lnTo>
                  <a:lnTo>
                    <a:pt x="638" y="1349"/>
                  </a:lnTo>
                  <a:lnTo>
                    <a:pt x="636" y="1349"/>
                  </a:lnTo>
                  <a:lnTo>
                    <a:pt x="636" y="1350"/>
                  </a:lnTo>
                  <a:lnTo>
                    <a:pt x="635" y="1350"/>
                  </a:lnTo>
                  <a:lnTo>
                    <a:pt x="633" y="1349"/>
                  </a:lnTo>
                  <a:lnTo>
                    <a:pt x="633" y="1347"/>
                  </a:lnTo>
                  <a:lnTo>
                    <a:pt x="631" y="1347"/>
                  </a:lnTo>
                  <a:lnTo>
                    <a:pt x="631" y="1349"/>
                  </a:lnTo>
                  <a:lnTo>
                    <a:pt x="631" y="1347"/>
                  </a:lnTo>
                  <a:lnTo>
                    <a:pt x="630" y="1349"/>
                  </a:lnTo>
                  <a:lnTo>
                    <a:pt x="631" y="1349"/>
                  </a:lnTo>
                  <a:lnTo>
                    <a:pt x="631" y="1350"/>
                  </a:lnTo>
                  <a:lnTo>
                    <a:pt x="631" y="1352"/>
                  </a:lnTo>
                  <a:lnTo>
                    <a:pt x="633" y="1352"/>
                  </a:lnTo>
                  <a:lnTo>
                    <a:pt x="631" y="1352"/>
                  </a:lnTo>
                  <a:lnTo>
                    <a:pt x="630" y="1352"/>
                  </a:lnTo>
                  <a:lnTo>
                    <a:pt x="631" y="1353"/>
                  </a:lnTo>
                  <a:lnTo>
                    <a:pt x="630" y="1353"/>
                  </a:lnTo>
                  <a:lnTo>
                    <a:pt x="630" y="1355"/>
                  </a:lnTo>
                  <a:lnTo>
                    <a:pt x="628" y="1355"/>
                  </a:lnTo>
                  <a:lnTo>
                    <a:pt x="628" y="1357"/>
                  </a:lnTo>
                  <a:lnTo>
                    <a:pt x="626" y="1355"/>
                  </a:lnTo>
                  <a:lnTo>
                    <a:pt x="626" y="1353"/>
                  </a:lnTo>
                  <a:lnTo>
                    <a:pt x="625" y="1353"/>
                  </a:lnTo>
                  <a:lnTo>
                    <a:pt x="625" y="1352"/>
                  </a:lnTo>
                  <a:lnTo>
                    <a:pt x="623" y="1352"/>
                  </a:lnTo>
                  <a:lnTo>
                    <a:pt x="623" y="1353"/>
                  </a:lnTo>
                  <a:lnTo>
                    <a:pt x="623" y="1352"/>
                  </a:lnTo>
                  <a:lnTo>
                    <a:pt x="623" y="1353"/>
                  </a:lnTo>
                  <a:lnTo>
                    <a:pt x="622" y="1353"/>
                  </a:lnTo>
                  <a:lnTo>
                    <a:pt x="620" y="1353"/>
                  </a:lnTo>
                  <a:lnTo>
                    <a:pt x="620" y="1355"/>
                  </a:lnTo>
                  <a:lnTo>
                    <a:pt x="620" y="1357"/>
                  </a:lnTo>
                  <a:lnTo>
                    <a:pt x="622" y="1358"/>
                  </a:lnTo>
                  <a:lnTo>
                    <a:pt x="622" y="1357"/>
                  </a:lnTo>
                  <a:lnTo>
                    <a:pt x="620" y="1357"/>
                  </a:lnTo>
                  <a:lnTo>
                    <a:pt x="618" y="1357"/>
                  </a:lnTo>
                  <a:lnTo>
                    <a:pt x="618" y="1355"/>
                  </a:lnTo>
                  <a:lnTo>
                    <a:pt x="617" y="1355"/>
                  </a:lnTo>
                  <a:lnTo>
                    <a:pt x="615" y="1355"/>
                  </a:lnTo>
                  <a:lnTo>
                    <a:pt x="613" y="1353"/>
                  </a:lnTo>
                  <a:lnTo>
                    <a:pt x="613" y="1352"/>
                  </a:lnTo>
                  <a:lnTo>
                    <a:pt x="612" y="1352"/>
                  </a:lnTo>
                  <a:lnTo>
                    <a:pt x="610" y="1350"/>
                  </a:lnTo>
                  <a:lnTo>
                    <a:pt x="612" y="1352"/>
                  </a:lnTo>
                  <a:lnTo>
                    <a:pt x="610" y="1352"/>
                  </a:lnTo>
                  <a:lnTo>
                    <a:pt x="612" y="1352"/>
                  </a:lnTo>
                  <a:lnTo>
                    <a:pt x="610" y="1352"/>
                  </a:lnTo>
                  <a:lnTo>
                    <a:pt x="612" y="1353"/>
                  </a:lnTo>
                  <a:lnTo>
                    <a:pt x="610" y="1353"/>
                  </a:lnTo>
                  <a:lnTo>
                    <a:pt x="610" y="1355"/>
                  </a:lnTo>
                  <a:lnTo>
                    <a:pt x="612" y="1355"/>
                  </a:lnTo>
                  <a:lnTo>
                    <a:pt x="610" y="1355"/>
                  </a:lnTo>
                  <a:lnTo>
                    <a:pt x="612" y="1355"/>
                  </a:lnTo>
                  <a:lnTo>
                    <a:pt x="612" y="1357"/>
                  </a:lnTo>
                  <a:lnTo>
                    <a:pt x="613" y="1357"/>
                  </a:lnTo>
                  <a:lnTo>
                    <a:pt x="612" y="1358"/>
                  </a:lnTo>
                  <a:lnTo>
                    <a:pt x="613" y="1358"/>
                  </a:lnTo>
                  <a:lnTo>
                    <a:pt x="613" y="1360"/>
                  </a:lnTo>
                  <a:lnTo>
                    <a:pt x="613" y="1362"/>
                  </a:lnTo>
                  <a:lnTo>
                    <a:pt x="612" y="1362"/>
                  </a:lnTo>
                  <a:lnTo>
                    <a:pt x="612" y="1360"/>
                  </a:lnTo>
                  <a:lnTo>
                    <a:pt x="612" y="1362"/>
                  </a:lnTo>
                  <a:lnTo>
                    <a:pt x="612" y="1360"/>
                  </a:lnTo>
                  <a:lnTo>
                    <a:pt x="612" y="1362"/>
                  </a:lnTo>
                  <a:lnTo>
                    <a:pt x="613" y="1362"/>
                  </a:lnTo>
                  <a:lnTo>
                    <a:pt x="612" y="1362"/>
                  </a:lnTo>
                  <a:lnTo>
                    <a:pt x="610" y="1362"/>
                  </a:lnTo>
                  <a:lnTo>
                    <a:pt x="612" y="1362"/>
                  </a:lnTo>
                  <a:lnTo>
                    <a:pt x="610" y="1362"/>
                  </a:lnTo>
                  <a:lnTo>
                    <a:pt x="610" y="1360"/>
                  </a:lnTo>
                  <a:lnTo>
                    <a:pt x="610" y="1362"/>
                  </a:lnTo>
                  <a:lnTo>
                    <a:pt x="610" y="1360"/>
                  </a:lnTo>
                  <a:lnTo>
                    <a:pt x="610" y="1362"/>
                  </a:lnTo>
                  <a:lnTo>
                    <a:pt x="610" y="1363"/>
                  </a:lnTo>
                  <a:lnTo>
                    <a:pt x="612" y="1363"/>
                  </a:lnTo>
                  <a:lnTo>
                    <a:pt x="610" y="1363"/>
                  </a:lnTo>
                  <a:lnTo>
                    <a:pt x="612" y="1365"/>
                  </a:lnTo>
                  <a:lnTo>
                    <a:pt x="612" y="1363"/>
                  </a:lnTo>
                  <a:lnTo>
                    <a:pt x="613" y="1363"/>
                  </a:lnTo>
                  <a:lnTo>
                    <a:pt x="613" y="1365"/>
                  </a:lnTo>
                  <a:lnTo>
                    <a:pt x="615" y="1366"/>
                  </a:lnTo>
                  <a:lnTo>
                    <a:pt x="617" y="1366"/>
                  </a:lnTo>
                  <a:lnTo>
                    <a:pt x="618" y="1366"/>
                  </a:lnTo>
                  <a:lnTo>
                    <a:pt x="620" y="1366"/>
                  </a:lnTo>
                  <a:lnTo>
                    <a:pt x="622" y="1366"/>
                  </a:lnTo>
                  <a:lnTo>
                    <a:pt x="620" y="1366"/>
                  </a:lnTo>
                  <a:lnTo>
                    <a:pt x="622" y="1368"/>
                  </a:lnTo>
                  <a:lnTo>
                    <a:pt x="622" y="1370"/>
                  </a:lnTo>
                  <a:lnTo>
                    <a:pt x="620" y="1370"/>
                  </a:lnTo>
                  <a:lnTo>
                    <a:pt x="618" y="1370"/>
                  </a:lnTo>
                  <a:lnTo>
                    <a:pt x="620" y="1370"/>
                  </a:lnTo>
                  <a:lnTo>
                    <a:pt x="618" y="1368"/>
                  </a:lnTo>
                  <a:lnTo>
                    <a:pt x="617" y="1368"/>
                  </a:lnTo>
                  <a:lnTo>
                    <a:pt x="618" y="1368"/>
                  </a:lnTo>
                  <a:lnTo>
                    <a:pt x="617" y="1368"/>
                  </a:lnTo>
                  <a:lnTo>
                    <a:pt x="617" y="1370"/>
                  </a:lnTo>
                  <a:lnTo>
                    <a:pt x="617" y="1368"/>
                  </a:lnTo>
                  <a:lnTo>
                    <a:pt x="617" y="1370"/>
                  </a:lnTo>
                  <a:lnTo>
                    <a:pt x="615" y="1370"/>
                  </a:lnTo>
                  <a:lnTo>
                    <a:pt x="615" y="1368"/>
                  </a:lnTo>
                  <a:lnTo>
                    <a:pt x="613" y="1370"/>
                  </a:lnTo>
                  <a:lnTo>
                    <a:pt x="613" y="1368"/>
                  </a:lnTo>
                  <a:lnTo>
                    <a:pt x="615" y="1368"/>
                  </a:lnTo>
                  <a:lnTo>
                    <a:pt x="613" y="1368"/>
                  </a:lnTo>
                  <a:lnTo>
                    <a:pt x="613" y="1370"/>
                  </a:lnTo>
                  <a:lnTo>
                    <a:pt x="612" y="1370"/>
                  </a:lnTo>
                  <a:lnTo>
                    <a:pt x="610" y="1370"/>
                  </a:lnTo>
                  <a:lnTo>
                    <a:pt x="610" y="1368"/>
                  </a:lnTo>
                  <a:lnTo>
                    <a:pt x="610" y="1366"/>
                  </a:lnTo>
                  <a:lnTo>
                    <a:pt x="610" y="1368"/>
                  </a:lnTo>
                  <a:lnTo>
                    <a:pt x="610" y="1366"/>
                  </a:lnTo>
                  <a:lnTo>
                    <a:pt x="612" y="1366"/>
                  </a:lnTo>
                  <a:lnTo>
                    <a:pt x="612" y="1368"/>
                  </a:lnTo>
                  <a:lnTo>
                    <a:pt x="612" y="1366"/>
                  </a:lnTo>
                  <a:lnTo>
                    <a:pt x="613" y="1368"/>
                  </a:lnTo>
                  <a:lnTo>
                    <a:pt x="613" y="1366"/>
                  </a:lnTo>
                  <a:lnTo>
                    <a:pt x="612" y="1366"/>
                  </a:lnTo>
                  <a:lnTo>
                    <a:pt x="612" y="1365"/>
                  </a:lnTo>
                  <a:lnTo>
                    <a:pt x="612" y="1366"/>
                  </a:lnTo>
                  <a:lnTo>
                    <a:pt x="612" y="1365"/>
                  </a:lnTo>
                  <a:lnTo>
                    <a:pt x="610" y="1365"/>
                  </a:lnTo>
                  <a:lnTo>
                    <a:pt x="612" y="1365"/>
                  </a:lnTo>
                  <a:lnTo>
                    <a:pt x="610" y="1365"/>
                  </a:lnTo>
                  <a:lnTo>
                    <a:pt x="610" y="1363"/>
                  </a:lnTo>
                  <a:lnTo>
                    <a:pt x="609" y="1365"/>
                  </a:lnTo>
                  <a:lnTo>
                    <a:pt x="609" y="1363"/>
                  </a:lnTo>
                  <a:lnTo>
                    <a:pt x="610" y="1363"/>
                  </a:lnTo>
                  <a:lnTo>
                    <a:pt x="609" y="1363"/>
                  </a:lnTo>
                  <a:lnTo>
                    <a:pt x="607" y="1363"/>
                  </a:lnTo>
                  <a:lnTo>
                    <a:pt x="609" y="1365"/>
                  </a:lnTo>
                  <a:lnTo>
                    <a:pt x="607" y="1365"/>
                  </a:lnTo>
                  <a:lnTo>
                    <a:pt x="609" y="1365"/>
                  </a:lnTo>
                  <a:lnTo>
                    <a:pt x="607" y="1365"/>
                  </a:lnTo>
                  <a:lnTo>
                    <a:pt x="605" y="1365"/>
                  </a:lnTo>
                  <a:lnTo>
                    <a:pt x="605" y="1366"/>
                  </a:lnTo>
                  <a:lnTo>
                    <a:pt x="607" y="1366"/>
                  </a:lnTo>
                  <a:lnTo>
                    <a:pt x="607" y="1368"/>
                  </a:lnTo>
                  <a:lnTo>
                    <a:pt x="607" y="1370"/>
                  </a:lnTo>
                  <a:lnTo>
                    <a:pt x="605" y="1370"/>
                  </a:lnTo>
                  <a:lnTo>
                    <a:pt x="605" y="1368"/>
                  </a:lnTo>
                  <a:lnTo>
                    <a:pt x="604" y="1368"/>
                  </a:lnTo>
                  <a:lnTo>
                    <a:pt x="604" y="1366"/>
                  </a:lnTo>
                  <a:lnTo>
                    <a:pt x="602" y="1365"/>
                  </a:lnTo>
                  <a:lnTo>
                    <a:pt x="602" y="1363"/>
                  </a:lnTo>
                  <a:lnTo>
                    <a:pt x="600" y="1363"/>
                  </a:lnTo>
                  <a:lnTo>
                    <a:pt x="600" y="1362"/>
                  </a:lnTo>
                  <a:lnTo>
                    <a:pt x="602" y="1362"/>
                  </a:lnTo>
                  <a:lnTo>
                    <a:pt x="600" y="1362"/>
                  </a:lnTo>
                  <a:lnTo>
                    <a:pt x="599" y="1362"/>
                  </a:lnTo>
                  <a:lnTo>
                    <a:pt x="599" y="1360"/>
                  </a:lnTo>
                  <a:lnTo>
                    <a:pt x="597" y="1358"/>
                  </a:lnTo>
                  <a:lnTo>
                    <a:pt x="597" y="1360"/>
                  </a:lnTo>
                  <a:lnTo>
                    <a:pt x="597" y="1362"/>
                  </a:lnTo>
                  <a:lnTo>
                    <a:pt x="599" y="1362"/>
                  </a:lnTo>
                  <a:lnTo>
                    <a:pt x="597" y="1362"/>
                  </a:lnTo>
                  <a:lnTo>
                    <a:pt x="597" y="1363"/>
                  </a:lnTo>
                  <a:lnTo>
                    <a:pt x="599" y="1363"/>
                  </a:lnTo>
                  <a:lnTo>
                    <a:pt x="600" y="1365"/>
                  </a:lnTo>
                  <a:lnTo>
                    <a:pt x="599" y="1366"/>
                  </a:lnTo>
                  <a:lnTo>
                    <a:pt x="600" y="1366"/>
                  </a:lnTo>
                  <a:lnTo>
                    <a:pt x="602" y="1368"/>
                  </a:lnTo>
                  <a:lnTo>
                    <a:pt x="600" y="1368"/>
                  </a:lnTo>
                  <a:lnTo>
                    <a:pt x="602" y="1368"/>
                  </a:lnTo>
                  <a:lnTo>
                    <a:pt x="600" y="1368"/>
                  </a:lnTo>
                  <a:lnTo>
                    <a:pt x="600" y="1366"/>
                  </a:lnTo>
                  <a:lnTo>
                    <a:pt x="599" y="1366"/>
                  </a:lnTo>
                  <a:lnTo>
                    <a:pt x="600" y="1368"/>
                  </a:lnTo>
                  <a:lnTo>
                    <a:pt x="599" y="1368"/>
                  </a:lnTo>
                  <a:lnTo>
                    <a:pt x="600" y="1368"/>
                  </a:lnTo>
                  <a:lnTo>
                    <a:pt x="599" y="1368"/>
                  </a:lnTo>
                  <a:lnTo>
                    <a:pt x="599" y="1366"/>
                  </a:lnTo>
                  <a:lnTo>
                    <a:pt x="599" y="1368"/>
                  </a:lnTo>
                  <a:lnTo>
                    <a:pt x="597" y="1368"/>
                  </a:lnTo>
                  <a:lnTo>
                    <a:pt x="599" y="1368"/>
                  </a:lnTo>
                  <a:lnTo>
                    <a:pt x="599" y="1366"/>
                  </a:lnTo>
                  <a:lnTo>
                    <a:pt x="597" y="1366"/>
                  </a:lnTo>
                  <a:lnTo>
                    <a:pt x="596" y="1366"/>
                  </a:lnTo>
                  <a:lnTo>
                    <a:pt x="594" y="1366"/>
                  </a:lnTo>
                  <a:lnTo>
                    <a:pt x="594" y="1365"/>
                  </a:lnTo>
                  <a:lnTo>
                    <a:pt x="594" y="1366"/>
                  </a:lnTo>
                  <a:lnTo>
                    <a:pt x="594" y="1368"/>
                  </a:lnTo>
                  <a:lnTo>
                    <a:pt x="596" y="1368"/>
                  </a:lnTo>
                  <a:lnTo>
                    <a:pt x="597" y="1368"/>
                  </a:lnTo>
                  <a:lnTo>
                    <a:pt x="599" y="1368"/>
                  </a:lnTo>
                  <a:lnTo>
                    <a:pt x="599" y="1370"/>
                  </a:lnTo>
                  <a:lnTo>
                    <a:pt x="597" y="1370"/>
                  </a:lnTo>
                  <a:lnTo>
                    <a:pt x="596" y="1370"/>
                  </a:lnTo>
                  <a:lnTo>
                    <a:pt x="596" y="1371"/>
                  </a:lnTo>
                  <a:lnTo>
                    <a:pt x="597" y="1371"/>
                  </a:lnTo>
                  <a:lnTo>
                    <a:pt x="597" y="1370"/>
                  </a:lnTo>
                  <a:lnTo>
                    <a:pt x="597" y="1371"/>
                  </a:lnTo>
                  <a:lnTo>
                    <a:pt x="599" y="1371"/>
                  </a:lnTo>
                  <a:lnTo>
                    <a:pt x="597" y="1371"/>
                  </a:lnTo>
                  <a:lnTo>
                    <a:pt x="597" y="1373"/>
                  </a:lnTo>
                  <a:lnTo>
                    <a:pt x="596" y="1373"/>
                  </a:lnTo>
                  <a:lnTo>
                    <a:pt x="594" y="1371"/>
                  </a:lnTo>
                  <a:lnTo>
                    <a:pt x="596" y="1371"/>
                  </a:lnTo>
                  <a:lnTo>
                    <a:pt x="594" y="1371"/>
                  </a:lnTo>
                  <a:lnTo>
                    <a:pt x="594" y="1370"/>
                  </a:lnTo>
                  <a:lnTo>
                    <a:pt x="594" y="1368"/>
                  </a:lnTo>
                  <a:lnTo>
                    <a:pt x="592" y="1368"/>
                  </a:lnTo>
                  <a:lnTo>
                    <a:pt x="592" y="1370"/>
                  </a:lnTo>
                  <a:lnTo>
                    <a:pt x="591" y="1368"/>
                  </a:lnTo>
                  <a:lnTo>
                    <a:pt x="589" y="1368"/>
                  </a:lnTo>
                  <a:lnTo>
                    <a:pt x="587" y="1366"/>
                  </a:lnTo>
                  <a:lnTo>
                    <a:pt x="586" y="1365"/>
                  </a:lnTo>
                  <a:lnTo>
                    <a:pt x="586" y="1366"/>
                  </a:lnTo>
                  <a:lnTo>
                    <a:pt x="586" y="1368"/>
                  </a:lnTo>
                  <a:lnTo>
                    <a:pt x="587" y="1368"/>
                  </a:lnTo>
                  <a:lnTo>
                    <a:pt x="586" y="1368"/>
                  </a:lnTo>
                  <a:lnTo>
                    <a:pt x="586" y="1366"/>
                  </a:lnTo>
                  <a:lnTo>
                    <a:pt x="584" y="1366"/>
                  </a:lnTo>
                  <a:lnTo>
                    <a:pt x="584" y="1365"/>
                  </a:lnTo>
                  <a:lnTo>
                    <a:pt x="583" y="1365"/>
                  </a:lnTo>
                  <a:lnTo>
                    <a:pt x="583" y="1363"/>
                  </a:lnTo>
                  <a:lnTo>
                    <a:pt x="581" y="1363"/>
                  </a:lnTo>
                  <a:lnTo>
                    <a:pt x="581" y="1362"/>
                  </a:lnTo>
                  <a:lnTo>
                    <a:pt x="579" y="1360"/>
                  </a:lnTo>
                  <a:lnTo>
                    <a:pt x="578" y="1360"/>
                  </a:lnTo>
                  <a:lnTo>
                    <a:pt x="576" y="1360"/>
                  </a:lnTo>
                  <a:lnTo>
                    <a:pt x="574" y="1360"/>
                  </a:lnTo>
                  <a:lnTo>
                    <a:pt x="576" y="1362"/>
                  </a:lnTo>
                  <a:lnTo>
                    <a:pt x="576" y="1360"/>
                  </a:lnTo>
                  <a:lnTo>
                    <a:pt x="578" y="1360"/>
                  </a:lnTo>
                  <a:lnTo>
                    <a:pt x="578" y="1362"/>
                  </a:lnTo>
                  <a:lnTo>
                    <a:pt x="578" y="1363"/>
                  </a:lnTo>
                  <a:lnTo>
                    <a:pt x="579" y="1363"/>
                  </a:lnTo>
                  <a:lnTo>
                    <a:pt x="578" y="1363"/>
                  </a:lnTo>
                  <a:lnTo>
                    <a:pt x="578" y="1365"/>
                  </a:lnTo>
                  <a:lnTo>
                    <a:pt x="579" y="1365"/>
                  </a:lnTo>
                  <a:lnTo>
                    <a:pt x="581" y="1365"/>
                  </a:lnTo>
                  <a:lnTo>
                    <a:pt x="581" y="1366"/>
                  </a:lnTo>
                  <a:lnTo>
                    <a:pt x="583" y="1366"/>
                  </a:lnTo>
                  <a:lnTo>
                    <a:pt x="584" y="1368"/>
                  </a:lnTo>
                  <a:lnTo>
                    <a:pt x="584" y="1370"/>
                  </a:lnTo>
                  <a:lnTo>
                    <a:pt x="584" y="1371"/>
                  </a:lnTo>
                  <a:lnTo>
                    <a:pt x="583" y="1371"/>
                  </a:lnTo>
                  <a:lnTo>
                    <a:pt x="583" y="1370"/>
                  </a:lnTo>
                  <a:lnTo>
                    <a:pt x="583" y="1371"/>
                  </a:lnTo>
                  <a:lnTo>
                    <a:pt x="584" y="1371"/>
                  </a:lnTo>
                  <a:lnTo>
                    <a:pt x="584" y="1373"/>
                  </a:lnTo>
                  <a:lnTo>
                    <a:pt x="586" y="1373"/>
                  </a:lnTo>
                  <a:lnTo>
                    <a:pt x="587" y="1375"/>
                  </a:lnTo>
                  <a:lnTo>
                    <a:pt x="589" y="1376"/>
                  </a:lnTo>
                  <a:lnTo>
                    <a:pt x="589" y="1375"/>
                  </a:lnTo>
                  <a:lnTo>
                    <a:pt x="589" y="1376"/>
                  </a:lnTo>
                  <a:lnTo>
                    <a:pt x="589" y="1378"/>
                  </a:lnTo>
                  <a:lnTo>
                    <a:pt x="591" y="1378"/>
                  </a:lnTo>
                  <a:lnTo>
                    <a:pt x="589" y="1376"/>
                  </a:lnTo>
                  <a:lnTo>
                    <a:pt x="591" y="1376"/>
                  </a:lnTo>
                  <a:lnTo>
                    <a:pt x="591" y="1378"/>
                  </a:lnTo>
                  <a:lnTo>
                    <a:pt x="591" y="1376"/>
                  </a:lnTo>
                  <a:lnTo>
                    <a:pt x="592" y="1378"/>
                  </a:lnTo>
                  <a:lnTo>
                    <a:pt x="592" y="1380"/>
                  </a:lnTo>
                  <a:lnTo>
                    <a:pt x="594" y="1380"/>
                  </a:lnTo>
                  <a:lnTo>
                    <a:pt x="592" y="1380"/>
                  </a:lnTo>
                  <a:lnTo>
                    <a:pt x="592" y="1381"/>
                  </a:lnTo>
                  <a:lnTo>
                    <a:pt x="591" y="1383"/>
                  </a:lnTo>
                  <a:lnTo>
                    <a:pt x="589" y="1383"/>
                  </a:lnTo>
                  <a:lnTo>
                    <a:pt x="587" y="1384"/>
                  </a:lnTo>
                  <a:lnTo>
                    <a:pt x="587" y="1383"/>
                  </a:lnTo>
                  <a:lnTo>
                    <a:pt x="587" y="1381"/>
                  </a:lnTo>
                  <a:lnTo>
                    <a:pt x="586" y="1381"/>
                  </a:lnTo>
                  <a:lnTo>
                    <a:pt x="586" y="1380"/>
                  </a:lnTo>
                  <a:lnTo>
                    <a:pt x="586" y="1378"/>
                  </a:lnTo>
                  <a:lnTo>
                    <a:pt x="584" y="1380"/>
                  </a:lnTo>
                  <a:lnTo>
                    <a:pt x="584" y="1378"/>
                  </a:lnTo>
                  <a:lnTo>
                    <a:pt x="583" y="1376"/>
                  </a:lnTo>
                  <a:lnTo>
                    <a:pt x="583" y="1375"/>
                  </a:lnTo>
                  <a:lnTo>
                    <a:pt x="583" y="1376"/>
                  </a:lnTo>
                  <a:lnTo>
                    <a:pt x="583" y="1378"/>
                  </a:lnTo>
                  <a:lnTo>
                    <a:pt x="581" y="1378"/>
                  </a:lnTo>
                  <a:lnTo>
                    <a:pt x="583" y="1378"/>
                  </a:lnTo>
                  <a:lnTo>
                    <a:pt x="581" y="1378"/>
                  </a:lnTo>
                  <a:lnTo>
                    <a:pt x="579" y="1378"/>
                  </a:lnTo>
                  <a:lnTo>
                    <a:pt x="579" y="1376"/>
                  </a:lnTo>
                  <a:lnTo>
                    <a:pt x="578" y="1376"/>
                  </a:lnTo>
                  <a:lnTo>
                    <a:pt x="576" y="1376"/>
                  </a:lnTo>
                  <a:lnTo>
                    <a:pt x="576" y="1375"/>
                  </a:lnTo>
                  <a:lnTo>
                    <a:pt x="576" y="1373"/>
                  </a:lnTo>
                  <a:lnTo>
                    <a:pt x="574" y="1373"/>
                  </a:lnTo>
                  <a:lnTo>
                    <a:pt x="573" y="1371"/>
                  </a:lnTo>
                  <a:lnTo>
                    <a:pt x="571" y="1371"/>
                  </a:lnTo>
                  <a:lnTo>
                    <a:pt x="573" y="1373"/>
                  </a:lnTo>
                  <a:lnTo>
                    <a:pt x="573" y="1375"/>
                  </a:lnTo>
                  <a:lnTo>
                    <a:pt x="574" y="1375"/>
                  </a:lnTo>
                  <a:lnTo>
                    <a:pt x="576" y="1375"/>
                  </a:lnTo>
                  <a:lnTo>
                    <a:pt x="576" y="1376"/>
                  </a:lnTo>
                  <a:lnTo>
                    <a:pt x="578" y="1376"/>
                  </a:lnTo>
                  <a:lnTo>
                    <a:pt x="578" y="1378"/>
                  </a:lnTo>
                  <a:lnTo>
                    <a:pt x="578" y="1380"/>
                  </a:lnTo>
                  <a:lnTo>
                    <a:pt x="579" y="1380"/>
                  </a:lnTo>
                  <a:lnTo>
                    <a:pt x="578" y="1381"/>
                  </a:lnTo>
                  <a:lnTo>
                    <a:pt x="576" y="1381"/>
                  </a:lnTo>
                  <a:lnTo>
                    <a:pt x="576" y="1383"/>
                  </a:lnTo>
                  <a:lnTo>
                    <a:pt x="576" y="1384"/>
                  </a:lnTo>
                  <a:lnTo>
                    <a:pt x="578" y="1384"/>
                  </a:lnTo>
                  <a:lnTo>
                    <a:pt x="578" y="1386"/>
                  </a:lnTo>
                  <a:lnTo>
                    <a:pt x="579" y="1386"/>
                  </a:lnTo>
                  <a:lnTo>
                    <a:pt x="579" y="1388"/>
                  </a:lnTo>
                  <a:lnTo>
                    <a:pt x="578" y="1388"/>
                  </a:lnTo>
                  <a:lnTo>
                    <a:pt x="579" y="1389"/>
                  </a:lnTo>
                  <a:lnTo>
                    <a:pt x="581" y="1389"/>
                  </a:lnTo>
                  <a:lnTo>
                    <a:pt x="581" y="1391"/>
                  </a:lnTo>
                  <a:lnTo>
                    <a:pt x="581" y="1389"/>
                  </a:lnTo>
                  <a:lnTo>
                    <a:pt x="581" y="1391"/>
                  </a:lnTo>
                  <a:lnTo>
                    <a:pt x="583" y="1391"/>
                  </a:lnTo>
                  <a:lnTo>
                    <a:pt x="583" y="1393"/>
                  </a:lnTo>
                  <a:lnTo>
                    <a:pt x="583" y="1391"/>
                  </a:lnTo>
                  <a:lnTo>
                    <a:pt x="583" y="1393"/>
                  </a:lnTo>
                  <a:lnTo>
                    <a:pt x="581" y="1394"/>
                  </a:lnTo>
                  <a:lnTo>
                    <a:pt x="579" y="1394"/>
                  </a:lnTo>
                  <a:lnTo>
                    <a:pt x="579" y="1393"/>
                  </a:lnTo>
                  <a:lnTo>
                    <a:pt x="578" y="1394"/>
                  </a:lnTo>
                  <a:lnTo>
                    <a:pt x="578" y="1393"/>
                  </a:lnTo>
                  <a:lnTo>
                    <a:pt x="579" y="1393"/>
                  </a:lnTo>
                  <a:lnTo>
                    <a:pt x="578" y="1393"/>
                  </a:lnTo>
                  <a:lnTo>
                    <a:pt x="578" y="1391"/>
                  </a:lnTo>
                  <a:lnTo>
                    <a:pt x="576" y="1389"/>
                  </a:lnTo>
                  <a:lnTo>
                    <a:pt x="576" y="1388"/>
                  </a:lnTo>
                  <a:lnTo>
                    <a:pt x="576" y="1389"/>
                  </a:lnTo>
                  <a:lnTo>
                    <a:pt x="574" y="1389"/>
                  </a:lnTo>
                  <a:lnTo>
                    <a:pt x="573" y="1389"/>
                  </a:lnTo>
                  <a:lnTo>
                    <a:pt x="571" y="1389"/>
                  </a:lnTo>
                  <a:lnTo>
                    <a:pt x="571" y="1388"/>
                  </a:lnTo>
                  <a:lnTo>
                    <a:pt x="570" y="1388"/>
                  </a:lnTo>
                  <a:lnTo>
                    <a:pt x="570" y="1386"/>
                  </a:lnTo>
                  <a:lnTo>
                    <a:pt x="568" y="1386"/>
                  </a:lnTo>
                  <a:lnTo>
                    <a:pt x="568" y="1388"/>
                  </a:lnTo>
                  <a:lnTo>
                    <a:pt x="570" y="1388"/>
                  </a:lnTo>
                  <a:lnTo>
                    <a:pt x="570" y="1389"/>
                  </a:lnTo>
                  <a:lnTo>
                    <a:pt x="570" y="1388"/>
                  </a:lnTo>
                  <a:lnTo>
                    <a:pt x="570" y="1389"/>
                  </a:lnTo>
                  <a:lnTo>
                    <a:pt x="571" y="1389"/>
                  </a:lnTo>
                  <a:lnTo>
                    <a:pt x="571" y="1391"/>
                  </a:lnTo>
                  <a:lnTo>
                    <a:pt x="573" y="1391"/>
                  </a:lnTo>
                  <a:lnTo>
                    <a:pt x="574" y="1391"/>
                  </a:lnTo>
                  <a:lnTo>
                    <a:pt x="576" y="1389"/>
                  </a:lnTo>
                  <a:lnTo>
                    <a:pt x="576" y="1391"/>
                  </a:lnTo>
                  <a:lnTo>
                    <a:pt x="576" y="1393"/>
                  </a:lnTo>
                  <a:lnTo>
                    <a:pt x="574" y="1393"/>
                  </a:lnTo>
                  <a:lnTo>
                    <a:pt x="573" y="1393"/>
                  </a:lnTo>
                  <a:lnTo>
                    <a:pt x="573" y="1394"/>
                  </a:lnTo>
                  <a:lnTo>
                    <a:pt x="573" y="1396"/>
                  </a:lnTo>
                  <a:lnTo>
                    <a:pt x="574" y="1396"/>
                  </a:lnTo>
                  <a:lnTo>
                    <a:pt x="573" y="1397"/>
                  </a:lnTo>
                  <a:lnTo>
                    <a:pt x="573" y="1396"/>
                  </a:lnTo>
                  <a:lnTo>
                    <a:pt x="571" y="1396"/>
                  </a:lnTo>
                  <a:lnTo>
                    <a:pt x="573" y="1396"/>
                  </a:lnTo>
                  <a:lnTo>
                    <a:pt x="571" y="1396"/>
                  </a:lnTo>
                  <a:lnTo>
                    <a:pt x="573" y="1396"/>
                  </a:lnTo>
                  <a:lnTo>
                    <a:pt x="571" y="1396"/>
                  </a:lnTo>
                  <a:lnTo>
                    <a:pt x="571" y="1394"/>
                  </a:lnTo>
                  <a:lnTo>
                    <a:pt x="571" y="1396"/>
                  </a:lnTo>
                  <a:lnTo>
                    <a:pt x="570" y="1396"/>
                  </a:lnTo>
                  <a:lnTo>
                    <a:pt x="571" y="1396"/>
                  </a:lnTo>
                  <a:lnTo>
                    <a:pt x="570" y="1396"/>
                  </a:lnTo>
                  <a:lnTo>
                    <a:pt x="568" y="1394"/>
                  </a:lnTo>
                  <a:lnTo>
                    <a:pt x="566" y="1394"/>
                  </a:lnTo>
                  <a:lnTo>
                    <a:pt x="568" y="1394"/>
                  </a:lnTo>
                  <a:lnTo>
                    <a:pt x="566" y="1393"/>
                  </a:lnTo>
                  <a:lnTo>
                    <a:pt x="568" y="1393"/>
                  </a:lnTo>
                  <a:lnTo>
                    <a:pt x="566" y="1393"/>
                  </a:lnTo>
                  <a:lnTo>
                    <a:pt x="565" y="1393"/>
                  </a:lnTo>
                  <a:lnTo>
                    <a:pt x="565" y="1394"/>
                  </a:lnTo>
                  <a:lnTo>
                    <a:pt x="563" y="1393"/>
                  </a:lnTo>
                  <a:lnTo>
                    <a:pt x="563" y="1391"/>
                  </a:lnTo>
                  <a:lnTo>
                    <a:pt x="561" y="1391"/>
                  </a:lnTo>
                  <a:lnTo>
                    <a:pt x="561" y="1389"/>
                  </a:lnTo>
                  <a:lnTo>
                    <a:pt x="560" y="1389"/>
                  </a:lnTo>
                  <a:lnTo>
                    <a:pt x="560" y="1388"/>
                  </a:lnTo>
                  <a:lnTo>
                    <a:pt x="560" y="1386"/>
                  </a:lnTo>
                  <a:lnTo>
                    <a:pt x="561" y="1386"/>
                  </a:lnTo>
                  <a:lnTo>
                    <a:pt x="563" y="1386"/>
                  </a:lnTo>
                  <a:lnTo>
                    <a:pt x="563" y="1384"/>
                  </a:lnTo>
                  <a:lnTo>
                    <a:pt x="561" y="1384"/>
                  </a:lnTo>
                  <a:lnTo>
                    <a:pt x="561" y="1386"/>
                  </a:lnTo>
                  <a:lnTo>
                    <a:pt x="560" y="1386"/>
                  </a:lnTo>
                  <a:lnTo>
                    <a:pt x="560" y="1384"/>
                  </a:lnTo>
                  <a:lnTo>
                    <a:pt x="560" y="1383"/>
                  </a:lnTo>
                  <a:lnTo>
                    <a:pt x="561" y="1383"/>
                  </a:lnTo>
                  <a:lnTo>
                    <a:pt x="560" y="1381"/>
                  </a:lnTo>
                  <a:lnTo>
                    <a:pt x="561" y="1381"/>
                  </a:lnTo>
                  <a:lnTo>
                    <a:pt x="560" y="1381"/>
                  </a:lnTo>
                  <a:lnTo>
                    <a:pt x="561" y="1383"/>
                  </a:lnTo>
                  <a:lnTo>
                    <a:pt x="563" y="1383"/>
                  </a:lnTo>
                  <a:lnTo>
                    <a:pt x="563" y="1384"/>
                  </a:lnTo>
                  <a:lnTo>
                    <a:pt x="565" y="1384"/>
                  </a:lnTo>
                  <a:lnTo>
                    <a:pt x="565" y="1383"/>
                  </a:lnTo>
                  <a:lnTo>
                    <a:pt x="565" y="1384"/>
                  </a:lnTo>
                  <a:lnTo>
                    <a:pt x="565" y="1383"/>
                  </a:lnTo>
                  <a:lnTo>
                    <a:pt x="563" y="1381"/>
                  </a:lnTo>
                  <a:lnTo>
                    <a:pt x="563" y="1380"/>
                  </a:lnTo>
                  <a:lnTo>
                    <a:pt x="561" y="1380"/>
                  </a:lnTo>
                  <a:lnTo>
                    <a:pt x="561" y="1381"/>
                  </a:lnTo>
                  <a:lnTo>
                    <a:pt x="560" y="1381"/>
                  </a:lnTo>
                  <a:lnTo>
                    <a:pt x="560" y="1380"/>
                  </a:lnTo>
                  <a:lnTo>
                    <a:pt x="561" y="1380"/>
                  </a:lnTo>
                  <a:lnTo>
                    <a:pt x="560" y="1378"/>
                  </a:lnTo>
                  <a:lnTo>
                    <a:pt x="561" y="1380"/>
                  </a:lnTo>
                  <a:lnTo>
                    <a:pt x="560" y="1380"/>
                  </a:lnTo>
                  <a:lnTo>
                    <a:pt x="560" y="1381"/>
                  </a:lnTo>
                  <a:lnTo>
                    <a:pt x="560" y="1383"/>
                  </a:lnTo>
                  <a:lnTo>
                    <a:pt x="558" y="1384"/>
                  </a:lnTo>
                  <a:lnTo>
                    <a:pt x="558" y="1386"/>
                  </a:lnTo>
                  <a:lnTo>
                    <a:pt x="557" y="1386"/>
                  </a:lnTo>
                  <a:lnTo>
                    <a:pt x="557" y="1384"/>
                  </a:lnTo>
                  <a:lnTo>
                    <a:pt x="557" y="1386"/>
                  </a:lnTo>
                  <a:lnTo>
                    <a:pt x="557" y="1388"/>
                  </a:lnTo>
                  <a:lnTo>
                    <a:pt x="557" y="1389"/>
                  </a:lnTo>
                  <a:lnTo>
                    <a:pt x="555" y="1389"/>
                  </a:lnTo>
                  <a:lnTo>
                    <a:pt x="555" y="1388"/>
                  </a:lnTo>
                  <a:lnTo>
                    <a:pt x="555" y="1386"/>
                  </a:lnTo>
                  <a:lnTo>
                    <a:pt x="555" y="1388"/>
                  </a:lnTo>
                  <a:lnTo>
                    <a:pt x="553" y="1388"/>
                  </a:lnTo>
                  <a:lnTo>
                    <a:pt x="553" y="1386"/>
                  </a:lnTo>
                  <a:lnTo>
                    <a:pt x="553" y="1388"/>
                  </a:lnTo>
                  <a:lnTo>
                    <a:pt x="552" y="1386"/>
                  </a:lnTo>
                  <a:lnTo>
                    <a:pt x="553" y="1388"/>
                  </a:lnTo>
                  <a:lnTo>
                    <a:pt x="552" y="1388"/>
                  </a:lnTo>
                  <a:lnTo>
                    <a:pt x="552" y="1389"/>
                  </a:lnTo>
                  <a:lnTo>
                    <a:pt x="553" y="1389"/>
                  </a:lnTo>
                  <a:lnTo>
                    <a:pt x="555" y="1389"/>
                  </a:lnTo>
                  <a:lnTo>
                    <a:pt x="555" y="1391"/>
                  </a:lnTo>
                  <a:lnTo>
                    <a:pt x="555" y="1393"/>
                  </a:lnTo>
                  <a:lnTo>
                    <a:pt x="555" y="1394"/>
                  </a:lnTo>
                  <a:lnTo>
                    <a:pt x="553" y="1394"/>
                  </a:lnTo>
                  <a:lnTo>
                    <a:pt x="553" y="1396"/>
                  </a:lnTo>
                  <a:lnTo>
                    <a:pt x="552" y="1397"/>
                  </a:lnTo>
                  <a:lnTo>
                    <a:pt x="553" y="1397"/>
                  </a:lnTo>
                  <a:lnTo>
                    <a:pt x="553" y="1399"/>
                  </a:lnTo>
                  <a:lnTo>
                    <a:pt x="552" y="1399"/>
                  </a:lnTo>
                  <a:lnTo>
                    <a:pt x="553" y="1399"/>
                  </a:lnTo>
                  <a:lnTo>
                    <a:pt x="553" y="1401"/>
                  </a:lnTo>
                  <a:lnTo>
                    <a:pt x="552" y="1401"/>
                  </a:lnTo>
                  <a:lnTo>
                    <a:pt x="550" y="1401"/>
                  </a:lnTo>
                  <a:lnTo>
                    <a:pt x="552" y="1402"/>
                  </a:lnTo>
                  <a:lnTo>
                    <a:pt x="550" y="1402"/>
                  </a:lnTo>
                  <a:lnTo>
                    <a:pt x="550" y="1404"/>
                  </a:lnTo>
                  <a:lnTo>
                    <a:pt x="548" y="1404"/>
                  </a:lnTo>
                  <a:lnTo>
                    <a:pt x="548" y="1406"/>
                  </a:lnTo>
                  <a:lnTo>
                    <a:pt x="548" y="1404"/>
                  </a:lnTo>
                  <a:lnTo>
                    <a:pt x="548" y="1402"/>
                  </a:lnTo>
                  <a:lnTo>
                    <a:pt x="547" y="1402"/>
                  </a:lnTo>
                  <a:lnTo>
                    <a:pt x="547" y="1401"/>
                  </a:lnTo>
                  <a:lnTo>
                    <a:pt x="545" y="1401"/>
                  </a:lnTo>
                  <a:lnTo>
                    <a:pt x="547" y="1401"/>
                  </a:lnTo>
                  <a:lnTo>
                    <a:pt x="545" y="1401"/>
                  </a:lnTo>
                  <a:lnTo>
                    <a:pt x="547" y="1401"/>
                  </a:lnTo>
                  <a:lnTo>
                    <a:pt x="547" y="1402"/>
                  </a:lnTo>
                  <a:lnTo>
                    <a:pt x="548" y="1402"/>
                  </a:lnTo>
                  <a:lnTo>
                    <a:pt x="548" y="1401"/>
                  </a:lnTo>
                  <a:lnTo>
                    <a:pt x="550" y="1401"/>
                  </a:lnTo>
                  <a:lnTo>
                    <a:pt x="550" y="1402"/>
                  </a:lnTo>
                  <a:lnTo>
                    <a:pt x="550" y="1401"/>
                  </a:lnTo>
                  <a:lnTo>
                    <a:pt x="552" y="1399"/>
                  </a:lnTo>
                  <a:lnTo>
                    <a:pt x="552" y="1401"/>
                  </a:lnTo>
                  <a:lnTo>
                    <a:pt x="552" y="1399"/>
                  </a:lnTo>
                  <a:lnTo>
                    <a:pt x="552" y="1397"/>
                  </a:lnTo>
                  <a:lnTo>
                    <a:pt x="552" y="1399"/>
                  </a:lnTo>
                  <a:lnTo>
                    <a:pt x="550" y="1399"/>
                  </a:lnTo>
                  <a:lnTo>
                    <a:pt x="552" y="1399"/>
                  </a:lnTo>
                  <a:lnTo>
                    <a:pt x="550" y="1401"/>
                  </a:lnTo>
                  <a:lnTo>
                    <a:pt x="550" y="1399"/>
                  </a:lnTo>
                  <a:lnTo>
                    <a:pt x="548" y="1399"/>
                  </a:lnTo>
                  <a:lnTo>
                    <a:pt x="550" y="1399"/>
                  </a:lnTo>
                  <a:lnTo>
                    <a:pt x="548" y="1399"/>
                  </a:lnTo>
                  <a:lnTo>
                    <a:pt x="547" y="1399"/>
                  </a:lnTo>
                  <a:lnTo>
                    <a:pt x="548" y="1399"/>
                  </a:lnTo>
                  <a:lnTo>
                    <a:pt x="548" y="1401"/>
                  </a:lnTo>
                  <a:lnTo>
                    <a:pt x="548" y="1399"/>
                  </a:lnTo>
                  <a:lnTo>
                    <a:pt x="548" y="1401"/>
                  </a:lnTo>
                  <a:lnTo>
                    <a:pt x="547" y="1399"/>
                  </a:lnTo>
                  <a:lnTo>
                    <a:pt x="547" y="1401"/>
                  </a:lnTo>
                  <a:lnTo>
                    <a:pt x="545" y="1401"/>
                  </a:lnTo>
                  <a:lnTo>
                    <a:pt x="543" y="1401"/>
                  </a:lnTo>
                  <a:lnTo>
                    <a:pt x="545" y="1399"/>
                  </a:lnTo>
                  <a:lnTo>
                    <a:pt x="543" y="1399"/>
                  </a:lnTo>
                  <a:lnTo>
                    <a:pt x="545" y="1399"/>
                  </a:lnTo>
                  <a:lnTo>
                    <a:pt x="543" y="1399"/>
                  </a:lnTo>
                  <a:lnTo>
                    <a:pt x="542" y="1399"/>
                  </a:lnTo>
                  <a:lnTo>
                    <a:pt x="543" y="1399"/>
                  </a:lnTo>
                  <a:lnTo>
                    <a:pt x="542" y="1399"/>
                  </a:lnTo>
                  <a:lnTo>
                    <a:pt x="542" y="1401"/>
                  </a:lnTo>
                  <a:lnTo>
                    <a:pt x="540" y="1399"/>
                  </a:lnTo>
                  <a:lnTo>
                    <a:pt x="540" y="1397"/>
                  </a:lnTo>
                  <a:lnTo>
                    <a:pt x="540" y="1399"/>
                  </a:lnTo>
                  <a:lnTo>
                    <a:pt x="542" y="1401"/>
                  </a:lnTo>
                  <a:lnTo>
                    <a:pt x="540" y="1401"/>
                  </a:lnTo>
                  <a:lnTo>
                    <a:pt x="540" y="1402"/>
                  </a:lnTo>
                  <a:lnTo>
                    <a:pt x="539" y="1402"/>
                  </a:lnTo>
                  <a:lnTo>
                    <a:pt x="537" y="1402"/>
                  </a:lnTo>
                  <a:lnTo>
                    <a:pt x="535" y="1404"/>
                  </a:lnTo>
                  <a:lnTo>
                    <a:pt x="535" y="1402"/>
                  </a:lnTo>
                  <a:lnTo>
                    <a:pt x="534" y="1402"/>
                  </a:lnTo>
                  <a:lnTo>
                    <a:pt x="532" y="1404"/>
                  </a:lnTo>
                  <a:lnTo>
                    <a:pt x="534" y="1402"/>
                  </a:lnTo>
                  <a:lnTo>
                    <a:pt x="535" y="1404"/>
                  </a:lnTo>
                  <a:lnTo>
                    <a:pt x="534" y="1404"/>
                  </a:lnTo>
                  <a:lnTo>
                    <a:pt x="532" y="1404"/>
                  </a:lnTo>
                  <a:lnTo>
                    <a:pt x="534" y="1404"/>
                  </a:lnTo>
                  <a:lnTo>
                    <a:pt x="534" y="1406"/>
                  </a:lnTo>
                  <a:lnTo>
                    <a:pt x="534" y="1407"/>
                  </a:lnTo>
                  <a:lnTo>
                    <a:pt x="532" y="1407"/>
                  </a:lnTo>
                  <a:lnTo>
                    <a:pt x="530" y="1407"/>
                  </a:lnTo>
                  <a:lnTo>
                    <a:pt x="532" y="1407"/>
                  </a:lnTo>
                  <a:lnTo>
                    <a:pt x="532" y="1409"/>
                  </a:lnTo>
                  <a:lnTo>
                    <a:pt x="530" y="1409"/>
                  </a:lnTo>
                  <a:lnTo>
                    <a:pt x="532" y="1409"/>
                  </a:lnTo>
                  <a:lnTo>
                    <a:pt x="532" y="1410"/>
                  </a:lnTo>
                  <a:lnTo>
                    <a:pt x="532" y="1412"/>
                  </a:lnTo>
                  <a:lnTo>
                    <a:pt x="530" y="1412"/>
                  </a:lnTo>
                  <a:lnTo>
                    <a:pt x="529" y="1412"/>
                  </a:lnTo>
                  <a:lnTo>
                    <a:pt x="529" y="1414"/>
                  </a:lnTo>
                  <a:lnTo>
                    <a:pt x="530" y="1414"/>
                  </a:lnTo>
                  <a:lnTo>
                    <a:pt x="530" y="1412"/>
                  </a:lnTo>
                  <a:lnTo>
                    <a:pt x="530" y="1414"/>
                  </a:lnTo>
                  <a:lnTo>
                    <a:pt x="529" y="1414"/>
                  </a:lnTo>
                  <a:lnTo>
                    <a:pt x="529" y="1412"/>
                  </a:lnTo>
                  <a:lnTo>
                    <a:pt x="527" y="1414"/>
                  </a:lnTo>
                  <a:lnTo>
                    <a:pt x="527" y="1415"/>
                  </a:lnTo>
                  <a:lnTo>
                    <a:pt x="526" y="1415"/>
                  </a:lnTo>
                  <a:lnTo>
                    <a:pt x="526" y="1414"/>
                  </a:lnTo>
                  <a:lnTo>
                    <a:pt x="527" y="1414"/>
                  </a:lnTo>
                  <a:lnTo>
                    <a:pt x="527" y="1412"/>
                  </a:lnTo>
                  <a:lnTo>
                    <a:pt x="527" y="1410"/>
                  </a:lnTo>
                  <a:lnTo>
                    <a:pt x="527" y="1412"/>
                  </a:lnTo>
                  <a:lnTo>
                    <a:pt x="526" y="1412"/>
                  </a:lnTo>
                  <a:lnTo>
                    <a:pt x="527" y="1412"/>
                  </a:lnTo>
                  <a:lnTo>
                    <a:pt x="526" y="1412"/>
                  </a:lnTo>
                  <a:lnTo>
                    <a:pt x="526" y="1414"/>
                  </a:lnTo>
                  <a:lnTo>
                    <a:pt x="524" y="1414"/>
                  </a:lnTo>
                  <a:lnTo>
                    <a:pt x="526" y="1414"/>
                  </a:lnTo>
                  <a:lnTo>
                    <a:pt x="524" y="1415"/>
                  </a:lnTo>
                  <a:lnTo>
                    <a:pt x="526" y="1417"/>
                  </a:lnTo>
                  <a:lnTo>
                    <a:pt x="526" y="1419"/>
                  </a:lnTo>
                  <a:lnTo>
                    <a:pt x="524" y="1419"/>
                  </a:lnTo>
                  <a:lnTo>
                    <a:pt x="526" y="1419"/>
                  </a:lnTo>
                  <a:lnTo>
                    <a:pt x="526" y="1417"/>
                  </a:lnTo>
                  <a:lnTo>
                    <a:pt x="527" y="1417"/>
                  </a:lnTo>
                  <a:lnTo>
                    <a:pt x="527" y="1419"/>
                  </a:lnTo>
                  <a:lnTo>
                    <a:pt x="527" y="1417"/>
                  </a:lnTo>
                  <a:lnTo>
                    <a:pt x="527" y="1419"/>
                  </a:lnTo>
                  <a:lnTo>
                    <a:pt x="526" y="1419"/>
                  </a:lnTo>
                  <a:lnTo>
                    <a:pt x="524" y="1420"/>
                  </a:lnTo>
                  <a:lnTo>
                    <a:pt x="524" y="1419"/>
                  </a:lnTo>
                  <a:lnTo>
                    <a:pt x="524" y="1420"/>
                  </a:lnTo>
                  <a:lnTo>
                    <a:pt x="526" y="1420"/>
                  </a:lnTo>
                  <a:lnTo>
                    <a:pt x="527" y="1420"/>
                  </a:lnTo>
                  <a:lnTo>
                    <a:pt x="526" y="1420"/>
                  </a:lnTo>
                  <a:lnTo>
                    <a:pt x="526" y="1422"/>
                  </a:lnTo>
                  <a:lnTo>
                    <a:pt x="524" y="1423"/>
                  </a:lnTo>
                  <a:lnTo>
                    <a:pt x="524" y="1422"/>
                  </a:lnTo>
                  <a:lnTo>
                    <a:pt x="522" y="1422"/>
                  </a:lnTo>
                  <a:lnTo>
                    <a:pt x="524" y="1420"/>
                  </a:lnTo>
                  <a:lnTo>
                    <a:pt x="524" y="1419"/>
                  </a:lnTo>
                  <a:lnTo>
                    <a:pt x="522" y="1419"/>
                  </a:lnTo>
                  <a:lnTo>
                    <a:pt x="524" y="1420"/>
                  </a:lnTo>
                  <a:lnTo>
                    <a:pt x="522" y="1419"/>
                  </a:lnTo>
                  <a:lnTo>
                    <a:pt x="522" y="1420"/>
                  </a:lnTo>
                  <a:lnTo>
                    <a:pt x="521" y="1419"/>
                  </a:lnTo>
                  <a:lnTo>
                    <a:pt x="522" y="1419"/>
                  </a:lnTo>
                  <a:lnTo>
                    <a:pt x="521" y="1419"/>
                  </a:lnTo>
                  <a:lnTo>
                    <a:pt x="521" y="1417"/>
                  </a:lnTo>
                  <a:lnTo>
                    <a:pt x="522" y="1417"/>
                  </a:lnTo>
                  <a:lnTo>
                    <a:pt x="524" y="1417"/>
                  </a:lnTo>
                  <a:lnTo>
                    <a:pt x="522" y="1415"/>
                  </a:lnTo>
                  <a:lnTo>
                    <a:pt x="524" y="1415"/>
                  </a:lnTo>
                  <a:lnTo>
                    <a:pt x="522" y="1415"/>
                  </a:lnTo>
                  <a:lnTo>
                    <a:pt x="521" y="1415"/>
                  </a:lnTo>
                  <a:lnTo>
                    <a:pt x="521" y="1417"/>
                  </a:lnTo>
                  <a:lnTo>
                    <a:pt x="519" y="1417"/>
                  </a:lnTo>
                  <a:lnTo>
                    <a:pt x="521" y="1415"/>
                  </a:lnTo>
                  <a:lnTo>
                    <a:pt x="519" y="1415"/>
                  </a:lnTo>
                  <a:lnTo>
                    <a:pt x="521" y="1415"/>
                  </a:lnTo>
                  <a:lnTo>
                    <a:pt x="519" y="1415"/>
                  </a:lnTo>
                  <a:lnTo>
                    <a:pt x="521" y="1415"/>
                  </a:lnTo>
                  <a:lnTo>
                    <a:pt x="521" y="1414"/>
                  </a:lnTo>
                  <a:lnTo>
                    <a:pt x="521" y="1415"/>
                  </a:lnTo>
                  <a:lnTo>
                    <a:pt x="521" y="1414"/>
                  </a:lnTo>
                  <a:lnTo>
                    <a:pt x="521" y="1412"/>
                  </a:lnTo>
                  <a:lnTo>
                    <a:pt x="521" y="1414"/>
                  </a:lnTo>
                  <a:lnTo>
                    <a:pt x="521" y="1412"/>
                  </a:lnTo>
                  <a:lnTo>
                    <a:pt x="521" y="1414"/>
                  </a:lnTo>
                  <a:lnTo>
                    <a:pt x="521" y="1412"/>
                  </a:lnTo>
                  <a:lnTo>
                    <a:pt x="519" y="1412"/>
                  </a:lnTo>
                  <a:lnTo>
                    <a:pt x="519" y="1414"/>
                  </a:lnTo>
                  <a:lnTo>
                    <a:pt x="517" y="1412"/>
                  </a:lnTo>
                  <a:lnTo>
                    <a:pt x="517" y="1414"/>
                  </a:lnTo>
                  <a:lnTo>
                    <a:pt x="517" y="1415"/>
                  </a:lnTo>
                  <a:lnTo>
                    <a:pt x="519" y="1415"/>
                  </a:lnTo>
                  <a:lnTo>
                    <a:pt x="519" y="1417"/>
                  </a:lnTo>
                  <a:lnTo>
                    <a:pt x="519" y="1419"/>
                  </a:lnTo>
                  <a:lnTo>
                    <a:pt x="517" y="1419"/>
                  </a:lnTo>
                  <a:lnTo>
                    <a:pt x="519" y="1417"/>
                  </a:lnTo>
                  <a:lnTo>
                    <a:pt x="517" y="1417"/>
                  </a:lnTo>
                  <a:lnTo>
                    <a:pt x="517" y="1419"/>
                  </a:lnTo>
                  <a:lnTo>
                    <a:pt x="516" y="1419"/>
                  </a:lnTo>
                  <a:lnTo>
                    <a:pt x="517" y="1419"/>
                  </a:lnTo>
                  <a:lnTo>
                    <a:pt x="517" y="1420"/>
                  </a:lnTo>
                  <a:lnTo>
                    <a:pt x="517" y="1419"/>
                  </a:lnTo>
                  <a:lnTo>
                    <a:pt x="517" y="1420"/>
                  </a:lnTo>
                  <a:lnTo>
                    <a:pt x="519" y="1420"/>
                  </a:lnTo>
                  <a:lnTo>
                    <a:pt x="517" y="1419"/>
                  </a:lnTo>
                  <a:lnTo>
                    <a:pt x="519" y="1419"/>
                  </a:lnTo>
                  <a:lnTo>
                    <a:pt x="519" y="1420"/>
                  </a:lnTo>
                  <a:lnTo>
                    <a:pt x="517" y="1420"/>
                  </a:lnTo>
                  <a:lnTo>
                    <a:pt x="519" y="1422"/>
                  </a:lnTo>
                  <a:lnTo>
                    <a:pt x="517" y="1422"/>
                  </a:lnTo>
                  <a:lnTo>
                    <a:pt x="516" y="1422"/>
                  </a:lnTo>
                  <a:lnTo>
                    <a:pt x="516" y="1423"/>
                  </a:lnTo>
                  <a:lnTo>
                    <a:pt x="516" y="1422"/>
                  </a:lnTo>
                  <a:lnTo>
                    <a:pt x="516" y="1420"/>
                  </a:lnTo>
                  <a:lnTo>
                    <a:pt x="516" y="1422"/>
                  </a:lnTo>
                  <a:lnTo>
                    <a:pt x="514" y="1423"/>
                  </a:lnTo>
                  <a:lnTo>
                    <a:pt x="514" y="1422"/>
                  </a:lnTo>
                  <a:lnTo>
                    <a:pt x="514" y="1420"/>
                  </a:lnTo>
                  <a:lnTo>
                    <a:pt x="514" y="1419"/>
                  </a:lnTo>
                  <a:lnTo>
                    <a:pt x="513" y="1417"/>
                  </a:lnTo>
                  <a:lnTo>
                    <a:pt x="513" y="1419"/>
                  </a:lnTo>
                  <a:lnTo>
                    <a:pt x="513" y="1417"/>
                  </a:lnTo>
                  <a:lnTo>
                    <a:pt x="513" y="1419"/>
                  </a:lnTo>
                  <a:lnTo>
                    <a:pt x="511" y="1419"/>
                  </a:lnTo>
                  <a:lnTo>
                    <a:pt x="513" y="1417"/>
                  </a:lnTo>
                  <a:lnTo>
                    <a:pt x="511" y="1417"/>
                  </a:lnTo>
                  <a:lnTo>
                    <a:pt x="511" y="1419"/>
                  </a:lnTo>
                  <a:lnTo>
                    <a:pt x="511" y="1417"/>
                  </a:lnTo>
                  <a:lnTo>
                    <a:pt x="509" y="1417"/>
                  </a:lnTo>
                  <a:lnTo>
                    <a:pt x="509" y="1415"/>
                  </a:lnTo>
                  <a:lnTo>
                    <a:pt x="509" y="1417"/>
                  </a:lnTo>
                  <a:lnTo>
                    <a:pt x="509" y="1415"/>
                  </a:lnTo>
                  <a:lnTo>
                    <a:pt x="508" y="1415"/>
                  </a:lnTo>
                  <a:lnTo>
                    <a:pt x="508" y="1417"/>
                  </a:lnTo>
                  <a:lnTo>
                    <a:pt x="506" y="1417"/>
                  </a:lnTo>
                  <a:lnTo>
                    <a:pt x="508" y="1419"/>
                  </a:lnTo>
                  <a:lnTo>
                    <a:pt x="509" y="1419"/>
                  </a:lnTo>
                  <a:lnTo>
                    <a:pt x="509" y="1420"/>
                  </a:lnTo>
                  <a:lnTo>
                    <a:pt x="509" y="1422"/>
                  </a:lnTo>
                  <a:lnTo>
                    <a:pt x="508" y="1422"/>
                  </a:lnTo>
                  <a:lnTo>
                    <a:pt x="508" y="1423"/>
                  </a:lnTo>
                  <a:lnTo>
                    <a:pt x="506" y="1423"/>
                  </a:lnTo>
                  <a:lnTo>
                    <a:pt x="504" y="1425"/>
                  </a:lnTo>
                  <a:lnTo>
                    <a:pt x="504" y="1423"/>
                  </a:lnTo>
                  <a:lnTo>
                    <a:pt x="504" y="1425"/>
                  </a:lnTo>
                  <a:lnTo>
                    <a:pt x="504" y="1427"/>
                  </a:lnTo>
                  <a:lnTo>
                    <a:pt x="503" y="1427"/>
                  </a:lnTo>
                  <a:lnTo>
                    <a:pt x="503" y="1425"/>
                  </a:lnTo>
                  <a:lnTo>
                    <a:pt x="501" y="1425"/>
                  </a:lnTo>
                  <a:lnTo>
                    <a:pt x="501" y="1427"/>
                  </a:lnTo>
                  <a:lnTo>
                    <a:pt x="500" y="1427"/>
                  </a:lnTo>
                  <a:lnTo>
                    <a:pt x="500" y="1428"/>
                  </a:lnTo>
                  <a:lnTo>
                    <a:pt x="501" y="1428"/>
                  </a:lnTo>
                  <a:lnTo>
                    <a:pt x="503" y="1428"/>
                  </a:lnTo>
                  <a:lnTo>
                    <a:pt x="504" y="1428"/>
                  </a:lnTo>
                  <a:lnTo>
                    <a:pt x="504" y="1430"/>
                  </a:lnTo>
                  <a:lnTo>
                    <a:pt x="503" y="1430"/>
                  </a:lnTo>
                  <a:lnTo>
                    <a:pt x="503" y="1432"/>
                  </a:lnTo>
                  <a:lnTo>
                    <a:pt x="501" y="1432"/>
                  </a:lnTo>
                  <a:lnTo>
                    <a:pt x="500" y="1432"/>
                  </a:lnTo>
                  <a:lnTo>
                    <a:pt x="501" y="1432"/>
                  </a:lnTo>
                  <a:lnTo>
                    <a:pt x="501" y="1430"/>
                  </a:lnTo>
                  <a:lnTo>
                    <a:pt x="500" y="1432"/>
                  </a:lnTo>
                  <a:lnTo>
                    <a:pt x="501" y="1430"/>
                  </a:lnTo>
                  <a:lnTo>
                    <a:pt x="501" y="1428"/>
                  </a:lnTo>
                  <a:lnTo>
                    <a:pt x="500" y="1430"/>
                  </a:lnTo>
                  <a:lnTo>
                    <a:pt x="500" y="1432"/>
                  </a:lnTo>
                  <a:lnTo>
                    <a:pt x="500" y="1430"/>
                  </a:lnTo>
                  <a:lnTo>
                    <a:pt x="498" y="1430"/>
                  </a:lnTo>
                  <a:lnTo>
                    <a:pt x="500" y="1430"/>
                  </a:lnTo>
                  <a:lnTo>
                    <a:pt x="498" y="1430"/>
                  </a:lnTo>
                  <a:lnTo>
                    <a:pt x="498" y="1428"/>
                  </a:lnTo>
                  <a:lnTo>
                    <a:pt x="496" y="1428"/>
                  </a:lnTo>
                  <a:lnTo>
                    <a:pt x="498" y="1428"/>
                  </a:lnTo>
                  <a:lnTo>
                    <a:pt x="496" y="1428"/>
                  </a:lnTo>
                  <a:lnTo>
                    <a:pt x="496" y="1427"/>
                  </a:lnTo>
                  <a:lnTo>
                    <a:pt x="495" y="1427"/>
                  </a:lnTo>
                  <a:lnTo>
                    <a:pt x="493" y="1427"/>
                  </a:lnTo>
                  <a:lnTo>
                    <a:pt x="493" y="1425"/>
                  </a:lnTo>
                  <a:lnTo>
                    <a:pt x="491" y="1425"/>
                  </a:lnTo>
                  <a:lnTo>
                    <a:pt x="490" y="1423"/>
                  </a:lnTo>
                  <a:lnTo>
                    <a:pt x="490" y="1425"/>
                  </a:lnTo>
                  <a:lnTo>
                    <a:pt x="490" y="1427"/>
                  </a:lnTo>
                  <a:lnTo>
                    <a:pt x="491" y="1427"/>
                  </a:lnTo>
                  <a:lnTo>
                    <a:pt x="491" y="1425"/>
                  </a:lnTo>
                  <a:lnTo>
                    <a:pt x="493" y="1427"/>
                  </a:lnTo>
                  <a:lnTo>
                    <a:pt x="495" y="1427"/>
                  </a:lnTo>
                  <a:lnTo>
                    <a:pt x="495" y="1428"/>
                  </a:lnTo>
                  <a:lnTo>
                    <a:pt x="495" y="1427"/>
                  </a:lnTo>
                  <a:lnTo>
                    <a:pt x="495" y="1428"/>
                  </a:lnTo>
                  <a:lnTo>
                    <a:pt x="496" y="1428"/>
                  </a:lnTo>
                  <a:lnTo>
                    <a:pt x="496" y="1430"/>
                  </a:lnTo>
                  <a:lnTo>
                    <a:pt x="495" y="1430"/>
                  </a:lnTo>
                  <a:lnTo>
                    <a:pt x="495" y="1432"/>
                  </a:lnTo>
                  <a:lnTo>
                    <a:pt x="493" y="1433"/>
                  </a:lnTo>
                  <a:lnTo>
                    <a:pt x="493" y="1435"/>
                  </a:lnTo>
                  <a:lnTo>
                    <a:pt x="493" y="1433"/>
                  </a:lnTo>
                  <a:lnTo>
                    <a:pt x="495" y="1433"/>
                  </a:lnTo>
                  <a:lnTo>
                    <a:pt x="495" y="1432"/>
                  </a:lnTo>
                  <a:lnTo>
                    <a:pt x="496" y="1432"/>
                  </a:lnTo>
                  <a:lnTo>
                    <a:pt x="496" y="1430"/>
                  </a:lnTo>
                  <a:lnTo>
                    <a:pt x="498" y="1432"/>
                  </a:lnTo>
                  <a:lnTo>
                    <a:pt x="498" y="1433"/>
                  </a:lnTo>
                  <a:lnTo>
                    <a:pt x="498" y="1435"/>
                  </a:lnTo>
                  <a:lnTo>
                    <a:pt x="496" y="1436"/>
                  </a:lnTo>
                  <a:lnTo>
                    <a:pt x="496" y="1435"/>
                  </a:lnTo>
                  <a:lnTo>
                    <a:pt x="496" y="1436"/>
                  </a:lnTo>
                  <a:lnTo>
                    <a:pt x="496" y="1438"/>
                  </a:lnTo>
                  <a:lnTo>
                    <a:pt x="498" y="1438"/>
                  </a:lnTo>
                  <a:lnTo>
                    <a:pt x="496" y="1440"/>
                  </a:lnTo>
                  <a:lnTo>
                    <a:pt x="496" y="1441"/>
                  </a:lnTo>
                  <a:lnTo>
                    <a:pt x="496" y="1443"/>
                  </a:lnTo>
                  <a:lnTo>
                    <a:pt x="495" y="1441"/>
                  </a:lnTo>
                  <a:lnTo>
                    <a:pt x="495" y="1443"/>
                  </a:lnTo>
                  <a:lnTo>
                    <a:pt x="493" y="1443"/>
                  </a:lnTo>
                  <a:lnTo>
                    <a:pt x="495" y="1441"/>
                  </a:lnTo>
                  <a:lnTo>
                    <a:pt x="495" y="1440"/>
                  </a:lnTo>
                  <a:lnTo>
                    <a:pt x="496" y="1440"/>
                  </a:lnTo>
                  <a:lnTo>
                    <a:pt x="495" y="1440"/>
                  </a:lnTo>
                  <a:lnTo>
                    <a:pt x="496" y="1438"/>
                  </a:lnTo>
                  <a:lnTo>
                    <a:pt x="495" y="1440"/>
                  </a:lnTo>
                  <a:lnTo>
                    <a:pt x="493" y="1440"/>
                  </a:lnTo>
                  <a:lnTo>
                    <a:pt x="493" y="1441"/>
                  </a:lnTo>
                  <a:lnTo>
                    <a:pt x="493" y="1443"/>
                  </a:lnTo>
                  <a:lnTo>
                    <a:pt x="493" y="1445"/>
                  </a:lnTo>
                  <a:lnTo>
                    <a:pt x="493" y="1446"/>
                  </a:lnTo>
                  <a:lnTo>
                    <a:pt x="491" y="1446"/>
                  </a:lnTo>
                  <a:lnTo>
                    <a:pt x="491" y="1448"/>
                  </a:lnTo>
                  <a:lnTo>
                    <a:pt x="491" y="1449"/>
                  </a:lnTo>
                  <a:lnTo>
                    <a:pt x="491" y="1451"/>
                  </a:lnTo>
                  <a:lnTo>
                    <a:pt x="491" y="1449"/>
                  </a:lnTo>
                  <a:lnTo>
                    <a:pt x="490" y="1449"/>
                  </a:lnTo>
                  <a:lnTo>
                    <a:pt x="490" y="1451"/>
                  </a:lnTo>
                  <a:lnTo>
                    <a:pt x="488" y="1451"/>
                  </a:lnTo>
                  <a:lnTo>
                    <a:pt x="487" y="1451"/>
                  </a:lnTo>
                  <a:lnTo>
                    <a:pt x="488" y="1451"/>
                  </a:lnTo>
                  <a:lnTo>
                    <a:pt x="488" y="1453"/>
                  </a:lnTo>
                  <a:lnTo>
                    <a:pt x="487" y="1453"/>
                  </a:lnTo>
                  <a:lnTo>
                    <a:pt x="487" y="1454"/>
                  </a:lnTo>
                  <a:lnTo>
                    <a:pt x="487" y="1453"/>
                  </a:lnTo>
                  <a:lnTo>
                    <a:pt x="487" y="1454"/>
                  </a:lnTo>
                  <a:lnTo>
                    <a:pt x="485" y="1454"/>
                  </a:lnTo>
                  <a:lnTo>
                    <a:pt x="487" y="1454"/>
                  </a:lnTo>
                  <a:lnTo>
                    <a:pt x="487" y="1456"/>
                  </a:lnTo>
                  <a:lnTo>
                    <a:pt x="485" y="1456"/>
                  </a:lnTo>
                  <a:lnTo>
                    <a:pt x="487" y="1456"/>
                  </a:lnTo>
                  <a:lnTo>
                    <a:pt x="485" y="1456"/>
                  </a:lnTo>
                  <a:lnTo>
                    <a:pt x="483" y="1456"/>
                  </a:lnTo>
                  <a:lnTo>
                    <a:pt x="483" y="1454"/>
                  </a:lnTo>
                  <a:lnTo>
                    <a:pt x="485" y="1454"/>
                  </a:lnTo>
                  <a:lnTo>
                    <a:pt x="485" y="1453"/>
                  </a:lnTo>
                  <a:lnTo>
                    <a:pt x="485" y="1451"/>
                  </a:lnTo>
                  <a:lnTo>
                    <a:pt x="487" y="1451"/>
                  </a:lnTo>
                  <a:lnTo>
                    <a:pt x="487" y="1449"/>
                  </a:lnTo>
                  <a:lnTo>
                    <a:pt x="485" y="1449"/>
                  </a:lnTo>
                  <a:lnTo>
                    <a:pt x="487" y="1449"/>
                  </a:lnTo>
                  <a:lnTo>
                    <a:pt x="485" y="1451"/>
                  </a:lnTo>
                  <a:lnTo>
                    <a:pt x="485" y="1449"/>
                  </a:lnTo>
                  <a:lnTo>
                    <a:pt x="487" y="1449"/>
                  </a:lnTo>
                  <a:lnTo>
                    <a:pt x="487" y="1448"/>
                  </a:lnTo>
                  <a:lnTo>
                    <a:pt x="487" y="1449"/>
                  </a:lnTo>
                  <a:lnTo>
                    <a:pt x="487" y="1448"/>
                  </a:lnTo>
                  <a:lnTo>
                    <a:pt x="487" y="1446"/>
                  </a:lnTo>
                  <a:lnTo>
                    <a:pt x="488" y="1446"/>
                  </a:lnTo>
                  <a:lnTo>
                    <a:pt x="488" y="1445"/>
                  </a:lnTo>
                  <a:lnTo>
                    <a:pt x="488" y="1446"/>
                  </a:lnTo>
                  <a:lnTo>
                    <a:pt x="487" y="1446"/>
                  </a:lnTo>
                  <a:lnTo>
                    <a:pt x="487" y="1445"/>
                  </a:lnTo>
                  <a:lnTo>
                    <a:pt x="488" y="1443"/>
                  </a:lnTo>
                  <a:lnTo>
                    <a:pt x="487" y="1443"/>
                  </a:lnTo>
                  <a:lnTo>
                    <a:pt x="487" y="1441"/>
                  </a:lnTo>
                  <a:lnTo>
                    <a:pt x="487" y="1443"/>
                  </a:lnTo>
                  <a:lnTo>
                    <a:pt x="487" y="1445"/>
                  </a:lnTo>
                  <a:lnTo>
                    <a:pt x="485" y="1445"/>
                  </a:lnTo>
                  <a:lnTo>
                    <a:pt x="485" y="1446"/>
                  </a:lnTo>
                  <a:lnTo>
                    <a:pt x="483" y="1446"/>
                  </a:lnTo>
                  <a:lnTo>
                    <a:pt x="483" y="1448"/>
                  </a:lnTo>
                  <a:lnTo>
                    <a:pt x="483" y="1449"/>
                  </a:lnTo>
                  <a:lnTo>
                    <a:pt x="483" y="1448"/>
                  </a:lnTo>
                  <a:lnTo>
                    <a:pt x="483" y="1449"/>
                  </a:lnTo>
                  <a:lnTo>
                    <a:pt x="482" y="1449"/>
                  </a:lnTo>
                  <a:lnTo>
                    <a:pt x="482" y="1448"/>
                  </a:lnTo>
                  <a:lnTo>
                    <a:pt x="480" y="1446"/>
                  </a:lnTo>
                  <a:lnTo>
                    <a:pt x="480" y="1448"/>
                  </a:lnTo>
                  <a:lnTo>
                    <a:pt x="482" y="1448"/>
                  </a:lnTo>
                  <a:lnTo>
                    <a:pt x="480" y="1448"/>
                  </a:lnTo>
                  <a:lnTo>
                    <a:pt x="480" y="1449"/>
                  </a:lnTo>
                  <a:lnTo>
                    <a:pt x="480" y="1451"/>
                  </a:lnTo>
                  <a:lnTo>
                    <a:pt x="478" y="1451"/>
                  </a:lnTo>
                  <a:lnTo>
                    <a:pt x="478" y="1453"/>
                  </a:lnTo>
                  <a:lnTo>
                    <a:pt x="478" y="1451"/>
                  </a:lnTo>
                  <a:lnTo>
                    <a:pt x="478" y="1449"/>
                  </a:lnTo>
                  <a:lnTo>
                    <a:pt x="478" y="1448"/>
                  </a:lnTo>
                  <a:lnTo>
                    <a:pt x="480" y="1448"/>
                  </a:lnTo>
                  <a:lnTo>
                    <a:pt x="480" y="1446"/>
                  </a:lnTo>
                  <a:lnTo>
                    <a:pt x="480" y="1448"/>
                  </a:lnTo>
                  <a:lnTo>
                    <a:pt x="480" y="1446"/>
                  </a:lnTo>
                  <a:lnTo>
                    <a:pt x="480" y="1445"/>
                  </a:lnTo>
                  <a:lnTo>
                    <a:pt x="480" y="1443"/>
                  </a:lnTo>
                  <a:lnTo>
                    <a:pt x="480" y="1441"/>
                  </a:lnTo>
                  <a:lnTo>
                    <a:pt x="480" y="1440"/>
                  </a:lnTo>
                  <a:lnTo>
                    <a:pt x="478" y="1440"/>
                  </a:lnTo>
                  <a:lnTo>
                    <a:pt x="477" y="1440"/>
                  </a:lnTo>
                  <a:lnTo>
                    <a:pt x="477" y="1441"/>
                  </a:lnTo>
                  <a:lnTo>
                    <a:pt x="475" y="1441"/>
                  </a:lnTo>
                  <a:lnTo>
                    <a:pt x="477" y="1441"/>
                  </a:lnTo>
                  <a:lnTo>
                    <a:pt x="475" y="1441"/>
                  </a:lnTo>
                  <a:lnTo>
                    <a:pt x="474" y="1441"/>
                  </a:lnTo>
                  <a:lnTo>
                    <a:pt x="474" y="1443"/>
                  </a:lnTo>
                  <a:lnTo>
                    <a:pt x="475" y="1443"/>
                  </a:lnTo>
                  <a:lnTo>
                    <a:pt x="477" y="1443"/>
                  </a:lnTo>
                  <a:lnTo>
                    <a:pt x="477" y="1445"/>
                  </a:lnTo>
                  <a:lnTo>
                    <a:pt x="475" y="1445"/>
                  </a:lnTo>
                  <a:lnTo>
                    <a:pt x="474" y="1445"/>
                  </a:lnTo>
                  <a:lnTo>
                    <a:pt x="474" y="1446"/>
                  </a:lnTo>
                  <a:lnTo>
                    <a:pt x="474" y="1448"/>
                  </a:lnTo>
                  <a:lnTo>
                    <a:pt x="474" y="1446"/>
                  </a:lnTo>
                  <a:lnTo>
                    <a:pt x="474" y="1448"/>
                  </a:lnTo>
                  <a:lnTo>
                    <a:pt x="472" y="1448"/>
                  </a:lnTo>
                  <a:lnTo>
                    <a:pt x="472" y="1446"/>
                  </a:lnTo>
                  <a:lnTo>
                    <a:pt x="470" y="1446"/>
                  </a:lnTo>
                  <a:lnTo>
                    <a:pt x="470" y="1448"/>
                  </a:lnTo>
                  <a:lnTo>
                    <a:pt x="470" y="1446"/>
                  </a:lnTo>
                  <a:lnTo>
                    <a:pt x="470" y="1448"/>
                  </a:lnTo>
                  <a:lnTo>
                    <a:pt x="469" y="1448"/>
                  </a:lnTo>
                  <a:lnTo>
                    <a:pt x="469" y="1446"/>
                  </a:lnTo>
                  <a:lnTo>
                    <a:pt x="467" y="1446"/>
                  </a:lnTo>
                  <a:lnTo>
                    <a:pt x="465" y="1446"/>
                  </a:lnTo>
                  <a:lnTo>
                    <a:pt x="465" y="1448"/>
                  </a:lnTo>
                  <a:lnTo>
                    <a:pt x="467" y="1448"/>
                  </a:lnTo>
                  <a:lnTo>
                    <a:pt x="467" y="1449"/>
                  </a:lnTo>
                  <a:lnTo>
                    <a:pt x="467" y="1448"/>
                  </a:lnTo>
                  <a:lnTo>
                    <a:pt x="469" y="1448"/>
                  </a:lnTo>
                  <a:lnTo>
                    <a:pt x="469" y="1449"/>
                  </a:lnTo>
                  <a:lnTo>
                    <a:pt x="469" y="1451"/>
                  </a:lnTo>
                  <a:lnTo>
                    <a:pt x="469" y="1449"/>
                  </a:lnTo>
                  <a:lnTo>
                    <a:pt x="469" y="1451"/>
                  </a:lnTo>
                  <a:lnTo>
                    <a:pt x="467" y="1451"/>
                  </a:lnTo>
                  <a:lnTo>
                    <a:pt x="465" y="1451"/>
                  </a:lnTo>
                  <a:lnTo>
                    <a:pt x="465" y="1449"/>
                  </a:lnTo>
                  <a:lnTo>
                    <a:pt x="464" y="1449"/>
                  </a:lnTo>
                  <a:lnTo>
                    <a:pt x="465" y="1448"/>
                  </a:lnTo>
                  <a:lnTo>
                    <a:pt x="464" y="1448"/>
                  </a:lnTo>
                  <a:lnTo>
                    <a:pt x="464" y="1449"/>
                  </a:lnTo>
                  <a:lnTo>
                    <a:pt x="462" y="1449"/>
                  </a:lnTo>
                  <a:lnTo>
                    <a:pt x="464" y="1451"/>
                  </a:lnTo>
                  <a:lnTo>
                    <a:pt x="462" y="1449"/>
                  </a:lnTo>
                  <a:lnTo>
                    <a:pt x="464" y="1449"/>
                  </a:lnTo>
                  <a:lnTo>
                    <a:pt x="464" y="1451"/>
                  </a:lnTo>
                  <a:lnTo>
                    <a:pt x="462" y="1451"/>
                  </a:lnTo>
                  <a:lnTo>
                    <a:pt x="461" y="1451"/>
                  </a:lnTo>
                  <a:lnTo>
                    <a:pt x="459" y="1451"/>
                  </a:lnTo>
                  <a:lnTo>
                    <a:pt x="461" y="1451"/>
                  </a:lnTo>
                  <a:lnTo>
                    <a:pt x="461" y="1453"/>
                  </a:lnTo>
                  <a:lnTo>
                    <a:pt x="461" y="1451"/>
                  </a:lnTo>
                  <a:lnTo>
                    <a:pt x="461" y="1453"/>
                  </a:lnTo>
                  <a:lnTo>
                    <a:pt x="462" y="1453"/>
                  </a:lnTo>
                  <a:lnTo>
                    <a:pt x="461" y="1453"/>
                  </a:lnTo>
                  <a:lnTo>
                    <a:pt x="459" y="1453"/>
                  </a:lnTo>
                  <a:lnTo>
                    <a:pt x="461" y="1454"/>
                  </a:lnTo>
                  <a:lnTo>
                    <a:pt x="459" y="1454"/>
                  </a:lnTo>
                  <a:lnTo>
                    <a:pt x="459" y="1453"/>
                  </a:lnTo>
                  <a:lnTo>
                    <a:pt x="459" y="1454"/>
                  </a:lnTo>
                  <a:lnTo>
                    <a:pt x="459" y="1453"/>
                  </a:lnTo>
                  <a:lnTo>
                    <a:pt x="457" y="1453"/>
                  </a:lnTo>
                  <a:lnTo>
                    <a:pt x="459" y="1453"/>
                  </a:lnTo>
                  <a:lnTo>
                    <a:pt x="459" y="1451"/>
                  </a:lnTo>
                  <a:lnTo>
                    <a:pt x="457" y="1453"/>
                  </a:lnTo>
                  <a:lnTo>
                    <a:pt x="456" y="1453"/>
                  </a:lnTo>
                  <a:lnTo>
                    <a:pt x="457" y="1453"/>
                  </a:lnTo>
                  <a:lnTo>
                    <a:pt x="456" y="1451"/>
                  </a:lnTo>
                  <a:lnTo>
                    <a:pt x="454" y="1451"/>
                  </a:lnTo>
                  <a:lnTo>
                    <a:pt x="454" y="1453"/>
                  </a:lnTo>
                  <a:lnTo>
                    <a:pt x="454" y="1454"/>
                  </a:lnTo>
                  <a:lnTo>
                    <a:pt x="452" y="1454"/>
                  </a:lnTo>
                  <a:lnTo>
                    <a:pt x="452" y="1456"/>
                  </a:lnTo>
                  <a:lnTo>
                    <a:pt x="452" y="1454"/>
                  </a:lnTo>
                  <a:lnTo>
                    <a:pt x="452" y="1456"/>
                  </a:lnTo>
                  <a:lnTo>
                    <a:pt x="451" y="1456"/>
                  </a:lnTo>
                  <a:lnTo>
                    <a:pt x="449" y="1456"/>
                  </a:lnTo>
                  <a:lnTo>
                    <a:pt x="448" y="1456"/>
                  </a:lnTo>
                  <a:lnTo>
                    <a:pt x="444" y="1456"/>
                  </a:lnTo>
                  <a:lnTo>
                    <a:pt x="446" y="1456"/>
                  </a:lnTo>
                  <a:lnTo>
                    <a:pt x="448" y="1456"/>
                  </a:lnTo>
                  <a:lnTo>
                    <a:pt x="448" y="1458"/>
                  </a:lnTo>
                  <a:lnTo>
                    <a:pt x="451" y="1458"/>
                  </a:lnTo>
                  <a:lnTo>
                    <a:pt x="452" y="1458"/>
                  </a:lnTo>
                  <a:lnTo>
                    <a:pt x="451" y="1458"/>
                  </a:lnTo>
                  <a:lnTo>
                    <a:pt x="451" y="1459"/>
                  </a:lnTo>
                  <a:lnTo>
                    <a:pt x="449" y="1459"/>
                  </a:lnTo>
                  <a:lnTo>
                    <a:pt x="448" y="1459"/>
                  </a:lnTo>
                  <a:lnTo>
                    <a:pt x="448" y="1458"/>
                  </a:lnTo>
                  <a:lnTo>
                    <a:pt x="446" y="1458"/>
                  </a:lnTo>
                  <a:lnTo>
                    <a:pt x="446" y="1459"/>
                  </a:lnTo>
                  <a:lnTo>
                    <a:pt x="444" y="1459"/>
                  </a:lnTo>
                  <a:lnTo>
                    <a:pt x="446" y="1459"/>
                  </a:lnTo>
                  <a:lnTo>
                    <a:pt x="444" y="1459"/>
                  </a:lnTo>
                  <a:lnTo>
                    <a:pt x="446" y="1459"/>
                  </a:lnTo>
                  <a:lnTo>
                    <a:pt x="444" y="1459"/>
                  </a:lnTo>
                  <a:lnTo>
                    <a:pt x="446" y="1461"/>
                  </a:lnTo>
                  <a:lnTo>
                    <a:pt x="446" y="1459"/>
                  </a:lnTo>
                  <a:lnTo>
                    <a:pt x="446" y="1461"/>
                  </a:lnTo>
                  <a:lnTo>
                    <a:pt x="446" y="1459"/>
                  </a:lnTo>
                  <a:lnTo>
                    <a:pt x="448" y="1459"/>
                  </a:lnTo>
                  <a:lnTo>
                    <a:pt x="449" y="1459"/>
                  </a:lnTo>
                  <a:lnTo>
                    <a:pt x="449" y="1461"/>
                  </a:lnTo>
                  <a:lnTo>
                    <a:pt x="448" y="1461"/>
                  </a:lnTo>
                  <a:lnTo>
                    <a:pt x="448" y="1462"/>
                  </a:lnTo>
                  <a:lnTo>
                    <a:pt x="448" y="1461"/>
                  </a:lnTo>
                  <a:lnTo>
                    <a:pt x="449" y="1461"/>
                  </a:lnTo>
                  <a:lnTo>
                    <a:pt x="449" y="1459"/>
                  </a:lnTo>
                  <a:lnTo>
                    <a:pt x="451" y="1459"/>
                  </a:lnTo>
                  <a:lnTo>
                    <a:pt x="452" y="1459"/>
                  </a:lnTo>
                  <a:lnTo>
                    <a:pt x="454" y="1459"/>
                  </a:lnTo>
                  <a:lnTo>
                    <a:pt x="456" y="1459"/>
                  </a:lnTo>
                  <a:lnTo>
                    <a:pt x="456" y="1461"/>
                  </a:lnTo>
                  <a:lnTo>
                    <a:pt x="456" y="1459"/>
                  </a:lnTo>
                  <a:lnTo>
                    <a:pt x="454" y="1459"/>
                  </a:lnTo>
                  <a:lnTo>
                    <a:pt x="454" y="1461"/>
                  </a:lnTo>
                  <a:lnTo>
                    <a:pt x="452" y="1461"/>
                  </a:lnTo>
                  <a:lnTo>
                    <a:pt x="454" y="1461"/>
                  </a:lnTo>
                  <a:lnTo>
                    <a:pt x="456" y="1461"/>
                  </a:lnTo>
                  <a:lnTo>
                    <a:pt x="456" y="1462"/>
                  </a:lnTo>
                  <a:lnTo>
                    <a:pt x="454" y="1462"/>
                  </a:lnTo>
                  <a:lnTo>
                    <a:pt x="452" y="1462"/>
                  </a:lnTo>
                  <a:lnTo>
                    <a:pt x="451" y="1462"/>
                  </a:lnTo>
                  <a:lnTo>
                    <a:pt x="452" y="1464"/>
                  </a:lnTo>
                  <a:lnTo>
                    <a:pt x="452" y="1466"/>
                  </a:lnTo>
                  <a:lnTo>
                    <a:pt x="452" y="1464"/>
                  </a:lnTo>
                  <a:lnTo>
                    <a:pt x="454" y="1466"/>
                  </a:lnTo>
                  <a:lnTo>
                    <a:pt x="454" y="1464"/>
                  </a:lnTo>
                  <a:lnTo>
                    <a:pt x="454" y="1466"/>
                  </a:lnTo>
                  <a:lnTo>
                    <a:pt x="452" y="1466"/>
                  </a:lnTo>
                  <a:lnTo>
                    <a:pt x="452" y="1467"/>
                  </a:lnTo>
                  <a:lnTo>
                    <a:pt x="452" y="1466"/>
                  </a:lnTo>
                  <a:lnTo>
                    <a:pt x="452" y="1467"/>
                  </a:lnTo>
                  <a:lnTo>
                    <a:pt x="452" y="1466"/>
                  </a:lnTo>
                  <a:lnTo>
                    <a:pt x="452" y="1467"/>
                  </a:lnTo>
                  <a:lnTo>
                    <a:pt x="451" y="1466"/>
                  </a:lnTo>
                  <a:lnTo>
                    <a:pt x="449" y="1464"/>
                  </a:lnTo>
                  <a:lnTo>
                    <a:pt x="449" y="1466"/>
                  </a:lnTo>
                  <a:lnTo>
                    <a:pt x="451" y="1466"/>
                  </a:lnTo>
                  <a:lnTo>
                    <a:pt x="449" y="1466"/>
                  </a:lnTo>
                  <a:lnTo>
                    <a:pt x="449" y="1467"/>
                  </a:lnTo>
                  <a:lnTo>
                    <a:pt x="448" y="1467"/>
                  </a:lnTo>
                  <a:lnTo>
                    <a:pt x="449" y="1466"/>
                  </a:lnTo>
                  <a:lnTo>
                    <a:pt x="448" y="1466"/>
                  </a:lnTo>
                  <a:lnTo>
                    <a:pt x="448" y="1467"/>
                  </a:lnTo>
                  <a:lnTo>
                    <a:pt x="446" y="1467"/>
                  </a:lnTo>
                  <a:lnTo>
                    <a:pt x="446" y="1469"/>
                  </a:lnTo>
                  <a:lnTo>
                    <a:pt x="444" y="1469"/>
                  </a:lnTo>
                  <a:lnTo>
                    <a:pt x="444" y="1467"/>
                  </a:lnTo>
                  <a:lnTo>
                    <a:pt x="446" y="1467"/>
                  </a:lnTo>
                  <a:lnTo>
                    <a:pt x="446" y="1466"/>
                  </a:lnTo>
                  <a:lnTo>
                    <a:pt x="448" y="1466"/>
                  </a:lnTo>
                  <a:lnTo>
                    <a:pt x="446" y="1466"/>
                  </a:lnTo>
                  <a:lnTo>
                    <a:pt x="446" y="1464"/>
                  </a:lnTo>
                  <a:lnTo>
                    <a:pt x="448" y="1462"/>
                  </a:lnTo>
                  <a:lnTo>
                    <a:pt x="446" y="1464"/>
                  </a:lnTo>
                  <a:lnTo>
                    <a:pt x="446" y="1466"/>
                  </a:lnTo>
                  <a:lnTo>
                    <a:pt x="444" y="1466"/>
                  </a:lnTo>
                  <a:lnTo>
                    <a:pt x="446" y="1466"/>
                  </a:lnTo>
                  <a:lnTo>
                    <a:pt x="444" y="1467"/>
                  </a:lnTo>
                  <a:lnTo>
                    <a:pt x="444" y="1466"/>
                  </a:lnTo>
                  <a:lnTo>
                    <a:pt x="444" y="1464"/>
                  </a:lnTo>
                  <a:lnTo>
                    <a:pt x="444" y="1462"/>
                  </a:lnTo>
                  <a:lnTo>
                    <a:pt x="446" y="1462"/>
                  </a:lnTo>
                  <a:lnTo>
                    <a:pt x="444" y="1462"/>
                  </a:lnTo>
                  <a:lnTo>
                    <a:pt x="446" y="1461"/>
                  </a:lnTo>
                  <a:lnTo>
                    <a:pt x="444" y="1461"/>
                  </a:lnTo>
                  <a:lnTo>
                    <a:pt x="444" y="1462"/>
                  </a:lnTo>
                  <a:lnTo>
                    <a:pt x="443" y="1462"/>
                  </a:lnTo>
                  <a:lnTo>
                    <a:pt x="444" y="1464"/>
                  </a:lnTo>
                  <a:lnTo>
                    <a:pt x="443" y="1464"/>
                  </a:lnTo>
                  <a:lnTo>
                    <a:pt x="441" y="1464"/>
                  </a:lnTo>
                  <a:lnTo>
                    <a:pt x="441" y="1466"/>
                  </a:lnTo>
                  <a:lnTo>
                    <a:pt x="441" y="1464"/>
                  </a:lnTo>
                  <a:lnTo>
                    <a:pt x="441" y="1466"/>
                  </a:lnTo>
                  <a:lnTo>
                    <a:pt x="439" y="1466"/>
                  </a:lnTo>
                  <a:lnTo>
                    <a:pt x="441" y="1466"/>
                  </a:lnTo>
                  <a:lnTo>
                    <a:pt x="439" y="1466"/>
                  </a:lnTo>
                  <a:lnTo>
                    <a:pt x="438" y="1466"/>
                  </a:lnTo>
                  <a:lnTo>
                    <a:pt x="439" y="1466"/>
                  </a:lnTo>
                  <a:lnTo>
                    <a:pt x="438" y="1466"/>
                  </a:lnTo>
                  <a:lnTo>
                    <a:pt x="439" y="1466"/>
                  </a:lnTo>
                  <a:lnTo>
                    <a:pt x="439" y="1467"/>
                  </a:lnTo>
                  <a:lnTo>
                    <a:pt x="438" y="1467"/>
                  </a:lnTo>
                  <a:lnTo>
                    <a:pt x="436" y="1466"/>
                  </a:lnTo>
                  <a:lnTo>
                    <a:pt x="438" y="1466"/>
                  </a:lnTo>
                  <a:lnTo>
                    <a:pt x="436" y="1466"/>
                  </a:lnTo>
                  <a:lnTo>
                    <a:pt x="436" y="1467"/>
                  </a:lnTo>
                  <a:lnTo>
                    <a:pt x="438" y="1467"/>
                  </a:lnTo>
                  <a:lnTo>
                    <a:pt x="441" y="1467"/>
                  </a:lnTo>
                  <a:lnTo>
                    <a:pt x="439" y="1467"/>
                  </a:lnTo>
                  <a:lnTo>
                    <a:pt x="438" y="1469"/>
                  </a:lnTo>
                  <a:lnTo>
                    <a:pt x="439" y="1469"/>
                  </a:lnTo>
                  <a:lnTo>
                    <a:pt x="438" y="1469"/>
                  </a:lnTo>
                  <a:lnTo>
                    <a:pt x="436" y="1469"/>
                  </a:lnTo>
                  <a:lnTo>
                    <a:pt x="435" y="1469"/>
                  </a:lnTo>
                  <a:lnTo>
                    <a:pt x="436" y="1471"/>
                  </a:lnTo>
                  <a:lnTo>
                    <a:pt x="435" y="1471"/>
                  </a:lnTo>
                  <a:lnTo>
                    <a:pt x="433" y="1471"/>
                  </a:lnTo>
                  <a:lnTo>
                    <a:pt x="431" y="1471"/>
                  </a:lnTo>
                  <a:lnTo>
                    <a:pt x="433" y="1471"/>
                  </a:lnTo>
                  <a:lnTo>
                    <a:pt x="431" y="1471"/>
                  </a:lnTo>
                  <a:lnTo>
                    <a:pt x="430" y="1471"/>
                  </a:lnTo>
                  <a:lnTo>
                    <a:pt x="430" y="1472"/>
                  </a:lnTo>
                  <a:lnTo>
                    <a:pt x="428" y="1472"/>
                  </a:lnTo>
                  <a:lnTo>
                    <a:pt x="426" y="1472"/>
                  </a:lnTo>
                  <a:lnTo>
                    <a:pt x="425" y="1472"/>
                  </a:lnTo>
                  <a:lnTo>
                    <a:pt x="423" y="1472"/>
                  </a:lnTo>
                  <a:lnTo>
                    <a:pt x="423" y="1474"/>
                  </a:lnTo>
                  <a:lnTo>
                    <a:pt x="422" y="1474"/>
                  </a:lnTo>
                  <a:lnTo>
                    <a:pt x="422" y="1475"/>
                  </a:lnTo>
                  <a:lnTo>
                    <a:pt x="420" y="1475"/>
                  </a:lnTo>
                  <a:lnTo>
                    <a:pt x="418" y="1477"/>
                  </a:lnTo>
                  <a:lnTo>
                    <a:pt x="418" y="1475"/>
                  </a:lnTo>
                  <a:lnTo>
                    <a:pt x="418" y="1477"/>
                  </a:lnTo>
                  <a:lnTo>
                    <a:pt x="417" y="1477"/>
                  </a:lnTo>
                  <a:lnTo>
                    <a:pt x="415" y="1477"/>
                  </a:lnTo>
                  <a:lnTo>
                    <a:pt x="415" y="1475"/>
                  </a:lnTo>
                  <a:lnTo>
                    <a:pt x="415" y="1477"/>
                  </a:lnTo>
                  <a:lnTo>
                    <a:pt x="413" y="1477"/>
                  </a:lnTo>
                  <a:lnTo>
                    <a:pt x="413" y="1479"/>
                  </a:lnTo>
                  <a:lnTo>
                    <a:pt x="413" y="1477"/>
                  </a:lnTo>
                  <a:lnTo>
                    <a:pt x="412" y="1477"/>
                  </a:lnTo>
                  <a:lnTo>
                    <a:pt x="412" y="1475"/>
                  </a:lnTo>
                  <a:lnTo>
                    <a:pt x="413" y="1475"/>
                  </a:lnTo>
                  <a:lnTo>
                    <a:pt x="413" y="1474"/>
                  </a:lnTo>
                  <a:lnTo>
                    <a:pt x="415" y="1472"/>
                  </a:lnTo>
                  <a:lnTo>
                    <a:pt x="417" y="1472"/>
                  </a:lnTo>
                  <a:lnTo>
                    <a:pt x="418" y="1472"/>
                  </a:lnTo>
                  <a:lnTo>
                    <a:pt x="420" y="1472"/>
                  </a:lnTo>
                  <a:lnTo>
                    <a:pt x="418" y="1472"/>
                  </a:lnTo>
                  <a:lnTo>
                    <a:pt x="418" y="1471"/>
                  </a:lnTo>
                  <a:lnTo>
                    <a:pt x="418" y="1469"/>
                  </a:lnTo>
                  <a:lnTo>
                    <a:pt x="420" y="1469"/>
                  </a:lnTo>
                  <a:lnTo>
                    <a:pt x="422" y="1467"/>
                  </a:lnTo>
                  <a:lnTo>
                    <a:pt x="423" y="1466"/>
                  </a:lnTo>
                  <a:lnTo>
                    <a:pt x="425" y="1466"/>
                  </a:lnTo>
                  <a:lnTo>
                    <a:pt x="426" y="1464"/>
                  </a:lnTo>
                  <a:lnTo>
                    <a:pt x="426" y="1466"/>
                  </a:lnTo>
                  <a:lnTo>
                    <a:pt x="426" y="1464"/>
                  </a:lnTo>
                  <a:lnTo>
                    <a:pt x="425" y="1464"/>
                  </a:lnTo>
                  <a:lnTo>
                    <a:pt x="423" y="1464"/>
                  </a:lnTo>
                  <a:lnTo>
                    <a:pt x="423" y="1466"/>
                  </a:lnTo>
                  <a:lnTo>
                    <a:pt x="425" y="1466"/>
                  </a:lnTo>
                  <a:lnTo>
                    <a:pt x="423" y="1466"/>
                  </a:lnTo>
                  <a:lnTo>
                    <a:pt x="422" y="1466"/>
                  </a:lnTo>
                  <a:lnTo>
                    <a:pt x="422" y="1467"/>
                  </a:lnTo>
                  <a:lnTo>
                    <a:pt x="422" y="1466"/>
                  </a:lnTo>
                  <a:lnTo>
                    <a:pt x="420" y="1466"/>
                  </a:lnTo>
                  <a:lnTo>
                    <a:pt x="420" y="1467"/>
                  </a:lnTo>
                  <a:lnTo>
                    <a:pt x="420" y="1469"/>
                  </a:lnTo>
                  <a:lnTo>
                    <a:pt x="418" y="1469"/>
                  </a:lnTo>
                  <a:lnTo>
                    <a:pt x="417" y="1471"/>
                  </a:lnTo>
                  <a:lnTo>
                    <a:pt x="415" y="1471"/>
                  </a:lnTo>
                  <a:lnTo>
                    <a:pt x="417" y="1471"/>
                  </a:lnTo>
                  <a:lnTo>
                    <a:pt x="415" y="1469"/>
                  </a:lnTo>
                  <a:lnTo>
                    <a:pt x="417" y="1469"/>
                  </a:lnTo>
                  <a:lnTo>
                    <a:pt x="417" y="1467"/>
                  </a:lnTo>
                  <a:lnTo>
                    <a:pt x="418" y="1466"/>
                  </a:lnTo>
                  <a:lnTo>
                    <a:pt x="418" y="1464"/>
                  </a:lnTo>
                  <a:lnTo>
                    <a:pt x="420" y="1464"/>
                  </a:lnTo>
                  <a:lnTo>
                    <a:pt x="418" y="1464"/>
                  </a:lnTo>
                  <a:lnTo>
                    <a:pt x="420" y="1464"/>
                  </a:lnTo>
                  <a:lnTo>
                    <a:pt x="418" y="1462"/>
                  </a:lnTo>
                  <a:lnTo>
                    <a:pt x="418" y="1461"/>
                  </a:lnTo>
                  <a:lnTo>
                    <a:pt x="418" y="1459"/>
                  </a:lnTo>
                  <a:lnTo>
                    <a:pt x="420" y="1459"/>
                  </a:lnTo>
                  <a:lnTo>
                    <a:pt x="420" y="1458"/>
                  </a:lnTo>
                  <a:lnTo>
                    <a:pt x="420" y="1459"/>
                  </a:lnTo>
                  <a:lnTo>
                    <a:pt x="422" y="1459"/>
                  </a:lnTo>
                  <a:lnTo>
                    <a:pt x="422" y="1458"/>
                  </a:lnTo>
                  <a:lnTo>
                    <a:pt x="422" y="1456"/>
                  </a:lnTo>
                  <a:lnTo>
                    <a:pt x="422" y="1454"/>
                  </a:lnTo>
                  <a:lnTo>
                    <a:pt x="420" y="1453"/>
                  </a:lnTo>
                  <a:lnTo>
                    <a:pt x="422" y="1451"/>
                  </a:lnTo>
                  <a:lnTo>
                    <a:pt x="422" y="1449"/>
                  </a:lnTo>
                  <a:lnTo>
                    <a:pt x="422" y="1451"/>
                  </a:lnTo>
                  <a:lnTo>
                    <a:pt x="422" y="1449"/>
                  </a:lnTo>
                  <a:lnTo>
                    <a:pt x="422" y="1451"/>
                  </a:lnTo>
                  <a:lnTo>
                    <a:pt x="420" y="1451"/>
                  </a:lnTo>
                  <a:lnTo>
                    <a:pt x="418" y="1451"/>
                  </a:lnTo>
                  <a:lnTo>
                    <a:pt x="418" y="1453"/>
                  </a:lnTo>
                  <a:lnTo>
                    <a:pt x="420" y="1453"/>
                  </a:lnTo>
                  <a:lnTo>
                    <a:pt x="420" y="1454"/>
                  </a:lnTo>
                  <a:lnTo>
                    <a:pt x="418" y="1454"/>
                  </a:lnTo>
                  <a:lnTo>
                    <a:pt x="418" y="1456"/>
                  </a:lnTo>
                  <a:lnTo>
                    <a:pt x="418" y="1458"/>
                  </a:lnTo>
                  <a:lnTo>
                    <a:pt x="417" y="1458"/>
                  </a:lnTo>
                  <a:lnTo>
                    <a:pt x="417" y="1459"/>
                  </a:lnTo>
                  <a:lnTo>
                    <a:pt x="418" y="1461"/>
                  </a:lnTo>
                  <a:lnTo>
                    <a:pt x="417" y="1461"/>
                  </a:lnTo>
                  <a:lnTo>
                    <a:pt x="417" y="1462"/>
                  </a:lnTo>
                  <a:lnTo>
                    <a:pt x="417" y="1464"/>
                  </a:lnTo>
                  <a:lnTo>
                    <a:pt x="417" y="1466"/>
                  </a:lnTo>
                  <a:lnTo>
                    <a:pt x="415" y="1466"/>
                  </a:lnTo>
                  <a:lnTo>
                    <a:pt x="415" y="1467"/>
                  </a:lnTo>
                  <a:lnTo>
                    <a:pt x="413" y="1469"/>
                  </a:lnTo>
                  <a:lnTo>
                    <a:pt x="415" y="1469"/>
                  </a:lnTo>
                  <a:lnTo>
                    <a:pt x="413" y="1469"/>
                  </a:lnTo>
                  <a:lnTo>
                    <a:pt x="415" y="1469"/>
                  </a:lnTo>
                  <a:lnTo>
                    <a:pt x="413" y="1469"/>
                  </a:lnTo>
                  <a:lnTo>
                    <a:pt x="413" y="1471"/>
                  </a:lnTo>
                  <a:lnTo>
                    <a:pt x="413" y="1472"/>
                  </a:lnTo>
                  <a:lnTo>
                    <a:pt x="413" y="1474"/>
                  </a:lnTo>
                  <a:lnTo>
                    <a:pt x="413" y="1475"/>
                  </a:lnTo>
                  <a:lnTo>
                    <a:pt x="412" y="1475"/>
                  </a:lnTo>
                  <a:lnTo>
                    <a:pt x="412" y="1477"/>
                  </a:lnTo>
                  <a:lnTo>
                    <a:pt x="410" y="1477"/>
                  </a:lnTo>
                  <a:lnTo>
                    <a:pt x="409" y="1479"/>
                  </a:lnTo>
                  <a:lnTo>
                    <a:pt x="407" y="1480"/>
                  </a:lnTo>
                  <a:lnTo>
                    <a:pt x="407" y="1482"/>
                  </a:lnTo>
                  <a:lnTo>
                    <a:pt x="405" y="1482"/>
                  </a:lnTo>
                  <a:lnTo>
                    <a:pt x="404" y="1482"/>
                  </a:lnTo>
                  <a:lnTo>
                    <a:pt x="404" y="1484"/>
                  </a:lnTo>
                  <a:lnTo>
                    <a:pt x="404" y="1485"/>
                  </a:lnTo>
                  <a:lnTo>
                    <a:pt x="405" y="1485"/>
                  </a:lnTo>
                  <a:lnTo>
                    <a:pt x="405" y="1487"/>
                  </a:lnTo>
                  <a:lnTo>
                    <a:pt x="407" y="1487"/>
                  </a:lnTo>
                  <a:lnTo>
                    <a:pt x="405" y="1487"/>
                  </a:lnTo>
                  <a:lnTo>
                    <a:pt x="407" y="1487"/>
                  </a:lnTo>
                  <a:lnTo>
                    <a:pt x="407" y="1488"/>
                  </a:lnTo>
                  <a:lnTo>
                    <a:pt x="405" y="1488"/>
                  </a:lnTo>
                  <a:lnTo>
                    <a:pt x="405" y="1490"/>
                  </a:lnTo>
                  <a:lnTo>
                    <a:pt x="405" y="1488"/>
                  </a:lnTo>
                  <a:lnTo>
                    <a:pt x="407" y="1488"/>
                  </a:lnTo>
                  <a:lnTo>
                    <a:pt x="407" y="1490"/>
                  </a:lnTo>
                  <a:lnTo>
                    <a:pt x="405" y="1490"/>
                  </a:lnTo>
                  <a:lnTo>
                    <a:pt x="404" y="1490"/>
                  </a:lnTo>
                  <a:lnTo>
                    <a:pt x="404" y="1492"/>
                  </a:lnTo>
                  <a:lnTo>
                    <a:pt x="404" y="1493"/>
                  </a:lnTo>
                  <a:lnTo>
                    <a:pt x="402" y="1492"/>
                  </a:lnTo>
                  <a:lnTo>
                    <a:pt x="404" y="1492"/>
                  </a:lnTo>
                  <a:lnTo>
                    <a:pt x="402" y="1492"/>
                  </a:lnTo>
                  <a:lnTo>
                    <a:pt x="400" y="1492"/>
                  </a:lnTo>
                  <a:lnTo>
                    <a:pt x="400" y="1493"/>
                  </a:lnTo>
                  <a:lnTo>
                    <a:pt x="399" y="1493"/>
                  </a:lnTo>
                  <a:lnTo>
                    <a:pt x="397" y="1493"/>
                  </a:lnTo>
                  <a:lnTo>
                    <a:pt x="395" y="1493"/>
                  </a:lnTo>
                  <a:lnTo>
                    <a:pt x="395" y="1495"/>
                  </a:lnTo>
                  <a:lnTo>
                    <a:pt x="394" y="1495"/>
                  </a:lnTo>
                  <a:lnTo>
                    <a:pt x="392" y="1495"/>
                  </a:lnTo>
                  <a:lnTo>
                    <a:pt x="394" y="1495"/>
                  </a:lnTo>
                  <a:lnTo>
                    <a:pt x="392" y="1495"/>
                  </a:lnTo>
                  <a:lnTo>
                    <a:pt x="391" y="1495"/>
                  </a:lnTo>
                  <a:lnTo>
                    <a:pt x="389" y="1495"/>
                  </a:lnTo>
                  <a:lnTo>
                    <a:pt x="389" y="1497"/>
                  </a:lnTo>
                  <a:lnTo>
                    <a:pt x="387" y="1497"/>
                  </a:lnTo>
                  <a:lnTo>
                    <a:pt x="386" y="1497"/>
                  </a:lnTo>
                  <a:lnTo>
                    <a:pt x="387" y="1497"/>
                  </a:lnTo>
                  <a:lnTo>
                    <a:pt x="386" y="1497"/>
                  </a:lnTo>
                  <a:lnTo>
                    <a:pt x="384" y="1497"/>
                  </a:lnTo>
                  <a:lnTo>
                    <a:pt x="384" y="1498"/>
                  </a:lnTo>
                  <a:lnTo>
                    <a:pt x="382" y="1500"/>
                  </a:lnTo>
                  <a:lnTo>
                    <a:pt x="382" y="1498"/>
                  </a:lnTo>
                  <a:lnTo>
                    <a:pt x="382" y="1500"/>
                  </a:lnTo>
                  <a:lnTo>
                    <a:pt x="382" y="1498"/>
                  </a:lnTo>
                  <a:lnTo>
                    <a:pt x="382" y="1497"/>
                  </a:lnTo>
                  <a:lnTo>
                    <a:pt x="384" y="1497"/>
                  </a:lnTo>
                  <a:lnTo>
                    <a:pt x="384" y="1495"/>
                  </a:lnTo>
                  <a:lnTo>
                    <a:pt x="384" y="1493"/>
                  </a:lnTo>
                  <a:lnTo>
                    <a:pt x="386" y="1493"/>
                  </a:lnTo>
                  <a:lnTo>
                    <a:pt x="387" y="1493"/>
                  </a:lnTo>
                  <a:lnTo>
                    <a:pt x="387" y="1492"/>
                  </a:lnTo>
                  <a:lnTo>
                    <a:pt x="387" y="1493"/>
                  </a:lnTo>
                  <a:lnTo>
                    <a:pt x="389" y="1492"/>
                  </a:lnTo>
                  <a:lnTo>
                    <a:pt x="391" y="1490"/>
                  </a:lnTo>
                  <a:lnTo>
                    <a:pt x="392" y="1488"/>
                  </a:lnTo>
                  <a:lnTo>
                    <a:pt x="394" y="1488"/>
                  </a:lnTo>
                  <a:lnTo>
                    <a:pt x="394" y="1487"/>
                  </a:lnTo>
                  <a:lnTo>
                    <a:pt x="392" y="1487"/>
                  </a:lnTo>
                  <a:lnTo>
                    <a:pt x="394" y="1487"/>
                  </a:lnTo>
                  <a:lnTo>
                    <a:pt x="392" y="1487"/>
                  </a:lnTo>
                  <a:lnTo>
                    <a:pt x="394" y="1487"/>
                  </a:lnTo>
                  <a:lnTo>
                    <a:pt x="392" y="1487"/>
                  </a:lnTo>
                  <a:lnTo>
                    <a:pt x="392" y="1485"/>
                  </a:lnTo>
                  <a:lnTo>
                    <a:pt x="394" y="1485"/>
                  </a:lnTo>
                  <a:lnTo>
                    <a:pt x="395" y="1485"/>
                  </a:lnTo>
                  <a:lnTo>
                    <a:pt x="394" y="1485"/>
                  </a:lnTo>
                  <a:lnTo>
                    <a:pt x="394" y="1487"/>
                  </a:lnTo>
                  <a:lnTo>
                    <a:pt x="395" y="1487"/>
                  </a:lnTo>
                  <a:lnTo>
                    <a:pt x="395" y="1485"/>
                  </a:lnTo>
                  <a:lnTo>
                    <a:pt x="397" y="1485"/>
                  </a:lnTo>
                  <a:lnTo>
                    <a:pt x="399" y="1485"/>
                  </a:lnTo>
                  <a:lnTo>
                    <a:pt x="400" y="1484"/>
                  </a:lnTo>
                  <a:lnTo>
                    <a:pt x="399" y="1484"/>
                  </a:lnTo>
                  <a:lnTo>
                    <a:pt x="399" y="1482"/>
                  </a:lnTo>
                  <a:lnTo>
                    <a:pt x="400" y="1482"/>
                  </a:lnTo>
                  <a:lnTo>
                    <a:pt x="399" y="1482"/>
                  </a:lnTo>
                  <a:lnTo>
                    <a:pt x="400" y="1482"/>
                  </a:lnTo>
                  <a:lnTo>
                    <a:pt x="400" y="1480"/>
                  </a:lnTo>
                  <a:lnTo>
                    <a:pt x="400" y="1482"/>
                  </a:lnTo>
                  <a:lnTo>
                    <a:pt x="400" y="1480"/>
                  </a:lnTo>
                  <a:lnTo>
                    <a:pt x="402" y="1480"/>
                  </a:lnTo>
                  <a:lnTo>
                    <a:pt x="400" y="1480"/>
                  </a:lnTo>
                  <a:lnTo>
                    <a:pt x="400" y="1479"/>
                  </a:lnTo>
                  <a:lnTo>
                    <a:pt x="400" y="1480"/>
                  </a:lnTo>
                  <a:lnTo>
                    <a:pt x="400" y="1482"/>
                  </a:lnTo>
                  <a:lnTo>
                    <a:pt x="399" y="1482"/>
                  </a:lnTo>
                  <a:lnTo>
                    <a:pt x="397" y="1482"/>
                  </a:lnTo>
                  <a:lnTo>
                    <a:pt x="397" y="1480"/>
                  </a:lnTo>
                  <a:lnTo>
                    <a:pt x="399" y="1480"/>
                  </a:lnTo>
                  <a:lnTo>
                    <a:pt x="399" y="1482"/>
                  </a:lnTo>
                  <a:lnTo>
                    <a:pt x="399" y="1480"/>
                  </a:lnTo>
                  <a:lnTo>
                    <a:pt x="399" y="1479"/>
                  </a:lnTo>
                  <a:lnTo>
                    <a:pt x="399" y="1480"/>
                  </a:lnTo>
                  <a:lnTo>
                    <a:pt x="397" y="1480"/>
                  </a:lnTo>
                  <a:lnTo>
                    <a:pt x="399" y="1480"/>
                  </a:lnTo>
                  <a:lnTo>
                    <a:pt x="397" y="1480"/>
                  </a:lnTo>
                  <a:lnTo>
                    <a:pt x="397" y="1479"/>
                  </a:lnTo>
                  <a:lnTo>
                    <a:pt x="397" y="1477"/>
                  </a:lnTo>
                  <a:lnTo>
                    <a:pt x="397" y="1479"/>
                  </a:lnTo>
                  <a:lnTo>
                    <a:pt x="397" y="1477"/>
                  </a:lnTo>
                  <a:lnTo>
                    <a:pt x="399" y="1477"/>
                  </a:lnTo>
                  <a:lnTo>
                    <a:pt x="400" y="1477"/>
                  </a:lnTo>
                  <a:lnTo>
                    <a:pt x="400" y="1475"/>
                  </a:lnTo>
                  <a:lnTo>
                    <a:pt x="402" y="1474"/>
                  </a:lnTo>
                  <a:lnTo>
                    <a:pt x="400" y="1474"/>
                  </a:lnTo>
                  <a:lnTo>
                    <a:pt x="400" y="1472"/>
                  </a:lnTo>
                  <a:lnTo>
                    <a:pt x="399" y="1472"/>
                  </a:lnTo>
                  <a:lnTo>
                    <a:pt x="399" y="1474"/>
                  </a:lnTo>
                  <a:lnTo>
                    <a:pt x="400" y="1475"/>
                  </a:lnTo>
                  <a:lnTo>
                    <a:pt x="399" y="1475"/>
                  </a:lnTo>
                  <a:lnTo>
                    <a:pt x="399" y="1477"/>
                  </a:lnTo>
                  <a:lnTo>
                    <a:pt x="397" y="1477"/>
                  </a:lnTo>
                  <a:lnTo>
                    <a:pt x="397" y="1475"/>
                  </a:lnTo>
                  <a:lnTo>
                    <a:pt x="399" y="1475"/>
                  </a:lnTo>
                  <a:lnTo>
                    <a:pt x="397" y="1474"/>
                  </a:lnTo>
                  <a:lnTo>
                    <a:pt x="395" y="1474"/>
                  </a:lnTo>
                  <a:lnTo>
                    <a:pt x="395" y="1475"/>
                  </a:lnTo>
                  <a:lnTo>
                    <a:pt x="395" y="1477"/>
                  </a:lnTo>
                  <a:lnTo>
                    <a:pt x="394" y="1477"/>
                  </a:lnTo>
                  <a:lnTo>
                    <a:pt x="394" y="1479"/>
                  </a:lnTo>
                  <a:lnTo>
                    <a:pt x="394" y="1477"/>
                  </a:lnTo>
                  <a:lnTo>
                    <a:pt x="392" y="1475"/>
                  </a:lnTo>
                  <a:lnTo>
                    <a:pt x="394" y="1475"/>
                  </a:lnTo>
                  <a:lnTo>
                    <a:pt x="392" y="1474"/>
                  </a:lnTo>
                  <a:lnTo>
                    <a:pt x="394" y="1472"/>
                  </a:lnTo>
                  <a:lnTo>
                    <a:pt x="392" y="1472"/>
                  </a:lnTo>
                  <a:lnTo>
                    <a:pt x="394" y="1472"/>
                  </a:lnTo>
                  <a:lnTo>
                    <a:pt x="392" y="1471"/>
                  </a:lnTo>
                  <a:lnTo>
                    <a:pt x="394" y="1471"/>
                  </a:lnTo>
                  <a:lnTo>
                    <a:pt x="394" y="1469"/>
                  </a:lnTo>
                  <a:lnTo>
                    <a:pt x="392" y="1469"/>
                  </a:lnTo>
                  <a:lnTo>
                    <a:pt x="394" y="1469"/>
                  </a:lnTo>
                  <a:lnTo>
                    <a:pt x="395" y="1469"/>
                  </a:lnTo>
                  <a:lnTo>
                    <a:pt x="395" y="1467"/>
                  </a:lnTo>
                  <a:lnTo>
                    <a:pt x="397" y="1467"/>
                  </a:lnTo>
                  <a:lnTo>
                    <a:pt x="399" y="1466"/>
                  </a:lnTo>
                  <a:lnTo>
                    <a:pt x="399" y="1467"/>
                  </a:lnTo>
                  <a:lnTo>
                    <a:pt x="399" y="1466"/>
                  </a:lnTo>
                  <a:lnTo>
                    <a:pt x="400" y="1466"/>
                  </a:lnTo>
                  <a:lnTo>
                    <a:pt x="399" y="1466"/>
                  </a:lnTo>
                  <a:lnTo>
                    <a:pt x="399" y="1464"/>
                  </a:lnTo>
                  <a:lnTo>
                    <a:pt x="400" y="1464"/>
                  </a:lnTo>
                  <a:lnTo>
                    <a:pt x="400" y="1462"/>
                  </a:lnTo>
                  <a:lnTo>
                    <a:pt x="400" y="1464"/>
                  </a:lnTo>
                  <a:lnTo>
                    <a:pt x="400" y="1462"/>
                  </a:lnTo>
                  <a:lnTo>
                    <a:pt x="400" y="1464"/>
                  </a:lnTo>
                  <a:lnTo>
                    <a:pt x="400" y="1462"/>
                  </a:lnTo>
                  <a:lnTo>
                    <a:pt x="400" y="1464"/>
                  </a:lnTo>
                  <a:lnTo>
                    <a:pt x="399" y="1464"/>
                  </a:lnTo>
                  <a:lnTo>
                    <a:pt x="399" y="1462"/>
                  </a:lnTo>
                  <a:lnTo>
                    <a:pt x="399" y="1464"/>
                  </a:lnTo>
                  <a:lnTo>
                    <a:pt x="397" y="1464"/>
                  </a:lnTo>
                  <a:lnTo>
                    <a:pt x="397" y="1466"/>
                  </a:lnTo>
                  <a:lnTo>
                    <a:pt x="395" y="1467"/>
                  </a:lnTo>
                  <a:lnTo>
                    <a:pt x="394" y="1469"/>
                  </a:lnTo>
                  <a:lnTo>
                    <a:pt x="392" y="1469"/>
                  </a:lnTo>
                  <a:lnTo>
                    <a:pt x="391" y="1469"/>
                  </a:lnTo>
                  <a:lnTo>
                    <a:pt x="391" y="1471"/>
                  </a:lnTo>
                  <a:lnTo>
                    <a:pt x="391" y="1472"/>
                  </a:lnTo>
                  <a:lnTo>
                    <a:pt x="389" y="1472"/>
                  </a:lnTo>
                  <a:lnTo>
                    <a:pt x="387" y="1472"/>
                  </a:lnTo>
                  <a:lnTo>
                    <a:pt x="387" y="1474"/>
                  </a:lnTo>
                  <a:lnTo>
                    <a:pt x="389" y="1474"/>
                  </a:lnTo>
                  <a:lnTo>
                    <a:pt x="389" y="1472"/>
                  </a:lnTo>
                  <a:lnTo>
                    <a:pt x="391" y="1472"/>
                  </a:lnTo>
                  <a:lnTo>
                    <a:pt x="391" y="1474"/>
                  </a:lnTo>
                  <a:lnTo>
                    <a:pt x="391" y="1475"/>
                  </a:lnTo>
                  <a:lnTo>
                    <a:pt x="392" y="1475"/>
                  </a:lnTo>
                  <a:lnTo>
                    <a:pt x="392" y="1477"/>
                  </a:lnTo>
                  <a:lnTo>
                    <a:pt x="392" y="1479"/>
                  </a:lnTo>
                  <a:lnTo>
                    <a:pt x="391" y="1479"/>
                  </a:lnTo>
                  <a:lnTo>
                    <a:pt x="392" y="1479"/>
                  </a:lnTo>
                  <a:lnTo>
                    <a:pt x="391" y="1479"/>
                  </a:lnTo>
                  <a:lnTo>
                    <a:pt x="392" y="1480"/>
                  </a:lnTo>
                  <a:lnTo>
                    <a:pt x="392" y="1479"/>
                  </a:lnTo>
                  <a:lnTo>
                    <a:pt x="392" y="1480"/>
                  </a:lnTo>
                  <a:lnTo>
                    <a:pt x="392" y="1482"/>
                  </a:lnTo>
                  <a:lnTo>
                    <a:pt x="391" y="1482"/>
                  </a:lnTo>
                  <a:lnTo>
                    <a:pt x="389" y="1482"/>
                  </a:lnTo>
                  <a:lnTo>
                    <a:pt x="389" y="1484"/>
                  </a:lnTo>
                  <a:lnTo>
                    <a:pt x="389" y="1485"/>
                  </a:lnTo>
                  <a:lnTo>
                    <a:pt x="389" y="1484"/>
                  </a:lnTo>
                  <a:lnTo>
                    <a:pt x="389" y="1482"/>
                  </a:lnTo>
                  <a:lnTo>
                    <a:pt x="387" y="1480"/>
                  </a:lnTo>
                  <a:lnTo>
                    <a:pt x="387" y="1479"/>
                  </a:lnTo>
                  <a:lnTo>
                    <a:pt x="389" y="1479"/>
                  </a:lnTo>
                  <a:lnTo>
                    <a:pt x="387" y="1479"/>
                  </a:lnTo>
                  <a:lnTo>
                    <a:pt x="386" y="1480"/>
                  </a:lnTo>
                  <a:lnTo>
                    <a:pt x="384" y="1480"/>
                  </a:lnTo>
                  <a:lnTo>
                    <a:pt x="386" y="1479"/>
                  </a:lnTo>
                  <a:lnTo>
                    <a:pt x="384" y="1479"/>
                  </a:lnTo>
                  <a:lnTo>
                    <a:pt x="386" y="1479"/>
                  </a:lnTo>
                  <a:lnTo>
                    <a:pt x="384" y="1477"/>
                  </a:lnTo>
                  <a:lnTo>
                    <a:pt x="384" y="1479"/>
                  </a:lnTo>
                  <a:lnTo>
                    <a:pt x="384" y="1480"/>
                  </a:lnTo>
                  <a:lnTo>
                    <a:pt x="386" y="1480"/>
                  </a:lnTo>
                  <a:lnTo>
                    <a:pt x="387" y="1480"/>
                  </a:lnTo>
                  <a:lnTo>
                    <a:pt x="387" y="1482"/>
                  </a:lnTo>
                  <a:lnTo>
                    <a:pt x="387" y="1484"/>
                  </a:lnTo>
                  <a:lnTo>
                    <a:pt x="387" y="1482"/>
                  </a:lnTo>
                  <a:lnTo>
                    <a:pt x="386" y="1482"/>
                  </a:lnTo>
                  <a:lnTo>
                    <a:pt x="387" y="1482"/>
                  </a:lnTo>
                  <a:lnTo>
                    <a:pt x="386" y="1482"/>
                  </a:lnTo>
                  <a:lnTo>
                    <a:pt x="386" y="1484"/>
                  </a:lnTo>
                  <a:lnTo>
                    <a:pt x="384" y="1482"/>
                  </a:lnTo>
                  <a:lnTo>
                    <a:pt x="384" y="1484"/>
                  </a:lnTo>
                  <a:lnTo>
                    <a:pt x="386" y="1484"/>
                  </a:lnTo>
                  <a:lnTo>
                    <a:pt x="386" y="1485"/>
                  </a:lnTo>
                  <a:lnTo>
                    <a:pt x="384" y="1485"/>
                  </a:lnTo>
                  <a:lnTo>
                    <a:pt x="382" y="1485"/>
                  </a:lnTo>
                  <a:lnTo>
                    <a:pt x="382" y="1484"/>
                  </a:lnTo>
                  <a:lnTo>
                    <a:pt x="381" y="1484"/>
                  </a:lnTo>
                  <a:lnTo>
                    <a:pt x="381" y="1485"/>
                  </a:lnTo>
                  <a:lnTo>
                    <a:pt x="379" y="1484"/>
                  </a:lnTo>
                  <a:lnTo>
                    <a:pt x="378" y="1482"/>
                  </a:lnTo>
                  <a:lnTo>
                    <a:pt x="378" y="1480"/>
                  </a:lnTo>
                  <a:lnTo>
                    <a:pt x="376" y="1480"/>
                  </a:lnTo>
                  <a:lnTo>
                    <a:pt x="378" y="1480"/>
                  </a:lnTo>
                  <a:lnTo>
                    <a:pt x="376" y="1479"/>
                  </a:lnTo>
                  <a:lnTo>
                    <a:pt x="374" y="1477"/>
                  </a:lnTo>
                  <a:lnTo>
                    <a:pt x="374" y="1479"/>
                  </a:lnTo>
                  <a:lnTo>
                    <a:pt x="373" y="1477"/>
                  </a:lnTo>
                  <a:lnTo>
                    <a:pt x="373" y="1475"/>
                  </a:lnTo>
                  <a:lnTo>
                    <a:pt x="373" y="1474"/>
                  </a:lnTo>
                  <a:lnTo>
                    <a:pt x="371" y="1474"/>
                  </a:lnTo>
                  <a:lnTo>
                    <a:pt x="373" y="1474"/>
                  </a:lnTo>
                  <a:lnTo>
                    <a:pt x="371" y="1472"/>
                  </a:lnTo>
                  <a:lnTo>
                    <a:pt x="371" y="1471"/>
                  </a:lnTo>
                  <a:lnTo>
                    <a:pt x="373" y="1471"/>
                  </a:lnTo>
                  <a:lnTo>
                    <a:pt x="373" y="1469"/>
                  </a:lnTo>
                  <a:lnTo>
                    <a:pt x="373" y="1471"/>
                  </a:lnTo>
                  <a:lnTo>
                    <a:pt x="374" y="1471"/>
                  </a:lnTo>
                  <a:lnTo>
                    <a:pt x="373" y="1471"/>
                  </a:lnTo>
                  <a:lnTo>
                    <a:pt x="374" y="1472"/>
                  </a:lnTo>
                  <a:lnTo>
                    <a:pt x="373" y="1472"/>
                  </a:lnTo>
                  <a:lnTo>
                    <a:pt x="373" y="1474"/>
                  </a:lnTo>
                  <a:lnTo>
                    <a:pt x="374" y="1474"/>
                  </a:lnTo>
                  <a:lnTo>
                    <a:pt x="373" y="1475"/>
                  </a:lnTo>
                  <a:lnTo>
                    <a:pt x="374" y="1475"/>
                  </a:lnTo>
                  <a:lnTo>
                    <a:pt x="376" y="1475"/>
                  </a:lnTo>
                  <a:lnTo>
                    <a:pt x="374" y="1475"/>
                  </a:lnTo>
                  <a:lnTo>
                    <a:pt x="374" y="1477"/>
                  </a:lnTo>
                  <a:lnTo>
                    <a:pt x="376" y="1477"/>
                  </a:lnTo>
                  <a:lnTo>
                    <a:pt x="376" y="1475"/>
                  </a:lnTo>
                  <a:lnTo>
                    <a:pt x="378" y="1475"/>
                  </a:lnTo>
                  <a:lnTo>
                    <a:pt x="379" y="1475"/>
                  </a:lnTo>
                  <a:lnTo>
                    <a:pt x="379" y="1474"/>
                  </a:lnTo>
                  <a:lnTo>
                    <a:pt x="379" y="1472"/>
                  </a:lnTo>
                  <a:lnTo>
                    <a:pt x="379" y="1474"/>
                  </a:lnTo>
                  <a:lnTo>
                    <a:pt x="381" y="1472"/>
                  </a:lnTo>
                  <a:lnTo>
                    <a:pt x="382" y="1472"/>
                  </a:lnTo>
                  <a:lnTo>
                    <a:pt x="382" y="1474"/>
                  </a:lnTo>
                  <a:lnTo>
                    <a:pt x="384" y="1474"/>
                  </a:lnTo>
                  <a:lnTo>
                    <a:pt x="384" y="1475"/>
                  </a:lnTo>
                  <a:lnTo>
                    <a:pt x="384" y="1474"/>
                  </a:lnTo>
                  <a:lnTo>
                    <a:pt x="386" y="1474"/>
                  </a:lnTo>
                  <a:lnTo>
                    <a:pt x="386" y="1472"/>
                  </a:lnTo>
                  <a:lnTo>
                    <a:pt x="387" y="1472"/>
                  </a:lnTo>
                  <a:lnTo>
                    <a:pt x="387" y="1471"/>
                  </a:lnTo>
                  <a:lnTo>
                    <a:pt x="386" y="1471"/>
                  </a:lnTo>
                  <a:lnTo>
                    <a:pt x="386" y="1469"/>
                  </a:lnTo>
                  <a:lnTo>
                    <a:pt x="386" y="1471"/>
                  </a:lnTo>
                  <a:lnTo>
                    <a:pt x="386" y="1467"/>
                  </a:lnTo>
                  <a:lnTo>
                    <a:pt x="386" y="1466"/>
                  </a:lnTo>
                  <a:lnTo>
                    <a:pt x="386" y="1467"/>
                  </a:lnTo>
                  <a:lnTo>
                    <a:pt x="384" y="1467"/>
                  </a:lnTo>
                  <a:lnTo>
                    <a:pt x="386" y="1467"/>
                  </a:lnTo>
                  <a:lnTo>
                    <a:pt x="384" y="1467"/>
                  </a:lnTo>
                  <a:lnTo>
                    <a:pt x="382" y="1466"/>
                  </a:lnTo>
                  <a:lnTo>
                    <a:pt x="384" y="1464"/>
                  </a:lnTo>
                  <a:lnTo>
                    <a:pt x="386" y="1464"/>
                  </a:lnTo>
                  <a:lnTo>
                    <a:pt x="387" y="1464"/>
                  </a:lnTo>
                  <a:lnTo>
                    <a:pt x="389" y="1464"/>
                  </a:lnTo>
                  <a:lnTo>
                    <a:pt x="391" y="1464"/>
                  </a:lnTo>
                  <a:lnTo>
                    <a:pt x="392" y="1464"/>
                  </a:lnTo>
                  <a:lnTo>
                    <a:pt x="392" y="1466"/>
                  </a:lnTo>
                  <a:lnTo>
                    <a:pt x="391" y="1466"/>
                  </a:lnTo>
                  <a:lnTo>
                    <a:pt x="391" y="1467"/>
                  </a:lnTo>
                  <a:lnTo>
                    <a:pt x="391" y="1469"/>
                  </a:lnTo>
                  <a:lnTo>
                    <a:pt x="391" y="1467"/>
                  </a:lnTo>
                  <a:lnTo>
                    <a:pt x="392" y="1467"/>
                  </a:lnTo>
                  <a:lnTo>
                    <a:pt x="392" y="1469"/>
                  </a:lnTo>
                  <a:lnTo>
                    <a:pt x="392" y="1467"/>
                  </a:lnTo>
                  <a:lnTo>
                    <a:pt x="392" y="1464"/>
                  </a:lnTo>
                  <a:lnTo>
                    <a:pt x="392" y="1462"/>
                  </a:lnTo>
                  <a:lnTo>
                    <a:pt x="394" y="1461"/>
                  </a:lnTo>
                  <a:lnTo>
                    <a:pt x="395" y="1461"/>
                  </a:lnTo>
                  <a:lnTo>
                    <a:pt x="395" y="1459"/>
                  </a:lnTo>
                  <a:lnTo>
                    <a:pt x="397" y="1459"/>
                  </a:lnTo>
                  <a:lnTo>
                    <a:pt x="399" y="1459"/>
                  </a:lnTo>
                  <a:lnTo>
                    <a:pt x="400" y="1459"/>
                  </a:lnTo>
                  <a:lnTo>
                    <a:pt x="399" y="1459"/>
                  </a:lnTo>
                  <a:lnTo>
                    <a:pt x="399" y="1461"/>
                  </a:lnTo>
                  <a:lnTo>
                    <a:pt x="399" y="1462"/>
                  </a:lnTo>
                  <a:lnTo>
                    <a:pt x="400" y="1462"/>
                  </a:lnTo>
                  <a:lnTo>
                    <a:pt x="400" y="1461"/>
                  </a:lnTo>
                  <a:lnTo>
                    <a:pt x="400" y="1459"/>
                  </a:lnTo>
                  <a:lnTo>
                    <a:pt x="400" y="1461"/>
                  </a:lnTo>
                  <a:lnTo>
                    <a:pt x="400" y="1459"/>
                  </a:lnTo>
                  <a:lnTo>
                    <a:pt x="402" y="1459"/>
                  </a:lnTo>
                  <a:lnTo>
                    <a:pt x="402" y="1458"/>
                  </a:lnTo>
                  <a:lnTo>
                    <a:pt x="400" y="1459"/>
                  </a:lnTo>
                  <a:lnTo>
                    <a:pt x="400" y="1458"/>
                  </a:lnTo>
                  <a:lnTo>
                    <a:pt x="399" y="1458"/>
                  </a:lnTo>
                  <a:lnTo>
                    <a:pt x="397" y="1458"/>
                  </a:lnTo>
                  <a:lnTo>
                    <a:pt x="395" y="1459"/>
                  </a:lnTo>
                  <a:lnTo>
                    <a:pt x="394" y="1459"/>
                  </a:lnTo>
                  <a:lnTo>
                    <a:pt x="394" y="1461"/>
                  </a:lnTo>
                  <a:lnTo>
                    <a:pt x="394" y="1459"/>
                  </a:lnTo>
                  <a:lnTo>
                    <a:pt x="392" y="1459"/>
                  </a:lnTo>
                  <a:lnTo>
                    <a:pt x="392" y="1461"/>
                  </a:lnTo>
                  <a:lnTo>
                    <a:pt x="391" y="1461"/>
                  </a:lnTo>
                  <a:lnTo>
                    <a:pt x="391" y="1462"/>
                  </a:lnTo>
                  <a:lnTo>
                    <a:pt x="391" y="1464"/>
                  </a:lnTo>
                  <a:lnTo>
                    <a:pt x="389" y="1464"/>
                  </a:lnTo>
                  <a:lnTo>
                    <a:pt x="389" y="1462"/>
                  </a:lnTo>
                  <a:lnTo>
                    <a:pt x="389" y="1464"/>
                  </a:lnTo>
                  <a:lnTo>
                    <a:pt x="387" y="1464"/>
                  </a:lnTo>
                  <a:lnTo>
                    <a:pt x="387" y="1462"/>
                  </a:lnTo>
                  <a:lnTo>
                    <a:pt x="389" y="1462"/>
                  </a:lnTo>
                  <a:lnTo>
                    <a:pt x="387" y="1462"/>
                  </a:lnTo>
                  <a:lnTo>
                    <a:pt x="387" y="1461"/>
                  </a:lnTo>
                  <a:lnTo>
                    <a:pt x="386" y="1462"/>
                  </a:lnTo>
                  <a:lnTo>
                    <a:pt x="386" y="1461"/>
                  </a:lnTo>
                  <a:lnTo>
                    <a:pt x="384" y="1461"/>
                  </a:lnTo>
                  <a:lnTo>
                    <a:pt x="384" y="1462"/>
                  </a:lnTo>
                  <a:lnTo>
                    <a:pt x="382" y="1461"/>
                  </a:lnTo>
                  <a:lnTo>
                    <a:pt x="382" y="1459"/>
                  </a:lnTo>
                  <a:lnTo>
                    <a:pt x="381" y="1459"/>
                  </a:lnTo>
                  <a:lnTo>
                    <a:pt x="382" y="1459"/>
                  </a:lnTo>
                  <a:lnTo>
                    <a:pt x="384" y="1459"/>
                  </a:lnTo>
                  <a:lnTo>
                    <a:pt x="384" y="1458"/>
                  </a:lnTo>
                  <a:lnTo>
                    <a:pt x="384" y="1459"/>
                  </a:lnTo>
                  <a:lnTo>
                    <a:pt x="384" y="1458"/>
                  </a:lnTo>
                  <a:lnTo>
                    <a:pt x="382" y="1458"/>
                  </a:lnTo>
                  <a:lnTo>
                    <a:pt x="382" y="1456"/>
                  </a:lnTo>
                  <a:lnTo>
                    <a:pt x="382" y="1458"/>
                  </a:lnTo>
                  <a:lnTo>
                    <a:pt x="382" y="1456"/>
                  </a:lnTo>
                  <a:lnTo>
                    <a:pt x="384" y="1456"/>
                  </a:lnTo>
                  <a:lnTo>
                    <a:pt x="384" y="1454"/>
                  </a:lnTo>
                  <a:lnTo>
                    <a:pt x="384" y="1453"/>
                  </a:lnTo>
                  <a:lnTo>
                    <a:pt x="386" y="1453"/>
                  </a:lnTo>
                  <a:lnTo>
                    <a:pt x="386" y="1451"/>
                  </a:lnTo>
                  <a:lnTo>
                    <a:pt x="384" y="1453"/>
                  </a:lnTo>
                  <a:lnTo>
                    <a:pt x="382" y="1453"/>
                  </a:lnTo>
                  <a:lnTo>
                    <a:pt x="382" y="1451"/>
                  </a:lnTo>
                  <a:lnTo>
                    <a:pt x="382" y="1453"/>
                  </a:lnTo>
                  <a:lnTo>
                    <a:pt x="382" y="1454"/>
                  </a:lnTo>
                  <a:lnTo>
                    <a:pt x="381" y="1456"/>
                  </a:lnTo>
                  <a:lnTo>
                    <a:pt x="379" y="1456"/>
                  </a:lnTo>
                  <a:lnTo>
                    <a:pt x="381" y="1454"/>
                  </a:lnTo>
                  <a:lnTo>
                    <a:pt x="379" y="1454"/>
                  </a:lnTo>
                  <a:lnTo>
                    <a:pt x="379" y="1453"/>
                  </a:lnTo>
                  <a:lnTo>
                    <a:pt x="378" y="1453"/>
                  </a:lnTo>
                  <a:lnTo>
                    <a:pt x="376" y="1453"/>
                  </a:lnTo>
                  <a:lnTo>
                    <a:pt x="374" y="1451"/>
                  </a:lnTo>
                  <a:lnTo>
                    <a:pt x="373" y="1451"/>
                  </a:lnTo>
                  <a:lnTo>
                    <a:pt x="373" y="1449"/>
                  </a:lnTo>
                  <a:lnTo>
                    <a:pt x="371" y="1449"/>
                  </a:lnTo>
                  <a:lnTo>
                    <a:pt x="371" y="1448"/>
                  </a:lnTo>
                  <a:lnTo>
                    <a:pt x="373" y="1448"/>
                  </a:lnTo>
                  <a:lnTo>
                    <a:pt x="373" y="1446"/>
                  </a:lnTo>
                  <a:lnTo>
                    <a:pt x="371" y="1446"/>
                  </a:lnTo>
                  <a:lnTo>
                    <a:pt x="369" y="1446"/>
                  </a:lnTo>
                  <a:lnTo>
                    <a:pt x="371" y="1445"/>
                  </a:lnTo>
                  <a:lnTo>
                    <a:pt x="371" y="1446"/>
                  </a:lnTo>
                  <a:lnTo>
                    <a:pt x="371" y="1445"/>
                  </a:lnTo>
                  <a:lnTo>
                    <a:pt x="371" y="1443"/>
                  </a:lnTo>
                  <a:lnTo>
                    <a:pt x="371" y="1441"/>
                  </a:lnTo>
                  <a:lnTo>
                    <a:pt x="373" y="1441"/>
                  </a:lnTo>
                  <a:lnTo>
                    <a:pt x="373" y="1440"/>
                  </a:lnTo>
                  <a:lnTo>
                    <a:pt x="373" y="1438"/>
                  </a:lnTo>
                  <a:lnTo>
                    <a:pt x="374" y="1438"/>
                  </a:lnTo>
                  <a:lnTo>
                    <a:pt x="374" y="1436"/>
                  </a:lnTo>
                  <a:lnTo>
                    <a:pt x="374" y="1435"/>
                  </a:lnTo>
                  <a:lnTo>
                    <a:pt x="374" y="1433"/>
                  </a:lnTo>
                  <a:lnTo>
                    <a:pt x="376" y="1433"/>
                  </a:lnTo>
                  <a:lnTo>
                    <a:pt x="376" y="1432"/>
                  </a:lnTo>
                  <a:lnTo>
                    <a:pt x="376" y="1430"/>
                  </a:lnTo>
                  <a:lnTo>
                    <a:pt x="378" y="1430"/>
                  </a:lnTo>
                  <a:lnTo>
                    <a:pt x="378" y="1428"/>
                  </a:lnTo>
                  <a:lnTo>
                    <a:pt x="379" y="1427"/>
                  </a:lnTo>
                  <a:lnTo>
                    <a:pt x="379" y="1425"/>
                  </a:lnTo>
                  <a:lnTo>
                    <a:pt x="379" y="1423"/>
                  </a:lnTo>
                  <a:lnTo>
                    <a:pt x="379" y="1422"/>
                  </a:lnTo>
                  <a:lnTo>
                    <a:pt x="379" y="1420"/>
                  </a:lnTo>
                  <a:lnTo>
                    <a:pt x="381" y="1420"/>
                  </a:lnTo>
                  <a:lnTo>
                    <a:pt x="381" y="1419"/>
                  </a:lnTo>
                  <a:lnTo>
                    <a:pt x="381" y="1417"/>
                  </a:lnTo>
                  <a:lnTo>
                    <a:pt x="379" y="1417"/>
                  </a:lnTo>
                  <a:lnTo>
                    <a:pt x="378" y="1419"/>
                  </a:lnTo>
                  <a:lnTo>
                    <a:pt x="379" y="1419"/>
                  </a:lnTo>
                  <a:lnTo>
                    <a:pt x="379" y="1420"/>
                  </a:lnTo>
                  <a:lnTo>
                    <a:pt x="378" y="1420"/>
                  </a:lnTo>
                  <a:lnTo>
                    <a:pt x="378" y="1422"/>
                  </a:lnTo>
                  <a:lnTo>
                    <a:pt x="378" y="1423"/>
                  </a:lnTo>
                  <a:lnTo>
                    <a:pt x="376" y="1425"/>
                  </a:lnTo>
                  <a:lnTo>
                    <a:pt x="376" y="1423"/>
                  </a:lnTo>
                  <a:lnTo>
                    <a:pt x="374" y="1425"/>
                  </a:lnTo>
                  <a:lnTo>
                    <a:pt x="373" y="1427"/>
                  </a:lnTo>
                  <a:lnTo>
                    <a:pt x="371" y="1427"/>
                  </a:lnTo>
                  <a:lnTo>
                    <a:pt x="371" y="1428"/>
                  </a:lnTo>
                  <a:lnTo>
                    <a:pt x="369" y="1428"/>
                  </a:lnTo>
                  <a:lnTo>
                    <a:pt x="369" y="1430"/>
                  </a:lnTo>
                  <a:lnTo>
                    <a:pt x="368" y="1430"/>
                  </a:lnTo>
                  <a:lnTo>
                    <a:pt x="368" y="1428"/>
                  </a:lnTo>
                  <a:lnTo>
                    <a:pt x="368" y="1430"/>
                  </a:lnTo>
                  <a:lnTo>
                    <a:pt x="366" y="1430"/>
                  </a:lnTo>
                  <a:lnTo>
                    <a:pt x="366" y="1432"/>
                  </a:lnTo>
                  <a:lnTo>
                    <a:pt x="368" y="1432"/>
                  </a:lnTo>
                  <a:lnTo>
                    <a:pt x="366" y="1433"/>
                  </a:lnTo>
                  <a:lnTo>
                    <a:pt x="365" y="1435"/>
                  </a:lnTo>
                  <a:lnTo>
                    <a:pt x="365" y="1436"/>
                  </a:lnTo>
                  <a:lnTo>
                    <a:pt x="363" y="1436"/>
                  </a:lnTo>
                  <a:lnTo>
                    <a:pt x="363" y="1438"/>
                  </a:lnTo>
                  <a:lnTo>
                    <a:pt x="363" y="1436"/>
                  </a:lnTo>
                  <a:lnTo>
                    <a:pt x="361" y="1438"/>
                  </a:lnTo>
                  <a:lnTo>
                    <a:pt x="360" y="1438"/>
                  </a:lnTo>
                  <a:lnTo>
                    <a:pt x="360" y="1440"/>
                  </a:lnTo>
                  <a:lnTo>
                    <a:pt x="358" y="1440"/>
                  </a:lnTo>
                  <a:lnTo>
                    <a:pt x="356" y="1440"/>
                  </a:lnTo>
                  <a:lnTo>
                    <a:pt x="355" y="1441"/>
                  </a:lnTo>
                  <a:lnTo>
                    <a:pt x="353" y="1441"/>
                  </a:lnTo>
                  <a:lnTo>
                    <a:pt x="352" y="1443"/>
                  </a:lnTo>
                  <a:lnTo>
                    <a:pt x="350" y="1443"/>
                  </a:lnTo>
                  <a:lnTo>
                    <a:pt x="350" y="1445"/>
                  </a:lnTo>
                  <a:lnTo>
                    <a:pt x="348" y="1446"/>
                  </a:lnTo>
                  <a:lnTo>
                    <a:pt x="347" y="1446"/>
                  </a:lnTo>
                  <a:lnTo>
                    <a:pt x="345" y="1446"/>
                  </a:lnTo>
                  <a:lnTo>
                    <a:pt x="345" y="1445"/>
                  </a:lnTo>
                  <a:lnTo>
                    <a:pt x="347" y="1445"/>
                  </a:lnTo>
                  <a:lnTo>
                    <a:pt x="348" y="1443"/>
                  </a:lnTo>
                  <a:lnTo>
                    <a:pt x="347" y="1443"/>
                  </a:lnTo>
                  <a:lnTo>
                    <a:pt x="348" y="1443"/>
                  </a:lnTo>
                  <a:lnTo>
                    <a:pt x="350" y="1441"/>
                  </a:lnTo>
                  <a:lnTo>
                    <a:pt x="352" y="1441"/>
                  </a:lnTo>
                  <a:lnTo>
                    <a:pt x="350" y="1441"/>
                  </a:lnTo>
                  <a:lnTo>
                    <a:pt x="348" y="1441"/>
                  </a:lnTo>
                  <a:lnTo>
                    <a:pt x="348" y="1440"/>
                  </a:lnTo>
                  <a:lnTo>
                    <a:pt x="350" y="1440"/>
                  </a:lnTo>
                  <a:lnTo>
                    <a:pt x="348" y="1440"/>
                  </a:lnTo>
                  <a:lnTo>
                    <a:pt x="348" y="1441"/>
                  </a:lnTo>
                  <a:lnTo>
                    <a:pt x="348" y="1443"/>
                  </a:lnTo>
                  <a:lnTo>
                    <a:pt x="347" y="1443"/>
                  </a:lnTo>
                  <a:lnTo>
                    <a:pt x="347" y="1441"/>
                  </a:lnTo>
                  <a:lnTo>
                    <a:pt x="347" y="1440"/>
                  </a:lnTo>
                  <a:lnTo>
                    <a:pt x="348" y="1440"/>
                  </a:lnTo>
                  <a:lnTo>
                    <a:pt x="347" y="1440"/>
                  </a:lnTo>
                  <a:lnTo>
                    <a:pt x="347" y="1438"/>
                  </a:lnTo>
                  <a:lnTo>
                    <a:pt x="348" y="1436"/>
                  </a:lnTo>
                  <a:lnTo>
                    <a:pt x="350" y="1435"/>
                  </a:lnTo>
                  <a:lnTo>
                    <a:pt x="352" y="1435"/>
                  </a:lnTo>
                  <a:lnTo>
                    <a:pt x="350" y="1435"/>
                  </a:lnTo>
                  <a:lnTo>
                    <a:pt x="348" y="1435"/>
                  </a:lnTo>
                  <a:lnTo>
                    <a:pt x="348" y="1436"/>
                  </a:lnTo>
                  <a:lnTo>
                    <a:pt x="347" y="1438"/>
                  </a:lnTo>
                  <a:lnTo>
                    <a:pt x="345" y="1438"/>
                  </a:lnTo>
                  <a:lnTo>
                    <a:pt x="345" y="1440"/>
                  </a:lnTo>
                  <a:lnTo>
                    <a:pt x="345" y="1441"/>
                  </a:lnTo>
                  <a:lnTo>
                    <a:pt x="345" y="1440"/>
                  </a:lnTo>
                  <a:lnTo>
                    <a:pt x="343" y="1440"/>
                  </a:lnTo>
                  <a:lnTo>
                    <a:pt x="343" y="1441"/>
                  </a:lnTo>
                  <a:lnTo>
                    <a:pt x="342" y="1441"/>
                  </a:lnTo>
                  <a:lnTo>
                    <a:pt x="340" y="1441"/>
                  </a:lnTo>
                  <a:lnTo>
                    <a:pt x="340" y="1440"/>
                  </a:lnTo>
                  <a:lnTo>
                    <a:pt x="340" y="1441"/>
                  </a:lnTo>
                  <a:lnTo>
                    <a:pt x="340" y="1440"/>
                  </a:lnTo>
                  <a:lnTo>
                    <a:pt x="340" y="1438"/>
                  </a:lnTo>
                  <a:lnTo>
                    <a:pt x="342" y="1435"/>
                  </a:lnTo>
                  <a:lnTo>
                    <a:pt x="343" y="1435"/>
                  </a:lnTo>
                  <a:lnTo>
                    <a:pt x="343" y="1433"/>
                  </a:lnTo>
                  <a:lnTo>
                    <a:pt x="342" y="1433"/>
                  </a:lnTo>
                  <a:lnTo>
                    <a:pt x="343" y="1433"/>
                  </a:lnTo>
                  <a:lnTo>
                    <a:pt x="343" y="1432"/>
                  </a:lnTo>
                  <a:lnTo>
                    <a:pt x="343" y="1430"/>
                  </a:lnTo>
                  <a:lnTo>
                    <a:pt x="345" y="1430"/>
                  </a:lnTo>
                  <a:lnTo>
                    <a:pt x="345" y="1428"/>
                  </a:lnTo>
                  <a:lnTo>
                    <a:pt x="345" y="1427"/>
                  </a:lnTo>
                  <a:lnTo>
                    <a:pt x="347" y="1427"/>
                  </a:lnTo>
                  <a:lnTo>
                    <a:pt x="347" y="1425"/>
                  </a:lnTo>
                  <a:lnTo>
                    <a:pt x="347" y="1423"/>
                  </a:lnTo>
                  <a:lnTo>
                    <a:pt x="348" y="1422"/>
                  </a:lnTo>
                  <a:lnTo>
                    <a:pt x="348" y="1420"/>
                  </a:lnTo>
                  <a:lnTo>
                    <a:pt x="350" y="1419"/>
                  </a:lnTo>
                  <a:lnTo>
                    <a:pt x="348" y="1419"/>
                  </a:lnTo>
                  <a:lnTo>
                    <a:pt x="350" y="1417"/>
                  </a:lnTo>
                  <a:lnTo>
                    <a:pt x="350" y="1415"/>
                  </a:lnTo>
                  <a:lnTo>
                    <a:pt x="348" y="1419"/>
                  </a:lnTo>
                  <a:lnTo>
                    <a:pt x="348" y="1420"/>
                  </a:lnTo>
                  <a:lnTo>
                    <a:pt x="347" y="1422"/>
                  </a:lnTo>
                  <a:lnTo>
                    <a:pt x="345" y="1423"/>
                  </a:lnTo>
                  <a:lnTo>
                    <a:pt x="345" y="1422"/>
                  </a:lnTo>
                  <a:lnTo>
                    <a:pt x="343" y="1422"/>
                  </a:lnTo>
                  <a:lnTo>
                    <a:pt x="343" y="1423"/>
                  </a:lnTo>
                  <a:lnTo>
                    <a:pt x="343" y="1422"/>
                  </a:lnTo>
                  <a:lnTo>
                    <a:pt x="342" y="1423"/>
                  </a:lnTo>
                  <a:lnTo>
                    <a:pt x="340" y="1423"/>
                  </a:lnTo>
                  <a:lnTo>
                    <a:pt x="339" y="1423"/>
                  </a:lnTo>
                  <a:lnTo>
                    <a:pt x="337" y="1423"/>
                  </a:lnTo>
                  <a:lnTo>
                    <a:pt x="337" y="1422"/>
                  </a:lnTo>
                  <a:lnTo>
                    <a:pt x="337" y="1420"/>
                  </a:lnTo>
                  <a:lnTo>
                    <a:pt x="339" y="1420"/>
                  </a:lnTo>
                  <a:lnTo>
                    <a:pt x="339" y="1419"/>
                  </a:lnTo>
                  <a:lnTo>
                    <a:pt x="337" y="1419"/>
                  </a:lnTo>
                  <a:lnTo>
                    <a:pt x="337" y="1420"/>
                  </a:lnTo>
                  <a:lnTo>
                    <a:pt x="335" y="1420"/>
                  </a:lnTo>
                  <a:lnTo>
                    <a:pt x="334" y="1420"/>
                  </a:lnTo>
                  <a:lnTo>
                    <a:pt x="334" y="1422"/>
                  </a:lnTo>
                  <a:lnTo>
                    <a:pt x="332" y="1422"/>
                  </a:lnTo>
                  <a:lnTo>
                    <a:pt x="332" y="1423"/>
                  </a:lnTo>
                  <a:lnTo>
                    <a:pt x="330" y="1423"/>
                  </a:lnTo>
                  <a:lnTo>
                    <a:pt x="326" y="1425"/>
                  </a:lnTo>
                  <a:lnTo>
                    <a:pt x="324" y="1425"/>
                  </a:lnTo>
                  <a:lnTo>
                    <a:pt x="324" y="1423"/>
                  </a:lnTo>
                  <a:lnTo>
                    <a:pt x="324" y="1422"/>
                  </a:lnTo>
                  <a:lnTo>
                    <a:pt x="324" y="1423"/>
                  </a:lnTo>
                  <a:lnTo>
                    <a:pt x="322" y="1422"/>
                  </a:lnTo>
                  <a:lnTo>
                    <a:pt x="321" y="1422"/>
                  </a:lnTo>
                  <a:lnTo>
                    <a:pt x="321" y="1420"/>
                  </a:lnTo>
                  <a:lnTo>
                    <a:pt x="319" y="1420"/>
                  </a:lnTo>
                  <a:lnTo>
                    <a:pt x="321" y="1419"/>
                  </a:lnTo>
                  <a:lnTo>
                    <a:pt x="319" y="1420"/>
                  </a:lnTo>
                  <a:lnTo>
                    <a:pt x="319" y="1419"/>
                  </a:lnTo>
                  <a:lnTo>
                    <a:pt x="317" y="1419"/>
                  </a:lnTo>
                  <a:lnTo>
                    <a:pt x="316" y="1419"/>
                  </a:lnTo>
                  <a:lnTo>
                    <a:pt x="314" y="1419"/>
                  </a:lnTo>
                  <a:lnTo>
                    <a:pt x="313" y="1419"/>
                  </a:lnTo>
                  <a:lnTo>
                    <a:pt x="313" y="1420"/>
                  </a:lnTo>
                  <a:lnTo>
                    <a:pt x="313" y="1419"/>
                  </a:lnTo>
                  <a:lnTo>
                    <a:pt x="311" y="1419"/>
                  </a:lnTo>
                  <a:lnTo>
                    <a:pt x="311" y="1417"/>
                  </a:lnTo>
                  <a:lnTo>
                    <a:pt x="311" y="1415"/>
                  </a:lnTo>
                  <a:lnTo>
                    <a:pt x="311" y="1417"/>
                  </a:lnTo>
                  <a:lnTo>
                    <a:pt x="309" y="1419"/>
                  </a:lnTo>
                  <a:lnTo>
                    <a:pt x="311" y="1419"/>
                  </a:lnTo>
                  <a:lnTo>
                    <a:pt x="309" y="1419"/>
                  </a:lnTo>
                  <a:lnTo>
                    <a:pt x="309" y="1420"/>
                  </a:lnTo>
                  <a:lnTo>
                    <a:pt x="308" y="1419"/>
                  </a:lnTo>
                  <a:lnTo>
                    <a:pt x="306" y="1419"/>
                  </a:lnTo>
                  <a:lnTo>
                    <a:pt x="304" y="1419"/>
                  </a:lnTo>
                  <a:lnTo>
                    <a:pt x="303" y="1417"/>
                  </a:lnTo>
                  <a:lnTo>
                    <a:pt x="304" y="1415"/>
                  </a:lnTo>
                  <a:lnTo>
                    <a:pt x="303" y="1415"/>
                  </a:lnTo>
                  <a:lnTo>
                    <a:pt x="304" y="1415"/>
                  </a:lnTo>
                  <a:lnTo>
                    <a:pt x="303" y="1414"/>
                  </a:lnTo>
                  <a:lnTo>
                    <a:pt x="303" y="1415"/>
                  </a:lnTo>
                  <a:lnTo>
                    <a:pt x="303" y="1414"/>
                  </a:lnTo>
                  <a:lnTo>
                    <a:pt x="303" y="1415"/>
                  </a:lnTo>
                  <a:lnTo>
                    <a:pt x="301" y="1414"/>
                  </a:lnTo>
                  <a:lnTo>
                    <a:pt x="300" y="1414"/>
                  </a:lnTo>
                  <a:lnTo>
                    <a:pt x="301" y="1412"/>
                  </a:lnTo>
                  <a:lnTo>
                    <a:pt x="300" y="1412"/>
                  </a:lnTo>
                  <a:lnTo>
                    <a:pt x="301" y="1412"/>
                  </a:lnTo>
                  <a:lnTo>
                    <a:pt x="301" y="1410"/>
                  </a:lnTo>
                  <a:lnTo>
                    <a:pt x="300" y="1412"/>
                  </a:lnTo>
                  <a:lnTo>
                    <a:pt x="298" y="1412"/>
                  </a:lnTo>
                  <a:lnTo>
                    <a:pt x="298" y="1410"/>
                  </a:lnTo>
                  <a:lnTo>
                    <a:pt x="298" y="1409"/>
                  </a:lnTo>
                  <a:lnTo>
                    <a:pt x="296" y="1409"/>
                  </a:lnTo>
                  <a:lnTo>
                    <a:pt x="296" y="1410"/>
                  </a:lnTo>
                  <a:lnTo>
                    <a:pt x="295" y="1410"/>
                  </a:lnTo>
                  <a:lnTo>
                    <a:pt x="295" y="1409"/>
                  </a:lnTo>
                  <a:lnTo>
                    <a:pt x="295" y="1407"/>
                  </a:lnTo>
                  <a:lnTo>
                    <a:pt x="293" y="1407"/>
                  </a:lnTo>
                  <a:lnTo>
                    <a:pt x="293" y="1409"/>
                  </a:lnTo>
                  <a:lnTo>
                    <a:pt x="293" y="1410"/>
                  </a:lnTo>
                  <a:lnTo>
                    <a:pt x="291" y="1409"/>
                  </a:lnTo>
                  <a:lnTo>
                    <a:pt x="293" y="1407"/>
                  </a:lnTo>
                  <a:lnTo>
                    <a:pt x="291" y="1407"/>
                  </a:lnTo>
                  <a:lnTo>
                    <a:pt x="291" y="1409"/>
                  </a:lnTo>
                  <a:lnTo>
                    <a:pt x="291" y="1407"/>
                  </a:lnTo>
                  <a:lnTo>
                    <a:pt x="291" y="1409"/>
                  </a:lnTo>
                  <a:lnTo>
                    <a:pt x="291" y="1410"/>
                  </a:lnTo>
                  <a:lnTo>
                    <a:pt x="293" y="1410"/>
                  </a:lnTo>
                  <a:lnTo>
                    <a:pt x="293" y="1412"/>
                  </a:lnTo>
                  <a:lnTo>
                    <a:pt x="293" y="1414"/>
                  </a:lnTo>
                  <a:lnTo>
                    <a:pt x="295" y="1414"/>
                  </a:lnTo>
                  <a:lnTo>
                    <a:pt x="295" y="1415"/>
                  </a:lnTo>
                  <a:lnTo>
                    <a:pt x="296" y="1415"/>
                  </a:lnTo>
                  <a:lnTo>
                    <a:pt x="295" y="1415"/>
                  </a:lnTo>
                  <a:lnTo>
                    <a:pt x="295" y="1417"/>
                  </a:lnTo>
                  <a:lnTo>
                    <a:pt x="293" y="1417"/>
                  </a:lnTo>
                  <a:lnTo>
                    <a:pt x="293" y="1415"/>
                  </a:lnTo>
                  <a:lnTo>
                    <a:pt x="291" y="1415"/>
                  </a:lnTo>
                  <a:lnTo>
                    <a:pt x="290" y="1415"/>
                  </a:lnTo>
                  <a:lnTo>
                    <a:pt x="288" y="1415"/>
                  </a:lnTo>
                  <a:lnTo>
                    <a:pt x="288" y="1417"/>
                  </a:lnTo>
                  <a:lnTo>
                    <a:pt x="287" y="1417"/>
                  </a:lnTo>
                  <a:lnTo>
                    <a:pt x="287" y="1415"/>
                  </a:lnTo>
                  <a:lnTo>
                    <a:pt x="287" y="1417"/>
                  </a:lnTo>
                  <a:lnTo>
                    <a:pt x="285" y="1417"/>
                  </a:lnTo>
                  <a:lnTo>
                    <a:pt x="287" y="1419"/>
                  </a:lnTo>
                  <a:lnTo>
                    <a:pt x="285" y="1419"/>
                  </a:lnTo>
                  <a:lnTo>
                    <a:pt x="283" y="1419"/>
                  </a:lnTo>
                  <a:lnTo>
                    <a:pt x="283" y="1417"/>
                  </a:lnTo>
                  <a:lnTo>
                    <a:pt x="283" y="1415"/>
                  </a:lnTo>
                  <a:lnTo>
                    <a:pt x="285" y="1415"/>
                  </a:lnTo>
                  <a:lnTo>
                    <a:pt x="287" y="1415"/>
                  </a:lnTo>
                  <a:lnTo>
                    <a:pt x="288" y="1414"/>
                  </a:lnTo>
                  <a:lnTo>
                    <a:pt x="287" y="1414"/>
                  </a:lnTo>
                  <a:lnTo>
                    <a:pt x="287" y="1412"/>
                  </a:lnTo>
                  <a:lnTo>
                    <a:pt x="287" y="1410"/>
                  </a:lnTo>
                  <a:lnTo>
                    <a:pt x="288" y="1412"/>
                  </a:lnTo>
                  <a:lnTo>
                    <a:pt x="288" y="1410"/>
                  </a:lnTo>
                  <a:lnTo>
                    <a:pt x="287" y="1410"/>
                  </a:lnTo>
                  <a:lnTo>
                    <a:pt x="288" y="1409"/>
                  </a:lnTo>
                  <a:lnTo>
                    <a:pt x="288" y="1407"/>
                  </a:lnTo>
                  <a:lnTo>
                    <a:pt x="287" y="1407"/>
                  </a:lnTo>
                  <a:lnTo>
                    <a:pt x="287" y="1406"/>
                  </a:lnTo>
                  <a:lnTo>
                    <a:pt x="288" y="1406"/>
                  </a:lnTo>
                  <a:lnTo>
                    <a:pt x="287" y="1406"/>
                  </a:lnTo>
                  <a:lnTo>
                    <a:pt x="287" y="1404"/>
                  </a:lnTo>
                  <a:lnTo>
                    <a:pt x="287" y="1402"/>
                  </a:lnTo>
                  <a:lnTo>
                    <a:pt x="287" y="1401"/>
                  </a:lnTo>
                  <a:lnTo>
                    <a:pt x="288" y="1401"/>
                  </a:lnTo>
                  <a:lnTo>
                    <a:pt x="287" y="1399"/>
                  </a:lnTo>
                  <a:lnTo>
                    <a:pt x="288" y="1399"/>
                  </a:lnTo>
                  <a:lnTo>
                    <a:pt x="288" y="1397"/>
                  </a:lnTo>
                  <a:lnTo>
                    <a:pt x="287" y="1397"/>
                  </a:lnTo>
                  <a:lnTo>
                    <a:pt x="288" y="1397"/>
                  </a:lnTo>
                  <a:lnTo>
                    <a:pt x="287" y="1396"/>
                  </a:lnTo>
                  <a:lnTo>
                    <a:pt x="285" y="1396"/>
                  </a:lnTo>
                  <a:lnTo>
                    <a:pt x="285" y="1397"/>
                  </a:lnTo>
                  <a:lnTo>
                    <a:pt x="283" y="1399"/>
                  </a:lnTo>
                  <a:lnTo>
                    <a:pt x="283" y="1401"/>
                  </a:lnTo>
                  <a:lnTo>
                    <a:pt x="282" y="1402"/>
                  </a:lnTo>
                  <a:lnTo>
                    <a:pt x="280" y="1404"/>
                  </a:lnTo>
                  <a:lnTo>
                    <a:pt x="280" y="1402"/>
                  </a:lnTo>
                  <a:lnTo>
                    <a:pt x="278" y="1401"/>
                  </a:lnTo>
                  <a:lnTo>
                    <a:pt x="280" y="1402"/>
                  </a:lnTo>
                  <a:lnTo>
                    <a:pt x="278" y="1404"/>
                  </a:lnTo>
                  <a:lnTo>
                    <a:pt x="277" y="1404"/>
                  </a:lnTo>
                  <a:lnTo>
                    <a:pt x="277" y="1406"/>
                  </a:lnTo>
                  <a:lnTo>
                    <a:pt x="277" y="1404"/>
                  </a:lnTo>
                  <a:lnTo>
                    <a:pt x="277" y="1406"/>
                  </a:lnTo>
                  <a:lnTo>
                    <a:pt x="277" y="1407"/>
                  </a:lnTo>
                  <a:lnTo>
                    <a:pt x="278" y="1407"/>
                  </a:lnTo>
                  <a:lnTo>
                    <a:pt x="278" y="1409"/>
                  </a:lnTo>
                  <a:lnTo>
                    <a:pt x="278" y="1410"/>
                  </a:lnTo>
                  <a:lnTo>
                    <a:pt x="277" y="1410"/>
                  </a:lnTo>
                  <a:lnTo>
                    <a:pt x="277" y="1412"/>
                  </a:lnTo>
                  <a:lnTo>
                    <a:pt x="277" y="1414"/>
                  </a:lnTo>
                  <a:lnTo>
                    <a:pt x="277" y="1415"/>
                  </a:lnTo>
                  <a:lnTo>
                    <a:pt x="277" y="1417"/>
                  </a:lnTo>
                  <a:lnTo>
                    <a:pt x="275" y="1417"/>
                  </a:lnTo>
                  <a:lnTo>
                    <a:pt x="274" y="1419"/>
                  </a:lnTo>
                  <a:lnTo>
                    <a:pt x="274" y="1417"/>
                  </a:lnTo>
                  <a:lnTo>
                    <a:pt x="274" y="1419"/>
                  </a:lnTo>
                  <a:lnTo>
                    <a:pt x="272" y="1419"/>
                  </a:lnTo>
                  <a:lnTo>
                    <a:pt x="272" y="1417"/>
                  </a:lnTo>
                  <a:lnTo>
                    <a:pt x="272" y="1415"/>
                  </a:lnTo>
                  <a:lnTo>
                    <a:pt x="270" y="1414"/>
                  </a:lnTo>
                  <a:lnTo>
                    <a:pt x="270" y="1412"/>
                  </a:lnTo>
                  <a:lnTo>
                    <a:pt x="272" y="1412"/>
                  </a:lnTo>
                  <a:lnTo>
                    <a:pt x="272" y="1414"/>
                  </a:lnTo>
                  <a:lnTo>
                    <a:pt x="272" y="1415"/>
                  </a:lnTo>
                  <a:lnTo>
                    <a:pt x="274" y="1415"/>
                  </a:lnTo>
                  <a:lnTo>
                    <a:pt x="274" y="1414"/>
                  </a:lnTo>
                  <a:lnTo>
                    <a:pt x="272" y="1412"/>
                  </a:lnTo>
                  <a:lnTo>
                    <a:pt x="270" y="1412"/>
                  </a:lnTo>
                  <a:lnTo>
                    <a:pt x="270" y="1410"/>
                  </a:lnTo>
                  <a:lnTo>
                    <a:pt x="269" y="1410"/>
                  </a:lnTo>
                  <a:lnTo>
                    <a:pt x="269" y="1409"/>
                  </a:lnTo>
                  <a:lnTo>
                    <a:pt x="270" y="1409"/>
                  </a:lnTo>
                  <a:lnTo>
                    <a:pt x="269" y="1409"/>
                  </a:lnTo>
                  <a:lnTo>
                    <a:pt x="267" y="1409"/>
                  </a:lnTo>
                  <a:lnTo>
                    <a:pt x="267" y="1407"/>
                  </a:lnTo>
                  <a:lnTo>
                    <a:pt x="265" y="1407"/>
                  </a:lnTo>
                  <a:lnTo>
                    <a:pt x="265" y="1406"/>
                  </a:lnTo>
                  <a:lnTo>
                    <a:pt x="265" y="1407"/>
                  </a:lnTo>
                  <a:lnTo>
                    <a:pt x="265" y="1406"/>
                  </a:lnTo>
                  <a:lnTo>
                    <a:pt x="267" y="1406"/>
                  </a:lnTo>
                  <a:lnTo>
                    <a:pt x="265" y="1406"/>
                  </a:lnTo>
                  <a:lnTo>
                    <a:pt x="265" y="1404"/>
                  </a:lnTo>
                  <a:lnTo>
                    <a:pt x="265" y="1406"/>
                  </a:lnTo>
                  <a:lnTo>
                    <a:pt x="264" y="1406"/>
                  </a:lnTo>
                  <a:lnTo>
                    <a:pt x="264" y="1407"/>
                  </a:lnTo>
                  <a:lnTo>
                    <a:pt x="265" y="1407"/>
                  </a:lnTo>
                  <a:lnTo>
                    <a:pt x="264" y="1407"/>
                  </a:lnTo>
                  <a:lnTo>
                    <a:pt x="262" y="1407"/>
                  </a:lnTo>
                  <a:lnTo>
                    <a:pt x="261" y="1407"/>
                  </a:lnTo>
                  <a:lnTo>
                    <a:pt x="261" y="1406"/>
                  </a:lnTo>
                  <a:lnTo>
                    <a:pt x="259" y="1406"/>
                  </a:lnTo>
                  <a:lnTo>
                    <a:pt x="259" y="1404"/>
                  </a:lnTo>
                  <a:lnTo>
                    <a:pt x="259" y="1406"/>
                  </a:lnTo>
                  <a:lnTo>
                    <a:pt x="259" y="1404"/>
                  </a:lnTo>
                  <a:lnTo>
                    <a:pt x="259" y="1402"/>
                  </a:lnTo>
                  <a:lnTo>
                    <a:pt x="259" y="1404"/>
                  </a:lnTo>
                  <a:lnTo>
                    <a:pt x="259" y="1402"/>
                  </a:lnTo>
                  <a:lnTo>
                    <a:pt x="259" y="1404"/>
                  </a:lnTo>
                  <a:lnTo>
                    <a:pt x="257" y="1404"/>
                  </a:lnTo>
                  <a:lnTo>
                    <a:pt x="257" y="1402"/>
                  </a:lnTo>
                  <a:lnTo>
                    <a:pt x="257" y="1404"/>
                  </a:lnTo>
                  <a:lnTo>
                    <a:pt x="257" y="1402"/>
                  </a:lnTo>
                  <a:lnTo>
                    <a:pt x="259" y="1402"/>
                  </a:lnTo>
                  <a:lnTo>
                    <a:pt x="257" y="1402"/>
                  </a:lnTo>
                  <a:lnTo>
                    <a:pt x="259" y="1402"/>
                  </a:lnTo>
                  <a:lnTo>
                    <a:pt x="257" y="1402"/>
                  </a:lnTo>
                  <a:lnTo>
                    <a:pt x="256" y="1401"/>
                  </a:lnTo>
                  <a:lnTo>
                    <a:pt x="256" y="1399"/>
                  </a:lnTo>
                  <a:lnTo>
                    <a:pt x="256" y="1401"/>
                  </a:lnTo>
                  <a:lnTo>
                    <a:pt x="257" y="1401"/>
                  </a:lnTo>
                  <a:lnTo>
                    <a:pt x="256" y="1399"/>
                  </a:lnTo>
                  <a:lnTo>
                    <a:pt x="257" y="1399"/>
                  </a:lnTo>
                  <a:lnTo>
                    <a:pt x="257" y="1401"/>
                  </a:lnTo>
                  <a:lnTo>
                    <a:pt x="257" y="1399"/>
                  </a:lnTo>
                  <a:lnTo>
                    <a:pt x="259" y="1401"/>
                  </a:lnTo>
                  <a:lnTo>
                    <a:pt x="261" y="1401"/>
                  </a:lnTo>
                  <a:lnTo>
                    <a:pt x="261" y="1399"/>
                  </a:lnTo>
                  <a:lnTo>
                    <a:pt x="259" y="1401"/>
                  </a:lnTo>
                  <a:lnTo>
                    <a:pt x="259" y="1399"/>
                  </a:lnTo>
                  <a:lnTo>
                    <a:pt x="259" y="1397"/>
                  </a:lnTo>
                  <a:lnTo>
                    <a:pt x="259" y="1399"/>
                  </a:lnTo>
                  <a:lnTo>
                    <a:pt x="257" y="1399"/>
                  </a:lnTo>
                  <a:lnTo>
                    <a:pt x="257" y="1397"/>
                  </a:lnTo>
                  <a:lnTo>
                    <a:pt x="257" y="1399"/>
                  </a:lnTo>
                  <a:lnTo>
                    <a:pt x="257" y="1397"/>
                  </a:lnTo>
                  <a:lnTo>
                    <a:pt x="257" y="1399"/>
                  </a:lnTo>
                  <a:lnTo>
                    <a:pt x="256" y="1397"/>
                  </a:lnTo>
                  <a:lnTo>
                    <a:pt x="256" y="1396"/>
                  </a:lnTo>
                  <a:lnTo>
                    <a:pt x="256" y="1397"/>
                  </a:lnTo>
                  <a:lnTo>
                    <a:pt x="254" y="1397"/>
                  </a:lnTo>
                  <a:lnTo>
                    <a:pt x="254" y="1396"/>
                  </a:lnTo>
                  <a:lnTo>
                    <a:pt x="252" y="1397"/>
                  </a:lnTo>
                  <a:lnTo>
                    <a:pt x="252" y="1396"/>
                  </a:lnTo>
                  <a:lnTo>
                    <a:pt x="254" y="1396"/>
                  </a:lnTo>
                  <a:lnTo>
                    <a:pt x="254" y="1397"/>
                  </a:lnTo>
                  <a:lnTo>
                    <a:pt x="254" y="1396"/>
                  </a:lnTo>
                  <a:lnTo>
                    <a:pt x="252" y="1396"/>
                  </a:lnTo>
                  <a:lnTo>
                    <a:pt x="252" y="1394"/>
                  </a:lnTo>
                  <a:lnTo>
                    <a:pt x="251" y="1394"/>
                  </a:lnTo>
                  <a:lnTo>
                    <a:pt x="251" y="1393"/>
                  </a:lnTo>
                  <a:lnTo>
                    <a:pt x="249" y="1393"/>
                  </a:lnTo>
                  <a:lnTo>
                    <a:pt x="251" y="1393"/>
                  </a:lnTo>
                  <a:lnTo>
                    <a:pt x="252" y="1393"/>
                  </a:lnTo>
                  <a:lnTo>
                    <a:pt x="251" y="1393"/>
                  </a:lnTo>
                  <a:lnTo>
                    <a:pt x="252" y="1393"/>
                  </a:lnTo>
                  <a:lnTo>
                    <a:pt x="251" y="1391"/>
                  </a:lnTo>
                  <a:lnTo>
                    <a:pt x="251" y="1393"/>
                  </a:lnTo>
                  <a:lnTo>
                    <a:pt x="251" y="1391"/>
                  </a:lnTo>
                  <a:lnTo>
                    <a:pt x="252" y="1391"/>
                  </a:lnTo>
                  <a:lnTo>
                    <a:pt x="251" y="1391"/>
                  </a:lnTo>
                  <a:lnTo>
                    <a:pt x="251" y="1389"/>
                  </a:lnTo>
                  <a:lnTo>
                    <a:pt x="251" y="1391"/>
                  </a:lnTo>
                  <a:lnTo>
                    <a:pt x="251" y="1389"/>
                  </a:lnTo>
                  <a:lnTo>
                    <a:pt x="251" y="1391"/>
                  </a:lnTo>
                  <a:lnTo>
                    <a:pt x="251" y="1389"/>
                  </a:lnTo>
                  <a:lnTo>
                    <a:pt x="252" y="1389"/>
                  </a:lnTo>
                  <a:lnTo>
                    <a:pt x="251" y="1388"/>
                  </a:lnTo>
                  <a:lnTo>
                    <a:pt x="252" y="1388"/>
                  </a:lnTo>
                  <a:lnTo>
                    <a:pt x="252" y="1386"/>
                  </a:lnTo>
                  <a:lnTo>
                    <a:pt x="254" y="1386"/>
                  </a:lnTo>
                  <a:lnTo>
                    <a:pt x="252" y="1386"/>
                  </a:lnTo>
                  <a:lnTo>
                    <a:pt x="252" y="1384"/>
                  </a:lnTo>
                  <a:lnTo>
                    <a:pt x="252" y="1383"/>
                  </a:lnTo>
                  <a:lnTo>
                    <a:pt x="252" y="1384"/>
                  </a:lnTo>
                  <a:lnTo>
                    <a:pt x="252" y="1383"/>
                  </a:lnTo>
                  <a:lnTo>
                    <a:pt x="251" y="1383"/>
                  </a:lnTo>
                  <a:lnTo>
                    <a:pt x="252" y="1383"/>
                  </a:lnTo>
                  <a:lnTo>
                    <a:pt x="254" y="1383"/>
                  </a:lnTo>
                  <a:lnTo>
                    <a:pt x="252" y="1383"/>
                  </a:lnTo>
                  <a:lnTo>
                    <a:pt x="254" y="1383"/>
                  </a:lnTo>
                  <a:lnTo>
                    <a:pt x="254" y="1384"/>
                  </a:lnTo>
                  <a:lnTo>
                    <a:pt x="256" y="1384"/>
                  </a:lnTo>
                  <a:lnTo>
                    <a:pt x="256" y="1386"/>
                  </a:lnTo>
                  <a:lnTo>
                    <a:pt x="256" y="1388"/>
                  </a:lnTo>
                  <a:lnTo>
                    <a:pt x="254" y="1388"/>
                  </a:lnTo>
                  <a:lnTo>
                    <a:pt x="256" y="1389"/>
                  </a:lnTo>
                  <a:lnTo>
                    <a:pt x="254" y="1389"/>
                  </a:lnTo>
                  <a:lnTo>
                    <a:pt x="252" y="1389"/>
                  </a:lnTo>
                  <a:lnTo>
                    <a:pt x="254" y="1389"/>
                  </a:lnTo>
                  <a:lnTo>
                    <a:pt x="256" y="1389"/>
                  </a:lnTo>
                  <a:lnTo>
                    <a:pt x="256" y="1391"/>
                  </a:lnTo>
                  <a:lnTo>
                    <a:pt x="256" y="1389"/>
                  </a:lnTo>
                  <a:lnTo>
                    <a:pt x="257" y="1389"/>
                  </a:lnTo>
                  <a:lnTo>
                    <a:pt x="256" y="1389"/>
                  </a:lnTo>
                  <a:lnTo>
                    <a:pt x="256" y="1388"/>
                  </a:lnTo>
                  <a:lnTo>
                    <a:pt x="257" y="1389"/>
                  </a:lnTo>
                  <a:lnTo>
                    <a:pt x="257" y="1391"/>
                  </a:lnTo>
                  <a:lnTo>
                    <a:pt x="259" y="1391"/>
                  </a:lnTo>
                  <a:lnTo>
                    <a:pt x="259" y="1389"/>
                  </a:lnTo>
                  <a:lnTo>
                    <a:pt x="257" y="1389"/>
                  </a:lnTo>
                  <a:lnTo>
                    <a:pt x="257" y="1388"/>
                  </a:lnTo>
                  <a:lnTo>
                    <a:pt x="259" y="1388"/>
                  </a:lnTo>
                  <a:lnTo>
                    <a:pt x="257" y="1388"/>
                  </a:lnTo>
                  <a:lnTo>
                    <a:pt x="257" y="1386"/>
                  </a:lnTo>
                  <a:lnTo>
                    <a:pt x="256" y="1386"/>
                  </a:lnTo>
                  <a:lnTo>
                    <a:pt x="256" y="1384"/>
                  </a:lnTo>
                  <a:lnTo>
                    <a:pt x="257" y="1384"/>
                  </a:lnTo>
                  <a:lnTo>
                    <a:pt x="256" y="1384"/>
                  </a:lnTo>
                  <a:lnTo>
                    <a:pt x="256" y="1383"/>
                  </a:lnTo>
                  <a:lnTo>
                    <a:pt x="254" y="1383"/>
                  </a:lnTo>
                  <a:lnTo>
                    <a:pt x="252" y="1383"/>
                  </a:lnTo>
                  <a:lnTo>
                    <a:pt x="252" y="1381"/>
                  </a:lnTo>
                  <a:lnTo>
                    <a:pt x="252" y="1380"/>
                  </a:lnTo>
                  <a:lnTo>
                    <a:pt x="254" y="1380"/>
                  </a:lnTo>
                  <a:lnTo>
                    <a:pt x="252" y="1380"/>
                  </a:lnTo>
                  <a:lnTo>
                    <a:pt x="252" y="1378"/>
                  </a:lnTo>
                  <a:lnTo>
                    <a:pt x="251" y="1378"/>
                  </a:lnTo>
                  <a:lnTo>
                    <a:pt x="251" y="1376"/>
                  </a:lnTo>
                  <a:lnTo>
                    <a:pt x="252" y="1376"/>
                  </a:lnTo>
                  <a:lnTo>
                    <a:pt x="252" y="1375"/>
                  </a:lnTo>
                  <a:lnTo>
                    <a:pt x="251" y="1375"/>
                  </a:lnTo>
                  <a:lnTo>
                    <a:pt x="251" y="1373"/>
                  </a:lnTo>
                  <a:lnTo>
                    <a:pt x="249" y="1373"/>
                  </a:lnTo>
                  <a:lnTo>
                    <a:pt x="249" y="1375"/>
                  </a:lnTo>
                  <a:lnTo>
                    <a:pt x="247" y="1375"/>
                  </a:lnTo>
                  <a:lnTo>
                    <a:pt x="247" y="1373"/>
                  </a:lnTo>
                  <a:lnTo>
                    <a:pt x="249" y="1373"/>
                  </a:lnTo>
                  <a:lnTo>
                    <a:pt x="247" y="1373"/>
                  </a:lnTo>
                  <a:lnTo>
                    <a:pt x="247" y="1371"/>
                  </a:lnTo>
                  <a:lnTo>
                    <a:pt x="246" y="1371"/>
                  </a:lnTo>
                  <a:lnTo>
                    <a:pt x="247" y="1371"/>
                  </a:lnTo>
                  <a:lnTo>
                    <a:pt x="247" y="1370"/>
                  </a:lnTo>
                  <a:lnTo>
                    <a:pt x="246" y="1368"/>
                  </a:lnTo>
                  <a:lnTo>
                    <a:pt x="246" y="1370"/>
                  </a:lnTo>
                  <a:lnTo>
                    <a:pt x="246" y="1368"/>
                  </a:lnTo>
                  <a:lnTo>
                    <a:pt x="244" y="1368"/>
                  </a:lnTo>
                  <a:lnTo>
                    <a:pt x="246" y="1368"/>
                  </a:lnTo>
                  <a:lnTo>
                    <a:pt x="244" y="1368"/>
                  </a:lnTo>
                  <a:lnTo>
                    <a:pt x="246" y="1366"/>
                  </a:lnTo>
                  <a:lnTo>
                    <a:pt x="246" y="1365"/>
                  </a:lnTo>
                  <a:lnTo>
                    <a:pt x="247" y="1365"/>
                  </a:lnTo>
                  <a:lnTo>
                    <a:pt x="247" y="1366"/>
                  </a:lnTo>
                  <a:lnTo>
                    <a:pt x="249" y="1366"/>
                  </a:lnTo>
                  <a:lnTo>
                    <a:pt x="249" y="1365"/>
                  </a:lnTo>
                  <a:lnTo>
                    <a:pt x="247" y="1365"/>
                  </a:lnTo>
                  <a:lnTo>
                    <a:pt x="249" y="1365"/>
                  </a:lnTo>
                  <a:lnTo>
                    <a:pt x="251" y="1365"/>
                  </a:lnTo>
                  <a:lnTo>
                    <a:pt x="252" y="1365"/>
                  </a:lnTo>
                  <a:lnTo>
                    <a:pt x="252" y="1363"/>
                  </a:lnTo>
                  <a:lnTo>
                    <a:pt x="251" y="1363"/>
                  </a:lnTo>
                  <a:lnTo>
                    <a:pt x="249" y="1363"/>
                  </a:lnTo>
                  <a:lnTo>
                    <a:pt x="249" y="1362"/>
                  </a:lnTo>
                  <a:lnTo>
                    <a:pt x="247" y="1362"/>
                  </a:lnTo>
                  <a:lnTo>
                    <a:pt x="249" y="1363"/>
                  </a:lnTo>
                  <a:lnTo>
                    <a:pt x="247" y="1363"/>
                  </a:lnTo>
                  <a:lnTo>
                    <a:pt x="246" y="1365"/>
                  </a:lnTo>
                  <a:lnTo>
                    <a:pt x="244" y="1365"/>
                  </a:lnTo>
                  <a:lnTo>
                    <a:pt x="246" y="1365"/>
                  </a:lnTo>
                  <a:lnTo>
                    <a:pt x="244" y="1365"/>
                  </a:lnTo>
                  <a:lnTo>
                    <a:pt x="243" y="1365"/>
                  </a:lnTo>
                  <a:lnTo>
                    <a:pt x="241" y="1365"/>
                  </a:lnTo>
                  <a:lnTo>
                    <a:pt x="241" y="1363"/>
                  </a:lnTo>
                  <a:lnTo>
                    <a:pt x="241" y="1365"/>
                  </a:lnTo>
                  <a:lnTo>
                    <a:pt x="241" y="1363"/>
                  </a:lnTo>
                  <a:lnTo>
                    <a:pt x="241" y="1365"/>
                  </a:lnTo>
                  <a:lnTo>
                    <a:pt x="243" y="1365"/>
                  </a:lnTo>
                  <a:lnTo>
                    <a:pt x="244" y="1365"/>
                  </a:lnTo>
                  <a:lnTo>
                    <a:pt x="243" y="1365"/>
                  </a:lnTo>
                  <a:lnTo>
                    <a:pt x="243" y="1366"/>
                  </a:lnTo>
                  <a:lnTo>
                    <a:pt x="243" y="1365"/>
                  </a:lnTo>
                  <a:lnTo>
                    <a:pt x="241" y="1365"/>
                  </a:lnTo>
                  <a:lnTo>
                    <a:pt x="241" y="1366"/>
                  </a:lnTo>
                  <a:lnTo>
                    <a:pt x="239" y="1366"/>
                  </a:lnTo>
                  <a:lnTo>
                    <a:pt x="238" y="1366"/>
                  </a:lnTo>
                  <a:lnTo>
                    <a:pt x="238" y="1365"/>
                  </a:lnTo>
                  <a:lnTo>
                    <a:pt x="236" y="1365"/>
                  </a:lnTo>
                  <a:lnTo>
                    <a:pt x="236" y="1363"/>
                  </a:lnTo>
                  <a:lnTo>
                    <a:pt x="238" y="1363"/>
                  </a:lnTo>
                  <a:lnTo>
                    <a:pt x="236" y="1363"/>
                  </a:lnTo>
                  <a:lnTo>
                    <a:pt x="238" y="1363"/>
                  </a:lnTo>
                  <a:lnTo>
                    <a:pt x="238" y="1362"/>
                  </a:lnTo>
                  <a:lnTo>
                    <a:pt x="238" y="1363"/>
                  </a:lnTo>
                  <a:lnTo>
                    <a:pt x="238" y="1362"/>
                  </a:lnTo>
                  <a:lnTo>
                    <a:pt x="239" y="1362"/>
                  </a:lnTo>
                  <a:lnTo>
                    <a:pt x="241" y="1362"/>
                  </a:lnTo>
                  <a:lnTo>
                    <a:pt x="243" y="1362"/>
                  </a:lnTo>
                  <a:lnTo>
                    <a:pt x="241" y="1362"/>
                  </a:lnTo>
                  <a:lnTo>
                    <a:pt x="241" y="1360"/>
                  </a:lnTo>
                  <a:lnTo>
                    <a:pt x="243" y="1360"/>
                  </a:lnTo>
                  <a:lnTo>
                    <a:pt x="241" y="1360"/>
                  </a:lnTo>
                  <a:lnTo>
                    <a:pt x="243" y="1360"/>
                  </a:lnTo>
                  <a:lnTo>
                    <a:pt x="244" y="1360"/>
                  </a:lnTo>
                  <a:lnTo>
                    <a:pt x="243" y="1358"/>
                  </a:lnTo>
                  <a:lnTo>
                    <a:pt x="241" y="1358"/>
                  </a:lnTo>
                  <a:lnTo>
                    <a:pt x="243" y="1358"/>
                  </a:lnTo>
                  <a:lnTo>
                    <a:pt x="241" y="1357"/>
                  </a:lnTo>
                  <a:lnTo>
                    <a:pt x="243" y="1357"/>
                  </a:lnTo>
                  <a:lnTo>
                    <a:pt x="243" y="1358"/>
                  </a:lnTo>
                  <a:lnTo>
                    <a:pt x="244" y="1358"/>
                  </a:lnTo>
                  <a:lnTo>
                    <a:pt x="243" y="1358"/>
                  </a:lnTo>
                  <a:lnTo>
                    <a:pt x="243" y="1357"/>
                  </a:lnTo>
                  <a:lnTo>
                    <a:pt x="243" y="1355"/>
                  </a:lnTo>
                  <a:lnTo>
                    <a:pt x="241" y="1355"/>
                  </a:lnTo>
                  <a:lnTo>
                    <a:pt x="239" y="1355"/>
                  </a:lnTo>
                  <a:lnTo>
                    <a:pt x="238" y="1353"/>
                  </a:lnTo>
                  <a:lnTo>
                    <a:pt x="238" y="1352"/>
                  </a:lnTo>
                  <a:lnTo>
                    <a:pt x="239" y="1352"/>
                  </a:lnTo>
                  <a:lnTo>
                    <a:pt x="239" y="1350"/>
                  </a:lnTo>
                  <a:lnTo>
                    <a:pt x="239" y="1349"/>
                  </a:lnTo>
                  <a:lnTo>
                    <a:pt x="239" y="1350"/>
                  </a:lnTo>
                  <a:lnTo>
                    <a:pt x="239" y="1349"/>
                  </a:lnTo>
                  <a:lnTo>
                    <a:pt x="241" y="1350"/>
                  </a:lnTo>
                  <a:lnTo>
                    <a:pt x="241" y="1349"/>
                  </a:lnTo>
                  <a:lnTo>
                    <a:pt x="241" y="1350"/>
                  </a:lnTo>
                  <a:lnTo>
                    <a:pt x="243" y="1352"/>
                  </a:lnTo>
                  <a:lnTo>
                    <a:pt x="244" y="1353"/>
                  </a:lnTo>
                  <a:lnTo>
                    <a:pt x="244" y="1355"/>
                  </a:lnTo>
                  <a:lnTo>
                    <a:pt x="246" y="1355"/>
                  </a:lnTo>
                  <a:lnTo>
                    <a:pt x="247" y="1357"/>
                  </a:lnTo>
                  <a:lnTo>
                    <a:pt x="247" y="1355"/>
                  </a:lnTo>
                  <a:lnTo>
                    <a:pt x="247" y="1357"/>
                  </a:lnTo>
                  <a:lnTo>
                    <a:pt x="249" y="1357"/>
                  </a:lnTo>
                  <a:lnTo>
                    <a:pt x="249" y="1358"/>
                  </a:lnTo>
                  <a:lnTo>
                    <a:pt x="247" y="1358"/>
                  </a:lnTo>
                  <a:lnTo>
                    <a:pt x="247" y="1360"/>
                  </a:lnTo>
                  <a:lnTo>
                    <a:pt x="249" y="1360"/>
                  </a:lnTo>
                  <a:lnTo>
                    <a:pt x="249" y="1358"/>
                  </a:lnTo>
                  <a:lnTo>
                    <a:pt x="251" y="1360"/>
                  </a:lnTo>
                  <a:lnTo>
                    <a:pt x="251" y="1358"/>
                  </a:lnTo>
                  <a:lnTo>
                    <a:pt x="251" y="1360"/>
                  </a:lnTo>
                  <a:lnTo>
                    <a:pt x="252" y="1362"/>
                  </a:lnTo>
                  <a:lnTo>
                    <a:pt x="252" y="1360"/>
                  </a:lnTo>
                  <a:lnTo>
                    <a:pt x="252" y="1358"/>
                  </a:lnTo>
                  <a:lnTo>
                    <a:pt x="251" y="1358"/>
                  </a:lnTo>
                  <a:lnTo>
                    <a:pt x="251" y="1357"/>
                  </a:lnTo>
                  <a:lnTo>
                    <a:pt x="251" y="1355"/>
                  </a:lnTo>
                  <a:lnTo>
                    <a:pt x="249" y="1353"/>
                  </a:lnTo>
                  <a:lnTo>
                    <a:pt x="247" y="1353"/>
                  </a:lnTo>
                  <a:lnTo>
                    <a:pt x="249" y="1353"/>
                  </a:lnTo>
                  <a:lnTo>
                    <a:pt x="247" y="1353"/>
                  </a:lnTo>
                  <a:lnTo>
                    <a:pt x="249" y="1353"/>
                  </a:lnTo>
                  <a:lnTo>
                    <a:pt x="247" y="1352"/>
                  </a:lnTo>
                  <a:lnTo>
                    <a:pt x="249" y="1352"/>
                  </a:lnTo>
                  <a:lnTo>
                    <a:pt x="247" y="1352"/>
                  </a:lnTo>
                  <a:lnTo>
                    <a:pt x="247" y="1350"/>
                  </a:lnTo>
                  <a:lnTo>
                    <a:pt x="247" y="1352"/>
                  </a:lnTo>
                  <a:lnTo>
                    <a:pt x="246" y="1352"/>
                  </a:lnTo>
                  <a:lnTo>
                    <a:pt x="246" y="1350"/>
                  </a:lnTo>
                  <a:lnTo>
                    <a:pt x="244" y="1349"/>
                  </a:lnTo>
                  <a:lnTo>
                    <a:pt x="244" y="1347"/>
                  </a:lnTo>
                  <a:lnTo>
                    <a:pt x="243" y="1347"/>
                  </a:lnTo>
                  <a:lnTo>
                    <a:pt x="243" y="1345"/>
                  </a:lnTo>
                  <a:lnTo>
                    <a:pt x="244" y="1347"/>
                  </a:lnTo>
                  <a:lnTo>
                    <a:pt x="244" y="1345"/>
                  </a:lnTo>
                  <a:lnTo>
                    <a:pt x="246" y="1345"/>
                  </a:lnTo>
                  <a:lnTo>
                    <a:pt x="244" y="1345"/>
                  </a:lnTo>
                  <a:lnTo>
                    <a:pt x="243" y="1345"/>
                  </a:lnTo>
                  <a:lnTo>
                    <a:pt x="241" y="1345"/>
                  </a:lnTo>
                  <a:lnTo>
                    <a:pt x="241" y="1344"/>
                  </a:lnTo>
                  <a:lnTo>
                    <a:pt x="243" y="1344"/>
                  </a:lnTo>
                  <a:lnTo>
                    <a:pt x="243" y="1342"/>
                  </a:lnTo>
                  <a:lnTo>
                    <a:pt x="241" y="1342"/>
                  </a:lnTo>
                  <a:lnTo>
                    <a:pt x="239" y="1342"/>
                  </a:lnTo>
                  <a:lnTo>
                    <a:pt x="239" y="1340"/>
                  </a:lnTo>
                  <a:lnTo>
                    <a:pt x="238" y="1339"/>
                  </a:lnTo>
                  <a:lnTo>
                    <a:pt x="238" y="1337"/>
                  </a:lnTo>
                  <a:lnTo>
                    <a:pt x="239" y="1337"/>
                  </a:lnTo>
                  <a:lnTo>
                    <a:pt x="241" y="1337"/>
                  </a:lnTo>
                  <a:lnTo>
                    <a:pt x="239" y="1337"/>
                  </a:lnTo>
                  <a:lnTo>
                    <a:pt x="241" y="1337"/>
                  </a:lnTo>
                  <a:lnTo>
                    <a:pt x="239" y="1337"/>
                  </a:lnTo>
                  <a:lnTo>
                    <a:pt x="241" y="1339"/>
                  </a:lnTo>
                  <a:lnTo>
                    <a:pt x="243" y="1339"/>
                  </a:lnTo>
                  <a:lnTo>
                    <a:pt x="244" y="1340"/>
                  </a:lnTo>
                  <a:lnTo>
                    <a:pt x="246" y="1340"/>
                  </a:lnTo>
                  <a:lnTo>
                    <a:pt x="247" y="1342"/>
                  </a:lnTo>
                  <a:lnTo>
                    <a:pt x="247" y="1340"/>
                  </a:lnTo>
                  <a:lnTo>
                    <a:pt x="247" y="1339"/>
                  </a:lnTo>
                  <a:lnTo>
                    <a:pt x="246" y="1339"/>
                  </a:lnTo>
                  <a:lnTo>
                    <a:pt x="246" y="1337"/>
                  </a:lnTo>
                  <a:lnTo>
                    <a:pt x="246" y="1339"/>
                  </a:lnTo>
                  <a:lnTo>
                    <a:pt x="246" y="1337"/>
                  </a:lnTo>
                  <a:lnTo>
                    <a:pt x="244" y="1337"/>
                  </a:lnTo>
                  <a:lnTo>
                    <a:pt x="244" y="1339"/>
                  </a:lnTo>
                  <a:lnTo>
                    <a:pt x="243" y="1337"/>
                  </a:lnTo>
                  <a:lnTo>
                    <a:pt x="244" y="1337"/>
                  </a:lnTo>
                  <a:lnTo>
                    <a:pt x="243" y="1337"/>
                  </a:lnTo>
                  <a:lnTo>
                    <a:pt x="244" y="1336"/>
                  </a:lnTo>
                  <a:lnTo>
                    <a:pt x="246" y="1336"/>
                  </a:lnTo>
                  <a:lnTo>
                    <a:pt x="246" y="1337"/>
                  </a:lnTo>
                  <a:lnTo>
                    <a:pt x="247" y="1337"/>
                  </a:lnTo>
                  <a:lnTo>
                    <a:pt x="247" y="1336"/>
                  </a:lnTo>
                  <a:lnTo>
                    <a:pt x="247" y="1337"/>
                  </a:lnTo>
                  <a:lnTo>
                    <a:pt x="247" y="1336"/>
                  </a:lnTo>
                  <a:lnTo>
                    <a:pt x="249" y="1337"/>
                  </a:lnTo>
                  <a:lnTo>
                    <a:pt x="251" y="1337"/>
                  </a:lnTo>
                  <a:lnTo>
                    <a:pt x="249" y="1337"/>
                  </a:lnTo>
                  <a:lnTo>
                    <a:pt x="251" y="1337"/>
                  </a:lnTo>
                  <a:lnTo>
                    <a:pt x="252" y="1337"/>
                  </a:lnTo>
                  <a:lnTo>
                    <a:pt x="251" y="1337"/>
                  </a:lnTo>
                  <a:lnTo>
                    <a:pt x="249" y="1336"/>
                  </a:lnTo>
                  <a:lnTo>
                    <a:pt x="251" y="1336"/>
                  </a:lnTo>
                  <a:lnTo>
                    <a:pt x="249" y="1336"/>
                  </a:lnTo>
                  <a:lnTo>
                    <a:pt x="249" y="1334"/>
                  </a:lnTo>
                  <a:lnTo>
                    <a:pt x="247" y="1334"/>
                  </a:lnTo>
                  <a:lnTo>
                    <a:pt x="249" y="1334"/>
                  </a:lnTo>
                  <a:lnTo>
                    <a:pt x="247" y="1334"/>
                  </a:lnTo>
                  <a:lnTo>
                    <a:pt x="247" y="1332"/>
                  </a:lnTo>
                  <a:lnTo>
                    <a:pt x="249" y="1332"/>
                  </a:lnTo>
                  <a:lnTo>
                    <a:pt x="247" y="1332"/>
                  </a:lnTo>
                  <a:lnTo>
                    <a:pt x="249" y="1331"/>
                  </a:lnTo>
                  <a:lnTo>
                    <a:pt x="249" y="1332"/>
                  </a:lnTo>
                  <a:lnTo>
                    <a:pt x="251" y="1332"/>
                  </a:lnTo>
                  <a:lnTo>
                    <a:pt x="249" y="1331"/>
                  </a:lnTo>
                  <a:lnTo>
                    <a:pt x="247" y="1332"/>
                  </a:lnTo>
                  <a:lnTo>
                    <a:pt x="247" y="1331"/>
                  </a:lnTo>
                  <a:lnTo>
                    <a:pt x="249" y="1331"/>
                  </a:lnTo>
                  <a:lnTo>
                    <a:pt x="247" y="1331"/>
                  </a:lnTo>
                  <a:lnTo>
                    <a:pt x="246" y="1331"/>
                  </a:lnTo>
                  <a:lnTo>
                    <a:pt x="246" y="1329"/>
                  </a:lnTo>
                  <a:lnTo>
                    <a:pt x="247" y="1331"/>
                  </a:lnTo>
                  <a:lnTo>
                    <a:pt x="247" y="1329"/>
                  </a:lnTo>
                  <a:lnTo>
                    <a:pt x="246" y="1329"/>
                  </a:lnTo>
                  <a:lnTo>
                    <a:pt x="247" y="1329"/>
                  </a:lnTo>
                  <a:lnTo>
                    <a:pt x="249" y="1329"/>
                  </a:lnTo>
                  <a:lnTo>
                    <a:pt x="249" y="1327"/>
                  </a:lnTo>
                  <a:lnTo>
                    <a:pt x="247" y="1327"/>
                  </a:lnTo>
                  <a:lnTo>
                    <a:pt x="247" y="1326"/>
                  </a:lnTo>
                  <a:lnTo>
                    <a:pt x="246" y="1326"/>
                  </a:lnTo>
                  <a:lnTo>
                    <a:pt x="246" y="1324"/>
                  </a:lnTo>
                  <a:lnTo>
                    <a:pt x="246" y="1326"/>
                  </a:lnTo>
                  <a:lnTo>
                    <a:pt x="246" y="1324"/>
                  </a:lnTo>
                  <a:lnTo>
                    <a:pt x="247" y="1324"/>
                  </a:lnTo>
                  <a:lnTo>
                    <a:pt x="246" y="1324"/>
                  </a:lnTo>
                  <a:lnTo>
                    <a:pt x="246" y="1323"/>
                  </a:lnTo>
                  <a:lnTo>
                    <a:pt x="246" y="1321"/>
                  </a:lnTo>
                  <a:lnTo>
                    <a:pt x="247" y="1321"/>
                  </a:lnTo>
                  <a:lnTo>
                    <a:pt x="249" y="1321"/>
                  </a:lnTo>
                  <a:lnTo>
                    <a:pt x="249" y="1319"/>
                  </a:lnTo>
                  <a:lnTo>
                    <a:pt x="249" y="1321"/>
                  </a:lnTo>
                  <a:lnTo>
                    <a:pt x="251" y="1321"/>
                  </a:lnTo>
                  <a:lnTo>
                    <a:pt x="252" y="1321"/>
                  </a:lnTo>
                  <a:lnTo>
                    <a:pt x="251" y="1321"/>
                  </a:lnTo>
                  <a:lnTo>
                    <a:pt x="251" y="1319"/>
                  </a:lnTo>
                  <a:lnTo>
                    <a:pt x="249" y="1319"/>
                  </a:lnTo>
                  <a:lnTo>
                    <a:pt x="249" y="1318"/>
                  </a:lnTo>
                  <a:lnTo>
                    <a:pt x="251" y="1318"/>
                  </a:lnTo>
                  <a:lnTo>
                    <a:pt x="249" y="1318"/>
                  </a:lnTo>
                  <a:lnTo>
                    <a:pt x="251" y="1318"/>
                  </a:lnTo>
                  <a:lnTo>
                    <a:pt x="249" y="1318"/>
                  </a:lnTo>
                  <a:lnTo>
                    <a:pt x="247" y="1318"/>
                  </a:lnTo>
                  <a:lnTo>
                    <a:pt x="247" y="1316"/>
                  </a:lnTo>
                  <a:lnTo>
                    <a:pt x="249" y="1316"/>
                  </a:lnTo>
                  <a:lnTo>
                    <a:pt x="247" y="1316"/>
                  </a:lnTo>
                  <a:lnTo>
                    <a:pt x="249" y="1316"/>
                  </a:lnTo>
                  <a:lnTo>
                    <a:pt x="247" y="1316"/>
                  </a:lnTo>
                  <a:lnTo>
                    <a:pt x="246" y="1316"/>
                  </a:lnTo>
                  <a:lnTo>
                    <a:pt x="246" y="1314"/>
                  </a:lnTo>
                  <a:lnTo>
                    <a:pt x="244" y="1316"/>
                  </a:lnTo>
                  <a:lnTo>
                    <a:pt x="244" y="1314"/>
                  </a:lnTo>
                  <a:lnTo>
                    <a:pt x="244" y="1316"/>
                  </a:lnTo>
                  <a:lnTo>
                    <a:pt x="243" y="1316"/>
                  </a:lnTo>
                  <a:lnTo>
                    <a:pt x="243" y="1314"/>
                  </a:lnTo>
                  <a:lnTo>
                    <a:pt x="244" y="1314"/>
                  </a:lnTo>
                  <a:lnTo>
                    <a:pt x="243" y="1314"/>
                  </a:lnTo>
                  <a:lnTo>
                    <a:pt x="244" y="1314"/>
                  </a:lnTo>
                  <a:lnTo>
                    <a:pt x="244" y="1313"/>
                  </a:lnTo>
                  <a:lnTo>
                    <a:pt x="246" y="1313"/>
                  </a:lnTo>
                  <a:lnTo>
                    <a:pt x="247" y="1313"/>
                  </a:lnTo>
                  <a:lnTo>
                    <a:pt x="249" y="1314"/>
                  </a:lnTo>
                  <a:lnTo>
                    <a:pt x="249" y="1313"/>
                  </a:lnTo>
                  <a:lnTo>
                    <a:pt x="249" y="1314"/>
                  </a:lnTo>
                  <a:lnTo>
                    <a:pt x="251" y="1314"/>
                  </a:lnTo>
                  <a:lnTo>
                    <a:pt x="249" y="1314"/>
                  </a:lnTo>
                  <a:lnTo>
                    <a:pt x="251" y="1316"/>
                  </a:lnTo>
                  <a:lnTo>
                    <a:pt x="251" y="1314"/>
                  </a:lnTo>
                  <a:lnTo>
                    <a:pt x="252" y="1314"/>
                  </a:lnTo>
                  <a:lnTo>
                    <a:pt x="251" y="1314"/>
                  </a:lnTo>
                  <a:lnTo>
                    <a:pt x="252" y="1314"/>
                  </a:lnTo>
                  <a:lnTo>
                    <a:pt x="254" y="1314"/>
                  </a:lnTo>
                  <a:lnTo>
                    <a:pt x="254" y="1316"/>
                  </a:lnTo>
                  <a:lnTo>
                    <a:pt x="256" y="1316"/>
                  </a:lnTo>
                  <a:lnTo>
                    <a:pt x="254" y="1316"/>
                  </a:lnTo>
                  <a:lnTo>
                    <a:pt x="256" y="1314"/>
                  </a:lnTo>
                  <a:lnTo>
                    <a:pt x="254" y="1314"/>
                  </a:lnTo>
                  <a:lnTo>
                    <a:pt x="254" y="1313"/>
                  </a:lnTo>
                  <a:lnTo>
                    <a:pt x="252" y="1313"/>
                  </a:lnTo>
                  <a:lnTo>
                    <a:pt x="251" y="1313"/>
                  </a:lnTo>
                  <a:lnTo>
                    <a:pt x="251" y="1311"/>
                  </a:lnTo>
                  <a:lnTo>
                    <a:pt x="251" y="1313"/>
                  </a:lnTo>
                  <a:lnTo>
                    <a:pt x="249" y="1313"/>
                  </a:lnTo>
                  <a:lnTo>
                    <a:pt x="249" y="1311"/>
                  </a:lnTo>
                  <a:lnTo>
                    <a:pt x="247" y="1311"/>
                  </a:lnTo>
                  <a:lnTo>
                    <a:pt x="247" y="1310"/>
                  </a:lnTo>
                  <a:lnTo>
                    <a:pt x="246" y="1310"/>
                  </a:lnTo>
                  <a:lnTo>
                    <a:pt x="246" y="1308"/>
                  </a:lnTo>
                  <a:lnTo>
                    <a:pt x="247" y="1308"/>
                  </a:lnTo>
                  <a:lnTo>
                    <a:pt x="249" y="1308"/>
                  </a:lnTo>
                  <a:lnTo>
                    <a:pt x="247" y="1308"/>
                  </a:lnTo>
                  <a:lnTo>
                    <a:pt x="249" y="1308"/>
                  </a:lnTo>
                  <a:lnTo>
                    <a:pt x="249" y="1306"/>
                  </a:lnTo>
                  <a:lnTo>
                    <a:pt x="247" y="1308"/>
                  </a:lnTo>
                  <a:lnTo>
                    <a:pt x="247" y="1306"/>
                  </a:lnTo>
                  <a:lnTo>
                    <a:pt x="247" y="1305"/>
                  </a:lnTo>
                  <a:lnTo>
                    <a:pt x="246" y="1305"/>
                  </a:lnTo>
                  <a:lnTo>
                    <a:pt x="247" y="1305"/>
                  </a:lnTo>
                  <a:lnTo>
                    <a:pt x="247" y="1303"/>
                  </a:lnTo>
                  <a:lnTo>
                    <a:pt x="247" y="1305"/>
                  </a:lnTo>
                  <a:lnTo>
                    <a:pt x="247" y="1303"/>
                  </a:lnTo>
                  <a:lnTo>
                    <a:pt x="249" y="1303"/>
                  </a:lnTo>
                  <a:lnTo>
                    <a:pt x="249" y="1301"/>
                  </a:lnTo>
                  <a:lnTo>
                    <a:pt x="249" y="1300"/>
                  </a:lnTo>
                  <a:lnTo>
                    <a:pt x="251" y="1300"/>
                  </a:lnTo>
                  <a:lnTo>
                    <a:pt x="249" y="1298"/>
                  </a:lnTo>
                  <a:lnTo>
                    <a:pt x="251" y="1298"/>
                  </a:lnTo>
                  <a:lnTo>
                    <a:pt x="249" y="1298"/>
                  </a:lnTo>
                  <a:lnTo>
                    <a:pt x="247" y="1298"/>
                  </a:lnTo>
                  <a:lnTo>
                    <a:pt x="247" y="1297"/>
                  </a:lnTo>
                  <a:lnTo>
                    <a:pt x="246" y="1295"/>
                  </a:lnTo>
                  <a:lnTo>
                    <a:pt x="247" y="1295"/>
                  </a:lnTo>
                  <a:lnTo>
                    <a:pt x="246" y="1295"/>
                  </a:lnTo>
                  <a:lnTo>
                    <a:pt x="246" y="1293"/>
                  </a:lnTo>
                  <a:lnTo>
                    <a:pt x="246" y="1295"/>
                  </a:lnTo>
                  <a:lnTo>
                    <a:pt x="247" y="1295"/>
                  </a:lnTo>
                  <a:lnTo>
                    <a:pt x="247" y="1293"/>
                  </a:lnTo>
                  <a:lnTo>
                    <a:pt x="249" y="1293"/>
                  </a:lnTo>
                  <a:lnTo>
                    <a:pt x="247" y="1292"/>
                  </a:lnTo>
                  <a:lnTo>
                    <a:pt x="246" y="1292"/>
                  </a:lnTo>
                  <a:lnTo>
                    <a:pt x="246" y="1290"/>
                  </a:lnTo>
                  <a:lnTo>
                    <a:pt x="244" y="1290"/>
                  </a:lnTo>
                  <a:lnTo>
                    <a:pt x="244" y="1288"/>
                  </a:lnTo>
                  <a:lnTo>
                    <a:pt x="244" y="1290"/>
                  </a:lnTo>
                  <a:lnTo>
                    <a:pt x="243" y="1288"/>
                  </a:lnTo>
                  <a:lnTo>
                    <a:pt x="239" y="1288"/>
                  </a:lnTo>
                  <a:lnTo>
                    <a:pt x="239" y="1287"/>
                  </a:lnTo>
                  <a:lnTo>
                    <a:pt x="241" y="1287"/>
                  </a:lnTo>
                  <a:lnTo>
                    <a:pt x="243" y="1287"/>
                  </a:lnTo>
                  <a:lnTo>
                    <a:pt x="241" y="1287"/>
                  </a:lnTo>
                  <a:lnTo>
                    <a:pt x="241" y="1285"/>
                  </a:lnTo>
                  <a:lnTo>
                    <a:pt x="243" y="1287"/>
                  </a:lnTo>
                  <a:lnTo>
                    <a:pt x="244" y="1287"/>
                  </a:lnTo>
                  <a:lnTo>
                    <a:pt x="246" y="1287"/>
                  </a:lnTo>
                  <a:lnTo>
                    <a:pt x="247" y="1287"/>
                  </a:lnTo>
                  <a:lnTo>
                    <a:pt x="249" y="1287"/>
                  </a:lnTo>
                  <a:lnTo>
                    <a:pt x="249" y="1285"/>
                  </a:lnTo>
                  <a:lnTo>
                    <a:pt x="249" y="1287"/>
                  </a:lnTo>
                  <a:lnTo>
                    <a:pt x="249" y="1285"/>
                  </a:lnTo>
                  <a:lnTo>
                    <a:pt x="249" y="1284"/>
                  </a:lnTo>
                  <a:lnTo>
                    <a:pt x="247" y="1284"/>
                  </a:lnTo>
                  <a:lnTo>
                    <a:pt x="247" y="1282"/>
                  </a:lnTo>
                  <a:lnTo>
                    <a:pt x="247" y="1280"/>
                  </a:lnTo>
                  <a:lnTo>
                    <a:pt x="246" y="1280"/>
                  </a:lnTo>
                  <a:lnTo>
                    <a:pt x="244" y="1280"/>
                  </a:lnTo>
                  <a:lnTo>
                    <a:pt x="244" y="1279"/>
                  </a:lnTo>
                  <a:lnTo>
                    <a:pt x="244" y="1280"/>
                  </a:lnTo>
                  <a:lnTo>
                    <a:pt x="243" y="1279"/>
                  </a:lnTo>
                  <a:lnTo>
                    <a:pt x="241" y="1279"/>
                  </a:lnTo>
                  <a:lnTo>
                    <a:pt x="241" y="1277"/>
                  </a:lnTo>
                  <a:lnTo>
                    <a:pt x="239" y="1277"/>
                  </a:lnTo>
                  <a:lnTo>
                    <a:pt x="238" y="1277"/>
                  </a:lnTo>
                  <a:lnTo>
                    <a:pt x="239" y="1277"/>
                  </a:lnTo>
                  <a:lnTo>
                    <a:pt x="239" y="1275"/>
                  </a:lnTo>
                  <a:lnTo>
                    <a:pt x="241" y="1275"/>
                  </a:lnTo>
                  <a:lnTo>
                    <a:pt x="243" y="1275"/>
                  </a:lnTo>
                  <a:lnTo>
                    <a:pt x="244" y="1275"/>
                  </a:lnTo>
                  <a:lnTo>
                    <a:pt x="244" y="1277"/>
                  </a:lnTo>
                  <a:lnTo>
                    <a:pt x="246" y="1277"/>
                  </a:lnTo>
                  <a:lnTo>
                    <a:pt x="247" y="1277"/>
                  </a:lnTo>
                  <a:lnTo>
                    <a:pt x="247" y="1275"/>
                  </a:lnTo>
                  <a:lnTo>
                    <a:pt x="249" y="1275"/>
                  </a:lnTo>
                  <a:lnTo>
                    <a:pt x="251" y="1275"/>
                  </a:lnTo>
                  <a:lnTo>
                    <a:pt x="251" y="1274"/>
                  </a:lnTo>
                  <a:lnTo>
                    <a:pt x="249" y="1274"/>
                  </a:lnTo>
                  <a:lnTo>
                    <a:pt x="247" y="1272"/>
                  </a:lnTo>
                  <a:lnTo>
                    <a:pt x="247" y="1271"/>
                  </a:lnTo>
                  <a:lnTo>
                    <a:pt x="246" y="1272"/>
                  </a:lnTo>
                  <a:lnTo>
                    <a:pt x="246" y="1271"/>
                  </a:lnTo>
                  <a:lnTo>
                    <a:pt x="246" y="1272"/>
                  </a:lnTo>
                  <a:lnTo>
                    <a:pt x="244" y="1274"/>
                  </a:lnTo>
                  <a:lnTo>
                    <a:pt x="243" y="1272"/>
                  </a:lnTo>
                  <a:lnTo>
                    <a:pt x="243" y="1271"/>
                  </a:lnTo>
                  <a:lnTo>
                    <a:pt x="243" y="1269"/>
                  </a:lnTo>
                  <a:lnTo>
                    <a:pt x="241" y="1267"/>
                  </a:lnTo>
                  <a:lnTo>
                    <a:pt x="239" y="1267"/>
                  </a:lnTo>
                  <a:lnTo>
                    <a:pt x="239" y="1266"/>
                  </a:lnTo>
                  <a:lnTo>
                    <a:pt x="239" y="1264"/>
                  </a:lnTo>
                  <a:lnTo>
                    <a:pt x="238" y="1266"/>
                  </a:lnTo>
                  <a:lnTo>
                    <a:pt x="238" y="1264"/>
                  </a:lnTo>
                  <a:lnTo>
                    <a:pt x="239" y="1264"/>
                  </a:lnTo>
                  <a:lnTo>
                    <a:pt x="239" y="1262"/>
                  </a:lnTo>
                  <a:lnTo>
                    <a:pt x="239" y="1264"/>
                  </a:lnTo>
                  <a:lnTo>
                    <a:pt x="239" y="1262"/>
                  </a:lnTo>
                  <a:lnTo>
                    <a:pt x="241" y="1261"/>
                  </a:lnTo>
                  <a:lnTo>
                    <a:pt x="241" y="1262"/>
                  </a:lnTo>
                  <a:lnTo>
                    <a:pt x="243" y="1262"/>
                  </a:lnTo>
                  <a:lnTo>
                    <a:pt x="243" y="1264"/>
                  </a:lnTo>
                  <a:lnTo>
                    <a:pt x="244" y="1266"/>
                  </a:lnTo>
                  <a:lnTo>
                    <a:pt x="246" y="1266"/>
                  </a:lnTo>
                  <a:lnTo>
                    <a:pt x="247" y="1266"/>
                  </a:lnTo>
                  <a:lnTo>
                    <a:pt x="247" y="1267"/>
                  </a:lnTo>
                  <a:lnTo>
                    <a:pt x="249" y="1267"/>
                  </a:lnTo>
                  <a:lnTo>
                    <a:pt x="251" y="1267"/>
                  </a:lnTo>
                  <a:lnTo>
                    <a:pt x="252" y="1267"/>
                  </a:lnTo>
                  <a:lnTo>
                    <a:pt x="251" y="1267"/>
                  </a:lnTo>
                  <a:lnTo>
                    <a:pt x="251" y="1266"/>
                  </a:lnTo>
                  <a:lnTo>
                    <a:pt x="252" y="1267"/>
                  </a:lnTo>
                  <a:lnTo>
                    <a:pt x="254" y="1267"/>
                  </a:lnTo>
                  <a:lnTo>
                    <a:pt x="256" y="1269"/>
                  </a:lnTo>
                  <a:lnTo>
                    <a:pt x="257" y="1271"/>
                  </a:lnTo>
                  <a:lnTo>
                    <a:pt x="256" y="1269"/>
                  </a:lnTo>
                  <a:lnTo>
                    <a:pt x="256" y="1267"/>
                  </a:lnTo>
                  <a:lnTo>
                    <a:pt x="257" y="1269"/>
                  </a:lnTo>
                  <a:lnTo>
                    <a:pt x="257" y="1271"/>
                  </a:lnTo>
                  <a:lnTo>
                    <a:pt x="259" y="1272"/>
                  </a:lnTo>
                  <a:lnTo>
                    <a:pt x="261" y="1274"/>
                  </a:lnTo>
                  <a:lnTo>
                    <a:pt x="262" y="1275"/>
                  </a:lnTo>
                  <a:lnTo>
                    <a:pt x="264" y="1275"/>
                  </a:lnTo>
                  <a:lnTo>
                    <a:pt x="264" y="1274"/>
                  </a:lnTo>
                  <a:lnTo>
                    <a:pt x="265" y="1275"/>
                  </a:lnTo>
                  <a:lnTo>
                    <a:pt x="265" y="1274"/>
                  </a:lnTo>
                  <a:lnTo>
                    <a:pt x="267" y="1275"/>
                  </a:lnTo>
                  <a:lnTo>
                    <a:pt x="269" y="1277"/>
                  </a:lnTo>
                  <a:lnTo>
                    <a:pt x="269" y="1279"/>
                  </a:lnTo>
                  <a:lnTo>
                    <a:pt x="269" y="1280"/>
                  </a:lnTo>
                  <a:lnTo>
                    <a:pt x="270" y="1284"/>
                  </a:lnTo>
                  <a:lnTo>
                    <a:pt x="272" y="1285"/>
                  </a:lnTo>
                  <a:lnTo>
                    <a:pt x="274" y="1285"/>
                  </a:lnTo>
                  <a:lnTo>
                    <a:pt x="275" y="1287"/>
                  </a:lnTo>
                  <a:lnTo>
                    <a:pt x="277" y="1287"/>
                  </a:lnTo>
                  <a:lnTo>
                    <a:pt x="275" y="1287"/>
                  </a:lnTo>
                  <a:lnTo>
                    <a:pt x="277" y="1287"/>
                  </a:lnTo>
                  <a:lnTo>
                    <a:pt x="278" y="1287"/>
                  </a:lnTo>
                  <a:lnTo>
                    <a:pt x="278" y="1288"/>
                  </a:lnTo>
                  <a:lnTo>
                    <a:pt x="280" y="1288"/>
                  </a:lnTo>
                  <a:lnTo>
                    <a:pt x="280" y="1290"/>
                  </a:lnTo>
                  <a:lnTo>
                    <a:pt x="282" y="1290"/>
                  </a:lnTo>
                  <a:lnTo>
                    <a:pt x="283" y="1292"/>
                  </a:lnTo>
                  <a:lnTo>
                    <a:pt x="283" y="1290"/>
                  </a:lnTo>
                  <a:lnTo>
                    <a:pt x="283" y="1292"/>
                  </a:lnTo>
                  <a:lnTo>
                    <a:pt x="285" y="1292"/>
                  </a:lnTo>
                  <a:lnTo>
                    <a:pt x="285" y="1293"/>
                  </a:lnTo>
                  <a:lnTo>
                    <a:pt x="287" y="1293"/>
                  </a:lnTo>
                  <a:lnTo>
                    <a:pt x="287" y="1292"/>
                  </a:lnTo>
                  <a:lnTo>
                    <a:pt x="287" y="1293"/>
                  </a:lnTo>
                  <a:lnTo>
                    <a:pt x="285" y="1293"/>
                  </a:lnTo>
                  <a:lnTo>
                    <a:pt x="285" y="1292"/>
                  </a:lnTo>
                  <a:lnTo>
                    <a:pt x="283" y="1292"/>
                  </a:lnTo>
                  <a:lnTo>
                    <a:pt x="283" y="1290"/>
                  </a:lnTo>
                  <a:lnTo>
                    <a:pt x="282" y="1290"/>
                  </a:lnTo>
                  <a:lnTo>
                    <a:pt x="280" y="1288"/>
                  </a:lnTo>
                  <a:lnTo>
                    <a:pt x="278" y="1287"/>
                  </a:lnTo>
                  <a:lnTo>
                    <a:pt x="278" y="1288"/>
                  </a:lnTo>
                  <a:lnTo>
                    <a:pt x="278" y="1287"/>
                  </a:lnTo>
                  <a:lnTo>
                    <a:pt x="277" y="1287"/>
                  </a:lnTo>
                  <a:lnTo>
                    <a:pt x="275" y="1285"/>
                  </a:lnTo>
                  <a:lnTo>
                    <a:pt x="274" y="1285"/>
                  </a:lnTo>
                  <a:lnTo>
                    <a:pt x="272" y="1285"/>
                  </a:lnTo>
                  <a:lnTo>
                    <a:pt x="270" y="1284"/>
                  </a:lnTo>
                  <a:lnTo>
                    <a:pt x="269" y="1280"/>
                  </a:lnTo>
                  <a:lnTo>
                    <a:pt x="269" y="1279"/>
                  </a:lnTo>
                  <a:lnTo>
                    <a:pt x="269" y="1277"/>
                  </a:lnTo>
                  <a:lnTo>
                    <a:pt x="267" y="1275"/>
                  </a:lnTo>
                  <a:lnTo>
                    <a:pt x="265" y="1274"/>
                  </a:lnTo>
                  <a:lnTo>
                    <a:pt x="264" y="1274"/>
                  </a:lnTo>
                  <a:lnTo>
                    <a:pt x="262" y="1275"/>
                  </a:lnTo>
                  <a:lnTo>
                    <a:pt x="261" y="1274"/>
                  </a:lnTo>
                  <a:lnTo>
                    <a:pt x="259" y="1272"/>
                  </a:lnTo>
                  <a:lnTo>
                    <a:pt x="257" y="1269"/>
                  </a:lnTo>
                  <a:lnTo>
                    <a:pt x="254" y="1267"/>
                  </a:lnTo>
                  <a:lnTo>
                    <a:pt x="254" y="1266"/>
                  </a:lnTo>
                  <a:lnTo>
                    <a:pt x="252" y="1266"/>
                  </a:lnTo>
                  <a:lnTo>
                    <a:pt x="251" y="1266"/>
                  </a:lnTo>
                  <a:lnTo>
                    <a:pt x="251" y="1264"/>
                  </a:lnTo>
                  <a:lnTo>
                    <a:pt x="249" y="1264"/>
                  </a:lnTo>
                  <a:lnTo>
                    <a:pt x="249" y="1262"/>
                  </a:lnTo>
                  <a:lnTo>
                    <a:pt x="247" y="1261"/>
                  </a:lnTo>
                  <a:lnTo>
                    <a:pt x="246" y="1261"/>
                  </a:lnTo>
                  <a:lnTo>
                    <a:pt x="246" y="1259"/>
                  </a:lnTo>
                  <a:lnTo>
                    <a:pt x="247" y="1259"/>
                  </a:lnTo>
                  <a:lnTo>
                    <a:pt x="246" y="1259"/>
                  </a:lnTo>
                  <a:lnTo>
                    <a:pt x="247" y="1259"/>
                  </a:lnTo>
                  <a:lnTo>
                    <a:pt x="249" y="1259"/>
                  </a:lnTo>
                  <a:lnTo>
                    <a:pt x="247" y="1259"/>
                  </a:lnTo>
                  <a:lnTo>
                    <a:pt x="246" y="1259"/>
                  </a:lnTo>
                  <a:lnTo>
                    <a:pt x="246" y="1258"/>
                  </a:lnTo>
                  <a:lnTo>
                    <a:pt x="246" y="1256"/>
                  </a:lnTo>
                  <a:lnTo>
                    <a:pt x="244" y="1256"/>
                  </a:lnTo>
                  <a:lnTo>
                    <a:pt x="246" y="1256"/>
                  </a:lnTo>
                  <a:lnTo>
                    <a:pt x="244" y="1254"/>
                  </a:lnTo>
                  <a:lnTo>
                    <a:pt x="243" y="1254"/>
                  </a:lnTo>
                  <a:lnTo>
                    <a:pt x="241" y="1254"/>
                  </a:lnTo>
                  <a:lnTo>
                    <a:pt x="241" y="1253"/>
                  </a:lnTo>
                  <a:lnTo>
                    <a:pt x="241" y="1251"/>
                  </a:lnTo>
                  <a:lnTo>
                    <a:pt x="239" y="1251"/>
                  </a:lnTo>
                  <a:lnTo>
                    <a:pt x="239" y="1249"/>
                  </a:lnTo>
                  <a:lnTo>
                    <a:pt x="241" y="1249"/>
                  </a:lnTo>
                  <a:lnTo>
                    <a:pt x="239" y="1248"/>
                  </a:lnTo>
                  <a:lnTo>
                    <a:pt x="238" y="1246"/>
                  </a:lnTo>
                  <a:lnTo>
                    <a:pt x="236" y="1246"/>
                  </a:lnTo>
                  <a:lnTo>
                    <a:pt x="236" y="1245"/>
                  </a:lnTo>
                  <a:lnTo>
                    <a:pt x="238" y="1245"/>
                  </a:lnTo>
                  <a:lnTo>
                    <a:pt x="238" y="1246"/>
                  </a:lnTo>
                  <a:lnTo>
                    <a:pt x="239" y="1246"/>
                  </a:lnTo>
                  <a:lnTo>
                    <a:pt x="239" y="1248"/>
                  </a:lnTo>
                  <a:lnTo>
                    <a:pt x="239" y="1246"/>
                  </a:lnTo>
                  <a:lnTo>
                    <a:pt x="239" y="1245"/>
                  </a:lnTo>
                  <a:lnTo>
                    <a:pt x="239" y="1243"/>
                  </a:lnTo>
                  <a:lnTo>
                    <a:pt x="239" y="1245"/>
                  </a:lnTo>
                  <a:lnTo>
                    <a:pt x="239" y="1243"/>
                  </a:lnTo>
                  <a:lnTo>
                    <a:pt x="239" y="1245"/>
                  </a:lnTo>
                  <a:lnTo>
                    <a:pt x="241" y="1245"/>
                  </a:lnTo>
                  <a:lnTo>
                    <a:pt x="241" y="1243"/>
                  </a:lnTo>
                  <a:lnTo>
                    <a:pt x="241" y="1245"/>
                  </a:lnTo>
                  <a:lnTo>
                    <a:pt x="243" y="1245"/>
                  </a:lnTo>
                  <a:lnTo>
                    <a:pt x="243" y="1246"/>
                  </a:lnTo>
                  <a:lnTo>
                    <a:pt x="244" y="1246"/>
                  </a:lnTo>
                  <a:lnTo>
                    <a:pt x="244" y="1245"/>
                  </a:lnTo>
                  <a:lnTo>
                    <a:pt x="243" y="1245"/>
                  </a:lnTo>
                  <a:lnTo>
                    <a:pt x="241" y="1245"/>
                  </a:lnTo>
                  <a:lnTo>
                    <a:pt x="241" y="1243"/>
                  </a:lnTo>
                  <a:lnTo>
                    <a:pt x="241" y="1245"/>
                  </a:lnTo>
                  <a:lnTo>
                    <a:pt x="241" y="1243"/>
                  </a:lnTo>
                  <a:lnTo>
                    <a:pt x="239" y="1241"/>
                  </a:lnTo>
                  <a:lnTo>
                    <a:pt x="239" y="1240"/>
                  </a:lnTo>
                  <a:lnTo>
                    <a:pt x="238" y="1240"/>
                  </a:lnTo>
                  <a:lnTo>
                    <a:pt x="236" y="1240"/>
                  </a:lnTo>
                  <a:lnTo>
                    <a:pt x="236" y="1238"/>
                  </a:lnTo>
                  <a:lnTo>
                    <a:pt x="234" y="1238"/>
                  </a:lnTo>
                  <a:lnTo>
                    <a:pt x="234" y="1240"/>
                  </a:lnTo>
                  <a:lnTo>
                    <a:pt x="236" y="1240"/>
                  </a:lnTo>
                  <a:lnTo>
                    <a:pt x="238" y="1241"/>
                  </a:lnTo>
                  <a:lnTo>
                    <a:pt x="238" y="1240"/>
                  </a:lnTo>
                  <a:lnTo>
                    <a:pt x="238" y="1241"/>
                  </a:lnTo>
                  <a:lnTo>
                    <a:pt x="236" y="1241"/>
                  </a:lnTo>
                  <a:lnTo>
                    <a:pt x="238" y="1241"/>
                  </a:lnTo>
                  <a:lnTo>
                    <a:pt x="236" y="1241"/>
                  </a:lnTo>
                  <a:lnTo>
                    <a:pt x="236" y="1240"/>
                  </a:lnTo>
                  <a:lnTo>
                    <a:pt x="234" y="1240"/>
                  </a:lnTo>
                  <a:lnTo>
                    <a:pt x="233" y="1240"/>
                  </a:lnTo>
                  <a:lnTo>
                    <a:pt x="233" y="1238"/>
                  </a:lnTo>
                  <a:lnTo>
                    <a:pt x="231" y="1238"/>
                  </a:lnTo>
                  <a:lnTo>
                    <a:pt x="231" y="1236"/>
                  </a:lnTo>
                  <a:lnTo>
                    <a:pt x="231" y="1235"/>
                  </a:lnTo>
                  <a:lnTo>
                    <a:pt x="230" y="1235"/>
                  </a:lnTo>
                  <a:lnTo>
                    <a:pt x="231" y="1235"/>
                  </a:lnTo>
                  <a:lnTo>
                    <a:pt x="231" y="1233"/>
                  </a:lnTo>
                  <a:lnTo>
                    <a:pt x="233" y="1233"/>
                  </a:lnTo>
                  <a:lnTo>
                    <a:pt x="233" y="1235"/>
                  </a:lnTo>
                  <a:lnTo>
                    <a:pt x="233" y="1233"/>
                  </a:lnTo>
                  <a:lnTo>
                    <a:pt x="234" y="1233"/>
                  </a:lnTo>
                  <a:lnTo>
                    <a:pt x="233" y="1233"/>
                  </a:lnTo>
                  <a:lnTo>
                    <a:pt x="234" y="1233"/>
                  </a:lnTo>
                  <a:lnTo>
                    <a:pt x="233" y="1233"/>
                  </a:lnTo>
                  <a:lnTo>
                    <a:pt x="233" y="1231"/>
                  </a:lnTo>
                  <a:lnTo>
                    <a:pt x="234" y="1231"/>
                  </a:lnTo>
                  <a:lnTo>
                    <a:pt x="234" y="1233"/>
                  </a:lnTo>
                  <a:lnTo>
                    <a:pt x="234" y="1235"/>
                  </a:lnTo>
                  <a:lnTo>
                    <a:pt x="234" y="1236"/>
                  </a:lnTo>
                  <a:lnTo>
                    <a:pt x="233" y="1236"/>
                  </a:lnTo>
                  <a:lnTo>
                    <a:pt x="234" y="1236"/>
                  </a:lnTo>
                  <a:lnTo>
                    <a:pt x="236" y="1236"/>
                  </a:lnTo>
                  <a:lnTo>
                    <a:pt x="234" y="1236"/>
                  </a:lnTo>
                  <a:lnTo>
                    <a:pt x="236" y="1235"/>
                  </a:lnTo>
                  <a:lnTo>
                    <a:pt x="236" y="1236"/>
                  </a:lnTo>
                  <a:lnTo>
                    <a:pt x="236" y="1235"/>
                  </a:lnTo>
                  <a:lnTo>
                    <a:pt x="234" y="1235"/>
                  </a:lnTo>
                  <a:lnTo>
                    <a:pt x="236" y="1235"/>
                  </a:lnTo>
                  <a:lnTo>
                    <a:pt x="234" y="1235"/>
                  </a:lnTo>
                  <a:lnTo>
                    <a:pt x="234" y="1233"/>
                  </a:lnTo>
                  <a:lnTo>
                    <a:pt x="236" y="1233"/>
                  </a:lnTo>
                  <a:lnTo>
                    <a:pt x="234" y="1233"/>
                  </a:lnTo>
                  <a:lnTo>
                    <a:pt x="234" y="1231"/>
                  </a:lnTo>
                  <a:lnTo>
                    <a:pt x="236" y="1231"/>
                  </a:lnTo>
                  <a:lnTo>
                    <a:pt x="236" y="1233"/>
                  </a:lnTo>
                  <a:lnTo>
                    <a:pt x="238" y="1233"/>
                  </a:lnTo>
                  <a:lnTo>
                    <a:pt x="236" y="1231"/>
                  </a:lnTo>
                  <a:lnTo>
                    <a:pt x="238" y="1231"/>
                  </a:lnTo>
                  <a:lnTo>
                    <a:pt x="236" y="1231"/>
                  </a:lnTo>
                  <a:lnTo>
                    <a:pt x="236" y="1230"/>
                  </a:lnTo>
                  <a:lnTo>
                    <a:pt x="236" y="1231"/>
                  </a:lnTo>
                  <a:lnTo>
                    <a:pt x="234" y="1231"/>
                  </a:lnTo>
                  <a:lnTo>
                    <a:pt x="233" y="1231"/>
                  </a:lnTo>
                  <a:lnTo>
                    <a:pt x="231" y="1230"/>
                  </a:lnTo>
                  <a:lnTo>
                    <a:pt x="231" y="1228"/>
                  </a:lnTo>
                  <a:lnTo>
                    <a:pt x="233" y="1230"/>
                  </a:lnTo>
                  <a:lnTo>
                    <a:pt x="233" y="1228"/>
                  </a:lnTo>
                  <a:lnTo>
                    <a:pt x="231" y="1228"/>
                  </a:lnTo>
                  <a:lnTo>
                    <a:pt x="231" y="1227"/>
                  </a:lnTo>
                  <a:lnTo>
                    <a:pt x="231" y="1228"/>
                  </a:lnTo>
                  <a:lnTo>
                    <a:pt x="231" y="1227"/>
                  </a:lnTo>
                  <a:lnTo>
                    <a:pt x="230" y="1227"/>
                  </a:lnTo>
                  <a:lnTo>
                    <a:pt x="231" y="1227"/>
                  </a:lnTo>
                  <a:lnTo>
                    <a:pt x="231" y="1225"/>
                  </a:lnTo>
                  <a:lnTo>
                    <a:pt x="230" y="1223"/>
                  </a:lnTo>
                  <a:lnTo>
                    <a:pt x="228" y="1223"/>
                  </a:lnTo>
                  <a:lnTo>
                    <a:pt x="230" y="1223"/>
                  </a:lnTo>
                  <a:lnTo>
                    <a:pt x="230" y="1222"/>
                  </a:lnTo>
                  <a:lnTo>
                    <a:pt x="228" y="1222"/>
                  </a:lnTo>
                  <a:lnTo>
                    <a:pt x="226" y="1220"/>
                  </a:lnTo>
                  <a:lnTo>
                    <a:pt x="228" y="1222"/>
                  </a:lnTo>
                  <a:lnTo>
                    <a:pt x="226" y="1220"/>
                  </a:lnTo>
                  <a:lnTo>
                    <a:pt x="226" y="1218"/>
                  </a:lnTo>
                  <a:lnTo>
                    <a:pt x="228" y="1220"/>
                  </a:lnTo>
                  <a:lnTo>
                    <a:pt x="228" y="1218"/>
                  </a:lnTo>
                  <a:lnTo>
                    <a:pt x="226" y="1218"/>
                  </a:lnTo>
                  <a:lnTo>
                    <a:pt x="228" y="1218"/>
                  </a:lnTo>
                  <a:lnTo>
                    <a:pt x="226" y="1218"/>
                  </a:lnTo>
                  <a:lnTo>
                    <a:pt x="226" y="1217"/>
                  </a:lnTo>
                  <a:lnTo>
                    <a:pt x="226" y="1218"/>
                  </a:lnTo>
                  <a:lnTo>
                    <a:pt x="226" y="1217"/>
                  </a:lnTo>
                  <a:lnTo>
                    <a:pt x="225" y="1217"/>
                  </a:lnTo>
                  <a:lnTo>
                    <a:pt x="225" y="1215"/>
                  </a:lnTo>
                  <a:lnTo>
                    <a:pt x="225" y="1214"/>
                  </a:lnTo>
                  <a:lnTo>
                    <a:pt x="225" y="1215"/>
                  </a:lnTo>
                  <a:lnTo>
                    <a:pt x="223" y="1214"/>
                  </a:lnTo>
                  <a:lnTo>
                    <a:pt x="225" y="1215"/>
                  </a:lnTo>
                  <a:lnTo>
                    <a:pt x="223" y="1215"/>
                  </a:lnTo>
                  <a:lnTo>
                    <a:pt x="225" y="1215"/>
                  </a:lnTo>
                  <a:lnTo>
                    <a:pt x="223" y="1215"/>
                  </a:lnTo>
                  <a:lnTo>
                    <a:pt x="223" y="1217"/>
                  </a:lnTo>
                  <a:lnTo>
                    <a:pt x="223" y="1215"/>
                  </a:lnTo>
                  <a:lnTo>
                    <a:pt x="223" y="1217"/>
                  </a:lnTo>
                  <a:lnTo>
                    <a:pt x="221" y="1217"/>
                  </a:lnTo>
                  <a:lnTo>
                    <a:pt x="223" y="1217"/>
                  </a:lnTo>
                  <a:lnTo>
                    <a:pt x="221" y="1217"/>
                  </a:lnTo>
                  <a:lnTo>
                    <a:pt x="223" y="1217"/>
                  </a:lnTo>
                  <a:lnTo>
                    <a:pt x="223" y="1218"/>
                  </a:lnTo>
                  <a:lnTo>
                    <a:pt x="221" y="1218"/>
                  </a:lnTo>
                  <a:lnTo>
                    <a:pt x="221" y="1217"/>
                  </a:lnTo>
                  <a:lnTo>
                    <a:pt x="221" y="1215"/>
                  </a:lnTo>
                  <a:lnTo>
                    <a:pt x="220" y="1215"/>
                  </a:lnTo>
                  <a:lnTo>
                    <a:pt x="218" y="1215"/>
                  </a:lnTo>
                  <a:lnTo>
                    <a:pt x="218" y="1214"/>
                  </a:lnTo>
                  <a:lnTo>
                    <a:pt x="218" y="1215"/>
                  </a:lnTo>
                  <a:lnTo>
                    <a:pt x="218" y="1214"/>
                  </a:lnTo>
                  <a:lnTo>
                    <a:pt x="218" y="1212"/>
                  </a:lnTo>
                  <a:lnTo>
                    <a:pt x="218" y="1210"/>
                  </a:lnTo>
                  <a:lnTo>
                    <a:pt x="217" y="1210"/>
                  </a:lnTo>
                  <a:lnTo>
                    <a:pt x="218" y="1210"/>
                  </a:lnTo>
                  <a:lnTo>
                    <a:pt x="218" y="1209"/>
                  </a:lnTo>
                  <a:lnTo>
                    <a:pt x="217" y="1210"/>
                  </a:lnTo>
                  <a:lnTo>
                    <a:pt x="215" y="1210"/>
                  </a:lnTo>
                  <a:lnTo>
                    <a:pt x="215" y="1209"/>
                  </a:lnTo>
                  <a:lnTo>
                    <a:pt x="215" y="1207"/>
                  </a:lnTo>
                  <a:lnTo>
                    <a:pt x="215" y="1205"/>
                  </a:lnTo>
                  <a:lnTo>
                    <a:pt x="215" y="1204"/>
                  </a:lnTo>
                  <a:lnTo>
                    <a:pt x="215" y="1202"/>
                  </a:lnTo>
                  <a:lnTo>
                    <a:pt x="215" y="1201"/>
                  </a:lnTo>
                  <a:lnTo>
                    <a:pt x="215" y="1199"/>
                  </a:lnTo>
                  <a:lnTo>
                    <a:pt x="215" y="1197"/>
                  </a:lnTo>
                  <a:lnTo>
                    <a:pt x="215" y="1199"/>
                  </a:lnTo>
                  <a:lnTo>
                    <a:pt x="215" y="1197"/>
                  </a:lnTo>
                  <a:lnTo>
                    <a:pt x="215" y="1199"/>
                  </a:lnTo>
                  <a:lnTo>
                    <a:pt x="217" y="1199"/>
                  </a:lnTo>
                  <a:lnTo>
                    <a:pt x="215" y="1197"/>
                  </a:lnTo>
                  <a:lnTo>
                    <a:pt x="215" y="1196"/>
                  </a:lnTo>
                  <a:lnTo>
                    <a:pt x="215" y="1194"/>
                  </a:lnTo>
                  <a:lnTo>
                    <a:pt x="213" y="1191"/>
                  </a:lnTo>
                  <a:lnTo>
                    <a:pt x="213" y="1189"/>
                  </a:lnTo>
                  <a:lnTo>
                    <a:pt x="213" y="1188"/>
                  </a:lnTo>
                  <a:lnTo>
                    <a:pt x="213" y="1189"/>
                  </a:lnTo>
                  <a:lnTo>
                    <a:pt x="213" y="1188"/>
                  </a:lnTo>
                  <a:lnTo>
                    <a:pt x="213" y="1186"/>
                  </a:lnTo>
                  <a:lnTo>
                    <a:pt x="213" y="1188"/>
                  </a:lnTo>
                  <a:lnTo>
                    <a:pt x="213" y="1186"/>
                  </a:lnTo>
                  <a:lnTo>
                    <a:pt x="213" y="1184"/>
                  </a:lnTo>
                  <a:lnTo>
                    <a:pt x="215" y="1186"/>
                  </a:lnTo>
                  <a:lnTo>
                    <a:pt x="215" y="1188"/>
                  </a:lnTo>
                  <a:lnTo>
                    <a:pt x="215" y="1189"/>
                  </a:lnTo>
                  <a:lnTo>
                    <a:pt x="215" y="1188"/>
                  </a:lnTo>
                  <a:lnTo>
                    <a:pt x="217" y="1189"/>
                  </a:lnTo>
                  <a:lnTo>
                    <a:pt x="215" y="1188"/>
                  </a:lnTo>
                  <a:lnTo>
                    <a:pt x="217" y="1188"/>
                  </a:lnTo>
                  <a:lnTo>
                    <a:pt x="217" y="1189"/>
                  </a:lnTo>
                  <a:lnTo>
                    <a:pt x="217" y="1188"/>
                  </a:lnTo>
                  <a:lnTo>
                    <a:pt x="217" y="1186"/>
                  </a:lnTo>
                  <a:lnTo>
                    <a:pt x="217" y="1184"/>
                  </a:lnTo>
                  <a:lnTo>
                    <a:pt x="215" y="1184"/>
                  </a:lnTo>
                  <a:lnTo>
                    <a:pt x="217" y="1184"/>
                  </a:lnTo>
                  <a:lnTo>
                    <a:pt x="215" y="1184"/>
                  </a:lnTo>
                  <a:lnTo>
                    <a:pt x="217" y="1183"/>
                  </a:lnTo>
                  <a:lnTo>
                    <a:pt x="215" y="1183"/>
                  </a:lnTo>
                  <a:lnTo>
                    <a:pt x="215" y="1181"/>
                  </a:lnTo>
                  <a:lnTo>
                    <a:pt x="217" y="1183"/>
                  </a:lnTo>
                  <a:lnTo>
                    <a:pt x="217" y="1181"/>
                  </a:lnTo>
                  <a:lnTo>
                    <a:pt x="217" y="1183"/>
                  </a:lnTo>
                  <a:lnTo>
                    <a:pt x="217" y="1179"/>
                  </a:lnTo>
                  <a:lnTo>
                    <a:pt x="218" y="1179"/>
                  </a:lnTo>
                  <a:lnTo>
                    <a:pt x="220" y="1179"/>
                  </a:lnTo>
                  <a:lnTo>
                    <a:pt x="218" y="1178"/>
                  </a:lnTo>
                  <a:lnTo>
                    <a:pt x="220" y="1178"/>
                  </a:lnTo>
                  <a:lnTo>
                    <a:pt x="220" y="1176"/>
                  </a:lnTo>
                  <a:lnTo>
                    <a:pt x="218" y="1176"/>
                  </a:lnTo>
                  <a:lnTo>
                    <a:pt x="218" y="1178"/>
                  </a:lnTo>
                  <a:lnTo>
                    <a:pt x="218" y="1179"/>
                  </a:lnTo>
                  <a:lnTo>
                    <a:pt x="218" y="1178"/>
                  </a:lnTo>
                  <a:lnTo>
                    <a:pt x="218" y="1176"/>
                  </a:lnTo>
                  <a:lnTo>
                    <a:pt x="218" y="1175"/>
                  </a:lnTo>
                  <a:lnTo>
                    <a:pt x="218" y="1176"/>
                  </a:lnTo>
                  <a:lnTo>
                    <a:pt x="217" y="1178"/>
                  </a:lnTo>
                  <a:lnTo>
                    <a:pt x="217" y="1176"/>
                  </a:lnTo>
                  <a:lnTo>
                    <a:pt x="217" y="1175"/>
                  </a:lnTo>
                  <a:lnTo>
                    <a:pt x="217" y="1176"/>
                  </a:lnTo>
                  <a:lnTo>
                    <a:pt x="215" y="1176"/>
                  </a:lnTo>
                  <a:lnTo>
                    <a:pt x="215" y="1175"/>
                  </a:lnTo>
                  <a:lnTo>
                    <a:pt x="217" y="1175"/>
                  </a:lnTo>
                  <a:lnTo>
                    <a:pt x="215" y="1175"/>
                  </a:lnTo>
                  <a:lnTo>
                    <a:pt x="215" y="1173"/>
                  </a:lnTo>
                  <a:lnTo>
                    <a:pt x="215" y="1171"/>
                  </a:lnTo>
                  <a:lnTo>
                    <a:pt x="215" y="1173"/>
                  </a:lnTo>
                  <a:lnTo>
                    <a:pt x="215" y="1171"/>
                  </a:lnTo>
                  <a:lnTo>
                    <a:pt x="215" y="1170"/>
                  </a:lnTo>
                  <a:lnTo>
                    <a:pt x="215" y="1168"/>
                  </a:lnTo>
                  <a:lnTo>
                    <a:pt x="215" y="1170"/>
                  </a:lnTo>
                  <a:lnTo>
                    <a:pt x="215" y="1171"/>
                  </a:lnTo>
                  <a:lnTo>
                    <a:pt x="215" y="1170"/>
                  </a:lnTo>
                  <a:lnTo>
                    <a:pt x="213" y="1171"/>
                  </a:lnTo>
                  <a:lnTo>
                    <a:pt x="213" y="1173"/>
                  </a:lnTo>
                  <a:lnTo>
                    <a:pt x="212" y="1173"/>
                  </a:lnTo>
                  <a:lnTo>
                    <a:pt x="212" y="1175"/>
                  </a:lnTo>
                  <a:lnTo>
                    <a:pt x="212" y="1173"/>
                  </a:lnTo>
                  <a:lnTo>
                    <a:pt x="212" y="1171"/>
                  </a:lnTo>
                  <a:lnTo>
                    <a:pt x="212" y="1170"/>
                  </a:lnTo>
                  <a:lnTo>
                    <a:pt x="212" y="1168"/>
                  </a:lnTo>
                  <a:lnTo>
                    <a:pt x="212" y="1166"/>
                  </a:lnTo>
                  <a:lnTo>
                    <a:pt x="213" y="1166"/>
                  </a:lnTo>
                  <a:lnTo>
                    <a:pt x="212" y="1165"/>
                  </a:lnTo>
                  <a:lnTo>
                    <a:pt x="212" y="1163"/>
                  </a:lnTo>
                  <a:lnTo>
                    <a:pt x="212" y="1165"/>
                  </a:lnTo>
                  <a:lnTo>
                    <a:pt x="212" y="1166"/>
                  </a:lnTo>
                  <a:lnTo>
                    <a:pt x="212" y="1165"/>
                  </a:lnTo>
                  <a:lnTo>
                    <a:pt x="212" y="1166"/>
                  </a:lnTo>
                  <a:lnTo>
                    <a:pt x="210" y="1166"/>
                  </a:lnTo>
                  <a:lnTo>
                    <a:pt x="210" y="1165"/>
                  </a:lnTo>
                  <a:lnTo>
                    <a:pt x="210" y="1166"/>
                  </a:lnTo>
                  <a:lnTo>
                    <a:pt x="210" y="1165"/>
                  </a:lnTo>
                  <a:lnTo>
                    <a:pt x="208" y="1165"/>
                  </a:lnTo>
                  <a:lnTo>
                    <a:pt x="208" y="1166"/>
                  </a:lnTo>
                  <a:lnTo>
                    <a:pt x="210" y="1166"/>
                  </a:lnTo>
                  <a:lnTo>
                    <a:pt x="208" y="1166"/>
                  </a:lnTo>
                  <a:lnTo>
                    <a:pt x="208" y="1165"/>
                  </a:lnTo>
                  <a:lnTo>
                    <a:pt x="208" y="1163"/>
                  </a:lnTo>
                  <a:lnTo>
                    <a:pt x="208" y="1162"/>
                  </a:lnTo>
                  <a:lnTo>
                    <a:pt x="210" y="1162"/>
                  </a:lnTo>
                  <a:lnTo>
                    <a:pt x="210" y="1163"/>
                  </a:lnTo>
                  <a:lnTo>
                    <a:pt x="210" y="1162"/>
                  </a:lnTo>
                  <a:lnTo>
                    <a:pt x="212" y="1163"/>
                  </a:lnTo>
                  <a:lnTo>
                    <a:pt x="212" y="1162"/>
                  </a:lnTo>
                  <a:lnTo>
                    <a:pt x="212" y="1158"/>
                  </a:lnTo>
                  <a:lnTo>
                    <a:pt x="212" y="1157"/>
                  </a:lnTo>
                  <a:lnTo>
                    <a:pt x="212" y="1155"/>
                  </a:lnTo>
                  <a:lnTo>
                    <a:pt x="210" y="1155"/>
                  </a:lnTo>
                  <a:lnTo>
                    <a:pt x="210" y="1157"/>
                  </a:lnTo>
                  <a:lnTo>
                    <a:pt x="208" y="1157"/>
                  </a:lnTo>
                  <a:lnTo>
                    <a:pt x="208" y="1158"/>
                  </a:lnTo>
                  <a:lnTo>
                    <a:pt x="208" y="1160"/>
                  </a:lnTo>
                  <a:lnTo>
                    <a:pt x="208" y="1158"/>
                  </a:lnTo>
                  <a:lnTo>
                    <a:pt x="207" y="1157"/>
                  </a:lnTo>
                  <a:lnTo>
                    <a:pt x="207" y="1155"/>
                  </a:lnTo>
                  <a:lnTo>
                    <a:pt x="207" y="1157"/>
                  </a:lnTo>
                  <a:lnTo>
                    <a:pt x="207" y="1155"/>
                  </a:lnTo>
                  <a:lnTo>
                    <a:pt x="205" y="1155"/>
                  </a:lnTo>
                  <a:lnTo>
                    <a:pt x="205" y="1153"/>
                  </a:lnTo>
                  <a:lnTo>
                    <a:pt x="207" y="1152"/>
                  </a:lnTo>
                  <a:lnTo>
                    <a:pt x="205" y="1152"/>
                  </a:lnTo>
                  <a:lnTo>
                    <a:pt x="205" y="1153"/>
                  </a:lnTo>
                  <a:lnTo>
                    <a:pt x="205" y="1152"/>
                  </a:lnTo>
                  <a:lnTo>
                    <a:pt x="205" y="1153"/>
                  </a:lnTo>
                  <a:lnTo>
                    <a:pt x="204" y="1153"/>
                  </a:lnTo>
                  <a:lnTo>
                    <a:pt x="205" y="1153"/>
                  </a:lnTo>
                  <a:lnTo>
                    <a:pt x="205" y="1155"/>
                  </a:lnTo>
                  <a:lnTo>
                    <a:pt x="204" y="1155"/>
                  </a:lnTo>
                  <a:lnTo>
                    <a:pt x="204" y="1153"/>
                  </a:lnTo>
                  <a:lnTo>
                    <a:pt x="204" y="1155"/>
                  </a:lnTo>
                  <a:lnTo>
                    <a:pt x="204" y="1158"/>
                  </a:lnTo>
                  <a:lnTo>
                    <a:pt x="205" y="1160"/>
                  </a:lnTo>
                  <a:lnTo>
                    <a:pt x="204" y="1160"/>
                  </a:lnTo>
                  <a:lnTo>
                    <a:pt x="204" y="1162"/>
                  </a:lnTo>
                  <a:lnTo>
                    <a:pt x="204" y="1160"/>
                  </a:lnTo>
                  <a:lnTo>
                    <a:pt x="202" y="1162"/>
                  </a:lnTo>
                  <a:lnTo>
                    <a:pt x="202" y="1160"/>
                  </a:lnTo>
                  <a:lnTo>
                    <a:pt x="202" y="1162"/>
                  </a:lnTo>
                  <a:lnTo>
                    <a:pt x="202" y="1160"/>
                  </a:lnTo>
                  <a:lnTo>
                    <a:pt x="202" y="1158"/>
                  </a:lnTo>
                  <a:lnTo>
                    <a:pt x="202" y="1157"/>
                  </a:lnTo>
                  <a:lnTo>
                    <a:pt x="202" y="1153"/>
                  </a:lnTo>
                  <a:lnTo>
                    <a:pt x="202" y="1152"/>
                  </a:lnTo>
                  <a:lnTo>
                    <a:pt x="200" y="1152"/>
                  </a:lnTo>
                  <a:lnTo>
                    <a:pt x="200" y="1150"/>
                  </a:lnTo>
                  <a:lnTo>
                    <a:pt x="202" y="1149"/>
                  </a:lnTo>
                  <a:lnTo>
                    <a:pt x="202" y="1147"/>
                  </a:lnTo>
                  <a:lnTo>
                    <a:pt x="200" y="1147"/>
                  </a:lnTo>
                  <a:lnTo>
                    <a:pt x="200" y="1149"/>
                  </a:lnTo>
                  <a:lnTo>
                    <a:pt x="199" y="1149"/>
                  </a:lnTo>
                  <a:lnTo>
                    <a:pt x="199" y="1150"/>
                  </a:lnTo>
                  <a:lnTo>
                    <a:pt x="197" y="1150"/>
                  </a:lnTo>
                  <a:lnTo>
                    <a:pt x="197" y="1147"/>
                  </a:lnTo>
                  <a:lnTo>
                    <a:pt x="197" y="1145"/>
                  </a:lnTo>
                  <a:lnTo>
                    <a:pt x="199" y="1142"/>
                  </a:lnTo>
                  <a:lnTo>
                    <a:pt x="197" y="1142"/>
                  </a:lnTo>
                  <a:lnTo>
                    <a:pt x="199" y="1140"/>
                  </a:lnTo>
                  <a:lnTo>
                    <a:pt x="197" y="1142"/>
                  </a:lnTo>
                  <a:lnTo>
                    <a:pt x="197" y="1144"/>
                  </a:lnTo>
                  <a:lnTo>
                    <a:pt x="197" y="1145"/>
                  </a:lnTo>
                  <a:lnTo>
                    <a:pt x="197" y="1144"/>
                  </a:lnTo>
                  <a:lnTo>
                    <a:pt x="197" y="1145"/>
                  </a:lnTo>
                  <a:lnTo>
                    <a:pt x="195" y="1144"/>
                  </a:lnTo>
                  <a:lnTo>
                    <a:pt x="195" y="1145"/>
                  </a:lnTo>
                  <a:lnTo>
                    <a:pt x="195" y="1144"/>
                  </a:lnTo>
                  <a:lnTo>
                    <a:pt x="195" y="1142"/>
                  </a:lnTo>
                  <a:lnTo>
                    <a:pt x="195" y="1144"/>
                  </a:lnTo>
                  <a:lnTo>
                    <a:pt x="194" y="1144"/>
                  </a:lnTo>
                  <a:lnTo>
                    <a:pt x="194" y="1142"/>
                  </a:lnTo>
                  <a:lnTo>
                    <a:pt x="194" y="1144"/>
                  </a:lnTo>
                  <a:lnTo>
                    <a:pt x="194" y="1142"/>
                  </a:lnTo>
                  <a:lnTo>
                    <a:pt x="194" y="1144"/>
                  </a:lnTo>
                  <a:lnTo>
                    <a:pt x="192" y="1142"/>
                  </a:lnTo>
                  <a:lnTo>
                    <a:pt x="192" y="1140"/>
                  </a:lnTo>
                  <a:lnTo>
                    <a:pt x="192" y="1142"/>
                  </a:lnTo>
                  <a:lnTo>
                    <a:pt x="194" y="1142"/>
                  </a:lnTo>
                  <a:lnTo>
                    <a:pt x="194" y="1140"/>
                  </a:lnTo>
                  <a:lnTo>
                    <a:pt x="192" y="1140"/>
                  </a:lnTo>
                  <a:lnTo>
                    <a:pt x="194" y="1140"/>
                  </a:lnTo>
                  <a:lnTo>
                    <a:pt x="194" y="1139"/>
                  </a:lnTo>
                  <a:lnTo>
                    <a:pt x="192" y="1139"/>
                  </a:lnTo>
                  <a:lnTo>
                    <a:pt x="194" y="1139"/>
                  </a:lnTo>
                  <a:lnTo>
                    <a:pt x="194" y="1137"/>
                  </a:lnTo>
                  <a:lnTo>
                    <a:pt x="194" y="1136"/>
                  </a:lnTo>
                  <a:lnTo>
                    <a:pt x="192" y="1136"/>
                  </a:lnTo>
                  <a:lnTo>
                    <a:pt x="191" y="1137"/>
                  </a:lnTo>
                  <a:lnTo>
                    <a:pt x="191" y="1136"/>
                  </a:lnTo>
                  <a:lnTo>
                    <a:pt x="191" y="1134"/>
                  </a:lnTo>
                  <a:lnTo>
                    <a:pt x="189" y="1132"/>
                  </a:lnTo>
                  <a:lnTo>
                    <a:pt x="191" y="1132"/>
                  </a:lnTo>
                  <a:lnTo>
                    <a:pt x="192" y="1132"/>
                  </a:lnTo>
                  <a:lnTo>
                    <a:pt x="194" y="1134"/>
                  </a:lnTo>
                  <a:lnTo>
                    <a:pt x="194" y="1132"/>
                  </a:lnTo>
                  <a:lnTo>
                    <a:pt x="194" y="1134"/>
                  </a:lnTo>
                  <a:lnTo>
                    <a:pt x="195" y="1134"/>
                  </a:lnTo>
                  <a:lnTo>
                    <a:pt x="195" y="1132"/>
                  </a:lnTo>
                  <a:lnTo>
                    <a:pt x="195" y="1134"/>
                  </a:lnTo>
                  <a:lnTo>
                    <a:pt x="195" y="1132"/>
                  </a:lnTo>
                  <a:lnTo>
                    <a:pt x="194" y="1132"/>
                  </a:lnTo>
                  <a:lnTo>
                    <a:pt x="194" y="1131"/>
                  </a:lnTo>
                  <a:lnTo>
                    <a:pt x="194" y="1132"/>
                  </a:lnTo>
                  <a:lnTo>
                    <a:pt x="192" y="1131"/>
                  </a:lnTo>
                  <a:lnTo>
                    <a:pt x="194" y="1131"/>
                  </a:lnTo>
                  <a:lnTo>
                    <a:pt x="192" y="1129"/>
                  </a:lnTo>
                  <a:lnTo>
                    <a:pt x="194" y="1129"/>
                  </a:lnTo>
                  <a:lnTo>
                    <a:pt x="194" y="1127"/>
                  </a:lnTo>
                  <a:lnTo>
                    <a:pt x="194" y="1126"/>
                  </a:lnTo>
                  <a:lnTo>
                    <a:pt x="195" y="1126"/>
                  </a:lnTo>
                  <a:lnTo>
                    <a:pt x="195" y="1124"/>
                  </a:lnTo>
                  <a:lnTo>
                    <a:pt x="197" y="1124"/>
                  </a:lnTo>
                  <a:lnTo>
                    <a:pt x="195" y="1124"/>
                  </a:lnTo>
                  <a:lnTo>
                    <a:pt x="195" y="1123"/>
                  </a:lnTo>
                  <a:lnTo>
                    <a:pt x="194" y="1123"/>
                  </a:lnTo>
                  <a:lnTo>
                    <a:pt x="194" y="1124"/>
                  </a:lnTo>
                  <a:lnTo>
                    <a:pt x="192" y="1123"/>
                  </a:lnTo>
                  <a:lnTo>
                    <a:pt x="194" y="1124"/>
                  </a:lnTo>
                  <a:lnTo>
                    <a:pt x="192" y="1124"/>
                  </a:lnTo>
                  <a:lnTo>
                    <a:pt x="192" y="1123"/>
                  </a:lnTo>
                  <a:lnTo>
                    <a:pt x="194" y="1123"/>
                  </a:lnTo>
                  <a:lnTo>
                    <a:pt x="194" y="1121"/>
                  </a:lnTo>
                  <a:lnTo>
                    <a:pt x="192" y="1123"/>
                  </a:lnTo>
                  <a:lnTo>
                    <a:pt x="191" y="1123"/>
                  </a:lnTo>
                  <a:lnTo>
                    <a:pt x="191" y="1121"/>
                  </a:lnTo>
                  <a:lnTo>
                    <a:pt x="191" y="1119"/>
                  </a:lnTo>
                  <a:lnTo>
                    <a:pt x="189" y="1119"/>
                  </a:lnTo>
                  <a:lnTo>
                    <a:pt x="189" y="1121"/>
                  </a:lnTo>
                  <a:lnTo>
                    <a:pt x="189" y="1123"/>
                  </a:lnTo>
                  <a:lnTo>
                    <a:pt x="189" y="1124"/>
                  </a:lnTo>
                  <a:lnTo>
                    <a:pt x="187" y="1124"/>
                  </a:lnTo>
                  <a:lnTo>
                    <a:pt x="189" y="1126"/>
                  </a:lnTo>
                  <a:lnTo>
                    <a:pt x="187" y="1126"/>
                  </a:lnTo>
                  <a:lnTo>
                    <a:pt x="187" y="1124"/>
                  </a:lnTo>
                  <a:lnTo>
                    <a:pt x="186" y="1124"/>
                  </a:lnTo>
                  <a:lnTo>
                    <a:pt x="186" y="1123"/>
                  </a:lnTo>
                  <a:lnTo>
                    <a:pt x="186" y="1124"/>
                  </a:lnTo>
                  <a:lnTo>
                    <a:pt x="186" y="1123"/>
                  </a:lnTo>
                  <a:lnTo>
                    <a:pt x="187" y="1123"/>
                  </a:lnTo>
                  <a:lnTo>
                    <a:pt x="186" y="1123"/>
                  </a:lnTo>
                  <a:lnTo>
                    <a:pt x="186" y="1121"/>
                  </a:lnTo>
                  <a:lnTo>
                    <a:pt x="186" y="1119"/>
                  </a:lnTo>
                  <a:lnTo>
                    <a:pt x="186" y="1118"/>
                  </a:lnTo>
                  <a:lnTo>
                    <a:pt x="186" y="1116"/>
                  </a:lnTo>
                  <a:lnTo>
                    <a:pt x="186" y="1114"/>
                  </a:lnTo>
                  <a:lnTo>
                    <a:pt x="186" y="1116"/>
                  </a:lnTo>
                  <a:lnTo>
                    <a:pt x="186" y="1114"/>
                  </a:lnTo>
                  <a:lnTo>
                    <a:pt x="187" y="1114"/>
                  </a:lnTo>
                  <a:lnTo>
                    <a:pt x="186" y="1114"/>
                  </a:lnTo>
                  <a:lnTo>
                    <a:pt x="186" y="1113"/>
                  </a:lnTo>
                  <a:lnTo>
                    <a:pt x="186" y="1114"/>
                  </a:lnTo>
                  <a:lnTo>
                    <a:pt x="186" y="1113"/>
                  </a:lnTo>
                  <a:lnTo>
                    <a:pt x="186" y="1111"/>
                  </a:lnTo>
                  <a:lnTo>
                    <a:pt x="186" y="1113"/>
                  </a:lnTo>
                  <a:lnTo>
                    <a:pt x="187" y="1113"/>
                  </a:lnTo>
                  <a:lnTo>
                    <a:pt x="187" y="1111"/>
                  </a:lnTo>
                  <a:lnTo>
                    <a:pt x="189" y="1111"/>
                  </a:lnTo>
                  <a:lnTo>
                    <a:pt x="189" y="1110"/>
                  </a:lnTo>
                  <a:lnTo>
                    <a:pt x="189" y="1108"/>
                  </a:lnTo>
                  <a:lnTo>
                    <a:pt x="191" y="1108"/>
                  </a:lnTo>
                  <a:lnTo>
                    <a:pt x="191" y="1106"/>
                  </a:lnTo>
                  <a:lnTo>
                    <a:pt x="191" y="1105"/>
                  </a:lnTo>
                  <a:lnTo>
                    <a:pt x="189" y="1105"/>
                  </a:lnTo>
                  <a:lnTo>
                    <a:pt x="189" y="1103"/>
                  </a:lnTo>
                  <a:lnTo>
                    <a:pt x="189" y="1105"/>
                  </a:lnTo>
                  <a:lnTo>
                    <a:pt x="187" y="1105"/>
                  </a:lnTo>
                  <a:lnTo>
                    <a:pt x="187" y="1103"/>
                  </a:lnTo>
                  <a:lnTo>
                    <a:pt x="187" y="1101"/>
                  </a:lnTo>
                  <a:lnTo>
                    <a:pt x="186" y="1101"/>
                  </a:lnTo>
                  <a:lnTo>
                    <a:pt x="186" y="1100"/>
                  </a:lnTo>
                  <a:lnTo>
                    <a:pt x="186" y="1098"/>
                  </a:lnTo>
                  <a:lnTo>
                    <a:pt x="184" y="1098"/>
                  </a:lnTo>
                  <a:lnTo>
                    <a:pt x="186" y="1098"/>
                  </a:lnTo>
                  <a:lnTo>
                    <a:pt x="186" y="1097"/>
                  </a:lnTo>
                  <a:lnTo>
                    <a:pt x="186" y="1098"/>
                  </a:lnTo>
                  <a:lnTo>
                    <a:pt x="186" y="1097"/>
                  </a:lnTo>
                  <a:lnTo>
                    <a:pt x="186" y="1095"/>
                  </a:lnTo>
                  <a:lnTo>
                    <a:pt x="187" y="1095"/>
                  </a:lnTo>
                  <a:lnTo>
                    <a:pt x="189" y="1095"/>
                  </a:lnTo>
                  <a:lnTo>
                    <a:pt x="189" y="1097"/>
                  </a:lnTo>
                  <a:lnTo>
                    <a:pt x="191" y="1097"/>
                  </a:lnTo>
                  <a:lnTo>
                    <a:pt x="191" y="1095"/>
                  </a:lnTo>
                  <a:lnTo>
                    <a:pt x="191" y="1093"/>
                  </a:lnTo>
                  <a:lnTo>
                    <a:pt x="192" y="1093"/>
                  </a:lnTo>
                  <a:lnTo>
                    <a:pt x="192" y="1092"/>
                  </a:lnTo>
                  <a:lnTo>
                    <a:pt x="192" y="1090"/>
                  </a:lnTo>
                  <a:lnTo>
                    <a:pt x="192" y="1088"/>
                  </a:lnTo>
                  <a:lnTo>
                    <a:pt x="191" y="1087"/>
                  </a:lnTo>
                  <a:lnTo>
                    <a:pt x="192" y="1087"/>
                  </a:lnTo>
                  <a:lnTo>
                    <a:pt x="192" y="1085"/>
                  </a:lnTo>
                  <a:lnTo>
                    <a:pt x="192" y="1083"/>
                  </a:lnTo>
                  <a:lnTo>
                    <a:pt x="191" y="1083"/>
                  </a:lnTo>
                  <a:close/>
                  <a:moveTo>
                    <a:pt x="247" y="584"/>
                  </a:moveTo>
                  <a:lnTo>
                    <a:pt x="249" y="584"/>
                  </a:lnTo>
                  <a:lnTo>
                    <a:pt x="247" y="584"/>
                  </a:lnTo>
                  <a:close/>
                  <a:moveTo>
                    <a:pt x="147" y="1482"/>
                  </a:moveTo>
                  <a:lnTo>
                    <a:pt x="147" y="1480"/>
                  </a:lnTo>
                  <a:lnTo>
                    <a:pt x="145" y="1480"/>
                  </a:lnTo>
                  <a:lnTo>
                    <a:pt x="147" y="1479"/>
                  </a:lnTo>
                  <a:lnTo>
                    <a:pt x="145" y="1477"/>
                  </a:lnTo>
                  <a:lnTo>
                    <a:pt x="145" y="1475"/>
                  </a:lnTo>
                  <a:lnTo>
                    <a:pt x="143" y="1475"/>
                  </a:lnTo>
                  <a:lnTo>
                    <a:pt x="142" y="1474"/>
                  </a:lnTo>
                  <a:lnTo>
                    <a:pt x="143" y="1472"/>
                  </a:lnTo>
                  <a:lnTo>
                    <a:pt x="142" y="1472"/>
                  </a:lnTo>
                  <a:lnTo>
                    <a:pt x="142" y="1471"/>
                  </a:lnTo>
                  <a:lnTo>
                    <a:pt x="142" y="1469"/>
                  </a:lnTo>
                  <a:lnTo>
                    <a:pt x="142" y="1467"/>
                  </a:lnTo>
                  <a:lnTo>
                    <a:pt x="140" y="1469"/>
                  </a:lnTo>
                  <a:lnTo>
                    <a:pt x="140" y="1471"/>
                  </a:lnTo>
                  <a:lnTo>
                    <a:pt x="140" y="1469"/>
                  </a:lnTo>
                  <a:lnTo>
                    <a:pt x="140" y="1467"/>
                  </a:lnTo>
                  <a:lnTo>
                    <a:pt x="140" y="1466"/>
                  </a:lnTo>
                  <a:lnTo>
                    <a:pt x="142" y="1467"/>
                  </a:lnTo>
                  <a:lnTo>
                    <a:pt x="140" y="1466"/>
                  </a:lnTo>
                  <a:lnTo>
                    <a:pt x="142" y="1466"/>
                  </a:lnTo>
                  <a:lnTo>
                    <a:pt x="143" y="1467"/>
                  </a:lnTo>
                  <a:lnTo>
                    <a:pt x="143" y="1469"/>
                  </a:lnTo>
                  <a:lnTo>
                    <a:pt x="143" y="1467"/>
                  </a:lnTo>
                  <a:lnTo>
                    <a:pt x="145" y="1467"/>
                  </a:lnTo>
                  <a:lnTo>
                    <a:pt x="145" y="1469"/>
                  </a:lnTo>
                  <a:lnTo>
                    <a:pt x="145" y="1467"/>
                  </a:lnTo>
                  <a:lnTo>
                    <a:pt x="145" y="1469"/>
                  </a:lnTo>
                  <a:lnTo>
                    <a:pt x="145" y="1471"/>
                  </a:lnTo>
                  <a:lnTo>
                    <a:pt x="145" y="1469"/>
                  </a:lnTo>
                  <a:lnTo>
                    <a:pt x="145" y="1471"/>
                  </a:lnTo>
                  <a:lnTo>
                    <a:pt x="143" y="1471"/>
                  </a:lnTo>
                  <a:lnTo>
                    <a:pt x="145" y="1471"/>
                  </a:lnTo>
                  <a:lnTo>
                    <a:pt x="145" y="1472"/>
                  </a:lnTo>
                  <a:lnTo>
                    <a:pt x="145" y="1471"/>
                  </a:lnTo>
                  <a:lnTo>
                    <a:pt x="145" y="1469"/>
                  </a:lnTo>
                  <a:lnTo>
                    <a:pt x="145" y="1467"/>
                  </a:lnTo>
                  <a:lnTo>
                    <a:pt x="145" y="1466"/>
                  </a:lnTo>
                  <a:lnTo>
                    <a:pt x="147" y="1466"/>
                  </a:lnTo>
                  <a:lnTo>
                    <a:pt x="147" y="1467"/>
                  </a:lnTo>
                  <a:lnTo>
                    <a:pt x="147" y="1466"/>
                  </a:lnTo>
                  <a:lnTo>
                    <a:pt x="147" y="1467"/>
                  </a:lnTo>
                  <a:lnTo>
                    <a:pt x="148" y="1467"/>
                  </a:lnTo>
                  <a:lnTo>
                    <a:pt x="148" y="1469"/>
                  </a:lnTo>
                  <a:lnTo>
                    <a:pt x="148" y="1467"/>
                  </a:lnTo>
                  <a:lnTo>
                    <a:pt x="148" y="1466"/>
                  </a:lnTo>
                  <a:lnTo>
                    <a:pt x="148" y="1464"/>
                  </a:lnTo>
                  <a:lnTo>
                    <a:pt x="148" y="1466"/>
                  </a:lnTo>
                  <a:lnTo>
                    <a:pt x="147" y="1464"/>
                  </a:lnTo>
                  <a:lnTo>
                    <a:pt x="148" y="1462"/>
                  </a:lnTo>
                  <a:lnTo>
                    <a:pt x="147" y="1462"/>
                  </a:lnTo>
                  <a:lnTo>
                    <a:pt x="147" y="1461"/>
                  </a:lnTo>
                  <a:lnTo>
                    <a:pt x="148" y="1461"/>
                  </a:lnTo>
                  <a:lnTo>
                    <a:pt x="148" y="1462"/>
                  </a:lnTo>
                  <a:lnTo>
                    <a:pt x="148" y="1461"/>
                  </a:lnTo>
                  <a:lnTo>
                    <a:pt x="150" y="1461"/>
                  </a:lnTo>
                  <a:lnTo>
                    <a:pt x="150" y="1462"/>
                  </a:lnTo>
                  <a:lnTo>
                    <a:pt x="150" y="1461"/>
                  </a:lnTo>
                  <a:lnTo>
                    <a:pt x="152" y="1461"/>
                  </a:lnTo>
                  <a:lnTo>
                    <a:pt x="150" y="1462"/>
                  </a:lnTo>
                  <a:lnTo>
                    <a:pt x="152" y="1462"/>
                  </a:lnTo>
                  <a:lnTo>
                    <a:pt x="152" y="1464"/>
                  </a:lnTo>
                  <a:lnTo>
                    <a:pt x="152" y="1466"/>
                  </a:lnTo>
                  <a:lnTo>
                    <a:pt x="150" y="1467"/>
                  </a:lnTo>
                  <a:lnTo>
                    <a:pt x="150" y="1469"/>
                  </a:lnTo>
                  <a:lnTo>
                    <a:pt x="150" y="1471"/>
                  </a:lnTo>
                  <a:lnTo>
                    <a:pt x="150" y="1472"/>
                  </a:lnTo>
                  <a:lnTo>
                    <a:pt x="152" y="1472"/>
                  </a:lnTo>
                  <a:lnTo>
                    <a:pt x="152" y="1474"/>
                  </a:lnTo>
                  <a:lnTo>
                    <a:pt x="152" y="1472"/>
                  </a:lnTo>
                  <a:lnTo>
                    <a:pt x="152" y="1474"/>
                  </a:lnTo>
                  <a:lnTo>
                    <a:pt x="153" y="1474"/>
                  </a:lnTo>
                  <a:lnTo>
                    <a:pt x="153" y="1475"/>
                  </a:lnTo>
                  <a:lnTo>
                    <a:pt x="153" y="1477"/>
                  </a:lnTo>
                  <a:lnTo>
                    <a:pt x="153" y="1479"/>
                  </a:lnTo>
                  <a:lnTo>
                    <a:pt x="155" y="1479"/>
                  </a:lnTo>
                  <a:lnTo>
                    <a:pt x="155" y="1477"/>
                  </a:lnTo>
                  <a:lnTo>
                    <a:pt x="155" y="1475"/>
                  </a:lnTo>
                  <a:lnTo>
                    <a:pt x="155" y="1474"/>
                  </a:lnTo>
                  <a:lnTo>
                    <a:pt x="155" y="1475"/>
                  </a:lnTo>
                  <a:lnTo>
                    <a:pt x="153" y="1475"/>
                  </a:lnTo>
                  <a:lnTo>
                    <a:pt x="153" y="1474"/>
                  </a:lnTo>
                  <a:lnTo>
                    <a:pt x="153" y="1472"/>
                  </a:lnTo>
                  <a:lnTo>
                    <a:pt x="153" y="1471"/>
                  </a:lnTo>
                  <a:lnTo>
                    <a:pt x="153" y="1469"/>
                  </a:lnTo>
                  <a:lnTo>
                    <a:pt x="155" y="1469"/>
                  </a:lnTo>
                  <a:lnTo>
                    <a:pt x="153" y="1469"/>
                  </a:lnTo>
                  <a:lnTo>
                    <a:pt x="153" y="1467"/>
                  </a:lnTo>
                  <a:lnTo>
                    <a:pt x="152" y="1466"/>
                  </a:lnTo>
                  <a:lnTo>
                    <a:pt x="152" y="1464"/>
                  </a:lnTo>
                  <a:lnTo>
                    <a:pt x="153" y="1462"/>
                  </a:lnTo>
                  <a:lnTo>
                    <a:pt x="153" y="1464"/>
                  </a:lnTo>
                  <a:lnTo>
                    <a:pt x="155" y="1464"/>
                  </a:lnTo>
                  <a:lnTo>
                    <a:pt x="155" y="1462"/>
                  </a:lnTo>
                  <a:lnTo>
                    <a:pt x="155" y="1464"/>
                  </a:lnTo>
                  <a:lnTo>
                    <a:pt x="155" y="1466"/>
                  </a:lnTo>
                  <a:lnTo>
                    <a:pt x="155" y="1467"/>
                  </a:lnTo>
                  <a:lnTo>
                    <a:pt x="155" y="1466"/>
                  </a:lnTo>
                  <a:lnTo>
                    <a:pt x="155" y="1467"/>
                  </a:lnTo>
                  <a:lnTo>
                    <a:pt x="155" y="1466"/>
                  </a:lnTo>
                  <a:lnTo>
                    <a:pt x="156" y="1466"/>
                  </a:lnTo>
                  <a:lnTo>
                    <a:pt x="156" y="1467"/>
                  </a:lnTo>
                  <a:lnTo>
                    <a:pt x="155" y="1467"/>
                  </a:lnTo>
                  <a:lnTo>
                    <a:pt x="155" y="1469"/>
                  </a:lnTo>
                  <a:lnTo>
                    <a:pt x="155" y="1467"/>
                  </a:lnTo>
                  <a:lnTo>
                    <a:pt x="155" y="1469"/>
                  </a:lnTo>
                  <a:lnTo>
                    <a:pt x="155" y="1471"/>
                  </a:lnTo>
                  <a:lnTo>
                    <a:pt x="155" y="1472"/>
                  </a:lnTo>
                  <a:lnTo>
                    <a:pt x="155" y="1474"/>
                  </a:lnTo>
                  <a:lnTo>
                    <a:pt x="155" y="1472"/>
                  </a:lnTo>
                  <a:lnTo>
                    <a:pt x="156" y="1472"/>
                  </a:lnTo>
                  <a:lnTo>
                    <a:pt x="156" y="1474"/>
                  </a:lnTo>
                  <a:lnTo>
                    <a:pt x="156" y="1472"/>
                  </a:lnTo>
                  <a:lnTo>
                    <a:pt x="156" y="1471"/>
                  </a:lnTo>
                  <a:lnTo>
                    <a:pt x="156" y="1469"/>
                  </a:lnTo>
                  <a:lnTo>
                    <a:pt x="158" y="1469"/>
                  </a:lnTo>
                  <a:lnTo>
                    <a:pt x="158" y="1467"/>
                  </a:lnTo>
                  <a:lnTo>
                    <a:pt x="158" y="1469"/>
                  </a:lnTo>
                  <a:lnTo>
                    <a:pt x="158" y="1467"/>
                  </a:lnTo>
                  <a:lnTo>
                    <a:pt x="158" y="1466"/>
                  </a:lnTo>
                  <a:lnTo>
                    <a:pt x="158" y="1464"/>
                  </a:lnTo>
                  <a:lnTo>
                    <a:pt x="158" y="1466"/>
                  </a:lnTo>
                  <a:lnTo>
                    <a:pt x="156" y="1466"/>
                  </a:lnTo>
                  <a:lnTo>
                    <a:pt x="156" y="1464"/>
                  </a:lnTo>
                  <a:lnTo>
                    <a:pt x="156" y="1462"/>
                  </a:lnTo>
                  <a:lnTo>
                    <a:pt x="156" y="1464"/>
                  </a:lnTo>
                  <a:lnTo>
                    <a:pt x="156" y="1466"/>
                  </a:lnTo>
                  <a:lnTo>
                    <a:pt x="155" y="1464"/>
                  </a:lnTo>
                  <a:lnTo>
                    <a:pt x="155" y="1462"/>
                  </a:lnTo>
                  <a:lnTo>
                    <a:pt x="155" y="1461"/>
                  </a:lnTo>
                  <a:lnTo>
                    <a:pt x="156" y="1461"/>
                  </a:lnTo>
                  <a:lnTo>
                    <a:pt x="156" y="1462"/>
                  </a:lnTo>
                  <a:lnTo>
                    <a:pt x="158" y="1462"/>
                  </a:lnTo>
                  <a:lnTo>
                    <a:pt x="156" y="1462"/>
                  </a:lnTo>
                  <a:lnTo>
                    <a:pt x="158" y="1464"/>
                  </a:lnTo>
                  <a:lnTo>
                    <a:pt x="158" y="1462"/>
                  </a:lnTo>
                  <a:lnTo>
                    <a:pt x="158" y="1461"/>
                  </a:lnTo>
                  <a:lnTo>
                    <a:pt x="158" y="1459"/>
                  </a:lnTo>
                  <a:lnTo>
                    <a:pt x="158" y="1461"/>
                  </a:lnTo>
                  <a:lnTo>
                    <a:pt x="158" y="1459"/>
                  </a:lnTo>
                  <a:lnTo>
                    <a:pt x="158" y="1458"/>
                  </a:lnTo>
                  <a:lnTo>
                    <a:pt x="158" y="1459"/>
                  </a:lnTo>
                  <a:lnTo>
                    <a:pt x="156" y="1459"/>
                  </a:lnTo>
                  <a:lnTo>
                    <a:pt x="156" y="1458"/>
                  </a:lnTo>
                  <a:lnTo>
                    <a:pt x="156" y="1456"/>
                  </a:lnTo>
                  <a:lnTo>
                    <a:pt x="156" y="1458"/>
                  </a:lnTo>
                  <a:lnTo>
                    <a:pt x="156" y="1459"/>
                  </a:lnTo>
                  <a:lnTo>
                    <a:pt x="156" y="1461"/>
                  </a:lnTo>
                  <a:lnTo>
                    <a:pt x="155" y="1461"/>
                  </a:lnTo>
                  <a:lnTo>
                    <a:pt x="155" y="1462"/>
                  </a:lnTo>
                  <a:lnTo>
                    <a:pt x="155" y="1461"/>
                  </a:lnTo>
                  <a:lnTo>
                    <a:pt x="153" y="1461"/>
                  </a:lnTo>
                  <a:lnTo>
                    <a:pt x="153" y="1459"/>
                  </a:lnTo>
                  <a:lnTo>
                    <a:pt x="153" y="1458"/>
                  </a:lnTo>
                  <a:lnTo>
                    <a:pt x="152" y="1458"/>
                  </a:lnTo>
                  <a:lnTo>
                    <a:pt x="152" y="1456"/>
                  </a:lnTo>
                  <a:lnTo>
                    <a:pt x="150" y="1456"/>
                  </a:lnTo>
                  <a:lnTo>
                    <a:pt x="152" y="1456"/>
                  </a:lnTo>
                  <a:lnTo>
                    <a:pt x="152" y="1458"/>
                  </a:lnTo>
                  <a:lnTo>
                    <a:pt x="150" y="1458"/>
                  </a:lnTo>
                  <a:lnTo>
                    <a:pt x="152" y="1459"/>
                  </a:lnTo>
                  <a:lnTo>
                    <a:pt x="152" y="1458"/>
                  </a:lnTo>
                  <a:lnTo>
                    <a:pt x="152" y="1459"/>
                  </a:lnTo>
                  <a:lnTo>
                    <a:pt x="153" y="1459"/>
                  </a:lnTo>
                  <a:lnTo>
                    <a:pt x="153" y="1461"/>
                  </a:lnTo>
                  <a:lnTo>
                    <a:pt x="152" y="1461"/>
                  </a:lnTo>
                  <a:lnTo>
                    <a:pt x="150" y="1461"/>
                  </a:lnTo>
                  <a:lnTo>
                    <a:pt x="150" y="1459"/>
                  </a:lnTo>
                  <a:lnTo>
                    <a:pt x="150" y="1458"/>
                  </a:lnTo>
                  <a:lnTo>
                    <a:pt x="150" y="1456"/>
                  </a:lnTo>
                  <a:lnTo>
                    <a:pt x="148" y="1456"/>
                  </a:lnTo>
                  <a:lnTo>
                    <a:pt x="148" y="1454"/>
                  </a:lnTo>
                  <a:lnTo>
                    <a:pt x="150" y="1454"/>
                  </a:lnTo>
                  <a:lnTo>
                    <a:pt x="152" y="1454"/>
                  </a:lnTo>
                  <a:lnTo>
                    <a:pt x="150" y="1454"/>
                  </a:lnTo>
                  <a:lnTo>
                    <a:pt x="150" y="1453"/>
                  </a:lnTo>
                  <a:lnTo>
                    <a:pt x="150" y="1451"/>
                  </a:lnTo>
                  <a:lnTo>
                    <a:pt x="150" y="1449"/>
                  </a:lnTo>
                  <a:lnTo>
                    <a:pt x="150" y="1448"/>
                  </a:lnTo>
                  <a:lnTo>
                    <a:pt x="152" y="1448"/>
                  </a:lnTo>
                  <a:lnTo>
                    <a:pt x="152" y="1449"/>
                  </a:lnTo>
                  <a:lnTo>
                    <a:pt x="152" y="1451"/>
                  </a:lnTo>
                  <a:lnTo>
                    <a:pt x="152" y="1449"/>
                  </a:lnTo>
                  <a:lnTo>
                    <a:pt x="152" y="1448"/>
                  </a:lnTo>
                  <a:lnTo>
                    <a:pt x="153" y="1448"/>
                  </a:lnTo>
                  <a:lnTo>
                    <a:pt x="152" y="1448"/>
                  </a:lnTo>
                  <a:lnTo>
                    <a:pt x="153" y="1448"/>
                  </a:lnTo>
                  <a:lnTo>
                    <a:pt x="152" y="1446"/>
                  </a:lnTo>
                  <a:lnTo>
                    <a:pt x="153" y="1446"/>
                  </a:lnTo>
                  <a:lnTo>
                    <a:pt x="153" y="1448"/>
                  </a:lnTo>
                  <a:lnTo>
                    <a:pt x="153" y="1446"/>
                  </a:lnTo>
                  <a:lnTo>
                    <a:pt x="155" y="1446"/>
                  </a:lnTo>
                  <a:lnTo>
                    <a:pt x="156" y="1446"/>
                  </a:lnTo>
                  <a:lnTo>
                    <a:pt x="158" y="1448"/>
                  </a:lnTo>
                  <a:lnTo>
                    <a:pt x="160" y="1448"/>
                  </a:lnTo>
                  <a:lnTo>
                    <a:pt x="158" y="1449"/>
                  </a:lnTo>
                  <a:lnTo>
                    <a:pt x="160" y="1449"/>
                  </a:lnTo>
                  <a:lnTo>
                    <a:pt x="161" y="1449"/>
                  </a:lnTo>
                  <a:lnTo>
                    <a:pt x="161" y="1448"/>
                  </a:lnTo>
                  <a:lnTo>
                    <a:pt x="161" y="1449"/>
                  </a:lnTo>
                  <a:lnTo>
                    <a:pt x="161" y="1451"/>
                  </a:lnTo>
                  <a:lnTo>
                    <a:pt x="160" y="1451"/>
                  </a:lnTo>
                  <a:lnTo>
                    <a:pt x="161" y="1451"/>
                  </a:lnTo>
                  <a:lnTo>
                    <a:pt x="160" y="1453"/>
                  </a:lnTo>
                  <a:lnTo>
                    <a:pt x="160" y="1451"/>
                  </a:lnTo>
                  <a:lnTo>
                    <a:pt x="160" y="1453"/>
                  </a:lnTo>
                  <a:lnTo>
                    <a:pt x="160" y="1454"/>
                  </a:lnTo>
                  <a:lnTo>
                    <a:pt x="160" y="1456"/>
                  </a:lnTo>
                  <a:lnTo>
                    <a:pt x="161" y="1456"/>
                  </a:lnTo>
                  <a:lnTo>
                    <a:pt x="160" y="1456"/>
                  </a:lnTo>
                  <a:lnTo>
                    <a:pt x="160" y="1454"/>
                  </a:lnTo>
                  <a:lnTo>
                    <a:pt x="161" y="1454"/>
                  </a:lnTo>
                  <a:lnTo>
                    <a:pt x="161" y="1453"/>
                  </a:lnTo>
                  <a:lnTo>
                    <a:pt x="161" y="1454"/>
                  </a:lnTo>
                  <a:lnTo>
                    <a:pt x="163" y="1453"/>
                  </a:lnTo>
                  <a:lnTo>
                    <a:pt x="161" y="1453"/>
                  </a:lnTo>
                  <a:lnTo>
                    <a:pt x="161" y="1451"/>
                  </a:lnTo>
                  <a:lnTo>
                    <a:pt x="163" y="1451"/>
                  </a:lnTo>
                  <a:lnTo>
                    <a:pt x="163" y="1453"/>
                  </a:lnTo>
                  <a:lnTo>
                    <a:pt x="165" y="1453"/>
                  </a:lnTo>
                  <a:lnTo>
                    <a:pt x="165" y="1454"/>
                  </a:lnTo>
                  <a:lnTo>
                    <a:pt x="165" y="1453"/>
                  </a:lnTo>
                  <a:lnTo>
                    <a:pt x="165" y="1454"/>
                  </a:lnTo>
                  <a:lnTo>
                    <a:pt x="166" y="1454"/>
                  </a:lnTo>
                  <a:lnTo>
                    <a:pt x="166" y="1456"/>
                  </a:lnTo>
                  <a:lnTo>
                    <a:pt x="166" y="1454"/>
                  </a:lnTo>
                  <a:lnTo>
                    <a:pt x="165" y="1453"/>
                  </a:lnTo>
                  <a:lnTo>
                    <a:pt x="166" y="1453"/>
                  </a:lnTo>
                  <a:lnTo>
                    <a:pt x="166" y="1451"/>
                  </a:lnTo>
                  <a:lnTo>
                    <a:pt x="166" y="1453"/>
                  </a:lnTo>
                  <a:lnTo>
                    <a:pt x="168" y="1453"/>
                  </a:lnTo>
                  <a:lnTo>
                    <a:pt x="168" y="1451"/>
                  </a:lnTo>
                  <a:lnTo>
                    <a:pt x="168" y="1453"/>
                  </a:lnTo>
                  <a:lnTo>
                    <a:pt x="169" y="1453"/>
                  </a:lnTo>
                  <a:lnTo>
                    <a:pt x="169" y="1454"/>
                  </a:lnTo>
                  <a:lnTo>
                    <a:pt x="169" y="1453"/>
                  </a:lnTo>
                  <a:lnTo>
                    <a:pt x="169" y="1451"/>
                  </a:lnTo>
                  <a:lnTo>
                    <a:pt x="171" y="1451"/>
                  </a:lnTo>
                  <a:lnTo>
                    <a:pt x="173" y="1453"/>
                  </a:lnTo>
                  <a:lnTo>
                    <a:pt x="171" y="1453"/>
                  </a:lnTo>
                  <a:lnTo>
                    <a:pt x="173" y="1453"/>
                  </a:lnTo>
                  <a:lnTo>
                    <a:pt x="171" y="1454"/>
                  </a:lnTo>
                  <a:lnTo>
                    <a:pt x="173" y="1454"/>
                  </a:lnTo>
                  <a:lnTo>
                    <a:pt x="171" y="1454"/>
                  </a:lnTo>
                  <a:lnTo>
                    <a:pt x="171" y="1456"/>
                  </a:lnTo>
                  <a:lnTo>
                    <a:pt x="173" y="1456"/>
                  </a:lnTo>
                  <a:lnTo>
                    <a:pt x="171" y="1456"/>
                  </a:lnTo>
                  <a:lnTo>
                    <a:pt x="173" y="1456"/>
                  </a:lnTo>
                  <a:lnTo>
                    <a:pt x="173" y="1454"/>
                  </a:lnTo>
                  <a:lnTo>
                    <a:pt x="173" y="1456"/>
                  </a:lnTo>
                  <a:lnTo>
                    <a:pt x="174" y="1454"/>
                  </a:lnTo>
                  <a:lnTo>
                    <a:pt x="174" y="1456"/>
                  </a:lnTo>
                  <a:lnTo>
                    <a:pt x="174" y="1454"/>
                  </a:lnTo>
                  <a:lnTo>
                    <a:pt x="174" y="1456"/>
                  </a:lnTo>
                  <a:lnTo>
                    <a:pt x="176" y="1456"/>
                  </a:lnTo>
                  <a:lnTo>
                    <a:pt x="176" y="1458"/>
                  </a:lnTo>
                  <a:lnTo>
                    <a:pt x="178" y="1459"/>
                  </a:lnTo>
                  <a:lnTo>
                    <a:pt x="176" y="1458"/>
                  </a:lnTo>
                  <a:lnTo>
                    <a:pt x="176" y="1456"/>
                  </a:lnTo>
                  <a:lnTo>
                    <a:pt x="176" y="1454"/>
                  </a:lnTo>
                  <a:lnTo>
                    <a:pt x="174" y="1454"/>
                  </a:lnTo>
                  <a:lnTo>
                    <a:pt x="176" y="1454"/>
                  </a:lnTo>
                  <a:lnTo>
                    <a:pt x="178" y="1454"/>
                  </a:lnTo>
                  <a:lnTo>
                    <a:pt x="179" y="1456"/>
                  </a:lnTo>
                  <a:lnTo>
                    <a:pt x="178" y="1458"/>
                  </a:lnTo>
                  <a:lnTo>
                    <a:pt x="179" y="1456"/>
                  </a:lnTo>
                  <a:lnTo>
                    <a:pt x="179" y="1458"/>
                  </a:lnTo>
                  <a:lnTo>
                    <a:pt x="181" y="1458"/>
                  </a:lnTo>
                  <a:lnTo>
                    <a:pt x="179" y="1458"/>
                  </a:lnTo>
                  <a:lnTo>
                    <a:pt x="179" y="1459"/>
                  </a:lnTo>
                  <a:lnTo>
                    <a:pt x="179" y="1461"/>
                  </a:lnTo>
                  <a:lnTo>
                    <a:pt x="178" y="1462"/>
                  </a:lnTo>
                  <a:lnTo>
                    <a:pt x="179" y="1462"/>
                  </a:lnTo>
                  <a:lnTo>
                    <a:pt x="178" y="1462"/>
                  </a:lnTo>
                  <a:lnTo>
                    <a:pt x="179" y="1462"/>
                  </a:lnTo>
                  <a:lnTo>
                    <a:pt x="179" y="1464"/>
                  </a:lnTo>
                  <a:lnTo>
                    <a:pt x="179" y="1462"/>
                  </a:lnTo>
                  <a:lnTo>
                    <a:pt x="179" y="1461"/>
                  </a:lnTo>
                  <a:lnTo>
                    <a:pt x="179" y="1459"/>
                  </a:lnTo>
                  <a:lnTo>
                    <a:pt x="181" y="1459"/>
                  </a:lnTo>
                  <a:lnTo>
                    <a:pt x="181" y="1461"/>
                  </a:lnTo>
                  <a:lnTo>
                    <a:pt x="182" y="1461"/>
                  </a:lnTo>
                  <a:lnTo>
                    <a:pt x="184" y="1462"/>
                  </a:lnTo>
                  <a:lnTo>
                    <a:pt x="186" y="1462"/>
                  </a:lnTo>
                  <a:lnTo>
                    <a:pt x="184" y="1464"/>
                  </a:lnTo>
                  <a:lnTo>
                    <a:pt x="184" y="1466"/>
                  </a:lnTo>
                  <a:lnTo>
                    <a:pt x="184" y="1467"/>
                  </a:lnTo>
                  <a:lnTo>
                    <a:pt x="184" y="1469"/>
                  </a:lnTo>
                  <a:lnTo>
                    <a:pt x="184" y="1471"/>
                  </a:lnTo>
                  <a:lnTo>
                    <a:pt x="184" y="1469"/>
                  </a:lnTo>
                  <a:lnTo>
                    <a:pt x="182" y="1469"/>
                  </a:lnTo>
                  <a:lnTo>
                    <a:pt x="182" y="1467"/>
                  </a:lnTo>
                  <a:lnTo>
                    <a:pt x="182" y="1469"/>
                  </a:lnTo>
                  <a:lnTo>
                    <a:pt x="182" y="1471"/>
                  </a:lnTo>
                  <a:lnTo>
                    <a:pt x="184" y="1471"/>
                  </a:lnTo>
                  <a:lnTo>
                    <a:pt x="184" y="1472"/>
                  </a:lnTo>
                  <a:lnTo>
                    <a:pt x="184" y="1474"/>
                  </a:lnTo>
                  <a:lnTo>
                    <a:pt x="184" y="1475"/>
                  </a:lnTo>
                  <a:lnTo>
                    <a:pt x="182" y="1475"/>
                  </a:lnTo>
                  <a:lnTo>
                    <a:pt x="182" y="1474"/>
                  </a:lnTo>
                  <a:lnTo>
                    <a:pt x="182" y="1475"/>
                  </a:lnTo>
                  <a:lnTo>
                    <a:pt x="181" y="1475"/>
                  </a:lnTo>
                  <a:lnTo>
                    <a:pt x="182" y="1477"/>
                  </a:lnTo>
                  <a:lnTo>
                    <a:pt x="181" y="1477"/>
                  </a:lnTo>
                  <a:lnTo>
                    <a:pt x="181" y="1479"/>
                  </a:lnTo>
                  <a:lnTo>
                    <a:pt x="179" y="1479"/>
                  </a:lnTo>
                  <a:lnTo>
                    <a:pt x="179" y="1477"/>
                  </a:lnTo>
                  <a:lnTo>
                    <a:pt x="178" y="1477"/>
                  </a:lnTo>
                  <a:lnTo>
                    <a:pt x="176" y="1477"/>
                  </a:lnTo>
                  <a:lnTo>
                    <a:pt x="176" y="1479"/>
                  </a:lnTo>
                  <a:lnTo>
                    <a:pt x="174" y="1479"/>
                  </a:lnTo>
                  <a:lnTo>
                    <a:pt x="173" y="1477"/>
                  </a:lnTo>
                  <a:lnTo>
                    <a:pt x="173" y="1475"/>
                  </a:lnTo>
                  <a:lnTo>
                    <a:pt x="174" y="1475"/>
                  </a:lnTo>
                  <a:lnTo>
                    <a:pt x="173" y="1474"/>
                  </a:lnTo>
                  <a:lnTo>
                    <a:pt x="174" y="1474"/>
                  </a:lnTo>
                  <a:lnTo>
                    <a:pt x="173" y="1474"/>
                  </a:lnTo>
                  <a:lnTo>
                    <a:pt x="174" y="1472"/>
                  </a:lnTo>
                  <a:lnTo>
                    <a:pt x="173" y="1472"/>
                  </a:lnTo>
                  <a:lnTo>
                    <a:pt x="173" y="1474"/>
                  </a:lnTo>
                  <a:lnTo>
                    <a:pt x="173" y="1475"/>
                  </a:lnTo>
                  <a:lnTo>
                    <a:pt x="173" y="1477"/>
                  </a:lnTo>
                  <a:lnTo>
                    <a:pt x="171" y="1477"/>
                  </a:lnTo>
                  <a:lnTo>
                    <a:pt x="171" y="1475"/>
                  </a:lnTo>
                  <a:lnTo>
                    <a:pt x="169" y="1475"/>
                  </a:lnTo>
                  <a:lnTo>
                    <a:pt x="169" y="1474"/>
                  </a:lnTo>
                  <a:lnTo>
                    <a:pt x="171" y="1474"/>
                  </a:lnTo>
                  <a:lnTo>
                    <a:pt x="169" y="1472"/>
                  </a:lnTo>
                  <a:lnTo>
                    <a:pt x="169" y="1471"/>
                  </a:lnTo>
                  <a:lnTo>
                    <a:pt x="169" y="1472"/>
                  </a:lnTo>
                  <a:lnTo>
                    <a:pt x="168" y="1472"/>
                  </a:lnTo>
                  <a:lnTo>
                    <a:pt x="168" y="1471"/>
                  </a:lnTo>
                  <a:lnTo>
                    <a:pt x="168" y="1469"/>
                  </a:lnTo>
                  <a:lnTo>
                    <a:pt x="168" y="1467"/>
                  </a:lnTo>
                  <a:lnTo>
                    <a:pt x="168" y="1466"/>
                  </a:lnTo>
                  <a:lnTo>
                    <a:pt x="169" y="1466"/>
                  </a:lnTo>
                  <a:lnTo>
                    <a:pt x="168" y="1466"/>
                  </a:lnTo>
                  <a:lnTo>
                    <a:pt x="169" y="1464"/>
                  </a:lnTo>
                  <a:lnTo>
                    <a:pt x="169" y="1462"/>
                  </a:lnTo>
                  <a:lnTo>
                    <a:pt x="169" y="1461"/>
                  </a:lnTo>
                  <a:lnTo>
                    <a:pt x="169" y="1462"/>
                  </a:lnTo>
                  <a:lnTo>
                    <a:pt x="169" y="1461"/>
                  </a:lnTo>
                  <a:lnTo>
                    <a:pt x="168" y="1461"/>
                  </a:lnTo>
                  <a:lnTo>
                    <a:pt x="168" y="1462"/>
                  </a:lnTo>
                  <a:lnTo>
                    <a:pt x="168" y="1464"/>
                  </a:lnTo>
                  <a:lnTo>
                    <a:pt x="168" y="1462"/>
                  </a:lnTo>
                  <a:lnTo>
                    <a:pt x="169" y="1462"/>
                  </a:lnTo>
                  <a:lnTo>
                    <a:pt x="168" y="1464"/>
                  </a:lnTo>
                  <a:lnTo>
                    <a:pt x="168" y="1466"/>
                  </a:lnTo>
                  <a:lnTo>
                    <a:pt x="168" y="1467"/>
                  </a:lnTo>
                  <a:lnTo>
                    <a:pt x="168" y="1469"/>
                  </a:lnTo>
                  <a:lnTo>
                    <a:pt x="166" y="1469"/>
                  </a:lnTo>
                  <a:lnTo>
                    <a:pt x="166" y="1471"/>
                  </a:lnTo>
                  <a:lnTo>
                    <a:pt x="168" y="1471"/>
                  </a:lnTo>
                  <a:lnTo>
                    <a:pt x="168" y="1472"/>
                  </a:lnTo>
                  <a:lnTo>
                    <a:pt x="168" y="1474"/>
                  </a:lnTo>
                  <a:lnTo>
                    <a:pt x="168" y="1475"/>
                  </a:lnTo>
                  <a:lnTo>
                    <a:pt x="168" y="1477"/>
                  </a:lnTo>
                  <a:lnTo>
                    <a:pt x="169" y="1477"/>
                  </a:lnTo>
                  <a:lnTo>
                    <a:pt x="169" y="1479"/>
                  </a:lnTo>
                  <a:lnTo>
                    <a:pt x="168" y="1479"/>
                  </a:lnTo>
                  <a:lnTo>
                    <a:pt x="168" y="1480"/>
                  </a:lnTo>
                  <a:lnTo>
                    <a:pt x="169" y="1480"/>
                  </a:lnTo>
                  <a:lnTo>
                    <a:pt x="169" y="1482"/>
                  </a:lnTo>
                  <a:lnTo>
                    <a:pt x="169" y="1480"/>
                  </a:lnTo>
                  <a:lnTo>
                    <a:pt x="169" y="1479"/>
                  </a:lnTo>
                  <a:lnTo>
                    <a:pt x="169" y="1480"/>
                  </a:lnTo>
                  <a:lnTo>
                    <a:pt x="169" y="1479"/>
                  </a:lnTo>
                  <a:lnTo>
                    <a:pt x="171" y="1477"/>
                  </a:lnTo>
                  <a:lnTo>
                    <a:pt x="171" y="1479"/>
                  </a:lnTo>
                  <a:lnTo>
                    <a:pt x="171" y="1480"/>
                  </a:lnTo>
                  <a:lnTo>
                    <a:pt x="171" y="1482"/>
                  </a:lnTo>
                  <a:lnTo>
                    <a:pt x="171" y="1484"/>
                  </a:lnTo>
                  <a:lnTo>
                    <a:pt x="171" y="1485"/>
                  </a:lnTo>
                  <a:lnTo>
                    <a:pt x="171" y="1484"/>
                  </a:lnTo>
                  <a:lnTo>
                    <a:pt x="169" y="1484"/>
                  </a:lnTo>
                  <a:lnTo>
                    <a:pt x="171" y="1485"/>
                  </a:lnTo>
                  <a:lnTo>
                    <a:pt x="171" y="1487"/>
                  </a:lnTo>
                  <a:lnTo>
                    <a:pt x="173" y="1487"/>
                  </a:lnTo>
                  <a:lnTo>
                    <a:pt x="173" y="1488"/>
                  </a:lnTo>
                  <a:lnTo>
                    <a:pt x="173" y="1490"/>
                  </a:lnTo>
                  <a:lnTo>
                    <a:pt x="173" y="1492"/>
                  </a:lnTo>
                  <a:lnTo>
                    <a:pt x="173" y="1490"/>
                  </a:lnTo>
                  <a:lnTo>
                    <a:pt x="173" y="1492"/>
                  </a:lnTo>
                  <a:lnTo>
                    <a:pt x="171" y="1492"/>
                  </a:lnTo>
                  <a:lnTo>
                    <a:pt x="171" y="1490"/>
                  </a:lnTo>
                  <a:lnTo>
                    <a:pt x="171" y="1492"/>
                  </a:lnTo>
                  <a:lnTo>
                    <a:pt x="173" y="1493"/>
                  </a:lnTo>
                  <a:lnTo>
                    <a:pt x="173" y="1495"/>
                  </a:lnTo>
                  <a:lnTo>
                    <a:pt x="173" y="1493"/>
                  </a:lnTo>
                  <a:lnTo>
                    <a:pt x="174" y="1493"/>
                  </a:lnTo>
                  <a:lnTo>
                    <a:pt x="174" y="1495"/>
                  </a:lnTo>
                  <a:lnTo>
                    <a:pt x="176" y="1495"/>
                  </a:lnTo>
                  <a:lnTo>
                    <a:pt x="174" y="1495"/>
                  </a:lnTo>
                  <a:lnTo>
                    <a:pt x="174" y="1493"/>
                  </a:lnTo>
                  <a:lnTo>
                    <a:pt x="176" y="1493"/>
                  </a:lnTo>
                  <a:lnTo>
                    <a:pt x="174" y="1492"/>
                  </a:lnTo>
                  <a:lnTo>
                    <a:pt x="176" y="1492"/>
                  </a:lnTo>
                  <a:lnTo>
                    <a:pt x="176" y="1490"/>
                  </a:lnTo>
                  <a:lnTo>
                    <a:pt x="176" y="1488"/>
                  </a:lnTo>
                  <a:lnTo>
                    <a:pt x="176" y="1490"/>
                  </a:lnTo>
                  <a:lnTo>
                    <a:pt x="176" y="1488"/>
                  </a:lnTo>
                  <a:lnTo>
                    <a:pt x="178" y="1490"/>
                  </a:lnTo>
                  <a:lnTo>
                    <a:pt x="179" y="1492"/>
                  </a:lnTo>
                  <a:lnTo>
                    <a:pt x="181" y="1492"/>
                  </a:lnTo>
                  <a:lnTo>
                    <a:pt x="181" y="1490"/>
                  </a:lnTo>
                  <a:lnTo>
                    <a:pt x="182" y="1492"/>
                  </a:lnTo>
                  <a:lnTo>
                    <a:pt x="182" y="1490"/>
                  </a:lnTo>
                  <a:lnTo>
                    <a:pt x="182" y="1492"/>
                  </a:lnTo>
                  <a:lnTo>
                    <a:pt x="184" y="1492"/>
                  </a:lnTo>
                  <a:lnTo>
                    <a:pt x="184" y="1490"/>
                  </a:lnTo>
                  <a:lnTo>
                    <a:pt x="184" y="1488"/>
                  </a:lnTo>
                  <a:lnTo>
                    <a:pt x="186" y="1488"/>
                  </a:lnTo>
                  <a:lnTo>
                    <a:pt x="186" y="1487"/>
                  </a:lnTo>
                  <a:lnTo>
                    <a:pt x="184" y="1487"/>
                  </a:lnTo>
                  <a:lnTo>
                    <a:pt x="186" y="1487"/>
                  </a:lnTo>
                  <a:lnTo>
                    <a:pt x="184" y="1485"/>
                  </a:lnTo>
                  <a:lnTo>
                    <a:pt x="186" y="1485"/>
                  </a:lnTo>
                  <a:lnTo>
                    <a:pt x="184" y="1485"/>
                  </a:lnTo>
                  <a:lnTo>
                    <a:pt x="184" y="1484"/>
                  </a:lnTo>
                  <a:lnTo>
                    <a:pt x="184" y="1485"/>
                  </a:lnTo>
                  <a:lnTo>
                    <a:pt x="186" y="1485"/>
                  </a:lnTo>
                  <a:lnTo>
                    <a:pt x="186" y="1484"/>
                  </a:lnTo>
                  <a:lnTo>
                    <a:pt x="184" y="1482"/>
                  </a:lnTo>
                  <a:lnTo>
                    <a:pt x="186" y="1482"/>
                  </a:lnTo>
                  <a:lnTo>
                    <a:pt x="184" y="1482"/>
                  </a:lnTo>
                  <a:lnTo>
                    <a:pt x="184" y="1480"/>
                  </a:lnTo>
                  <a:lnTo>
                    <a:pt x="184" y="1479"/>
                  </a:lnTo>
                  <a:lnTo>
                    <a:pt x="186" y="1479"/>
                  </a:lnTo>
                  <a:lnTo>
                    <a:pt x="186" y="1480"/>
                  </a:lnTo>
                  <a:lnTo>
                    <a:pt x="187" y="1480"/>
                  </a:lnTo>
                  <a:lnTo>
                    <a:pt x="187" y="1482"/>
                  </a:lnTo>
                  <a:lnTo>
                    <a:pt x="187" y="1484"/>
                  </a:lnTo>
                  <a:lnTo>
                    <a:pt x="187" y="1482"/>
                  </a:lnTo>
                  <a:lnTo>
                    <a:pt x="187" y="1480"/>
                  </a:lnTo>
                  <a:lnTo>
                    <a:pt x="186" y="1479"/>
                  </a:lnTo>
                  <a:lnTo>
                    <a:pt x="187" y="1480"/>
                  </a:lnTo>
                  <a:lnTo>
                    <a:pt x="187" y="1479"/>
                  </a:lnTo>
                  <a:lnTo>
                    <a:pt x="187" y="1480"/>
                  </a:lnTo>
                  <a:lnTo>
                    <a:pt x="189" y="1480"/>
                  </a:lnTo>
                  <a:lnTo>
                    <a:pt x="189" y="1482"/>
                  </a:lnTo>
                  <a:lnTo>
                    <a:pt x="191" y="1482"/>
                  </a:lnTo>
                  <a:lnTo>
                    <a:pt x="191" y="1484"/>
                  </a:lnTo>
                  <a:lnTo>
                    <a:pt x="191" y="1485"/>
                  </a:lnTo>
                  <a:lnTo>
                    <a:pt x="191" y="1487"/>
                  </a:lnTo>
                  <a:lnTo>
                    <a:pt x="189" y="1488"/>
                  </a:lnTo>
                  <a:lnTo>
                    <a:pt x="189" y="1487"/>
                  </a:lnTo>
                  <a:lnTo>
                    <a:pt x="189" y="1488"/>
                  </a:lnTo>
                  <a:lnTo>
                    <a:pt x="189" y="1487"/>
                  </a:lnTo>
                  <a:lnTo>
                    <a:pt x="189" y="1488"/>
                  </a:lnTo>
                  <a:lnTo>
                    <a:pt x="191" y="1488"/>
                  </a:lnTo>
                  <a:lnTo>
                    <a:pt x="189" y="1490"/>
                  </a:lnTo>
                  <a:lnTo>
                    <a:pt x="191" y="1492"/>
                  </a:lnTo>
                  <a:lnTo>
                    <a:pt x="189" y="1492"/>
                  </a:lnTo>
                  <a:lnTo>
                    <a:pt x="191" y="1492"/>
                  </a:lnTo>
                  <a:lnTo>
                    <a:pt x="191" y="1493"/>
                  </a:lnTo>
                  <a:lnTo>
                    <a:pt x="191" y="1492"/>
                  </a:lnTo>
                  <a:lnTo>
                    <a:pt x="191" y="1493"/>
                  </a:lnTo>
                  <a:lnTo>
                    <a:pt x="189" y="1493"/>
                  </a:lnTo>
                  <a:lnTo>
                    <a:pt x="187" y="1493"/>
                  </a:lnTo>
                  <a:lnTo>
                    <a:pt x="187" y="1492"/>
                  </a:lnTo>
                  <a:lnTo>
                    <a:pt x="189" y="1492"/>
                  </a:lnTo>
                  <a:lnTo>
                    <a:pt x="187" y="1492"/>
                  </a:lnTo>
                  <a:lnTo>
                    <a:pt x="187" y="1493"/>
                  </a:lnTo>
                  <a:lnTo>
                    <a:pt x="187" y="1492"/>
                  </a:lnTo>
                  <a:lnTo>
                    <a:pt x="186" y="1492"/>
                  </a:lnTo>
                  <a:lnTo>
                    <a:pt x="186" y="1493"/>
                  </a:lnTo>
                  <a:lnTo>
                    <a:pt x="186" y="1495"/>
                  </a:lnTo>
                  <a:lnTo>
                    <a:pt x="186" y="1493"/>
                  </a:lnTo>
                  <a:lnTo>
                    <a:pt x="186" y="1495"/>
                  </a:lnTo>
                  <a:lnTo>
                    <a:pt x="186" y="1497"/>
                  </a:lnTo>
                  <a:lnTo>
                    <a:pt x="186" y="1498"/>
                  </a:lnTo>
                  <a:lnTo>
                    <a:pt x="186" y="1500"/>
                  </a:lnTo>
                  <a:lnTo>
                    <a:pt x="187" y="1501"/>
                  </a:lnTo>
                  <a:lnTo>
                    <a:pt x="189" y="1501"/>
                  </a:lnTo>
                  <a:lnTo>
                    <a:pt x="189" y="1503"/>
                  </a:lnTo>
                  <a:lnTo>
                    <a:pt x="189" y="1501"/>
                  </a:lnTo>
                  <a:lnTo>
                    <a:pt x="189" y="1503"/>
                  </a:lnTo>
                  <a:lnTo>
                    <a:pt x="187" y="1503"/>
                  </a:lnTo>
                  <a:lnTo>
                    <a:pt x="187" y="1505"/>
                  </a:lnTo>
                  <a:lnTo>
                    <a:pt x="187" y="1503"/>
                  </a:lnTo>
                  <a:lnTo>
                    <a:pt x="189" y="1505"/>
                  </a:lnTo>
                  <a:lnTo>
                    <a:pt x="187" y="1506"/>
                  </a:lnTo>
                  <a:lnTo>
                    <a:pt x="187" y="1505"/>
                  </a:lnTo>
                  <a:lnTo>
                    <a:pt x="187" y="1506"/>
                  </a:lnTo>
                  <a:lnTo>
                    <a:pt x="187" y="1505"/>
                  </a:lnTo>
                  <a:lnTo>
                    <a:pt x="187" y="1506"/>
                  </a:lnTo>
                  <a:lnTo>
                    <a:pt x="186" y="1506"/>
                  </a:lnTo>
                  <a:lnTo>
                    <a:pt x="186" y="1508"/>
                  </a:lnTo>
                  <a:lnTo>
                    <a:pt x="184" y="1506"/>
                  </a:lnTo>
                  <a:lnTo>
                    <a:pt x="186" y="1506"/>
                  </a:lnTo>
                  <a:lnTo>
                    <a:pt x="186" y="1505"/>
                  </a:lnTo>
                  <a:lnTo>
                    <a:pt x="186" y="1503"/>
                  </a:lnTo>
                  <a:lnTo>
                    <a:pt x="184" y="1503"/>
                  </a:lnTo>
                  <a:lnTo>
                    <a:pt x="186" y="1503"/>
                  </a:lnTo>
                  <a:lnTo>
                    <a:pt x="184" y="1501"/>
                  </a:lnTo>
                  <a:lnTo>
                    <a:pt x="184" y="1503"/>
                  </a:lnTo>
                  <a:lnTo>
                    <a:pt x="182" y="1503"/>
                  </a:lnTo>
                  <a:lnTo>
                    <a:pt x="184" y="1503"/>
                  </a:lnTo>
                  <a:lnTo>
                    <a:pt x="184" y="1505"/>
                  </a:lnTo>
                  <a:lnTo>
                    <a:pt x="182" y="1505"/>
                  </a:lnTo>
                  <a:lnTo>
                    <a:pt x="184" y="1505"/>
                  </a:lnTo>
                  <a:lnTo>
                    <a:pt x="182" y="1505"/>
                  </a:lnTo>
                  <a:lnTo>
                    <a:pt x="181" y="1505"/>
                  </a:lnTo>
                  <a:lnTo>
                    <a:pt x="182" y="1505"/>
                  </a:lnTo>
                  <a:lnTo>
                    <a:pt x="181" y="1505"/>
                  </a:lnTo>
                  <a:lnTo>
                    <a:pt x="179" y="1505"/>
                  </a:lnTo>
                  <a:lnTo>
                    <a:pt x="179" y="1503"/>
                  </a:lnTo>
                  <a:lnTo>
                    <a:pt x="181" y="1503"/>
                  </a:lnTo>
                  <a:lnTo>
                    <a:pt x="179" y="1503"/>
                  </a:lnTo>
                  <a:lnTo>
                    <a:pt x="179" y="1501"/>
                  </a:lnTo>
                  <a:lnTo>
                    <a:pt x="179" y="1500"/>
                  </a:lnTo>
                  <a:lnTo>
                    <a:pt x="178" y="1498"/>
                  </a:lnTo>
                  <a:lnTo>
                    <a:pt x="176" y="1498"/>
                  </a:lnTo>
                  <a:lnTo>
                    <a:pt x="178" y="1498"/>
                  </a:lnTo>
                  <a:lnTo>
                    <a:pt x="176" y="1498"/>
                  </a:lnTo>
                  <a:lnTo>
                    <a:pt x="176" y="1500"/>
                  </a:lnTo>
                  <a:lnTo>
                    <a:pt x="178" y="1500"/>
                  </a:lnTo>
                  <a:lnTo>
                    <a:pt x="176" y="1500"/>
                  </a:lnTo>
                  <a:lnTo>
                    <a:pt x="176" y="1498"/>
                  </a:lnTo>
                  <a:lnTo>
                    <a:pt x="174" y="1498"/>
                  </a:lnTo>
                  <a:lnTo>
                    <a:pt x="174" y="1500"/>
                  </a:lnTo>
                  <a:lnTo>
                    <a:pt x="174" y="1498"/>
                  </a:lnTo>
                  <a:lnTo>
                    <a:pt x="173" y="1498"/>
                  </a:lnTo>
                  <a:lnTo>
                    <a:pt x="173" y="1497"/>
                  </a:lnTo>
                  <a:lnTo>
                    <a:pt x="171" y="1497"/>
                  </a:lnTo>
                  <a:lnTo>
                    <a:pt x="171" y="1495"/>
                  </a:lnTo>
                  <a:lnTo>
                    <a:pt x="171" y="1497"/>
                  </a:lnTo>
                  <a:lnTo>
                    <a:pt x="171" y="1495"/>
                  </a:lnTo>
                  <a:lnTo>
                    <a:pt x="169" y="1495"/>
                  </a:lnTo>
                  <a:lnTo>
                    <a:pt x="169" y="1497"/>
                  </a:lnTo>
                  <a:lnTo>
                    <a:pt x="169" y="1495"/>
                  </a:lnTo>
                  <a:lnTo>
                    <a:pt x="169" y="1493"/>
                  </a:lnTo>
                  <a:lnTo>
                    <a:pt x="171" y="1493"/>
                  </a:lnTo>
                  <a:lnTo>
                    <a:pt x="171" y="1492"/>
                  </a:lnTo>
                  <a:lnTo>
                    <a:pt x="169" y="1490"/>
                  </a:lnTo>
                  <a:lnTo>
                    <a:pt x="169" y="1492"/>
                  </a:lnTo>
                  <a:lnTo>
                    <a:pt x="169" y="1490"/>
                  </a:lnTo>
                  <a:lnTo>
                    <a:pt x="169" y="1492"/>
                  </a:lnTo>
                  <a:lnTo>
                    <a:pt x="169" y="1493"/>
                  </a:lnTo>
                  <a:lnTo>
                    <a:pt x="168" y="1492"/>
                  </a:lnTo>
                  <a:lnTo>
                    <a:pt x="168" y="1490"/>
                  </a:lnTo>
                  <a:lnTo>
                    <a:pt x="166" y="1490"/>
                  </a:lnTo>
                  <a:lnTo>
                    <a:pt x="166" y="1492"/>
                  </a:lnTo>
                  <a:lnTo>
                    <a:pt x="166" y="1493"/>
                  </a:lnTo>
                  <a:lnTo>
                    <a:pt x="168" y="1493"/>
                  </a:lnTo>
                  <a:lnTo>
                    <a:pt x="168" y="1495"/>
                  </a:lnTo>
                  <a:lnTo>
                    <a:pt x="168" y="1497"/>
                  </a:lnTo>
                  <a:lnTo>
                    <a:pt x="168" y="1498"/>
                  </a:lnTo>
                  <a:lnTo>
                    <a:pt x="166" y="1498"/>
                  </a:lnTo>
                  <a:lnTo>
                    <a:pt x="168" y="1498"/>
                  </a:lnTo>
                  <a:lnTo>
                    <a:pt x="169" y="1498"/>
                  </a:lnTo>
                  <a:lnTo>
                    <a:pt x="168" y="1498"/>
                  </a:lnTo>
                  <a:lnTo>
                    <a:pt x="168" y="1500"/>
                  </a:lnTo>
                  <a:lnTo>
                    <a:pt x="166" y="1500"/>
                  </a:lnTo>
                  <a:lnTo>
                    <a:pt x="166" y="1498"/>
                  </a:lnTo>
                  <a:lnTo>
                    <a:pt x="166" y="1497"/>
                  </a:lnTo>
                  <a:lnTo>
                    <a:pt x="168" y="1497"/>
                  </a:lnTo>
                  <a:lnTo>
                    <a:pt x="166" y="1495"/>
                  </a:lnTo>
                  <a:lnTo>
                    <a:pt x="166" y="1497"/>
                  </a:lnTo>
                  <a:lnTo>
                    <a:pt x="166" y="1495"/>
                  </a:lnTo>
                  <a:lnTo>
                    <a:pt x="165" y="1492"/>
                  </a:lnTo>
                  <a:lnTo>
                    <a:pt x="165" y="1490"/>
                  </a:lnTo>
                  <a:lnTo>
                    <a:pt x="165" y="1493"/>
                  </a:lnTo>
                  <a:lnTo>
                    <a:pt x="163" y="1493"/>
                  </a:lnTo>
                  <a:lnTo>
                    <a:pt x="161" y="1493"/>
                  </a:lnTo>
                  <a:lnTo>
                    <a:pt x="161" y="1492"/>
                  </a:lnTo>
                  <a:lnTo>
                    <a:pt x="160" y="1492"/>
                  </a:lnTo>
                  <a:lnTo>
                    <a:pt x="161" y="1492"/>
                  </a:lnTo>
                  <a:lnTo>
                    <a:pt x="161" y="1493"/>
                  </a:lnTo>
                  <a:lnTo>
                    <a:pt x="161" y="1495"/>
                  </a:lnTo>
                  <a:lnTo>
                    <a:pt x="160" y="1493"/>
                  </a:lnTo>
                  <a:lnTo>
                    <a:pt x="160" y="1495"/>
                  </a:lnTo>
                  <a:lnTo>
                    <a:pt x="158" y="1495"/>
                  </a:lnTo>
                  <a:lnTo>
                    <a:pt x="156" y="1495"/>
                  </a:lnTo>
                  <a:lnTo>
                    <a:pt x="156" y="1493"/>
                  </a:lnTo>
                  <a:lnTo>
                    <a:pt x="156" y="1492"/>
                  </a:lnTo>
                  <a:lnTo>
                    <a:pt x="155" y="1492"/>
                  </a:lnTo>
                  <a:lnTo>
                    <a:pt x="155" y="1493"/>
                  </a:lnTo>
                  <a:lnTo>
                    <a:pt x="156" y="1492"/>
                  </a:lnTo>
                  <a:lnTo>
                    <a:pt x="156" y="1493"/>
                  </a:lnTo>
                  <a:lnTo>
                    <a:pt x="155" y="1493"/>
                  </a:lnTo>
                  <a:lnTo>
                    <a:pt x="155" y="1492"/>
                  </a:lnTo>
                  <a:lnTo>
                    <a:pt x="155" y="1493"/>
                  </a:lnTo>
                  <a:lnTo>
                    <a:pt x="155" y="1495"/>
                  </a:lnTo>
                  <a:lnTo>
                    <a:pt x="153" y="1495"/>
                  </a:lnTo>
                  <a:lnTo>
                    <a:pt x="152" y="1495"/>
                  </a:lnTo>
                  <a:lnTo>
                    <a:pt x="153" y="1493"/>
                  </a:lnTo>
                  <a:lnTo>
                    <a:pt x="152" y="1493"/>
                  </a:lnTo>
                  <a:lnTo>
                    <a:pt x="152" y="1492"/>
                  </a:lnTo>
                  <a:lnTo>
                    <a:pt x="150" y="1492"/>
                  </a:lnTo>
                  <a:lnTo>
                    <a:pt x="150" y="1490"/>
                  </a:lnTo>
                  <a:lnTo>
                    <a:pt x="150" y="1492"/>
                  </a:lnTo>
                  <a:lnTo>
                    <a:pt x="150" y="1490"/>
                  </a:lnTo>
                  <a:lnTo>
                    <a:pt x="150" y="1488"/>
                  </a:lnTo>
                  <a:lnTo>
                    <a:pt x="148" y="1488"/>
                  </a:lnTo>
                  <a:lnTo>
                    <a:pt x="148" y="1487"/>
                  </a:lnTo>
                  <a:lnTo>
                    <a:pt x="147" y="1485"/>
                  </a:lnTo>
                  <a:lnTo>
                    <a:pt x="147" y="1484"/>
                  </a:lnTo>
                  <a:lnTo>
                    <a:pt x="147" y="1482"/>
                  </a:lnTo>
                  <a:close/>
                  <a:moveTo>
                    <a:pt x="350" y="1475"/>
                  </a:moveTo>
                  <a:lnTo>
                    <a:pt x="348" y="1475"/>
                  </a:lnTo>
                  <a:lnTo>
                    <a:pt x="350" y="1475"/>
                  </a:lnTo>
                  <a:lnTo>
                    <a:pt x="348" y="1475"/>
                  </a:lnTo>
                  <a:lnTo>
                    <a:pt x="347" y="1475"/>
                  </a:lnTo>
                  <a:lnTo>
                    <a:pt x="347" y="1477"/>
                  </a:lnTo>
                  <a:lnTo>
                    <a:pt x="347" y="1479"/>
                  </a:lnTo>
                  <a:lnTo>
                    <a:pt x="347" y="1477"/>
                  </a:lnTo>
                  <a:lnTo>
                    <a:pt x="345" y="1477"/>
                  </a:lnTo>
                  <a:lnTo>
                    <a:pt x="345" y="1475"/>
                  </a:lnTo>
                  <a:lnTo>
                    <a:pt x="345" y="1477"/>
                  </a:lnTo>
                  <a:lnTo>
                    <a:pt x="345" y="1475"/>
                  </a:lnTo>
                  <a:lnTo>
                    <a:pt x="345" y="1474"/>
                  </a:lnTo>
                  <a:lnTo>
                    <a:pt x="343" y="1474"/>
                  </a:lnTo>
                  <a:lnTo>
                    <a:pt x="345" y="1474"/>
                  </a:lnTo>
                  <a:lnTo>
                    <a:pt x="345" y="1475"/>
                  </a:lnTo>
                  <a:lnTo>
                    <a:pt x="343" y="1475"/>
                  </a:lnTo>
                  <a:lnTo>
                    <a:pt x="343" y="1477"/>
                  </a:lnTo>
                  <a:lnTo>
                    <a:pt x="342" y="1477"/>
                  </a:lnTo>
                  <a:lnTo>
                    <a:pt x="342" y="1475"/>
                  </a:lnTo>
                  <a:lnTo>
                    <a:pt x="342" y="1474"/>
                  </a:lnTo>
                  <a:lnTo>
                    <a:pt x="342" y="1475"/>
                  </a:lnTo>
                  <a:lnTo>
                    <a:pt x="342" y="1477"/>
                  </a:lnTo>
                  <a:lnTo>
                    <a:pt x="343" y="1477"/>
                  </a:lnTo>
                  <a:lnTo>
                    <a:pt x="342" y="1477"/>
                  </a:lnTo>
                  <a:lnTo>
                    <a:pt x="342" y="1479"/>
                  </a:lnTo>
                  <a:lnTo>
                    <a:pt x="342" y="1477"/>
                  </a:lnTo>
                  <a:lnTo>
                    <a:pt x="340" y="1477"/>
                  </a:lnTo>
                  <a:lnTo>
                    <a:pt x="340" y="1475"/>
                  </a:lnTo>
                  <a:lnTo>
                    <a:pt x="340" y="1474"/>
                  </a:lnTo>
                  <a:lnTo>
                    <a:pt x="340" y="1472"/>
                  </a:lnTo>
                  <a:lnTo>
                    <a:pt x="340" y="1474"/>
                  </a:lnTo>
                  <a:lnTo>
                    <a:pt x="340" y="1472"/>
                  </a:lnTo>
                  <a:lnTo>
                    <a:pt x="339" y="1472"/>
                  </a:lnTo>
                  <a:lnTo>
                    <a:pt x="339" y="1471"/>
                  </a:lnTo>
                  <a:lnTo>
                    <a:pt x="339" y="1469"/>
                  </a:lnTo>
                  <a:lnTo>
                    <a:pt x="339" y="1467"/>
                  </a:lnTo>
                  <a:lnTo>
                    <a:pt x="339" y="1466"/>
                  </a:lnTo>
                  <a:lnTo>
                    <a:pt x="340" y="1466"/>
                  </a:lnTo>
                  <a:lnTo>
                    <a:pt x="340" y="1464"/>
                  </a:lnTo>
                  <a:lnTo>
                    <a:pt x="340" y="1466"/>
                  </a:lnTo>
                  <a:lnTo>
                    <a:pt x="342" y="1466"/>
                  </a:lnTo>
                  <a:lnTo>
                    <a:pt x="342" y="1464"/>
                  </a:lnTo>
                  <a:lnTo>
                    <a:pt x="340" y="1464"/>
                  </a:lnTo>
                  <a:lnTo>
                    <a:pt x="340" y="1462"/>
                  </a:lnTo>
                  <a:lnTo>
                    <a:pt x="342" y="1462"/>
                  </a:lnTo>
                  <a:lnTo>
                    <a:pt x="342" y="1464"/>
                  </a:lnTo>
                  <a:lnTo>
                    <a:pt x="343" y="1464"/>
                  </a:lnTo>
                  <a:lnTo>
                    <a:pt x="345" y="1464"/>
                  </a:lnTo>
                  <a:lnTo>
                    <a:pt x="345" y="1466"/>
                  </a:lnTo>
                  <a:lnTo>
                    <a:pt x="345" y="1467"/>
                  </a:lnTo>
                  <a:lnTo>
                    <a:pt x="347" y="1467"/>
                  </a:lnTo>
                  <a:lnTo>
                    <a:pt x="347" y="1466"/>
                  </a:lnTo>
                  <a:lnTo>
                    <a:pt x="345" y="1464"/>
                  </a:lnTo>
                  <a:lnTo>
                    <a:pt x="345" y="1462"/>
                  </a:lnTo>
                  <a:lnTo>
                    <a:pt x="347" y="1462"/>
                  </a:lnTo>
                  <a:lnTo>
                    <a:pt x="345" y="1462"/>
                  </a:lnTo>
                  <a:lnTo>
                    <a:pt x="343" y="1462"/>
                  </a:lnTo>
                  <a:lnTo>
                    <a:pt x="342" y="1461"/>
                  </a:lnTo>
                  <a:lnTo>
                    <a:pt x="342" y="1459"/>
                  </a:lnTo>
                  <a:lnTo>
                    <a:pt x="342" y="1458"/>
                  </a:lnTo>
                  <a:lnTo>
                    <a:pt x="343" y="1459"/>
                  </a:lnTo>
                  <a:lnTo>
                    <a:pt x="342" y="1459"/>
                  </a:lnTo>
                  <a:lnTo>
                    <a:pt x="343" y="1458"/>
                  </a:lnTo>
                  <a:lnTo>
                    <a:pt x="345" y="1458"/>
                  </a:lnTo>
                  <a:lnTo>
                    <a:pt x="345" y="1456"/>
                  </a:lnTo>
                  <a:lnTo>
                    <a:pt x="347" y="1456"/>
                  </a:lnTo>
                  <a:lnTo>
                    <a:pt x="348" y="1456"/>
                  </a:lnTo>
                  <a:lnTo>
                    <a:pt x="350" y="1454"/>
                  </a:lnTo>
                  <a:lnTo>
                    <a:pt x="352" y="1454"/>
                  </a:lnTo>
                  <a:lnTo>
                    <a:pt x="353" y="1454"/>
                  </a:lnTo>
                  <a:lnTo>
                    <a:pt x="352" y="1454"/>
                  </a:lnTo>
                  <a:lnTo>
                    <a:pt x="350" y="1454"/>
                  </a:lnTo>
                  <a:lnTo>
                    <a:pt x="348" y="1454"/>
                  </a:lnTo>
                  <a:lnTo>
                    <a:pt x="347" y="1454"/>
                  </a:lnTo>
                  <a:lnTo>
                    <a:pt x="345" y="1454"/>
                  </a:lnTo>
                  <a:lnTo>
                    <a:pt x="343" y="1454"/>
                  </a:lnTo>
                  <a:lnTo>
                    <a:pt x="342" y="1454"/>
                  </a:lnTo>
                  <a:lnTo>
                    <a:pt x="340" y="1456"/>
                  </a:lnTo>
                  <a:lnTo>
                    <a:pt x="339" y="1456"/>
                  </a:lnTo>
                  <a:lnTo>
                    <a:pt x="340" y="1456"/>
                  </a:lnTo>
                  <a:lnTo>
                    <a:pt x="340" y="1454"/>
                  </a:lnTo>
                  <a:lnTo>
                    <a:pt x="339" y="1454"/>
                  </a:lnTo>
                  <a:lnTo>
                    <a:pt x="339" y="1453"/>
                  </a:lnTo>
                  <a:lnTo>
                    <a:pt x="340" y="1451"/>
                  </a:lnTo>
                  <a:lnTo>
                    <a:pt x="342" y="1449"/>
                  </a:lnTo>
                  <a:lnTo>
                    <a:pt x="342" y="1448"/>
                  </a:lnTo>
                  <a:lnTo>
                    <a:pt x="340" y="1448"/>
                  </a:lnTo>
                  <a:lnTo>
                    <a:pt x="340" y="1446"/>
                  </a:lnTo>
                  <a:lnTo>
                    <a:pt x="342" y="1445"/>
                  </a:lnTo>
                  <a:lnTo>
                    <a:pt x="340" y="1445"/>
                  </a:lnTo>
                  <a:lnTo>
                    <a:pt x="342" y="1443"/>
                  </a:lnTo>
                  <a:lnTo>
                    <a:pt x="343" y="1443"/>
                  </a:lnTo>
                  <a:lnTo>
                    <a:pt x="343" y="1445"/>
                  </a:lnTo>
                  <a:lnTo>
                    <a:pt x="343" y="1446"/>
                  </a:lnTo>
                  <a:lnTo>
                    <a:pt x="343" y="1448"/>
                  </a:lnTo>
                  <a:lnTo>
                    <a:pt x="342" y="1448"/>
                  </a:lnTo>
                  <a:lnTo>
                    <a:pt x="343" y="1448"/>
                  </a:lnTo>
                  <a:lnTo>
                    <a:pt x="345" y="1448"/>
                  </a:lnTo>
                  <a:lnTo>
                    <a:pt x="347" y="1448"/>
                  </a:lnTo>
                  <a:lnTo>
                    <a:pt x="348" y="1448"/>
                  </a:lnTo>
                  <a:lnTo>
                    <a:pt x="348" y="1446"/>
                  </a:lnTo>
                  <a:lnTo>
                    <a:pt x="350" y="1446"/>
                  </a:lnTo>
                  <a:lnTo>
                    <a:pt x="350" y="1445"/>
                  </a:lnTo>
                  <a:lnTo>
                    <a:pt x="352" y="1443"/>
                  </a:lnTo>
                  <a:lnTo>
                    <a:pt x="353" y="1443"/>
                  </a:lnTo>
                  <a:lnTo>
                    <a:pt x="356" y="1441"/>
                  </a:lnTo>
                  <a:lnTo>
                    <a:pt x="358" y="1441"/>
                  </a:lnTo>
                  <a:lnTo>
                    <a:pt x="360" y="1441"/>
                  </a:lnTo>
                  <a:lnTo>
                    <a:pt x="361" y="1441"/>
                  </a:lnTo>
                  <a:lnTo>
                    <a:pt x="361" y="1440"/>
                  </a:lnTo>
                  <a:lnTo>
                    <a:pt x="363" y="1440"/>
                  </a:lnTo>
                  <a:lnTo>
                    <a:pt x="365" y="1440"/>
                  </a:lnTo>
                  <a:lnTo>
                    <a:pt x="366" y="1440"/>
                  </a:lnTo>
                  <a:lnTo>
                    <a:pt x="368" y="1440"/>
                  </a:lnTo>
                  <a:lnTo>
                    <a:pt x="368" y="1438"/>
                  </a:lnTo>
                  <a:lnTo>
                    <a:pt x="369" y="1438"/>
                  </a:lnTo>
                  <a:lnTo>
                    <a:pt x="368" y="1438"/>
                  </a:lnTo>
                  <a:lnTo>
                    <a:pt x="368" y="1436"/>
                  </a:lnTo>
                  <a:lnTo>
                    <a:pt x="369" y="1436"/>
                  </a:lnTo>
                  <a:lnTo>
                    <a:pt x="368" y="1435"/>
                  </a:lnTo>
                  <a:lnTo>
                    <a:pt x="369" y="1435"/>
                  </a:lnTo>
                  <a:lnTo>
                    <a:pt x="368" y="1435"/>
                  </a:lnTo>
                  <a:lnTo>
                    <a:pt x="368" y="1433"/>
                  </a:lnTo>
                  <a:lnTo>
                    <a:pt x="369" y="1433"/>
                  </a:lnTo>
                  <a:lnTo>
                    <a:pt x="371" y="1432"/>
                  </a:lnTo>
                  <a:lnTo>
                    <a:pt x="369" y="1432"/>
                  </a:lnTo>
                  <a:lnTo>
                    <a:pt x="371" y="1430"/>
                  </a:lnTo>
                  <a:lnTo>
                    <a:pt x="369" y="1430"/>
                  </a:lnTo>
                  <a:lnTo>
                    <a:pt x="371" y="1430"/>
                  </a:lnTo>
                  <a:lnTo>
                    <a:pt x="371" y="1428"/>
                  </a:lnTo>
                  <a:lnTo>
                    <a:pt x="373" y="1428"/>
                  </a:lnTo>
                  <a:lnTo>
                    <a:pt x="373" y="1427"/>
                  </a:lnTo>
                  <a:lnTo>
                    <a:pt x="374" y="1427"/>
                  </a:lnTo>
                  <a:lnTo>
                    <a:pt x="374" y="1428"/>
                  </a:lnTo>
                  <a:lnTo>
                    <a:pt x="374" y="1427"/>
                  </a:lnTo>
                  <a:lnTo>
                    <a:pt x="374" y="1428"/>
                  </a:lnTo>
                  <a:lnTo>
                    <a:pt x="376" y="1428"/>
                  </a:lnTo>
                  <a:lnTo>
                    <a:pt x="374" y="1432"/>
                  </a:lnTo>
                  <a:lnTo>
                    <a:pt x="374" y="1433"/>
                  </a:lnTo>
                  <a:lnTo>
                    <a:pt x="374" y="1435"/>
                  </a:lnTo>
                  <a:lnTo>
                    <a:pt x="373" y="1435"/>
                  </a:lnTo>
                  <a:lnTo>
                    <a:pt x="371" y="1436"/>
                  </a:lnTo>
                  <a:lnTo>
                    <a:pt x="371" y="1438"/>
                  </a:lnTo>
                  <a:lnTo>
                    <a:pt x="371" y="1440"/>
                  </a:lnTo>
                  <a:lnTo>
                    <a:pt x="371" y="1441"/>
                  </a:lnTo>
                  <a:lnTo>
                    <a:pt x="369" y="1441"/>
                  </a:lnTo>
                  <a:lnTo>
                    <a:pt x="369" y="1443"/>
                  </a:lnTo>
                  <a:lnTo>
                    <a:pt x="368" y="1443"/>
                  </a:lnTo>
                  <a:lnTo>
                    <a:pt x="369" y="1443"/>
                  </a:lnTo>
                  <a:lnTo>
                    <a:pt x="369" y="1445"/>
                  </a:lnTo>
                  <a:lnTo>
                    <a:pt x="369" y="1446"/>
                  </a:lnTo>
                  <a:lnTo>
                    <a:pt x="371" y="1446"/>
                  </a:lnTo>
                  <a:lnTo>
                    <a:pt x="369" y="1446"/>
                  </a:lnTo>
                  <a:lnTo>
                    <a:pt x="369" y="1448"/>
                  </a:lnTo>
                  <a:lnTo>
                    <a:pt x="368" y="1448"/>
                  </a:lnTo>
                  <a:lnTo>
                    <a:pt x="368" y="1449"/>
                  </a:lnTo>
                  <a:lnTo>
                    <a:pt x="369" y="1448"/>
                  </a:lnTo>
                  <a:lnTo>
                    <a:pt x="369" y="1449"/>
                  </a:lnTo>
                  <a:lnTo>
                    <a:pt x="371" y="1449"/>
                  </a:lnTo>
                  <a:lnTo>
                    <a:pt x="369" y="1449"/>
                  </a:lnTo>
                  <a:lnTo>
                    <a:pt x="371" y="1449"/>
                  </a:lnTo>
                  <a:lnTo>
                    <a:pt x="371" y="1451"/>
                  </a:lnTo>
                  <a:lnTo>
                    <a:pt x="371" y="1449"/>
                  </a:lnTo>
                  <a:lnTo>
                    <a:pt x="371" y="1451"/>
                  </a:lnTo>
                  <a:lnTo>
                    <a:pt x="373" y="1451"/>
                  </a:lnTo>
                  <a:lnTo>
                    <a:pt x="371" y="1451"/>
                  </a:lnTo>
                  <a:lnTo>
                    <a:pt x="371" y="1453"/>
                  </a:lnTo>
                  <a:lnTo>
                    <a:pt x="373" y="1453"/>
                  </a:lnTo>
                  <a:lnTo>
                    <a:pt x="373" y="1454"/>
                  </a:lnTo>
                  <a:lnTo>
                    <a:pt x="371" y="1454"/>
                  </a:lnTo>
                  <a:lnTo>
                    <a:pt x="371" y="1456"/>
                  </a:lnTo>
                  <a:lnTo>
                    <a:pt x="371" y="1458"/>
                  </a:lnTo>
                  <a:lnTo>
                    <a:pt x="371" y="1459"/>
                  </a:lnTo>
                  <a:lnTo>
                    <a:pt x="371" y="1461"/>
                  </a:lnTo>
                  <a:lnTo>
                    <a:pt x="369" y="1461"/>
                  </a:lnTo>
                  <a:lnTo>
                    <a:pt x="368" y="1462"/>
                  </a:lnTo>
                  <a:lnTo>
                    <a:pt x="366" y="1462"/>
                  </a:lnTo>
                  <a:lnTo>
                    <a:pt x="368" y="1462"/>
                  </a:lnTo>
                  <a:lnTo>
                    <a:pt x="366" y="1462"/>
                  </a:lnTo>
                  <a:lnTo>
                    <a:pt x="366" y="1464"/>
                  </a:lnTo>
                  <a:lnTo>
                    <a:pt x="368" y="1464"/>
                  </a:lnTo>
                  <a:lnTo>
                    <a:pt x="366" y="1464"/>
                  </a:lnTo>
                  <a:lnTo>
                    <a:pt x="366" y="1466"/>
                  </a:lnTo>
                  <a:lnTo>
                    <a:pt x="368" y="1464"/>
                  </a:lnTo>
                  <a:lnTo>
                    <a:pt x="368" y="1466"/>
                  </a:lnTo>
                  <a:lnTo>
                    <a:pt x="368" y="1467"/>
                  </a:lnTo>
                  <a:lnTo>
                    <a:pt x="366" y="1467"/>
                  </a:lnTo>
                  <a:lnTo>
                    <a:pt x="368" y="1467"/>
                  </a:lnTo>
                  <a:lnTo>
                    <a:pt x="369" y="1469"/>
                  </a:lnTo>
                  <a:lnTo>
                    <a:pt x="368" y="1469"/>
                  </a:lnTo>
                  <a:lnTo>
                    <a:pt x="369" y="1469"/>
                  </a:lnTo>
                  <a:lnTo>
                    <a:pt x="369" y="1471"/>
                  </a:lnTo>
                  <a:lnTo>
                    <a:pt x="369" y="1469"/>
                  </a:lnTo>
                  <a:lnTo>
                    <a:pt x="369" y="1471"/>
                  </a:lnTo>
                  <a:lnTo>
                    <a:pt x="368" y="1471"/>
                  </a:lnTo>
                  <a:lnTo>
                    <a:pt x="369" y="1471"/>
                  </a:lnTo>
                  <a:lnTo>
                    <a:pt x="369" y="1472"/>
                  </a:lnTo>
                  <a:lnTo>
                    <a:pt x="368" y="1472"/>
                  </a:lnTo>
                  <a:lnTo>
                    <a:pt x="368" y="1471"/>
                  </a:lnTo>
                  <a:lnTo>
                    <a:pt x="368" y="1469"/>
                  </a:lnTo>
                  <a:lnTo>
                    <a:pt x="366" y="1471"/>
                  </a:lnTo>
                  <a:lnTo>
                    <a:pt x="368" y="1471"/>
                  </a:lnTo>
                  <a:lnTo>
                    <a:pt x="366" y="1472"/>
                  </a:lnTo>
                  <a:lnTo>
                    <a:pt x="368" y="1472"/>
                  </a:lnTo>
                  <a:lnTo>
                    <a:pt x="368" y="1474"/>
                  </a:lnTo>
                  <a:lnTo>
                    <a:pt x="368" y="1472"/>
                  </a:lnTo>
                  <a:lnTo>
                    <a:pt x="366" y="1472"/>
                  </a:lnTo>
                  <a:lnTo>
                    <a:pt x="365" y="1472"/>
                  </a:lnTo>
                  <a:lnTo>
                    <a:pt x="363" y="1472"/>
                  </a:lnTo>
                  <a:lnTo>
                    <a:pt x="363" y="1474"/>
                  </a:lnTo>
                  <a:lnTo>
                    <a:pt x="365" y="1474"/>
                  </a:lnTo>
                  <a:lnTo>
                    <a:pt x="363" y="1474"/>
                  </a:lnTo>
                  <a:lnTo>
                    <a:pt x="363" y="1472"/>
                  </a:lnTo>
                  <a:lnTo>
                    <a:pt x="361" y="1472"/>
                  </a:lnTo>
                  <a:lnTo>
                    <a:pt x="361" y="1471"/>
                  </a:lnTo>
                  <a:lnTo>
                    <a:pt x="361" y="1469"/>
                  </a:lnTo>
                  <a:lnTo>
                    <a:pt x="360" y="1469"/>
                  </a:lnTo>
                  <a:lnTo>
                    <a:pt x="360" y="1471"/>
                  </a:lnTo>
                  <a:lnTo>
                    <a:pt x="360" y="1472"/>
                  </a:lnTo>
                  <a:lnTo>
                    <a:pt x="358" y="1474"/>
                  </a:lnTo>
                  <a:lnTo>
                    <a:pt x="358" y="1472"/>
                  </a:lnTo>
                  <a:lnTo>
                    <a:pt x="356" y="1472"/>
                  </a:lnTo>
                  <a:lnTo>
                    <a:pt x="355" y="1474"/>
                  </a:lnTo>
                  <a:lnTo>
                    <a:pt x="355" y="1472"/>
                  </a:lnTo>
                  <a:lnTo>
                    <a:pt x="355" y="1474"/>
                  </a:lnTo>
                  <a:lnTo>
                    <a:pt x="355" y="1472"/>
                  </a:lnTo>
                  <a:lnTo>
                    <a:pt x="355" y="1471"/>
                  </a:lnTo>
                  <a:lnTo>
                    <a:pt x="356" y="1471"/>
                  </a:lnTo>
                  <a:lnTo>
                    <a:pt x="356" y="1469"/>
                  </a:lnTo>
                  <a:lnTo>
                    <a:pt x="356" y="1467"/>
                  </a:lnTo>
                  <a:lnTo>
                    <a:pt x="356" y="1469"/>
                  </a:lnTo>
                  <a:lnTo>
                    <a:pt x="355" y="1471"/>
                  </a:lnTo>
                  <a:lnTo>
                    <a:pt x="355" y="1472"/>
                  </a:lnTo>
                  <a:lnTo>
                    <a:pt x="353" y="1472"/>
                  </a:lnTo>
                  <a:lnTo>
                    <a:pt x="352" y="1472"/>
                  </a:lnTo>
                  <a:lnTo>
                    <a:pt x="353" y="1472"/>
                  </a:lnTo>
                  <a:lnTo>
                    <a:pt x="352" y="1472"/>
                  </a:lnTo>
                  <a:lnTo>
                    <a:pt x="352" y="1474"/>
                  </a:lnTo>
                  <a:lnTo>
                    <a:pt x="350" y="1474"/>
                  </a:lnTo>
                  <a:lnTo>
                    <a:pt x="350" y="1475"/>
                  </a:lnTo>
                  <a:close/>
                  <a:moveTo>
                    <a:pt x="348" y="732"/>
                  </a:moveTo>
                  <a:lnTo>
                    <a:pt x="350" y="732"/>
                  </a:lnTo>
                  <a:lnTo>
                    <a:pt x="352" y="732"/>
                  </a:lnTo>
                  <a:lnTo>
                    <a:pt x="353" y="732"/>
                  </a:lnTo>
                  <a:lnTo>
                    <a:pt x="355" y="734"/>
                  </a:lnTo>
                  <a:lnTo>
                    <a:pt x="355" y="735"/>
                  </a:lnTo>
                  <a:lnTo>
                    <a:pt x="355" y="734"/>
                  </a:lnTo>
                  <a:lnTo>
                    <a:pt x="355" y="735"/>
                  </a:lnTo>
                  <a:lnTo>
                    <a:pt x="358" y="735"/>
                  </a:lnTo>
                  <a:lnTo>
                    <a:pt x="360" y="735"/>
                  </a:lnTo>
                  <a:lnTo>
                    <a:pt x="361" y="735"/>
                  </a:lnTo>
                  <a:lnTo>
                    <a:pt x="363" y="734"/>
                  </a:lnTo>
                  <a:lnTo>
                    <a:pt x="365" y="735"/>
                  </a:lnTo>
                  <a:lnTo>
                    <a:pt x="366" y="735"/>
                  </a:lnTo>
                  <a:lnTo>
                    <a:pt x="366" y="737"/>
                  </a:lnTo>
                  <a:lnTo>
                    <a:pt x="363" y="739"/>
                  </a:lnTo>
                  <a:lnTo>
                    <a:pt x="361" y="739"/>
                  </a:lnTo>
                  <a:lnTo>
                    <a:pt x="360" y="739"/>
                  </a:lnTo>
                  <a:lnTo>
                    <a:pt x="358" y="739"/>
                  </a:lnTo>
                  <a:lnTo>
                    <a:pt x="356" y="739"/>
                  </a:lnTo>
                  <a:lnTo>
                    <a:pt x="356" y="737"/>
                  </a:lnTo>
                  <a:lnTo>
                    <a:pt x="355" y="737"/>
                  </a:lnTo>
                  <a:lnTo>
                    <a:pt x="353" y="739"/>
                  </a:lnTo>
                  <a:lnTo>
                    <a:pt x="352" y="737"/>
                  </a:lnTo>
                  <a:lnTo>
                    <a:pt x="352" y="739"/>
                  </a:lnTo>
                  <a:lnTo>
                    <a:pt x="350" y="739"/>
                  </a:lnTo>
                  <a:lnTo>
                    <a:pt x="352" y="739"/>
                  </a:lnTo>
                  <a:lnTo>
                    <a:pt x="352" y="740"/>
                  </a:lnTo>
                  <a:lnTo>
                    <a:pt x="353" y="740"/>
                  </a:lnTo>
                  <a:lnTo>
                    <a:pt x="353" y="742"/>
                  </a:lnTo>
                  <a:lnTo>
                    <a:pt x="355" y="742"/>
                  </a:lnTo>
                  <a:lnTo>
                    <a:pt x="355" y="744"/>
                  </a:lnTo>
                  <a:lnTo>
                    <a:pt x="356" y="744"/>
                  </a:lnTo>
                  <a:lnTo>
                    <a:pt x="356" y="745"/>
                  </a:lnTo>
                  <a:lnTo>
                    <a:pt x="356" y="747"/>
                  </a:lnTo>
                  <a:lnTo>
                    <a:pt x="358" y="748"/>
                  </a:lnTo>
                  <a:lnTo>
                    <a:pt x="358" y="750"/>
                  </a:lnTo>
                  <a:lnTo>
                    <a:pt x="356" y="750"/>
                  </a:lnTo>
                  <a:lnTo>
                    <a:pt x="355" y="750"/>
                  </a:lnTo>
                  <a:lnTo>
                    <a:pt x="355" y="752"/>
                  </a:lnTo>
                  <a:lnTo>
                    <a:pt x="353" y="753"/>
                  </a:lnTo>
                  <a:lnTo>
                    <a:pt x="352" y="753"/>
                  </a:lnTo>
                  <a:lnTo>
                    <a:pt x="353" y="755"/>
                  </a:lnTo>
                  <a:lnTo>
                    <a:pt x="352" y="755"/>
                  </a:lnTo>
                  <a:lnTo>
                    <a:pt x="352" y="753"/>
                  </a:lnTo>
                  <a:lnTo>
                    <a:pt x="350" y="753"/>
                  </a:lnTo>
                  <a:lnTo>
                    <a:pt x="352" y="753"/>
                  </a:lnTo>
                  <a:lnTo>
                    <a:pt x="352" y="752"/>
                  </a:lnTo>
                  <a:lnTo>
                    <a:pt x="350" y="752"/>
                  </a:lnTo>
                  <a:lnTo>
                    <a:pt x="348" y="750"/>
                  </a:lnTo>
                  <a:lnTo>
                    <a:pt x="350" y="750"/>
                  </a:lnTo>
                  <a:lnTo>
                    <a:pt x="348" y="750"/>
                  </a:lnTo>
                  <a:lnTo>
                    <a:pt x="350" y="750"/>
                  </a:lnTo>
                  <a:lnTo>
                    <a:pt x="350" y="748"/>
                  </a:lnTo>
                  <a:lnTo>
                    <a:pt x="348" y="748"/>
                  </a:lnTo>
                  <a:lnTo>
                    <a:pt x="348" y="750"/>
                  </a:lnTo>
                  <a:lnTo>
                    <a:pt x="347" y="750"/>
                  </a:lnTo>
                  <a:lnTo>
                    <a:pt x="348" y="750"/>
                  </a:lnTo>
                  <a:lnTo>
                    <a:pt x="348" y="752"/>
                  </a:lnTo>
                  <a:lnTo>
                    <a:pt x="347" y="752"/>
                  </a:lnTo>
                  <a:lnTo>
                    <a:pt x="343" y="753"/>
                  </a:lnTo>
                  <a:lnTo>
                    <a:pt x="342" y="752"/>
                  </a:lnTo>
                  <a:lnTo>
                    <a:pt x="342" y="750"/>
                  </a:lnTo>
                  <a:lnTo>
                    <a:pt x="340" y="748"/>
                  </a:lnTo>
                  <a:lnTo>
                    <a:pt x="339" y="748"/>
                  </a:lnTo>
                  <a:lnTo>
                    <a:pt x="339" y="747"/>
                  </a:lnTo>
                  <a:lnTo>
                    <a:pt x="337" y="747"/>
                  </a:lnTo>
                  <a:lnTo>
                    <a:pt x="337" y="745"/>
                  </a:lnTo>
                  <a:lnTo>
                    <a:pt x="337" y="744"/>
                  </a:lnTo>
                  <a:lnTo>
                    <a:pt x="335" y="744"/>
                  </a:lnTo>
                  <a:lnTo>
                    <a:pt x="337" y="742"/>
                  </a:lnTo>
                  <a:lnTo>
                    <a:pt x="337" y="740"/>
                  </a:lnTo>
                  <a:lnTo>
                    <a:pt x="340" y="737"/>
                  </a:lnTo>
                  <a:lnTo>
                    <a:pt x="340" y="735"/>
                  </a:lnTo>
                  <a:lnTo>
                    <a:pt x="342" y="735"/>
                  </a:lnTo>
                  <a:lnTo>
                    <a:pt x="343" y="735"/>
                  </a:lnTo>
                  <a:lnTo>
                    <a:pt x="345" y="735"/>
                  </a:lnTo>
                  <a:lnTo>
                    <a:pt x="345" y="734"/>
                  </a:lnTo>
                  <a:lnTo>
                    <a:pt x="347" y="734"/>
                  </a:lnTo>
                  <a:lnTo>
                    <a:pt x="348" y="734"/>
                  </a:lnTo>
                  <a:lnTo>
                    <a:pt x="348" y="732"/>
                  </a:lnTo>
                  <a:close/>
                  <a:moveTo>
                    <a:pt x="181" y="1041"/>
                  </a:moveTo>
                  <a:lnTo>
                    <a:pt x="181" y="1043"/>
                  </a:lnTo>
                  <a:lnTo>
                    <a:pt x="179" y="1043"/>
                  </a:lnTo>
                  <a:lnTo>
                    <a:pt x="178" y="1041"/>
                  </a:lnTo>
                  <a:lnTo>
                    <a:pt x="178" y="1040"/>
                  </a:lnTo>
                  <a:lnTo>
                    <a:pt x="178" y="1041"/>
                  </a:lnTo>
                  <a:lnTo>
                    <a:pt x="176" y="1040"/>
                  </a:lnTo>
                  <a:lnTo>
                    <a:pt x="176" y="1038"/>
                  </a:lnTo>
                  <a:lnTo>
                    <a:pt x="176" y="1036"/>
                  </a:lnTo>
                  <a:lnTo>
                    <a:pt x="176" y="1038"/>
                  </a:lnTo>
                  <a:lnTo>
                    <a:pt x="176" y="1036"/>
                  </a:lnTo>
                  <a:lnTo>
                    <a:pt x="174" y="1035"/>
                  </a:lnTo>
                  <a:lnTo>
                    <a:pt x="173" y="1033"/>
                  </a:lnTo>
                  <a:lnTo>
                    <a:pt x="173" y="1031"/>
                  </a:lnTo>
                  <a:lnTo>
                    <a:pt x="174" y="1031"/>
                  </a:lnTo>
                  <a:lnTo>
                    <a:pt x="173" y="1031"/>
                  </a:lnTo>
                  <a:lnTo>
                    <a:pt x="173" y="1030"/>
                  </a:lnTo>
                  <a:lnTo>
                    <a:pt x="171" y="1030"/>
                  </a:lnTo>
                  <a:lnTo>
                    <a:pt x="171" y="1028"/>
                  </a:lnTo>
                  <a:lnTo>
                    <a:pt x="171" y="1027"/>
                  </a:lnTo>
                  <a:lnTo>
                    <a:pt x="169" y="1027"/>
                  </a:lnTo>
                  <a:lnTo>
                    <a:pt x="171" y="1027"/>
                  </a:lnTo>
                  <a:lnTo>
                    <a:pt x="173" y="1027"/>
                  </a:lnTo>
                  <a:lnTo>
                    <a:pt x="171" y="1028"/>
                  </a:lnTo>
                  <a:lnTo>
                    <a:pt x="173" y="1028"/>
                  </a:lnTo>
                  <a:lnTo>
                    <a:pt x="173" y="1027"/>
                  </a:lnTo>
                  <a:lnTo>
                    <a:pt x="173" y="1025"/>
                  </a:lnTo>
                  <a:lnTo>
                    <a:pt x="173" y="1023"/>
                  </a:lnTo>
                  <a:lnTo>
                    <a:pt x="173" y="1025"/>
                  </a:lnTo>
                  <a:lnTo>
                    <a:pt x="174" y="1023"/>
                  </a:lnTo>
                  <a:lnTo>
                    <a:pt x="173" y="1023"/>
                  </a:lnTo>
                  <a:lnTo>
                    <a:pt x="174" y="1023"/>
                  </a:lnTo>
                  <a:lnTo>
                    <a:pt x="174" y="1022"/>
                  </a:lnTo>
                  <a:lnTo>
                    <a:pt x="174" y="1020"/>
                  </a:lnTo>
                  <a:lnTo>
                    <a:pt x="176" y="1020"/>
                  </a:lnTo>
                  <a:lnTo>
                    <a:pt x="174" y="1020"/>
                  </a:lnTo>
                  <a:lnTo>
                    <a:pt x="176" y="1020"/>
                  </a:lnTo>
                  <a:lnTo>
                    <a:pt x="174" y="1018"/>
                  </a:lnTo>
                  <a:lnTo>
                    <a:pt x="176" y="1018"/>
                  </a:lnTo>
                  <a:lnTo>
                    <a:pt x="178" y="1018"/>
                  </a:lnTo>
                  <a:lnTo>
                    <a:pt x="179" y="1018"/>
                  </a:lnTo>
                  <a:lnTo>
                    <a:pt x="178" y="1018"/>
                  </a:lnTo>
                  <a:lnTo>
                    <a:pt x="178" y="1017"/>
                  </a:lnTo>
                  <a:lnTo>
                    <a:pt x="178" y="1018"/>
                  </a:lnTo>
                  <a:lnTo>
                    <a:pt x="178" y="1017"/>
                  </a:lnTo>
                  <a:lnTo>
                    <a:pt x="178" y="1018"/>
                  </a:lnTo>
                  <a:lnTo>
                    <a:pt x="178" y="1017"/>
                  </a:lnTo>
                  <a:lnTo>
                    <a:pt x="179" y="1017"/>
                  </a:lnTo>
                  <a:lnTo>
                    <a:pt x="179" y="1018"/>
                  </a:lnTo>
                  <a:lnTo>
                    <a:pt x="178" y="1018"/>
                  </a:lnTo>
                  <a:lnTo>
                    <a:pt x="178" y="1020"/>
                  </a:lnTo>
                  <a:lnTo>
                    <a:pt x="179" y="1018"/>
                  </a:lnTo>
                  <a:lnTo>
                    <a:pt x="179" y="1020"/>
                  </a:lnTo>
                  <a:lnTo>
                    <a:pt x="178" y="1020"/>
                  </a:lnTo>
                  <a:lnTo>
                    <a:pt x="178" y="1022"/>
                  </a:lnTo>
                  <a:lnTo>
                    <a:pt x="176" y="1022"/>
                  </a:lnTo>
                  <a:lnTo>
                    <a:pt x="178" y="1022"/>
                  </a:lnTo>
                  <a:lnTo>
                    <a:pt x="176" y="1022"/>
                  </a:lnTo>
                  <a:lnTo>
                    <a:pt x="178" y="1022"/>
                  </a:lnTo>
                  <a:lnTo>
                    <a:pt x="178" y="1023"/>
                  </a:lnTo>
                  <a:lnTo>
                    <a:pt x="176" y="1023"/>
                  </a:lnTo>
                  <a:lnTo>
                    <a:pt x="176" y="1022"/>
                  </a:lnTo>
                  <a:lnTo>
                    <a:pt x="176" y="1023"/>
                  </a:lnTo>
                  <a:lnTo>
                    <a:pt x="176" y="1022"/>
                  </a:lnTo>
                  <a:lnTo>
                    <a:pt x="176" y="1023"/>
                  </a:lnTo>
                  <a:lnTo>
                    <a:pt x="178" y="1023"/>
                  </a:lnTo>
                  <a:lnTo>
                    <a:pt x="178" y="1025"/>
                  </a:lnTo>
                  <a:lnTo>
                    <a:pt x="178" y="1023"/>
                  </a:lnTo>
                  <a:lnTo>
                    <a:pt x="176" y="1023"/>
                  </a:lnTo>
                  <a:lnTo>
                    <a:pt x="176" y="1025"/>
                  </a:lnTo>
                  <a:lnTo>
                    <a:pt x="176" y="1027"/>
                  </a:lnTo>
                  <a:lnTo>
                    <a:pt x="176" y="1028"/>
                  </a:lnTo>
                  <a:lnTo>
                    <a:pt x="174" y="1028"/>
                  </a:lnTo>
                  <a:lnTo>
                    <a:pt x="174" y="1027"/>
                  </a:lnTo>
                  <a:lnTo>
                    <a:pt x="174" y="1028"/>
                  </a:lnTo>
                  <a:lnTo>
                    <a:pt x="174" y="1027"/>
                  </a:lnTo>
                  <a:lnTo>
                    <a:pt x="174" y="1028"/>
                  </a:lnTo>
                  <a:lnTo>
                    <a:pt x="173" y="1027"/>
                  </a:lnTo>
                  <a:lnTo>
                    <a:pt x="173" y="1028"/>
                  </a:lnTo>
                  <a:lnTo>
                    <a:pt x="174" y="1028"/>
                  </a:lnTo>
                  <a:lnTo>
                    <a:pt x="174" y="1030"/>
                  </a:lnTo>
                  <a:lnTo>
                    <a:pt x="174" y="1028"/>
                  </a:lnTo>
                  <a:lnTo>
                    <a:pt x="174" y="1030"/>
                  </a:lnTo>
                  <a:lnTo>
                    <a:pt x="174" y="1028"/>
                  </a:lnTo>
                  <a:lnTo>
                    <a:pt x="176" y="1028"/>
                  </a:lnTo>
                  <a:lnTo>
                    <a:pt x="176" y="1030"/>
                  </a:lnTo>
                  <a:lnTo>
                    <a:pt x="176" y="1028"/>
                  </a:lnTo>
                  <a:lnTo>
                    <a:pt x="178" y="1028"/>
                  </a:lnTo>
                  <a:lnTo>
                    <a:pt x="178" y="1027"/>
                  </a:lnTo>
                  <a:lnTo>
                    <a:pt x="176" y="1027"/>
                  </a:lnTo>
                  <a:lnTo>
                    <a:pt x="178" y="1025"/>
                  </a:lnTo>
                  <a:lnTo>
                    <a:pt x="178" y="1027"/>
                  </a:lnTo>
                  <a:lnTo>
                    <a:pt x="178" y="1025"/>
                  </a:lnTo>
                  <a:lnTo>
                    <a:pt x="176" y="1025"/>
                  </a:lnTo>
                  <a:lnTo>
                    <a:pt x="178" y="1025"/>
                  </a:lnTo>
                  <a:lnTo>
                    <a:pt x="178" y="1023"/>
                  </a:lnTo>
                  <a:lnTo>
                    <a:pt x="179" y="1023"/>
                  </a:lnTo>
                  <a:lnTo>
                    <a:pt x="179" y="1022"/>
                  </a:lnTo>
                  <a:lnTo>
                    <a:pt x="179" y="1023"/>
                  </a:lnTo>
                  <a:lnTo>
                    <a:pt x="181" y="1023"/>
                  </a:lnTo>
                  <a:lnTo>
                    <a:pt x="181" y="1025"/>
                  </a:lnTo>
                  <a:lnTo>
                    <a:pt x="181" y="1027"/>
                  </a:lnTo>
                  <a:lnTo>
                    <a:pt x="181" y="1025"/>
                  </a:lnTo>
                  <a:lnTo>
                    <a:pt x="181" y="1023"/>
                  </a:lnTo>
                  <a:lnTo>
                    <a:pt x="182" y="1023"/>
                  </a:lnTo>
                  <a:lnTo>
                    <a:pt x="182" y="1025"/>
                  </a:lnTo>
                  <a:lnTo>
                    <a:pt x="182" y="1027"/>
                  </a:lnTo>
                  <a:lnTo>
                    <a:pt x="182" y="1028"/>
                  </a:lnTo>
                  <a:lnTo>
                    <a:pt x="181" y="1028"/>
                  </a:lnTo>
                  <a:lnTo>
                    <a:pt x="182" y="1028"/>
                  </a:lnTo>
                  <a:lnTo>
                    <a:pt x="181" y="1028"/>
                  </a:lnTo>
                  <a:lnTo>
                    <a:pt x="181" y="1030"/>
                  </a:lnTo>
                  <a:lnTo>
                    <a:pt x="181" y="1031"/>
                  </a:lnTo>
                  <a:lnTo>
                    <a:pt x="181" y="1033"/>
                  </a:lnTo>
                  <a:lnTo>
                    <a:pt x="179" y="1033"/>
                  </a:lnTo>
                  <a:lnTo>
                    <a:pt x="181" y="1033"/>
                  </a:lnTo>
                  <a:lnTo>
                    <a:pt x="181" y="1035"/>
                  </a:lnTo>
                  <a:lnTo>
                    <a:pt x="181" y="1033"/>
                  </a:lnTo>
                  <a:lnTo>
                    <a:pt x="181" y="1035"/>
                  </a:lnTo>
                  <a:lnTo>
                    <a:pt x="182" y="1035"/>
                  </a:lnTo>
                  <a:lnTo>
                    <a:pt x="182" y="1033"/>
                  </a:lnTo>
                  <a:lnTo>
                    <a:pt x="182" y="1035"/>
                  </a:lnTo>
                  <a:lnTo>
                    <a:pt x="184" y="1035"/>
                  </a:lnTo>
                  <a:lnTo>
                    <a:pt x="184" y="1033"/>
                  </a:lnTo>
                  <a:lnTo>
                    <a:pt x="182" y="1033"/>
                  </a:lnTo>
                  <a:lnTo>
                    <a:pt x="184" y="1033"/>
                  </a:lnTo>
                  <a:lnTo>
                    <a:pt x="184" y="1031"/>
                  </a:lnTo>
                  <a:lnTo>
                    <a:pt x="184" y="1033"/>
                  </a:lnTo>
                  <a:lnTo>
                    <a:pt x="184" y="1031"/>
                  </a:lnTo>
                  <a:lnTo>
                    <a:pt x="184" y="1030"/>
                  </a:lnTo>
                  <a:lnTo>
                    <a:pt x="186" y="1031"/>
                  </a:lnTo>
                  <a:lnTo>
                    <a:pt x="184" y="1031"/>
                  </a:lnTo>
                  <a:lnTo>
                    <a:pt x="186" y="1031"/>
                  </a:lnTo>
                  <a:lnTo>
                    <a:pt x="186" y="1030"/>
                  </a:lnTo>
                  <a:lnTo>
                    <a:pt x="186" y="1031"/>
                  </a:lnTo>
                  <a:lnTo>
                    <a:pt x="186" y="1030"/>
                  </a:lnTo>
                  <a:lnTo>
                    <a:pt x="186" y="1031"/>
                  </a:lnTo>
                  <a:lnTo>
                    <a:pt x="186" y="1030"/>
                  </a:lnTo>
                  <a:lnTo>
                    <a:pt x="187" y="1030"/>
                  </a:lnTo>
                  <a:lnTo>
                    <a:pt x="187" y="1028"/>
                  </a:lnTo>
                  <a:lnTo>
                    <a:pt x="189" y="1030"/>
                  </a:lnTo>
                  <a:lnTo>
                    <a:pt x="189" y="1028"/>
                  </a:lnTo>
                  <a:lnTo>
                    <a:pt x="189" y="1027"/>
                  </a:lnTo>
                  <a:lnTo>
                    <a:pt x="191" y="1027"/>
                  </a:lnTo>
                  <a:lnTo>
                    <a:pt x="191" y="1028"/>
                  </a:lnTo>
                  <a:lnTo>
                    <a:pt x="192" y="1028"/>
                  </a:lnTo>
                  <a:lnTo>
                    <a:pt x="192" y="1027"/>
                  </a:lnTo>
                  <a:lnTo>
                    <a:pt x="192" y="1028"/>
                  </a:lnTo>
                  <a:lnTo>
                    <a:pt x="194" y="1028"/>
                  </a:lnTo>
                  <a:lnTo>
                    <a:pt x="192" y="1028"/>
                  </a:lnTo>
                  <a:lnTo>
                    <a:pt x="194" y="1028"/>
                  </a:lnTo>
                  <a:lnTo>
                    <a:pt x="194" y="1030"/>
                  </a:lnTo>
                  <a:lnTo>
                    <a:pt x="195" y="1030"/>
                  </a:lnTo>
                  <a:lnTo>
                    <a:pt x="194" y="1030"/>
                  </a:lnTo>
                  <a:lnTo>
                    <a:pt x="195" y="1030"/>
                  </a:lnTo>
                  <a:lnTo>
                    <a:pt x="194" y="1030"/>
                  </a:lnTo>
                  <a:lnTo>
                    <a:pt x="195" y="1030"/>
                  </a:lnTo>
                  <a:lnTo>
                    <a:pt x="195" y="1031"/>
                  </a:lnTo>
                  <a:lnTo>
                    <a:pt x="195" y="1033"/>
                  </a:lnTo>
                  <a:lnTo>
                    <a:pt x="195" y="1035"/>
                  </a:lnTo>
                  <a:lnTo>
                    <a:pt x="197" y="1036"/>
                  </a:lnTo>
                  <a:lnTo>
                    <a:pt x="195" y="1036"/>
                  </a:lnTo>
                  <a:lnTo>
                    <a:pt x="195" y="1038"/>
                  </a:lnTo>
                  <a:lnTo>
                    <a:pt x="194" y="1038"/>
                  </a:lnTo>
                  <a:lnTo>
                    <a:pt x="194" y="1040"/>
                  </a:lnTo>
                  <a:lnTo>
                    <a:pt x="194" y="1038"/>
                  </a:lnTo>
                  <a:lnTo>
                    <a:pt x="194" y="1040"/>
                  </a:lnTo>
                  <a:lnTo>
                    <a:pt x="192" y="1040"/>
                  </a:lnTo>
                  <a:lnTo>
                    <a:pt x="194" y="1040"/>
                  </a:lnTo>
                  <a:lnTo>
                    <a:pt x="192" y="1040"/>
                  </a:lnTo>
                  <a:lnTo>
                    <a:pt x="192" y="1041"/>
                  </a:lnTo>
                  <a:lnTo>
                    <a:pt x="192" y="1040"/>
                  </a:lnTo>
                  <a:lnTo>
                    <a:pt x="191" y="1038"/>
                  </a:lnTo>
                  <a:lnTo>
                    <a:pt x="192" y="1038"/>
                  </a:lnTo>
                  <a:lnTo>
                    <a:pt x="191" y="1036"/>
                  </a:lnTo>
                  <a:lnTo>
                    <a:pt x="191" y="1038"/>
                  </a:lnTo>
                  <a:lnTo>
                    <a:pt x="191" y="1040"/>
                  </a:lnTo>
                  <a:lnTo>
                    <a:pt x="189" y="1040"/>
                  </a:lnTo>
                  <a:lnTo>
                    <a:pt x="191" y="1040"/>
                  </a:lnTo>
                  <a:lnTo>
                    <a:pt x="189" y="1040"/>
                  </a:lnTo>
                  <a:lnTo>
                    <a:pt x="189" y="1041"/>
                  </a:lnTo>
                  <a:lnTo>
                    <a:pt x="187" y="1041"/>
                  </a:lnTo>
                  <a:lnTo>
                    <a:pt x="187" y="1043"/>
                  </a:lnTo>
                  <a:lnTo>
                    <a:pt x="189" y="1043"/>
                  </a:lnTo>
                  <a:lnTo>
                    <a:pt x="189" y="1044"/>
                  </a:lnTo>
                  <a:lnTo>
                    <a:pt x="189" y="1043"/>
                  </a:lnTo>
                  <a:lnTo>
                    <a:pt x="189" y="1044"/>
                  </a:lnTo>
                  <a:lnTo>
                    <a:pt x="187" y="1046"/>
                  </a:lnTo>
                  <a:lnTo>
                    <a:pt x="187" y="1044"/>
                  </a:lnTo>
                  <a:lnTo>
                    <a:pt x="187" y="1046"/>
                  </a:lnTo>
                  <a:lnTo>
                    <a:pt x="187" y="1044"/>
                  </a:lnTo>
                  <a:lnTo>
                    <a:pt x="186" y="1046"/>
                  </a:lnTo>
                  <a:lnTo>
                    <a:pt x="186" y="1044"/>
                  </a:lnTo>
                  <a:lnTo>
                    <a:pt x="184" y="1044"/>
                  </a:lnTo>
                  <a:lnTo>
                    <a:pt x="186" y="1044"/>
                  </a:lnTo>
                  <a:lnTo>
                    <a:pt x="184" y="1044"/>
                  </a:lnTo>
                  <a:lnTo>
                    <a:pt x="182" y="1044"/>
                  </a:lnTo>
                  <a:lnTo>
                    <a:pt x="182" y="1043"/>
                  </a:lnTo>
                  <a:lnTo>
                    <a:pt x="182" y="1041"/>
                  </a:lnTo>
                  <a:lnTo>
                    <a:pt x="182" y="1040"/>
                  </a:lnTo>
                  <a:lnTo>
                    <a:pt x="182" y="1041"/>
                  </a:lnTo>
                  <a:lnTo>
                    <a:pt x="181" y="1041"/>
                  </a:lnTo>
                  <a:lnTo>
                    <a:pt x="182" y="1041"/>
                  </a:lnTo>
                  <a:lnTo>
                    <a:pt x="182" y="1043"/>
                  </a:lnTo>
                  <a:lnTo>
                    <a:pt x="181" y="1041"/>
                  </a:lnTo>
                  <a:lnTo>
                    <a:pt x="181" y="1040"/>
                  </a:lnTo>
                  <a:lnTo>
                    <a:pt x="179" y="1040"/>
                  </a:lnTo>
                  <a:lnTo>
                    <a:pt x="181" y="1041"/>
                  </a:lnTo>
                  <a:lnTo>
                    <a:pt x="181" y="1043"/>
                  </a:lnTo>
                  <a:lnTo>
                    <a:pt x="181" y="1041"/>
                  </a:lnTo>
                  <a:close/>
                  <a:moveTo>
                    <a:pt x="334" y="1425"/>
                  </a:moveTo>
                  <a:lnTo>
                    <a:pt x="334" y="1427"/>
                  </a:lnTo>
                  <a:lnTo>
                    <a:pt x="334" y="1428"/>
                  </a:lnTo>
                  <a:lnTo>
                    <a:pt x="335" y="1428"/>
                  </a:lnTo>
                  <a:lnTo>
                    <a:pt x="337" y="1428"/>
                  </a:lnTo>
                  <a:lnTo>
                    <a:pt x="339" y="1430"/>
                  </a:lnTo>
                  <a:lnTo>
                    <a:pt x="339" y="1428"/>
                  </a:lnTo>
                  <a:lnTo>
                    <a:pt x="340" y="1428"/>
                  </a:lnTo>
                  <a:lnTo>
                    <a:pt x="342" y="1428"/>
                  </a:lnTo>
                  <a:lnTo>
                    <a:pt x="342" y="1430"/>
                  </a:lnTo>
                  <a:lnTo>
                    <a:pt x="340" y="1430"/>
                  </a:lnTo>
                  <a:lnTo>
                    <a:pt x="340" y="1432"/>
                  </a:lnTo>
                  <a:lnTo>
                    <a:pt x="339" y="1433"/>
                  </a:lnTo>
                  <a:lnTo>
                    <a:pt x="339" y="1435"/>
                  </a:lnTo>
                  <a:lnTo>
                    <a:pt x="337" y="1435"/>
                  </a:lnTo>
                  <a:lnTo>
                    <a:pt x="339" y="1435"/>
                  </a:lnTo>
                  <a:lnTo>
                    <a:pt x="339" y="1433"/>
                  </a:lnTo>
                  <a:lnTo>
                    <a:pt x="340" y="1433"/>
                  </a:lnTo>
                  <a:lnTo>
                    <a:pt x="339" y="1435"/>
                  </a:lnTo>
                  <a:lnTo>
                    <a:pt x="340" y="1436"/>
                  </a:lnTo>
                  <a:lnTo>
                    <a:pt x="339" y="1436"/>
                  </a:lnTo>
                  <a:lnTo>
                    <a:pt x="339" y="1438"/>
                  </a:lnTo>
                  <a:lnTo>
                    <a:pt x="339" y="1440"/>
                  </a:lnTo>
                  <a:lnTo>
                    <a:pt x="337" y="1440"/>
                  </a:lnTo>
                  <a:lnTo>
                    <a:pt x="337" y="1441"/>
                  </a:lnTo>
                  <a:lnTo>
                    <a:pt x="337" y="1443"/>
                  </a:lnTo>
                  <a:lnTo>
                    <a:pt x="334" y="1445"/>
                  </a:lnTo>
                  <a:lnTo>
                    <a:pt x="332" y="1445"/>
                  </a:lnTo>
                  <a:lnTo>
                    <a:pt x="332" y="1446"/>
                  </a:lnTo>
                  <a:lnTo>
                    <a:pt x="330" y="1446"/>
                  </a:lnTo>
                  <a:lnTo>
                    <a:pt x="330" y="1445"/>
                  </a:lnTo>
                  <a:lnTo>
                    <a:pt x="330" y="1446"/>
                  </a:lnTo>
                  <a:lnTo>
                    <a:pt x="330" y="1448"/>
                  </a:lnTo>
                  <a:lnTo>
                    <a:pt x="330" y="1449"/>
                  </a:lnTo>
                  <a:lnTo>
                    <a:pt x="329" y="1449"/>
                  </a:lnTo>
                  <a:lnTo>
                    <a:pt x="329" y="1451"/>
                  </a:lnTo>
                  <a:lnTo>
                    <a:pt x="329" y="1453"/>
                  </a:lnTo>
                  <a:lnTo>
                    <a:pt x="327" y="1453"/>
                  </a:lnTo>
                  <a:lnTo>
                    <a:pt x="326" y="1453"/>
                  </a:lnTo>
                  <a:lnTo>
                    <a:pt x="326" y="1454"/>
                  </a:lnTo>
                  <a:lnTo>
                    <a:pt x="324" y="1454"/>
                  </a:lnTo>
                  <a:lnTo>
                    <a:pt x="324" y="1453"/>
                  </a:lnTo>
                  <a:lnTo>
                    <a:pt x="322" y="1454"/>
                  </a:lnTo>
                  <a:lnTo>
                    <a:pt x="322" y="1453"/>
                  </a:lnTo>
                  <a:lnTo>
                    <a:pt x="321" y="1453"/>
                  </a:lnTo>
                  <a:lnTo>
                    <a:pt x="321" y="1451"/>
                  </a:lnTo>
                  <a:lnTo>
                    <a:pt x="322" y="1451"/>
                  </a:lnTo>
                  <a:lnTo>
                    <a:pt x="324" y="1451"/>
                  </a:lnTo>
                  <a:lnTo>
                    <a:pt x="322" y="1449"/>
                  </a:lnTo>
                  <a:lnTo>
                    <a:pt x="321" y="1451"/>
                  </a:lnTo>
                  <a:lnTo>
                    <a:pt x="321" y="1449"/>
                  </a:lnTo>
                  <a:lnTo>
                    <a:pt x="321" y="1448"/>
                  </a:lnTo>
                  <a:lnTo>
                    <a:pt x="321" y="1446"/>
                  </a:lnTo>
                  <a:lnTo>
                    <a:pt x="321" y="1448"/>
                  </a:lnTo>
                  <a:lnTo>
                    <a:pt x="319" y="1449"/>
                  </a:lnTo>
                  <a:lnTo>
                    <a:pt x="317" y="1449"/>
                  </a:lnTo>
                  <a:lnTo>
                    <a:pt x="317" y="1448"/>
                  </a:lnTo>
                  <a:lnTo>
                    <a:pt x="319" y="1448"/>
                  </a:lnTo>
                  <a:lnTo>
                    <a:pt x="317" y="1448"/>
                  </a:lnTo>
                  <a:lnTo>
                    <a:pt x="316" y="1449"/>
                  </a:lnTo>
                  <a:lnTo>
                    <a:pt x="316" y="1448"/>
                  </a:lnTo>
                  <a:lnTo>
                    <a:pt x="317" y="1448"/>
                  </a:lnTo>
                  <a:lnTo>
                    <a:pt x="317" y="1446"/>
                  </a:lnTo>
                  <a:lnTo>
                    <a:pt x="319" y="1446"/>
                  </a:lnTo>
                  <a:lnTo>
                    <a:pt x="321" y="1446"/>
                  </a:lnTo>
                  <a:lnTo>
                    <a:pt x="322" y="1446"/>
                  </a:lnTo>
                  <a:lnTo>
                    <a:pt x="322" y="1445"/>
                  </a:lnTo>
                  <a:lnTo>
                    <a:pt x="322" y="1446"/>
                  </a:lnTo>
                  <a:lnTo>
                    <a:pt x="324" y="1445"/>
                  </a:lnTo>
                  <a:lnTo>
                    <a:pt x="324" y="1446"/>
                  </a:lnTo>
                  <a:lnTo>
                    <a:pt x="324" y="1445"/>
                  </a:lnTo>
                  <a:lnTo>
                    <a:pt x="326" y="1445"/>
                  </a:lnTo>
                  <a:lnTo>
                    <a:pt x="326" y="1443"/>
                  </a:lnTo>
                  <a:lnTo>
                    <a:pt x="327" y="1443"/>
                  </a:lnTo>
                  <a:lnTo>
                    <a:pt x="327" y="1441"/>
                  </a:lnTo>
                  <a:lnTo>
                    <a:pt x="329" y="1441"/>
                  </a:lnTo>
                  <a:lnTo>
                    <a:pt x="329" y="1443"/>
                  </a:lnTo>
                  <a:lnTo>
                    <a:pt x="330" y="1445"/>
                  </a:lnTo>
                  <a:lnTo>
                    <a:pt x="329" y="1443"/>
                  </a:lnTo>
                  <a:lnTo>
                    <a:pt x="329" y="1441"/>
                  </a:lnTo>
                  <a:lnTo>
                    <a:pt x="330" y="1441"/>
                  </a:lnTo>
                  <a:lnTo>
                    <a:pt x="332" y="1440"/>
                  </a:lnTo>
                  <a:lnTo>
                    <a:pt x="332" y="1441"/>
                  </a:lnTo>
                  <a:lnTo>
                    <a:pt x="332" y="1440"/>
                  </a:lnTo>
                  <a:lnTo>
                    <a:pt x="332" y="1438"/>
                  </a:lnTo>
                  <a:lnTo>
                    <a:pt x="332" y="1440"/>
                  </a:lnTo>
                  <a:lnTo>
                    <a:pt x="332" y="1438"/>
                  </a:lnTo>
                  <a:lnTo>
                    <a:pt x="332" y="1436"/>
                  </a:lnTo>
                  <a:lnTo>
                    <a:pt x="334" y="1436"/>
                  </a:lnTo>
                  <a:lnTo>
                    <a:pt x="335" y="1436"/>
                  </a:lnTo>
                  <a:lnTo>
                    <a:pt x="337" y="1435"/>
                  </a:lnTo>
                  <a:lnTo>
                    <a:pt x="335" y="1435"/>
                  </a:lnTo>
                  <a:lnTo>
                    <a:pt x="335" y="1436"/>
                  </a:lnTo>
                  <a:lnTo>
                    <a:pt x="334" y="1436"/>
                  </a:lnTo>
                  <a:lnTo>
                    <a:pt x="332" y="1436"/>
                  </a:lnTo>
                  <a:lnTo>
                    <a:pt x="332" y="1438"/>
                  </a:lnTo>
                  <a:lnTo>
                    <a:pt x="332" y="1436"/>
                  </a:lnTo>
                  <a:lnTo>
                    <a:pt x="332" y="1435"/>
                  </a:lnTo>
                  <a:lnTo>
                    <a:pt x="332" y="1433"/>
                  </a:lnTo>
                  <a:lnTo>
                    <a:pt x="334" y="1432"/>
                  </a:lnTo>
                  <a:lnTo>
                    <a:pt x="334" y="1433"/>
                  </a:lnTo>
                  <a:lnTo>
                    <a:pt x="332" y="1433"/>
                  </a:lnTo>
                  <a:lnTo>
                    <a:pt x="330" y="1433"/>
                  </a:lnTo>
                  <a:lnTo>
                    <a:pt x="329" y="1433"/>
                  </a:lnTo>
                  <a:lnTo>
                    <a:pt x="327" y="1433"/>
                  </a:lnTo>
                  <a:lnTo>
                    <a:pt x="327" y="1432"/>
                  </a:lnTo>
                  <a:lnTo>
                    <a:pt x="327" y="1430"/>
                  </a:lnTo>
                  <a:lnTo>
                    <a:pt x="329" y="1430"/>
                  </a:lnTo>
                  <a:lnTo>
                    <a:pt x="329" y="1428"/>
                  </a:lnTo>
                  <a:lnTo>
                    <a:pt x="330" y="1428"/>
                  </a:lnTo>
                  <a:lnTo>
                    <a:pt x="330" y="1427"/>
                  </a:lnTo>
                  <a:lnTo>
                    <a:pt x="330" y="1428"/>
                  </a:lnTo>
                  <a:lnTo>
                    <a:pt x="330" y="1427"/>
                  </a:lnTo>
                  <a:lnTo>
                    <a:pt x="332" y="1427"/>
                  </a:lnTo>
                  <a:lnTo>
                    <a:pt x="334" y="1425"/>
                  </a:lnTo>
                  <a:close/>
                  <a:moveTo>
                    <a:pt x="290" y="1417"/>
                  </a:moveTo>
                  <a:lnTo>
                    <a:pt x="290" y="1415"/>
                  </a:lnTo>
                  <a:lnTo>
                    <a:pt x="291" y="1415"/>
                  </a:lnTo>
                  <a:lnTo>
                    <a:pt x="293" y="1417"/>
                  </a:lnTo>
                  <a:lnTo>
                    <a:pt x="295" y="1417"/>
                  </a:lnTo>
                  <a:lnTo>
                    <a:pt x="296" y="1419"/>
                  </a:lnTo>
                  <a:lnTo>
                    <a:pt x="296" y="1420"/>
                  </a:lnTo>
                  <a:lnTo>
                    <a:pt x="298" y="1420"/>
                  </a:lnTo>
                  <a:lnTo>
                    <a:pt x="298" y="1422"/>
                  </a:lnTo>
                  <a:lnTo>
                    <a:pt x="300" y="1422"/>
                  </a:lnTo>
                  <a:lnTo>
                    <a:pt x="300" y="1423"/>
                  </a:lnTo>
                  <a:lnTo>
                    <a:pt x="301" y="1423"/>
                  </a:lnTo>
                  <a:lnTo>
                    <a:pt x="300" y="1423"/>
                  </a:lnTo>
                  <a:lnTo>
                    <a:pt x="301" y="1423"/>
                  </a:lnTo>
                  <a:lnTo>
                    <a:pt x="301" y="1425"/>
                  </a:lnTo>
                  <a:lnTo>
                    <a:pt x="301" y="1427"/>
                  </a:lnTo>
                  <a:lnTo>
                    <a:pt x="301" y="1425"/>
                  </a:lnTo>
                  <a:lnTo>
                    <a:pt x="303" y="1427"/>
                  </a:lnTo>
                  <a:lnTo>
                    <a:pt x="301" y="1427"/>
                  </a:lnTo>
                  <a:lnTo>
                    <a:pt x="300" y="1427"/>
                  </a:lnTo>
                  <a:lnTo>
                    <a:pt x="298" y="1427"/>
                  </a:lnTo>
                  <a:lnTo>
                    <a:pt x="296" y="1427"/>
                  </a:lnTo>
                  <a:lnTo>
                    <a:pt x="298" y="1427"/>
                  </a:lnTo>
                  <a:lnTo>
                    <a:pt x="298" y="1428"/>
                  </a:lnTo>
                  <a:lnTo>
                    <a:pt x="296" y="1428"/>
                  </a:lnTo>
                  <a:lnTo>
                    <a:pt x="298" y="1428"/>
                  </a:lnTo>
                  <a:lnTo>
                    <a:pt x="300" y="1427"/>
                  </a:lnTo>
                  <a:lnTo>
                    <a:pt x="300" y="1428"/>
                  </a:lnTo>
                  <a:lnTo>
                    <a:pt x="301" y="1428"/>
                  </a:lnTo>
                  <a:lnTo>
                    <a:pt x="303" y="1427"/>
                  </a:lnTo>
                  <a:lnTo>
                    <a:pt x="304" y="1427"/>
                  </a:lnTo>
                  <a:lnTo>
                    <a:pt x="304" y="1428"/>
                  </a:lnTo>
                  <a:lnTo>
                    <a:pt x="303" y="1428"/>
                  </a:lnTo>
                  <a:lnTo>
                    <a:pt x="301" y="1430"/>
                  </a:lnTo>
                  <a:lnTo>
                    <a:pt x="301" y="1428"/>
                  </a:lnTo>
                  <a:lnTo>
                    <a:pt x="301" y="1430"/>
                  </a:lnTo>
                  <a:lnTo>
                    <a:pt x="303" y="1430"/>
                  </a:lnTo>
                  <a:lnTo>
                    <a:pt x="304" y="1430"/>
                  </a:lnTo>
                  <a:lnTo>
                    <a:pt x="304" y="1428"/>
                  </a:lnTo>
                  <a:lnTo>
                    <a:pt x="304" y="1430"/>
                  </a:lnTo>
                  <a:lnTo>
                    <a:pt x="306" y="1430"/>
                  </a:lnTo>
                  <a:lnTo>
                    <a:pt x="304" y="1430"/>
                  </a:lnTo>
                  <a:lnTo>
                    <a:pt x="306" y="1430"/>
                  </a:lnTo>
                  <a:lnTo>
                    <a:pt x="308" y="1430"/>
                  </a:lnTo>
                  <a:lnTo>
                    <a:pt x="306" y="1430"/>
                  </a:lnTo>
                  <a:lnTo>
                    <a:pt x="306" y="1432"/>
                  </a:lnTo>
                  <a:lnTo>
                    <a:pt x="308" y="1432"/>
                  </a:lnTo>
                  <a:lnTo>
                    <a:pt x="308" y="1433"/>
                  </a:lnTo>
                  <a:lnTo>
                    <a:pt x="309" y="1433"/>
                  </a:lnTo>
                  <a:lnTo>
                    <a:pt x="308" y="1433"/>
                  </a:lnTo>
                  <a:lnTo>
                    <a:pt x="308" y="1435"/>
                  </a:lnTo>
                  <a:lnTo>
                    <a:pt x="306" y="1435"/>
                  </a:lnTo>
                  <a:lnTo>
                    <a:pt x="308" y="1435"/>
                  </a:lnTo>
                  <a:lnTo>
                    <a:pt x="306" y="1433"/>
                  </a:lnTo>
                  <a:lnTo>
                    <a:pt x="306" y="1435"/>
                  </a:lnTo>
                  <a:lnTo>
                    <a:pt x="304" y="1435"/>
                  </a:lnTo>
                  <a:lnTo>
                    <a:pt x="303" y="1435"/>
                  </a:lnTo>
                  <a:lnTo>
                    <a:pt x="301" y="1435"/>
                  </a:lnTo>
                  <a:lnTo>
                    <a:pt x="300" y="1435"/>
                  </a:lnTo>
                  <a:lnTo>
                    <a:pt x="298" y="1435"/>
                  </a:lnTo>
                  <a:lnTo>
                    <a:pt x="296" y="1435"/>
                  </a:lnTo>
                  <a:lnTo>
                    <a:pt x="295" y="1435"/>
                  </a:lnTo>
                  <a:lnTo>
                    <a:pt x="293" y="1435"/>
                  </a:lnTo>
                  <a:lnTo>
                    <a:pt x="293" y="1433"/>
                  </a:lnTo>
                  <a:lnTo>
                    <a:pt x="295" y="1433"/>
                  </a:lnTo>
                  <a:lnTo>
                    <a:pt x="296" y="1433"/>
                  </a:lnTo>
                  <a:lnTo>
                    <a:pt x="298" y="1433"/>
                  </a:lnTo>
                  <a:lnTo>
                    <a:pt x="300" y="1433"/>
                  </a:lnTo>
                  <a:lnTo>
                    <a:pt x="298" y="1435"/>
                  </a:lnTo>
                  <a:lnTo>
                    <a:pt x="300" y="1433"/>
                  </a:lnTo>
                  <a:lnTo>
                    <a:pt x="298" y="1433"/>
                  </a:lnTo>
                  <a:lnTo>
                    <a:pt x="296" y="1433"/>
                  </a:lnTo>
                  <a:lnTo>
                    <a:pt x="295" y="1433"/>
                  </a:lnTo>
                  <a:lnTo>
                    <a:pt x="295" y="1432"/>
                  </a:lnTo>
                  <a:lnTo>
                    <a:pt x="293" y="1432"/>
                  </a:lnTo>
                  <a:lnTo>
                    <a:pt x="291" y="1432"/>
                  </a:lnTo>
                  <a:lnTo>
                    <a:pt x="293" y="1432"/>
                  </a:lnTo>
                  <a:lnTo>
                    <a:pt x="291" y="1432"/>
                  </a:lnTo>
                  <a:lnTo>
                    <a:pt x="291" y="1430"/>
                  </a:lnTo>
                  <a:lnTo>
                    <a:pt x="291" y="1432"/>
                  </a:lnTo>
                  <a:lnTo>
                    <a:pt x="290" y="1430"/>
                  </a:lnTo>
                  <a:lnTo>
                    <a:pt x="291" y="1430"/>
                  </a:lnTo>
                  <a:lnTo>
                    <a:pt x="290" y="1430"/>
                  </a:lnTo>
                  <a:lnTo>
                    <a:pt x="290" y="1428"/>
                  </a:lnTo>
                  <a:lnTo>
                    <a:pt x="291" y="1428"/>
                  </a:lnTo>
                  <a:lnTo>
                    <a:pt x="290" y="1428"/>
                  </a:lnTo>
                  <a:lnTo>
                    <a:pt x="290" y="1427"/>
                  </a:lnTo>
                  <a:lnTo>
                    <a:pt x="291" y="1427"/>
                  </a:lnTo>
                  <a:lnTo>
                    <a:pt x="291" y="1425"/>
                  </a:lnTo>
                  <a:lnTo>
                    <a:pt x="293" y="1425"/>
                  </a:lnTo>
                  <a:lnTo>
                    <a:pt x="291" y="1425"/>
                  </a:lnTo>
                  <a:lnTo>
                    <a:pt x="293" y="1423"/>
                  </a:lnTo>
                  <a:lnTo>
                    <a:pt x="291" y="1423"/>
                  </a:lnTo>
                  <a:lnTo>
                    <a:pt x="291" y="1422"/>
                  </a:lnTo>
                  <a:lnTo>
                    <a:pt x="290" y="1423"/>
                  </a:lnTo>
                  <a:lnTo>
                    <a:pt x="291" y="1423"/>
                  </a:lnTo>
                  <a:lnTo>
                    <a:pt x="290" y="1423"/>
                  </a:lnTo>
                  <a:lnTo>
                    <a:pt x="291" y="1423"/>
                  </a:lnTo>
                  <a:lnTo>
                    <a:pt x="290" y="1423"/>
                  </a:lnTo>
                  <a:lnTo>
                    <a:pt x="291" y="1423"/>
                  </a:lnTo>
                  <a:lnTo>
                    <a:pt x="291" y="1425"/>
                  </a:lnTo>
                  <a:lnTo>
                    <a:pt x="291" y="1427"/>
                  </a:lnTo>
                  <a:lnTo>
                    <a:pt x="290" y="1427"/>
                  </a:lnTo>
                  <a:lnTo>
                    <a:pt x="290" y="1425"/>
                  </a:lnTo>
                  <a:lnTo>
                    <a:pt x="290" y="1427"/>
                  </a:lnTo>
                  <a:lnTo>
                    <a:pt x="290" y="1425"/>
                  </a:lnTo>
                  <a:lnTo>
                    <a:pt x="290" y="1427"/>
                  </a:lnTo>
                  <a:lnTo>
                    <a:pt x="290" y="1425"/>
                  </a:lnTo>
                  <a:lnTo>
                    <a:pt x="288" y="1427"/>
                  </a:lnTo>
                  <a:lnTo>
                    <a:pt x="288" y="1425"/>
                  </a:lnTo>
                  <a:lnTo>
                    <a:pt x="290" y="1425"/>
                  </a:lnTo>
                  <a:lnTo>
                    <a:pt x="290" y="1423"/>
                  </a:lnTo>
                  <a:lnTo>
                    <a:pt x="288" y="1425"/>
                  </a:lnTo>
                  <a:lnTo>
                    <a:pt x="288" y="1423"/>
                  </a:lnTo>
                  <a:lnTo>
                    <a:pt x="290" y="1423"/>
                  </a:lnTo>
                  <a:lnTo>
                    <a:pt x="288" y="1423"/>
                  </a:lnTo>
                  <a:lnTo>
                    <a:pt x="288" y="1422"/>
                  </a:lnTo>
                  <a:lnTo>
                    <a:pt x="290" y="1422"/>
                  </a:lnTo>
                  <a:lnTo>
                    <a:pt x="288" y="1423"/>
                  </a:lnTo>
                  <a:lnTo>
                    <a:pt x="290" y="1422"/>
                  </a:lnTo>
                  <a:lnTo>
                    <a:pt x="290" y="1423"/>
                  </a:lnTo>
                  <a:lnTo>
                    <a:pt x="290" y="1422"/>
                  </a:lnTo>
                  <a:lnTo>
                    <a:pt x="290" y="1420"/>
                  </a:lnTo>
                  <a:lnTo>
                    <a:pt x="290" y="1419"/>
                  </a:lnTo>
                  <a:lnTo>
                    <a:pt x="290" y="1417"/>
                  </a:lnTo>
                  <a:close/>
                  <a:moveTo>
                    <a:pt x="246" y="1397"/>
                  </a:moveTo>
                  <a:lnTo>
                    <a:pt x="247" y="1397"/>
                  </a:lnTo>
                  <a:lnTo>
                    <a:pt x="249" y="1397"/>
                  </a:lnTo>
                  <a:lnTo>
                    <a:pt x="251" y="1397"/>
                  </a:lnTo>
                  <a:lnTo>
                    <a:pt x="251" y="1399"/>
                  </a:lnTo>
                  <a:lnTo>
                    <a:pt x="249" y="1397"/>
                  </a:lnTo>
                  <a:lnTo>
                    <a:pt x="251" y="1399"/>
                  </a:lnTo>
                  <a:lnTo>
                    <a:pt x="249" y="1399"/>
                  </a:lnTo>
                  <a:lnTo>
                    <a:pt x="249" y="1401"/>
                  </a:lnTo>
                  <a:lnTo>
                    <a:pt x="251" y="1401"/>
                  </a:lnTo>
                  <a:lnTo>
                    <a:pt x="251" y="1402"/>
                  </a:lnTo>
                  <a:lnTo>
                    <a:pt x="251" y="1401"/>
                  </a:lnTo>
                  <a:lnTo>
                    <a:pt x="251" y="1402"/>
                  </a:lnTo>
                  <a:lnTo>
                    <a:pt x="252" y="1402"/>
                  </a:lnTo>
                  <a:lnTo>
                    <a:pt x="251" y="1402"/>
                  </a:lnTo>
                  <a:lnTo>
                    <a:pt x="251" y="1401"/>
                  </a:lnTo>
                  <a:lnTo>
                    <a:pt x="252" y="1401"/>
                  </a:lnTo>
                  <a:lnTo>
                    <a:pt x="252" y="1402"/>
                  </a:lnTo>
                  <a:lnTo>
                    <a:pt x="254" y="1402"/>
                  </a:lnTo>
                  <a:lnTo>
                    <a:pt x="252" y="1402"/>
                  </a:lnTo>
                  <a:lnTo>
                    <a:pt x="252" y="1404"/>
                  </a:lnTo>
                  <a:lnTo>
                    <a:pt x="252" y="1402"/>
                  </a:lnTo>
                  <a:lnTo>
                    <a:pt x="252" y="1404"/>
                  </a:lnTo>
                  <a:lnTo>
                    <a:pt x="252" y="1402"/>
                  </a:lnTo>
                  <a:lnTo>
                    <a:pt x="251" y="1404"/>
                  </a:lnTo>
                  <a:lnTo>
                    <a:pt x="251" y="1402"/>
                  </a:lnTo>
                  <a:lnTo>
                    <a:pt x="251" y="1404"/>
                  </a:lnTo>
                  <a:lnTo>
                    <a:pt x="252" y="1404"/>
                  </a:lnTo>
                  <a:lnTo>
                    <a:pt x="254" y="1404"/>
                  </a:lnTo>
                  <a:lnTo>
                    <a:pt x="254" y="1406"/>
                  </a:lnTo>
                  <a:lnTo>
                    <a:pt x="254" y="1407"/>
                  </a:lnTo>
                  <a:lnTo>
                    <a:pt x="256" y="1406"/>
                  </a:lnTo>
                  <a:lnTo>
                    <a:pt x="256" y="1407"/>
                  </a:lnTo>
                  <a:lnTo>
                    <a:pt x="256" y="1406"/>
                  </a:lnTo>
                  <a:lnTo>
                    <a:pt x="256" y="1407"/>
                  </a:lnTo>
                  <a:lnTo>
                    <a:pt x="256" y="1406"/>
                  </a:lnTo>
                  <a:lnTo>
                    <a:pt x="257" y="1407"/>
                  </a:lnTo>
                  <a:lnTo>
                    <a:pt x="257" y="1406"/>
                  </a:lnTo>
                  <a:lnTo>
                    <a:pt x="257" y="1407"/>
                  </a:lnTo>
                  <a:lnTo>
                    <a:pt x="257" y="1409"/>
                  </a:lnTo>
                  <a:lnTo>
                    <a:pt x="259" y="1409"/>
                  </a:lnTo>
                  <a:lnTo>
                    <a:pt x="259" y="1407"/>
                  </a:lnTo>
                  <a:lnTo>
                    <a:pt x="261" y="1409"/>
                  </a:lnTo>
                  <a:lnTo>
                    <a:pt x="261" y="1410"/>
                  </a:lnTo>
                  <a:lnTo>
                    <a:pt x="261" y="1409"/>
                  </a:lnTo>
                  <a:lnTo>
                    <a:pt x="261" y="1410"/>
                  </a:lnTo>
                  <a:lnTo>
                    <a:pt x="261" y="1409"/>
                  </a:lnTo>
                  <a:lnTo>
                    <a:pt x="259" y="1409"/>
                  </a:lnTo>
                  <a:lnTo>
                    <a:pt x="261" y="1409"/>
                  </a:lnTo>
                  <a:lnTo>
                    <a:pt x="259" y="1409"/>
                  </a:lnTo>
                  <a:lnTo>
                    <a:pt x="259" y="1410"/>
                  </a:lnTo>
                  <a:lnTo>
                    <a:pt x="261" y="1410"/>
                  </a:lnTo>
                  <a:lnTo>
                    <a:pt x="259" y="1410"/>
                  </a:lnTo>
                  <a:lnTo>
                    <a:pt x="261" y="1410"/>
                  </a:lnTo>
                  <a:lnTo>
                    <a:pt x="261" y="1412"/>
                  </a:lnTo>
                  <a:lnTo>
                    <a:pt x="262" y="1412"/>
                  </a:lnTo>
                  <a:lnTo>
                    <a:pt x="262" y="1410"/>
                  </a:lnTo>
                  <a:lnTo>
                    <a:pt x="264" y="1410"/>
                  </a:lnTo>
                  <a:lnTo>
                    <a:pt x="264" y="1412"/>
                  </a:lnTo>
                  <a:lnTo>
                    <a:pt x="264" y="1410"/>
                  </a:lnTo>
                  <a:lnTo>
                    <a:pt x="265" y="1410"/>
                  </a:lnTo>
                  <a:lnTo>
                    <a:pt x="265" y="1412"/>
                  </a:lnTo>
                  <a:lnTo>
                    <a:pt x="267" y="1412"/>
                  </a:lnTo>
                  <a:lnTo>
                    <a:pt x="267" y="1414"/>
                  </a:lnTo>
                  <a:lnTo>
                    <a:pt x="269" y="1414"/>
                  </a:lnTo>
                  <a:lnTo>
                    <a:pt x="269" y="1415"/>
                  </a:lnTo>
                  <a:lnTo>
                    <a:pt x="267" y="1415"/>
                  </a:lnTo>
                  <a:lnTo>
                    <a:pt x="267" y="1414"/>
                  </a:lnTo>
                  <a:lnTo>
                    <a:pt x="265" y="1414"/>
                  </a:lnTo>
                  <a:lnTo>
                    <a:pt x="264" y="1414"/>
                  </a:lnTo>
                  <a:lnTo>
                    <a:pt x="264" y="1415"/>
                  </a:lnTo>
                  <a:lnTo>
                    <a:pt x="265" y="1417"/>
                  </a:lnTo>
                  <a:lnTo>
                    <a:pt x="265" y="1415"/>
                  </a:lnTo>
                  <a:lnTo>
                    <a:pt x="264" y="1415"/>
                  </a:lnTo>
                  <a:lnTo>
                    <a:pt x="265" y="1415"/>
                  </a:lnTo>
                  <a:lnTo>
                    <a:pt x="265" y="1414"/>
                  </a:lnTo>
                  <a:lnTo>
                    <a:pt x="265" y="1415"/>
                  </a:lnTo>
                  <a:lnTo>
                    <a:pt x="267" y="1415"/>
                  </a:lnTo>
                  <a:lnTo>
                    <a:pt x="267" y="1417"/>
                  </a:lnTo>
                  <a:lnTo>
                    <a:pt x="265" y="1417"/>
                  </a:lnTo>
                  <a:lnTo>
                    <a:pt x="265" y="1419"/>
                  </a:lnTo>
                  <a:lnTo>
                    <a:pt x="267" y="1419"/>
                  </a:lnTo>
                  <a:lnTo>
                    <a:pt x="267" y="1420"/>
                  </a:lnTo>
                  <a:lnTo>
                    <a:pt x="265" y="1420"/>
                  </a:lnTo>
                  <a:lnTo>
                    <a:pt x="265" y="1422"/>
                  </a:lnTo>
                  <a:lnTo>
                    <a:pt x="264" y="1422"/>
                  </a:lnTo>
                  <a:lnTo>
                    <a:pt x="262" y="1422"/>
                  </a:lnTo>
                  <a:lnTo>
                    <a:pt x="262" y="1420"/>
                  </a:lnTo>
                  <a:lnTo>
                    <a:pt x="262" y="1419"/>
                  </a:lnTo>
                  <a:lnTo>
                    <a:pt x="261" y="1419"/>
                  </a:lnTo>
                  <a:lnTo>
                    <a:pt x="259" y="1419"/>
                  </a:lnTo>
                  <a:lnTo>
                    <a:pt x="259" y="1417"/>
                  </a:lnTo>
                  <a:lnTo>
                    <a:pt x="257" y="1417"/>
                  </a:lnTo>
                  <a:lnTo>
                    <a:pt x="257" y="1415"/>
                  </a:lnTo>
                  <a:lnTo>
                    <a:pt x="256" y="1415"/>
                  </a:lnTo>
                  <a:lnTo>
                    <a:pt x="257" y="1415"/>
                  </a:lnTo>
                  <a:lnTo>
                    <a:pt x="256" y="1415"/>
                  </a:lnTo>
                  <a:lnTo>
                    <a:pt x="254" y="1415"/>
                  </a:lnTo>
                  <a:lnTo>
                    <a:pt x="254" y="1414"/>
                  </a:lnTo>
                  <a:lnTo>
                    <a:pt x="254" y="1412"/>
                  </a:lnTo>
                  <a:lnTo>
                    <a:pt x="254" y="1414"/>
                  </a:lnTo>
                  <a:lnTo>
                    <a:pt x="252" y="1414"/>
                  </a:lnTo>
                  <a:lnTo>
                    <a:pt x="252" y="1412"/>
                  </a:lnTo>
                  <a:lnTo>
                    <a:pt x="254" y="1412"/>
                  </a:lnTo>
                  <a:lnTo>
                    <a:pt x="252" y="1412"/>
                  </a:lnTo>
                  <a:lnTo>
                    <a:pt x="252" y="1414"/>
                  </a:lnTo>
                  <a:lnTo>
                    <a:pt x="252" y="1412"/>
                  </a:lnTo>
                  <a:lnTo>
                    <a:pt x="249" y="1410"/>
                  </a:lnTo>
                  <a:lnTo>
                    <a:pt x="251" y="1409"/>
                  </a:lnTo>
                  <a:lnTo>
                    <a:pt x="251" y="1410"/>
                  </a:lnTo>
                  <a:lnTo>
                    <a:pt x="252" y="1410"/>
                  </a:lnTo>
                  <a:lnTo>
                    <a:pt x="252" y="1412"/>
                  </a:lnTo>
                  <a:lnTo>
                    <a:pt x="254" y="1412"/>
                  </a:lnTo>
                  <a:lnTo>
                    <a:pt x="252" y="1412"/>
                  </a:lnTo>
                  <a:lnTo>
                    <a:pt x="252" y="1410"/>
                  </a:lnTo>
                  <a:lnTo>
                    <a:pt x="254" y="1410"/>
                  </a:lnTo>
                  <a:lnTo>
                    <a:pt x="254" y="1412"/>
                  </a:lnTo>
                  <a:lnTo>
                    <a:pt x="254" y="1410"/>
                  </a:lnTo>
                  <a:lnTo>
                    <a:pt x="254" y="1409"/>
                  </a:lnTo>
                  <a:lnTo>
                    <a:pt x="254" y="1410"/>
                  </a:lnTo>
                  <a:lnTo>
                    <a:pt x="254" y="1409"/>
                  </a:lnTo>
                  <a:lnTo>
                    <a:pt x="256" y="1409"/>
                  </a:lnTo>
                  <a:lnTo>
                    <a:pt x="256" y="1410"/>
                  </a:lnTo>
                  <a:lnTo>
                    <a:pt x="256" y="1409"/>
                  </a:lnTo>
                  <a:lnTo>
                    <a:pt x="254" y="1409"/>
                  </a:lnTo>
                  <a:lnTo>
                    <a:pt x="254" y="1407"/>
                  </a:lnTo>
                  <a:lnTo>
                    <a:pt x="254" y="1406"/>
                  </a:lnTo>
                  <a:lnTo>
                    <a:pt x="252" y="1406"/>
                  </a:lnTo>
                  <a:lnTo>
                    <a:pt x="251" y="1404"/>
                  </a:lnTo>
                  <a:lnTo>
                    <a:pt x="251" y="1406"/>
                  </a:lnTo>
                  <a:lnTo>
                    <a:pt x="251" y="1407"/>
                  </a:lnTo>
                  <a:lnTo>
                    <a:pt x="251" y="1406"/>
                  </a:lnTo>
                  <a:lnTo>
                    <a:pt x="252" y="1407"/>
                  </a:lnTo>
                  <a:lnTo>
                    <a:pt x="252" y="1406"/>
                  </a:lnTo>
                  <a:lnTo>
                    <a:pt x="252" y="1407"/>
                  </a:lnTo>
                  <a:lnTo>
                    <a:pt x="252" y="1409"/>
                  </a:lnTo>
                  <a:lnTo>
                    <a:pt x="251" y="1409"/>
                  </a:lnTo>
                  <a:lnTo>
                    <a:pt x="251" y="1410"/>
                  </a:lnTo>
                  <a:lnTo>
                    <a:pt x="251" y="1409"/>
                  </a:lnTo>
                  <a:lnTo>
                    <a:pt x="249" y="1409"/>
                  </a:lnTo>
                  <a:lnTo>
                    <a:pt x="249" y="1407"/>
                  </a:lnTo>
                  <a:lnTo>
                    <a:pt x="249" y="1406"/>
                  </a:lnTo>
                  <a:lnTo>
                    <a:pt x="247" y="1406"/>
                  </a:lnTo>
                  <a:lnTo>
                    <a:pt x="247" y="1404"/>
                  </a:lnTo>
                  <a:lnTo>
                    <a:pt x="247" y="1406"/>
                  </a:lnTo>
                  <a:lnTo>
                    <a:pt x="247" y="1407"/>
                  </a:lnTo>
                  <a:lnTo>
                    <a:pt x="247" y="1406"/>
                  </a:lnTo>
                  <a:lnTo>
                    <a:pt x="247" y="1407"/>
                  </a:lnTo>
                  <a:lnTo>
                    <a:pt x="247" y="1406"/>
                  </a:lnTo>
                  <a:lnTo>
                    <a:pt x="246" y="1406"/>
                  </a:lnTo>
                  <a:lnTo>
                    <a:pt x="246" y="1404"/>
                  </a:lnTo>
                  <a:lnTo>
                    <a:pt x="244" y="1404"/>
                  </a:lnTo>
                  <a:lnTo>
                    <a:pt x="244" y="1402"/>
                  </a:lnTo>
                  <a:lnTo>
                    <a:pt x="243" y="1402"/>
                  </a:lnTo>
                  <a:lnTo>
                    <a:pt x="244" y="1402"/>
                  </a:lnTo>
                  <a:lnTo>
                    <a:pt x="244" y="1401"/>
                  </a:lnTo>
                  <a:lnTo>
                    <a:pt x="246" y="1401"/>
                  </a:lnTo>
                  <a:lnTo>
                    <a:pt x="246" y="1399"/>
                  </a:lnTo>
                  <a:lnTo>
                    <a:pt x="246" y="1401"/>
                  </a:lnTo>
                  <a:lnTo>
                    <a:pt x="246" y="1399"/>
                  </a:lnTo>
                  <a:lnTo>
                    <a:pt x="247" y="1399"/>
                  </a:lnTo>
                  <a:lnTo>
                    <a:pt x="247" y="1397"/>
                  </a:lnTo>
                  <a:lnTo>
                    <a:pt x="246" y="1397"/>
                  </a:lnTo>
                  <a:close/>
                  <a:moveTo>
                    <a:pt x="135" y="1477"/>
                  </a:moveTo>
                  <a:lnTo>
                    <a:pt x="134" y="1475"/>
                  </a:lnTo>
                  <a:lnTo>
                    <a:pt x="134" y="1477"/>
                  </a:lnTo>
                  <a:lnTo>
                    <a:pt x="132" y="1477"/>
                  </a:lnTo>
                  <a:lnTo>
                    <a:pt x="132" y="1475"/>
                  </a:lnTo>
                  <a:lnTo>
                    <a:pt x="134" y="1475"/>
                  </a:lnTo>
                  <a:lnTo>
                    <a:pt x="132" y="1475"/>
                  </a:lnTo>
                  <a:lnTo>
                    <a:pt x="132" y="1474"/>
                  </a:lnTo>
                  <a:lnTo>
                    <a:pt x="132" y="1475"/>
                  </a:lnTo>
                  <a:lnTo>
                    <a:pt x="132" y="1477"/>
                  </a:lnTo>
                  <a:lnTo>
                    <a:pt x="130" y="1477"/>
                  </a:lnTo>
                  <a:lnTo>
                    <a:pt x="132" y="1477"/>
                  </a:lnTo>
                  <a:lnTo>
                    <a:pt x="130" y="1475"/>
                  </a:lnTo>
                  <a:lnTo>
                    <a:pt x="130" y="1477"/>
                  </a:lnTo>
                  <a:lnTo>
                    <a:pt x="129" y="1477"/>
                  </a:lnTo>
                  <a:lnTo>
                    <a:pt x="129" y="1475"/>
                  </a:lnTo>
                  <a:lnTo>
                    <a:pt x="130" y="1475"/>
                  </a:lnTo>
                  <a:lnTo>
                    <a:pt x="129" y="1475"/>
                  </a:lnTo>
                  <a:lnTo>
                    <a:pt x="130" y="1475"/>
                  </a:lnTo>
                  <a:lnTo>
                    <a:pt x="129" y="1474"/>
                  </a:lnTo>
                  <a:lnTo>
                    <a:pt x="130" y="1474"/>
                  </a:lnTo>
                  <a:lnTo>
                    <a:pt x="129" y="1472"/>
                  </a:lnTo>
                  <a:lnTo>
                    <a:pt x="130" y="1472"/>
                  </a:lnTo>
                  <a:lnTo>
                    <a:pt x="130" y="1474"/>
                  </a:lnTo>
                  <a:lnTo>
                    <a:pt x="130" y="1475"/>
                  </a:lnTo>
                  <a:lnTo>
                    <a:pt x="132" y="1474"/>
                  </a:lnTo>
                  <a:lnTo>
                    <a:pt x="132" y="1472"/>
                  </a:lnTo>
                  <a:lnTo>
                    <a:pt x="132" y="1474"/>
                  </a:lnTo>
                  <a:lnTo>
                    <a:pt x="134" y="1472"/>
                  </a:lnTo>
                  <a:lnTo>
                    <a:pt x="134" y="1474"/>
                  </a:lnTo>
                  <a:lnTo>
                    <a:pt x="132" y="1474"/>
                  </a:lnTo>
                  <a:lnTo>
                    <a:pt x="134" y="1474"/>
                  </a:lnTo>
                  <a:lnTo>
                    <a:pt x="134" y="1475"/>
                  </a:lnTo>
                  <a:lnTo>
                    <a:pt x="134" y="1474"/>
                  </a:lnTo>
                  <a:lnTo>
                    <a:pt x="134" y="1472"/>
                  </a:lnTo>
                  <a:lnTo>
                    <a:pt x="135" y="1474"/>
                  </a:lnTo>
                  <a:lnTo>
                    <a:pt x="135" y="1472"/>
                  </a:lnTo>
                  <a:lnTo>
                    <a:pt x="135" y="1471"/>
                  </a:lnTo>
                  <a:lnTo>
                    <a:pt x="135" y="1469"/>
                  </a:lnTo>
                  <a:lnTo>
                    <a:pt x="135" y="1471"/>
                  </a:lnTo>
                  <a:lnTo>
                    <a:pt x="135" y="1472"/>
                  </a:lnTo>
                  <a:lnTo>
                    <a:pt x="137" y="1472"/>
                  </a:lnTo>
                  <a:lnTo>
                    <a:pt x="135" y="1471"/>
                  </a:lnTo>
                  <a:lnTo>
                    <a:pt x="137" y="1472"/>
                  </a:lnTo>
                  <a:lnTo>
                    <a:pt x="137" y="1471"/>
                  </a:lnTo>
                  <a:lnTo>
                    <a:pt x="137" y="1469"/>
                  </a:lnTo>
                  <a:lnTo>
                    <a:pt x="137" y="1467"/>
                  </a:lnTo>
                  <a:lnTo>
                    <a:pt x="137" y="1466"/>
                  </a:lnTo>
                  <a:lnTo>
                    <a:pt x="139" y="1466"/>
                  </a:lnTo>
                  <a:lnTo>
                    <a:pt x="139" y="1467"/>
                  </a:lnTo>
                  <a:lnTo>
                    <a:pt x="139" y="1469"/>
                  </a:lnTo>
                  <a:lnTo>
                    <a:pt x="140" y="1471"/>
                  </a:lnTo>
                  <a:lnTo>
                    <a:pt x="140" y="1472"/>
                  </a:lnTo>
                  <a:lnTo>
                    <a:pt x="140" y="1471"/>
                  </a:lnTo>
                  <a:lnTo>
                    <a:pt x="142" y="1472"/>
                  </a:lnTo>
                  <a:lnTo>
                    <a:pt x="142" y="1474"/>
                  </a:lnTo>
                  <a:lnTo>
                    <a:pt x="142" y="1472"/>
                  </a:lnTo>
                  <a:lnTo>
                    <a:pt x="142" y="1474"/>
                  </a:lnTo>
                  <a:lnTo>
                    <a:pt x="142" y="1475"/>
                  </a:lnTo>
                  <a:lnTo>
                    <a:pt x="142" y="1477"/>
                  </a:lnTo>
                  <a:lnTo>
                    <a:pt x="143" y="1475"/>
                  </a:lnTo>
                  <a:lnTo>
                    <a:pt x="143" y="1477"/>
                  </a:lnTo>
                  <a:lnTo>
                    <a:pt x="145" y="1477"/>
                  </a:lnTo>
                  <a:lnTo>
                    <a:pt x="145" y="1479"/>
                  </a:lnTo>
                  <a:lnTo>
                    <a:pt x="145" y="1480"/>
                  </a:lnTo>
                  <a:lnTo>
                    <a:pt x="145" y="1482"/>
                  </a:lnTo>
                  <a:lnTo>
                    <a:pt x="145" y="1480"/>
                  </a:lnTo>
                  <a:lnTo>
                    <a:pt x="147" y="1482"/>
                  </a:lnTo>
                  <a:lnTo>
                    <a:pt x="145" y="1482"/>
                  </a:lnTo>
                  <a:lnTo>
                    <a:pt x="145" y="1484"/>
                  </a:lnTo>
                  <a:lnTo>
                    <a:pt x="145" y="1485"/>
                  </a:lnTo>
                  <a:lnTo>
                    <a:pt x="143" y="1485"/>
                  </a:lnTo>
                  <a:lnTo>
                    <a:pt x="143" y="1484"/>
                  </a:lnTo>
                  <a:lnTo>
                    <a:pt x="142" y="1484"/>
                  </a:lnTo>
                  <a:lnTo>
                    <a:pt x="143" y="1484"/>
                  </a:lnTo>
                  <a:lnTo>
                    <a:pt x="143" y="1485"/>
                  </a:lnTo>
                  <a:lnTo>
                    <a:pt x="142" y="1485"/>
                  </a:lnTo>
                  <a:lnTo>
                    <a:pt x="142" y="1484"/>
                  </a:lnTo>
                  <a:lnTo>
                    <a:pt x="140" y="1484"/>
                  </a:lnTo>
                  <a:lnTo>
                    <a:pt x="140" y="1482"/>
                  </a:lnTo>
                  <a:lnTo>
                    <a:pt x="140" y="1480"/>
                  </a:lnTo>
                  <a:lnTo>
                    <a:pt x="139" y="1479"/>
                  </a:lnTo>
                  <a:lnTo>
                    <a:pt x="139" y="1480"/>
                  </a:lnTo>
                  <a:lnTo>
                    <a:pt x="139" y="1482"/>
                  </a:lnTo>
                  <a:lnTo>
                    <a:pt x="140" y="1482"/>
                  </a:lnTo>
                  <a:lnTo>
                    <a:pt x="140" y="1484"/>
                  </a:lnTo>
                  <a:lnTo>
                    <a:pt x="140" y="1485"/>
                  </a:lnTo>
                  <a:lnTo>
                    <a:pt x="140" y="1487"/>
                  </a:lnTo>
                  <a:lnTo>
                    <a:pt x="140" y="1488"/>
                  </a:lnTo>
                  <a:lnTo>
                    <a:pt x="142" y="1488"/>
                  </a:lnTo>
                  <a:lnTo>
                    <a:pt x="140" y="1488"/>
                  </a:lnTo>
                  <a:lnTo>
                    <a:pt x="139" y="1490"/>
                  </a:lnTo>
                  <a:lnTo>
                    <a:pt x="139" y="1488"/>
                  </a:lnTo>
                  <a:lnTo>
                    <a:pt x="139" y="1490"/>
                  </a:lnTo>
                  <a:lnTo>
                    <a:pt x="137" y="1488"/>
                  </a:lnTo>
                  <a:lnTo>
                    <a:pt x="137" y="1490"/>
                  </a:lnTo>
                  <a:lnTo>
                    <a:pt x="137" y="1488"/>
                  </a:lnTo>
                  <a:lnTo>
                    <a:pt x="135" y="1488"/>
                  </a:lnTo>
                  <a:lnTo>
                    <a:pt x="135" y="1487"/>
                  </a:lnTo>
                  <a:lnTo>
                    <a:pt x="134" y="1487"/>
                  </a:lnTo>
                  <a:lnTo>
                    <a:pt x="134" y="1485"/>
                  </a:lnTo>
                  <a:lnTo>
                    <a:pt x="135" y="1485"/>
                  </a:lnTo>
                  <a:lnTo>
                    <a:pt x="134" y="1485"/>
                  </a:lnTo>
                  <a:lnTo>
                    <a:pt x="134" y="1484"/>
                  </a:lnTo>
                  <a:lnTo>
                    <a:pt x="134" y="1482"/>
                  </a:lnTo>
                  <a:lnTo>
                    <a:pt x="134" y="1480"/>
                  </a:lnTo>
                  <a:lnTo>
                    <a:pt x="135" y="1480"/>
                  </a:lnTo>
                  <a:lnTo>
                    <a:pt x="135" y="1479"/>
                  </a:lnTo>
                  <a:lnTo>
                    <a:pt x="134" y="1477"/>
                  </a:lnTo>
                  <a:lnTo>
                    <a:pt x="135" y="1477"/>
                  </a:lnTo>
                  <a:close/>
                  <a:moveTo>
                    <a:pt x="324" y="1433"/>
                  </a:moveTo>
                  <a:lnTo>
                    <a:pt x="326" y="1433"/>
                  </a:lnTo>
                  <a:lnTo>
                    <a:pt x="326" y="1435"/>
                  </a:lnTo>
                  <a:lnTo>
                    <a:pt x="327" y="1435"/>
                  </a:lnTo>
                  <a:lnTo>
                    <a:pt x="329" y="1435"/>
                  </a:lnTo>
                  <a:lnTo>
                    <a:pt x="329" y="1433"/>
                  </a:lnTo>
                  <a:lnTo>
                    <a:pt x="330" y="1433"/>
                  </a:lnTo>
                  <a:lnTo>
                    <a:pt x="332" y="1435"/>
                  </a:lnTo>
                  <a:lnTo>
                    <a:pt x="332" y="1436"/>
                  </a:lnTo>
                  <a:lnTo>
                    <a:pt x="330" y="1436"/>
                  </a:lnTo>
                  <a:lnTo>
                    <a:pt x="332" y="1438"/>
                  </a:lnTo>
                  <a:lnTo>
                    <a:pt x="330" y="1438"/>
                  </a:lnTo>
                  <a:lnTo>
                    <a:pt x="330" y="1440"/>
                  </a:lnTo>
                  <a:lnTo>
                    <a:pt x="330" y="1438"/>
                  </a:lnTo>
                  <a:lnTo>
                    <a:pt x="329" y="1438"/>
                  </a:lnTo>
                  <a:lnTo>
                    <a:pt x="330" y="1438"/>
                  </a:lnTo>
                  <a:lnTo>
                    <a:pt x="329" y="1438"/>
                  </a:lnTo>
                  <a:lnTo>
                    <a:pt x="327" y="1438"/>
                  </a:lnTo>
                  <a:lnTo>
                    <a:pt x="329" y="1438"/>
                  </a:lnTo>
                  <a:lnTo>
                    <a:pt x="329" y="1440"/>
                  </a:lnTo>
                  <a:lnTo>
                    <a:pt x="327" y="1440"/>
                  </a:lnTo>
                  <a:lnTo>
                    <a:pt x="327" y="1441"/>
                  </a:lnTo>
                  <a:lnTo>
                    <a:pt x="326" y="1441"/>
                  </a:lnTo>
                  <a:lnTo>
                    <a:pt x="326" y="1443"/>
                  </a:lnTo>
                  <a:lnTo>
                    <a:pt x="324" y="1443"/>
                  </a:lnTo>
                  <a:lnTo>
                    <a:pt x="324" y="1445"/>
                  </a:lnTo>
                  <a:lnTo>
                    <a:pt x="326" y="1445"/>
                  </a:lnTo>
                  <a:lnTo>
                    <a:pt x="324" y="1445"/>
                  </a:lnTo>
                  <a:lnTo>
                    <a:pt x="322" y="1445"/>
                  </a:lnTo>
                  <a:lnTo>
                    <a:pt x="321" y="1445"/>
                  </a:lnTo>
                  <a:lnTo>
                    <a:pt x="321" y="1446"/>
                  </a:lnTo>
                  <a:lnTo>
                    <a:pt x="319" y="1446"/>
                  </a:lnTo>
                  <a:lnTo>
                    <a:pt x="317" y="1446"/>
                  </a:lnTo>
                  <a:lnTo>
                    <a:pt x="316" y="1446"/>
                  </a:lnTo>
                  <a:lnTo>
                    <a:pt x="314" y="1446"/>
                  </a:lnTo>
                  <a:lnTo>
                    <a:pt x="316" y="1446"/>
                  </a:lnTo>
                  <a:lnTo>
                    <a:pt x="316" y="1445"/>
                  </a:lnTo>
                  <a:lnTo>
                    <a:pt x="317" y="1445"/>
                  </a:lnTo>
                  <a:lnTo>
                    <a:pt x="319" y="1445"/>
                  </a:lnTo>
                  <a:lnTo>
                    <a:pt x="321" y="1445"/>
                  </a:lnTo>
                  <a:lnTo>
                    <a:pt x="321" y="1443"/>
                  </a:lnTo>
                  <a:lnTo>
                    <a:pt x="321" y="1445"/>
                  </a:lnTo>
                  <a:lnTo>
                    <a:pt x="322" y="1445"/>
                  </a:lnTo>
                  <a:lnTo>
                    <a:pt x="322" y="1443"/>
                  </a:lnTo>
                  <a:lnTo>
                    <a:pt x="322" y="1441"/>
                  </a:lnTo>
                  <a:lnTo>
                    <a:pt x="321" y="1441"/>
                  </a:lnTo>
                  <a:lnTo>
                    <a:pt x="322" y="1441"/>
                  </a:lnTo>
                  <a:lnTo>
                    <a:pt x="321" y="1441"/>
                  </a:lnTo>
                  <a:lnTo>
                    <a:pt x="322" y="1441"/>
                  </a:lnTo>
                  <a:lnTo>
                    <a:pt x="322" y="1440"/>
                  </a:lnTo>
                  <a:lnTo>
                    <a:pt x="322" y="1438"/>
                  </a:lnTo>
                  <a:lnTo>
                    <a:pt x="322" y="1440"/>
                  </a:lnTo>
                  <a:lnTo>
                    <a:pt x="321" y="1440"/>
                  </a:lnTo>
                  <a:lnTo>
                    <a:pt x="319" y="1440"/>
                  </a:lnTo>
                  <a:lnTo>
                    <a:pt x="319" y="1438"/>
                  </a:lnTo>
                  <a:lnTo>
                    <a:pt x="317" y="1440"/>
                  </a:lnTo>
                  <a:lnTo>
                    <a:pt x="319" y="1440"/>
                  </a:lnTo>
                  <a:lnTo>
                    <a:pt x="321" y="1440"/>
                  </a:lnTo>
                  <a:lnTo>
                    <a:pt x="321" y="1441"/>
                  </a:lnTo>
                  <a:lnTo>
                    <a:pt x="321" y="1443"/>
                  </a:lnTo>
                  <a:lnTo>
                    <a:pt x="319" y="1445"/>
                  </a:lnTo>
                  <a:lnTo>
                    <a:pt x="317" y="1445"/>
                  </a:lnTo>
                  <a:lnTo>
                    <a:pt x="317" y="1443"/>
                  </a:lnTo>
                  <a:lnTo>
                    <a:pt x="319" y="1443"/>
                  </a:lnTo>
                  <a:lnTo>
                    <a:pt x="317" y="1443"/>
                  </a:lnTo>
                  <a:lnTo>
                    <a:pt x="316" y="1443"/>
                  </a:lnTo>
                  <a:lnTo>
                    <a:pt x="316" y="1441"/>
                  </a:lnTo>
                  <a:lnTo>
                    <a:pt x="316" y="1443"/>
                  </a:lnTo>
                  <a:lnTo>
                    <a:pt x="314" y="1443"/>
                  </a:lnTo>
                  <a:lnTo>
                    <a:pt x="313" y="1441"/>
                  </a:lnTo>
                  <a:lnTo>
                    <a:pt x="313" y="1440"/>
                  </a:lnTo>
                  <a:lnTo>
                    <a:pt x="314" y="1440"/>
                  </a:lnTo>
                  <a:lnTo>
                    <a:pt x="313" y="1438"/>
                  </a:lnTo>
                  <a:lnTo>
                    <a:pt x="314" y="1438"/>
                  </a:lnTo>
                  <a:lnTo>
                    <a:pt x="314" y="1436"/>
                  </a:lnTo>
                  <a:lnTo>
                    <a:pt x="313" y="1436"/>
                  </a:lnTo>
                  <a:lnTo>
                    <a:pt x="314" y="1435"/>
                  </a:lnTo>
                  <a:lnTo>
                    <a:pt x="314" y="1436"/>
                  </a:lnTo>
                  <a:lnTo>
                    <a:pt x="314" y="1435"/>
                  </a:lnTo>
                  <a:lnTo>
                    <a:pt x="316" y="1435"/>
                  </a:lnTo>
                  <a:lnTo>
                    <a:pt x="317" y="1435"/>
                  </a:lnTo>
                  <a:lnTo>
                    <a:pt x="319" y="1435"/>
                  </a:lnTo>
                  <a:lnTo>
                    <a:pt x="321" y="1433"/>
                  </a:lnTo>
                  <a:lnTo>
                    <a:pt x="321" y="1435"/>
                  </a:lnTo>
                  <a:lnTo>
                    <a:pt x="319" y="1435"/>
                  </a:lnTo>
                  <a:lnTo>
                    <a:pt x="321" y="1435"/>
                  </a:lnTo>
                  <a:lnTo>
                    <a:pt x="321" y="1433"/>
                  </a:lnTo>
                  <a:lnTo>
                    <a:pt x="321" y="1435"/>
                  </a:lnTo>
                  <a:lnTo>
                    <a:pt x="322" y="1435"/>
                  </a:lnTo>
                  <a:lnTo>
                    <a:pt x="322" y="1433"/>
                  </a:lnTo>
                  <a:lnTo>
                    <a:pt x="324" y="1433"/>
                  </a:lnTo>
                  <a:lnTo>
                    <a:pt x="324" y="1432"/>
                  </a:lnTo>
                  <a:lnTo>
                    <a:pt x="324" y="1433"/>
                  </a:lnTo>
                  <a:close/>
                  <a:moveTo>
                    <a:pt x="231" y="1020"/>
                  </a:moveTo>
                  <a:lnTo>
                    <a:pt x="230" y="1020"/>
                  </a:lnTo>
                  <a:lnTo>
                    <a:pt x="228" y="1020"/>
                  </a:lnTo>
                  <a:lnTo>
                    <a:pt x="228" y="1022"/>
                  </a:lnTo>
                  <a:lnTo>
                    <a:pt x="228" y="1020"/>
                  </a:lnTo>
                  <a:lnTo>
                    <a:pt x="228" y="1018"/>
                  </a:lnTo>
                  <a:lnTo>
                    <a:pt x="226" y="1018"/>
                  </a:lnTo>
                  <a:lnTo>
                    <a:pt x="228" y="1017"/>
                  </a:lnTo>
                  <a:lnTo>
                    <a:pt x="228" y="1015"/>
                  </a:lnTo>
                  <a:lnTo>
                    <a:pt x="228" y="1014"/>
                  </a:lnTo>
                  <a:lnTo>
                    <a:pt x="228" y="1015"/>
                  </a:lnTo>
                  <a:lnTo>
                    <a:pt x="230" y="1015"/>
                  </a:lnTo>
                  <a:lnTo>
                    <a:pt x="230" y="1017"/>
                  </a:lnTo>
                  <a:lnTo>
                    <a:pt x="231" y="1015"/>
                  </a:lnTo>
                  <a:lnTo>
                    <a:pt x="230" y="1015"/>
                  </a:lnTo>
                  <a:lnTo>
                    <a:pt x="230" y="1014"/>
                  </a:lnTo>
                  <a:lnTo>
                    <a:pt x="228" y="1014"/>
                  </a:lnTo>
                  <a:lnTo>
                    <a:pt x="230" y="1014"/>
                  </a:lnTo>
                  <a:lnTo>
                    <a:pt x="230" y="1012"/>
                  </a:lnTo>
                  <a:lnTo>
                    <a:pt x="230" y="1014"/>
                  </a:lnTo>
                  <a:lnTo>
                    <a:pt x="231" y="1014"/>
                  </a:lnTo>
                  <a:lnTo>
                    <a:pt x="231" y="1015"/>
                  </a:lnTo>
                  <a:lnTo>
                    <a:pt x="233" y="1015"/>
                  </a:lnTo>
                  <a:lnTo>
                    <a:pt x="233" y="1017"/>
                  </a:lnTo>
                  <a:lnTo>
                    <a:pt x="233" y="1018"/>
                  </a:lnTo>
                  <a:lnTo>
                    <a:pt x="234" y="1018"/>
                  </a:lnTo>
                  <a:lnTo>
                    <a:pt x="234" y="1017"/>
                  </a:lnTo>
                  <a:lnTo>
                    <a:pt x="234" y="1015"/>
                  </a:lnTo>
                  <a:lnTo>
                    <a:pt x="233" y="1015"/>
                  </a:lnTo>
                  <a:lnTo>
                    <a:pt x="234" y="1015"/>
                  </a:lnTo>
                  <a:lnTo>
                    <a:pt x="233" y="1015"/>
                  </a:lnTo>
                  <a:lnTo>
                    <a:pt x="233" y="1014"/>
                  </a:lnTo>
                  <a:lnTo>
                    <a:pt x="233" y="1012"/>
                  </a:lnTo>
                  <a:lnTo>
                    <a:pt x="233" y="1014"/>
                  </a:lnTo>
                  <a:lnTo>
                    <a:pt x="233" y="1012"/>
                  </a:lnTo>
                  <a:lnTo>
                    <a:pt x="234" y="1012"/>
                  </a:lnTo>
                  <a:lnTo>
                    <a:pt x="236" y="1012"/>
                  </a:lnTo>
                  <a:lnTo>
                    <a:pt x="238" y="1012"/>
                  </a:lnTo>
                  <a:lnTo>
                    <a:pt x="238" y="1014"/>
                  </a:lnTo>
                  <a:lnTo>
                    <a:pt x="239" y="1014"/>
                  </a:lnTo>
                  <a:lnTo>
                    <a:pt x="239" y="1012"/>
                  </a:lnTo>
                  <a:lnTo>
                    <a:pt x="241" y="1012"/>
                  </a:lnTo>
                  <a:lnTo>
                    <a:pt x="241" y="1014"/>
                  </a:lnTo>
                  <a:lnTo>
                    <a:pt x="243" y="1012"/>
                  </a:lnTo>
                  <a:lnTo>
                    <a:pt x="241" y="1012"/>
                  </a:lnTo>
                  <a:lnTo>
                    <a:pt x="243" y="1012"/>
                  </a:lnTo>
                  <a:lnTo>
                    <a:pt x="241" y="1012"/>
                  </a:lnTo>
                  <a:lnTo>
                    <a:pt x="241" y="1009"/>
                  </a:lnTo>
                  <a:lnTo>
                    <a:pt x="243" y="1009"/>
                  </a:lnTo>
                  <a:lnTo>
                    <a:pt x="243" y="1010"/>
                  </a:lnTo>
                  <a:lnTo>
                    <a:pt x="243" y="1009"/>
                  </a:lnTo>
                  <a:lnTo>
                    <a:pt x="243" y="1010"/>
                  </a:lnTo>
                  <a:lnTo>
                    <a:pt x="244" y="1012"/>
                  </a:lnTo>
                  <a:lnTo>
                    <a:pt x="244" y="1014"/>
                  </a:lnTo>
                  <a:lnTo>
                    <a:pt x="244" y="1015"/>
                  </a:lnTo>
                  <a:lnTo>
                    <a:pt x="244" y="1017"/>
                  </a:lnTo>
                  <a:lnTo>
                    <a:pt x="244" y="1018"/>
                  </a:lnTo>
                  <a:lnTo>
                    <a:pt x="244" y="1020"/>
                  </a:lnTo>
                  <a:lnTo>
                    <a:pt x="243" y="1020"/>
                  </a:lnTo>
                  <a:lnTo>
                    <a:pt x="244" y="1020"/>
                  </a:lnTo>
                  <a:lnTo>
                    <a:pt x="243" y="1020"/>
                  </a:lnTo>
                  <a:lnTo>
                    <a:pt x="244" y="1018"/>
                  </a:lnTo>
                  <a:lnTo>
                    <a:pt x="244" y="1020"/>
                  </a:lnTo>
                  <a:lnTo>
                    <a:pt x="244" y="1018"/>
                  </a:lnTo>
                  <a:lnTo>
                    <a:pt x="243" y="1018"/>
                  </a:lnTo>
                  <a:lnTo>
                    <a:pt x="244" y="1018"/>
                  </a:lnTo>
                  <a:lnTo>
                    <a:pt x="243" y="1018"/>
                  </a:lnTo>
                  <a:lnTo>
                    <a:pt x="241" y="1018"/>
                  </a:lnTo>
                  <a:lnTo>
                    <a:pt x="239" y="1018"/>
                  </a:lnTo>
                  <a:lnTo>
                    <a:pt x="239" y="1017"/>
                  </a:lnTo>
                  <a:lnTo>
                    <a:pt x="239" y="1018"/>
                  </a:lnTo>
                  <a:lnTo>
                    <a:pt x="238" y="1018"/>
                  </a:lnTo>
                  <a:lnTo>
                    <a:pt x="239" y="1018"/>
                  </a:lnTo>
                  <a:lnTo>
                    <a:pt x="241" y="1020"/>
                  </a:lnTo>
                  <a:lnTo>
                    <a:pt x="241" y="1022"/>
                  </a:lnTo>
                  <a:lnTo>
                    <a:pt x="239" y="1022"/>
                  </a:lnTo>
                  <a:lnTo>
                    <a:pt x="239" y="1023"/>
                  </a:lnTo>
                  <a:lnTo>
                    <a:pt x="239" y="1022"/>
                  </a:lnTo>
                  <a:lnTo>
                    <a:pt x="238" y="1022"/>
                  </a:lnTo>
                  <a:lnTo>
                    <a:pt x="236" y="1022"/>
                  </a:lnTo>
                  <a:lnTo>
                    <a:pt x="234" y="1022"/>
                  </a:lnTo>
                  <a:lnTo>
                    <a:pt x="233" y="1022"/>
                  </a:lnTo>
                  <a:lnTo>
                    <a:pt x="233" y="1020"/>
                  </a:lnTo>
                  <a:lnTo>
                    <a:pt x="234" y="1020"/>
                  </a:lnTo>
                  <a:lnTo>
                    <a:pt x="233" y="1020"/>
                  </a:lnTo>
                  <a:lnTo>
                    <a:pt x="233" y="1018"/>
                  </a:lnTo>
                  <a:lnTo>
                    <a:pt x="233" y="1020"/>
                  </a:lnTo>
                  <a:lnTo>
                    <a:pt x="231" y="1020"/>
                  </a:lnTo>
                  <a:close/>
                  <a:moveTo>
                    <a:pt x="298" y="1454"/>
                  </a:moveTo>
                  <a:lnTo>
                    <a:pt x="300" y="1454"/>
                  </a:lnTo>
                  <a:lnTo>
                    <a:pt x="301" y="1454"/>
                  </a:lnTo>
                  <a:lnTo>
                    <a:pt x="301" y="1456"/>
                  </a:lnTo>
                  <a:lnTo>
                    <a:pt x="303" y="1456"/>
                  </a:lnTo>
                  <a:lnTo>
                    <a:pt x="303" y="1458"/>
                  </a:lnTo>
                  <a:lnTo>
                    <a:pt x="303" y="1456"/>
                  </a:lnTo>
                  <a:lnTo>
                    <a:pt x="304" y="1456"/>
                  </a:lnTo>
                  <a:lnTo>
                    <a:pt x="304" y="1458"/>
                  </a:lnTo>
                  <a:lnTo>
                    <a:pt x="306" y="1456"/>
                  </a:lnTo>
                  <a:lnTo>
                    <a:pt x="306" y="1458"/>
                  </a:lnTo>
                  <a:lnTo>
                    <a:pt x="304" y="1458"/>
                  </a:lnTo>
                  <a:lnTo>
                    <a:pt x="304" y="1459"/>
                  </a:lnTo>
                  <a:lnTo>
                    <a:pt x="304" y="1458"/>
                  </a:lnTo>
                  <a:lnTo>
                    <a:pt x="304" y="1459"/>
                  </a:lnTo>
                  <a:lnTo>
                    <a:pt x="303" y="1459"/>
                  </a:lnTo>
                  <a:lnTo>
                    <a:pt x="303" y="1458"/>
                  </a:lnTo>
                  <a:lnTo>
                    <a:pt x="303" y="1459"/>
                  </a:lnTo>
                  <a:lnTo>
                    <a:pt x="301" y="1459"/>
                  </a:lnTo>
                  <a:lnTo>
                    <a:pt x="301" y="1458"/>
                  </a:lnTo>
                  <a:lnTo>
                    <a:pt x="301" y="1459"/>
                  </a:lnTo>
                  <a:lnTo>
                    <a:pt x="300" y="1459"/>
                  </a:lnTo>
                  <a:lnTo>
                    <a:pt x="300" y="1458"/>
                  </a:lnTo>
                  <a:lnTo>
                    <a:pt x="300" y="1459"/>
                  </a:lnTo>
                  <a:lnTo>
                    <a:pt x="301" y="1459"/>
                  </a:lnTo>
                  <a:lnTo>
                    <a:pt x="303" y="1459"/>
                  </a:lnTo>
                  <a:lnTo>
                    <a:pt x="303" y="1461"/>
                  </a:lnTo>
                  <a:lnTo>
                    <a:pt x="301" y="1461"/>
                  </a:lnTo>
                  <a:lnTo>
                    <a:pt x="300" y="1461"/>
                  </a:lnTo>
                  <a:lnTo>
                    <a:pt x="298" y="1461"/>
                  </a:lnTo>
                  <a:lnTo>
                    <a:pt x="298" y="1462"/>
                  </a:lnTo>
                  <a:lnTo>
                    <a:pt x="300" y="1461"/>
                  </a:lnTo>
                  <a:lnTo>
                    <a:pt x="300" y="1462"/>
                  </a:lnTo>
                  <a:lnTo>
                    <a:pt x="298" y="1462"/>
                  </a:lnTo>
                  <a:lnTo>
                    <a:pt x="296" y="1462"/>
                  </a:lnTo>
                  <a:lnTo>
                    <a:pt x="296" y="1464"/>
                  </a:lnTo>
                  <a:lnTo>
                    <a:pt x="298" y="1464"/>
                  </a:lnTo>
                  <a:lnTo>
                    <a:pt x="298" y="1462"/>
                  </a:lnTo>
                  <a:lnTo>
                    <a:pt x="300" y="1462"/>
                  </a:lnTo>
                  <a:lnTo>
                    <a:pt x="298" y="1464"/>
                  </a:lnTo>
                  <a:lnTo>
                    <a:pt x="296" y="1464"/>
                  </a:lnTo>
                  <a:lnTo>
                    <a:pt x="298" y="1464"/>
                  </a:lnTo>
                  <a:lnTo>
                    <a:pt x="298" y="1466"/>
                  </a:lnTo>
                  <a:lnTo>
                    <a:pt x="296" y="1467"/>
                  </a:lnTo>
                  <a:lnTo>
                    <a:pt x="298" y="1467"/>
                  </a:lnTo>
                  <a:lnTo>
                    <a:pt x="296" y="1467"/>
                  </a:lnTo>
                  <a:lnTo>
                    <a:pt x="296" y="1469"/>
                  </a:lnTo>
                  <a:lnTo>
                    <a:pt x="296" y="1467"/>
                  </a:lnTo>
                  <a:lnTo>
                    <a:pt x="295" y="1467"/>
                  </a:lnTo>
                  <a:lnTo>
                    <a:pt x="295" y="1469"/>
                  </a:lnTo>
                  <a:lnTo>
                    <a:pt x="291" y="1469"/>
                  </a:lnTo>
                  <a:lnTo>
                    <a:pt x="290" y="1469"/>
                  </a:lnTo>
                  <a:lnTo>
                    <a:pt x="290" y="1467"/>
                  </a:lnTo>
                  <a:lnTo>
                    <a:pt x="290" y="1469"/>
                  </a:lnTo>
                  <a:lnTo>
                    <a:pt x="290" y="1467"/>
                  </a:lnTo>
                  <a:lnTo>
                    <a:pt x="290" y="1466"/>
                  </a:lnTo>
                  <a:lnTo>
                    <a:pt x="290" y="1467"/>
                  </a:lnTo>
                  <a:lnTo>
                    <a:pt x="290" y="1466"/>
                  </a:lnTo>
                  <a:lnTo>
                    <a:pt x="290" y="1464"/>
                  </a:lnTo>
                  <a:lnTo>
                    <a:pt x="291" y="1462"/>
                  </a:lnTo>
                  <a:lnTo>
                    <a:pt x="290" y="1462"/>
                  </a:lnTo>
                  <a:lnTo>
                    <a:pt x="291" y="1462"/>
                  </a:lnTo>
                  <a:lnTo>
                    <a:pt x="293" y="1462"/>
                  </a:lnTo>
                  <a:lnTo>
                    <a:pt x="291" y="1462"/>
                  </a:lnTo>
                  <a:lnTo>
                    <a:pt x="290" y="1462"/>
                  </a:lnTo>
                  <a:lnTo>
                    <a:pt x="290" y="1461"/>
                  </a:lnTo>
                  <a:lnTo>
                    <a:pt x="290" y="1459"/>
                  </a:lnTo>
                  <a:lnTo>
                    <a:pt x="290" y="1458"/>
                  </a:lnTo>
                  <a:lnTo>
                    <a:pt x="291" y="1458"/>
                  </a:lnTo>
                  <a:lnTo>
                    <a:pt x="291" y="1456"/>
                  </a:lnTo>
                  <a:lnTo>
                    <a:pt x="293" y="1458"/>
                  </a:lnTo>
                  <a:lnTo>
                    <a:pt x="293" y="1456"/>
                  </a:lnTo>
                  <a:lnTo>
                    <a:pt x="295" y="1456"/>
                  </a:lnTo>
                  <a:lnTo>
                    <a:pt x="296" y="1456"/>
                  </a:lnTo>
                  <a:lnTo>
                    <a:pt x="296" y="1454"/>
                  </a:lnTo>
                  <a:lnTo>
                    <a:pt x="298" y="1454"/>
                  </a:lnTo>
                  <a:lnTo>
                    <a:pt x="296" y="1454"/>
                  </a:lnTo>
                  <a:lnTo>
                    <a:pt x="298" y="1454"/>
                  </a:lnTo>
                  <a:close/>
                  <a:moveTo>
                    <a:pt x="280" y="1462"/>
                  </a:moveTo>
                  <a:lnTo>
                    <a:pt x="282" y="1461"/>
                  </a:lnTo>
                  <a:lnTo>
                    <a:pt x="282" y="1462"/>
                  </a:lnTo>
                  <a:lnTo>
                    <a:pt x="283" y="1462"/>
                  </a:lnTo>
                  <a:lnTo>
                    <a:pt x="285" y="1462"/>
                  </a:lnTo>
                  <a:lnTo>
                    <a:pt x="287" y="1462"/>
                  </a:lnTo>
                  <a:lnTo>
                    <a:pt x="288" y="1462"/>
                  </a:lnTo>
                  <a:lnTo>
                    <a:pt x="288" y="1464"/>
                  </a:lnTo>
                  <a:lnTo>
                    <a:pt x="288" y="1466"/>
                  </a:lnTo>
                  <a:lnTo>
                    <a:pt x="287" y="1466"/>
                  </a:lnTo>
                  <a:lnTo>
                    <a:pt x="287" y="1467"/>
                  </a:lnTo>
                  <a:lnTo>
                    <a:pt x="287" y="1466"/>
                  </a:lnTo>
                  <a:lnTo>
                    <a:pt x="285" y="1466"/>
                  </a:lnTo>
                  <a:lnTo>
                    <a:pt x="285" y="1467"/>
                  </a:lnTo>
                  <a:lnTo>
                    <a:pt x="287" y="1467"/>
                  </a:lnTo>
                  <a:lnTo>
                    <a:pt x="287" y="1469"/>
                  </a:lnTo>
                  <a:lnTo>
                    <a:pt x="288" y="1469"/>
                  </a:lnTo>
                  <a:lnTo>
                    <a:pt x="287" y="1469"/>
                  </a:lnTo>
                  <a:lnTo>
                    <a:pt x="288" y="1471"/>
                  </a:lnTo>
                  <a:lnTo>
                    <a:pt x="287" y="1471"/>
                  </a:lnTo>
                  <a:lnTo>
                    <a:pt x="287" y="1472"/>
                  </a:lnTo>
                  <a:lnTo>
                    <a:pt x="285" y="1472"/>
                  </a:lnTo>
                  <a:lnTo>
                    <a:pt x="283" y="1472"/>
                  </a:lnTo>
                  <a:lnTo>
                    <a:pt x="282" y="1472"/>
                  </a:lnTo>
                  <a:lnTo>
                    <a:pt x="282" y="1474"/>
                  </a:lnTo>
                  <a:lnTo>
                    <a:pt x="280" y="1474"/>
                  </a:lnTo>
                  <a:lnTo>
                    <a:pt x="278" y="1474"/>
                  </a:lnTo>
                  <a:lnTo>
                    <a:pt x="278" y="1472"/>
                  </a:lnTo>
                  <a:lnTo>
                    <a:pt x="278" y="1474"/>
                  </a:lnTo>
                  <a:lnTo>
                    <a:pt x="277" y="1474"/>
                  </a:lnTo>
                  <a:lnTo>
                    <a:pt x="277" y="1472"/>
                  </a:lnTo>
                  <a:lnTo>
                    <a:pt x="277" y="1471"/>
                  </a:lnTo>
                  <a:lnTo>
                    <a:pt x="277" y="1472"/>
                  </a:lnTo>
                  <a:lnTo>
                    <a:pt x="275" y="1472"/>
                  </a:lnTo>
                  <a:lnTo>
                    <a:pt x="277" y="1472"/>
                  </a:lnTo>
                  <a:lnTo>
                    <a:pt x="275" y="1472"/>
                  </a:lnTo>
                  <a:lnTo>
                    <a:pt x="275" y="1471"/>
                  </a:lnTo>
                  <a:lnTo>
                    <a:pt x="277" y="1471"/>
                  </a:lnTo>
                  <a:lnTo>
                    <a:pt x="277" y="1469"/>
                  </a:lnTo>
                  <a:lnTo>
                    <a:pt x="278" y="1469"/>
                  </a:lnTo>
                  <a:lnTo>
                    <a:pt x="280" y="1469"/>
                  </a:lnTo>
                  <a:lnTo>
                    <a:pt x="282" y="1469"/>
                  </a:lnTo>
                  <a:lnTo>
                    <a:pt x="280" y="1469"/>
                  </a:lnTo>
                  <a:lnTo>
                    <a:pt x="278" y="1469"/>
                  </a:lnTo>
                  <a:lnTo>
                    <a:pt x="277" y="1469"/>
                  </a:lnTo>
                  <a:lnTo>
                    <a:pt x="275" y="1469"/>
                  </a:lnTo>
                  <a:lnTo>
                    <a:pt x="277" y="1467"/>
                  </a:lnTo>
                  <a:lnTo>
                    <a:pt x="275" y="1467"/>
                  </a:lnTo>
                  <a:lnTo>
                    <a:pt x="277" y="1467"/>
                  </a:lnTo>
                  <a:lnTo>
                    <a:pt x="277" y="1466"/>
                  </a:lnTo>
                  <a:lnTo>
                    <a:pt x="278" y="1466"/>
                  </a:lnTo>
                  <a:lnTo>
                    <a:pt x="277" y="1466"/>
                  </a:lnTo>
                  <a:lnTo>
                    <a:pt x="278" y="1466"/>
                  </a:lnTo>
                  <a:lnTo>
                    <a:pt x="278" y="1464"/>
                  </a:lnTo>
                  <a:lnTo>
                    <a:pt x="277" y="1464"/>
                  </a:lnTo>
                  <a:lnTo>
                    <a:pt x="278" y="1464"/>
                  </a:lnTo>
                  <a:lnTo>
                    <a:pt x="280" y="1462"/>
                  </a:lnTo>
                  <a:lnTo>
                    <a:pt x="278" y="1462"/>
                  </a:lnTo>
                  <a:lnTo>
                    <a:pt x="280" y="1462"/>
                  </a:lnTo>
                  <a:close/>
                  <a:moveTo>
                    <a:pt x="182" y="1015"/>
                  </a:moveTo>
                  <a:lnTo>
                    <a:pt x="184" y="1015"/>
                  </a:lnTo>
                  <a:lnTo>
                    <a:pt x="186" y="1015"/>
                  </a:lnTo>
                  <a:lnTo>
                    <a:pt x="187" y="1015"/>
                  </a:lnTo>
                  <a:lnTo>
                    <a:pt x="189" y="1014"/>
                  </a:lnTo>
                  <a:lnTo>
                    <a:pt x="189" y="1015"/>
                  </a:lnTo>
                  <a:lnTo>
                    <a:pt x="191" y="1014"/>
                  </a:lnTo>
                  <a:lnTo>
                    <a:pt x="191" y="1015"/>
                  </a:lnTo>
                  <a:lnTo>
                    <a:pt x="189" y="1015"/>
                  </a:lnTo>
                  <a:lnTo>
                    <a:pt x="191" y="1015"/>
                  </a:lnTo>
                  <a:lnTo>
                    <a:pt x="189" y="1015"/>
                  </a:lnTo>
                  <a:lnTo>
                    <a:pt x="191" y="1017"/>
                  </a:lnTo>
                  <a:lnTo>
                    <a:pt x="191" y="1015"/>
                  </a:lnTo>
                  <a:lnTo>
                    <a:pt x="191" y="1017"/>
                  </a:lnTo>
                  <a:lnTo>
                    <a:pt x="191" y="1018"/>
                  </a:lnTo>
                  <a:lnTo>
                    <a:pt x="189" y="1018"/>
                  </a:lnTo>
                  <a:lnTo>
                    <a:pt x="189" y="1020"/>
                  </a:lnTo>
                  <a:lnTo>
                    <a:pt x="191" y="1020"/>
                  </a:lnTo>
                  <a:lnTo>
                    <a:pt x="189" y="1020"/>
                  </a:lnTo>
                  <a:lnTo>
                    <a:pt x="191" y="1020"/>
                  </a:lnTo>
                  <a:lnTo>
                    <a:pt x="191" y="1022"/>
                  </a:lnTo>
                  <a:lnTo>
                    <a:pt x="189" y="1022"/>
                  </a:lnTo>
                  <a:lnTo>
                    <a:pt x="191" y="1022"/>
                  </a:lnTo>
                  <a:lnTo>
                    <a:pt x="189" y="1022"/>
                  </a:lnTo>
                  <a:lnTo>
                    <a:pt x="189" y="1023"/>
                  </a:lnTo>
                  <a:lnTo>
                    <a:pt x="189" y="1025"/>
                  </a:lnTo>
                  <a:lnTo>
                    <a:pt x="187" y="1025"/>
                  </a:lnTo>
                  <a:lnTo>
                    <a:pt x="189" y="1027"/>
                  </a:lnTo>
                  <a:lnTo>
                    <a:pt x="187" y="1027"/>
                  </a:lnTo>
                  <a:lnTo>
                    <a:pt x="186" y="1025"/>
                  </a:lnTo>
                  <a:lnTo>
                    <a:pt x="187" y="1025"/>
                  </a:lnTo>
                  <a:lnTo>
                    <a:pt x="186" y="1025"/>
                  </a:lnTo>
                  <a:lnTo>
                    <a:pt x="186" y="1023"/>
                  </a:lnTo>
                  <a:lnTo>
                    <a:pt x="187" y="1023"/>
                  </a:lnTo>
                  <a:lnTo>
                    <a:pt x="187" y="1022"/>
                  </a:lnTo>
                  <a:lnTo>
                    <a:pt x="186" y="1022"/>
                  </a:lnTo>
                  <a:lnTo>
                    <a:pt x="186" y="1023"/>
                  </a:lnTo>
                  <a:lnTo>
                    <a:pt x="184" y="1023"/>
                  </a:lnTo>
                  <a:lnTo>
                    <a:pt x="182" y="1023"/>
                  </a:lnTo>
                  <a:lnTo>
                    <a:pt x="182" y="1022"/>
                  </a:lnTo>
                  <a:lnTo>
                    <a:pt x="182" y="1020"/>
                  </a:lnTo>
                  <a:lnTo>
                    <a:pt x="181" y="1022"/>
                  </a:lnTo>
                  <a:lnTo>
                    <a:pt x="181" y="1020"/>
                  </a:lnTo>
                  <a:lnTo>
                    <a:pt x="181" y="1022"/>
                  </a:lnTo>
                  <a:lnTo>
                    <a:pt x="179" y="1022"/>
                  </a:lnTo>
                  <a:lnTo>
                    <a:pt x="179" y="1020"/>
                  </a:lnTo>
                  <a:lnTo>
                    <a:pt x="181" y="1020"/>
                  </a:lnTo>
                  <a:lnTo>
                    <a:pt x="179" y="1020"/>
                  </a:lnTo>
                  <a:lnTo>
                    <a:pt x="179" y="1018"/>
                  </a:lnTo>
                  <a:lnTo>
                    <a:pt x="179" y="1017"/>
                  </a:lnTo>
                  <a:lnTo>
                    <a:pt x="181" y="1017"/>
                  </a:lnTo>
                  <a:lnTo>
                    <a:pt x="179" y="1017"/>
                  </a:lnTo>
                  <a:lnTo>
                    <a:pt x="181" y="1017"/>
                  </a:lnTo>
                  <a:lnTo>
                    <a:pt x="182" y="1017"/>
                  </a:lnTo>
                  <a:lnTo>
                    <a:pt x="181" y="1017"/>
                  </a:lnTo>
                  <a:lnTo>
                    <a:pt x="182" y="1017"/>
                  </a:lnTo>
                  <a:lnTo>
                    <a:pt x="182" y="1015"/>
                  </a:lnTo>
                  <a:close/>
                  <a:moveTo>
                    <a:pt x="316" y="1451"/>
                  </a:moveTo>
                  <a:lnTo>
                    <a:pt x="316" y="1453"/>
                  </a:lnTo>
                  <a:lnTo>
                    <a:pt x="314" y="1453"/>
                  </a:lnTo>
                  <a:lnTo>
                    <a:pt x="316" y="1453"/>
                  </a:lnTo>
                  <a:lnTo>
                    <a:pt x="316" y="1451"/>
                  </a:lnTo>
                  <a:lnTo>
                    <a:pt x="316" y="1453"/>
                  </a:lnTo>
                  <a:lnTo>
                    <a:pt x="317" y="1454"/>
                  </a:lnTo>
                  <a:lnTo>
                    <a:pt x="316" y="1454"/>
                  </a:lnTo>
                  <a:lnTo>
                    <a:pt x="316" y="1456"/>
                  </a:lnTo>
                  <a:lnTo>
                    <a:pt x="314" y="1456"/>
                  </a:lnTo>
                  <a:lnTo>
                    <a:pt x="313" y="1456"/>
                  </a:lnTo>
                  <a:lnTo>
                    <a:pt x="313" y="1458"/>
                  </a:lnTo>
                  <a:lnTo>
                    <a:pt x="314" y="1458"/>
                  </a:lnTo>
                  <a:lnTo>
                    <a:pt x="314" y="1459"/>
                  </a:lnTo>
                  <a:lnTo>
                    <a:pt x="313" y="1459"/>
                  </a:lnTo>
                  <a:lnTo>
                    <a:pt x="314" y="1461"/>
                  </a:lnTo>
                  <a:lnTo>
                    <a:pt x="313" y="1461"/>
                  </a:lnTo>
                  <a:lnTo>
                    <a:pt x="313" y="1462"/>
                  </a:lnTo>
                  <a:lnTo>
                    <a:pt x="311" y="1462"/>
                  </a:lnTo>
                  <a:lnTo>
                    <a:pt x="309" y="1462"/>
                  </a:lnTo>
                  <a:lnTo>
                    <a:pt x="309" y="1461"/>
                  </a:lnTo>
                  <a:lnTo>
                    <a:pt x="309" y="1462"/>
                  </a:lnTo>
                  <a:lnTo>
                    <a:pt x="309" y="1461"/>
                  </a:lnTo>
                  <a:lnTo>
                    <a:pt x="309" y="1462"/>
                  </a:lnTo>
                  <a:lnTo>
                    <a:pt x="308" y="1462"/>
                  </a:lnTo>
                  <a:lnTo>
                    <a:pt x="308" y="1461"/>
                  </a:lnTo>
                  <a:lnTo>
                    <a:pt x="306" y="1461"/>
                  </a:lnTo>
                  <a:lnTo>
                    <a:pt x="306" y="1459"/>
                  </a:lnTo>
                  <a:lnTo>
                    <a:pt x="308" y="1459"/>
                  </a:lnTo>
                  <a:lnTo>
                    <a:pt x="306" y="1459"/>
                  </a:lnTo>
                  <a:lnTo>
                    <a:pt x="308" y="1459"/>
                  </a:lnTo>
                  <a:lnTo>
                    <a:pt x="306" y="1458"/>
                  </a:lnTo>
                  <a:lnTo>
                    <a:pt x="308" y="1458"/>
                  </a:lnTo>
                  <a:lnTo>
                    <a:pt x="308" y="1456"/>
                  </a:lnTo>
                  <a:lnTo>
                    <a:pt x="306" y="1456"/>
                  </a:lnTo>
                  <a:lnTo>
                    <a:pt x="308" y="1456"/>
                  </a:lnTo>
                  <a:lnTo>
                    <a:pt x="309" y="1454"/>
                  </a:lnTo>
                  <a:lnTo>
                    <a:pt x="311" y="1456"/>
                  </a:lnTo>
                  <a:lnTo>
                    <a:pt x="311" y="1454"/>
                  </a:lnTo>
                  <a:lnTo>
                    <a:pt x="311" y="1453"/>
                  </a:lnTo>
                  <a:lnTo>
                    <a:pt x="313" y="1454"/>
                  </a:lnTo>
                  <a:lnTo>
                    <a:pt x="313" y="1453"/>
                  </a:lnTo>
                  <a:lnTo>
                    <a:pt x="314" y="1451"/>
                  </a:lnTo>
                  <a:lnTo>
                    <a:pt x="316" y="1451"/>
                  </a:lnTo>
                  <a:close/>
                  <a:moveTo>
                    <a:pt x="438" y="1471"/>
                  </a:moveTo>
                  <a:lnTo>
                    <a:pt x="438" y="1472"/>
                  </a:lnTo>
                  <a:lnTo>
                    <a:pt x="436" y="1472"/>
                  </a:lnTo>
                  <a:lnTo>
                    <a:pt x="435" y="1472"/>
                  </a:lnTo>
                  <a:lnTo>
                    <a:pt x="435" y="1474"/>
                  </a:lnTo>
                  <a:lnTo>
                    <a:pt x="435" y="1472"/>
                  </a:lnTo>
                  <a:lnTo>
                    <a:pt x="435" y="1474"/>
                  </a:lnTo>
                  <a:lnTo>
                    <a:pt x="435" y="1475"/>
                  </a:lnTo>
                  <a:lnTo>
                    <a:pt x="433" y="1475"/>
                  </a:lnTo>
                  <a:lnTo>
                    <a:pt x="433" y="1474"/>
                  </a:lnTo>
                  <a:lnTo>
                    <a:pt x="433" y="1475"/>
                  </a:lnTo>
                  <a:lnTo>
                    <a:pt x="435" y="1474"/>
                  </a:lnTo>
                  <a:lnTo>
                    <a:pt x="433" y="1474"/>
                  </a:lnTo>
                  <a:lnTo>
                    <a:pt x="435" y="1474"/>
                  </a:lnTo>
                  <a:lnTo>
                    <a:pt x="433" y="1474"/>
                  </a:lnTo>
                  <a:lnTo>
                    <a:pt x="431" y="1474"/>
                  </a:lnTo>
                  <a:lnTo>
                    <a:pt x="433" y="1474"/>
                  </a:lnTo>
                  <a:lnTo>
                    <a:pt x="433" y="1472"/>
                  </a:lnTo>
                  <a:lnTo>
                    <a:pt x="435" y="1472"/>
                  </a:lnTo>
                  <a:lnTo>
                    <a:pt x="433" y="1472"/>
                  </a:lnTo>
                  <a:lnTo>
                    <a:pt x="433" y="1474"/>
                  </a:lnTo>
                  <a:lnTo>
                    <a:pt x="431" y="1474"/>
                  </a:lnTo>
                  <a:lnTo>
                    <a:pt x="430" y="1474"/>
                  </a:lnTo>
                  <a:lnTo>
                    <a:pt x="430" y="1475"/>
                  </a:lnTo>
                  <a:lnTo>
                    <a:pt x="430" y="1474"/>
                  </a:lnTo>
                  <a:lnTo>
                    <a:pt x="431" y="1475"/>
                  </a:lnTo>
                  <a:lnTo>
                    <a:pt x="430" y="1475"/>
                  </a:lnTo>
                  <a:lnTo>
                    <a:pt x="428" y="1475"/>
                  </a:lnTo>
                  <a:lnTo>
                    <a:pt x="428" y="1474"/>
                  </a:lnTo>
                  <a:lnTo>
                    <a:pt x="428" y="1475"/>
                  </a:lnTo>
                  <a:lnTo>
                    <a:pt x="428" y="1474"/>
                  </a:lnTo>
                  <a:lnTo>
                    <a:pt x="428" y="1475"/>
                  </a:lnTo>
                  <a:lnTo>
                    <a:pt x="426" y="1474"/>
                  </a:lnTo>
                  <a:lnTo>
                    <a:pt x="425" y="1474"/>
                  </a:lnTo>
                  <a:lnTo>
                    <a:pt x="426" y="1474"/>
                  </a:lnTo>
                  <a:lnTo>
                    <a:pt x="425" y="1474"/>
                  </a:lnTo>
                  <a:lnTo>
                    <a:pt x="425" y="1475"/>
                  </a:lnTo>
                  <a:lnTo>
                    <a:pt x="426" y="1475"/>
                  </a:lnTo>
                  <a:lnTo>
                    <a:pt x="426" y="1474"/>
                  </a:lnTo>
                  <a:lnTo>
                    <a:pt x="426" y="1475"/>
                  </a:lnTo>
                  <a:lnTo>
                    <a:pt x="426" y="1477"/>
                  </a:lnTo>
                  <a:lnTo>
                    <a:pt x="425" y="1477"/>
                  </a:lnTo>
                  <a:lnTo>
                    <a:pt x="426" y="1477"/>
                  </a:lnTo>
                  <a:lnTo>
                    <a:pt x="425" y="1475"/>
                  </a:lnTo>
                  <a:lnTo>
                    <a:pt x="425" y="1477"/>
                  </a:lnTo>
                  <a:lnTo>
                    <a:pt x="426" y="1477"/>
                  </a:lnTo>
                  <a:lnTo>
                    <a:pt x="428" y="1477"/>
                  </a:lnTo>
                  <a:lnTo>
                    <a:pt x="428" y="1479"/>
                  </a:lnTo>
                  <a:lnTo>
                    <a:pt x="426" y="1479"/>
                  </a:lnTo>
                  <a:lnTo>
                    <a:pt x="425" y="1479"/>
                  </a:lnTo>
                  <a:lnTo>
                    <a:pt x="423" y="1479"/>
                  </a:lnTo>
                  <a:lnTo>
                    <a:pt x="422" y="1479"/>
                  </a:lnTo>
                  <a:lnTo>
                    <a:pt x="423" y="1479"/>
                  </a:lnTo>
                  <a:lnTo>
                    <a:pt x="423" y="1480"/>
                  </a:lnTo>
                  <a:lnTo>
                    <a:pt x="422" y="1480"/>
                  </a:lnTo>
                  <a:lnTo>
                    <a:pt x="422" y="1479"/>
                  </a:lnTo>
                  <a:lnTo>
                    <a:pt x="422" y="1480"/>
                  </a:lnTo>
                  <a:lnTo>
                    <a:pt x="420" y="1479"/>
                  </a:lnTo>
                  <a:lnTo>
                    <a:pt x="418" y="1479"/>
                  </a:lnTo>
                  <a:lnTo>
                    <a:pt x="420" y="1479"/>
                  </a:lnTo>
                  <a:lnTo>
                    <a:pt x="418" y="1480"/>
                  </a:lnTo>
                  <a:lnTo>
                    <a:pt x="418" y="1479"/>
                  </a:lnTo>
                  <a:lnTo>
                    <a:pt x="417" y="1480"/>
                  </a:lnTo>
                  <a:lnTo>
                    <a:pt x="417" y="1479"/>
                  </a:lnTo>
                  <a:lnTo>
                    <a:pt x="415" y="1479"/>
                  </a:lnTo>
                  <a:lnTo>
                    <a:pt x="415" y="1477"/>
                  </a:lnTo>
                  <a:lnTo>
                    <a:pt x="417" y="1477"/>
                  </a:lnTo>
                  <a:lnTo>
                    <a:pt x="418" y="1477"/>
                  </a:lnTo>
                  <a:lnTo>
                    <a:pt x="420" y="1477"/>
                  </a:lnTo>
                  <a:lnTo>
                    <a:pt x="420" y="1475"/>
                  </a:lnTo>
                  <a:lnTo>
                    <a:pt x="422" y="1475"/>
                  </a:lnTo>
                  <a:lnTo>
                    <a:pt x="422" y="1477"/>
                  </a:lnTo>
                  <a:lnTo>
                    <a:pt x="422" y="1475"/>
                  </a:lnTo>
                  <a:lnTo>
                    <a:pt x="422" y="1477"/>
                  </a:lnTo>
                  <a:lnTo>
                    <a:pt x="423" y="1475"/>
                  </a:lnTo>
                  <a:lnTo>
                    <a:pt x="423" y="1474"/>
                  </a:lnTo>
                  <a:lnTo>
                    <a:pt x="425" y="1474"/>
                  </a:lnTo>
                  <a:lnTo>
                    <a:pt x="425" y="1472"/>
                  </a:lnTo>
                  <a:lnTo>
                    <a:pt x="426" y="1472"/>
                  </a:lnTo>
                  <a:lnTo>
                    <a:pt x="428" y="1472"/>
                  </a:lnTo>
                  <a:lnTo>
                    <a:pt x="430" y="1472"/>
                  </a:lnTo>
                  <a:lnTo>
                    <a:pt x="431" y="1472"/>
                  </a:lnTo>
                  <a:lnTo>
                    <a:pt x="430" y="1472"/>
                  </a:lnTo>
                  <a:lnTo>
                    <a:pt x="431" y="1472"/>
                  </a:lnTo>
                  <a:lnTo>
                    <a:pt x="430" y="1472"/>
                  </a:lnTo>
                  <a:lnTo>
                    <a:pt x="431" y="1471"/>
                  </a:lnTo>
                  <a:lnTo>
                    <a:pt x="431" y="1472"/>
                  </a:lnTo>
                  <a:lnTo>
                    <a:pt x="433" y="1472"/>
                  </a:lnTo>
                  <a:lnTo>
                    <a:pt x="435" y="1472"/>
                  </a:lnTo>
                  <a:lnTo>
                    <a:pt x="435" y="1471"/>
                  </a:lnTo>
                  <a:lnTo>
                    <a:pt x="435" y="1472"/>
                  </a:lnTo>
                  <a:lnTo>
                    <a:pt x="435" y="1471"/>
                  </a:lnTo>
                  <a:lnTo>
                    <a:pt x="436" y="1471"/>
                  </a:lnTo>
                  <a:lnTo>
                    <a:pt x="438" y="1471"/>
                  </a:lnTo>
                  <a:close/>
                  <a:moveTo>
                    <a:pt x="265" y="1458"/>
                  </a:moveTo>
                  <a:lnTo>
                    <a:pt x="264" y="1459"/>
                  </a:lnTo>
                  <a:lnTo>
                    <a:pt x="262" y="1459"/>
                  </a:lnTo>
                  <a:lnTo>
                    <a:pt x="264" y="1459"/>
                  </a:lnTo>
                  <a:lnTo>
                    <a:pt x="265" y="1459"/>
                  </a:lnTo>
                  <a:lnTo>
                    <a:pt x="265" y="1461"/>
                  </a:lnTo>
                  <a:lnTo>
                    <a:pt x="264" y="1461"/>
                  </a:lnTo>
                  <a:lnTo>
                    <a:pt x="265" y="1461"/>
                  </a:lnTo>
                  <a:lnTo>
                    <a:pt x="265" y="1462"/>
                  </a:lnTo>
                  <a:lnTo>
                    <a:pt x="265" y="1461"/>
                  </a:lnTo>
                  <a:lnTo>
                    <a:pt x="267" y="1461"/>
                  </a:lnTo>
                  <a:lnTo>
                    <a:pt x="269" y="1461"/>
                  </a:lnTo>
                  <a:lnTo>
                    <a:pt x="270" y="1461"/>
                  </a:lnTo>
                  <a:lnTo>
                    <a:pt x="272" y="1459"/>
                  </a:lnTo>
                  <a:lnTo>
                    <a:pt x="272" y="1461"/>
                  </a:lnTo>
                  <a:lnTo>
                    <a:pt x="270" y="1461"/>
                  </a:lnTo>
                  <a:lnTo>
                    <a:pt x="270" y="1462"/>
                  </a:lnTo>
                  <a:lnTo>
                    <a:pt x="270" y="1464"/>
                  </a:lnTo>
                  <a:lnTo>
                    <a:pt x="269" y="1462"/>
                  </a:lnTo>
                  <a:lnTo>
                    <a:pt x="269" y="1464"/>
                  </a:lnTo>
                  <a:lnTo>
                    <a:pt x="267" y="1464"/>
                  </a:lnTo>
                  <a:lnTo>
                    <a:pt x="267" y="1466"/>
                  </a:lnTo>
                  <a:lnTo>
                    <a:pt x="267" y="1464"/>
                  </a:lnTo>
                  <a:lnTo>
                    <a:pt x="265" y="1466"/>
                  </a:lnTo>
                  <a:lnTo>
                    <a:pt x="264" y="1464"/>
                  </a:lnTo>
                  <a:lnTo>
                    <a:pt x="262" y="1464"/>
                  </a:lnTo>
                  <a:lnTo>
                    <a:pt x="261" y="1464"/>
                  </a:lnTo>
                  <a:lnTo>
                    <a:pt x="262" y="1462"/>
                  </a:lnTo>
                  <a:lnTo>
                    <a:pt x="264" y="1462"/>
                  </a:lnTo>
                  <a:lnTo>
                    <a:pt x="262" y="1462"/>
                  </a:lnTo>
                  <a:lnTo>
                    <a:pt x="261" y="1462"/>
                  </a:lnTo>
                  <a:lnTo>
                    <a:pt x="262" y="1462"/>
                  </a:lnTo>
                  <a:lnTo>
                    <a:pt x="261" y="1462"/>
                  </a:lnTo>
                  <a:lnTo>
                    <a:pt x="259" y="1462"/>
                  </a:lnTo>
                  <a:lnTo>
                    <a:pt x="259" y="1461"/>
                  </a:lnTo>
                  <a:lnTo>
                    <a:pt x="257" y="1462"/>
                  </a:lnTo>
                  <a:lnTo>
                    <a:pt x="256" y="1462"/>
                  </a:lnTo>
                  <a:lnTo>
                    <a:pt x="257" y="1462"/>
                  </a:lnTo>
                  <a:lnTo>
                    <a:pt x="256" y="1461"/>
                  </a:lnTo>
                  <a:lnTo>
                    <a:pt x="256" y="1459"/>
                  </a:lnTo>
                  <a:lnTo>
                    <a:pt x="256" y="1461"/>
                  </a:lnTo>
                  <a:lnTo>
                    <a:pt x="256" y="1459"/>
                  </a:lnTo>
                  <a:lnTo>
                    <a:pt x="257" y="1459"/>
                  </a:lnTo>
                  <a:lnTo>
                    <a:pt x="257" y="1461"/>
                  </a:lnTo>
                  <a:lnTo>
                    <a:pt x="257" y="1459"/>
                  </a:lnTo>
                  <a:lnTo>
                    <a:pt x="259" y="1459"/>
                  </a:lnTo>
                  <a:lnTo>
                    <a:pt x="259" y="1461"/>
                  </a:lnTo>
                  <a:lnTo>
                    <a:pt x="259" y="1459"/>
                  </a:lnTo>
                  <a:lnTo>
                    <a:pt x="259" y="1461"/>
                  </a:lnTo>
                  <a:lnTo>
                    <a:pt x="261" y="1459"/>
                  </a:lnTo>
                  <a:lnTo>
                    <a:pt x="261" y="1461"/>
                  </a:lnTo>
                  <a:lnTo>
                    <a:pt x="261" y="1459"/>
                  </a:lnTo>
                  <a:lnTo>
                    <a:pt x="262" y="1458"/>
                  </a:lnTo>
                  <a:lnTo>
                    <a:pt x="262" y="1459"/>
                  </a:lnTo>
                  <a:lnTo>
                    <a:pt x="262" y="1458"/>
                  </a:lnTo>
                  <a:lnTo>
                    <a:pt x="264" y="1458"/>
                  </a:lnTo>
                  <a:lnTo>
                    <a:pt x="265" y="1458"/>
                  </a:lnTo>
                  <a:close/>
                  <a:moveTo>
                    <a:pt x="244" y="1505"/>
                  </a:moveTo>
                  <a:lnTo>
                    <a:pt x="246" y="1505"/>
                  </a:lnTo>
                  <a:lnTo>
                    <a:pt x="244" y="1505"/>
                  </a:lnTo>
                  <a:lnTo>
                    <a:pt x="244" y="1506"/>
                  </a:lnTo>
                  <a:lnTo>
                    <a:pt x="243" y="1506"/>
                  </a:lnTo>
                  <a:lnTo>
                    <a:pt x="243" y="1508"/>
                  </a:lnTo>
                  <a:lnTo>
                    <a:pt x="243" y="1506"/>
                  </a:lnTo>
                  <a:lnTo>
                    <a:pt x="241" y="1506"/>
                  </a:lnTo>
                  <a:lnTo>
                    <a:pt x="241" y="1508"/>
                  </a:lnTo>
                  <a:lnTo>
                    <a:pt x="241" y="1506"/>
                  </a:lnTo>
                  <a:lnTo>
                    <a:pt x="241" y="1508"/>
                  </a:lnTo>
                  <a:lnTo>
                    <a:pt x="239" y="1508"/>
                  </a:lnTo>
                  <a:lnTo>
                    <a:pt x="241" y="1508"/>
                  </a:lnTo>
                  <a:lnTo>
                    <a:pt x="239" y="1508"/>
                  </a:lnTo>
                  <a:lnTo>
                    <a:pt x="241" y="1508"/>
                  </a:lnTo>
                  <a:lnTo>
                    <a:pt x="241" y="1506"/>
                  </a:lnTo>
                  <a:lnTo>
                    <a:pt x="243" y="1506"/>
                  </a:lnTo>
                  <a:lnTo>
                    <a:pt x="243" y="1508"/>
                  </a:lnTo>
                  <a:lnTo>
                    <a:pt x="241" y="1508"/>
                  </a:lnTo>
                  <a:lnTo>
                    <a:pt x="243" y="1508"/>
                  </a:lnTo>
                  <a:lnTo>
                    <a:pt x="241" y="1508"/>
                  </a:lnTo>
                  <a:lnTo>
                    <a:pt x="241" y="1510"/>
                  </a:lnTo>
                  <a:lnTo>
                    <a:pt x="239" y="1510"/>
                  </a:lnTo>
                  <a:lnTo>
                    <a:pt x="241" y="1510"/>
                  </a:lnTo>
                  <a:lnTo>
                    <a:pt x="239" y="1510"/>
                  </a:lnTo>
                  <a:lnTo>
                    <a:pt x="241" y="1510"/>
                  </a:lnTo>
                  <a:lnTo>
                    <a:pt x="239" y="1510"/>
                  </a:lnTo>
                  <a:lnTo>
                    <a:pt x="238" y="1510"/>
                  </a:lnTo>
                  <a:lnTo>
                    <a:pt x="236" y="1510"/>
                  </a:lnTo>
                  <a:lnTo>
                    <a:pt x="236" y="1508"/>
                  </a:lnTo>
                  <a:lnTo>
                    <a:pt x="234" y="1508"/>
                  </a:lnTo>
                  <a:lnTo>
                    <a:pt x="234" y="1506"/>
                  </a:lnTo>
                  <a:lnTo>
                    <a:pt x="234" y="1505"/>
                  </a:lnTo>
                  <a:lnTo>
                    <a:pt x="236" y="1505"/>
                  </a:lnTo>
                  <a:lnTo>
                    <a:pt x="234" y="1505"/>
                  </a:lnTo>
                  <a:lnTo>
                    <a:pt x="236" y="1505"/>
                  </a:lnTo>
                  <a:lnTo>
                    <a:pt x="236" y="1503"/>
                  </a:lnTo>
                  <a:lnTo>
                    <a:pt x="236" y="1505"/>
                  </a:lnTo>
                  <a:lnTo>
                    <a:pt x="236" y="1503"/>
                  </a:lnTo>
                  <a:lnTo>
                    <a:pt x="238" y="1505"/>
                  </a:lnTo>
                  <a:lnTo>
                    <a:pt x="238" y="1503"/>
                  </a:lnTo>
                  <a:lnTo>
                    <a:pt x="238" y="1505"/>
                  </a:lnTo>
                  <a:lnTo>
                    <a:pt x="238" y="1503"/>
                  </a:lnTo>
                  <a:lnTo>
                    <a:pt x="238" y="1505"/>
                  </a:lnTo>
                  <a:lnTo>
                    <a:pt x="239" y="1505"/>
                  </a:lnTo>
                  <a:lnTo>
                    <a:pt x="238" y="1503"/>
                  </a:lnTo>
                  <a:lnTo>
                    <a:pt x="238" y="1505"/>
                  </a:lnTo>
                  <a:lnTo>
                    <a:pt x="238" y="1503"/>
                  </a:lnTo>
                  <a:lnTo>
                    <a:pt x="239" y="1503"/>
                  </a:lnTo>
                  <a:lnTo>
                    <a:pt x="238" y="1503"/>
                  </a:lnTo>
                  <a:lnTo>
                    <a:pt x="238" y="1501"/>
                  </a:lnTo>
                  <a:lnTo>
                    <a:pt x="239" y="1501"/>
                  </a:lnTo>
                  <a:lnTo>
                    <a:pt x="241" y="1501"/>
                  </a:lnTo>
                  <a:lnTo>
                    <a:pt x="241" y="1500"/>
                  </a:lnTo>
                  <a:lnTo>
                    <a:pt x="241" y="1501"/>
                  </a:lnTo>
                  <a:lnTo>
                    <a:pt x="241" y="1500"/>
                  </a:lnTo>
                  <a:lnTo>
                    <a:pt x="243" y="1500"/>
                  </a:lnTo>
                  <a:lnTo>
                    <a:pt x="243" y="1501"/>
                  </a:lnTo>
                  <a:lnTo>
                    <a:pt x="243" y="1500"/>
                  </a:lnTo>
                  <a:lnTo>
                    <a:pt x="243" y="1501"/>
                  </a:lnTo>
                  <a:lnTo>
                    <a:pt x="244" y="1501"/>
                  </a:lnTo>
                  <a:lnTo>
                    <a:pt x="244" y="1503"/>
                  </a:lnTo>
                  <a:lnTo>
                    <a:pt x="243" y="1503"/>
                  </a:lnTo>
                  <a:lnTo>
                    <a:pt x="241" y="1503"/>
                  </a:lnTo>
                  <a:lnTo>
                    <a:pt x="243" y="1503"/>
                  </a:lnTo>
                  <a:lnTo>
                    <a:pt x="244" y="1503"/>
                  </a:lnTo>
                  <a:lnTo>
                    <a:pt x="244" y="1505"/>
                  </a:lnTo>
                  <a:lnTo>
                    <a:pt x="244" y="1503"/>
                  </a:lnTo>
                  <a:lnTo>
                    <a:pt x="244" y="1505"/>
                  </a:lnTo>
                  <a:close/>
                  <a:moveTo>
                    <a:pt x="324" y="1425"/>
                  </a:moveTo>
                  <a:lnTo>
                    <a:pt x="324" y="1427"/>
                  </a:lnTo>
                  <a:lnTo>
                    <a:pt x="326" y="1427"/>
                  </a:lnTo>
                  <a:lnTo>
                    <a:pt x="326" y="1428"/>
                  </a:lnTo>
                  <a:lnTo>
                    <a:pt x="327" y="1428"/>
                  </a:lnTo>
                  <a:lnTo>
                    <a:pt x="326" y="1430"/>
                  </a:lnTo>
                  <a:lnTo>
                    <a:pt x="324" y="1430"/>
                  </a:lnTo>
                  <a:lnTo>
                    <a:pt x="322" y="1432"/>
                  </a:lnTo>
                  <a:lnTo>
                    <a:pt x="321" y="1432"/>
                  </a:lnTo>
                  <a:lnTo>
                    <a:pt x="319" y="1433"/>
                  </a:lnTo>
                  <a:lnTo>
                    <a:pt x="317" y="1433"/>
                  </a:lnTo>
                  <a:lnTo>
                    <a:pt x="317" y="1432"/>
                  </a:lnTo>
                  <a:lnTo>
                    <a:pt x="316" y="1432"/>
                  </a:lnTo>
                  <a:lnTo>
                    <a:pt x="317" y="1432"/>
                  </a:lnTo>
                  <a:lnTo>
                    <a:pt x="316" y="1432"/>
                  </a:lnTo>
                  <a:lnTo>
                    <a:pt x="316" y="1430"/>
                  </a:lnTo>
                  <a:lnTo>
                    <a:pt x="314" y="1432"/>
                  </a:lnTo>
                  <a:lnTo>
                    <a:pt x="313" y="1432"/>
                  </a:lnTo>
                  <a:lnTo>
                    <a:pt x="314" y="1432"/>
                  </a:lnTo>
                  <a:lnTo>
                    <a:pt x="313" y="1433"/>
                  </a:lnTo>
                  <a:lnTo>
                    <a:pt x="313" y="1432"/>
                  </a:lnTo>
                  <a:lnTo>
                    <a:pt x="313" y="1430"/>
                  </a:lnTo>
                  <a:lnTo>
                    <a:pt x="313" y="1428"/>
                  </a:lnTo>
                  <a:lnTo>
                    <a:pt x="314" y="1428"/>
                  </a:lnTo>
                  <a:lnTo>
                    <a:pt x="316" y="1427"/>
                  </a:lnTo>
                  <a:lnTo>
                    <a:pt x="316" y="1428"/>
                  </a:lnTo>
                  <a:lnTo>
                    <a:pt x="316" y="1427"/>
                  </a:lnTo>
                  <a:lnTo>
                    <a:pt x="317" y="1427"/>
                  </a:lnTo>
                  <a:lnTo>
                    <a:pt x="319" y="1427"/>
                  </a:lnTo>
                  <a:lnTo>
                    <a:pt x="321" y="1427"/>
                  </a:lnTo>
                  <a:lnTo>
                    <a:pt x="319" y="1428"/>
                  </a:lnTo>
                  <a:lnTo>
                    <a:pt x="317" y="1428"/>
                  </a:lnTo>
                  <a:lnTo>
                    <a:pt x="317" y="1430"/>
                  </a:lnTo>
                  <a:lnTo>
                    <a:pt x="319" y="1428"/>
                  </a:lnTo>
                  <a:lnTo>
                    <a:pt x="321" y="1428"/>
                  </a:lnTo>
                  <a:lnTo>
                    <a:pt x="322" y="1428"/>
                  </a:lnTo>
                  <a:lnTo>
                    <a:pt x="324" y="1427"/>
                  </a:lnTo>
                  <a:lnTo>
                    <a:pt x="322" y="1427"/>
                  </a:lnTo>
                  <a:lnTo>
                    <a:pt x="321" y="1427"/>
                  </a:lnTo>
                  <a:lnTo>
                    <a:pt x="322" y="1427"/>
                  </a:lnTo>
                  <a:lnTo>
                    <a:pt x="322" y="1425"/>
                  </a:lnTo>
                  <a:lnTo>
                    <a:pt x="324" y="1425"/>
                  </a:lnTo>
                  <a:close/>
                  <a:moveTo>
                    <a:pt x="558" y="1389"/>
                  </a:moveTo>
                  <a:lnTo>
                    <a:pt x="557" y="1389"/>
                  </a:lnTo>
                  <a:lnTo>
                    <a:pt x="558" y="1389"/>
                  </a:lnTo>
                  <a:lnTo>
                    <a:pt x="558" y="1391"/>
                  </a:lnTo>
                  <a:lnTo>
                    <a:pt x="560" y="1391"/>
                  </a:lnTo>
                  <a:lnTo>
                    <a:pt x="558" y="1391"/>
                  </a:lnTo>
                  <a:lnTo>
                    <a:pt x="558" y="1393"/>
                  </a:lnTo>
                  <a:lnTo>
                    <a:pt x="560" y="1393"/>
                  </a:lnTo>
                  <a:lnTo>
                    <a:pt x="560" y="1394"/>
                  </a:lnTo>
                  <a:lnTo>
                    <a:pt x="560" y="1393"/>
                  </a:lnTo>
                  <a:lnTo>
                    <a:pt x="561" y="1393"/>
                  </a:lnTo>
                  <a:lnTo>
                    <a:pt x="561" y="1394"/>
                  </a:lnTo>
                  <a:lnTo>
                    <a:pt x="563" y="1394"/>
                  </a:lnTo>
                  <a:lnTo>
                    <a:pt x="563" y="1396"/>
                  </a:lnTo>
                  <a:lnTo>
                    <a:pt x="565" y="1396"/>
                  </a:lnTo>
                  <a:lnTo>
                    <a:pt x="565" y="1397"/>
                  </a:lnTo>
                  <a:lnTo>
                    <a:pt x="566" y="1397"/>
                  </a:lnTo>
                  <a:lnTo>
                    <a:pt x="566" y="1399"/>
                  </a:lnTo>
                  <a:lnTo>
                    <a:pt x="565" y="1399"/>
                  </a:lnTo>
                  <a:lnTo>
                    <a:pt x="565" y="1401"/>
                  </a:lnTo>
                  <a:lnTo>
                    <a:pt x="563" y="1401"/>
                  </a:lnTo>
                  <a:lnTo>
                    <a:pt x="563" y="1402"/>
                  </a:lnTo>
                  <a:lnTo>
                    <a:pt x="565" y="1402"/>
                  </a:lnTo>
                  <a:lnTo>
                    <a:pt x="565" y="1404"/>
                  </a:lnTo>
                  <a:lnTo>
                    <a:pt x="563" y="1404"/>
                  </a:lnTo>
                  <a:lnTo>
                    <a:pt x="563" y="1402"/>
                  </a:lnTo>
                  <a:lnTo>
                    <a:pt x="563" y="1404"/>
                  </a:lnTo>
                  <a:lnTo>
                    <a:pt x="561" y="1404"/>
                  </a:lnTo>
                  <a:lnTo>
                    <a:pt x="561" y="1402"/>
                  </a:lnTo>
                  <a:lnTo>
                    <a:pt x="563" y="1402"/>
                  </a:lnTo>
                  <a:lnTo>
                    <a:pt x="561" y="1402"/>
                  </a:lnTo>
                  <a:lnTo>
                    <a:pt x="560" y="1402"/>
                  </a:lnTo>
                  <a:lnTo>
                    <a:pt x="560" y="1401"/>
                  </a:lnTo>
                  <a:lnTo>
                    <a:pt x="561" y="1401"/>
                  </a:lnTo>
                  <a:lnTo>
                    <a:pt x="560" y="1401"/>
                  </a:lnTo>
                  <a:lnTo>
                    <a:pt x="561" y="1401"/>
                  </a:lnTo>
                  <a:lnTo>
                    <a:pt x="563" y="1399"/>
                  </a:lnTo>
                  <a:lnTo>
                    <a:pt x="563" y="1397"/>
                  </a:lnTo>
                  <a:lnTo>
                    <a:pt x="563" y="1399"/>
                  </a:lnTo>
                  <a:lnTo>
                    <a:pt x="561" y="1399"/>
                  </a:lnTo>
                  <a:lnTo>
                    <a:pt x="561" y="1401"/>
                  </a:lnTo>
                  <a:lnTo>
                    <a:pt x="561" y="1399"/>
                  </a:lnTo>
                  <a:lnTo>
                    <a:pt x="560" y="1399"/>
                  </a:lnTo>
                  <a:lnTo>
                    <a:pt x="558" y="1399"/>
                  </a:lnTo>
                  <a:lnTo>
                    <a:pt x="560" y="1397"/>
                  </a:lnTo>
                  <a:lnTo>
                    <a:pt x="558" y="1399"/>
                  </a:lnTo>
                  <a:lnTo>
                    <a:pt x="558" y="1397"/>
                  </a:lnTo>
                  <a:lnTo>
                    <a:pt x="557" y="1397"/>
                  </a:lnTo>
                  <a:lnTo>
                    <a:pt x="558" y="1396"/>
                  </a:lnTo>
                  <a:lnTo>
                    <a:pt x="557" y="1396"/>
                  </a:lnTo>
                  <a:lnTo>
                    <a:pt x="557" y="1393"/>
                  </a:lnTo>
                  <a:lnTo>
                    <a:pt x="557" y="1391"/>
                  </a:lnTo>
                  <a:lnTo>
                    <a:pt x="557" y="1389"/>
                  </a:lnTo>
                  <a:lnTo>
                    <a:pt x="558" y="1389"/>
                  </a:lnTo>
                  <a:close/>
                  <a:moveTo>
                    <a:pt x="246" y="1410"/>
                  </a:moveTo>
                  <a:lnTo>
                    <a:pt x="246" y="1409"/>
                  </a:lnTo>
                  <a:lnTo>
                    <a:pt x="247" y="1410"/>
                  </a:lnTo>
                  <a:lnTo>
                    <a:pt x="247" y="1409"/>
                  </a:lnTo>
                  <a:lnTo>
                    <a:pt x="247" y="1410"/>
                  </a:lnTo>
                  <a:lnTo>
                    <a:pt x="247" y="1409"/>
                  </a:lnTo>
                  <a:lnTo>
                    <a:pt x="247" y="1410"/>
                  </a:lnTo>
                  <a:lnTo>
                    <a:pt x="249" y="1410"/>
                  </a:lnTo>
                  <a:lnTo>
                    <a:pt x="249" y="1412"/>
                  </a:lnTo>
                  <a:lnTo>
                    <a:pt x="251" y="1412"/>
                  </a:lnTo>
                  <a:lnTo>
                    <a:pt x="252" y="1414"/>
                  </a:lnTo>
                  <a:lnTo>
                    <a:pt x="254" y="1415"/>
                  </a:lnTo>
                  <a:lnTo>
                    <a:pt x="254" y="1417"/>
                  </a:lnTo>
                  <a:lnTo>
                    <a:pt x="252" y="1417"/>
                  </a:lnTo>
                  <a:lnTo>
                    <a:pt x="254" y="1419"/>
                  </a:lnTo>
                  <a:lnTo>
                    <a:pt x="252" y="1419"/>
                  </a:lnTo>
                  <a:lnTo>
                    <a:pt x="254" y="1419"/>
                  </a:lnTo>
                  <a:lnTo>
                    <a:pt x="256" y="1419"/>
                  </a:lnTo>
                  <a:lnTo>
                    <a:pt x="256" y="1420"/>
                  </a:lnTo>
                  <a:lnTo>
                    <a:pt x="257" y="1422"/>
                  </a:lnTo>
                  <a:lnTo>
                    <a:pt x="257" y="1423"/>
                  </a:lnTo>
                  <a:lnTo>
                    <a:pt x="257" y="1422"/>
                  </a:lnTo>
                  <a:lnTo>
                    <a:pt x="256" y="1422"/>
                  </a:lnTo>
                  <a:lnTo>
                    <a:pt x="254" y="1422"/>
                  </a:lnTo>
                  <a:lnTo>
                    <a:pt x="254" y="1423"/>
                  </a:lnTo>
                  <a:lnTo>
                    <a:pt x="254" y="1422"/>
                  </a:lnTo>
                  <a:lnTo>
                    <a:pt x="252" y="1422"/>
                  </a:lnTo>
                  <a:lnTo>
                    <a:pt x="251" y="1422"/>
                  </a:lnTo>
                  <a:lnTo>
                    <a:pt x="252" y="1420"/>
                  </a:lnTo>
                  <a:lnTo>
                    <a:pt x="251" y="1420"/>
                  </a:lnTo>
                  <a:lnTo>
                    <a:pt x="249" y="1420"/>
                  </a:lnTo>
                  <a:lnTo>
                    <a:pt x="251" y="1420"/>
                  </a:lnTo>
                  <a:lnTo>
                    <a:pt x="251" y="1419"/>
                  </a:lnTo>
                  <a:lnTo>
                    <a:pt x="249" y="1419"/>
                  </a:lnTo>
                  <a:lnTo>
                    <a:pt x="249" y="1420"/>
                  </a:lnTo>
                  <a:lnTo>
                    <a:pt x="247" y="1420"/>
                  </a:lnTo>
                  <a:lnTo>
                    <a:pt x="247" y="1419"/>
                  </a:lnTo>
                  <a:lnTo>
                    <a:pt x="247" y="1417"/>
                  </a:lnTo>
                  <a:lnTo>
                    <a:pt x="249" y="1417"/>
                  </a:lnTo>
                  <a:lnTo>
                    <a:pt x="247" y="1417"/>
                  </a:lnTo>
                  <a:lnTo>
                    <a:pt x="249" y="1417"/>
                  </a:lnTo>
                  <a:lnTo>
                    <a:pt x="247" y="1417"/>
                  </a:lnTo>
                  <a:lnTo>
                    <a:pt x="249" y="1417"/>
                  </a:lnTo>
                  <a:lnTo>
                    <a:pt x="251" y="1417"/>
                  </a:lnTo>
                  <a:lnTo>
                    <a:pt x="249" y="1417"/>
                  </a:lnTo>
                  <a:lnTo>
                    <a:pt x="249" y="1415"/>
                  </a:lnTo>
                  <a:lnTo>
                    <a:pt x="251" y="1417"/>
                  </a:lnTo>
                  <a:lnTo>
                    <a:pt x="251" y="1415"/>
                  </a:lnTo>
                  <a:lnTo>
                    <a:pt x="249" y="1415"/>
                  </a:lnTo>
                  <a:lnTo>
                    <a:pt x="249" y="1414"/>
                  </a:lnTo>
                  <a:lnTo>
                    <a:pt x="251" y="1414"/>
                  </a:lnTo>
                  <a:lnTo>
                    <a:pt x="249" y="1414"/>
                  </a:lnTo>
                  <a:lnTo>
                    <a:pt x="249" y="1415"/>
                  </a:lnTo>
                  <a:lnTo>
                    <a:pt x="247" y="1415"/>
                  </a:lnTo>
                  <a:lnTo>
                    <a:pt x="247" y="1414"/>
                  </a:lnTo>
                  <a:lnTo>
                    <a:pt x="247" y="1412"/>
                  </a:lnTo>
                  <a:lnTo>
                    <a:pt x="247" y="1414"/>
                  </a:lnTo>
                  <a:lnTo>
                    <a:pt x="247" y="1412"/>
                  </a:lnTo>
                  <a:lnTo>
                    <a:pt x="246" y="1412"/>
                  </a:lnTo>
                  <a:lnTo>
                    <a:pt x="246" y="1410"/>
                  </a:lnTo>
                  <a:close/>
                  <a:moveTo>
                    <a:pt x="208" y="1017"/>
                  </a:moveTo>
                  <a:lnTo>
                    <a:pt x="210" y="1017"/>
                  </a:lnTo>
                  <a:lnTo>
                    <a:pt x="208" y="1017"/>
                  </a:lnTo>
                  <a:lnTo>
                    <a:pt x="210" y="1017"/>
                  </a:lnTo>
                  <a:lnTo>
                    <a:pt x="210" y="1018"/>
                  </a:lnTo>
                  <a:lnTo>
                    <a:pt x="212" y="1018"/>
                  </a:lnTo>
                  <a:lnTo>
                    <a:pt x="210" y="1018"/>
                  </a:lnTo>
                  <a:lnTo>
                    <a:pt x="212" y="1018"/>
                  </a:lnTo>
                  <a:lnTo>
                    <a:pt x="213" y="1018"/>
                  </a:lnTo>
                  <a:lnTo>
                    <a:pt x="213" y="1017"/>
                  </a:lnTo>
                  <a:lnTo>
                    <a:pt x="215" y="1018"/>
                  </a:lnTo>
                  <a:lnTo>
                    <a:pt x="213" y="1018"/>
                  </a:lnTo>
                  <a:lnTo>
                    <a:pt x="213" y="1020"/>
                  </a:lnTo>
                  <a:lnTo>
                    <a:pt x="215" y="1020"/>
                  </a:lnTo>
                  <a:lnTo>
                    <a:pt x="213" y="1020"/>
                  </a:lnTo>
                  <a:lnTo>
                    <a:pt x="215" y="1020"/>
                  </a:lnTo>
                  <a:lnTo>
                    <a:pt x="213" y="1020"/>
                  </a:lnTo>
                  <a:lnTo>
                    <a:pt x="213" y="1022"/>
                  </a:lnTo>
                  <a:lnTo>
                    <a:pt x="215" y="1022"/>
                  </a:lnTo>
                  <a:lnTo>
                    <a:pt x="215" y="1020"/>
                  </a:lnTo>
                  <a:lnTo>
                    <a:pt x="215" y="1022"/>
                  </a:lnTo>
                  <a:lnTo>
                    <a:pt x="215" y="1023"/>
                  </a:lnTo>
                  <a:lnTo>
                    <a:pt x="213" y="1023"/>
                  </a:lnTo>
                  <a:lnTo>
                    <a:pt x="215" y="1023"/>
                  </a:lnTo>
                  <a:lnTo>
                    <a:pt x="213" y="1025"/>
                  </a:lnTo>
                  <a:lnTo>
                    <a:pt x="213" y="1023"/>
                  </a:lnTo>
                  <a:lnTo>
                    <a:pt x="212" y="1023"/>
                  </a:lnTo>
                  <a:lnTo>
                    <a:pt x="212" y="1022"/>
                  </a:lnTo>
                  <a:lnTo>
                    <a:pt x="210" y="1020"/>
                  </a:lnTo>
                  <a:lnTo>
                    <a:pt x="208" y="1018"/>
                  </a:lnTo>
                  <a:lnTo>
                    <a:pt x="208" y="1020"/>
                  </a:lnTo>
                  <a:lnTo>
                    <a:pt x="210" y="1020"/>
                  </a:lnTo>
                  <a:lnTo>
                    <a:pt x="208" y="1020"/>
                  </a:lnTo>
                  <a:lnTo>
                    <a:pt x="210" y="1020"/>
                  </a:lnTo>
                  <a:lnTo>
                    <a:pt x="210" y="1022"/>
                  </a:lnTo>
                  <a:lnTo>
                    <a:pt x="212" y="1023"/>
                  </a:lnTo>
                  <a:lnTo>
                    <a:pt x="210" y="1023"/>
                  </a:lnTo>
                  <a:lnTo>
                    <a:pt x="210" y="1022"/>
                  </a:lnTo>
                  <a:lnTo>
                    <a:pt x="208" y="1022"/>
                  </a:lnTo>
                  <a:lnTo>
                    <a:pt x="208" y="1023"/>
                  </a:lnTo>
                  <a:lnTo>
                    <a:pt x="208" y="1025"/>
                  </a:lnTo>
                  <a:lnTo>
                    <a:pt x="208" y="1027"/>
                  </a:lnTo>
                  <a:lnTo>
                    <a:pt x="210" y="1027"/>
                  </a:lnTo>
                  <a:lnTo>
                    <a:pt x="210" y="1025"/>
                  </a:lnTo>
                  <a:lnTo>
                    <a:pt x="210" y="1027"/>
                  </a:lnTo>
                  <a:lnTo>
                    <a:pt x="208" y="1027"/>
                  </a:lnTo>
                  <a:lnTo>
                    <a:pt x="208" y="1028"/>
                  </a:lnTo>
                  <a:lnTo>
                    <a:pt x="208" y="1027"/>
                  </a:lnTo>
                  <a:lnTo>
                    <a:pt x="208" y="1028"/>
                  </a:lnTo>
                  <a:lnTo>
                    <a:pt x="207" y="1027"/>
                  </a:lnTo>
                  <a:lnTo>
                    <a:pt x="207" y="1025"/>
                  </a:lnTo>
                  <a:lnTo>
                    <a:pt x="205" y="1025"/>
                  </a:lnTo>
                  <a:lnTo>
                    <a:pt x="207" y="1023"/>
                  </a:lnTo>
                  <a:lnTo>
                    <a:pt x="205" y="1023"/>
                  </a:lnTo>
                  <a:lnTo>
                    <a:pt x="207" y="1023"/>
                  </a:lnTo>
                  <a:lnTo>
                    <a:pt x="205" y="1023"/>
                  </a:lnTo>
                  <a:lnTo>
                    <a:pt x="207" y="1023"/>
                  </a:lnTo>
                  <a:lnTo>
                    <a:pt x="205" y="1023"/>
                  </a:lnTo>
                  <a:lnTo>
                    <a:pt x="205" y="1022"/>
                  </a:lnTo>
                  <a:lnTo>
                    <a:pt x="207" y="1022"/>
                  </a:lnTo>
                  <a:lnTo>
                    <a:pt x="205" y="1022"/>
                  </a:lnTo>
                  <a:lnTo>
                    <a:pt x="205" y="1020"/>
                  </a:lnTo>
                  <a:lnTo>
                    <a:pt x="207" y="1020"/>
                  </a:lnTo>
                  <a:lnTo>
                    <a:pt x="205" y="1020"/>
                  </a:lnTo>
                  <a:lnTo>
                    <a:pt x="207" y="1020"/>
                  </a:lnTo>
                  <a:lnTo>
                    <a:pt x="207" y="1018"/>
                  </a:lnTo>
                  <a:lnTo>
                    <a:pt x="207" y="1017"/>
                  </a:lnTo>
                  <a:lnTo>
                    <a:pt x="207" y="1018"/>
                  </a:lnTo>
                  <a:lnTo>
                    <a:pt x="208" y="1018"/>
                  </a:lnTo>
                  <a:lnTo>
                    <a:pt x="208" y="1017"/>
                  </a:lnTo>
                  <a:close/>
                  <a:moveTo>
                    <a:pt x="288" y="641"/>
                  </a:moveTo>
                  <a:lnTo>
                    <a:pt x="288" y="639"/>
                  </a:lnTo>
                  <a:lnTo>
                    <a:pt x="287" y="638"/>
                  </a:lnTo>
                  <a:lnTo>
                    <a:pt x="287" y="636"/>
                  </a:lnTo>
                  <a:lnTo>
                    <a:pt x="288" y="638"/>
                  </a:lnTo>
                  <a:lnTo>
                    <a:pt x="290" y="638"/>
                  </a:lnTo>
                  <a:lnTo>
                    <a:pt x="291" y="638"/>
                  </a:lnTo>
                  <a:lnTo>
                    <a:pt x="290" y="638"/>
                  </a:lnTo>
                  <a:lnTo>
                    <a:pt x="293" y="638"/>
                  </a:lnTo>
                  <a:lnTo>
                    <a:pt x="291" y="638"/>
                  </a:lnTo>
                  <a:lnTo>
                    <a:pt x="293" y="638"/>
                  </a:lnTo>
                  <a:lnTo>
                    <a:pt x="293" y="639"/>
                  </a:lnTo>
                  <a:lnTo>
                    <a:pt x="295" y="641"/>
                  </a:lnTo>
                  <a:lnTo>
                    <a:pt x="293" y="641"/>
                  </a:lnTo>
                  <a:lnTo>
                    <a:pt x="293" y="643"/>
                  </a:lnTo>
                  <a:lnTo>
                    <a:pt x="293" y="644"/>
                  </a:lnTo>
                  <a:lnTo>
                    <a:pt x="293" y="643"/>
                  </a:lnTo>
                  <a:lnTo>
                    <a:pt x="293" y="644"/>
                  </a:lnTo>
                  <a:lnTo>
                    <a:pt x="293" y="646"/>
                  </a:lnTo>
                  <a:lnTo>
                    <a:pt x="293" y="644"/>
                  </a:lnTo>
                  <a:lnTo>
                    <a:pt x="291" y="646"/>
                  </a:lnTo>
                  <a:lnTo>
                    <a:pt x="291" y="644"/>
                  </a:lnTo>
                  <a:lnTo>
                    <a:pt x="291" y="646"/>
                  </a:lnTo>
                  <a:lnTo>
                    <a:pt x="291" y="648"/>
                  </a:lnTo>
                  <a:lnTo>
                    <a:pt x="290" y="646"/>
                  </a:lnTo>
                  <a:lnTo>
                    <a:pt x="290" y="648"/>
                  </a:lnTo>
                  <a:lnTo>
                    <a:pt x="291" y="648"/>
                  </a:lnTo>
                  <a:lnTo>
                    <a:pt x="290" y="648"/>
                  </a:lnTo>
                  <a:lnTo>
                    <a:pt x="288" y="646"/>
                  </a:lnTo>
                  <a:lnTo>
                    <a:pt x="288" y="644"/>
                  </a:lnTo>
                  <a:lnTo>
                    <a:pt x="290" y="644"/>
                  </a:lnTo>
                  <a:lnTo>
                    <a:pt x="288" y="644"/>
                  </a:lnTo>
                  <a:lnTo>
                    <a:pt x="290" y="643"/>
                  </a:lnTo>
                  <a:lnTo>
                    <a:pt x="288" y="643"/>
                  </a:lnTo>
                  <a:lnTo>
                    <a:pt x="288" y="641"/>
                  </a:lnTo>
                  <a:close/>
                  <a:moveTo>
                    <a:pt x="197" y="1500"/>
                  </a:moveTo>
                  <a:lnTo>
                    <a:pt x="199" y="1500"/>
                  </a:lnTo>
                  <a:lnTo>
                    <a:pt x="200" y="1500"/>
                  </a:lnTo>
                  <a:lnTo>
                    <a:pt x="202" y="1500"/>
                  </a:lnTo>
                  <a:lnTo>
                    <a:pt x="202" y="1498"/>
                  </a:lnTo>
                  <a:lnTo>
                    <a:pt x="204" y="1500"/>
                  </a:lnTo>
                  <a:lnTo>
                    <a:pt x="204" y="1501"/>
                  </a:lnTo>
                  <a:lnTo>
                    <a:pt x="205" y="1501"/>
                  </a:lnTo>
                  <a:lnTo>
                    <a:pt x="204" y="1501"/>
                  </a:lnTo>
                  <a:lnTo>
                    <a:pt x="204" y="1503"/>
                  </a:lnTo>
                  <a:lnTo>
                    <a:pt x="202" y="1503"/>
                  </a:lnTo>
                  <a:lnTo>
                    <a:pt x="202" y="1501"/>
                  </a:lnTo>
                  <a:lnTo>
                    <a:pt x="202" y="1503"/>
                  </a:lnTo>
                  <a:lnTo>
                    <a:pt x="202" y="1501"/>
                  </a:lnTo>
                  <a:lnTo>
                    <a:pt x="200" y="1501"/>
                  </a:lnTo>
                  <a:lnTo>
                    <a:pt x="200" y="1500"/>
                  </a:lnTo>
                  <a:lnTo>
                    <a:pt x="200" y="1501"/>
                  </a:lnTo>
                  <a:lnTo>
                    <a:pt x="202" y="1501"/>
                  </a:lnTo>
                  <a:lnTo>
                    <a:pt x="202" y="1503"/>
                  </a:lnTo>
                  <a:lnTo>
                    <a:pt x="202" y="1505"/>
                  </a:lnTo>
                  <a:lnTo>
                    <a:pt x="200" y="1503"/>
                  </a:lnTo>
                  <a:lnTo>
                    <a:pt x="200" y="1505"/>
                  </a:lnTo>
                  <a:lnTo>
                    <a:pt x="199" y="1505"/>
                  </a:lnTo>
                  <a:lnTo>
                    <a:pt x="197" y="1505"/>
                  </a:lnTo>
                  <a:lnTo>
                    <a:pt x="197" y="1503"/>
                  </a:lnTo>
                  <a:lnTo>
                    <a:pt x="197" y="1505"/>
                  </a:lnTo>
                  <a:lnTo>
                    <a:pt x="195" y="1503"/>
                  </a:lnTo>
                  <a:lnTo>
                    <a:pt x="195" y="1505"/>
                  </a:lnTo>
                  <a:lnTo>
                    <a:pt x="197" y="1505"/>
                  </a:lnTo>
                  <a:lnTo>
                    <a:pt x="195" y="1505"/>
                  </a:lnTo>
                  <a:lnTo>
                    <a:pt x="195" y="1506"/>
                  </a:lnTo>
                  <a:lnTo>
                    <a:pt x="194" y="1506"/>
                  </a:lnTo>
                  <a:lnTo>
                    <a:pt x="195" y="1506"/>
                  </a:lnTo>
                  <a:lnTo>
                    <a:pt x="197" y="1506"/>
                  </a:lnTo>
                  <a:lnTo>
                    <a:pt x="195" y="1506"/>
                  </a:lnTo>
                  <a:lnTo>
                    <a:pt x="197" y="1508"/>
                  </a:lnTo>
                  <a:lnTo>
                    <a:pt x="195" y="1508"/>
                  </a:lnTo>
                  <a:lnTo>
                    <a:pt x="194" y="1506"/>
                  </a:lnTo>
                  <a:lnTo>
                    <a:pt x="194" y="1508"/>
                  </a:lnTo>
                  <a:lnTo>
                    <a:pt x="195" y="1508"/>
                  </a:lnTo>
                  <a:lnTo>
                    <a:pt x="194" y="1508"/>
                  </a:lnTo>
                  <a:lnTo>
                    <a:pt x="195" y="1508"/>
                  </a:lnTo>
                  <a:lnTo>
                    <a:pt x="195" y="1510"/>
                  </a:lnTo>
                  <a:lnTo>
                    <a:pt x="194" y="1510"/>
                  </a:lnTo>
                  <a:lnTo>
                    <a:pt x="194" y="1508"/>
                  </a:lnTo>
                  <a:lnTo>
                    <a:pt x="192" y="1508"/>
                  </a:lnTo>
                  <a:lnTo>
                    <a:pt x="194" y="1508"/>
                  </a:lnTo>
                  <a:lnTo>
                    <a:pt x="194" y="1506"/>
                  </a:lnTo>
                  <a:lnTo>
                    <a:pt x="194" y="1508"/>
                  </a:lnTo>
                  <a:lnTo>
                    <a:pt x="192" y="1508"/>
                  </a:lnTo>
                  <a:lnTo>
                    <a:pt x="192" y="1506"/>
                  </a:lnTo>
                  <a:lnTo>
                    <a:pt x="192" y="1505"/>
                  </a:lnTo>
                  <a:lnTo>
                    <a:pt x="192" y="1506"/>
                  </a:lnTo>
                  <a:lnTo>
                    <a:pt x="194" y="1505"/>
                  </a:lnTo>
                  <a:lnTo>
                    <a:pt x="194" y="1503"/>
                  </a:lnTo>
                  <a:lnTo>
                    <a:pt x="195" y="1503"/>
                  </a:lnTo>
                  <a:lnTo>
                    <a:pt x="194" y="1501"/>
                  </a:lnTo>
                  <a:lnTo>
                    <a:pt x="195" y="1503"/>
                  </a:lnTo>
                  <a:lnTo>
                    <a:pt x="195" y="1501"/>
                  </a:lnTo>
                  <a:lnTo>
                    <a:pt x="195" y="1500"/>
                  </a:lnTo>
                  <a:lnTo>
                    <a:pt x="197" y="1498"/>
                  </a:lnTo>
                  <a:lnTo>
                    <a:pt x="197" y="1500"/>
                  </a:lnTo>
                  <a:close/>
                  <a:moveTo>
                    <a:pt x="225" y="1012"/>
                  </a:moveTo>
                  <a:lnTo>
                    <a:pt x="225" y="1010"/>
                  </a:lnTo>
                  <a:lnTo>
                    <a:pt x="225" y="1009"/>
                  </a:lnTo>
                  <a:lnTo>
                    <a:pt x="226" y="1007"/>
                  </a:lnTo>
                  <a:lnTo>
                    <a:pt x="226" y="1005"/>
                  </a:lnTo>
                  <a:lnTo>
                    <a:pt x="226" y="1004"/>
                  </a:lnTo>
                  <a:lnTo>
                    <a:pt x="228" y="1004"/>
                  </a:lnTo>
                  <a:lnTo>
                    <a:pt x="228" y="1005"/>
                  </a:lnTo>
                  <a:lnTo>
                    <a:pt x="230" y="1005"/>
                  </a:lnTo>
                  <a:lnTo>
                    <a:pt x="230" y="1004"/>
                  </a:lnTo>
                  <a:lnTo>
                    <a:pt x="231" y="1004"/>
                  </a:lnTo>
                  <a:lnTo>
                    <a:pt x="231" y="1005"/>
                  </a:lnTo>
                  <a:lnTo>
                    <a:pt x="231" y="1004"/>
                  </a:lnTo>
                  <a:lnTo>
                    <a:pt x="233" y="1004"/>
                  </a:lnTo>
                  <a:lnTo>
                    <a:pt x="233" y="1005"/>
                  </a:lnTo>
                  <a:lnTo>
                    <a:pt x="231" y="1005"/>
                  </a:lnTo>
                  <a:lnTo>
                    <a:pt x="233" y="1005"/>
                  </a:lnTo>
                  <a:lnTo>
                    <a:pt x="233" y="1007"/>
                  </a:lnTo>
                  <a:lnTo>
                    <a:pt x="233" y="1009"/>
                  </a:lnTo>
                  <a:lnTo>
                    <a:pt x="231" y="1009"/>
                  </a:lnTo>
                  <a:lnTo>
                    <a:pt x="231" y="1010"/>
                  </a:lnTo>
                  <a:lnTo>
                    <a:pt x="230" y="1010"/>
                  </a:lnTo>
                  <a:lnTo>
                    <a:pt x="230" y="1012"/>
                  </a:lnTo>
                  <a:lnTo>
                    <a:pt x="230" y="1010"/>
                  </a:lnTo>
                  <a:lnTo>
                    <a:pt x="228" y="1010"/>
                  </a:lnTo>
                  <a:lnTo>
                    <a:pt x="226" y="1010"/>
                  </a:lnTo>
                  <a:lnTo>
                    <a:pt x="226" y="1012"/>
                  </a:lnTo>
                  <a:lnTo>
                    <a:pt x="226" y="1014"/>
                  </a:lnTo>
                  <a:lnTo>
                    <a:pt x="225" y="1014"/>
                  </a:lnTo>
                  <a:lnTo>
                    <a:pt x="225" y="1012"/>
                  </a:lnTo>
                  <a:close/>
                  <a:moveTo>
                    <a:pt x="579" y="1378"/>
                  </a:moveTo>
                  <a:lnTo>
                    <a:pt x="581" y="1378"/>
                  </a:lnTo>
                  <a:lnTo>
                    <a:pt x="581" y="1380"/>
                  </a:lnTo>
                  <a:lnTo>
                    <a:pt x="583" y="1380"/>
                  </a:lnTo>
                  <a:lnTo>
                    <a:pt x="584" y="1380"/>
                  </a:lnTo>
                  <a:lnTo>
                    <a:pt x="584" y="1381"/>
                  </a:lnTo>
                  <a:lnTo>
                    <a:pt x="586" y="1381"/>
                  </a:lnTo>
                  <a:lnTo>
                    <a:pt x="586" y="1383"/>
                  </a:lnTo>
                  <a:lnTo>
                    <a:pt x="586" y="1384"/>
                  </a:lnTo>
                  <a:lnTo>
                    <a:pt x="586" y="1386"/>
                  </a:lnTo>
                  <a:lnTo>
                    <a:pt x="587" y="1386"/>
                  </a:lnTo>
                  <a:lnTo>
                    <a:pt x="589" y="1386"/>
                  </a:lnTo>
                  <a:lnTo>
                    <a:pt x="589" y="1388"/>
                  </a:lnTo>
                  <a:lnTo>
                    <a:pt x="587" y="1388"/>
                  </a:lnTo>
                  <a:lnTo>
                    <a:pt x="586" y="1386"/>
                  </a:lnTo>
                  <a:lnTo>
                    <a:pt x="586" y="1388"/>
                  </a:lnTo>
                  <a:lnTo>
                    <a:pt x="587" y="1388"/>
                  </a:lnTo>
                  <a:lnTo>
                    <a:pt x="587" y="1389"/>
                  </a:lnTo>
                  <a:lnTo>
                    <a:pt x="586" y="1389"/>
                  </a:lnTo>
                  <a:lnTo>
                    <a:pt x="586" y="1388"/>
                  </a:lnTo>
                  <a:lnTo>
                    <a:pt x="586" y="1389"/>
                  </a:lnTo>
                  <a:lnTo>
                    <a:pt x="584" y="1389"/>
                  </a:lnTo>
                  <a:lnTo>
                    <a:pt x="583" y="1389"/>
                  </a:lnTo>
                  <a:lnTo>
                    <a:pt x="583" y="1391"/>
                  </a:lnTo>
                  <a:lnTo>
                    <a:pt x="583" y="1389"/>
                  </a:lnTo>
                  <a:lnTo>
                    <a:pt x="583" y="1388"/>
                  </a:lnTo>
                  <a:lnTo>
                    <a:pt x="581" y="1388"/>
                  </a:lnTo>
                  <a:lnTo>
                    <a:pt x="581" y="1386"/>
                  </a:lnTo>
                  <a:lnTo>
                    <a:pt x="581" y="1384"/>
                  </a:lnTo>
                  <a:lnTo>
                    <a:pt x="583" y="1384"/>
                  </a:lnTo>
                  <a:lnTo>
                    <a:pt x="583" y="1386"/>
                  </a:lnTo>
                  <a:lnTo>
                    <a:pt x="583" y="1384"/>
                  </a:lnTo>
                  <a:lnTo>
                    <a:pt x="583" y="1383"/>
                  </a:lnTo>
                  <a:lnTo>
                    <a:pt x="581" y="1383"/>
                  </a:lnTo>
                  <a:lnTo>
                    <a:pt x="581" y="1381"/>
                  </a:lnTo>
                  <a:lnTo>
                    <a:pt x="579" y="1380"/>
                  </a:lnTo>
                  <a:lnTo>
                    <a:pt x="579" y="1378"/>
                  </a:lnTo>
                  <a:close/>
                  <a:moveTo>
                    <a:pt x="189" y="1461"/>
                  </a:moveTo>
                  <a:lnTo>
                    <a:pt x="191" y="1461"/>
                  </a:lnTo>
                  <a:lnTo>
                    <a:pt x="191" y="1462"/>
                  </a:lnTo>
                  <a:lnTo>
                    <a:pt x="192" y="1462"/>
                  </a:lnTo>
                  <a:lnTo>
                    <a:pt x="194" y="1462"/>
                  </a:lnTo>
                  <a:lnTo>
                    <a:pt x="194" y="1464"/>
                  </a:lnTo>
                  <a:lnTo>
                    <a:pt x="195" y="1464"/>
                  </a:lnTo>
                  <a:lnTo>
                    <a:pt x="195" y="1466"/>
                  </a:lnTo>
                  <a:lnTo>
                    <a:pt x="195" y="1464"/>
                  </a:lnTo>
                  <a:lnTo>
                    <a:pt x="197" y="1466"/>
                  </a:lnTo>
                  <a:lnTo>
                    <a:pt x="197" y="1467"/>
                  </a:lnTo>
                  <a:lnTo>
                    <a:pt x="197" y="1469"/>
                  </a:lnTo>
                  <a:lnTo>
                    <a:pt x="197" y="1471"/>
                  </a:lnTo>
                  <a:lnTo>
                    <a:pt x="195" y="1471"/>
                  </a:lnTo>
                  <a:lnTo>
                    <a:pt x="195" y="1472"/>
                  </a:lnTo>
                  <a:lnTo>
                    <a:pt x="195" y="1474"/>
                  </a:lnTo>
                  <a:lnTo>
                    <a:pt x="194" y="1474"/>
                  </a:lnTo>
                  <a:lnTo>
                    <a:pt x="194" y="1472"/>
                  </a:lnTo>
                  <a:lnTo>
                    <a:pt x="194" y="1471"/>
                  </a:lnTo>
                  <a:lnTo>
                    <a:pt x="192" y="1471"/>
                  </a:lnTo>
                  <a:lnTo>
                    <a:pt x="192" y="1469"/>
                  </a:lnTo>
                  <a:lnTo>
                    <a:pt x="194" y="1469"/>
                  </a:lnTo>
                  <a:lnTo>
                    <a:pt x="194" y="1467"/>
                  </a:lnTo>
                  <a:lnTo>
                    <a:pt x="192" y="1467"/>
                  </a:lnTo>
                  <a:lnTo>
                    <a:pt x="192" y="1469"/>
                  </a:lnTo>
                  <a:lnTo>
                    <a:pt x="191" y="1469"/>
                  </a:lnTo>
                  <a:lnTo>
                    <a:pt x="191" y="1467"/>
                  </a:lnTo>
                  <a:lnTo>
                    <a:pt x="189" y="1467"/>
                  </a:lnTo>
                  <a:lnTo>
                    <a:pt x="189" y="1466"/>
                  </a:lnTo>
                  <a:lnTo>
                    <a:pt x="191" y="1466"/>
                  </a:lnTo>
                  <a:lnTo>
                    <a:pt x="191" y="1464"/>
                  </a:lnTo>
                  <a:lnTo>
                    <a:pt x="191" y="1462"/>
                  </a:lnTo>
                  <a:lnTo>
                    <a:pt x="189" y="1462"/>
                  </a:lnTo>
                  <a:lnTo>
                    <a:pt x="189" y="1461"/>
                  </a:lnTo>
                  <a:lnTo>
                    <a:pt x="189" y="1462"/>
                  </a:lnTo>
                  <a:lnTo>
                    <a:pt x="189" y="1461"/>
                  </a:lnTo>
                  <a:close/>
                  <a:moveTo>
                    <a:pt x="238" y="1366"/>
                  </a:moveTo>
                  <a:lnTo>
                    <a:pt x="238" y="1368"/>
                  </a:lnTo>
                  <a:lnTo>
                    <a:pt x="238" y="1366"/>
                  </a:lnTo>
                  <a:lnTo>
                    <a:pt x="239" y="1366"/>
                  </a:lnTo>
                  <a:lnTo>
                    <a:pt x="241" y="1366"/>
                  </a:lnTo>
                  <a:lnTo>
                    <a:pt x="241" y="1368"/>
                  </a:lnTo>
                  <a:lnTo>
                    <a:pt x="239" y="1368"/>
                  </a:lnTo>
                  <a:lnTo>
                    <a:pt x="241" y="1368"/>
                  </a:lnTo>
                  <a:lnTo>
                    <a:pt x="239" y="1368"/>
                  </a:lnTo>
                  <a:lnTo>
                    <a:pt x="239" y="1370"/>
                  </a:lnTo>
                  <a:lnTo>
                    <a:pt x="239" y="1368"/>
                  </a:lnTo>
                  <a:lnTo>
                    <a:pt x="239" y="1370"/>
                  </a:lnTo>
                  <a:lnTo>
                    <a:pt x="239" y="1371"/>
                  </a:lnTo>
                  <a:lnTo>
                    <a:pt x="238" y="1370"/>
                  </a:lnTo>
                  <a:lnTo>
                    <a:pt x="239" y="1371"/>
                  </a:lnTo>
                  <a:lnTo>
                    <a:pt x="239" y="1373"/>
                  </a:lnTo>
                  <a:lnTo>
                    <a:pt x="238" y="1371"/>
                  </a:lnTo>
                  <a:lnTo>
                    <a:pt x="238" y="1373"/>
                  </a:lnTo>
                  <a:lnTo>
                    <a:pt x="239" y="1373"/>
                  </a:lnTo>
                  <a:lnTo>
                    <a:pt x="239" y="1371"/>
                  </a:lnTo>
                  <a:lnTo>
                    <a:pt x="239" y="1373"/>
                  </a:lnTo>
                  <a:lnTo>
                    <a:pt x="241" y="1373"/>
                  </a:lnTo>
                  <a:lnTo>
                    <a:pt x="241" y="1371"/>
                  </a:lnTo>
                  <a:lnTo>
                    <a:pt x="241" y="1370"/>
                  </a:lnTo>
                  <a:lnTo>
                    <a:pt x="241" y="1371"/>
                  </a:lnTo>
                  <a:lnTo>
                    <a:pt x="243" y="1371"/>
                  </a:lnTo>
                  <a:lnTo>
                    <a:pt x="243" y="1373"/>
                  </a:lnTo>
                  <a:lnTo>
                    <a:pt x="243" y="1371"/>
                  </a:lnTo>
                  <a:lnTo>
                    <a:pt x="244" y="1373"/>
                  </a:lnTo>
                  <a:lnTo>
                    <a:pt x="244" y="1375"/>
                  </a:lnTo>
                  <a:lnTo>
                    <a:pt x="244" y="1373"/>
                  </a:lnTo>
                  <a:lnTo>
                    <a:pt x="246" y="1373"/>
                  </a:lnTo>
                  <a:lnTo>
                    <a:pt x="246" y="1375"/>
                  </a:lnTo>
                  <a:lnTo>
                    <a:pt x="244" y="1375"/>
                  </a:lnTo>
                  <a:lnTo>
                    <a:pt x="244" y="1376"/>
                  </a:lnTo>
                  <a:lnTo>
                    <a:pt x="244" y="1375"/>
                  </a:lnTo>
                  <a:lnTo>
                    <a:pt x="243" y="1375"/>
                  </a:lnTo>
                  <a:lnTo>
                    <a:pt x="244" y="1375"/>
                  </a:lnTo>
                  <a:lnTo>
                    <a:pt x="243" y="1373"/>
                  </a:lnTo>
                  <a:lnTo>
                    <a:pt x="243" y="1375"/>
                  </a:lnTo>
                  <a:lnTo>
                    <a:pt x="243" y="1376"/>
                  </a:lnTo>
                  <a:lnTo>
                    <a:pt x="244" y="1376"/>
                  </a:lnTo>
                  <a:lnTo>
                    <a:pt x="243" y="1376"/>
                  </a:lnTo>
                  <a:lnTo>
                    <a:pt x="244" y="1376"/>
                  </a:lnTo>
                  <a:lnTo>
                    <a:pt x="244" y="1378"/>
                  </a:lnTo>
                  <a:lnTo>
                    <a:pt x="243" y="1378"/>
                  </a:lnTo>
                  <a:lnTo>
                    <a:pt x="241" y="1378"/>
                  </a:lnTo>
                  <a:lnTo>
                    <a:pt x="241" y="1376"/>
                  </a:lnTo>
                  <a:lnTo>
                    <a:pt x="243" y="1376"/>
                  </a:lnTo>
                  <a:lnTo>
                    <a:pt x="241" y="1376"/>
                  </a:lnTo>
                  <a:lnTo>
                    <a:pt x="241" y="1375"/>
                  </a:lnTo>
                  <a:lnTo>
                    <a:pt x="243" y="1375"/>
                  </a:lnTo>
                  <a:lnTo>
                    <a:pt x="241" y="1375"/>
                  </a:lnTo>
                  <a:lnTo>
                    <a:pt x="241" y="1376"/>
                  </a:lnTo>
                  <a:lnTo>
                    <a:pt x="241" y="1378"/>
                  </a:lnTo>
                  <a:lnTo>
                    <a:pt x="239" y="1376"/>
                  </a:lnTo>
                  <a:lnTo>
                    <a:pt x="241" y="1376"/>
                  </a:lnTo>
                  <a:lnTo>
                    <a:pt x="241" y="1375"/>
                  </a:lnTo>
                  <a:lnTo>
                    <a:pt x="241" y="1376"/>
                  </a:lnTo>
                  <a:lnTo>
                    <a:pt x="239" y="1375"/>
                  </a:lnTo>
                  <a:lnTo>
                    <a:pt x="239" y="1373"/>
                  </a:lnTo>
                  <a:lnTo>
                    <a:pt x="241" y="1375"/>
                  </a:lnTo>
                  <a:lnTo>
                    <a:pt x="241" y="1373"/>
                  </a:lnTo>
                  <a:lnTo>
                    <a:pt x="239" y="1373"/>
                  </a:lnTo>
                  <a:lnTo>
                    <a:pt x="238" y="1373"/>
                  </a:lnTo>
                  <a:lnTo>
                    <a:pt x="238" y="1371"/>
                  </a:lnTo>
                  <a:lnTo>
                    <a:pt x="236" y="1371"/>
                  </a:lnTo>
                  <a:lnTo>
                    <a:pt x="238" y="1371"/>
                  </a:lnTo>
                  <a:lnTo>
                    <a:pt x="238" y="1373"/>
                  </a:lnTo>
                  <a:lnTo>
                    <a:pt x="236" y="1371"/>
                  </a:lnTo>
                  <a:lnTo>
                    <a:pt x="236" y="1370"/>
                  </a:lnTo>
                  <a:lnTo>
                    <a:pt x="238" y="1370"/>
                  </a:lnTo>
                  <a:lnTo>
                    <a:pt x="238" y="1368"/>
                  </a:lnTo>
                  <a:lnTo>
                    <a:pt x="238" y="1370"/>
                  </a:lnTo>
                  <a:lnTo>
                    <a:pt x="236" y="1370"/>
                  </a:lnTo>
                  <a:lnTo>
                    <a:pt x="234" y="1370"/>
                  </a:lnTo>
                  <a:lnTo>
                    <a:pt x="234" y="1368"/>
                  </a:lnTo>
                  <a:lnTo>
                    <a:pt x="236" y="1368"/>
                  </a:lnTo>
                  <a:lnTo>
                    <a:pt x="234" y="1368"/>
                  </a:lnTo>
                  <a:lnTo>
                    <a:pt x="234" y="1366"/>
                  </a:lnTo>
                  <a:lnTo>
                    <a:pt x="236" y="1366"/>
                  </a:lnTo>
                  <a:lnTo>
                    <a:pt x="238" y="1366"/>
                  </a:lnTo>
                  <a:close/>
                  <a:moveTo>
                    <a:pt x="296" y="1415"/>
                  </a:moveTo>
                  <a:lnTo>
                    <a:pt x="298" y="1415"/>
                  </a:lnTo>
                  <a:lnTo>
                    <a:pt x="300" y="1417"/>
                  </a:lnTo>
                  <a:lnTo>
                    <a:pt x="301" y="1417"/>
                  </a:lnTo>
                  <a:lnTo>
                    <a:pt x="303" y="1417"/>
                  </a:lnTo>
                  <a:lnTo>
                    <a:pt x="303" y="1419"/>
                  </a:lnTo>
                  <a:lnTo>
                    <a:pt x="304" y="1419"/>
                  </a:lnTo>
                  <a:lnTo>
                    <a:pt x="306" y="1419"/>
                  </a:lnTo>
                  <a:lnTo>
                    <a:pt x="304" y="1420"/>
                  </a:lnTo>
                  <a:lnTo>
                    <a:pt x="306" y="1420"/>
                  </a:lnTo>
                  <a:lnTo>
                    <a:pt x="308" y="1420"/>
                  </a:lnTo>
                  <a:lnTo>
                    <a:pt x="308" y="1422"/>
                  </a:lnTo>
                  <a:lnTo>
                    <a:pt x="308" y="1423"/>
                  </a:lnTo>
                  <a:lnTo>
                    <a:pt x="306" y="1423"/>
                  </a:lnTo>
                  <a:lnTo>
                    <a:pt x="304" y="1423"/>
                  </a:lnTo>
                  <a:lnTo>
                    <a:pt x="303" y="1423"/>
                  </a:lnTo>
                  <a:lnTo>
                    <a:pt x="301" y="1423"/>
                  </a:lnTo>
                  <a:lnTo>
                    <a:pt x="301" y="1422"/>
                  </a:lnTo>
                  <a:lnTo>
                    <a:pt x="298" y="1420"/>
                  </a:lnTo>
                  <a:lnTo>
                    <a:pt x="298" y="1419"/>
                  </a:lnTo>
                  <a:lnTo>
                    <a:pt x="298" y="1420"/>
                  </a:lnTo>
                  <a:lnTo>
                    <a:pt x="298" y="1419"/>
                  </a:lnTo>
                  <a:lnTo>
                    <a:pt x="296" y="1415"/>
                  </a:lnTo>
                  <a:close/>
                  <a:moveTo>
                    <a:pt x="283" y="1407"/>
                  </a:moveTo>
                  <a:lnTo>
                    <a:pt x="283" y="1409"/>
                  </a:lnTo>
                  <a:lnTo>
                    <a:pt x="285" y="1409"/>
                  </a:lnTo>
                  <a:lnTo>
                    <a:pt x="285" y="1407"/>
                  </a:lnTo>
                  <a:lnTo>
                    <a:pt x="285" y="1409"/>
                  </a:lnTo>
                  <a:lnTo>
                    <a:pt x="287" y="1409"/>
                  </a:lnTo>
                  <a:lnTo>
                    <a:pt x="287" y="1412"/>
                  </a:lnTo>
                  <a:lnTo>
                    <a:pt x="285" y="1414"/>
                  </a:lnTo>
                  <a:lnTo>
                    <a:pt x="287" y="1414"/>
                  </a:lnTo>
                  <a:lnTo>
                    <a:pt x="285" y="1414"/>
                  </a:lnTo>
                  <a:lnTo>
                    <a:pt x="285" y="1415"/>
                  </a:lnTo>
                  <a:lnTo>
                    <a:pt x="283" y="1415"/>
                  </a:lnTo>
                  <a:lnTo>
                    <a:pt x="283" y="1417"/>
                  </a:lnTo>
                  <a:lnTo>
                    <a:pt x="283" y="1419"/>
                  </a:lnTo>
                  <a:lnTo>
                    <a:pt x="285" y="1420"/>
                  </a:lnTo>
                  <a:lnTo>
                    <a:pt x="283" y="1420"/>
                  </a:lnTo>
                  <a:lnTo>
                    <a:pt x="283" y="1422"/>
                  </a:lnTo>
                  <a:lnTo>
                    <a:pt x="282" y="1422"/>
                  </a:lnTo>
                  <a:lnTo>
                    <a:pt x="280" y="1420"/>
                  </a:lnTo>
                  <a:lnTo>
                    <a:pt x="282" y="1420"/>
                  </a:lnTo>
                  <a:lnTo>
                    <a:pt x="282" y="1419"/>
                  </a:lnTo>
                  <a:lnTo>
                    <a:pt x="282" y="1417"/>
                  </a:lnTo>
                  <a:lnTo>
                    <a:pt x="280" y="1417"/>
                  </a:lnTo>
                  <a:lnTo>
                    <a:pt x="282" y="1417"/>
                  </a:lnTo>
                  <a:lnTo>
                    <a:pt x="282" y="1415"/>
                  </a:lnTo>
                  <a:lnTo>
                    <a:pt x="280" y="1415"/>
                  </a:lnTo>
                  <a:lnTo>
                    <a:pt x="280" y="1414"/>
                  </a:lnTo>
                  <a:lnTo>
                    <a:pt x="282" y="1414"/>
                  </a:lnTo>
                  <a:lnTo>
                    <a:pt x="280" y="1414"/>
                  </a:lnTo>
                  <a:lnTo>
                    <a:pt x="282" y="1414"/>
                  </a:lnTo>
                  <a:lnTo>
                    <a:pt x="282" y="1412"/>
                  </a:lnTo>
                  <a:lnTo>
                    <a:pt x="283" y="1410"/>
                  </a:lnTo>
                  <a:lnTo>
                    <a:pt x="282" y="1409"/>
                  </a:lnTo>
                  <a:lnTo>
                    <a:pt x="283" y="1409"/>
                  </a:lnTo>
                  <a:lnTo>
                    <a:pt x="283" y="1407"/>
                  </a:lnTo>
                  <a:close/>
                  <a:moveTo>
                    <a:pt x="213" y="1492"/>
                  </a:moveTo>
                  <a:lnTo>
                    <a:pt x="215" y="1492"/>
                  </a:lnTo>
                  <a:lnTo>
                    <a:pt x="213" y="1492"/>
                  </a:lnTo>
                  <a:lnTo>
                    <a:pt x="213" y="1493"/>
                  </a:lnTo>
                  <a:lnTo>
                    <a:pt x="215" y="1493"/>
                  </a:lnTo>
                  <a:lnTo>
                    <a:pt x="213" y="1493"/>
                  </a:lnTo>
                  <a:lnTo>
                    <a:pt x="215" y="1493"/>
                  </a:lnTo>
                  <a:lnTo>
                    <a:pt x="215" y="1492"/>
                  </a:lnTo>
                  <a:lnTo>
                    <a:pt x="215" y="1493"/>
                  </a:lnTo>
                  <a:lnTo>
                    <a:pt x="215" y="1495"/>
                  </a:lnTo>
                  <a:lnTo>
                    <a:pt x="215" y="1497"/>
                  </a:lnTo>
                  <a:lnTo>
                    <a:pt x="213" y="1497"/>
                  </a:lnTo>
                  <a:lnTo>
                    <a:pt x="215" y="1497"/>
                  </a:lnTo>
                  <a:lnTo>
                    <a:pt x="213" y="1497"/>
                  </a:lnTo>
                  <a:lnTo>
                    <a:pt x="213" y="1498"/>
                  </a:lnTo>
                  <a:lnTo>
                    <a:pt x="213" y="1497"/>
                  </a:lnTo>
                  <a:lnTo>
                    <a:pt x="213" y="1498"/>
                  </a:lnTo>
                  <a:lnTo>
                    <a:pt x="213" y="1497"/>
                  </a:lnTo>
                  <a:lnTo>
                    <a:pt x="213" y="1498"/>
                  </a:lnTo>
                  <a:lnTo>
                    <a:pt x="212" y="1498"/>
                  </a:lnTo>
                  <a:lnTo>
                    <a:pt x="212" y="1497"/>
                  </a:lnTo>
                  <a:lnTo>
                    <a:pt x="210" y="1497"/>
                  </a:lnTo>
                  <a:lnTo>
                    <a:pt x="212" y="1498"/>
                  </a:lnTo>
                  <a:lnTo>
                    <a:pt x="210" y="1498"/>
                  </a:lnTo>
                  <a:lnTo>
                    <a:pt x="212" y="1498"/>
                  </a:lnTo>
                  <a:lnTo>
                    <a:pt x="210" y="1500"/>
                  </a:lnTo>
                  <a:lnTo>
                    <a:pt x="210" y="1498"/>
                  </a:lnTo>
                  <a:lnTo>
                    <a:pt x="210" y="1500"/>
                  </a:lnTo>
                  <a:lnTo>
                    <a:pt x="208" y="1500"/>
                  </a:lnTo>
                  <a:lnTo>
                    <a:pt x="207" y="1500"/>
                  </a:lnTo>
                  <a:lnTo>
                    <a:pt x="207" y="1498"/>
                  </a:lnTo>
                  <a:lnTo>
                    <a:pt x="207" y="1500"/>
                  </a:lnTo>
                  <a:lnTo>
                    <a:pt x="207" y="1498"/>
                  </a:lnTo>
                  <a:lnTo>
                    <a:pt x="208" y="1498"/>
                  </a:lnTo>
                  <a:lnTo>
                    <a:pt x="207" y="1498"/>
                  </a:lnTo>
                  <a:lnTo>
                    <a:pt x="207" y="1497"/>
                  </a:lnTo>
                  <a:lnTo>
                    <a:pt x="208" y="1497"/>
                  </a:lnTo>
                  <a:lnTo>
                    <a:pt x="208" y="1495"/>
                  </a:lnTo>
                  <a:lnTo>
                    <a:pt x="208" y="1493"/>
                  </a:lnTo>
                  <a:lnTo>
                    <a:pt x="208" y="1492"/>
                  </a:lnTo>
                  <a:lnTo>
                    <a:pt x="210" y="1492"/>
                  </a:lnTo>
                  <a:lnTo>
                    <a:pt x="212" y="1492"/>
                  </a:lnTo>
                  <a:lnTo>
                    <a:pt x="212" y="1490"/>
                  </a:lnTo>
                  <a:lnTo>
                    <a:pt x="212" y="1492"/>
                  </a:lnTo>
                  <a:lnTo>
                    <a:pt x="213" y="1492"/>
                  </a:lnTo>
                  <a:lnTo>
                    <a:pt x="212" y="1492"/>
                  </a:lnTo>
                  <a:lnTo>
                    <a:pt x="212" y="1490"/>
                  </a:lnTo>
                  <a:lnTo>
                    <a:pt x="212" y="1492"/>
                  </a:lnTo>
                  <a:lnTo>
                    <a:pt x="213" y="1490"/>
                  </a:lnTo>
                  <a:lnTo>
                    <a:pt x="213" y="1492"/>
                  </a:lnTo>
                  <a:close/>
                  <a:moveTo>
                    <a:pt x="181" y="1072"/>
                  </a:moveTo>
                  <a:lnTo>
                    <a:pt x="182" y="1074"/>
                  </a:lnTo>
                  <a:lnTo>
                    <a:pt x="182" y="1072"/>
                  </a:lnTo>
                  <a:lnTo>
                    <a:pt x="184" y="1072"/>
                  </a:lnTo>
                  <a:lnTo>
                    <a:pt x="182" y="1072"/>
                  </a:lnTo>
                  <a:lnTo>
                    <a:pt x="181" y="1070"/>
                  </a:lnTo>
                  <a:lnTo>
                    <a:pt x="179" y="1069"/>
                  </a:lnTo>
                  <a:lnTo>
                    <a:pt x="181" y="1069"/>
                  </a:lnTo>
                  <a:lnTo>
                    <a:pt x="181" y="1067"/>
                  </a:lnTo>
                  <a:lnTo>
                    <a:pt x="182" y="1067"/>
                  </a:lnTo>
                  <a:lnTo>
                    <a:pt x="182" y="1069"/>
                  </a:lnTo>
                  <a:lnTo>
                    <a:pt x="182" y="1067"/>
                  </a:lnTo>
                  <a:lnTo>
                    <a:pt x="182" y="1069"/>
                  </a:lnTo>
                  <a:lnTo>
                    <a:pt x="184" y="1069"/>
                  </a:lnTo>
                  <a:lnTo>
                    <a:pt x="186" y="1069"/>
                  </a:lnTo>
                  <a:lnTo>
                    <a:pt x="186" y="1070"/>
                  </a:lnTo>
                  <a:lnTo>
                    <a:pt x="186" y="1069"/>
                  </a:lnTo>
                  <a:lnTo>
                    <a:pt x="186" y="1070"/>
                  </a:lnTo>
                  <a:lnTo>
                    <a:pt x="186" y="1072"/>
                  </a:lnTo>
                  <a:lnTo>
                    <a:pt x="187" y="1072"/>
                  </a:lnTo>
                  <a:lnTo>
                    <a:pt x="187" y="1074"/>
                  </a:lnTo>
                  <a:lnTo>
                    <a:pt x="187" y="1075"/>
                  </a:lnTo>
                  <a:lnTo>
                    <a:pt x="187" y="1077"/>
                  </a:lnTo>
                  <a:lnTo>
                    <a:pt x="187" y="1075"/>
                  </a:lnTo>
                  <a:lnTo>
                    <a:pt x="186" y="1077"/>
                  </a:lnTo>
                  <a:lnTo>
                    <a:pt x="186" y="1075"/>
                  </a:lnTo>
                  <a:lnTo>
                    <a:pt x="187" y="1075"/>
                  </a:lnTo>
                  <a:lnTo>
                    <a:pt x="186" y="1075"/>
                  </a:lnTo>
                  <a:lnTo>
                    <a:pt x="186" y="1077"/>
                  </a:lnTo>
                  <a:lnTo>
                    <a:pt x="184" y="1077"/>
                  </a:lnTo>
                  <a:lnTo>
                    <a:pt x="182" y="1075"/>
                  </a:lnTo>
                  <a:lnTo>
                    <a:pt x="182" y="1074"/>
                  </a:lnTo>
                  <a:lnTo>
                    <a:pt x="181" y="1074"/>
                  </a:lnTo>
                  <a:lnTo>
                    <a:pt x="182" y="1074"/>
                  </a:lnTo>
                  <a:lnTo>
                    <a:pt x="181" y="1072"/>
                  </a:lnTo>
                  <a:close/>
                  <a:moveTo>
                    <a:pt x="223" y="1466"/>
                  </a:moveTo>
                  <a:lnTo>
                    <a:pt x="221" y="1466"/>
                  </a:lnTo>
                  <a:lnTo>
                    <a:pt x="221" y="1464"/>
                  </a:lnTo>
                  <a:lnTo>
                    <a:pt x="221" y="1462"/>
                  </a:lnTo>
                  <a:lnTo>
                    <a:pt x="220" y="1462"/>
                  </a:lnTo>
                  <a:lnTo>
                    <a:pt x="220" y="1461"/>
                  </a:lnTo>
                  <a:lnTo>
                    <a:pt x="220" y="1462"/>
                  </a:lnTo>
                  <a:lnTo>
                    <a:pt x="220" y="1461"/>
                  </a:lnTo>
                  <a:lnTo>
                    <a:pt x="218" y="1461"/>
                  </a:lnTo>
                  <a:lnTo>
                    <a:pt x="218" y="1459"/>
                  </a:lnTo>
                  <a:lnTo>
                    <a:pt x="218" y="1461"/>
                  </a:lnTo>
                  <a:lnTo>
                    <a:pt x="218" y="1459"/>
                  </a:lnTo>
                  <a:lnTo>
                    <a:pt x="220" y="1459"/>
                  </a:lnTo>
                  <a:lnTo>
                    <a:pt x="220" y="1461"/>
                  </a:lnTo>
                  <a:lnTo>
                    <a:pt x="220" y="1459"/>
                  </a:lnTo>
                  <a:lnTo>
                    <a:pt x="220" y="1458"/>
                  </a:lnTo>
                  <a:lnTo>
                    <a:pt x="218" y="1458"/>
                  </a:lnTo>
                  <a:lnTo>
                    <a:pt x="220" y="1458"/>
                  </a:lnTo>
                  <a:lnTo>
                    <a:pt x="220" y="1459"/>
                  </a:lnTo>
                  <a:lnTo>
                    <a:pt x="220" y="1458"/>
                  </a:lnTo>
                  <a:lnTo>
                    <a:pt x="220" y="1456"/>
                  </a:lnTo>
                  <a:lnTo>
                    <a:pt x="221" y="1456"/>
                  </a:lnTo>
                  <a:lnTo>
                    <a:pt x="223" y="1456"/>
                  </a:lnTo>
                  <a:lnTo>
                    <a:pt x="223" y="1458"/>
                  </a:lnTo>
                  <a:lnTo>
                    <a:pt x="225" y="1458"/>
                  </a:lnTo>
                  <a:lnTo>
                    <a:pt x="225" y="1459"/>
                  </a:lnTo>
                  <a:lnTo>
                    <a:pt x="226" y="1459"/>
                  </a:lnTo>
                  <a:lnTo>
                    <a:pt x="226" y="1461"/>
                  </a:lnTo>
                  <a:lnTo>
                    <a:pt x="226" y="1462"/>
                  </a:lnTo>
                  <a:lnTo>
                    <a:pt x="225" y="1462"/>
                  </a:lnTo>
                  <a:lnTo>
                    <a:pt x="223" y="1462"/>
                  </a:lnTo>
                  <a:lnTo>
                    <a:pt x="223" y="1464"/>
                  </a:lnTo>
                  <a:lnTo>
                    <a:pt x="225" y="1464"/>
                  </a:lnTo>
                  <a:lnTo>
                    <a:pt x="225" y="1466"/>
                  </a:lnTo>
                  <a:lnTo>
                    <a:pt x="223" y="1466"/>
                  </a:lnTo>
                  <a:close/>
                  <a:moveTo>
                    <a:pt x="622" y="1355"/>
                  </a:moveTo>
                  <a:lnTo>
                    <a:pt x="622" y="1353"/>
                  </a:lnTo>
                  <a:lnTo>
                    <a:pt x="622" y="1355"/>
                  </a:lnTo>
                  <a:lnTo>
                    <a:pt x="623" y="1355"/>
                  </a:lnTo>
                  <a:lnTo>
                    <a:pt x="625" y="1355"/>
                  </a:lnTo>
                  <a:lnTo>
                    <a:pt x="626" y="1355"/>
                  </a:lnTo>
                  <a:lnTo>
                    <a:pt x="626" y="1357"/>
                  </a:lnTo>
                  <a:lnTo>
                    <a:pt x="628" y="1358"/>
                  </a:lnTo>
                  <a:lnTo>
                    <a:pt x="626" y="1358"/>
                  </a:lnTo>
                  <a:lnTo>
                    <a:pt x="625" y="1358"/>
                  </a:lnTo>
                  <a:lnTo>
                    <a:pt x="625" y="1360"/>
                  </a:lnTo>
                  <a:lnTo>
                    <a:pt x="623" y="1360"/>
                  </a:lnTo>
                  <a:lnTo>
                    <a:pt x="622" y="1360"/>
                  </a:lnTo>
                  <a:lnTo>
                    <a:pt x="623" y="1360"/>
                  </a:lnTo>
                  <a:lnTo>
                    <a:pt x="622" y="1360"/>
                  </a:lnTo>
                  <a:lnTo>
                    <a:pt x="622" y="1362"/>
                  </a:lnTo>
                  <a:lnTo>
                    <a:pt x="620" y="1362"/>
                  </a:lnTo>
                  <a:lnTo>
                    <a:pt x="620" y="1363"/>
                  </a:lnTo>
                  <a:lnTo>
                    <a:pt x="622" y="1363"/>
                  </a:lnTo>
                  <a:lnTo>
                    <a:pt x="620" y="1363"/>
                  </a:lnTo>
                  <a:lnTo>
                    <a:pt x="622" y="1365"/>
                  </a:lnTo>
                  <a:lnTo>
                    <a:pt x="620" y="1365"/>
                  </a:lnTo>
                  <a:lnTo>
                    <a:pt x="620" y="1363"/>
                  </a:lnTo>
                  <a:lnTo>
                    <a:pt x="618" y="1363"/>
                  </a:lnTo>
                  <a:lnTo>
                    <a:pt x="618" y="1365"/>
                  </a:lnTo>
                  <a:lnTo>
                    <a:pt x="618" y="1363"/>
                  </a:lnTo>
                  <a:lnTo>
                    <a:pt x="618" y="1362"/>
                  </a:lnTo>
                  <a:lnTo>
                    <a:pt x="617" y="1362"/>
                  </a:lnTo>
                  <a:lnTo>
                    <a:pt x="617" y="1360"/>
                  </a:lnTo>
                  <a:lnTo>
                    <a:pt x="618" y="1360"/>
                  </a:lnTo>
                  <a:lnTo>
                    <a:pt x="620" y="1360"/>
                  </a:lnTo>
                  <a:lnTo>
                    <a:pt x="620" y="1362"/>
                  </a:lnTo>
                  <a:lnTo>
                    <a:pt x="620" y="1360"/>
                  </a:lnTo>
                  <a:lnTo>
                    <a:pt x="620" y="1358"/>
                  </a:lnTo>
                  <a:lnTo>
                    <a:pt x="622" y="1358"/>
                  </a:lnTo>
                  <a:lnTo>
                    <a:pt x="622" y="1357"/>
                  </a:lnTo>
                  <a:lnTo>
                    <a:pt x="620" y="1355"/>
                  </a:lnTo>
                  <a:lnTo>
                    <a:pt x="622" y="1355"/>
                  </a:lnTo>
                  <a:close/>
                  <a:moveTo>
                    <a:pt x="182" y="1093"/>
                  </a:moveTo>
                  <a:lnTo>
                    <a:pt x="182" y="1092"/>
                  </a:lnTo>
                  <a:lnTo>
                    <a:pt x="182" y="1093"/>
                  </a:lnTo>
                  <a:lnTo>
                    <a:pt x="182" y="1092"/>
                  </a:lnTo>
                  <a:lnTo>
                    <a:pt x="182" y="1090"/>
                  </a:lnTo>
                  <a:lnTo>
                    <a:pt x="184" y="1092"/>
                  </a:lnTo>
                  <a:lnTo>
                    <a:pt x="182" y="1090"/>
                  </a:lnTo>
                  <a:lnTo>
                    <a:pt x="184" y="1090"/>
                  </a:lnTo>
                  <a:lnTo>
                    <a:pt x="184" y="1092"/>
                  </a:lnTo>
                  <a:lnTo>
                    <a:pt x="184" y="1090"/>
                  </a:lnTo>
                  <a:lnTo>
                    <a:pt x="184" y="1088"/>
                  </a:lnTo>
                  <a:lnTo>
                    <a:pt x="186" y="1088"/>
                  </a:lnTo>
                  <a:lnTo>
                    <a:pt x="186" y="1087"/>
                  </a:lnTo>
                  <a:lnTo>
                    <a:pt x="187" y="1087"/>
                  </a:lnTo>
                  <a:lnTo>
                    <a:pt x="189" y="1088"/>
                  </a:lnTo>
                  <a:lnTo>
                    <a:pt x="189" y="1087"/>
                  </a:lnTo>
                  <a:lnTo>
                    <a:pt x="189" y="1088"/>
                  </a:lnTo>
                  <a:lnTo>
                    <a:pt x="191" y="1088"/>
                  </a:lnTo>
                  <a:lnTo>
                    <a:pt x="191" y="1090"/>
                  </a:lnTo>
                  <a:lnTo>
                    <a:pt x="191" y="1088"/>
                  </a:lnTo>
                  <a:lnTo>
                    <a:pt x="191" y="1090"/>
                  </a:lnTo>
                  <a:lnTo>
                    <a:pt x="191" y="1092"/>
                  </a:lnTo>
                  <a:lnTo>
                    <a:pt x="189" y="1092"/>
                  </a:lnTo>
                  <a:lnTo>
                    <a:pt x="187" y="1092"/>
                  </a:lnTo>
                  <a:lnTo>
                    <a:pt x="187" y="1093"/>
                  </a:lnTo>
                  <a:lnTo>
                    <a:pt x="186" y="1093"/>
                  </a:lnTo>
                  <a:lnTo>
                    <a:pt x="184" y="1093"/>
                  </a:lnTo>
                  <a:lnTo>
                    <a:pt x="182" y="1093"/>
                  </a:lnTo>
                  <a:close/>
                  <a:moveTo>
                    <a:pt x="319" y="1420"/>
                  </a:moveTo>
                  <a:lnTo>
                    <a:pt x="321" y="1422"/>
                  </a:lnTo>
                  <a:lnTo>
                    <a:pt x="322" y="1423"/>
                  </a:lnTo>
                  <a:lnTo>
                    <a:pt x="324" y="1423"/>
                  </a:lnTo>
                  <a:lnTo>
                    <a:pt x="324" y="1425"/>
                  </a:lnTo>
                  <a:lnTo>
                    <a:pt x="322" y="1425"/>
                  </a:lnTo>
                  <a:lnTo>
                    <a:pt x="322" y="1423"/>
                  </a:lnTo>
                  <a:lnTo>
                    <a:pt x="322" y="1425"/>
                  </a:lnTo>
                  <a:lnTo>
                    <a:pt x="321" y="1425"/>
                  </a:lnTo>
                  <a:lnTo>
                    <a:pt x="321" y="1427"/>
                  </a:lnTo>
                  <a:lnTo>
                    <a:pt x="319" y="1427"/>
                  </a:lnTo>
                  <a:lnTo>
                    <a:pt x="317" y="1427"/>
                  </a:lnTo>
                  <a:lnTo>
                    <a:pt x="316" y="1427"/>
                  </a:lnTo>
                  <a:lnTo>
                    <a:pt x="316" y="1425"/>
                  </a:lnTo>
                  <a:lnTo>
                    <a:pt x="317" y="1425"/>
                  </a:lnTo>
                  <a:lnTo>
                    <a:pt x="316" y="1425"/>
                  </a:lnTo>
                  <a:lnTo>
                    <a:pt x="316" y="1423"/>
                  </a:lnTo>
                  <a:lnTo>
                    <a:pt x="316" y="1425"/>
                  </a:lnTo>
                  <a:lnTo>
                    <a:pt x="314" y="1425"/>
                  </a:lnTo>
                  <a:lnTo>
                    <a:pt x="314" y="1423"/>
                  </a:lnTo>
                  <a:lnTo>
                    <a:pt x="316" y="1422"/>
                  </a:lnTo>
                  <a:lnTo>
                    <a:pt x="317" y="1422"/>
                  </a:lnTo>
                  <a:lnTo>
                    <a:pt x="317" y="1420"/>
                  </a:lnTo>
                  <a:lnTo>
                    <a:pt x="319" y="1420"/>
                  </a:lnTo>
                  <a:close/>
                  <a:moveTo>
                    <a:pt x="376" y="1454"/>
                  </a:moveTo>
                  <a:lnTo>
                    <a:pt x="378" y="1454"/>
                  </a:lnTo>
                  <a:lnTo>
                    <a:pt x="379" y="1454"/>
                  </a:lnTo>
                  <a:lnTo>
                    <a:pt x="379" y="1456"/>
                  </a:lnTo>
                  <a:lnTo>
                    <a:pt x="379" y="1458"/>
                  </a:lnTo>
                  <a:lnTo>
                    <a:pt x="381" y="1458"/>
                  </a:lnTo>
                  <a:lnTo>
                    <a:pt x="379" y="1459"/>
                  </a:lnTo>
                  <a:lnTo>
                    <a:pt x="378" y="1459"/>
                  </a:lnTo>
                  <a:lnTo>
                    <a:pt x="379" y="1459"/>
                  </a:lnTo>
                  <a:lnTo>
                    <a:pt x="379" y="1458"/>
                  </a:lnTo>
                  <a:lnTo>
                    <a:pt x="378" y="1458"/>
                  </a:lnTo>
                  <a:lnTo>
                    <a:pt x="378" y="1459"/>
                  </a:lnTo>
                  <a:lnTo>
                    <a:pt x="378" y="1461"/>
                  </a:lnTo>
                  <a:lnTo>
                    <a:pt x="376" y="1461"/>
                  </a:lnTo>
                  <a:lnTo>
                    <a:pt x="374" y="1461"/>
                  </a:lnTo>
                  <a:lnTo>
                    <a:pt x="373" y="1461"/>
                  </a:lnTo>
                  <a:lnTo>
                    <a:pt x="371" y="1462"/>
                  </a:lnTo>
                  <a:lnTo>
                    <a:pt x="371" y="1461"/>
                  </a:lnTo>
                  <a:lnTo>
                    <a:pt x="373" y="1461"/>
                  </a:lnTo>
                  <a:lnTo>
                    <a:pt x="373" y="1459"/>
                  </a:lnTo>
                  <a:lnTo>
                    <a:pt x="373" y="1458"/>
                  </a:lnTo>
                  <a:lnTo>
                    <a:pt x="373" y="1456"/>
                  </a:lnTo>
                  <a:lnTo>
                    <a:pt x="374" y="1456"/>
                  </a:lnTo>
                  <a:lnTo>
                    <a:pt x="374" y="1454"/>
                  </a:lnTo>
                  <a:lnTo>
                    <a:pt x="376" y="1454"/>
                  </a:lnTo>
                  <a:close/>
                  <a:moveTo>
                    <a:pt x="335" y="1422"/>
                  </a:moveTo>
                  <a:lnTo>
                    <a:pt x="337" y="1420"/>
                  </a:lnTo>
                  <a:lnTo>
                    <a:pt x="337" y="1422"/>
                  </a:lnTo>
                  <a:lnTo>
                    <a:pt x="337" y="1420"/>
                  </a:lnTo>
                  <a:lnTo>
                    <a:pt x="337" y="1422"/>
                  </a:lnTo>
                  <a:lnTo>
                    <a:pt x="337" y="1423"/>
                  </a:lnTo>
                  <a:lnTo>
                    <a:pt x="335" y="1423"/>
                  </a:lnTo>
                  <a:lnTo>
                    <a:pt x="335" y="1425"/>
                  </a:lnTo>
                  <a:lnTo>
                    <a:pt x="334" y="1425"/>
                  </a:lnTo>
                  <a:lnTo>
                    <a:pt x="332" y="1425"/>
                  </a:lnTo>
                  <a:lnTo>
                    <a:pt x="330" y="1427"/>
                  </a:lnTo>
                  <a:lnTo>
                    <a:pt x="329" y="1428"/>
                  </a:lnTo>
                  <a:lnTo>
                    <a:pt x="329" y="1427"/>
                  </a:lnTo>
                  <a:lnTo>
                    <a:pt x="327" y="1427"/>
                  </a:lnTo>
                  <a:lnTo>
                    <a:pt x="327" y="1428"/>
                  </a:lnTo>
                  <a:lnTo>
                    <a:pt x="327" y="1427"/>
                  </a:lnTo>
                  <a:lnTo>
                    <a:pt x="326" y="1427"/>
                  </a:lnTo>
                  <a:lnTo>
                    <a:pt x="327" y="1425"/>
                  </a:lnTo>
                  <a:lnTo>
                    <a:pt x="329" y="1425"/>
                  </a:lnTo>
                  <a:lnTo>
                    <a:pt x="329" y="1423"/>
                  </a:lnTo>
                  <a:lnTo>
                    <a:pt x="332" y="1423"/>
                  </a:lnTo>
                  <a:lnTo>
                    <a:pt x="332" y="1422"/>
                  </a:lnTo>
                  <a:lnTo>
                    <a:pt x="334" y="1422"/>
                  </a:lnTo>
                  <a:lnTo>
                    <a:pt x="335" y="1422"/>
                  </a:lnTo>
                  <a:close/>
                  <a:moveTo>
                    <a:pt x="337" y="1449"/>
                  </a:moveTo>
                  <a:lnTo>
                    <a:pt x="337" y="1451"/>
                  </a:lnTo>
                  <a:lnTo>
                    <a:pt x="335" y="1451"/>
                  </a:lnTo>
                  <a:lnTo>
                    <a:pt x="335" y="1453"/>
                  </a:lnTo>
                  <a:lnTo>
                    <a:pt x="337" y="1453"/>
                  </a:lnTo>
                  <a:lnTo>
                    <a:pt x="335" y="1453"/>
                  </a:lnTo>
                  <a:lnTo>
                    <a:pt x="335" y="1454"/>
                  </a:lnTo>
                  <a:lnTo>
                    <a:pt x="334" y="1454"/>
                  </a:lnTo>
                  <a:lnTo>
                    <a:pt x="334" y="1456"/>
                  </a:lnTo>
                  <a:lnTo>
                    <a:pt x="332" y="1456"/>
                  </a:lnTo>
                  <a:lnTo>
                    <a:pt x="332" y="1458"/>
                  </a:lnTo>
                  <a:lnTo>
                    <a:pt x="332" y="1456"/>
                  </a:lnTo>
                  <a:lnTo>
                    <a:pt x="332" y="1458"/>
                  </a:lnTo>
                  <a:lnTo>
                    <a:pt x="332" y="1456"/>
                  </a:lnTo>
                  <a:lnTo>
                    <a:pt x="334" y="1458"/>
                  </a:lnTo>
                  <a:lnTo>
                    <a:pt x="334" y="1456"/>
                  </a:lnTo>
                  <a:lnTo>
                    <a:pt x="334" y="1458"/>
                  </a:lnTo>
                  <a:lnTo>
                    <a:pt x="334" y="1459"/>
                  </a:lnTo>
                  <a:lnTo>
                    <a:pt x="334" y="1458"/>
                  </a:lnTo>
                  <a:lnTo>
                    <a:pt x="332" y="1459"/>
                  </a:lnTo>
                  <a:lnTo>
                    <a:pt x="330" y="1459"/>
                  </a:lnTo>
                  <a:lnTo>
                    <a:pt x="332" y="1459"/>
                  </a:lnTo>
                  <a:lnTo>
                    <a:pt x="330" y="1459"/>
                  </a:lnTo>
                  <a:lnTo>
                    <a:pt x="332" y="1458"/>
                  </a:lnTo>
                  <a:lnTo>
                    <a:pt x="330" y="1458"/>
                  </a:lnTo>
                  <a:lnTo>
                    <a:pt x="330" y="1456"/>
                  </a:lnTo>
                  <a:lnTo>
                    <a:pt x="330" y="1454"/>
                  </a:lnTo>
                  <a:lnTo>
                    <a:pt x="332" y="1454"/>
                  </a:lnTo>
                  <a:lnTo>
                    <a:pt x="330" y="1454"/>
                  </a:lnTo>
                  <a:lnTo>
                    <a:pt x="330" y="1453"/>
                  </a:lnTo>
                  <a:lnTo>
                    <a:pt x="332" y="1453"/>
                  </a:lnTo>
                  <a:lnTo>
                    <a:pt x="332" y="1451"/>
                  </a:lnTo>
                  <a:lnTo>
                    <a:pt x="334" y="1451"/>
                  </a:lnTo>
                  <a:lnTo>
                    <a:pt x="334" y="1449"/>
                  </a:lnTo>
                  <a:lnTo>
                    <a:pt x="335" y="1449"/>
                  </a:lnTo>
                  <a:lnTo>
                    <a:pt x="337" y="1449"/>
                  </a:lnTo>
                  <a:close/>
                  <a:moveTo>
                    <a:pt x="353" y="1492"/>
                  </a:moveTo>
                  <a:lnTo>
                    <a:pt x="353" y="1490"/>
                  </a:lnTo>
                  <a:lnTo>
                    <a:pt x="355" y="1490"/>
                  </a:lnTo>
                  <a:lnTo>
                    <a:pt x="355" y="1492"/>
                  </a:lnTo>
                  <a:lnTo>
                    <a:pt x="355" y="1493"/>
                  </a:lnTo>
                  <a:lnTo>
                    <a:pt x="353" y="1493"/>
                  </a:lnTo>
                  <a:lnTo>
                    <a:pt x="353" y="1495"/>
                  </a:lnTo>
                  <a:lnTo>
                    <a:pt x="352" y="1495"/>
                  </a:lnTo>
                  <a:lnTo>
                    <a:pt x="353" y="1495"/>
                  </a:lnTo>
                  <a:lnTo>
                    <a:pt x="353" y="1493"/>
                  </a:lnTo>
                  <a:lnTo>
                    <a:pt x="355" y="1495"/>
                  </a:lnTo>
                  <a:lnTo>
                    <a:pt x="353" y="1495"/>
                  </a:lnTo>
                  <a:lnTo>
                    <a:pt x="355" y="1495"/>
                  </a:lnTo>
                  <a:lnTo>
                    <a:pt x="353" y="1495"/>
                  </a:lnTo>
                  <a:lnTo>
                    <a:pt x="353" y="1497"/>
                  </a:lnTo>
                  <a:lnTo>
                    <a:pt x="355" y="1497"/>
                  </a:lnTo>
                  <a:lnTo>
                    <a:pt x="355" y="1498"/>
                  </a:lnTo>
                  <a:lnTo>
                    <a:pt x="353" y="1498"/>
                  </a:lnTo>
                  <a:lnTo>
                    <a:pt x="352" y="1498"/>
                  </a:lnTo>
                  <a:lnTo>
                    <a:pt x="353" y="1498"/>
                  </a:lnTo>
                  <a:lnTo>
                    <a:pt x="352" y="1498"/>
                  </a:lnTo>
                  <a:lnTo>
                    <a:pt x="353" y="1497"/>
                  </a:lnTo>
                  <a:lnTo>
                    <a:pt x="352" y="1497"/>
                  </a:lnTo>
                  <a:lnTo>
                    <a:pt x="352" y="1498"/>
                  </a:lnTo>
                  <a:lnTo>
                    <a:pt x="352" y="1500"/>
                  </a:lnTo>
                  <a:lnTo>
                    <a:pt x="350" y="1500"/>
                  </a:lnTo>
                  <a:lnTo>
                    <a:pt x="350" y="1498"/>
                  </a:lnTo>
                  <a:lnTo>
                    <a:pt x="352" y="1498"/>
                  </a:lnTo>
                  <a:lnTo>
                    <a:pt x="350" y="1498"/>
                  </a:lnTo>
                  <a:lnTo>
                    <a:pt x="348" y="1500"/>
                  </a:lnTo>
                  <a:lnTo>
                    <a:pt x="347" y="1500"/>
                  </a:lnTo>
                  <a:lnTo>
                    <a:pt x="347" y="1501"/>
                  </a:lnTo>
                  <a:lnTo>
                    <a:pt x="347" y="1500"/>
                  </a:lnTo>
                  <a:lnTo>
                    <a:pt x="345" y="1501"/>
                  </a:lnTo>
                  <a:lnTo>
                    <a:pt x="345" y="1500"/>
                  </a:lnTo>
                  <a:lnTo>
                    <a:pt x="345" y="1498"/>
                  </a:lnTo>
                  <a:lnTo>
                    <a:pt x="347" y="1498"/>
                  </a:lnTo>
                  <a:lnTo>
                    <a:pt x="347" y="1500"/>
                  </a:lnTo>
                  <a:lnTo>
                    <a:pt x="347" y="1498"/>
                  </a:lnTo>
                  <a:lnTo>
                    <a:pt x="347" y="1497"/>
                  </a:lnTo>
                  <a:lnTo>
                    <a:pt x="347" y="1498"/>
                  </a:lnTo>
                  <a:lnTo>
                    <a:pt x="348" y="1498"/>
                  </a:lnTo>
                  <a:lnTo>
                    <a:pt x="347" y="1497"/>
                  </a:lnTo>
                  <a:lnTo>
                    <a:pt x="348" y="1497"/>
                  </a:lnTo>
                  <a:lnTo>
                    <a:pt x="350" y="1497"/>
                  </a:lnTo>
                  <a:lnTo>
                    <a:pt x="348" y="1497"/>
                  </a:lnTo>
                  <a:lnTo>
                    <a:pt x="350" y="1495"/>
                  </a:lnTo>
                  <a:lnTo>
                    <a:pt x="350" y="1497"/>
                  </a:lnTo>
                  <a:lnTo>
                    <a:pt x="352" y="1497"/>
                  </a:lnTo>
                  <a:lnTo>
                    <a:pt x="352" y="1495"/>
                  </a:lnTo>
                  <a:lnTo>
                    <a:pt x="350" y="1493"/>
                  </a:lnTo>
                  <a:lnTo>
                    <a:pt x="352" y="1493"/>
                  </a:lnTo>
                  <a:lnTo>
                    <a:pt x="350" y="1493"/>
                  </a:lnTo>
                  <a:lnTo>
                    <a:pt x="352" y="1493"/>
                  </a:lnTo>
                  <a:lnTo>
                    <a:pt x="352" y="1492"/>
                  </a:lnTo>
                  <a:lnTo>
                    <a:pt x="353" y="1492"/>
                  </a:lnTo>
                  <a:close/>
                  <a:moveTo>
                    <a:pt x="301" y="1440"/>
                  </a:moveTo>
                  <a:lnTo>
                    <a:pt x="303" y="1440"/>
                  </a:lnTo>
                  <a:lnTo>
                    <a:pt x="304" y="1440"/>
                  </a:lnTo>
                  <a:lnTo>
                    <a:pt x="306" y="1440"/>
                  </a:lnTo>
                  <a:lnTo>
                    <a:pt x="304" y="1440"/>
                  </a:lnTo>
                  <a:lnTo>
                    <a:pt x="304" y="1441"/>
                  </a:lnTo>
                  <a:lnTo>
                    <a:pt x="304" y="1443"/>
                  </a:lnTo>
                  <a:lnTo>
                    <a:pt x="304" y="1445"/>
                  </a:lnTo>
                  <a:lnTo>
                    <a:pt x="303" y="1445"/>
                  </a:lnTo>
                  <a:lnTo>
                    <a:pt x="304" y="1445"/>
                  </a:lnTo>
                  <a:lnTo>
                    <a:pt x="303" y="1445"/>
                  </a:lnTo>
                  <a:lnTo>
                    <a:pt x="301" y="1445"/>
                  </a:lnTo>
                  <a:lnTo>
                    <a:pt x="300" y="1445"/>
                  </a:lnTo>
                  <a:lnTo>
                    <a:pt x="300" y="1443"/>
                  </a:lnTo>
                  <a:lnTo>
                    <a:pt x="300" y="1445"/>
                  </a:lnTo>
                  <a:lnTo>
                    <a:pt x="298" y="1445"/>
                  </a:lnTo>
                  <a:lnTo>
                    <a:pt x="298" y="1443"/>
                  </a:lnTo>
                  <a:lnTo>
                    <a:pt x="300" y="1443"/>
                  </a:lnTo>
                  <a:lnTo>
                    <a:pt x="298" y="1443"/>
                  </a:lnTo>
                  <a:lnTo>
                    <a:pt x="298" y="1441"/>
                  </a:lnTo>
                  <a:lnTo>
                    <a:pt x="300" y="1441"/>
                  </a:lnTo>
                  <a:lnTo>
                    <a:pt x="301" y="1440"/>
                  </a:lnTo>
                  <a:close/>
                  <a:moveTo>
                    <a:pt x="376" y="1469"/>
                  </a:moveTo>
                  <a:lnTo>
                    <a:pt x="376" y="1471"/>
                  </a:lnTo>
                  <a:lnTo>
                    <a:pt x="376" y="1472"/>
                  </a:lnTo>
                  <a:lnTo>
                    <a:pt x="374" y="1472"/>
                  </a:lnTo>
                  <a:lnTo>
                    <a:pt x="374" y="1471"/>
                  </a:lnTo>
                  <a:lnTo>
                    <a:pt x="374" y="1469"/>
                  </a:lnTo>
                  <a:lnTo>
                    <a:pt x="374" y="1467"/>
                  </a:lnTo>
                  <a:lnTo>
                    <a:pt x="373" y="1467"/>
                  </a:lnTo>
                  <a:lnTo>
                    <a:pt x="374" y="1466"/>
                  </a:lnTo>
                  <a:lnTo>
                    <a:pt x="376" y="1467"/>
                  </a:lnTo>
                  <a:lnTo>
                    <a:pt x="376" y="1466"/>
                  </a:lnTo>
                  <a:lnTo>
                    <a:pt x="374" y="1466"/>
                  </a:lnTo>
                  <a:lnTo>
                    <a:pt x="376" y="1466"/>
                  </a:lnTo>
                  <a:lnTo>
                    <a:pt x="374" y="1466"/>
                  </a:lnTo>
                  <a:lnTo>
                    <a:pt x="373" y="1466"/>
                  </a:lnTo>
                  <a:lnTo>
                    <a:pt x="373" y="1464"/>
                  </a:lnTo>
                  <a:lnTo>
                    <a:pt x="374" y="1464"/>
                  </a:lnTo>
                  <a:lnTo>
                    <a:pt x="374" y="1462"/>
                  </a:lnTo>
                  <a:lnTo>
                    <a:pt x="376" y="1462"/>
                  </a:lnTo>
                  <a:lnTo>
                    <a:pt x="378" y="1462"/>
                  </a:lnTo>
                  <a:lnTo>
                    <a:pt x="379" y="1462"/>
                  </a:lnTo>
                  <a:lnTo>
                    <a:pt x="378" y="1462"/>
                  </a:lnTo>
                  <a:lnTo>
                    <a:pt x="378" y="1464"/>
                  </a:lnTo>
                  <a:lnTo>
                    <a:pt x="378" y="1466"/>
                  </a:lnTo>
                  <a:lnTo>
                    <a:pt x="378" y="1467"/>
                  </a:lnTo>
                  <a:lnTo>
                    <a:pt x="376" y="1467"/>
                  </a:lnTo>
                  <a:lnTo>
                    <a:pt x="378" y="1469"/>
                  </a:lnTo>
                  <a:lnTo>
                    <a:pt x="376" y="1469"/>
                  </a:lnTo>
                  <a:close/>
                  <a:moveTo>
                    <a:pt x="352" y="1479"/>
                  </a:moveTo>
                  <a:lnTo>
                    <a:pt x="353" y="1479"/>
                  </a:lnTo>
                  <a:lnTo>
                    <a:pt x="352" y="1479"/>
                  </a:lnTo>
                  <a:lnTo>
                    <a:pt x="353" y="1479"/>
                  </a:lnTo>
                  <a:lnTo>
                    <a:pt x="353" y="1477"/>
                  </a:lnTo>
                  <a:lnTo>
                    <a:pt x="355" y="1479"/>
                  </a:lnTo>
                  <a:lnTo>
                    <a:pt x="353" y="1479"/>
                  </a:lnTo>
                  <a:lnTo>
                    <a:pt x="355" y="1479"/>
                  </a:lnTo>
                  <a:lnTo>
                    <a:pt x="355" y="1480"/>
                  </a:lnTo>
                  <a:lnTo>
                    <a:pt x="356" y="1479"/>
                  </a:lnTo>
                  <a:lnTo>
                    <a:pt x="355" y="1479"/>
                  </a:lnTo>
                  <a:lnTo>
                    <a:pt x="356" y="1479"/>
                  </a:lnTo>
                  <a:lnTo>
                    <a:pt x="356" y="1480"/>
                  </a:lnTo>
                  <a:lnTo>
                    <a:pt x="355" y="1480"/>
                  </a:lnTo>
                  <a:lnTo>
                    <a:pt x="356" y="1480"/>
                  </a:lnTo>
                  <a:lnTo>
                    <a:pt x="356" y="1482"/>
                  </a:lnTo>
                  <a:lnTo>
                    <a:pt x="355" y="1482"/>
                  </a:lnTo>
                  <a:lnTo>
                    <a:pt x="355" y="1484"/>
                  </a:lnTo>
                  <a:lnTo>
                    <a:pt x="353" y="1484"/>
                  </a:lnTo>
                  <a:lnTo>
                    <a:pt x="353" y="1485"/>
                  </a:lnTo>
                  <a:lnTo>
                    <a:pt x="353" y="1484"/>
                  </a:lnTo>
                  <a:lnTo>
                    <a:pt x="352" y="1484"/>
                  </a:lnTo>
                  <a:lnTo>
                    <a:pt x="352" y="1482"/>
                  </a:lnTo>
                  <a:lnTo>
                    <a:pt x="353" y="1482"/>
                  </a:lnTo>
                  <a:lnTo>
                    <a:pt x="352" y="1482"/>
                  </a:lnTo>
                  <a:lnTo>
                    <a:pt x="352" y="1484"/>
                  </a:lnTo>
                  <a:lnTo>
                    <a:pt x="352" y="1482"/>
                  </a:lnTo>
                  <a:lnTo>
                    <a:pt x="350" y="1482"/>
                  </a:lnTo>
                  <a:lnTo>
                    <a:pt x="350" y="1480"/>
                  </a:lnTo>
                  <a:lnTo>
                    <a:pt x="350" y="1479"/>
                  </a:lnTo>
                  <a:lnTo>
                    <a:pt x="352" y="1479"/>
                  </a:lnTo>
                  <a:lnTo>
                    <a:pt x="350" y="1479"/>
                  </a:lnTo>
                  <a:lnTo>
                    <a:pt x="352" y="1479"/>
                  </a:lnTo>
                  <a:close/>
                  <a:moveTo>
                    <a:pt x="356" y="1477"/>
                  </a:moveTo>
                  <a:lnTo>
                    <a:pt x="358" y="1475"/>
                  </a:lnTo>
                  <a:lnTo>
                    <a:pt x="358" y="1477"/>
                  </a:lnTo>
                  <a:lnTo>
                    <a:pt x="358" y="1475"/>
                  </a:lnTo>
                  <a:lnTo>
                    <a:pt x="358" y="1477"/>
                  </a:lnTo>
                  <a:lnTo>
                    <a:pt x="358" y="1475"/>
                  </a:lnTo>
                  <a:lnTo>
                    <a:pt x="358" y="1477"/>
                  </a:lnTo>
                  <a:lnTo>
                    <a:pt x="360" y="1477"/>
                  </a:lnTo>
                  <a:lnTo>
                    <a:pt x="360" y="1479"/>
                  </a:lnTo>
                  <a:lnTo>
                    <a:pt x="361" y="1479"/>
                  </a:lnTo>
                  <a:lnTo>
                    <a:pt x="360" y="1480"/>
                  </a:lnTo>
                  <a:lnTo>
                    <a:pt x="361" y="1480"/>
                  </a:lnTo>
                  <a:lnTo>
                    <a:pt x="360" y="1482"/>
                  </a:lnTo>
                  <a:lnTo>
                    <a:pt x="360" y="1480"/>
                  </a:lnTo>
                  <a:lnTo>
                    <a:pt x="360" y="1482"/>
                  </a:lnTo>
                  <a:lnTo>
                    <a:pt x="361" y="1482"/>
                  </a:lnTo>
                  <a:lnTo>
                    <a:pt x="361" y="1484"/>
                  </a:lnTo>
                  <a:lnTo>
                    <a:pt x="360" y="1482"/>
                  </a:lnTo>
                  <a:lnTo>
                    <a:pt x="360" y="1484"/>
                  </a:lnTo>
                  <a:lnTo>
                    <a:pt x="361" y="1484"/>
                  </a:lnTo>
                  <a:lnTo>
                    <a:pt x="363" y="1482"/>
                  </a:lnTo>
                  <a:lnTo>
                    <a:pt x="363" y="1484"/>
                  </a:lnTo>
                  <a:lnTo>
                    <a:pt x="361" y="1484"/>
                  </a:lnTo>
                  <a:lnTo>
                    <a:pt x="363" y="1484"/>
                  </a:lnTo>
                  <a:lnTo>
                    <a:pt x="361" y="1484"/>
                  </a:lnTo>
                  <a:lnTo>
                    <a:pt x="361" y="1485"/>
                  </a:lnTo>
                  <a:lnTo>
                    <a:pt x="361" y="1484"/>
                  </a:lnTo>
                  <a:lnTo>
                    <a:pt x="360" y="1484"/>
                  </a:lnTo>
                  <a:lnTo>
                    <a:pt x="361" y="1485"/>
                  </a:lnTo>
                  <a:lnTo>
                    <a:pt x="360" y="1485"/>
                  </a:lnTo>
                  <a:lnTo>
                    <a:pt x="358" y="1485"/>
                  </a:lnTo>
                  <a:lnTo>
                    <a:pt x="358" y="1484"/>
                  </a:lnTo>
                  <a:lnTo>
                    <a:pt x="360" y="1484"/>
                  </a:lnTo>
                  <a:lnTo>
                    <a:pt x="358" y="1484"/>
                  </a:lnTo>
                  <a:lnTo>
                    <a:pt x="358" y="1482"/>
                  </a:lnTo>
                  <a:lnTo>
                    <a:pt x="358" y="1484"/>
                  </a:lnTo>
                  <a:lnTo>
                    <a:pt x="358" y="1482"/>
                  </a:lnTo>
                  <a:lnTo>
                    <a:pt x="356" y="1482"/>
                  </a:lnTo>
                  <a:lnTo>
                    <a:pt x="358" y="1482"/>
                  </a:lnTo>
                  <a:lnTo>
                    <a:pt x="358" y="1480"/>
                  </a:lnTo>
                  <a:lnTo>
                    <a:pt x="358" y="1479"/>
                  </a:lnTo>
                  <a:lnTo>
                    <a:pt x="356" y="1479"/>
                  </a:lnTo>
                  <a:lnTo>
                    <a:pt x="358" y="1479"/>
                  </a:lnTo>
                  <a:lnTo>
                    <a:pt x="358" y="1477"/>
                  </a:lnTo>
                  <a:lnTo>
                    <a:pt x="356" y="1477"/>
                  </a:lnTo>
                  <a:close/>
                  <a:moveTo>
                    <a:pt x="278" y="1449"/>
                  </a:moveTo>
                  <a:lnTo>
                    <a:pt x="280" y="1449"/>
                  </a:lnTo>
                  <a:lnTo>
                    <a:pt x="280" y="1451"/>
                  </a:lnTo>
                  <a:lnTo>
                    <a:pt x="278" y="1453"/>
                  </a:lnTo>
                  <a:lnTo>
                    <a:pt x="280" y="1453"/>
                  </a:lnTo>
                  <a:lnTo>
                    <a:pt x="282" y="1453"/>
                  </a:lnTo>
                  <a:lnTo>
                    <a:pt x="282" y="1451"/>
                  </a:lnTo>
                  <a:lnTo>
                    <a:pt x="282" y="1453"/>
                  </a:lnTo>
                  <a:lnTo>
                    <a:pt x="282" y="1454"/>
                  </a:lnTo>
                  <a:lnTo>
                    <a:pt x="280" y="1454"/>
                  </a:lnTo>
                  <a:lnTo>
                    <a:pt x="280" y="1456"/>
                  </a:lnTo>
                  <a:lnTo>
                    <a:pt x="282" y="1456"/>
                  </a:lnTo>
                  <a:lnTo>
                    <a:pt x="280" y="1456"/>
                  </a:lnTo>
                  <a:lnTo>
                    <a:pt x="280" y="1458"/>
                  </a:lnTo>
                  <a:lnTo>
                    <a:pt x="278" y="1456"/>
                  </a:lnTo>
                  <a:lnTo>
                    <a:pt x="278" y="1458"/>
                  </a:lnTo>
                  <a:lnTo>
                    <a:pt x="277" y="1458"/>
                  </a:lnTo>
                  <a:lnTo>
                    <a:pt x="277" y="1456"/>
                  </a:lnTo>
                  <a:lnTo>
                    <a:pt x="278" y="1456"/>
                  </a:lnTo>
                  <a:lnTo>
                    <a:pt x="277" y="1454"/>
                  </a:lnTo>
                  <a:lnTo>
                    <a:pt x="278" y="1454"/>
                  </a:lnTo>
                  <a:lnTo>
                    <a:pt x="277" y="1453"/>
                  </a:lnTo>
                  <a:lnTo>
                    <a:pt x="278" y="1453"/>
                  </a:lnTo>
                  <a:lnTo>
                    <a:pt x="278" y="1451"/>
                  </a:lnTo>
                  <a:lnTo>
                    <a:pt x="278" y="1449"/>
                  </a:lnTo>
                  <a:close/>
                  <a:moveTo>
                    <a:pt x="202" y="1492"/>
                  </a:moveTo>
                  <a:lnTo>
                    <a:pt x="204" y="1492"/>
                  </a:lnTo>
                  <a:lnTo>
                    <a:pt x="204" y="1495"/>
                  </a:lnTo>
                  <a:lnTo>
                    <a:pt x="204" y="1497"/>
                  </a:lnTo>
                  <a:lnTo>
                    <a:pt x="204" y="1498"/>
                  </a:lnTo>
                  <a:lnTo>
                    <a:pt x="202" y="1498"/>
                  </a:lnTo>
                  <a:lnTo>
                    <a:pt x="200" y="1498"/>
                  </a:lnTo>
                  <a:lnTo>
                    <a:pt x="199" y="1498"/>
                  </a:lnTo>
                  <a:lnTo>
                    <a:pt x="199" y="1497"/>
                  </a:lnTo>
                  <a:lnTo>
                    <a:pt x="200" y="1497"/>
                  </a:lnTo>
                  <a:lnTo>
                    <a:pt x="200" y="1495"/>
                  </a:lnTo>
                  <a:lnTo>
                    <a:pt x="200" y="1493"/>
                  </a:lnTo>
                  <a:lnTo>
                    <a:pt x="202" y="1492"/>
                  </a:lnTo>
                  <a:close/>
                  <a:moveTo>
                    <a:pt x="186" y="1079"/>
                  </a:moveTo>
                  <a:lnTo>
                    <a:pt x="187" y="1079"/>
                  </a:lnTo>
                  <a:lnTo>
                    <a:pt x="187" y="1080"/>
                  </a:lnTo>
                  <a:lnTo>
                    <a:pt x="189" y="1082"/>
                  </a:lnTo>
                  <a:lnTo>
                    <a:pt x="189" y="1083"/>
                  </a:lnTo>
                  <a:lnTo>
                    <a:pt x="189" y="1080"/>
                  </a:lnTo>
                  <a:lnTo>
                    <a:pt x="191" y="1082"/>
                  </a:lnTo>
                  <a:lnTo>
                    <a:pt x="189" y="1082"/>
                  </a:lnTo>
                  <a:lnTo>
                    <a:pt x="191" y="1082"/>
                  </a:lnTo>
                  <a:lnTo>
                    <a:pt x="189" y="1082"/>
                  </a:lnTo>
                  <a:lnTo>
                    <a:pt x="191" y="1083"/>
                  </a:lnTo>
                  <a:lnTo>
                    <a:pt x="189" y="1083"/>
                  </a:lnTo>
                  <a:lnTo>
                    <a:pt x="191" y="1083"/>
                  </a:lnTo>
                  <a:lnTo>
                    <a:pt x="191" y="1085"/>
                  </a:lnTo>
                  <a:lnTo>
                    <a:pt x="191" y="1087"/>
                  </a:lnTo>
                  <a:lnTo>
                    <a:pt x="189" y="1087"/>
                  </a:lnTo>
                  <a:lnTo>
                    <a:pt x="189" y="1085"/>
                  </a:lnTo>
                  <a:lnTo>
                    <a:pt x="187" y="1085"/>
                  </a:lnTo>
                  <a:lnTo>
                    <a:pt x="189" y="1085"/>
                  </a:lnTo>
                  <a:lnTo>
                    <a:pt x="187" y="1085"/>
                  </a:lnTo>
                  <a:lnTo>
                    <a:pt x="189" y="1085"/>
                  </a:lnTo>
                  <a:lnTo>
                    <a:pt x="189" y="1083"/>
                  </a:lnTo>
                  <a:lnTo>
                    <a:pt x="187" y="1083"/>
                  </a:lnTo>
                  <a:lnTo>
                    <a:pt x="186" y="1082"/>
                  </a:lnTo>
                  <a:lnTo>
                    <a:pt x="186" y="1080"/>
                  </a:lnTo>
                  <a:lnTo>
                    <a:pt x="186" y="1079"/>
                  </a:lnTo>
                  <a:lnTo>
                    <a:pt x="186" y="1080"/>
                  </a:lnTo>
                  <a:lnTo>
                    <a:pt x="186" y="1079"/>
                  </a:lnTo>
                  <a:close/>
                  <a:moveTo>
                    <a:pt x="345" y="1482"/>
                  </a:moveTo>
                  <a:lnTo>
                    <a:pt x="345" y="1480"/>
                  </a:lnTo>
                  <a:lnTo>
                    <a:pt x="347" y="1480"/>
                  </a:lnTo>
                  <a:lnTo>
                    <a:pt x="347" y="1482"/>
                  </a:lnTo>
                  <a:lnTo>
                    <a:pt x="347" y="1480"/>
                  </a:lnTo>
                  <a:lnTo>
                    <a:pt x="348" y="1482"/>
                  </a:lnTo>
                  <a:lnTo>
                    <a:pt x="348" y="1480"/>
                  </a:lnTo>
                  <a:lnTo>
                    <a:pt x="347" y="1480"/>
                  </a:lnTo>
                  <a:lnTo>
                    <a:pt x="348" y="1480"/>
                  </a:lnTo>
                  <a:lnTo>
                    <a:pt x="348" y="1482"/>
                  </a:lnTo>
                  <a:lnTo>
                    <a:pt x="348" y="1484"/>
                  </a:lnTo>
                  <a:lnTo>
                    <a:pt x="348" y="1482"/>
                  </a:lnTo>
                  <a:lnTo>
                    <a:pt x="347" y="1482"/>
                  </a:lnTo>
                  <a:lnTo>
                    <a:pt x="347" y="1484"/>
                  </a:lnTo>
                  <a:lnTo>
                    <a:pt x="347" y="1485"/>
                  </a:lnTo>
                  <a:lnTo>
                    <a:pt x="345" y="1485"/>
                  </a:lnTo>
                  <a:lnTo>
                    <a:pt x="347" y="1485"/>
                  </a:lnTo>
                  <a:lnTo>
                    <a:pt x="345" y="1485"/>
                  </a:lnTo>
                  <a:lnTo>
                    <a:pt x="347" y="1487"/>
                  </a:lnTo>
                  <a:lnTo>
                    <a:pt x="347" y="1488"/>
                  </a:lnTo>
                  <a:lnTo>
                    <a:pt x="345" y="1488"/>
                  </a:lnTo>
                  <a:lnTo>
                    <a:pt x="345" y="1490"/>
                  </a:lnTo>
                  <a:lnTo>
                    <a:pt x="345" y="1488"/>
                  </a:lnTo>
                  <a:lnTo>
                    <a:pt x="343" y="1488"/>
                  </a:lnTo>
                  <a:lnTo>
                    <a:pt x="343" y="1487"/>
                  </a:lnTo>
                  <a:lnTo>
                    <a:pt x="343" y="1485"/>
                  </a:lnTo>
                  <a:lnTo>
                    <a:pt x="343" y="1484"/>
                  </a:lnTo>
                  <a:lnTo>
                    <a:pt x="345" y="1484"/>
                  </a:lnTo>
                  <a:lnTo>
                    <a:pt x="343" y="1484"/>
                  </a:lnTo>
                  <a:lnTo>
                    <a:pt x="345" y="1484"/>
                  </a:lnTo>
                  <a:lnTo>
                    <a:pt x="345" y="1482"/>
                  </a:lnTo>
                  <a:lnTo>
                    <a:pt x="345" y="1480"/>
                  </a:lnTo>
                  <a:lnTo>
                    <a:pt x="345" y="1482"/>
                  </a:lnTo>
                  <a:lnTo>
                    <a:pt x="347" y="1482"/>
                  </a:lnTo>
                  <a:lnTo>
                    <a:pt x="345" y="1482"/>
                  </a:lnTo>
                  <a:close/>
                  <a:moveTo>
                    <a:pt x="256" y="939"/>
                  </a:moveTo>
                  <a:lnTo>
                    <a:pt x="257" y="939"/>
                  </a:lnTo>
                  <a:lnTo>
                    <a:pt x="257" y="940"/>
                  </a:lnTo>
                  <a:lnTo>
                    <a:pt x="257" y="942"/>
                  </a:lnTo>
                  <a:lnTo>
                    <a:pt x="259" y="942"/>
                  </a:lnTo>
                  <a:lnTo>
                    <a:pt x="257" y="942"/>
                  </a:lnTo>
                  <a:lnTo>
                    <a:pt x="257" y="940"/>
                  </a:lnTo>
                  <a:lnTo>
                    <a:pt x="257" y="939"/>
                  </a:lnTo>
                  <a:lnTo>
                    <a:pt x="256" y="939"/>
                  </a:lnTo>
                  <a:lnTo>
                    <a:pt x="257" y="939"/>
                  </a:lnTo>
                  <a:lnTo>
                    <a:pt x="259" y="939"/>
                  </a:lnTo>
                  <a:lnTo>
                    <a:pt x="259" y="940"/>
                  </a:lnTo>
                  <a:lnTo>
                    <a:pt x="257" y="939"/>
                  </a:lnTo>
                  <a:lnTo>
                    <a:pt x="259" y="940"/>
                  </a:lnTo>
                  <a:lnTo>
                    <a:pt x="257" y="940"/>
                  </a:lnTo>
                  <a:lnTo>
                    <a:pt x="257" y="942"/>
                  </a:lnTo>
                  <a:lnTo>
                    <a:pt x="259" y="942"/>
                  </a:lnTo>
                  <a:lnTo>
                    <a:pt x="259" y="944"/>
                  </a:lnTo>
                  <a:lnTo>
                    <a:pt x="259" y="945"/>
                  </a:lnTo>
                  <a:lnTo>
                    <a:pt x="257" y="944"/>
                  </a:lnTo>
                  <a:lnTo>
                    <a:pt x="257" y="942"/>
                  </a:lnTo>
                  <a:lnTo>
                    <a:pt x="256" y="940"/>
                  </a:lnTo>
                  <a:lnTo>
                    <a:pt x="256" y="939"/>
                  </a:lnTo>
                  <a:lnTo>
                    <a:pt x="256" y="940"/>
                  </a:lnTo>
                  <a:lnTo>
                    <a:pt x="254" y="940"/>
                  </a:lnTo>
                  <a:lnTo>
                    <a:pt x="254" y="942"/>
                  </a:lnTo>
                  <a:lnTo>
                    <a:pt x="254" y="940"/>
                  </a:lnTo>
                  <a:lnTo>
                    <a:pt x="252" y="940"/>
                  </a:lnTo>
                  <a:lnTo>
                    <a:pt x="254" y="940"/>
                  </a:lnTo>
                  <a:lnTo>
                    <a:pt x="252" y="940"/>
                  </a:lnTo>
                  <a:lnTo>
                    <a:pt x="252" y="939"/>
                  </a:lnTo>
                  <a:lnTo>
                    <a:pt x="252" y="937"/>
                  </a:lnTo>
                  <a:lnTo>
                    <a:pt x="254" y="937"/>
                  </a:lnTo>
                  <a:lnTo>
                    <a:pt x="254" y="939"/>
                  </a:lnTo>
                  <a:lnTo>
                    <a:pt x="256" y="939"/>
                  </a:lnTo>
                  <a:lnTo>
                    <a:pt x="256" y="937"/>
                  </a:lnTo>
                  <a:lnTo>
                    <a:pt x="254" y="935"/>
                  </a:lnTo>
                  <a:lnTo>
                    <a:pt x="256" y="935"/>
                  </a:lnTo>
                  <a:lnTo>
                    <a:pt x="257" y="937"/>
                  </a:lnTo>
                  <a:lnTo>
                    <a:pt x="256" y="937"/>
                  </a:lnTo>
                  <a:lnTo>
                    <a:pt x="257" y="937"/>
                  </a:lnTo>
                  <a:lnTo>
                    <a:pt x="256" y="939"/>
                  </a:lnTo>
                  <a:close/>
                  <a:moveTo>
                    <a:pt x="207" y="1492"/>
                  </a:moveTo>
                  <a:lnTo>
                    <a:pt x="208" y="1492"/>
                  </a:lnTo>
                  <a:lnTo>
                    <a:pt x="208" y="1490"/>
                  </a:lnTo>
                  <a:lnTo>
                    <a:pt x="208" y="1492"/>
                  </a:lnTo>
                  <a:lnTo>
                    <a:pt x="208" y="1493"/>
                  </a:lnTo>
                  <a:lnTo>
                    <a:pt x="207" y="1495"/>
                  </a:lnTo>
                  <a:lnTo>
                    <a:pt x="208" y="1495"/>
                  </a:lnTo>
                  <a:lnTo>
                    <a:pt x="207" y="1495"/>
                  </a:lnTo>
                  <a:lnTo>
                    <a:pt x="207" y="1497"/>
                  </a:lnTo>
                  <a:lnTo>
                    <a:pt x="205" y="1497"/>
                  </a:lnTo>
                  <a:lnTo>
                    <a:pt x="207" y="1497"/>
                  </a:lnTo>
                  <a:lnTo>
                    <a:pt x="205" y="1498"/>
                  </a:lnTo>
                  <a:lnTo>
                    <a:pt x="204" y="1498"/>
                  </a:lnTo>
                  <a:lnTo>
                    <a:pt x="205" y="1498"/>
                  </a:lnTo>
                  <a:lnTo>
                    <a:pt x="204" y="1498"/>
                  </a:lnTo>
                  <a:lnTo>
                    <a:pt x="204" y="1497"/>
                  </a:lnTo>
                  <a:lnTo>
                    <a:pt x="205" y="1497"/>
                  </a:lnTo>
                  <a:lnTo>
                    <a:pt x="204" y="1497"/>
                  </a:lnTo>
                  <a:lnTo>
                    <a:pt x="205" y="1497"/>
                  </a:lnTo>
                  <a:lnTo>
                    <a:pt x="204" y="1497"/>
                  </a:lnTo>
                  <a:lnTo>
                    <a:pt x="205" y="1495"/>
                  </a:lnTo>
                  <a:lnTo>
                    <a:pt x="204" y="1495"/>
                  </a:lnTo>
                  <a:lnTo>
                    <a:pt x="204" y="1493"/>
                  </a:lnTo>
                  <a:lnTo>
                    <a:pt x="204" y="1492"/>
                  </a:lnTo>
                  <a:lnTo>
                    <a:pt x="205" y="1492"/>
                  </a:lnTo>
                  <a:lnTo>
                    <a:pt x="204" y="1492"/>
                  </a:lnTo>
                  <a:lnTo>
                    <a:pt x="205" y="1492"/>
                  </a:lnTo>
                  <a:lnTo>
                    <a:pt x="207" y="1492"/>
                  </a:lnTo>
                  <a:close/>
                  <a:moveTo>
                    <a:pt x="579" y="1397"/>
                  </a:moveTo>
                  <a:lnTo>
                    <a:pt x="581" y="1397"/>
                  </a:lnTo>
                  <a:lnTo>
                    <a:pt x="583" y="1399"/>
                  </a:lnTo>
                  <a:lnTo>
                    <a:pt x="583" y="1401"/>
                  </a:lnTo>
                  <a:lnTo>
                    <a:pt x="581" y="1401"/>
                  </a:lnTo>
                  <a:lnTo>
                    <a:pt x="581" y="1399"/>
                  </a:lnTo>
                  <a:lnTo>
                    <a:pt x="581" y="1401"/>
                  </a:lnTo>
                  <a:lnTo>
                    <a:pt x="579" y="1401"/>
                  </a:lnTo>
                  <a:lnTo>
                    <a:pt x="579" y="1399"/>
                  </a:lnTo>
                  <a:lnTo>
                    <a:pt x="579" y="1401"/>
                  </a:lnTo>
                  <a:lnTo>
                    <a:pt x="578" y="1402"/>
                  </a:lnTo>
                  <a:lnTo>
                    <a:pt x="578" y="1401"/>
                  </a:lnTo>
                  <a:lnTo>
                    <a:pt x="578" y="1402"/>
                  </a:lnTo>
                  <a:lnTo>
                    <a:pt x="576" y="1402"/>
                  </a:lnTo>
                  <a:lnTo>
                    <a:pt x="576" y="1401"/>
                  </a:lnTo>
                  <a:lnTo>
                    <a:pt x="576" y="1399"/>
                  </a:lnTo>
                  <a:lnTo>
                    <a:pt x="576" y="1397"/>
                  </a:lnTo>
                  <a:lnTo>
                    <a:pt x="578" y="1397"/>
                  </a:lnTo>
                  <a:lnTo>
                    <a:pt x="576" y="1397"/>
                  </a:lnTo>
                  <a:lnTo>
                    <a:pt x="578" y="1397"/>
                  </a:lnTo>
                  <a:lnTo>
                    <a:pt x="579" y="1397"/>
                  </a:lnTo>
                  <a:lnTo>
                    <a:pt x="579" y="1396"/>
                  </a:lnTo>
                  <a:lnTo>
                    <a:pt x="579" y="1397"/>
                  </a:lnTo>
                  <a:close/>
                  <a:moveTo>
                    <a:pt x="200" y="1070"/>
                  </a:moveTo>
                  <a:lnTo>
                    <a:pt x="200" y="1072"/>
                  </a:lnTo>
                  <a:lnTo>
                    <a:pt x="199" y="1072"/>
                  </a:lnTo>
                  <a:lnTo>
                    <a:pt x="200" y="1072"/>
                  </a:lnTo>
                  <a:lnTo>
                    <a:pt x="200" y="1074"/>
                  </a:lnTo>
                  <a:lnTo>
                    <a:pt x="199" y="1074"/>
                  </a:lnTo>
                  <a:lnTo>
                    <a:pt x="200" y="1074"/>
                  </a:lnTo>
                  <a:lnTo>
                    <a:pt x="200" y="1075"/>
                  </a:lnTo>
                  <a:lnTo>
                    <a:pt x="200" y="1077"/>
                  </a:lnTo>
                  <a:lnTo>
                    <a:pt x="199" y="1075"/>
                  </a:lnTo>
                  <a:lnTo>
                    <a:pt x="200" y="1077"/>
                  </a:lnTo>
                  <a:lnTo>
                    <a:pt x="200" y="1079"/>
                  </a:lnTo>
                  <a:lnTo>
                    <a:pt x="199" y="1079"/>
                  </a:lnTo>
                  <a:lnTo>
                    <a:pt x="199" y="1077"/>
                  </a:lnTo>
                  <a:lnTo>
                    <a:pt x="197" y="1077"/>
                  </a:lnTo>
                  <a:lnTo>
                    <a:pt x="199" y="1077"/>
                  </a:lnTo>
                  <a:lnTo>
                    <a:pt x="197" y="1077"/>
                  </a:lnTo>
                  <a:lnTo>
                    <a:pt x="197" y="1075"/>
                  </a:lnTo>
                  <a:lnTo>
                    <a:pt x="195" y="1075"/>
                  </a:lnTo>
                  <a:lnTo>
                    <a:pt x="197" y="1075"/>
                  </a:lnTo>
                  <a:lnTo>
                    <a:pt x="197" y="1074"/>
                  </a:lnTo>
                  <a:lnTo>
                    <a:pt x="197" y="1072"/>
                  </a:lnTo>
                  <a:lnTo>
                    <a:pt x="199" y="1072"/>
                  </a:lnTo>
                  <a:lnTo>
                    <a:pt x="197" y="1072"/>
                  </a:lnTo>
                  <a:lnTo>
                    <a:pt x="199" y="1072"/>
                  </a:lnTo>
                  <a:lnTo>
                    <a:pt x="197" y="1072"/>
                  </a:lnTo>
                  <a:lnTo>
                    <a:pt x="197" y="1070"/>
                  </a:lnTo>
                  <a:lnTo>
                    <a:pt x="199" y="1070"/>
                  </a:lnTo>
                  <a:lnTo>
                    <a:pt x="199" y="1072"/>
                  </a:lnTo>
                  <a:lnTo>
                    <a:pt x="199" y="1070"/>
                  </a:lnTo>
                  <a:lnTo>
                    <a:pt x="199" y="1072"/>
                  </a:lnTo>
                  <a:lnTo>
                    <a:pt x="200" y="1072"/>
                  </a:lnTo>
                  <a:lnTo>
                    <a:pt x="199" y="1070"/>
                  </a:lnTo>
                  <a:lnTo>
                    <a:pt x="200" y="1070"/>
                  </a:lnTo>
                  <a:close/>
                  <a:moveTo>
                    <a:pt x="233" y="1253"/>
                  </a:moveTo>
                  <a:lnTo>
                    <a:pt x="234" y="1253"/>
                  </a:lnTo>
                  <a:lnTo>
                    <a:pt x="234" y="1254"/>
                  </a:lnTo>
                  <a:lnTo>
                    <a:pt x="236" y="1254"/>
                  </a:lnTo>
                  <a:lnTo>
                    <a:pt x="236" y="1256"/>
                  </a:lnTo>
                  <a:lnTo>
                    <a:pt x="236" y="1258"/>
                  </a:lnTo>
                  <a:lnTo>
                    <a:pt x="238" y="1258"/>
                  </a:lnTo>
                  <a:lnTo>
                    <a:pt x="239" y="1258"/>
                  </a:lnTo>
                  <a:lnTo>
                    <a:pt x="241" y="1258"/>
                  </a:lnTo>
                  <a:lnTo>
                    <a:pt x="241" y="1259"/>
                  </a:lnTo>
                  <a:lnTo>
                    <a:pt x="239" y="1259"/>
                  </a:lnTo>
                  <a:lnTo>
                    <a:pt x="239" y="1261"/>
                  </a:lnTo>
                  <a:lnTo>
                    <a:pt x="238" y="1261"/>
                  </a:lnTo>
                  <a:lnTo>
                    <a:pt x="236" y="1261"/>
                  </a:lnTo>
                  <a:lnTo>
                    <a:pt x="234" y="1261"/>
                  </a:lnTo>
                  <a:lnTo>
                    <a:pt x="234" y="1259"/>
                  </a:lnTo>
                  <a:lnTo>
                    <a:pt x="236" y="1259"/>
                  </a:lnTo>
                  <a:lnTo>
                    <a:pt x="236" y="1261"/>
                  </a:lnTo>
                  <a:lnTo>
                    <a:pt x="236" y="1259"/>
                  </a:lnTo>
                  <a:lnTo>
                    <a:pt x="238" y="1259"/>
                  </a:lnTo>
                  <a:lnTo>
                    <a:pt x="236" y="1259"/>
                  </a:lnTo>
                  <a:lnTo>
                    <a:pt x="236" y="1258"/>
                  </a:lnTo>
                  <a:lnTo>
                    <a:pt x="236" y="1256"/>
                  </a:lnTo>
                  <a:lnTo>
                    <a:pt x="234" y="1256"/>
                  </a:lnTo>
                  <a:lnTo>
                    <a:pt x="234" y="1254"/>
                  </a:lnTo>
                  <a:lnTo>
                    <a:pt x="233" y="1254"/>
                  </a:lnTo>
                  <a:lnTo>
                    <a:pt x="233" y="1253"/>
                  </a:lnTo>
                  <a:lnTo>
                    <a:pt x="231" y="1254"/>
                  </a:lnTo>
                  <a:lnTo>
                    <a:pt x="231" y="1253"/>
                  </a:lnTo>
                  <a:lnTo>
                    <a:pt x="233" y="1253"/>
                  </a:lnTo>
                  <a:close/>
                  <a:moveTo>
                    <a:pt x="247" y="586"/>
                  </a:moveTo>
                  <a:lnTo>
                    <a:pt x="249" y="586"/>
                  </a:lnTo>
                  <a:lnTo>
                    <a:pt x="251" y="586"/>
                  </a:lnTo>
                  <a:lnTo>
                    <a:pt x="252" y="587"/>
                  </a:lnTo>
                  <a:lnTo>
                    <a:pt x="252" y="589"/>
                  </a:lnTo>
                  <a:lnTo>
                    <a:pt x="254" y="591"/>
                  </a:lnTo>
                  <a:lnTo>
                    <a:pt x="254" y="592"/>
                  </a:lnTo>
                  <a:lnTo>
                    <a:pt x="252" y="592"/>
                  </a:lnTo>
                  <a:lnTo>
                    <a:pt x="251" y="592"/>
                  </a:lnTo>
                  <a:lnTo>
                    <a:pt x="251" y="591"/>
                  </a:lnTo>
                  <a:lnTo>
                    <a:pt x="252" y="591"/>
                  </a:lnTo>
                  <a:lnTo>
                    <a:pt x="251" y="589"/>
                  </a:lnTo>
                  <a:lnTo>
                    <a:pt x="249" y="587"/>
                  </a:lnTo>
                  <a:lnTo>
                    <a:pt x="247" y="587"/>
                  </a:lnTo>
                  <a:lnTo>
                    <a:pt x="247" y="586"/>
                  </a:lnTo>
                  <a:close/>
                  <a:moveTo>
                    <a:pt x="252" y="589"/>
                  </a:moveTo>
                  <a:lnTo>
                    <a:pt x="252" y="591"/>
                  </a:lnTo>
                  <a:lnTo>
                    <a:pt x="252" y="589"/>
                  </a:lnTo>
                  <a:lnTo>
                    <a:pt x="251" y="589"/>
                  </a:lnTo>
                  <a:lnTo>
                    <a:pt x="252" y="589"/>
                  </a:lnTo>
                  <a:close/>
                  <a:moveTo>
                    <a:pt x="264" y="1453"/>
                  </a:moveTo>
                  <a:lnTo>
                    <a:pt x="264" y="1454"/>
                  </a:lnTo>
                  <a:lnTo>
                    <a:pt x="265" y="1453"/>
                  </a:lnTo>
                  <a:lnTo>
                    <a:pt x="267" y="1453"/>
                  </a:lnTo>
                  <a:lnTo>
                    <a:pt x="267" y="1454"/>
                  </a:lnTo>
                  <a:lnTo>
                    <a:pt x="267" y="1456"/>
                  </a:lnTo>
                  <a:lnTo>
                    <a:pt x="265" y="1458"/>
                  </a:lnTo>
                  <a:lnTo>
                    <a:pt x="265" y="1456"/>
                  </a:lnTo>
                  <a:lnTo>
                    <a:pt x="264" y="1458"/>
                  </a:lnTo>
                  <a:lnTo>
                    <a:pt x="264" y="1456"/>
                  </a:lnTo>
                  <a:lnTo>
                    <a:pt x="264" y="1458"/>
                  </a:lnTo>
                  <a:lnTo>
                    <a:pt x="262" y="1458"/>
                  </a:lnTo>
                  <a:lnTo>
                    <a:pt x="261" y="1458"/>
                  </a:lnTo>
                  <a:lnTo>
                    <a:pt x="259" y="1458"/>
                  </a:lnTo>
                  <a:lnTo>
                    <a:pt x="261" y="1458"/>
                  </a:lnTo>
                  <a:lnTo>
                    <a:pt x="261" y="1456"/>
                  </a:lnTo>
                  <a:lnTo>
                    <a:pt x="259" y="1456"/>
                  </a:lnTo>
                  <a:lnTo>
                    <a:pt x="261" y="1456"/>
                  </a:lnTo>
                  <a:lnTo>
                    <a:pt x="262" y="1456"/>
                  </a:lnTo>
                  <a:lnTo>
                    <a:pt x="264" y="1456"/>
                  </a:lnTo>
                  <a:lnTo>
                    <a:pt x="265" y="1456"/>
                  </a:lnTo>
                  <a:lnTo>
                    <a:pt x="267" y="1454"/>
                  </a:lnTo>
                  <a:lnTo>
                    <a:pt x="265" y="1456"/>
                  </a:lnTo>
                  <a:lnTo>
                    <a:pt x="267" y="1454"/>
                  </a:lnTo>
                  <a:lnTo>
                    <a:pt x="265" y="1454"/>
                  </a:lnTo>
                  <a:lnTo>
                    <a:pt x="265" y="1456"/>
                  </a:lnTo>
                  <a:lnTo>
                    <a:pt x="264" y="1456"/>
                  </a:lnTo>
                  <a:lnTo>
                    <a:pt x="262" y="1456"/>
                  </a:lnTo>
                  <a:lnTo>
                    <a:pt x="262" y="1454"/>
                  </a:lnTo>
                  <a:lnTo>
                    <a:pt x="264" y="1454"/>
                  </a:lnTo>
                  <a:lnTo>
                    <a:pt x="264" y="1453"/>
                  </a:lnTo>
                  <a:close/>
                  <a:moveTo>
                    <a:pt x="304" y="1436"/>
                  </a:moveTo>
                  <a:lnTo>
                    <a:pt x="306" y="1436"/>
                  </a:lnTo>
                  <a:lnTo>
                    <a:pt x="308" y="1436"/>
                  </a:lnTo>
                  <a:lnTo>
                    <a:pt x="309" y="1436"/>
                  </a:lnTo>
                  <a:lnTo>
                    <a:pt x="309" y="1438"/>
                  </a:lnTo>
                  <a:lnTo>
                    <a:pt x="308" y="1440"/>
                  </a:lnTo>
                  <a:lnTo>
                    <a:pt x="306" y="1440"/>
                  </a:lnTo>
                  <a:lnTo>
                    <a:pt x="304" y="1440"/>
                  </a:lnTo>
                  <a:lnTo>
                    <a:pt x="303" y="1440"/>
                  </a:lnTo>
                  <a:lnTo>
                    <a:pt x="301" y="1440"/>
                  </a:lnTo>
                  <a:lnTo>
                    <a:pt x="301" y="1438"/>
                  </a:lnTo>
                  <a:lnTo>
                    <a:pt x="301" y="1440"/>
                  </a:lnTo>
                  <a:lnTo>
                    <a:pt x="301" y="1438"/>
                  </a:lnTo>
                  <a:lnTo>
                    <a:pt x="303" y="1438"/>
                  </a:lnTo>
                  <a:lnTo>
                    <a:pt x="303" y="1436"/>
                  </a:lnTo>
                  <a:lnTo>
                    <a:pt x="304" y="1436"/>
                  </a:lnTo>
                  <a:close/>
                  <a:moveTo>
                    <a:pt x="246" y="1324"/>
                  </a:moveTo>
                  <a:lnTo>
                    <a:pt x="244" y="1324"/>
                  </a:lnTo>
                  <a:lnTo>
                    <a:pt x="243" y="1324"/>
                  </a:lnTo>
                  <a:lnTo>
                    <a:pt x="243" y="1323"/>
                  </a:lnTo>
                  <a:lnTo>
                    <a:pt x="241" y="1324"/>
                  </a:lnTo>
                  <a:lnTo>
                    <a:pt x="241" y="1326"/>
                  </a:lnTo>
                  <a:lnTo>
                    <a:pt x="239" y="1324"/>
                  </a:lnTo>
                  <a:lnTo>
                    <a:pt x="239" y="1323"/>
                  </a:lnTo>
                  <a:lnTo>
                    <a:pt x="238" y="1323"/>
                  </a:lnTo>
                  <a:lnTo>
                    <a:pt x="239" y="1323"/>
                  </a:lnTo>
                  <a:lnTo>
                    <a:pt x="239" y="1321"/>
                  </a:lnTo>
                  <a:lnTo>
                    <a:pt x="239" y="1319"/>
                  </a:lnTo>
                  <a:lnTo>
                    <a:pt x="239" y="1318"/>
                  </a:lnTo>
                  <a:lnTo>
                    <a:pt x="241" y="1318"/>
                  </a:lnTo>
                  <a:lnTo>
                    <a:pt x="239" y="1319"/>
                  </a:lnTo>
                  <a:lnTo>
                    <a:pt x="241" y="1319"/>
                  </a:lnTo>
                  <a:lnTo>
                    <a:pt x="241" y="1318"/>
                  </a:lnTo>
                  <a:lnTo>
                    <a:pt x="241" y="1319"/>
                  </a:lnTo>
                  <a:lnTo>
                    <a:pt x="243" y="1319"/>
                  </a:lnTo>
                  <a:lnTo>
                    <a:pt x="241" y="1321"/>
                  </a:lnTo>
                  <a:lnTo>
                    <a:pt x="243" y="1323"/>
                  </a:lnTo>
                  <a:lnTo>
                    <a:pt x="244" y="1323"/>
                  </a:lnTo>
                  <a:lnTo>
                    <a:pt x="243" y="1323"/>
                  </a:lnTo>
                  <a:lnTo>
                    <a:pt x="243" y="1324"/>
                  </a:lnTo>
                  <a:lnTo>
                    <a:pt x="244" y="1324"/>
                  </a:lnTo>
                  <a:lnTo>
                    <a:pt x="244" y="1323"/>
                  </a:lnTo>
                  <a:lnTo>
                    <a:pt x="244" y="1324"/>
                  </a:lnTo>
                  <a:lnTo>
                    <a:pt x="246" y="1324"/>
                  </a:lnTo>
                  <a:close/>
                  <a:moveTo>
                    <a:pt x="217" y="1445"/>
                  </a:moveTo>
                  <a:lnTo>
                    <a:pt x="218" y="1445"/>
                  </a:lnTo>
                  <a:lnTo>
                    <a:pt x="218" y="1446"/>
                  </a:lnTo>
                  <a:lnTo>
                    <a:pt x="218" y="1445"/>
                  </a:lnTo>
                  <a:lnTo>
                    <a:pt x="218" y="1446"/>
                  </a:lnTo>
                  <a:lnTo>
                    <a:pt x="220" y="1446"/>
                  </a:lnTo>
                  <a:lnTo>
                    <a:pt x="220" y="1445"/>
                  </a:lnTo>
                  <a:lnTo>
                    <a:pt x="220" y="1446"/>
                  </a:lnTo>
                  <a:lnTo>
                    <a:pt x="220" y="1448"/>
                  </a:lnTo>
                  <a:lnTo>
                    <a:pt x="220" y="1449"/>
                  </a:lnTo>
                  <a:lnTo>
                    <a:pt x="220" y="1451"/>
                  </a:lnTo>
                  <a:lnTo>
                    <a:pt x="218" y="1451"/>
                  </a:lnTo>
                  <a:lnTo>
                    <a:pt x="220" y="1451"/>
                  </a:lnTo>
                  <a:lnTo>
                    <a:pt x="218" y="1451"/>
                  </a:lnTo>
                  <a:lnTo>
                    <a:pt x="218" y="1453"/>
                  </a:lnTo>
                  <a:lnTo>
                    <a:pt x="217" y="1454"/>
                  </a:lnTo>
                  <a:lnTo>
                    <a:pt x="217" y="1453"/>
                  </a:lnTo>
                  <a:lnTo>
                    <a:pt x="217" y="1451"/>
                  </a:lnTo>
                  <a:lnTo>
                    <a:pt x="217" y="1449"/>
                  </a:lnTo>
                  <a:lnTo>
                    <a:pt x="217" y="1448"/>
                  </a:lnTo>
                  <a:lnTo>
                    <a:pt x="218" y="1448"/>
                  </a:lnTo>
                  <a:lnTo>
                    <a:pt x="218" y="1446"/>
                  </a:lnTo>
                  <a:lnTo>
                    <a:pt x="217" y="1445"/>
                  </a:lnTo>
                  <a:close/>
                  <a:moveTo>
                    <a:pt x="317" y="649"/>
                  </a:moveTo>
                  <a:lnTo>
                    <a:pt x="317" y="651"/>
                  </a:lnTo>
                  <a:lnTo>
                    <a:pt x="317" y="652"/>
                  </a:lnTo>
                  <a:lnTo>
                    <a:pt x="317" y="654"/>
                  </a:lnTo>
                  <a:lnTo>
                    <a:pt x="319" y="654"/>
                  </a:lnTo>
                  <a:lnTo>
                    <a:pt x="317" y="654"/>
                  </a:lnTo>
                  <a:lnTo>
                    <a:pt x="319" y="656"/>
                  </a:lnTo>
                  <a:lnTo>
                    <a:pt x="317" y="654"/>
                  </a:lnTo>
                  <a:lnTo>
                    <a:pt x="317" y="656"/>
                  </a:lnTo>
                  <a:lnTo>
                    <a:pt x="317" y="657"/>
                  </a:lnTo>
                  <a:lnTo>
                    <a:pt x="316" y="657"/>
                  </a:lnTo>
                  <a:lnTo>
                    <a:pt x="314" y="657"/>
                  </a:lnTo>
                  <a:lnTo>
                    <a:pt x="314" y="656"/>
                  </a:lnTo>
                  <a:lnTo>
                    <a:pt x="313" y="656"/>
                  </a:lnTo>
                  <a:lnTo>
                    <a:pt x="313" y="654"/>
                  </a:lnTo>
                  <a:lnTo>
                    <a:pt x="314" y="654"/>
                  </a:lnTo>
                  <a:lnTo>
                    <a:pt x="316" y="654"/>
                  </a:lnTo>
                  <a:lnTo>
                    <a:pt x="316" y="652"/>
                  </a:lnTo>
                  <a:lnTo>
                    <a:pt x="317" y="651"/>
                  </a:lnTo>
                  <a:lnTo>
                    <a:pt x="316" y="651"/>
                  </a:lnTo>
                  <a:lnTo>
                    <a:pt x="316" y="649"/>
                  </a:lnTo>
                  <a:lnTo>
                    <a:pt x="317" y="649"/>
                  </a:lnTo>
                  <a:close/>
                  <a:moveTo>
                    <a:pt x="178" y="1012"/>
                  </a:moveTo>
                  <a:lnTo>
                    <a:pt x="179" y="1012"/>
                  </a:lnTo>
                  <a:lnTo>
                    <a:pt x="179" y="1014"/>
                  </a:lnTo>
                  <a:lnTo>
                    <a:pt x="179" y="1015"/>
                  </a:lnTo>
                  <a:lnTo>
                    <a:pt x="179" y="1017"/>
                  </a:lnTo>
                  <a:lnTo>
                    <a:pt x="178" y="1017"/>
                  </a:lnTo>
                  <a:lnTo>
                    <a:pt x="176" y="1017"/>
                  </a:lnTo>
                  <a:lnTo>
                    <a:pt x="174" y="1017"/>
                  </a:lnTo>
                  <a:lnTo>
                    <a:pt x="176" y="1017"/>
                  </a:lnTo>
                  <a:lnTo>
                    <a:pt x="174" y="1017"/>
                  </a:lnTo>
                  <a:lnTo>
                    <a:pt x="174" y="1015"/>
                  </a:lnTo>
                  <a:lnTo>
                    <a:pt x="176" y="1017"/>
                  </a:lnTo>
                  <a:lnTo>
                    <a:pt x="176" y="1015"/>
                  </a:lnTo>
                  <a:lnTo>
                    <a:pt x="174" y="1015"/>
                  </a:lnTo>
                  <a:lnTo>
                    <a:pt x="176" y="1015"/>
                  </a:lnTo>
                  <a:lnTo>
                    <a:pt x="176" y="1014"/>
                  </a:lnTo>
                  <a:lnTo>
                    <a:pt x="178" y="1014"/>
                  </a:lnTo>
                  <a:lnTo>
                    <a:pt x="178" y="1012"/>
                  </a:lnTo>
                  <a:close/>
                  <a:moveTo>
                    <a:pt x="309" y="1466"/>
                  </a:moveTo>
                  <a:lnTo>
                    <a:pt x="311" y="1466"/>
                  </a:lnTo>
                  <a:lnTo>
                    <a:pt x="313" y="1466"/>
                  </a:lnTo>
                  <a:lnTo>
                    <a:pt x="313" y="1467"/>
                  </a:lnTo>
                  <a:lnTo>
                    <a:pt x="311" y="1467"/>
                  </a:lnTo>
                  <a:lnTo>
                    <a:pt x="309" y="1467"/>
                  </a:lnTo>
                  <a:lnTo>
                    <a:pt x="308" y="1467"/>
                  </a:lnTo>
                  <a:lnTo>
                    <a:pt x="306" y="1467"/>
                  </a:lnTo>
                  <a:lnTo>
                    <a:pt x="308" y="1467"/>
                  </a:lnTo>
                  <a:lnTo>
                    <a:pt x="306" y="1467"/>
                  </a:lnTo>
                  <a:lnTo>
                    <a:pt x="304" y="1467"/>
                  </a:lnTo>
                  <a:lnTo>
                    <a:pt x="306" y="1467"/>
                  </a:lnTo>
                  <a:lnTo>
                    <a:pt x="306" y="1466"/>
                  </a:lnTo>
                  <a:lnTo>
                    <a:pt x="308" y="1464"/>
                  </a:lnTo>
                  <a:lnTo>
                    <a:pt x="309" y="1464"/>
                  </a:lnTo>
                  <a:lnTo>
                    <a:pt x="309" y="1466"/>
                  </a:lnTo>
                  <a:close/>
                  <a:moveTo>
                    <a:pt x="236" y="1428"/>
                  </a:moveTo>
                  <a:lnTo>
                    <a:pt x="236" y="1427"/>
                  </a:lnTo>
                  <a:lnTo>
                    <a:pt x="238" y="1428"/>
                  </a:lnTo>
                  <a:lnTo>
                    <a:pt x="238" y="1427"/>
                  </a:lnTo>
                  <a:lnTo>
                    <a:pt x="238" y="1428"/>
                  </a:lnTo>
                  <a:lnTo>
                    <a:pt x="238" y="1427"/>
                  </a:lnTo>
                  <a:lnTo>
                    <a:pt x="238" y="1425"/>
                  </a:lnTo>
                  <a:lnTo>
                    <a:pt x="236" y="1425"/>
                  </a:lnTo>
                  <a:lnTo>
                    <a:pt x="236" y="1427"/>
                  </a:lnTo>
                  <a:lnTo>
                    <a:pt x="236" y="1425"/>
                  </a:lnTo>
                  <a:lnTo>
                    <a:pt x="236" y="1427"/>
                  </a:lnTo>
                  <a:lnTo>
                    <a:pt x="236" y="1425"/>
                  </a:lnTo>
                  <a:lnTo>
                    <a:pt x="236" y="1427"/>
                  </a:lnTo>
                  <a:lnTo>
                    <a:pt x="236" y="1425"/>
                  </a:lnTo>
                  <a:lnTo>
                    <a:pt x="234" y="1425"/>
                  </a:lnTo>
                  <a:lnTo>
                    <a:pt x="234" y="1423"/>
                  </a:lnTo>
                  <a:lnTo>
                    <a:pt x="236" y="1423"/>
                  </a:lnTo>
                  <a:lnTo>
                    <a:pt x="238" y="1423"/>
                  </a:lnTo>
                  <a:lnTo>
                    <a:pt x="238" y="1425"/>
                  </a:lnTo>
                  <a:lnTo>
                    <a:pt x="238" y="1427"/>
                  </a:lnTo>
                  <a:lnTo>
                    <a:pt x="239" y="1427"/>
                  </a:lnTo>
                  <a:lnTo>
                    <a:pt x="238" y="1425"/>
                  </a:lnTo>
                  <a:lnTo>
                    <a:pt x="239" y="1425"/>
                  </a:lnTo>
                  <a:lnTo>
                    <a:pt x="239" y="1427"/>
                  </a:lnTo>
                  <a:lnTo>
                    <a:pt x="239" y="1428"/>
                  </a:lnTo>
                  <a:lnTo>
                    <a:pt x="239" y="1430"/>
                  </a:lnTo>
                  <a:lnTo>
                    <a:pt x="238" y="1430"/>
                  </a:lnTo>
                  <a:lnTo>
                    <a:pt x="236" y="1430"/>
                  </a:lnTo>
                  <a:lnTo>
                    <a:pt x="238" y="1430"/>
                  </a:lnTo>
                  <a:lnTo>
                    <a:pt x="238" y="1428"/>
                  </a:lnTo>
                  <a:lnTo>
                    <a:pt x="236" y="1428"/>
                  </a:lnTo>
                  <a:close/>
                  <a:moveTo>
                    <a:pt x="208" y="1484"/>
                  </a:moveTo>
                  <a:lnTo>
                    <a:pt x="208" y="1485"/>
                  </a:lnTo>
                  <a:lnTo>
                    <a:pt x="210" y="1485"/>
                  </a:lnTo>
                  <a:lnTo>
                    <a:pt x="210" y="1484"/>
                  </a:lnTo>
                  <a:lnTo>
                    <a:pt x="210" y="1485"/>
                  </a:lnTo>
                  <a:lnTo>
                    <a:pt x="210" y="1487"/>
                  </a:lnTo>
                  <a:lnTo>
                    <a:pt x="208" y="1487"/>
                  </a:lnTo>
                  <a:lnTo>
                    <a:pt x="210" y="1487"/>
                  </a:lnTo>
                  <a:lnTo>
                    <a:pt x="208" y="1487"/>
                  </a:lnTo>
                  <a:lnTo>
                    <a:pt x="208" y="1488"/>
                  </a:lnTo>
                  <a:lnTo>
                    <a:pt x="210" y="1488"/>
                  </a:lnTo>
                  <a:lnTo>
                    <a:pt x="210" y="1487"/>
                  </a:lnTo>
                  <a:lnTo>
                    <a:pt x="210" y="1488"/>
                  </a:lnTo>
                  <a:lnTo>
                    <a:pt x="210" y="1487"/>
                  </a:lnTo>
                  <a:lnTo>
                    <a:pt x="212" y="1487"/>
                  </a:lnTo>
                  <a:lnTo>
                    <a:pt x="212" y="1488"/>
                  </a:lnTo>
                  <a:lnTo>
                    <a:pt x="213" y="1488"/>
                  </a:lnTo>
                  <a:lnTo>
                    <a:pt x="212" y="1488"/>
                  </a:lnTo>
                  <a:lnTo>
                    <a:pt x="210" y="1488"/>
                  </a:lnTo>
                  <a:lnTo>
                    <a:pt x="212" y="1488"/>
                  </a:lnTo>
                  <a:lnTo>
                    <a:pt x="210" y="1488"/>
                  </a:lnTo>
                  <a:lnTo>
                    <a:pt x="208" y="1488"/>
                  </a:lnTo>
                  <a:lnTo>
                    <a:pt x="207" y="1488"/>
                  </a:lnTo>
                  <a:lnTo>
                    <a:pt x="208" y="1488"/>
                  </a:lnTo>
                  <a:lnTo>
                    <a:pt x="207" y="1488"/>
                  </a:lnTo>
                  <a:lnTo>
                    <a:pt x="207" y="1487"/>
                  </a:lnTo>
                  <a:lnTo>
                    <a:pt x="205" y="1487"/>
                  </a:lnTo>
                  <a:lnTo>
                    <a:pt x="207" y="1487"/>
                  </a:lnTo>
                  <a:lnTo>
                    <a:pt x="208" y="1487"/>
                  </a:lnTo>
                  <a:lnTo>
                    <a:pt x="207" y="1487"/>
                  </a:lnTo>
                  <a:lnTo>
                    <a:pt x="205" y="1485"/>
                  </a:lnTo>
                  <a:lnTo>
                    <a:pt x="205" y="1487"/>
                  </a:lnTo>
                  <a:lnTo>
                    <a:pt x="205" y="1485"/>
                  </a:lnTo>
                  <a:lnTo>
                    <a:pt x="204" y="1485"/>
                  </a:lnTo>
                  <a:lnTo>
                    <a:pt x="205" y="1485"/>
                  </a:lnTo>
                  <a:lnTo>
                    <a:pt x="204" y="1485"/>
                  </a:lnTo>
                  <a:lnTo>
                    <a:pt x="205" y="1485"/>
                  </a:lnTo>
                  <a:lnTo>
                    <a:pt x="205" y="1484"/>
                  </a:lnTo>
                  <a:lnTo>
                    <a:pt x="205" y="1485"/>
                  </a:lnTo>
                  <a:lnTo>
                    <a:pt x="207" y="1485"/>
                  </a:lnTo>
                  <a:lnTo>
                    <a:pt x="205" y="1485"/>
                  </a:lnTo>
                  <a:lnTo>
                    <a:pt x="207" y="1485"/>
                  </a:lnTo>
                  <a:lnTo>
                    <a:pt x="207" y="1484"/>
                  </a:lnTo>
                  <a:lnTo>
                    <a:pt x="207" y="1485"/>
                  </a:lnTo>
                  <a:lnTo>
                    <a:pt x="208" y="1485"/>
                  </a:lnTo>
                  <a:lnTo>
                    <a:pt x="208" y="1484"/>
                  </a:lnTo>
                  <a:close/>
                  <a:moveTo>
                    <a:pt x="187" y="1451"/>
                  </a:moveTo>
                  <a:lnTo>
                    <a:pt x="187" y="1453"/>
                  </a:lnTo>
                  <a:lnTo>
                    <a:pt x="189" y="1453"/>
                  </a:lnTo>
                  <a:lnTo>
                    <a:pt x="189" y="1451"/>
                  </a:lnTo>
                  <a:lnTo>
                    <a:pt x="191" y="1451"/>
                  </a:lnTo>
                  <a:lnTo>
                    <a:pt x="191" y="1453"/>
                  </a:lnTo>
                  <a:lnTo>
                    <a:pt x="192" y="1453"/>
                  </a:lnTo>
                  <a:lnTo>
                    <a:pt x="191" y="1451"/>
                  </a:lnTo>
                  <a:lnTo>
                    <a:pt x="192" y="1451"/>
                  </a:lnTo>
                  <a:lnTo>
                    <a:pt x="192" y="1453"/>
                  </a:lnTo>
                  <a:lnTo>
                    <a:pt x="192" y="1454"/>
                  </a:lnTo>
                  <a:lnTo>
                    <a:pt x="191" y="1454"/>
                  </a:lnTo>
                  <a:lnTo>
                    <a:pt x="189" y="1454"/>
                  </a:lnTo>
                  <a:lnTo>
                    <a:pt x="189" y="1453"/>
                  </a:lnTo>
                  <a:lnTo>
                    <a:pt x="187" y="1453"/>
                  </a:lnTo>
                  <a:lnTo>
                    <a:pt x="187" y="1454"/>
                  </a:lnTo>
                  <a:lnTo>
                    <a:pt x="187" y="1456"/>
                  </a:lnTo>
                  <a:lnTo>
                    <a:pt x="187" y="1454"/>
                  </a:lnTo>
                  <a:lnTo>
                    <a:pt x="186" y="1456"/>
                  </a:lnTo>
                  <a:lnTo>
                    <a:pt x="186" y="1454"/>
                  </a:lnTo>
                  <a:lnTo>
                    <a:pt x="186" y="1453"/>
                  </a:lnTo>
                  <a:lnTo>
                    <a:pt x="187" y="1453"/>
                  </a:lnTo>
                  <a:lnTo>
                    <a:pt x="187" y="1451"/>
                  </a:lnTo>
                  <a:close/>
                  <a:moveTo>
                    <a:pt x="256" y="1436"/>
                  </a:moveTo>
                  <a:lnTo>
                    <a:pt x="257" y="1436"/>
                  </a:lnTo>
                  <a:lnTo>
                    <a:pt x="259" y="1438"/>
                  </a:lnTo>
                  <a:lnTo>
                    <a:pt x="261" y="1440"/>
                  </a:lnTo>
                  <a:lnTo>
                    <a:pt x="261" y="1441"/>
                  </a:lnTo>
                  <a:lnTo>
                    <a:pt x="259" y="1441"/>
                  </a:lnTo>
                  <a:lnTo>
                    <a:pt x="257" y="1440"/>
                  </a:lnTo>
                  <a:lnTo>
                    <a:pt x="259" y="1440"/>
                  </a:lnTo>
                  <a:lnTo>
                    <a:pt x="257" y="1440"/>
                  </a:lnTo>
                  <a:lnTo>
                    <a:pt x="257" y="1438"/>
                  </a:lnTo>
                  <a:lnTo>
                    <a:pt x="257" y="1440"/>
                  </a:lnTo>
                  <a:lnTo>
                    <a:pt x="257" y="1441"/>
                  </a:lnTo>
                  <a:lnTo>
                    <a:pt x="257" y="1440"/>
                  </a:lnTo>
                  <a:lnTo>
                    <a:pt x="256" y="1440"/>
                  </a:lnTo>
                  <a:lnTo>
                    <a:pt x="256" y="1438"/>
                  </a:lnTo>
                  <a:lnTo>
                    <a:pt x="254" y="1438"/>
                  </a:lnTo>
                  <a:lnTo>
                    <a:pt x="256" y="1438"/>
                  </a:lnTo>
                  <a:lnTo>
                    <a:pt x="256" y="1436"/>
                  </a:lnTo>
                  <a:lnTo>
                    <a:pt x="256" y="1438"/>
                  </a:lnTo>
                  <a:lnTo>
                    <a:pt x="256" y="1436"/>
                  </a:lnTo>
                  <a:close/>
                  <a:moveTo>
                    <a:pt x="215" y="1466"/>
                  </a:moveTo>
                  <a:lnTo>
                    <a:pt x="217" y="1466"/>
                  </a:lnTo>
                  <a:lnTo>
                    <a:pt x="217" y="1467"/>
                  </a:lnTo>
                  <a:lnTo>
                    <a:pt x="218" y="1467"/>
                  </a:lnTo>
                  <a:lnTo>
                    <a:pt x="218" y="1469"/>
                  </a:lnTo>
                  <a:lnTo>
                    <a:pt x="218" y="1467"/>
                  </a:lnTo>
                  <a:lnTo>
                    <a:pt x="218" y="1469"/>
                  </a:lnTo>
                  <a:lnTo>
                    <a:pt x="218" y="1471"/>
                  </a:lnTo>
                  <a:lnTo>
                    <a:pt x="217" y="1471"/>
                  </a:lnTo>
                  <a:lnTo>
                    <a:pt x="217" y="1472"/>
                  </a:lnTo>
                  <a:lnTo>
                    <a:pt x="215" y="1471"/>
                  </a:lnTo>
                  <a:lnTo>
                    <a:pt x="217" y="1471"/>
                  </a:lnTo>
                  <a:lnTo>
                    <a:pt x="215" y="1471"/>
                  </a:lnTo>
                  <a:lnTo>
                    <a:pt x="217" y="1471"/>
                  </a:lnTo>
                  <a:lnTo>
                    <a:pt x="215" y="1471"/>
                  </a:lnTo>
                  <a:lnTo>
                    <a:pt x="215" y="1469"/>
                  </a:lnTo>
                  <a:lnTo>
                    <a:pt x="215" y="1467"/>
                  </a:lnTo>
                  <a:lnTo>
                    <a:pt x="215" y="1466"/>
                  </a:lnTo>
                  <a:close/>
                  <a:moveTo>
                    <a:pt x="195" y="1064"/>
                  </a:moveTo>
                  <a:lnTo>
                    <a:pt x="197" y="1064"/>
                  </a:lnTo>
                  <a:lnTo>
                    <a:pt x="199" y="1064"/>
                  </a:lnTo>
                  <a:lnTo>
                    <a:pt x="199" y="1066"/>
                  </a:lnTo>
                  <a:lnTo>
                    <a:pt x="197" y="1066"/>
                  </a:lnTo>
                  <a:lnTo>
                    <a:pt x="199" y="1066"/>
                  </a:lnTo>
                  <a:lnTo>
                    <a:pt x="199" y="1067"/>
                  </a:lnTo>
                  <a:lnTo>
                    <a:pt x="200" y="1067"/>
                  </a:lnTo>
                  <a:lnTo>
                    <a:pt x="199" y="1067"/>
                  </a:lnTo>
                  <a:lnTo>
                    <a:pt x="200" y="1067"/>
                  </a:lnTo>
                  <a:lnTo>
                    <a:pt x="199" y="1067"/>
                  </a:lnTo>
                  <a:lnTo>
                    <a:pt x="197" y="1067"/>
                  </a:lnTo>
                  <a:lnTo>
                    <a:pt x="197" y="1069"/>
                  </a:lnTo>
                  <a:lnTo>
                    <a:pt x="197" y="1067"/>
                  </a:lnTo>
                  <a:lnTo>
                    <a:pt x="197" y="1069"/>
                  </a:lnTo>
                  <a:lnTo>
                    <a:pt x="197" y="1067"/>
                  </a:lnTo>
                  <a:lnTo>
                    <a:pt x="195" y="1067"/>
                  </a:lnTo>
                  <a:lnTo>
                    <a:pt x="194" y="1067"/>
                  </a:lnTo>
                  <a:lnTo>
                    <a:pt x="194" y="1066"/>
                  </a:lnTo>
                  <a:lnTo>
                    <a:pt x="194" y="1067"/>
                  </a:lnTo>
                  <a:lnTo>
                    <a:pt x="192" y="1067"/>
                  </a:lnTo>
                  <a:lnTo>
                    <a:pt x="192" y="1066"/>
                  </a:lnTo>
                  <a:lnTo>
                    <a:pt x="194" y="1066"/>
                  </a:lnTo>
                  <a:lnTo>
                    <a:pt x="195" y="1066"/>
                  </a:lnTo>
                  <a:lnTo>
                    <a:pt x="195" y="1067"/>
                  </a:lnTo>
                  <a:lnTo>
                    <a:pt x="197" y="1067"/>
                  </a:lnTo>
                  <a:lnTo>
                    <a:pt x="197" y="1066"/>
                  </a:lnTo>
                  <a:lnTo>
                    <a:pt x="195" y="1066"/>
                  </a:lnTo>
                  <a:lnTo>
                    <a:pt x="197" y="1066"/>
                  </a:lnTo>
                  <a:lnTo>
                    <a:pt x="197" y="1064"/>
                  </a:lnTo>
                  <a:lnTo>
                    <a:pt x="195" y="1064"/>
                  </a:lnTo>
                  <a:close/>
                  <a:moveTo>
                    <a:pt x="340" y="1480"/>
                  </a:moveTo>
                  <a:lnTo>
                    <a:pt x="340" y="1479"/>
                  </a:lnTo>
                  <a:lnTo>
                    <a:pt x="342" y="1480"/>
                  </a:lnTo>
                  <a:lnTo>
                    <a:pt x="340" y="1480"/>
                  </a:lnTo>
                  <a:lnTo>
                    <a:pt x="340" y="1482"/>
                  </a:lnTo>
                  <a:lnTo>
                    <a:pt x="340" y="1484"/>
                  </a:lnTo>
                  <a:lnTo>
                    <a:pt x="340" y="1485"/>
                  </a:lnTo>
                  <a:lnTo>
                    <a:pt x="340" y="1484"/>
                  </a:lnTo>
                  <a:lnTo>
                    <a:pt x="342" y="1484"/>
                  </a:lnTo>
                  <a:lnTo>
                    <a:pt x="342" y="1485"/>
                  </a:lnTo>
                  <a:lnTo>
                    <a:pt x="342" y="1487"/>
                  </a:lnTo>
                  <a:lnTo>
                    <a:pt x="340" y="1488"/>
                  </a:lnTo>
                  <a:lnTo>
                    <a:pt x="339" y="1487"/>
                  </a:lnTo>
                  <a:lnTo>
                    <a:pt x="339" y="1485"/>
                  </a:lnTo>
                  <a:lnTo>
                    <a:pt x="340" y="1485"/>
                  </a:lnTo>
                  <a:lnTo>
                    <a:pt x="340" y="1484"/>
                  </a:lnTo>
                  <a:lnTo>
                    <a:pt x="339" y="1484"/>
                  </a:lnTo>
                  <a:lnTo>
                    <a:pt x="339" y="1482"/>
                  </a:lnTo>
                  <a:lnTo>
                    <a:pt x="340" y="1482"/>
                  </a:lnTo>
                  <a:lnTo>
                    <a:pt x="339" y="1480"/>
                  </a:lnTo>
                  <a:lnTo>
                    <a:pt x="340" y="1480"/>
                  </a:lnTo>
                  <a:close/>
                  <a:moveTo>
                    <a:pt x="339" y="1425"/>
                  </a:moveTo>
                  <a:lnTo>
                    <a:pt x="340" y="1423"/>
                  </a:lnTo>
                  <a:lnTo>
                    <a:pt x="342" y="1423"/>
                  </a:lnTo>
                  <a:lnTo>
                    <a:pt x="340" y="1425"/>
                  </a:lnTo>
                  <a:lnTo>
                    <a:pt x="340" y="1427"/>
                  </a:lnTo>
                  <a:lnTo>
                    <a:pt x="339" y="1427"/>
                  </a:lnTo>
                  <a:lnTo>
                    <a:pt x="340" y="1427"/>
                  </a:lnTo>
                  <a:lnTo>
                    <a:pt x="339" y="1427"/>
                  </a:lnTo>
                  <a:lnTo>
                    <a:pt x="339" y="1428"/>
                  </a:lnTo>
                  <a:lnTo>
                    <a:pt x="337" y="1428"/>
                  </a:lnTo>
                  <a:lnTo>
                    <a:pt x="335" y="1428"/>
                  </a:lnTo>
                  <a:lnTo>
                    <a:pt x="335" y="1427"/>
                  </a:lnTo>
                  <a:lnTo>
                    <a:pt x="337" y="1427"/>
                  </a:lnTo>
                  <a:lnTo>
                    <a:pt x="335" y="1427"/>
                  </a:lnTo>
                  <a:lnTo>
                    <a:pt x="337" y="1425"/>
                  </a:lnTo>
                  <a:lnTo>
                    <a:pt x="339" y="1425"/>
                  </a:lnTo>
                  <a:close/>
                  <a:moveTo>
                    <a:pt x="415" y="1482"/>
                  </a:moveTo>
                  <a:lnTo>
                    <a:pt x="417" y="1482"/>
                  </a:lnTo>
                  <a:lnTo>
                    <a:pt x="418" y="1482"/>
                  </a:lnTo>
                  <a:lnTo>
                    <a:pt x="418" y="1480"/>
                  </a:lnTo>
                  <a:lnTo>
                    <a:pt x="418" y="1482"/>
                  </a:lnTo>
                  <a:lnTo>
                    <a:pt x="420" y="1482"/>
                  </a:lnTo>
                  <a:lnTo>
                    <a:pt x="418" y="1482"/>
                  </a:lnTo>
                  <a:lnTo>
                    <a:pt x="418" y="1484"/>
                  </a:lnTo>
                  <a:lnTo>
                    <a:pt x="420" y="1484"/>
                  </a:lnTo>
                  <a:lnTo>
                    <a:pt x="418" y="1484"/>
                  </a:lnTo>
                  <a:lnTo>
                    <a:pt x="420" y="1484"/>
                  </a:lnTo>
                  <a:lnTo>
                    <a:pt x="420" y="1485"/>
                  </a:lnTo>
                  <a:lnTo>
                    <a:pt x="418" y="1485"/>
                  </a:lnTo>
                  <a:lnTo>
                    <a:pt x="420" y="1485"/>
                  </a:lnTo>
                  <a:lnTo>
                    <a:pt x="418" y="1485"/>
                  </a:lnTo>
                  <a:lnTo>
                    <a:pt x="418" y="1484"/>
                  </a:lnTo>
                  <a:lnTo>
                    <a:pt x="418" y="1485"/>
                  </a:lnTo>
                  <a:lnTo>
                    <a:pt x="417" y="1485"/>
                  </a:lnTo>
                  <a:lnTo>
                    <a:pt x="418" y="1484"/>
                  </a:lnTo>
                  <a:lnTo>
                    <a:pt x="417" y="1484"/>
                  </a:lnTo>
                  <a:lnTo>
                    <a:pt x="417" y="1485"/>
                  </a:lnTo>
                  <a:lnTo>
                    <a:pt x="415" y="1485"/>
                  </a:lnTo>
                  <a:lnTo>
                    <a:pt x="413" y="1485"/>
                  </a:lnTo>
                  <a:lnTo>
                    <a:pt x="415" y="1484"/>
                  </a:lnTo>
                  <a:lnTo>
                    <a:pt x="413" y="1484"/>
                  </a:lnTo>
                  <a:lnTo>
                    <a:pt x="413" y="1485"/>
                  </a:lnTo>
                  <a:lnTo>
                    <a:pt x="413" y="1484"/>
                  </a:lnTo>
                  <a:lnTo>
                    <a:pt x="415" y="1484"/>
                  </a:lnTo>
                  <a:lnTo>
                    <a:pt x="413" y="1484"/>
                  </a:lnTo>
                  <a:lnTo>
                    <a:pt x="415" y="1482"/>
                  </a:lnTo>
                  <a:close/>
                  <a:moveTo>
                    <a:pt x="199" y="1153"/>
                  </a:moveTo>
                  <a:lnTo>
                    <a:pt x="199" y="1152"/>
                  </a:lnTo>
                  <a:lnTo>
                    <a:pt x="199" y="1150"/>
                  </a:lnTo>
                  <a:lnTo>
                    <a:pt x="199" y="1152"/>
                  </a:lnTo>
                  <a:lnTo>
                    <a:pt x="199" y="1150"/>
                  </a:lnTo>
                  <a:lnTo>
                    <a:pt x="199" y="1149"/>
                  </a:lnTo>
                  <a:lnTo>
                    <a:pt x="199" y="1150"/>
                  </a:lnTo>
                  <a:lnTo>
                    <a:pt x="200" y="1150"/>
                  </a:lnTo>
                  <a:lnTo>
                    <a:pt x="200" y="1152"/>
                  </a:lnTo>
                  <a:lnTo>
                    <a:pt x="200" y="1153"/>
                  </a:lnTo>
                  <a:lnTo>
                    <a:pt x="200" y="1155"/>
                  </a:lnTo>
                  <a:lnTo>
                    <a:pt x="200" y="1153"/>
                  </a:lnTo>
                  <a:lnTo>
                    <a:pt x="200" y="1155"/>
                  </a:lnTo>
                  <a:lnTo>
                    <a:pt x="202" y="1155"/>
                  </a:lnTo>
                  <a:lnTo>
                    <a:pt x="202" y="1158"/>
                  </a:lnTo>
                  <a:lnTo>
                    <a:pt x="200" y="1158"/>
                  </a:lnTo>
                  <a:lnTo>
                    <a:pt x="200" y="1157"/>
                  </a:lnTo>
                  <a:lnTo>
                    <a:pt x="200" y="1158"/>
                  </a:lnTo>
                  <a:lnTo>
                    <a:pt x="200" y="1155"/>
                  </a:lnTo>
                  <a:lnTo>
                    <a:pt x="199" y="1155"/>
                  </a:lnTo>
                  <a:lnTo>
                    <a:pt x="199" y="1158"/>
                  </a:lnTo>
                  <a:lnTo>
                    <a:pt x="199" y="1157"/>
                  </a:lnTo>
                  <a:lnTo>
                    <a:pt x="199" y="1158"/>
                  </a:lnTo>
                  <a:lnTo>
                    <a:pt x="199" y="1157"/>
                  </a:lnTo>
                  <a:lnTo>
                    <a:pt x="199" y="1155"/>
                  </a:lnTo>
                  <a:lnTo>
                    <a:pt x="199" y="1153"/>
                  </a:lnTo>
                  <a:lnTo>
                    <a:pt x="200" y="1153"/>
                  </a:lnTo>
                  <a:lnTo>
                    <a:pt x="199" y="1153"/>
                  </a:lnTo>
                  <a:close/>
                  <a:moveTo>
                    <a:pt x="592" y="1383"/>
                  </a:moveTo>
                  <a:lnTo>
                    <a:pt x="594" y="1381"/>
                  </a:lnTo>
                  <a:lnTo>
                    <a:pt x="596" y="1383"/>
                  </a:lnTo>
                  <a:lnTo>
                    <a:pt x="596" y="1384"/>
                  </a:lnTo>
                  <a:lnTo>
                    <a:pt x="597" y="1384"/>
                  </a:lnTo>
                  <a:lnTo>
                    <a:pt x="596" y="1384"/>
                  </a:lnTo>
                  <a:lnTo>
                    <a:pt x="594" y="1384"/>
                  </a:lnTo>
                  <a:lnTo>
                    <a:pt x="596" y="1384"/>
                  </a:lnTo>
                  <a:lnTo>
                    <a:pt x="597" y="1386"/>
                  </a:lnTo>
                  <a:lnTo>
                    <a:pt x="596" y="1386"/>
                  </a:lnTo>
                  <a:lnTo>
                    <a:pt x="596" y="1384"/>
                  </a:lnTo>
                  <a:lnTo>
                    <a:pt x="596" y="1386"/>
                  </a:lnTo>
                  <a:lnTo>
                    <a:pt x="594" y="1386"/>
                  </a:lnTo>
                  <a:lnTo>
                    <a:pt x="596" y="1386"/>
                  </a:lnTo>
                  <a:lnTo>
                    <a:pt x="594" y="1386"/>
                  </a:lnTo>
                  <a:lnTo>
                    <a:pt x="596" y="1388"/>
                  </a:lnTo>
                  <a:lnTo>
                    <a:pt x="594" y="1388"/>
                  </a:lnTo>
                  <a:lnTo>
                    <a:pt x="594" y="1386"/>
                  </a:lnTo>
                  <a:lnTo>
                    <a:pt x="592" y="1386"/>
                  </a:lnTo>
                  <a:lnTo>
                    <a:pt x="592" y="1384"/>
                  </a:lnTo>
                  <a:lnTo>
                    <a:pt x="592" y="1386"/>
                  </a:lnTo>
                  <a:lnTo>
                    <a:pt x="591" y="1386"/>
                  </a:lnTo>
                  <a:lnTo>
                    <a:pt x="592" y="1386"/>
                  </a:lnTo>
                  <a:lnTo>
                    <a:pt x="591" y="1386"/>
                  </a:lnTo>
                  <a:lnTo>
                    <a:pt x="589" y="1386"/>
                  </a:lnTo>
                  <a:lnTo>
                    <a:pt x="589" y="1384"/>
                  </a:lnTo>
                  <a:lnTo>
                    <a:pt x="591" y="1384"/>
                  </a:lnTo>
                  <a:lnTo>
                    <a:pt x="592" y="1384"/>
                  </a:lnTo>
                  <a:lnTo>
                    <a:pt x="594" y="1384"/>
                  </a:lnTo>
                  <a:lnTo>
                    <a:pt x="592" y="1384"/>
                  </a:lnTo>
                  <a:lnTo>
                    <a:pt x="594" y="1384"/>
                  </a:lnTo>
                  <a:lnTo>
                    <a:pt x="592" y="1384"/>
                  </a:lnTo>
                  <a:lnTo>
                    <a:pt x="592" y="1383"/>
                  </a:lnTo>
                  <a:lnTo>
                    <a:pt x="594" y="1383"/>
                  </a:lnTo>
                  <a:lnTo>
                    <a:pt x="592" y="1383"/>
                  </a:lnTo>
                  <a:lnTo>
                    <a:pt x="594" y="1383"/>
                  </a:lnTo>
                  <a:lnTo>
                    <a:pt x="592" y="1383"/>
                  </a:lnTo>
                  <a:close/>
                  <a:moveTo>
                    <a:pt x="186" y="1129"/>
                  </a:moveTo>
                  <a:lnTo>
                    <a:pt x="187" y="1129"/>
                  </a:lnTo>
                  <a:lnTo>
                    <a:pt x="189" y="1131"/>
                  </a:lnTo>
                  <a:lnTo>
                    <a:pt x="189" y="1132"/>
                  </a:lnTo>
                  <a:lnTo>
                    <a:pt x="189" y="1131"/>
                  </a:lnTo>
                  <a:lnTo>
                    <a:pt x="189" y="1132"/>
                  </a:lnTo>
                  <a:lnTo>
                    <a:pt x="189" y="1134"/>
                  </a:lnTo>
                  <a:lnTo>
                    <a:pt x="189" y="1136"/>
                  </a:lnTo>
                  <a:lnTo>
                    <a:pt x="187" y="1136"/>
                  </a:lnTo>
                  <a:lnTo>
                    <a:pt x="187" y="1134"/>
                  </a:lnTo>
                  <a:lnTo>
                    <a:pt x="186" y="1132"/>
                  </a:lnTo>
                  <a:lnTo>
                    <a:pt x="187" y="1132"/>
                  </a:lnTo>
                  <a:lnTo>
                    <a:pt x="187" y="1131"/>
                  </a:lnTo>
                  <a:lnTo>
                    <a:pt x="187" y="1132"/>
                  </a:lnTo>
                  <a:lnTo>
                    <a:pt x="186" y="1132"/>
                  </a:lnTo>
                  <a:lnTo>
                    <a:pt x="186" y="1131"/>
                  </a:lnTo>
                  <a:lnTo>
                    <a:pt x="187" y="1131"/>
                  </a:lnTo>
                  <a:lnTo>
                    <a:pt x="186" y="1131"/>
                  </a:lnTo>
                  <a:lnTo>
                    <a:pt x="187" y="1131"/>
                  </a:lnTo>
                  <a:lnTo>
                    <a:pt x="186" y="1131"/>
                  </a:lnTo>
                  <a:lnTo>
                    <a:pt x="186" y="1129"/>
                  </a:lnTo>
                  <a:close/>
                  <a:moveTo>
                    <a:pt x="317" y="1419"/>
                  </a:moveTo>
                  <a:lnTo>
                    <a:pt x="317" y="1420"/>
                  </a:lnTo>
                  <a:lnTo>
                    <a:pt x="316" y="1420"/>
                  </a:lnTo>
                  <a:lnTo>
                    <a:pt x="316" y="1422"/>
                  </a:lnTo>
                  <a:lnTo>
                    <a:pt x="314" y="1422"/>
                  </a:lnTo>
                  <a:lnTo>
                    <a:pt x="313" y="1422"/>
                  </a:lnTo>
                  <a:lnTo>
                    <a:pt x="313" y="1423"/>
                  </a:lnTo>
                  <a:lnTo>
                    <a:pt x="313" y="1425"/>
                  </a:lnTo>
                  <a:lnTo>
                    <a:pt x="311" y="1425"/>
                  </a:lnTo>
                  <a:lnTo>
                    <a:pt x="311" y="1423"/>
                  </a:lnTo>
                  <a:lnTo>
                    <a:pt x="311" y="1422"/>
                  </a:lnTo>
                  <a:lnTo>
                    <a:pt x="311" y="1423"/>
                  </a:lnTo>
                  <a:lnTo>
                    <a:pt x="309" y="1423"/>
                  </a:lnTo>
                  <a:lnTo>
                    <a:pt x="311" y="1423"/>
                  </a:lnTo>
                  <a:lnTo>
                    <a:pt x="309" y="1422"/>
                  </a:lnTo>
                  <a:lnTo>
                    <a:pt x="311" y="1422"/>
                  </a:lnTo>
                  <a:lnTo>
                    <a:pt x="311" y="1420"/>
                  </a:lnTo>
                  <a:lnTo>
                    <a:pt x="313" y="1420"/>
                  </a:lnTo>
                  <a:lnTo>
                    <a:pt x="314" y="1420"/>
                  </a:lnTo>
                  <a:lnTo>
                    <a:pt x="314" y="1419"/>
                  </a:lnTo>
                  <a:lnTo>
                    <a:pt x="316" y="1419"/>
                  </a:lnTo>
                  <a:lnTo>
                    <a:pt x="317" y="1419"/>
                  </a:lnTo>
                  <a:close/>
                  <a:moveTo>
                    <a:pt x="184" y="1066"/>
                  </a:moveTo>
                  <a:lnTo>
                    <a:pt x="184" y="1064"/>
                  </a:lnTo>
                  <a:lnTo>
                    <a:pt x="184" y="1066"/>
                  </a:lnTo>
                  <a:lnTo>
                    <a:pt x="184" y="1064"/>
                  </a:lnTo>
                  <a:lnTo>
                    <a:pt x="184" y="1066"/>
                  </a:lnTo>
                  <a:lnTo>
                    <a:pt x="186" y="1066"/>
                  </a:lnTo>
                  <a:lnTo>
                    <a:pt x="184" y="1066"/>
                  </a:lnTo>
                  <a:lnTo>
                    <a:pt x="186" y="1066"/>
                  </a:lnTo>
                  <a:lnTo>
                    <a:pt x="186" y="1067"/>
                  </a:lnTo>
                  <a:lnTo>
                    <a:pt x="187" y="1066"/>
                  </a:lnTo>
                  <a:lnTo>
                    <a:pt x="187" y="1067"/>
                  </a:lnTo>
                  <a:lnTo>
                    <a:pt x="187" y="1069"/>
                  </a:lnTo>
                  <a:lnTo>
                    <a:pt x="189" y="1069"/>
                  </a:lnTo>
                  <a:lnTo>
                    <a:pt x="189" y="1070"/>
                  </a:lnTo>
                  <a:lnTo>
                    <a:pt x="187" y="1070"/>
                  </a:lnTo>
                  <a:lnTo>
                    <a:pt x="187" y="1069"/>
                  </a:lnTo>
                  <a:lnTo>
                    <a:pt x="186" y="1069"/>
                  </a:lnTo>
                  <a:lnTo>
                    <a:pt x="184" y="1069"/>
                  </a:lnTo>
                  <a:lnTo>
                    <a:pt x="184" y="1067"/>
                  </a:lnTo>
                  <a:lnTo>
                    <a:pt x="184" y="1069"/>
                  </a:lnTo>
                  <a:lnTo>
                    <a:pt x="184" y="1067"/>
                  </a:lnTo>
                  <a:lnTo>
                    <a:pt x="182" y="1067"/>
                  </a:lnTo>
                  <a:lnTo>
                    <a:pt x="182" y="1066"/>
                  </a:lnTo>
                  <a:lnTo>
                    <a:pt x="182" y="1067"/>
                  </a:lnTo>
                  <a:lnTo>
                    <a:pt x="184" y="1066"/>
                  </a:lnTo>
                  <a:close/>
                  <a:moveTo>
                    <a:pt x="379" y="1464"/>
                  </a:moveTo>
                  <a:lnTo>
                    <a:pt x="381" y="1464"/>
                  </a:lnTo>
                  <a:lnTo>
                    <a:pt x="381" y="1466"/>
                  </a:lnTo>
                  <a:lnTo>
                    <a:pt x="382" y="1466"/>
                  </a:lnTo>
                  <a:lnTo>
                    <a:pt x="382" y="1467"/>
                  </a:lnTo>
                  <a:lnTo>
                    <a:pt x="382" y="1466"/>
                  </a:lnTo>
                  <a:lnTo>
                    <a:pt x="381" y="1466"/>
                  </a:lnTo>
                  <a:lnTo>
                    <a:pt x="382" y="1467"/>
                  </a:lnTo>
                  <a:lnTo>
                    <a:pt x="381" y="1467"/>
                  </a:lnTo>
                  <a:lnTo>
                    <a:pt x="381" y="1469"/>
                  </a:lnTo>
                  <a:lnTo>
                    <a:pt x="379" y="1469"/>
                  </a:lnTo>
                  <a:lnTo>
                    <a:pt x="381" y="1471"/>
                  </a:lnTo>
                  <a:lnTo>
                    <a:pt x="379" y="1471"/>
                  </a:lnTo>
                  <a:lnTo>
                    <a:pt x="378" y="1471"/>
                  </a:lnTo>
                  <a:lnTo>
                    <a:pt x="378" y="1469"/>
                  </a:lnTo>
                  <a:lnTo>
                    <a:pt x="379" y="1469"/>
                  </a:lnTo>
                  <a:lnTo>
                    <a:pt x="379" y="1467"/>
                  </a:lnTo>
                  <a:lnTo>
                    <a:pt x="379" y="1466"/>
                  </a:lnTo>
                  <a:lnTo>
                    <a:pt x="379" y="1464"/>
                  </a:lnTo>
                  <a:close/>
                  <a:moveTo>
                    <a:pt x="300" y="1462"/>
                  </a:moveTo>
                  <a:lnTo>
                    <a:pt x="301" y="1462"/>
                  </a:lnTo>
                  <a:lnTo>
                    <a:pt x="303" y="1462"/>
                  </a:lnTo>
                  <a:lnTo>
                    <a:pt x="304" y="1462"/>
                  </a:lnTo>
                  <a:lnTo>
                    <a:pt x="304" y="1464"/>
                  </a:lnTo>
                  <a:lnTo>
                    <a:pt x="303" y="1464"/>
                  </a:lnTo>
                  <a:lnTo>
                    <a:pt x="303" y="1462"/>
                  </a:lnTo>
                  <a:lnTo>
                    <a:pt x="303" y="1464"/>
                  </a:lnTo>
                  <a:lnTo>
                    <a:pt x="304" y="1464"/>
                  </a:lnTo>
                  <a:lnTo>
                    <a:pt x="303" y="1464"/>
                  </a:lnTo>
                  <a:lnTo>
                    <a:pt x="303" y="1466"/>
                  </a:lnTo>
                  <a:lnTo>
                    <a:pt x="301" y="1466"/>
                  </a:lnTo>
                  <a:lnTo>
                    <a:pt x="303" y="1466"/>
                  </a:lnTo>
                  <a:lnTo>
                    <a:pt x="301" y="1466"/>
                  </a:lnTo>
                  <a:lnTo>
                    <a:pt x="300" y="1467"/>
                  </a:lnTo>
                  <a:lnTo>
                    <a:pt x="300" y="1466"/>
                  </a:lnTo>
                  <a:lnTo>
                    <a:pt x="300" y="1464"/>
                  </a:lnTo>
                  <a:lnTo>
                    <a:pt x="301" y="1462"/>
                  </a:lnTo>
                  <a:lnTo>
                    <a:pt x="300" y="1462"/>
                  </a:lnTo>
                  <a:close/>
                  <a:moveTo>
                    <a:pt x="215" y="1477"/>
                  </a:moveTo>
                  <a:lnTo>
                    <a:pt x="217" y="1477"/>
                  </a:lnTo>
                  <a:lnTo>
                    <a:pt x="217" y="1479"/>
                  </a:lnTo>
                  <a:lnTo>
                    <a:pt x="218" y="1479"/>
                  </a:lnTo>
                  <a:lnTo>
                    <a:pt x="218" y="1480"/>
                  </a:lnTo>
                  <a:lnTo>
                    <a:pt x="218" y="1482"/>
                  </a:lnTo>
                  <a:lnTo>
                    <a:pt x="218" y="1484"/>
                  </a:lnTo>
                  <a:lnTo>
                    <a:pt x="217" y="1484"/>
                  </a:lnTo>
                  <a:lnTo>
                    <a:pt x="217" y="1482"/>
                  </a:lnTo>
                  <a:lnTo>
                    <a:pt x="215" y="1480"/>
                  </a:lnTo>
                  <a:lnTo>
                    <a:pt x="215" y="1479"/>
                  </a:lnTo>
                  <a:lnTo>
                    <a:pt x="213" y="1479"/>
                  </a:lnTo>
                  <a:lnTo>
                    <a:pt x="215" y="1479"/>
                  </a:lnTo>
                  <a:lnTo>
                    <a:pt x="215" y="1477"/>
                  </a:lnTo>
                  <a:close/>
                  <a:moveTo>
                    <a:pt x="597" y="1375"/>
                  </a:moveTo>
                  <a:lnTo>
                    <a:pt x="599" y="1375"/>
                  </a:lnTo>
                  <a:lnTo>
                    <a:pt x="599" y="1376"/>
                  </a:lnTo>
                  <a:lnTo>
                    <a:pt x="600" y="1376"/>
                  </a:lnTo>
                  <a:lnTo>
                    <a:pt x="602" y="1376"/>
                  </a:lnTo>
                  <a:lnTo>
                    <a:pt x="602" y="1378"/>
                  </a:lnTo>
                  <a:lnTo>
                    <a:pt x="600" y="1378"/>
                  </a:lnTo>
                  <a:lnTo>
                    <a:pt x="600" y="1380"/>
                  </a:lnTo>
                  <a:lnTo>
                    <a:pt x="600" y="1378"/>
                  </a:lnTo>
                  <a:lnTo>
                    <a:pt x="600" y="1380"/>
                  </a:lnTo>
                  <a:lnTo>
                    <a:pt x="599" y="1378"/>
                  </a:lnTo>
                  <a:lnTo>
                    <a:pt x="599" y="1380"/>
                  </a:lnTo>
                  <a:lnTo>
                    <a:pt x="599" y="1378"/>
                  </a:lnTo>
                  <a:lnTo>
                    <a:pt x="597" y="1378"/>
                  </a:lnTo>
                  <a:lnTo>
                    <a:pt x="597" y="1376"/>
                  </a:lnTo>
                  <a:lnTo>
                    <a:pt x="596" y="1376"/>
                  </a:lnTo>
                  <a:lnTo>
                    <a:pt x="596" y="1375"/>
                  </a:lnTo>
                  <a:lnTo>
                    <a:pt x="597" y="1375"/>
                  </a:lnTo>
                  <a:close/>
                  <a:moveTo>
                    <a:pt x="269" y="1456"/>
                  </a:moveTo>
                  <a:lnTo>
                    <a:pt x="267" y="1458"/>
                  </a:lnTo>
                  <a:lnTo>
                    <a:pt x="269" y="1458"/>
                  </a:lnTo>
                  <a:lnTo>
                    <a:pt x="269" y="1456"/>
                  </a:lnTo>
                  <a:lnTo>
                    <a:pt x="270" y="1456"/>
                  </a:lnTo>
                  <a:lnTo>
                    <a:pt x="270" y="1458"/>
                  </a:lnTo>
                  <a:lnTo>
                    <a:pt x="272" y="1458"/>
                  </a:lnTo>
                  <a:lnTo>
                    <a:pt x="270" y="1458"/>
                  </a:lnTo>
                  <a:lnTo>
                    <a:pt x="270" y="1459"/>
                  </a:lnTo>
                  <a:lnTo>
                    <a:pt x="272" y="1459"/>
                  </a:lnTo>
                  <a:lnTo>
                    <a:pt x="270" y="1459"/>
                  </a:lnTo>
                  <a:lnTo>
                    <a:pt x="269" y="1459"/>
                  </a:lnTo>
                  <a:lnTo>
                    <a:pt x="269" y="1461"/>
                  </a:lnTo>
                  <a:lnTo>
                    <a:pt x="267" y="1461"/>
                  </a:lnTo>
                  <a:lnTo>
                    <a:pt x="267" y="1459"/>
                  </a:lnTo>
                  <a:lnTo>
                    <a:pt x="267" y="1458"/>
                  </a:lnTo>
                  <a:lnTo>
                    <a:pt x="267" y="1459"/>
                  </a:lnTo>
                  <a:lnTo>
                    <a:pt x="267" y="1458"/>
                  </a:lnTo>
                  <a:lnTo>
                    <a:pt x="267" y="1456"/>
                  </a:lnTo>
                  <a:lnTo>
                    <a:pt x="269" y="1456"/>
                  </a:lnTo>
                  <a:close/>
                  <a:moveTo>
                    <a:pt x="368" y="726"/>
                  </a:moveTo>
                  <a:lnTo>
                    <a:pt x="369" y="726"/>
                  </a:lnTo>
                  <a:lnTo>
                    <a:pt x="369" y="724"/>
                  </a:lnTo>
                  <a:lnTo>
                    <a:pt x="371" y="724"/>
                  </a:lnTo>
                  <a:lnTo>
                    <a:pt x="371" y="726"/>
                  </a:lnTo>
                  <a:lnTo>
                    <a:pt x="373" y="724"/>
                  </a:lnTo>
                  <a:lnTo>
                    <a:pt x="373" y="726"/>
                  </a:lnTo>
                  <a:lnTo>
                    <a:pt x="374" y="726"/>
                  </a:lnTo>
                  <a:lnTo>
                    <a:pt x="376" y="726"/>
                  </a:lnTo>
                  <a:lnTo>
                    <a:pt x="374" y="726"/>
                  </a:lnTo>
                  <a:lnTo>
                    <a:pt x="374" y="727"/>
                  </a:lnTo>
                  <a:lnTo>
                    <a:pt x="376" y="727"/>
                  </a:lnTo>
                  <a:lnTo>
                    <a:pt x="376" y="729"/>
                  </a:lnTo>
                  <a:lnTo>
                    <a:pt x="374" y="727"/>
                  </a:lnTo>
                  <a:lnTo>
                    <a:pt x="374" y="729"/>
                  </a:lnTo>
                  <a:lnTo>
                    <a:pt x="374" y="727"/>
                  </a:lnTo>
                  <a:lnTo>
                    <a:pt x="373" y="727"/>
                  </a:lnTo>
                  <a:lnTo>
                    <a:pt x="371" y="727"/>
                  </a:lnTo>
                  <a:lnTo>
                    <a:pt x="373" y="726"/>
                  </a:lnTo>
                  <a:lnTo>
                    <a:pt x="371" y="726"/>
                  </a:lnTo>
                  <a:lnTo>
                    <a:pt x="369" y="726"/>
                  </a:lnTo>
                  <a:lnTo>
                    <a:pt x="369" y="727"/>
                  </a:lnTo>
                  <a:lnTo>
                    <a:pt x="368" y="727"/>
                  </a:lnTo>
                  <a:lnTo>
                    <a:pt x="368" y="726"/>
                  </a:lnTo>
                  <a:close/>
                  <a:moveTo>
                    <a:pt x="182" y="1106"/>
                  </a:moveTo>
                  <a:lnTo>
                    <a:pt x="184" y="1106"/>
                  </a:lnTo>
                  <a:lnTo>
                    <a:pt x="184" y="1108"/>
                  </a:lnTo>
                  <a:lnTo>
                    <a:pt x="186" y="1108"/>
                  </a:lnTo>
                  <a:lnTo>
                    <a:pt x="186" y="1110"/>
                  </a:lnTo>
                  <a:lnTo>
                    <a:pt x="184" y="1110"/>
                  </a:lnTo>
                  <a:lnTo>
                    <a:pt x="184" y="1111"/>
                  </a:lnTo>
                  <a:lnTo>
                    <a:pt x="182" y="1111"/>
                  </a:lnTo>
                  <a:lnTo>
                    <a:pt x="182" y="1110"/>
                  </a:lnTo>
                  <a:lnTo>
                    <a:pt x="182" y="1108"/>
                  </a:lnTo>
                  <a:lnTo>
                    <a:pt x="181" y="1106"/>
                  </a:lnTo>
                  <a:lnTo>
                    <a:pt x="182" y="1106"/>
                  </a:lnTo>
                  <a:close/>
                  <a:moveTo>
                    <a:pt x="652" y="1347"/>
                  </a:moveTo>
                  <a:lnTo>
                    <a:pt x="652" y="1349"/>
                  </a:lnTo>
                  <a:lnTo>
                    <a:pt x="652" y="1350"/>
                  </a:lnTo>
                  <a:lnTo>
                    <a:pt x="652" y="1352"/>
                  </a:lnTo>
                  <a:lnTo>
                    <a:pt x="654" y="1352"/>
                  </a:lnTo>
                  <a:lnTo>
                    <a:pt x="652" y="1352"/>
                  </a:lnTo>
                  <a:lnTo>
                    <a:pt x="654" y="1352"/>
                  </a:lnTo>
                  <a:lnTo>
                    <a:pt x="652" y="1352"/>
                  </a:lnTo>
                  <a:lnTo>
                    <a:pt x="651" y="1352"/>
                  </a:lnTo>
                  <a:lnTo>
                    <a:pt x="651" y="1350"/>
                  </a:lnTo>
                  <a:lnTo>
                    <a:pt x="649" y="1350"/>
                  </a:lnTo>
                  <a:lnTo>
                    <a:pt x="649" y="1349"/>
                  </a:lnTo>
                  <a:lnTo>
                    <a:pt x="651" y="1350"/>
                  </a:lnTo>
                  <a:lnTo>
                    <a:pt x="649" y="1349"/>
                  </a:lnTo>
                  <a:lnTo>
                    <a:pt x="651" y="1349"/>
                  </a:lnTo>
                  <a:lnTo>
                    <a:pt x="651" y="1347"/>
                  </a:lnTo>
                  <a:lnTo>
                    <a:pt x="649" y="1347"/>
                  </a:lnTo>
                  <a:lnTo>
                    <a:pt x="651" y="1347"/>
                  </a:lnTo>
                  <a:lnTo>
                    <a:pt x="651" y="1345"/>
                  </a:lnTo>
                  <a:lnTo>
                    <a:pt x="652" y="1345"/>
                  </a:lnTo>
                  <a:lnTo>
                    <a:pt x="652" y="1347"/>
                  </a:lnTo>
                  <a:close/>
                  <a:moveTo>
                    <a:pt x="652" y="1353"/>
                  </a:moveTo>
                  <a:lnTo>
                    <a:pt x="652" y="1352"/>
                  </a:lnTo>
                  <a:lnTo>
                    <a:pt x="652" y="1353"/>
                  </a:lnTo>
                  <a:lnTo>
                    <a:pt x="654" y="1352"/>
                  </a:lnTo>
                  <a:lnTo>
                    <a:pt x="654" y="1353"/>
                  </a:lnTo>
                  <a:lnTo>
                    <a:pt x="656" y="1353"/>
                  </a:lnTo>
                  <a:lnTo>
                    <a:pt x="656" y="1355"/>
                  </a:lnTo>
                  <a:lnTo>
                    <a:pt x="657" y="1355"/>
                  </a:lnTo>
                  <a:lnTo>
                    <a:pt x="657" y="1357"/>
                  </a:lnTo>
                  <a:lnTo>
                    <a:pt x="656" y="1357"/>
                  </a:lnTo>
                  <a:lnTo>
                    <a:pt x="654" y="1357"/>
                  </a:lnTo>
                  <a:lnTo>
                    <a:pt x="652" y="1355"/>
                  </a:lnTo>
                  <a:lnTo>
                    <a:pt x="652" y="1353"/>
                  </a:lnTo>
                  <a:close/>
                  <a:moveTo>
                    <a:pt x="189" y="1471"/>
                  </a:moveTo>
                  <a:lnTo>
                    <a:pt x="191" y="1471"/>
                  </a:lnTo>
                  <a:lnTo>
                    <a:pt x="189" y="1472"/>
                  </a:lnTo>
                  <a:lnTo>
                    <a:pt x="191" y="1472"/>
                  </a:lnTo>
                  <a:lnTo>
                    <a:pt x="191" y="1474"/>
                  </a:lnTo>
                  <a:lnTo>
                    <a:pt x="189" y="1474"/>
                  </a:lnTo>
                  <a:lnTo>
                    <a:pt x="189" y="1475"/>
                  </a:lnTo>
                  <a:lnTo>
                    <a:pt x="189" y="1474"/>
                  </a:lnTo>
                  <a:lnTo>
                    <a:pt x="189" y="1475"/>
                  </a:lnTo>
                  <a:lnTo>
                    <a:pt x="189" y="1474"/>
                  </a:lnTo>
                  <a:lnTo>
                    <a:pt x="187" y="1474"/>
                  </a:lnTo>
                  <a:lnTo>
                    <a:pt x="187" y="1475"/>
                  </a:lnTo>
                  <a:lnTo>
                    <a:pt x="187" y="1477"/>
                  </a:lnTo>
                  <a:lnTo>
                    <a:pt x="187" y="1479"/>
                  </a:lnTo>
                  <a:lnTo>
                    <a:pt x="186" y="1477"/>
                  </a:lnTo>
                  <a:lnTo>
                    <a:pt x="186" y="1475"/>
                  </a:lnTo>
                  <a:lnTo>
                    <a:pt x="187" y="1475"/>
                  </a:lnTo>
                  <a:lnTo>
                    <a:pt x="187" y="1474"/>
                  </a:lnTo>
                  <a:lnTo>
                    <a:pt x="187" y="1472"/>
                  </a:lnTo>
                  <a:lnTo>
                    <a:pt x="189" y="1471"/>
                  </a:lnTo>
                  <a:close/>
                  <a:moveTo>
                    <a:pt x="306" y="870"/>
                  </a:moveTo>
                  <a:lnTo>
                    <a:pt x="306" y="869"/>
                  </a:lnTo>
                  <a:lnTo>
                    <a:pt x="306" y="870"/>
                  </a:lnTo>
                  <a:lnTo>
                    <a:pt x="308" y="870"/>
                  </a:lnTo>
                  <a:lnTo>
                    <a:pt x="308" y="872"/>
                  </a:lnTo>
                  <a:lnTo>
                    <a:pt x="309" y="874"/>
                  </a:lnTo>
                  <a:lnTo>
                    <a:pt x="309" y="875"/>
                  </a:lnTo>
                  <a:lnTo>
                    <a:pt x="311" y="875"/>
                  </a:lnTo>
                  <a:lnTo>
                    <a:pt x="309" y="875"/>
                  </a:lnTo>
                  <a:lnTo>
                    <a:pt x="309" y="874"/>
                  </a:lnTo>
                  <a:lnTo>
                    <a:pt x="308" y="874"/>
                  </a:lnTo>
                  <a:lnTo>
                    <a:pt x="306" y="874"/>
                  </a:lnTo>
                  <a:lnTo>
                    <a:pt x="306" y="875"/>
                  </a:lnTo>
                  <a:lnTo>
                    <a:pt x="304" y="875"/>
                  </a:lnTo>
                  <a:lnTo>
                    <a:pt x="304" y="874"/>
                  </a:lnTo>
                  <a:lnTo>
                    <a:pt x="304" y="872"/>
                  </a:lnTo>
                  <a:lnTo>
                    <a:pt x="306" y="872"/>
                  </a:lnTo>
                  <a:lnTo>
                    <a:pt x="306" y="870"/>
                  </a:lnTo>
                  <a:close/>
                  <a:moveTo>
                    <a:pt x="259" y="1433"/>
                  </a:moveTo>
                  <a:lnTo>
                    <a:pt x="261" y="1433"/>
                  </a:lnTo>
                  <a:lnTo>
                    <a:pt x="261" y="1435"/>
                  </a:lnTo>
                  <a:lnTo>
                    <a:pt x="262" y="1435"/>
                  </a:lnTo>
                  <a:lnTo>
                    <a:pt x="262" y="1433"/>
                  </a:lnTo>
                  <a:lnTo>
                    <a:pt x="262" y="1435"/>
                  </a:lnTo>
                  <a:lnTo>
                    <a:pt x="264" y="1435"/>
                  </a:lnTo>
                  <a:lnTo>
                    <a:pt x="262" y="1435"/>
                  </a:lnTo>
                  <a:lnTo>
                    <a:pt x="262" y="1436"/>
                  </a:lnTo>
                  <a:lnTo>
                    <a:pt x="264" y="1436"/>
                  </a:lnTo>
                  <a:lnTo>
                    <a:pt x="264" y="1438"/>
                  </a:lnTo>
                  <a:lnTo>
                    <a:pt x="262" y="1438"/>
                  </a:lnTo>
                  <a:lnTo>
                    <a:pt x="264" y="1438"/>
                  </a:lnTo>
                  <a:lnTo>
                    <a:pt x="262" y="1438"/>
                  </a:lnTo>
                  <a:lnTo>
                    <a:pt x="264" y="1438"/>
                  </a:lnTo>
                  <a:lnTo>
                    <a:pt x="262" y="1438"/>
                  </a:lnTo>
                  <a:lnTo>
                    <a:pt x="261" y="1438"/>
                  </a:lnTo>
                  <a:lnTo>
                    <a:pt x="261" y="1436"/>
                  </a:lnTo>
                  <a:lnTo>
                    <a:pt x="259" y="1435"/>
                  </a:lnTo>
                  <a:lnTo>
                    <a:pt x="259" y="1433"/>
                  </a:lnTo>
                  <a:close/>
                  <a:moveTo>
                    <a:pt x="277" y="1423"/>
                  </a:moveTo>
                  <a:lnTo>
                    <a:pt x="278" y="1425"/>
                  </a:lnTo>
                  <a:lnTo>
                    <a:pt x="278" y="1427"/>
                  </a:lnTo>
                  <a:lnTo>
                    <a:pt x="277" y="1427"/>
                  </a:lnTo>
                  <a:lnTo>
                    <a:pt x="277" y="1428"/>
                  </a:lnTo>
                  <a:lnTo>
                    <a:pt x="277" y="1430"/>
                  </a:lnTo>
                  <a:lnTo>
                    <a:pt x="277" y="1432"/>
                  </a:lnTo>
                  <a:lnTo>
                    <a:pt x="275" y="1430"/>
                  </a:lnTo>
                  <a:lnTo>
                    <a:pt x="277" y="1430"/>
                  </a:lnTo>
                  <a:lnTo>
                    <a:pt x="277" y="1428"/>
                  </a:lnTo>
                  <a:lnTo>
                    <a:pt x="275" y="1428"/>
                  </a:lnTo>
                  <a:lnTo>
                    <a:pt x="277" y="1428"/>
                  </a:lnTo>
                  <a:lnTo>
                    <a:pt x="275" y="1428"/>
                  </a:lnTo>
                  <a:lnTo>
                    <a:pt x="275" y="1427"/>
                  </a:lnTo>
                  <a:lnTo>
                    <a:pt x="275" y="1425"/>
                  </a:lnTo>
                  <a:lnTo>
                    <a:pt x="277" y="1427"/>
                  </a:lnTo>
                  <a:lnTo>
                    <a:pt x="275" y="1425"/>
                  </a:lnTo>
                  <a:lnTo>
                    <a:pt x="277" y="1425"/>
                  </a:lnTo>
                  <a:lnTo>
                    <a:pt x="277" y="1423"/>
                  </a:lnTo>
                  <a:close/>
                  <a:moveTo>
                    <a:pt x="270" y="1417"/>
                  </a:moveTo>
                  <a:lnTo>
                    <a:pt x="270" y="1419"/>
                  </a:lnTo>
                  <a:lnTo>
                    <a:pt x="270" y="1420"/>
                  </a:lnTo>
                  <a:lnTo>
                    <a:pt x="270" y="1419"/>
                  </a:lnTo>
                  <a:lnTo>
                    <a:pt x="270" y="1420"/>
                  </a:lnTo>
                  <a:lnTo>
                    <a:pt x="269" y="1420"/>
                  </a:lnTo>
                  <a:lnTo>
                    <a:pt x="269" y="1419"/>
                  </a:lnTo>
                  <a:lnTo>
                    <a:pt x="267" y="1419"/>
                  </a:lnTo>
                  <a:lnTo>
                    <a:pt x="269" y="1417"/>
                  </a:lnTo>
                  <a:lnTo>
                    <a:pt x="267" y="1417"/>
                  </a:lnTo>
                  <a:lnTo>
                    <a:pt x="269" y="1417"/>
                  </a:lnTo>
                  <a:lnTo>
                    <a:pt x="267" y="1415"/>
                  </a:lnTo>
                  <a:lnTo>
                    <a:pt x="269" y="1415"/>
                  </a:lnTo>
                  <a:lnTo>
                    <a:pt x="269" y="1417"/>
                  </a:lnTo>
                  <a:lnTo>
                    <a:pt x="270" y="1417"/>
                  </a:lnTo>
                  <a:lnTo>
                    <a:pt x="270" y="1415"/>
                  </a:lnTo>
                  <a:lnTo>
                    <a:pt x="269" y="1415"/>
                  </a:lnTo>
                  <a:lnTo>
                    <a:pt x="270" y="1414"/>
                  </a:lnTo>
                  <a:lnTo>
                    <a:pt x="270" y="1415"/>
                  </a:lnTo>
                  <a:lnTo>
                    <a:pt x="272" y="1415"/>
                  </a:lnTo>
                  <a:lnTo>
                    <a:pt x="270" y="1415"/>
                  </a:lnTo>
                  <a:lnTo>
                    <a:pt x="272" y="1415"/>
                  </a:lnTo>
                  <a:lnTo>
                    <a:pt x="272" y="1417"/>
                  </a:lnTo>
                  <a:lnTo>
                    <a:pt x="270" y="1417"/>
                  </a:lnTo>
                  <a:close/>
                  <a:moveTo>
                    <a:pt x="265" y="1449"/>
                  </a:moveTo>
                  <a:lnTo>
                    <a:pt x="267" y="1449"/>
                  </a:lnTo>
                  <a:lnTo>
                    <a:pt x="269" y="1449"/>
                  </a:lnTo>
                  <a:lnTo>
                    <a:pt x="269" y="1451"/>
                  </a:lnTo>
                  <a:lnTo>
                    <a:pt x="267" y="1451"/>
                  </a:lnTo>
                  <a:lnTo>
                    <a:pt x="267" y="1453"/>
                  </a:lnTo>
                  <a:lnTo>
                    <a:pt x="265" y="1453"/>
                  </a:lnTo>
                  <a:lnTo>
                    <a:pt x="264" y="1453"/>
                  </a:lnTo>
                  <a:lnTo>
                    <a:pt x="264" y="1451"/>
                  </a:lnTo>
                  <a:lnTo>
                    <a:pt x="264" y="1449"/>
                  </a:lnTo>
                  <a:lnTo>
                    <a:pt x="265" y="1449"/>
                  </a:lnTo>
                  <a:close/>
                  <a:moveTo>
                    <a:pt x="169" y="1500"/>
                  </a:moveTo>
                  <a:lnTo>
                    <a:pt x="169" y="1498"/>
                  </a:lnTo>
                  <a:lnTo>
                    <a:pt x="169" y="1500"/>
                  </a:lnTo>
                  <a:lnTo>
                    <a:pt x="169" y="1501"/>
                  </a:lnTo>
                  <a:lnTo>
                    <a:pt x="171" y="1501"/>
                  </a:lnTo>
                  <a:lnTo>
                    <a:pt x="173" y="1501"/>
                  </a:lnTo>
                  <a:lnTo>
                    <a:pt x="173" y="1503"/>
                  </a:lnTo>
                  <a:lnTo>
                    <a:pt x="173" y="1505"/>
                  </a:lnTo>
                  <a:lnTo>
                    <a:pt x="171" y="1505"/>
                  </a:lnTo>
                  <a:lnTo>
                    <a:pt x="171" y="1503"/>
                  </a:lnTo>
                  <a:lnTo>
                    <a:pt x="169" y="1503"/>
                  </a:lnTo>
                  <a:lnTo>
                    <a:pt x="171" y="1503"/>
                  </a:lnTo>
                  <a:lnTo>
                    <a:pt x="169" y="1503"/>
                  </a:lnTo>
                  <a:lnTo>
                    <a:pt x="171" y="1501"/>
                  </a:lnTo>
                  <a:lnTo>
                    <a:pt x="169" y="1501"/>
                  </a:lnTo>
                  <a:lnTo>
                    <a:pt x="169" y="1503"/>
                  </a:lnTo>
                  <a:lnTo>
                    <a:pt x="168" y="1503"/>
                  </a:lnTo>
                  <a:lnTo>
                    <a:pt x="168" y="1501"/>
                  </a:lnTo>
                  <a:lnTo>
                    <a:pt x="169" y="1501"/>
                  </a:lnTo>
                  <a:lnTo>
                    <a:pt x="168" y="1501"/>
                  </a:lnTo>
                  <a:lnTo>
                    <a:pt x="169" y="1501"/>
                  </a:lnTo>
                  <a:lnTo>
                    <a:pt x="168" y="1500"/>
                  </a:lnTo>
                  <a:lnTo>
                    <a:pt x="168" y="1501"/>
                  </a:lnTo>
                  <a:lnTo>
                    <a:pt x="168" y="1500"/>
                  </a:lnTo>
                  <a:lnTo>
                    <a:pt x="169" y="1500"/>
                  </a:lnTo>
                  <a:close/>
                  <a:moveTo>
                    <a:pt x="378" y="727"/>
                  </a:moveTo>
                  <a:lnTo>
                    <a:pt x="378" y="726"/>
                  </a:lnTo>
                  <a:lnTo>
                    <a:pt x="379" y="726"/>
                  </a:lnTo>
                  <a:lnTo>
                    <a:pt x="379" y="724"/>
                  </a:lnTo>
                  <a:lnTo>
                    <a:pt x="381" y="724"/>
                  </a:lnTo>
                  <a:lnTo>
                    <a:pt x="381" y="726"/>
                  </a:lnTo>
                  <a:lnTo>
                    <a:pt x="381" y="727"/>
                  </a:lnTo>
                  <a:lnTo>
                    <a:pt x="382" y="727"/>
                  </a:lnTo>
                  <a:lnTo>
                    <a:pt x="382" y="729"/>
                  </a:lnTo>
                  <a:lnTo>
                    <a:pt x="381" y="729"/>
                  </a:lnTo>
                  <a:lnTo>
                    <a:pt x="381" y="727"/>
                  </a:lnTo>
                  <a:lnTo>
                    <a:pt x="379" y="727"/>
                  </a:lnTo>
                  <a:lnTo>
                    <a:pt x="378" y="727"/>
                  </a:lnTo>
                  <a:close/>
                  <a:moveTo>
                    <a:pt x="145" y="1448"/>
                  </a:moveTo>
                  <a:lnTo>
                    <a:pt x="147" y="1448"/>
                  </a:lnTo>
                  <a:lnTo>
                    <a:pt x="147" y="1446"/>
                  </a:lnTo>
                  <a:lnTo>
                    <a:pt x="147" y="1448"/>
                  </a:lnTo>
                  <a:lnTo>
                    <a:pt x="147" y="1449"/>
                  </a:lnTo>
                  <a:lnTo>
                    <a:pt x="147" y="1451"/>
                  </a:lnTo>
                  <a:lnTo>
                    <a:pt x="148" y="1451"/>
                  </a:lnTo>
                  <a:lnTo>
                    <a:pt x="147" y="1449"/>
                  </a:lnTo>
                  <a:lnTo>
                    <a:pt x="148" y="1449"/>
                  </a:lnTo>
                  <a:lnTo>
                    <a:pt x="147" y="1449"/>
                  </a:lnTo>
                  <a:lnTo>
                    <a:pt x="148" y="1449"/>
                  </a:lnTo>
                  <a:lnTo>
                    <a:pt x="148" y="1451"/>
                  </a:lnTo>
                  <a:lnTo>
                    <a:pt x="148" y="1449"/>
                  </a:lnTo>
                  <a:lnTo>
                    <a:pt x="148" y="1448"/>
                  </a:lnTo>
                  <a:lnTo>
                    <a:pt x="150" y="1448"/>
                  </a:lnTo>
                  <a:lnTo>
                    <a:pt x="150" y="1449"/>
                  </a:lnTo>
                  <a:lnTo>
                    <a:pt x="148" y="1449"/>
                  </a:lnTo>
                  <a:lnTo>
                    <a:pt x="148" y="1451"/>
                  </a:lnTo>
                  <a:lnTo>
                    <a:pt x="150" y="1451"/>
                  </a:lnTo>
                  <a:lnTo>
                    <a:pt x="148" y="1451"/>
                  </a:lnTo>
                  <a:lnTo>
                    <a:pt x="148" y="1453"/>
                  </a:lnTo>
                  <a:lnTo>
                    <a:pt x="148" y="1454"/>
                  </a:lnTo>
                  <a:lnTo>
                    <a:pt x="148" y="1453"/>
                  </a:lnTo>
                  <a:lnTo>
                    <a:pt x="147" y="1451"/>
                  </a:lnTo>
                  <a:lnTo>
                    <a:pt x="147" y="1453"/>
                  </a:lnTo>
                  <a:lnTo>
                    <a:pt x="147" y="1451"/>
                  </a:lnTo>
                  <a:lnTo>
                    <a:pt x="147" y="1449"/>
                  </a:lnTo>
                  <a:lnTo>
                    <a:pt x="145" y="1449"/>
                  </a:lnTo>
                  <a:lnTo>
                    <a:pt x="145" y="1448"/>
                  </a:lnTo>
                  <a:close/>
                  <a:moveTo>
                    <a:pt x="244" y="970"/>
                  </a:moveTo>
                  <a:lnTo>
                    <a:pt x="244" y="968"/>
                  </a:lnTo>
                  <a:lnTo>
                    <a:pt x="244" y="966"/>
                  </a:lnTo>
                  <a:lnTo>
                    <a:pt x="244" y="968"/>
                  </a:lnTo>
                  <a:lnTo>
                    <a:pt x="244" y="966"/>
                  </a:lnTo>
                  <a:lnTo>
                    <a:pt x="244" y="968"/>
                  </a:lnTo>
                  <a:lnTo>
                    <a:pt x="246" y="968"/>
                  </a:lnTo>
                  <a:lnTo>
                    <a:pt x="246" y="970"/>
                  </a:lnTo>
                  <a:lnTo>
                    <a:pt x="246" y="968"/>
                  </a:lnTo>
                  <a:lnTo>
                    <a:pt x="246" y="970"/>
                  </a:lnTo>
                  <a:lnTo>
                    <a:pt x="246" y="971"/>
                  </a:lnTo>
                  <a:lnTo>
                    <a:pt x="244" y="971"/>
                  </a:lnTo>
                  <a:lnTo>
                    <a:pt x="246" y="971"/>
                  </a:lnTo>
                  <a:lnTo>
                    <a:pt x="246" y="970"/>
                  </a:lnTo>
                  <a:lnTo>
                    <a:pt x="244" y="970"/>
                  </a:lnTo>
                  <a:lnTo>
                    <a:pt x="244" y="971"/>
                  </a:lnTo>
                  <a:lnTo>
                    <a:pt x="244" y="970"/>
                  </a:lnTo>
                  <a:lnTo>
                    <a:pt x="244" y="971"/>
                  </a:lnTo>
                  <a:lnTo>
                    <a:pt x="244" y="970"/>
                  </a:lnTo>
                  <a:lnTo>
                    <a:pt x="244" y="971"/>
                  </a:lnTo>
                  <a:lnTo>
                    <a:pt x="244" y="970"/>
                  </a:lnTo>
                  <a:lnTo>
                    <a:pt x="244" y="971"/>
                  </a:lnTo>
                  <a:lnTo>
                    <a:pt x="244" y="970"/>
                  </a:lnTo>
                  <a:lnTo>
                    <a:pt x="243" y="970"/>
                  </a:lnTo>
                  <a:lnTo>
                    <a:pt x="244" y="970"/>
                  </a:lnTo>
                  <a:close/>
                  <a:moveTo>
                    <a:pt x="300" y="1490"/>
                  </a:moveTo>
                  <a:lnTo>
                    <a:pt x="300" y="1492"/>
                  </a:lnTo>
                  <a:lnTo>
                    <a:pt x="300" y="1493"/>
                  </a:lnTo>
                  <a:lnTo>
                    <a:pt x="298" y="1493"/>
                  </a:lnTo>
                  <a:lnTo>
                    <a:pt x="300" y="1493"/>
                  </a:lnTo>
                  <a:lnTo>
                    <a:pt x="298" y="1493"/>
                  </a:lnTo>
                  <a:lnTo>
                    <a:pt x="298" y="1495"/>
                  </a:lnTo>
                  <a:lnTo>
                    <a:pt x="301" y="1493"/>
                  </a:lnTo>
                  <a:lnTo>
                    <a:pt x="298" y="1495"/>
                  </a:lnTo>
                  <a:lnTo>
                    <a:pt x="300" y="1495"/>
                  </a:lnTo>
                  <a:lnTo>
                    <a:pt x="298" y="1495"/>
                  </a:lnTo>
                  <a:lnTo>
                    <a:pt x="296" y="1495"/>
                  </a:lnTo>
                  <a:lnTo>
                    <a:pt x="298" y="1495"/>
                  </a:lnTo>
                  <a:lnTo>
                    <a:pt x="296" y="1495"/>
                  </a:lnTo>
                  <a:lnTo>
                    <a:pt x="296" y="1493"/>
                  </a:lnTo>
                  <a:lnTo>
                    <a:pt x="298" y="1493"/>
                  </a:lnTo>
                  <a:lnTo>
                    <a:pt x="298" y="1492"/>
                  </a:lnTo>
                  <a:lnTo>
                    <a:pt x="298" y="1493"/>
                  </a:lnTo>
                  <a:lnTo>
                    <a:pt x="296" y="1493"/>
                  </a:lnTo>
                  <a:lnTo>
                    <a:pt x="296" y="1492"/>
                  </a:lnTo>
                  <a:lnTo>
                    <a:pt x="298" y="1492"/>
                  </a:lnTo>
                  <a:lnTo>
                    <a:pt x="296" y="1492"/>
                  </a:lnTo>
                  <a:lnTo>
                    <a:pt x="298" y="1492"/>
                  </a:lnTo>
                  <a:lnTo>
                    <a:pt x="298" y="1490"/>
                  </a:lnTo>
                  <a:lnTo>
                    <a:pt x="300" y="1490"/>
                  </a:lnTo>
                  <a:lnTo>
                    <a:pt x="300" y="1488"/>
                  </a:lnTo>
                  <a:lnTo>
                    <a:pt x="300" y="1490"/>
                  </a:lnTo>
                  <a:close/>
                  <a:moveTo>
                    <a:pt x="254" y="945"/>
                  </a:moveTo>
                  <a:lnTo>
                    <a:pt x="254" y="944"/>
                  </a:lnTo>
                  <a:lnTo>
                    <a:pt x="254" y="942"/>
                  </a:lnTo>
                  <a:lnTo>
                    <a:pt x="256" y="944"/>
                  </a:lnTo>
                  <a:lnTo>
                    <a:pt x="257" y="944"/>
                  </a:lnTo>
                  <a:lnTo>
                    <a:pt x="256" y="944"/>
                  </a:lnTo>
                  <a:lnTo>
                    <a:pt x="256" y="945"/>
                  </a:lnTo>
                  <a:lnTo>
                    <a:pt x="256" y="947"/>
                  </a:lnTo>
                  <a:lnTo>
                    <a:pt x="254" y="947"/>
                  </a:lnTo>
                  <a:lnTo>
                    <a:pt x="254" y="945"/>
                  </a:lnTo>
                  <a:close/>
                  <a:moveTo>
                    <a:pt x="332" y="1446"/>
                  </a:moveTo>
                  <a:lnTo>
                    <a:pt x="334" y="1446"/>
                  </a:lnTo>
                  <a:lnTo>
                    <a:pt x="335" y="1446"/>
                  </a:lnTo>
                  <a:lnTo>
                    <a:pt x="334" y="1448"/>
                  </a:lnTo>
                  <a:lnTo>
                    <a:pt x="334" y="1449"/>
                  </a:lnTo>
                  <a:lnTo>
                    <a:pt x="332" y="1449"/>
                  </a:lnTo>
                  <a:lnTo>
                    <a:pt x="332" y="1451"/>
                  </a:lnTo>
                  <a:lnTo>
                    <a:pt x="330" y="1451"/>
                  </a:lnTo>
                  <a:lnTo>
                    <a:pt x="330" y="1449"/>
                  </a:lnTo>
                  <a:lnTo>
                    <a:pt x="332" y="1448"/>
                  </a:lnTo>
                  <a:lnTo>
                    <a:pt x="332" y="1446"/>
                  </a:lnTo>
                  <a:close/>
                  <a:moveTo>
                    <a:pt x="228" y="1427"/>
                  </a:moveTo>
                  <a:lnTo>
                    <a:pt x="228" y="1428"/>
                  </a:lnTo>
                  <a:lnTo>
                    <a:pt x="230" y="1428"/>
                  </a:lnTo>
                  <a:lnTo>
                    <a:pt x="228" y="1428"/>
                  </a:lnTo>
                  <a:lnTo>
                    <a:pt x="228" y="1430"/>
                  </a:lnTo>
                  <a:lnTo>
                    <a:pt x="230" y="1430"/>
                  </a:lnTo>
                  <a:lnTo>
                    <a:pt x="230" y="1432"/>
                  </a:lnTo>
                  <a:lnTo>
                    <a:pt x="230" y="1433"/>
                  </a:lnTo>
                  <a:lnTo>
                    <a:pt x="228" y="1433"/>
                  </a:lnTo>
                  <a:lnTo>
                    <a:pt x="230" y="1433"/>
                  </a:lnTo>
                  <a:lnTo>
                    <a:pt x="230" y="1435"/>
                  </a:lnTo>
                  <a:lnTo>
                    <a:pt x="230" y="1433"/>
                  </a:lnTo>
                  <a:lnTo>
                    <a:pt x="228" y="1433"/>
                  </a:lnTo>
                  <a:lnTo>
                    <a:pt x="228" y="1432"/>
                  </a:lnTo>
                  <a:lnTo>
                    <a:pt x="226" y="1430"/>
                  </a:lnTo>
                  <a:lnTo>
                    <a:pt x="228" y="1430"/>
                  </a:lnTo>
                  <a:lnTo>
                    <a:pt x="226" y="1430"/>
                  </a:lnTo>
                  <a:lnTo>
                    <a:pt x="228" y="1430"/>
                  </a:lnTo>
                  <a:lnTo>
                    <a:pt x="226" y="1430"/>
                  </a:lnTo>
                  <a:lnTo>
                    <a:pt x="228" y="1430"/>
                  </a:lnTo>
                  <a:lnTo>
                    <a:pt x="226" y="1430"/>
                  </a:lnTo>
                  <a:lnTo>
                    <a:pt x="228" y="1430"/>
                  </a:lnTo>
                  <a:lnTo>
                    <a:pt x="226" y="1428"/>
                  </a:lnTo>
                  <a:lnTo>
                    <a:pt x="228" y="1428"/>
                  </a:lnTo>
                  <a:lnTo>
                    <a:pt x="228" y="1430"/>
                  </a:lnTo>
                  <a:lnTo>
                    <a:pt x="228" y="1428"/>
                  </a:lnTo>
                  <a:lnTo>
                    <a:pt x="228" y="1427"/>
                  </a:lnTo>
                  <a:lnTo>
                    <a:pt x="230" y="1427"/>
                  </a:lnTo>
                  <a:lnTo>
                    <a:pt x="228" y="1427"/>
                  </a:lnTo>
                  <a:close/>
                  <a:moveTo>
                    <a:pt x="280" y="1436"/>
                  </a:moveTo>
                  <a:lnTo>
                    <a:pt x="282" y="1436"/>
                  </a:lnTo>
                  <a:lnTo>
                    <a:pt x="283" y="1436"/>
                  </a:lnTo>
                  <a:lnTo>
                    <a:pt x="283" y="1438"/>
                  </a:lnTo>
                  <a:lnTo>
                    <a:pt x="285" y="1438"/>
                  </a:lnTo>
                  <a:lnTo>
                    <a:pt x="283" y="1438"/>
                  </a:lnTo>
                  <a:lnTo>
                    <a:pt x="282" y="1438"/>
                  </a:lnTo>
                  <a:lnTo>
                    <a:pt x="282" y="1440"/>
                  </a:lnTo>
                  <a:lnTo>
                    <a:pt x="282" y="1438"/>
                  </a:lnTo>
                  <a:lnTo>
                    <a:pt x="280" y="1438"/>
                  </a:lnTo>
                  <a:lnTo>
                    <a:pt x="280" y="1436"/>
                  </a:lnTo>
                  <a:close/>
                  <a:moveTo>
                    <a:pt x="280" y="1423"/>
                  </a:moveTo>
                  <a:lnTo>
                    <a:pt x="282" y="1423"/>
                  </a:lnTo>
                  <a:lnTo>
                    <a:pt x="282" y="1425"/>
                  </a:lnTo>
                  <a:lnTo>
                    <a:pt x="283" y="1425"/>
                  </a:lnTo>
                  <a:lnTo>
                    <a:pt x="283" y="1427"/>
                  </a:lnTo>
                  <a:lnTo>
                    <a:pt x="285" y="1428"/>
                  </a:lnTo>
                  <a:lnTo>
                    <a:pt x="285" y="1430"/>
                  </a:lnTo>
                  <a:lnTo>
                    <a:pt x="283" y="1430"/>
                  </a:lnTo>
                  <a:lnTo>
                    <a:pt x="283" y="1428"/>
                  </a:lnTo>
                  <a:lnTo>
                    <a:pt x="282" y="1428"/>
                  </a:lnTo>
                  <a:lnTo>
                    <a:pt x="282" y="1427"/>
                  </a:lnTo>
                  <a:lnTo>
                    <a:pt x="282" y="1425"/>
                  </a:lnTo>
                  <a:lnTo>
                    <a:pt x="280" y="1425"/>
                  </a:lnTo>
                  <a:lnTo>
                    <a:pt x="280" y="1423"/>
                  </a:lnTo>
                  <a:close/>
                  <a:moveTo>
                    <a:pt x="210" y="997"/>
                  </a:moveTo>
                  <a:lnTo>
                    <a:pt x="212" y="997"/>
                  </a:lnTo>
                  <a:lnTo>
                    <a:pt x="213" y="997"/>
                  </a:lnTo>
                  <a:lnTo>
                    <a:pt x="212" y="997"/>
                  </a:lnTo>
                  <a:lnTo>
                    <a:pt x="213" y="997"/>
                  </a:lnTo>
                  <a:lnTo>
                    <a:pt x="213" y="999"/>
                  </a:lnTo>
                  <a:lnTo>
                    <a:pt x="215" y="1001"/>
                  </a:lnTo>
                  <a:lnTo>
                    <a:pt x="213" y="1001"/>
                  </a:lnTo>
                  <a:lnTo>
                    <a:pt x="215" y="1001"/>
                  </a:lnTo>
                  <a:lnTo>
                    <a:pt x="213" y="1002"/>
                  </a:lnTo>
                  <a:lnTo>
                    <a:pt x="213" y="1001"/>
                  </a:lnTo>
                  <a:lnTo>
                    <a:pt x="213" y="1002"/>
                  </a:lnTo>
                  <a:lnTo>
                    <a:pt x="212" y="1002"/>
                  </a:lnTo>
                  <a:lnTo>
                    <a:pt x="212" y="1001"/>
                  </a:lnTo>
                  <a:lnTo>
                    <a:pt x="212" y="1002"/>
                  </a:lnTo>
                  <a:lnTo>
                    <a:pt x="212" y="1001"/>
                  </a:lnTo>
                  <a:lnTo>
                    <a:pt x="212" y="999"/>
                  </a:lnTo>
                  <a:lnTo>
                    <a:pt x="210" y="1001"/>
                  </a:lnTo>
                  <a:lnTo>
                    <a:pt x="212" y="999"/>
                  </a:lnTo>
                  <a:lnTo>
                    <a:pt x="210" y="999"/>
                  </a:lnTo>
                  <a:lnTo>
                    <a:pt x="212" y="999"/>
                  </a:lnTo>
                  <a:lnTo>
                    <a:pt x="212" y="997"/>
                  </a:lnTo>
                  <a:lnTo>
                    <a:pt x="210" y="997"/>
                  </a:lnTo>
                  <a:lnTo>
                    <a:pt x="210" y="999"/>
                  </a:lnTo>
                  <a:lnTo>
                    <a:pt x="210" y="997"/>
                  </a:lnTo>
                  <a:close/>
                  <a:moveTo>
                    <a:pt x="275" y="1446"/>
                  </a:moveTo>
                  <a:lnTo>
                    <a:pt x="277" y="1446"/>
                  </a:lnTo>
                  <a:lnTo>
                    <a:pt x="277" y="1448"/>
                  </a:lnTo>
                  <a:lnTo>
                    <a:pt x="275" y="1448"/>
                  </a:lnTo>
                  <a:lnTo>
                    <a:pt x="275" y="1449"/>
                  </a:lnTo>
                  <a:lnTo>
                    <a:pt x="277" y="1449"/>
                  </a:lnTo>
                  <a:lnTo>
                    <a:pt x="275" y="1449"/>
                  </a:lnTo>
                  <a:lnTo>
                    <a:pt x="275" y="1448"/>
                  </a:lnTo>
                  <a:lnTo>
                    <a:pt x="275" y="1449"/>
                  </a:lnTo>
                  <a:lnTo>
                    <a:pt x="274" y="1449"/>
                  </a:lnTo>
                  <a:lnTo>
                    <a:pt x="274" y="1448"/>
                  </a:lnTo>
                  <a:lnTo>
                    <a:pt x="274" y="1446"/>
                  </a:lnTo>
                  <a:lnTo>
                    <a:pt x="275" y="1446"/>
                  </a:lnTo>
                  <a:close/>
                  <a:moveTo>
                    <a:pt x="360" y="1471"/>
                  </a:moveTo>
                  <a:lnTo>
                    <a:pt x="361" y="1471"/>
                  </a:lnTo>
                  <a:lnTo>
                    <a:pt x="361" y="1472"/>
                  </a:lnTo>
                  <a:lnTo>
                    <a:pt x="363" y="1474"/>
                  </a:lnTo>
                  <a:lnTo>
                    <a:pt x="361" y="1474"/>
                  </a:lnTo>
                  <a:lnTo>
                    <a:pt x="361" y="1472"/>
                  </a:lnTo>
                  <a:lnTo>
                    <a:pt x="361" y="1474"/>
                  </a:lnTo>
                  <a:lnTo>
                    <a:pt x="363" y="1474"/>
                  </a:lnTo>
                  <a:lnTo>
                    <a:pt x="361" y="1474"/>
                  </a:lnTo>
                  <a:lnTo>
                    <a:pt x="363" y="1474"/>
                  </a:lnTo>
                  <a:lnTo>
                    <a:pt x="363" y="1475"/>
                  </a:lnTo>
                  <a:lnTo>
                    <a:pt x="361" y="1475"/>
                  </a:lnTo>
                  <a:lnTo>
                    <a:pt x="360" y="1474"/>
                  </a:lnTo>
                  <a:lnTo>
                    <a:pt x="360" y="1472"/>
                  </a:lnTo>
                  <a:lnTo>
                    <a:pt x="360" y="1474"/>
                  </a:lnTo>
                  <a:lnTo>
                    <a:pt x="360" y="1472"/>
                  </a:lnTo>
                  <a:lnTo>
                    <a:pt x="361" y="1472"/>
                  </a:lnTo>
                  <a:lnTo>
                    <a:pt x="360" y="1472"/>
                  </a:lnTo>
                  <a:lnTo>
                    <a:pt x="361" y="1471"/>
                  </a:lnTo>
                  <a:lnTo>
                    <a:pt x="360" y="1471"/>
                  </a:lnTo>
                  <a:close/>
                  <a:moveTo>
                    <a:pt x="389" y="734"/>
                  </a:moveTo>
                  <a:lnTo>
                    <a:pt x="389" y="735"/>
                  </a:lnTo>
                  <a:lnTo>
                    <a:pt x="389" y="734"/>
                  </a:lnTo>
                  <a:lnTo>
                    <a:pt x="389" y="735"/>
                  </a:lnTo>
                  <a:lnTo>
                    <a:pt x="389" y="737"/>
                  </a:lnTo>
                  <a:lnTo>
                    <a:pt x="387" y="737"/>
                  </a:lnTo>
                  <a:lnTo>
                    <a:pt x="387" y="735"/>
                  </a:lnTo>
                  <a:lnTo>
                    <a:pt x="387" y="734"/>
                  </a:lnTo>
                  <a:lnTo>
                    <a:pt x="387" y="732"/>
                  </a:lnTo>
                  <a:lnTo>
                    <a:pt x="389" y="732"/>
                  </a:lnTo>
                  <a:lnTo>
                    <a:pt x="389" y="734"/>
                  </a:lnTo>
                  <a:close/>
                  <a:moveTo>
                    <a:pt x="234" y="1448"/>
                  </a:moveTo>
                  <a:lnTo>
                    <a:pt x="236" y="1448"/>
                  </a:lnTo>
                  <a:lnTo>
                    <a:pt x="234" y="1448"/>
                  </a:lnTo>
                  <a:lnTo>
                    <a:pt x="234" y="1449"/>
                  </a:lnTo>
                  <a:lnTo>
                    <a:pt x="236" y="1449"/>
                  </a:lnTo>
                  <a:lnTo>
                    <a:pt x="236" y="1451"/>
                  </a:lnTo>
                  <a:lnTo>
                    <a:pt x="236" y="1453"/>
                  </a:lnTo>
                  <a:lnTo>
                    <a:pt x="234" y="1453"/>
                  </a:lnTo>
                  <a:lnTo>
                    <a:pt x="234" y="1451"/>
                  </a:lnTo>
                  <a:lnTo>
                    <a:pt x="233" y="1451"/>
                  </a:lnTo>
                  <a:lnTo>
                    <a:pt x="233" y="1453"/>
                  </a:lnTo>
                  <a:lnTo>
                    <a:pt x="233" y="1451"/>
                  </a:lnTo>
                  <a:lnTo>
                    <a:pt x="233" y="1449"/>
                  </a:lnTo>
                  <a:lnTo>
                    <a:pt x="234" y="1449"/>
                  </a:lnTo>
                  <a:lnTo>
                    <a:pt x="233" y="1449"/>
                  </a:lnTo>
                  <a:lnTo>
                    <a:pt x="233" y="1448"/>
                  </a:lnTo>
                  <a:lnTo>
                    <a:pt x="234" y="1449"/>
                  </a:lnTo>
                  <a:lnTo>
                    <a:pt x="234" y="1448"/>
                  </a:lnTo>
                  <a:close/>
                  <a:moveTo>
                    <a:pt x="230" y="1448"/>
                  </a:moveTo>
                  <a:lnTo>
                    <a:pt x="230" y="1446"/>
                  </a:lnTo>
                  <a:lnTo>
                    <a:pt x="231" y="1448"/>
                  </a:lnTo>
                  <a:lnTo>
                    <a:pt x="231" y="1449"/>
                  </a:lnTo>
                  <a:lnTo>
                    <a:pt x="231" y="1451"/>
                  </a:lnTo>
                  <a:lnTo>
                    <a:pt x="231" y="1453"/>
                  </a:lnTo>
                  <a:lnTo>
                    <a:pt x="233" y="1453"/>
                  </a:lnTo>
                  <a:lnTo>
                    <a:pt x="231" y="1453"/>
                  </a:lnTo>
                  <a:lnTo>
                    <a:pt x="231" y="1451"/>
                  </a:lnTo>
                  <a:lnTo>
                    <a:pt x="230" y="1451"/>
                  </a:lnTo>
                  <a:lnTo>
                    <a:pt x="230" y="1449"/>
                  </a:lnTo>
                  <a:lnTo>
                    <a:pt x="230" y="1448"/>
                  </a:lnTo>
                  <a:lnTo>
                    <a:pt x="228" y="1448"/>
                  </a:lnTo>
                  <a:lnTo>
                    <a:pt x="230" y="1448"/>
                  </a:lnTo>
                  <a:lnTo>
                    <a:pt x="228" y="1448"/>
                  </a:lnTo>
                  <a:lnTo>
                    <a:pt x="228" y="1446"/>
                  </a:lnTo>
                  <a:lnTo>
                    <a:pt x="230" y="1446"/>
                  </a:lnTo>
                  <a:lnTo>
                    <a:pt x="230" y="1448"/>
                  </a:lnTo>
                  <a:close/>
                  <a:moveTo>
                    <a:pt x="247" y="973"/>
                  </a:moveTo>
                  <a:lnTo>
                    <a:pt x="249" y="973"/>
                  </a:lnTo>
                  <a:lnTo>
                    <a:pt x="251" y="973"/>
                  </a:lnTo>
                  <a:lnTo>
                    <a:pt x="251" y="975"/>
                  </a:lnTo>
                  <a:lnTo>
                    <a:pt x="249" y="975"/>
                  </a:lnTo>
                  <a:lnTo>
                    <a:pt x="251" y="975"/>
                  </a:lnTo>
                  <a:lnTo>
                    <a:pt x="251" y="976"/>
                  </a:lnTo>
                  <a:lnTo>
                    <a:pt x="252" y="978"/>
                  </a:lnTo>
                  <a:lnTo>
                    <a:pt x="252" y="979"/>
                  </a:lnTo>
                  <a:lnTo>
                    <a:pt x="252" y="978"/>
                  </a:lnTo>
                  <a:lnTo>
                    <a:pt x="251" y="978"/>
                  </a:lnTo>
                  <a:lnTo>
                    <a:pt x="252" y="979"/>
                  </a:lnTo>
                  <a:lnTo>
                    <a:pt x="251" y="978"/>
                  </a:lnTo>
                  <a:lnTo>
                    <a:pt x="251" y="976"/>
                  </a:lnTo>
                  <a:lnTo>
                    <a:pt x="249" y="976"/>
                  </a:lnTo>
                  <a:lnTo>
                    <a:pt x="249" y="975"/>
                  </a:lnTo>
                  <a:lnTo>
                    <a:pt x="249" y="973"/>
                  </a:lnTo>
                  <a:lnTo>
                    <a:pt x="247" y="973"/>
                  </a:lnTo>
                  <a:close/>
                  <a:moveTo>
                    <a:pt x="348" y="1485"/>
                  </a:moveTo>
                  <a:lnTo>
                    <a:pt x="348" y="1487"/>
                  </a:lnTo>
                  <a:lnTo>
                    <a:pt x="348" y="1485"/>
                  </a:lnTo>
                  <a:lnTo>
                    <a:pt x="350" y="1487"/>
                  </a:lnTo>
                  <a:lnTo>
                    <a:pt x="348" y="1485"/>
                  </a:lnTo>
                  <a:lnTo>
                    <a:pt x="350" y="1485"/>
                  </a:lnTo>
                  <a:lnTo>
                    <a:pt x="350" y="1487"/>
                  </a:lnTo>
                  <a:lnTo>
                    <a:pt x="350" y="1488"/>
                  </a:lnTo>
                  <a:lnTo>
                    <a:pt x="350" y="1490"/>
                  </a:lnTo>
                  <a:lnTo>
                    <a:pt x="350" y="1488"/>
                  </a:lnTo>
                  <a:lnTo>
                    <a:pt x="348" y="1490"/>
                  </a:lnTo>
                  <a:lnTo>
                    <a:pt x="348" y="1488"/>
                  </a:lnTo>
                  <a:lnTo>
                    <a:pt x="348" y="1490"/>
                  </a:lnTo>
                  <a:lnTo>
                    <a:pt x="348" y="1488"/>
                  </a:lnTo>
                  <a:lnTo>
                    <a:pt x="350" y="1488"/>
                  </a:lnTo>
                  <a:lnTo>
                    <a:pt x="348" y="1488"/>
                  </a:lnTo>
                  <a:lnTo>
                    <a:pt x="348" y="1487"/>
                  </a:lnTo>
                  <a:lnTo>
                    <a:pt x="348" y="1485"/>
                  </a:lnTo>
                  <a:lnTo>
                    <a:pt x="347" y="1485"/>
                  </a:lnTo>
                  <a:lnTo>
                    <a:pt x="348" y="1485"/>
                  </a:lnTo>
                  <a:lnTo>
                    <a:pt x="347" y="1485"/>
                  </a:lnTo>
                  <a:lnTo>
                    <a:pt x="347" y="1484"/>
                  </a:lnTo>
                  <a:lnTo>
                    <a:pt x="348" y="1484"/>
                  </a:lnTo>
                  <a:lnTo>
                    <a:pt x="348" y="1485"/>
                  </a:lnTo>
                  <a:close/>
                  <a:moveTo>
                    <a:pt x="327" y="1456"/>
                  </a:moveTo>
                  <a:lnTo>
                    <a:pt x="327" y="1454"/>
                  </a:lnTo>
                  <a:lnTo>
                    <a:pt x="327" y="1456"/>
                  </a:lnTo>
                  <a:lnTo>
                    <a:pt x="327" y="1454"/>
                  </a:lnTo>
                  <a:lnTo>
                    <a:pt x="327" y="1456"/>
                  </a:lnTo>
                  <a:lnTo>
                    <a:pt x="329" y="1456"/>
                  </a:lnTo>
                  <a:lnTo>
                    <a:pt x="327" y="1456"/>
                  </a:lnTo>
                  <a:lnTo>
                    <a:pt x="327" y="1458"/>
                  </a:lnTo>
                  <a:lnTo>
                    <a:pt x="326" y="1458"/>
                  </a:lnTo>
                  <a:lnTo>
                    <a:pt x="324" y="1458"/>
                  </a:lnTo>
                  <a:lnTo>
                    <a:pt x="322" y="1458"/>
                  </a:lnTo>
                  <a:lnTo>
                    <a:pt x="324" y="1458"/>
                  </a:lnTo>
                  <a:lnTo>
                    <a:pt x="322" y="1458"/>
                  </a:lnTo>
                  <a:lnTo>
                    <a:pt x="322" y="1459"/>
                  </a:lnTo>
                  <a:lnTo>
                    <a:pt x="322" y="1458"/>
                  </a:lnTo>
                  <a:lnTo>
                    <a:pt x="324" y="1458"/>
                  </a:lnTo>
                  <a:lnTo>
                    <a:pt x="324" y="1456"/>
                  </a:lnTo>
                  <a:lnTo>
                    <a:pt x="326" y="1456"/>
                  </a:lnTo>
                  <a:lnTo>
                    <a:pt x="327" y="1456"/>
                  </a:lnTo>
                  <a:close/>
                  <a:moveTo>
                    <a:pt x="145" y="1454"/>
                  </a:moveTo>
                  <a:lnTo>
                    <a:pt x="147" y="1454"/>
                  </a:lnTo>
                  <a:lnTo>
                    <a:pt x="147" y="1456"/>
                  </a:lnTo>
                  <a:lnTo>
                    <a:pt x="147" y="1454"/>
                  </a:lnTo>
                  <a:lnTo>
                    <a:pt x="148" y="1454"/>
                  </a:lnTo>
                  <a:lnTo>
                    <a:pt x="148" y="1456"/>
                  </a:lnTo>
                  <a:lnTo>
                    <a:pt x="147" y="1456"/>
                  </a:lnTo>
                  <a:lnTo>
                    <a:pt x="148" y="1456"/>
                  </a:lnTo>
                  <a:lnTo>
                    <a:pt x="148" y="1458"/>
                  </a:lnTo>
                  <a:lnTo>
                    <a:pt x="148" y="1459"/>
                  </a:lnTo>
                  <a:lnTo>
                    <a:pt x="148" y="1461"/>
                  </a:lnTo>
                  <a:lnTo>
                    <a:pt x="148" y="1459"/>
                  </a:lnTo>
                  <a:lnTo>
                    <a:pt x="148" y="1458"/>
                  </a:lnTo>
                  <a:lnTo>
                    <a:pt x="147" y="1458"/>
                  </a:lnTo>
                  <a:lnTo>
                    <a:pt x="147" y="1456"/>
                  </a:lnTo>
                  <a:lnTo>
                    <a:pt x="147" y="1458"/>
                  </a:lnTo>
                  <a:lnTo>
                    <a:pt x="145" y="1458"/>
                  </a:lnTo>
                  <a:lnTo>
                    <a:pt x="145" y="1456"/>
                  </a:lnTo>
                  <a:lnTo>
                    <a:pt x="147" y="1456"/>
                  </a:lnTo>
                  <a:lnTo>
                    <a:pt x="145" y="1454"/>
                  </a:lnTo>
                  <a:close/>
                  <a:moveTo>
                    <a:pt x="137" y="1458"/>
                  </a:moveTo>
                  <a:lnTo>
                    <a:pt x="137" y="1459"/>
                  </a:lnTo>
                  <a:lnTo>
                    <a:pt x="137" y="1461"/>
                  </a:lnTo>
                  <a:lnTo>
                    <a:pt x="137" y="1462"/>
                  </a:lnTo>
                  <a:lnTo>
                    <a:pt x="137" y="1464"/>
                  </a:lnTo>
                  <a:lnTo>
                    <a:pt x="135" y="1462"/>
                  </a:lnTo>
                  <a:lnTo>
                    <a:pt x="135" y="1461"/>
                  </a:lnTo>
                  <a:lnTo>
                    <a:pt x="134" y="1462"/>
                  </a:lnTo>
                  <a:lnTo>
                    <a:pt x="134" y="1461"/>
                  </a:lnTo>
                  <a:lnTo>
                    <a:pt x="135" y="1461"/>
                  </a:lnTo>
                  <a:lnTo>
                    <a:pt x="135" y="1459"/>
                  </a:lnTo>
                  <a:lnTo>
                    <a:pt x="135" y="1458"/>
                  </a:lnTo>
                  <a:lnTo>
                    <a:pt x="137" y="1458"/>
                  </a:lnTo>
                  <a:lnTo>
                    <a:pt x="137" y="1456"/>
                  </a:lnTo>
                  <a:lnTo>
                    <a:pt x="139" y="1458"/>
                  </a:lnTo>
                  <a:lnTo>
                    <a:pt x="137" y="1458"/>
                  </a:lnTo>
                  <a:close/>
                  <a:moveTo>
                    <a:pt x="280" y="1459"/>
                  </a:moveTo>
                  <a:lnTo>
                    <a:pt x="282" y="1459"/>
                  </a:lnTo>
                  <a:lnTo>
                    <a:pt x="283" y="1459"/>
                  </a:lnTo>
                  <a:lnTo>
                    <a:pt x="285" y="1459"/>
                  </a:lnTo>
                  <a:lnTo>
                    <a:pt x="287" y="1461"/>
                  </a:lnTo>
                  <a:lnTo>
                    <a:pt x="285" y="1461"/>
                  </a:lnTo>
                  <a:lnTo>
                    <a:pt x="285" y="1462"/>
                  </a:lnTo>
                  <a:lnTo>
                    <a:pt x="285" y="1461"/>
                  </a:lnTo>
                  <a:lnTo>
                    <a:pt x="283" y="1461"/>
                  </a:lnTo>
                  <a:lnTo>
                    <a:pt x="285" y="1462"/>
                  </a:lnTo>
                  <a:lnTo>
                    <a:pt x="283" y="1462"/>
                  </a:lnTo>
                  <a:lnTo>
                    <a:pt x="283" y="1461"/>
                  </a:lnTo>
                  <a:lnTo>
                    <a:pt x="282" y="1461"/>
                  </a:lnTo>
                  <a:lnTo>
                    <a:pt x="283" y="1461"/>
                  </a:lnTo>
                  <a:lnTo>
                    <a:pt x="282" y="1461"/>
                  </a:lnTo>
                  <a:lnTo>
                    <a:pt x="282" y="1459"/>
                  </a:lnTo>
                  <a:lnTo>
                    <a:pt x="280" y="1459"/>
                  </a:lnTo>
                  <a:close/>
                  <a:moveTo>
                    <a:pt x="261" y="1430"/>
                  </a:moveTo>
                  <a:lnTo>
                    <a:pt x="262" y="1428"/>
                  </a:lnTo>
                  <a:lnTo>
                    <a:pt x="262" y="1430"/>
                  </a:lnTo>
                  <a:lnTo>
                    <a:pt x="261" y="1430"/>
                  </a:lnTo>
                  <a:lnTo>
                    <a:pt x="261" y="1432"/>
                  </a:lnTo>
                  <a:lnTo>
                    <a:pt x="261" y="1433"/>
                  </a:lnTo>
                  <a:lnTo>
                    <a:pt x="259" y="1433"/>
                  </a:lnTo>
                  <a:lnTo>
                    <a:pt x="259" y="1432"/>
                  </a:lnTo>
                  <a:lnTo>
                    <a:pt x="259" y="1430"/>
                  </a:lnTo>
                  <a:lnTo>
                    <a:pt x="261" y="1430"/>
                  </a:lnTo>
                  <a:lnTo>
                    <a:pt x="259" y="1430"/>
                  </a:lnTo>
                  <a:lnTo>
                    <a:pt x="261" y="1428"/>
                  </a:lnTo>
                  <a:lnTo>
                    <a:pt x="259" y="1428"/>
                  </a:lnTo>
                  <a:lnTo>
                    <a:pt x="261" y="1428"/>
                  </a:lnTo>
                  <a:lnTo>
                    <a:pt x="261" y="1430"/>
                  </a:lnTo>
                  <a:close/>
                  <a:moveTo>
                    <a:pt x="394" y="1479"/>
                  </a:moveTo>
                  <a:lnTo>
                    <a:pt x="395" y="1479"/>
                  </a:lnTo>
                  <a:lnTo>
                    <a:pt x="394" y="1479"/>
                  </a:lnTo>
                  <a:lnTo>
                    <a:pt x="394" y="1480"/>
                  </a:lnTo>
                  <a:lnTo>
                    <a:pt x="395" y="1480"/>
                  </a:lnTo>
                  <a:lnTo>
                    <a:pt x="395" y="1482"/>
                  </a:lnTo>
                  <a:lnTo>
                    <a:pt x="397" y="1480"/>
                  </a:lnTo>
                  <a:lnTo>
                    <a:pt x="397" y="1482"/>
                  </a:lnTo>
                  <a:lnTo>
                    <a:pt x="395" y="1482"/>
                  </a:lnTo>
                  <a:lnTo>
                    <a:pt x="397" y="1482"/>
                  </a:lnTo>
                  <a:lnTo>
                    <a:pt x="397" y="1484"/>
                  </a:lnTo>
                  <a:lnTo>
                    <a:pt x="399" y="1484"/>
                  </a:lnTo>
                  <a:lnTo>
                    <a:pt x="397" y="1484"/>
                  </a:lnTo>
                  <a:lnTo>
                    <a:pt x="395" y="1484"/>
                  </a:lnTo>
                  <a:lnTo>
                    <a:pt x="395" y="1482"/>
                  </a:lnTo>
                  <a:lnTo>
                    <a:pt x="394" y="1482"/>
                  </a:lnTo>
                  <a:lnTo>
                    <a:pt x="394" y="1484"/>
                  </a:lnTo>
                  <a:lnTo>
                    <a:pt x="392" y="1484"/>
                  </a:lnTo>
                  <a:lnTo>
                    <a:pt x="394" y="1482"/>
                  </a:lnTo>
                  <a:lnTo>
                    <a:pt x="392" y="1482"/>
                  </a:lnTo>
                  <a:lnTo>
                    <a:pt x="394" y="1482"/>
                  </a:lnTo>
                  <a:lnTo>
                    <a:pt x="395" y="1480"/>
                  </a:lnTo>
                  <a:lnTo>
                    <a:pt x="394" y="1480"/>
                  </a:lnTo>
                  <a:lnTo>
                    <a:pt x="394" y="1479"/>
                  </a:lnTo>
                  <a:close/>
                  <a:moveTo>
                    <a:pt x="244" y="1318"/>
                  </a:moveTo>
                  <a:lnTo>
                    <a:pt x="244" y="1316"/>
                  </a:lnTo>
                  <a:lnTo>
                    <a:pt x="244" y="1318"/>
                  </a:lnTo>
                  <a:lnTo>
                    <a:pt x="244" y="1316"/>
                  </a:lnTo>
                  <a:lnTo>
                    <a:pt x="246" y="1318"/>
                  </a:lnTo>
                  <a:lnTo>
                    <a:pt x="246" y="1316"/>
                  </a:lnTo>
                  <a:lnTo>
                    <a:pt x="246" y="1318"/>
                  </a:lnTo>
                  <a:lnTo>
                    <a:pt x="246" y="1319"/>
                  </a:lnTo>
                  <a:lnTo>
                    <a:pt x="247" y="1319"/>
                  </a:lnTo>
                  <a:lnTo>
                    <a:pt x="246" y="1319"/>
                  </a:lnTo>
                  <a:lnTo>
                    <a:pt x="246" y="1318"/>
                  </a:lnTo>
                  <a:lnTo>
                    <a:pt x="247" y="1318"/>
                  </a:lnTo>
                  <a:lnTo>
                    <a:pt x="249" y="1318"/>
                  </a:lnTo>
                  <a:lnTo>
                    <a:pt x="247" y="1318"/>
                  </a:lnTo>
                  <a:lnTo>
                    <a:pt x="249" y="1318"/>
                  </a:lnTo>
                  <a:lnTo>
                    <a:pt x="249" y="1319"/>
                  </a:lnTo>
                  <a:lnTo>
                    <a:pt x="247" y="1319"/>
                  </a:lnTo>
                  <a:lnTo>
                    <a:pt x="246" y="1319"/>
                  </a:lnTo>
                  <a:lnTo>
                    <a:pt x="247" y="1319"/>
                  </a:lnTo>
                  <a:lnTo>
                    <a:pt x="247" y="1321"/>
                  </a:lnTo>
                  <a:lnTo>
                    <a:pt x="246" y="1319"/>
                  </a:lnTo>
                  <a:lnTo>
                    <a:pt x="244" y="1319"/>
                  </a:lnTo>
                  <a:lnTo>
                    <a:pt x="244" y="1318"/>
                  </a:lnTo>
                  <a:lnTo>
                    <a:pt x="246" y="1318"/>
                  </a:lnTo>
                  <a:lnTo>
                    <a:pt x="244" y="1318"/>
                  </a:lnTo>
                  <a:close/>
                  <a:moveTo>
                    <a:pt x="243" y="1407"/>
                  </a:moveTo>
                  <a:lnTo>
                    <a:pt x="241" y="1406"/>
                  </a:lnTo>
                  <a:lnTo>
                    <a:pt x="241" y="1407"/>
                  </a:lnTo>
                  <a:lnTo>
                    <a:pt x="239" y="1406"/>
                  </a:lnTo>
                  <a:lnTo>
                    <a:pt x="241" y="1406"/>
                  </a:lnTo>
                  <a:lnTo>
                    <a:pt x="243" y="1406"/>
                  </a:lnTo>
                  <a:lnTo>
                    <a:pt x="243" y="1407"/>
                  </a:lnTo>
                  <a:lnTo>
                    <a:pt x="243" y="1406"/>
                  </a:lnTo>
                  <a:lnTo>
                    <a:pt x="244" y="1406"/>
                  </a:lnTo>
                  <a:lnTo>
                    <a:pt x="244" y="1407"/>
                  </a:lnTo>
                  <a:lnTo>
                    <a:pt x="246" y="1407"/>
                  </a:lnTo>
                  <a:lnTo>
                    <a:pt x="246" y="1409"/>
                  </a:lnTo>
                  <a:lnTo>
                    <a:pt x="246" y="1410"/>
                  </a:lnTo>
                  <a:lnTo>
                    <a:pt x="244" y="1410"/>
                  </a:lnTo>
                  <a:lnTo>
                    <a:pt x="244" y="1409"/>
                  </a:lnTo>
                  <a:lnTo>
                    <a:pt x="244" y="1407"/>
                  </a:lnTo>
                  <a:lnTo>
                    <a:pt x="243" y="1407"/>
                  </a:lnTo>
                  <a:close/>
                  <a:moveTo>
                    <a:pt x="236" y="1419"/>
                  </a:moveTo>
                  <a:lnTo>
                    <a:pt x="238" y="1419"/>
                  </a:lnTo>
                  <a:lnTo>
                    <a:pt x="238" y="1420"/>
                  </a:lnTo>
                  <a:lnTo>
                    <a:pt x="238" y="1422"/>
                  </a:lnTo>
                  <a:lnTo>
                    <a:pt x="238" y="1420"/>
                  </a:lnTo>
                  <a:lnTo>
                    <a:pt x="238" y="1422"/>
                  </a:lnTo>
                  <a:lnTo>
                    <a:pt x="236" y="1420"/>
                  </a:lnTo>
                  <a:lnTo>
                    <a:pt x="234" y="1420"/>
                  </a:lnTo>
                  <a:lnTo>
                    <a:pt x="234" y="1419"/>
                  </a:lnTo>
                  <a:lnTo>
                    <a:pt x="236" y="1419"/>
                  </a:lnTo>
                  <a:close/>
                  <a:moveTo>
                    <a:pt x="207" y="999"/>
                  </a:moveTo>
                  <a:lnTo>
                    <a:pt x="207" y="997"/>
                  </a:lnTo>
                  <a:lnTo>
                    <a:pt x="207" y="999"/>
                  </a:lnTo>
                  <a:lnTo>
                    <a:pt x="208" y="999"/>
                  </a:lnTo>
                  <a:lnTo>
                    <a:pt x="210" y="999"/>
                  </a:lnTo>
                  <a:lnTo>
                    <a:pt x="208" y="999"/>
                  </a:lnTo>
                  <a:lnTo>
                    <a:pt x="210" y="1001"/>
                  </a:lnTo>
                  <a:lnTo>
                    <a:pt x="210" y="999"/>
                  </a:lnTo>
                  <a:lnTo>
                    <a:pt x="210" y="1001"/>
                  </a:lnTo>
                  <a:lnTo>
                    <a:pt x="208" y="1001"/>
                  </a:lnTo>
                  <a:lnTo>
                    <a:pt x="210" y="1001"/>
                  </a:lnTo>
                  <a:lnTo>
                    <a:pt x="208" y="1002"/>
                  </a:lnTo>
                  <a:lnTo>
                    <a:pt x="210" y="1002"/>
                  </a:lnTo>
                  <a:lnTo>
                    <a:pt x="208" y="1002"/>
                  </a:lnTo>
                  <a:lnTo>
                    <a:pt x="210" y="1002"/>
                  </a:lnTo>
                  <a:lnTo>
                    <a:pt x="208" y="1002"/>
                  </a:lnTo>
                  <a:lnTo>
                    <a:pt x="207" y="1002"/>
                  </a:lnTo>
                  <a:lnTo>
                    <a:pt x="208" y="1002"/>
                  </a:lnTo>
                  <a:lnTo>
                    <a:pt x="208" y="1001"/>
                  </a:lnTo>
                  <a:lnTo>
                    <a:pt x="207" y="1001"/>
                  </a:lnTo>
                  <a:lnTo>
                    <a:pt x="208" y="1001"/>
                  </a:lnTo>
                  <a:lnTo>
                    <a:pt x="207" y="1001"/>
                  </a:lnTo>
                  <a:lnTo>
                    <a:pt x="207" y="999"/>
                  </a:lnTo>
                  <a:close/>
                  <a:moveTo>
                    <a:pt x="161" y="1072"/>
                  </a:moveTo>
                  <a:lnTo>
                    <a:pt x="161" y="1074"/>
                  </a:lnTo>
                  <a:lnTo>
                    <a:pt x="163" y="1074"/>
                  </a:lnTo>
                  <a:lnTo>
                    <a:pt x="161" y="1074"/>
                  </a:lnTo>
                  <a:lnTo>
                    <a:pt x="161" y="1075"/>
                  </a:lnTo>
                  <a:lnTo>
                    <a:pt x="163" y="1075"/>
                  </a:lnTo>
                  <a:lnTo>
                    <a:pt x="163" y="1074"/>
                  </a:lnTo>
                  <a:lnTo>
                    <a:pt x="163" y="1075"/>
                  </a:lnTo>
                  <a:lnTo>
                    <a:pt x="165" y="1075"/>
                  </a:lnTo>
                  <a:lnTo>
                    <a:pt x="163" y="1075"/>
                  </a:lnTo>
                  <a:lnTo>
                    <a:pt x="163" y="1077"/>
                  </a:lnTo>
                  <a:lnTo>
                    <a:pt x="163" y="1079"/>
                  </a:lnTo>
                  <a:lnTo>
                    <a:pt x="163" y="1077"/>
                  </a:lnTo>
                  <a:lnTo>
                    <a:pt x="161" y="1077"/>
                  </a:lnTo>
                  <a:lnTo>
                    <a:pt x="161" y="1075"/>
                  </a:lnTo>
                  <a:lnTo>
                    <a:pt x="160" y="1074"/>
                  </a:lnTo>
                  <a:lnTo>
                    <a:pt x="161" y="1074"/>
                  </a:lnTo>
                  <a:lnTo>
                    <a:pt x="161" y="1075"/>
                  </a:lnTo>
                  <a:lnTo>
                    <a:pt x="161" y="1074"/>
                  </a:lnTo>
                  <a:lnTo>
                    <a:pt x="161" y="1072"/>
                  </a:lnTo>
                  <a:lnTo>
                    <a:pt x="161" y="1074"/>
                  </a:lnTo>
                  <a:lnTo>
                    <a:pt x="161" y="1072"/>
                  </a:lnTo>
                  <a:close/>
                  <a:moveTo>
                    <a:pt x="231" y="1259"/>
                  </a:moveTo>
                  <a:lnTo>
                    <a:pt x="233" y="1259"/>
                  </a:lnTo>
                  <a:lnTo>
                    <a:pt x="234" y="1259"/>
                  </a:lnTo>
                  <a:lnTo>
                    <a:pt x="233" y="1259"/>
                  </a:lnTo>
                  <a:lnTo>
                    <a:pt x="233" y="1261"/>
                  </a:lnTo>
                  <a:lnTo>
                    <a:pt x="234" y="1261"/>
                  </a:lnTo>
                  <a:lnTo>
                    <a:pt x="236" y="1261"/>
                  </a:lnTo>
                  <a:lnTo>
                    <a:pt x="236" y="1262"/>
                  </a:lnTo>
                  <a:lnTo>
                    <a:pt x="234" y="1262"/>
                  </a:lnTo>
                  <a:lnTo>
                    <a:pt x="233" y="1261"/>
                  </a:lnTo>
                  <a:lnTo>
                    <a:pt x="233" y="1259"/>
                  </a:lnTo>
                  <a:lnTo>
                    <a:pt x="231" y="1259"/>
                  </a:lnTo>
                  <a:lnTo>
                    <a:pt x="231" y="1261"/>
                  </a:lnTo>
                  <a:lnTo>
                    <a:pt x="230" y="1261"/>
                  </a:lnTo>
                  <a:lnTo>
                    <a:pt x="231" y="1259"/>
                  </a:lnTo>
                  <a:lnTo>
                    <a:pt x="233" y="1259"/>
                  </a:lnTo>
                  <a:lnTo>
                    <a:pt x="231" y="1259"/>
                  </a:lnTo>
                  <a:close/>
                  <a:moveTo>
                    <a:pt x="192" y="1458"/>
                  </a:moveTo>
                  <a:lnTo>
                    <a:pt x="194" y="1458"/>
                  </a:lnTo>
                  <a:lnTo>
                    <a:pt x="194" y="1459"/>
                  </a:lnTo>
                  <a:lnTo>
                    <a:pt x="195" y="1459"/>
                  </a:lnTo>
                  <a:lnTo>
                    <a:pt x="195" y="1461"/>
                  </a:lnTo>
                  <a:lnTo>
                    <a:pt x="194" y="1461"/>
                  </a:lnTo>
                  <a:lnTo>
                    <a:pt x="194" y="1462"/>
                  </a:lnTo>
                  <a:lnTo>
                    <a:pt x="195" y="1462"/>
                  </a:lnTo>
                  <a:lnTo>
                    <a:pt x="194" y="1462"/>
                  </a:lnTo>
                  <a:lnTo>
                    <a:pt x="192" y="1462"/>
                  </a:lnTo>
                  <a:lnTo>
                    <a:pt x="194" y="1461"/>
                  </a:lnTo>
                  <a:lnTo>
                    <a:pt x="192" y="1461"/>
                  </a:lnTo>
                  <a:lnTo>
                    <a:pt x="192" y="1459"/>
                  </a:lnTo>
                  <a:lnTo>
                    <a:pt x="192" y="1458"/>
                  </a:lnTo>
                  <a:close/>
                  <a:moveTo>
                    <a:pt x="238" y="1433"/>
                  </a:moveTo>
                  <a:lnTo>
                    <a:pt x="236" y="1435"/>
                  </a:lnTo>
                  <a:lnTo>
                    <a:pt x="238" y="1435"/>
                  </a:lnTo>
                  <a:lnTo>
                    <a:pt x="239" y="1436"/>
                  </a:lnTo>
                  <a:lnTo>
                    <a:pt x="238" y="1436"/>
                  </a:lnTo>
                  <a:lnTo>
                    <a:pt x="239" y="1438"/>
                  </a:lnTo>
                  <a:lnTo>
                    <a:pt x="238" y="1438"/>
                  </a:lnTo>
                  <a:lnTo>
                    <a:pt x="238" y="1436"/>
                  </a:lnTo>
                  <a:lnTo>
                    <a:pt x="236" y="1436"/>
                  </a:lnTo>
                  <a:lnTo>
                    <a:pt x="236" y="1438"/>
                  </a:lnTo>
                  <a:lnTo>
                    <a:pt x="236" y="1436"/>
                  </a:lnTo>
                  <a:lnTo>
                    <a:pt x="236" y="1435"/>
                  </a:lnTo>
                  <a:lnTo>
                    <a:pt x="236" y="1433"/>
                  </a:lnTo>
                  <a:lnTo>
                    <a:pt x="236" y="1435"/>
                  </a:lnTo>
                  <a:lnTo>
                    <a:pt x="236" y="1433"/>
                  </a:lnTo>
                  <a:lnTo>
                    <a:pt x="238" y="1433"/>
                  </a:lnTo>
                  <a:close/>
                  <a:moveTo>
                    <a:pt x="166" y="1007"/>
                  </a:moveTo>
                  <a:lnTo>
                    <a:pt x="168" y="1007"/>
                  </a:lnTo>
                  <a:lnTo>
                    <a:pt x="168" y="1009"/>
                  </a:lnTo>
                  <a:lnTo>
                    <a:pt x="166" y="1009"/>
                  </a:lnTo>
                  <a:lnTo>
                    <a:pt x="168" y="1009"/>
                  </a:lnTo>
                  <a:lnTo>
                    <a:pt x="168" y="1010"/>
                  </a:lnTo>
                  <a:lnTo>
                    <a:pt x="166" y="1010"/>
                  </a:lnTo>
                  <a:lnTo>
                    <a:pt x="168" y="1012"/>
                  </a:lnTo>
                  <a:lnTo>
                    <a:pt x="166" y="1012"/>
                  </a:lnTo>
                  <a:lnTo>
                    <a:pt x="166" y="1010"/>
                  </a:lnTo>
                  <a:lnTo>
                    <a:pt x="166" y="1012"/>
                  </a:lnTo>
                  <a:lnTo>
                    <a:pt x="166" y="1010"/>
                  </a:lnTo>
                  <a:lnTo>
                    <a:pt x="165" y="1010"/>
                  </a:lnTo>
                  <a:lnTo>
                    <a:pt x="166" y="1010"/>
                  </a:lnTo>
                  <a:lnTo>
                    <a:pt x="165" y="1010"/>
                  </a:lnTo>
                  <a:lnTo>
                    <a:pt x="166" y="1010"/>
                  </a:lnTo>
                  <a:lnTo>
                    <a:pt x="165" y="1009"/>
                  </a:lnTo>
                  <a:lnTo>
                    <a:pt x="166" y="1009"/>
                  </a:lnTo>
                  <a:lnTo>
                    <a:pt x="165" y="1009"/>
                  </a:lnTo>
                  <a:lnTo>
                    <a:pt x="166" y="1009"/>
                  </a:lnTo>
                  <a:lnTo>
                    <a:pt x="165" y="1009"/>
                  </a:lnTo>
                  <a:lnTo>
                    <a:pt x="166" y="1009"/>
                  </a:lnTo>
                  <a:lnTo>
                    <a:pt x="165" y="1009"/>
                  </a:lnTo>
                  <a:lnTo>
                    <a:pt x="166" y="1009"/>
                  </a:lnTo>
                  <a:lnTo>
                    <a:pt x="166" y="1007"/>
                  </a:lnTo>
                  <a:lnTo>
                    <a:pt x="166" y="1009"/>
                  </a:lnTo>
                  <a:lnTo>
                    <a:pt x="166" y="1007"/>
                  </a:lnTo>
                  <a:close/>
                  <a:moveTo>
                    <a:pt x="239" y="1441"/>
                  </a:moveTo>
                  <a:lnTo>
                    <a:pt x="239" y="1443"/>
                  </a:lnTo>
                  <a:lnTo>
                    <a:pt x="241" y="1443"/>
                  </a:lnTo>
                  <a:lnTo>
                    <a:pt x="241" y="1445"/>
                  </a:lnTo>
                  <a:lnTo>
                    <a:pt x="241" y="1446"/>
                  </a:lnTo>
                  <a:lnTo>
                    <a:pt x="241" y="1445"/>
                  </a:lnTo>
                  <a:lnTo>
                    <a:pt x="243" y="1445"/>
                  </a:lnTo>
                  <a:lnTo>
                    <a:pt x="243" y="1446"/>
                  </a:lnTo>
                  <a:lnTo>
                    <a:pt x="241" y="1446"/>
                  </a:lnTo>
                  <a:lnTo>
                    <a:pt x="241" y="1448"/>
                  </a:lnTo>
                  <a:lnTo>
                    <a:pt x="241" y="1446"/>
                  </a:lnTo>
                  <a:lnTo>
                    <a:pt x="239" y="1446"/>
                  </a:lnTo>
                  <a:lnTo>
                    <a:pt x="239" y="1445"/>
                  </a:lnTo>
                  <a:lnTo>
                    <a:pt x="238" y="1445"/>
                  </a:lnTo>
                  <a:lnTo>
                    <a:pt x="239" y="1445"/>
                  </a:lnTo>
                  <a:lnTo>
                    <a:pt x="238" y="1443"/>
                  </a:lnTo>
                  <a:lnTo>
                    <a:pt x="239" y="1443"/>
                  </a:lnTo>
                  <a:lnTo>
                    <a:pt x="238" y="1443"/>
                  </a:lnTo>
                  <a:lnTo>
                    <a:pt x="239" y="1441"/>
                  </a:lnTo>
                  <a:lnTo>
                    <a:pt x="239" y="1443"/>
                  </a:lnTo>
                  <a:lnTo>
                    <a:pt x="239" y="1441"/>
                  </a:lnTo>
                  <a:close/>
                  <a:moveTo>
                    <a:pt x="199" y="1043"/>
                  </a:moveTo>
                  <a:lnTo>
                    <a:pt x="200" y="1043"/>
                  </a:lnTo>
                  <a:lnTo>
                    <a:pt x="200" y="1044"/>
                  </a:lnTo>
                  <a:lnTo>
                    <a:pt x="200" y="1043"/>
                  </a:lnTo>
                  <a:lnTo>
                    <a:pt x="202" y="1043"/>
                  </a:lnTo>
                  <a:lnTo>
                    <a:pt x="202" y="1044"/>
                  </a:lnTo>
                  <a:lnTo>
                    <a:pt x="202" y="1043"/>
                  </a:lnTo>
                  <a:lnTo>
                    <a:pt x="204" y="1044"/>
                  </a:lnTo>
                  <a:lnTo>
                    <a:pt x="204" y="1046"/>
                  </a:lnTo>
                  <a:lnTo>
                    <a:pt x="202" y="1046"/>
                  </a:lnTo>
                  <a:lnTo>
                    <a:pt x="202" y="1044"/>
                  </a:lnTo>
                  <a:lnTo>
                    <a:pt x="200" y="1044"/>
                  </a:lnTo>
                  <a:lnTo>
                    <a:pt x="199" y="1043"/>
                  </a:lnTo>
                  <a:close/>
                  <a:moveTo>
                    <a:pt x="330" y="1458"/>
                  </a:moveTo>
                  <a:lnTo>
                    <a:pt x="330" y="1459"/>
                  </a:lnTo>
                  <a:lnTo>
                    <a:pt x="330" y="1461"/>
                  </a:lnTo>
                  <a:lnTo>
                    <a:pt x="329" y="1461"/>
                  </a:lnTo>
                  <a:lnTo>
                    <a:pt x="329" y="1462"/>
                  </a:lnTo>
                  <a:lnTo>
                    <a:pt x="329" y="1461"/>
                  </a:lnTo>
                  <a:lnTo>
                    <a:pt x="329" y="1459"/>
                  </a:lnTo>
                  <a:lnTo>
                    <a:pt x="327" y="1458"/>
                  </a:lnTo>
                  <a:lnTo>
                    <a:pt x="329" y="1458"/>
                  </a:lnTo>
                  <a:lnTo>
                    <a:pt x="330" y="1458"/>
                  </a:lnTo>
                  <a:lnTo>
                    <a:pt x="329" y="1458"/>
                  </a:lnTo>
                  <a:lnTo>
                    <a:pt x="330" y="1458"/>
                  </a:lnTo>
                  <a:close/>
                  <a:moveTo>
                    <a:pt x="247" y="1383"/>
                  </a:moveTo>
                  <a:lnTo>
                    <a:pt x="249" y="1383"/>
                  </a:lnTo>
                  <a:lnTo>
                    <a:pt x="251" y="1383"/>
                  </a:lnTo>
                  <a:lnTo>
                    <a:pt x="251" y="1384"/>
                  </a:lnTo>
                  <a:lnTo>
                    <a:pt x="252" y="1384"/>
                  </a:lnTo>
                  <a:lnTo>
                    <a:pt x="251" y="1384"/>
                  </a:lnTo>
                  <a:lnTo>
                    <a:pt x="251" y="1386"/>
                  </a:lnTo>
                  <a:lnTo>
                    <a:pt x="249" y="1386"/>
                  </a:lnTo>
                  <a:lnTo>
                    <a:pt x="249" y="1384"/>
                  </a:lnTo>
                  <a:lnTo>
                    <a:pt x="247" y="1383"/>
                  </a:lnTo>
                  <a:close/>
                  <a:moveTo>
                    <a:pt x="674" y="1337"/>
                  </a:moveTo>
                  <a:lnTo>
                    <a:pt x="675" y="1337"/>
                  </a:lnTo>
                  <a:lnTo>
                    <a:pt x="675" y="1339"/>
                  </a:lnTo>
                  <a:lnTo>
                    <a:pt x="677" y="1339"/>
                  </a:lnTo>
                  <a:lnTo>
                    <a:pt x="678" y="1339"/>
                  </a:lnTo>
                  <a:lnTo>
                    <a:pt x="678" y="1340"/>
                  </a:lnTo>
                  <a:lnTo>
                    <a:pt x="677" y="1340"/>
                  </a:lnTo>
                  <a:lnTo>
                    <a:pt x="675" y="1340"/>
                  </a:lnTo>
                  <a:lnTo>
                    <a:pt x="675" y="1339"/>
                  </a:lnTo>
                  <a:lnTo>
                    <a:pt x="674" y="1337"/>
                  </a:lnTo>
                  <a:close/>
                  <a:moveTo>
                    <a:pt x="345" y="1503"/>
                  </a:moveTo>
                  <a:lnTo>
                    <a:pt x="345" y="1501"/>
                  </a:lnTo>
                  <a:lnTo>
                    <a:pt x="345" y="1503"/>
                  </a:lnTo>
                  <a:lnTo>
                    <a:pt x="347" y="1505"/>
                  </a:lnTo>
                  <a:lnTo>
                    <a:pt x="347" y="1503"/>
                  </a:lnTo>
                  <a:lnTo>
                    <a:pt x="348" y="1503"/>
                  </a:lnTo>
                  <a:lnTo>
                    <a:pt x="347" y="1503"/>
                  </a:lnTo>
                  <a:lnTo>
                    <a:pt x="348" y="1503"/>
                  </a:lnTo>
                  <a:lnTo>
                    <a:pt x="348" y="1505"/>
                  </a:lnTo>
                  <a:lnTo>
                    <a:pt x="350" y="1505"/>
                  </a:lnTo>
                  <a:lnTo>
                    <a:pt x="348" y="1505"/>
                  </a:lnTo>
                  <a:lnTo>
                    <a:pt x="348" y="1506"/>
                  </a:lnTo>
                  <a:lnTo>
                    <a:pt x="347" y="1506"/>
                  </a:lnTo>
                  <a:lnTo>
                    <a:pt x="348" y="1506"/>
                  </a:lnTo>
                  <a:lnTo>
                    <a:pt x="347" y="1506"/>
                  </a:lnTo>
                  <a:lnTo>
                    <a:pt x="347" y="1505"/>
                  </a:lnTo>
                  <a:lnTo>
                    <a:pt x="347" y="1506"/>
                  </a:lnTo>
                  <a:lnTo>
                    <a:pt x="347" y="1505"/>
                  </a:lnTo>
                  <a:lnTo>
                    <a:pt x="347" y="1506"/>
                  </a:lnTo>
                  <a:lnTo>
                    <a:pt x="345" y="1505"/>
                  </a:lnTo>
                  <a:lnTo>
                    <a:pt x="345" y="1503"/>
                  </a:lnTo>
                  <a:close/>
                  <a:moveTo>
                    <a:pt x="298" y="1467"/>
                  </a:moveTo>
                  <a:lnTo>
                    <a:pt x="298" y="1466"/>
                  </a:lnTo>
                  <a:lnTo>
                    <a:pt x="300" y="1467"/>
                  </a:lnTo>
                  <a:lnTo>
                    <a:pt x="301" y="1467"/>
                  </a:lnTo>
                  <a:lnTo>
                    <a:pt x="300" y="1467"/>
                  </a:lnTo>
                  <a:lnTo>
                    <a:pt x="301" y="1467"/>
                  </a:lnTo>
                  <a:lnTo>
                    <a:pt x="300" y="1467"/>
                  </a:lnTo>
                  <a:lnTo>
                    <a:pt x="298" y="1467"/>
                  </a:lnTo>
                  <a:lnTo>
                    <a:pt x="300" y="1467"/>
                  </a:lnTo>
                  <a:lnTo>
                    <a:pt x="300" y="1469"/>
                  </a:lnTo>
                  <a:lnTo>
                    <a:pt x="300" y="1467"/>
                  </a:lnTo>
                  <a:lnTo>
                    <a:pt x="301" y="1467"/>
                  </a:lnTo>
                  <a:lnTo>
                    <a:pt x="303" y="1466"/>
                  </a:lnTo>
                  <a:lnTo>
                    <a:pt x="303" y="1467"/>
                  </a:lnTo>
                  <a:lnTo>
                    <a:pt x="301" y="1467"/>
                  </a:lnTo>
                  <a:lnTo>
                    <a:pt x="303" y="1467"/>
                  </a:lnTo>
                  <a:lnTo>
                    <a:pt x="304" y="1467"/>
                  </a:lnTo>
                  <a:lnTo>
                    <a:pt x="304" y="1469"/>
                  </a:lnTo>
                  <a:lnTo>
                    <a:pt x="303" y="1467"/>
                  </a:lnTo>
                  <a:lnTo>
                    <a:pt x="303" y="1469"/>
                  </a:lnTo>
                  <a:lnTo>
                    <a:pt x="301" y="1469"/>
                  </a:lnTo>
                  <a:lnTo>
                    <a:pt x="303" y="1467"/>
                  </a:lnTo>
                  <a:lnTo>
                    <a:pt x="301" y="1467"/>
                  </a:lnTo>
                  <a:lnTo>
                    <a:pt x="301" y="1469"/>
                  </a:lnTo>
                  <a:lnTo>
                    <a:pt x="300" y="1469"/>
                  </a:lnTo>
                  <a:lnTo>
                    <a:pt x="300" y="1467"/>
                  </a:lnTo>
                  <a:lnTo>
                    <a:pt x="298" y="1469"/>
                  </a:lnTo>
                  <a:lnTo>
                    <a:pt x="298" y="1467"/>
                  </a:lnTo>
                  <a:close/>
                  <a:moveTo>
                    <a:pt x="313" y="1446"/>
                  </a:moveTo>
                  <a:lnTo>
                    <a:pt x="313" y="1448"/>
                  </a:lnTo>
                  <a:lnTo>
                    <a:pt x="313" y="1446"/>
                  </a:lnTo>
                  <a:lnTo>
                    <a:pt x="314" y="1446"/>
                  </a:lnTo>
                  <a:lnTo>
                    <a:pt x="314" y="1448"/>
                  </a:lnTo>
                  <a:lnTo>
                    <a:pt x="314" y="1449"/>
                  </a:lnTo>
                  <a:lnTo>
                    <a:pt x="313" y="1451"/>
                  </a:lnTo>
                  <a:lnTo>
                    <a:pt x="313" y="1449"/>
                  </a:lnTo>
                  <a:lnTo>
                    <a:pt x="311" y="1449"/>
                  </a:lnTo>
                  <a:lnTo>
                    <a:pt x="311" y="1448"/>
                  </a:lnTo>
                  <a:lnTo>
                    <a:pt x="313" y="1448"/>
                  </a:lnTo>
                  <a:lnTo>
                    <a:pt x="313" y="1446"/>
                  </a:lnTo>
                  <a:close/>
                  <a:moveTo>
                    <a:pt x="638" y="1365"/>
                  </a:moveTo>
                  <a:lnTo>
                    <a:pt x="639" y="1365"/>
                  </a:lnTo>
                  <a:lnTo>
                    <a:pt x="638" y="1365"/>
                  </a:lnTo>
                  <a:lnTo>
                    <a:pt x="638" y="1366"/>
                  </a:lnTo>
                  <a:lnTo>
                    <a:pt x="636" y="1365"/>
                  </a:lnTo>
                  <a:lnTo>
                    <a:pt x="635" y="1365"/>
                  </a:lnTo>
                  <a:lnTo>
                    <a:pt x="635" y="1363"/>
                  </a:lnTo>
                  <a:lnTo>
                    <a:pt x="636" y="1363"/>
                  </a:lnTo>
                  <a:lnTo>
                    <a:pt x="636" y="1362"/>
                  </a:lnTo>
                  <a:lnTo>
                    <a:pt x="636" y="1363"/>
                  </a:lnTo>
                  <a:lnTo>
                    <a:pt x="638" y="1363"/>
                  </a:lnTo>
                  <a:lnTo>
                    <a:pt x="638" y="1365"/>
                  </a:lnTo>
                  <a:close/>
                  <a:moveTo>
                    <a:pt x="352" y="1484"/>
                  </a:moveTo>
                  <a:lnTo>
                    <a:pt x="352" y="1485"/>
                  </a:lnTo>
                  <a:lnTo>
                    <a:pt x="353" y="1485"/>
                  </a:lnTo>
                  <a:lnTo>
                    <a:pt x="353" y="1487"/>
                  </a:lnTo>
                  <a:lnTo>
                    <a:pt x="352" y="1487"/>
                  </a:lnTo>
                  <a:lnTo>
                    <a:pt x="352" y="1488"/>
                  </a:lnTo>
                  <a:lnTo>
                    <a:pt x="353" y="1488"/>
                  </a:lnTo>
                  <a:lnTo>
                    <a:pt x="352" y="1488"/>
                  </a:lnTo>
                  <a:lnTo>
                    <a:pt x="352" y="1487"/>
                  </a:lnTo>
                  <a:lnTo>
                    <a:pt x="350" y="1487"/>
                  </a:lnTo>
                  <a:lnTo>
                    <a:pt x="350" y="1485"/>
                  </a:lnTo>
                  <a:lnTo>
                    <a:pt x="350" y="1484"/>
                  </a:lnTo>
                  <a:lnTo>
                    <a:pt x="352" y="1484"/>
                  </a:lnTo>
                  <a:close/>
                  <a:moveTo>
                    <a:pt x="443" y="1467"/>
                  </a:moveTo>
                  <a:lnTo>
                    <a:pt x="444" y="1467"/>
                  </a:lnTo>
                  <a:lnTo>
                    <a:pt x="443" y="1467"/>
                  </a:lnTo>
                  <a:lnTo>
                    <a:pt x="443" y="1469"/>
                  </a:lnTo>
                  <a:lnTo>
                    <a:pt x="441" y="1469"/>
                  </a:lnTo>
                  <a:lnTo>
                    <a:pt x="441" y="1471"/>
                  </a:lnTo>
                  <a:lnTo>
                    <a:pt x="441" y="1472"/>
                  </a:lnTo>
                  <a:lnTo>
                    <a:pt x="441" y="1471"/>
                  </a:lnTo>
                  <a:lnTo>
                    <a:pt x="439" y="1471"/>
                  </a:lnTo>
                  <a:lnTo>
                    <a:pt x="439" y="1469"/>
                  </a:lnTo>
                  <a:lnTo>
                    <a:pt x="441" y="1467"/>
                  </a:lnTo>
                  <a:lnTo>
                    <a:pt x="441" y="1469"/>
                  </a:lnTo>
                  <a:lnTo>
                    <a:pt x="441" y="1467"/>
                  </a:lnTo>
                  <a:lnTo>
                    <a:pt x="443" y="1469"/>
                  </a:lnTo>
                  <a:lnTo>
                    <a:pt x="443" y="1467"/>
                  </a:lnTo>
                  <a:close/>
                  <a:moveTo>
                    <a:pt x="199" y="1475"/>
                  </a:moveTo>
                  <a:lnTo>
                    <a:pt x="200" y="1475"/>
                  </a:lnTo>
                  <a:lnTo>
                    <a:pt x="200" y="1477"/>
                  </a:lnTo>
                  <a:lnTo>
                    <a:pt x="199" y="1477"/>
                  </a:lnTo>
                  <a:lnTo>
                    <a:pt x="199" y="1479"/>
                  </a:lnTo>
                  <a:lnTo>
                    <a:pt x="197" y="1479"/>
                  </a:lnTo>
                  <a:lnTo>
                    <a:pt x="195" y="1479"/>
                  </a:lnTo>
                  <a:lnTo>
                    <a:pt x="195" y="1477"/>
                  </a:lnTo>
                  <a:lnTo>
                    <a:pt x="197" y="1477"/>
                  </a:lnTo>
                  <a:lnTo>
                    <a:pt x="199" y="1477"/>
                  </a:lnTo>
                  <a:lnTo>
                    <a:pt x="199" y="1475"/>
                  </a:lnTo>
                  <a:close/>
                  <a:moveTo>
                    <a:pt x="412" y="1479"/>
                  </a:moveTo>
                  <a:lnTo>
                    <a:pt x="413" y="1479"/>
                  </a:lnTo>
                  <a:lnTo>
                    <a:pt x="415" y="1479"/>
                  </a:lnTo>
                  <a:lnTo>
                    <a:pt x="415" y="1480"/>
                  </a:lnTo>
                  <a:lnTo>
                    <a:pt x="415" y="1479"/>
                  </a:lnTo>
                  <a:lnTo>
                    <a:pt x="417" y="1479"/>
                  </a:lnTo>
                  <a:lnTo>
                    <a:pt x="415" y="1480"/>
                  </a:lnTo>
                  <a:lnTo>
                    <a:pt x="417" y="1480"/>
                  </a:lnTo>
                  <a:lnTo>
                    <a:pt x="415" y="1480"/>
                  </a:lnTo>
                  <a:lnTo>
                    <a:pt x="413" y="1482"/>
                  </a:lnTo>
                  <a:lnTo>
                    <a:pt x="413" y="1480"/>
                  </a:lnTo>
                  <a:lnTo>
                    <a:pt x="412" y="1480"/>
                  </a:lnTo>
                  <a:lnTo>
                    <a:pt x="413" y="1480"/>
                  </a:lnTo>
                  <a:lnTo>
                    <a:pt x="412" y="1480"/>
                  </a:lnTo>
                  <a:lnTo>
                    <a:pt x="412" y="1479"/>
                  </a:lnTo>
                  <a:close/>
                  <a:moveTo>
                    <a:pt x="247" y="1432"/>
                  </a:moveTo>
                  <a:lnTo>
                    <a:pt x="247" y="1433"/>
                  </a:lnTo>
                  <a:lnTo>
                    <a:pt x="247" y="1432"/>
                  </a:lnTo>
                  <a:lnTo>
                    <a:pt x="249" y="1433"/>
                  </a:lnTo>
                  <a:lnTo>
                    <a:pt x="249" y="1435"/>
                  </a:lnTo>
                  <a:lnTo>
                    <a:pt x="251" y="1435"/>
                  </a:lnTo>
                  <a:lnTo>
                    <a:pt x="251" y="1436"/>
                  </a:lnTo>
                  <a:lnTo>
                    <a:pt x="249" y="1436"/>
                  </a:lnTo>
                  <a:lnTo>
                    <a:pt x="249" y="1435"/>
                  </a:lnTo>
                  <a:lnTo>
                    <a:pt x="249" y="1436"/>
                  </a:lnTo>
                  <a:lnTo>
                    <a:pt x="247" y="1436"/>
                  </a:lnTo>
                  <a:lnTo>
                    <a:pt x="247" y="1435"/>
                  </a:lnTo>
                  <a:lnTo>
                    <a:pt x="249" y="1435"/>
                  </a:lnTo>
                  <a:lnTo>
                    <a:pt x="249" y="1433"/>
                  </a:lnTo>
                  <a:lnTo>
                    <a:pt x="247" y="1433"/>
                  </a:lnTo>
                  <a:lnTo>
                    <a:pt x="247" y="1432"/>
                  </a:lnTo>
                  <a:lnTo>
                    <a:pt x="247" y="1430"/>
                  </a:lnTo>
                  <a:lnTo>
                    <a:pt x="247" y="1432"/>
                  </a:lnTo>
                  <a:close/>
                  <a:moveTo>
                    <a:pt x="234" y="1438"/>
                  </a:moveTo>
                  <a:lnTo>
                    <a:pt x="234" y="1436"/>
                  </a:lnTo>
                  <a:lnTo>
                    <a:pt x="236" y="1436"/>
                  </a:lnTo>
                  <a:lnTo>
                    <a:pt x="236" y="1438"/>
                  </a:lnTo>
                  <a:lnTo>
                    <a:pt x="236" y="1440"/>
                  </a:lnTo>
                  <a:lnTo>
                    <a:pt x="236" y="1438"/>
                  </a:lnTo>
                  <a:lnTo>
                    <a:pt x="236" y="1440"/>
                  </a:lnTo>
                  <a:lnTo>
                    <a:pt x="238" y="1440"/>
                  </a:lnTo>
                  <a:lnTo>
                    <a:pt x="236" y="1440"/>
                  </a:lnTo>
                  <a:lnTo>
                    <a:pt x="236" y="1441"/>
                  </a:lnTo>
                  <a:lnTo>
                    <a:pt x="236" y="1443"/>
                  </a:lnTo>
                  <a:lnTo>
                    <a:pt x="236" y="1441"/>
                  </a:lnTo>
                  <a:lnTo>
                    <a:pt x="236" y="1440"/>
                  </a:lnTo>
                  <a:lnTo>
                    <a:pt x="234" y="1440"/>
                  </a:lnTo>
                  <a:lnTo>
                    <a:pt x="234" y="1441"/>
                  </a:lnTo>
                  <a:lnTo>
                    <a:pt x="234" y="1440"/>
                  </a:lnTo>
                  <a:lnTo>
                    <a:pt x="234" y="1438"/>
                  </a:lnTo>
                  <a:close/>
                  <a:moveTo>
                    <a:pt x="282" y="1445"/>
                  </a:moveTo>
                  <a:lnTo>
                    <a:pt x="282" y="1446"/>
                  </a:lnTo>
                  <a:lnTo>
                    <a:pt x="283" y="1446"/>
                  </a:lnTo>
                  <a:lnTo>
                    <a:pt x="285" y="1446"/>
                  </a:lnTo>
                  <a:lnTo>
                    <a:pt x="285" y="1448"/>
                  </a:lnTo>
                  <a:lnTo>
                    <a:pt x="283" y="1448"/>
                  </a:lnTo>
                  <a:lnTo>
                    <a:pt x="282" y="1448"/>
                  </a:lnTo>
                  <a:lnTo>
                    <a:pt x="283" y="1448"/>
                  </a:lnTo>
                  <a:lnTo>
                    <a:pt x="282" y="1449"/>
                  </a:lnTo>
                  <a:lnTo>
                    <a:pt x="282" y="1448"/>
                  </a:lnTo>
                  <a:lnTo>
                    <a:pt x="280" y="1448"/>
                  </a:lnTo>
                  <a:lnTo>
                    <a:pt x="280" y="1446"/>
                  </a:lnTo>
                  <a:lnTo>
                    <a:pt x="280" y="1448"/>
                  </a:lnTo>
                  <a:lnTo>
                    <a:pt x="282" y="1446"/>
                  </a:lnTo>
                  <a:lnTo>
                    <a:pt x="282" y="1445"/>
                  </a:lnTo>
                  <a:close/>
                  <a:moveTo>
                    <a:pt x="257" y="1419"/>
                  </a:moveTo>
                  <a:lnTo>
                    <a:pt x="259" y="1419"/>
                  </a:lnTo>
                  <a:lnTo>
                    <a:pt x="259" y="1420"/>
                  </a:lnTo>
                  <a:lnTo>
                    <a:pt x="259" y="1422"/>
                  </a:lnTo>
                  <a:lnTo>
                    <a:pt x="259" y="1420"/>
                  </a:lnTo>
                  <a:lnTo>
                    <a:pt x="257" y="1420"/>
                  </a:lnTo>
                  <a:lnTo>
                    <a:pt x="257" y="1419"/>
                  </a:lnTo>
                  <a:lnTo>
                    <a:pt x="256" y="1419"/>
                  </a:lnTo>
                  <a:lnTo>
                    <a:pt x="257" y="1417"/>
                  </a:lnTo>
                  <a:lnTo>
                    <a:pt x="257" y="1419"/>
                  </a:lnTo>
                  <a:close/>
                  <a:moveTo>
                    <a:pt x="511" y="1422"/>
                  </a:moveTo>
                  <a:lnTo>
                    <a:pt x="511" y="1420"/>
                  </a:lnTo>
                  <a:lnTo>
                    <a:pt x="511" y="1422"/>
                  </a:lnTo>
                  <a:lnTo>
                    <a:pt x="513" y="1420"/>
                  </a:lnTo>
                  <a:lnTo>
                    <a:pt x="513" y="1422"/>
                  </a:lnTo>
                  <a:lnTo>
                    <a:pt x="514" y="1422"/>
                  </a:lnTo>
                  <a:lnTo>
                    <a:pt x="513" y="1422"/>
                  </a:lnTo>
                  <a:lnTo>
                    <a:pt x="514" y="1423"/>
                  </a:lnTo>
                  <a:lnTo>
                    <a:pt x="514" y="1422"/>
                  </a:lnTo>
                  <a:lnTo>
                    <a:pt x="514" y="1423"/>
                  </a:lnTo>
                  <a:lnTo>
                    <a:pt x="513" y="1423"/>
                  </a:lnTo>
                  <a:lnTo>
                    <a:pt x="511" y="1423"/>
                  </a:lnTo>
                  <a:lnTo>
                    <a:pt x="511" y="1422"/>
                  </a:lnTo>
                  <a:lnTo>
                    <a:pt x="509" y="1422"/>
                  </a:lnTo>
                  <a:lnTo>
                    <a:pt x="511" y="1422"/>
                  </a:lnTo>
                  <a:close/>
                  <a:moveTo>
                    <a:pt x="319" y="1456"/>
                  </a:moveTo>
                  <a:lnTo>
                    <a:pt x="319" y="1458"/>
                  </a:lnTo>
                  <a:lnTo>
                    <a:pt x="317" y="1458"/>
                  </a:lnTo>
                  <a:lnTo>
                    <a:pt x="316" y="1459"/>
                  </a:lnTo>
                  <a:lnTo>
                    <a:pt x="317" y="1458"/>
                  </a:lnTo>
                  <a:lnTo>
                    <a:pt x="316" y="1458"/>
                  </a:lnTo>
                  <a:lnTo>
                    <a:pt x="317" y="1458"/>
                  </a:lnTo>
                  <a:lnTo>
                    <a:pt x="317" y="1456"/>
                  </a:lnTo>
                  <a:lnTo>
                    <a:pt x="317" y="1454"/>
                  </a:lnTo>
                  <a:lnTo>
                    <a:pt x="319" y="1454"/>
                  </a:lnTo>
                  <a:lnTo>
                    <a:pt x="321" y="1454"/>
                  </a:lnTo>
                  <a:lnTo>
                    <a:pt x="319" y="1454"/>
                  </a:lnTo>
                  <a:lnTo>
                    <a:pt x="319" y="1456"/>
                  </a:lnTo>
                  <a:close/>
                  <a:moveTo>
                    <a:pt x="376" y="1425"/>
                  </a:moveTo>
                  <a:lnTo>
                    <a:pt x="378" y="1425"/>
                  </a:lnTo>
                  <a:lnTo>
                    <a:pt x="378" y="1423"/>
                  </a:lnTo>
                  <a:lnTo>
                    <a:pt x="379" y="1425"/>
                  </a:lnTo>
                  <a:lnTo>
                    <a:pt x="378" y="1427"/>
                  </a:lnTo>
                  <a:lnTo>
                    <a:pt x="378" y="1428"/>
                  </a:lnTo>
                  <a:lnTo>
                    <a:pt x="376" y="1428"/>
                  </a:lnTo>
                  <a:lnTo>
                    <a:pt x="378" y="1427"/>
                  </a:lnTo>
                  <a:lnTo>
                    <a:pt x="376" y="1427"/>
                  </a:lnTo>
                  <a:lnTo>
                    <a:pt x="376" y="1425"/>
                  </a:lnTo>
                  <a:close/>
                  <a:moveTo>
                    <a:pt x="143" y="1453"/>
                  </a:moveTo>
                  <a:lnTo>
                    <a:pt x="145" y="1453"/>
                  </a:lnTo>
                  <a:lnTo>
                    <a:pt x="145" y="1454"/>
                  </a:lnTo>
                  <a:lnTo>
                    <a:pt x="145" y="1456"/>
                  </a:lnTo>
                  <a:lnTo>
                    <a:pt x="145" y="1454"/>
                  </a:lnTo>
                  <a:lnTo>
                    <a:pt x="145" y="1456"/>
                  </a:lnTo>
                  <a:lnTo>
                    <a:pt x="143" y="1456"/>
                  </a:lnTo>
                  <a:lnTo>
                    <a:pt x="143" y="1454"/>
                  </a:lnTo>
                  <a:lnTo>
                    <a:pt x="143" y="1453"/>
                  </a:lnTo>
                  <a:close/>
                  <a:moveTo>
                    <a:pt x="313" y="651"/>
                  </a:moveTo>
                  <a:lnTo>
                    <a:pt x="313" y="652"/>
                  </a:lnTo>
                  <a:lnTo>
                    <a:pt x="311" y="652"/>
                  </a:lnTo>
                  <a:lnTo>
                    <a:pt x="311" y="651"/>
                  </a:lnTo>
                  <a:lnTo>
                    <a:pt x="313" y="651"/>
                  </a:lnTo>
                  <a:lnTo>
                    <a:pt x="311" y="651"/>
                  </a:lnTo>
                  <a:lnTo>
                    <a:pt x="313" y="651"/>
                  </a:lnTo>
                  <a:lnTo>
                    <a:pt x="311" y="649"/>
                  </a:lnTo>
                  <a:lnTo>
                    <a:pt x="313" y="649"/>
                  </a:lnTo>
                  <a:lnTo>
                    <a:pt x="311" y="649"/>
                  </a:lnTo>
                  <a:lnTo>
                    <a:pt x="311" y="648"/>
                  </a:lnTo>
                  <a:lnTo>
                    <a:pt x="313" y="648"/>
                  </a:lnTo>
                  <a:lnTo>
                    <a:pt x="313" y="649"/>
                  </a:lnTo>
                  <a:lnTo>
                    <a:pt x="313" y="651"/>
                  </a:lnTo>
                  <a:close/>
                  <a:moveTo>
                    <a:pt x="293" y="1471"/>
                  </a:moveTo>
                  <a:lnTo>
                    <a:pt x="293" y="1469"/>
                  </a:lnTo>
                  <a:lnTo>
                    <a:pt x="295" y="1469"/>
                  </a:lnTo>
                  <a:lnTo>
                    <a:pt x="296" y="1469"/>
                  </a:lnTo>
                  <a:lnTo>
                    <a:pt x="296" y="1471"/>
                  </a:lnTo>
                  <a:lnTo>
                    <a:pt x="295" y="1471"/>
                  </a:lnTo>
                  <a:lnTo>
                    <a:pt x="293" y="1471"/>
                  </a:lnTo>
                  <a:lnTo>
                    <a:pt x="295" y="1471"/>
                  </a:lnTo>
                  <a:lnTo>
                    <a:pt x="293" y="1471"/>
                  </a:lnTo>
                  <a:lnTo>
                    <a:pt x="293" y="1472"/>
                  </a:lnTo>
                  <a:lnTo>
                    <a:pt x="291" y="1472"/>
                  </a:lnTo>
                  <a:lnTo>
                    <a:pt x="290" y="1471"/>
                  </a:lnTo>
                  <a:lnTo>
                    <a:pt x="291" y="1471"/>
                  </a:lnTo>
                  <a:lnTo>
                    <a:pt x="293" y="1471"/>
                  </a:lnTo>
                  <a:close/>
                  <a:moveTo>
                    <a:pt x="343" y="656"/>
                  </a:moveTo>
                  <a:lnTo>
                    <a:pt x="345" y="656"/>
                  </a:lnTo>
                  <a:lnTo>
                    <a:pt x="347" y="656"/>
                  </a:lnTo>
                  <a:lnTo>
                    <a:pt x="347" y="657"/>
                  </a:lnTo>
                  <a:lnTo>
                    <a:pt x="347" y="659"/>
                  </a:lnTo>
                  <a:lnTo>
                    <a:pt x="347" y="657"/>
                  </a:lnTo>
                  <a:lnTo>
                    <a:pt x="347" y="659"/>
                  </a:lnTo>
                  <a:lnTo>
                    <a:pt x="345" y="657"/>
                  </a:lnTo>
                  <a:lnTo>
                    <a:pt x="345" y="659"/>
                  </a:lnTo>
                  <a:lnTo>
                    <a:pt x="343" y="657"/>
                  </a:lnTo>
                  <a:lnTo>
                    <a:pt x="345" y="657"/>
                  </a:lnTo>
                  <a:lnTo>
                    <a:pt x="343" y="657"/>
                  </a:lnTo>
                  <a:lnTo>
                    <a:pt x="345" y="656"/>
                  </a:lnTo>
                  <a:lnTo>
                    <a:pt x="343" y="657"/>
                  </a:lnTo>
                  <a:lnTo>
                    <a:pt x="343" y="656"/>
                  </a:lnTo>
                  <a:close/>
                  <a:moveTo>
                    <a:pt x="234" y="1378"/>
                  </a:moveTo>
                  <a:lnTo>
                    <a:pt x="234" y="1380"/>
                  </a:lnTo>
                  <a:lnTo>
                    <a:pt x="236" y="1381"/>
                  </a:lnTo>
                  <a:lnTo>
                    <a:pt x="238" y="1381"/>
                  </a:lnTo>
                  <a:lnTo>
                    <a:pt x="238" y="1383"/>
                  </a:lnTo>
                  <a:lnTo>
                    <a:pt x="236" y="1383"/>
                  </a:lnTo>
                  <a:lnTo>
                    <a:pt x="234" y="1381"/>
                  </a:lnTo>
                  <a:lnTo>
                    <a:pt x="234" y="1383"/>
                  </a:lnTo>
                  <a:lnTo>
                    <a:pt x="234" y="1381"/>
                  </a:lnTo>
                  <a:lnTo>
                    <a:pt x="234" y="1383"/>
                  </a:lnTo>
                  <a:lnTo>
                    <a:pt x="234" y="1381"/>
                  </a:lnTo>
                  <a:lnTo>
                    <a:pt x="233" y="1380"/>
                  </a:lnTo>
                  <a:lnTo>
                    <a:pt x="234" y="1380"/>
                  </a:lnTo>
                  <a:lnTo>
                    <a:pt x="234" y="1378"/>
                  </a:lnTo>
                  <a:close/>
                  <a:moveTo>
                    <a:pt x="540" y="1402"/>
                  </a:moveTo>
                  <a:lnTo>
                    <a:pt x="542" y="1404"/>
                  </a:lnTo>
                  <a:lnTo>
                    <a:pt x="542" y="1402"/>
                  </a:lnTo>
                  <a:lnTo>
                    <a:pt x="543" y="1404"/>
                  </a:lnTo>
                  <a:lnTo>
                    <a:pt x="542" y="1404"/>
                  </a:lnTo>
                  <a:lnTo>
                    <a:pt x="543" y="1404"/>
                  </a:lnTo>
                  <a:lnTo>
                    <a:pt x="545" y="1404"/>
                  </a:lnTo>
                  <a:lnTo>
                    <a:pt x="543" y="1404"/>
                  </a:lnTo>
                  <a:lnTo>
                    <a:pt x="543" y="1406"/>
                  </a:lnTo>
                  <a:lnTo>
                    <a:pt x="542" y="1406"/>
                  </a:lnTo>
                  <a:lnTo>
                    <a:pt x="542" y="1404"/>
                  </a:lnTo>
                  <a:lnTo>
                    <a:pt x="540" y="1404"/>
                  </a:lnTo>
                  <a:lnTo>
                    <a:pt x="539" y="1404"/>
                  </a:lnTo>
                  <a:lnTo>
                    <a:pt x="539" y="1402"/>
                  </a:lnTo>
                  <a:lnTo>
                    <a:pt x="540" y="1402"/>
                  </a:lnTo>
                  <a:close/>
                  <a:moveTo>
                    <a:pt x="202" y="1487"/>
                  </a:moveTo>
                  <a:lnTo>
                    <a:pt x="204" y="1487"/>
                  </a:lnTo>
                  <a:lnTo>
                    <a:pt x="205" y="1487"/>
                  </a:lnTo>
                  <a:lnTo>
                    <a:pt x="207" y="1487"/>
                  </a:lnTo>
                  <a:lnTo>
                    <a:pt x="207" y="1488"/>
                  </a:lnTo>
                  <a:lnTo>
                    <a:pt x="205" y="1488"/>
                  </a:lnTo>
                  <a:lnTo>
                    <a:pt x="204" y="1488"/>
                  </a:lnTo>
                  <a:lnTo>
                    <a:pt x="204" y="1490"/>
                  </a:lnTo>
                  <a:lnTo>
                    <a:pt x="202" y="1488"/>
                  </a:lnTo>
                  <a:lnTo>
                    <a:pt x="204" y="1488"/>
                  </a:lnTo>
                  <a:lnTo>
                    <a:pt x="202" y="1488"/>
                  </a:lnTo>
                  <a:lnTo>
                    <a:pt x="202" y="1487"/>
                  </a:lnTo>
                  <a:close/>
                  <a:moveTo>
                    <a:pt x="267" y="1410"/>
                  </a:moveTo>
                  <a:lnTo>
                    <a:pt x="269" y="1410"/>
                  </a:lnTo>
                  <a:lnTo>
                    <a:pt x="269" y="1412"/>
                  </a:lnTo>
                  <a:lnTo>
                    <a:pt x="270" y="1414"/>
                  </a:lnTo>
                  <a:lnTo>
                    <a:pt x="269" y="1414"/>
                  </a:lnTo>
                  <a:lnTo>
                    <a:pt x="267" y="1412"/>
                  </a:lnTo>
                  <a:lnTo>
                    <a:pt x="267" y="1410"/>
                  </a:lnTo>
                  <a:close/>
                  <a:moveTo>
                    <a:pt x="225" y="1018"/>
                  </a:moveTo>
                  <a:lnTo>
                    <a:pt x="226" y="1017"/>
                  </a:lnTo>
                  <a:lnTo>
                    <a:pt x="226" y="1018"/>
                  </a:lnTo>
                  <a:lnTo>
                    <a:pt x="226" y="1020"/>
                  </a:lnTo>
                  <a:lnTo>
                    <a:pt x="226" y="1022"/>
                  </a:lnTo>
                  <a:lnTo>
                    <a:pt x="225" y="1022"/>
                  </a:lnTo>
                  <a:lnTo>
                    <a:pt x="225" y="1020"/>
                  </a:lnTo>
                  <a:lnTo>
                    <a:pt x="225" y="1018"/>
                  </a:lnTo>
                  <a:close/>
                  <a:moveTo>
                    <a:pt x="262" y="1430"/>
                  </a:moveTo>
                  <a:lnTo>
                    <a:pt x="264" y="1430"/>
                  </a:lnTo>
                  <a:lnTo>
                    <a:pt x="264" y="1432"/>
                  </a:lnTo>
                  <a:lnTo>
                    <a:pt x="265" y="1432"/>
                  </a:lnTo>
                  <a:lnTo>
                    <a:pt x="265" y="1433"/>
                  </a:lnTo>
                  <a:lnTo>
                    <a:pt x="264" y="1433"/>
                  </a:lnTo>
                  <a:lnTo>
                    <a:pt x="262" y="1433"/>
                  </a:lnTo>
                  <a:lnTo>
                    <a:pt x="262" y="1432"/>
                  </a:lnTo>
                  <a:lnTo>
                    <a:pt x="262" y="1430"/>
                  </a:lnTo>
                  <a:close/>
                  <a:moveTo>
                    <a:pt x="343" y="1490"/>
                  </a:moveTo>
                  <a:lnTo>
                    <a:pt x="345" y="1490"/>
                  </a:lnTo>
                  <a:lnTo>
                    <a:pt x="345" y="1492"/>
                  </a:lnTo>
                  <a:lnTo>
                    <a:pt x="343" y="1492"/>
                  </a:lnTo>
                  <a:lnTo>
                    <a:pt x="342" y="1492"/>
                  </a:lnTo>
                  <a:lnTo>
                    <a:pt x="342" y="1493"/>
                  </a:lnTo>
                  <a:lnTo>
                    <a:pt x="342" y="1492"/>
                  </a:lnTo>
                  <a:lnTo>
                    <a:pt x="342" y="1490"/>
                  </a:lnTo>
                  <a:lnTo>
                    <a:pt x="343" y="1490"/>
                  </a:lnTo>
                  <a:close/>
                  <a:moveTo>
                    <a:pt x="290" y="1433"/>
                  </a:moveTo>
                  <a:lnTo>
                    <a:pt x="288" y="1435"/>
                  </a:lnTo>
                  <a:lnTo>
                    <a:pt x="287" y="1435"/>
                  </a:lnTo>
                  <a:lnTo>
                    <a:pt x="285" y="1435"/>
                  </a:lnTo>
                  <a:lnTo>
                    <a:pt x="287" y="1433"/>
                  </a:lnTo>
                  <a:lnTo>
                    <a:pt x="285" y="1433"/>
                  </a:lnTo>
                  <a:lnTo>
                    <a:pt x="287" y="1433"/>
                  </a:lnTo>
                  <a:lnTo>
                    <a:pt x="288" y="1433"/>
                  </a:lnTo>
                  <a:lnTo>
                    <a:pt x="290" y="1433"/>
                  </a:lnTo>
                  <a:lnTo>
                    <a:pt x="290" y="1432"/>
                  </a:lnTo>
                  <a:lnTo>
                    <a:pt x="290" y="1433"/>
                  </a:lnTo>
                  <a:close/>
                  <a:moveTo>
                    <a:pt x="171" y="1448"/>
                  </a:moveTo>
                  <a:lnTo>
                    <a:pt x="171" y="1446"/>
                  </a:lnTo>
                  <a:lnTo>
                    <a:pt x="171" y="1448"/>
                  </a:lnTo>
                  <a:lnTo>
                    <a:pt x="173" y="1448"/>
                  </a:lnTo>
                  <a:lnTo>
                    <a:pt x="171" y="1449"/>
                  </a:lnTo>
                  <a:lnTo>
                    <a:pt x="171" y="1451"/>
                  </a:lnTo>
                  <a:lnTo>
                    <a:pt x="169" y="1451"/>
                  </a:lnTo>
                  <a:lnTo>
                    <a:pt x="169" y="1449"/>
                  </a:lnTo>
                  <a:lnTo>
                    <a:pt x="169" y="1448"/>
                  </a:lnTo>
                  <a:lnTo>
                    <a:pt x="171" y="1448"/>
                  </a:lnTo>
                  <a:close/>
                  <a:moveTo>
                    <a:pt x="243" y="1319"/>
                  </a:moveTo>
                  <a:lnTo>
                    <a:pt x="244" y="1319"/>
                  </a:lnTo>
                  <a:lnTo>
                    <a:pt x="246" y="1319"/>
                  </a:lnTo>
                  <a:lnTo>
                    <a:pt x="247" y="1321"/>
                  </a:lnTo>
                  <a:lnTo>
                    <a:pt x="246" y="1321"/>
                  </a:lnTo>
                  <a:lnTo>
                    <a:pt x="244" y="1321"/>
                  </a:lnTo>
                  <a:lnTo>
                    <a:pt x="243" y="1321"/>
                  </a:lnTo>
                  <a:lnTo>
                    <a:pt x="243" y="1319"/>
                  </a:lnTo>
                  <a:close/>
                  <a:moveTo>
                    <a:pt x="308" y="1425"/>
                  </a:moveTo>
                  <a:lnTo>
                    <a:pt x="309" y="1425"/>
                  </a:lnTo>
                  <a:lnTo>
                    <a:pt x="308" y="1427"/>
                  </a:lnTo>
                  <a:lnTo>
                    <a:pt x="306" y="1427"/>
                  </a:lnTo>
                  <a:lnTo>
                    <a:pt x="306" y="1425"/>
                  </a:lnTo>
                  <a:lnTo>
                    <a:pt x="306" y="1423"/>
                  </a:lnTo>
                  <a:lnTo>
                    <a:pt x="308" y="1423"/>
                  </a:lnTo>
                  <a:lnTo>
                    <a:pt x="308" y="1425"/>
                  </a:lnTo>
                  <a:close/>
                  <a:moveTo>
                    <a:pt x="275" y="1464"/>
                  </a:moveTo>
                  <a:lnTo>
                    <a:pt x="275" y="1466"/>
                  </a:lnTo>
                  <a:lnTo>
                    <a:pt x="274" y="1466"/>
                  </a:lnTo>
                  <a:lnTo>
                    <a:pt x="274" y="1467"/>
                  </a:lnTo>
                  <a:lnTo>
                    <a:pt x="274" y="1466"/>
                  </a:lnTo>
                  <a:lnTo>
                    <a:pt x="274" y="1467"/>
                  </a:lnTo>
                  <a:lnTo>
                    <a:pt x="274" y="1466"/>
                  </a:lnTo>
                  <a:lnTo>
                    <a:pt x="272" y="1467"/>
                  </a:lnTo>
                  <a:lnTo>
                    <a:pt x="272" y="1466"/>
                  </a:lnTo>
                  <a:lnTo>
                    <a:pt x="274" y="1466"/>
                  </a:lnTo>
                  <a:lnTo>
                    <a:pt x="274" y="1464"/>
                  </a:lnTo>
                  <a:lnTo>
                    <a:pt x="274" y="1462"/>
                  </a:lnTo>
                  <a:lnTo>
                    <a:pt x="275" y="1462"/>
                  </a:lnTo>
                  <a:lnTo>
                    <a:pt x="275" y="1464"/>
                  </a:lnTo>
                  <a:close/>
                  <a:moveTo>
                    <a:pt x="285" y="1474"/>
                  </a:moveTo>
                  <a:lnTo>
                    <a:pt x="287" y="1472"/>
                  </a:lnTo>
                  <a:lnTo>
                    <a:pt x="288" y="1472"/>
                  </a:lnTo>
                  <a:lnTo>
                    <a:pt x="290" y="1472"/>
                  </a:lnTo>
                  <a:lnTo>
                    <a:pt x="290" y="1474"/>
                  </a:lnTo>
                  <a:lnTo>
                    <a:pt x="288" y="1474"/>
                  </a:lnTo>
                  <a:lnTo>
                    <a:pt x="287" y="1474"/>
                  </a:lnTo>
                  <a:lnTo>
                    <a:pt x="285" y="1474"/>
                  </a:lnTo>
                  <a:close/>
                  <a:moveTo>
                    <a:pt x="301" y="1497"/>
                  </a:moveTo>
                  <a:lnTo>
                    <a:pt x="301" y="1498"/>
                  </a:lnTo>
                  <a:lnTo>
                    <a:pt x="300" y="1498"/>
                  </a:lnTo>
                  <a:lnTo>
                    <a:pt x="301" y="1498"/>
                  </a:lnTo>
                  <a:lnTo>
                    <a:pt x="300" y="1498"/>
                  </a:lnTo>
                  <a:lnTo>
                    <a:pt x="300" y="1500"/>
                  </a:lnTo>
                  <a:lnTo>
                    <a:pt x="300" y="1498"/>
                  </a:lnTo>
                  <a:lnTo>
                    <a:pt x="300" y="1500"/>
                  </a:lnTo>
                  <a:lnTo>
                    <a:pt x="298" y="1500"/>
                  </a:lnTo>
                  <a:lnTo>
                    <a:pt x="300" y="1500"/>
                  </a:lnTo>
                  <a:lnTo>
                    <a:pt x="298" y="1500"/>
                  </a:lnTo>
                  <a:lnTo>
                    <a:pt x="300" y="1498"/>
                  </a:lnTo>
                  <a:lnTo>
                    <a:pt x="301" y="1498"/>
                  </a:lnTo>
                  <a:lnTo>
                    <a:pt x="300" y="1497"/>
                  </a:lnTo>
                  <a:lnTo>
                    <a:pt x="301" y="1495"/>
                  </a:lnTo>
                  <a:lnTo>
                    <a:pt x="301" y="1497"/>
                  </a:lnTo>
                  <a:close/>
                  <a:moveTo>
                    <a:pt x="311" y="1462"/>
                  </a:moveTo>
                  <a:lnTo>
                    <a:pt x="313" y="1462"/>
                  </a:lnTo>
                  <a:lnTo>
                    <a:pt x="314" y="1462"/>
                  </a:lnTo>
                  <a:lnTo>
                    <a:pt x="313" y="1462"/>
                  </a:lnTo>
                  <a:lnTo>
                    <a:pt x="313" y="1464"/>
                  </a:lnTo>
                  <a:lnTo>
                    <a:pt x="311" y="1464"/>
                  </a:lnTo>
                  <a:lnTo>
                    <a:pt x="313" y="1464"/>
                  </a:lnTo>
                  <a:lnTo>
                    <a:pt x="311" y="1464"/>
                  </a:lnTo>
                  <a:lnTo>
                    <a:pt x="309" y="1464"/>
                  </a:lnTo>
                  <a:lnTo>
                    <a:pt x="311" y="1462"/>
                  </a:lnTo>
                  <a:close/>
                  <a:moveTo>
                    <a:pt x="205" y="1007"/>
                  </a:moveTo>
                  <a:lnTo>
                    <a:pt x="207" y="1007"/>
                  </a:lnTo>
                  <a:lnTo>
                    <a:pt x="207" y="1009"/>
                  </a:lnTo>
                  <a:lnTo>
                    <a:pt x="205" y="1010"/>
                  </a:lnTo>
                  <a:lnTo>
                    <a:pt x="205" y="1009"/>
                  </a:lnTo>
                  <a:lnTo>
                    <a:pt x="205" y="1010"/>
                  </a:lnTo>
                  <a:lnTo>
                    <a:pt x="205" y="1009"/>
                  </a:lnTo>
                  <a:lnTo>
                    <a:pt x="204" y="1009"/>
                  </a:lnTo>
                  <a:lnTo>
                    <a:pt x="204" y="1007"/>
                  </a:lnTo>
                  <a:lnTo>
                    <a:pt x="205" y="1009"/>
                  </a:lnTo>
                  <a:lnTo>
                    <a:pt x="205" y="1007"/>
                  </a:lnTo>
                  <a:close/>
                  <a:moveTo>
                    <a:pt x="293" y="1511"/>
                  </a:moveTo>
                  <a:lnTo>
                    <a:pt x="293" y="1513"/>
                  </a:lnTo>
                  <a:lnTo>
                    <a:pt x="291" y="1513"/>
                  </a:lnTo>
                  <a:lnTo>
                    <a:pt x="290" y="1513"/>
                  </a:lnTo>
                  <a:lnTo>
                    <a:pt x="290" y="1514"/>
                  </a:lnTo>
                  <a:lnTo>
                    <a:pt x="288" y="1514"/>
                  </a:lnTo>
                  <a:lnTo>
                    <a:pt x="287" y="1514"/>
                  </a:lnTo>
                  <a:lnTo>
                    <a:pt x="288" y="1514"/>
                  </a:lnTo>
                  <a:lnTo>
                    <a:pt x="288" y="1513"/>
                  </a:lnTo>
                  <a:lnTo>
                    <a:pt x="290" y="1513"/>
                  </a:lnTo>
                  <a:lnTo>
                    <a:pt x="288" y="1513"/>
                  </a:lnTo>
                  <a:lnTo>
                    <a:pt x="290" y="1513"/>
                  </a:lnTo>
                  <a:lnTo>
                    <a:pt x="290" y="1511"/>
                  </a:lnTo>
                  <a:lnTo>
                    <a:pt x="291" y="1511"/>
                  </a:lnTo>
                  <a:lnTo>
                    <a:pt x="293" y="1511"/>
                  </a:lnTo>
                  <a:close/>
                  <a:moveTo>
                    <a:pt x="342" y="690"/>
                  </a:moveTo>
                  <a:lnTo>
                    <a:pt x="342" y="692"/>
                  </a:lnTo>
                  <a:lnTo>
                    <a:pt x="342" y="693"/>
                  </a:lnTo>
                  <a:lnTo>
                    <a:pt x="340" y="693"/>
                  </a:lnTo>
                  <a:lnTo>
                    <a:pt x="342" y="693"/>
                  </a:lnTo>
                  <a:lnTo>
                    <a:pt x="340" y="693"/>
                  </a:lnTo>
                  <a:lnTo>
                    <a:pt x="340" y="692"/>
                  </a:lnTo>
                  <a:lnTo>
                    <a:pt x="340" y="690"/>
                  </a:lnTo>
                  <a:lnTo>
                    <a:pt x="342" y="690"/>
                  </a:lnTo>
                  <a:close/>
                  <a:moveTo>
                    <a:pt x="340" y="656"/>
                  </a:moveTo>
                  <a:lnTo>
                    <a:pt x="340" y="657"/>
                  </a:lnTo>
                  <a:lnTo>
                    <a:pt x="342" y="657"/>
                  </a:lnTo>
                  <a:lnTo>
                    <a:pt x="342" y="659"/>
                  </a:lnTo>
                  <a:lnTo>
                    <a:pt x="340" y="659"/>
                  </a:lnTo>
                  <a:lnTo>
                    <a:pt x="342" y="659"/>
                  </a:lnTo>
                  <a:lnTo>
                    <a:pt x="342" y="661"/>
                  </a:lnTo>
                  <a:lnTo>
                    <a:pt x="340" y="661"/>
                  </a:lnTo>
                  <a:lnTo>
                    <a:pt x="340" y="659"/>
                  </a:lnTo>
                  <a:lnTo>
                    <a:pt x="339" y="657"/>
                  </a:lnTo>
                  <a:lnTo>
                    <a:pt x="340" y="657"/>
                  </a:lnTo>
                  <a:lnTo>
                    <a:pt x="339" y="657"/>
                  </a:lnTo>
                  <a:lnTo>
                    <a:pt x="340" y="656"/>
                  </a:lnTo>
                  <a:close/>
                  <a:moveTo>
                    <a:pt x="277" y="1420"/>
                  </a:moveTo>
                  <a:lnTo>
                    <a:pt x="278" y="1420"/>
                  </a:lnTo>
                  <a:lnTo>
                    <a:pt x="280" y="1420"/>
                  </a:lnTo>
                  <a:lnTo>
                    <a:pt x="280" y="1422"/>
                  </a:lnTo>
                  <a:lnTo>
                    <a:pt x="278" y="1422"/>
                  </a:lnTo>
                  <a:lnTo>
                    <a:pt x="278" y="1423"/>
                  </a:lnTo>
                  <a:lnTo>
                    <a:pt x="278" y="1422"/>
                  </a:lnTo>
                  <a:lnTo>
                    <a:pt x="277" y="1422"/>
                  </a:lnTo>
                  <a:lnTo>
                    <a:pt x="278" y="1422"/>
                  </a:lnTo>
                  <a:lnTo>
                    <a:pt x="278" y="1420"/>
                  </a:lnTo>
                  <a:lnTo>
                    <a:pt x="277" y="1420"/>
                  </a:lnTo>
                  <a:close/>
                  <a:moveTo>
                    <a:pt x="192" y="1025"/>
                  </a:moveTo>
                  <a:lnTo>
                    <a:pt x="192" y="1023"/>
                  </a:lnTo>
                  <a:lnTo>
                    <a:pt x="192" y="1025"/>
                  </a:lnTo>
                  <a:lnTo>
                    <a:pt x="194" y="1025"/>
                  </a:lnTo>
                  <a:lnTo>
                    <a:pt x="192" y="1027"/>
                  </a:lnTo>
                  <a:lnTo>
                    <a:pt x="194" y="1027"/>
                  </a:lnTo>
                  <a:lnTo>
                    <a:pt x="194" y="1028"/>
                  </a:lnTo>
                  <a:lnTo>
                    <a:pt x="192" y="1028"/>
                  </a:lnTo>
                  <a:lnTo>
                    <a:pt x="192" y="1027"/>
                  </a:lnTo>
                  <a:lnTo>
                    <a:pt x="191" y="1025"/>
                  </a:lnTo>
                  <a:lnTo>
                    <a:pt x="191" y="1027"/>
                  </a:lnTo>
                  <a:lnTo>
                    <a:pt x="191" y="1025"/>
                  </a:lnTo>
                  <a:lnTo>
                    <a:pt x="191" y="1027"/>
                  </a:lnTo>
                  <a:lnTo>
                    <a:pt x="191" y="1025"/>
                  </a:lnTo>
                  <a:lnTo>
                    <a:pt x="191" y="1027"/>
                  </a:lnTo>
                  <a:lnTo>
                    <a:pt x="191" y="1025"/>
                  </a:lnTo>
                  <a:lnTo>
                    <a:pt x="189" y="1025"/>
                  </a:lnTo>
                  <a:lnTo>
                    <a:pt x="191" y="1025"/>
                  </a:lnTo>
                  <a:lnTo>
                    <a:pt x="192" y="1025"/>
                  </a:lnTo>
                  <a:close/>
                  <a:moveTo>
                    <a:pt x="319" y="1462"/>
                  </a:moveTo>
                  <a:lnTo>
                    <a:pt x="317" y="1462"/>
                  </a:lnTo>
                  <a:lnTo>
                    <a:pt x="317" y="1461"/>
                  </a:lnTo>
                  <a:lnTo>
                    <a:pt x="319" y="1461"/>
                  </a:lnTo>
                  <a:lnTo>
                    <a:pt x="317" y="1461"/>
                  </a:lnTo>
                  <a:lnTo>
                    <a:pt x="317" y="1459"/>
                  </a:lnTo>
                  <a:lnTo>
                    <a:pt x="319" y="1459"/>
                  </a:lnTo>
                  <a:lnTo>
                    <a:pt x="319" y="1461"/>
                  </a:lnTo>
                  <a:lnTo>
                    <a:pt x="321" y="1461"/>
                  </a:lnTo>
                  <a:lnTo>
                    <a:pt x="319" y="1462"/>
                  </a:lnTo>
                  <a:close/>
                  <a:moveTo>
                    <a:pt x="275" y="1472"/>
                  </a:moveTo>
                  <a:lnTo>
                    <a:pt x="275" y="1474"/>
                  </a:lnTo>
                  <a:lnTo>
                    <a:pt x="275" y="1472"/>
                  </a:lnTo>
                  <a:lnTo>
                    <a:pt x="277" y="1472"/>
                  </a:lnTo>
                  <a:lnTo>
                    <a:pt x="277" y="1474"/>
                  </a:lnTo>
                  <a:lnTo>
                    <a:pt x="275" y="1474"/>
                  </a:lnTo>
                  <a:lnTo>
                    <a:pt x="275" y="1475"/>
                  </a:lnTo>
                  <a:lnTo>
                    <a:pt x="274" y="1475"/>
                  </a:lnTo>
                  <a:lnTo>
                    <a:pt x="274" y="1474"/>
                  </a:lnTo>
                  <a:lnTo>
                    <a:pt x="275" y="1474"/>
                  </a:lnTo>
                  <a:lnTo>
                    <a:pt x="275" y="1472"/>
                  </a:lnTo>
                  <a:close/>
                  <a:moveTo>
                    <a:pt x="239" y="1440"/>
                  </a:moveTo>
                  <a:lnTo>
                    <a:pt x="239" y="1438"/>
                  </a:lnTo>
                  <a:lnTo>
                    <a:pt x="239" y="1440"/>
                  </a:lnTo>
                  <a:lnTo>
                    <a:pt x="241" y="1440"/>
                  </a:lnTo>
                  <a:lnTo>
                    <a:pt x="241" y="1441"/>
                  </a:lnTo>
                  <a:lnTo>
                    <a:pt x="241" y="1443"/>
                  </a:lnTo>
                  <a:lnTo>
                    <a:pt x="239" y="1441"/>
                  </a:lnTo>
                  <a:lnTo>
                    <a:pt x="239" y="1443"/>
                  </a:lnTo>
                  <a:lnTo>
                    <a:pt x="239" y="1441"/>
                  </a:lnTo>
                  <a:lnTo>
                    <a:pt x="239" y="1440"/>
                  </a:lnTo>
                  <a:lnTo>
                    <a:pt x="239" y="1441"/>
                  </a:lnTo>
                  <a:lnTo>
                    <a:pt x="239" y="1440"/>
                  </a:lnTo>
                  <a:lnTo>
                    <a:pt x="238" y="1440"/>
                  </a:lnTo>
                  <a:lnTo>
                    <a:pt x="239" y="1441"/>
                  </a:lnTo>
                  <a:lnTo>
                    <a:pt x="238" y="1440"/>
                  </a:lnTo>
                  <a:lnTo>
                    <a:pt x="238" y="1441"/>
                  </a:lnTo>
                  <a:lnTo>
                    <a:pt x="238" y="1440"/>
                  </a:lnTo>
                  <a:lnTo>
                    <a:pt x="239" y="1440"/>
                  </a:lnTo>
                  <a:close/>
                  <a:moveTo>
                    <a:pt x="220" y="1466"/>
                  </a:moveTo>
                  <a:lnTo>
                    <a:pt x="220" y="1467"/>
                  </a:lnTo>
                  <a:lnTo>
                    <a:pt x="218" y="1467"/>
                  </a:lnTo>
                  <a:lnTo>
                    <a:pt x="218" y="1464"/>
                  </a:lnTo>
                  <a:lnTo>
                    <a:pt x="218" y="1462"/>
                  </a:lnTo>
                  <a:lnTo>
                    <a:pt x="218" y="1464"/>
                  </a:lnTo>
                  <a:lnTo>
                    <a:pt x="220" y="1464"/>
                  </a:lnTo>
                  <a:lnTo>
                    <a:pt x="220" y="1466"/>
                  </a:lnTo>
                  <a:close/>
                  <a:moveTo>
                    <a:pt x="581" y="1396"/>
                  </a:moveTo>
                  <a:lnTo>
                    <a:pt x="583" y="1396"/>
                  </a:lnTo>
                  <a:lnTo>
                    <a:pt x="584" y="1396"/>
                  </a:lnTo>
                  <a:lnTo>
                    <a:pt x="583" y="1396"/>
                  </a:lnTo>
                  <a:lnTo>
                    <a:pt x="584" y="1396"/>
                  </a:lnTo>
                  <a:lnTo>
                    <a:pt x="584" y="1397"/>
                  </a:lnTo>
                  <a:lnTo>
                    <a:pt x="586" y="1397"/>
                  </a:lnTo>
                  <a:lnTo>
                    <a:pt x="584" y="1397"/>
                  </a:lnTo>
                  <a:lnTo>
                    <a:pt x="583" y="1397"/>
                  </a:lnTo>
                  <a:lnTo>
                    <a:pt x="581" y="1397"/>
                  </a:lnTo>
                  <a:lnTo>
                    <a:pt x="581" y="1396"/>
                  </a:lnTo>
                  <a:lnTo>
                    <a:pt x="583" y="1396"/>
                  </a:lnTo>
                  <a:lnTo>
                    <a:pt x="581" y="1396"/>
                  </a:lnTo>
                  <a:close/>
                  <a:moveTo>
                    <a:pt x="186" y="1472"/>
                  </a:moveTo>
                  <a:lnTo>
                    <a:pt x="186" y="1471"/>
                  </a:lnTo>
                  <a:lnTo>
                    <a:pt x="187" y="1472"/>
                  </a:lnTo>
                  <a:lnTo>
                    <a:pt x="187" y="1471"/>
                  </a:lnTo>
                  <a:lnTo>
                    <a:pt x="187" y="1472"/>
                  </a:lnTo>
                  <a:lnTo>
                    <a:pt x="187" y="1474"/>
                  </a:lnTo>
                  <a:lnTo>
                    <a:pt x="186" y="1474"/>
                  </a:lnTo>
                  <a:lnTo>
                    <a:pt x="184" y="1474"/>
                  </a:lnTo>
                  <a:lnTo>
                    <a:pt x="184" y="1472"/>
                  </a:lnTo>
                  <a:lnTo>
                    <a:pt x="186" y="1472"/>
                  </a:lnTo>
                  <a:close/>
                  <a:moveTo>
                    <a:pt x="282" y="1440"/>
                  </a:moveTo>
                  <a:lnTo>
                    <a:pt x="283" y="1438"/>
                  </a:lnTo>
                  <a:lnTo>
                    <a:pt x="283" y="1440"/>
                  </a:lnTo>
                  <a:lnTo>
                    <a:pt x="283" y="1441"/>
                  </a:lnTo>
                  <a:lnTo>
                    <a:pt x="285" y="1440"/>
                  </a:lnTo>
                  <a:lnTo>
                    <a:pt x="287" y="1440"/>
                  </a:lnTo>
                  <a:lnTo>
                    <a:pt x="287" y="1441"/>
                  </a:lnTo>
                  <a:lnTo>
                    <a:pt x="285" y="1441"/>
                  </a:lnTo>
                  <a:lnTo>
                    <a:pt x="283" y="1441"/>
                  </a:lnTo>
                  <a:lnTo>
                    <a:pt x="282" y="1441"/>
                  </a:lnTo>
                  <a:lnTo>
                    <a:pt x="282" y="1440"/>
                  </a:lnTo>
                  <a:lnTo>
                    <a:pt x="283" y="1440"/>
                  </a:lnTo>
                  <a:lnTo>
                    <a:pt x="282" y="1440"/>
                  </a:lnTo>
                  <a:close/>
                  <a:moveTo>
                    <a:pt x="239" y="1511"/>
                  </a:moveTo>
                  <a:lnTo>
                    <a:pt x="241" y="1511"/>
                  </a:lnTo>
                  <a:lnTo>
                    <a:pt x="241" y="1510"/>
                  </a:lnTo>
                  <a:lnTo>
                    <a:pt x="243" y="1510"/>
                  </a:lnTo>
                  <a:lnTo>
                    <a:pt x="241" y="1511"/>
                  </a:lnTo>
                  <a:lnTo>
                    <a:pt x="243" y="1511"/>
                  </a:lnTo>
                  <a:lnTo>
                    <a:pt x="243" y="1510"/>
                  </a:lnTo>
                  <a:lnTo>
                    <a:pt x="243" y="1511"/>
                  </a:lnTo>
                  <a:lnTo>
                    <a:pt x="241" y="1511"/>
                  </a:lnTo>
                  <a:lnTo>
                    <a:pt x="243" y="1511"/>
                  </a:lnTo>
                  <a:lnTo>
                    <a:pt x="243" y="1513"/>
                  </a:lnTo>
                  <a:lnTo>
                    <a:pt x="241" y="1513"/>
                  </a:lnTo>
                  <a:lnTo>
                    <a:pt x="241" y="1511"/>
                  </a:lnTo>
                  <a:lnTo>
                    <a:pt x="241" y="1513"/>
                  </a:lnTo>
                  <a:lnTo>
                    <a:pt x="241" y="1511"/>
                  </a:lnTo>
                  <a:lnTo>
                    <a:pt x="239" y="1511"/>
                  </a:lnTo>
                  <a:lnTo>
                    <a:pt x="238" y="1511"/>
                  </a:lnTo>
                  <a:lnTo>
                    <a:pt x="239" y="1511"/>
                  </a:lnTo>
                  <a:lnTo>
                    <a:pt x="239" y="1510"/>
                  </a:lnTo>
                  <a:lnTo>
                    <a:pt x="241" y="1510"/>
                  </a:lnTo>
                  <a:lnTo>
                    <a:pt x="239" y="1511"/>
                  </a:lnTo>
                  <a:close/>
                  <a:moveTo>
                    <a:pt x="212" y="1189"/>
                  </a:moveTo>
                  <a:lnTo>
                    <a:pt x="213" y="1189"/>
                  </a:lnTo>
                  <a:lnTo>
                    <a:pt x="213" y="1191"/>
                  </a:lnTo>
                  <a:lnTo>
                    <a:pt x="213" y="1192"/>
                  </a:lnTo>
                  <a:lnTo>
                    <a:pt x="215" y="1192"/>
                  </a:lnTo>
                  <a:lnTo>
                    <a:pt x="215" y="1194"/>
                  </a:lnTo>
                  <a:lnTo>
                    <a:pt x="215" y="1196"/>
                  </a:lnTo>
                  <a:lnTo>
                    <a:pt x="213" y="1196"/>
                  </a:lnTo>
                  <a:lnTo>
                    <a:pt x="213" y="1192"/>
                  </a:lnTo>
                  <a:lnTo>
                    <a:pt x="213" y="1194"/>
                  </a:lnTo>
                  <a:lnTo>
                    <a:pt x="213" y="1192"/>
                  </a:lnTo>
                  <a:lnTo>
                    <a:pt x="212" y="1189"/>
                  </a:lnTo>
                  <a:lnTo>
                    <a:pt x="212" y="1188"/>
                  </a:lnTo>
                  <a:lnTo>
                    <a:pt x="212" y="1186"/>
                  </a:lnTo>
                  <a:lnTo>
                    <a:pt x="212" y="1188"/>
                  </a:lnTo>
                  <a:lnTo>
                    <a:pt x="212" y="1189"/>
                  </a:lnTo>
                  <a:close/>
                  <a:moveTo>
                    <a:pt x="287" y="911"/>
                  </a:moveTo>
                  <a:lnTo>
                    <a:pt x="287" y="913"/>
                  </a:lnTo>
                  <a:lnTo>
                    <a:pt x="288" y="913"/>
                  </a:lnTo>
                  <a:lnTo>
                    <a:pt x="288" y="914"/>
                  </a:lnTo>
                  <a:lnTo>
                    <a:pt x="287" y="914"/>
                  </a:lnTo>
                  <a:lnTo>
                    <a:pt x="287" y="913"/>
                  </a:lnTo>
                  <a:lnTo>
                    <a:pt x="287" y="911"/>
                  </a:lnTo>
                  <a:close/>
                  <a:moveTo>
                    <a:pt x="207" y="1049"/>
                  </a:moveTo>
                  <a:lnTo>
                    <a:pt x="207" y="1051"/>
                  </a:lnTo>
                  <a:lnTo>
                    <a:pt x="208" y="1051"/>
                  </a:lnTo>
                  <a:lnTo>
                    <a:pt x="208" y="1053"/>
                  </a:lnTo>
                  <a:lnTo>
                    <a:pt x="207" y="1053"/>
                  </a:lnTo>
                  <a:lnTo>
                    <a:pt x="205" y="1053"/>
                  </a:lnTo>
                  <a:lnTo>
                    <a:pt x="205" y="1051"/>
                  </a:lnTo>
                  <a:lnTo>
                    <a:pt x="207" y="1051"/>
                  </a:lnTo>
                  <a:lnTo>
                    <a:pt x="207" y="1049"/>
                  </a:lnTo>
                  <a:close/>
                  <a:moveTo>
                    <a:pt x="205" y="1440"/>
                  </a:moveTo>
                  <a:lnTo>
                    <a:pt x="207" y="1440"/>
                  </a:lnTo>
                  <a:lnTo>
                    <a:pt x="207" y="1441"/>
                  </a:lnTo>
                  <a:lnTo>
                    <a:pt x="208" y="1441"/>
                  </a:lnTo>
                  <a:lnTo>
                    <a:pt x="207" y="1443"/>
                  </a:lnTo>
                  <a:lnTo>
                    <a:pt x="207" y="1445"/>
                  </a:lnTo>
                  <a:lnTo>
                    <a:pt x="207" y="1443"/>
                  </a:lnTo>
                  <a:lnTo>
                    <a:pt x="205" y="1443"/>
                  </a:lnTo>
                  <a:lnTo>
                    <a:pt x="207" y="1443"/>
                  </a:lnTo>
                  <a:lnTo>
                    <a:pt x="205" y="1443"/>
                  </a:lnTo>
                  <a:lnTo>
                    <a:pt x="205" y="1441"/>
                  </a:lnTo>
                  <a:lnTo>
                    <a:pt x="207" y="1441"/>
                  </a:lnTo>
                  <a:lnTo>
                    <a:pt x="205" y="1441"/>
                  </a:lnTo>
                  <a:lnTo>
                    <a:pt x="205" y="1440"/>
                  </a:lnTo>
                  <a:close/>
                  <a:moveTo>
                    <a:pt x="409" y="1482"/>
                  </a:moveTo>
                  <a:lnTo>
                    <a:pt x="410" y="1482"/>
                  </a:lnTo>
                  <a:lnTo>
                    <a:pt x="412" y="1482"/>
                  </a:lnTo>
                  <a:lnTo>
                    <a:pt x="412" y="1484"/>
                  </a:lnTo>
                  <a:lnTo>
                    <a:pt x="410" y="1484"/>
                  </a:lnTo>
                  <a:lnTo>
                    <a:pt x="409" y="1484"/>
                  </a:lnTo>
                  <a:lnTo>
                    <a:pt x="409" y="1482"/>
                  </a:lnTo>
                  <a:lnTo>
                    <a:pt x="410" y="1482"/>
                  </a:lnTo>
                  <a:lnTo>
                    <a:pt x="409" y="1482"/>
                  </a:lnTo>
                  <a:close/>
                  <a:moveTo>
                    <a:pt x="348" y="683"/>
                  </a:moveTo>
                  <a:lnTo>
                    <a:pt x="350" y="683"/>
                  </a:lnTo>
                  <a:lnTo>
                    <a:pt x="352" y="685"/>
                  </a:lnTo>
                  <a:lnTo>
                    <a:pt x="352" y="687"/>
                  </a:lnTo>
                  <a:lnTo>
                    <a:pt x="352" y="685"/>
                  </a:lnTo>
                  <a:lnTo>
                    <a:pt x="350" y="685"/>
                  </a:lnTo>
                  <a:lnTo>
                    <a:pt x="350" y="687"/>
                  </a:lnTo>
                  <a:lnTo>
                    <a:pt x="350" y="685"/>
                  </a:lnTo>
                  <a:lnTo>
                    <a:pt x="348" y="683"/>
                  </a:lnTo>
                  <a:close/>
                  <a:moveTo>
                    <a:pt x="233" y="1433"/>
                  </a:moveTo>
                  <a:lnTo>
                    <a:pt x="233" y="1435"/>
                  </a:lnTo>
                  <a:lnTo>
                    <a:pt x="234" y="1436"/>
                  </a:lnTo>
                  <a:lnTo>
                    <a:pt x="233" y="1435"/>
                  </a:lnTo>
                  <a:lnTo>
                    <a:pt x="233" y="1436"/>
                  </a:lnTo>
                  <a:lnTo>
                    <a:pt x="233" y="1438"/>
                  </a:lnTo>
                  <a:lnTo>
                    <a:pt x="233" y="1436"/>
                  </a:lnTo>
                  <a:lnTo>
                    <a:pt x="231" y="1436"/>
                  </a:lnTo>
                  <a:lnTo>
                    <a:pt x="231" y="1435"/>
                  </a:lnTo>
                  <a:lnTo>
                    <a:pt x="233" y="1435"/>
                  </a:lnTo>
                  <a:lnTo>
                    <a:pt x="231" y="1435"/>
                  </a:lnTo>
                  <a:lnTo>
                    <a:pt x="233" y="1436"/>
                  </a:lnTo>
                  <a:lnTo>
                    <a:pt x="233" y="1435"/>
                  </a:lnTo>
                  <a:lnTo>
                    <a:pt x="233" y="1433"/>
                  </a:lnTo>
                  <a:close/>
                  <a:moveTo>
                    <a:pt x="291" y="1449"/>
                  </a:moveTo>
                  <a:lnTo>
                    <a:pt x="293" y="1449"/>
                  </a:lnTo>
                  <a:lnTo>
                    <a:pt x="293" y="1451"/>
                  </a:lnTo>
                  <a:lnTo>
                    <a:pt x="291" y="1451"/>
                  </a:lnTo>
                  <a:lnTo>
                    <a:pt x="290" y="1451"/>
                  </a:lnTo>
                  <a:lnTo>
                    <a:pt x="290" y="1449"/>
                  </a:lnTo>
                  <a:lnTo>
                    <a:pt x="291" y="1449"/>
                  </a:lnTo>
                  <a:close/>
                  <a:moveTo>
                    <a:pt x="234" y="1415"/>
                  </a:moveTo>
                  <a:lnTo>
                    <a:pt x="236" y="1417"/>
                  </a:lnTo>
                  <a:lnTo>
                    <a:pt x="234" y="1417"/>
                  </a:lnTo>
                  <a:lnTo>
                    <a:pt x="234" y="1419"/>
                  </a:lnTo>
                  <a:lnTo>
                    <a:pt x="234" y="1417"/>
                  </a:lnTo>
                  <a:lnTo>
                    <a:pt x="234" y="1419"/>
                  </a:lnTo>
                  <a:lnTo>
                    <a:pt x="233" y="1419"/>
                  </a:lnTo>
                  <a:lnTo>
                    <a:pt x="233" y="1417"/>
                  </a:lnTo>
                  <a:lnTo>
                    <a:pt x="231" y="1417"/>
                  </a:lnTo>
                  <a:lnTo>
                    <a:pt x="233" y="1415"/>
                  </a:lnTo>
                  <a:lnTo>
                    <a:pt x="234" y="1415"/>
                  </a:lnTo>
                  <a:lnTo>
                    <a:pt x="234" y="1417"/>
                  </a:lnTo>
                  <a:lnTo>
                    <a:pt x="234" y="1415"/>
                  </a:lnTo>
                  <a:close/>
                  <a:moveTo>
                    <a:pt x="280" y="1407"/>
                  </a:moveTo>
                  <a:lnTo>
                    <a:pt x="282" y="1406"/>
                  </a:lnTo>
                  <a:lnTo>
                    <a:pt x="282" y="1407"/>
                  </a:lnTo>
                  <a:lnTo>
                    <a:pt x="283" y="1407"/>
                  </a:lnTo>
                  <a:lnTo>
                    <a:pt x="282" y="1407"/>
                  </a:lnTo>
                  <a:lnTo>
                    <a:pt x="282" y="1409"/>
                  </a:lnTo>
                  <a:lnTo>
                    <a:pt x="280" y="1409"/>
                  </a:lnTo>
                  <a:lnTo>
                    <a:pt x="282" y="1409"/>
                  </a:lnTo>
                  <a:lnTo>
                    <a:pt x="280" y="1407"/>
                  </a:lnTo>
                  <a:close/>
                  <a:moveTo>
                    <a:pt x="247" y="1375"/>
                  </a:moveTo>
                  <a:lnTo>
                    <a:pt x="247" y="1376"/>
                  </a:lnTo>
                  <a:lnTo>
                    <a:pt x="246" y="1376"/>
                  </a:lnTo>
                  <a:lnTo>
                    <a:pt x="244" y="1376"/>
                  </a:lnTo>
                  <a:lnTo>
                    <a:pt x="246" y="1376"/>
                  </a:lnTo>
                  <a:lnTo>
                    <a:pt x="244" y="1375"/>
                  </a:lnTo>
                  <a:lnTo>
                    <a:pt x="246" y="1376"/>
                  </a:lnTo>
                  <a:lnTo>
                    <a:pt x="246" y="1375"/>
                  </a:lnTo>
                  <a:lnTo>
                    <a:pt x="247" y="1375"/>
                  </a:lnTo>
                  <a:close/>
                  <a:moveTo>
                    <a:pt x="244" y="1298"/>
                  </a:moveTo>
                  <a:lnTo>
                    <a:pt x="246" y="1298"/>
                  </a:lnTo>
                  <a:lnTo>
                    <a:pt x="244" y="1298"/>
                  </a:lnTo>
                  <a:lnTo>
                    <a:pt x="246" y="1298"/>
                  </a:lnTo>
                  <a:lnTo>
                    <a:pt x="247" y="1300"/>
                  </a:lnTo>
                  <a:lnTo>
                    <a:pt x="246" y="1300"/>
                  </a:lnTo>
                  <a:lnTo>
                    <a:pt x="244" y="1300"/>
                  </a:lnTo>
                  <a:lnTo>
                    <a:pt x="243" y="1300"/>
                  </a:lnTo>
                  <a:lnTo>
                    <a:pt x="243" y="1298"/>
                  </a:lnTo>
                  <a:lnTo>
                    <a:pt x="244" y="1298"/>
                  </a:lnTo>
                  <a:close/>
                  <a:moveTo>
                    <a:pt x="212" y="1485"/>
                  </a:moveTo>
                  <a:lnTo>
                    <a:pt x="213" y="1485"/>
                  </a:lnTo>
                  <a:lnTo>
                    <a:pt x="212" y="1485"/>
                  </a:lnTo>
                  <a:lnTo>
                    <a:pt x="213" y="1485"/>
                  </a:lnTo>
                  <a:lnTo>
                    <a:pt x="212" y="1485"/>
                  </a:lnTo>
                  <a:lnTo>
                    <a:pt x="212" y="1487"/>
                  </a:lnTo>
                  <a:lnTo>
                    <a:pt x="213" y="1487"/>
                  </a:lnTo>
                  <a:lnTo>
                    <a:pt x="212" y="1487"/>
                  </a:lnTo>
                  <a:lnTo>
                    <a:pt x="210" y="1487"/>
                  </a:lnTo>
                  <a:lnTo>
                    <a:pt x="212" y="1487"/>
                  </a:lnTo>
                  <a:lnTo>
                    <a:pt x="210" y="1485"/>
                  </a:lnTo>
                  <a:lnTo>
                    <a:pt x="212" y="1485"/>
                  </a:lnTo>
                  <a:close/>
                  <a:moveTo>
                    <a:pt x="343" y="1487"/>
                  </a:moveTo>
                  <a:lnTo>
                    <a:pt x="342" y="1487"/>
                  </a:lnTo>
                  <a:lnTo>
                    <a:pt x="343" y="1487"/>
                  </a:lnTo>
                  <a:lnTo>
                    <a:pt x="343" y="1488"/>
                  </a:lnTo>
                  <a:lnTo>
                    <a:pt x="342" y="1488"/>
                  </a:lnTo>
                  <a:lnTo>
                    <a:pt x="342" y="1490"/>
                  </a:lnTo>
                  <a:lnTo>
                    <a:pt x="340" y="1490"/>
                  </a:lnTo>
                  <a:lnTo>
                    <a:pt x="342" y="1488"/>
                  </a:lnTo>
                  <a:lnTo>
                    <a:pt x="342" y="1487"/>
                  </a:lnTo>
                  <a:lnTo>
                    <a:pt x="342" y="1488"/>
                  </a:lnTo>
                  <a:lnTo>
                    <a:pt x="342" y="1487"/>
                  </a:lnTo>
                  <a:lnTo>
                    <a:pt x="343" y="1487"/>
                  </a:lnTo>
                  <a:close/>
                  <a:moveTo>
                    <a:pt x="343" y="1477"/>
                  </a:moveTo>
                  <a:lnTo>
                    <a:pt x="343" y="1479"/>
                  </a:lnTo>
                  <a:lnTo>
                    <a:pt x="345" y="1479"/>
                  </a:lnTo>
                  <a:lnTo>
                    <a:pt x="345" y="1480"/>
                  </a:lnTo>
                  <a:lnTo>
                    <a:pt x="343" y="1482"/>
                  </a:lnTo>
                  <a:lnTo>
                    <a:pt x="345" y="1482"/>
                  </a:lnTo>
                  <a:lnTo>
                    <a:pt x="343" y="1482"/>
                  </a:lnTo>
                  <a:lnTo>
                    <a:pt x="343" y="1480"/>
                  </a:lnTo>
                  <a:lnTo>
                    <a:pt x="343" y="1479"/>
                  </a:lnTo>
                  <a:lnTo>
                    <a:pt x="343" y="1477"/>
                  </a:lnTo>
                  <a:close/>
                  <a:moveTo>
                    <a:pt x="261" y="1467"/>
                  </a:moveTo>
                  <a:lnTo>
                    <a:pt x="262" y="1467"/>
                  </a:lnTo>
                  <a:lnTo>
                    <a:pt x="262" y="1469"/>
                  </a:lnTo>
                  <a:lnTo>
                    <a:pt x="262" y="1471"/>
                  </a:lnTo>
                  <a:lnTo>
                    <a:pt x="261" y="1471"/>
                  </a:lnTo>
                  <a:lnTo>
                    <a:pt x="261" y="1469"/>
                  </a:lnTo>
                  <a:lnTo>
                    <a:pt x="261" y="1471"/>
                  </a:lnTo>
                  <a:lnTo>
                    <a:pt x="261" y="1469"/>
                  </a:lnTo>
                  <a:lnTo>
                    <a:pt x="261" y="1467"/>
                  </a:lnTo>
                  <a:close/>
                  <a:moveTo>
                    <a:pt x="195" y="1057"/>
                  </a:moveTo>
                  <a:lnTo>
                    <a:pt x="195" y="1059"/>
                  </a:lnTo>
                  <a:lnTo>
                    <a:pt x="195" y="1057"/>
                  </a:lnTo>
                  <a:lnTo>
                    <a:pt x="195" y="1059"/>
                  </a:lnTo>
                  <a:lnTo>
                    <a:pt x="197" y="1059"/>
                  </a:lnTo>
                  <a:lnTo>
                    <a:pt x="197" y="1061"/>
                  </a:lnTo>
                  <a:lnTo>
                    <a:pt x="195" y="1059"/>
                  </a:lnTo>
                  <a:lnTo>
                    <a:pt x="194" y="1061"/>
                  </a:lnTo>
                  <a:lnTo>
                    <a:pt x="194" y="1059"/>
                  </a:lnTo>
                  <a:lnTo>
                    <a:pt x="194" y="1057"/>
                  </a:lnTo>
                  <a:lnTo>
                    <a:pt x="195" y="1057"/>
                  </a:lnTo>
                  <a:close/>
                  <a:moveTo>
                    <a:pt x="194" y="1043"/>
                  </a:moveTo>
                  <a:lnTo>
                    <a:pt x="195" y="1043"/>
                  </a:lnTo>
                  <a:lnTo>
                    <a:pt x="195" y="1044"/>
                  </a:lnTo>
                  <a:lnTo>
                    <a:pt x="194" y="1044"/>
                  </a:lnTo>
                  <a:lnTo>
                    <a:pt x="192" y="1044"/>
                  </a:lnTo>
                  <a:lnTo>
                    <a:pt x="192" y="1043"/>
                  </a:lnTo>
                  <a:lnTo>
                    <a:pt x="194" y="1043"/>
                  </a:lnTo>
                  <a:lnTo>
                    <a:pt x="192" y="1043"/>
                  </a:lnTo>
                  <a:lnTo>
                    <a:pt x="192" y="1041"/>
                  </a:lnTo>
                  <a:lnTo>
                    <a:pt x="194" y="1041"/>
                  </a:lnTo>
                  <a:lnTo>
                    <a:pt x="194" y="1043"/>
                  </a:lnTo>
                  <a:close/>
                  <a:moveTo>
                    <a:pt x="269" y="947"/>
                  </a:moveTo>
                  <a:lnTo>
                    <a:pt x="269" y="949"/>
                  </a:lnTo>
                  <a:lnTo>
                    <a:pt x="269" y="947"/>
                  </a:lnTo>
                  <a:lnTo>
                    <a:pt x="270" y="947"/>
                  </a:lnTo>
                  <a:lnTo>
                    <a:pt x="270" y="949"/>
                  </a:lnTo>
                  <a:lnTo>
                    <a:pt x="270" y="947"/>
                  </a:lnTo>
                  <a:lnTo>
                    <a:pt x="272" y="949"/>
                  </a:lnTo>
                  <a:lnTo>
                    <a:pt x="270" y="949"/>
                  </a:lnTo>
                  <a:lnTo>
                    <a:pt x="270" y="950"/>
                  </a:lnTo>
                  <a:lnTo>
                    <a:pt x="269" y="950"/>
                  </a:lnTo>
                  <a:lnTo>
                    <a:pt x="269" y="949"/>
                  </a:lnTo>
                  <a:lnTo>
                    <a:pt x="269" y="947"/>
                  </a:lnTo>
                  <a:close/>
                  <a:moveTo>
                    <a:pt x="261" y="927"/>
                  </a:moveTo>
                  <a:lnTo>
                    <a:pt x="262" y="927"/>
                  </a:lnTo>
                  <a:lnTo>
                    <a:pt x="262" y="929"/>
                  </a:lnTo>
                  <a:lnTo>
                    <a:pt x="262" y="931"/>
                  </a:lnTo>
                  <a:lnTo>
                    <a:pt x="262" y="929"/>
                  </a:lnTo>
                  <a:lnTo>
                    <a:pt x="261" y="929"/>
                  </a:lnTo>
                  <a:lnTo>
                    <a:pt x="261" y="931"/>
                  </a:lnTo>
                  <a:lnTo>
                    <a:pt x="261" y="929"/>
                  </a:lnTo>
                  <a:lnTo>
                    <a:pt x="261" y="927"/>
                  </a:lnTo>
                  <a:close/>
                  <a:moveTo>
                    <a:pt x="283" y="1435"/>
                  </a:moveTo>
                  <a:lnTo>
                    <a:pt x="285" y="1436"/>
                  </a:lnTo>
                  <a:lnTo>
                    <a:pt x="283" y="1436"/>
                  </a:lnTo>
                  <a:lnTo>
                    <a:pt x="282" y="1435"/>
                  </a:lnTo>
                  <a:lnTo>
                    <a:pt x="280" y="1435"/>
                  </a:lnTo>
                  <a:lnTo>
                    <a:pt x="280" y="1433"/>
                  </a:lnTo>
                  <a:lnTo>
                    <a:pt x="282" y="1433"/>
                  </a:lnTo>
                  <a:lnTo>
                    <a:pt x="282" y="1435"/>
                  </a:lnTo>
                  <a:lnTo>
                    <a:pt x="283" y="1435"/>
                  </a:lnTo>
                  <a:close/>
                  <a:moveTo>
                    <a:pt x="197" y="1493"/>
                  </a:moveTo>
                  <a:lnTo>
                    <a:pt x="199" y="1493"/>
                  </a:lnTo>
                  <a:lnTo>
                    <a:pt x="199" y="1495"/>
                  </a:lnTo>
                  <a:lnTo>
                    <a:pt x="200" y="1495"/>
                  </a:lnTo>
                  <a:lnTo>
                    <a:pt x="199" y="1495"/>
                  </a:lnTo>
                  <a:lnTo>
                    <a:pt x="199" y="1497"/>
                  </a:lnTo>
                  <a:lnTo>
                    <a:pt x="197" y="1497"/>
                  </a:lnTo>
                  <a:lnTo>
                    <a:pt x="197" y="1495"/>
                  </a:lnTo>
                  <a:lnTo>
                    <a:pt x="199" y="1495"/>
                  </a:lnTo>
                  <a:lnTo>
                    <a:pt x="197" y="1495"/>
                  </a:lnTo>
                  <a:lnTo>
                    <a:pt x="197" y="1493"/>
                  </a:lnTo>
                  <a:close/>
                  <a:moveTo>
                    <a:pt x="304" y="1459"/>
                  </a:moveTo>
                  <a:lnTo>
                    <a:pt x="306" y="1459"/>
                  </a:lnTo>
                  <a:lnTo>
                    <a:pt x="306" y="1461"/>
                  </a:lnTo>
                  <a:lnTo>
                    <a:pt x="304" y="1461"/>
                  </a:lnTo>
                  <a:lnTo>
                    <a:pt x="304" y="1462"/>
                  </a:lnTo>
                  <a:lnTo>
                    <a:pt x="304" y="1461"/>
                  </a:lnTo>
                  <a:lnTo>
                    <a:pt x="303" y="1461"/>
                  </a:lnTo>
                  <a:lnTo>
                    <a:pt x="304" y="1459"/>
                  </a:lnTo>
                  <a:close/>
                  <a:moveTo>
                    <a:pt x="534" y="1407"/>
                  </a:moveTo>
                  <a:lnTo>
                    <a:pt x="534" y="1406"/>
                  </a:lnTo>
                  <a:lnTo>
                    <a:pt x="535" y="1406"/>
                  </a:lnTo>
                  <a:lnTo>
                    <a:pt x="537" y="1406"/>
                  </a:lnTo>
                  <a:lnTo>
                    <a:pt x="535" y="1407"/>
                  </a:lnTo>
                  <a:lnTo>
                    <a:pt x="537" y="1407"/>
                  </a:lnTo>
                  <a:lnTo>
                    <a:pt x="535" y="1407"/>
                  </a:lnTo>
                  <a:lnTo>
                    <a:pt x="535" y="1409"/>
                  </a:lnTo>
                  <a:lnTo>
                    <a:pt x="535" y="1407"/>
                  </a:lnTo>
                  <a:lnTo>
                    <a:pt x="534" y="1407"/>
                  </a:lnTo>
                  <a:close/>
                  <a:moveTo>
                    <a:pt x="340" y="1500"/>
                  </a:moveTo>
                  <a:lnTo>
                    <a:pt x="340" y="1498"/>
                  </a:lnTo>
                  <a:lnTo>
                    <a:pt x="342" y="1498"/>
                  </a:lnTo>
                  <a:lnTo>
                    <a:pt x="342" y="1500"/>
                  </a:lnTo>
                  <a:lnTo>
                    <a:pt x="343" y="1500"/>
                  </a:lnTo>
                  <a:lnTo>
                    <a:pt x="342" y="1500"/>
                  </a:lnTo>
                  <a:lnTo>
                    <a:pt x="342" y="1501"/>
                  </a:lnTo>
                  <a:lnTo>
                    <a:pt x="342" y="1500"/>
                  </a:lnTo>
                  <a:lnTo>
                    <a:pt x="342" y="1501"/>
                  </a:lnTo>
                  <a:lnTo>
                    <a:pt x="340" y="1500"/>
                  </a:lnTo>
                  <a:lnTo>
                    <a:pt x="340" y="1501"/>
                  </a:lnTo>
                  <a:lnTo>
                    <a:pt x="340" y="1500"/>
                  </a:lnTo>
                  <a:lnTo>
                    <a:pt x="342" y="1500"/>
                  </a:lnTo>
                  <a:lnTo>
                    <a:pt x="340" y="1500"/>
                  </a:lnTo>
                  <a:close/>
                  <a:moveTo>
                    <a:pt x="565" y="1401"/>
                  </a:moveTo>
                  <a:lnTo>
                    <a:pt x="565" y="1399"/>
                  </a:lnTo>
                  <a:lnTo>
                    <a:pt x="566" y="1399"/>
                  </a:lnTo>
                  <a:lnTo>
                    <a:pt x="566" y="1401"/>
                  </a:lnTo>
                  <a:lnTo>
                    <a:pt x="566" y="1402"/>
                  </a:lnTo>
                  <a:lnTo>
                    <a:pt x="568" y="1402"/>
                  </a:lnTo>
                  <a:lnTo>
                    <a:pt x="566" y="1402"/>
                  </a:lnTo>
                  <a:lnTo>
                    <a:pt x="565" y="1402"/>
                  </a:lnTo>
                  <a:lnTo>
                    <a:pt x="565" y="1401"/>
                  </a:lnTo>
                  <a:close/>
                  <a:moveTo>
                    <a:pt x="365" y="1472"/>
                  </a:moveTo>
                  <a:lnTo>
                    <a:pt x="366" y="1472"/>
                  </a:lnTo>
                  <a:lnTo>
                    <a:pt x="366" y="1474"/>
                  </a:lnTo>
                  <a:lnTo>
                    <a:pt x="368" y="1474"/>
                  </a:lnTo>
                  <a:lnTo>
                    <a:pt x="366" y="1474"/>
                  </a:lnTo>
                  <a:lnTo>
                    <a:pt x="366" y="1475"/>
                  </a:lnTo>
                  <a:lnTo>
                    <a:pt x="365" y="1475"/>
                  </a:lnTo>
                  <a:lnTo>
                    <a:pt x="365" y="1474"/>
                  </a:lnTo>
                  <a:lnTo>
                    <a:pt x="366" y="1474"/>
                  </a:lnTo>
                  <a:lnTo>
                    <a:pt x="365" y="1474"/>
                  </a:lnTo>
                  <a:lnTo>
                    <a:pt x="365" y="1472"/>
                  </a:lnTo>
                  <a:close/>
                  <a:moveTo>
                    <a:pt x="236" y="1432"/>
                  </a:moveTo>
                  <a:lnTo>
                    <a:pt x="238" y="1432"/>
                  </a:lnTo>
                  <a:lnTo>
                    <a:pt x="238" y="1433"/>
                  </a:lnTo>
                  <a:lnTo>
                    <a:pt x="236" y="1433"/>
                  </a:lnTo>
                  <a:lnTo>
                    <a:pt x="236" y="1435"/>
                  </a:lnTo>
                  <a:lnTo>
                    <a:pt x="234" y="1433"/>
                  </a:lnTo>
                  <a:lnTo>
                    <a:pt x="234" y="1435"/>
                  </a:lnTo>
                  <a:lnTo>
                    <a:pt x="234" y="1433"/>
                  </a:lnTo>
                  <a:lnTo>
                    <a:pt x="233" y="1433"/>
                  </a:lnTo>
                  <a:lnTo>
                    <a:pt x="234" y="1433"/>
                  </a:lnTo>
                  <a:lnTo>
                    <a:pt x="233" y="1433"/>
                  </a:lnTo>
                  <a:lnTo>
                    <a:pt x="234" y="1433"/>
                  </a:lnTo>
                  <a:lnTo>
                    <a:pt x="236" y="1432"/>
                  </a:lnTo>
                  <a:lnTo>
                    <a:pt x="236" y="1433"/>
                  </a:lnTo>
                  <a:lnTo>
                    <a:pt x="236" y="1432"/>
                  </a:lnTo>
                  <a:close/>
                  <a:moveTo>
                    <a:pt x="274" y="1454"/>
                  </a:moveTo>
                  <a:lnTo>
                    <a:pt x="275" y="1454"/>
                  </a:lnTo>
                  <a:lnTo>
                    <a:pt x="275" y="1456"/>
                  </a:lnTo>
                  <a:lnTo>
                    <a:pt x="274" y="1456"/>
                  </a:lnTo>
                  <a:lnTo>
                    <a:pt x="272" y="1456"/>
                  </a:lnTo>
                  <a:lnTo>
                    <a:pt x="274" y="1456"/>
                  </a:lnTo>
                  <a:lnTo>
                    <a:pt x="274" y="1454"/>
                  </a:lnTo>
                  <a:lnTo>
                    <a:pt x="274" y="1453"/>
                  </a:lnTo>
                  <a:lnTo>
                    <a:pt x="274" y="1454"/>
                  </a:lnTo>
                  <a:close/>
                  <a:moveTo>
                    <a:pt x="249" y="978"/>
                  </a:moveTo>
                  <a:lnTo>
                    <a:pt x="251" y="978"/>
                  </a:lnTo>
                  <a:lnTo>
                    <a:pt x="251" y="979"/>
                  </a:lnTo>
                  <a:lnTo>
                    <a:pt x="251" y="981"/>
                  </a:lnTo>
                  <a:lnTo>
                    <a:pt x="252" y="981"/>
                  </a:lnTo>
                  <a:lnTo>
                    <a:pt x="251" y="981"/>
                  </a:lnTo>
                  <a:lnTo>
                    <a:pt x="251" y="979"/>
                  </a:lnTo>
                  <a:lnTo>
                    <a:pt x="249" y="979"/>
                  </a:lnTo>
                  <a:lnTo>
                    <a:pt x="249" y="978"/>
                  </a:lnTo>
                  <a:lnTo>
                    <a:pt x="251" y="978"/>
                  </a:lnTo>
                  <a:lnTo>
                    <a:pt x="249" y="978"/>
                  </a:lnTo>
                  <a:close/>
                  <a:moveTo>
                    <a:pt x="557" y="1404"/>
                  </a:moveTo>
                  <a:lnTo>
                    <a:pt x="558" y="1404"/>
                  </a:lnTo>
                  <a:lnTo>
                    <a:pt x="558" y="1406"/>
                  </a:lnTo>
                  <a:lnTo>
                    <a:pt x="557" y="1406"/>
                  </a:lnTo>
                  <a:lnTo>
                    <a:pt x="558" y="1406"/>
                  </a:lnTo>
                  <a:lnTo>
                    <a:pt x="558" y="1407"/>
                  </a:lnTo>
                  <a:lnTo>
                    <a:pt x="557" y="1407"/>
                  </a:lnTo>
                  <a:lnTo>
                    <a:pt x="557" y="1406"/>
                  </a:lnTo>
                  <a:lnTo>
                    <a:pt x="555" y="1406"/>
                  </a:lnTo>
                  <a:lnTo>
                    <a:pt x="555" y="1404"/>
                  </a:lnTo>
                  <a:lnTo>
                    <a:pt x="557" y="1404"/>
                  </a:lnTo>
                  <a:close/>
                  <a:moveTo>
                    <a:pt x="226" y="1459"/>
                  </a:moveTo>
                  <a:lnTo>
                    <a:pt x="226" y="1461"/>
                  </a:lnTo>
                  <a:lnTo>
                    <a:pt x="226" y="1459"/>
                  </a:lnTo>
                  <a:lnTo>
                    <a:pt x="228" y="1461"/>
                  </a:lnTo>
                  <a:lnTo>
                    <a:pt x="228" y="1462"/>
                  </a:lnTo>
                  <a:lnTo>
                    <a:pt x="226" y="1462"/>
                  </a:lnTo>
                  <a:lnTo>
                    <a:pt x="226" y="1461"/>
                  </a:lnTo>
                  <a:lnTo>
                    <a:pt x="226" y="1459"/>
                  </a:lnTo>
                  <a:close/>
                  <a:moveTo>
                    <a:pt x="386" y="1485"/>
                  </a:moveTo>
                  <a:lnTo>
                    <a:pt x="387" y="1485"/>
                  </a:lnTo>
                  <a:lnTo>
                    <a:pt x="387" y="1487"/>
                  </a:lnTo>
                  <a:lnTo>
                    <a:pt x="386" y="1487"/>
                  </a:lnTo>
                  <a:lnTo>
                    <a:pt x="384" y="1487"/>
                  </a:lnTo>
                  <a:lnTo>
                    <a:pt x="384" y="1485"/>
                  </a:lnTo>
                  <a:lnTo>
                    <a:pt x="384" y="1487"/>
                  </a:lnTo>
                  <a:lnTo>
                    <a:pt x="386" y="1485"/>
                  </a:lnTo>
                  <a:lnTo>
                    <a:pt x="384" y="1485"/>
                  </a:lnTo>
                  <a:lnTo>
                    <a:pt x="386" y="1485"/>
                  </a:lnTo>
                  <a:lnTo>
                    <a:pt x="384" y="1485"/>
                  </a:lnTo>
                  <a:lnTo>
                    <a:pt x="386" y="1485"/>
                  </a:lnTo>
                  <a:close/>
                  <a:moveTo>
                    <a:pt x="589" y="1371"/>
                  </a:moveTo>
                  <a:lnTo>
                    <a:pt x="589" y="1370"/>
                  </a:lnTo>
                  <a:lnTo>
                    <a:pt x="591" y="1370"/>
                  </a:lnTo>
                  <a:lnTo>
                    <a:pt x="591" y="1371"/>
                  </a:lnTo>
                  <a:lnTo>
                    <a:pt x="591" y="1370"/>
                  </a:lnTo>
                  <a:lnTo>
                    <a:pt x="591" y="1371"/>
                  </a:lnTo>
                  <a:lnTo>
                    <a:pt x="591" y="1373"/>
                  </a:lnTo>
                  <a:lnTo>
                    <a:pt x="592" y="1373"/>
                  </a:lnTo>
                  <a:lnTo>
                    <a:pt x="591" y="1373"/>
                  </a:lnTo>
                  <a:lnTo>
                    <a:pt x="591" y="1371"/>
                  </a:lnTo>
                  <a:lnTo>
                    <a:pt x="589" y="1371"/>
                  </a:lnTo>
                  <a:close/>
                  <a:moveTo>
                    <a:pt x="633" y="1353"/>
                  </a:moveTo>
                  <a:lnTo>
                    <a:pt x="635" y="1355"/>
                  </a:lnTo>
                  <a:lnTo>
                    <a:pt x="633" y="1355"/>
                  </a:lnTo>
                  <a:lnTo>
                    <a:pt x="631" y="1355"/>
                  </a:lnTo>
                  <a:lnTo>
                    <a:pt x="633" y="1355"/>
                  </a:lnTo>
                  <a:lnTo>
                    <a:pt x="633" y="1357"/>
                  </a:lnTo>
                  <a:lnTo>
                    <a:pt x="633" y="1358"/>
                  </a:lnTo>
                  <a:lnTo>
                    <a:pt x="633" y="1357"/>
                  </a:lnTo>
                  <a:lnTo>
                    <a:pt x="631" y="1357"/>
                  </a:lnTo>
                  <a:lnTo>
                    <a:pt x="631" y="1355"/>
                  </a:lnTo>
                  <a:lnTo>
                    <a:pt x="633" y="1355"/>
                  </a:lnTo>
                  <a:lnTo>
                    <a:pt x="633" y="1353"/>
                  </a:lnTo>
                  <a:close/>
                  <a:moveTo>
                    <a:pt x="269" y="1435"/>
                  </a:moveTo>
                  <a:lnTo>
                    <a:pt x="269" y="1436"/>
                  </a:lnTo>
                  <a:lnTo>
                    <a:pt x="269" y="1438"/>
                  </a:lnTo>
                  <a:lnTo>
                    <a:pt x="269" y="1440"/>
                  </a:lnTo>
                  <a:lnTo>
                    <a:pt x="267" y="1438"/>
                  </a:lnTo>
                  <a:lnTo>
                    <a:pt x="269" y="1438"/>
                  </a:lnTo>
                  <a:lnTo>
                    <a:pt x="269" y="1436"/>
                  </a:lnTo>
                  <a:lnTo>
                    <a:pt x="269" y="1438"/>
                  </a:lnTo>
                  <a:lnTo>
                    <a:pt x="269" y="1436"/>
                  </a:lnTo>
                  <a:lnTo>
                    <a:pt x="267" y="1436"/>
                  </a:lnTo>
                  <a:lnTo>
                    <a:pt x="269" y="1436"/>
                  </a:lnTo>
                  <a:lnTo>
                    <a:pt x="267" y="1436"/>
                  </a:lnTo>
                  <a:lnTo>
                    <a:pt x="269" y="1436"/>
                  </a:lnTo>
                  <a:lnTo>
                    <a:pt x="269" y="1435"/>
                  </a:lnTo>
                  <a:lnTo>
                    <a:pt x="267" y="1436"/>
                  </a:lnTo>
                  <a:lnTo>
                    <a:pt x="267" y="1435"/>
                  </a:lnTo>
                  <a:lnTo>
                    <a:pt x="269" y="1435"/>
                  </a:lnTo>
                  <a:close/>
                  <a:moveTo>
                    <a:pt x="552" y="1412"/>
                  </a:moveTo>
                  <a:lnTo>
                    <a:pt x="552" y="1410"/>
                  </a:lnTo>
                  <a:lnTo>
                    <a:pt x="552" y="1412"/>
                  </a:lnTo>
                  <a:lnTo>
                    <a:pt x="553" y="1412"/>
                  </a:lnTo>
                  <a:lnTo>
                    <a:pt x="552" y="1414"/>
                  </a:lnTo>
                  <a:lnTo>
                    <a:pt x="552" y="1412"/>
                  </a:lnTo>
                  <a:lnTo>
                    <a:pt x="552" y="1414"/>
                  </a:lnTo>
                  <a:lnTo>
                    <a:pt x="550" y="1414"/>
                  </a:lnTo>
                  <a:lnTo>
                    <a:pt x="550" y="1412"/>
                  </a:lnTo>
                  <a:lnTo>
                    <a:pt x="552" y="1412"/>
                  </a:lnTo>
                  <a:lnTo>
                    <a:pt x="550" y="1412"/>
                  </a:lnTo>
                  <a:lnTo>
                    <a:pt x="550" y="1414"/>
                  </a:lnTo>
                  <a:lnTo>
                    <a:pt x="548" y="1414"/>
                  </a:lnTo>
                  <a:lnTo>
                    <a:pt x="550" y="1414"/>
                  </a:lnTo>
                  <a:lnTo>
                    <a:pt x="550" y="1412"/>
                  </a:lnTo>
                  <a:lnTo>
                    <a:pt x="552" y="1412"/>
                  </a:lnTo>
                  <a:close/>
                  <a:moveTo>
                    <a:pt x="306" y="1441"/>
                  </a:moveTo>
                  <a:lnTo>
                    <a:pt x="308" y="1441"/>
                  </a:lnTo>
                  <a:lnTo>
                    <a:pt x="308" y="1443"/>
                  </a:lnTo>
                  <a:lnTo>
                    <a:pt x="306" y="1443"/>
                  </a:lnTo>
                  <a:lnTo>
                    <a:pt x="306" y="1445"/>
                  </a:lnTo>
                  <a:lnTo>
                    <a:pt x="304" y="1443"/>
                  </a:lnTo>
                  <a:lnTo>
                    <a:pt x="306" y="1443"/>
                  </a:lnTo>
                  <a:lnTo>
                    <a:pt x="306" y="1441"/>
                  </a:lnTo>
                  <a:close/>
                  <a:moveTo>
                    <a:pt x="555" y="1399"/>
                  </a:moveTo>
                  <a:lnTo>
                    <a:pt x="557" y="1399"/>
                  </a:lnTo>
                  <a:lnTo>
                    <a:pt x="557" y="1401"/>
                  </a:lnTo>
                  <a:lnTo>
                    <a:pt x="555" y="1401"/>
                  </a:lnTo>
                  <a:lnTo>
                    <a:pt x="557" y="1401"/>
                  </a:lnTo>
                  <a:lnTo>
                    <a:pt x="555" y="1401"/>
                  </a:lnTo>
                  <a:lnTo>
                    <a:pt x="557" y="1401"/>
                  </a:lnTo>
                  <a:lnTo>
                    <a:pt x="555" y="1401"/>
                  </a:lnTo>
                  <a:lnTo>
                    <a:pt x="553" y="1401"/>
                  </a:lnTo>
                  <a:lnTo>
                    <a:pt x="555" y="1401"/>
                  </a:lnTo>
                  <a:lnTo>
                    <a:pt x="555" y="1399"/>
                  </a:lnTo>
                  <a:close/>
                  <a:moveTo>
                    <a:pt x="342" y="1505"/>
                  </a:moveTo>
                  <a:lnTo>
                    <a:pt x="343" y="1506"/>
                  </a:lnTo>
                  <a:lnTo>
                    <a:pt x="343" y="1505"/>
                  </a:lnTo>
                  <a:lnTo>
                    <a:pt x="343" y="1506"/>
                  </a:lnTo>
                  <a:lnTo>
                    <a:pt x="342" y="1506"/>
                  </a:lnTo>
                  <a:lnTo>
                    <a:pt x="342" y="1508"/>
                  </a:lnTo>
                  <a:lnTo>
                    <a:pt x="342" y="1506"/>
                  </a:lnTo>
                  <a:lnTo>
                    <a:pt x="342" y="1505"/>
                  </a:lnTo>
                  <a:lnTo>
                    <a:pt x="342" y="1503"/>
                  </a:lnTo>
                  <a:lnTo>
                    <a:pt x="342" y="1505"/>
                  </a:lnTo>
                  <a:close/>
                  <a:moveTo>
                    <a:pt x="194" y="1490"/>
                  </a:moveTo>
                  <a:lnTo>
                    <a:pt x="195" y="1490"/>
                  </a:lnTo>
                  <a:lnTo>
                    <a:pt x="195" y="1492"/>
                  </a:lnTo>
                  <a:lnTo>
                    <a:pt x="194" y="1493"/>
                  </a:lnTo>
                  <a:lnTo>
                    <a:pt x="194" y="1492"/>
                  </a:lnTo>
                  <a:lnTo>
                    <a:pt x="194" y="1490"/>
                  </a:lnTo>
                  <a:close/>
                  <a:moveTo>
                    <a:pt x="278" y="1414"/>
                  </a:moveTo>
                  <a:lnTo>
                    <a:pt x="280" y="1415"/>
                  </a:lnTo>
                  <a:lnTo>
                    <a:pt x="278" y="1417"/>
                  </a:lnTo>
                  <a:lnTo>
                    <a:pt x="278" y="1415"/>
                  </a:lnTo>
                  <a:lnTo>
                    <a:pt x="278" y="1417"/>
                  </a:lnTo>
                  <a:lnTo>
                    <a:pt x="278" y="1419"/>
                  </a:lnTo>
                  <a:lnTo>
                    <a:pt x="278" y="1417"/>
                  </a:lnTo>
                  <a:lnTo>
                    <a:pt x="278" y="1419"/>
                  </a:lnTo>
                  <a:lnTo>
                    <a:pt x="277" y="1419"/>
                  </a:lnTo>
                  <a:lnTo>
                    <a:pt x="278" y="1417"/>
                  </a:lnTo>
                  <a:lnTo>
                    <a:pt x="277" y="1417"/>
                  </a:lnTo>
                  <a:lnTo>
                    <a:pt x="278" y="1417"/>
                  </a:lnTo>
                  <a:lnTo>
                    <a:pt x="278" y="1415"/>
                  </a:lnTo>
                  <a:lnTo>
                    <a:pt x="278" y="1414"/>
                  </a:lnTo>
                  <a:close/>
                  <a:moveTo>
                    <a:pt x="332" y="1459"/>
                  </a:moveTo>
                  <a:lnTo>
                    <a:pt x="334" y="1459"/>
                  </a:lnTo>
                  <a:lnTo>
                    <a:pt x="334" y="1461"/>
                  </a:lnTo>
                  <a:lnTo>
                    <a:pt x="334" y="1459"/>
                  </a:lnTo>
                  <a:lnTo>
                    <a:pt x="334" y="1461"/>
                  </a:lnTo>
                  <a:lnTo>
                    <a:pt x="334" y="1459"/>
                  </a:lnTo>
                  <a:lnTo>
                    <a:pt x="332" y="1461"/>
                  </a:lnTo>
                  <a:lnTo>
                    <a:pt x="334" y="1461"/>
                  </a:lnTo>
                  <a:lnTo>
                    <a:pt x="334" y="1462"/>
                  </a:lnTo>
                  <a:lnTo>
                    <a:pt x="334" y="1461"/>
                  </a:lnTo>
                  <a:lnTo>
                    <a:pt x="334" y="1462"/>
                  </a:lnTo>
                  <a:lnTo>
                    <a:pt x="334" y="1461"/>
                  </a:lnTo>
                  <a:lnTo>
                    <a:pt x="332" y="1461"/>
                  </a:lnTo>
                  <a:lnTo>
                    <a:pt x="332" y="1459"/>
                  </a:lnTo>
                  <a:close/>
                  <a:moveTo>
                    <a:pt x="143" y="1458"/>
                  </a:moveTo>
                  <a:lnTo>
                    <a:pt x="142" y="1456"/>
                  </a:lnTo>
                  <a:lnTo>
                    <a:pt x="142" y="1454"/>
                  </a:lnTo>
                  <a:lnTo>
                    <a:pt x="143" y="1454"/>
                  </a:lnTo>
                  <a:lnTo>
                    <a:pt x="143" y="1456"/>
                  </a:lnTo>
                  <a:lnTo>
                    <a:pt x="143" y="1458"/>
                  </a:lnTo>
                  <a:close/>
                  <a:moveTo>
                    <a:pt x="303" y="888"/>
                  </a:moveTo>
                  <a:lnTo>
                    <a:pt x="304" y="888"/>
                  </a:lnTo>
                  <a:lnTo>
                    <a:pt x="304" y="890"/>
                  </a:lnTo>
                  <a:lnTo>
                    <a:pt x="304" y="892"/>
                  </a:lnTo>
                  <a:lnTo>
                    <a:pt x="304" y="890"/>
                  </a:lnTo>
                  <a:lnTo>
                    <a:pt x="303" y="890"/>
                  </a:lnTo>
                  <a:lnTo>
                    <a:pt x="303" y="888"/>
                  </a:lnTo>
                  <a:lnTo>
                    <a:pt x="303" y="890"/>
                  </a:lnTo>
                  <a:lnTo>
                    <a:pt x="304" y="890"/>
                  </a:lnTo>
                  <a:lnTo>
                    <a:pt x="303" y="890"/>
                  </a:lnTo>
                  <a:lnTo>
                    <a:pt x="304" y="890"/>
                  </a:lnTo>
                  <a:lnTo>
                    <a:pt x="303" y="888"/>
                  </a:lnTo>
                  <a:close/>
                  <a:moveTo>
                    <a:pt x="244" y="1404"/>
                  </a:moveTo>
                  <a:lnTo>
                    <a:pt x="246" y="1404"/>
                  </a:lnTo>
                  <a:lnTo>
                    <a:pt x="246" y="1406"/>
                  </a:lnTo>
                  <a:lnTo>
                    <a:pt x="244" y="1406"/>
                  </a:lnTo>
                  <a:lnTo>
                    <a:pt x="246" y="1406"/>
                  </a:lnTo>
                  <a:lnTo>
                    <a:pt x="246" y="1407"/>
                  </a:lnTo>
                  <a:lnTo>
                    <a:pt x="244" y="1406"/>
                  </a:lnTo>
                  <a:lnTo>
                    <a:pt x="244" y="1404"/>
                  </a:lnTo>
                  <a:close/>
                  <a:moveTo>
                    <a:pt x="306" y="1454"/>
                  </a:moveTo>
                  <a:lnTo>
                    <a:pt x="306" y="1456"/>
                  </a:lnTo>
                  <a:lnTo>
                    <a:pt x="304" y="1456"/>
                  </a:lnTo>
                  <a:lnTo>
                    <a:pt x="304" y="1454"/>
                  </a:lnTo>
                  <a:lnTo>
                    <a:pt x="304" y="1456"/>
                  </a:lnTo>
                  <a:lnTo>
                    <a:pt x="303" y="1456"/>
                  </a:lnTo>
                  <a:lnTo>
                    <a:pt x="303" y="1454"/>
                  </a:lnTo>
                  <a:lnTo>
                    <a:pt x="304" y="1454"/>
                  </a:lnTo>
                  <a:lnTo>
                    <a:pt x="306" y="1454"/>
                  </a:lnTo>
                  <a:close/>
                  <a:moveTo>
                    <a:pt x="256" y="1464"/>
                  </a:moveTo>
                  <a:lnTo>
                    <a:pt x="257" y="1464"/>
                  </a:lnTo>
                  <a:lnTo>
                    <a:pt x="257" y="1466"/>
                  </a:lnTo>
                  <a:lnTo>
                    <a:pt x="256" y="1466"/>
                  </a:lnTo>
                  <a:lnTo>
                    <a:pt x="256" y="1464"/>
                  </a:lnTo>
                  <a:lnTo>
                    <a:pt x="256" y="1466"/>
                  </a:lnTo>
                  <a:lnTo>
                    <a:pt x="254" y="1466"/>
                  </a:lnTo>
                  <a:lnTo>
                    <a:pt x="254" y="1464"/>
                  </a:lnTo>
                  <a:lnTo>
                    <a:pt x="256" y="1464"/>
                  </a:lnTo>
                  <a:close/>
                  <a:moveTo>
                    <a:pt x="259" y="921"/>
                  </a:moveTo>
                  <a:lnTo>
                    <a:pt x="261" y="921"/>
                  </a:lnTo>
                  <a:lnTo>
                    <a:pt x="261" y="922"/>
                  </a:lnTo>
                  <a:lnTo>
                    <a:pt x="259" y="922"/>
                  </a:lnTo>
                  <a:lnTo>
                    <a:pt x="259" y="921"/>
                  </a:lnTo>
                  <a:close/>
                  <a:moveTo>
                    <a:pt x="192" y="1453"/>
                  </a:moveTo>
                  <a:lnTo>
                    <a:pt x="192" y="1451"/>
                  </a:lnTo>
                  <a:lnTo>
                    <a:pt x="192" y="1453"/>
                  </a:lnTo>
                  <a:lnTo>
                    <a:pt x="194" y="1453"/>
                  </a:lnTo>
                  <a:lnTo>
                    <a:pt x="195" y="1453"/>
                  </a:lnTo>
                  <a:lnTo>
                    <a:pt x="194" y="1453"/>
                  </a:lnTo>
                  <a:lnTo>
                    <a:pt x="194" y="1454"/>
                  </a:lnTo>
                  <a:lnTo>
                    <a:pt x="192" y="1454"/>
                  </a:lnTo>
                  <a:lnTo>
                    <a:pt x="192" y="1453"/>
                  </a:lnTo>
                  <a:close/>
                  <a:moveTo>
                    <a:pt x="173" y="1449"/>
                  </a:moveTo>
                  <a:lnTo>
                    <a:pt x="173" y="1451"/>
                  </a:lnTo>
                  <a:lnTo>
                    <a:pt x="174" y="1451"/>
                  </a:lnTo>
                  <a:lnTo>
                    <a:pt x="173" y="1451"/>
                  </a:lnTo>
                  <a:lnTo>
                    <a:pt x="171" y="1451"/>
                  </a:lnTo>
                  <a:lnTo>
                    <a:pt x="171" y="1449"/>
                  </a:lnTo>
                  <a:lnTo>
                    <a:pt x="173" y="1449"/>
                  </a:lnTo>
                  <a:close/>
                  <a:moveTo>
                    <a:pt x="332" y="1500"/>
                  </a:moveTo>
                  <a:lnTo>
                    <a:pt x="330" y="1500"/>
                  </a:lnTo>
                  <a:lnTo>
                    <a:pt x="330" y="1498"/>
                  </a:lnTo>
                  <a:lnTo>
                    <a:pt x="332" y="1498"/>
                  </a:lnTo>
                  <a:lnTo>
                    <a:pt x="332" y="1500"/>
                  </a:lnTo>
                  <a:close/>
                  <a:moveTo>
                    <a:pt x="274" y="1469"/>
                  </a:moveTo>
                  <a:lnTo>
                    <a:pt x="274" y="1471"/>
                  </a:lnTo>
                  <a:lnTo>
                    <a:pt x="272" y="1471"/>
                  </a:lnTo>
                  <a:lnTo>
                    <a:pt x="272" y="1469"/>
                  </a:lnTo>
                  <a:lnTo>
                    <a:pt x="274" y="1469"/>
                  </a:lnTo>
                  <a:close/>
                  <a:moveTo>
                    <a:pt x="306" y="1453"/>
                  </a:moveTo>
                  <a:lnTo>
                    <a:pt x="306" y="1454"/>
                  </a:lnTo>
                  <a:lnTo>
                    <a:pt x="308" y="1453"/>
                  </a:lnTo>
                  <a:lnTo>
                    <a:pt x="309" y="1453"/>
                  </a:lnTo>
                  <a:lnTo>
                    <a:pt x="309" y="1454"/>
                  </a:lnTo>
                  <a:lnTo>
                    <a:pt x="308" y="1454"/>
                  </a:lnTo>
                  <a:lnTo>
                    <a:pt x="306" y="1454"/>
                  </a:lnTo>
                  <a:lnTo>
                    <a:pt x="308" y="1454"/>
                  </a:lnTo>
                  <a:lnTo>
                    <a:pt x="306" y="1454"/>
                  </a:lnTo>
                  <a:lnTo>
                    <a:pt x="306" y="1453"/>
                  </a:lnTo>
                  <a:close/>
                  <a:moveTo>
                    <a:pt x="244" y="1383"/>
                  </a:moveTo>
                  <a:lnTo>
                    <a:pt x="246" y="1383"/>
                  </a:lnTo>
                  <a:lnTo>
                    <a:pt x="246" y="1384"/>
                  </a:lnTo>
                  <a:lnTo>
                    <a:pt x="244" y="1383"/>
                  </a:lnTo>
                  <a:close/>
                  <a:moveTo>
                    <a:pt x="244" y="573"/>
                  </a:moveTo>
                  <a:lnTo>
                    <a:pt x="243" y="574"/>
                  </a:lnTo>
                  <a:lnTo>
                    <a:pt x="243" y="573"/>
                  </a:lnTo>
                  <a:lnTo>
                    <a:pt x="243" y="571"/>
                  </a:lnTo>
                  <a:lnTo>
                    <a:pt x="243" y="568"/>
                  </a:lnTo>
                  <a:lnTo>
                    <a:pt x="243" y="571"/>
                  </a:lnTo>
                  <a:lnTo>
                    <a:pt x="244" y="573"/>
                  </a:lnTo>
                  <a:close/>
                  <a:moveTo>
                    <a:pt x="217" y="1440"/>
                  </a:moveTo>
                  <a:lnTo>
                    <a:pt x="218" y="1440"/>
                  </a:lnTo>
                  <a:lnTo>
                    <a:pt x="218" y="1441"/>
                  </a:lnTo>
                  <a:lnTo>
                    <a:pt x="218" y="1443"/>
                  </a:lnTo>
                  <a:lnTo>
                    <a:pt x="220" y="1443"/>
                  </a:lnTo>
                  <a:lnTo>
                    <a:pt x="218" y="1443"/>
                  </a:lnTo>
                  <a:lnTo>
                    <a:pt x="218" y="1441"/>
                  </a:lnTo>
                  <a:lnTo>
                    <a:pt x="217" y="1441"/>
                  </a:lnTo>
                  <a:lnTo>
                    <a:pt x="217" y="1440"/>
                  </a:lnTo>
                  <a:close/>
                  <a:moveTo>
                    <a:pt x="246" y="1391"/>
                  </a:moveTo>
                  <a:lnTo>
                    <a:pt x="247" y="1389"/>
                  </a:lnTo>
                  <a:lnTo>
                    <a:pt x="249" y="1389"/>
                  </a:lnTo>
                  <a:lnTo>
                    <a:pt x="249" y="1391"/>
                  </a:lnTo>
                  <a:lnTo>
                    <a:pt x="247" y="1391"/>
                  </a:lnTo>
                  <a:lnTo>
                    <a:pt x="246" y="1391"/>
                  </a:lnTo>
                  <a:lnTo>
                    <a:pt x="247" y="1391"/>
                  </a:lnTo>
                  <a:lnTo>
                    <a:pt x="246" y="1391"/>
                  </a:lnTo>
                  <a:close/>
                  <a:moveTo>
                    <a:pt x="192" y="1477"/>
                  </a:moveTo>
                  <a:lnTo>
                    <a:pt x="194" y="1477"/>
                  </a:lnTo>
                  <a:lnTo>
                    <a:pt x="192" y="1477"/>
                  </a:lnTo>
                  <a:lnTo>
                    <a:pt x="194" y="1479"/>
                  </a:lnTo>
                  <a:lnTo>
                    <a:pt x="192" y="1480"/>
                  </a:lnTo>
                  <a:lnTo>
                    <a:pt x="191" y="1480"/>
                  </a:lnTo>
                  <a:lnTo>
                    <a:pt x="191" y="1479"/>
                  </a:lnTo>
                  <a:lnTo>
                    <a:pt x="192" y="1479"/>
                  </a:lnTo>
                  <a:lnTo>
                    <a:pt x="192" y="1477"/>
                  </a:lnTo>
                  <a:close/>
                  <a:moveTo>
                    <a:pt x="296" y="1438"/>
                  </a:moveTo>
                  <a:lnTo>
                    <a:pt x="298" y="1438"/>
                  </a:lnTo>
                  <a:lnTo>
                    <a:pt x="300" y="1438"/>
                  </a:lnTo>
                  <a:lnTo>
                    <a:pt x="301" y="1438"/>
                  </a:lnTo>
                  <a:lnTo>
                    <a:pt x="300" y="1438"/>
                  </a:lnTo>
                  <a:lnTo>
                    <a:pt x="298" y="1438"/>
                  </a:lnTo>
                  <a:lnTo>
                    <a:pt x="296" y="1438"/>
                  </a:lnTo>
                  <a:close/>
                  <a:moveTo>
                    <a:pt x="147" y="1485"/>
                  </a:moveTo>
                  <a:lnTo>
                    <a:pt x="145" y="1485"/>
                  </a:lnTo>
                  <a:lnTo>
                    <a:pt x="145" y="1484"/>
                  </a:lnTo>
                  <a:lnTo>
                    <a:pt x="145" y="1482"/>
                  </a:lnTo>
                  <a:lnTo>
                    <a:pt x="147" y="1482"/>
                  </a:lnTo>
                  <a:lnTo>
                    <a:pt x="147" y="1484"/>
                  </a:lnTo>
                  <a:lnTo>
                    <a:pt x="147" y="1485"/>
                  </a:lnTo>
                  <a:close/>
                  <a:moveTo>
                    <a:pt x="218" y="1456"/>
                  </a:moveTo>
                  <a:lnTo>
                    <a:pt x="218" y="1454"/>
                  </a:lnTo>
                  <a:lnTo>
                    <a:pt x="220" y="1454"/>
                  </a:lnTo>
                  <a:lnTo>
                    <a:pt x="220" y="1456"/>
                  </a:lnTo>
                  <a:lnTo>
                    <a:pt x="218" y="1456"/>
                  </a:lnTo>
                  <a:lnTo>
                    <a:pt x="218" y="1458"/>
                  </a:lnTo>
                  <a:lnTo>
                    <a:pt x="218" y="1456"/>
                  </a:lnTo>
                  <a:close/>
                  <a:moveTo>
                    <a:pt x="261" y="926"/>
                  </a:moveTo>
                  <a:lnTo>
                    <a:pt x="262" y="926"/>
                  </a:lnTo>
                  <a:lnTo>
                    <a:pt x="264" y="926"/>
                  </a:lnTo>
                  <a:lnTo>
                    <a:pt x="264" y="927"/>
                  </a:lnTo>
                  <a:lnTo>
                    <a:pt x="262" y="927"/>
                  </a:lnTo>
                  <a:lnTo>
                    <a:pt x="262" y="926"/>
                  </a:lnTo>
                  <a:lnTo>
                    <a:pt x="261" y="926"/>
                  </a:lnTo>
                  <a:lnTo>
                    <a:pt x="261" y="927"/>
                  </a:lnTo>
                  <a:lnTo>
                    <a:pt x="261" y="926"/>
                  </a:lnTo>
                  <a:close/>
                  <a:moveTo>
                    <a:pt x="246" y="1443"/>
                  </a:moveTo>
                  <a:lnTo>
                    <a:pt x="247" y="1443"/>
                  </a:lnTo>
                  <a:lnTo>
                    <a:pt x="247" y="1445"/>
                  </a:lnTo>
                  <a:lnTo>
                    <a:pt x="246" y="1443"/>
                  </a:lnTo>
                  <a:lnTo>
                    <a:pt x="246" y="1445"/>
                  </a:lnTo>
                  <a:lnTo>
                    <a:pt x="244" y="1445"/>
                  </a:lnTo>
                  <a:lnTo>
                    <a:pt x="246" y="1443"/>
                  </a:lnTo>
                  <a:close/>
                  <a:moveTo>
                    <a:pt x="241" y="1292"/>
                  </a:moveTo>
                  <a:lnTo>
                    <a:pt x="243" y="1292"/>
                  </a:lnTo>
                  <a:lnTo>
                    <a:pt x="244" y="1292"/>
                  </a:lnTo>
                  <a:lnTo>
                    <a:pt x="244" y="1293"/>
                  </a:lnTo>
                  <a:lnTo>
                    <a:pt x="243" y="1293"/>
                  </a:lnTo>
                  <a:lnTo>
                    <a:pt x="243" y="1292"/>
                  </a:lnTo>
                  <a:lnTo>
                    <a:pt x="241" y="1292"/>
                  </a:lnTo>
                  <a:lnTo>
                    <a:pt x="241" y="1290"/>
                  </a:lnTo>
                  <a:lnTo>
                    <a:pt x="241" y="1292"/>
                  </a:lnTo>
                  <a:close/>
                  <a:moveTo>
                    <a:pt x="197" y="1458"/>
                  </a:moveTo>
                  <a:lnTo>
                    <a:pt x="195" y="1458"/>
                  </a:lnTo>
                  <a:lnTo>
                    <a:pt x="195" y="1459"/>
                  </a:lnTo>
                  <a:lnTo>
                    <a:pt x="195" y="1458"/>
                  </a:lnTo>
                  <a:lnTo>
                    <a:pt x="197" y="1456"/>
                  </a:lnTo>
                  <a:lnTo>
                    <a:pt x="197" y="1458"/>
                  </a:lnTo>
                  <a:close/>
                  <a:moveTo>
                    <a:pt x="166" y="1443"/>
                  </a:moveTo>
                  <a:lnTo>
                    <a:pt x="168" y="1443"/>
                  </a:lnTo>
                  <a:lnTo>
                    <a:pt x="168" y="1445"/>
                  </a:lnTo>
                  <a:lnTo>
                    <a:pt x="168" y="1446"/>
                  </a:lnTo>
                  <a:lnTo>
                    <a:pt x="168" y="1445"/>
                  </a:lnTo>
                  <a:lnTo>
                    <a:pt x="166" y="1445"/>
                  </a:lnTo>
                  <a:lnTo>
                    <a:pt x="166" y="1443"/>
                  </a:lnTo>
                  <a:lnTo>
                    <a:pt x="166" y="1445"/>
                  </a:lnTo>
                  <a:lnTo>
                    <a:pt x="165" y="1445"/>
                  </a:lnTo>
                  <a:lnTo>
                    <a:pt x="166" y="1445"/>
                  </a:lnTo>
                  <a:lnTo>
                    <a:pt x="166" y="1443"/>
                  </a:lnTo>
                  <a:close/>
                  <a:moveTo>
                    <a:pt x="252" y="945"/>
                  </a:moveTo>
                  <a:lnTo>
                    <a:pt x="252" y="947"/>
                  </a:lnTo>
                  <a:lnTo>
                    <a:pt x="252" y="949"/>
                  </a:lnTo>
                  <a:lnTo>
                    <a:pt x="251" y="947"/>
                  </a:lnTo>
                  <a:lnTo>
                    <a:pt x="252" y="947"/>
                  </a:lnTo>
                  <a:lnTo>
                    <a:pt x="251" y="945"/>
                  </a:lnTo>
                  <a:lnTo>
                    <a:pt x="252" y="947"/>
                  </a:lnTo>
                  <a:lnTo>
                    <a:pt x="252" y="945"/>
                  </a:lnTo>
                  <a:lnTo>
                    <a:pt x="251" y="945"/>
                  </a:lnTo>
                  <a:lnTo>
                    <a:pt x="251" y="944"/>
                  </a:lnTo>
                  <a:lnTo>
                    <a:pt x="252" y="944"/>
                  </a:lnTo>
                  <a:lnTo>
                    <a:pt x="252" y="945"/>
                  </a:lnTo>
                  <a:close/>
                  <a:moveTo>
                    <a:pt x="274" y="1471"/>
                  </a:moveTo>
                  <a:lnTo>
                    <a:pt x="275" y="1469"/>
                  </a:lnTo>
                  <a:lnTo>
                    <a:pt x="275" y="1471"/>
                  </a:lnTo>
                  <a:lnTo>
                    <a:pt x="275" y="1472"/>
                  </a:lnTo>
                  <a:lnTo>
                    <a:pt x="274" y="1472"/>
                  </a:lnTo>
                  <a:lnTo>
                    <a:pt x="274" y="1471"/>
                  </a:lnTo>
                  <a:lnTo>
                    <a:pt x="275" y="1471"/>
                  </a:lnTo>
                  <a:lnTo>
                    <a:pt x="274" y="1471"/>
                  </a:lnTo>
                  <a:close/>
                  <a:moveTo>
                    <a:pt x="246" y="1446"/>
                  </a:moveTo>
                  <a:lnTo>
                    <a:pt x="247" y="1448"/>
                  </a:lnTo>
                  <a:lnTo>
                    <a:pt x="247" y="1446"/>
                  </a:lnTo>
                  <a:lnTo>
                    <a:pt x="247" y="1448"/>
                  </a:lnTo>
                  <a:lnTo>
                    <a:pt x="247" y="1449"/>
                  </a:lnTo>
                  <a:lnTo>
                    <a:pt x="246" y="1449"/>
                  </a:lnTo>
                  <a:lnTo>
                    <a:pt x="246" y="1448"/>
                  </a:lnTo>
                  <a:lnTo>
                    <a:pt x="247" y="1449"/>
                  </a:lnTo>
                  <a:lnTo>
                    <a:pt x="247" y="1448"/>
                  </a:lnTo>
                  <a:lnTo>
                    <a:pt x="246" y="1448"/>
                  </a:lnTo>
                  <a:lnTo>
                    <a:pt x="247" y="1448"/>
                  </a:lnTo>
                  <a:lnTo>
                    <a:pt x="246" y="1448"/>
                  </a:lnTo>
                  <a:lnTo>
                    <a:pt x="246" y="1446"/>
                  </a:lnTo>
                  <a:close/>
                  <a:moveTo>
                    <a:pt x="454" y="1456"/>
                  </a:moveTo>
                  <a:lnTo>
                    <a:pt x="454" y="1454"/>
                  </a:lnTo>
                  <a:lnTo>
                    <a:pt x="456" y="1454"/>
                  </a:lnTo>
                  <a:lnTo>
                    <a:pt x="456" y="1456"/>
                  </a:lnTo>
                  <a:lnTo>
                    <a:pt x="454" y="1456"/>
                  </a:lnTo>
                  <a:close/>
                  <a:moveTo>
                    <a:pt x="288" y="641"/>
                  </a:moveTo>
                  <a:lnTo>
                    <a:pt x="288" y="643"/>
                  </a:lnTo>
                  <a:lnTo>
                    <a:pt x="288" y="644"/>
                  </a:lnTo>
                  <a:lnTo>
                    <a:pt x="288" y="643"/>
                  </a:lnTo>
                  <a:lnTo>
                    <a:pt x="288" y="644"/>
                  </a:lnTo>
                  <a:lnTo>
                    <a:pt x="287" y="644"/>
                  </a:lnTo>
                  <a:lnTo>
                    <a:pt x="287" y="643"/>
                  </a:lnTo>
                  <a:lnTo>
                    <a:pt x="288" y="643"/>
                  </a:lnTo>
                  <a:lnTo>
                    <a:pt x="288" y="641"/>
                  </a:lnTo>
                  <a:close/>
                  <a:moveTo>
                    <a:pt x="293" y="1443"/>
                  </a:moveTo>
                  <a:lnTo>
                    <a:pt x="295" y="1443"/>
                  </a:lnTo>
                  <a:lnTo>
                    <a:pt x="295" y="1445"/>
                  </a:lnTo>
                  <a:lnTo>
                    <a:pt x="296" y="1445"/>
                  </a:lnTo>
                  <a:lnTo>
                    <a:pt x="296" y="1443"/>
                  </a:lnTo>
                  <a:lnTo>
                    <a:pt x="296" y="1445"/>
                  </a:lnTo>
                  <a:lnTo>
                    <a:pt x="296" y="1446"/>
                  </a:lnTo>
                  <a:lnTo>
                    <a:pt x="295" y="1445"/>
                  </a:lnTo>
                  <a:lnTo>
                    <a:pt x="293" y="1445"/>
                  </a:lnTo>
                  <a:lnTo>
                    <a:pt x="293" y="1443"/>
                  </a:lnTo>
                  <a:close/>
                  <a:moveTo>
                    <a:pt x="143" y="1461"/>
                  </a:moveTo>
                  <a:lnTo>
                    <a:pt x="143" y="1459"/>
                  </a:lnTo>
                  <a:lnTo>
                    <a:pt x="143" y="1461"/>
                  </a:lnTo>
                  <a:lnTo>
                    <a:pt x="143" y="1462"/>
                  </a:lnTo>
                  <a:lnTo>
                    <a:pt x="143" y="1461"/>
                  </a:lnTo>
                  <a:lnTo>
                    <a:pt x="142" y="1461"/>
                  </a:lnTo>
                  <a:lnTo>
                    <a:pt x="142" y="1459"/>
                  </a:lnTo>
                  <a:lnTo>
                    <a:pt x="143" y="1459"/>
                  </a:lnTo>
                  <a:lnTo>
                    <a:pt x="143" y="1461"/>
                  </a:lnTo>
                  <a:lnTo>
                    <a:pt x="143" y="1459"/>
                  </a:lnTo>
                  <a:lnTo>
                    <a:pt x="143" y="1461"/>
                  </a:lnTo>
                  <a:close/>
                  <a:moveTo>
                    <a:pt x="296" y="1500"/>
                  </a:moveTo>
                  <a:lnTo>
                    <a:pt x="298" y="1498"/>
                  </a:lnTo>
                  <a:lnTo>
                    <a:pt x="296" y="1498"/>
                  </a:lnTo>
                  <a:lnTo>
                    <a:pt x="296" y="1500"/>
                  </a:lnTo>
                  <a:lnTo>
                    <a:pt x="295" y="1500"/>
                  </a:lnTo>
                  <a:lnTo>
                    <a:pt x="296" y="1498"/>
                  </a:lnTo>
                  <a:lnTo>
                    <a:pt x="298" y="1498"/>
                  </a:lnTo>
                  <a:lnTo>
                    <a:pt x="298" y="1500"/>
                  </a:lnTo>
                  <a:lnTo>
                    <a:pt x="296" y="1500"/>
                  </a:lnTo>
                  <a:close/>
                  <a:moveTo>
                    <a:pt x="282" y="1428"/>
                  </a:moveTo>
                  <a:lnTo>
                    <a:pt x="282" y="1430"/>
                  </a:lnTo>
                  <a:lnTo>
                    <a:pt x="283" y="1430"/>
                  </a:lnTo>
                  <a:lnTo>
                    <a:pt x="282" y="1432"/>
                  </a:lnTo>
                  <a:lnTo>
                    <a:pt x="283" y="1432"/>
                  </a:lnTo>
                  <a:lnTo>
                    <a:pt x="282" y="1432"/>
                  </a:lnTo>
                  <a:lnTo>
                    <a:pt x="282" y="1430"/>
                  </a:lnTo>
                  <a:lnTo>
                    <a:pt x="282" y="1428"/>
                  </a:lnTo>
                  <a:close/>
                  <a:moveTo>
                    <a:pt x="223" y="1420"/>
                  </a:moveTo>
                  <a:lnTo>
                    <a:pt x="223" y="1422"/>
                  </a:lnTo>
                  <a:lnTo>
                    <a:pt x="225" y="1422"/>
                  </a:lnTo>
                  <a:lnTo>
                    <a:pt x="225" y="1423"/>
                  </a:lnTo>
                  <a:lnTo>
                    <a:pt x="225" y="1422"/>
                  </a:lnTo>
                  <a:lnTo>
                    <a:pt x="225" y="1423"/>
                  </a:lnTo>
                  <a:lnTo>
                    <a:pt x="223" y="1423"/>
                  </a:lnTo>
                  <a:lnTo>
                    <a:pt x="223" y="1422"/>
                  </a:lnTo>
                  <a:lnTo>
                    <a:pt x="221" y="1422"/>
                  </a:lnTo>
                  <a:lnTo>
                    <a:pt x="221" y="1420"/>
                  </a:lnTo>
                  <a:lnTo>
                    <a:pt x="223" y="1422"/>
                  </a:lnTo>
                  <a:lnTo>
                    <a:pt x="223" y="1420"/>
                  </a:lnTo>
                  <a:close/>
                  <a:moveTo>
                    <a:pt x="160" y="1064"/>
                  </a:moveTo>
                  <a:lnTo>
                    <a:pt x="161" y="1064"/>
                  </a:lnTo>
                  <a:lnTo>
                    <a:pt x="161" y="1066"/>
                  </a:lnTo>
                  <a:lnTo>
                    <a:pt x="161" y="1064"/>
                  </a:lnTo>
                  <a:lnTo>
                    <a:pt x="161" y="1066"/>
                  </a:lnTo>
                  <a:lnTo>
                    <a:pt x="161" y="1064"/>
                  </a:lnTo>
                  <a:lnTo>
                    <a:pt x="161" y="1066"/>
                  </a:lnTo>
                  <a:lnTo>
                    <a:pt x="160" y="1066"/>
                  </a:lnTo>
                  <a:lnTo>
                    <a:pt x="158" y="1066"/>
                  </a:lnTo>
                  <a:lnTo>
                    <a:pt x="160" y="1066"/>
                  </a:lnTo>
                  <a:lnTo>
                    <a:pt x="161" y="1066"/>
                  </a:lnTo>
                  <a:lnTo>
                    <a:pt x="160" y="1066"/>
                  </a:lnTo>
                  <a:lnTo>
                    <a:pt x="160" y="1064"/>
                  </a:lnTo>
                  <a:close/>
                  <a:moveTo>
                    <a:pt x="282" y="1404"/>
                  </a:moveTo>
                  <a:lnTo>
                    <a:pt x="283" y="1402"/>
                  </a:lnTo>
                  <a:lnTo>
                    <a:pt x="283" y="1404"/>
                  </a:lnTo>
                  <a:lnTo>
                    <a:pt x="283" y="1402"/>
                  </a:lnTo>
                  <a:lnTo>
                    <a:pt x="283" y="1404"/>
                  </a:lnTo>
                  <a:lnTo>
                    <a:pt x="282" y="1404"/>
                  </a:lnTo>
                  <a:lnTo>
                    <a:pt x="283" y="1404"/>
                  </a:lnTo>
                  <a:lnTo>
                    <a:pt x="282" y="1404"/>
                  </a:lnTo>
                  <a:lnTo>
                    <a:pt x="283" y="1404"/>
                  </a:lnTo>
                  <a:lnTo>
                    <a:pt x="282" y="1404"/>
                  </a:lnTo>
                  <a:lnTo>
                    <a:pt x="282" y="1406"/>
                  </a:lnTo>
                  <a:lnTo>
                    <a:pt x="282" y="1404"/>
                  </a:lnTo>
                  <a:lnTo>
                    <a:pt x="280" y="1404"/>
                  </a:lnTo>
                  <a:lnTo>
                    <a:pt x="280" y="1406"/>
                  </a:lnTo>
                  <a:lnTo>
                    <a:pt x="280" y="1404"/>
                  </a:lnTo>
                  <a:lnTo>
                    <a:pt x="282" y="1404"/>
                  </a:lnTo>
                  <a:close/>
                  <a:moveTo>
                    <a:pt x="314" y="1456"/>
                  </a:moveTo>
                  <a:lnTo>
                    <a:pt x="316" y="1456"/>
                  </a:lnTo>
                  <a:lnTo>
                    <a:pt x="317" y="1456"/>
                  </a:lnTo>
                  <a:lnTo>
                    <a:pt x="316" y="1458"/>
                  </a:lnTo>
                  <a:lnTo>
                    <a:pt x="314" y="1458"/>
                  </a:lnTo>
                  <a:lnTo>
                    <a:pt x="314" y="1456"/>
                  </a:lnTo>
                  <a:close/>
                  <a:moveTo>
                    <a:pt x="239" y="1451"/>
                  </a:moveTo>
                  <a:lnTo>
                    <a:pt x="241" y="1451"/>
                  </a:lnTo>
                  <a:lnTo>
                    <a:pt x="241" y="1453"/>
                  </a:lnTo>
                  <a:lnTo>
                    <a:pt x="239" y="1453"/>
                  </a:lnTo>
                  <a:lnTo>
                    <a:pt x="239" y="1451"/>
                  </a:lnTo>
                  <a:lnTo>
                    <a:pt x="238" y="1451"/>
                  </a:lnTo>
                  <a:lnTo>
                    <a:pt x="239" y="1451"/>
                  </a:lnTo>
                  <a:close/>
                  <a:moveTo>
                    <a:pt x="217" y="1018"/>
                  </a:moveTo>
                  <a:lnTo>
                    <a:pt x="217" y="1020"/>
                  </a:lnTo>
                  <a:lnTo>
                    <a:pt x="218" y="1020"/>
                  </a:lnTo>
                  <a:lnTo>
                    <a:pt x="218" y="1022"/>
                  </a:lnTo>
                  <a:lnTo>
                    <a:pt x="217" y="1020"/>
                  </a:lnTo>
                  <a:lnTo>
                    <a:pt x="217" y="1022"/>
                  </a:lnTo>
                  <a:lnTo>
                    <a:pt x="217" y="1020"/>
                  </a:lnTo>
                  <a:lnTo>
                    <a:pt x="217" y="1022"/>
                  </a:lnTo>
                  <a:lnTo>
                    <a:pt x="217" y="1020"/>
                  </a:lnTo>
                  <a:lnTo>
                    <a:pt x="215" y="1020"/>
                  </a:lnTo>
                  <a:lnTo>
                    <a:pt x="217" y="1020"/>
                  </a:lnTo>
                  <a:lnTo>
                    <a:pt x="217" y="1018"/>
                  </a:lnTo>
                  <a:close/>
                  <a:moveTo>
                    <a:pt x="228" y="1391"/>
                  </a:moveTo>
                  <a:lnTo>
                    <a:pt x="228" y="1393"/>
                  </a:lnTo>
                  <a:lnTo>
                    <a:pt x="228" y="1394"/>
                  </a:lnTo>
                  <a:lnTo>
                    <a:pt x="226" y="1393"/>
                  </a:lnTo>
                  <a:lnTo>
                    <a:pt x="228" y="1391"/>
                  </a:lnTo>
                  <a:close/>
                  <a:moveTo>
                    <a:pt x="225" y="1443"/>
                  </a:moveTo>
                  <a:lnTo>
                    <a:pt x="226" y="1443"/>
                  </a:lnTo>
                  <a:lnTo>
                    <a:pt x="226" y="1445"/>
                  </a:lnTo>
                  <a:lnTo>
                    <a:pt x="226" y="1446"/>
                  </a:lnTo>
                  <a:lnTo>
                    <a:pt x="226" y="1448"/>
                  </a:lnTo>
                  <a:lnTo>
                    <a:pt x="226" y="1446"/>
                  </a:lnTo>
                  <a:lnTo>
                    <a:pt x="225" y="1446"/>
                  </a:lnTo>
                  <a:lnTo>
                    <a:pt x="226" y="1446"/>
                  </a:lnTo>
                  <a:lnTo>
                    <a:pt x="225" y="1446"/>
                  </a:lnTo>
                  <a:lnTo>
                    <a:pt x="225" y="1445"/>
                  </a:lnTo>
                  <a:lnTo>
                    <a:pt x="225" y="1443"/>
                  </a:lnTo>
                  <a:close/>
                  <a:moveTo>
                    <a:pt x="145" y="1461"/>
                  </a:moveTo>
                  <a:lnTo>
                    <a:pt x="145" y="1462"/>
                  </a:lnTo>
                  <a:lnTo>
                    <a:pt x="145" y="1464"/>
                  </a:lnTo>
                  <a:lnTo>
                    <a:pt x="145" y="1462"/>
                  </a:lnTo>
                  <a:lnTo>
                    <a:pt x="145" y="1464"/>
                  </a:lnTo>
                  <a:lnTo>
                    <a:pt x="145" y="1462"/>
                  </a:lnTo>
                  <a:lnTo>
                    <a:pt x="143" y="1464"/>
                  </a:lnTo>
                  <a:lnTo>
                    <a:pt x="143" y="1462"/>
                  </a:lnTo>
                  <a:lnTo>
                    <a:pt x="145" y="1462"/>
                  </a:lnTo>
                  <a:lnTo>
                    <a:pt x="145" y="1461"/>
                  </a:lnTo>
                  <a:close/>
                  <a:moveTo>
                    <a:pt x="189" y="1479"/>
                  </a:moveTo>
                  <a:lnTo>
                    <a:pt x="189" y="1480"/>
                  </a:lnTo>
                  <a:lnTo>
                    <a:pt x="189" y="1479"/>
                  </a:lnTo>
                  <a:lnTo>
                    <a:pt x="191" y="1480"/>
                  </a:lnTo>
                  <a:lnTo>
                    <a:pt x="191" y="1482"/>
                  </a:lnTo>
                  <a:lnTo>
                    <a:pt x="191" y="1480"/>
                  </a:lnTo>
                  <a:lnTo>
                    <a:pt x="189" y="1480"/>
                  </a:lnTo>
                  <a:lnTo>
                    <a:pt x="189" y="1479"/>
                  </a:lnTo>
                  <a:lnTo>
                    <a:pt x="189" y="1480"/>
                  </a:lnTo>
                  <a:lnTo>
                    <a:pt x="189" y="1479"/>
                  </a:lnTo>
                  <a:close/>
                  <a:moveTo>
                    <a:pt x="210" y="1475"/>
                  </a:moveTo>
                  <a:lnTo>
                    <a:pt x="212" y="1475"/>
                  </a:lnTo>
                  <a:lnTo>
                    <a:pt x="212" y="1477"/>
                  </a:lnTo>
                  <a:lnTo>
                    <a:pt x="210" y="1477"/>
                  </a:lnTo>
                  <a:lnTo>
                    <a:pt x="208" y="1477"/>
                  </a:lnTo>
                  <a:lnTo>
                    <a:pt x="210" y="1477"/>
                  </a:lnTo>
                  <a:lnTo>
                    <a:pt x="210" y="1475"/>
                  </a:lnTo>
                  <a:close/>
                  <a:moveTo>
                    <a:pt x="369" y="1462"/>
                  </a:moveTo>
                  <a:lnTo>
                    <a:pt x="371" y="1462"/>
                  </a:lnTo>
                  <a:lnTo>
                    <a:pt x="371" y="1464"/>
                  </a:lnTo>
                  <a:lnTo>
                    <a:pt x="369" y="1464"/>
                  </a:lnTo>
                  <a:lnTo>
                    <a:pt x="368" y="1464"/>
                  </a:lnTo>
                  <a:lnTo>
                    <a:pt x="369" y="1464"/>
                  </a:lnTo>
                  <a:lnTo>
                    <a:pt x="369" y="1462"/>
                  </a:lnTo>
                  <a:close/>
                  <a:moveTo>
                    <a:pt x="230" y="1020"/>
                  </a:moveTo>
                  <a:lnTo>
                    <a:pt x="231" y="1020"/>
                  </a:lnTo>
                  <a:lnTo>
                    <a:pt x="231" y="1022"/>
                  </a:lnTo>
                  <a:lnTo>
                    <a:pt x="230" y="1022"/>
                  </a:lnTo>
                  <a:lnTo>
                    <a:pt x="230" y="1020"/>
                  </a:lnTo>
                  <a:close/>
                  <a:moveTo>
                    <a:pt x="256" y="1445"/>
                  </a:moveTo>
                  <a:lnTo>
                    <a:pt x="257" y="1445"/>
                  </a:lnTo>
                  <a:lnTo>
                    <a:pt x="257" y="1446"/>
                  </a:lnTo>
                  <a:lnTo>
                    <a:pt x="256" y="1446"/>
                  </a:lnTo>
                  <a:lnTo>
                    <a:pt x="256" y="1445"/>
                  </a:lnTo>
                  <a:close/>
                  <a:moveTo>
                    <a:pt x="262" y="921"/>
                  </a:moveTo>
                  <a:lnTo>
                    <a:pt x="264" y="921"/>
                  </a:lnTo>
                  <a:lnTo>
                    <a:pt x="264" y="922"/>
                  </a:lnTo>
                  <a:lnTo>
                    <a:pt x="262" y="922"/>
                  </a:lnTo>
                  <a:lnTo>
                    <a:pt x="262" y="921"/>
                  </a:lnTo>
                  <a:close/>
                  <a:moveTo>
                    <a:pt x="200" y="1458"/>
                  </a:moveTo>
                  <a:lnTo>
                    <a:pt x="202" y="1458"/>
                  </a:lnTo>
                  <a:lnTo>
                    <a:pt x="202" y="1459"/>
                  </a:lnTo>
                  <a:lnTo>
                    <a:pt x="202" y="1461"/>
                  </a:lnTo>
                  <a:lnTo>
                    <a:pt x="200" y="1459"/>
                  </a:lnTo>
                  <a:lnTo>
                    <a:pt x="200" y="1458"/>
                  </a:lnTo>
                  <a:close/>
                  <a:moveTo>
                    <a:pt x="163" y="1449"/>
                  </a:moveTo>
                  <a:lnTo>
                    <a:pt x="163" y="1451"/>
                  </a:lnTo>
                  <a:lnTo>
                    <a:pt x="163" y="1453"/>
                  </a:lnTo>
                  <a:lnTo>
                    <a:pt x="163" y="1451"/>
                  </a:lnTo>
                  <a:lnTo>
                    <a:pt x="161" y="1451"/>
                  </a:lnTo>
                  <a:lnTo>
                    <a:pt x="161" y="1449"/>
                  </a:lnTo>
                  <a:lnTo>
                    <a:pt x="163" y="1449"/>
                  </a:lnTo>
                  <a:lnTo>
                    <a:pt x="161" y="1449"/>
                  </a:lnTo>
                  <a:lnTo>
                    <a:pt x="163" y="1449"/>
                  </a:lnTo>
                  <a:lnTo>
                    <a:pt x="163" y="1448"/>
                  </a:lnTo>
                  <a:lnTo>
                    <a:pt x="163" y="1449"/>
                  </a:lnTo>
                  <a:close/>
                  <a:moveTo>
                    <a:pt x="444" y="1471"/>
                  </a:moveTo>
                  <a:lnTo>
                    <a:pt x="444" y="1469"/>
                  </a:lnTo>
                  <a:lnTo>
                    <a:pt x="446" y="1469"/>
                  </a:lnTo>
                  <a:lnTo>
                    <a:pt x="446" y="1471"/>
                  </a:lnTo>
                  <a:lnTo>
                    <a:pt x="446" y="1469"/>
                  </a:lnTo>
                  <a:lnTo>
                    <a:pt x="448" y="1469"/>
                  </a:lnTo>
                  <a:lnTo>
                    <a:pt x="448" y="1471"/>
                  </a:lnTo>
                  <a:lnTo>
                    <a:pt x="446" y="1471"/>
                  </a:lnTo>
                  <a:lnTo>
                    <a:pt x="448" y="1471"/>
                  </a:lnTo>
                  <a:lnTo>
                    <a:pt x="446" y="1471"/>
                  </a:lnTo>
                  <a:lnTo>
                    <a:pt x="444" y="1471"/>
                  </a:lnTo>
                  <a:close/>
                  <a:moveTo>
                    <a:pt x="207" y="1490"/>
                  </a:moveTo>
                  <a:lnTo>
                    <a:pt x="208" y="1490"/>
                  </a:lnTo>
                  <a:lnTo>
                    <a:pt x="208" y="1488"/>
                  </a:lnTo>
                  <a:lnTo>
                    <a:pt x="208" y="1490"/>
                  </a:lnTo>
                  <a:lnTo>
                    <a:pt x="207" y="1490"/>
                  </a:lnTo>
                  <a:lnTo>
                    <a:pt x="205" y="1490"/>
                  </a:lnTo>
                  <a:lnTo>
                    <a:pt x="207" y="1490"/>
                  </a:lnTo>
                  <a:close/>
                  <a:moveTo>
                    <a:pt x="156" y="1057"/>
                  </a:moveTo>
                  <a:lnTo>
                    <a:pt x="156" y="1056"/>
                  </a:lnTo>
                  <a:lnTo>
                    <a:pt x="158" y="1056"/>
                  </a:lnTo>
                  <a:lnTo>
                    <a:pt x="156" y="1056"/>
                  </a:lnTo>
                  <a:lnTo>
                    <a:pt x="158" y="1056"/>
                  </a:lnTo>
                  <a:lnTo>
                    <a:pt x="158" y="1057"/>
                  </a:lnTo>
                  <a:lnTo>
                    <a:pt x="156" y="1057"/>
                  </a:lnTo>
                  <a:close/>
                  <a:moveTo>
                    <a:pt x="602" y="1373"/>
                  </a:moveTo>
                  <a:lnTo>
                    <a:pt x="604" y="1373"/>
                  </a:lnTo>
                  <a:lnTo>
                    <a:pt x="604" y="1375"/>
                  </a:lnTo>
                  <a:lnTo>
                    <a:pt x="605" y="1375"/>
                  </a:lnTo>
                  <a:lnTo>
                    <a:pt x="605" y="1373"/>
                  </a:lnTo>
                  <a:lnTo>
                    <a:pt x="605" y="1375"/>
                  </a:lnTo>
                  <a:lnTo>
                    <a:pt x="604" y="1375"/>
                  </a:lnTo>
                  <a:lnTo>
                    <a:pt x="602" y="1373"/>
                  </a:lnTo>
                  <a:close/>
                  <a:moveTo>
                    <a:pt x="277" y="1454"/>
                  </a:moveTo>
                  <a:lnTo>
                    <a:pt x="275" y="1454"/>
                  </a:lnTo>
                  <a:lnTo>
                    <a:pt x="275" y="1453"/>
                  </a:lnTo>
                  <a:lnTo>
                    <a:pt x="277" y="1453"/>
                  </a:lnTo>
                  <a:lnTo>
                    <a:pt x="277" y="1454"/>
                  </a:lnTo>
                  <a:close/>
                  <a:moveTo>
                    <a:pt x="371" y="1467"/>
                  </a:moveTo>
                  <a:lnTo>
                    <a:pt x="371" y="1469"/>
                  </a:lnTo>
                  <a:lnTo>
                    <a:pt x="369" y="1467"/>
                  </a:lnTo>
                  <a:lnTo>
                    <a:pt x="369" y="1466"/>
                  </a:lnTo>
                  <a:lnTo>
                    <a:pt x="371" y="1466"/>
                  </a:lnTo>
                  <a:lnTo>
                    <a:pt x="371" y="1467"/>
                  </a:lnTo>
                  <a:close/>
                  <a:moveTo>
                    <a:pt x="355" y="1490"/>
                  </a:moveTo>
                  <a:lnTo>
                    <a:pt x="355" y="1488"/>
                  </a:lnTo>
                  <a:lnTo>
                    <a:pt x="356" y="1488"/>
                  </a:lnTo>
                  <a:lnTo>
                    <a:pt x="356" y="1490"/>
                  </a:lnTo>
                  <a:lnTo>
                    <a:pt x="356" y="1488"/>
                  </a:lnTo>
                  <a:lnTo>
                    <a:pt x="356" y="1490"/>
                  </a:lnTo>
                  <a:lnTo>
                    <a:pt x="356" y="1492"/>
                  </a:lnTo>
                  <a:lnTo>
                    <a:pt x="355" y="1492"/>
                  </a:lnTo>
                  <a:lnTo>
                    <a:pt x="355" y="1490"/>
                  </a:lnTo>
                  <a:close/>
                  <a:moveTo>
                    <a:pt x="163" y="1443"/>
                  </a:moveTo>
                  <a:lnTo>
                    <a:pt x="165" y="1443"/>
                  </a:lnTo>
                  <a:lnTo>
                    <a:pt x="165" y="1445"/>
                  </a:lnTo>
                  <a:lnTo>
                    <a:pt x="166" y="1445"/>
                  </a:lnTo>
                  <a:lnTo>
                    <a:pt x="166" y="1446"/>
                  </a:lnTo>
                  <a:lnTo>
                    <a:pt x="165" y="1446"/>
                  </a:lnTo>
                  <a:lnTo>
                    <a:pt x="165" y="1445"/>
                  </a:lnTo>
                  <a:lnTo>
                    <a:pt x="165" y="1443"/>
                  </a:lnTo>
                  <a:lnTo>
                    <a:pt x="165" y="1445"/>
                  </a:lnTo>
                  <a:lnTo>
                    <a:pt x="163" y="1445"/>
                  </a:lnTo>
                  <a:lnTo>
                    <a:pt x="163" y="1443"/>
                  </a:lnTo>
                  <a:close/>
                  <a:moveTo>
                    <a:pt x="529" y="1419"/>
                  </a:moveTo>
                  <a:lnTo>
                    <a:pt x="530" y="1419"/>
                  </a:lnTo>
                  <a:lnTo>
                    <a:pt x="529" y="1419"/>
                  </a:lnTo>
                  <a:lnTo>
                    <a:pt x="530" y="1419"/>
                  </a:lnTo>
                  <a:lnTo>
                    <a:pt x="529" y="1419"/>
                  </a:lnTo>
                  <a:lnTo>
                    <a:pt x="529" y="1420"/>
                  </a:lnTo>
                  <a:lnTo>
                    <a:pt x="529" y="1419"/>
                  </a:lnTo>
                  <a:lnTo>
                    <a:pt x="527" y="1420"/>
                  </a:lnTo>
                  <a:lnTo>
                    <a:pt x="527" y="1419"/>
                  </a:lnTo>
                  <a:lnTo>
                    <a:pt x="529" y="1419"/>
                  </a:lnTo>
                  <a:close/>
                  <a:moveTo>
                    <a:pt x="332" y="1500"/>
                  </a:moveTo>
                  <a:lnTo>
                    <a:pt x="334" y="1501"/>
                  </a:lnTo>
                  <a:lnTo>
                    <a:pt x="332" y="1501"/>
                  </a:lnTo>
                  <a:lnTo>
                    <a:pt x="334" y="1501"/>
                  </a:lnTo>
                  <a:lnTo>
                    <a:pt x="332" y="1501"/>
                  </a:lnTo>
                  <a:lnTo>
                    <a:pt x="330" y="1501"/>
                  </a:lnTo>
                  <a:lnTo>
                    <a:pt x="330" y="1500"/>
                  </a:lnTo>
                  <a:lnTo>
                    <a:pt x="332" y="1500"/>
                  </a:lnTo>
                  <a:lnTo>
                    <a:pt x="332" y="1501"/>
                  </a:lnTo>
                  <a:lnTo>
                    <a:pt x="330" y="1501"/>
                  </a:lnTo>
                  <a:lnTo>
                    <a:pt x="332" y="1501"/>
                  </a:lnTo>
                  <a:lnTo>
                    <a:pt x="332" y="1500"/>
                  </a:lnTo>
                  <a:lnTo>
                    <a:pt x="334" y="1500"/>
                  </a:lnTo>
                  <a:lnTo>
                    <a:pt x="332" y="1500"/>
                  </a:lnTo>
                  <a:close/>
                  <a:moveTo>
                    <a:pt x="221" y="1018"/>
                  </a:moveTo>
                  <a:lnTo>
                    <a:pt x="223" y="1020"/>
                  </a:lnTo>
                  <a:lnTo>
                    <a:pt x="221" y="1020"/>
                  </a:lnTo>
                  <a:lnTo>
                    <a:pt x="221" y="1022"/>
                  </a:lnTo>
                  <a:lnTo>
                    <a:pt x="221" y="1020"/>
                  </a:lnTo>
                  <a:lnTo>
                    <a:pt x="221" y="1018"/>
                  </a:lnTo>
                  <a:close/>
                  <a:moveTo>
                    <a:pt x="243" y="1384"/>
                  </a:moveTo>
                  <a:lnTo>
                    <a:pt x="243" y="1383"/>
                  </a:lnTo>
                  <a:lnTo>
                    <a:pt x="244" y="1383"/>
                  </a:lnTo>
                  <a:lnTo>
                    <a:pt x="244" y="1384"/>
                  </a:lnTo>
                  <a:lnTo>
                    <a:pt x="246" y="1384"/>
                  </a:lnTo>
                  <a:lnTo>
                    <a:pt x="244" y="1384"/>
                  </a:lnTo>
                  <a:lnTo>
                    <a:pt x="244" y="1386"/>
                  </a:lnTo>
                  <a:lnTo>
                    <a:pt x="244" y="1384"/>
                  </a:lnTo>
                  <a:lnTo>
                    <a:pt x="243" y="1384"/>
                  </a:lnTo>
                  <a:close/>
                  <a:moveTo>
                    <a:pt x="358" y="1488"/>
                  </a:moveTo>
                  <a:lnTo>
                    <a:pt x="360" y="1488"/>
                  </a:lnTo>
                  <a:lnTo>
                    <a:pt x="361" y="1488"/>
                  </a:lnTo>
                  <a:lnTo>
                    <a:pt x="360" y="1488"/>
                  </a:lnTo>
                  <a:lnTo>
                    <a:pt x="361" y="1490"/>
                  </a:lnTo>
                  <a:lnTo>
                    <a:pt x="360" y="1490"/>
                  </a:lnTo>
                  <a:lnTo>
                    <a:pt x="358" y="1490"/>
                  </a:lnTo>
                  <a:lnTo>
                    <a:pt x="358" y="1488"/>
                  </a:lnTo>
                  <a:close/>
                  <a:moveTo>
                    <a:pt x="231" y="1280"/>
                  </a:moveTo>
                  <a:lnTo>
                    <a:pt x="233" y="1280"/>
                  </a:lnTo>
                  <a:lnTo>
                    <a:pt x="233" y="1282"/>
                  </a:lnTo>
                  <a:lnTo>
                    <a:pt x="233" y="1284"/>
                  </a:lnTo>
                  <a:lnTo>
                    <a:pt x="231" y="1282"/>
                  </a:lnTo>
                  <a:lnTo>
                    <a:pt x="233" y="1282"/>
                  </a:lnTo>
                  <a:lnTo>
                    <a:pt x="231" y="1280"/>
                  </a:lnTo>
                  <a:close/>
                  <a:moveTo>
                    <a:pt x="239" y="560"/>
                  </a:moveTo>
                  <a:lnTo>
                    <a:pt x="238" y="558"/>
                  </a:lnTo>
                  <a:lnTo>
                    <a:pt x="238" y="557"/>
                  </a:lnTo>
                  <a:lnTo>
                    <a:pt x="239" y="555"/>
                  </a:lnTo>
                  <a:lnTo>
                    <a:pt x="239" y="557"/>
                  </a:lnTo>
                  <a:lnTo>
                    <a:pt x="238" y="557"/>
                  </a:lnTo>
                  <a:lnTo>
                    <a:pt x="239" y="558"/>
                  </a:lnTo>
                  <a:lnTo>
                    <a:pt x="239" y="560"/>
                  </a:lnTo>
                  <a:close/>
                  <a:moveTo>
                    <a:pt x="200" y="1160"/>
                  </a:moveTo>
                  <a:lnTo>
                    <a:pt x="202" y="1158"/>
                  </a:lnTo>
                  <a:lnTo>
                    <a:pt x="202" y="1160"/>
                  </a:lnTo>
                  <a:lnTo>
                    <a:pt x="202" y="1162"/>
                  </a:lnTo>
                  <a:lnTo>
                    <a:pt x="200" y="1162"/>
                  </a:lnTo>
                  <a:lnTo>
                    <a:pt x="202" y="1162"/>
                  </a:lnTo>
                  <a:lnTo>
                    <a:pt x="202" y="1163"/>
                  </a:lnTo>
                  <a:lnTo>
                    <a:pt x="200" y="1163"/>
                  </a:lnTo>
                  <a:lnTo>
                    <a:pt x="200" y="1162"/>
                  </a:lnTo>
                  <a:lnTo>
                    <a:pt x="200" y="1160"/>
                  </a:lnTo>
                  <a:close/>
                  <a:moveTo>
                    <a:pt x="592" y="1375"/>
                  </a:moveTo>
                  <a:lnTo>
                    <a:pt x="592" y="1376"/>
                  </a:lnTo>
                  <a:lnTo>
                    <a:pt x="592" y="1378"/>
                  </a:lnTo>
                  <a:lnTo>
                    <a:pt x="592" y="1376"/>
                  </a:lnTo>
                  <a:lnTo>
                    <a:pt x="591" y="1376"/>
                  </a:lnTo>
                  <a:lnTo>
                    <a:pt x="591" y="1375"/>
                  </a:lnTo>
                  <a:lnTo>
                    <a:pt x="592" y="1375"/>
                  </a:lnTo>
                  <a:close/>
                  <a:moveTo>
                    <a:pt x="200" y="1066"/>
                  </a:moveTo>
                  <a:lnTo>
                    <a:pt x="202" y="1066"/>
                  </a:lnTo>
                  <a:lnTo>
                    <a:pt x="204" y="1067"/>
                  </a:lnTo>
                  <a:lnTo>
                    <a:pt x="202" y="1067"/>
                  </a:lnTo>
                  <a:lnTo>
                    <a:pt x="200" y="1067"/>
                  </a:lnTo>
                  <a:lnTo>
                    <a:pt x="200" y="1066"/>
                  </a:lnTo>
                  <a:close/>
                  <a:moveTo>
                    <a:pt x="552" y="1410"/>
                  </a:moveTo>
                  <a:lnTo>
                    <a:pt x="552" y="1409"/>
                  </a:lnTo>
                  <a:lnTo>
                    <a:pt x="553" y="1409"/>
                  </a:lnTo>
                  <a:lnTo>
                    <a:pt x="553" y="1410"/>
                  </a:lnTo>
                  <a:lnTo>
                    <a:pt x="553" y="1412"/>
                  </a:lnTo>
                  <a:lnTo>
                    <a:pt x="552" y="1410"/>
                  </a:lnTo>
                  <a:lnTo>
                    <a:pt x="552" y="1412"/>
                  </a:lnTo>
                  <a:lnTo>
                    <a:pt x="552" y="1410"/>
                  </a:lnTo>
                  <a:lnTo>
                    <a:pt x="550" y="1410"/>
                  </a:lnTo>
                  <a:lnTo>
                    <a:pt x="552" y="1410"/>
                  </a:lnTo>
                  <a:close/>
                  <a:moveTo>
                    <a:pt x="480" y="1453"/>
                  </a:moveTo>
                  <a:lnTo>
                    <a:pt x="480" y="1451"/>
                  </a:lnTo>
                  <a:lnTo>
                    <a:pt x="482" y="1451"/>
                  </a:lnTo>
                  <a:lnTo>
                    <a:pt x="482" y="1453"/>
                  </a:lnTo>
                  <a:lnTo>
                    <a:pt x="480" y="1454"/>
                  </a:lnTo>
                  <a:lnTo>
                    <a:pt x="480" y="1453"/>
                  </a:lnTo>
                  <a:lnTo>
                    <a:pt x="480" y="1454"/>
                  </a:lnTo>
                  <a:lnTo>
                    <a:pt x="480" y="1453"/>
                  </a:lnTo>
                  <a:close/>
                  <a:moveTo>
                    <a:pt x="293" y="1501"/>
                  </a:moveTo>
                  <a:lnTo>
                    <a:pt x="293" y="1500"/>
                  </a:lnTo>
                  <a:lnTo>
                    <a:pt x="293" y="1501"/>
                  </a:lnTo>
                  <a:lnTo>
                    <a:pt x="293" y="1500"/>
                  </a:lnTo>
                  <a:lnTo>
                    <a:pt x="295" y="1500"/>
                  </a:lnTo>
                  <a:lnTo>
                    <a:pt x="295" y="1498"/>
                  </a:lnTo>
                  <a:lnTo>
                    <a:pt x="295" y="1500"/>
                  </a:lnTo>
                  <a:lnTo>
                    <a:pt x="295" y="1501"/>
                  </a:lnTo>
                  <a:lnTo>
                    <a:pt x="295" y="1500"/>
                  </a:lnTo>
                  <a:lnTo>
                    <a:pt x="295" y="1501"/>
                  </a:lnTo>
                  <a:lnTo>
                    <a:pt x="293" y="1501"/>
                  </a:lnTo>
                  <a:close/>
                  <a:moveTo>
                    <a:pt x="241" y="1410"/>
                  </a:moveTo>
                  <a:lnTo>
                    <a:pt x="243" y="1412"/>
                  </a:lnTo>
                  <a:lnTo>
                    <a:pt x="243" y="1414"/>
                  </a:lnTo>
                  <a:lnTo>
                    <a:pt x="243" y="1412"/>
                  </a:lnTo>
                  <a:lnTo>
                    <a:pt x="243" y="1414"/>
                  </a:lnTo>
                  <a:lnTo>
                    <a:pt x="241" y="1414"/>
                  </a:lnTo>
                  <a:lnTo>
                    <a:pt x="241" y="1412"/>
                  </a:lnTo>
                  <a:lnTo>
                    <a:pt x="241" y="1410"/>
                  </a:lnTo>
                  <a:close/>
                  <a:moveTo>
                    <a:pt x="200" y="1046"/>
                  </a:moveTo>
                  <a:lnTo>
                    <a:pt x="202" y="1046"/>
                  </a:lnTo>
                  <a:lnTo>
                    <a:pt x="204" y="1046"/>
                  </a:lnTo>
                  <a:lnTo>
                    <a:pt x="204" y="1048"/>
                  </a:lnTo>
                  <a:lnTo>
                    <a:pt x="204" y="1046"/>
                  </a:lnTo>
                  <a:lnTo>
                    <a:pt x="204" y="1048"/>
                  </a:lnTo>
                  <a:lnTo>
                    <a:pt x="202" y="1048"/>
                  </a:lnTo>
                  <a:lnTo>
                    <a:pt x="202" y="1046"/>
                  </a:lnTo>
                  <a:lnTo>
                    <a:pt x="200" y="1046"/>
                  </a:lnTo>
                  <a:lnTo>
                    <a:pt x="202" y="1046"/>
                  </a:lnTo>
                  <a:lnTo>
                    <a:pt x="200" y="1046"/>
                  </a:lnTo>
                  <a:close/>
                  <a:moveTo>
                    <a:pt x="368" y="722"/>
                  </a:moveTo>
                  <a:lnTo>
                    <a:pt x="366" y="722"/>
                  </a:lnTo>
                  <a:lnTo>
                    <a:pt x="366" y="724"/>
                  </a:lnTo>
                  <a:lnTo>
                    <a:pt x="365" y="724"/>
                  </a:lnTo>
                  <a:lnTo>
                    <a:pt x="365" y="722"/>
                  </a:lnTo>
                  <a:lnTo>
                    <a:pt x="366" y="722"/>
                  </a:lnTo>
                  <a:lnTo>
                    <a:pt x="366" y="721"/>
                  </a:lnTo>
                  <a:lnTo>
                    <a:pt x="368" y="722"/>
                  </a:lnTo>
                  <a:close/>
                  <a:moveTo>
                    <a:pt x="304" y="1449"/>
                  </a:moveTo>
                  <a:lnTo>
                    <a:pt x="306" y="1449"/>
                  </a:lnTo>
                  <a:lnTo>
                    <a:pt x="308" y="1451"/>
                  </a:lnTo>
                  <a:lnTo>
                    <a:pt x="306" y="1451"/>
                  </a:lnTo>
                  <a:lnTo>
                    <a:pt x="304" y="1449"/>
                  </a:lnTo>
                  <a:lnTo>
                    <a:pt x="304" y="1448"/>
                  </a:lnTo>
                  <a:lnTo>
                    <a:pt x="304" y="1449"/>
                  </a:lnTo>
                  <a:close/>
                  <a:moveTo>
                    <a:pt x="356" y="1482"/>
                  </a:moveTo>
                  <a:lnTo>
                    <a:pt x="356" y="1484"/>
                  </a:lnTo>
                  <a:lnTo>
                    <a:pt x="355" y="1484"/>
                  </a:lnTo>
                  <a:lnTo>
                    <a:pt x="356" y="1482"/>
                  </a:lnTo>
                  <a:close/>
                  <a:moveTo>
                    <a:pt x="678" y="1345"/>
                  </a:moveTo>
                  <a:lnTo>
                    <a:pt x="680" y="1345"/>
                  </a:lnTo>
                  <a:lnTo>
                    <a:pt x="680" y="1344"/>
                  </a:lnTo>
                  <a:lnTo>
                    <a:pt x="680" y="1345"/>
                  </a:lnTo>
                  <a:lnTo>
                    <a:pt x="680" y="1347"/>
                  </a:lnTo>
                  <a:lnTo>
                    <a:pt x="678" y="1347"/>
                  </a:lnTo>
                  <a:lnTo>
                    <a:pt x="680" y="1347"/>
                  </a:lnTo>
                  <a:lnTo>
                    <a:pt x="678" y="1345"/>
                  </a:lnTo>
                  <a:close/>
                  <a:moveTo>
                    <a:pt x="343" y="1492"/>
                  </a:moveTo>
                  <a:lnTo>
                    <a:pt x="343" y="1493"/>
                  </a:lnTo>
                  <a:lnTo>
                    <a:pt x="343" y="1492"/>
                  </a:lnTo>
                  <a:lnTo>
                    <a:pt x="345" y="1493"/>
                  </a:lnTo>
                  <a:lnTo>
                    <a:pt x="345" y="1492"/>
                  </a:lnTo>
                  <a:lnTo>
                    <a:pt x="345" y="1493"/>
                  </a:lnTo>
                  <a:lnTo>
                    <a:pt x="343" y="1493"/>
                  </a:lnTo>
                  <a:lnTo>
                    <a:pt x="343" y="1495"/>
                  </a:lnTo>
                  <a:lnTo>
                    <a:pt x="343" y="1493"/>
                  </a:lnTo>
                  <a:lnTo>
                    <a:pt x="343" y="1492"/>
                  </a:lnTo>
                  <a:close/>
                  <a:moveTo>
                    <a:pt x="355" y="1493"/>
                  </a:moveTo>
                  <a:lnTo>
                    <a:pt x="356" y="1492"/>
                  </a:lnTo>
                  <a:lnTo>
                    <a:pt x="358" y="1492"/>
                  </a:lnTo>
                  <a:lnTo>
                    <a:pt x="356" y="1492"/>
                  </a:lnTo>
                  <a:lnTo>
                    <a:pt x="356" y="1493"/>
                  </a:lnTo>
                  <a:lnTo>
                    <a:pt x="355" y="1493"/>
                  </a:lnTo>
                  <a:close/>
                  <a:moveTo>
                    <a:pt x="179" y="1506"/>
                  </a:moveTo>
                  <a:lnTo>
                    <a:pt x="179" y="1505"/>
                  </a:lnTo>
                  <a:lnTo>
                    <a:pt x="181" y="1506"/>
                  </a:lnTo>
                  <a:lnTo>
                    <a:pt x="181" y="1505"/>
                  </a:lnTo>
                  <a:lnTo>
                    <a:pt x="182" y="1505"/>
                  </a:lnTo>
                  <a:lnTo>
                    <a:pt x="182" y="1506"/>
                  </a:lnTo>
                  <a:lnTo>
                    <a:pt x="181" y="1506"/>
                  </a:lnTo>
                  <a:lnTo>
                    <a:pt x="179" y="1506"/>
                  </a:lnTo>
                  <a:close/>
                  <a:moveTo>
                    <a:pt x="430" y="1487"/>
                  </a:moveTo>
                  <a:lnTo>
                    <a:pt x="431" y="1487"/>
                  </a:lnTo>
                  <a:lnTo>
                    <a:pt x="431" y="1488"/>
                  </a:lnTo>
                  <a:lnTo>
                    <a:pt x="430" y="1488"/>
                  </a:lnTo>
                  <a:lnTo>
                    <a:pt x="430" y="1487"/>
                  </a:lnTo>
                  <a:close/>
                  <a:moveTo>
                    <a:pt x="613" y="1371"/>
                  </a:moveTo>
                  <a:lnTo>
                    <a:pt x="613" y="1370"/>
                  </a:lnTo>
                  <a:lnTo>
                    <a:pt x="615" y="1370"/>
                  </a:lnTo>
                  <a:lnTo>
                    <a:pt x="613" y="1370"/>
                  </a:lnTo>
                  <a:lnTo>
                    <a:pt x="615" y="1370"/>
                  </a:lnTo>
                  <a:lnTo>
                    <a:pt x="615" y="1371"/>
                  </a:lnTo>
                  <a:lnTo>
                    <a:pt x="613" y="1371"/>
                  </a:lnTo>
                  <a:close/>
                  <a:moveTo>
                    <a:pt x="308" y="1488"/>
                  </a:moveTo>
                  <a:lnTo>
                    <a:pt x="308" y="1487"/>
                  </a:lnTo>
                  <a:lnTo>
                    <a:pt x="309" y="1487"/>
                  </a:lnTo>
                  <a:lnTo>
                    <a:pt x="309" y="1488"/>
                  </a:lnTo>
                  <a:lnTo>
                    <a:pt x="308" y="1488"/>
                  </a:lnTo>
                  <a:lnTo>
                    <a:pt x="309" y="1488"/>
                  </a:lnTo>
                  <a:lnTo>
                    <a:pt x="309" y="1490"/>
                  </a:lnTo>
                  <a:lnTo>
                    <a:pt x="308" y="1490"/>
                  </a:lnTo>
                  <a:lnTo>
                    <a:pt x="308" y="1488"/>
                  </a:lnTo>
                  <a:close/>
                  <a:moveTo>
                    <a:pt x="257" y="947"/>
                  </a:moveTo>
                  <a:lnTo>
                    <a:pt x="257" y="945"/>
                  </a:lnTo>
                  <a:lnTo>
                    <a:pt x="257" y="947"/>
                  </a:lnTo>
                  <a:lnTo>
                    <a:pt x="257" y="945"/>
                  </a:lnTo>
                  <a:lnTo>
                    <a:pt x="257" y="947"/>
                  </a:lnTo>
                  <a:lnTo>
                    <a:pt x="257" y="945"/>
                  </a:lnTo>
                  <a:lnTo>
                    <a:pt x="259" y="947"/>
                  </a:lnTo>
                  <a:lnTo>
                    <a:pt x="259" y="945"/>
                  </a:lnTo>
                  <a:lnTo>
                    <a:pt x="259" y="947"/>
                  </a:lnTo>
                  <a:lnTo>
                    <a:pt x="259" y="949"/>
                  </a:lnTo>
                  <a:lnTo>
                    <a:pt x="257" y="947"/>
                  </a:lnTo>
                  <a:close/>
                  <a:moveTo>
                    <a:pt x="661" y="1344"/>
                  </a:moveTo>
                  <a:lnTo>
                    <a:pt x="662" y="1344"/>
                  </a:lnTo>
                  <a:lnTo>
                    <a:pt x="662" y="1345"/>
                  </a:lnTo>
                  <a:lnTo>
                    <a:pt x="662" y="1344"/>
                  </a:lnTo>
                  <a:lnTo>
                    <a:pt x="664" y="1345"/>
                  </a:lnTo>
                  <a:lnTo>
                    <a:pt x="662" y="1345"/>
                  </a:lnTo>
                  <a:lnTo>
                    <a:pt x="662" y="1344"/>
                  </a:lnTo>
                  <a:lnTo>
                    <a:pt x="662" y="1345"/>
                  </a:lnTo>
                  <a:lnTo>
                    <a:pt x="661" y="1344"/>
                  </a:lnTo>
                  <a:close/>
                  <a:moveTo>
                    <a:pt x="654" y="1347"/>
                  </a:moveTo>
                  <a:lnTo>
                    <a:pt x="654" y="1349"/>
                  </a:lnTo>
                  <a:lnTo>
                    <a:pt x="654" y="1347"/>
                  </a:lnTo>
                  <a:lnTo>
                    <a:pt x="656" y="1349"/>
                  </a:lnTo>
                  <a:lnTo>
                    <a:pt x="656" y="1350"/>
                  </a:lnTo>
                  <a:lnTo>
                    <a:pt x="654" y="1350"/>
                  </a:lnTo>
                  <a:lnTo>
                    <a:pt x="654" y="1349"/>
                  </a:lnTo>
                  <a:lnTo>
                    <a:pt x="652" y="1349"/>
                  </a:lnTo>
                  <a:lnTo>
                    <a:pt x="652" y="1347"/>
                  </a:lnTo>
                  <a:lnTo>
                    <a:pt x="654" y="1347"/>
                  </a:lnTo>
                  <a:close/>
                  <a:moveTo>
                    <a:pt x="347" y="1501"/>
                  </a:moveTo>
                  <a:lnTo>
                    <a:pt x="348" y="1500"/>
                  </a:lnTo>
                  <a:lnTo>
                    <a:pt x="348" y="1501"/>
                  </a:lnTo>
                  <a:lnTo>
                    <a:pt x="350" y="1501"/>
                  </a:lnTo>
                  <a:lnTo>
                    <a:pt x="350" y="1503"/>
                  </a:lnTo>
                  <a:lnTo>
                    <a:pt x="350" y="1501"/>
                  </a:lnTo>
                  <a:lnTo>
                    <a:pt x="348" y="1501"/>
                  </a:lnTo>
                  <a:lnTo>
                    <a:pt x="347" y="1501"/>
                  </a:lnTo>
                  <a:close/>
                  <a:moveTo>
                    <a:pt x="244" y="1474"/>
                  </a:moveTo>
                  <a:lnTo>
                    <a:pt x="246" y="1474"/>
                  </a:lnTo>
                  <a:lnTo>
                    <a:pt x="246" y="1475"/>
                  </a:lnTo>
                  <a:lnTo>
                    <a:pt x="244" y="1475"/>
                  </a:lnTo>
                  <a:lnTo>
                    <a:pt x="244" y="1474"/>
                  </a:lnTo>
                  <a:lnTo>
                    <a:pt x="244" y="1475"/>
                  </a:lnTo>
                  <a:lnTo>
                    <a:pt x="246" y="1474"/>
                  </a:lnTo>
                  <a:lnTo>
                    <a:pt x="244" y="1474"/>
                  </a:lnTo>
                  <a:close/>
                  <a:moveTo>
                    <a:pt x="342" y="657"/>
                  </a:moveTo>
                  <a:lnTo>
                    <a:pt x="342" y="659"/>
                  </a:lnTo>
                  <a:lnTo>
                    <a:pt x="343" y="659"/>
                  </a:lnTo>
                  <a:lnTo>
                    <a:pt x="343" y="661"/>
                  </a:lnTo>
                  <a:lnTo>
                    <a:pt x="342" y="659"/>
                  </a:lnTo>
                  <a:lnTo>
                    <a:pt x="342" y="657"/>
                  </a:lnTo>
                  <a:close/>
                  <a:moveTo>
                    <a:pt x="233" y="992"/>
                  </a:moveTo>
                  <a:lnTo>
                    <a:pt x="234" y="992"/>
                  </a:lnTo>
                  <a:lnTo>
                    <a:pt x="234" y="994"/>
                  </a:lnTo>
                  <a:lnTo>
                    <a:pt x="233" y="994"/>
                  </a:lnTo>
                  <a:lnTo>
                    <a:pt x="234" y="994"/>
                  </a:lnTo>
                  <a:lnTo>
                    <a:pt x="233" y="994"/>
                  </a:lnTo>
                  <a:lnTo>
                    <a:pt x="234" y="994"/>
                  </a:lnTo>
                  <a:lnTo>
                    <a:pt x="233" y="994"/>
                  </a:lnTo>
                  <a:lnTo>
                    <a:pt x="233" y="992"/>
                  </a:lnTo>
                  <a:lnTo>
                    <a:pt x="233" y="994"/>
                  </a:lnTo>
                  <a:lnTo>
                    <a:pt x="233" y="992"/>
                  </a:lnTo>
                  <a:close/>
                  <a:moveTo>
                    <a:pt x="298" y="1436"/>
                  </a:moveTo>
                  <a:lnTo>
                    <a:pt x="300" y="1436"/>
                  </a:lnTo>
                  <a:lnTo>
                    <a:pt x="301" y="1436"/>
                  </a:lnTo>
                  <a:lnTo>
                    <a:pt x="303" y="1436"/>
                  </a:lnTo>
                  <a:lnTo>
                    <a:pt x="303" y="1435"/>
                  </a:lnTo>
                  <a:lnTo>
                    <a:pt x="303" y="1436"/>
                  </a:lnTo>
                  <a:lnTo>
                    <a:pt x="304" y="1435"/>
                  </a:lnTo>
                  <a:lnTo>
                    <a:pt x="304" y="1436"/>
                  </a:lnTo>
                  <a:lnTo>
                    <a:pt x="303" y="1436"/>
                  </a:lnTo>
                  <a:lnTo>
                    <a:pt x="301" y="1436"/>
                  </a:lnTo>
                  <a:lnTo>
                    <a:pt x="300" y="1436"/>
                  </a:lnTo>
                  <a:lnTo>
                    <a:pt x="298" y="1436"/>
                  </a:lnTo>
                  <a:close/>
                  <a:moveTo>
                    <a:pt x="332" y="656"/>
                  </a:moveTo>
                  <a:lnTo>
                    <a:pt x="334" y="656"/>
                  </a:lnTo>
                  <a:lnTo>
                    <a:pt x="335" y="656"/>
                  </a:lnTo>
                  <a:lnTo>
                    <a:pt x="334" y="656"/>
                  </a:lnTo>
                  <a:lnTo>
                    <a:pt x="334" y="657"/>
                  </a:lnTo>
                  <a:lnTo>
                    <a:pt x="332" y="656"/>
                  </a:lnTo>
                  <a:close/>
                  <a:moveTo>
                    <a:pt x="345" y="1443"/>
                  </a:moveTo>
                  <a:lnTo>
                    <a:pt x="343" y="1443"/>
                  </a:lnTo>
                  <a:lnTo>
                    <a:pt x="345" y="1443"/>
                  </a:lnTo>
                  <a:lnTo>
                    <a:pt x="345" y="1441"/>
                  </a:lnTo>
                  <a:lnTo>
                    <a:pt x="345" y="1443"/>
                  </a:lnTo>
                  <a:close/>
                  <a:moveTo>
                    <a:pt x="256" y="1433"/>
                  </a:moveTo>
                  <a:lnTo>
                    <a:pt x="257" y="1433"/>
                  </a:lnTo>
                  <a:lnTo>
                    <a:pt x="259" y="1433"/>
                  </a:lnTo>
                  <a:lnTo>
                    <a:pt x="259" y="1435"/>
                  </a:lnTo>
                  <a:lnTo>
                    <a:pt x="257" y="1435"/>
                  </a:lnTo>
                  <a:lnTo>
                    <a:pt x="257" y="1433"/>
                  </a:lnTo>
                  <a:lnTo>
                    <a:pt x="256" y="1435"/>
                  </a:lnTo>
                  <a:lnTo>
                    <a:pt x="256" y="1433"/>
                  </a:lnTo>
                  <a:close/>
                  <a:moveTo>
                    <a:pt x="392" y="1484"/>
                  </a:moveTo>
                  <a:lnTo>
                    <a:pt x="394" y="1484"/>
                  </a:lnTo>
                  <a:lnTo>
                    <a:pt x="392" y="1484"/>
                  </a:lnTo>
                  <a:lnTo>
                    <a:pt x="394" y="1484"/>
                  </a:lnTo>
                  <a:lnTo>
                    <a:pt x="392" y="1484"/>
                  </a:lnTo>
                  <a:lnTo>
                    <a:pt x="392" y="1485"/>
                  </a:lnTo>
                  <a:lnTo>
                    <a:pt x="394" y="1484"/>
                  </a:lnTo>
                  <a:lnTo>
                    <a:pt x="394" y="1485"/>
                  </a:lnTo>
                  <a:lnTo>
                    <a:pt x="394" y="1484"/>
                  </a:lnTo>
                  <a:lnTo>
                    <a:pt x="394" y="1485"/>
                  </a:lnTo>
                  <a:lnTo>
                    <a:pt x="392" y="1485"/>
                  </a:lnTo>
                  <a:lnTo>
                    <a:pt x="392" y="1484"/>
                  </a:lnTo>
                  <a:close/>
                  <a:moveTo>
                    <a:pt x="306" y="1453"/>
                  </a:moveTo>
                  <a:lnTo>
                    <a:pt x="308" y="1451"/>
                  </a:lnTo>
                  <a:lnTo>
                    <a:pt x="308" y="1453"/>
                  </a:lnTo>
                  <a:lnTo>
                    <a:pt x="306" y="1453"/>
                  </a:lnTo>
                  <a:lnTo>
                    <a:pt x="304" y="1453"/>
                  </a:lnTo>
                  <a:lnTo>
                    <a:pt x="306" y="1453"/>
                  </a:lnTo>
                  <a:close/>
                  <a:moveTo>
                    <a:pt x="261" y="924"/>
                  </a:moveTo>
                  <a:lnTo>
                    <a:pt x="261" y="922"/>
                  </a:lnTo>
                  <a:lnTo>
                    <a:pt x="262" y="924"/>
                  </a:lnTo>
                  <a:lnTo>
                    <a:pt x="262" y="926"/>
                  </a:lnTo>
                  <a:lnTo>
                    <a:pt x="261" y="924"/>
                  </a:lnTo>
                  <a:close/>
                  <a:moveTo>
                    <a:pt x="187" y="1466"/>
                  </a:moveTo>
                  <a:lnTo>
                    <a:pt x="187" y="1467"/>
                  </a:lnTo>
                  <a:lnTo>
                    <a:pt x="189" y="1467"/>
                  </a:lnTo>
                  <a:lnTo>
                    <a:pt x="187" y="1467"/>
                  </a:lnTo>
                  <a:lnTo>
                    <a:pt x="187" y="1466"/>
                  </a:lnTo>
                  <a:lnTo>
                    <a:pt x="187" y="1467"/>
                  </a:lnTo>
                  <a:lnTo>
                    <a:pt x="187" y="1466"/>
                  </a:lnTo>
                  <a:lnTo>
                    <a:pt x="187" y="1464"/>
                  </a:lnTo>
                  <a:lnTo>
                    <a:pt x="187" y="1466"/>
                  </a:lnTo>
                  <a:lnTo>
                    <a:pt x="189" y="1466"/>
                  </a:lnTo>
                  <a:lnTo>
                    <a:pt x="187" y="1466"/>
                  </a:lnTo>
                  <a:close/>
                  <a:moveTo>
                    <a:pt x="472" y="1451"/>
                  </a:moveTo>
                  <a:lnTo>
                    <a:pt x="470" y="1453"/>
                  </a:lnTo>
                  <a:lnTo>
                    <a:pt x="470" y="1454"/>
                  </a:lnTo>
                  <a:lnTo>
                    <a:pt x="469" y="1454"/>
                  </a:lnTo>
                  <a:lnTo>
                    <a:pt x="469" y="1453"/>
                  </a:lnTo>
                  <a:lnTo>
                    <a:pt x="470" y="1453"/>
                  </a:lnTo>
                  <a:lnTo>
                    <a:pt x="470" y="1451"/>
                  </a:lnTo>
                  <a:lnTo>
                    <a:pt x="472" y="1451"/>
                  </a:lnTo>
                  <a:close/>
                  <a:moveTo>
                    <a:pt x="166" y="1451"/>
                  </a:moveTo>
                  <a:lnTo>
                    <a:pt x="165" y="1451"/>
                  </a:lnTo>
                  <a:lnTo>
                    <a:pt x="166" y="1449"/>
                  </a:lnTo>
                  <a:lnTo>
                    <a:pt x="168" y="1451"/>
                  </a:lnTo>
                  <a:lnTo>
                    <a:pt x="168" y="1449"/>
                  </a:lnTo>
                  <a:lnTo>
                    <a:pt x="168" y="1451"/>
                  </a:lnTo>
                  <a:lnTo>
                    <a:pt x="166" y="1451"/>
                  </a:lnTo>
                  <a:close/>
                  <a:moveTo>
                    <a:pt x="223" y="1375"/>
                  </a:moveTo>
                  <a:lnTo>
                    <a:pt x="225" y="1375"/>
                  </a:lnTo>
                  <a:lnTo>
                    <a:pt x="226" y="1375"/>
                  </a:lnTo>
                  <a:lnTo>
                    <a:pt x="226" y="1376"/>
                  </a:lnTo>
                  <a:lnTo>
                    <a:pt x="225" y="1376"/>
                  </a:lnTo>
                  <a:lnTo>
                    <a:pt x="223" y="1375"/>
                  </a:lnTo>
                  <a:close/>
                  <a:moveTo>
                    <a:pt x="535" y="1407"/>
                  </a:moveTo>
                  <a:lnTo>
                    <a:pt x="537" y="1407"/>
                  </a:lnTo>
                  <a:lnTo>
                    <a:pt x="537" y="1409"/>
                  </a:lnTo>
                  <a:lnTo>
                    <a:pt x="537" y="1407"/>
                  </a:lnTo>
                  <a:lnTo>
                    <a:pt x="537" y="1409"/>
                  </a:lnTo>
                  <a:lnTo>
                    <a:pt x="535" y="1409"/>
                  </a:lnTo>
                  <a:lnTo>
                    <a:pt x="537" y="1409"/>
                  </a:lnTo>
                  <a:lnTo>
                    <a:pt x="535" y="1409"/>
                  </a:lnTo>
                  <a:lnTo>
                    <a:pt x="535" y="1410"/>
                  </a:lnTo>
                  <a:lnTo>
                    <a:pt x="535" y="1409"/>
                  </a:lnTo>
                  <a:lnTo>
                    <a:pt x="534" y="1409"/>
                  </a:lnTo>
                  <a:lnTo>
                    <a:pt x="535" y="1409"/>
                  </a:lnTo>
                  <a:lnTo>
                    <a:pt x="535" y="1407"/>
                  </a:lnTo>
                  <a:close/>
                  <a:moveTo>
                    <a:pt x="233" y="999"/>
                  </a:moveTo>
                  <a:lnTo>
                    <a:pt x="231" y="999"/>
                  </a:lnTo>
                  <a:lnTo>
                    <a:pt x="231" y="997"/>
                  </a:lnTo>
                  <a:lnTo>
                    <a:pt x="231" y="996"/>
                  </a:lnTo>
                  <a:lnTo>
                    <a:pt x="231" y="997"/>
                  </a:lnTo>
                  <a:lnTo>
                    <a:pt x="231" y="999"/>
                  </a:lnTo>
                  <a:lnTo>
                    <a:pt x="233" y="999"/>
                  </a:lnTo>
                  <a:close/>
                  <a:moveTo>
                    <a:pt x="337" y="657"/>
                  </a:moveTo>
                  <a:lnTo>
                    <a:pt x="335" y="657"/>
                  </a:lnTo>
                  <a:lnTo>
                    <a:pt x="335" y="656"/>
                  </a:lnTo>
                  <a:lnTo>
                    <a:pt x="337" y="656"/>
                  </a:lnTo>
                  <a:lnTo>
                    <a:pt x="337" y="657"/>
                  </a:lnTo>
                  <a:close/>
                  <a:moveTo>
                    <a:pt x="143" y="1446"/>
                  </a:moveTo>
                  <a:lnTo>
                    <a:pt x="143" y="1448"/>
                  </a:lnTo>
                  <a:lnTo>
                    <a:pt x="143" y="1449"/>
                  </a:lnTo>
                  <a:lnTo>
                    <a:pt x="143" y="1451"/>
                  </a:lnTo>
                  <a:lnTo>
                    <a:pt x="145" y="1451"/>
                  </a:lnTo>
                  <a:lnTo>
                    <a:pt x="145" y="1453"/>
                  </a:lnTo>
                  <a:lnTo>
                    <a:pt x="143" y="1451"/>
                  </a:lnTo>
                  <a:lnTo>
                    <a:pt x="143" y="1449"/>
                  </a:lnTo>
                  <a:lnTo>
                    <a:pt x="143" y="1448"/>
                  </a:lnTo>
                  <a:lnTo>
                    <a:pt x="143" y="1446"/>
                  </a:lnTo>
                  <a:close/>
                  <a:moveTo>
                    <a:pt x="306" y="646"/>
                  </a:moveTo>
                  <a:lnTo>
                    <a:pt x="306" y="644"/>
                  </a:lnTo>
                  <a:lnTo>
                    <a:pt x="306" y="646"/>
                  </a:lnTo>
                  <a:close/>
                  <a:moveTo>
                    <a:pt x="251" y="1448"/>
                  </a:moveTo>
                  <a:lnTo>
                    <a:pt x="252" y="1448"/>
                  </a:lnTo>
                  <a:lnTo>
                    <a:pt x="252" y="1449"/>
                  </a:lnTo>
                  <a:lnTo>
                    <a:pt x="251" y="1448"/>
                  </a:lnTo>
                  <a:close/>
                  <a:moveTo>
                    <a:pt x="178" y="1438"/>
                  </a:moveTo>
                  <a:lnTo>
                    <a:pt x="179" y="1438"/>
                  </a:lnTo>
                  <a:lnTo>
                    <a:pt x="178" y="1438"/>
                  </a:lnTo>
                  <a:lnTo>
                    <a:pt x="179" y="1438"/>
                  </a:lnTo>
                  <a:lnTo>
                    <a:pt x="178" y="1440"/>
                  </a:lnTo>
                  <a:lnTo>
                    <a:pt x="179" y="1440"/>
                  </a:lnTo>
                  <a:lnTo>
                    <a:pt x="178" y="1440"/>
                  </a:lnTo>
                  <a:lnTo>
                    <a:pt x="178" y="1438"/>
                  </a:lnTo>
                  <a:lnTo>
                    <a:pt x="178" y="1440"/>
                  </a:lnTo>
                  <a:lnTo>
                    <a:pt x="178" y="1438"/>
                  </a:lnTo>
                  <a:close/>
                  <a:moveTo>
                    <a:pt x="230" y="1433"/>
                  </a:moveTo>
                  <a:lnTo>
                    <a:pt x="231" y="1435"/>
                  </a:lnTo>
                  <a:lnTo>
                    <a:pt x="230" y="1435"/>
                  </a:lnTo>
                  <a:lnTo>
                    <a:pt x="231" y="1435"/>
                  </a:lnTo>
                  <a:lnTo>
                    <a:pt x="231" y="1436"/>
                  </a:lnTo>
                  <a:lnTo>
                    <a:pt x="230" y="1435"/>
                  </a:lnTo>
                  <a:lnTo>
                    <a:pt x="230" y="1436"/>
                  </a:lnTo>
                  <a:lnTo>
                    <a:pt x="230" y="1435"/>
                  </a:lnTo>
                  <a:lnTo>
                    <a:pt x="230" y="1433"/>
                  </a:lnTo>
                  <a:lnTo>
                    <a:pt x="231" y="1433"/>
                  </a:lnTo>
                  <a:lnTo>
                    <a:pt x="230" y="1433"/>
                  </a:lnTo>
                  <a:close/>
                  <a:moveTo>
                    <a:pt x="584" y="1393"/>
                  </a:moveTo>
                  <a:lnTo>
                    <a:pt x="586" y="1393"/>
                  </a:lnTo>
                  <a:lnTo>
                    <a:pt x="584" y="1394"/>
                  </a:lnTo>
                  <a:lnTo>
                    <a:pt x="583" y="1394"/>
                  </a:lnTo>
                  <a:lnTo>
                    <a:pt x="584" y="1393"/>
                  </a:lnTo>
                  <a:lnTo>
                    <a:pt x="583" y="1393"/>
                  </a:lnTo>
                  <a:lnTo>
                    <a:pt x="584" y="1393"/>
                  </a:lnTo>
                  <a:close/>
                  <a:moveTo>
                    <a:pt x="244" y="1306"/>
                  </a:moveTo>
                  <a:lnTo>
                    <a:pt x="246" y="1306"/>
                  </a:lnTo>
                  <a:lnTo>
                    <a:pt x="246" y="1305"/>
                  </a:lnTo>
                  <a:lnTo>
                    <a:pt x="246" y="1306"/>
                  </a:lnTo>
                  <a:lnTo>
                    <a:pt x="247" y="1306"/>
                  </a:lnTo>
                  <a:lnTo>
                    <a:pt x="247" y="1308"/>
                  </a:lnTo>
                  <a:lnTo>
                    <a:pt x="246" y="1306"/>
                  </a:lnTo>
                  <a:lnTo>
                    <a:pt x="244" y="1306"/>
                  </a:lnTo>
                  <a:close/>
                  <a:moveTo>
                    <a:pt x="583" y="1394"/>
                  </a:moveTo>
                  <a:lnTo>
                    <a:pt x="581" y="1396"/>
                  </a:lnTo>
                  <a:lnTo>
                    <a:pt x="579" y="1396"/>
                  </a:lnTo>
                  <a:lnTo>
                    <a:pt x="579" y="1394"/>
                  </a:lnTo>
                  <a:lnTo>
                    <a:pt x="581" y="1394"/>
                  </a:lnTo>
                  <a:lnTo>
                    <a:pt x="583" y="1394"/>
                  </a:lnTo>
                  <a:close/>
                  <a:moveTo>
                    <a:pt x="184" y="1443"/>
                  </a:moveTo>
                  <a:lnTo>
                    <a:pt x="186" y="1443"/>
                  </a:lnTo>
                  <a:lnTo>
                    <a:pt x="186" y="1445"/>
                  </a:lnTo>
                  <a:lnTo>
                    <a:pt x="186" y="1443"/>
                  </a:lnTo>
                  <a:lnTo>
                    <a:pt x="186" y="1445"/>
                  </a:lnTo>
                  <a:lnTo>
                    <a:pt x="186" y="1443"/>
                  </a:lnTo>
                  <a:lnTo>
                    <a:pt x="186" y="1445"/>
                  </a:lnTo>
                  <a:lnTo>
                    <a:pt x="186" y="1446"/>
                  </a:lnTo>
                  <a:lnTo>
                    <a:pt x="184" y="1446"/>
                  </a:lnTo>
                  <a:lnTo>
                    <a:pt x="184" y="1445"/>
                  </a:lnTo>
                  <a:lnTo>
                    <a:pt x="186" y="1443"/>
                  </a:lnTo>
                  <a:lnTo>
                    <a:pt x="184" y="1443"/>
                  </a:lnTo>
                  <a:close/>
                  <a:moveTo>
                    <a:pt x="452" y="1458"/>
                  </a:moveTo>
                  <a:lnTo>
                    <a:pt x="454" y="1458"/>
                  </a:lnTo>
                  <a:lnTo>
                    <a:pt x="456" y="1458"/>
                  </a:lnTo>
                  <a:lnTo>
                    <a:pt x="454" y="1458"/>
                  </a:lnTo>
                  <a:lnTo>
                    <a:pt x="452" y="1458"/>
                  </a:lnTo>
                  <a:close/>
                  <a:moveTo>
                    <a:pt x="326" y="1503"/>
                  </a:moveTo>
                  <a:lnTo>
                    <a:pt x="327" y="1503"/>
                  </a:lnTo>
                  <a:lnTo>
                    <a:pt x="327" y="1505"/>
                  </a:lnTo>
                  <a:lnTo>
                    <a:pt x="327" y="1503"/>
                  </a:lnTo>
                  <a:lnTo>
                    <a:pt x="326" y="1503"/>
                  </a:lnTo>
                  <a:close/>
                  <a:moveTo>
                    <a:pt x="264" y="927"/>
                  </a:moveTo>
                  <a:lnTo>
                    <a:pt x="265" y="927"/>
                  </a:lnTo>
                  <a:lnTo>
                    <a:pt x="265" y="929"/>
                  </a:lnTo>
                  <a:lnTo>
                    <a:pt x="265" y="927"/>
                  </a:lnTo>
                  <a:lnTo>
                    <a:pt x="267" y="927"/>
                  </a:lnTo>
                  <a:lnTo>
                    <a:pt x="267" y="929"/>
                  </a:lnTo>
                  <a:lnTo>
                    <a:pt x="265" y="929"/>
                  </a:lnTo>
                  <a:lnTo>
                    <a:pt x="265" y="927"/>
                  </a:lnTo>
                  <a:lnTo>
                    <a:pt x="264" y="927"/>
                  </a:lnTo>
                  <a:close/>
                  <a:moveTo>
                    <a:pt x="212" y="1027"/>
                  </a:moveTo>
                  <a:lnTo>
                    <a:pt x="212" y="1028"/>
                  </a:lnTo>
                  <a:lnTo>
                    <a:pt x="213" y="1027"/>
                  </a:lnTo>
                  <a:lnTo>
                    <a:pt x="213" y="1028"/>
                  </a:lnTo>
                  <a:lnTo>
                    <a:pt x="213" y="1030"/>
                  </a:lnTo>
                  <a:lnTo>
                    <a:pt x="212" y="1030"/>
                  </a:lnTo>
                  <a:lnTo>
                    <a:pt x="212" y="1028"/>
                  </a:lnTo>
                  <a:lnTo>
                    <a:pt x="212" y="1027"/>
                  </a:lnTo>
                  <a:close/>
                  <a:moveTo>
                    <a:pt x="287" y="1472"/>
                  </a:moveTo>
                  <a:lnTo>
                    <a:pt x="285" y="1472"/>
                  </a:lnTo>
                  <a:lnTo>
                    <a:pt x="283" y="1474"/>
                  </a:lnTo>
                  <a:lnTo>
                    <a:pt x="283" y="1472"/>
                  </a:lnTo>
                  <a:lnTo>
                    <a:pt x="285" y="1472"/>
                  </a:lnTo>
                  <a:lnTo>
                    <a:pt x="287" y="1472"/>
                  </a:lnTo>
                  <a:close/>
                  <a:moveTo>
                    <a:pt x="186" y="1116"/>
                  </a:moveTo>
                  <a:lnTo>
                    <a:pt x="186" y="1118"/>
                  </a:lnTo>
                  <a:lnTo>
                    <a:pt x="184" y="1118"/>
                  </a:lnTo>
                  <a:lnTo>
                    <a:pt x="184" y="1116"/>
                  </a:lnTo>
                  <a:lnTo>
                    <a:pt x="186" y="1116"/>
                  </a:lnTo>
                  <a:close/>
                  <a:moveTo>
                    <a:pt x="326" y="1461"/>
                  </a:moveTo>
                  <a:lnTo>
                    <a:pt x="327" y="1461"/>
                  </a:lnTo>
                  <a:lnTo>
                    <a:pt x="329" y="1461"/>
                  </a:lnTo>
                  <a:lnTo>
                    <a:pt x="327" y="1461"/>
                  </a:lnTo>
                  <a:lnTo>
                    <a:pt x="329" y="1461"/>
                  </a:lnTo>
                  <a:lnTo>
                    <a:pt x="327" y="1462"/>
                  </a:lnTo>
                  <a:lnTo>
                    <a:pt x="327" y="1461"/>
                  </a:lnTo>
                  <a:lnTo>
                    <a:pt x="327" y="1462"/>
                  </a:lnTo>
                  <a:lnTo>
                    <a:pt x="326" y="1462"/>
                  </a:lnTo>
                  <a:lnTo>
                    <a:pt x="326" y="1461"/>
                  </a:lnTo>
                  <a:lnTo>
                    <a:pt x="327" y="1461"/>
                  </a:lnTo>
                  <a:lnTo>
                    <a:pt x="326" y="1461"/>
                  </a:lnTo>
                  <a:close/>
                  <a:moveTo>
                    <a:pt x="651" y="1352"/>
                  </a:moveTo>
                  <a:lnTo>
                    <a:pt x="651" y="1353"/>
                  </a:lnTo>
                  <a:lnTo>
                    <a:pt x="649" y="1353"/>
                  </a:lnTo>
                  <a:lnTo>
                    <a:pt x="649" y="1352"/>
                  </a:lnTo>
                  <a:lnTo>
                    <a:pt x="649" y="1350"/>
                  </a:lnTo>
                  <a:lnTo>
                    <a:pt x="649" y="1352"/>
                  </a:lnTo>
                  <a:lnTo>
                    <a:pt x="651" y="1352"/>
                  </a:lnTo>
                  <a:close/>
                  <a:moveTo>
                    <a:pt x="213" y="1002"/>
                  </a:moveTo>
                  <a:lnTo>
                    <a:pt x="213" y="1004"/>
                  </a:lnTo>
                  <a:lnTo>
                    <a:pt x="213" y="1005"/>
                  </a:lnTo>
                  <a:lnTo>
                    <a:pt x="212" y="1005"/>
                  </a:lnTo>
                  <a:lnTo>
                    <a:pt x="212" y="1004"/>
                  </a:lnTo>
                  <a:lnTo>
                    <a:pt x="213" y="1002"/>
                  </a:lnTo>
                  <a:lnTo>
                    <a:pt x="212" y="1002"/>
                  </a:lnTo>
                  <a:lnTo>
                    <a:pt x="213" y="1002"/>
                  </a:lnTo>
                  <a:close/>
                  <a:moveTo>
                    <a:pt x="234" y="1378"/>
                  </a:moveTo>
                  <a:lnTo>
                    <a:pt x="234" y="1376"/>
                  </a:lnTo>
                  <a:lnTo>
                    <a:pt x="234" y="1378"/>
                  </a:lnTo>
                  <a:lnTo>
                    <a:pt x="236" y="1378"/>
                  </a:lnTo>
                  <a:lnTo>
                    <a:pt x="236" y="1380"/>
                  </a:lnTo>
                  <a:lnTo>
                    <a:pt x="236" y="1378"/>
                  </a:lnTo>
                  <a:lnTo>
                    <a:pt x="234" y="1378"/>
                  </a:lnTo>
                  <a:close/>
                  <a:moveTo>
                    <a:pt x="628" y="1363"/>
                  </a:moveTo>
                  <a:lnTo>
                    <a:pt x="628" y="1365"/>
                  </a:lnTo>
                  <a:lnTo>
                    <a:pt x="626" y="1365"/>
                  </a:lnTo>
                  <a:lnTo>
                    <a:pt x="628" y="1365"/>
                  </a:lnTo>
                  <a:lnTo>
                    <a:pt x="626" y="1365"/>
                  </a:lnTo>
                  <a:lnTo>
                    <a:pt x="628" y="1363"/>
                  </a:lnTo>
                  <a:close/>
                  <a:moveTo>
                    <a:pt x="287" y="1451"/>
                  </a:moveTo>
                  <a:lnTo>
                    <a:pt x="285" y="1451"/>
                  </a:lnTo>
                  <a:lnTo>
                    <a:pt x="285" y="1449"/>
                  </a:lnTo>
                  <a:lnTo>
                    <a:pt x="287" y="1449"/>
                  </a:lnTo>
                  <a:lnTo>
                    <a:pt x="288" y="1449"/>
                  </a:lnTo>
                  <a:lnTo>
                    <a:pt x="288" y="1451"/>
                  </a:lnTo>
                  <a:lnTo>
                    <a:pt x="287" y="1451"/>
                  </a:lnTo>
                  <a:close/>
                  <a:moveTo>
                    <a:pt x="324" y="1501"/>
                  </a:moveTo>
                  <a:lnTo>
                    <a:pt x="326" y="1501"/>
                  </a:lnTo>
                  <a:lnTo>
                    <a:pt x="324" y="1501"/>
                  </a:lnTo>
                  <a:lnTo>
                    <a:pt x="326" y="1501"/>
                  </a:lnTo>
                  <a:lnTo>
                    <a:pt x="324" y="1501"/>
                  </a:lnTo>
                  <a:lnTo>
                    <a:pt x="324" y="1503"/>
                  </a:lnTo>
                  <a:lnTo>
                    <a:pt x="322" y="1503"/>
                  </a:lnTo>
                  <a:lnTo>
                    <a:pt x="322" y="1501"/>
                  </a:lnTo>
                  <a:lnTo>
                    <a:pt x="324" y="1501"/>
                  </a:lnTo>
                  <a:close/>
                  <a:moveTo>
                    <a:pt x="274" y="1521"/>
                  </a:moveTo>
                  <a:lnTo>
                    <a:pt x="275" y="1521"/>
                  </a:lnTo>
                  <a:lnTo>
                    <a:pt x="275" y="1523"/>
                  </a:lnTo>
                  <a:lnTo>
                    <a:pt x="277" y="1523"/>
                  </a:lnTo>
                  <a:lnTo>
                    <a:pt x="275" y="1523"/>
                  </a:lnTo>
                  <a:lnTo>
                    <a:pt x="274" y="1523"/>
                  </a:lnTo>
                  <a:lnTo>
                    <a:pt x="274" y="1521"/>
                  </a:lnTo>
                  <a:lnTo>
                    <a:pt x="275" y="1521"/>
                  </a:lnTo>
                  <a:lnTo>
                    <a:pt x="274" y="1521"/>
                  </a:lnTo>
                  <a:close/>
                  <a:moveTo>
                    <a:pt x="257" y="1449"/>
                  </a:moveTo>
                  <a:lnTo>
                    <a:pt x="257" y="1451"/>
                  </a:lnTo>
                  <a:lnTo>
                    <a:pt x="259" y="1451"/>
                  </a:lnTo>
                  <a:lnTo>
                    <a:pt x="257" y="1451"/>
                  </a:lnTo>
                  <a:lnTo>
                    <a:pt x="256" y="1451"/>
                  </a:lnTo>
                  <a:lnTo>
                    <a:pt x="257" y="1451"/>
                  </a:lnTo>
                  <a:lnTo>
                    <a:pt x="257" y="1449"/>
                  </a:lnTo>
                  <a:close/>
                  <a:moveTo>
                    <a:pt x="270" y="1448"/>
                  </a:moveTo>
                  <a:lnTo>
                    <a:pt x="272" y="1448"/>
                  </a:lnTo>
                  <a:lnTo>
                    <a:pt x="270" y="1448"/>
                  </a:lnTo>
                  <a:lnTo>
                    <a:pt x="269" y="1448"/>
                  </a:lnTo>
                  <a:lnTo>
                    <a:pt x="270" y="1448"/>
                  </a:lnTo>
                  <a:close/>
                  <a:moveTo>
                    <a:pt x="239" y="1513"/>
                  </a:moveTo>
                  <a:lnTo>
                    <a:pt x="241" y="1513"/>
                  </a:lnTo>
                  <a:lnTo>
                    <a:pt x="241" y="1514"/>
                  </a:lnTo>
                  <a:lnTo>
                    <a:pt x="239" y="1514"/>
                  </a:lnTo>
                  <a:lnTo>
                    <a:pt x="239" y="1513"/>
                  </a:lnTo>
                  <a:close/>
                  <a:moveTo>
                    <a:pt x="339" y="1475"/>
                  </a:moveTo>
                  <a:lnTo>
                    <a:pt x="340" y="1475"/>
                  </a:lnTo>
                  <a:lnTo>
                    <a:pt x="340" y="1477"/>
                  </a:lnTo>
                  <a:lnTo>
                    <a:pt x="339" y="1477"/>
                  </a:lnTo>
                  <a:lnTo>
                    <a:pt x="339" y="1475"/>
                  </a:lnTo>
                  <a:lnTo>
                    <a:pt x="339" y="1477"/>
                  </a:lnTo>
                  <a:lnTo>
                    <a:pt x="340" y="1477"/>
                  </a:lnTo>
                  <a:lnTo>
                    <a:pt x="339" y="1477"/>
                  </a:lnTo>
                  <a:lnTo>
                    <a:pt x="339" y="1475"/>
                  </a:lnTo>
                  <a:close/>
                  <a:moveTo>
                    <a:pt x="339" y="1461"/>
                  </a:moveTo>
                  <a:lnTo>
                    <a:pt x="339" y="1462"/>
                  </a:lnTo>
                  <a:lnTo>
                    <a:pt x="340" y="1462"/>
                  </a:lnTo>
                  <a:lnTo>
                    <a:pt x="339" y="1462"/>
                  </a:lnTo>
                  <a:lnTo>
                    <a:pt x="337" y="1462"/>
                  </a:lnTo>
                  <a:lnTo>
                    <a:pt x="337" y="1461"/>
                  </a:lnTo>
                  <a:lnTo>
                    <a:pt x="339" y="1461"/>
                  </a:lnTo>
                  <a:close/>
                  <a:moveTo>
                    <a:pt x="231" y="1228"/>
                  </a:moveTo>
                  <a:lnTo>
                    <a:pt x="231" y="1230"/>
                  </a:lnTo>
                  <a:lnTo>
                    <a:pt x="230" y="1230"/>
                  </a:lnTo>
                  <a:lnTo>
                    <a:pt x="230" y="1228"/>
                  </a:lnTo>
                  <a:lnTo>
                    <a:pt x="231" y="1230"/>
                  </a:lnTo>
                  <a:lnTo>
                    <a:pt x="230" y="1228"/>
                  </a:lnTo>
                  <a:lnTo>
                    <a:pt x="231" y="1228"/>
                  </a:lnTo>
                  <a:lnTo>
                    <a:pt x="231" y="1230"/>
                  </a:lnTo>
                  <a:lnTo>
                    <a:pt x="231" y="1228"/>
                  </a:lnTo>
                  <a:close/>
                  <a:moveTo>
                    <a:pt x="241" y="1297"/>
                  </a:moveTo>
                  <a:lnTo>
                    <a:pt x="241" y="1298"/>
                  </a:lnTo>
                  <a:lnTo>
                    <a:pt x="241" y="1297"/>
                  </a:lnTo>
                  <a:lnTo>
                    <a:pt x="239" y="1297"/>
                  </a:lnTo>
                  <a:lnTo>
                    <a:pt x="239" y="1295"/>
                  </a:lnTo>
                  <a:lnTo>
                    <a:pt x="241" y="1295"/>
                  </a:lnTo>
                  <a:lnTo>
                    <a:pt x="241" y="1297"/>
                  </a:lnTo>
                  <a:close/>
                  <a:moveTo>
                    <a:pt x="220" y="1472"/>
                  </a:moveTo>
                  <a:lnTo>
                    <a:pt x="220" y="1474"/>
                  </a:lnTo>
                  <a:lnTo>
                    <a:pt x="221" y="1474"/>
                  </a:lnTo>
                  <a:lnTo>
                    <a:pt x="221" y="1475"/>
                  </a:lnTo>
                  <a:lnTo>
                    <a:pt x="220" y="1475"/>
                  </a:lnTo>
                  <a:lnTo>
                    <a:pt x="221" y="1474"/>
                  </a:lnTo>
                  <a:lnTo>
                    <a:pt x="220" y="1474"/>
                  </a:lnTo>
                  <a:lnTo>
                    <a:pt x="218" y="1474"/>
                  </a:lnTo>
                  <a:lnTo>
                    <a:pt x="220" y="1474"/>
                  </a:lnTo>
                  <a:lnTo>
                    <a:pt x="220" y="1472"/>
                  </a:lnTo>
                  <a:close/>
                  <a:moveTo>
                    <a:pt x="228" y="1487"/>
                  </a:moveTo>
                  <a:lnTo>
                    <a:pt x="230" y="1487"/>
                  </a:lnTo>
                  <a:lnTo>
                    <a:pt x="228" y="1487"/>
                  </a:lnTo>
                  <a:lnTo>
                    <a:pt x="230" y="1487"/>
                  </a:lnTo>
                  <a:lnTo>
                    <a:pt x="228" y="1487"/>
                  </a:lnTo>
                  <a:lnTo>
                    <a:pt x="228" y="1488"/>
                  </a:lnTo>
                  <a:lnTo>
                    <a:pt x="228" y="1487"/>
                  </a:lnTo>
                  <a:lnTo>
                    <a:pt x="226" y="1487"/>
                  </a:lnTo>
                  <a:lnTo>
                    <a:pt x="226" y="1488"/>
                  </a:lnTo>
                  <a:lnTo>
                    <a:pt x="226" y="1487"/>
                  </a:lnTo>
                  <a:lnTo>
                    <a:pt x="228" y="1487"/>
                  </a:lnTo>
                  <a:lnTo>
                    <a:pt x="228" y="1485"/>
                  </a:lnTo>
                  <a:lnTo>
                    <a:pt x="228" y="1487"/>
                  </a:lnTo>
                  <a:lnTo>
                    <a:pt x="230" y="1487"/>
                  </a:lnTo>
                  <a:lnTo>
                    <a:pt x="228" y="1487"/>
                  </a:lnTo>
                  <a:close/>
                  <a:moveTo>
                    <a:pt x="244" y="1010"/>
                  </a:moveTo>
                  <a:lnTo>
                    <a:pt x="244" y="1012"/>
                  </a:lnTo>
                  <a:lnTo>
                    <a:pt x="244" y="1014"/>
                  </a:lnTo>
                  <a:lnTo>
                    <a:pt x="244" y="1012"/>
                  </a:lnTo>
                  <a:lnTo>
                    <a:pt x="244" y="1010"/>
                  </a:lnTo>
                  <a:close/>
                  <a:moveTo>
                    <a:pt x="243" y="573"/>
                  </a:moveTo>
                  <a:lnTo>
                    <a:pt x="243" y="574"/>
                  </a:lnTo>
                  <a:lnTo>
                    <a:pt x="243" y="576"/>
                  </a:lnTo>
                  <a:lnTo>
                    <a:pt x="243" y="578"/>
                  </a:lnTo>
                  <a:lnTo>
                    <a:pt x="243" y="576"/>
                  </a:lnTo>
                  <a:lnTo>
                    <a:pt x="243" y="574"/>
                  </a:lnTo>
                  <a:lnTo>
                    <a:pt x="243" y="573"/>
                  </a:lnTo>
                  <a:close/>
                  <a:moveTo>
                    <a:pt x="254" y="1458"/>
                  </a:moveTo>
                  <a:lnTo>
                    <a:pt x="254" y="1459"/>
                  </a:lnTo>
                  <a:lnTo>
                    <a:pt x="252" y="1459"/>
                  </a:lnTo>
                  <a:lnTo>
                    <a:pt x="254" y="1459"/>
                  </a:lnTo>
                  <a:lnTo>
                    <a:pt x="252" y="1459"/>
                  </a:lnTo>
                  <a:lnTo>
                    <a:pt x="252" y="1458"/>
                  </a:lnTo>
                  <a:lnTo>
                    <a:pt x="254" y="1458"/>
                  </a:lnTo>
                  <a:close/>
                  <a:moveTo>
                    <a:pt x="500" y="1433"/>
                  </a:moveTo>
                  <a:lnTo>
                    <a:pt x="500" y="1435"/>
                  </a:lnTo>
                  <a:lnTo>
                    <a:pt x="498" y="1435"/>
                  </a:lnTo>
                  <a:lnTo>
                    <a:pt x="500" y="1432"/>
                  </a:lnTo>
                  <a:lnTo>
                    <a:pt x="500" y="1433"/>
                  </a:lnTo>
                  <a:close/>
                  <a:moveTo>
                    <a:pt x="322" y="1461"/>
                  </a:moveTo>
                  <a:lnTo>
                    <a:pt x="321" y="1461"/>
                  </a:lnTo>
                  <a:lnTo>
                    <a:pt x="322" y="1461"/>
                  </a:lnTo>
                  <a:lnTo>
                    <a:pt x="322" y="1459"/>
                  </a:lnTo>
                  <a:lnTo>
                    <a:pt x="324" y="1459"/>
                  </a:lnTo>
                  <a:lnTo>
                    <a:pt x="322" y="1459"/>
                  </a:lnTo>
                  <a:lnTo>
                    <a:pt x="322" y="1461"/>
                  </a:lnTo>
                  <a:close/>
                  <a:moveTo>
                    <a:pt x="174" y="1501"/>
                  </a:moveTo>
                  <a:lnTo>
                    <a:pt x="174" y="1503"/>
                  </a:lnTo>
                  <a:lnTo>
                    <a:pt x="174" y="1505"/>
                  </a:lnTo>
                  <a:lnTo>
                    <a:pt x="174" y="1503"/>
                  </a:lnTo>
                  <a:lnTo>
                    <a:pt x="173" y="1503"/>
                  </a:lnTo>
                  <a:lnTo>
                    <a:pt x="174" y="1503"/>
                  </a:lnTo>
                  <a:lnTo>
                    <a:pt x="174" y="1501"/>
                  </a:lnTo>
                  <a:close/>
                  <a:moveTo>
                    <a:pt x="191" y="1490"/>
                  </a:moveTo>
                  <a:lnTo>
                    <a:pt x="192" y="1490"/>
                  </a:lnTo>
                  <a:lnTo>
                    <a:pt x="192" y="1492"/>
                  </a:lnTo>
                  <a:lnTo>
                    <a:pt x="192" y="1490"/>
                  </a:lnTo>
                  <a:lnTo>
                    <a:pt x="191" y="1490"/>
                  </a:lnTo>
                  <a:close/>
                  <a:moveTo>
                    <a:pt x="358" y="1474"/>
                  </a:moveTo>
                  <a:lnTo>
                    <a:pt x="360" y="1474"/>
                  </a:lnTo>
                  <a:lnTo>
                    <a:pt x="358" y="1474"/>
                  </a:lnTo>
                  <a:lnTo>
                    <a:pt x="358" y="1475"/>
                  </a:lnTo>
                  <a:lnTo>
                    <a:pt x="358" y="1474"/>
                  </a:lnTo>
                  <a:close/>
                  <a:moveTo>
                    <a:pt x="625" y="1366"/>
                  </a:moveTo>
                  <a:lnTo>
                    <a:pt x="626" y="1365"/>
                  </a:lnTo>
                  <a:lnTo>
                    <a:pt x="626" y="1366"/>
                  </a:lnTo>
                  <a:lnTo>
                    <a:pt x="625" y="1366"/>
                  </a:lnTo>
                  <a:lnTo>
                    <a:pt x="625" y="1365"/>
                  </a:lnTo>
                  <a:lnTo>
                    <a:pt x="626" y="1365"/>
                  </a:lnTo>
                  <a:lnTo>
                    <a:pt x="625" y="1366"/>
                  </a:lnTo>
                  <a:close/>
                  <a:moveTo>
                    <a:pt x="200" y="1475"/>
                  </a:moveTo>
                  <a:lnTo>
                    <a:pt x="202" y="1475"/>
                  </a:lnTo>
                  <a:lnTo>
                    <a:pt x="202" y="1477"/>
                  </a:lnTo>
                  <a:lnTo>
                    <a:pt x="202" y="1475"/>
                  </a:lnTo>
                  <a:lnTo>
                    <a:pt x="202" y="1477"/>
                  </a:lnTo>
                  <a:lnTo>
                    <a:pt x="204" y="1477"/>
                  </a:lnTo>
                  <a:lnTo>
                    <a:pt x="202" y="1477"/>
                  </a:lnTo>
                  <a:lnTo>
                    <a:pt x="204" y="1477"/>
                  </a:lnTo>
                  <a:lnTo>
                    <a:pt x="204" y="1479"/>
                  </a:lnTo>
                  <a:lnTo>
                    <a:pt x="202" y="1477"/>
                  </a:lnTo>
                  <a:lnTo>
                    <a:pt x="200" y="1475"/>
                  </a:lnTo>
                  <a:close/>
                  <a:moveTo>
                    <a:pt x="207" y="1500"/>
                  </a:moveTo>
                  <a:lnTo>
                    <a:pt x="208" y="1500"/>
                  </a:lnTo>
                  <a:lnTo>
                    <a:pt x="208" y="1501"/>
                  </a:lnTo>
                  <a:lnTo>
                    <a:pt x="210" y="1501"/>
                  </a:lnTo>
                  <a:lnTo>
                    <a:pt x="208" y="1501"/>
                  </a:lnTo>
                  <a:lnTo>
                    <a:pt x="207" y="1501"/>
                  </a:lnTo>
                  <a:lnTo>
                    <a:pt x="207" y="1500"/>
                  </a:lnTo>
                  <a:close/>
                  <a:moveTo>
                    <a:pt x="231" y="1022"/>
                  </a:moveTo>
                  <a:lnTo>
                    <a:pt x="233" y="1022"/>
                  </a:lnTo>
                  <a:lnTo>
                    <a:pt x="233" y="1023"/>
                  </a:lnTo>
                  <a:lnTo>
                    <a:pt x="231" y="1023"/>
                  </a:lnTo>
                  <a:lnTo>
                    <a:pt x="231" y="1022"/>
                  </a:lnTo>
                  <a:close/>
                  <a:moveTo>
                    <a:pt x="246" y="581"/>
                  </a:moveTo>
                  <a:lnTo>
                    <a:pt x="246" y="583"/>
                  </a:lnTo>
                  <a:lnTo>
                    <a:pt x="247" y="583"/>
                  </a:lnTo>
                  <a:lnTo>
                    <a:pt x="247" y="584"/>
                  </a:lnTo>
                  <a:lnTo>
                    <a:pt x="246" y="583"/>
                  </a:lnTo>
                  <a:lnTo>
                    <a:pt x="246" y="581"/>
                  </a:lnTo>
                  <a:close/>
                  <a:moveTo>
                    <a:pt x="688" y="1340"/>
                  </a:moveTo>
                  <a:lnTo>
                    <a:pt x="687" y="1340"/>
                  </a:lnTo>
                  <a:lnTo>
                    <a:pt x="687" y="1339"/>
                  </a:lnTo>
                  <a:lnTo>
                    <a:pt x="688" y="1339"/>
                  </a:lnTo>
                  <a:lnTo>
                    <a:pt x="688" y="1340"/>
                  </a:lnTo>
                  <a:close/>
                  <a:moveTo>
                    <a:pt x="142" y="1487"/>
                  </a:moveTo>
                  <a:lnTo>
                    <a:pt x="142" y="1488"/>
                  </a:lnTo>
                  <a:lnTo>
                    <a:pt x="142" y="1487"/>
                  </a:lnTo>
                  <a:lnTo>
                    <a:pt x="142" y="1488"/>
                  </a:lnTo>
                  <a:lnTo>
                    <a:pt x="140" y="1487"/>
                  </a:lnTo>
                  <a:lnTo>
                    <a:pt x="140" y="1485"/>
                  </a:lnTo>
                  <a:lnTo>
                    <a:pt x="142" y="1485"/>
                  </a:lnTo>
                  <a:lnTo>
                    <a:pt x="142" y="1487"/>
                  </a:lnTo>
                  <a:close/>
                  <a:moveTo>
                    <a:pt x="368" y="690"/>
                  </a:moveTo>
                  <a:lnTo>
                    <a:pt x="368" y="692"/>
                  </a:lnTo>
                  <a:lnTo>
                    <a:pt x="366" y="692"/>
                  </a:lnTo>
                  <a:lnTo>
                    <a:pt x="366" y="690"/>
                  </a:lnTo>
                  <a:lnTo>
                    <a:pt x="368" y="690"/>
                  </a:lnTo>
                  <a:close/>
                  <a:moveTo>
                    <a:pt x="290" y="1497"/>
                  </a:moveTo>
                  <a:lnTo>
                    <a:pt x="290" y="1495"/>
                  </a:lnTo>
                  <a:lnTo>
                    <a:pt x="290" y="1497"/>
                  </a:lnTo>
                  <a:lnTo>
                    <a:pt x="290" y="1498"/>
                  </a:lnTo>
                  <a:lnTo>
                    <a:pt x="290" y="1497"/>
                  </a:lnTo>
                  <a:lnTo>
                    <a:pt x="288" y="1497"/>
                  </a:lnTo>
                  <a:lnTo>
                    <a:pt x="290" y="1497"/>
                  </a:lnTo>
                  <a:close/>
                  <a:moveTo>
                    <a:pt x="295" y="1433"/>
                  </a:moveTo>
                  <a:lnTo>
                    <a:pt x="293" y="1433"/>
                  </a:lnTo>
                  <a:lnTo>
                    <a:pt x="291" y="1433"/>
                  </a:lnTo>
                  <a:lnTo>
                    <a:pt x="291" y="1432"/>
                  </a:lnTo>
                  <a:lnTo>
                    <a:pt x="293" y="1432"/>
                  </a:lnTo>
                  <a:lnTo>
                    <a:pt x="293" y="1433"/>
                  </a:lnTo>
                  <a:lnTo>
                    <a:pt x="295" y="1433"/>
                  </a:lnTo>
                  <a:close/>
                  <a:moveTo>
                    <a:pt x="239" y="1453"/>
                  </a:moveTo>
                  <a:lnTo>
                    <a:pt x="241" y="1453"/>
                  </a:lnTo>
                  <a:lnTo>
                    <a:pt x="241" y="1454"/>
                  </a:lnTo>
                  <a:lnTo>
                    <a:pt x="243" y="1454"/>
                  </a:lnTo>
                  <a:lnTo>
                    <a:pt x="241" y="1454"/>
                  </a:lnTo>
                  <a:lnTo>
                    <a:pt x="239" y="1454"/>
                  </a:lnTo>
                  <a:lnTo>
                    <a:pt x="239" y="1453"/>
                  </a:lnTo>
                  <a:close/>
                  <a:moveTo>
                    <a:pt x="461" y="1458"/>
                  </a:moveTo>
                  <a:lnTo>
                    <a:pt x="462" y="1458"/>
                  </a:lnTo>
                  <a:lnTo>
                    <a:pt x="462" y="1456"/>
                  </a:lnTo>
                  <a:lnTo>
                    <a:pt x="464" y="1456"/>
                  </a:lnTo>
                  <a:lnTo>
                    <a:pt x="465" y="1456"/>
                  </a:lnTo>
                  <a:lnTo>
                    <a:pt x="465" y="1458"/>
                  </a:lnTo>
                  <a:lnTo>
                    <a:pt x="464" y="1458"/>
                  </a:lnTo>
                  <a:lnTo>
                    <a:pt x="462" y="1458"/>
                  </a:lnTo>
                  <a:lnTo>
                    <a:pt x="461" y="1458"/>
                  </a:lnTo>
                  <a:close/>
                  <a:moveTo>
                    <a:pt x="171" y="1031"/>
                  </a:moveTo>
                  <a:lnTo>
                    <a:pt x="173" y="1031"/>
                  </a:lnTo>
                  <a:lnTo>
                    <a:pt x="173" y="1033"/>
                  </a:lnTo>
                  <a:lnTo>
                    <a:pt x="173" y="1031"/>
                  </a:lnTo>
                  <a:lnTo>
                    <a:pt x="173" y="1033"/>
                  </a:lnTo>
                  <a:lnTo>
                    <a:pt x="171" y="1033"/>
                  </a:lnTo>
                  <a:lnTo>
                    <a:pt x="171" y="1031"/>
                  </a:lnTo>
                  <a:close/>
                  <a:moveTo>
                    <a:pt x="243" y="1258"/>
                  </a:moveTo>
                  <a:lnTo>
                    <a:pt x="244" y="1259"/>
                  </a:lnTo>
                  <a:lnTo>
                    <a:pt x="244" y="1261"/>
                  </a:lnTo>
                  <a:lnTo>
                    <a:pt x="244" y="1259"/>
                  </a:lnTo>
                  <a:lnTo>
                    <a:pt x="243" y="1259"/>
                  </a:lnTo>
                  <a:lnTo>
                    <a:pt x="244" y="1259"/>
                  </a:lnTo>
                  <a:lnTo>
                    <a:pt x="243" y="1258"/>
                  </a:lnTo>
                  <a:close/>
                  <a:moveTo>
                    <a:pt x="633" y="1349"/>
                  </a:moveTo>
                  <a:lnTo>
                    <a:pt x="633" y="1350"/>
                  </a:lnTo>
                  <a:lnTo>
                    <a:pt x="635" y="1350"/>
                  </a:lnTo>
                  <a:lnTo>
                    <a:pt x="633" y="1350"/>
                  </a:lnTo>
                  <a:lnTo>
                    <a:pt x="633" y="1349"/>
                  </a:lnTo>
                  <a:lnTo>
                    <a:pt x="631" y="1349"/>
                  </a:lnTo>
                  <a:lnTo>
                    <a:pt x="633" y="1349"/>
                  </a:lnTo>
                  <a:close/>
                  <a:moveTo>
                    <a:pt x="231" y="1012"/>
                  </a:moveTo>
                  <a:lnTo>
                    <a:pt x="231" y="1014"/>
                  </a:lnTo>
                  <a:lnTo>
                    <a:pt x="230" y="1012"/>
                  </a:lnTo>
                  <a:lnTo>
                    <a:pt x="231" y="1012"/>
                  </a:lnTo>
                  <a:close/>
                  <a:moveTo>
                    <a:pt x="326" y="1501"/>
                  </a:moveTo>
                  <a:lnTo>
                    <a:pt x="327" y="1501"/>
                  </a:lnTo>
                  <a:lnTo>
                    <a:pt x="329" y="1501"/>
                  </a:lnTo>
                  <a:lnTo>
                    <a:pt x="327" y="1501"/>
                  </a:lnTo>
                  <a:lnTo>
                    <a:pt x="326" y="1501"/>
                  </a:lnTo>
                  <a:lnTo>
                    <a:pt x="327" y="1501"/>
                  </a:lnTo>
                  <a:lnTo>
                    <a:pt x="326" y="1501"/>
                  </a:lnTo>
                  <a:close/>
                  <a:moveTo>
                    <a:pt x="241" y="999"/>
                  </a:moveTo>
                  <a:lnTo>
                    <a:pt x="243" y="997"/>
                  </a:lnTo>
                  <a:lnTo>
                    <a:pt x="243" y="999"/>
                  </a:lnTo>
                  <a:lnTo>
                    <a:pt x="244" y="999"/>
                  </a:lnTo>
                  <a:lnTo>
                    <a:pt x="244" y="1001"/>
                  </a:lnTo>
                  <a:lnTo>
                    <a:pt x="243" y="999"/>
                  </a:lnTo>
                  <a:lnTo>
                    <a:pt x="241" y="999"/>
                  </a:lnTo>
                  <a:close/>
                  <a:moveTo>
                    <a:pt x="381" y="739"/>
                  </a:moveTo>
                  <a:lnTo>
                    <a:pt x="382" y="739"/>
                  </a:lnTo>
                  <a:lnTo>
                    <a:pt x="382" y="740"/>
                  </a:lnTo>
                  <a:lnTo>
                    <a:pt x="381" y="739"/>
                  </a:lnTo>
                  <a:close/>
                  <a:moveTo>
                    <a:pt x="490" y="1453"/>
                  </a:moveTo>
                  <a:lnTo>
                    <a:pt x="490" y="1451"/>
                  </a:lnTo>
                  <a:lnTo>
                    <a:pt x="491" y="1451"/>
                  </a:lnTo>
                  <a:lnTo>
                    <a:pt x="490" y="1451"/>
                  </a:lnTo>
                  <a:lnTo>
                    <a:pt x="490" y="1449"/>
                  </a:lnTo>
                  <a:lnTo>
                    <a:pt x="491" y="1451"/>
                  </a:lnTo>
                  <a:lnTo>
                    <a:pt x="491" y="1453"/>
                  </a:lnTo>
                  <a:lnTo>
                    <a:pt x="490" y="1453"/>
                  </a:lnTo>
                  <a:close/>
                  <a:moveTo>
                    <a:pt x="247" y="1441"/>
                  </a:moveTo>
                  <a:lnTo>
                    <a:pt x="247" y="1440"/>
                  </a:lnTo>
                  <a:lnTo>
                    <a:pt x="247" y="1441"/>
                  </a:lnTo>
                  <a:lnTo>
                    <a:pt x="247" y="1443"/>
                  </a:lnTo>
                  <a:lnTo>
                    <a:pt x="246" y="1441"/>
                  </a:lnTo>
                  <a:lnTo>
                    <a:pt x="247" y="1441"/>
                  </a:lnTo>
                  <a:close/>
                  <a:moveTo>
                    <a:pt x="586" y="1396"/>
                  </a:moveTo>
                  <a:lnTo>
                    <a:pt x="587" y="1396"/>
                  </a:lnTo>
                  <a:lnTo>
                    <a:pt x="586" y="1396"/>
                  </a:lnTo>
                  <a:lnTo>
                    <a:pt x="587" y="1396"/>
                  </a:lnTo>
                  <a:lnTo>
                    <a:pt x="587" y="1397"/>
                  </a:lnTo>
                  <a:lnTo>
                    <a:pt x="586" y="1397"/>
                  </a:lnTo>
                  <a:lnTo>
                    <a:pt x="586" y="1396"/>
                  </a:lnTo>
                  <a:close/>
                  <a:moveTo>
                    <a:pt x="257" y="1464"/>
                  </a:moveTo>
                  <a:lnTo>
                    <a:pt x="259" y="1464"/>
                  </a:lnTo>
                  <a:lnTo>
                    <a:pt x="261" y="1464"/>
                  </a:lnTo>
                  <a:lnTo>
                    <a:pt x="259" y="1464"/>
                  </a:lnTo>
                  <a:lnTo>
                    <a:pt x="257" y="1464"/>
                  </a:lnTo>
                  <a:close/>
                  <a:moveTo>
                    <a:pt x="239" y="1511"/>
                  </a:moveTo>
                  <a:lnTo>
                    <a:pt x="241" y="1511"/>
                  </a:lnTo>
                  <a:lnTo>
                    <a:pt x="241" y="1513"/>
                  </a:lnTo>
                  <a:lnTo>
                    <a:pt x="239" y="1513"/>
                  </a:lnTo>
                  <a:lnTo>
                    <a:pt x="239" y="1511"/>
                  </a:lnTo>
                  <a:close/>
                  <a:moveTo>
                    <a:pt x="246" y="1438"/>
                  </a:moveTo>
                  <a:lnTo>
                    <a:pt x="247" y="1440"/>
                  </a:lnTo>
                  <a:lnTo>
                    <a:pt x="246" y="1440"/>
                  </a:lnTo>
                  <a:lnTo>
                    <a:pt x="247" y="1440"/>
                  </a:lnTo>
                  <a:lnTo>
                    <a:pt x="246" y="1440"/>
                  </a:lnTo>
                  <a:lnTo>
                    <a:pt x="246" y="1441"/>
                  </a:lnTo>
                  <a:lnTo>
                    <a:pt x="246" y="1440"/>
                  </a:lnTo>
                  <a:lnTo>
                    <a:pt x="246" y="1438"/>
                  </a:lnTo>
                  <a:close/>
                  <a:moveTo>
                    <a:pt x="228" y="1441"/>
                  </a:moveTo>
                  <a:lnTo>
                    <a:pt x="228" y="1443"/>
                  </a:lnTo>
                  <a:lnTo>
                    <a:pt x="230" y="1443"/>
                  </a:lnTo>
                  <a:lnTo>
                    <a:pt x="230" y="1445"/>
                  </a:lnTo>
                  <a:lnTo>
                    <a:pt x="228" y="1445"/>
                  </a:lnTo>
                  <a:lnTo>
                    <a:pt x="228" y="1443"/>
                  </a:lnTo>
                  <a:lnTo>
                    <a:pt x="228" y="1441"/>
                  </a:lnTo>
                  <a:close/>
                  <a:moveTo>
                    <a:pt x="448" y="1469"/>
                  </a:moveTo>
                  <a:lnTo>
                    <a:pt x="449" y="1467"/>
                  </a:lnTo>
                  <a:lnTo>
                    <a:pt x="449" y="1469"/>
                  </a:lnTo>
                  <a:lnTo>
                    <a:pt x="451" y="1469"/>
                  </a:lnTo>
                  <a:lnTo>
                    <a:pt x="451" y="1471"/>
                  </a:lnTo>
                  <a:lnTo>
                    <a:pt x="449" y="1471"/>
                  </a:lnTo>
                  <a:lnTo>
                    <a:pt x="449" y="1469"/>
                  </a:lnTo>
                  <a:lnTo>
                    <a:pt x="448" y="1469"/>
                  </a:lnTo>
                  <a:close/>
                  <a:moveTo>
                    <a:pt x="197" y="1477"/>
                  </a:moveTo>
                  <a:lnTo>
                    <a:pt x="195" y="1477"/>
                  </a:lnTo>
                  <a:lnTo>
                    <a:pt x="197" y="1477"/>
                  </a:lnTo>
                  <a:lnTo>
                    <a:pt x="195" y="1477"/>
                  </a:lnTo>
                  <a:lnTo>
                    <a:pt x="197" y="1477"/>
                  </a:lnTo>
                  <a:lnTo>
                    <a:pt x="197" y="1475"/>
                  </a:lnTo>
                  <a:lnTo>
                    <a:pt x="197" y="1474"/>
                  </a:lnTo>
                  <a:lnTo>
                    <a:pt x="197" y="1475"/>
                  </a:lnTo>
                  <a:lnTo>
                    <a:pt x="197" y="1477"/>
                  </a:lnTo>
                  <a:close/>
                  <a:moveTo>
                    <a:pt x="296" y="1440"/>
                  </a:moveTo>
                  <a:lnTo>
                    <a:pt x="298" y="1438"/>
                  </a:lnTo>
                  <a:lnTo>
                    <a:pt x="300" y="1438"/>
                  </a:lnTo>
                  <a:lnTo>
                    <a:pt x="300" y="1440"/>
                  </a:lnTo>
                  <a:lnTo>
                    <a:pt x="298" y="1440"/>
                  </a:lnTo>
                  <a:lnTo>
                    <a:pt x="296" y="1440"/>
                  </a:lnTo>
                  <a:lnTo>
                    <a:pt x="298" y="1440"/>
                  </a:lnTo>
                  <a:lnTo>
                    <a:pt x="296" y="1440"/>
                  </a:lnTo>
                  <a:close/>
                  <a:moveTo>
                    <a:pt x="287" y="1445"/>
                  </a:moveTo>
                  <a:lnTo>
                    <a:pt x="288" y="1445"/>
                  </a:lnTo>
                  <a:lnTo>
                    <a:pt x="288" y="1446"/>
                  </a:lnTo>
                  <a:lnTo>
                    <a:pt x="287" y="1446"/>
                  </a:lnTo>
                  <a:lnTo>
                    <a:pt x="287" y="1445"/>
                  </a:lnTo>
                  <a:close/>
                  <a:moveTo>
                    <a:pt x="335" y="1485"/>
                  </a:moveTo>
                  <a:lnTo>
                    <a:pt x="337" y="1485"/>
                  </a:lnTo>
                  <a:lnTo>
                    <a:pt x="335" y="1485"/>
                  </a:lnTo>
                  <a:lnTo>
                    <a:pt x="335" y="1487"/>
                  </a:lnTo>
                  <a:lnTo>
                    <a:pt x="335" y="1485"/>
                  </a:lnTo>
                  <a:lnTo>
                    <a:pt x="337" y="1485"/>
                  </a:lnTo>
                  <a:lnTo>
                    <a:pt x="337" y="1487"/>
                  </a:lnTo>
                  <a:lnTo>
                    <a:pt x="335" y="1487"/>
                  </a:lnTo>
                  <a:lnTo>
                    <a:pt x="335" y="1485"/>
                  </a:lnTo>
                  <a:close/>
                  <a:moveTo>
                    <a:pt x="230" y="1445"/>
                  </a:moveTo>
                  <a:lnTo>
                    <a:pt x="231" y="1445"/>
                  </a:lnTo>
                  <a:lnTo>
                    <a:pt x="231" y="1446"/>
                  </a:lnTo>
                  <a:lnTo>
                    <a:pt x="231" y="1448"/>
                  </a:lnTo>
                  <a:lnTo>
                    <a:pt x="231" y="1446"/>
                  </a:lnTo>
                  <a:lnTo>
                    <a:pt x="230" y="1446"/>
                  </a:lnTo>
                  <a:lnTo>
                    <a:pt x="230" y="1445"/>
                  </a:lnTo>
                  <a:close/>
                  <a:moveTo>
                    <a:pt x="290" y="1469"/>
                  </a:moveTo>
                  <a:lnTo>
                    <a:pt x="291" y="1469"/>
                  </a:lnTo>
                  <a:lnTo>
                    <a:pt x="291" y="1471"/>
                  </a:lnTo>
                  <a:lnTo>
                    <a:pt x="290" y="1469"/>
                  </a:lnTo>
                  <a:lnTo>
                    <a:pt x="290" y="1471"/>
                  </a:lnTo>
                  <a:lnTo>
                    <a:pt x="290" y="1469"/>
                  </a:lnTo>
                  <a:lnTo>
                    <a:pt x="288" y="1469"/>
                  </a:lnTo>
                  <a:lnTo>
                    <a:pt x="290" y="1469"/>
                  </a:lnTo>
                  <a:close/>
                  <a:moveTo>
                    <a:pt x="169" y="1018"/>
                  </a:moveTo>
                  <a:lnTo>
                    <a:pt x="171" y="1018"/>
                  </a:lnTo>
                  <a:lnTo>
                    <a:pt x="169" y="1018"/>
                  </a:lnTo>
                  <a:lnTo>
                    <a:pt x="169" y="1020"/>
                  </a:lnTo>
                  <a:lnTo>
                    <a:pt x="169" y="1018"/>
                  </a:lnTo>
                  <a:lnTo>
                    <a:pt x="169" y="1020"/>
                  </a:lnTo>
                  <a:lnTo>
                    <a:pt x="168" y="1020"/>
                  </a:lnTo>
                  <a:lnTo>
                    <a:pt x="169" y="1018"/>
                  </a:lnTo>
                  <a:close/>
                  <a:moveTo>
                    <a:pt x="287" y="1495"/>
                  </a:moveTo>
                  <a:lnTo>
                    <a:pt x="288" y="1495"/>
                  </a:lnTo>
                  <a:lnTo>
                    <a:pt x="288" y="1497"/>
                  </a:lnTo>
                  <a:lnTo>
                    <a:pt x="288" y="1495"/>
                  </a:lnTo>
                  <a:lnTo>
                    <a:pt x="287" y="1497"/>
                  </a:lnTo>
                  <a:lnTo>
                    <a:pt x="287" y="1495"/>
                  </a:lnTo>
                  <a:close/>
                  <a:moveTo>
                    <a:pt x="205" y="1503"/>
                  </a:moveTo>
                  <a:lnTo>
                    <a:pt x="207" y="1503"/>
                  </a:lnTo>
                  <a:lnTo>
                    <a:pt x="205" y="1503"/>
                  </a:lnTo>
                  <a:lnTo>
                    <a:pt x="205" y="1505"/>
                  </a:lnTo>
                  <a:lnTo>
                    <a:pt x="207" y="1505"/>
                  </a:lnTo>
                  <a:lnTo>
                    <a:pt x="205" y="1505"/>
                  </a:lnTo>
                  <a:lnTo>
                    <a:pt x="205" y="1503"/>
                  </a:lnTo>
                  <a:close/>
                  <a:moveTo>
                    <a:pt x="181" y="1083"/>
                  </a:moveTo>
                  <a:lnTo>
                    <a:pt x="181" y="1085"/>
                  </a:lnTo>
                  <a:lnTo>
                    <a:pt x="179" y="1085"/>
                  </a:lnTo>
                  <a:lnTo>
                    <a:pt x="179" y="1083"/>
                  </a:lnTo>
                  <a:lnTo>
                    <a:pt x="179" y="1085"/>
                  </a:lnTo>
                  <a:lnTo>
                    <a:pt x="179" y="1083"/>
                  </a:lnTo>
                  <a:lnTo>
                    <a:pt x="181" y="1083"/>
                  </a:lnTo>
                  <a:close/>
                  <a:moveTo>
                    <a:pt x="257" y="949"/>
                  </a:moveTo>
                  <a:lnTo>
                    <a:pt x="256" y="949"/>
                  </a:lnTo>
                  <a:lnTo>
                    <a:pt x="256" y="947"/>
                  </a:lnTo>
                  <a:lnTo>
                    <a:pt x="256" y="945"/>
                  </a:lnTo>
                  <a:lnTo>
                    <a:pt x="257" y="947"/>
                  </a:lnTo>
                  <a:lnTo>
                    <a:pt x="257" y="949"/>
                  </a:lnTo>
                  <a:close/>
                  <a:moveTo>
                    <a:pt x="251" y="1388"/>
                  </a:moveTo>
                  <a:lnTo>
                    <a:pt x="251" y="1389"/>
                  </a:lnTo>
                  <a:lnTo>
                    <a:pt x="249" y="1389"/>
                  </a:lnTo>
                  <a:lnTo>
                    <a:pt x="249" y="1388"/>
                  </a:lnTo>
                  <a:lnTo>
                    <a:pt x="251" y="1388"/>
                  </a:lnTo>
                  <a:lnTo>
                    <a:pt x="249" y="1388"/>
                  </a:lnTo>
                  <a:lnTo>
                    <a:pt x="251" y="1388"/>
                  </a:lnTo>
                  <a:close/>
                  <a:moveTo>
                    <a:pt x="200" y="1049"/>
                  </a:moveTo>
                  <a:lnTo>
                    <a:pt x="200" y="1051"/>
                  </a:lnTo>
                  <a:lnTo>
                    <a:pt x="199" y="1051"/>
                  </a:lnTo>
                  <a:lnTo>
                    <a:pt x="199" y="1049"/>
                  </a:lnTo>
                  <a:lnTo>
                    <a:pt x="199" y="1051"/>
                  </a:lnTo>
                  <a:lnTo>
                    <a:pt x="200" y="1051"/>
                  </a:lnTo>
                  <a:lnTo>
                    <a:pt x="200" y="1049"/>
                  </a:lnTo>
                  <a:lnTo>
                    <a:pt x="199" y="1049"/>
                  </a:lnTo>
                  <a:lnTo>
                    <a:pt x="200" y="1049"/>
                  </a:lnTo>
                  <a:lnTo>
                    <a:pt x="199" y="1049"/>
                  </a:lnTo>
                  <a:lnTo>
                    <a:pt x="200" y="1049"/>
                  </a:lnTo>
                  <a:close/>
                  <a:moveTo>
                    <a:pt x="452" y="1467"/>
                  </a:moveTo>
                  <a:lnTo>
                    <a:pt x="452" y="1466"/>
                  </a:lnTo>
                  <a:lnTo>
                    <a:pt x="454" y="1466"/>
                  </a:lnTo>
                  <a:lnTo>
                    <a:pt x="454" y="1467"/>
                  </a:lnTo>
                  <a:lnTo>
                    <a:pt x="452" y="1467"/>
                  </a:lnTo>
                  <a:close/>
                  <a:moveTo>
                    <a:pt x="539" y="1406"/>
                  </a:moveTo>
                  <a:lnTo>
                    <a:pt x="539" y="1404"/>
                  </a:lnTo>
                  <a:lnTo>
                    <a:pt x="539" y="1406"/>
                  </a:lnTo>
                  <a:lnTo>
                    <a:pt x="540" y="1406"/>
                  </a:lnTo>
                  <a:lnTo>
                    <a:pt x="539" y="1406"/>
                  </a:lnTo>
                  <a:lnTo>
                    <a:pt x="540" y="1407"/>
                  </a:lnTo>
                  <a:lnTo>
                    <a:pt x="539" y="1407"/>
                  </a:lnTo>
                  <a:lnTo>
                    <a:pt x="539" y="1406"/>
                  </a:lnTo>
                  <a:lnTo>
                    <a:pt x="537" y="1406"/>
                  </a:lnTo>
                  <a:lnTo>
                    <a:pt x="539" y="1406"/>
                  </a:lnTo>
                  <a:close/>
                  <a:moveTo>
                    <a:pt x="314" y="1503"/>
                  </a:moveTo>
                  <a:lnTo>
                    <a:pt x="314" y="1501"/>
                  </a:lnTo>
                  <a:lnTo>
                    <a:pt x="316" y="1501"/>
                  </a:lnTo>
                  <a:lnTo>
                    <a:pt x="316" y="1503"/>
                  </a:lnTo>
                  <a:lnTo>
                    <a:pt x="316" y="1505"/>
                  </a:lnTo>
                  <a:lnTo>
                    <a:pt x="316" y="1503"/>
                  </a:lnTo>
                  <a:lnTo>
                    <a:pt x="314" y="1503"/>
                  </a:lnTo>
                  <a:lnTo>
                    <a:pt x="316" y="1503"/>
                  </a:lnTo>
                  <a:lnTo>
                    <a:pt x="314" y="1503"/>
                  </a:lnTo>
                  <a:close/>
                  <a:moveTo>
                    <a:pt x="272" y="955"/>
                  </a:moveTo>
                  <a:lnTo>
                    <a:pt x="272" y="957"/>
                  </a:lnTo>
                  <a:lnTo>
                    <a:pt x="272" y="955"/>
                  </a:lnTo>
                  <a:lnTo>
                    <a:pt x="272" y="957"/>
                  </a:lnTo>
                  <a:lnTo>
                    <a:pt x="270" y="955"/>
                  </a:lnTo>
                  <a:lnTo>
                    <a:pt x="272" y="955"/>
                  </a:lnTo>
                  <a:lnTo>
                    <a:pt x="270" y="955"/>
                  </a:lnTo>
                  <a:lnTo>
                    <a:pt x="270" y="953"/>
                  </a:lnTo>
                  <a:lnTo>
                    <a:pt x="272" y="955"/>
                  </a:lnTo>
                  <a:close/>
                  <a:moveTo>
                    <a:pt x="249" y="1445"/>
                  </a:moveTo>
                  <a:lnTo>
                    <a:pt x="249" y="1446"/>
                  </a:lnTo>
                  <a:lnTo>
                    <a:pt x="247" y="1446"/>
                  </a:lnTo>
                  <a:lnTo>
                    <a:pt x="247" y="1445"/>
                  </a:lnTo>
                  <a:lnTo>
                    <a:pt x="249" y="1445"/>
                  </a:lnTo>
                  <a:close/>
                  <a:moveTo>
                    <a:pt x="269" y="1454"/>
                  </a:moveTo>
                  <a:lnTo>
                    <a:pt x="269" y="1453"/>
                  </a:lnTo>
                  <a:lnTo>
                    <a:pt x="270" y="1453"/>
                  </a:lnTo>
                  <a:lnTo>
                    <a:pt x="270" y="1454"/>
                  </a:lnTo>
                  <a:lnTo>
                    <a:pt x="269" y="1454"/>
                  </a:lnTo>
                  <a:close/>
                  <a:moveTo>
                    <a:pt x="246" y="1292"/>
                  </a:moveTo>
                  <a:lnTo>
                    <a:pt x="246" y="1293"/>
                  </a:lnTo>
                  <a:lnTo>
                    <a:pt x="247" y="1293"/>
                  </a:lnTo>
                  <a:lnTo>
                    <a:pt x="246" y="1293"/>
                  </a:lnTo>
                  <a:lnTo>
                    <a:pt x="244" y="1293"/>
                  </a:lnTo>
                  <a:lnTo>
                    <a:pt x="246" y="1292"/>
                  </a:lnTo>
                  <a:lnTo>
                    <a:pt x="244" y="1292"/>
                  </a:lnTo>
                  <a:lnTo>
                    <a:pt x="246" y="1292"/>
                  </a:lnTo>
                  <a:close/>
                  <a:moveTo>
                    <a:pt x="386" y="1503"/>
                  </a:moveTo>
                  <a:lnTo>
                    <a:pt x="387" y="1503"/>
                  </a:lnTo>
                  <a:lnTo>
                    <a:pt x="387" y="1505"/>
                  </a:lnTo>
                  <a:lnTo>
                    <a:pt x="387" y="1503"/>
                  </a:lnTo>
                  <a:lnTo>
                    <a:pt x="387" y="1505"/>
                  </a:lnTo>
                  <a:lnTo>
                    <a:pt x="386" y="1503"/>
                  </a:lnTo>
                  <a:close/>
                  <a:moveTo>
                    <a:pt x="543" y="1414"/>
                  </a:moveTo>
                  <a:lnTo>
                    <a:pt x="543" y="1412"/>
                  </a:lnTo>
                  <a:lnTo>
                    <a:pt x="543" y="1414"/>
                  </a:lnTo>
                  <a:lnTo>
                    <a:pt x="543" y="1412"/>
                  </a:lnTo>
                  <a:lnTo>
                    <a:pt x="545" y="1412"/>
                  </a:lnTo>
                  <a:lnTo>
                    <a:pt x="545" y="1414"/>
                  </a:lnTo>
                  <a:lnTo>
                    <a:pt x="543" y="1414"/>
                  </a:lnTo>
                  <a:close/>
                  <a:moveTo>
                    <a:pt x="252" y="1433"/>
                  </a:moveTo>
                  <a:lnTo>
                    <a:pt x="251" y="1433"/>
                  </a:lnTo>
                  <a:lnTo>
                    <a:pt x="251" y="1432"/>
                  </a:lnTo>
                  <a:lnTo>
                    <a:pt x="251" y="1433"/>
                  </a:lnTo>
                  <a:lnTo>
                    <a:pt x="252" y="1433"/>
                  </a:lnTo>
                  <a:close/>
                  <a:moveTo>
                    <a:pt x="275" y="1519"/>
                  </a:moveTo>
                  <a:lnTo>
                    <a:pt x="277" y="1521"/>
                  </a:lnTo>
                  <a:lnTo>
                    <a:pt x="275" y="1521"/>
                  </a:lnTo>
                  <a:lnTo>
                    <a:pt x="274" y="1521"/>
                  </a:lnTo>
                  <a:lnTo>
                    <a:pt x="275" y="1519"/>
                  </a:lnTo>
                  <a:lnTo>
                    <a:pt x="275" y="1521"/>
                  </a:lnTo>
                  <a:lnTo>
                    <a:pt x="275" y="1519"/>
                  </a:lnTo>
                  <a:lnTo>
                    <a:pt x="277" y="1519"/>
                  </a:lnTo>
                  <a:lnTo>
                    <a:pt x="275" y="1519"/>
                  </a:lnTo>
                  <a:close/>
                  <a:moveTo>
                    <a:pt x="319" y="1500"/>
                  </a:moveTo>
                  <a:lnTo>
                    <a:pt x="321" y="1500"/>
                  </a:lnTo>
                  <a:lnTo>
                    <a:pt x="322" y="1500"/>
                  </a:lnTo>
                  <a:lnTo>
                    <a:pt x="321" y="1500"/>
                  </a:lnTo>
                  <a:lnTo>
                    <a:pt x="322" y="1500"/>
                  </a:lnTo>
                  <a:lnTo>
                    <a:pt x="322" y="1501"/>
                  </a:lnTo>
                  <a:lnTo>
                    <a:pt x="321" y="1501"/>
                  </a:lnTo>
                  <a:lnTo>
                    <a:pt x="321" y="1500"/>
                  </a:lnTo>
                  <a:lnTo>
                    <a:pt x="319" y="1500"/>
                  </a:lnTo>
                  <a:close/>
                  <a:moveTo>
                    <a:pt x="256" y="1443"/>
                  </a:moveTo>
                  <a:lnTo>
                    <a:pt x="257" y="1443"/>
                  </a:lnTo>
                  <a:lnTo>
                    <a:pt x="259" y="1443"/>
                  </a:lnTo>
                  <a:lnTo>
                    <a:pt x="259" y="1445"/>
                  </a:lnTo>
                  <a:lnTo>
                    <a:pt x="257" y="1445"/>
                  </a:lnTo>
                  <a:lnTo>
                    <a:pt x="257" y="1443"/>
                  </a:lnTo>
                  <a:lnTo>
                    <a:pt x="256" y="1443"/>
                  </a:lnTo>
                  <a:close/>
                  <a:moveTo>
                    <a:pt x="456" y="1454"/>
                  </a:moveTo>
                  <a:lnTo>
                    <a:pt x="457" y="1454"/>
                  </a:lnTo>
                  <a:lnTo>
                    <a:pt x="457" y="1453"/>
                  </a:lnTo>
                  <a:lnTo>
                    <a:pt x="457" y="1454"/>
                  </a:lnTo>
                  <a:lnTo>
                    <a:pt x="457" y="1453"/>
                  </a:lnTo>
                  <a:lnTo>
                    <a:pt x="457" y="1454"/>
                  </a:lnTo>
                  <a:lnTo>
                    <a:pt x="456" y="1454"/>
                  </a:lnTo>
                  <a:close/>
                  <a:moveTo>
                    <a:pt x="165" y="1493"/>
                  </a:moveTo>
                  <a:lnTo>
                    <a:pt x="165" y="1495"/>
                  </a:lnTo>
                  <a:lnTo>
                    <a:pt x="165" y="1497"/>
                  </a:lnTo>
                  <a:lnTo>
                    <a:pt x="163" y="1495"/>
                  </a:lnTo>
                  <a:lnTo>
                    <a:pt x="165" y="1495"/>
                  </a:lnTo>
                  <a:lnTo>
                    <a:pt x="163" y="1495"/>
                  </a:lnTo>
                  <a:lnTo>
                    <a:pt x="165" y="1495"/>
                  </a:lnTo>
                  <a:lnTo>
                    <a:pt x="165" y="1493"/>
                  </a:lnTo>
                  <a:close/>
                  <a:moveTo>
                    <a:pt x="181" y="1443"/>
                  </a:moveTo>
                  <a:lnTo>
                    <a:pt x="182" y="1443"/>
                  </a:lnTo>
                  <a:lnTo>
                    <a:pt x="182" y="1445"/>
                  </a:lnTo>
                  <a:lnTo>
                    <a:pt x="181" y="1445"/>
                  </a:lnTo>
                  <a:lnTo>
                    <a:pt x="181" y="1443"/>
                  </a:lnTo>
                  <a:lnTo>
                    <a:pt x="181" y="1441"/>
                  </a:lnTo>
                  <a:lnTo>
                    <a:pt x="182" y="1441"/>
                  </a:lnTo>
                  <a:lnTo>
                    <a:pt x="182" y="1443"/>
                  </a:lnTo>
                  <a:lnTo>
                    <a:pt x="181" y="1443"/>
                  </a:lnTo>
                  <a:close/>
                  <a:moveTo>
                    <a:pt x="256" y="940"/>
                  </a:moveTo>
                  <a:lnTo>
                    <a:pt x="256" y="942"/>
                  </a:lnTo>
                  <a:lnTo>
                    <a:pt x="257" y="942"/>
                  </a:lnTo>
                  <a:lnTo>
                    <a:pt x="256" y="944"/>
                  </a:lnTo>
                  <a:lnTo>
                    <a:pt x="256" y="942"/>
                  </a:lnTo>
                  <a:lnTo>
                    <a:pt x="256" y="940"/>
                  </a:lnTo>
                  <a:close/>
                  <a:moveTo>
                    <a:pt x="241" y="1454"/>
                  </a:moveTo>
                  <a:lnTo>
                    <a:pt x="241" y="1456"/>
                  </a:lnTo>
                  <a:lnTo>
                    <a:pt x="241" y="1454"/>
                  </a:lnTo>
                  <a:lnTo>
                    <a:pt x="241" y="1456"/>
                  </a:lnTo>
                  <a:lnTo>
                    <a:pt x="241" y="1458"/>
                  </a:lnTo>
                  <a:lnTo>
                    <a:pt x="241" y="1456"/>
                  </a:lnTo>
                  <a:lnTo>
                    <a:pt x="239" y="1456"/>
                  </a:lnTo>
                  <a:lnTo>
                    <a:pt x="241" y="1456"/>
                  </a:lnTo>
                  <a:lnTo>
                    <a:pt x="239" y="1456"/>
                  </a:lnTo>
                  <a:lnTo>
                    <a:pt x="241" y="1456"/>
                  </a:lnTo>
                  <a:lnTo>
                    <a:pt x="241" y="1454"/>
                  </a:lnTo>
                  <a:close/>
                  <a:moveTo>
                    <a:pt x="308" y="1464"/>
                  </a:moveTo>
                  <a:lnTo>
                    <a:pt x="306" y="1464"/>
                  </a:lnTo>
                  <a:lnTo>
                    <a:pt x="306" y="1462"/>
                  </a:lnTo>
                  <a:lnTo>
                    <a:pt x="308" y="1462"/>
                  </a:lnTo>
                  <a:lnTo>
                    <a:pt x="308" y="1464"/>
                  </a:lnTo>
                  <a:close/>
                  <a:moveTo>
                    <a:pt x="275" y="1419"/>
                  </a:moveTo>
                  <a:lnTo>
                    <a:pt x="277" y="1419"/>
                  </a:lnTo>
                  <a:lnTo>
                    <a:pt x="277" y="1420"/>
                  </a:lnTo>
                  <a:lnTo>
                    <a:pt x="275" y="1420"/>
                  </a:lnTo>
                  <a:lnTo>
                    <a:pt x="275" y="1419"/>
                  </a:lnTo>
                  <a:close/>
                  <a:moveTo>
                    <a:pt x="217" y="1432"/>
                  </a:moveTo>
                  <a:lnTo>
                    <a:pt x="218" y="1432"/>
                  </a:lnTo>
                  <a:lnTo>
                    <a:pt x="218" y="1433"/>
                  </a:lnTo>
                  <a:lnTo>
                    <a:pt x="217" y="1433"/>
                  </a:lnTo>
                  <a:lnTo>
                    <a:pt x="217" y="1432"/>
                  </a:lnTo>
                  <a:close/>
                  <a:moveTo>
                    <a:pt x="179" y="1066"/>
                  </a:moveTo>
                  <a:lnTo>
                    <a:pt x="181" y="1066"/>
                  </a:lnTo>
                  <a:lnTo>
                    <a:pt x="181" y="1067"/>
                  </a:lnTo>
                  <a:lnTo>
                    <a:pt x="179" y="1067"/>
                  </a:lnTo>
                  <a:lnTo>
                    <a:pt x="179" y="1066"/>
                  </a:lnTo>
                  <a:close/>
                  <a:moveTo>
                    <a:pt x="194" y="1475"/>
                  </a:moveTo>
                  <a:lnTo>
                    <a:pt x="192" y="1475"/>
                  </a:lnTo>
                  <a:lnTo>
                    <a:pt x="194" y="1474"/>
                  </a:lnTo>
                  <a:lnTo>
                    <a:pt x="192" y="1474"/>
                  </a:lnTo>
                  <a:lnTo>
                    <a:pt x="194" y="1474"/>
                  </a:lnTo>
                  <a:lnTo>
                    <a:pt x="194" y="1475"/>
                  </a:lnTo>
                  <a:close/>
                  <a:moveTo>
                    <a:pt x="314" y="1427"/>
                  </a:moveTo>
                  <a:lnTo>
                    <a:pt x="316" y="1427"/>
                  </a:lnTo>
                  <a:lnTo>
                    <a:pt x="314" y="1427"/>
                  </a:lnTo>
                  <a:lnTo>
                    <a:pt x="313" y="1428"/>
                  </a:lnTo>
                  <a:lnTo>
                    <a:pt x="313" y="1427"/>
                  </a:lnTo>
                  <a:lnTo>
                    <a:pt x="314" y="1427"/>
                  </a:lnTo>
                  <a:close/>
                  <a:moveTo>
                    <a:pt x="233" y="1443"/>
                  </a:moveTo>
                  <a:lnTo>
                    <a:pt x="234" y="1443"/>
                  </a:lnTo>
                  <a:lnTo>
                    <a:pt x="234" y="1445"/>
                  </a:lnTo>
                  <a:lnTo>
                    <a:pt x="234" y="1443"/>
                  </a:lnTo>
                  <a:lnTo>
                    <a:pt x="233" y="1445"/>
                  </a:lnTo>
                  <a:lnTo>
                    <a:pt x="233" y="1443"/>
                  </a:lnTo>
                  <a:close/>
                  <a:moveTo>
                    <a:pt x="247" y="1380"/>
                  </a:moveTo>
                  <a:lnTo>
                    <a:pt x="249" y="1378"/>
                  </a:lnTo>
                  <a:lnTo>
                    <a:pt x="249" y="1380"/>
                  </a:lnTo>
                  <a:lnTo>
                    <a:pt x="247" y="1380"/>
                  </a:lnTo>
                  <a:close/>
                  <a:moveTo>
                    <a:pt x="687" y="1334"/>
                  </a:moveTo>
                  <a:lnTo>
                    <a:pt x="685" y="1334"/>
                  </a:lnTo>
                  <a:lnTo>
                    <a:pt x="685" y="1332"/>
                  </a:lnTo>
                  <a:lnTo>
                    <a:pt x="687" y="1334"/>
                  </a:lnTo>
                  <a:close/>
                  <a:moveTo>
                    <a:pt x="231" y="1420"/>
                  </a:moveTo>
                  <a:lnTo>
                    <a:pt x="231" y="1419"/>
                  </a:lnTo>
                  <a:lnTo>
                    <a:pt x="233" y="1419"/>
                  </a:lnTo>
                  <a:lnTo>
                    <a:pt x="233" y="1420"/>
                  </a:lnTo>
                  <a:lnTo>
                    <a:pt x="231" y="1420"/>
                  </a:lnTo>
                  <a:close/>
                  <a:moveTo>
                    <a:pt x="217" y="1495"/>
                  </a:moveTo>
                  <a:lnTo>
                    <a:pt x="215" y="1495"/>
                  </a:lnTo>
                  <a:lnTo>
                    <a:pt x="215" y="1493"/>
                  </a:lnTo>
                  <a:lnTo>
                    <a:pt x="217" y="1493"/>
                  </a:lnTo>
                  <a:lnTo>
                    <a:pt x="217" y="1495"/>
                  </a:lnTo>
                  <a:close/>
                  <a:moveTo>
                    <a:pt x="339" y="792"/>
                  </a:moveTo>
                  <a:lnTo>
                    <a:pt x="340" y="792"/>
                  </a:lnTo>
                  <a:lnTo>
                    <a:pt x="340" y="791"/>
                  </a:lnTo>
                  <a:lnTo>
                    <a:pt x="340" y="792"/>
                  </a:lnTo>
                  <a:lnTo>
                    <a:pt x="339" y="792"/>
                  </a:lnTo>
                  <a:close/>
                  <a:moveTo>
                    <a:pt x="189" y="1467"/>
                  </a:moveTo>
                  <a:lnTo>
                    <a:pt x="189" y="1469"/>
                  </a:lnTo>
                  <a:lnTo>
                    <a:pt x="187" y="1469"/>
                  </a:lnTo>
                  <a:lnTo>
                    <a:pt x="187" y="1467"/>
                  </a:lnTo>
                  <a:lnTo>
                    <a:pt x="189" y="1467"/>
                  </a:lnTo>
                  <a:close/>
                  <a:moveTo>
                    <a:pt x="205" y="1479"/>
                  </a:moveTo>
                  <a:lnTo>
                    <a:pt x="205" y="1480"/>
                  </a:lnTo>
                  <a:lnTo>
                    <a:pt x="204" y="1480"/>
                  </a:lnTo>
                  <a:lnTo>
                    <a:pt x="204" y="1479"/>
                  </a:lnTo>
                  <a:lnTo>
                    <a:pt x="205" y="1479"/>
                  </a:lnTo>
                  <a:close/>
                  <a:moveTo>
                    <a:pt x="191" y="1054"/>
                  </a:moveTo>
                  <a:lnTo>
                    <a:pt x="192" y="1054"/>
                  </a:lnTo>
                  <a:lnTo>
                    <a:pt x="192" y="1053"/>
                  </a:lnTo>
                  <a:lnTo>
                    <a:pt x="192" y="1054"/>
                  </a:lnTo>
                  <a:lnTo>
                    <a:pt x="192" y="1053"/>
                  </a:lnTo>
                  <a:lnTo>
                    <a:pt x="192" y="1054"/>
                  </a:lnTo>
                  <a:lnTo>
                    <a:pt x="191" y="1054"/>
                  </a:lnTo>
                  <a:close/>
                  <a:moveTo>
                    <a:pt x="345" y="1493"/>
                  </a:moveTo>
                  <a:lnTo>
                    <a:pt x="347" y="1493"/>
                  </a:lnTo>
                  <a:lnTo>
                    <a:pt x="348" y="1493"/>
                  </a:lnTo>
                  <a:lnTo>
                    <a:pt x="347" y="1493"/>
                  </a:lnTo>
                  <a:lnTo>
                    <a:pt x="345" y="1493"/>
                  </a:lnTo>
                  <a:lnTo>
                    <a:pt x="347" y="1493"/>
                  </a:lnTo>
                  <a:lnTo>
                    <a:pt x="345" y="1493"/>
                  </a:lnTo>
                  <a:close/>
                  <a:moveTo>
                    <a:pt x="168" y="1508"/>
                  </a:moveTo>
                  <a:lnTo>
                    <a:pt x="169" y="1508"/>
                  </a:lnTo>
                  <a:lnTo>
                    <a:pt x="169" y="1510"/>
                  </a:lnTo>
                  <a:lnTo>
                    <a:pt x="168" y="1510"/>
                  </a:lnTo>
                  <a:lnTo>
                    <a:pt x="168" y="1508"/>
                  </a:lnTo>
                  <a:lnTo>
                    <a:pt x="169" y="1508"/>
                  </a:lnTo>
                  <a:lnTo>
                    <a:pt x="168" y="1508"/>
                  </a:lnTo>
                  <a:close/>
                  <a:moveTo>
                    <a:pt x="483" y="1458"/>
                  </a:moveTo>
                  <a:lnTo>
                    <a:pt x="483" y="1459"/>
                  </a:lnTo>
                  <a:lnTo>
                    <a:pt x="482" y="1459"/>
                  </a:lnTo>
                  <a:lnTo>
                    <a:pt x="483" y="1459"/>
                  </a:lnTo>
                  <a:lnTo>
                    <a:pt x="483" y="1458"/>
                  </a:lnTo>
                  <a:close/>
                  <a:moveTo>
                    <a:pt x="578" y="1394"/>
                  </a:moveTo>
                  <a:lnTo>
                    <a:pt x="576" y="1394"/>
                  </a:lnTo>
                  <a:lnTo>
                    <a:pt x="578" y="1394"/>
                  </a:lnTo>
                  <a:lnTo>
                    <a:pt x="576" y="1394"/>
                  </a:lnTo>
                  <a:lnTo>
                    <a:pt x="576" y="1393"/>
                  </a:lnTo>
                  <a:lnTo>
                    <a:pt x="578" y="1393"/>
                  </a:lnTo>
                  <a:lnTo>
                    <a:pt x="578" y="1394"/>
                  </a:lnTo>
                  <a:close/>
                  <a:moveTo>
                    <a:pt x="184" y="1443"/>
                  </a:moveTo>
                  <a:lnTo>
                    <a:pt x="184" y="1445"/>
                  </a:lnTo>
                  <a:lnTo>
                    <a:pt x="184" y="1443"/>
                  </a:lnTo>
                  <a:lnTo>
                    <a:pt x="184" y="1445"/>
                  </a:lnTo>
                  <a:lnTo>
                    <a:pt x="182" y="1445"/>
                  </a:lnTo>
                  <a:lnTo>
                    <a:pt x="182" y="1443"/>
                  </a:lnTo>
                  <a:lnTo>
                    <a:pt x="184" y="1443"/>
                  </a:lnTo>
                  <a:close/>
                  <a:moveTo>
                    <a:pt x="246" y="1501"/>
                  </a:moveTo>
                  <a:lnTo>
                    <a:pt x="247" y="1501"/>
                  </a:lnTo>
                  <a:lnTo>
                    <a:pt x="247" y="1503"/>
                  </a:lnTo>
                  <a:lnTo>
                    <a:pt x="246" y="1503"/>
                  </a:lnTo>
                  <a:lnTo>
                    <a:pt x="246" y="1501"/>
                  </a:lnTo>
                  <a:close/>
                  <a:moveTo>
                    <a:pt x="199" y="1046"/>
                  </a:moveTo>
                  <a:lnTo>
                    <a:pt x="200" y="1046"/>
                  </a:lnTo>
                  <a:lnTo>
                    <a:pt x="200" y="1048"/>
                  </a:lnTo>
                  <a:lnTo>
                    <a:pt x="200" y="1049"/>
                  </a:lnTo>
                  <a:lnTo>
                    <a:pt x="200" y="1048"/>
                  </a:lnTo>
                  <a:lnTo>
                    <a:pt x="199" y="1048"/>
                  </a:lnTo>
                  <a:lnTo>
                    <a:pt x="199" y="1046"/>
                  </a:lnTo>
                  <a:close/>
                  <a:moveTo>
                    <a:pt x="410" y="1485"/>
                  </a:moveTo>
                  <a:lnTo>
                    <a:pt x="410" y="1487"/>
                  </a:lnTo>
                  <a:lnTo>
                    <a:pt x="410" y="1485"/>
                  </a:lnTo>
                  <a:lnTo>
                    <a:pt x="409" y="1485"/>
                  </a:lnTo>
                  <a:lnTo>
                    <a:pt x="410" y="1485"/>
                  </a:lnTo>
                  <a:close/>
                  <a:moveTo>
                    <a:pt x="265" y="1480"/>
                  </a:moveTo>
                  <a:lnTo>
                    <a:pt x="264" y="1480"/>
                  </a:lnTo>
                  <a:lnTo>
                    <a:pt x="265" y="1480"/>
                  </a:lnTo>
                  <a:close/>
                  <a:moveTo>
                    <a:pt x="257" y="1449"/>
                  </a:moveTo>
                  <a:lnTo>
                    <a:pt x="257" y="1448"/>
                  </a:lnTo>
                  <a:lnTo>
                    <a:pt x="256" y="1448"/>
                  </a:lnTo>
                  <a:lnTo>
                    <a:pt x="257" y="1448"/>
                  </a:lnTo>
                  <a:lnTo>
                    <a:pt x="259" y="1448"/>
                  </a:lnTo>
                  <a:lnTo>
                    <a:pt x="257" y="1448"/>
                  </a:lnTo>
                  <a:lnTo>
                    <a:pt x="257" y="1449"/>
                  </a:lnTo>
                  <a:lnTo>
                    <a:pt x="257" y="1448"/>
                  </a:lnTo>
                  <a:lnTo>
                    <a:pt x="257" y="1449"/>
                  </a:lnTo>
                  <a:close/>
                  <a:moveTo>
                    <a:pt x="335" y="1446"/>
                  </a:moveTo>
                  <a:lnTo>
                    <a:pt x="334" y="1446"/>
                  </a:lnTo>
                  <a:lnTo>
                    <a:pt x="334" y="1445"/>
                  </a:lnTo>
                  <a:lnTo>
                    <a:pt x="335" y="1445"/>
                  </a:lnTo>
                  <a:lnTo>
                    <a:pt x="335" y="1446"/>
                  </a:lnTo>
                  <a:close/>
                  <a:moveTo>
                    <a:pt x="277" y="1441"/>
                  </a:moveTo>
                  <a:lnTo>
                    <a:pt x="275" y="1441"/>
                  </a:lnTo>
                  <a:lnTo>
                    <a:pt x="277" y="1440"/>
                  </a:lnTo>
                  <a:lnTo>
                    <a:pt x="277" y="1441"/>
                  </a:lnTo>
                  <a:close/>
                  <a:moveTo>
                    <a:pt x="296" y="1472"/>
                  </a:moveTo>
                  <a:lnTo>
                    <a:pt x="296" y="1471"/>
                  </a:lnTo>
                  <a:lnTo>
                    <a:pt x="298" y="1472"/>
                  </a:lnTo>
                  <a:lnTo>
                    <a:pt x="296" y="1472"/>
                  </a:lnTo>
                  <a:close/>
                  <a:moveTo>
                    <a:pt x="293" y="1472"/>
                  </a:moveTo>
                  <a:lnTo>
                    <a:pt x="293" y="1471"/>
                  </a:lnTo>
                  <a:lnTo>
                    <a:pt x="295" y="1472"/>
                  </a:lnTo>
                  <a:lnTo>
                    <a:pt x="293" y="1472"/>
                  </a:lnTo>
                  <a:lnTo>
                    <a:pt x="291" y="1472"/>
                  </a:lnTo>
                  <a:lnTo>
                    <a:pt x="293" y="1472"/>
                  </a:lnTo>
                  <a:lnTo>
                    <a:pt x="295" y="1472"/>
                  </a:lnTo>
                  <a:lnTo>
                    <a:pt x="293" y="1472"/>
                  </a:lnTo>
                  <a:close/>
                  <a:moveTo>
                    <a:pt x="511" y="1419"/>
                  </a:moveTo>
                  <a:lnTo>
                    <a:pt x="509" y="1419"/>
                  </a:lnTo>
                  <a:lnTo>
                    <a:pt x="511" y="1419"/>
                  </a:lnTo>
                  <a:lnTo>
                    <a:pt x="511" y="1420"/>
                  </a:lnTo>
                  <a:lnTo>
                    <a:pt x="509" y="1420"/>
                  </a:lnTo>
                  <a:lnTo>
                    <a:pt x="511" y="1420"/>
                  </a:lnTo>
                  <a:lnTo>
                    <a:pt x="509" y="1420"/>
                  </a:lnTo>
                  <a:lnTo>
                    <a:pt x="509" y="1419"/>
                  </a:lnTo>
                  <a:lnTo>
                    <a:pt x="511" y="1419"/>
                  </a:lnTo>
                  <a:close/>
                  <a:moveTo>
                    <a:pt x="465" y="1454"/>
                  </a:moveTo>
                  <a:lnTo>
                    <a:pt x="465" y="1456"/>
                  </a:lnTo>
                  <a:lnTo>
                    <a:pt x="464" y="1456"/>
                  </a:lnTo>
                  <a:lnTo>
                    <a:pt x="465" y="1454"/>
                  </a:lnTo>
                  <a:lnTo>
                    <a:pt x="464" y="1454"/>
                  </a:lnTo>
                  <a:lnTo>
                    <a:pt x="465" y="1454"/>
                  </a:lnTo>
                  <a:close/>
                  <a:moveTo>
                    <a:pt x="247" y="1435"/>
                  </a:moveTo>
                  <a:lnTo>
                    <a:pt x="247" y="1436"/>
                  </a:lnTo>
                  <a:lnTo>
                    <a:pt x="247" y="1438"/>
                  </a:lnTo>
                  <a:lnTo>
                    <a:pt x="247" y="1436"/>
                  </a:lnTo>
                  <a:lnTo>
                    <a:pt x="247" y="1435"/>
                  </a:lnTo>
                  <a:lnTo>
                    <a:pt x="246" y="1435"/>
                  </a:lnTo>
                  <a:lnTo>
                    <a:pt x="247" y="1435"/>
                  </a:lnTo>
                  <a:close/>
                  <a:moveTo>
                    <a:pt x="191" y="1479"/>
                  </a:moveTo>
                  <a:lnTo>
                    <a:pt x="189" y="1479"/>
                  </a:lnTo>
                  <a:lnTo>
                    <a:pt x="189" y="1477"/>
                  </a:lnTo>
                  <a:lnTo>
                    <a:pt x="189" y="1475"/>
                  </a:lnTo>
                  <a:lnTo>
                    <a:pt x="189" y="1477"/>
                  </a:lnTo>
                  <a:lnTo>
                    <a:pt x="189" y="1479"/>
                  </a:lnTo>
                  <a:lnTo>
                    <a:pt x="191" y="1479"/>
                  </a:lnTo>
                  <a:close/>
                  <a:moveTo>
                    <a:pt x="373" y="1461"/>
                  </a:moveTo>
                  <a:lnTo>
                    <a:pt x="373" y="1462"/>
                  </a:lnTo>
                  <a:lnTo>
                    <a:pt x="374" y="1461"/>
                  </a:lnTo>
                  <a:lnTo>
                    <a:pt x="374" y="1462"/>
                  </a:lnTo>
                  <a:lnTo>
                    <a:pt x="373" y="1462"/>
                  </a:lnTo>
                  <a:lnTo>
                    <a:pt x="373" y="1461"/>
                  </a:lnTo>
                  <a:close/>
                  <a:moveTo>
                    <a:pt x="171" y="1506"/>
                  </a:moveTo>
                  <a:lnTo>
                    <a:pt x="171" y="1508"/>
                  </a:lnTo>
                  <a:lnTo>
                    <a:pt x="171" y="1506"/>
                  </a:lnTo>
                  <a:lnTo>
                    <a:pt x="169" y="1506"/>
                  </a:lnTo>
                  <a:lnTo>
                    <a:pt x="171" y="1506"/>
                  </a:lnTo>
                  <a:close/>
                  <a:moveTo>
                    <a:pt x="290" y="1438"/>
                  </a:moveTo>
                  <a:lnTo>
                    <a:pt x="290" y="1436"/>
                  </a:lnTo>
                  <a:lnTo>
                    <a:pt x="290" y="1438"/>
                  </a:lnTo>
                  <a:lnTo>
                    <a:pt x="291" y="1438"/>
                  </a:lnTo>
                  <a:lnTo>
                    <a:pt x="290" y="1438"/>
                  </a:lnTo>
                  <a:close/>
                  <a:moveTo>
                    <a:pt x="417" y="1480"/>
                  </a:moveTo>
                  <a:lnTo>
                    <a:pt x="418" y="1480"/>
                  </a:lnTo>
                  <a:lnTo>
                    <a:pt x="420" y="1480"/>
                  </a:lnTo>
                  <a:lnTo>
                    <a:pt x="418" y="1480"/>
                  </a:lnTo>
                  <a:lnTo>
                    <a:pt x="417" y="1480"/>
                  </a:lnTo>
                  <a:close/>
                  <a:moveTo>
                    <a:pt x="189" y="1440"/>
                  </a:moveTo>
                  <a:lnTo>
                    <a:pt x="191" y="1438"/>
                  </a:lnTo>
                  <a:lnTo>
                    <a:pt x="191" y="1440"/>
                  </a:lnTo>
                  <a:lnTo>
                    <a:pt x="189" y="1441"/>
                  </a:lnTo>
                  <a:lnTo>
                    <a:pt x="189" y="1440"/>
                  </a:lnTo>
                  <a:lnTo>
                    <a:pt x="189" y="1441"/>
                  </a:lnTo>
                  <a:lnTo>
                    <a:pt x="189" y="1440"/>
                  </a:lnTo>
                  <a:close/>
                  <a:moveTo>
                    <a:pt x="182" y="1446"/>
                  </a:moveTo>
                  <a:lnTo>
                    <a:pt x="184" y="1446"/>
                  </a:lnTo>
                  <a:lnTo>
                    <a:pt x="184" y="1448"/>
                  </a:lnTo>
                  <a:lnTo>
                    <a:pt x="184" y="1446"/>
                  </a:lnTo>
                  <a:lnTo>
                    <a:pt x="182" y="1446"/>
                  </a:lnTo>
                  <a:lnTo>
                    <a:pt x="182" y="1445"/>
                  </a:lnTo>
                  <a:lnTo>
                    <a:pt x="182" y="1446"/>
                  </a:lnTo>
                  <a:close/>
                  <a:moveTo>
                    <a:pt x="578" y="1362"/>
                  </a:moveTo>
                  <a:lnTo>
                    <a:pt x="578" y="1360"/>
                  </a:lnTo>
                  <a:lnTo>
                    <a:pt x="579" y="1362"/>
                  </a:lnTo>
                  <a:lnTo>
                    <a:pt x="578" y="1362"/>
                  </a:lnTo>
                  <a:close/>
                  <a:moveTo>
                    <a:pt x="238" y="1422"/>
                  </a:moveTo>
                  <a:lnTo>
                    <a:pt x="239" y="1423"/>
                  </a:lnTo>
                  <a:lnTo>
                    <a:pt x="238" y="1423"/>
                  </a:lnTo>
                  <a:lnTo>
                    <a:pt x="238" y="1422"/>
                  </a:lnTo>
                  <a:close/>
                  <a:moveTo>
                    <a:pt x="527" y="1427"/>
                  </a:moveTo>
                  <a:lnTo>
                    <a:pt x="527" y="1428"/>
                  </a:lnTo>
                  <a:lnTo>
                    <a:pt x="526" y="1428"/>
                  </a:lnTo>
                  <a:lnTo>
                    <a:pt x="526" y="1427"/>
                  </a:lnTo>
                  <a:lnTo>
                    <a:pt x="527" y="1427"/>
                  </a:lnTo>
                  <a:close/>
                  <a:moveTo>
                    <a:pt x="267" y="1480"/>
                  </a:moveTo>
                  <a:lnTo>
                    <a:pt x="267" y="1479"/>
                  </a:lnTo>
                  <a:lnTo>
                    <a:pt x="267" y="1480"/>
                  </a:lnTo>
                  <a:lnTo>
                    <a:pt x="267" y="1479"/>
                  </a:lnTo>
                  <a:lnTo>
                    <a:pt x="267" y="1480"/>
                  </a:lnTo>
                  <a:lnTo>
                    <a:pt x="269" y="1480"/>
                  </a:lnTo>
                  <a:lnTo>
                    <a:pt x="267" y="1480"/>
                  </a:lnTo>
                  <a:lnTo>
                    <a:pt x="269" y="1480"/>
                  </a:lnTo>
                  <a:lnTo>
                    <a:pt x="267" y="1480"/>
                  </a:lnTo>
                  <a:close/>
                  <a:moveTo>
                    <a:pt x="259" y="1453"/>
                  </a:moveTo>
                  <a:lnTo>
                    <a:pt x="259" y="1454"/>
                  </a:lnTo>
                  <a:lnTo>
                    <a:pt x="259" y="1453"/>
                  </a:lnTo>
                  <a:close/>
                  <a:moveTo>
                    <a:pt x="208" y="1501"/>
                  </a:moveTo>
                  <a:lnTo>
                    <a:pt x="210" y="1503"/>
                  </a:lnTo>
                  <a:lnTo>
                    <a:pt x="210" y="1501"/>
                  </a:lnTo>
                  <a:lnTo>
                    <a:pt x="210" y="1503"/>
                  </a:lnTo>
                  <a:lnTo>
                    <a:pt x="208" y="1503"/>
                  </a:lnTo>
                  <a:lnTo>
                    <a:pt x="210" y="1503"/>
                  </a:lnTo>
                  <a:lnTo>
                    <a:pt x="208" y="1503"/>
                  </a:lnTo>
                  <a:lnTo>
                    <a:pt x="210" y="1503"/>
                  </a:lnTo>
                  <a:lnTo>
                    <a:pt x="210" y="1505"/>
                  </a:lnTo>
                  <a:lnTo>
                    <a:pt x="210" y="1503"/>
                  </a:lnTo>
                  <a:lnTo>
                    <a:pt x="208" y="1503"/>
                  </a:lnTo>
                  <a:lnTo>
                    <a:pt x="208" y="1501"/>
                  </a:lnTo>
                  <a:close/>
                  <a:moveTo>
                    <a:pt x="121" y="1485"/>
                  </a:moveTo>
                  <a:lnTo>
                    <a:pt x="122" y="1485"/>
                  </a:lnTo>
                  <a:lnTo>
                    <a:pt x="121" y="1485"/>
                  </a:lnTo>
                  <a:lnTo>
                    <a:pt x="121" y="1484"/>
                  </a:lnTo>
                  <a:lnTo>
                    <a:pt x="121" y="1485"/>
                  </a:lnTo>
                  <a:close/>
                  <a:moveTo>
                    <a:pt x="368" y="701"/>
                  </a:moveTo>
                  <a:lnTo>
                    <a:pt x="368" y="703"/>
                  </a:lnTo>
                  <a:lnTo>
                    <a:pt x="366" y="703"/>
                  </a:lnTo>
                  <a:lnTo>
                    <a:pt x="366" y="701"/>
                  </a:lnTo>
                  <a:lnTo>
                    <a:pt x="366" y="703"/>
                  </a:lnTo>
                  <a:lnTo>
                    <a:pt x="366" y="701"/>
                  </a:lnTo>
                  <a:lnTo>
                    <a:pt x="366" y="700"/>
                  </a:lnTo>
                  <a:lnTo>
                    <a:pt x="368" y="701"/>
                  </a:lnTo>
                  <a:close/>
                  <a:moveTo>
                    <a:pt x="231" y="1438"/>
                  </a:moveTo>
                  <a:lnTo>
                    <a:pt x="233" y="1438"/>
                  </a:lnTo>
                  <a:lnTo>
                    <a:pt x="233" y="1440"/>
                  </a:lnTo>
                  <a:lnTo>
                    <a:pt x="231" y="1440"/>
                  </a:lnTo>
                  <a:lnTo>
                    <a:pt x="233" y="1440"/>
                  </a:lnTo>
                  <a:lnTo>
                    <a:pt x="231" y="1438"/>
                  </a:lnTo>
                  <a:close/>
                  <a:moveTo>
                    <a:pt x="251" y="1397"/>
                  </a:moveTo>
                  <a:lnTo>
                    <a:pt x="252" y="1397"/>
                  </a:lnTo>
                  <a:lnTo>
                    <a:pt x="251" y="1397"/>
                  </a:lnTo>
                  <a:lnTo>
                    <a:pt x="251" y="1396"/>
                  </a:lnTo>
                  <a:lnTo>
                    <a:pt x="251" y="1397"/>
                  </a:lnTo>
                  <a:close/>
                  <a:moveTo>
                    <a:pt x="366" y="1484"/>
                  </a:moveTo>
                  <a:lnTo>
                    <a:pt x="366" y="1482"/>
                  </a:lnTo>
                  <a:lnTo>
                    <a:pt x="366" y="1484"/>
                  </a:lnTo>
                  <a:close/>
                  <a:moveTo>
                    <a:pt x="187" y="1464"/>
                  </a:moveTo>
                  <a:lnTo>
                    <a:pt x="189" y="1464"/>
                  </a:lnTo>
                  <a:lnTo>
                    <a:pt x="189" y="1462"/>
                  </a:lnTo>
                  <a:lnTo>
                    <a:pt x="189" y="1464"/>
                  </a:lnTo>
                  <a:lnTo>
                    <a:pt x="189" y="1466"/>
                  </a:lnTo>
                  <a:lnTo>
                    <a:pt x="187" y="1466"/>
                  </a:lnTo>
                  <a:lnTo>
                    <a:pt x="187" y="1464"/>
                  </a:lnTo>
                  <a:lnTo>
                    <a:pt x="189" y="1464"/>
                  </a:lnTo>
                  <a:lnTo>
                    <a:pt x="187" y="1464"/>
                  </a:lnTo>
                  <a:close/>
                  <a:moveTo>
                    <a:pt x="677" y="1366"/>
                  </a:moveTo>
                  <a:lnTo>
                    <a:pt x="675" y="1366"/>
                  </a:lnTo>
                  <a:lnTo>
                    <a:pt x="677" y="1365"/>
                  </a:lnTo>
                  <a:lnTo>
                    <a:pt x="677" y="1366"/>
                  </a:lnTo>
                  <a:close/>
                  <a:moveTo>
                    <a:pt x="243" y="566"/>
                  </a:moveTo>
                  <a:lnTo>
                    <a:pt x="243" y="568"/>
                  </a:lnTo>
                  <a:lnTo>
                    <a:pt x="243" y="566"/>
                  </a:lnTo>
                  <a:lnTo>
                    <a:pt x="243" y="565"/>
                  </a:lnTo>
                  <a:lnTo>
                    <a:pt x="243" y="566"/>
                  </a:lnTo>
                  <a:close/>
                  <a:moveTo>
                    <a:pt x="213" y="1197"/>
                  </a:moveTo>
                  <a:lnTo>
                    <a:pt x="215" y="1199"/>
                  </a:lnTo>
                  <a:lnTo>
                    <a:pt x="213" y="1199"/>
                  </a:lnTo>
                  <a:lnTo>
                    <a:pt x="213" y="1197"/>
                  </a:lnTo>
                  <a:lnTo>
                    <a:pt x="213" y="1196"/>
                  </a:lnTo>
                  <a:lnTo>
                    <a:pt x="213" y="1197"/>
                  </a:lnTo>
                  <a:close/>
                  <a:moveTo>
                    <a:pt x="330" y="1440"/>
                  </a:moveTo>
                  <a:lnTo>
                    <a:pt x="332" y="1440"/>
                  </a:lnTo>
                  <a:lnTo>
                    <a:pt x="330" y="1440"/>
                  </a:lnTo>
                  <a:lnTo>
                    <a:pt x="330" y="1441"/>
                  </a:lnTo>
                  <a:lnTo>
                    <a:pt x="329" y="1441"/>
                  </a:lnTo>
                  <a:lnTo>
                    <a:pt x="330" y="1440"/>
                  </a:lnTo>
                  <a:close/>
                  <a:moveTo>
                    <a:pt x="265" y="1409"/>
                  </a:moveTo>
                  <a:lnTo>
                    <a:pt x="264" y="1409"/>
                  </a:lnTo>
                  <a:lnTo>
                    <a:pt x="265" y="1409"/>
                  </a:lnTo>
                  <a:lnTo>
                    <a:pt x="267" y="1409"/>
                  </a:lnTo>
                  <a:lnTo>
                    <a:pt x="265" y="1409"/>
                  </a:lnTo>
                  <a:close/>
                  <a:moveTo>
                    <a:pt x="282" y="1475"/>
                  </a:moveTo>
                  <a:lnTo>
                    <a:pt x="280" y="1475"/>
                  </a:lnTo>
                  <a:lnTo>
                    <a:pt x="282" y="1474"/>
                  </a:lnTo>
                  <a:lnTo>
                    <a:pt x="282" y="1475"/>
                  </a:lnTo>
                  <a:close/>
                  <a:moveTo>
                    <a:pt x="374" y="1427"/>
                  </a:moveTo>
                  <a:lnTo>
                    <a:pt x="373" y="1427"/>
                  </a:lnTo>
                  <a:lnTo>
                    <a:pt x="374" y="1425"/>
                  </a:lnTo>
                  <a:lnTo>
                    <a:pt x="376" y="1425"/>
                  </a:lnTo>
                  <a:lnTo>
                    <a:pt x="374" y="1425"/>
                  </a:lnTo>
                  <a:lnTo>
                    <a:pt x="374" y="1427"/>
                  </a:lnTo>
                  <a:close/>
                  <a:moveTo>
                    <a:pt x="526" y="1415"/>
                  </a:moveTo>
                  <a:lnTo>
                    <a:pt x="526" y="1417"/>
                  </a:lnTo>
                  <a:lnTo>
                    <a:pt x="526" y="1415"/>
                  </a:lnTo>
                  <a:lnTo>
                    <a:pt x="526" y="1417"/>
                  </a:lnTo>
                  <a:lnTo>
                    <a:pt x="526" y="1415"/>
                  </a:lnTo>
                  <a:lnTo>
                    <a:pt x="524" y="1415"/>
                  </a:lnTo>
                  <a:lnTo>
                    <a:pt x="526" y="1415"/>
                  </a:lnTo>
                  <a:lnTo>
                    <a:pt x="526" y="1414"/>
                  </a:lnTo>
                  <a:lnTo>
                    <a:pt x="526" y="1415"/>
                  </a:lnTo>
                  <a:close/>
                  <a:moveTo>
                    <a:pt x="165" y="1501"/>
                  </a:moveTo>
                  <a:lnTo>
                    <a:pt x="166" y="1501"/>
                  </a:lnTo>
                  <a:lnTo>
                    <a:pt x="168" y="1501"/>
                  </a:lnTo>
                  <a:lnTo>
                    <a:pt x="166" y="1501"/>
                  </a:lnTo>
                  <a:lnTo>
                    <a:pt x="166" y="1503"/>
                  </a:lnTo>
                  <a:lnTo>
                    <a:pt x="166" y="1501"/>
                  </a:lnTo>
                  <a:lnTo>
                    <a:pt x="165" y="1501"/>
                  </a:lnTo>
                  <a:lnTo>
                    <a:pt x="166" y="1501"/>
                  </a:lnTo>
                  <a:lnTo>
                    <a:pt x="165" y="1501"/>
                  </a:lnTo>
                  <a:close/>
                  <a:moveTo>
                    <a:pt x="261" y="931"/>
                  </a:moveTo>
                  <a:lnTo>
                    <a:pt x="262" y="931"/>
                  </a:lnTo>
                  <a:lnTo>
                    <a:pt x="262" y="932"/>
                  </a:lnTo>
                  <a:lnTo>
                    <a:pt x="261" y="931"/>
                  </a:lnTo>
                  <a:lnTo>
                    <a:pt x="262" y="932"/>
                  </a:lnTo>
                  <a:lnTo>
                    <a:pt x="261" y="931"/>
                  </a:lnTo>
                  <a:close/>
                  <a:moveTo>
                    <a:pt x="540" y="1406"/>
                  </a:moveTo>
                  <a:lnTo>
                    <a:pt x="542" y="1406"/>
                  </a:lnTo>
                  <a:lnTo>
                    <a:pt x="540" y="1407"/>
                  </a:lnTo>
                  <a:lnTo>
                    <a:pt x="540" y="1406"/>
                  </a:lnTo>
                  <a:lnTo>
                    <a:pt x="540" y="1407"/>
                  </a:lnTo>
                  <a:lnTo>
                    <a:pt x="540" y="1406"/>
                  </a:lnTo>
                  <a:close/>
                  <a:moveTo>
                    <a:pt x="251" y="1435"/>
                  </a:moveTo>
                  <a:lnTo>
                    <a:pt x="252" y="1435"/>
                  </a:lnTo>
                  <a:lnTo>
                    <a:pt x="254" y="1435"/>
                  </a:lnTo>
                  <a:lnTo>
                    <a:pt x="252" y="1435"/>
                  </a:lnTo>
                  <a:lnTo>
                    <a:pt x="252" y="1436"/>
                  </a:lnTo>
                  <a:lnTo>
                    <a:pt x="251" y="1436"/>
                  </a:lnTo>
                  <a:lnTo>
                    <a:pt x="252" y="1436"/>
                  </a:lnTo>
                  <a:lnTo>
                    <a:pt x="251" y="1435"/>
                  </a:lnTo>
                  <a:close/>
                  <a:moveTo>
                    <a:pt x="254" y="1401"/>
                  </a:moveTo>
                  <a:lnTo>
                    <a:pt x="256" y="1401"/>
                  </a:lnTo>
                  <a:lnTo>
                    <a:pt x="256" y="1402"/>
                  </a:lnTo>
                  <a:lnTo>
                    <a:pt x="254" y="1401"/>
                  </a:lnTo>
                  <a:lnTo>
                    <a:pt x="254" y="1402"/>
                  </a:lnTo>
                  <a:lnTo>
                    <a:pt x="254" y="1401"/>
                  </a:lnTo>
                  <a:close/>
                  <a:moveTo>
                    <a:pt x="345" y="1495"/>
                  </a:moveTo>
                  <a:lnTo>
                    <a:pt x="345" y="1497"/>
                  </a:lnTo>
                  <a:lnTo>
                    <a:pt x="343" y="1497"/>
                  </a:lnTo>
                  <a:lnTo>
                    <a:pt x="343" y="1495"/>
                  </a:lnTo>
                  <a:lnTo>
                    <a:pt x="345" y="1495"/>
                  </a:lnTo>
                  <a:close/>
                  <a:moveTo>
                    <a:pt x="212" y="1186"/>
                  </a:moveTo>
                  <a:lnTo>
                    <a:pt x="212" y="1184"/>
                  </a:lnTo>
                  <a:lnTo>
                    <a:pt x="212" y="1186"/>
                  </a:lnTo>
                  <a:lnTo>
                    <a:pt x="212" y="1184"/>
                  </a:lnTo>
                  <a:lnTo>
                    <a:pt x="213" y="1184"/>
                  </a:lnTo>
                  <a:lnTo>
                    <a:pt x="212" y="1184"/>
                  </a:lnTo>
                  <a:lnTo>
                    <a:pt x="213" y="1186"/>
                  </a:lnTo>
                  <a:lnTo>
                    <a:pt x="212" y="1188"/>
                  </a:lnTo>
                  <a:lnTo>
                    <a:pt x="212" y="1186"/>
                  </a:lnTo>
                  <a:close/>
                  <a:moveTo>
                    <a:pt x="342" y="1482"/>
                  </a:moveTo>
                  <a:lnTo>
                    <a:pt x="342" y="1480"/>
                  </a:lnTo>
                  <a:lnTo>
                    <a:pt x="342" y="1482"/>
                  </a:lnTo>
                  <a:lnTo>
                    <a:pt x="343" y="1482"/>
                  </a:lnTo>
                  <a:lnTo>
                    <a:pt x="343" y="1484"/>
                  </a:lnTo>
                  <a:lnTo>
                    <a:pt x="342" y="1482"/>
                  </a:lnTo>
                  <a:close/>
                  <a:moveTo>
                    <a:pt x="409" y="1482"/>
                  </a:moveTo>
                  <a:lnTo>
                    <a:pt x="407" y="1482"/>
                  </a:lnTo>
                  <a:lnTo>
                    <a:pt x="409" y="1482"/>
                  </a:lnTo>
                  <a:close/>
                  <a:moveTo>
                    <a:pt x="244" y="1420"/>
                  </a:moveTo>
                  <a:lnTo>
                    <a:pt x="246" y="1420"/>
                  </a:lnTo>
                  <a:lnTo>
                    <a:pt x="247" y="1420"/>
                  </a:lnTo>
                  <a:lnTo>
                    <a:pt x="247" y="1422"/>
                  </a:lnTo>
                  <a:lnTo>
                    <a:pt x="247" y="1420"/>
                  </a:lnTo>
                  <a:lnTo>
                    <a:pt x="246" y="1420"/>
                  </a:lnTo>
                  <a:lnTo>
                    <a:pt x="246" y="1422"/>
                  </a:lnTo>
                  <a:lnTo>
                    <a:pt x="246" y="1420"/>
                  </a:lnTo>
                  <a:lnTo>
                    <a:pt x="244" y="1420"/>
                  </a:lnTo>
                  <a:close/>
                  <a:moveTo>
                    <a:pt x="246" y="1508"/>
                  </a:moveTo>
                  <a:lnTo>
                    <a:pt x="244" y="1510"/>
                  </a:lnTo>
                  <a:lnTo>
                    <a:pt x="243" y="1508"/>
                  </a:lnTo>
                  <a:lnTo>
                    <a:pt x="244" y="1508"/>
                  </a:lnTo>
                  <a:lnTo>
                    <a:pt x="246" y="1508"/>
                  </a:lnTo>
                  <a:close/>
                  <a:moveTo>
                    <a:pt x="169" y="1529"/>
                  </a:moveTo>
                  <a:lnTo>
                    <a:pt x="171" y="1529"/>
                  </a:lnTo>
                  <a:lnTo>
                    <a:pt x="169" y="1529"/>
                  </a:lnTo>
                  <a:close/>
                  <a:moveTo>
                    <a:pt x="234" y="1371"/>
                  </a:moveTo>
                  <a:lnTo>
                    <a:pt x="233" y="1371"/>
                  </a:lnTo>
                  <a:lnTo>
                    <a:pt x="233" y="1370"/>
                  </a:lnTo>
                  <a:lnTo>
                    <a:pt x="234" y="1370"/>
                  </a:lnTo>
                  <a:lnTo>
                    <a:pt x="234" y="1371"/>
                  </a:lnTo>
                  <a:close/>
                  <a:moveTo>
                    <a:pt x="251" y="1381"/>
                  </a:moveTo>
                  <a:lnTo>
                    <a:pt x="252" y="1381"/>
                  </a:lnTo>
                  <a:lnTo>
                    <a:pt x="252" y="1383"/>
                  </a:lnTo>
                  <a:lnTo>
                    <a:pt x="252" y="1381"/>
                  </a:lnTo>
                  <a:lnTo>
                    <a:pt x="251" y="1381"/>
                  </a:lnTo>
                  <a:lnTo>
                    <a:pt x="251" y="1383"/>
                  </a:lnTo>
                  <a:lnTo>
                    <a:pt x="251" y="1381"/>
                  </a:lnTo>
                  <a:close/>
                  <a:moveTo>
                    <a:pt x="459" y="1458"/>
                  </a:moveTo>
                  <a:lnTo>
                    <a:pt x="459" y="1459"/>
                  </a:lnTo>
                  <a:lnTo>
                    <a:pt x="459" y="1458"/>
                  </a:lnTo>
                  <a:lnTo>
                    <a:pt x="461" y="1458"/>
                  </a:lnTo>
                  <a:lnTo>
                    <a:pt x="459" y="1458"/>
                  </a:lnTo>
                  <a:close/>
                  <a:moveTo>
                    <a:pt x="366" y="703"/>
                  </a:moveTo>
                  <a:lnTo>
                    <a:pt x="368" y="703"/>
                  </a:lnTo>
                  <a:lnTo>
                    <a:pt x="368" y="705"/>
                  </a:lnTo>
                  <a:lnTo>
                    <a:pt x="366" y="705"/>
                  </a:lnTo>
                  <a:lnTo>
                    <a:pt x="366" y="703"/>
                  </a:lnTo>
                  <a:close/>
                  <a:moveTo>
                    <a:pt x="127" y="1471"/>
                  </a:moveTo>
                  <a:lnTo>
                    <a:pt x="129" y="1471"/>
                  </a:lnTo>
                  <a:lnTo>
                    <a:pt x="129" y="1472"/>
                  </a:lnTo>
                  <a:lnTo>
                    <a:pt x="129" y="1471"/>
                  </a:lnTo>
                  <a:lnTo>
                    <a:pt x="127" y="1471"/>
                  </a:lnTo>
                  <a:close/>
                  <a:moveTo>
                    <a:pt x="654" y="1350"/>
                  </a:moveTo>
                  <a:lnTo>
                    <a:pt x="656" y="1350"/>
                  </a:lnTo>
                  <a:lnTo>
                    <a:pt x="657" y="1352"/>
                  </a:lnTo>
                  <a:lnTo>
                    <a:pt x="656" y="1352"/>
                  </a:lnTo>
                  <a:lnTo>
                    <a:pt x="656" y="1350"/>
                  </a:lnTo>
                  <a:lnTo>
                    <a:pt x="654" y="1350"/>
                  </a:lnTo>
                  <a:close/>
                  <a:moveTo>
                    <a:pt x="251" y="984"/>
                  </a:moveTo>
                  <a:lnTo>
                    <a:pt x="249" y="984"/>
                  </a:lnTo>
                  <a:lnTo>
                    <a:pt x="249" y="983"/>
                  </a:lnTo>
                  <a:lnTo>
                    <a:pt x="251" y="983"/>
                  </a:lnTo>
                  <a:lnTo>
                    <a:pt x="251" y="984"/>
                  </a:lnTo>
                  <a:close/>
                  <a:moveTo>
                    <a:pt x="381" y="1487"/>
                  </a:moveTo>
                  <a:lnTo>
                    <a:pt x="379" y="1487"/>
                  </a:lnTo>
                  <a:lnTo>
                    <a:pt x="381" y="1487"/>
                  </a:lnTo>
                  <a:lnTo>
                    <a:pt x="381" y="1485"/>
                  </a:lnTo>
                  <a:lnTo>
                    <a:pt x="381" y="1487"/>
                  </a:lnTo>
                  <a:close/>
                  <a:moveTo>
                    <a:pt x="247" y="1501"/>
                  </a:moveTo>
                  <a:lnTo>
                    <a:pt x="249" y="1503"/>
                  </a:lnTo>
                  <a:lnTo>
                    <a:pt x="247" y="1503"/>
                  </a:lnTo>
                  <a:lnTo>
                    <a:pt x="247" y="1501"/>
                  </a:lnTo>
                  <a:close/>
                  <a:moveTo>
                    <a:pt x="145" y="1040"/>
                  </a:moveTo>
                  <a:lnTo>
                    <a:pt x="145" y="1038"/>
                  </a:lnTo>
                  <a:lnTo>
                    <a:pt x="147" y="1038"/>
                  </a:lnTo>
                  <a:lnTo>
                    <a:pt x="147" y="1040"/>
                  </a:lnTo>
                  <a:lnTo>
                    <a:pt x="145" y="1040"/>
                  </a:lnTo>
                  <a:close/>
                  <a:moveTo>
                    <a:pt x="448" y="1471"/>
                  </a:moveTo>
                  <a:lnTo>
                    <a:pt x="448" y="1469"/>
                  </a:lnTo>
                  <a:lnTo>
                    <a:pt x="449" y="1469"/>
                  </a:lnTo>
                  <a:lnTo>
                    <a:pt x="448" y="1471"/>
                  </a:lnTo>
                  <a:close/>
                  <a:moveTo>
                    <a:pt x="239" y="1462"/>
                  </a:moveTo>
                  <a:lnTo>
                    <a:pt x="238" y="1464"/>
                  </a:lnTo>
                  <a:lnTo>
                    <a:pt x="238" y="1462"/>
                  </a:lnTo>
                  <a:lnTo>
                    <a:pt x="239" y="1462"/>
                  </a:lnTo>
                  <a:close/>
                  <a:moveTo>
                    <a:pt x="682" y="1342"/>
                  </a:moveTo>
                  <a:lnTo>
                    <a:pt x="683" y="1342"/>
                  </a:lnTo>
                  <a:lnTo>
                    <a:pt x="682" y="1342"/>
                  </a:lnTo>
                  <a:lnTo>
                    <a:pt x="682" y="1344"/>
                  </a:lnTo>
                  <a:lnTo>
                    <a:pt x="682" y="1342"/>
                  </a:lnTo>
                  <a:close/>
                  <a:moveTo>
                    <a:pt x="311" y="654"/>
                  </a:moveTo>
                  <a:lnTo>
                    <a:pt x="311" y="652"/>
                  </a:lnTo>
                  <a:lnTo>
                    <a:pt x="311" y="654"/>
                  </a:lnTo>
                  <a:lnTo>
                    <a:pt x="313" y="654"/>
                  </a:lnTo>
                  <a:lnTo>
                    <a:pt x="311" y="654"/>
                  </a:lnTo>
                  <a:close/>
                  <a:moveTo>
                    <a:pt x="187" y="1445"/>
                  </a:moveTo>
                  <a:lnTo>
                    <a:pt x="189" y="1445"/>
                  </a:lnTo>
                  <a:lnTo>
                    <a:pt x="187" y="1445"/>
                  </a:lnTo>
                  <a:lnTo>
                    <a:pt x="189" y="1445"/>
                  </a:lnTo>
                  <a:lnTo>
                    <a:pt x="189" y="1446"/>
                  </a:lnTo>
                  <a:lnTo>
                    <a:pt x="187" y="1446"/>
                  </a:lnTo>
                  <a:lnTo>
                    <a:pt x="187" y="1445"/>
                  </a:lnTo>
                  <a:close/>
                  <a:moveTo>
                    <a:pt x="246" y="1436"/>
                  </a:moveTo>
                  <a:lnTo>
                    <a:pt x="246" y="1438"/>
                  </a:lnTo>
                  <a:lnTo>
                    <a:pt x="246" y="1436"/>
                  </a:lnTo>
                  <a:lnTo>
                    <a:pt x="246" y="1435"/>
                  </a:lnTo>
                  <a:lnTo>
                    <a:pt x="246" y="1436"/>
                  </a:lnTo>
                  <a:close/>
                  <a:moveTo>
                    <a:pt x="223" y="1485"/>
                  </a:moveTo>
                  <a:lnTo>
                    <a:pt x="221" y="1485"/>
                  </a:lnTo>
                  <a:lnTo>
                    <a:pt x="221" y="1487"/>
                  </a:lnTo>
                  <a:lnTo>
                    <a:pt x="221" y="1485"/>
                  </a:lnTo>
                  <a:lnTo>
                    <a:pt x="223" y="1485"/>
                  </a:lnTo>
                  <a:close/>
                  <a:moveTo>
                    <a:pt x="295" y="1417"/>
                  </a:moveTo>
                  <a:lnTo>
                    <a:pt x="296" y="1417"/>
                  </a:lnTo>
                  <a:lnTo>
                    <a:pt x="296" y="1419"/>
                  </a:lnTo>
                  <a:lnTo>
                    <a:pt x="295" y="1417"/>
                  </a:lnTo>
                  <a:close/>
                  <a:moveTo>
                    <a:pt x="205" y="1501"/>
                  </a:moveTo>
                  <a:lnTo>
                    <a:pt x="207" y="1501"/>
                  </a:lnTo>
                  <a:lnTo>
                    <a:pt x="207" y="1503"/>
                  </a:lnTo>
                  <a:lnTo>
                    <a:pt x="205" y="1503"/>
                  </a:lnTo>
                  <a:lnTo>
                    <a:pt x="205" y="1501"/>
                  </a:lnTo>
                  <a:close/>
                  <a:moveTo>
                    <a:pt x="202" y="1049"/>
                  </a:moveTo>
                  <a:lnTo>
                    <a:pt x="200" y="1048"/>
                  </a:lnTo>
                  <a:lnTo>
                    <a:pt x="202" y="1048"/>
                  </a:lnTo>
                  <a:lnTo>
                    <a:pt x="202" y="1049"/>
                  </a:lnTo>
                  <a:close/>
                  <a:moveTo>
                    <a:pt x="288" y="1488"/>
                  </a:moveTo>
                  <a:lnTo>
                    <a:pt x="288" y="1490"/>
                  </a:lnTo>
                  <a:lnTo>
                    <a:pt x="287" y="1490"/>
                  </a:lnTo>
                  <a:lnTo>
                    <a:pt x="287" y="1492"/>
                  </a:lnTo>
                  <a:lnTo>
                    <a:pt x="287" y="1490"/>
                  </a:lnTo>
                  <a:lnTo>
                    <a:pt x="287" y="1492"/>
                  </a:lnTo>
                  <a:lnTo>
                    <a:pt x="287" y="1490"/>
                  </a:lnTo>
                  <a:lnTo>
                    <a:pt x="288" y="1490"/>
                  </a:lnTo>
                  <a:lnTo>
                    <a:pt x="288" y="1488"/>
                  </a:lnTo>
                  <a:close/>
                  <a:moveTo>
                    <a:pt x="373" y="1438"/>
                  </a:moveTo>
                  <a:lnTo>
                    <a:pt x="373" y="1436"/>
                  </a:lnTo>
                  <a:lnTo>
                    <a:pt x="374" y="1436"/>
                  </a:lnTo>
                  <a:lnTo>
                    <a:pt x="373" y="1436"/>
                  </a:lnTo>
                  <a:lnTo>
                    <a:pt x="373" y="1438"/>
                  </a:lnTo>
                  <a:close/>
                  <a:moveTo>
                    <a:pt x="261" y="1493"/>
                  </a:moveTo>
                  <a:lnTo>
                    <a:pt x="262" y="1493"/>
                  </a:lnTo>
                  <a:lnTo>
                    <a:pt x="261" y="1495"/>
                  </a:lnTo>
                  <a:lnTo>
                    <a:pt x="262" y="1495"/>
                  </a:lnTo>
                  <a:lnTo>
                    <a:pt x="261" y="1495"/>
                  </a:lnTo>
                  <a:lnTo>
                    <a:pt x="261" y="1493"/>
                  </a:lnTo>
                  <a:close/>
                  <a:moveTo>
                    <a:pt x="233" y="1292"/>
                  </a:moveTo>
                  <a:lnTo>
                    <a:pt x="234" y="1292"/>
                  </a:lnTo>
                  <a:lnTo>
                    <a:pt x="234" y="1290"/>
                  </a:lnTo>
                  <a:lnTo>
                    <a:pt x="234" y="1292"/>
                  </a:lnTo>
                  <a:lnTo>
                    <a:pt x="236" y="1292"/>
                  </a:lnTo>
                  <a:lnTo>
                    <a:pt x="234" y="1292"/>
                  </a:lnTo>
                  <a:lnTo>
                    <a:pt x="233" y="1292"/>
                  </a:lnTo>
                  <a:close/>
                  <a:moveTo>
                    <a:pt x="298" y="656"/>
                  </a:moveTo>
                  <a:lnTo>
                    <a:pt x="298" y="654"/>
                  </a:lnTo>
                  <a:lnTo>
                    <a:pt x="298" y="656"/>
                  </a:lnTo>
                  <a:lnTo>
                    <a:pt x="300" y="656"/>
                  </a:lnTo>
                  <a:lnTo>
                    <a:pt x="298" y="656"/>
                  </a:lnTo>
                  <a:close/>
                  <a:moveTo>
                    <a:pt x="308" y="643"/>
                  </a:moveTo>
                  <a:lnTo>
                    <a:pt x="306" y="644"/>
                  </a:lnTo>
                  <a:lnTo>
                    <a:pt x="308" y="643"/>
                  </a:lnTo>
                  <a:lnTo>
                    <a:pt x="308" y="641"/>
                  </a:lnTo>
                  <a:lnTo>
                    <a:pt x="309" y="641"/>
                  </a:lnTo>
                  <a:lnTo>
                    <a:pt x="309" y="643"/>
                  </a:lnTo>
                  <a:lnTo>
                    <a:pt x="308" y="643"/>
                  </a:lnTo>
                  <a:close/>
                  <a:moveTo>
                    <a:pt x="425" y="1479"/>
                  </a:moveTo>
                  <a:lnTo>
                    <a:pt x="426" y="1479"/>
                  </a:lnTo>
                  <a:lnTo>
                    <a:pt x="426" y="1480"/>
                  </a:lnTo>
                  <a:lnTo>
                    <a:pt x="426" y="1479"/>
                  </a:lnTo>
                  <a:lnTo>
                    <a:pt x="425" y="1479"/>
                  </a:lnTo>
                  <a:close/>
                  <a:moveTo>
                    <a:pt x="148" y="1456"/>
                  </a:moveTo>
                  <a:lnTo>
                    <a:pt x="148" y="1454"/>
                  </a:lnTo>
                  <a:lnTo>
                    <a:pt x="148" y="1456"/>
                  </a:lnTo>
                  <a:close/>
                  <a:moveTo>
                    <a:pt x="422" y="1487"/>
                  </a:moveTo>
                  <a:lnTo>
                    <a:pt x="423" y="1487"/>
                  </a:lnTo>
                  <a:lnTo>
                    <a:pt x="422" y="1487"/>
                  </a:lnTo>
                  <a:lnTo>
                    <a:pt x="423" y="1487"/>
                  </a:lnTo>
                  <a:lnTo>
                    <a:pt x="423" y="1485"/>
                  </a:lnTo>
                  <a:lnTo>
                    <a:pt x="423" y="1487"/>
                  </a:lnTo>
                  <a:lnTo>
                    <a:pt x="425" y="1487"/>
                  </a:lnTo>
                  <a:lnTo>
                    <a:pt x="423" y="1487"/>
                  </a:lnTo>
                  <a:lnTo>
                    <a:pt x="422" y="1487"/>
                  </a:lnTo>
                  <a:close/>
                  <a:moveTo>
                    <a:pt x="274" y="1428"/>
                  </a:moveTo>
                  <a:lnTo>
                    <a:pt x="275" y="1428"/>
                  </a:lnTo>
                  <a:lnTo>
                    <a:pt x="275" y="1430"/>
                  </a:lnTo>
                  <a:lnTo>
                    <a:pt x="274" y="1430"/>
                  </a:lnTo>
                  <a:lnTo>
                    <a:pt x="275" y="1430"/>
                  </a:lnTo>
                  <a:lnTo>
                    <a:pt x="274" y="1430"/>
                  </a:lnTo>
                  <a:lnTo>
                    <a:pt x="274" y="1428"/>
                  </a:lnTo>
                  <a:close/>
                  <a:moveTo>
                    <a:pt x="285" y="1425"/>
                  </a:moveTo>
                  <a:lnTo>
                    <a:pt x="287" y="1423"/>
                  </a:lnTo>
                  <a:lnTo>
                    <a:pt x="287" y="1425"/>
                  </a:lnTo>
                  <a:lnTo>
                    <a:pt x="288" y="1425"/>
                  </a:lnTo>
                  <a:lnTo>
                    <a:pt x="287" y="1427"/>
                  </a:lnTo>
                  <a:lnTo>
                    <a:pt x="287" y="1425"/>
                  </a:lnTo>
                  <a:lnTo>
                    <a:pt x="287" y="1427"/>
                  </a:lnTo>
                  <a:lnTo>
                    <a:pt x="287" y="1425"/>
                  </a:lnTo>
                  <a:lnTo>
                    <a:pt x="285" y="1425"/>
                  </a:lnTo>
                  <a:close/>
                  <a:moveTo>
                    <a:pt x="327" y="1492"/>
                  </a:moveTo>
                  <a:lnTo>
                    <a:pt x="329" y="1492"/>
                  </a:lnTo>
                  <a:lnTo>
                    <a:pt x="330" y="1492"/>
                  </a:lnTo>
                  <a:lnTo>
                    <a:pt x="329" y="1492"/>
                  </a:lnTo>
                  <a:lnTo>
                    <a:pt x="327" y="1492"/>
                  </a:lnTo>
                  <a:close/>
                  <a:moveTo>
                    <a:pt x="665" y="1342"/>
                  </a:moveTo>
                  <a:lnTo>
                    <a:pt x="664" y="1342"/>
                  </a:lnTo>
                  <a:lnTo>
                    <a:pt x="664" y="1340"/>
                  </a:lnTo>
                  <a:lnTo>
                    <a:pt x="665" y="1340"/>
                  </a:lnTo>
                  <a:lnTo>
                    <a:pt x="665" y="1342"/>
                  </a:lnTo>
                  <a:close/>
                  <a:moveTo>
                    <a:pt x="264" y="1466"/>
                  </a:moveTo>
                  <a:lnTo>
                    <a:pt x="265" y="1466"/>
                  </a:lnTo>
                  <a:lnTo>
                    <a:pt x="264" y="1467"/>
                  </a:lnTo>
                  <a:lnTo>
                    <a:pt x="265" y="1467"/>
                  </a:lnTo>
                  <a:lnTo>
                    <a:pt x="264" y="1467"/>
                  </a:lnTo>
                  <a:lnTo>
                    <a:pt x="264" y="1466"/>
                  </a:lnTo>
                  <a:lnTo>
                    <a:pt x="262" y="1466"/>
                  </a:lnTo>
                  <a:lnTo>
                    <a:pt x="264" y="1466"/>
                  </a:lnTo>
                  <a:close/>
                  <a:moveTo>
                    <a:pt x="181" y="1440"/>
                  </a:moveTo>
                  <a:lnTo>
                    <a:pt x="182" y="1440"/>
                  </a:lnTo>
                  <a:lnTo>
                    <a:pt x="182" y="1441"/>
                  </a:lnTo>
                  <a:lnTo>
                    <a:pt x="181" y="1441"/>
                  </a:lnTo>
                  <a:lnTo>
                    <a:pt x="181" y="1440"/>
                  </a:lnTo>
                  <a:lnTo>
                    <a:pt x="181" y="1441"/>
                  </a:lnTo>
                  <a:lnTo>
                    <a:pt x="181" y="1440"/>
                  </a:lnTo>
                  <a:close/>
                  <a:moveTo>
                    <a:pt x="236" y="1005"/>
                  </a:moveTo>
                  <a:lnTo>
                    <a:pt x="236" y="1007"/>
                  </a:lnTo>
                  <a:lnTo>
                    <a:pt x="234" y="1007"/>
                  </a:lnTo>
                  <a:lnTo>
                    <a:pt x="234" y="1005"/>
                  </a:lnTo>
                  <a:lnTo>
                    <a:pt x="236" y="1005"/>
                  </a:lnTo>
                  <a:lnTo>
                    <a:pt x="234" y="1005"/>
                  </a:lnTo>
                  <a:lnTo>
                    <a:pt x="236" y="1005"/>
                  </a:lnTo>
                  <a:close/>
                  <a:moveTo>
                    <a:pt x="682" y="1349"/>
                  </a:moveTo>
                  <a:lnTo>
                    <a:pt x="682" y="1350"/>
                  </a:lnTo>
                  <a:lnTo>
                    <a:pt x="682" y="1349"/>
                  </a:lnTo>
                  <a:lnTo>
                    <a:pt x="682" y="1347"/>
                  </a:lnTo>
                  <a:lnTo>
                    <a:pt x="682" y="1349"/>
                  </a:lnTo>
                  <a:close/>
                  <a:moveTo>
                    <a:pt x="452" y="1464"/>
                  </a:moveTo>
                  <a:lnTo>
                    <a:pt x="454" y="1464"/>
                  </a:lnTo>
                  <a:lnTo>
                    <a:pt x="452" y="1464"/>
                  </a:lnTo>
                  <a:lnTo>
                    <a:pt x="452" y="1466"/>
                  </a:lnTo>
                  <a:lnTo>
                    <a:pt x="452" y="1464"/>
                  </a:lnTo>
                  <a:close/>
                  <a:moveTo>
                    <a:pt x="274" y="1443"/>
                  </a:moveTo>
                  <a:lnTo>
                    <a:pt x="275" y="1443"/>
                  </a:lnTo>
                  <a:lnTo>
                    <a:pt x="275" y="1445"/>
                  </a:lnTo>
                  <a:lnTo>
                    <a:pt x="275" y="1443"/>
                  </a:lnTo>
                  <a:lnTo>
                    <a:pt x="275" y="1445"/>
                  </a:lnTo>
                  <a:lnTo>
                    <a:pt x="274" y="1443"/>
                  </a:lnTo>
                  <a:close/>
                  <a:moveTo>
                    <a:pt x="438" y="1477"/>
                  </a:moveTo>
                  <a:lnTo>
                    <a:pt x="438" y="1479"/>
                  </a:lnTo>
                  <a:lnTo>
                    <a:pt x="436" y="1479"/>
                  </a:lnTo>
                  <a:lnTo>
                    <a:pt x="436" y="1477"/>
                  </a:lnTo>
                  <a:lnTo>
                    <a:pt x="438" y="1477"/>
                  </a:lnTo>
                  <a:close/>
                  <a:moveTo>
                    <a:pt x="264" y="1443"/>
                  </a:moveTo>
                  <a:lnTo>
                    <a:pt x="264" y="1441"/>
                  </a:lnTo>
                  <a:lnTo>
                    <a:pt x="265" y="1441"/>
                  </a:lnTo>
                  <a:lnTo>
                    <a:pt x="267" y="1441"/>
                  </a:lnTo>
                  <a:lnTo>
                    <a:pt x="265" y="1441"/>
                  </a:lnTo>
                  <a:lnTo>
                    <a:pt x="265" y="1443"/>
                  </a:lnTo>
                  <a:lnTo>
                    <a:pt x="264" y="1443"/>
                  </a:lnTo>
                  <a:close/>
                  <a:moveTo>
                    <a:pt x="304" y="892"/>
                  </a:moveTo>
                  <a:lnTo>
                    <a:pt x="306" y="893"/>
                  </a:lnTo>
                  <a:lnTo>
                    <a:pt x="304" y="893"/>
                  </a:lnTo>
                  <a:lnTo>
                    <a:pt x="304" y="892"/>
                  </a:lnTo>
                  <a:lnTo>
                    <a:pt x="303" y="892"/>
                  </a:lnTo>
                  <a:lnTo>
                    <a:pt x="304" y="892"/>
                  </a:lnTo>
                  <a:close/>
                  <a:moveTo>
                    <a:pt x="246" y="979"/>
                  </a:moveTo>
                  <a:lnTo>
                    <a:pt x="246" y="978"/>
                  </a:lnTo>
                  <a:lnTo>
                    <a:pt x="246" y="979"/>
                  </a:lnTo>
                  <a:lnTo>
                    <a:pt x="246" y="978"/>
                  </a:lnTo>
                  <a:lnTo>
                    <a:pt x="246" y="979"/>
                  </a:lnTo>
                  <a:lnTo>
                    <a:pt x="247" y="979"/>
                  </a:lnTo>
                  <a:lnTo>
                    <a:pt x="247" y="981"/>
                  </a:lnTo>
                  <a:lnTo>
                    <a:pt x="247" y="979"/>
                  </a:lnTo>
                  <a:lnTo>
                    <a:pt x="246" y="979"/>
                  </a:lnTo>
                  <a:close/>
                  <a:moveTo>
                    <a:pt x="290" y="1456"/>
                  </a:moveTo>
                  <a:lnTo>
                    <a:pt x="291" y="1456"/>
                  </a:lnTo>
                  <a:lnTo>
                    <a:pt x="290" y="1456"/>
                  </a:lnTo>
                  <a:lnTo>
                    <a:pt x="291" y="1456"/>
                  </a:lnTo>
                  <a:lnTo>
                    <a:pt x="290" y="1456"/>
                  </a:lnTo>
                  <a:lnTo>
                    <a:pt x="290" y="1458"/>
                  </a:lnTo>
                  <a:lnTo>
                    <a:pt x="290" y="1456"/>
                  </a:lnTo>
                  <a:close/>
                  <a:moveTo>
                    <a:pt x="296" y="1480"/>
                  </a:moveTo>
                  <a:lnTo>
                    <a:pt x="298" y="1480"/>
                  </a:lnTo>
                  <a:lnTo>
                    <a:pt x="298" y="1482"/>
                  </a:lnTo>
                  <a:lnTo>
                    <a:pt x="296" y="1482"/>
                  </a:lnTo>
                  <a:lnTo>
                    <a:pt x="296" y="1480"/>
                  </a:lnTo>
                  <a:close/>
                  <a:moveTo>
                    <a:pt x="238" y="999"/>
                  </a:moveTo>
                  <a:lnTo>
                    <a:pt x="236" y="999"/>
                  </a:lnTo>
                  <a:lnTo>
                    <a:pt x="236" y="997"/>
                  </a:lnTo>
                  <a:lnTo>
                    <a:pt x="236" y="999"/>
                  </a:lnTo>
                  <a:lnTo>
                    <a:pt x="238" y="999"/>
                  </a:lnTo>
                  <a:lnTo>
                    <a:pt x="238" y="997"/>
                  </a:lnTo>
                  <a:lnTo>
                    <a:pt x="238" y="999"/>
                  </a:lnTo>
                  <a:lnTo>
                    <a:pt x="239" y="999"/>
                  </a:lnTo>
                  <a:lnTo>
                    <a:pt x="238" y="999"/>
                  </a:lnTo>
                  <a:close/>
                  <a:moveTo>
                    <a:pt x="607" y="1370"/>
                  </a:moveTo>
                  <a:lnTo>
                    <a:pt x="609" y="1370"/>
                  </a:lnTo>
                  <a:lnTo>
                    <a:pt x="607" y="1370"/>
                  </a:lnTo>
                  <a:lnTo>
                    <a:pt x="607" y="1368"/>
                  </a:lnTo>
                  <a:lnTo>
                    <a:pt x="607" y="1370"/>
                  </a:lnTo>
                  <a:close/>
                  <a:moveTo>
                    <a:pt x="288" y="1420"/>
                  </a:moveTo>
                  <a:lnTo>
                    <a:pt x="288" y="1419"/>
                  </a:lnTo>
                  <a:lnTo>
                    <a:pt x="290" y="1419"/>
                  </a:lnTo>
                  <a:lnTo>
                    <a:pt x="290" y="1420"/>
                  </a:lnTo>
                  <a:lnTo>
                    <a:pt x="288" y="1420"/>
                  </a:lnTo>
                  <a:close/>
                  <a:moveTo>
                    <a:pt x="630" y="1358"/>
                  </a:moveTo>
                  <a:lnTo>
                    <a:pt x="631" y="1360"/>
                  </a:lnTo>
                  <a:lnTo>
                    <a:pt x="631" y="1362"/>
                  </a:lnTo>
                  <a:lnTo>
                    <a:pt x="631" y="1360"/>
                  </a:lnTo>
                  <a:lnTo>
                    <a:pt x="630" y="1360"/>
                  </a:lnTo>
                  <a:lnTo>
                    <a:pt x="630" y="1358"/>
                  </a:lnTo>
                  <a:close/>
                  <a:moveTo>
                    <a:pt x="194" y="1498"/>
                  </a:moveTo>
                  <a:lnTo>
                    <a:pt x="195" y="1498"/>
                  </a:lnTo>
                  <a:lnTo>
                    <a:pt x="195" y="1500"/>
                  </a:lnTo>
                  <a:lnTo>
                    <a:pt x="194" y="1500"/>
                  </a:lnTo>
                  <a:lnTo>
                    <a:pt x="194" y="1498"/>
                  </a:lnTo>
                  <a:close/>
                  <a:moveTo>
                    <a:pt x="217" y="1212"/>
                  </a:moveTo>
                  <a:lnTo>
                    <a:pt x="218" y="1212"/>
                  </a:lnTo>
                  <a:lnTo>
                    <a:pt x="217" y="1212"/>
                  </a:lnTo>
                  <a:lnTo>
                    <a:pt x="218" y="1214"/>
                  </a:lnTo>
                  <a:lnTo>
                    <a:pt x="217" y="1214"/>
                  </a:lnTo>
                  <a:lnTo>
                    <a:pt x="217" y="1212"/>
                  </a:lnTo>
                  <a:close/>
                  <a:moveTo>
                    <a:pt x="285" y="1440"/>
                  </a:moveTo>
                  <a:lnTo>
                    <a:pt x="287" y="1440"/>
                  </a:lnTo>
                  <a:lnTo>
                    <a:pt x="288" y="1440"/>
                  </a:lnTo>
                  <a:lnTo>
                    <a:pt x="287" y="1440"/>
                  </a:lnTo>
                  <a:lnTo>
                    <a:pt x="285" y="1440"/>
                  </a:lnTo>
                  <a:close/>
                  <a:moveTo>
                    <a:pt x="195" y="1072"/>
                  </a:moveTo>
                  <a:lnTo>
                    <a:pt x="195" y="1070"/>
                  </a:lnTo>
                  <a:lnTo>
                    <a:pt x="197" y="1070"/>
                  </a:lnTo>
                  <a:lnTo>
                    <a:pt x="197" y="1072"/>
                  </a:lnTo>
                  <a:lnTo>
                    <a:pt x="195" y="1072"/>
                  </a:lnTo>
                  <a:close/>
                  <a:moveTo>
                    <a:pt x="223" y="1488"/>
                  </a:moveTo>
                  <a:lnTo>
                    <a:pt x="221" y="1488"/>
                  </a:lnTo>
                  <a:lnTo>
                    <a:pt x="221" y="1487"/>
                  </a:lnTo>
                  <a:lnTo>
                    <a:pt x="223" y="1487"/>
                  </a:lnTo>
                  <a:lnTo>
                    <a:pt x="223" y="1488"/>
                  </a:lnTo>
                  <a:close/>
                  <a:moveTo>
                    <a:pt x="220" y="1464"/>
                  </a:moveTo>
                  <a:lnTo>
                    <a:pt x="220" y="1462"/>
                  </a:lnTo>
                  <a:lnTo>
                    <a:pt x="220" y="1464"/>
                  </a:lnTo>
                  <a:lnTo>
                    <a:pt x="221" y="1464"/>
                  </a:lnTo>
                  <a:lnTo>
                    <a:pt x="220" y="1466"/>
                  </a:lnTo>
                  <a:lnTo>
                    <a:pt x="220" y="1464"/>
                  </a:lnTo>
                  <a:close/>
                  <a:moveTo>
                    <a:pt x="230" y="1490"/>
                  </a:moveTo>
                  <a:lnTo>
                    <a:pt x="230" y="1492"/>
                  </a:lnTo>
                  <a:lnTo>
                    <a:pt x="231" y="1492"/>
                  </a:lnTo>
                  <a:lnTo>
                    <a:pt x="230" y="1492"/>
                  </a:lnTo>
                  <a:lnTo>
                    <a:pt x="230" y="1490"/>
                  </a:lnTo>
                  <a:close/>
                  <a:moveTo>
                    <a:pt x="352" y="1477"/>
                  </a:moveTo>
                  <a:lnTo>
                    <a:pt x="353" y="1477"/>
                  </a:lnTo>
                  <a:lnTo>
                    <a:pt x="352" y="1477"/>
                  </a:lnTo>
                  <a:close/>
                  <a:moveTo>
                    <a:pt x="604" y="1378"/>
                  </a:moveTo>
                  <a:lnTo>
                    <a:pt x="604" y="1376"/>
                  </a:lnTo>
                  <a:lnTo>
                    <a:pt x="604" y="1378"/>
                  </a:lnTo>
                  <a:lnTo>
                    <a:pt x="605" y="1378"/>
                  </a:lnTo>
                  <a:lnTo>
                    <a:pt x="605" y="1380"/>
                  </a:lnTo>
                  <a:lnTo>
                    <a:pt x="605" y="1378"/>
                  </a:lnTo>
                  <a:lnTo>
                    <a:pt x="605" y="1380"/>
                  </a:lnTo>
                  <a:lnTo>
                    <a:pt x="605" y="1378"/>
                  </a:lnTo>
                  <a:lnTo>
                    <a:pt x="604" y="1378"/>
                  </a:lnTo>
                  <a:close/>
                  <a:moveTo>
                    <a:pt x="184" y="1453"/>
                  </a:moveTo>
                  <a:lnTo>
                    <a:pt x="182" y="1453"/>
                  </a:lnTo>
                  <a:lnTo>
                    <a:pt x="184" y="1453"/>
                  </a:lnTo>
                  <a:lnTo>
                    <a:pt x="182" y="1451"/>
                  </a:lnTo>
                  <a:lnTo>
                    <a:pt x="184" y="1451"/>
                  </a:lnTo>
                  <a:lnTo>
                    <a:pt x="184" y="1453"/>
                  </a:lnTo>
                  <a:close/>
                  <a:moveTo>
                    <a:pt x="267" y="607"/>
                  </a:moveTo>
                  <a:lnTo>
                    <a:pt x="269" y="607"/>
                  </a:lnTo>
                  <a:lnTo>
                    <a:pt x="269" y="609"/>
                  </a:lnTo>
                  <a:lnTo>
                    <a:pt x="269" y="607"/>
                  </a:lnTo>
                  <a:lnTo>
                    <a:pt x="267" y="607"/>
                  </a:lnTo>
                  <a:close/>
                  <a:moveTo>
                    <a:pt x="316" y="1464"/>
                  </a:moveTo>
                  <a:lnTo>
                    <a:pt x="316" y="1462"/>
                  </a:lnTo>
                  <a:lnTo>
                    <a:pt x="317" y="1462"/>
                  </a:lnTo>
                  <a:lnTo>
                    <a:pt x="319" y="1464"/>
                  </a:lnTo>
                  <a:lnTo>
                    <a:pt x="317" y="1464"/>
                  </a:lnTo>
                  <a:lnTo>
                    <a:pt x="317" y="1462"/>
                  </a:lnTo>
                  <a:lnTo>
                    <a:pt x="317" y="1464"/>
                  </a:lnTo>
                  <a:lnTo>
                    <a:pt x="316" y="1464"/>
                  </a:lnTo>
                  <a:close/>
                  <a:moveTo>
                    <a:pt x="272" y="1427"/>
                  </a:moveTo>
                  <a:lnTo>
                    <a:pt x="274" y="1427"/>
                  </a:lnTo>
                  <a:lnTo>
                    <a:pt x="274" y="1428"/>
                  </a:lnTo>
                  <a:lnTo>
                    <a:pt x="272" y="1428"/>
                  </a:lnTo>
                  <a:lnTo>
                    <a:pt x="272" y="1427"/>
                  </a:lnTo>
                  <a:close/>
                  <a:moveTo>
                    <a:pt x="291" y="1440"/>
                  </a:moveTo>
                  <a:lnTo>
                    <a:pt x="293" y="1440"/>
                  </a:lnTo>
                  <a:lnTo>
                    <a:pt x="295" y="1440"/>
                  </a:lnTo>
                  <a:lnTo>
                    <a:pt x="293" y="1440"/>
                  </a:lnTo>
                  <a:lnTo>
                    <a:pt x="293" y="1441"/>
                  </a:lnTo>
                  <a:lnTo>
                    <a:pt x="293" y="1440"/>
                  </a:lnTo>
                  <a:lnTo>
                    <a:pt x="291" y="1440"/>
                  </a:lnTo>
                  <a:close/>
                  <a:moveTo>
                    <a:pt x="184" y="1466"/>
                  </a:moveTo>
                  <a:lnTo>
                    <a:pt x="184" y="1464"/>
                  </a:lnTo>
                  <a:lnTo>
                    <a:pt x="186" y="1464"/>
                  </a:lnTo>
                  <a:lnTo>
                    <a:pt x="186" y="1466"/>
                  </a:lnTo>
                  <a:lnTo>
                    <a:pt x="184" y="1466"/>
                  </a:lnTo>
                  <a:close/>
                  <a:moveTo>
                    <a:pt x="228" y="1012"/>
                  </a:moveTo>
                  <a:lnTo>
                    <a:pt x="228" y="1014"/>
                  </a:lnTo>
                  <a:lnTo>
                    <a:pt x="228" y="1012"/>
                  </a:lnTo>
                  <a:lnTo>
                    <a:pt x="228" y="1010"/>
                  </a:lnTo>
                  <a:lnTo>
                    <a:pt x="228" y="1012"/>
                  </a:lnTo>
                  <a:close/>
                  <a:moveTo>
                    <a:pt x="456" y="1466"/>
                  </a:moveTo>
                  <a:lnTo>
                    <a:pt x="457" y="1466"/>
                  </a:lnTo>
                  <a:lnTo>
                    <a:pt x="457" y="1467"/>
                  </a:lnTo>
                  <a:lnTo>
                    <a:pt x="457" y="1466"/>
                  </a:lnTo>
                  <a:lnTo>
                    <a:pt x="457" y="1467"/>
                  </a:lnTo>
                  <a:lnTo>
                    <a:pt x="456" y="1467"/>
                  </a:lnTo>
                  <a:lnTo>
                    <a:pt x="454" y="1467"/>
                  </a:lnTo>
                  <a:lnTo>
                    <a:pt x="456" y="1466"/>
                  </a:lnTo>
                  <a:close/>
                  <a:moveTo>
                    <a:pt x="267" y="1497"/>
                  </a:moveTo>
                  <a:lnTo>
                    <a:pt x="265" y="1497"/>
                  </a:lnTo>
                  <a:lnTo>
                    <a:pt x="265" y="1498"/>
                  </a:lnTo>
                  <a:lnTo>
                    <a:pt x="265" y="1497"/>
                  </a:lnTo>
                  <a:lnTo>
                    <a:pt x="265" y="1495"/>
                  </a:lnTo>
                  <a:lnTo>
                    <a:pt x="267" y="1497"/>
                  </a:lnTo>
                  <a:close/>
                  <a:moveTo>
                    <a:pt x="280" y="1475"/>
                  </a:moveTo>
                  <a:lnTo>
                    <a:pt x="278" y="1475"/>
                  </a:lnTo>
                  <a:lnTo>
                    <a:pt x="278" y="1477"/>
                  </a:lnTo>
                  <a:lnTo>
                    <a:pt x="278" y="1475"/>
                  </a:lnTo>
                  <a:lnTo>
                    <a:pt x="278" y="1474"/>
                  </a:lnTo>
                  <a:lnTo>
                    <a:pt x="280" y="1474"/>
                  </a:lnTo>
                  <a:lnTo>
                    <a:pt x="280" y="1475"/>
                  </a:lnTo>
                  <a:close/>
                  <a:moveTo>
                    <a:pt x="317" y="591"/>
                  </a:moveTo>
                  <a:lnTo>
                    <a:pt x="317" y="589"/>
                  </a:lnTo>
                  <a:lnTo>
                    <a:pt x="319" y="589"/>
                  </a:lnTo>
                  <a:lnTo>
                    <a:pt x="317" y="591"/>
                  </a:lnTo>
                  <a:close/>
                  <a:moveTo>
                    <a:pt x="700" y="1334"/>
                  </a:moveTo>
                  <a:lnTo>
                    <a:pt x="698" y="1334"/>
                  </a:lnTo>
                  <a:lnTo>
                    <a:pt x="698" y="1332"/>
                  </a:lnTo>
                  <a:lnTo>
                    <a:pt x="700" y="1332"/>
                  </a:lnTo>
                  <a:lnTo>
                    <a:pt x="700" y="1334"/>
                  </a:lnTo>
                  <a:close/>
                  <a:moveTo>
                    <a:pt x="451" y="1469"/>
                  </a:moveTo>
                  <a:lnTo>
                    <a:pt x="452" y="1469"/>
                  </a:lnTo>
                  <a:lnTo>
                    <a:pt x="451" y="1469"/>
                  </a:lnTo>
                  <a:lnTo>
                    <a:pt x="452" y="1469"/>
                  </a:lnTo>
                  <a:lnTo>
                    <a:pt x="451" y="1469"/>
                  </a:lnTo>
                  <a:close/>
                  <a:moveTo>
                    <a:pt x="247" y="1414"/>
                  </a:moveTo>
                  <a:lnTo>
                    <a:pt x="247" y="1415"/>
                  </a:lnTo>
                  <a:lnTo>
                    <a:pt x="246" y="1415"/>
                  </a:lnTo>
                  <a:lnTo>
                    <a:pt x="247" y="1415"/>
                  </a:lnTo>
                  <a:lnTo>
                    <a:pt x="247" y="1414"/>
                  </a:lnTo>
                  <a:close/>
                  <a:moveTo>
                    <a:pt x="483" y="1446"/>
                  </a:moveTo>
                  <a:lnTo>
                    <a:pt x="485" y="1446"/>
                  </a:lnTo>
                  <a:lnTo>
                    <a:pt x="485" y="1448"/>
                  </a:lnTo>
                  <a:lnTo>
                    <a:pt x="485" y="1446"/>
                  </a:lnTo>
                  <a:lnTo>
                    <a:pt x="485" y="1448"/>
                  </a:lnTo>
                  <a:lnTo>
                    <a:pt x="483" y="1448"/>
                  </a:lnTo>
                  <a:lnTo>
                    <a:pt x="485" y="1448"/>
                  </a:lnTo>
                  <a:lnTo>
                    <a:pt x="483" y="1446"/>
                  </a:lnTo>
                  <a:close/>
                  <a:moveTo>
                    <a:pt x="246" y="1378"/>
                  </a:moveTo>
                  <a:lnTo>
                    <a:pt x="246" y="1380"/>
                  </a:lnTo>
                  <a:lnTo>
                    <a:pt x="246" y="1378"/>
                  </a:lnTo>
                  <a:lnTo>
                    <a:pt x="244" y="1378"/>
                  </a:lnTo>
                  <a:lnTo>
                    <a:pt x="246" y="1378"/>
                  </a:lnTo>
                  <a:close/>
                  <a:moveTo>
                    <a:pt x="223" y="1438"/>
                  </a:moveTo>
                  <a:lnTo>
                    <a:pt x="223" y="1440"/>
                  </a:lnTo>
                  <a:lnTo>
                    <a:pt x="223" y="1438"/>
                  </a:lnTo>
                  <a:lnTo>
                    <a:pt x="221" y="1438"/>
                  </a:lnTo>
                  <a:lnTo>
                    <a:pt x="223" y="1438"/>
                  </a:lnTo>
                  <a:close/>
                  <a:moveTo>
                    <a:pt x="685" y="1339"/>
                  </a:moveTo>
                  <a:lnTo>
                    <a:pt x="685" y="1337"/>
                  </a:lnTo>
                  <a:lnTo>
                    <a:pt x="687" y="1337"/>
                  </a:lnTo>
                  <a:lnTo>
                    <a:pt x="687" y="1339"/>
                  </a:lnTo>
                  <a:lnTo>
                    <a:pt x="685" y="1339"/>
                  </a:lnTo>
                  <a:close/>
                  <a:moveTo>
                    <a:pt x="412" y="1490"/>
                  </a:moveTo>
                  <a:lnTo>
                    <a:pt x="412" y="1488"/>
                  </a:lnTo>
                  <a:lnTo>
                    <a:pt x="413" y="1488"/>
                  </a:lnTo>
                  <a:lnTo>
                    <a:pt x="413" y="1490"/>
                  </a:lnTo>
                  <a:lnTo>
                    <a:pt x="412" y="1490"/>
                  </a:lnTo>
                  <a:close/>
                  <a:moveTo>
                    <a:pt x="189" y="1134"/>
                  </a:moveTo>
                  <a:lnTo>
                    <a:pt x="191" y="1134"/>
                  </a:lnTo>
                  <a:lnTo>
                    <a:pt x="191" y="1136"/>
                  </a:lnTo>
                  <a:lnTo>
                    <a:pt x="189" y="1136"/>
                  </a:lnTo>
                  <a:lnTo>
                    <a:pt x="191" y="1136"/>
                  </a:lnTo>
                  <a:lnTo>
                    <a:pt x="189" y="1134"/>
                  </a:lnTo>
                  <a:close/>
                  <a:moveTo>
                    <a:pt x="303" y="1466"/>
                  </a:moveTo>
                  <a:lnTo>
                    <a:pt x="304" y="1466"/>
                  </a:lnTo>
                  <a:lnTo>
                    <a:pt x="303" y="1467"/>
                  </a:lnTo>
                  <a:lnTo>
                    <a:pt x="303" y="1466"/>
                  </a:lnTo>
                  <a:lnTo>
                    <a:pt x="304" y="1466"/>
                  </a:lnTo>
                  <a:lnTo>
                    <a:pt x="303" y="1466"/>
                  </a:lnTo>
                  <a:close/>
                  <a:moveTo>
                    <a:pt x="243" y="1290"/>
                  </a:moveTo>
                  <a:lnTo>
                    <a:pt x="244" y="1292"/>
                  </a:lnTo>
                  <a:lnTo>
                    <a:pt x="244" y="1290"/>
                  </a:lnTo>
                  <a:lnTo>
                    <a:pt x="244" y="1292"/>
                  </a:lnTo>
                  <a:lnTo>
                    <a:pt x="244" y="1290"/>
                  </a:lnTo>
                  <a:lnTo>
                    <a:pt x="244" y="1292"/>
                  </a:lnTo>
                  <a:lnTo>
                    <a:pt x="243" y="1292"/>
                  </a:lnTo>
                  <a:lnTo>
                    <a:pt x="243" y="1290"/>
                  </a:lnTo>
                  <a:lnTo>
                    <a:pt x="243" y="1292"/>
                  </a:lnTo>
                  <a:lnTo>
                    <a:pt x="244" y="1292"/>
                  </a:lnTo>
                  <a:lnTo>
                    <a:pt x="243" y="1290"/>
                  </a:lnTo>
                  <a:close/>
                  <a:moveTo>
                    <a:pt x="659" y="1350"/>
                  </a:moveTo>
                  <a:lnTo>
                    <a:pt x="659" y="1349"/>
                  </a:lnTo>
                  <a:lnTo>
                    <a:pt x="659" y="1350"/>
                  </a:lnTo>
                  <a:lnTo>
                    <a:pt x="659" y="1352"/>
                  </a:lnTo>
                  <a:lnTo>
                    <a:pt x="659" y="1350"/>
                  </a:lnTo>
                  <a:close/>
                  <a:moveTo>
                    <a:pt x="477" y="1443"/>
                  </a:moveTo>
                  <a:lnTo>
                    <a:pt x="478" y="1443"/>
                  </a:lnTo>
                  <a:lnTo>
                    <a:pt x="477" y="1443"/>
                  </a:lnTo>
                  <a:lnTo>
                    <a:pt x="477" y="1445"/>
                  </a:lnTo>
                  <a:lnTo>
                    <a:pt x="477" y="1443"/>
                  </a:lnTo>
                  <a:close/>
                  <a:moveTo>
                    <a:pt x="301" y="1503"/>
                  </a:moveTo>
                  <a:lnTo>
                    <a:pt x="300" y="1503"/>
                  </a:lnTo>
                  <a:lnTo>
                    <a:pt x="300" y="1501"/>
                  </a:lnTo>
                  <a:lnTo>
                    <a:pt x="301" y="1501"/>
                  </a:lnTo>
                  <a:lnTo>
                    <a:pt x="300" y="1501"/>
                  </a:lnTo>
                  <a:lnTo>
                    <a:pt x="301" y="1503"/>
                  </a:lnTo>
                  <a:close/>
                  <a:moveTo>
                    <a:pt x="300" y="643"/>
                  </a:moveTo>
                  <a:lnTo>
                    <a:pt x="301" y="644"/>
                  </a:lnTo>
                  <a:lnTo>
                    <a:pt x="300" y="643"/>
                  </a:lnTo>
                  <a:lnTo>
                    <a:pt x="301" y="644"/>
                  </a:lnTo>
                  <a:lnTo>
                    <a:pt x="300" y="644"/>
                  </a:lnTo>
                  <a:lnTo>
                    <a:pt x="300" y="643"/>
                  </a:lnTo>
                  <a:close/>
                  <a:moveTo>
                    <a:pt x="204" y="1049"/>
                  </a:moveTo>
                  <a:lnTo>
                    <a:pt x="204" y="1048"/>
                  </a:lnTo>
                  <a:lnTo>
                    <a:pt x="202" y="1048"/>
                  </a:lnTo>
                  <a:lnTo>
                    <a:pt x="204" y="1048"/>
                  </a:lnTo>
                  <a:lnTo>
                    <a:pt x="204" y="1049"/>
                  </a:lnTo>
                  <a:close/>
                  <a:moveTo>
                    <a:pt x="674" y="1340"/>
                  </a:moveTo>
                  <a:lnTo>
                    <a:pt x="672" y="1340"/>
                  </a:lnTo>
                  <a:lnTo>
                    <a:pt x="672" y="1339"/>
                  </a:lnTo>
                  <a:lnTo>
                    <a:pt x="674" y="1339"/>
                  </a:lnTo>
                  <a:lnTo>
                    <a:pt x="674" y="1340"/>
                  </a:lnTo>
                  <a:close/>
                  <a:moveTo>
                    <a:pt x="246" y="1430"/>
                  </a:moveTo>
                  <a:lnTo>
                    <a:pt x="244" y="1430"/>
                  </a:lnTo>
                  <a:lnTo>
                    <a:pt x="246" y="1428"/>
                  </a:lnTo>
                  <a:lnTo>
                    <a:pt x="246" y="1430"/>
                  </a:lnTo>
                  <a:close/>
                  <a:moveTo>
                    <a:pt x="231" y="1358"/>
                  </a:moveTo>
                  <a:lnTo>
                    <a:pt x="233" y="1358"/>
                  </a:lnTo>
                  <a:lnTo>
                    <a:pt x="233" y="1357"/>
                  </a:lnTo>
                  <a:lnTo>
                    <a:pt x="233" y="1358"/>
                  </a:lnTo>
                  <a:lnTo>
                    <a:pt x="231" y="1358"/>
                  </a:lnTo>
                  <a:close/>
                  <a:moveTo>
                    <a:pt x="373" y="1467"/>
                  </a:moveTo>
                  <a:lnTo>
                    <a:pt x="371" y="1467"/>
                  </a:lnTo>
                  <a:lnTo>
                    <a:pt x="373" y="1466"/>
                  </a:lnTo>
                  <a:lnTo>
                    <a:pt x="373" y="1467"/>
                  </a:lnTo>
                  <a:close/>
                  <a:moveTo>
                    <a:pt x="521" y="1423"/>
                  </a:moveTo>
                  <a:lnTo>
                    <a:pt x="522" y="1422"/>
                  </a:lnTo>
                  <a:lnTo>
                    <a:pt x="522" y="1423"/>
                  </a:lnTo>
                  <a:lnTo>
                    <a:pt x="521" y="1423"/>
                  </a:lnTo>
                  <a:close/>
                  <a:moveTo>
                    <a:pt x="301" y="1461"/>
                  </a:moveTo>
                  <a:lnTo>
                    <a:pt x="303" y="1461"/>
                  </a:lnTo>
                  <a:lnTo>
                    <a:pt x="303" y="1462"/>
                  </a:lnTo>
                  <a:lnTo>
                    <a:pt x="303" y="1461"/>
                  </a:lnTo>
                  <a:lnTo>
                    <a:pt x="301" y="1462"/>
                  </a:lnTo>
                  <a:lnTo>
                    <a:pt x="301" y="1461"/>
                  </a:lnTo>
                  <a:close/>
                  <a:moveTo>
                    <a:pt x="195" y="1454"/>
                  </a:moveTo>
                  <a:lnTo>
                    <a:pt x="195" y="1453"/>
                  </a:lnTo>
                  <a:lnTo>
                    <a:pt x="195" y="1454"/>
                  </a:lnTo>
                  <a:close/>
                  <a:moveTo>
                    <a:pt x="326" y="1462"/>
                  </a:moveTo>
                  <a:lnTo>
                    <a:pt x="324" y="1462"/>
                  </a:lnTo>
                  <a:lnTo>
                    <a:pt x="324" y="1464"/>
                  </a:lnTo>
                  <a:lnTo>
                    <a:pt x="322" y="1462"/>
                  </a:lnTo>
                  <a:lnTo>
                    <a:pt x="324" y="1462"/>
                  </a:lnTo>
                  <a:lnTo>
                    <a:pt x="326" y="1462"/>
                  </a:lnTo>
                  <a:close/>
                  <a:moveTo>
                    <a:pt x="139" y="1464"/>
                  </a:moveTo>
                  <a:lnTo>
                    <a:pt x="140" y="1464"/>
                  </a:lnTo>
                  <a:lnTo>
                    <a:pt x="139" y="1466"/>
                  </a:lnTo>
                  <a:lnTo>
                    <a:pt x="140" y="1466"/>
                  </a:lnTo>
                  <a:lnTo>
                    <a:pt x="139" y="1467"/>
                  </a:lnTo>
                  <a:lnTo>
                    <a:pt x="139" y="1466"/>
                  </a:lnTo>
                  <a:lnTo>
                    <a:pt x="139" y="1464"/>
                  </a:lnTo>
                  <a:close/>
                  <a:moveTo>
                    <a:pt x="233" y="1353"/>
                  </a:moveTo>
                  <a:lnTo>
                    <a:pt x="231" y="1353"/>
                  </a:lnTo>
                  <a:lnTo>
                    <a:pt x="231" y="1352"/>
                  </a:lnTo>
                  <a:lnTo>
                    <a:pt x="233" y="1352"/>
                  </a:lnTo>
                  <a:lnTo>
                    <a:pt x="233" y="1353"/>
                  </a:lnTo>
                  <a:close/>
                  <a:moveTo>
                    <a:pt x="366" y="696"/>
                  </a:moveTo>
                  <a:lnTo>
                    <a:pt x="368" y="698"/>
                  </a:lnTo>
                  <a:lnTo>
                    <a:pt x="366" y="698"/>
                  </a:lnTo>
                  <a:lnTo>
                    <a:pt x="366" y="696"/>
                  </a:lnTo>
                  <a:close/>
                  <a:moveTo>
                    <a:pt x="234" y="1373"/>
                  </a:moveTo>
                  <a:lnTo>
                    <a:pt x="233" y="1373"/>
                  </a:lnTo>
                  <a:lnTo>
                    <a:pt x="234" y="1371"/>
                  </a:lnTo>
                  <a:lnTo>
                    <a:pt x="234" y="1373"/>
                  </a:lnTo>
                  <a:close/>
                  <a:moveTo>
                    <a:pt x="306" y="644"/>
                  </a:moveTo>
                  <a:lnTo>
                    <a:pt x="304" y="644"/>
                  </a:lnTo>
                  <a:lnTo>
                    <a:pt x="306" y="643"/>
                  </a:lnTo>
                  <a:lnTo>
                    <a:pt x="306" y="644"/>
                  </a:lnTo>
                  <a:close/>
                  <a:moveTo>
                    <a:pt x="119" y="1482"/>
                  </a:moveTo>
                  <a:lnTo>
                    <a:pt x="119" y="1484"/>
                  </a:lnTo>
                  <a:lnTo>
                    <a:pt x="119" y="1482"/>
                  </a:lnTo>
                  <a:lnTo>
                    <a:pt x="121" y="1482"/>
                  </a:lnTo>
                  <a:lnTo>
                    <a:pt x="121" y="1484"/>
                  </a:lnTo>
                  <a:lnTo>
                    <a:pt x="121" y="1482"/>
                  </a:lnTo>
                  <a:lnTo>
                    <a:pt x="119" y="1482"/>
                  </a:lnTo>
                  <a:close/>
                  <a:moveTo>
                    <a:pt x="343" y="1456"/>
                  </a:moveTo>
                  <a:lnTo>
                    <a:pt x="345" y="1456"/>
                  </a:lnTo>
                  <a:lnTo>
                    <a:pt x="345" y="1454"/>
                  </a:lnTo>
                  <a:lnTo>
                    <a:pt x="345" y="1456"/>
                  </a:lnTo>
                  <a:lnTo>
                    <a:pt x="343" y="1456"/>
                  </a:lnTo>
                  <a:close/>
                  <a:moveTo>
                    <a:pt x="187" y="1067"/>
                  </a:moveTo>
                  <a:lnTo>
                    <a:pt x="189" y="1067"/>
                  </a:lnTo>
                  <a:lnTo>
                    <a:pt x="189" y="1069"/>
                  </a:lnTo>
                  <a:lnTo>
                    <a:pt x="187" y="1069"/>
                  </a:lnTo>
                  <a:lnTo>
                    <a:pt x="187" y="1067"/>
                  </a:lnTo>
                  <a:close/>
                  <a:moveTo>
                    <a:pt x="290" y="1490"/>
                  </a:moveTo>
                  <a:lnTo>
                    <a:pt x="291" y="1490"/>
                  </a:lnTo>
                  <a:lnTo>
                    <a:pt x="290" y="1490"/>
                  </a:lnTo>
                  <a:lnTo>
                    <a:pt x="290" y="1492"/>
                  </a:lnTo>
                  <a:lnTo>
                    <a:pt x="290" y="1490"/>
                  </a:lnTo>
                  <a:lnTo>
                    <a:pt x="290" y="1488"/>
                  </a:lnTo>
                  <a:lnTo>
                    <a:pt x="290" y="1490"/>
                  </a:lnTo>
                  <a:close/>
                  <a:moveTo>
                    <a:pt x="483" y="1451"/>
                  </a:moveTo>
                  <a:lnTo>
                    <a:pt x="482" y="1449"/>
                  </a:lnTo>
                  <a:lnTo>
                    <a:pt x="483" y="1449"/>
                  </a:lnTo>
                  <a:lnTo>
                    <a:pt x="485" y="1449"/>
                  </a:lnTo>
                  <a:lnTo>
                    <a:pt x="483" y="1449"/>
                  </a:lnTo>
                  <a:lnTo>
                    <a:pt x="483" y="1451"/>
                  </a:lnTo>
                  <a:lnTo>
                    <a:pt x="483" y="1449"/>
                  </a:lnTo>
                  <a:lnTo>
                    <a:pt x="483" y="1451"/>
                  </a:lnTo>
                  <a:close/>
                  <a:moveTo>
                    <a:pt x="303" y="1451"/>
                  </a:moveTo>
                  <a:lnTo>
                    <a:pt x="303" y="1453"/>
                  </a:lnTo>
                  <a:lnTo>
                    <a:pt x="303" y="1451"/>
                  </a:lnTo>
                  <a:lnTo>
                    <a:pt x="304" y="1451"/>
                  </a:lnTo>
                  <a:lnTo>
                    <a:pt x="303" y="1451"/>
                  </a:lnTo>
                  <a:close/>
                  <a:moveTo>
                    <a:pt x="306" y="1484"/>
                  </a:moveTo>
                  <a:lnTo>
                    <a:pt x="304" y="1484"/>
                  </a:lnTo>
                  <a:lnTo>
                    <a:pt x="306" y="1484"/>
                  </a:lnTo>
                  <a:close/>
                  <a:moveTo>
                    <a:pt x="278" y="1406"/>
                  </a:moveTo>
                  <a:lnTo>
                    <a:pt x="280" y="1406"/>
                  </a:lnTo>
                  <a:lnTo>
                    <a:pt x="280" y="1407"/>
                  </a:lnTo>
                  <a:lnTo>
                    <a:pt x="280" y="1406"/>
                  </a:lnTo>
                  <a:lnTo>
                    <a:pt x="278" y="1406"/>
                  </a:lnTo>
                  <a:lnTo>
                    <a:pt x="280" y="1406"/>
                  </a:lnTo>
                  <a:lnTo>
                    <a:pt x="278" y="1406"/>
                  </a:lnTo>
                  <a:close/>
                  <a:moveTo>
                    <a:pt x="207" y="1165"/>
                  </a:moveTo>
                  <a:lnTo>
                    <a:pt x="207" y="1163"/>
                  </a:lnTo>
                  <a:lnTo>
                    <a:pt x="207" y="1165"/>
                  </a:lnTo>
                  <a:lnTo>
                    <a:pt x="207" y="1163"/>
                  </a:lnTo>
                  <a:lnTo>
                    <a:pt x="207" y="1166"/>
                  </a:lnTo>
                  <a:lnTo>
                    <a:pt x="207" y="1165"/>
                  </a:lnTo>
                  <a:lnTo>
                    <a:pt x="205" y="1166"/>
                  </a:lnTo>
                  <a:lnTo>
                    <a:pt x="205" y="1165"/>
                  </a:lnTo>
                  <a:lnTo>
                    <a:pt x="207" y="1165"/>
                  </a:lnTo>
                  <a:close/>
                  <a:moveTo>
                    <a:pt x="583" y="1366"/>
                  </a:moveTo>
                  <a:lnTo>
                    <a:pt x="581" y="1366"/>
                  </a:lnTo>
                  <a:lnTo>
                    <a:pt x="583" y="1366"/>
                  </a:lnTo>
                  <a:lnTo>
                    <a:pt x="581" y="1365"/>
                  </a:lnTo>
                  <a:lnTo>
                    <a:pt x="583" y="1365"/>
                  </a:lnTo>
                  <a:lnTo>
                    <a:pt x="583" y="1366"/>
                  </a:lnTo>
                  <a:close/>
                  <a:moveTo>
                    <a:pt x="179" y="1080"/>
                  </a:moveTo>
                  <a:lnTo>
                    <a:pt x="181" y="1080"/>
                  </a:lnTo>
                  <a:lnTo>
                    <a:pt x="181" y="1082"/>
                  </a:lnTo>
                  <a:lnTo>
                    <a:pt x="181" y="1080"/>
                  </a:lnTo>
                  <a:lnTo>
                    <a:pt x="179" y="1082"/>
                  </a:lnTo>
                  <a:lnTo>
                    <a:pt x="181" y="1082"/>
                  </a:lnTo>
                  <a:lnTo>
                    <a:pt x="179" y="1082"/>
                  </a:lnTo>
                  <a:lnTo>
                    <a:pt x="179" y="1080"/>
                  </a:lnTo>
                  <a:close/>
                  <a:moveTo>
                    <a:pt x="314" y="1435"/>
                  </a:moveTo>
                  <a:lnTo>
                    <a:pt x="316" y="1435"/>
                  </a:lnTo>
                  <a:lnTo>
                    <a:pt x="316" y="1433"/>
                  </a:lnTo>
                  <a:lnTo>
                    <a:pt x="316" y="1435"/>
                  </a:lnTo>
                  <a:lnTo>
                    <a:pt x="317" y="1435"/>
                  </a:lnTo>
                  <a:lnTo>
                    <a:pt x="316" y="1435"/>
                  </a:lnTo>
                  <a:lnTo>
                    <a:pt x="314" y="1435"/>
                  </a:lnTo>
                  <a:close/>
                  <a:moveTo>
                    <a:pt x="316" y="1462"/>
                  </a:moveTo>
                  <a:lnTo>
                    <a:pt x="317" y="1461"/>
                  </a:lnTo>
                  <a:lnTo>
                    <a:pt x="317" y="1462"/>
                  </a:lnTo>
                  <a:lnTo>
                    <a:pt x="317" y="1461"/>
                  </a:lnTo>
                  <a:lnTo>
                    <a:pt x="317" y="1462"/>
                  </a:lnTo>
                  <a:lnTo>
                    <a:pt x="316" y="1462"/>
                  </a:lnTo>
                  <a:close/>
                  <a:moveTo>
                    <a:pt x="475" y="1446"/>
                  </a:moveTo>
                  <a:lnTo>
                    <a:pt x="475" y="1445"/>
                  </a:lnTo>
                  <a:lnTo>
                    <a:pt x="477" y="1445"/>
                  </a:lnTo>
                  <a:lnTo>
                    <a:pt x="477" y="1446"/>
                  </a:lnTo>
                  <a:lnTo>
                    <a:pt x="475" y="1446"/>
                  </a:lnTo>
                  <a:close/>
                  <a:moveTo>
                    <a:pt x="500" y="1436"/>
                  </a:moveTo>
                  <a:lnTo>
                    <a:pt x="500" y="1435"/>
                  </a:lnTo>
                  <a:lnTo>
                    <a:pt x="500" y="1436"/>
                  </a:lnTo>
                  <a:lnTo>
                    <a:pt x="498" y="1436"/>
                  </a:lnTo>
                  <a:lnTo>
                    <a:pt x="498" y="1435"/>
                  </a:lnTo>
                  <a:lnTo>
                    <a:pt x="500" y="1435"/>
                  </a:lnTo>
                  <a:lnTo>
                    <a:pt x="500" y="1436"/>
                  </a:lnTo>
                  <a:close/>
                  <a:moveTo>
                    <a:pt x="173" y="1508"/>
                  </a:moveTo>
                  <a:lnTo>
                    <a:pt x="171" y="1508"/>
                  </a:lnTo>
                  <a:lnTo>
                    <a:pt x="173" y="1508"/>
                  </a:lnTo>
                  <a:lnTo>
                    <a:pt x="171" y="1508"/>
                  </a:lnTo>
                  <a:lnTo>
                    <a:pt x="171" y="1506"/>
                  </a:lnTo>
                  <a:lnTo>
                    <a:pt x="173" y="1506"/>
                  </a:lnTo>
                  <a:lnTo>
                    <a:pt x="173" y="1508"/>
                  </a:lnTo>
                  <a:close/>
                  <a:moveTo>
                    <a:pt x="308" y="1498"/>
                  </a:moveTo>
                  <a:lnTo>
                    <a:pt x="308" y="1497"/>
                  </a:lnTo>
                  <a:lnTo>
                    <a:pt x="308" y="1498"/>
                  </a:lnTo>
                  <a:close/>
                  <a:moveTo>
                    <a:pt x="665" y="1366"/>
                  </a:moveTo>
                  <a:lnTo>
                    <a:pt x="667" y="1366"/>
                  </a:lnTo>
                  <a:lnTo>
                    <a:pt x="665" y="1368"/>
                  </a:lnTo>
                  <a:lnTo>
                    <a:pt x="665" y="1366"/>
                  </a:lnTo>
                  <a:close/>
                  <a:moveTo>
                    <a:pt x="243" y="1381"/>
                  </a:moveTo>
                  <a:lnTo>
                    <a:pt x="243" y="1380"/>
                  </a:lnTo>
                  <a:lnTo>
                    <a:pt x="244" y="1380"/>
                  </a:lnTo>
                  <a:lnTo>
                    <a:pt x="244" y="1381"/>
                  </a:lnTo>
                  <a:lnTo>
                    <a:pt x="243" y="1381"/>
                  </a:lnTo>
                  <a:close/>
                  <a:moveTo>
                    <a:pt x="194" y="1134"/>
                  </a:moveTo>
                  <a:lnTo>
                    <a:pt x="192" y="1134"/>
                  </a:lnTo>
                  <a:lnTo>
                    <a:pt x="192" y="1132"/>
                  </a:lnTo>
                  <a:lnTo>
                    <a:pt x="194" y="1132"/>
                  </a:lnTo>
                  <a:lnTo>
                    <a:pt x="192" y="1132"/>
                  </a:lnTo>
                  <a:lnTo>
                    <a:pt x="194" y="1132"/>
                  </a:lnTo>
                  <a:lnTo>
                    <a:pt x="194" y="1134"/>
                  </a:lnTo>
                  <a:close/>
                  <a:moveTo>
                    <a:pt x="241" y="1258"/>
                  </a:moveTo>
                  <a:lnTo>
                    <a:pt x="243" y="1258"/>
                  </a:lnTo>
                  <a:lnTo>
                    <a:pt x="243" y="1259"/>
                  </a:lnTo>
                  <a:lnTo>
                    <a:pt x="241" y="1259"/>
                  </a:lnTo>
                  <a:lnTo>
                    <a:pt x="241" y="1258"/>
                  </a:lnTo>
                  <a:close/>
                  <a:moveTo>
                    <a:pt x="264" y="1410"/>
                  </a:moveTo>
                  <a:lnTo>
                    <a:pt x="265" y="1410"/>
                  </a:lnTo>
                  <a:lnTo>
                    <a:pt x="265" y="1409"/>
                  </a:lnTo>
                  <a:lnTo>
                    <a:pt x="265" y="1410"/>
                  </a:lnTo>
                  <a:lnTo>
                    <a:pt x="267" y="1410"/>
                  </a:lnTo>
                  <a:lnTo>
                    <a:pt x="265" y="1410"/>
                  </a:lnTo>
                  <a:lnTo>
                    <a:pt x="264" y="1410"/>
                  </a:lnTo>
                  <a:lnTo>
                    <a:pt x="265" y="1410"/>
                  </a:lnTo>
                  <a:lnTo>
                    <a:pt x="264" y="1410"/>
                  </a:lnTo>
                  <a:close/>
                  <a:moveTo>
                    <a:pt x="469" y="1456"/>
                  </a:moveTo>
                  <a:lnTo>
                    <a:pt x="470" y="1456"/>
                  </a:lnTo>
                  <a:lnTo>
                    <a:pt x="472" y="1456"/>
                  </a:lnTo>
                  <a:lnTo>
                    <a:pt x="470" y="1456"/>
                  </a:lnTo>
                  <a:lnTo>
                    <a:pt x="470" y="1458"/>
                  </a:lnTo>
                  <a:lnTo>
                    <a:pt x="469" y="1456"/>
                  </a:lnTo>
                  <a:lnTo>
                    <a:pt x="470" y="1456"/>
                  </a:lnTo>
                  <a:lnTo>
                    <a:pt x="469" y="1456"/>
                  </a:lnTo>
                  <a:close/>
                  <a:moveTo>
                    <a:pt x="217" y="1462"/>
                  </a:moveTo>
                  <a:lnTo>
                    <a:pt x="218" y="1462"/>
                  </a:lnTo>
                  <a:lnTo>
                    <a:pt x="218" y="1464"/>
                  </a:lnTo>
                  <a:lnTo>
                    <a:pt x="217" y="1464"/>
                  </a:lnTo>
                  <a:lnTo>
                    <a:pt x="217" y="1462"/>
                  </a:lnTo>
                  <a:close/>
                  <a:moveTo>
                    <a:pt x="581" y="1365"/>
                  </a:moveTo>
                  <a:lnTo>
                    <a:pt x="581" y="1363"/>
                  </a:lnTo>
                  <a:lnTo>
                    <a:pt x="583" y="1365"/>
                  </a:lnTo>
                  <a:lnTo>
                    <a:pt x="581" y="1365"/>
                  </a:lnTo>
                  <a:lnTo>
                    <a:pt x="583" y="1365"/>
                  </a:lnTo>
                  <a:lnTo>
                    <a:pt x="581" y="1365"/>
                  </a:lnTo>
                  <a:close/>
                  <a:moveTo>
                    <a:pt x="249" y="1446"/>
                  </a:moveTo>
                  <a:lnTo>
                    <a:pt x="249" y="1448"/>
                  </a:lnTo>
                  <a:lnTo>
                    <a:pt x="249" y="1446"/>
                  </a:lnTo>
                  <a:lnTo>
                    <a:pt x="249" y="1448"/>
                  </a:lnTo>
                  <a:lnTo>
                    <a:pt x="249" y="1446"/>
                  </a:lnTo>
                  <a:close/>
                  <a:moveTo>
                    <a:pt x="382" y="1456"/>
                  </a:moveTo>
                  <a:lnTo>
                    <a:pt x="381" y="1456"/>
                  </a:lnTo>
                  <a:lnTo>
                    <a:pt x="382" y="1456"/>
                  </a:lnTo>
                  <a:lnTo>
                    <a:pt x="381" y="1456"/>
                  </a:lnTo>
                  <a:lnTo>
                    <a:pt x="382" y="1456"/>
                  </a:lnTo>
                  <a:lnTo>
                    <a:pt x="382" y="1454"/>
                  </a:lnTo>
                  <a:lnTo>
                    <a:pt x="382" y="1456"/>
                  </a:lnTo>
                  <a:close/>
                  <a:moveTo>
                    <a:pt x="169" y="1474"/>
                  </a:moveTo>
                  <a:lnTo>
                    <a:pt x="169" y="1472"/>
                  </a:lnTo>
                  <a:lnTo>
                    <a:pt x="169" y="1474"/>
                  </a:lnTo>
                  <a:close/>
                  <a:moveTo>
                    <a:pt x="303" y="1495"/>
                  </a:moveTo>
                  <a:lnTo>
                    <a:pt x="301" y="1495"/>
                  </a:lnTo>
                  <a:lnTo>
                    <a:pt x="301" y="1493"/>
                  </a:lnTo>
                  <a:lnTo>
                    <a:pt x="303" y="1493"/>
                  </a:lnTo>
                  <a:lnTo>
                    <a:pt x="303" y="1495"/>
                  </a:lnTo>
                  <a:close/>
                  <a:moveTo>
                    <a:pt x="254" y="944"/>
                  </a:moveTo>
                  <a:lnTo>
                    <a:pt x="254" y="942"/>
                  </a:lnTo>
                  <a:lnTo>
                    <a:pt x="252" y="942"/>
                  </a:lnTo>
                  <a:lnTo>
                    <a:pt x="254" y="942"/>
                  </a:lnTo>
                  <a:lnTo>
                    <a:pt x="254" y="944"/>
                  </a:lnTo>
                  <a:close/>
                  <a:moveTo>
                    <a:pt x="584" y="1399"/>
                  </a:moveTo>
                  <a:lnTo>
                    <a:pt x="586" y="1401"/>
                  </a:lnTo>
                  <a:lnTo>
                    <a:pt x="584" y="1401"/>
                  </a:lnTo>
                  <a:lnTo>
                    <a:pt x="586" y="1401"/>
                  </a:lnTo>
                  <a:lnTo>
                    <a:pt x="584" y="1401"/>
                  </a:lnTo>
                  <a:lnTo>
                    <a:pt x="583" y="1401"/>
                  </a:lnTo>
                  <a:lnTo>
                    <a:pt x="584" y="1401"/>
                  </a:lnTo>
                  <a:lnTo>
                    <a:pt x="584" y="1399"/>
                  </a:lnTo>
                  <a:close/>
                  <a:moveTo>
                    <a:pt x="259" y="947"/>
                  </a:moveTo>
                  <a:lnTo>
                    <a:pt x="259" y="945"/>
                  </a:lnTo>
                  <a:lnTo>
                    <a:pt x="259" y="947"/>
                  </a:lnTo>
                  <a:lnTo>
                    <a:pt x="261" y="947"/>
                  </a:lnTo>
                  <a:lnTo>
                    <a:pt x="259" y="947"/>
                  </a:lnTo>
                  <a:close/>
                  <a:moveTo>
                    <a:pt x="313" y="1433"/>
                  </a:moveTo>
                  <a:lnTo>
                    <a:pt x="313" y="1435"/>
                  </a:lnTo>
                  <a:lnTo>
                    <a:pt x="311" y="1435"/>
                  </a:lnTo>
                  <a:lnTo>
                    <a:pt x="311" y="1433"/>
                  </a:lnTo>
                  <a:lnTo>
                    <a:pt x="313" y="1433"/>
                  </a:lnTo>
                  <a:close/>
                  <a:moveTo>
                    <a:pt x="274" y="1458"/>
                  </a:moveTo>
                  <a:lnTo>
                    <a:pt x="275" y="1458"/>
                  </a:lnTo>
                  <a:lnTo>
                    <a:pt x="275" y="1459"/>
                  </a:lnTo>
                  <a:lnTo>
                    <a:pt x="274" y="1458"/>
                  </a:lnTo>
                  <a:lnTo>
                    <a:pt x="275" y="1458"/>
                  </a:lnTo>
                  <a:lnTo>
                    <a:pt x="274" y="1458"/>
                  </a:lnTo>
                  <a:close/>
                  <a:moveTo>
                    <a:pt x="225" y="1430"/>
                  </a:moveTo>
                  <a:lnTo>
                    <a:pt x="225" y="1428"/>
                  </a:lnTo>
                  <a:lnTo>
                    <a:pt x="226" y="1428"/>
                  </a:lnTo>
                  <a:lnTo>
                    <a:pt x="226" y="1430"/>
                  </a:lnTo>
                  <a:lnTo>
                    <a:pt x="226" y="1428"/>
                  </a:lnTo>
                  <a:lnTo>
                    <a:pt x="226" y="1430"/>
                  </a:lnTo>
                  <a:lnTo>
                    <a:pt x="225" y="1430"/>
                  </a:lnTo>
                  <a:close/>
                  <a:moveTo>
                    <a:pt x="285" y="1427"/>
                  </a:moveTo>
                  <a:lnTo>
                    <a:pt x="285" y="1425"/>
                  </a:lnTo>
                  <a:lnTo>
                    <a:pt x="287" y="1427"/>
                  </a:lnTo>
                  <a:lnTo>
                    <a:pt x="287" y="1425"/>
                  </a:lnTo>
                  <a:lnTo>
                    <a:pt x="287" y="1427"/>
                  </a:lnTo>
                  <a:lnTo>
                    <a:pt x="285" y="1427"/>
                  </a:lnTo>
                  <a:close/>
                  <a:moveTo>
                    <a:pt x="259" y="1427"/>
                  </a:moveTo>
                  <a:lnTo>
                    <a:pt x="259" y="1425"/>
                  </a:lnTo>
                  <a:lnTo>
                    <a:pt x="259" y="1427"/>
                  </a:lnTo>
                  <a:lnTo>
                    <a:pt x="257" y="1427"/>
                  </a:lnTo>
                  <a:lnTo>
                    <a:pt x="259" y="1427"/>
                  </a:lnTo>
                  <a:lnTo>
                    <a:pt x="257" y="1427"/>
                  </a:lnTo>
                  <a:lnTo>
                    <a:pt x="259" y="1427"/>
                  </a:lnTo>
                  <a:lnTo>
                    <a:pt x="257" y="1427"/>
                  </a:lnTo>
                  <a:lnTo>
                    <a:pt x="259" y="1427"/>
                  </a:lnTo>
                  <a:close/>
                  <a:moveTo>
                    <a:pt x="226" y="1430"/>
                  </a:moveTo>
                  <a:lnTo>
                    <a:pt x="226" y="1432"/>
                  </a:lnTo>
                  <a:lnTo>
                    <a:pt x="226" y="1430"/>
                  </a:lnTo>
                  <a:close/>
                  <a:moveTo>
                    <a:pt x="462" y="1453"/>
                  </a:moveTo>
                  <a:lnTo>
                    <a:pt x="462" y="1454"/>
                  </a:lnTo>
                  <a:lnTo>
                    <a:pt x="461" y="1454"/>
                  </a:lnTo>
                  <a:lnTo>
                    <a:pt x="461" y="1453"/>
                  </a:lnTo>
                  <a:lnTo>
                    <a:pt x="462" y="1453"/>
                  </a:lnTo>
                  <a:close/>
                  <a:moveTo>
                    <a:pt x="431" y="1482"/>
                  </a:moveTo>
                  <a:lnTo>
                    <a:pt x="430" y="1482"/>
                  </a:lnTo>
                  <a:lnTo>
                    <a:pt x="431" y="1480"/>
                  </a:lnTo>
                  <a:lnTo>
                    <a:pt x="431" y="1482"/>
                  </a:lnTo>
                  <a:close/>
                  <a:moveTo>
                    <a:pt x="197" y="1505"/>
                  </a:moveTo>
                  <a:lnTo>
                    <a:pt x="197" y="1506"/>
                  </a:lnTo>
                  <a:lnTo>
                    <a:pt x="197" y="1505"/>
                  </a:lnTo>
                  <a:close/>
                  <a:moveTo>
                    <a:pt x="226" y="1464"/>
                  </a:moveTo>
                  <a:lnTo>
                    <a:pt x="225" y="1466"/>
                  </a:lnTo>
                  <a:lnTo>
                    <a:pt x="225" y="1464"/>
                  </a:lnTo>
                  <a:lnTo>
                    <a:pt x="226" y="1464"/>
                  </a:lnTo>
                  <a:close/>
                  <a:moveTo>
                    <a:pt x="366" y="1477"/>
                  </a:moveTo>
                  <a:lnTo>
                    <a:pt x="368" y="1477"/>
                  </a:lnTo>
                  <a:lnTo>
                    <a:pt x="368" y="1479"/>
                  </a:lnTo>
                  <a:lnTo>
                    <a:pt x="366" y="1477"/>
                  </a:lnTo>
                  <a:close/>
                  <a:moveTo>
                    <a:pt x="226" y="1015"/>
                  </a:moveTo>
                  <a:lnTo>
                    <a:pt x="228" y="1015"/>
                  </a:lnTo>
                  <a:lnTo>
                    <a:pt x="226" y="1015"/>
                  </a:lnTo>
                  <a:lnTo>
                    <a:pt x="226" y="1017"/>
                  </a:lnTo>
                  <a:lnTo>
                    <a:pt x="226" y="1015"/>
                  </a:lnTo>
                  <a:lnTo>
                    <a:pt x="226" y="1017"/>
                  </a:lnTo>
                  <a:lnTo>
                    <a:pt x="226" y="1015"/>
                  </a:lnTo>
                  <a:close/>
                  <a:moveTo>
                    <a:pt x="182" y="1090"/>
                  </a:moveTo>
                  <a:lnTo>
                    <a:pt x="182" y="1088"/>
                  </a:lnTo>
                  <a:lnTo>
                    <a:pt x="184" y="1090"/>
                  </a:lnTo>
                  <a:lnTo>
                    <a:pt x="184" y="1088"/>
                  </a:lnTo>
                  <a:lnTo>
                    <a:pt x="184" y="1090"/>
                  </a:lnTo>
                  <a:lnTo>
                    <a:pt x="182" y="1090"/>
                  </a:lnTo>
                  <a:close/>
                  <a:moveTo>
                    <a:pt x="197" y="1069"/>
                  </a:moveTo>
                  <a:lnTo>
                    <a:pt x="199" y="1069"/>
                  </a:lnTo>
                  <a:lnTo>
                    <a:pt x="199" y="1070"/>
                  </a:lnTo>
                  <a:lnTo>
                    <a:pt x="197" y="1070"/>
                  </a:lnTo>
                  <a:lnTo>
                    <a:pt x="197" y="1069"/>
                  </a:lnTo>
                  <a:close/>
                  <a:moveTo>
                    <a:pt x="244" y="971"/>
                  </a:moveTo>
                  <a:lnTo>
                    <a:pt x="246" y="973"/>
                  </a:lnTo>
                  <a:lnTo>
                    <a:pt x="244" y="973"/>
                  </a:lnTo>
                  <a:lnTo>
                    <a:pt x="244" y="971"/>
                  </a:lnTo>
                  <a:close/>
                  <a:moveTo>
                    <a:pt x="233" y="1443"/>
                  </a:moveTo>
                  <a:lnTo>
                    <a:pt x="233" y="1441"/>
                  </a:lnTo>
                  <a:lnTo>
                    <a:pt x="234" y="1441"/>
                  </a:lnTo>
                  <a:lnTo>
                    <a:pt x="234" y="1443"/>
                  </a:lnTo>
                  <a:lnTo>
                    <a:pt x="233" y="1443"/>
                  </a:lnTo>
                  <a:close/>
                  <a:moveTo>
                    <a:pt x="301" y="1500"/>
                  </a:moveTo>
                  <a:lnTo>
                    <a:pt x="303" y="1500"/>
                  </a:lnTo>
                  <a:lnTo>
                    <a:pt x="304" y="1498"/>
                  </a:lnTo>
                  <a:lnTo>
                    <a:pt x="304" y="1500"/>
                  </a:lnTo>
                  <a:lnTo>
                    <a:pt x="303" y="1500"/>
                  </a:lnTo>
                  <a:lnTo>
                    <a:pt x="301" y="1500"/>
                  </a:lnTo>
                  <a:close/>
                  <a:moveTo>
                    <a:pt x="454" y="1466"/>
                  </a:moveTo>
                  <a:lnTo>
                    <a:pt x="456" y="1466"/>
                  </a:lnTo>
                  <a:lnTo>
                    <a:pt x="454" y="1466"/>
                  </a:lnTo>
                  <a:close/>
                  <a:moveTo>
                    <a:pt x="191" y="1059"/>
                  </a:moveTo>
                  <a:lnTo>
                    <a:pt x="192" y="1059"/>
                  </a:lnTo>
                  <a:lnTo>
                    <a:pt x="191" y="1059"/>
                  </a:lnTo>
                  <a:close/>
                  <a:moveTo>
                    <a:pt x="267" y="1409"/>
                  </a:moveTo>
                  <a:lnTo>
                    <a:pt x="269" y="1409"/>
                  </a:lnTo>
                  <a:lnTo>
                    <a:pt x="269" y="1410"/>
                  </a:lnTo>
                  <a:lnTo>
                    <a:pt x="267" y="1409"/>
                  </a:lnTo>
                  <a:close/>
                  <a:moveTo>
                    <a:pt x="504" y="1432"/>
                  </a:moveTo>
                  <a:lnTo>
                    <a:pt x="506" y="1432"/>
                  </a:lnTo>
                  <a:lnTo>
                    <a:pt x="506" y="1433"/>
                  </a:lnTo>
                  <a:lnTo>
                    <a:pt x="506" y="1432"/>
                  </a:lnTo>
                  <a:lnTo>
                    <a:pt x="504" y="1432"/>
                  </a:lnTo>
                  <a:close/>
                  <a:moveTo>
                    <a:pt x="236" y="1492"/>
                  </a:moveTo>
                  <a:lnTo>
                    <a:pt x="236" y="1493"/>
                  </a:lnTo>
                  <a:lnTo>
                    <a:pt x="236" y="1492"/>
                  </a:lnTo>
                  <a:lnTo>
                    <a:pt x="234" y="1492"/>
                  </a:lnTo>
                  <a:lnTo>
                    <a:pt x="236" y="1492"/>
                  </a:lnTo>
                  <a:lnTo>
                    <a:pt x="238" y="1492"/>
                  </a:lnTo>
                  <a:lnTo>
                    <a:pt x="236" y="1492"/>
                  </a:lnTo>
                  <a:close/>
                  <a:moveTo>
                    <a:pt x="365" y="1477"/>
                  </a:moveTo>
                  <a:lnTo>
                    <a:pt x="365" y="1479"/>
                  </a:lnTo>
                  <a:lnTo>
                    <a:pt x="365" y="1477"/>
                  </a:lnTo>
                  <a:lnTo>
                    <a:pt x="365" y="1479"/>
                  </a:lnTo>
                  <a:lnTo>
                    <a:pt x="365" y="1477"/>
                  </a:lnTo>
                  <a:close/>
                  <a:moveTo>
                    <a:pt x="638" y="1350"/>
                  </a:moveTo>
                  <a:lnTo>
                    <a:pt x="638" y="1349"/>
                  </a:lnTo>
                  <a:lnTo>
                    <a:pt x="639" y="1349"/>
                  </a:lnTo>
                  <a:lnTo>
                    <a:pt x="638" y="1349"/>
                  </a:lnTo>
                  <a:lnTo>
                    <a:pt x="639" y="1349"/>
                  </a:lnTo>
                  <a:lnTo>
                    <a:pt x="639" y="1350"/>
                  </a:lnTo>
                  <a:lnTo>
                    <a:pt x="638" y="1350"/>
                  </a:lnTo>
                  <a:close/>
                  <a:moveTo>
                    <a:pt x="278" y="1423"/>
                  </a:moveTo>
                  <a:lnTo>
                    <a:pt x="280" y="1423"/>
                  </a:lnTo>
                  <a:lnTo>
                    <a:pt x="280" y="1425"/>
                  </a:lnTo>
                  <a:lnTo>
                    <a:pt x="280" y="1423"/>
                  </a:lnTo>
                  <a:lnTo>
                    <a:pt x="278" y="1423"/>
                  </a:lnTo>
                  <a:close/>
                  <a:moveTo>
                    <a:pt x="285" y="1448"/>
                  </a:moveTo>
                  <a:lnTo>
                    <a:pt x="287" y="1448"/>
                  </a:lnTo>
                  <a:lnTo>
                    <a:pt x="287" y="1449"/>
                  </a:lnTo>
                  <a:lnTo>
                    <a:pt x="285" y="1449"/>
                  </a:lnTo>
                  <a:lnTo>
                    <a:pt x="285" y="1448"/>
                  </a:lnTo>
                  <a:close/>
                  <a:moveTo>
                    <a:pt x="202" y="1482"/>
                  </a:moveTo>
                  <a:lnTo>
                    <a:pt x="204" y="1482"/>
                  </a:lnTo>
                  <a:lnTo>
                    <a:pt x="205" y="1482"/>
                  </a:lnTo>
                  <a:lnTo>
                    <a:pt x="204" y="1482"/>
                  </a:lnTo>
                  <a:lnTo>
                    <a:pt x="204" y="1484"/>
                  </a:lnTo>
                  <a:lnTo>
                    <a:pt x="202" y="1484"/>
                  </a:lnTo>
                  <a:lnTo>
                    <a:pt x="202" y="1482"/>
                  </a:lnTo>
                  <a:close/>
                  <a:moveTo>
                    <a:pt x="246" y="1415"/>
                  </a:moveTo>
                  <a:lnTo>
                    <a:pt x="246" y="1417"/>
                  </a:lnTo>
                  <a:lnTo>
                    <a:pt x="246" y="1415"/>
                  </a:lnTo>
                  <a:close/>
                  <a:moveTo>
                    <a:pt x="233" y="1432"/>
                  </a:moveTo>
                  <a:lnTo>
                    <a:pt x="233" y="1430"/>
                  </a:lnTo>
                  <a:lnTo>
                    <a:pt x="233" y="1432"/>
                  </a:lnTo>
                  <a:lnTo>
                    <a:pt x="231" y="1432"/>
                  </a:lnTo>
                  <a:lnTo>
                    <a:pt x="233" y="1432"/>
                  </a:lnTo>
                  <a:close/>
                  <a:moveTo>
                    <a:pt x="277" y="1485"/>
                  </a:moveTo>
                  <a:lnTo>
                    <a:pt x="277" y="1487"/>
                  </a:lnTo>
                  <a:lnTo>
                    <a:pt x="275" y="1487"/>
                  </a:lnTo>
                  <a:lnTo>
                    <a:pt x="275" y="1485"/>
                  </a:lnTo>
                  <a:lnTo>
                    <a:pt x="277" y="1485"/>
                  </a:lnTo>
                  <a:close/>
                  <a:moveTo>
                    <a:pt x="278" y="1484"/>
                  </a:moveTo>
                  <a:lnTo>
                    <a:pt x="277" y="1485"/>
                  </a:lnTo>
                  <a:lnTo>
                    <a:pt x="277" y="1484"/>
                  </a:lnTo>
                  <a:lnTo>
                    <a:pt x="278" y="1482"/>
                  </a:lnTo>
                  <a:lnTo>
                    <a:pt x="278" y="1484"/>
                  </a:lnTo>
                  <a:close/>
                  <a:moveTo>
                    <a:pt x="221" y="1230"/>
                  </a:moveTo>
                  <a:lnTo>
                    <a:pt x="221" y="1228"/>
                  </a:lnTo>
                  <a:lnTo>
                    <a:pt x="221" y="1230"/>
                  </a:lnTo>
                  <a:lnTo>
                    <a:pt x="223" y="1230"/>
                  </a:lnTo>
                  <a:lnTo>
                    <a:pt x="221" y="1230"/>
                  </a:lnTo>
                  <a:lnTo>
                    <a:pt x="223" y="1230"/>
                  </a:lnTo>
                  <a:lnTo>
                    <a:pt x="221" y="1230"/>
                  </a:lnTo>
                  <a:lnTo>
                    <a:pt x="221" y="1231"/>
                  </a:lnTo>
                  <a:lnTo>
                    <a:pt x="221" y="1230"/>
                  </a:lnTo>
                  <a:close/>
                  <a:moveTo>
                    <a:pt x="218" y="1467"/>
                  </a:moveTo>
                  <a:lnTo>
                    <a:pt x="220" y="1467"/>
                  </a:lnTo>
                  <a:lnTo>
                    <a:pt x="220" y="1466"/>
                  </a:lnTo>
                  <a:lnTo>
                    <a:pt x="221" y="1467"/>
                  </a:lnTo>
                  <a:lnTo>
                    <a:pt x="220" y="1467"/>
                  </a:lnTo>
                  <a:lnTo>
                    <a:pt x="220" y="1469"/>
                  </a:lnTo>
                  <a:lnTo>
                    <a:pt x="220" y="1467"/>
                  </a:lnTo>
                  <a:lnTo>
                    <a:pt x="218" y="1467"/>
                  </a:lnTo>
                  <a:close/>
                  <a:moveTo>
                    <a:pt x="200" y="1056"/>
                  </a:moveTo>
                  <a:lnTo>
                    <a:pt x="200" y="1054"/>
                  </a:lnTo>
                  <a:lnTo>
                    <a:pt x="199" y="1054"/>
                  </a:lnTo>
                  <a:lnTo>
                    <a:pt x="199" y="1053"/>
                  </a:lnTo>
                  <a:lnTo>
                    <a:pt x="200" y="1053"/>
                  </a:lnTo>
                  <a:lnTo>
                    <a:pt x="200" y="1054"/>
                  </a:lnTo>
                  <a:lnTo>
                    <a:pt x="200" y="1056"/>
                  </a:lnTo>
                  <a:close/>
                  <a:moveTo>
                    <a:pt x="179" y="1506"/>
                  </a:moveTo>
                  <a:lnTo>
                    <a:pt x="181" y="1506"/>
                  </a:lnTo>
                  <a:lnTo>
                    <a:pt x="179" y="1506"/>
                  </a:lnTo>
                  <a:lnTo>
                    <a:pt x="181" y="1506"/>
                  </a:lnTo>
                  <a:lnTo>
                    <a:pt x="181" y="1508"/>
                  </a:lnTo>
                  <a:lnTo>
                    <a:pt x="179" y="1508"/>
                  </a:lnTo>
                  <a:lnTo>
                    <a:pt x="179" y="1506"/>
                  </a:lnTo>
                  <a:close/>
                  <a:moveTo>
                    <a:pt x="191" y="1053"/>
                  </a:moveTo>
                  <a:lnTo>
                    <a:pt x="191" y="1054"/>
                  </a:lnTo>
                  <a:lnTo>
                    <a:pt x="189" y="1054"/>
                  </a:lnTo>
                  <a:lnTo>
                    <a:pt x="191" y="1054"/>
                  </a:lnTo>
                  <a:lnTo>
                    <a:pt x="191" y="1053"/>
                  </a:lnTo>
                  <a:close/>
                  <a:moveTo>
                    <a:pt x="275" y="1467"/>
                  </a:moveTo>
                  <a:lnTo>
                    <a:pt x="275" y="1469"/>
                  </a:lnTo>
                  <a:lnTo>
                    <a:pt x="274" y="1467"/>
                  </a:lnTo>
                  <a:lnTo>
                    <a:pt x="275" y="1467"/>
                  </a:lnTo>
                  <a:close/>
                  <a:moveTo>
                    <a:pt x="581" y="1401"/>
                  </a:moveTo>
                  <a:lnTo>
                    <a:pt x="579" y="1402"/>
                  </a:lnTo>
                  <a:lnTo>
                    <a:pt x="579" y="1401"/>
                  </a:lnTo>
                  <a:lnTo>
                    <a:pt x="581" y="1401"/>
                  </a:lnTo>
                  <a:close/>
                  <a:moveTo>
                    <a:pt x="143" y="1466"/>
                  </a:moveTo>
                  <a:lnTo>
                    <a:pt x="145" y="1466"/>
                  </a:lnTo>
                  <a:lnTo>
                    <a:pt x="145" y="1467"/>
                  </a:lnTo>
                  <a:lnTo>
                    <a:pt x="143" y="1466"/>
                  </a:lnTo>
                  <a:close/>
                  <a:moveTo>
                    <a:pt x="420" y="1469"/>
                  </a:moveTo>
                  <a:lnTo>
                    <a:pt x="420" y="1467"/>
                  </a:lnTo>
                  <a:lnTo>
                    <a:pt x="422" y="1467"/>
                  </a:lnTo>
                  <a:lnTo>
                    <a:pt x="420" y="1467"/>
                  </a:lnTo>
                  <a:lnTo>
                    <a:pt x="420" y="1469"/>
                  </a:lnTo>
                  <a:close/>
                  <a:moveTo>
                    <a:pt x="296" y="1410"/>
                  </a:moveTo>
                  <a:lnTo>
                    <a:pt x="298" y="1412"/>
                  </a:lnTo>
                  <a:lnTo>
                    <a:pt x="296" y="1412"/>
                  </a:lnTo>
                  <a:lnTo>
                    <a:pt x="296" y="1410"/>
                  </a:lnTo>
                  <a:close/>
                  <a:moveTo>
                    <a:pt x="417" y="1485"/>
                  </a:moveTo>
                  <a:lnTo>
                    <a:pt x="418" y="1485"/>
                  </a:lnTo>
                  <a:lnTo>
                    <a:pt x="417" y="1485"/>
                  </a:lnTo>
                  <a:lnTo>
                    <a:pt x="415" y="1485"/>
                  </a:lnTo>
                  <a:lnTo>
                    <a:pt x="417" y="1485"/>
                  </a:lnTo>
                  <a:close/>
                  <a:moveTo>
                    <a:pt x="283" y="1475"/>
                  </a:moveTo>
                  <a:lnTo>
                    <a:pt x="285" y="1475"/>
                  </a:lnTo>
                  <a:lnTo>
                    <a:pt x="283" y="1475"/>
                  </a:lnTo>
                  <a:close/>
                  <a:moveTo>
                    <a:pt x="178" y="1505"/>
                  </a:moveTo>
                  <a:lnTo>
                    <a:pt x="179" y="1505"/>
                  </a:lnTo>
                  <a:lnTo>
                    <a:pt x="178" y="1505"/>
                  </a:lnTo>
                  <a:lnTo>
                    <a:pt x="178" y="1506"/>
                  </a:lnTo>
                  <a:lnTo>
                    <a:pt x="178" y="1505"/>
                  </a:lnTo>
                  <a:close/>
                  <a:moveTo>
                    <a:pt x="202" y="1490"/>
                  </a:moveTo>
                  <a:lnTo>
                    <a:pt x="202" y="1492"/>
                  </a:lnTo>
                  <a:lnTo>
                    <a:pt x="200" y="1490"/>
                  </a:lnTo>
                  <a:lnTo>
                    <a:pt x="202" y="1490"/>
                  </a:lnTo>
                  <a:close/>
                  <a:moveTo>
                    <a:pt x="226" y="1018"/>
                  </a:moveTo>
                  <a:lnTo>
                    <a:pt x="226" y="1017"/>
                  </a:lnTo>
                  <a:lnTo>
                    <a:pt x="226" y="1018"/>
                  </a:lnTo>
                  <a:close/>
                  <a:moveTo>
                    <a:pt x="508" y="1427"/>
                  </a:moveTo>
                  <a:lnTo>
                    <a:pt x="506" y="1427"/>
                  </a:lnTo>
                  <a:lnTo>
                    <a:pt x="506" y="1428"/>
                  </a:lnTo>
                  <a:lnTo>
                    <a:pt x="506" y="1427"/>
                  </a:lnTo>
                  <a:lnTo>
                    <a:pt x="508" y="1427"/>
                  </a:lnTo>
                  <a:close/>
                  <a:moveTo>
                    <a:pt x="339" y="1441"/>
                  </a:moveTo>
                  <a:lnTo>
                    <a:pt x="340" y="1441"/>
                  </a:lnTo>
                  <a:lnTo>
                    <a:pt x="340" y="1443"/>
                  </a:lnTo>
                  <a:lnTo>
                    <a:pt x="339" y="1443"/>
                  </a:lnTo>
                  <a:lnTo>
                    <a:pt x="339" y="1441"/>
                  </a:lnTo>
                  <a:close/>
                  <a:moveTo>
                    <a:pt x="425" y="1485"/>
                  </a:moveTo>
                  <a:lnTo>
                    <a:pt x="423" y="1485"/>
                  </a:lnTo>
                  <a:lnTo>
                    <a:pt x="425" y="1485"/>
                  </a:lnTo>
                  <a:lnTo>
                    <a:pt x="425" y="1484"/>
                  </a:lnTo>
                  <a:lnTo>
                    <a:pt x="425" y="1485"/>
                  </a:lnTo>
                  <a:close/>
                  <a:moveTo>
                    <a:pt x="168" y="1443"/>
                  </a:moveTo>
                  <a:lnTo>
                    <a:pt x="168" y="1445"/>
                  </a:lnTo>
                  <a:lnTo>
                    <a:pt x="169" y="1443"/>
                  </a:lnTo>
                  <a:lnTo>
                    <a:pt x="169" y="1445"/>
                  </a:lnTo>
                  <a:lnTo>
                    <a:pt x="168" y="1445"/>
                  </a:lnTo>
                  <a:lnTo>
                    <a:pt x="168" y="1443"/>
                  </a:lnTo>
                  <a:close/>
                  <a:moveTo>
                    <a:pt x="238" y="1446"/>
                  </a:moveTo>
                  <a:lnTo>
                    <a:pt x="236" y="1446"/>
                  </a:lnTo>
                  <a:lnTo>
                    <a:pt x="236" y="1445"/>
                  </a:lnTo>
                  <a:lnTo>
                    <a:pt x="238" y="1445"/>
                  </a:lnTo>
                  <a:lnTo>
                    <a:pt x="238" y="1446"/>
                  </a:lnTo>
                  <a:close/>
                  <a:moveTo>
                    <a:pt x="278" y="1503"/>
                  </a:moveTo>
                  <a:lnTo>
                    <a:pt x="277" y="1503"/>
                  </a:lnTo>
                  <a:lnTo>
                    <a:pt x="278" y="1501"/>
                  </a:lnTo>
                  <a:lnTo>
                    <a:pt x="278" y="1503"/>
                  </a:lnTo>
                  <a:close/>
                  <a:moveTo>
                    <a:pt x="272" y="1420"/>
                  </a:moveTo>
                  <a:lnTo>
                    <a:pt x="270" y="1419"/>
                  </a:lnTo>
                  <a:lnTo>
                    <a:pt x="272" y="1419"/>
                  </a:lnTo>
                  <a:lnTo>
                    <a:pt x="272" y="1420"/>
                  </a:lnTo>
                  <a:close/>
                  <a:moveTo>
                    <a:pt x="469" y="1456"/>
                  </a:moveTo>
                  <a:lnTo>
                    <a:pt x="469" y="1458"/>
                  </a:lnTo>
                  <a:lnTo>
                    <a:pt x="467" y="1458"/>
                  </a:lnTo>
                  <a:lnTo>
                    <a:pt x="467" y="1456"/>
                  </a:lnTo>
                  <a:lnTo>
                    <a:pt x="467" y="1458"/>
                  </a:lnTo>
                  <a:lnTo>
                    <a:pt x="469" y="1458"/>
                  </a:lnTo>
                  <a:lnTo>
                    <a:pt x="469" y="1456"/>
                  </a:lnTo>
                  <a:close/>
                  <a:moveTo>
                    <a:pt x="347" y="1479"/>
                  </a:moveTo>
                  <a:lnTo>
                    <a:pt x="347" y="1480"/>
                  </a:lnTo>
                  <a:lnTo>
                    <a:pt x="347" y="1479"/>
                  </a:lnTo>
                  <a:close/>
                  <a:moveTo>
                    <a:pt x="259" y="1432"/>
                  </a:moveTo>
                  <a:lnTo>
                    <a:pt x="257" y="1432"/>
                  </a:lnTo>
                  <a:lnTo>
                    <a:pt x="257" y="1430"/>
                  </a:lnTo>
                  <a:lnTo>
                    <a:pt x="259" y="1430"/>
                  </a:lnTo>
                  <a:lnTo>
                    <a:pt x="259" y="1432"/>
                  </a:lnTo>
                  <a:close/>
                  <a:moveTo>
                    <a:pt x="641" y="1370"/>
                  </a:moveTo>
                  <a:lnTo>
                    <a:pt x="643" y="1370"/>
                  </a:lnTo>
                  <a:lnTo>
                    <a:pt x="641" y="1370"/>
                  </a:lnTo>
                  <a:close/>
                  <a:moveTo>
                    <a:pt x="270" y="1446"/>
                  </a:moveTo>
                  <a:lnTo>
                    <a:pt x="269" y="1448"/>
                  </a:lnTo>
                  <a:lnTo>
                    <a:pt x="269" y="1446"/>
                  </a:lnTo>
                  <a:lnTo>
                    <a:pt x="270" y="1446"/>
                  </a:lnTo>
                  <a:close/>
                  <a:moveTo>
                    <a:pt x="238" y="1241"/>
                  </a:moveTo>
                  <a:lnTo>
                    <a:pt x="239" y="1241"/>
                  </a:lnTo>
                  <a:lnTo>
                    <a:pt x="239" y="1243"/>
                  </a:lnTo>
                  <a:lnTo>
                    <a:pt x="238" y="1243"/>
                  </a:lnTo>
                  <a:lnTo>
                    <a:pt x="238" y="1241"/>
                  </a:lnTo>
                  <a:lnTo>
                    <a:pt x="238" y="1243"/>
                  </a:lnTo>
                  <a:lnTo>
                    <a:pt x="238" y="1241"/>
                  </a:lnTo>
                  <a:close/>
                  <a:moveTo>
                    <a:pt x="226" y="1404"/>
                  </a:moveTo>
                  <a:lnTo>
                    <a:pt x="226" y="1402"/>
                  </a:lnTo>
                  <a:lnTo>
                    <a:pt x="228" y="1402"/>
                  </a:lnTo>
                  <a:lnTo>
                    <a:pt x="228" y="1404"/>
                  </a:lnTo>
                  <a:lnTo>
                    <a:pt x="226" y="1404"/>
                  </a:lnTo>
                  <a:close/>
                  <a:moveTo>
                    <a:pt x="257" y="934"/>
                  </a:moveTo>
                  <a:lnTo>
                    <a:pt x="257" y="935"/>
                  </a:lnTo>
                  <a:lnTo>
                    <a:pt x="259" y="935"/>
                  </a:lnTo>
                  <a:lnTo>
                    <a:pt x="257" y="935"/>
                  </a:lnTo>
                  <a:lnTo>
                    <a:pt x="257" y="934"/>
                  </a:lnTo>
                  <a:close/>
                  <a:moveTo>
                    <a:pt x="267" y="1410"/>
                  </a:moveTo>
                  <a:lnTo>
                    <a:pt x="265" y="1410"/>
                  </a:lnTo>
                  <a:lnTo>
                    <a:pt x="267" y="1409"/>
                  </a:lnTo>
                  <a:lnTo>
                    <a:pt x="267" y="1410"/>
                  </a:lnTo>
                  <a:close/>
                  <a:moveTo>
                    <a:pt x="319" y="659"/>
                  </a:moveTo>
                  <a:lnTo>
                    <a:pt x="319" y="661"/>
                  </a:lnTo>
                  <a:lnTo>
                    <a:pt x="319" y="659"/>
                  </a:lnTo>
                  <a:close/>
                  <a:moveTo>
                    <a:pt x="259" y="1451"/>
                  </a:moveTo>
                  <a:lnTo>
                    <a:pt x="259" y="1453"/>
                  </a:lnTo>
                  <a:lnTo>
                    <a:pt x="259" y="1451"/>
                  </a:lnTo>
                  <a:close/>
                  <a:moveTo>
                    <a:pt x="335" y="1448"/>
                  </a:moveTo>
                  <a:lnTo>
                    <a:pt x="335" y="1446"/>
                  </a:lnTo>
                  <a:lnTo>
                    <a:pt x="337" y="1446"/>
                  </a:lnTo>
                  <a:lnTo>
                    <a:pt x="335" y="1448"/>
                  </a:lnTo>
                  <a:close/>
                  <a:moveTo>
                    <a:pt x="197" y="1155"/>
                  </a:moveTo>
                  <a:lnTo>
                    <a:pt x="199" y="1155"/>
                  </a:lnTo>
                  <a:lnTo>
                    <a:pt x="199" y="1157"/>
                  </a:lnTo>
                  <a:lnTo>
                    <a:pt x="197" y="1157"/>
                  </a:lnTo>
                  <a:lnTo>
                    <a:pt x="197" y="1155"/>
                  </a:lnTo>
                  <a:close/>
                  <a:moveTo>
                    <a:pt x="677" y="1347"/>
                  </a:moveTo>
                  <a:lnTo>
                    <a:pt x="677" y="1345"/>
                  </a:lnTo>
                  <a:lnTo>
                    <a:pt x="678" y="1345"/>
                  </a:lnTo>
                  <a:lnTo>
                    <a:pt x="678" y="1347"/>
                  </a:lnTo>
                  <a:lnTo>
                    <a:pt x="677" y="1347"/>
                  </a:lnTo>
                  <a:close/>
                  <a:moveTo>
                    <a:pt x="300" y="1479"/>
                  </a:moveTo>
                  <a:lnTo>
                    <a:pt x="298" y="1479"/>
                  </a:lnTo>
                  <a:lnTo>
                    <a:pt x="298" y="1477"/>
                  </a:lnTo>
                  <a:lnTo>
                    <a:pt x="300" y="1479"/>
                  </a:lnTo>
                  <a:close/>
                  <a:moveTo>
                    <a:pt x="272" y="1453"/>
                  </a:moveTo>
                  <a:lnTo>
                    <a:pt x="270" y="1453"/>
                  </a:lnTo>
                  <a:lnTo>
                    <a:pt x="270" y="1451"/>
                  </a:lnTo>
                  <a:lnTo>
                    <a:pt x="272" y="1451"/>
                  </a:lnTo>
                  <a:lnTo>
                    <a:pt x="270" y="1451"/>
                  </a:lnTo>
                  <a:lnTo>
                    <a:pt x="272" y="1451"/>
                  </a:lnTo>
                  <a:lnTo>
                    <a:pt x="272" y="1453"/>
                  </a:lnTo>
                  <a:close/>
                  <a:moveTo>
                    <a:pt x="215" y="1503"/>
                  </a:moveTo>
                  <a:lnTo>
                    <a:pt x="217" y="1503"/>
                  </a:lnTo>
                  <a:lnTo>
                    <a:pt x="217" y="1505"/>
                  </a:lnTo>
                  <a:lnTo>
                    <a:pt x="215" y="1503"/>
                  </a:lnTo>
                  <a:close/>
                  <a:moveTo>
                    <a:pt x="285" y="1451"/>
                  </a:moveTo>
                  <a:lnTo>
                    <a:pt x="283" y="1453"/>
                  </a:lnTo>
                  <a:lnTo>
                    <a:pt x="283" y="1451"/>
                  </a:lnTo>
                  <a:lnTo>
                    <a:pt x="285" y="1451"/>
                  </a:lnTo>
                  <a:close/>
                  <a:moveTo>
                    <a:pt x="365" y="1436"/>
                  </a:moveTo>
                  <a:lnTo>
                    <a:pt x="366" y="1436"/>
                  </a:lnTo>
                  <a:lnTo>
                    <a:pt x="366" y="1438"/>
                  </a:lnTo>
                  <a:lnTo>
                    <a:pt x="365" y="1436"/>
                  </a:lnTo>
                  <a:close/>
                  <a:moveTo>
                    <a:pt x="169" y="1017"/>
                  </a:moveTo>
                  <a:lnTo>
                    <a:pt x="171" y="1017"/>
                  </a:lnTo>
                  <a:lnTo>
                    <a:pt x="169" y="1017"/>
                  </a:lnTo>
                  <a:lnTo>
                    <a:pt x="169" y="1018"/>
                  </a:lnTo>
                  <a:lnTo>
                    <a:pt x="169" y="1017"/>
                  </a:lnTo>
                  <a:close/>
                  <a:moveTo>
                    <a:pt x="303" y="1454"/>
                  </a:moveTo>
                  <a:lnTo>
                    <a:pt x="303" y="1453"/>
                  </a:lnTo>
                  <a:lnTo>
                    <a:pt x="304" y="1453"/>
                  </a:lnTo>
                  <a:lnTo>
                    <a:pt x="303" y="1454"/>
                  </a:lnTo>
                  <a:close/>
                  <a:moveTo>
                    <a:pt x="205" y="1004"/>
                  </a:moveTo>
                  <a:lnTo>
                    <a:pt x="205" y="1005"/>
                  </a:lnTo>
                  <a:lnTo>
                    <a:pt x="207" y="1005"/>
                  </a:lnTo>
                  <a:lnTo>
                    <a:pt x="205" y="1005"/>
                  </a:lnTo>
                  <a:lnTo>
                    <a:pt x="205" y="1004"/>
                  </a:lnTo>
                  <a:close/>
                  <a:moveTo>
                    <a:pt x="290" y="1443"/>
                  </a:moveTo>
                  <a:lnTo>
                    <a:pt x="291" y="1443"/>
                  </a:lnTo>
                  <a:lnTo>
                    <a:pt x="291" y="1445"/>
                  </a:lnTo>
                  <a:lnTo>
                    <a:pt x="290" y="1445"/>
                  </a:lnTo>
                  <a:lnTo>
                    <a:pt x="290" y="1443"/>
                  </a:lnTo>
                  <a:close/>
                  <a:moveTo>
                    <a:pt x="241" y="1516"/>
                  </a:moveTo>
                  <a:lnTo>
                    <a:pt x="241" y="1514"/>
                  </a:lnTo>
                  <a:lnTo>
                    <a:pt x="243" y="1514"/>
                  </a:lnTo>
                  <a:lnTo>
                    <a:pt x="241" y="1516"/>
                  </a:lnTo>
                  <a:close/>
                  <a:moveTo>
                    <a:pt x="246" y="1389"/>
                  </a:moveTo>
                  <a:lnTo>
                    <a:pt x="244" y="1389"/>
                  </a:lnTo>
                  <a:lnTo>
                    <a:pt x="246" y="1388"/>
                  </a:lnTo>
                  <a:lnTo>
                    <a:pt x="246" y="1389"/>
                  </a:lnTo>
                  <a:close/>
                  <a:moveTo>
                    <a:pt x="244" y="1414"/>
                  </a:moveTo>
                  <a:lnTo>
                    <a:pt x="244" y="1415"/>
                  </a:lnTo>
                  <a:lnTo>
                    <a:pt x="246" y="1415"/>
                  </a:lnTo>
                  <a:lnTo>
                    <a:pt x="244" y="1415"/>
                  </a:lnTo>
                  <a:lnTo>
                    <a:pt x="244" y="1414"/>
                  </a:lnTo>
                  <a:close/>
                  <a:moveTo>
                    <a:pt x="345" y="1508"/>
                  </a:moveTo>
                  <a:lnTo>
                    <a:pt x="345" y="1506"/>
                  </a:lnTo>
                  <a:lnTo>
                    <a:pt x="347" y="1506"/>
                  </a:lnTo>
                  <a:lnTo>
                    <a:pt x="347" y="1508"/>
                  </a:lnTo>
                  <a:lnTo>
                    <a:pt x="345" y="1508"/>
                  </a:lnTo>
                  <a:lnTo>
                    <a:pt x="347" y="1508"/>
                  </a:lnTo>
                  <a:lnTo>
                    <a:pt x="345" y="1508"/>
                  </a:lnTo>
                  <a:lnTo>
                    <a:pt x="347" y="1508"/>
                  </a:lnTo>
                  <a:lnTo>
                    <a:pt x="345" y="1508"/>
                  </a:lnTo>
                  <a:close/>
                  <a:moveTo>
                    <a:pt x="521" y="1422"/>
                  </a:moveTo>
                  <a:lnTo>
                    <a:pt x="521" y="1423"/>
                  </a:lnTo>
                  <a:lnTo>
                    <a:pt x="519" y="1422"/>
                  </a:lnTo>
                  <a:lnTo>
                    <a:pt x="521" y="1422"/>
                  </a:lnTo>
                  <a:close/>
                  <a:moveTo>
                    <a:pt x="337" y="1423"/>
                  </a:moveTo>
                  <a:lnTo>
                    <a:pt x="339" y="1423"/>
                  </a:lnTo>
                  <a:lnTo>
                    <a:pt x="337" y="1423"/>
                  </a:lnTo>
                  <a:close/>
                  <a:moveTo>
                    <a:pt x="226" y="1428"/>
                  </a:moveTo>
                  <a:lnTo>
                    <a:pt x="226" y="1427"/>
                  </a:lnTo>
                  <a:lnTo>
                    <a:pt x="226" y="1425"/>
                  </a:lnTo>
                  <a:lnTo>
                    <a:pt x="226" y="1427"/>
                  </a:lnTo>
                  <a:lnTo>
                    <a:pt x="226" y="1428"/>
                  </a:lnTo>
                  <a:close/>
                  <a:moveTo>
                    <a:pt x="483" y="1464"/>
                  </a:moveTo>
                  <a:lnTo>
                    <a:pt x="482" y="1464"/>
                  </a:lnTo>
                  <a:lnTo>
                    <a:pt x="482" y="1462"/>
                  </a:lnTo>
                  <a:lnTo>
                    <a:pt x="483" y="1462"/>
                  </a:lnTo>
                  <a:lnTo>
                    <a:pt x="483" y="1464"/>
                  </a:lnTo>
                  <a:close/>
                  <a:moveTo>
                    <a:pt x="174" y="1441"/>
                  </a:moveTo>
                  <a:lnTo>
                    <a:pt x="173" y="1441"/>
                  </a:lnTo>
                  <a:lnTo>
                    <a:pt x="174" y="1441"/>
                  </a:lnTo>
                  <a:lnTo>
                    <a:pt x="174" y="1440"/>
                  </a:lnTo>
                  <a:lnTo>
                    <a:pt x="174" y="1441"/>
                  </a:lnTo>
                  <a:close/>
                  <a:moveTo>
                    <a:pt x="179" y="1070"/>
                  </a:moveTo>
                  <a:lnTo>
                    <a:pt x="178" y="1070"/>
                  </a:lnTo>
                  <a:lnTo>
                    <a:pt x="178" y="1069"/>
                  </a:lnTo>
                  <a:lnTo>
                    <a:pt x="179" y="1069"/>
                  </a:lnTo>
                  <a:lnTo>
                    <a:pt x="179" y="1070"/>
                  </a:lnTo>
                  <a:lnTo>
                    <a:pt x="179" y="1069"/>
                  </a:lnTo>
                  <a:lnTo>
                    <a:pt x="179" y="1070"/>
                  </a:lnTo>
                  <a:close/>
                  <a:moveTo>
                    <a:pt x="254" y="1441"/>
                  </a:moveTo>
                  <a:lnTo>
                    <a:pt x="256" y="1441"/>
                  </a:lnTo>
                  <a:lnTo>
                    <a:pt x="254" y="1441"/>
                  </a:lnTo>
                  <a:close/>
                  <a:moveTo>
                    <a:pt x="236" y="1453"/>
                  </a:moveTo>
                  <a:lnTo>
                    <a:pt x="236" y="1451"/>
                  </a:lnTo>
                  <a:lnTo>
                    <a:pt x="238" y="1453"/>
                  </a:lnTo>
                  <a:lnTo>
                    <a:pt x="236" y="1453"/>
                  </a:lnTo>
                  <a:lnTo>
                    <a:pt x="238" y="1453"/>
                  </a:lnTo>
                  <a:lnTo>
                    <a:pt x="236" y="1453"/>
                  </a:lnTo>
                  <a:close/>
                  <a:moveTo>
                    <a:pt x="249" y="981"/>
                  </a:moveTo>
                  <a:lnTo>
                    <a:pt x="251" y="981"/>
                  </a:lnTo>
                  <a:lnTo>
                    <a:pt x="251" y="983"/>
                  </a:lnTo>
                  <a:lnTo>
                    <a:pt x="251" y="981"/>
                  </a:lnTo>
                  <a:lnTo>
                    <a:pt x="249" y="981"/>
                  </a:lnTo>
                  <a:close/>
                  <a:moveTo>
                    <a:pt x="269" y="1420"/>
                  </a:moveTo>
                  <a:lnTo>
                    <a:pt x="267" y="1420"/>
                  </a:lnTo>
                  <a:lnTo>
                    <a:pt x="267" y="1419"/>
                  </a:lnTo>
                  <a:lnTo>
                    <a:pt x="269" y="1420"/>
                  </a:lnTo>
                  <a:close/>
                  <a:moveTo>
                    <a:pt x="410" y="1479"/>
                  </a:moveTo>
                  <a:lnTo>
                    <a:pt x="410" y="1480"/>
                  </a:lnTo>
                  <a:lnTo>
                    <a:pt x="409" y="1480"/>
                  </a:lnTo>
                  <a:lnTo>
                    <a:pt x="409" y="1479"/>
                  </a:lnTo>
                  <a:lnTo>
                    <a:pt x="410" y="1479"/>
                  </a:lnTo>
                  <a:close/>
                  <a:moveTo>
                    <a:pt x="436" y="1475"/>
                  </a:moveTo>
                  <a:lnTo>
                    <a:pt x="436" y="1477"/>
                  </a:lnTo>
                  <a:lnTo>
                    <a:pt x="435" y="1477"/>
                  </a:lnTo>
                  <a:lnTo>
                    <a:pt x="435" y="1475"/>
                  </a:lnTo>
                  <a:lnTo>
                    <a:pt x="436" y="1475"/>
                  </a:lnTo>
                  <a:lnTo>
                    <a:pt x="436" y="1474"/>
                  </a:lnTo>
                  <a:lnTo>
                    <a:pt x="436" y="1475"/>
                  </a:lnTo>
                  <a:close/>
                  <a:moveTo>
                    <a:pt x="241" y="1370"/>
                  </a:moveTo>
                  <a:lnTo>
                    <a:pt x="241" y="1368"/>
                  </a:lnTo>
                  <a:lnTo>
                    <a:pt x="241" y="1370"/>
                  </a:lnTo>
                  <a:close/>
                  <a:moveTo>
                    <a:pt x="259" y="1482"/>
                  </a:moveTo>
                  <a:lnTo>
                    <a:pt x="261" y="1482"/>
                  </a:lnTo>
                  <a:lnTo>
                    <a:pt x="259" y="1482"/>
                  </a:lnTo>
                  <a:lnTo>
                    <a:pt x="259" y="1480"/>
                  </a:lnTo>
                  <a:lnTo>
                    <a:pt x="261" y="1480"/>
                  </a:lnTo>
                  <a:lnTo>
                    <a:pt x="259" y="1482"/>
                  </a:lnTo>
                  <a:close/>
                  <a:moveTo>
                    <a:pt x="366" y="1436"/>
                  </a:moveTo>
                  <a:lnTo>
                    <a:pt x="366" y="1435"/>
                  </a:lnTo>
                  <a:lnTo>
                    <a:pt x="366" y="1436"/>
                  </a:lnTo>
                  <a:close/>
                  <a:moveTo>
                    <a:pt x="169" y="1075"/>
                  </a:moveTo>
                  <a:lnTo>
                    <a:pt x="171" y="1075"/>
                  </a:lnTo>
                  <a:lnTo>
                    <a:pt x="171" y="1077"/>
                  </a:lnTo>
                  <a:lnTo>
                    <a:pt x="169" y="1077"/>
                  </a:lnTo>
                  <a:lnTo>
                    <a:pt x="169" y="1075"/>
                  </a:lnTo>
                  <a:close/>
                  <a:moveTo>
                    <a:pt x="425" y="1482"/>
                  </a:moveTo>
                  <a:lnTo>
                    <a:pt x="426" y="1482"/>
                  </a:lnTo>
                  <a:lnTo>
                    <a:pt x="425" y="1484"/>
                  </a:lnTo>
                  <a:lnTo>
                    <a:pt x="423" y="1484"/>
                  </a:lnTo>
                  <a:lnTo>
                    <a:pt x="425" y="1482"/>
                  </a:lnTo>
                  <a:lnTo>
                    <a:pt x="425" y="1484"/>
                  </a:lnTo>
                  <a:lnTo>
                    <a:pt x="425" y="1482"/>
                  </a:lnTo>
                  <a:close/>
                  <a:moveTo>
                    <a:pt x="269" y="607"/>
                  </a:moveTo>
                  <a:lnTo>
                    <a:pt x="270" y="607"/>
                  </a:lnTo>
                  <a:lnTo>
                    <a:pt x="270" y="609"/>
                  </a:lnTo>
                  <a:lnTo>
                    <a:pt x="270" y="607"/>
                  </a:lnTo>
                  <a:lnTo>
                    <a:pt x="269" y="607"/>
                  </a:lnTo>
                  <a:close/>
                  <a:moveTo>
                    <a:pt x="246" y="1451"/>
                  </a:moveTo>
                  <a:lnTo>
                    <a:pt x="246" y="1453"/>
                  </a:lnTo>
                  <a:lnTo>
                    <a:pt x="244" y="1451"/>
                  </a:lnTo>
                  <a:lnTo>
                    <a:pt x="246" y="1451"/>
                  </a:lnTo>
                  <a:lnTo>
                    <a:pt x="244" y="1451"/>
                  </a:lnTo>
                  <a:lnTo>
                    <a:pt x="246" y="1451"/>
                  </a:lnTo>
                  <a:close/>
                  <a:moveTo>
                    <a:pt x="238" y="1253"/>
                  </a:moveTo>
                  <a:lnTo>
                    <a:pt x="239" y="1253"/>
                  </a:lnTo>
                  <a:lnTo>
                    <a:pt x="238" y="1253"/>
                  </a:lnTo>
                  <a:lnTo>
                    <a:pt x="238" y="1254"/>
                  </a:lnTo>
                  <a:lnTo>
                    <a:pt x="236" y="1253"/>
                  </a:lnTo>
                  <a:lnTo>
                    <a:pt x="238" y="1253"/>
                  </a:lnTo>
                  <a:lnTo>
                    <a:pt x="236" y="1253"/>
                  </a:lnTo>
                  <a:lnTo>
                    <a:pt x="238" y="1253"/>
                  </a:lnTo>
                  <a:close/>
                  <a:moveTo>
                    <a:pt x="287" y="1474"/>
                  </a:moveTo>
                  <a:lnTo>
                    <a:pt x="288" y="1475"/>
                  </a:lnTo>
                  <a:lnTo>
                    <a:pt x="287" y="1475"/>
                  </a:lnTo>
                  <a:lnTo>
                    <a:pt x="287" y="1474"/>
                  </a:lnTo>
                  <a:lnTo>
                    <a:pt x="287" y="1475"/>
                  </a:lnTo>
                  <a:lnTo>
                    <a:pt x="287" y="1474"/>
                  </a:lnTo>
                  <a:close/>
                  <a:moveTo>
                    <a:pt x="195" y="1079"/>
                  </a:moveTo>
                  <a:lnTo>
                    <a:pt x="195" y="1077"/>
                  </a:lnTo>
                  <a:lnTo>
                    <a:pt x="195" y="1079"/>
                  </a:lnTo>
                  <a:close/>
                  <a:moveTo>
                    <a:pt x="267" y="952"/>
                  </a:moveTo>
                  <a:lnTo>
                    <a:pt x="269" y="952"/>
                  </a:lnTo>
                  <a:lnTo>
                    <a:pt x="269" y="953"/>
                  </a:lnTo>
                  <a:lnTo>
                    <a:pt x="267" y="953"/>
                  </a:lnTo>
                  <a:lnTo>
                    <a:pt x="269" y="953"/>
                  </a:lnTo>
                  <a:lnTo>
                    <a:pt x="267" y="952"/>
                  </a:lnTo>
                  <a:close/>
                  <a:moveTo>
                    <a:pt x="314" y="1472"/>
                  </a:moveTo>
                  <a:lnTo>
                    <a:pt x="316" y="1472"/>
                  </a:lnTo>
                  <a:lnTo>
                    <a:pt x="317" y="1472"/>
                  </a:lnTo>
                  <a:lnTo>
                    <a:pt x="317" y="1474"/>
                  </a:lnTo>
                  <a:lnTo>
                    <a:pt x="316" y="1474"/>
                  </a:lnTo>
                  <a:lnTo>
                    <a:pt x="316" y="1472"/>
                  </a:lnTo>
                  <a:lnTo>
                    <a:pt x="316" y="1474"/>
                  </a:lnTo>
                  <a:lnTo>
                    <a:pt x="316" y="1472"/>
                  </a:lnTo>
                  <a:lnTo>
                    <a:pt x="314" y="1472"/>
                  </a:lnTo>
                  <a:close/>
                  <a:moveTo>
                    <a:pt x="247" y="540"/>
                  </a:moveTo>
                  <a:lnTo>
                    <a:pt x="246" y="542"/>
                  </a:lnTo>
                  <a:lnTo>
                    <a:pt x="247" y="540"/>
                  </a:lnTo>
                  <a:close/>
                  <a:moveTo>
                    <a:pt x="135" y="1464"/>
                  </a:moveTo>
                  <a:lnTo>
                    <a:pt x="134" y="1464"/>
                  </a:lnTo>
                  <a:lnTo>
                    <a:pt x="135" y="1462"/>
                  </a:lnTo>
                  <a:lnTo>
                    <a:pt x="135" y="1464"/>
                  </a:lnTo>
                  <a:lnTo>
                    <a:pt x="135" y="1466"/>
                  </a:lnTo>
                  <a:lnTo>
                    <a:pt x="135" y="1464"/>
                  </a:lnTo>
                  <a:close/>
                  <a:moveTo>
                    <a:pt x="200" y="1046"/>
                  </a:moveTo>
                  <a:lnTo>
                    <a:pt x="199" y="1046"/>
                  </a:lnTo>
                  <a:lnTo>
                    <a:pt x="199" y="1044"/>
                  </a:lnTo>
                  <a:lnTo>
                    <a:pt x="200" y="1046"/>
                  </a:lnTo>
                  <a:close/>
                  <a:moveTo>
                    <a:pt x="293" y="1446"/>
                  </a:moveTo>
                  <a:lnTo>
                    <a:pt x="295" y="1446"/>
                  </a:lnTo>
                  <a:lnTo>
                    <a:pt x="293" y="1446"/>
                  </a:lnTo>
                  <a:close/>
                  <a:moveTo>
                    <a:pt x="274" y="1430"/>
                  </a:moveTo>
                  <a:lnTo>
                    <a:pt x="274" y="1432"/>
                  </a:lnTo>
                  <a:lnTo>
                    <a:pt x="274" y="1430"/>
                  </a:lnTo>
                  <a:close/>
                  <a:moveTo>
                    <a:pt x="124" y="1475"/>
                  </a:moveTo>
                  <a:lnTo>
                    <a:pt x="124" y="1477"/>
                  </a:lnTo>
                  <a:lnTo>
                    <a:pt x="124" y="1475"/>
                  </a:lnTo>
                  <a:close/>
                  <a:moveTo>
                    <a:pt x="223" y="1490"/>
                  </a:moveTo>
                  <a:lnTo>
                    <a:pt x="223" y="1488"/>
                  </a:lnTo>
                  <a:lnTo>
                    <a:pt x="225" y="1488"/>
                  </a:lnTo>
                  <a:lnTo>
                    <a:pt x="225" y="1490"/>
                  </a:lnTo>
                  <a:lnTo>
                    <a:pt x="223" y="1490"/>
                  </a:lnTo>
                  <a:close/>
                  <a:moveTo>
                    <a:pt x="153" y="1062"/>
                  </a:moveTo>
                  <a:lnTo>
                    <a:pt x="153" y="1061"/>
                  </a:lnTo>
                  <a:lnTo>
                    <a:pt x="153" y="1062"/>
                  </a:lnTo>
                  <a:close/>
                  <a:moveTo>
                    <a:pt x="238" y="1443"/>
                  </a:moveTo>
                  <a:lnTo>
                    <a:pt x="236" y="1443"/>
                  </a:lnTo>
                  <a:lnTo>
                    <a:pt x="236" y="1441"/>
                  </a:lnTo>
                  <a:lnTo>
                    <a:pt x="238" y="1441"/>
                  </a:lnTo>
                  <a:lnTo>
                    <a:pt x="238" y="1443"/>
                  </a:lnTo>
                  <a:close/>
                  <a:moveTo>
                    <a:pt x="238" y="1449"/>
                  </a:moveTo>
                  <a:lnTo>
                    <a:pt x="238" y="1448"/>
                  </a:lnTo>
                  <a:lnTo>
                    <a:pt x="238" y="1449"/>
                  </a:lnTo>
                  <a:close/>
                  <a:moveTo>
                    <a:pt x="280" y="1446"/>
                  </a:moveTo>
                  <a:lnTo>
                    <a:pt x="282" y="1446"/>
                  </a:lnTo>
                  <a:lnTo>
                    <a:pt x="280" y="1446"/>
                  </a:lnTo>
                  <a:lnTo>
                    <a:pt x="278" y="1446"/>
                  </a:lnTo>
                  <a:lnTo>
                    <a:pt x="280" y="1446"/>
                  </a:lnTo>
                  <a:close/>
                  <a:moveTo>
                    <a:pt x="296" y="667"/>
                  </a:moveTo>
                  <a:lnTo>
                    <a:pt x="296" y="669"/>
                  </a:lnTo>
                  <a:lnTo>
                    <a:pt x="298" y="669"/>
                  </a:lnTo>
                  <a:lnTo>
                    <a:pt x="296" y="669"/>
                  </a:lnTo>
                  <a:lnTo>
                    <a:pt x="296" y="667"/>
                  </a:lnTo>
                  <a:close/>
                  <a:moveTo>
                    <a:pt x="620" y="1371"/>
                  </a:moveTo>
                  <a:lnTo>
                    <a:pt x="620" y="1370"/>
                  </a:lnTo>
                  <a:lnTo>
                    <a:pt x="620" y="1371"/>
                  </a:lnTo>
                  <a:lnTo>
                    <a:pt x="622" y="1373"/>
                  </a:lnTo>
                  <a:lnTo>
                    <a:pt x="620" y="1371"/>
                  </a:lnTo>
                  <a:lnTo>
                    <a:pt x="620" y="1373"/>
                  </a:lnTo>
                  <a:lnTo>
                    <a:pt x="620" y="1371"/>
                  </a:lnTo>
                  <a:close/>
                  <a:moveTo>
                    <a:pt x="298" y="1497"/>
                  </a:moveTo>
                  <a:lnTo>
                    <a:pt x="296" y="1497"/>
                  </a:lnTo>
                  <a:lnTo>
                    <a:pt x="298" y="1495"/>
                  </a:lnTo>
                  <a:lnTo>
                    <a:pt x="298" y="1497"/>
                  </a:lnTo>
                  <a:close/>
                  <a:moveTo>
                    <a:pt x="239" y="1435"/>
                  </a:moveTo>
                  <a:lnTo>
                    <a:pt x="239" y="1436"/>
                  </a:lnTo>
                  <a:lnTo>
                    <a:pt x="241" y="1436"/>
                  </a:lnTo>
                  <a:lnTo>
                    <a:pt x="239" y="1436"/>
                  </a:lnTo>
                  <a:lnTo>
                    <a:pt x="239" y="1435"/>
                  </a:lnTo>
                  <a:close/>
                  <a:moveTo>
                    <a:pt x="339" y="1459"/>
                  </a:moveTo>
                  <a:lnTo>
                    <a:pt x="339" y="1461"/>
                  </a:lnTo>
                  <a:lnTo>
                    <a:pt x="339" y="1459"/>
                  </a:lnTo>
                  <a:lnTo>
                    <a:pt x="340" y="1459"/>
                  </a:lnTo>
                  <a:lnTo>
                    <a:pt x="339" y="1459"/>
                  </a:lnTo>
                  <a:close/>
                  <a:moveTo>
                    <a:pt x="361" y="1485"/>
                  </a:moveTo>
                  <a:lnTo>
                    <a:pt x="363" y="1485"/>
                  </a:lnTo>
                  <a:lnTo>
                    <a:pt x="361" y="1487"/>
                  </a:lnTo>
                  <a:lnTo>
                    <a:pt x="361" y="1485"/>
                  </a:lnTo>
                  <a:close/>
                  <a:moveTo>
                    <a:pt x="204" y="1506"/>
                  </a:moveTo>
                  <a:lnTo>
                    <a:pt x="202" y="1506"/>
                  </a:lnTo>
                  <a:lnTo>
                    <a:pt x="202" y="1505"/>
                  </a:lnTo>
                  <a:lnTo>
                    <a:pt x="202" y="1506"/>
                  </a:lnTo>
                  <a:lnTo>
                    <a:pt x="204" y="1505"/>
                  </a:lnTo>
                  <a:lnTo>
                    <a:pt x="204" y="1506"/>
                  </a:lnTo>
                  <a:lnTo>
                    <a:pt x="204" y="1505"/>
                  </a:lnTo>
                  <a:lnTo>
                    <a:pt x="204" y="1506"/>
                  </a:lnTo>
                  <a:close/>
                  <a:moveTo>
                    <a:pt x="256" y="1443"/>
                  </a:moveTo>
                  <a:lnTo>
                    <a:pt x="257" y="1445"/>
                  </a:lnTo>
                  <a:lnTo>
                    <a:pt x="256" y="1445"/>
                  </a:lnTo>
                  <a:lnTo>
                    <a:pt x="256" y="1443"/>
                  </a:lnTo>
                  <a:close/>
                  <a:moveTo>
                    <a:pt x="674" y="1342"/>
                  </a:moveTo>
                  <a:lnTo>
                    <a:pt x="674" y="1340"/>
                  </a:lnTo>
                  <a:lnTo>
                    <a:pt x="674" y="1342"/>
                  </a:lnTo>
                  <a:close/>
                  <a:moveTo>
                    <a:pt x="685" y="1353"/>
                  </a:moveTo>
                  <a:lnTo>
                    <a:pt x="685" y="1355"/>
                  </a:lnTo>
                  <a:lnTo>
                    <a:pt x="685" y="1353"/>
                  </a:lnTo>
                  <a:close/>
                  <a:moveTo>
                    <a:pt x="287" y="1453"/>
                  </a:moveTo>
                  <a:lnTo>
                    <a:pt x="285" y="1453"/>
                  </a:lnTo>
                  <a:lnTo>
                    <a:pt x="287" y="1453"/>
                  </a:lnTo>
                  <a:close/>
                  <a:moveTo>
                    <a:pt x="249" y="1391"/>
                  </a:moveTo>
                  <a:lnTo>
                    <a:pt x="251" y="1391"/>
                  </a:lnTo>
                  <a:lnTo>
                    <a:pt x="251" y="1393"/>
                  </a:lnTo>
                  <a:lnTo>
                    <a:pt x="249" y="1393"/>
                  </a:lnTo>
                  <a:lnTo>
                    <a:pt x="249" y="1391"/>
                  </a:lnTo>
                  <a:close/>
                  <a:moveTo>
                    <a:pt x="195" y="1487"/>
                  </a:moveTo>
                  <a:lnTo>
                    <a:pt x="195" y="1485"/>
                  </a:lnTo>
                  <a:lnTo>
                    <a:pt x="195" y="1487"/>
                  </a:lnTo>
                  <a:lnTo>
                    <a:pt x="195" y="1485"/>
                  </a:lnTo>
                  <a:lnTo>
                    <a:pt x="195" y="1487"/>
                  </a:lnTo>
                  <a:lnTo>
                    <a:pt x="194" y="1487"/>
                  </a:lnTo>
                  <a:lnTo>
                    <a:pt x="195" y="1487"/>
                  </a:lnTo>
                  <a:lnTo>
                    <a:pt x="194" y="1487"/>
                  </a:lnTo>
                  <a:lnTo>
                    <a:pt x="195" y="1487"/>
                  </a:lnTo>
                  <a:close/>
                  <a:moveTo>
                    <a:pt x="254" y="1448"/>
                  </a:moveTo>
                  <a:lnTo>
                    <a:pt x="256" y="1448"/>
                  </a:lnTo>
                  <a:lnTo>
                    <a:pt x="254" y="1448"/>
                  </a:lnTo>
                  <a:close/>
                  <a:moveTo>
                    <a:pt x="228" y="1445"/>
                  </a:moveTo>
                  <a:lnTo>
                    <a:pt x="228" y="1446"/>
                  </a:lnTo>
                  <a:lnTo>
                    <a:pt x="228" y="1445"/>
                  </a:lnTo>
                  <a:lnTo>
                    <a:pt x="228" y="1446"/>
                  </a:lnTo>
                  <a:lnTo>
                    <a:pt x="228" y="1445"/>
                  </a:lnTo>
                  <a:lnTo>
                    <a:pt x="228" y="1443"/>
                  </a:lnTo>
                  <a:lnTo>
                    <a:pt x="228" y="1445"/>
                  </a:lnTo>
                  <a:close/>
                  <a:moveTo>
                    <a:pt x="339" y="797"/>
                  </a:moveTo>
                  <a:lnTo>
                    <a:pt x="339" y="796"/>
                  </a:lnTo>
                  <a:lnTo>
                    <a:pt x="339" y="797"/>
                  </a:lnTo>
                  <a:close/>
                  <a:moveTo>
                    <a:pt x="314" y="1423"/>
                  </a:moveTo>
                  <a:lnTo>
                    <a:pt x="313" y="1423"/>
                  </a:lnTo>
                  <a:lnTo>
                    <a:pt x="314" y="1422"/>
                  </a:lnTo>
                  <a:lnTo>
                    <a:pt x="314" y="1423"/>
                  </a:lnTo>
                  <a:close/>
                  <a:moveTo>
                    <a:pt x="382" y="1487"/>
                  </a:moveTo>
                  <a:lnTo>
                    <a:pt x="384" y="1487"/>
                  </a:lnTo>
                  <a:lnTo>
                    <a:pt x="382" y="1487"/>
                  </a:lnTo>
                  <a:close/>
                  <a:moveTo>
                    <a:pt x="298" y="1500"/>
                  </a:moveTo>
                  <a:lnTo>
                    <a:pt x="298" y="1498"/>
                  </a:lnTo>
                  <a:lnTo>
                    <a:pt x="298" y="1500"/>
                  </a:lnTo>
                  <a:close/>
                  <a:moveTo>
                    <a:pt x="225" y="1436"/>
                  </a:moveTo>
                  <a:lnTo>
                    <a:pt x="225" y="1435"/>
                  </a:lnTo>
                  <a:lnTo>
                    <a:pt x="225" y="1436"/>
                  </a:lnTo>
                  <a:close/>
                  <a:moveTo>
                    <a:pt x="205" y="1505"/>
                  </a:moveTo>
                  <a:lnTo>
                    <a:pt x="205" y="1506"/>
                  </a:lnTo>
                  <a:lnTo>
                    <a:pt x="205" y="1505"/>
                  </a:lnTo>
                  <a:lnTo>
                    <a:pt x="205" y="1506"/>
                  </a:lnTo>
                  <a:lnTo>
                    <a:pt x="205" y="1505"/>
                  </a:lnTo>
                  <a:close/>
                  <a:moveTo>
                    <a:pt x="251" y="1396"/>
                  </a:moveTo>
                  <a:lnTo>
                    <a:pt x="252" y="1396"/>
                  </a:lnTo>
                  <a:lnTo>
                    <a:pt x="252" y="1397"/>
                  </a:lnTo>
                  <a:lnTo>
                    <a:pt x="251" y="1396"/>
                  </a:lnTo>
                  <a:close/>
                  <a:moveTo>
                    <a:pt x="317" y="1503"/>
                  </a:moveTo>
                  <a:lnTo>
                    <a:pt x="317" y="1505"/>
                  </a:lnTo>
                  <a:lnTo>
                    <a:pt x="316" y="1505"/>
                  </a:lnTo>
                  <a:lnTo>
                    <a:pt x="316" y="1503"/>
                  </a:lnTo>
                  <a:lnTo>
                    <a:pt x="317" y="1505"/>
                  </a:lnTo>
                  <a:lnTo>
                    <a:pt x="317" y="1503"/>
                  </a:lnTo>
                  <a:lnTo>
                    <a:pt x="317" y="1505"/>
                  </a:lnTo>
                  <a:lnTo>
                    <a:pt x="317" y="1503"/>
                  </a:lnTo>
                  <a:close/>
                  <a:moveTo>
                    <a:pt x="326" y="1433"/>
                  </a:moveTo>
                  <a:lnTo>
                    <a:pt x="326" y="1432"/>
                  </a:lnTo>
                  <a:lnTo>
                    <a:pt x="326" y="1433"/>
                  </a:lnTo>
                  <a:close/>
                  <a:moveTo>
                    <a:pt x="332" y="1503"/>
                  </a:moveTo>
                  <a:lnTo>
                    <a:pt x="330" y="1501"/>
                  </a:lnTo>
                  <a:lnTo>
                    <a:pt x="332" y="1501"/>
                  </a:lnTo>
                  <a:lnTo>
                    <a:pt x="334" y="1501"/>
                  </a:lnTo>
                  <a:lnTo>
                    <a:pt x="332" y="1503"/>
                  </a:lnTo>
                  <a:lnTo>
                    <a:pt x="334" y="1503"/>
                  </a:lnTo>
                  <a:lnTo>
                    <a:pt x="332" y="1503"/>
                  </a:lnTo>
                  <a:lnTo>
                    <a:pt x="332" y="1501"/>
                  </a:lnTo>
                  <a:lnTo>
                    <a:pt x="332" y="1503"/>
                  </a:lnTo>
                  <a:close/>
                  <a:moveTo>
                    <a:pt x="300" y="1445"/>
                  </a:moveTo>
                  <a:lnTo>
                    <a:pt x="301" y="1446"/>
                  </a:lnTo>
                  <a:lnTo>
                    <a:pt x="300" y="1446"/>
                  </a:lnTo>
                  <a:lnTo>
                    <a:pt x="300" y="1445"/>
                  </a:lnTo>
                  <a:close/>
                  <a:moveTo>
                    <a:pt x="465" y="1453"/>
                  </a:moveTo>
                  <a:lnTo>
                    <a:pt x="465" y="1451"/>
                  </a:lnTo>
                  <a:lnTo>
                    <a:pt x="465" y="1453"/>
                  </a:lnTo>
                  <a:close/>
                  <a:moveTo>
                    <a:pt x="236" y="1459"/>
                  </a:moveTo>
                  <a:lnTo>
                    <a:pt x="238" y="1459"/>
                  </a:lnTo>
                  <a:lnTo>
                    <a:pt x="238" y="1461"/>
                  </a:lnTo>
                  <a:lnTo>
                    <a:pt x="236" y="1459"/>
                  </a:lnTo>
                  <a:close/>
                  <a:moveTo>
                    <a:pt x="649" y="1358"/>
                  </a:moveTo>
                  <a:lnTo>
                    <a:pt x="651" y="1358"/>
                  </a:lnTo>
                  <a:lnTo>
                    <a:pt x="651" y="1360"/>
                  </a:lnTo>
                  <a:lnTo>
                    <a:pt x="649" y="1360"/>
                  </a:lnTo>
                  <a:lnTo>
                    <a:pt x="649" y="1358"/>
                  </a:lnTo>
                  <a:close/>
                  <a:moveTo>
                    <a:pt x="317" y="1506"/>
                  </a:moveTo>
                  <a:lnTo>
                    <a:pt x="317" y="1505"/>
                  </a:lnTo>
                  <a:lnTo>
                    <a:pt x="317" y="1506"/>
                  </a:lnTo>
                  <a:close/>
                  <a:moveTo>
                    <a:pt x="161" y="1070"/>
                  </a:moveTo>
                  <a:lnTo>
                    <a:pt x="161" y="1072"/>
                  </a:lnTo>
                  <a:lnTo>
                    <a:pt x="161" y="1070"/>
                  </a:lnTo>
                  <a:close/>
                  <a:moveTo>
                    <a:pt x="140" y="1464"/>
                  </a:moveTo>
                  <a:lnTo>
                    <a:pt x="140" y="1466"/>
                  </a:lnTo>
                  <a:lnTo>
                    <a:pt x="140" y="1464"/>
                  </a:lnTo>
                  <a:close/>
                  <a:moveTo>
                    <a:pt x="194" y="1053"/>
                  </a:moveTo>
                  <a:lnTo>
                    <a:pt x="195" y="1053"/>
                  </a:lnTo>
                  <a:lnTo>
                    <a:pt x="194" y="1054"/>
                  </a:lnTo>
                  <a:lnTo>
                    <a:pt x="194" y="1053"/>
                  </a:lnTo>
                  <a:close/>
                  <a:moveTo>
                    <a:pt x="252" y="1397"/>
                  </a:moveTo>
                  <a:lnTo>
                    <a:pt x="252" y="1399"/>
                  </a:lnTo>
                  <a:lnTo>
                    <a:pt x="254" y="1399"/>
                  </a:lnTo>
                  <a:lnTo>
                    <a:pt x="252" y="1399"/>
                  </a:lnTo>
                  <a:lnTo>
                    <a:pt x="252" y="1397"/>
                  </a:lnTo>
                  <a:close/>
                  <a:moveTo>
                    <a:pt x="646" y="1355"/>
                  </a:moveTo>
                  <a:lnTo>
                    <a:pt x="646" y="1357"/>
                  </a:lnTo>
                  <a:lnTo>
                    <a:pt x="646" y="1355"/>
                  </a:lnTo>
                  <a:close/>
                  <a:moveTo>
                    <a:pt x="366" y="1480"/>
                  </a:moveTo>
                  <a:lnTo>
                    <a:pt x="368" y="1480"/>
                  </a:lnTo>
                  <a:lnTo>
                    <a:pt x="368" y="1482"/>
                  </a:lnTo>
                  <a:lnTo>
                    <a:pt x="366" y="1482"/>
                  </a:lnTo>
                  <a:lnTo>
                    <a:pt x="366" y="1480"/>
                  </a:lnTo>
                  <a:close/>
                  <a:moveTo>
                    <a:pt x="246" y="1381"/>
                  </a:moveTo>
                  <a:lnTo>
                    <a:pt x="247" y="1383"/>
                  </a:lnTo>
                  <a:lnTo>
                    <a:pt x="246" y="1383"/>
                  </a:lnTo>
                  <a:lnTo>
                    <a:pt x="246" y="1381"/>
                  </a:lnTo>
                  <a:close/>
                  <a:moveTo>
                    <a:pt x="142" y="1451"/>
                  </a:moveTo>
                  <a:lnTo>
                    <a:pt x="142" y="1453"/>
                  </a:lnTo>
                  <a:lnTo>
                    <a:pt x="142" y="1451"/>
                  </a:lnTo>
                  <a:lnTo>
                    <a:pt x="142" y="1453"/>
                  </a:lnTo>
                  <a:lnTo>
                    <a:pt x="143" y="1453"/>
                  </a:lnTo>
                  <a:lnTo>
                    <a:pt x="142" y="1453"/>
                  </a:lnTo>
                  <a:lnTo>
                    <a:pt x="142" y="1451"/>
                  </a:lnTo>
                  <a:close/>
                  <a:moveTo>
                    <a:pt x="378" y="1493"/>
                  </a:moveTo>
                  <a:lnTo>
                    <a:pt x="379" y="1493"/>
                  </a:lnTo>
                  <a:lnTo>
                    <a:pt x="378" y="1495"/>
                  </a:lnTo>
                  <a:lnTo>
                    <a:pt x="376" y="1495"/>
                  </a:lnTo>
                  <a:lnTo>
                    <a:pt x="378" y="1495"/>
                  </a:lnTo>
                  <a:lnTo>
                    <a:pt x="378" y="1493"/>
                  </a:lnTo>
                  <a:lnTo>
                    <a:pt x="379" y="1493"/>
                  </a:lnTo>
                  <a:lnTo>
                    <a:pt x="378" y="1493"/>
                  </a:lnTo>
                  <a:close/>
                  <a:moveTo>
                    <a:pt x="244" y="1438"/>
                  </a:moveTo>
                  <a:lnTo>
                    <a:pt x="246" y="1438"/>
                  </a:lnTo>
                  <a:lnTo>
                    <a:pt x="246" y="1440"/>
                  </a:lnTo>
                  <a:lnTo>
                    <a:pt x="244" y="1440"/>
                  </a:lnTo>
                  <a:lnTo>
                    <a:pt x="244" y="1438"/>
                  </a:lnTo>
                  <a:close/>
                  <a:moveTo>
                    <a:pt x="430" y="1482"/>
                  </a:moveTo>
                  <a:lnTo>
                    <a:pt x="428" y="1482"/>
                  </a:lnTo>
                  <a:lnTo>
                    <a:pt x="430" y="1482"/>
                  </a:lnTo>
                  <a:close/>
                  <a:moveTo>
                    <a:pt x="343" y="661"/>
                  </a:moveTo>
                  <a:lnTo>
                    <a:pt x="345" y="661"/>
                  </a:lnTo>
                  <a:lnTo>
                    <a:pt x="345" y="662"/>
                  </a:lnTo>
                  <a:lnTo>
                    <a:pt x="345" y="661"/>
                  </a:lnTo>
                  <a:lnTo>
                    <a:pt x="343" y="661"/>
                  </a:lnTo>
                  <a:close/>
                  <a:moveTo>
                    <a:pt x="246" y="1523"/>
                  </a:moveTo>
                  <a:lnTo>
                    <a:pt x="247" y="1523"/>
                  </a:lnTo>
                  <a:lnTo>
                    <a:pt x="247" y="1524"/>
                  </a:lnTo>
                  <a:lnTo>
                    <a:pt x="246" y="1524"/>
                  </a:lnTo>
                  <a:lnTo>
                    <a:pt x="246" y="1523"/>
                  </a:lnTo>
                  <a:lnTo>
                    <a:pt x="247" y="1523"/>
                  </a:lnTo>
                  <a:lnTo>
                    <a:pt x="246" y="1523"/>
                  </a:lnTo>
                  <a:close/>
                  <a:moveTo>
                    <a:pt x="228" y="1253"/>
                  </a:moveTo>
                  <a:lnTo>
                    <a:pt x="230" y="1254"/>
                  </a:lnTo>
                  <a:lnTo>
                    <a:pt x="228" y="1253"/>
                  </a:lnTo>
                  <a:close/>
                  <a:moveTo>
                    <a:pt x="296" y="657"/>
                  </a:moveTo>
                  <a:lnTo>
                    <a:pt x="296" y="659"/>
                  </a:lnTo>
                  <a:lnTo>
                    <a:pt x="296" y="657"/>
                  </a:lnTo>
                  <a:close/>
                  <a:moveTo>
                    <a:pt x="145" y="1451"/>
                  </a:moveTo>
                  <a:lnTo>
                    <a:pt x="147" y="1451"/>
                  </a:lnTo>
                  <a:lnTo>
                    <a:pt x="147" y="1453"/>
                  </a:lnTo>
                  <a:lnTo>
                    <a:pt x="145" y="1453"/>
                  </a:lnTo>
                  <a:lnTo>
                    <a:pt x="145" y="1451"/>
                  </a:lnTo>
                  <a:close/>
                  <a:moveTo>
                    <a:pt x="261" y="926"/>
                  </a:moveTo>
                  <a:lnTo>
                    <a:pt x="259" y="926"/>
                  </a:lnTo>
                  <a:lnTo>
                    <a:pt x="259" y="924"/>
                  </a:lnTo>
                  <a:lnTo>
                    <a:pt x="261" y="924"/>
                  </a:lnTo>
                  <a:lnTo>
                    <a:pt x="261" y="926"/>
                  </a:lnTo>
                  <a:lnTo>
                    <a:pt x="261" y="924"/>
                  </a:lnTo>
                  <a:lnTo>
                    <a:pt x="261" y="926"/>
                  </a:lnTo>
                  <a:close/>
                  <a:moveTo>
                    <a:pt x="236" y="1360"/>
                  </a:moveTo>
                  <a:lnTo>
                    <a:pt x="236" y="1358"/>
                  </a:lnTo>
                  <a:lnTo>
                    <a:pt x="236" y="1360"/>
                  </a:lnTo>
                  <a:lnTo>
                    <a:pt x="234" y="1360"/>
                  </a:lnTo>
                  <a:lnTo>
                    <a:pt x="236" y="1360"/>
                  </a:lnTo>
                  <a:close/>
                  <a:moveTo>
                    <a:pt x="239" y="1295"/>
                  </a:moveTo>
                  <a:lnTo>
                    <a:pt x="241" y="1295"/>
                  </a:lnTo>
                  <a:lnTo>
                    <a:pt x="239" y="1295"/>
                  </a:lnTo>
                  <a:close/>
                  <a:moveTo>
                    <a:pt x="412" y="1487"/>
                  </a:moveTo>
                  <a:lnTo>
                    <a:pt x="413" y="1487"/>
                  </a:lnTo>
                  <a:lnTo>
                    <a:pt x="415" y="1487"/>
                  </a:lnTo>
                  <a:lnTo>
                    <a:pt x="413" y="1487"/>
                  </a:lnTo>
                  <a:lnTo>
                    <a:pt x="412" y="1487"/>
                  </a:lnTo>
                  <a:close/>
                  <a:moveTo>
                    <a:pt x="252" y="1454"/>
                  </a:moveTo>
                  <a:lnTo>
                    <a:pt x="254" y="1454"/>
                  </a:lnTo>
                  <a:lnTo>
                    <a:pt x="252" y="1454"/>
                  </a:lnTo>
                  <a:close/>
                  <a:moveTo>
                    <a:pt x="269" y="1474"/>
                  </a:moveTo>
                  <a:lnTo>
                    <a:pt x="270" y="1474"/>
                  </a:lnTo>
                  <a:lnTo>
                    <a:pt x="270" y="1475"/>
                  </a:lnTo>
                  <a:lnTo>
                    <a:pt x="269" y="1475"/>
                  </a:lnTo>
                  <a:lnTo>
                    <a:pt x="269" y="1474"/>
                  </a:lnTo>
                  <a:close/>
                  <a:moveTo>
                    <a:pt x="696" y="1318"/>
                  </a:moveTo>
                  <a:lnTo>
                    <a:pt x="696" y="1316"/>
                  </a:lnTo>
                  <a:lnTo>
                    <a:pt x="698" y="1318"/>
                  </a:lnTo>
                  <a:lnTo>
                    <a:pt x="696" y="1318"/>
                  </a:lnTo>
                  <a:close/>
                  <a:moveTo>
                    <a:pt x="280" y="1423"/>
                  </a:moveTo>
                  <a:lnTo>
                    <a:pt x="280" y="1422"/>
                  </a:lnTo>
                  <a:lnTo>
                    <a:pt x="282" y="1422"/>
                  </a:lnTo>
                  <a:lnTo>
                    <a:pt x="282" y="1423"/>
                  </a:lnTo>
                  <a:lnTo>
                    <a:pt x="280" y="1423"/>
                  </a:lnTo>
                  <a:close/>
                  <a:moveTo>
                    <a:pt x="654" y="1339"/>
                  </a:moveTo>
                  <a:lnTo>
                    <a:pt x="654" y="1337"/>
                  </a:lnTo>
                  <a:lnTo>
                    <a:pt x="654" y="1339"/>
                  </a:lnTo>
                  <a:lnTo>
                    <a:pt x="652" y="1339"/>
                  </a:lnTo>
                  <a:lnTo>
                    <a:pt x="654" y="1339"/>
                  </a:lnTo>
                  <a:close/>
                  <a:moveTo>
                    <a:pt x="291" y="1503"/>
                  </a:moveTo>
                  <a:lnTo>
                    <a:pt x="293" y="1503"/>
                  </a:lnTo>
                  <a:lnTo>
                    <a:pt x="293" y="1501"/>
                  </a:lnTo>
                  <a:lnTo>
                    <a:pt x="293" y="1503"/>
                  </a:lnTo>
                  <a:lnTo>
                    <a:pt x="291" y="1503"/>
                  </a:lnTo>
                  <a:lnTo>
                    <a:pt x="293" y="1503"/>
                  </a:lnTo>
                  <a:lnTo>
                    <a:pt x="291" y="1503"/>
                  </a:lnTo>
                  <a:close/>
                  <a:moveTo>
                    <a:pt x="251" y="1432"/>
                  </a:moveTo>
                  <a:lnTo>
                    <a:pt x="252" y="1432"/>
                  </a:lnTo>
                  <a:lnTo>
                    <a:pt x="251" y="1432"/>
                  </a:lnTo>
                  <a:close/>
                  <a:moveTo>
                    <a:pt x="287" y="1492"/>
                  </a:moveTo>
                  <a:lnTo>
                    <a:pt x="288" y="1492"/>
                  </a:lnTo>
                  <a:lnTo>
                    <a:pt x="287" y="1492"/>
                  </a:lnTo>
                  <a:lnTo>
                    <a:pt x="288" y="1492"/>
                  </a:lnTo>
                  <a:lnTo>
                    <a:pt x="287" y="1492"/>
                  </a:lnTo>
                  <a:close/>
                  <a:moveTo>
                    <a:pt x="412" y="1479"/>
                  </a:moveTo>
                  <a:lnTo>
                    <a:pt x="412" y="1477"/>
                  </a:lnTo>
                  <a:lnTo>
                    <a:pt x="412" y="1479"/>
                  </a:lnTo>
                  <a:close/>
                  <a:moveTo>
                    <a:pt x="355" y="1495"/>
                  </a:moveTo>
                  <a:lnTo>
                    <a:pt x="356" y="1495"/>
                  </a:lnTo>
                  <a:lnTo>
                    <a:pt x="358" y="1495"/>
                  </a:lnTo>
                  <a:lnTo>
                    <a:pt x="356" y="1495"/>
                  </a:lnTo>
                  <a:lnTo>
                    <a:pt x="356" y="1497"/>
                  </a:lnTo>
                  <a:lnTo>
                    <a:pt x="356" y="1495"/>
                  </a:lnTo>
                  <a:lnTo>
                    <a:pt x="356" y="1497"/>
                  </a:lnTo>
                  <a:lnTo>
                    <a:pt x="355" y="1495"/>
                  </a:lnTo>
                  <a:close/>
                  <a:moveTo>
                    <a:pt x="386" y="1484"/>
                  </a:moveTo>
                  <a:lnTo>
                    <a:pt x="387" y="1484"/>
                  </a:lnTo>
                  <a:lnTo>
                    <a:pt x="386" y="1484"/>
                  </a:lnTo>
                  <a:close/>
                  <a:moveTo>
                    <a:pt x="656" y="1349"/>
                  </a:moveTo>
                  <a:lnTo>
                    <a:pt x="656" y="1350"/>
                  </a:lnTo>
                  <a:lnTo>
                    <a:pt x="656" y="1349"/>
                  </a:lnTo>
                  <a:lnTo>
                    <a:pt x="656" y="1347"/>
                  </a:lnTo>
                  <a:lnTo>
                    <a:pt x="657" y="1349"/>
                  </a:lnTo>
                  <a:lnTo>
                    <a:pt x="656" y="1349"/>
                  </a:lnTo>
                  <a:close/>
                  <a:moveTo>
                    <a:pt x="182" y="1451"/>
                  </a:moveTo>
                  <a:lnTo>
                    <a:pt x="184" y="1449"/>
                  </a:lnTo>
                  <a:lnTo>
                    <a:pt x="184" y="1451"/>
                  </a:lnTo>
                  <a:lnTo>
                    <a:pt x="182" y="1451"/>
                  </a:lnTo>
                  <a:close/>
                  <a:moveTo>
                    <a:pt x="259" y="1524"/>
                  </a:moveTo>
                  <a:lnTo>
                    <a:pt x="261" y="1524"/>
                  </a:lnTo>
                  <a:lnTo>
                    <a:pt x="259" y="1524"/>
                  </a:lnTo>
                  <a:lnTo>
                    <a:pt x="259" y="1526"/>
                  </a:lnTo>
                  <a:lnTo>
                    <a:pt x="259" y="1524"/>
                  </a:lnTo>
                  <a:close/>
                  <a:moveTo>
                    <a:pt x="296" y="1472"/>
                  </a:moveTo>
                  <a:lnTo>
                    <a:pt x="295" y="1472"/>
                  </a:lnTo>
                  <a:lnTo>
                    <a:pt x="295" y="1471"/>
                  </a:lnTo>
                  <a:lnTo>
                    <a:pt x="296" y="1471"/>
                  </a:lnTo>
                  <a:lnTo>
                    <a:pt x="296" y="1472"/>
                  </a:lnTo>
                  <a:close/>
                  <a:moveTo>
                    <a:pt x="347" y="1498"/>
                  </a:moveTo>
                  <a:lnTo>
                    <a:pt x="347" y="1497"/>
                  </a:lnTo>
                  <a:lnTo>
                    <a:pt x="347" y="1498"/>
                  </a:lnTo>
                  <a:close/>
                  <a:moveTo>
                    <a:pt x="236" y="1422"/>
                  </a:moveTo>
                  <a:lnTo>
                    <a:pt x="238" y="1422"/>
                  </a:lnTo>
                  <a:lnTo>
                    <a:pt x="236" y="1422"/>
                  </a:lnTo>
                  <a:close/>
                  <a:moveTo>
                    <a:pt x="278" y="1419"/>
                  </a:moveTo>
                  <a:lnTo>
                    <a:pt x="278" y="1420"/>
                  </a:lnTo>
                  <a:lnTo>
                    <a:pt x="278" y="1419"/>
                  </a:lnTo>
                  <a:lnTo>
                    <a:pt x="278" y="1420"/>
                  </a:lnTo>
                  <a:lnTo>
                    <a:pt x="278" y="1419"/>
                  </a:lnTo>
                  <a:close/>
                  <a:moveTo>
                    <a:pt x="335" y="1427"/>
                  </a:moveTo>
                  <a:lnTo>
                    <a:pt x="334" y="1427"/>
                  </a:lnTo>
                  <a:lnTo>
                    <a:pt x="335" y="1427"/>
                  </a:lnTo>
                  <a:close/>
                  <a:moveTo>
                    <a:pt x="339" y="1461"/>
                  </a:moveTo>
                  <a:lnTo>
                    <a:pt x="339" y="1459"/>
                  </a:lnTo>
                  <a:lnTo>
                    <a:pt x="339" y="1461"/>
                  </a:lnTo>
                  <a:lnTo>
                    <a:pt x="340" y="1459"/>
                  </a:lnTo>
                  <a:lnTo>
                    <a:pt x="340" y="1461"/>
                  </a:lnTo>
                  <a:lnTo>
                    <a:pt x="339" y="1461"/>
                  </a:lnTo>
                  <a:close/>
                  <a:moveTo>
                    <a:pt x="197" y="1471"/>
                  </a:moveTo>
                  <a:lnTo>
                    <a:pt x="197" y="1472"/>
                  </a:lnTo>
                  <a:lnTo>
                    <a:pt x="197" y="1471"/>
                  </a:lnTo>
                  <a:close/>
                  <a:moveTo>
                    <a:pt x="264" y="1495"/>
                  </a:moveTo>
                  <a:lnTo>
                    <a:pt x="265" y="1495"/>
                  </a:lnTo>
                  <a:lnTo>
                    <a:pt x="264" y="1495"/>
                  </a:lnTo>
                  <a:close/>
                  <a:moveTo>
                    <a:pt x="234" y="1288"/>
                  </a:moveTo>
                  <a:lnTo>
                    <a:pt x="234" y="1290"/>
                  </a:lnTo>
                  <a:lnTo>
                    <a:pt x="234" y="1288"/>
                  </a:lnTo>
                  <a:close/>
                  <a:moveTo>
                    <a:pt x="272" y="1458"/>
                  </a:moveTo>
                  <a:lnTo>
                    <a:pt x="272" y="1459"/>
                  </a:lnTo>
                  <a:lnTo>
                    <a:pt x="272" y="1458"/>
                  </a:lnTo>
                  <a:close/>
                  <a:moveTo>
                    <a:pt x="366" y="1436"/>
                  </a:moveTo>
                  <a:lnTo>
                    <a:pt x="368" y="1436"/>
                  </a:lnTo>
                  <a:lnTo>
                    <a:pt x="368" y="1438"/>
                  </a:lnTo>
                  <a:lnTo>
                    <a:pt x="366" y="1438"/>
                  </a:lnTo>
                  <a:lnTo>
                    <a:pt x="366" y="1436"/>
                  </a:lnTo>
                  <a:close/>
                  <a:moveTo>
                    <a:pt x="366" y="1475"/>
                  </a:moveTo>
                  <a:lnTo>
                    <a:pt x="368" y="1474"/>
                  </a:lnTo>
                  <a:lnTo>
                    <a:pt x="368" y="1475"/>
                  </a:lnTo>
                  <a:lnTo>
                    <a:pt x="366" y="1475"/>
                  </a:lnTo>
                  <a:close/>
                  <a:moveTo>
                    <a:pt x="200" y="1048"/>
                  </a:moveTo>
                  <a:lnTo>
                    <a:pt x="200" y="1046"/>
                  </a:lnTo>
                  <a:lnTo>
                    <a:pt x="202" y="1046"/>
                  </a:lnTo>
                  <a:lnTo>
                    <a:pt x="202" y="1048"/>
                  </a:lnTo>
                  <a:lnTo>
                    <a:pt x="200" y="1048"/>
                  </a:lnTo>
                  <a:close/>
                  <a:moveTo>
                    <a:pt x="251" y="1441"/>
                  </a:moveTo>
                  <a:lnTo>
                    <a:pt x="252" y="1441"/>
                  </a:lnTo>
                  <a:lnTo>
                    <a:pt x="251" y="1441"/>
                  </a:lnTo>
                  <a:lnTo>
                    <a:pt x="251" y="1440"/>
                  </a:lnTo>
                  <a:lnTo>
                    <a:pt x="251" y="1441"/>
                  </a:lnTo>
                  <a:close/>
                  <a:moveTo>
                    <a:pt x="321" y="1505"/>
                  </a:moveTo>
                  <a:lnTo>
                    <a:pt x="321" y="1503"/>
                  </a:lnTo>
                  <a:lnTo>
                    <a:pt x="322" y="1505"/>
                  </a:lnTo>
                  <a:lnTo>
                    <a:pt x="321" y="1505"/>
                  </a:lnTo>
                  <a:close/>
                  <a:moveTo>
                    <a:pt x="324" y="659"/>
                  </a:moveTo>
                  <a:lnTo>
                    <a:pt x="326" y="659"/>
                  </a:lnTo>
                  <a:lnTo>
                    <a:pt x="326" y="661"/>
                  </a:lnTo>
                  <a:lnTo>
                    <a:pt x="324" y="659"/>
                  </a:lnTo>
                  <a:close/>
                  <a:moveTo>
                    <a:pt x="513" y="1419"/>
                  </a:moveTo>
                  <a:lnTo>
                    <a:pt x="513" y="1420"/>
                  </a:lnTo>
                  <a:lnTo>
                    <a:pt x="513" y="1419"/>
                  </a:lnTo>
                  <a:lnTo>
                    <a:pt x="511" y="1419"/>
                  </a:lnTo>
                  <a:lnTo>
                    <a:pt x="513" y="1419"/>
                  </a:lnTo>
                  <a:close/>
                  <a:moveTo>
                    <a:pt x="194" y="1150"/>
                  </a:moveTo>
                  <a:lnTo>
                    <a:pt x="194" y="1149"/>
                  </a:lnTo>
                  <a:lnTo>
                    <a:pt x="194" y="1150"/>
                  </a:lnTo>
                  <a:lnTo>
                    <a:pt x="194" y="1149"/>
                  </a:lnTo>
                  <a:lnTo>
                    <a:pt x="194" y="1150"/>
                  </a:lnTo>
                  <a:close/>
                  <a:moveTo>
                    <a:pt x="241" y="1349"/>
                  </a:moveTo>
                  <a:lnTo>
                    <a:pt x="243" y="1349"/>
                  </a:lnTo>
                  <a:lnTo>
                    <a:pt x="243" y="1350"/>
                  </a:lnTo>
                  <a:lnTo>
                    <a:pt x="241" y="1349"/>
                  </a:lnTo>
                  <a:close/>
                  <a:moveTo>
                    <a:pt x="340" y="1441"/>
                  </a:moveTo>
                  <a:lnTo>
                    <a:pt x="342" y="1441"/>
                  </a:lnTo>
                  <a:lnTo>
                    <a:pt x="342" y="1443"/>
                  </a:lnTo>
                  <a:lnTo>
                    <a:pt x="340" y="1443"/>
                  </a:lnTo>
                  <a:lnTo>
                    <a:pt x="340" y="1441"/>
                  </a:lnTo>
                  <a:close/>
                  <a:moveTo>
                    <a:pt x="433" y="1479"/>
                  </a:moveTo>
                  <a:lnTo>
                    <a:pt x="433" y="1477"/>
                  </a:lnTo>
                  <a:lnTo>
                    <a:pt x="435" y="1479"/>
                  </a:lnTo>
                  <a:lnTo>
                    <a:pt x="433" y="1479"/>
                  </a:lnTo>
                  <a:close/>
                  <a:moveTo>
                    <a:pt x="584" y="1389"/>
                  </a:moveTo>
                  <a:lnTo>
                    <a:pt x="586" y="1389"/>
                  </a:lnTo>
                  <a:lnTo>
                    <a:pt x="584" y="1389"/>
                  </a:lnTo>
                  <a:close/>
                  <a:moveTo>
                    <a:pt x="267" y="1497"/>
                  </a:moveTo>
                  <a:lnTo>
                    <a:pt x="269" y="1497"/>
                  </a:lnTo>
                  <a:lnTo>
                    <a:pt x="267" y="1497"/>
                  </a:lnTo>
                  <a:close/>
                  <a:moveTo>
                    <a:pt x="272" y="1454"/>
                  </a:moveTo>
                  <a:lnTo>
                    <a:pt x="270" y="1454"/>
                  </a:lnTo>
                  <a:lnTo>
                    <a:pt x="270" y="1456"/>
                  </a:lnTo>
                  <a:lnTo>
                    <a:pt x="270" y="1454"/>
                  </a:lnTo>
                  <a:lnTo>
                    <a:pt x="272" y="1454"/>
                  </a:lnTo>
                  <a:close/>
                  <a:moveTo>
                    <a:pt x="238" y="1375"/>
                  </a:moveTo>
                  <a:lnTo>
                    <a:pt x="239" y="1375"/>
                  </a:lnTo>
                  <a:lnTo>
                    <a:pt x="239" y="1376"/>
                  </a:lnTo>
                  <a:lnTo>
                    <a:pt x="238" y="1376"/>
                  </a:lnTo>
                  <a:lnTo>
                    <a:pt x="238" y="1375"/>
                  </a:lnTo>
                  <a:close/>
                  <a:moveTo>
                    <a:pt x="326" y="1459"/>
                  </a:moveTo>
                  <a:lnTo>
                    <a:pt x="324" y="1459"/>
                  </a:lnTo>
                  <a:lnTo>
                    <a:pt x="326" y="1458"/>
                  </a:lnTo>
                  <a:lnTo>
                    <a:pt x="326" y="1459"/>
                  </a:lnTo>
                  <a:close/>
                  <a:moveTo>
                    <a:pt x="247" y="1449"/>
                  </a:moveTo>
                  <a:lnTo>
                    <a:pt x="247" y="1448"/>
                  </a:lnTo>
                  <a:lnTo>
                    <a:pt x="249" y="1449"/>
                  </a:lnTo>
                  <a:lnTo>
                    <a:pt x="247" y="1451"/>
                  </a:lnTo>
                  <a:lnTo>
                    <a:pt x="247" y="1449"/>
                  </a:lnTo>
                  <a:close/>
                  <a:moveTo>
                    <a:pt x="189" y="1513"/>
                  </a:moveTo>
                  <a:lnTo>
                    <a:pt x="189" y="1511"/>
                  </a:lnTo>
                  <a:lnTo>
                    <a:pt x="191" y="1511"/>
                  </a:lnTo>
                  <a:lnTo>
                    <a:pt x="189" y="1513"/>
                  </a:lnTo>
                  <a:close/>
                  <a:moveTo>
                    <a:pt x="343" y="659"/>
                  </a:moveTo>
                  <a:lnTo>
                    <a:pt x="345" y="661"/>
                  </a:lnTo>
                  <a:lnTo>
                    <a:pt x="343" y="661"/>
                  </a:lnTo>
                  <a:lnTo>
                    <a:pt x="343" y="659"/>
                  </a:lnTo>
                  <a:lnTo>
                    <a:pt x="343" y="661"/>
                  </a:lnTo>
                  <a:lnTo>
                    <a:pt x="343" y="659"/>
                  </a:lnTo>
                  <a:close/>
                  <a:moveTo>
                    <a:pt x="176" y="1074"/>
                  </a:moveTo>
                  <a:lnTo>
                    <a:pt x="176" y="1072"/>
                  </a:lnTo>
                  <a:lnTo>
                    <a:pt x="176" y="1074"/>
                  </a:lnTo>
                  <a:close/>
                  <a:moveTo>
                    <a:pt x="204" y="1505"/>
                  </a:moveTo>
                  <a:lnTo>
                    <a:pt x="204" y="1503"/>
                  </a:lnTo>
                  <a:lnTo>
                    <a:pt x="202" y="1503"/>
                  </a:lnTo>
                  <a:lnTo>
                    <a:pt x="204" y="1503"/>
                  </a:lnTo>
                  <a:lnTo>
                    <a:pt x="204" y="1505"/>
                  </a:lnTo>
                  <a:close/>
                  <a:moveTo>
                    <a:pt x="300" y="1436"/>
                  </a:moveTo>
                  <a:lnTo>
                    <a:pt x="301" y="1436"/>
                  </a:lnTo>
                  <a:lnTo>
                    <a:pt x="301" y="1438"/>
                  </a:lnTo>
                  <a:lnTo>
                    <a:pt x="300" y="1438"/>
                  </a:lnTo>
                  <a:lnTo>
                    <a:pt x="300" y="1436"/>
                  </a:lnTo>
                  <a:close/>
                  <a:moveTo>
                    <a:pt x="215" y="1508"/>
                  </a:moveTo>
                  <a:lnTo>
                    <a:pt x="213" y="1508"/>
                  </a:lnTo>
                  <a:lnTo>
                    <a:pt x="213" y="1510"/>
                  </a:lnTo>
                  <a:lnTo>
                    <a:pt x="213" y="1508"/>
                  </a:lnTo>
                  <a:lnTo>
                    <a:pt x="215" y="1508"/>
                  </a:lnTo>
                  <a:lnTo>
                    <a:pt x="213" y="1508"/>
                  </a:lnTo>
                  <a:lnTo>
                    <a:pt x="215" y="1508"/>
                  </a:lnTo>
                  <a:close/>
                  <a:moveTo>
                    <a:pt x="356" y="1441"/>
                  </a:moveTo>
                  <a:lnTo>
                    <a:pt x="358" y="1440"/>
                  </a:lnTo>
                  <a:lnTo>
                    <a:pt x="358" y="1441"/>
                  </a:lnTo>
                  <a:lnTo>
                    <a:pt x="358" y="1440"/>
                  </a:lnTo>
                  <a:lnTo>
                    <a:pt x="358" y="1441"/>
                  </a:lnTo>
                  <a:lnTo>
                    <a:pt x="356" y="1441"/>
                  </a:lnTo>
                  <a:close/>
                  <a:moveTo>
                    <a:pt x="236" y="989"/>
                  </a:moveTo>
                  <a:lnTo>
                    <a:pt x="236" y="988"/>
                  </a:lnTo>
                  <a:lnTo>
                    <a:pt x="238" y="988"/>
                  </a:lnTo>
                  <a:lnTo>
                    <a:pt x="238" y="989"/>
                  </a:lnTo>
                  <a:lnTo>
                    <a:pt x="236" y="989"/>
                  </a:lnTo>
                  <a:close/>
                  <a:moveTo>
                    <a:pt x="558" y="1402"/>
                  </a:moveTo>
                  <a:lnTo>
                    <a:pt x="557" y="1402"/>
                  </a:lnTo>
                  <a:lnTo>
                    <a:pt x="558" y="1402"/>
                  </a:lnTo>
                  <a:close/>
                  <a:moveTo>
                    <a:pt x="217" y="1438"/>
                  </a:moveTo>
                  <a:lnTo>
                    <a:pt x="217" y="1440"/>
                  </a:lnTo>
                  <a:lnTo>
                    <a:pt x="217" y="1438"/>
                  </a:lnTo>
                  <a:lnTo>
                    <a:pt x="217" y="1436"/>
                  </a:lnTo>
                  <a:lnTo>
                    <a:pt x="217" y="1438"/>
                  </a:lnTo>
                  <a:close/>
                  <a:moveTo>
                    <a:pt x="269" y="1453"/>
                  </a:moveTo>
                  <a:lnTo>
                    <a:pt x="267" y="1453"/>
                  </a:lnTo>
                  <a:lnTo>
                    <a:pt x="269" y="1453"/>
                  </a:lnTo>
                  <a:close/>
                  <a:moveTo>
                    <a:pt x="189" y="1075"/>
                  </a:moveTo>
                  <a:lnTo>
                    <a:pt x="189" y="1074"/>
                  </a:lnTo>
                  <a:lnTo>
                    <a:pt x="189" y="1072"/>
                  </a:lnTo>
                  <a:lnTo>
                    <a:pt x="191" y="1072"/>
                  </a:lnTo>
                  <a:lnTo>
                    <a:pt x="191" y="1074"/>
                  </a:lnTo>
                  <a:lnTo>
                    <a:pt x="189" y="1075"/>
                  </a:lnTo>
                  <a:close/>
                  <a:moveTo>
                    <a:pt x="272" y="1453"/>
                  </a:moveTo>
                  <a:lnTo>
                    <a:pt x="272" y="1454"/>
                  </a:lnTo>
                  <a:lnTo>
                    <a:pt x="270" y="1454"/>
                  </a:lnTo>
                  <a:lnTo>
                    <a:pt x="270" y="1453"/>
                  </a:lnTo>
                  <a:lnTo>
                    <a:pt x="272" y="1453"/>
                  </a:lnTo>
                  <a:close/>
                  <a:moveTo>
                    <a:pt x="379" y="1487"/>
                  </a:moveTo>
                  <a:lnTo>
                    <a:pt x="381" y="1488"/>
                  </a:lnTo>
                  <a:lnTo>
                    <a:pt x="379" y="1488"/>
                  </a:lnTo>
                  <a:lnTo>
                    <a:pt x="379" y="1487"/>
                  </a:lnTo>
                  <a:lnTo>
                    <a:pt x="381" y="1487"/>
                  </a:lnTo>
                  <a:lnTo>
                    <a:pt x="379" y="1487"/>
                  </a:lnTo>
                  <a:close/>
                  <a:moveTo>
                    <a:pt x="179" y="1440"/>
                  </a:moveTo>
                  <a:lnTo>
                    <a:pt x="181" y="1440"/>
                  </a:lnTo>
                  <a:lnTo>
                    <a:pt x="179" y="1441"/>
                  </a:lnTo>
                  <a:lnTo>
                    <a:pt x="179" y="1440"/>
                  </a:lnTo>
                  <a:close/>
                  <a:moveTo>
                    <a:pt x="238" y="1292"/>
                  </a:moveTo>
                  <a:lnTo>
                    <a:pt x="238" y="1293"/>
                  </a:lnTo>
                  <a:lnTo>
                    <a:pt x="238" y="1292"/>
                  </a:lnTo>
                  <a:lnTo>
                    <a:pt x="238" y="1293"/>
                  </a:lnTo>
                  <a:lnTo>
                    <a:pt x="239" y="1293"/>
                  </a:lnTo>
                  <a:lnTo>
                    <a:pt x="238" y="1293"/>
                  </a:lnTo>
                  <a:lnTo>
                    <a:pt x="238" y="1292"/>
                  </a:lnTo>
                  <a:close/>
                  <a:moveTo>
                    <a:pt x="192" y="1508"/>
                  </a:moveTo>
                  <a:lnTo>
                    <a:pt x="192" y="1506"/>
                  </a:lnTo>
                  <a:lnTo>
                    <a:pt x="192" y="1508"/>
                  </a:lnTo>
                  <a:close/>
                  <a:moveTo>
                    <a:pt x="254" y="1446"/>
                  </a:moveTo>
                  <a:lnTo>
                    <a:pt x="254" y="1445"/>
                  </a:lnTo>
                  <a:lnTo>
                    <a:pt x="254" y="1446"/>
                  </a:lnTo>
                  <a:lnTo>
                    <a:pt x="256" y="1446"/>
                  </a:lnTo>
                  <a:lnTo>
                    <a:pt x="254" y="1446"/>
                  </a:lnTo>
                  <a:close/>
                  <a:moveTo>
                    <a:pt x="212" y="1012"/>
                  </a:moveTo>
                  <a:lnTo>
                    <a:pt x="210" y="1012"/>
                  </a:lnTo>
                  <a:lnTo>
                    <a:pt x="210" y="1010"/>
                  </a:lnTo>
                  <a:lnTo>
                    <a:pt x="212" y="1010"/>
                  </a:lnTo>
                  <a:lnTo>
                    <a:pt x="212" y="1012"/>
                  </a:lnTo>
                  <a:close/>
                  <a:moveTo>
                    <a:pt x="280" y="1435"/>
                  </a:moveTo>
                  <a:lnTo>
                    <a:pt x="282" y="1435"/>
                  </a:lnTo>
                  <a:lnTo>
                    <a:pt x="282" y="1436"/>
                  </a:lnTo>
                  <a:lnTo>
                    <a:pt x="280" y="1435"/>
                  </a:lnTo>
                  <a:close/>
                  <a:moveTo>
                    <a:pt x="348" y="1475"/>
                  </a:moveTo>
                  <a:lnTo>
                    <a:pt x="350" y="1475"/>
                  </a:lnTo>
                  <a:lnTo>
                    <a:pt x="348" y="1475"/>
                  </a:lnTo>
                  <a:close/>
                  <a:moveTo>
                    <a:pt x="448" y="1472"/>
                  </a:moveTo>
                  <a:lnTo>
                    <a:pt x="449" y="1472"/>
                  </a:lnTo>
                  <a:lnTo>
                    <a:pt x="448" y="1472"/>
                  </a:lnTo>
                  <a:close/>
                  <a:moveTo>
                    <a:pt x="374" y="1479"/>
                  </a:moveTo>
                  <a:lnTo>
                    <a:pt x="373" y="1479"/>
                  </a:lnTo>
                  <a:lnTo>
                    <a:pt x="374" y="1479"/>
                  </a:lnTo>
                  <a:close/>
                  <a:moveTo>
                    <a:pt x="314" y="1464"/>
                  </a:moveTo>
                  <a:lnTo>
                    <a:pt x="313" y="1464"/>
                  </a:lnTo>
                  <a:lnTo>
                    <a:pt x="313" y="1462"/>
                  </a:lnTo>
                  <a:lnTo>
                    <a:pt x="314" y="1462"/>
                  </a:lnTo>
                  <a:lnTo>
                    <a:pt x="314" y="1464"/>
                  </a:lnTo>
                  <a:close/>
                  <a:moveTo>
                    <a:pt x="212" y="1443"/>
                  </a:moveTo>
                  <a:lnTo>
                    <a:pt x="213" y="1441"/>
                  </a:lnTo>
                  <a:lnTo>
                    <a:pt x="213" y="1443"/>
                  </a:lnTo>
                  <a:lnTo>
                    <a:pt x="212" y="1443"/>
                  </a:lnTo>
                  <a:close/>
                  <a:moveTo>
                    <a:pt x="272" y="939"/>
                  </a:moveTo>
                  <a:lnTo>
                    <a:pt x="272" y="940"/>
                  </a:lnTo>
                  <a:lnTo>
                    <a:pt x="272" y="939"/>
                  </a:lnTo>
                  <a:lnTo>
                    <a:pt x="270" y="939"/>
                  </a:lnTo>
                  <a:lnTo>
                    <a:pt x="272" y="939"/>
                  </a:lnTo>
                  <a:close/>
                  <a:moveTo>
                    <a:pt x="308" y="875"/>
                  </a:moveTo>
                  <a:lnTo>
                    <a:pt x="309" y="875"/>
                  </a:lnTo>
                  <a:lnTo>
                    <a:pt x="308" y="875"/>
                  </a:lnTo>
                  <a:close/>
                  <a:moveTo>
                    <a:pt x="243" y="1318"/>
                  </a:moveTo>
                  <a:lnTo>
                    <a:pt x="244" y="1318"/>
                  </a:lnTo>
                  <a:lnTo>
                    <a:pt x="243" y="1318"/>
                  </a:lnTo>
                  <a:close/>
                  <a:moveTo>
                    <a:pt x="195" y="1038"/>
                  </a:moveTo>
                  <a:lnTo>
                    <a:pt x="197" y="1038"/>
                  </a:lnTo>
                  <a:lnTo>
                    <a:pt x="195" y="1038"/>
                  </a:lnTo>
                  <a:lnTo>
                    <a:pt x="197" y="1038"/>
                  </a:lnTo>
                  <a:lnTo>
                    <a:pt x="195" y="1038"/>
                  </a:lnTo>
                  <a:close/>
                  <a:moveTo>
                    <a:pt x="230" y="1432"/>
                  </a:moveTo>
                  <a:lnTo>
                    <a:pt x="231" y="1432"/>
                  </a:lnTo>
                  <a:lnTo>
                    <a:pt x="230" y="1432"/>
                  </a:lnTo>
                  <a:close/>
                  <a:moveTo>
                    <a:pt x="625" y="1365"/>
                  </a:moveTo>
                  <a:lnTo>
                    <a:pt x="625" y="1366"/>
                  </a:lnTo>
                  <a:lnTo>
                    <a:pt x="623" y="1366"/>
                  </a:lnTo>
                  <a:lnTo>
                    <a:pt x="623" y="1365"/>
                  </a:lnTo>
                  <a:lnTo>
                    <a:pt x="625" y="1365"/>
                  </a:lnTo>
                  <a:close/>
                  <a:moveTo>
                    <a:pt x="221" y="1218"/>
                  </a:moveTo>
                  <a:lnTo>
                    <a:pt x="221" y="1220"/>
                  </a:lnTo>
                  <a:lnTo>
                    <a:pt x="221" y="1218"/>
                  </a:lnTo>
                  <a:close/>
                  <a:moveTo>
                    <a:pt x="649" y="1340"/>
                  </a:moveTo>
                  <a:lnTo>
                    <a:pt x="649" y="1339"/>
                  </a:lnTo>
                  <a:lnTo>
                    <a:pt x="649" y="1340"/>
                  </a:lnTo>
                  <a:close/>
                  <a:moveTo>
                    <a:pt x="234" y="1458"/>
                  </a:moveTo>
                  <a:lnTo>
                    <a:pt x="236" y="1459"/>
                  </a:lnTo>
                  <a:lnTo>
                    <a:pt x="234" y="1459"/>
                  </a:lnTo>
                  <a:lnTo>
                    <a:pt x="236" y="1459"/>
                  </a:lnTo>
                  <a:lnTo>
                    <a:pt x="234" y="1458"/>
                  </a:lnTo>
                  <a:close/>
                  <a:moveTo>
                    <a:pt x="514" y="1427"/>
                  </a:moveTo>
                  <a:lnTo>
                    <a:pt x="514" y="1425"/>
                  </a:lnTo>
                  <a:lnTo>
                    <a:pt x="514" y="1427"/>
                  </a:lnTo>
                  <a:lnTo>
                    <a:pt x="514" y="1425"/>
                  </a:lnTo>
                  <a:lnTo>
                    <a:pt x="514" y="1427"/>
                  </a:lnTo>
                  <a:close/>
                  <a:moveTo>
                    <a:pt x="295" y="1436"/>
                  </a:moveTo>
                  <a:lnTo>
                    <a:pt x="296" y="1436"/>
                  </a:lnTo>
                  <a:lnTo>
                    <a:pt x="298" y="1436"/>
                  </a:lnTo>
                  <a:lnTo>
                    <a:pt x="296" y="1436"/>
                  </a:lnTo>
                  <a:lnTo>
                    <a:pt x="295" y="1436"/>
                  </a:lnTo>
                  <a:close/>
                  <a:moveTo>
                    <a:pt x="249" y="1443"/>
                  </a:moveTo>
                  <a:lnTo>
                    <a:pt x="251" y="1443"/>
                  </a:lnTo>
                  <a:lnTo>
                    <a:pt x="249" y="1443"/>
                  </a:lnTo>
                  <a:close/>
                  <a:moveTo>
                    <a:pt x="166" y="1501"/>
                  </a:moveTo>
                  <a:lnTo>
                    <a:pt x="165" y="1501"/>
                  </a:lnTo>
                  <a:lnTo>
                    <a:pt x="165" y="1500"/>
                  </a:lnTo>
                  <a:lnTo>
                    <a:pt x="166" y="1500"/>
                  </a:lnTo>
                  <a:lnTo>
                    <a:pt x="166" y="1501"/>
                  </a:lnTo>
                  <a:close/>
                  <a:moveTo>
                    <a:pt x="420" y="1482"/>
                  </a:moveTo>
                  <a:lnTo>
                    <a:pt x="422" y="1482"/>
                  </a:lnTo>
                  <a:lnTo>
                    <a:pt x="420" y="1482"/>
                  </a:lnTo>
                  <a:close/>
                  <a:moveTo>
                    <a:pt x="387" y="1484"/>
                  </a:moveTo>
                  <a:lnTo>
                    <a:pt x="387" y="1485"/>
                  </a:lnTo>
                  <a:lnTo>
                    <a:pt x="387" y="1484"/>
                  </a:lnTo>
                  <a:close/>
                  <a:moveTo>
                    <a:pt x="210" y="1501"/>
                  </a:moveTo>
                  <a:lnTo>
                    <a:pt x="212" y="1501"/>
                  </a:lnTo>
                  <a:lnTo>
                    <a:pt x="210" y="1501"/>
                  </a:lnTo>
                  <a:lnTo>
                    <a:pt x="210" y="1503"/>
                  </a:lnTo>
                  <a:lnTo>
                    <a:pt x="210" y="1501"/>
                  </a:lnTo>
                  <a:close/>
                  <a:moveTo>
                    <a:pt x="143" y="1475"/>
                  </a:moveTo>
                  <a:lnTo>
                    <a:pt x="142" y="1475"/>
                  </a:lnTo>
                  <a:lnTo>
                    <a:pt x="142" y="1474"/>
                  </a:lnTo>
                  <a:lnTo>
                    <a:pt x="143" y="1475"/>
                  </a:lnTo>
                  <a:close/>
                  <a:moveTo>
                    <a:pt x="238" y="1432"/>
                  </a:moveTo>
                  <a:lnTo>
                    <a:pt x="238" y="1430"/>
                  </a:lnTo>
                  <a:lnTo>
                    <a:pt x="238" y="1432"/>
                  </a:lnTo>
                  <a:lnTo>
                    <a:pt x="238" y="1430"/>
                  </a:lnTo>
                  <a:lnTo>
                    <a:pt x="238" y="1432"/>
                  </a:lnTo>
                  <a:lnTo>
                    <a:pt x="239" y="1432"/>
                  </a:lnTo>
                  <a:lnTo>
                    <a:pt x="238" y="1432"/>
                  </a:lnTo>
                  <a:close/>
                  <a:moveTo>
                    <a:pt x="651" y="1337"/>
                  </a:moveTo>
                  <a:lnTo>
                    <a:pt x="652" y="1337"/>
                  </a:lnTo>
                  <a:lnTo>
                    <a:pt x="651" y="1337"/>
                  </a:lnTo>
                  <a:close/>
                  <a:moveTo>
                    <a:pt x="261" y="932"/>
                  </a:moveTo>
                  <a:lnTo>
                    <a:pt x="261" y="931"/>
                  </a:lnTo>
                  <a:lnTo>
                    <a:pt x="261" y="932"/>
                  </a:lnTo>
                  <a:close/>
                  <a:moveTo>
                    <a:pt x="262" y="1471"/>
                  </a:moveTo>
                  <a:lnTo>
                    <a:pt x="264" y="1471"/>
                  </a:lnTo>
                  <a:lnTo>
                    <a:pt x="262" y="1471"/>
                  </a:lnTo>
                  <a:lnTo>
                    <a:pt x="262" y="1469"/>
                  </a:lnTo>
                  <a:lnTo>
                    <a:pt x="262" y="1471"/>
                  </a:lnTo>
                  <a:close/>
                  <a:moveTo>
                    <a:pt x="361" y="1492"/>
                  </a:moveTo>
                  <a:lnTo>
                    <a:pt x="360" y="1492"/>
                  </a:lnTo>
                  <a:lnTo>
                    <a:pt x="360" y="1490"/>
                  </a:lnTo>
                  <a:lnTo>
                    <a:pt x="361" y="1490"/>
                  </a:lnTo>
                  <a:lnTo>
                    <a:pt x="361" y="1492"/>
                  </a:lnTo>
                  <a:close/>
                  <a:moveTo>
                    <a:pt x="309" y="874"/>
                  </a:moveTo>
                  <a:lnTo>
                    <a:pt x="311" y="874"/>
                  </a:lnTo>
                  <a:lnTo>
                    <a:pt x="309" y="874"/>
                  </a:lnTo>
                  <a:close/>
                  <a:moveTo>
                    <a:pt x="207" y="1004"/>
                  </a:moveTo>
                  <a:lnTo>
                    <a:pt x="207" y="1005"/>
                  </a:lnTo>
                  <a:lnTo>
                    <a:pt x="205" y="1005"/>
                  </a:lnTo>
                  <a:lnTo>
                    <a:pt x="207" y="1004"/>
                  </a:lnTo>
                  <a:close/>
                  <a:moveTo>
                    <a:pt x="293" y="1412"/>
                  </a:moveTo>
                  <a:lnTo>
                    <a:pt x="293" y="1410"/>
                  </a:lnTo>
                  <a:lnTo>
                    <a:pt x="293" y="1412"/>
                  </a:lnTo>
                  <a:close/>
                  <a:moveTo>
                    <a:pt x="369" y="1484"/>
                  </a:moveTo>
                  <a:lnTo>
                    <a:pt x="371" y="1484"/>
                  </a:lnTo>
                  <a:lnTo>
                    <a:pt x="369" y="1484"/>
                  </a:lnTo>
                  <a:close/>
                  <a:moveTo>
                    <a:pt x="241" y="1383"/>
                  </a:moveTo>
                  <a:lnTo>
                    <a:pt x="243" y="1383"/>
                  </a:lnTo>
                  <a:lnTo>
                    <a:pt x="241" y="1383"/>
                  </a:lnTo>
                  <a:close/>
                  <a:moveTo>
                    <a:pt x="186" y="1083"/>
                  </a:moveTo>
                  <a:lnTo>
                    <a:pt x="184" y="1083"/>
                  </a:lnTo>
                  <a:lnTo>
                    <a:pt x="184" y="1082"/>
                  </a:lnTo>
                  <a:lnTo>
                    <a:pt x="186" y="1082"/>
                  </a:lnTo>
                  <a:lnTo>
                    <a:pt x="186" y="1083"/>
                  </a:lnTo>
                  <a:close/>
                  <a:moveTo>
                    <a:pt x="254" y="934"/>
                  </a:moveTo>
                  <a:lnTo>
                    <a:pt x="256" y="932"/>
                  </a:lnTo>
                  <a:lnTo>
                    <a:pt x="256" y="934"/>
                  </a:lnTo>
                  <a:lnTo>
                    <a:pt x="254" y="934"/>
                  </a:lnTo>
                  <a:close/>
                  <a:moveTo>
                    <a:pt x="316" y="597"/>
                  </a:moveTo>
                  <a:lnTo>
                    <a:pt x="316" y="596"/>
                  </a:lnTo>
                  <a:lnTo>
                    <a:pt x="316" y="597"/>
                  </a:lnTo>
                  <a:close/>
                  <a:moveTo>
                    <a:pt x="329" y="1456"/>
                  </a:moveTo>
                  <a:lnTo>
                    <a:pt x="329" y="1458"/>
                  </a:lnTo>
                  <a:lnTo>
                    <a:pt x="329" y="1456"/>
                  </a:lnTo>
                  <a:lnTo>
                    <a:pt x="330" y="1456"/>
                  </a:lnTo>
                  <a:lnTo>
                    <a:pt x="329" y="1456"/>
                  </a:lnTo>
                  <a:close/>
                  <a:moveTo>
                    <a:pt x="238" y="1272"/>
                  </a:moveTo>
                  <a:lnTo>
                    <a:pt x="236" y="1272"/>
                  </a:lnTo>
                  <a:lnTo>
                    <a:pt x="236" y="1274"/>
                  </a:lnTo>
                  <a:lnTo>
                    <a:pt x="236" y="1272"/>
                  </a:lnTo>
                  <a:lnTo>
                    <a:pt x="238" y="1272"/>
                  </a:lnTo>
                  <a:close/>
                  <a:moveTo>
                    <a:pt x="213" y="1446"/>
                  </a:moveTo>
                  <a:lnTo>
                    <a:pt x="213" y="1445"/>
                  </a:lnTo>
                  <a:lnTo>
                    <a:pt x="213" y="1446"/>
                  </a:lnTo>
                  <a:close/>
                  <a:moveTo>
                    <a:pt x="130" y="1461"/>
                  </a:moveTo>
                  <a:lnTo>
                    <a:pt x="132" y="1459"/>
                  </a:lnTo>
                  <a:lnTo>
                    <a:pt x="132" y="1461"/>
                  </a:lnTo>
                  <a:lnTo>
                    <a:pt x="130" y="1461"/>
                  </a:lnTo>
                  <a:lnTo>
                    <a:pt x="132" y="1461"/>
                  </a:lnTo>
                  <a:lnTo>
                    <a:pt x="130" y="1461"/>
                  </a:lnTo>
                  <a:close/>
                  <a:moveTo>
                    <a:pt x="191" y="1043"/>
                  </a:moveTo>
                  <a:lnTo>
                    <a:pt x="189" y="1043"/>
                  </a:lnTo>
                  <a:lnTo>
                    <a:pt x="191" y="1043"/>
                  </a:lnTo>
                  <a:close/>
                  <a:moveTo>
                    <a:pt x="249" y="1501"/>
                  </a:moveTo>
                  <a:lnTo>
                    <a:pt x="251" y="1501"/>
                  </a:lnTo>
                  <a:lnTo>
                    <a:pt x="249" y="1501"/>
                  </a:lnTo>
                  <a:close/>
                  <a:moveTo>
                    <a:pt x="290" y="1505"/>
                  </a:moveTo>
                  <a:lnTo>
                    <a:pt x="290" y="1506"/>
                  </a:lnTo>
                  <a:lnTo>
                    <a:pt x="288" y="1505"/>
                  </a:lnTo>
                  <a:lnTo>
                    <a:pt x="290" y="1505"/>
                  </a:lnTo>
                  <a:close/>
                  <a:moveTo>
                    <a:pt x="317" y="1471"/>
                  </a:moveTo>
                  <a:lnTo>
                    <a:pt x="319" y="1469"/>
                  </a:lnTo>
                  <a:lnTo>
                    <a:pt x="319" y="1471"/>
                  </a:lnTo>
                  <a:lnTo>
                    <a:pt x="317" y="1471"/>
                  </a:lnTo>
                  <a:close/>
                  <a:moveTo>
                    <a:pt x="261" y="953"/>
                  </a:moveTo>
                  <a:lnTo>
                    <a:pt x="262" y="953"/>
                  </a:lnTo>
                  <a:lnTo>
                    <a:pt x="261" y="953"/>
                  </a:lnTo>
                  <a:close/>
                  <a:moveTo>
                    <a:pt x="283" y="1474"/>
                  </a:moveTo>
                  <a:lnTo>
                    <a:pt x="285" y="1474"/>
                  </a:lnTo>
                  <a:lnTo>
                    <a:pt x="283" y="1474"/>
                  </a:lnTo>
                  <a:close/>
                  <a:moveTo>
                    <a:pt x="409" y="1487"/>
                  </a:moveTo>
                  <a:lnTo>
                    <a:pt x="409" y="1485"/>
                  </a:lnTo>
                  <a:lnTo>
                    <a:pt x="409" y="1487"/>
                  </a:lnTo>
                  <a:close/>
                  <a:moveTo>
                    <a:pt x="558" y="1404"/>
                  </a:moveTo>
                  <a:lnTo>
                    <a:pt x="558" y="1402"/>
                  </a:lnTo>
                  <a:lnTo>
                    <a:pt x="560" y="1402"/>
                  </a:lnTo>
                  <a:lnTo>
                    <a:pt x="560" y="1404"/>
                  </a:lnTo>
                  <a:lnTo>
                    <a:pt x="558" y="1404"/>
                  </a:lnTo>
                  <a:close/>
                  <a:moveTo>
                    <a:pt x="448" y="1469"/>
                  </a:moveTo>
                  <a:lnTo>
                    <a:pt x="446" y="1469"/>
                  </a:lnTo>
                  <a:lnTo>
                    <a:pt x="448" y="1469"/>
                  </a:lnTo>
                  <a:close/>
                  <a:moveTo>
                    <a:pt x="555" y="1406"/>
                  </a:moveTo>
                  <a:lnTo>
                    <a:pt x="553" y="1406"/>
                  </a:lnTo>
                  <a:lnTo>
                    <a:pt x="555" y="1406"/>
                  </a:lnTo>
                  <a:lnTo>
                    <a:pt x="555" y="1404"/>
                  </a:lnTo>
                  <a:lnTo>
                    <a:pt x="555" y="1406"/>
                  </a:lnTo>
                  <a:close/>
                  <a:moveTo>
                    <a:pt x="228" y="1433"/>
                  </a:moveTo>
                  <a:lnTo>
                    <a:pt x="230" y="1435"/>
                  </a:lnTo>
                  <a:lnTo>
                    <a:pt x="228" y="1435"/>
                  </a:lnTo>
                  <a:lnTo>
                    <a:pt x="228" y="1433"/>
                  </a:lnTo>
                  <a:close/>
                  <a:moveTo>
                    <a:pt x="288" y="1495"/>
                  </a:moveTo>
                  <a:lnTo>
                    <a:pt x="290" y="1493"/>
                  </a:lnTo>
                  <a:lnTo>
                    <a:pt x="290" y="1495"/>
                  </a:lnTo>
                  <a:lnTo>
                    <a:pt x="288" y="1495"/>
                  </a:lnTo>
                  <a:close/>
                  <a:moveTo>
                    <a:pt x="239" y="1514"/>
                  </a:moveTo>
                  <a:lnTo>
                    <a:pt x="239" y="1513"/>
                  </a:lnTo>
                  <a:lnTo>
                    <a:pt x="239" y="1514"/>
                  </a:lnTo>
                  <a:close/>
                  <a:moveTo>
                    <a:pt x="330" y="1485"/>
                  </a:moveTo>
                  <a:lnTo>
                    <a:pt x="332" y="1485"/>
                  </a:lnTo>
                  <a:lnTo>
                    <a:pt x="330" y="1485"/>
                  </a:lnTo>
                  <a:lnTo>
                    <a:pt x="330" y="1484"/>
                  </a:lnTo>
                  <a:lnTo>
                    <a:pt x="332" y="1484"/>
                  </a:lnTo>
                  <a:lnTo>
                    <a:pt x="332" y="1485"/>
                  </a:lnTo>
                  <a:lnTo>
                    <a:pt x="330" y="1485"/>
                  </a:lnTo>
                  <a:close/>
                  <a:moveTo>
                    <a:pt x="303" y="874"/>
                  </a:moveTo>
                  <a:lnTo>
                    <a:pt x="301" y="874"/>
                  </a:lnTo>
                  <a:lnTo>
                    <a:pt x="303" y="874"/>
                  </a:lnTo>
                  <a:close/>
                  <a:moveTo>
                    <a:pt x="630" y="1360"/>
                  </a:moveTo>
                  <a:lnTo>
                    <a:pt x="630" y="1358"/>
                  </a:lnTo>
                  <a:lnTo>
                    <a:pt x="628" y="1358"/>
                  </a:lnTo>
                  <a:lnTo>
                    <a:pt x="630" y="1358"/>
                  </a:lnTo>
                  <a:lnTo>
                    <a:pt x="630" y="1360"/>
                  </a:lnTo>
                  <a:close/>
                  <a:moveTo>
                    <a:pt x="189" y="1449"/>
                  </a:moveTo>
                  <a:lnTo>
                    <a:pt x="189" y="1448"/>
                  </a:lnTo>
                  <a:lnTo>
                    <a:pt x="189" y="1449"/>
                  </a:lnTo>
                  <a:close/>
                  <a:moveTo>
                    <a:pt x="178" y="1043"/>
                  </a:moveTo>
                  <a:lnTo>
                    <a:pt x="176" y="1043"/>
                  </a:lnTo>
                  <a:lnTo>
                    <a:pt x="178" y="1043"/>
                  </a:lnTo>
                  <a:lnTo>
                    <a:pt x="178" y="1041"/>
                  </a:lnTo>
                  <a:lnTo>
                    <a:pt x="178" y="1043"/>
                  </a:lnTo>
                  <a:close/>
                  <a:moveTo>
                    <a:pt x="296" y="643"/>
                  </a:moveTo>
                  <a:lnTo>
                    <a:pt x="295" y="643"/>
                  </a:lnTo>
                  <a:lnTo>
                    <a:pt x="296" y="643"/>
                  </a:lnTo>
                  <a:close/>
                  <a:moveTo>
                    <a:pt x="283" y="1449"/>
                  </a:moveTo>
                  <a:lnTo>
                    <a:pt x="283" y="1448"/>
                  </a:lnTo>
                  <a:lnTo>
                    <a:pt x="285" y="1448"/>
                  </a:lnTo>
                  <a:lnTo>
                    <a:pt x="285" y="1449"/>
                  </a:lnTo>
                  <a:lnTo>
                    <a:pt x="283" y="1449"/>
                  </a:lnTo>
                  <a:close/>
                  <a:moveTo>
                    <a:pt x="589" y="1375"/>
                  </a:moveTo>
                  <a:lnTo>
                    <a:pt x="589" y="1373"/>
                  </a:lnTo>
                  <a:lnTo>
                    <a:pt x="589" y="1375"/>
                  </a:lnTo>
                  <a:close/>
                  <a:moveTo>
                    <a:pt x="269" y="1451"/>
                  </a:moveTo>
                  <a:lnTo>
                    <a:pt x="270" y="1453"/>
                  </a:lnTo>
                  <a:lnTo>
                    <a:pt x="269" y="1453"/>
                  </a:lnTo>
                  <a:lnTo>
                    <a:pt x="269" y="1451"/>
                  </a:lnTo>
                  <a:close/>
                  <a:moveTo>
                    <a:pt x="236" y="1004"/>
                  </a:moveTo>
                  <a:lnTo>
                    <a:pt x="238" y="1004"/>
                  </a:lnTo>
                  <a:lnTo>
                    <a:pt x="238" y="1005"/>
                  </a:lnTo>
                  <a:lnTo>
                    <a:pt x="236" y="1005"/>
                  </a:lnTo>
                  <a:lnTo>
                    <a:pt x="236" y="1004"/>
                  </a:lnTo>
                  <a:lnTo>
                    <a:pt x="238" y="1004"/>
                  </a:lnTo>
                  <a:lnTo>
                    <a:pt x="236" y="1004"/>
                  </a:lnTo>
                  <a:close/>
                  <a:moveTo>
                    <a:pt x="265" y="1446"/>
                  </a:moveTo>
                  <a:lnTo>
                    <a:pt x="265" y="1445"/>
                  </a:lnTo>
                  <a:lnTo>
                    <a:pt x="267" y="1446"/>
                  </a:lnTo>
                  <a:lnTo>
                    <a:pt x="267" y="1448"/>
                  </a:lnTo>
                  <a:lnTo>
                    <a:pt x="265" y="1446"/>
                  </a:lnTo>
                  <a:lnTo>
                    <a:pt x="267" y="1446"/>
                  </a:lnTo>
                  <a:lnTo>
                    <a:pt x="265" y="1446"/>
                  </a:lnTo>
                  <a:close/>
                  <a:moveTo>
                    <a:pt x="295" y="641"/>
                  </a:moveTo>
                  <a:lnTo>
                    <a:pt x="295" y="639"/>
                  </a:lnTo>
                  <a:lnTo>
                    <a:pt x="295" y="641"/>
                  </a:lnTo>
                  <a:close/>
                  <a:moveTo>
                    <a:pt x="308" y="1428"/>
                  </a:moveTo>
                  <a:lnTo>
                    <a:pt x="309" y="1428"/>
                  </a:lnTo>
                  <a:lnTo>
                    <a:pt x="309" y="1430"/>
                  </a:lnTo>
                  <a:lnTo>
                    <a:pt x="309" y="1428"/>
                  </a:lnTo>
                  <a:lnTo>
                    <a:pt x="308" y="1430"/>
                  </a:lnTo>
                  <a:lnTo>
                    <a:pt x="308" y="1428"/>
                  </a:lnTo>
                  <a:close/>
                  <a:moveTo>
                    <a:pt x="243" y="1370"/>
                  </a:moveTo>
                  <a:lnTo>
                    <a:pt x="243" y="1368"/>
                  </a:lnTo>
                  <a:lnTo>
                    <a:pt x="243" y="1370"/>
                  </a:lnTo>
                  <a:close/>
                  <a:moveTo>
                    <a:pt x="244" y="1511"/>
                  </a:moveTo>
                  <a:lnTo>
                    <a:pt x="243" y="1511"/>
                  </a:lnTo>
                  <a:lnTo>
                    <a:pt x="243" y="1513"/>
                  </a:lnTo>
                  <a:lnTo>
                    <a:pt x="243" y="1511"/>
                  </a:lnTo>
                  <a:lnTo>
                    <a:pt x="244" y="1511"/>
                  </a:lnTo>
                  <a:lnTo>
                    <a:pt x="243" y="1511"/>
                  </a:lnTo>
                  <a:lnTo>
                    <a:pt x="244" y="1511"/>
                  </a:lnTo>
                  <a:close/>
                  <a:moveTo>
                    <a:pt x="631" y="1376"/>
                  </a:moveTo>
                  <a:lnTo>
                    <a:pt x="630" y="1376"/>
                  </a:lnTo>
                  <a:lnTo>
                    <a:pt x="631" y="1375"/>
                  </a:lnTo>
                  <a:lnTo>
                    <a:pt x="631" y="1373"/>
                  </a:lnTo>
                  <a:lnTo>
                    <a:pt x="631" y="1375"/>
                  </a:lnTo>
                  <a:lnTo>
                    <a:pt x="631" y="1376"/>
                  </a:lnTo>
                  <a:close/>
                  <a:moveTo>
                    <a:pt x="464" y="1454"/>
                  </a:moveTo>
                  <a:lnTo>
                    <a:pt x="464" y="1456"/>
                  </a:lnTo>
                  <a:lnTo>
                    <a:pt x="464" y="1454"/>
                  </a:lnTo>
                  <a:close/>
                  <a:moveTo>
                    <a:pt x="220" y="1471"/>
                  </a:moveTo>
                  <a:lnTo>
                    <a:pt x="220" y="1469"/>
                  </a:lnTo>
                  <a:lnTo>
                    <a:pt x="220" y="1471"/>
                  </a:lnTo>
                  <a:lnTo>
                    <a:pt x="218" y="1471"/>
                  </a:lnTo>
                  <a:lnTo>
                    <a:pt x="218" y="1469"/>
                  </a:lnTo>
                  <a:lnTo>
                    <a:pt x="220" y="1471"/>
                  </a:lnTo>
                  <a:close/>
                  <a:moveTo>
                    <a:pt x="537" y="1414"/>
                  </a:moveTo>
                  <a:lnTo>
                    <a:pt x="539" y="1414"/>
                  </a:lnTo>
                  <a:lnTo>
                    <a:pt x="537" y="1414"/>
                  </a:lnTo>
                  <a:close/>
                  <a:moveTo>
                    <a:pt x="238" y="996"/>
                  </a:moveTo>
                  <a:lnTo>
                    <a:pt x="238" y="994"/>
                  </a:lnTo>
                  <a:lnTo>
                    <a:pt x="238" y="996"/>
                  </a:lnTo>
                  <a:close/>
                  <a:moveTo>
                    <a:pt x="254" y="947"/>
                  </a:moveTo>
                  <a:lnTo>
                    <a:pt x="254" y="949"/>
                  </a:lnTo>
                  <a:lnTo>
                    <a:pt x="254" y="947"/>
                  </a:lnTo>
                  <a:close/>
                  <a:moveTo>
                    <a:pt x="256" y="1458"/>
                  </a:moveTo>
                  <a:lnTo>
                    <a:pt x="257" y="1456"/>
                  </a:lnTo>
                  <a:lnTo>
                    <a:pt x="257" y="1458"/>
                  </a:lnTo>
                  <a:lnTo>
                    <a:pt x="257" y="1456"/>
                  </a:lnTo>
                  <a:lnTo>
                    <a:pt x="257" y="1458"/>
                  </a:lnTo>
                  <a:lnTo>
                    <a:pt x="256" y="1458"/>
                  </a:lnTo>
                  <a:close/>
                  <a:moveTo>
                    <a:pt x="456" y="1462"/>
                  </a:moveTo>
                  <a:lnTo>
                    <a:pt x="457" y="1462"/>
                  </a:lnTo>
                  <a:lnTo>
                    <a:pt x="459" y="1462"/>
                  </a:lnTo>
                  <a:lnTo>
                    <a:pt x="457" y="1464"/>
                  </a:lnTo>
                  <a:lnTo>
                    <a:pt x="456" y="1462"/>
                  </a:lnTo>
                  <a:close/>
                  <a:moveTo>
                    <a:pt x="249" y="1440"/>
                  </a:moveTo>
                  <a:lnTo>
                    <a:pt x="251" y="1440"/>
                  </a:lnTo>
                  <a:lnTo>
                    <a:pt x="251" y="1441"/>
                  </a:lnTo>
                  <a:lnTo>
                    <a:pt x="249" y="1440"/>
                  </a:lnTo>
                  <a:close/>
                  <a:moveTo>
                    <a:pt x="179" y="1070"/>
                  </a:moveTo>
                  <a:lnTo>
                    <a:pt x="181" y="1070"/>
                  </a:lnTo>
                  <a:lnTo>
                    <a:pt x="181" y="1072"/>
                  </a:lnTo>
                  <a:lnTo>
                    <a:pt x="179" y="1070"/>
                  </a:lnTo>
                  <a:close/>
                  <a:moveTo>
                    <a:pt x="366" y="674"/>
                  </a:moveTo>
                  <a:lnTo>
                    <a:pt x="368" y="674"/>
                  </a:lnTo>
                  <a:lnTo>
                    <a:pt x="366" y="674"/>
                  </a:lnTo>
                  <a:close/>
                  <a:moveTo>
                    <a:pt x="288" y="1422"/>
                  </a:moveTo>
                  <a:lnTo>
                    <a:pt x="288" y="1420"/>
                  </a:lnTo>
                  <a:lnTo>
                    <a:pt x="288" y="1422"/>
                  </a:lnTo>
                  <a:lnTo>
                    <a:pt x="287" y="1422"/>
                  </a:lnTo>
                  <a:lnTo>
                    <a:pt x="287" y="1420"/>
                  </a:lnTo>
                  <a:lnTo>
                    <a:pt x="288" y="1420"/>
                  </a:lnTo>
                  <a:lnTo>
                    <a:pt x="288" y="1422"/>
                  </a:lnTo>
                  <a:close/>
                  <a:moveTo>
                    <a:pt x="265" y="1440"/>
                  </a:moveTo>
                  <a:lnTo>
                    <a:pt x="265" y="1441"/>
                  </a:lnTo>
                  <a:lnTo>
                    <a:pt x="264" y="1441"/>
                  </a:lnTo>
                  <a:lnTo>
                    <a:pt x="265" y="1440"/>
                  </a:lnTo>
                  <a:close/>
                  <a:moveTo>
                    <a:pt x="309" y="1471"/>
                  </a:moveTo>
                  <a:lnTo>
                    <a:pt x="311" y="1471"/>
                  </a:lnTo>
                  <a:lnTo>
                    <a:pt x="309" y="1472"/>
                  </a:lnTo>
                  <a:lnTo>
                    <a:pt x="309" y="1471"/>
                  </a:lnTo>
                  <a:close/>
                  <a:moveTo>
                    <a:pt x="269" y="953"/>
                  </a:moveTo>
                  <a:lnTo>
                    <a:pt x="270" y="953"/>
                  </a:lnTo>
                  <a:lnTo>
                    <a:pt x="270" y="955"/>
                  </a:lnTo>
                  <a:lnTo>
                    <a:pt x="270" y="953"/>
                  </a:lnTo>
                  <a:lnTo>
                    <a:pt x="269" y="953"/>
                  </a:lnTo>
                  <a:close/>
                  <a:moveTo>
                    <a:pt x="296" y="1440"/>
                  </a:moveTo>
                  <a:lnTo>
                    <a:pt x="298" y="1440"/>
                  </a:lnTo>
                  <a:lnTo>
                    <a:pt x="296" y="1440"/>
                  </a:lnTo>
                  <a:close/>
                  <a:moveTo>
                    <a:pt x="215" y="1173"/>
                  </a:moveTo>
                  <a:lnTo>
                    <a:pt x="213" y="1173"/>
                  </a:lnTo>
                  <a:lnTo>
                    <a:pt x="213" y="1171"/>
                  </a:lnTo>
                  <a:lnTo>
                    <a:pt x="215" y="1171"/>
                  </a:lnTo>
                  <a:lnTo>
                    <a:pt x="215" y="1173"/>
                  </a:lnTo>
                  <a:close/>
                  <a:moveTo>
                    <a:pt x="304" y="1464"/>
                  </a:moveTo>
                  <a:lnTo>
                    <a:pt x="306" y="1464"/>
                  </a:lnTo>
                  <a:lnTo>
                    <a:pt x="304" y="1464"/>
                  </a:lnTo>
                  <a:close/>
                  <a:moveTo>
                    <a:pt x="171" y="1438"/>
                  </a:moveTo>
                  <a:lnTo>
                    <a:pt x="171" y="1440"/>
                  </a:lnTo>
                  <a:lnTo>
                    <a:pt x="171" y="1438"/>
                  </a:lnTo>
                  <a:close/>
                  <a:moveTo>
                    <a:pt x="313" y="1451"/>
                  </a:moveTo>
                  <a:lnTo>
                    <a:pt x="311" y="1451"/>
                  </a:lnTo>
                  <a:lnTo>
                    <a:pt x="311" y="1449"/>
                  </a:lnTo>
                  <a:lnTo>
                    <a:pt x="311" y="1451"/>
                  </a:lnTo>
                  <a:lnTo>
                    <a:pt x="313" y="1451"/>
                  </a:lnTo>
                  <a:close/>
                  <a:moveTo>
                    <a:pt x="670" y="1345"/>
                  </a:moveTo>
                  <a:lnTo>
                    <a:pt x="670" y="1344"/>
                  </a:lnTo>
                  <a:lnTo>
                    <a:pt x="672" y="1345"/>
                  </a:lnTo>
                  <a:lnTo>
                    <a:pt x="670" y="1345"/>
                  </a:lnTo>
                  <a:close/>
                  <a:moveTo>
                    <a:pt x="249" y="1393"/>
                  </a:moveTo>
                  <a:lnTo>
                    <a:pt x="247" y="1393"/>
                  </a:lnTo>
                  <a:lnTo>
                    <a:pt x="249" y="1391"/>
                  </a:lnTo>
                  <a:lnTo>
                    <a:pt x="249" y="1393"/>
                  </a:lnTo>
                  <a:close/>
                  <a:moveTo>
                    <a:pt x="293" y="1441"/>
                  </a:moveTo>
                  <a:lnTo>
                    <a:pt x="293" y="1443"/>
                  </a:lnTo>
                  <a:lnTo>
                    <a:pt x="293" y="1441"/>
                  </a:lnTo>
                  <a:lnTo>
                    <a:pt x="293" y="1443"/>
                  </a:lnTo>
                  <a:lnTo>
                    <a:pt x="293" y="1441"/>
                  </a:lnTo>
                  <a:close/>
                  <a:moveTo>
                    <a:pt x="254" y="950"/>
                  </a:moveTo>
                  <a:lnTo>
                    <a:pt x="254" y="952"/>
                  </a:lnTo>
                  <a:lnTo>
                    <a:pt x="254" y="950"/>
                  </a:lnTo>
                  <a:lnTo>
                    <a:pt x="254" y="952"/>
                  </a:lnTo>
                  <a:lnTo>
                    <a:pt x="254" y="950"/>
                  </a:lnTo>
                  <a:close/>
                  <a:moveTo>
                    <a:pt x="140" y="1041"/>
                  </a:moveTo>
                  <a:lnTo>
                    <a:pt x="142" y="1041"/>
                  </a:lnTo>
                  <a:lnTo>
                    <a:pt x="140" y="1041"/>
                  </a:lnTo>
                  <a:close/>
                  <a:moveTo>
                    <a:pt x="491" y="1456"/>
                  </a:moveTo>
                  <a:lnTo>
                    <a:pt x="491" y="1454"/>
                  </a:lnTo>
                  <a:lnTo>
                    <a:pt x="491" y="1456"/>
                  </a:lnTo>
                  <a:close/>
                  <a:moveTo>
                    <a:pt x="335" y="1475"/>
                  </a:moveTo>
                  <a:lnTo>
                    <a:pt x="337" y="1474"/>
                  </a:lnTo>
                  <a:lnTo>
                    <a:pt x="335" y="1475"/>
                  </a:lnTo>
                  <a:close/>
                  <a:moveTo>
                    <a:pt x="249" y="1420"/>
                  </a:moveTo>
                  <a:lnTo>
                    <a:pt x="249" y="1422"/>
                  </a:lnTo>
                  <a:lnTo>
                    <a:pt x="249" y="1423"/>
                  </a:lnTo>
                  <a:lnTo>
                    <a:pt x="249" y="1422"/>
                  </a:lnTo>
                  <a:lnTo>
                    <a:pt x="249" y="1420"/>
                  </a:lnTo>
                  <a:lnTo>
                    <a:pt x="249" y="1422"/>
                  </a:lnTo>
                  <a:lnTo>
                    <a:pt x="249" y="1420"/>
                  </a:lnTo>
                  <a:close/>
                  <a:moveTo>
                    <a:pt x="181" y="1072"/>
                  </a:moveTo>
                  <a:lnTo>
                    <a:pt x="181" y="1074"/>
                  </a:lnTo>
                  <a:lnTo>
                    <a:pt x="181" y="1072"/>
                  </a:lnTo>
                  <a:close/>
                  <a:moveTo>
                    <a:pt x="428" y="1484"/>
                  </a:moveTo>
                  <a:lnTo>
                    <a:pt x="426" y="1484"/>
                  </a:lnTo>
                  <a:lnTo>
                    <a:pt x="428" y="1484"/>
                  </a:lnTo>
                  <a:close/>
                  <a:moveTo>
                    <a:pt x="282" y="1428"/>
                  </a:moveTo>
                  <a:lnTo>
                    <a:pt x="280" y="1428"/>
                  </a:lnTo>
                  <a:lnTo>
                    <a:pt x="280" y="1427"/>
                  </a:lnTo>
                  <a:lnTo>
                    <a:pt x="282" y="1427"/>
                  </a:lnTo>
                  <a:lnTo>
                    <a:pt x="282" y="1428"/>
                  </a:lnTo>
                  <a:close/>
                  <a:moveTo>
                    <a:pt x="316" y="1461"/>
                  </a:moveTo>
                  <a:lnTo>
                    <a:pt x="316" y="1459"/>
                  </a:lnTo>
                  <a:lnTo>
                    <a:pt x="316" y="1461"/>
                  </a:lnTo>
                  <a:lnTo>
                    <a:pt x="317" y="1461"/>
                  </a:lnTo>
                  <a:lnTo>
                    <a:pt x="316" y="1461"/>
                  </a:lnTo>
                  <a:close/>
                  <a:moveTo>
                    <a:pt x="491" y="1448"/>
                  </a:moveTo>
                  <a:lnTo>
                    <a:pt x="491" y="1446"/>
                  </a:lnTo>
                  <a:lnTo>
                    <a:pt x="493" y="1446"/>
                  </a:lnTo>
                  <a:lnTo>
                    <a:pt x="493" y="1448"/>
                  </a:lnTo>
                  <a:lnTo>
                    <a:pt x="491" y="1448"/>
                  </a:lnTo>
                  <a:close/>
                  <a:moveTo>
                    <a:pt x="221" y="1453"/>
                  </a:moveTo>
                  <a:lnTo>
                    <a:pt x="221" y="1451"/>
                  </a:lnTo>
                  <a:lnTo>
                    <a:pt x="221" y="1453"/>
                  </a:lnTo>
                  <a:close/>
                  <a:moveTo>
                    <a:pt x="373" y="693"/>
                  </a:moveTo>
                  <a:lnTo>
                    <a:pt x="373" y="695"/>
                  </a:lnTo>
                  <a:lnTo>
                    <a:pt x="373" y="693"/>
                  </a:lnTo>
                  <a:lnTo>
                    <a:pt x="374" y="693"/>
                  </a:lnTo>
                  <a:lnTo>
                    <a:pt x="373" y="693"/>
                  </a:lnTo>
                  <a:close/>
                  <a:moveTo>
                    <a:pt x="187" y="1461"/>
                  </a:moveTo>
                  <a:lnTo>
                    <a:pt x="187" y="1462"/>
                  </a:lnTo>
                  <a:lnTo>
                    <a:pt x="187" y="1461"/>
                  </a:lnTo>
                  <a:lnTo>
                    <a:pt x="187" y="1459"/>
                  </a:lnTo>
                  <a:lnTo>
                    <a:pt x="187" y="1461"/>
                  </a:lnTo>
                  <a:close/>
                  <a:moveTo>
                    <a:pt x="555" y="1404"/>
                  </a:moveTo>
                  <a:lnTo>
                    <a:pt x="553" y="1404"/>
                  </a:lnTo>
                  <a:lnTo>
                    <a:pt x="553" y="1402"/>
                  </a:lnTo>
                  <a:lnTo>
                    <a:pt x="553" y="1404"/>
                  </a:lnTo>
                  <a:lnTo>
                    <a:pt x="555" y="1404"/>
                  </a:lnTo>
                  <a:close/>
                  <a:moveTo>
                    <a:pt x="134" y="1472"/>
                  </a:moveTo>
                  <a:lnTo>
                    <a:pt x="134" y="1471"/>
                  </a:lnTo>
                  <a:lnTo>
                    <a:pt x="132" y="1469"/>
                  </a:lnTo>
                  <a:lnTo>
                    <a:pt x="134" y="1472"/>
                  </a:lnTo>
                  <a:close/>
                  <a:moveTo>
                    <a:pt x="643" y="1355"/>
                  </a:moveTo>
                  <a:lnTo>
                    <a:pt x="643" y="1353"/>
                  </a:lnTo>
                  <a:lnTo>
                    <a:pt x="643" y="1355"/>
                  </a:lnTo>
                  <a:close/>
                  <a:moveTo>
                    <a:pt x="422" y="1475"/>
                  </a:moveTo>
                  <a:lnTo>
                    <a:pt x="423" y="1475"/>
                  </a:lnTo>
                  <a:lnTo>
                    <a:pt x="422" y="1475"/>
                  </a:lnTo>
                  <a:close/>
                  <a:moveTo>
                    <a:pt x="171" y="1070"/>
                  </a:moveTo>
                  <a:lnTo>
                    <a:pt x="171" y="1069"/>
                  </a:lnTo>
                  <a:lnTo>
                    <a:pt x="171" y="1070"/>
                  </a:lnTo>
                  <a:close/>
                  <a:moveTo>
                    <a:pt x="309" y="1493"/>
                  </a:moveTo>
                  <a:lnTo>
                    <a:pt x="308" y="1493"/>
                  </a:lnTo>
                  <a:lnTo>
                    <a:pt x="309" y="1492"/>
                  </a:lnTo>
                  <a:lnTo>
                    <a:pt x="309" y="1493"/>
                  </a:lnTo>
                  <a:close/>
                  <a:moveTo>
                    <a:pt x="290" y="1472"/>
                  </a:moveTo>
                  <a:lnTo>
                    <a:pt x="288" y="1472"/>
                  </a:lnTo>
                  <a:lnTo>
                    <a:pt x="290" y="1472"/>
                  </a:lnTo>
                  <a:close/>
                  <a:moveTo>
                    <a:pt x="280" y="1432"/>
                  </a:moveTo>
                  <a:lnTo>
                    <a:pt x="282" y="1432"/>
                  </a:lnTo>
                  <a:lnTo>
                    <a:pt x="282" y="1433"/>
                  </a:lnTo>
                  <a:lnTo>
                    <a:pt x="282" y="1432"/>
                  </a:lnTo>
                  <a:lnTo>
                    <a:pt x="280" y="1432"/>
                  </a:lnTo>
                  <a:close/>
                  <a:moveTo>
                    <a:pt x="195" y="1067"/>
                  </a:moveTo>
                  <a:lnTo>
                    <a:pt x="197" y="1069"/>
                  </a:lnTo>
                  <a:lnTo>
                    <a:pt x="195" y="1069"/>
                  </a:lnTo>
                  <a:lnTo>
                    <a:pt x="195" y="1067"/>
                  </a:lnTo>
                  <a:close/>
                  <a:moveTo>
                    <a:pt x="217" y="1505"/>
                  </a:moveTo>
                  <a:lnTo>
                    <a:pt x="217" y="1506"/>
                  </a:lnTo>
                  <a:lnTo>
                    <a:pt x="215" y="1506"/>
                  </a:lnTo>
                  <a:lnTo>
                    <a:pt x="217" y="1506"/>
                  </a:lnTo>
                  <a:lnTo>
                    <a:pt x="217" y="1505"/>
                  </a:lnTo>
                  <a:close/>
                  <a:moveTo>
                    <a:pt x="202" y="1462"/>
                  </a:moveTo>
                  <a:lnTo>
                    <a:pt x="202" y="1461"/>
                  </a:lnTo>
                  <a:lnTo>
                    <a:pt x="202" y="1462"/>
                  </a:lnTo>
                  <a:close/>
                  <a:moveTo>
                    <a:pt x="247" y="1503"/>
                  </a:moveTo>
                  <a:lnTo>
                    <a:pt x="249" y="1503"/>
                  </a:lnTo>
                  <a:lnTo>
                    <a:pt x="249" y="1505"/>
                  </a:lnTo>
                  <a:lnTo>
                    <a:pt x="247" y="1505"/>
                  </a:lnTo>
                  <a:lnTo>
                    <a:pt x="247" y="1503"/>
                  </a:lnTo>
                  <a:close/>
                  <a:moveTo>
                    <a:pt x="246" y="1380"/>
                  </a:moveTo>
                  <a:lnTo>
                    <a:pt x="246" y="1378"/>
                  </a:lnTo>
                  <a:lnTo>
                    <a:pt x="247" y="1378"/>
                  </a:lnTo>
                  <a:lnTo>
                    <a:pt x="247" y="1380"/>
                  </a:lnTo>
                  <a:lnTo>
                    <a:pt x="246" y="1380"/>
                  </a:lnTo>
                  <a:close/>
                  <a:moveTo>
                    <a:pt x="296" y="1490"/>
                  </a:moveTo>
                  <a:lnTo>
                    <a:pt x="298" y="1490"/>
                  </a:lnTo>
                  <a:lnTo>
                    <a:pt x="296" y="1490"/>
                  </a:lnTo>
                  <a:close/>
                  <a:moveTo>
                    <a:pt x="301" y="643"/>
                  </a:moveTo>
                  <a:lnTo>
                    <a:pt x="303" y="643"/>
                  </a:lnTo>
                  <a:lnTo>
                    <a:pt x="301" y="643"/>
                  </a:lnTo>
                  <a:lnTo>
                    <a:pt x="303" y="643"/>
                  </a:lnTo>
                  <a:lnTo>
                    <a:pt x="301" y="643"/>
                  </a:lnTo>
                  <a:close/>
                  <a:moveTo>
                    <a:pt x="457" y="1462"/>
                  </a:moveTo>
                  <a:lnTo>
                    <a:pt x="456" y="1461"/>
                  </a:lnTo>
                  <a:lnTo>
                    <a:pt x="457" y="1461"/>
                  </a:lnTo>
                  <a:lnTo>
                    <a:pt x="457" y="1462"/>
                  </a:lnTo>
                  <a:close/>
                  <a:moveTo>
                    <a:pt x="261" y="1428"/>
                  </a:moveTo>
                  <a:lnTo>
                    <a:pt x="259" y="1428"/>
                  </a:lnTo>
                  <a:lnTo>
                    <a:pt x="261" y="1427"/>
                  </a:lnTo>
                  <a:lnTo>
                    <a:pt x="261" y="1428"/>
                  </a:lnTo>
                  <a:close/>
                  <a:moveTo>
                    <a:pt x="335" y="1458"/>
                  </a:moveTo>
                  <a:lnTo>
                    <a:pt x="335" y="1456"/>
                  </a:lnTo>
                  <a:lnTo>
                    <a:pt x="335" y="1458"/>
                  </a:lnTo>
                  <a:close/>
                  <a:moveTo>
                    <a:pt x="269" y="1464"/>
                  </a:moveTo>
                  <a:lnTo>
                    <a:pt x="270" y="1464"/>
                  </a:lnTo>
                  <a:lnTo>
                    <a:pt x="269" y="1464"/>
                  </a:lnTo>
                  <a:close/>
                  <a:moveTo>
                    <a:pt x="256" y="1399"/>
                  </a:moveTo>
                  <a:lnTo>
                    <a:pt x="257" y="1399"/>
                  </a:lnTo>
                  <a:lnTo>
                    <a:pt x="256" y="1399"/>
                  </a:lnTo>
                  <a:close/>
                  <a:moveTo>
                    <a:pt x="329" y="1500"/>
                  </a:moveTo>
                  <a:lnTo>
                    <a:pt x="329" y="1501"/>
                  </a:lnTo>
                  <a:lnTo>
                    <a:pt x="329" y="1500"/>
                  </a:lnTo>
                  <a:lnTo>
                    <a:pt x="327" y="1500"/>
                  </a:lnTo>
                  <a:lnTo>
                    <a:pt x="329" y="1500"/>
                  </a:lnTo>
                  <a:close/>
                  <a:moveTo>
                    <a:pt x="191" y="1066"/>
                  </a:moveTo>
                  <a:lnTo>
                    <a:pt x="191" y="1067"/>
                  </a:lnTo>
                  <a:lnTo>
                    <a:pt x="192" y="1067"/>
                  </a:lnTo>
                  <a:lnTo>
                    <a:pt x="191" y="1067"/>
                  </a:lnTo>
                  <a:lnTo>
                    <a:pt x="191" y="1066"/>
                  </a:lnTo>
                  <a:close/>
                  <a:moveTo>
                    <a:pt x="274" y="949"/>
                  </a:moveTo>
                  <a:lnTo>
                    <a:pt x="272" y="947"/>
                  </a:lnTo>
                  <a:lnTo>
                    <a:pt x="272" y="949"/>
                  </a:lnTo>
                  <a:lnTo>
                    <a:pt x="272" y="947"/>
                  </a:lnTo>
                  <a:lnTo>
                    <a:pt x="274" y="949"/>
                  </a:lnTo>
                  <a:close/>
                  <a:moveTo>
                    <a:pt x="215" y="1175"/>
                  </a:moveTo>
                  <a:lnTo>
                    <a:pt x="215" y="1176"/>
                  </a:lnTo>
                  <a:lnTo>
                    <a:pt x="217" y="1176"/>
                  </a:lnTo>
                  <a:lnTo>
                    <a:pt x="215" y="1176"/>
                  </a:lnTo>
                  <a:lnTo>
                    <a:pt x="215" y="1175"/>
                  </a:lnTo>
                  <a:close/>
                  <a:moveTo>
                    <a:pt x="352" y="1490"/>
                  </a:moveTo>
                  <a:lnTo>
                    <a:pt x="350" y="1490"/>
                  </a:lnTo>
                  <a:lnTo>
                    <a:pt x="352" y="1488"/>
                  </a:lnTo>
                  <a:lnTo>
                    <a:pt x="352" y="1490"/>
                  </a:lnTo>
                  <a:close/>
                  <a:moveTo>
                    <a:pt x="633" y="1352"/>
                  </a:moveTo>
                  <a:lnTo>
                    <a:pt x="633" y="1353"/>
                  </a:lnTo>
                  <a:lnTo>
                    <a:pt x="633" y="1352"/>
                  </a:lnTo>
                  <a:close/>
                  <a:moveTo>
                    <a:pt x="208" y="1015"/>
                  </a:moveTo>
                  <a:lnTo>
                    <a:pt x="210" y="1015"/>
                  </a:lnTo>
                  <a:lnTo>
                    <a:pt x="210" y="1017"/>
                  </a:lnTo>
                  <a:lnTo>
                    <a:pt x="208" y="1017"/>
                  </a:lnTo>
                  <a:lnTo>
                    <a:pt x="208" y="1015"/>
                  </a:lnTo>
                  <a:close/>
                  <a:moveTo>
                    <a:pt x="262" y="919"/>
                  </a:moveTo>
                  <a:lnTo>
                    <a:pt x="262" y="918"/>
                  </a:lnTo>
                  <a:lnTo>
                    <a:pt x="264" y="918"/>
                  </a:lnTo>
                  <a:lnTo>
                    <a:pt x="264" y="919"/>
                  </a:lnTo>
                  <a:lnTo>
                    <a:pt x="262" y="919"/>
                  </a:lnTo>
                  <a:close/>
                  <a:moveTo>
                    <a:pt x="521" y="1417"/>
                  </a:moveTo>
                  <a:lnTo>
                    <a:pt x="519" y="1417"/>
                  </a:lnTo>
                  <a:lnTo>
                    <a:pt x="521" y="1417"/>
                  </a:lnTo>
                  <a:close/>
                  <a:moveTo>
                    <a:pt x="589" y="1396"/>
                  </a:moveTo>
                  <a:lnTo>
                    <a:pt x="591" y="1396"/>
                  </a:lnTo>
                  <a:lnTo>
                    <a:pt x="589" y="1396"/>
                  </a:lnTo>
                  <a:lnTo>
                    <a:pt x="589" y="1394"/>
                  </a:lnTo>
                  <a:lnTo>
                    <a:pt x="589" y="1396"/>
                  </a:lnTo>
                  <a:close/>
                  <a:moveTo>
                    <a:pt x="543" y="1402"/>
                  </a:moveTo>
                  <a:lnTo>
                    <a:pt x="543" y="1404"/>
                  </a:lnTo>
                  <a:lnTo>
                    <a:pt x="543" y="1402"/>
                  </a:lnTo>
                  <a:close/>
                  <a:moveTo>
                    <a:pt x="220" y="1432"/>
                  </a:moveTo>
                  <a:lnTo>
                    <a:pt x="220" y="1433"/>
                  </a:lnTo>
                  <a:lnTo>
                    <a:pt x="220" y="1432"/>
                  </a:lnTo>
                  <a:close/>
                  <a:moveTo>
                    <a:pt x="308" y="643"/>
                  </a:moveTo>
                  <a:lnTo>
                    <a:pt x="306" y="643"/>
                  </a:lnTo>
                  <a:lnTo>
                    <a:pt x="308" y="643"/>
                  </a:lnTo>
                  <a:close/>
                  <a:moveTo>
                    <a:pt x="223" y="1490"/>
                  </a:moveTo>
                  <a:lnTo>
                    <a:pt x="223" y="1488"/>
                  </a:lnTo>
                  <a:lnTo>
                    <a:pt x="223" y="1490"/>
                  </a:lnTo>
                  <a:lnTo>
                    <a:pt x="223" y="1488"/>
                  </a:lnTo>
                  <a:lnTo>
                    <a:pt x="223" y="1490"/>
                  </a:lnTo>
                  <a:close/>
                  <a:moveTo>
                    <a:pt x="264" y="929"/>
                  </a:moveTo>
                  <a:lnTo>
                    <a:pt x="264" y="931"/>
                  </a:lnTo>
                  <a:lnTo>
                    <a:pt x="264" y="929"/>
                  </a:lnTo>
                  <a:close/>
                  <a:moveTo>
                    <a:pt x="265" y="1480"/>
                  </a:moveTo>
                  <a:lnTo>
                    <a:pt x="267" y="1480"/>
                  </a:lnTo>
                  <a:lnTo>
                    <a:pt x="267" y="1482"/>
                  </a:lnTo>
                  <a:lnTo>
                    <a:pt x="265" y="1480"/>
                  </a:lnTo>
                  <a:close/>
                  <a:moveTo>
                    <a:pt x="207" y="1005"/>
                  </a:moveTo>
                  <a:lnTo>
                    <a:pt x="208" y="1004"/>
                  </a:lnTo>
                  <a:lnTo>
                    <a:pt x="208" y="1005"/>
                  </a:lnTo>
                  <a:lnTo>
                    <a:pt x="208" y="1004"/>
                  </a:lnTo>
                  <a:lnTo>
                    <a:pt x="208" y="1005"/>
                  </a:lnTo>
                  <a:lnTo>
                    <a:pt x="207" y="1005"/>
                  </a:lnTo>
                  <a:close/>
                  <a:moveTo>
                    <a:pt x="451" y="1467"/>
                  </a:moveTo>
                  <a:lnTo>
                    <a:pt x="451" y="1466"/>
                  </a:lnTo>
                  <a:lnTo>
                    <a:pt x="451" y="1467"/>
                  </a:lnTo>
                  <a:close/>
                  <a:moveTo>
                    <a:pt x="343" y="693"/>
                  </a:moveTo>
                  <a:lnTo>
                    <a:pt x="343" y="695"/>
                  </a:lnTo>
                  <a:lnTo>
                    <a:pt x="345" y="695"/>
                  </a:lnTo>
                  <a:lnTo>
                    <a:pt x="343" y="695"/>
                  </a:lnTo>
                  <a:lnTo>
                    <a:pt x="343" y="693"/>
                  </a:lnTo>
                  <a:close/>
                  <a:moveTo>
                    <a:pt x="199" y="1492"/>
                  </a:moveTo>
                  <a:lnTo>
                    <a:pt x="197" y="1492"/>
                  </a:lnTo>
                  <a:lnTo>
                    <a:pt x="199" y="1490"/>
                  </a:lnTo>
                  <a:lnTo>
                    <a:pt x="199" y="1492"/>
                  </a:lnTo>
                  <a:close/>
                  <a:moveTo>
                    <a:pt x="169" y="1010"/>
                  </a:moveTo>
                  <a:lnTo>
                    <a:pt x="171" y="1010"/>
                  </a:lnTo>
                  <a:lnTo>
                    <a:pt x="169" y="1012"/>
                  </a:lnTo>
                  <a:lnTo>
                    <a:pt x="169" y="1010"/>
                  </a:lnTo>
                  <a:close/>
                  <a:moveTo>
                    <a:pt x="607" y="1376"/>
                  </a:moveTo>
                  <a:lnTo>
                    <a:pt x="605" y="1376"/>
                  </a:lnTo>
                  <a:lnTo>
                    <a:pt x="605" y="1375"/>
                  </a:lnTo>
                  <a:lnTo>
                    <a:pt x="607" y="1375"/>
                  </a:lnTo>
                  <a:lnTo>
                    <a:pt x="607" y="1376"/>
                  </a:lnTo>
                  <a:close/>
                  <a:moveTo>
                    <a:pt x="233" y="1493"/>
                  </a:moveTo>
                  <a:lnTo>
                    <a:pt x="233" y="1495"/>
                  </a:lnTo>
                  <a:lnTo>
                    <a:pt x="233" y="1493"/>
                  </a:lnTo>
                  <a:close/>
                  <a:moveTo>
                    <a:pt x="143" y="1466"/>
                  </a:moveTo>
                  <a:lnTo>
                    <a:pt x="143" y="1467"/>
                  </a:lnTo>
                  <a:lnTo>
                    <a:pt x="143" y="1466"/>
                  </a:lnTo>
                  <a:close/>
                  <a:moveTo>
                    <a:pt x="285" y="916"/>
                  </a:moveTo>
                  <a:lnTo>
                    <a:pt x="287" y="916"/>
                  </a:lnTo>
                  <a:lnTo>
                    <a:pt x="287" y="918"/>
                  </a:lnTo>
                  <a:lnTo>
                    <a:pt x="287" y="916"/>
                  </a:lnTo>
                  <a:lnTo>
                    <a:pt x="285" y="918"/>
                  </a:lnTo>
                  <a:lnTo>
                    <a:pt x="285" y="916"/>
                  </a:lnTo>
                  <a:close/>
                  <a:moveTo>
                    <a:pt x="173" y="1479"/>
                  </a:moveTo>
                  <a:lnTo>
                    <a:pt x="173" y="1477"/>
                  </a:lnTo>
                  <a:lnTo>
                    <a:pt x="173" y="1479"/>
                  </a:lnTo>
                  <a:close/>
                  <a:moveTo>
                    <a:pt x="204" y="1488"/>
                  </a:moveTo>
                  <a:lnTo>
                    <a:pt x="205" y="1488"/>
                  </a:lnTo>
                  <a:lnTo>
                    <a:pt x="205" y="1490"/>
                  </a:lnTo>
                  <a:lnTo>
                    <a:pt x="204" y="1488"/>
                  </a:lnTo>
                  <a:close/>
                  <a:moveTo>
                    <a:pt x="234" y="1259"/>
                  </a:moveTo>
                  <a:lnTo>
                    <a:pt x="234" y="1258"/>
                  </a:lnTo>
                  <a:lnTo>
                    <a:pt x="234" y="1259"/>
                  </a:lnTo>
                  <a:close/>
                  <a:moveTo>
                    <a:pt x="452" y="1462"/>
                  </a:moveTo>
                  <a:lnTo>
                    <a:pt x="454" y="1462"/>
                  </a:lnTo>
                  <a:lnTo>
                    <a:pt x="454" y="1464"/>
                  </a:lnTo>
                  <a:lnTo>
                    <a:pt x="452" y="1462"/>
                  </a:lnTo>
                  <a:close/>
                  <a:moveTo>
                    <a:pt x="178" y="1500"/>
                  </a:moveTo>
                  <a:lnTo>
                    <a:pt x="179" y="1500"/>
                  </a:lnTo>
                  <a:lnTo>
                    <a:pt x="178" y="1500"/>
                  </a:lnTo>
                  <a:lnTo>
                    <a:pt x="179" y="1500"/>
                  </a:lnTo>
                  <a:lnTo>
                    <a:pt x="178" y="1500"/>
                  </a:lnTo>
                  <a:close/>
                  <a:moveTo>
                    <a:pt x="243" y="1508"/>
                  </a:moveTo>
                  <a:lnTo>
                    <a:pt x="243" y="1510"/>
                  </a:lnTo>
                  <a:lnTo>
                    <a:pt x="243" y="1508"/>
                  </a:lnTo>
                  <a:lnTo>
                    <a:pt x="243" y="1510"/>
                  </a:lnTo>
                  <a:lnTo>
                    <a:pt x="243" y="1508"/>
                  </a:lnTo>
                  <a:close/>
                  <a:moveTo>
                    <a:pt x="267" y="1441"/>
                  </a:moveTo>
                  <a:lnTo>
                    <a:pt x="269" y="1441"/>
                  </a:lnTo>
                  <a:lnTo>
                    <a:pt x="269" y="1443"/>
                  </a:lnTo>
                  <a:lnTo>
                    <a:pt x="267" y="1443"/>
                  </a:lnTo>
                  <a:lnTo>
                    <a:pt x="267" y="1441"/>
                  </a:lnTo>
                  <a:close/>
                  <a:moveTo>
                    <a:pt x="233" y="1458"/>
                  </a:moveTo>
                  <a:lnTo>
                    <a:pt x="233" y="1456"/>
                  </a:lnTo>
                  <a:lnTo>
                    <a:pt x="234" y="1456"/>
                  </a:lnTo>
                  <a:lnTo>
                    <a:pt x="234" y="1458"/>
                  </a:lnTo>
                  <a:lnTo>
                    <a:pt x="233" y="1458"/>
                  </a:lnTo>
                  <a:close/>
                  <a:moveTo>
                    <a:pt x="173" y="1490"/>
                  </a:moveTo>
                  <a:lnTo>
                    <a:pt x="174" y="1490"/>
                  </a:lnTo>
                  <a:lnTo>
                    <a:pt x="173" y="1490"/>
                  </a:lnTo>
                  <a:close/>
                  <a:moveTo>
                    <a:pt x="246" y="1262"/>
                  </a:moveTo>
                  <a:lnTo>
                    <a:pt x="247" y="1262"/>
                  </a:lnTo>
                  <a:lnTo>
                    <a:pt x="246" y="1262"/>
                  </a:lnTo>
                  <a:close/>
                  <a:moveTo>
                    <a:pt x="249" y="1266"/>
                  </a:moveTo>
                  <a:lnTo>
                    <a:pt x="249" y="1264"/>
                  </a:lnTo>
                  <a:lnTo>
                    <a:pt x="251" y="1266"/>
                  </a:lnTo>
                  <a:lnTo>
                    <a:pt x="249" y="1266"/>
                  </a:lnTo>
                  <a:close/>
                  <a:moveTo>
                    <a:pt x="335" y="1449"/>
                  </a:moveTo>
                  <a:lnTo>
                    <a:pt x="335" y="1448"/>
                  </a:lnTo>
                  <a:lnTo>
                    <a:pt x="335" y="1449"/>
                  </a:lnTo>
                  <a:close/>
                  <a:moveTo>
                    <a:pt x="189" y="1062"/>
                  </a:moveTo>
                  <a:lnTo>
                    <a:pt x="189" y="1061"/>
                  </a:lnTo>
                  <a:lnTo>
                    <a:pt x="191" y="1061"/>
                  </a:lnTo>
                  <a:lnTo>
                    <a:pt x="191" y="1062"/>
                  </a:lnTo>
                  <a:lnTo>
                    <a:pt x="189" y="1062"/>
                  </a:lnTo>
                  <a:close/>
                  <a:moveTo>
                    <a:pt x="599" y="1371"/>
                  </a:moveTo>
                  <a:lnTo>
                    <a:pt x="599" y="1373"/>
                  </a:lnTo>
                  <a:lnTo>
                    <a:pt x="599" y="1371"/>
                  </a:lnTo>
                  <a:close/>
                  <a:moveTo>
                    <a:pt x="202" y="1479"/>
                  </a:moveTo>
                  <a:lnTo>
                    <a:pt x="202" y="1477"/>
                  </a:lnTo>
                  <a:lnTo>
                    <a:pt x="202" y="1479"/>
                  </a:lnTo>
                  <a:lnTo>
                    <a:pt x="202" y="1477"/>
                  </a:lnTo>
                  <a:lnTo>
                    <a:pt x="202" y="1479"/>
                  </a:lnTo>
                  <a:close/>
                  <a:moveTo>
                    <a:pt x="555" y="1404"/>
                  </a:moveTo>
                  <a:lnTo>
                    <a:pt x="553" y="1404"/>
                  </a:lnTo>
                  <a:lnTo>
                    <a:pt x="555" y="1404"/>
                  </a:lnTo>
                  <a:close/>
                  <a:moveTo>
                    <a:pt x="217" y="1432"/>
                  </a:moveTo>
                  <a:lnTo>
                    <a:pt x="215" y="1432"/>
                  </a:lnTo>
                  <a:lnTo>
                    <a:pt x="217" y="1432"/>
                  </a:lnTo>
                  <a:close/>
                  <a:moveTo>
                    <a:pt x="202" y="1484"/>
                  </a:moveTo>
                  <a:lnTo>
                    <a:pt x="202" y="1485"/>
                  </a:lnTo>
                  <a:lnTo>
                    <a:pt x="204" y="1484"/>
                  </a:lnTo>
                  <a:lnTo>
                    <a:pt x="204" y="1485"/>
                  </a:lnTo>
                  <a:lnTo>
                    <a:pt x="202" y="1485"/>
                  </a:lnTo>
                  <a:lnTo>
                    <a:pt x="202" y="1484"/>
                  </a:lnTo>
                  <a:close/>
                  <a:moveTo>
                    <a:pt x="197" y="1508"/>
                  </a:moveTo>
                  <a:lnTo>
                    <a:pt x="195" y="1508"/>
                  </a:lnTo>
                  <a:lnTo>
                    <a:pt x="195" y="1510"/>
                  </a:lnTo>
                  <a:lnTo>
                    <a:pt x="197" y="1510"/>
                  </a:lnTo>
                  <a:lnTo>
                    <a:pt x="195" y="1510"/>
                  </a:lnTo>
                  <a:lnTo>
                    <a:pt x="195" y="1508"/>
                  </a:lnTo>
                  <a:lnTo>
                    <a:pt x="197" y="1508"/>
                  </a:lnTo>
                  <a:close/>
                  <a:moveTo>
                    <a:pt x="628" y="1378"/>
                  </a:moveTo>
                  <a:lnTo>
                    <a:pt x="628" y="1380"/>
                  </a:lnTo>
                  <a:lnTo>
                    <a:pt x="628" y="1378"/>
                  </a:lnTo>
                  <a:lnTo>
                    <a:pt x="630" y="1378"/>
                  </a:lnTo>
                  <a:lnTo>
                    <a:pt x="628" y="1378"/>
                  </a:lnTo>
                  <a:close/>
                  <a:moveTo>
                    <a:pt x="197" y="1155"/>
                  </a:moveTo>
                  <a:lnTo>
                    <a:pt x="197" y="1153"/>
                  </a:lnTo>
                  <a:lnTo>
                    <a:pt x="199" y="1153"/>
                  </a:lnTo>
                  <a:lnTo>
                    <a:pt x="197" y="1155"/>
                  </a:lnTo>
                  <a:close/>
                  <a:moveTo>
                    <a:pt x="246" y="1519"/>
                  </a:moveTo>
                  <a:lnTo>
                    <a:pt x="246" y="1518"/>
                  </a:lnTo>
                  <a:lnTo>
                    <a:pt x="246" y="1519"/>
                  </a:lnTo>
                  <a:close/>
                  <a:moveTo>
                    <a:pt x="324" y="1432"/>
                  </a:moveTo>
                  <a:lnTo>
                    <a:pt x="322" y="1432"/>
                  </a:lnTo>
                  <a:lnTo>
                    <a:pt x="324" y="1432"/>
                  </a:lnTo>
                  <a:close/>
                  <a:moveTo>
                    <a:pt x="238" y="1440"/>
                  </a:moveTo>
                  <a:lnTo>
                    <a:pt x="238" y="1438"/>
                  </a:lnTo>
                  <a:lnTo>
                    <a:pt x="238" y="1440"/>
                  </a:lnTo>
                  <a:close/>
                  <a:moveTo>
                    <a:pt x="247" y="1378"/>
                  </a:moveTo>
                  <a:lnTo>
                    <a:pt x="249" y="1378"/>
                  </a:lnTo>
                  <a:lnTo>
                    <a:pt x="247" y="1378"/>
                  </a:lnTo>
                  <a:close/>
                  <a:moveTo>
                    <a:pt x="213" y="1007"/>
                  </a:moveTo>
                  <a:lnTo>
                    <a:pt x="213" y="1005"/>
                  </a:lnTo>
                  <a:lnTo>
                    <a:pt x="213" y="1007"/>
                  </a:lnTo>
                  <a:close/>
                  <a:moveTo>
                    <a:pt x="270" y="952"/>
                  </a:moveTo>
                  <a:lnTo>
                    <a:pt x="270" y="953"/>
                  </a:lnTo>
                  <a:lnTo>
                    <a:pt x="270" y="952"/>
                  </a:lnTo>
                  <a:lnTo>
                    <a:pt x="269" y="952"/>
                  </a:lnTo>
                  <a:lnTo>
                    <a:pt x="270" y="952"/>
                  </a:lnTo>
                  <a:close/>
                  <a:moveTo>
                    <a:pt x="272" y="1462"/>
                  </a:moveTo>
                  <a:lnTo>
                    <a:pt x="272" y="1461"/>
                  </a:lnTo>
                  <a:lnTo>
                    <a:pt x="272" y="1462"/>
                  </a:lnTo>
                  <a:close/>
                  <a:moveTo>
                    <a:pt x="197" y="1072"/>
                  </a:moveTo>
                  <a:lnTo>
                    <a:pt x="197" y="1074"/>
                  </a:lnTo>
                  <a:lnTo>
                    <a:pt x="195" y="1072"/>
                  </a:lnTo>
                  <a:lnTo>
                    <a:pt x="197" y="1072"/>
                  </a:lnTo>
                  <a:close/>
                  <a:moveTo>
                    <a:pt x="350" y="1492"/>
                  </a:moveTo>
                  <a:lnTo>
                    <a:pt x="350" y="1490"/>
                  </a:lnTo>
                  <a:lnTo>
                    <a:pt x="352" y="1490"/>
                  </a:lnTo>
                  <a:lnTo>
                    <a:pt x="352" y="1492"/>
                  </a:lnTo>
                  <a:lnTo>
                    <a:pt x="350" y="1492"/>
                  </a:lnTo>
                  <a:close/>
                  <a:moveTo>
                    <a:pt x="251" y="1314"/>
                  </a:moveTo>
                  <a:lnTo>
                    <a:pt x="252" y="1314"/>
                  </a:lnTo>
                  <a:lnTo>
                    <a:pt x="251" y="1314"/>
                  </a:lnTo>
                  <a:close/>
                  <a:moveTo>
                    <a:pt x="296" y="666"/>
                  </a:moveTo>
                  <a:lnTo>
                    <a:pt x="296" y="667"/>
                  </a:lnTo>
                  <a:lnTo>
                    <a:pt x="298" y="667"/>
                  </a:lnTo>
                  <a:lnTo>
                    <a:pt x="296" y="667"/>
                  </a:lnTo>
                  <a:lnTo>
                    <a:pt x="296" y="666"/>
                  </a:lnTo>
                  <a:close/>
                  <a:moveTo>
                    <a:pt x="280" y="1497"/>
                  </a:moveTo>
                  <a:lnTo>
                    <a:pt x="280" y="1498"/>
                  </a:lnTo>
                  <a:lnTo>
                    <a:pt x="280" y="1497"/>
                  </a:lnTo>
                  <a:lnTo>
                    <a:pt x="280" y="1495"/>
                  </a:lnTo>
                  <a:lnTo>
                    <a:pt x="280" y="1497"/>
                  </a:lnTo>
                  <a:close/>
                  <a:moveTo>
                    <a:pt x="202" y="1505"/>
                  </a:moveTo>
                  <a:lnTo>
                    <a:pt x="202" y="1503"/>
                  </a:lnTo>
                  <a:lnTo>
                    <a:pt x="204" y="1503"/>
                  </a:lnTo>
                  <a:lnTo>
                    <a:pt x="204" y="1505"/>
                  </a:lnTo>
                  <a:lnTo>
                    <a:pt x="202" y="1505"/>
                  </a:lnTo>
                  <a:lnTo>
                    <a:pt x="200" y="1505"/>
                  </a:lnTo>
                  <a:lnTo>
                    <a:pt x="202" y="1505"/>
                  </a:lnTo>
                  <a:lnTo>
                    <a:pt x="202" y="1503"/>
                  </a:lnTo>
                  <a:lnTo>
                    <a:pt x="202" y="1505"/>
                  </a:lnTo>
                  <a:close/>
                  <a:moveTo>
                    <a:pt x="246" y="1503"/>
                  </a:moveTo>
                  <a:lnTo>
                    <a:pt x="244" y="1503"/>
                  </a:lnTo>
                  <a:lnTo>
                    <a:pt x="246" y="1501"/>
                  </a:lnTo>
                  <a:lnTo>
                    <a:pt x="246" y="1503"/>
                  </a:lnTo>
                  <a:close/>
                  <a:moveTo>
                    <a:pt x="230" y="1430"/>
                  </a:moveTo>
                  <a:lnTo>
                    <a:pt x="231" y="1430"/>
                  </a:lnTo>
                  <a:lnTo>
                    <a:pt x="230" y="1430"/>
                  </a:lnTo>
                  <a:lnTo>
                    <a:pt x="230" y="1432"/>
                  </a:lnTo>
                  <a:lnTo>
                    <a:pt x="230" y="1430"/>
                  </a:lnTo>
                  <a:close/>
                  <a:moveTo>
                    <a:pt x="290" y="1451"/>
                  </a:moveTo>
                  <a:lnTo>
                    <a:pt x="288" y="1451"/>
                  </a:lnTo>
                  <a:lnTo>
                    <a:pt x="290" y="1451"/>
                  </a:lnTo>
                  <a:close/>
                  <a:moveTo>
                    <a:pt x="147" y="1487"/>
                  </a:moveTo>
                  <a:lnTo>
                    <a:pt x="148" y="1488"/>
                  </a:lnTo>
                  <a:lnTo>
                    <a:pt x="147" y="1488"/>
                  </a:lnTo>
                  <a:lnTo>
                    <a:pt x="147" y="1487"/>
                  </a:lnTo>
                  <a:close/>
                  <a:moveTo>
                    <a:pt x="259" y="1446"/>
                  </a:moveTo>
                  <a:lnTo>
                    <a:pt x="259" y="1445"/>
                  </a:lnTo>
                  <a:lnTo>
                    <a:pt x="259" y="1446"/>
                  </a:lnTo>
                  <a:close/>
                  <a:moveTo>
                    <a:pt x="132" y="1461"/>
                  </a:moveTo>
                  <a:lnTo>
                    <a:pt x="132" y="1459"/>
                  </a:lnTo>
                  <a:lnTo>
                    <a:pt x="132" y="1461"/>
                  </a:lnTo>
                  <a:lnTo>
                    <a:pt x="132" y="1459"/>
                  </a:lnTo>
                  <a:lnTo>
                    <a:pt x="134" y="1461"/>
                  </a:lnTo>
                  <a:lnTo>
                    <a:pt x="132" y="1461"/>
                  </a:lnTo>
                  <a:close/>
                  <a:moveTo>
                    <a:pt x="342" y="657"/>
                  </a:moveTo>
                  <a:lnTo>
                    <a:pt x="342" y="656"/>
                  </a:lnTo>
                  <a:lnTo>
                    <a:pt x="342" y="657"/>
                  </a:lnTo>
                  <a:close/>
                  <a:moveTo>
                    <a:pt x="262" y="1443"/>
                  </a:moveTo>
                  <a:lnTo>
                    <a:pt x="264" y="1443"/>
                  </a:lnTo>
                  <a:lnTo>
                    <a:pt x="262" y="1443"/>
                  </a:lnTo>
                  <a:close/>
                  <a:moveTo>
                    <a:pt x="304" y="1511"/>
                  </a:moveTo>
                  <a:lnTo>
                    <a:pt x="304" y="1513"/>
                  </a:lnTo>
                  <a:lnTo>
                    <a:pt x="303" y="1511"/>
                  </a:lnTo>
                  <a:lnTo>
                    <a:pt x="304" y="1511"/>
                  </a:lnTo>
                  <a:close/>
                  <a:moveTo>
                    <a:pt x="295" y="1412"/>
                  </a:moveTo>
                  <a:lnTo>
                    <a:pt x="296" y="1412"/>
                  </a:lnTo>
                  <a:lnTo>
                    <a:pt x="296" y="1414"/>
                  </a:lnTo>
                  <a:lnTo>
                    <a:pt x="295" y="1412"/>
                  </a:lnTo>
                  <a:close/>
                  <a:moveTo>
                    <a:pt x="288" y="1474"/>
                  </a:moveTo>
                  <a:lnTo>
                    <a:pt x="290" y="1475"/>
                  </a:lnTo>
                  <a:lnTo>
                    <a:pt x="290" y="1474"/>
                  </a:lnTo>
                  <a:lnTo>
                    <a:pt x="290" y="1475"/>
                  </a:lnTo>
                  <a:lnTo>
                    <a:pt x="288" y="1475"/>
                  </a:lnTo>
                  <a:lnTo>
                    <a:pt x="290" y="1475"/>
                  </a:lnTo>
                  <a:lnTo>
                    <a:pt x="288" y="1475"/>
                  </a:lnTo>
                  <a:lnTo>
                    <a:pt x="288" y="1474"/>
                  </a:lnTo>
                  <a:close/>
                  <a:moveTo>
                    <a:pt x="356" y="1490"/>
                  </a:moveTo>
                  <a:lnTo>
                    <a:pt x="356" y="1492"/>
                  </a:lnTo>
                  <a:lnTo>
                    <a:pt x="356" y="1490"/>
                  </a:lnTo>
                  <a:close/>
                  <a:moveTo>
                    <a:pt x="583" y="1396"/>
                  </a:moveTo>
                  <a:lnTo>
                    <a:pt x="583" y="1394"/>
                  </a:lnTo>
                  <a:lnTo>
                    <a:pt x="584" y="1394"/>
                  </a:lnTo>
                  <a:lnTo>
                    <a:pt x="584" y="1396"/>
                  </a:lnTo>
                  <a:lnTo>
                    <a:pt x="583" y="1396"/>
                  </a:lnTo>
                  <a:close/>
                  <a:moveTo>
                    <a:pt x="308" y="1451"/>
                  </a:moveTo>
                  <a:lnTo>
                    <a:pt x="309" y="1451"/>
                  </a:lnTo>
                  <a:lnTo>
                    <a:pt x="309" y="1453"/>
                  </a:lnTo>
                  <a:lnTo>
                    <a:pt x="309" y="1451"/>
                  </a:lnTo>
                  <a:lnTo>
                    <a:pt x="308" y="1453"/>
                  </a:lnTo>
                  <a:lnTo>
                    <a:pt x="308" y="1451"/>
                  </a:lnTo>
                  <a:close/>
                  <a:moveTo>
                    <a:pt x="225" y="1487"/>
                  </a:moveTo>
                  <a:lnTo>
                    <a:pt x="223" y="1487"/>
                  </a:lnTo>
                  <a:lnTo>
                    <a:pt x="225" y="1487"/>
                  </a:lnTo>
                  <a:close/>
                  <a:moveTo>
                    <a:pt x="197" y="1443"/>
                  </a:moveTo>
                  <a:lnTo>
                    <a:pt x="199" y="1443"/>
                  </a:lnTo>
                  <a:lnTo>
                    <a:pt x="197" y="1443"/>
                  </a:lnTo>
                  <a:lnTo>
                    <a:pt x="197" y="1441"/>
                  </a:lnTo>
                  <a:lnTo>
                    <a:pt x="199" y="1441"/>
                  </a:lnTo>
                  <a:lnTo>
                    <a:pt x="199" y="1443"/>
                  </a:lnTo>
                  <a:lnTo>
                    <a:pt x="197" y="1443"/>
                  </a:lnTo>
                  <a:close/>
                  <a:moveTo>
                    <a:pt x="303" y="1471"/>
                  </a:moveTo>
                  <a:lnTo>
                    <a:pt x="304" y="1471"/>
                  </a:lnTo>
                  <a:lnTo>
                    <a:pt x="303" y="1471"/>
                  </a:lnTo>
                  <a:close/>
                  <a:moveTo>
                    <a:pt x="200" y="1508"/>
                  </a:moveTo>
                  <a:lnTo>
                    <a:pt x="202" y="1508"/>
                  </a:lnTo>
                  <a:lnTo>
                    <a:pt x="202" y="1506"/>
                  </a:lnTo>
                  <a:lnTo>
                    <a:pt x="202" y="1508"/>
                  </a:lnTo>
                  <a:lnTo>
                    <a:pt x="202" y="1506"/>
                  </a:lnTo>
                  <a:lnTo>
                    <a:pt x="202" y="1508"/>
                  </a:lnTo>
                  <a:lnTo>
                    <a:pt x="200" y="1508"/>
                  </a:lnTo>
                  <a:close/>
                  <a:moveTo>
                    <a:pt x="218" y="1484"/>
                  </a:moveTo>
                  <a:lnTo>
                    <a:pt x="220" y="1484"/>
                  </a:lnTo>
                  <a:lnTo>
                    <a:pt x="218" y="1484"/>
                  </a:lnTo>
                  <a:close/>
                  <a:moveTo>
                    <a:pt x="254" y="1435"/>
                  </a:moveTo>
                  <a:lnTo>
                    <a:pt x="254" y="1436"/>
                  </a:lnTo>
                  <a:lnTo>
                    <a:pt x="252" y="1436"/>
                  </a:lnTo>
                  <a:lnTo>
                    <a:pt x="254" y="1436"/>
                  </a:lnTo>
                  <a:lnTo>
                    <a:pt x="254" y="1435"/>
                  </a:lnTo>
                  <a:lnTo>
                    <a:pt x="254" y="1436"/>
                  </a:lnTo>
                  <a:lnTo>
                    <a:pt x="254" y="1435"/>
                  </a:lnTo>
                  <a:close/>
                  <a:moveTo>
                    <a:pt x="280" y="1479"/>
                  </a:moveTo>
                  <a:lnTo>
                    <a:pt x="282" y="1480"/>
                  </a:lnTo>
                  <a:lnTo>
                    <a:pt x="280" y="1480"/>
                  </a:lnTo>
                  <a:lnTo>
                    <a:pt x="280" y="1479"/>
                  </a:lnTo>
                  <a:close/>
                  <a:moveTo>
                    <a:pt x="161" y="1062"/>
                  </a:moveTo>
                  <a:lnTo>
                    <a:pt x="161" y="1064"/>
                  </a:lnTo>
                  <a:lnTo>
                    <a:pt x="160" y="1064"/>
                  </a:lnTo>
                  <a:lnTo>
                    <a:pt x="161" y="1064"/>
                  </a:lnTo>
                  <a:lnTo>
                    <a:pt x="160" y="1064"/>
                  </a:lnTo>
                  <a:lnTo>
                    <a:pt x="160" y="1062"/>
                  </a:lnTo>
                  <a:lnTo>
                    <a:pt x="161" y="1062"/>
                  </a:lnTo>
                  <a:lnTo>
                    <a:pt x="160" y="1062"/>
                  </a:lnTo>
                  <a:lnTo>
                    <a:pt x="161" y="1062"/>
                  </a:lnTo>
                  <a:close/>
                  <a:moveTo>
                    <a:pt x="579" y="1384"/>
                  </a:moveTo>
                  <a:lnTo>
                    <a:pt x="581" y="1383"/>
                  </a:lnTo>
                  <a:lnTo>
                    <a:pt x="581" y="1384"/>
                  </a:lnTo>
                  <a:lnTo>
                    <a:pt x="581" y="1383"/>
                  </a:lnTo>
                  <a:lnTo>
                    <a:pt x="579" y="1384"/>
                  </a:lnTo>
                  <a:close/>
                  <a:moveTo>
                    <a:pt x="243" y="1419"/>
                  </a:moveTo>
                  <a:lnTo>
                    <a:pt x="243" y="1420"/>
                  </a:lnTo>
                  <a:lnTo>
                    <a:pt x="243" y="1419"/>
                  </a:lnTo>
                  <a:close/>
                  <a:moveTo>
                    <a:pt x="174" y="1453"/>
                  </a:moveTo>
                  <a:lnTo>
                    <a:pt x="174" y="1454"/>
                  </a:lnTo>
                  <a:lnTo>
                    <a:pt x="174" y="1453"/>
                  </a:lnTo>
                  <a:close/>
                  <a:moveTo>
                    <a:pt x="257" y="949"/>
                  </a:moveTo>
                  <a:lnTo>
                    <a:pt x="256" y="949"/>
                  </a:lnTo>
                  <a:lnTo>
                    <a:pt x="257" y="949"/>
                  </a:lnTo>
                  <a:close/>
                  <a:moveTo>
                    <a:pt x="330" y="1488"/>
                  </a:moveTo>
                  <a:lnTo>
                    <a:pt x="329" y="1488"/>
                  </a:lnTo>
                  <a:lnTo>
                    <a:pt x="330" y="1488"/>
                  </a:lnTo>
                  <a:close/>
                  <a:moveTo>
                    <a:pt x="339" y="796"/>
                  </a:moveTo>
                  <a:lnTo>
                    <a:pt x="339" y="794"/>
                  </a:lnTo>
                  <a:lnTo>
                    <a:pt x="340" y="794"/>
                  </a:lnTo>
                  <a:lnTo>
                    <a:pt x="340" y="796"/>
                  </a:lnTo>
                  <a:lnTo>
                    <a:pt x="339" y="796"/>
                  </a:lnTo>
                  <a:close/>
                  <a:moveTo>
                    <a:pt x="241" y="1518"/>
                  </a:moveTo>
                  <a:lnTo>
                    <a:pt x="241" y="1516"/>
                  </a:lnTo>
                  <a:lnTo>
                    <a:pt x="241" y="1518"/>
                  </a:lnTo>
                  <a:lnTo>
                    <a:pt x="243" y="1518"/>
                  </a:lnTo>
                  <a:lnTo>
                    <a:pt x="241" y="1518"/>
                  </a:lnTo>
                  <a:close/>
                  <a:moveTo>
                    <a:pt x="350" y="1484"/>
                  </a:moveTo>
                  <a:lnTo>
                    <a:pt x="348" y="1484"/>
                  </a:lnTo>
                  <a:lnTo>
                    <a:pt x="348" y="1482"/>
                  </a:lnTo>
                  <a:lnTo>
                    <a:pt x="350" y="1482"/>
                  </a:lnTo>
                  <a:lnTo>
                    <a:pt x="350" y="1484"/>
                  </a:lnTo>
                  <a:close/>
                  <a:moveTo>
                    <a:pt x="244" y="1326"/>
                  </a:moveTo>
                  <a:lnTo>
                    <a:pt x="244" y="1324"/>
                  </a:lnTo>
                  <a:lnTo>
                    <a:pt x="246" y="1326"/>
                  </a:lnTo>
                  <a:lnTo>
                    <a:pt x="244" y="1326"/>
                  </a:lnTo>
                  <a:close/>
                  <a:moveTo>
                    <a:pt x="330" y="1503"/>
                  </a:moveTo>
                  <a:lnTo>
                    <a:pt x="330" y="1505"/>
                  </a:lnTo>
                  <a:lnTo>
                    <a:pt x="330" y="1503"/>
                  </a:lnTo>
                  <a:lnTo>
                    <a:pt x="330" y="1505"/>
                  </a:lnTo>
                  <a:lnTo>
                    <a:pt x="330" y="1503"/>
                  </a:lnTo>
                  <a:lnTo>
                    <a:pt x="330" y="1505"/>
                  </a:lnTo>
                  <a:lnTo>
                    <a:pt x="330" y="1503"/>
                  </a:lnTo>
                  <a:close/>
                  <a:moveTo>
                    <a:pt x="348" y="1484"/>
                  </a:moveTo>
                  <a:lnTo>
                    <a:pt x="350" y="1484"/>
                  </a:lnTo>
                  <a:lnTo>
                    <a:pt x="350" y="1485"/>
                  </a:lnTo>
                  <a:lnTo>
                    <a:pt x="348" y="1484"/>
                  </a:lnTo>
                  <a:close/>
                  <a:moveTo>
                    <a:pt x="186" y="1511"/>
                  </a:moveTo>
                  <a:lnTo>
                    <a:pt x="187" y="1511"/>
                  </a:lnTo>
                  <a:lnTo>
                    <a:pt x="186" y="1511"/>
                  </a:lnTo>
                  <a:lnTo>
                    <a:pt x="186" y="1513"/>
                  </a:lnTo>
                  <a:lnTo>
                    <a:pt x="186" y="1511"/>
                  </a:lnTo>
                  <a:close/>
                  <a:moveTo>
                    <a:pt x="457" y="1466"/>
                  </a:moveTo>
                  <a:lnTo>
                    <a:pt x="459" y="1466"/>
                  </a:lnTo>
                  <a:lnTo>
                    <a:pt x="457" y="1466"/>
                  </a:lnTo>
                  <a:close/>
                  <a:moveTo>
                    <a:pt x="670" y="1363"/>
                  </a:moveTo>
                  <a:lnTo>
                    <a:pt x="670" y="1365"/>
                  </a:lnTo>
                  <a:lnTo>
                    <a:pt x="670" y="1363"/>
                  </a:lnTo>
                  <a:close/>
                  <a:moveTo>
                    <a:pt x="191" y="1054"/>
                  </a:moveTo>
                  <a:lnTo>
                    <a:pt x="192" y="1056"/>
                  </a:lnTo>
                  <a:lnTo>
                    <a:pt x="191" y="1056"/>
                  </a:lnTo>
                  <a:lnTo>
                    <a:pt x="191" y="1054"/>
                  </a:lnTo>
                  <a:close/>
                  <a:moveTo>
                    <a:pt x="256" y="1423"/>
                  </a:moveTo>
                  <a:lnTo>
                    <a:pt x="257" y="1423"/>
                  </a:lnTo>
                  <a:lnTo>
                    <a:pt x="256" y="1423"/>
                  </a:lnTo>
                  <a:close/>
                  <a:moveTo>
                    <a:pt x="238" y="1454"/>
                  </a:moveTo>
                  <a:lnTo>
                    <a:pt x="239" y="1454"/>
                  </a:lnTo>
                  <a:lnTo>
                    <a:pt x="238" y="1454"/>
                  </a:lnTo>
                  <a:close/>
                  <a:moveTo>
                    <a:pt x="244" y="1376"/>
                  </a:moveTo>
                  <a:lnTo>
                    <a:pt x="246" y="1376"/>
                  </a:lnTo>
                  <a:lnTo>
                    <a:pt x="246" y="1378"/>
                  </a:lnTo>
                  <a:lnTo>
                    <a:pt x="244" y="1378"/>
                  </a:lnTo>
                  <a:lnTo>
                    <a:pt x="244" y="1376"/>
                  </a:lnTo>
                  <a:close/>
                  <a:moveTo>
                    <a:pt x="659" y="1340"/>
                  </a:moveTo>
                  <a:lnTo>
                    <a:pt x="659" y="1339"/>
                  </a:lnTo>
                  <a:lnTo>
                    <a:pt x="659" y="1340"/>
                  </a:lnTo>
                  <a:close/>
                  <a:moveTo>
                    <a:pt x="602" y="1380"/>
                  </a:moveTo>
                  <a:lnTo>
                    <a:pt x="604" y="1380"/>
                  </a:lnTo>
                  <a:lnTo>
                    <a:pt x="604" y="1381"/>
                  </a:lnTo>
                  <a:lnTo>
                    <a:pt x="602" y="1381"/>
                  </a:lnTo>
                  <a:lnTo>
                    <a:pt x="602" y="1380"/>
                  </a:lnTo>
                  <a:close/>
                  <a:moveTo>
                    <a:pt x="244" y="1373"/>
                  </a:moveTo>
                  <a:lnTo>
                    <a:pt x="246" y="1373"/>
                  </a:lnTo>
                  <a:lnTo>
                    <a:pt x="244" y="1373"/>
                  </a:lnTo>
                  <a:close/>
                  <a:moveTo>
                    <a:pt x="348" y="1490"/>
                  </a:moveTo>
                  <a:lnTo>
                    <a:pt x="348" y="1492"/>
                  </a:lnTo>
                  <a:lnTo>
                    <a:pt x="348" y="1490"/>
                  </a:lnTo>
                  <a:lnTo>
                    <a:pt x="347" y="1490"/>
                  </a:lnTo>
                  <a:lnTo>
                    <a:pt x="348" y="1490"/>
                  </a:lnTo>
                  <a:close/>
                  <a:moveTo>
                    <a:pt x="176" y="1440"/>
                  </a:moveTo>
                  <a:lnTo>
                    <a:pt x="176" y="1438"/>
                  </a:lnTo>
                  <a:lnTo>
                    <a:pt x="176" y="1440"/>
                  </a:lnTo>
                  <a:close/>
                  <a:moveTo>
                    <a:pt x="415" y="1487"/>
                  </a:moveTo>
                  <a:lnTo>
                    <a:pt x="417" y="1487"/>
                  </a:lnTo>
                  <a:lnTo>
                    <a:pt x="415" y="1487"/>
                  </a:lnTo>
                  <a:close/>
                  <a:moveTo>
                    <a:pt x="287" y="1441"/>
                  </a:moveTo>
                  <a:lnTo>
                    <a:pt x="288" y="1443"/>
                  </a:lnTo>
                  <a:lnTo>
                    <a:pt x="287" y="1441"/>
                  </a:lnTo>
                  <a:close/>
                  <a:moveTo>
                    <a:pt x="238" y="1004"/>
                  </a:moveTo>
                  <a:lnTo>
                    <a:pt x="239" y="1004"/>
                  </a:lnTo>
                  <a:lnTo>
                    <a:pt x="239" y="1005"/>
                  </a:lnTo>
                  <a:lnTo>
                    <a:pt x="238" y="1004"/>
                  </a:lnTo>
                  <a:close/>
                  <a:moveTo>
                    <a:pt x="259" y="926"/>
                  </a:moveTo>
                  <a:lnTo>
                    <a:pt x="261" y="926"/>
                  </a:lnTo>
                  <a:lnTo>
                    <a:pt x="261" y="927"/>
                  </a:lnTo>
                  <a:lnTo>
                    <a:pt x="259" y="926"/>
                  </a:lnTo>
                  <a:close/>
                  <a:moveTo>
                    <a:pt x="353" y="1498"/>
                  </a:moveTo>
                  <a:lnTo>
                    <a:pt x="353" y="1500"/>
                  </a:lnTo>
                  <a:lnTo>
                    <a:pt x="353" y="1498"/>
                  </a:lnTo>
                  <a:close/>
                  <a:moveTo>
                    <a:pt x="667" y="1370"/>
                  </a:moveTo>
                  <a:lnTo>
                    <a:pt x="667" y="1368"/>
                  </a:lnTo>
                  <a:lnTo>
                    <a:pt x="669" y="1368"/>
                  </a:lnTo>
                  <a:lnTo>
                    <a:pt x="669" y="1370"/>
                  </a:lnTo>
                  <a:lnTo>
                    <a:pt x="669" y="1368"/>
                  </a:lnTo>
                  <a:lnTo>
                    <a:pt x="667" y="1370"/>
                  </a:lnTo>
                  <a:close/>
                  <a:moveTo>
                    <a:pt x="290" y="1488"/>
                  </a:moveTo>
                  <a:lnTo>
                    <a:pt x="291" y="1488"/>
                  </a:lnTo>
                  <a:lnTo>
                    <a:pt x="290" y="1488"/>
                  </a:lnTo>
                  <a:close/>
                  <a:moveTo>
                    <a:pt x="343" y="1501"/>
                  </a:moveTo>
                  <a:lnTo>
                    <a:pt x="343" y="1503"/>
                  </a:lnTo>
                  <a:lnTo>
                    <a:pt x="342" y="1503"/>
                  </a:lnTo>
                  <a:lnTo>
                    <a:pt x="343" y="1503"/>
                  </a:lnTo>
                  <a:lnTo>
                    <a:pt x="342" y="1503"/>
                  </a:lnTo>
                  <a:lnTo>
                    <a:pt x="343" y="1503"/>
                  </a:lnTo>
                  <a:lnTo>
                    <a:pt x="343" y="1501"/>
                  </a:lnTo>
                  <a:close/>
                  <a:moveTo>
                    <a:pt x="277" y="1436"/>
                  </a:moveTo>
                  <a:lnTo>
                    <a:pt x="277" y="1438"/>
                  </a:lnTo>
                  <a:lnTo>
                    <a:pt x="278" y="1436"/>
                  </a:lnTo>
                  <a:lnTo>
                    <a:pt x="278" y="1438"/>
                  </a:lnTo>
                  <a:lnTo>
                    <a:pt x="278" y="1436"/>
                  </a:lnTo>
                  <a:lnTo>
                    <a:pt x="278" y="1438"/>
                  </a:lnTo>
                  <a:lnTo>
                    <a:pt x="278" y="1436"/>
                  </a:lnTo>
                  <a:lnTo>
                    <a:pt x="278" y="1438"/>
                  </a:lnTo>
                  <a:lnTo>
                    <a:pt x="277" y="1438"/>
                  </a:lnTo>
                  <a:lnTo>
                    <a:pt x="277" y="1436"/>
                  </a:lnTo>
                  <a:close/>
                  <a:moveTo>
                    <a:pt x="244" y="1474"/>
                  </a:moveTo>
                  <a:lnTo>
                    <a:pt x="244" y="1472"/>
                  </a:lnTo>
                  <a:lnTo>
                    <a:pt x="244" y="1474"/>
                  </a:lnTo>
                  <a:close/>
                  <a:moveTo>
                    <a:pt x="340" y="1498"/>
                  </a:moveTo>
                  <a:lnTo>
                    <a:pt x="342" y="1498"/>
                  </a:lnTo>
                  <a:lnTo>
                    <a:pt x="340" y="1498"/>
                  </a:lnTo>
                  <a:close/>
                  <a:moveTo>
                    <a:pt x="244" y="1501"/>
                  </a:moveTo>
                  <a:lnTo>
                    <a:pt x="246" y="1501"/>
                  </a:lnTo>
                  <a:lnTo>
                    <a:pt x="244" y="1501"/>
                  </a:lnTo>
                  <a:close/>
                  <a:moveTo>
                    <a:pt x="270" y="1466"/>
                  </a:moveTo>
                  <a:lnTo>
                    <a:pt x="269" y="1466"/>
                  </a:lnTo>
                  <a:lnTo>
                    <a:pt x="269" y="1464"/>
                  </a:lnTo>
                  <a:lnTo>
                    <a:pt x="270" y="1464"/>
                  </a:lnTo>
                  <a:lnTo>
                    <a:pt x="270" y="1466"/>
                  </a:lnTo>
                  <a:close/>
                  <a:moveTo>
                    <a:pt x="452" y="1467"/>
                  </a:moveTo>
                  <a:lnTo>
                    <a:pt x="452" y="1469"/>
                  </a:lnTo>
                  <a:lnTo>
                    <a:pt x="451" y="1469"/>
                  </a:lnTo>
                  <a:lnTo>
                    <a:pt x="452" y="1467"/>
                  </a:lnTo>
                  <a:close/>
                  <a:moveTo>
                    <a:pt x="218" y="1461"/>
                  </a:moveTo>
                  <a:lnTo>
                    <a:pt x="217" y="1461"/>
                  </a:lnTo>
                  <a:lnTo>
                    <a:pt x="217" y="1459"/>
                  </a:lnTo>
                  <a:lnTo>
                    <a:pt x="217" y="1461"/>
                  </a:lnTo>
                  <a:lnTo>
                    <a:pt x="218" y="1461"/>
                  </a:lnTo>
                  <a:lnTo>
                    <a:pt x="217" y="1461"/>
                  </a:lnTo>
                  <a:lnTo>
                    <a:pt x="218" y="1461"/>
                  </a:lnTo>
                  <a:close/>
                  <a:moveTo>
                    <a:pt x="228" y="1014"/>
                  </a:moveTo>
                  <a:lnTo>
                    <a:pt x="226" y="1014"/>
                  </a:lnTo>
                  <a:lnTo>
                    <a:pt x="228" y="1014"/>
                  </a:lnTo>
                  <a:lnTo>
                    <a:pt x="226" y="1012"/>
                  </a:lnTo>
                  <a:lnTo>
                    <a:pt x="228" y="1012"/>
                  </a:lnTo>
                  <a:lnTo>
                    <a:pt x="228" y="1014"/>
                  </a:lnTo>
                  <a:close/>
                  <a:moveTo>
                    <a:pt x="218" y="1409"/>
                  </a:moveTo>
                  <a:lnTo>
                    <a:pt x="218" y="1410"/>
                  </a:lnTo>
                  <a:lnTo>
                    <a:pt x="218" y="1409"/>
                  </a:lnTo>
                  <a:lnTo>
                    <a:pt x="218" y="1410"/>
                  </a:lnTo>
                  <a:lnTo>
                    <a:pt x="218" y="1409"/>
                  </a:lnTo>
                  <a:close/>
                  <a:moveTo>
                    <a:pt x="298" y="1482"/>
                  </a:moveTo>
                  <a:lnTo>
                    <a:pt x="298" y="1484"/>
                  </a:lnTo>
                  <a:lnTo>
                    <a:pt x="296" y="1484"/>
                  </a:lnTo>
                  <a:lnTo>
                    <a:pt x="296" y="1482"/>
                  </a:lnTo>
                  <a:lnTo>
                    <a:pt x="298" y="1484"/>
                  </a:lnTo>
                  <a:lnTo>
                    <a:pt x="298" y="1482"/>
                  </a:lnTo>
                  <a:lnTo>
                    <a:pt x="296" y="1482"/>
                  </a:lnTo>
                  <a:lnTo>
                    <a:pt x="298" y="1482"/>
                  </a:lnTo>
                  <a:close/>
                  <a:moveTo>
                    <a:pt x="296" y="1469"/>
                  </a:moveTo>
                  <a:lnTo>
                    <a:pt x="296" y="1467"/>
                  </a:lnTo>
                  <a:lnTo>
                    <a:pt x="298" y="1469"/>
                  </a:lnTo>
                  <a:lnTo>
                    <a:pt x="296" y="1469"/>
                  </a:lnTo>
                  <a:close/>
                  <a:moveTo>
                    <a:pt x="264" y="921"/>
                  </a:moveTo>
                  <a:lnTo>
                    <a:pt x="264" y="919"/>
                  </a:lnTo>
                  <a:lnTo>
                    <a:pt x="264" y="921"/>
                  </a:lnTo>
                  <a:close/>
                  <a:moveTo>
                    <a:pt x="218" y="1488"/>
                  </a:moveTo>
                  <a:lnTo>
                    <a:pt x="220" y="1488"/>
                  </a:lnTo>
                  <a:lnTo>
                    <a:pt x="220" y="1490"/>
                  </a:lnTo>
                  <a:lnTo>
                    <a:pt x="220" y="1488"/>
                  </a:lnTo>
                  <a:lnTo>
                    <a:pt x="218" y="1488"/>
                  </a:lnTo>
                  <a:close/>
                  <a:moveTo>
                    <a:pt x="283" y="1420"/>
                  </a:moveTo>
                  <a:lnTo>
                    <a:pt x="285" y="1420"/>
                  </a:lnTo>
                  <a:lnTo>
                    <a:pt x="285" y="1422"/>
                  </a:lnTo>
                  <a:lnTo>
                    <a:pt x="283" y="1422"/>
                  </a:lnTo>
                  <a:lnTo>
                    <a:pt x="283" y="1420"/>
                  </a:lnTo>
                  <a:close/>
                  <a:moveTo>
                    <a:pt x="275" y="1459"/>
                  </a:moveTo>
                  <a:lnTo>
                    <a:pt x="277" y="1458"/>
                  </a:lnTo>
                  <a:lnTo>
                    <a:pt x="277" y="1459"/>
                  </a:lnTo>
                  <a:lnTo>
                    <a:pt x="275" y="1459"/>
                  </a:lnTo>
                  <a:close/>
                  <a:moveTo>
                    <a:pt x="192" y="1043"/>
                  </a:moveTo>
                  <a:lnTo>
                    <a:pt x="192" y="1044"/>
                  </a:lnTo>
                  <a:lnTo>
                    <a:pt x="192" y="1043"/>
                  </a:lnTo>
                  <a:close/>
                  <a:moveTo>
                    <a:pt x="332" y="1461"/>
                  </a:moveTo>
                  <a:lnTo>
                    <a:pt x="332" y="1462"/>
                  </a:lnTo>
                  <a:lnTo>
                    <a:pt x="332" y="1461"/>
                  </a:lnTo>
                  <a:lnTo>
                    <a:pt x="332" y="1462"/>
                  </a:lnTo>
                  <a:lnTo>
                    <a:pt x="332" y="1461"/>
                  </a:lnTo>
                  <a:lnTo>
                    <a:pt x="330" y="1461"/>
                  </a:lnTo>
                  <a:lnTo>
                    <a:pt x="332" y="1461"/>
                  </a:lnTo>
                  <a:lnTo>
                    <a:pt x="330" y="1461"/>
                  </a:lnTo>
                  <a:lnTo>
                    <a:pt x="332" y="1461"/>
                  </a:lnTo>
                  <a:close/>
                  <a:moveTo>
                    <a:pt x="584" y="1393"/>
                  </a:moveTo>
                  <a:lnTo>
                    <a:pt x="584" y="1391"/>
                  </a:lnTo>
                  <a:lnTo>
                    <a:pt x="584" y="1393"/>
                  </a:lnTo>
                  <a:close/>
                  <a:moveTo>
                    <a:pt x="256" y="1469"/>
                  </a:moveTo>
                  <a:lnTo>
                    <a:pt x="257" y="1469"/>
                  </a:lnTo>
                  <a:lnTo>
                    <a:pt x="256" y="1469"/>
                  </a:lnTo>
                  <a:close/>
                  <a:moveTo>
                    <a:pt x="220" y="1487"/>
                  </a:moveTo>
                  <a:lnTo>
                    <a:pt x="220" y="1485"/>
                  </a:lnTo>
                  <a:lnTo>
                    <a:pt x="221" y="1485"/>
                  </a:lnTo>
                  <a:lnTo>
                    <a:pt x="220" y="1485"/>
                  </a:lnTo>
                  <a:lnTo>
                    <a:pt x="220" y="1487"/>
                  </a:lnTo>
                  <a:close/>
                  <a:moveTo>
                    <a:pt x="236" y="1430"/>
                  </a:moveTo>
                  <a:lnTo>
                    <a:pt x="236" y="1432"/>
                  </a:lnTo>
                  <a:lnTo>
                    <a:pt x="236" y="1430"/>
                  </a:lnTo>
                  <a:lnTo>
                    <a:pt x="236" y="1432"/>
                  </a:lnTo>
                  <a:lnTo>
                    <a:pt x="236" y="1430"/>
                  </a:lnTo>
                  <a:close/>
                  <a:moveTo>
                    <a:pt x="247" y="586"/>
                  </a:moveTo>
                  <a:lnTo>
                    <a:pt x="247" y="587"/>
                  </a:lnTo>
                  <a:lnTo>
                    <a:pt x="247" y="586"/>
                  </a:lnTo>
                  <a:lnTo>
                    <a:pt x="247" y="584"/>
                  </a:lnTo>
                  <a:lnTo>
                    <a:pt x="247" y="586"/>
                  </a:lnTo>
                  <a:close/>
                  <a:moveTo>
                    <a:pt x="264" y="1493"/>
                  </a:moveTo>
                  <a:lnTo>
                    <a:pt x="264" y="1495"/>
                  </a:lnTo>
                  <a:lnTo>
                    <a:pt x="264" y="1493"/>
                  </a:lnTo>
                  <a:close/>
                  <a:moveTo>
                    <a:pt x="459" y="1467"/>
                  </a:moveTo>
                  <a:lnTo>
                    <a:pt x="459" y="1466"/>
                  </a:lnTo>
                  <a:lnTo>
                    <a:pt x="459" y="1467"/>
                  </a:lnTo>
                  <a:close/>
                  <a:moveTo>
                    <a:pt x="239" y="1313"/>
                  </a:moveTo>
                  <a:lnTo>
                    <a:pt x="241" y="1313"/>
                  </a:lnTo>
                  <a:lnTo>
                    <a:pt x="239" y="1313"/>
                  </a:lnTo>
                  <a:close/>
                  <a:moveTo>
                    <a:pt x="226" y="1466"/>
                  </a:moveTo>
                  <a:lnTo>
                    <a:pt x="228" y="1466"/>
                  </a:lnTo>
                  <a:lnTo>
                    <a:pt x="228" y="1467"/>
                  </a:lnTo>
                  <a:lnTo>
                    <a:pt x="226" y="1466"/>
                  </a:lnTo>
                  <a:close/>
                  <a:moveTo>
                    <a:pt x="189" y="1495"/>
                  </a:moveTo>
                  <a:lnTo>
                    <a:pt x="191" y="1495"/>
                  </a:lnTo>
                  <a:lnTo>
                    <a:pt x="189" y="1495"/>
                  </a:lnTo>
                  <a:close/>
                  <a:moveTo>
                    <a:pt x="208" y="1162"/>
                  </a:moveTo>
                  <a:lnTo>
                    <a:pt x="208" y="1160"/>
                  </a:lnTo>
                  <a:lnTo>
                    <a:pt x="208" y="1162"/>
                  </a:lnTo>
                  <a:close/>
                  <a:moveTo>
                    <a:pt x="217" y="1508"/>
                  </a:moveTo>
                  <a:lnTo>
                    <a:pt x="217" y="1506"/>
                  </a:lnTo>
                  <a:lnTo>
                    <a:pt x="218" y="1506"/>
                  </a:lnTo>
                  <a:lnTo>
                    <a:pt x="217" y="1508"/>
                  </a:lnTo>
                  <a:close/>
                  <a:moveTo>
                    <a:pt x="493" y="1446"/>
                  </a:moveTo>
                  <a:lnTo>
                    <a:pt x="495" y="1446"/>
                  </a:lnTo>
                  <a:lnTo>
                    <a:pt x="493" y="1446"/>
                  </a:lnTo>
                  <a:lnTo>
                    <a:pt x="495" y="1446"/>
                  </a:lnTo>
                  <a:lnTo>
                    <a:pt x="493" y="1446"/>
                  </a:lnTo>
                  <a:close/>
                  <a:moveTo>
                    <a:pt x="664" y="1342"/>
                  </a:moveTo>
                  <a:lnTo>
                    <a:pt x="665" y="1342"/>
                  </a:lnTo>
                  <a:lnTo>
                    <a:pt x="665" y="1344"/>
                  </a:lnTo>
                  <a:lnTo>
                    <a:pt x="664" y="1342"/>
                  </a:lnTo>
                  <a:close/>
                  <a:moveTo>
                    <a:pt x="147" y="1459"/>
                  </a:moveTo>
                  <a:lnTo>
                    <a:pt x="147" y="1461"/>
                  </a:lnTo>
                  <a:lnTo>
                    <a:pt x="145" y="1461"/>
                  </a:lnTo>
                  <a:lnTo>
                    <a:pt x="145" y="1459"/>
                  </a:lnTo>
                  <a:lnTo>
                    <a:pt x="147" y="1459"/>
                  </a:lnTo>
                  <a:close/>
                  <a:moveTo>
                    <a:pt x="210" y="1010"/>
                  </a:moveTo>
                  <a:lnTo>
                    <a:pt x="210" y="1009"/>
                  </a:lnTo>
                  <a:lnTo>
                    <a:pt x="210" y="1010"/>
                  </a:lnTo>
                  <a:close/>
                  <a:moveTo>
                    <a:pt x="182" y="1453"/>
                  </a:moveTo>
                  <a:lnTo>
                    <a:pt x="182" y="1451"/>
                  </a:lnTo>
                  <a:lnTo>
                    <a:pt x="182" y="1453"/>
                  </a:lnTo>
                  <a:close/>
                  <a:moveTo>
                    <a:pt x="231" y="1249"/>
                  </a:moveTo>
                  <a:lnTo>
                    <a:pt x="233" y="1249"/>
                  </a:lnTo>
                  <a:lnTo>
                    <a:pt x="231" y="1249"/>
                  </a:lnTo>
                  <a:close/>
                  <a:moveTo>
                    <a:pt x="496" y="1443"/>
                  </a:moveTo>
                  <a:lnTo>
                    <a:pt x="496" y="1441"/>
                  </a:lnTo>
                  <a:lnTo>
                    <a:pt x="496" y="1443"/>
                  </a:lnTo>
                  <a:close/>
                  <a:moveTo>
                    <a:pt x="200" y="1506"/>
                  </a:moveTo>
                  <a:lnTo>
                    <a:pt x="202" y="1506"/>
                  </a:lnTo>
                  <a:lnTo>
                    <a:pt x="202" y="1508"/>
                  </a:lnTo>
                  <a:lnTo>
                    <a:pt x="200" y="1508"/>
                  </a:lnTo>
                  <a:lnTo>
                    <a:pt x="200" y="1506"/>
                  </a:lnTo>
                  <a:close/>
                  <a:moveTo>
                    <a:pt x="306" y="644"/>
                  </a:moveTo>
                  <a:lnTo>
                    <a:pt x="306" y="646"/>
                  </a:lnTo>
                  <a:lnTo>
                    <a:pt x="304" y="644"/>
                  </a:lnTo>
                  <a:lnTo>
                    <a:pt x="306" y="644"/>
                  </a:lnTo>
                  <a:close/>
                  <a:moveTo>
                    <a:pt x="256" y="1506"/>
                  </a:moveTo>
                  <a:lnTo>
                    <a:pt x="257" y="1506"/>
                  </a:lnTo>
                  <a:lnTo>
                    <a:pt x="256" y="1508"/>
                  </a:lnTo>
                  <a:lnTo>
                    <a:pt x="256" y="1506"/>
                  </a:lnTo>
                  <a:close/>
                  <a:moveTo>
                    <a:pt x="165" y="1500"/>
                  </a:moveTo>
                  <a:lnTo>
                    <a:pt x="165" y="1501"/>
                  </a:lnTo>
                  <a:lnTo>
                    <a:pt x="165" y="1500"/>
                  </a:lnTo>
                  <a:close/>
                  <a:moveTo>
                    <a:pt x="153" y="1475"/>
                  </a:moveTo>
                  <a:lnTo>
                    <a:pt x="155" y="1475"/>
                  </a:lnTo>
                  <a:lnTo>
                    <a:pt x="153" y="1475"/>
                  </a:lnTo>
                  <a:close/>
                  <a:moveTo>
                    <a:pt x="247" y="1430"/>
                  </a:moveTo>
                  <a:lnTo>
                    <a:pt x="246" y="1430"/>
                  </a:lnTo>
                  <a:lnTo>
                    <a:pt x="247" y="1430"/>
                  </a:lnTo>
                  <a:lnTo>
                    <a:pt x="247" y="1428"/>
                  </a:lnTo>
                  <a:lnTo>
                    <a:pt x="247" y="1430"/>
                  </a:lnTo>
                  <a:close/>
                  <a:moveTo>
                    <a:pt x="309" y="1448"/>
                  </a:moveTo>
                  <a:lnTo>
                    <a:pt x="309" y="1449"/>
                  </a:lnTo>
                  <a:lnTo>
                    <a:pt x="309" y="1448"/>
                  </a:lnTo>
                  <a:close/>
                  <a:moveTo>
                    <a:pt x="233" y="1433"/>
                  </a:moveTo>
                  <a:lnTo>
                    <a:pt x="234" y="1435"/>
                  </a:lnTo>
                  <a:lnTo>
                    <a:pt x="233" y="1435"/>
                  </a:lnTo>
                  <a:lnTo>
                    <a:pt x="234" y="1435"/>
                  </a:lnTo>
                  <a:lnTo>
                    <a:pt x="233" y="1435"/>
                  </a:lnTo>
                  <a:lnTo>
                    <a:pt x="233" y="1433"/>
                  </a:lnTo>
                  <a:close/>
                  <a:moveTo>
                    <a:pt x="145" y="1446"/>
                  </a:moveTo>
                  <a:lnTo>
                    <a:pt x="147" y="1446"/>
                  </a:lnTo>
                  <a:lnTo>
                    <a:pt x="145" y="1448"/>
                  </a:lnTo>
                  <a:lnTo>
                    <a:pt x="145" y="1446"/>
                  </a:lnTo>
                  <a:close/>
                  <a:moveTo>
                    <a:pt x="256" y="1495"/>
                  </a:moveTo>
                  <a:lnTo>
                    <a:pt x="257" y="1495"/>
                  </a:lnTo>
                  <a:lnTo>
                    <a:pt x="257" y="1497"/>
                  </a:lnTo>
                  <a:lnTo>
                    <a:pt x="256" y="1497"/>
                  </a:lnTo>
                  <a:lnTo>
                    <a:pt x="256" y="1495"/>
                  </a:lnTo>
                  <a:close/>
                  <a:moveTo>
                    <a:pt x="439" y="1474"/>
                  </a:moveTo>
                  <a:lnTo>
                    <a:pt x="439" y="1475"/>
                  </a:lnTo>
                  <a:lnTo>
                    <a:pt x="438" y="1475"/>
                  </a:lnTo>
                  <a:lnTo>
                    <a:pt x="439" y="1474"/>
                  </a:lnTo>
                  <a:close/>
                  <a:moveTo>
                    <a:pt x="238" y="1383"/>
                  </a:moveTo>
                  <a:lnTo>
                    <a:pt x="239" y="1383"/>
                  </a:lnTo>
                  <a:lnTo>
                    <a:pt x="238" y="1383"/>
                  </a:lnTo>
                  <a:close/>
                  <a:moveTo>
                    <a:pt x="244" y="973"/>
                  </a:moveTo>
                  <a:lnTo>
                    <a:pt x="246" y="973"/>
                  </a:lnTo>
                  <a:lnTo>
                    <a:pt x="244" y="973"/>
                  </a:lnTo>
                  <a:close/>
                  <a:moveTo>
                    <a:pt x="241" y="1370"/>
                  </a:moveTo>
                  <a:lnTo>
                    <a:pt x="243" y="1370"/>
                  </a:lnTo>
                  <a:lnTo>
                    <a:pt x="241" y="1370"/>
                  </a:lnTo>
                  <a:close/>
                  <a:moveTo>
                    <a:pt x="334" y="669"/>
                  </a:moveTo>
                  <a:lnTo>
                    <a:pt x="334" y="667"/>
                  </a:lnTo>
                  <a:lnTo>
                    <a:pt x="335" y="669"/>
                  </a:lnTo>
                  <a:lnTo>
                    <a:pt x="334" y="669"/>
                  </a:lnTo>
                  <a:close/>
                  <a:moveTo>
                    <a:pt x="249" y="1375"/>
                  </a:moveTo>
                  <a:lnTo>
                    <a:pt x="249" y="1376"/>
                  </a:lnTo>
                  <a:lnTo>
                    <a:pt x="249" y="1375"/>
                  </a:lnTo>
                  <a:lnTo>
                    <a:pt x="249" y="1376"/>
                  </a:lnTo>
                  <a:lnTo>
                    <a:pt x="249" y="1375"/>
                  </a:lnTo>
                  <a:close/>
                  <a:moveTo>
                    <a:pt x="316" y="1474"/>
                  </a:moveTo>
                  <a:lnTo>
                    <a:pt x="317" y="1474"/>
                  </a:lnTo>
                  <a:lnTo>
                    <a:pt x="316" y="1474"/>
                  </a:lnTo>
                  <a:close/>
                  <a:moveTo>
                    <a:pt x="195" y="1069"/>
                  </a:moveTo>
                  <a:lnTo>
                    <a:pt x="197" y="1069"/>
                  </a:lnTo>
                  <a:lnTo>
                    <a:pt x="195" y="1069"/>
                  </a:lnTo>
                  <a:close/>
                  <a:moveTo>
                    <a:pt x="226" y="1435"/>
                  </a:moveTo>
                  <a:lnTo>
                    <a:pt x="226" y="1436"/>
                  </a:lnTo>
                  <a:lnTo>
                    <a:pt x="226" y="1435"/>
                  </a:lnTo>
                  <a:lnTo>
                    <a:pt x="226" y="1436"/>
                  </a:lnTo>
                  <a:lnTo>
                    <a:pt x="226" y="1435"/>
                  </a:lnTo>
                  <a:close/>
                  <a:moveTo>
                    <a:pt x="208" y="997"/>
                  </a:moveTo>
                  <a:lnTo>
                    <a:pt x="207" y="997"/>
                  </a:lnTo>
                  <a:lnTo>
                    <a:pt x="208" y="997"/>
                  </a:lnTo>
                  <a:close/>
                  <a:moveTo>
                    <a:pt x="522" y="1423"/>
                  </a:moveTo>
                  <a:lnTo>
                    <a:pt x="524" y="1423"/>
                  </a:lnTo>
                  <a:lnTo>
                    <a:pt x="522" y="1423"/>
                  </a:lnTo>
                  <a:close/>
                  <a:moveTo>
                    <a:pt x="251" y="1446"/>
                  </a:moveTo>
                  <a:lnTo>
                    <a:pt x="252" y="1446"/>
                  </a:lnTo>
                  <a:lnTo>
                    <a:pt x="251" y="1446"/>
                  </a:lnTo>
                  <a:close/>
                  <a:moveTo>
                    <a:pt x="287" y="1475"/>
                  </a:moveTo>
                  <a:lnTo>
                    <a:pt x="288" y="1475"/>
                  </a:lnTo>
                  <a:lnTo>
                    <a:pt x="287" y="1475"/>
                  </a:lnTo>
                  <a:close/>
                  <a:moveTo>
                    <a:pt x="195" y="1456"/>
                  </a:moveTo>
                  <a:lnTo>
                    <a:pt x="195" y="1454"/>
                  </a:lnTo>
                  <a:lnTo>
                    <a:pt x="195" y="1456"/>
                  </a:lnTo>
                  <a:close/>
                  <a:moveTo>
                    <a:pt x="537" y="1422"/>
                  </a:moveTo>
                  <a:lnTo>
                    <a:pt x="539" y="1422"/>
                  </a:lnTo>
                  <a:lnTo>
                    <a:pt x="537" y="1422"/>
                  </a:lnTo>
                  <a:close/>
                  <a:moveTo>
                    <a:pt x="221" y="1451"/>
                  </a:moveTo>
                  <a:lnTo>
                    <a:pt x="221" y="1449"/>
                  </a:lnTo>
                  <a:lnTo>
                    <a:pt x="221" y="1451"/>
                  </a:lnTo>
                  <a:close/>
                  <a:moveTo>
                    <a:pt x="143" y="1448"/>
                  </a:moveTo>
                  <a:lnTo>
                    <a:pt x="145" y="1446"/>
                  </a:lnTo>
                  <a:lnTo>
                    <a:pt x="145" y="1448"/>
                  </a:lnTo>
                  <a:lnTo>
                    <a:pt x="143" y="1448"/>
                  </a:lnTo>
                  <a:close/>
                  <a:moveTo>
                    <a:pt x="241" y="1440"/>
                  </a:moveTo>
                  <a:lnTo>
                    <a:pt x="239" y="1440"/>
                  </a:lnTo>
                  <a:lnTo>
                    <a:pt x="239" y="1438"/>
                  </a:lnTo>
                  <a:lnTo>
                    <a:pt x="241" y="1438"/>
                  </a:lnTo>
                  <a:lnTo>
                    <a:pt x="241" y="1440"/>
                  </a:lnTo>
                  <a:close/>
                  <a:moveTo>
                    <a:pt x="295" y="646"/>
                  </a:moveTo>
                  <a:lnTo>
                    <a:pt x="295" y="644"/>
                  </a:lnTo>
                  <a:lnTo>
                    <a:pt x="295" y="646"/>
                  </a:lnTo>
                  <a:close/>
                  <a:moveTo>
                    <a:pt x="249" y="1415"/>
                  </a:moveTo>
                  <a:lnTo>
                    <a:pt x="247" y="1415"/>
                  </a:lnTo>
                  <a:lnTo>
                    <a:pt x="249" y="1415"/>
                  </a:lnTo>
                  <a:close/>
                  <a:moveTo>
                    <a:pt x="220" y="1487"/>
                  </a:moveTo>
                  <a:lnTo>
                    <a:pt x="221" y="1488"/>
                  </a:lnTo>
                  <a:lnTo>
                    <a:pt x="220" y="1488"/>
                  </a:lnTo>
                  <a:lnTo>
                    <a:pt x="220" y="1487"/>
                  </a:lnTo>
                  <a:lnTo>
                    <a:pt x="221" y="1487"/>
                  </a:lnTo>
                  <a:lnTo>
                    <a:pt x="220" y="1487"/>
                  </a:lnTo>
                  <a:close/>
                  <a:moveTo>
                    <a:pt x="202" y="1469"/>
                  </a:moveTo>
                  <a:lnTo>
                    <a:pt x="202" y="1467"/>
                  </a:lnTo>
                  <a:lnTo>
                    <a:pt x="202" y="1469"/>
                  </a:lnTo>
                  <a:close/>
                  <a:moveTo>
                    <a:pt x="309" y="1453"/>
                  </a:moveTo>
                  <a:lnTo>
                    <a:pt x="311" y="1453"/>
                  </a:lnTo>
                  <a:lnTo>
                    <a:pt x="309" y="1453"/>
                  </a:lnTo>
                  <a:close/>
                  <a:moveTo>
                    <a:pt x="145" y="1448"/>
                  </a:moveTo>
                  <a:lnTo>
                    <a:pt x="145" y="1449"/>
                  </a:lnTo>
                  <a:lnTo>
                    <a:pt x="145" y="1448"/>
                  </a:lnTo>
                  <a:lnTo>
                    <a:pt x="145" y="1449"/>
                  </a:lnTo>
                  <a:lnTo>
                    <a:pt x="145" y="1448"/>
                  </a:lnTo>
                  <a:close/>
                  <a:moveTo>
                    <a:pt x="456" y="1464"/>
                  </a:moveTo>
                  <a:lnTo>
                    <a:pt x="457" y="1464"/>
                  </a:lnTo>
                  <a:lnTo>
                    <a:pt x="456" y="1464"/>
                  </a:lnTo>
                  <a:close/>
                  <a:moveTo>
                    <a:pt x="365" y="1474"/>
                  </a:moveTo>
                  <a:lnTo>
                    <a:pt x="365" y="1475"/>
                  </a:lnTo>
                  <a:lnTo>
                    <a:pt x="365" y="1474"/>
                  </a:lnTo>
                  <a:close/>
                  <a:moveTo>
                    <a:pt x="119" y="1487"/>
                  </a:moveTo>
                  <a:lnTo>
                    <a:pt x="121" y="1487"/>
                  </a:lnTo>
                  <a:lnTo>
                    <a:pt x="121" y="1488"/>
                  </a:lnTo>
                  <a:lnTo>
                    <a:pt x="121" y="1487"/>
                  </a:lnTo>
                  <a:lnTo>
                    <a:pt x="119" y="1487"/>
                  </a:lnTo>
                  <a:close/>
                  <a:moveTo>
                    <a:pt x="348" y="1503"/>
                  </a:moveTo>
                  <a:lnTo>
                    <a:pt x="350" y="1503"/>
                  </a:lnTo>
                  <a:lnTo>
                    <a:pt x="348" y="1505"/>
                  </a:lnTo>
                  <a:lnTo>
                    <a:pt x="348" y="1503"/>
                  </a:lnTo>
                  <a:lnTo>
                    <a:pt x="350" y="1503"/>
                  </a:lnTo>
                  <a:lnTo>
                    <a:pt x="348" y="1503"/>
                  </a:lnTo>
                  <a:close/>
                  <a:moveTo>
                    <a:pt x="261" y="1497"/>
                  </a:moveTo>
                  <a:lnTo>
                    <a:pt x="262" y="1497"/>
                  </a:lnTo>
                  <a:lnTo>
                    <a:pt x="261" y="1497"/>
                  </a:lnTo>
                  <a:close/>
                  <a:moveTo>
                    <a:pt x="244" y="1422"/>
                  </a:moveTo>
                  <a:lnTo>
                    <a:pt x="246" y="1422"/>
                  </a:lnTo>
                  <a:lnTo>
                    <a:pt x="244" y="1422"/>
                  </a:lnTo>
                  <a:close/>
                  <a:moveTo>
                    <a:pt x="199" y="1080"/>
                  </a:moveTo>
                  <a:lnTo>
                    <a:pt x="199" y="1079"/>
                  </a:lnTo>
                  <a:lnTo>
                    <a:pt x="199" y="1080"/>
                  </a:lnTo>
                  <a:close/>
                  <a:moveTo>
                    <a:pt x="233" y="1498"/>
                  </a:moveTo>
                  <a:lnTo>
                    <a:pt x="234" y="1498"/>
                  </a:lnTo>
                  <a:lnTo>
                    <a:pt x="234" y="1500"/>
                  </a:lnTo>
                  <a:lnTo>
                    <a:pt x="234" y="1498"/>
                  </a:lnTo>
                  <a:lnTo>
                    <a:pt x="234" y="1500"/>
                  </a:lnTo>
                  <a:lnTo>
                    <a:pt x="233" y="1500"/>
                  </a:lnTo>
                  <a:lnTo>
                    <a:pt x="233" y="1498"/>
                  </a:lnTo>
                  <a:lnTo>
                    <a:pt x="234" y="1498"/>
                  </a:lnTo>
                  <a:lnTo>
                    <a:pt x="233" y="1498"/>
                  </a:lnTo>
                  <a:close/>
                  <a:moveTo>
                    <a:pt x="234" y="1430"/>
                  </a:moveTo>
                  <a:lnTo>
                    <a:pt x="236" y="1432"/>
                  </a:lnTo>
                  <a:lnTo>
                    <a:pt x="234" y="1432"/>
                  </a:lnTo>
                  <a:lnTo>
                    <a:pt x="234" y="1430"/>
                  </a:lnTo>
                  <a:close/>
                  <a:moveTo>
                    <a:pt x="220" y="1427"/>
                  </a:moveTo>
                  <a:lnTo>
                    <a:pt x="220" y="1428"/>
                  </a:lnTo>
                  <a:lnTo>
                    <a:pt x="221" y="1428"/>
                  </a:lnTo>
                  <a:lnTo>
                    <a:pt x="221" y="1427"/>
                  </a:lnTo>
                  <a:lnTo>
                    <a:pt x="221" y="1428"/>
                  </a:lnTo>
                  <a:lnTo>
                    <a:pt x="220" y="1428"/>
                  </a:lnTo>
                  <a:lnTo>
                    <a:pt x="220" y="1427"/>
                  </a:lnTo>
                  <a:close/>
                  <a:moveTo>
                    <a:pt x="233" y="1422"/>
                  </a:moveTo>
                  <a:lnTo>
                    <a:pt x="233" y="1423"/>
                  </a:lnTo>
                  <a:lnTo>
                    <a:pt x="233" y="1422"/>
                  </a:lnTo>
                  <a:close/>
                  <a:moveTo>
                    <a:pt x="249" y="1009"/>
                  </a:moveTo>
                  <a:lnTo>
                    <a:pt x="251" y="1009"/>
                  </a:lnTo>
                  <a:lnTo>
                    <a:pt x="249" y="1009"/>
                  </a:lnTo>
                  <a:lnTo>
                    <a:pt x="249" y="1007"/>
                  </a:lnTo>
                  <a:lnTo>
                    <a:pt x="249" y="1009"/>
                  </a:lnTo>
                  <a:close/>
                  <a:moveTo>
                    <a:pt x="682" y="1353"/>
                  </a:moveTo>
                  <a:lnTo>
                    <a:pt x="683" y="1353"/>
                  </a:lnTo>
                  <a:lnTo>
                    <a:pt x="682" y="1353"/>
                  </a:lnTo>
                  <a:close/>
                  <a:moveTo>
                    <a:pt x="368" y="1435"/>
                  </a:moveTo>
                  <a:lnTo>
                    <a:pt x="368" y="1433"/>
                  </a:lnTo>
                  <a:lnTo>
                    <a:pt x="368" y="1435"/>
                  </a:lnTo>
                  <a:close/>
                  <a:moveTo>
                    <a:pt x="243" y="1402"/>
                  </a:moveTo>
                  <a:lnTo>
                    <a:pt x="244" y="1402"/>
                  </a:lnTo>
                  <a:lnTo>
                    <a:pt x="244" y="1404"/>
                  </a:lnTo>
                  <a:lnTo>
                    <a:pt x="244" y="1402"/>
                  </a:lnTo>
                  <a:lnTo>
                    <a:pt x="244" y="1404"/>
                  </a:lnTo>
                  <a:lnTo>
                    <a:pt x="244" y="1402"/>
                  </a:lnTo>
                  <a:lnTo>
                    <a:pt x="243" y="1404"/>
                  </a:lnTo>
                  <a:lnTo>
                    <a:pt x="243" y="1402"/>
                  </a:lnTo>
                  <a:close/>
                  <a:moveTo>
                    <a:pt x="236" y="1428"/>
                  </a:moveTo>
                  <a:lnTo>
                    <a:pt x="236" y="1430"/>
                  </a:lnTo>
                  <a:lnTo>
                    <a:pt x="236" y="1428"/>
                  </a:lnTo>
                  <a:close/>
                  <a:moveTo>
                    <a:pt x="635" y="1357"/>
                  </a:moveTo>
                  <a:lnTo>
                    <a:pt x="635" y="1355"/>
                  </a:lnTo>
                  <a:lnTo>
                    <a:pt x="635" y="1357"/>
                  </a:lnTo>
                  <a:close/>
                  <a:moveTo>
                    <a:pt x="347" y="1485"/>
                  </a:moveTo>
                  <a:lnTo>
                    <a:pt x="347" y="1487"/>
                  </a:lnTo>
                  <a:lnTo>
                    <a:pt x="347" y="1485"/>
                  </a:lnTo>
                  <a:close/>
                  <a:moveTo>
                    <a:pt x="223" y="1422"/>
                  </a:moveTo>
                  <a:lnTo>
                    <a:pt x="223" y="1420"/>
                  </a:lnTo>
                  <a:lnTo>
                    <a:pt x="225" y="1420"/>
                  </a:lnTo>
                  <a:lnTo>
                    <a:pt x="225" y="1422"/>
                  </a:lnTo>
                  <a:lnTo>
                    <a:pt x="223" y="1422"/>
                  </a:lnTo>
                  <a:close/>
                  <a:moveTo>
                    <a:pt x="178" y="1082"/>
                  </a:moveTo>
                  <a:lnTo>
                    <a:pt x="178" y="1083"/>
                  </a:lnTo>
                  <a:lnTo>
                    <a:pt x="178" y="1082"/>
                  </a:lnTo>
                  <a:close/>
                  <a:moveTo>
                    <a:pt x="587" y="1373"/>
                  </a:moveTo>
                  <a:lnTo>
                    <a:pt x="587" y="1371"/>
                  </a:lnTo>
                  <a:lnTo>
                    <a:pt x="587" y="1373"/>
                  </a:lnTo>
                  <a:close/>
                  <a:moveTo>
                    <a:pt x="187" y="1093"/>
                  </a:moveTo>
                  <a:lnTo>
                    <a:pt x="189" y="1093"/>
                  </a:lnTo>
                  <a:lnTo>
                    <a:pt x="189" y="1092"/>
                  </a:lnTo>
                  <a:lnTo>
                    <a:pt x="189" y="1093"/>
                  </a:lnTo>
                  <a:lnTo>
                    <a:pt x="187" y="1093"/>
                  </a:lnTo>
                  <a:close/>
                  <a:moveTo>
                    <a:pt x="246" y="1505"/>
                  </a:moveTo>
                  <a:lnTo>
                    <a:pt x="244" y="1505"/>
                  </a:lnTo>
                  <a:lnTo>
                    <a:pt x="246" y="1505"/>
                  </a:lnTo>
                  <a:close/>
                  <a:moveTo>
                    <a:pt x="241" y="1329"/>
                  </a:moveTo>
                  <a:lnTo>
                    <a:pt x="243" y="1329"/>
                  </a:lnTo>
                  <a:lnTo>
                    <a:pt x="243" y="1331"/>
                  </a:lnTo>
                  <a:lnTo>
                    <a:pt x="241" y="1331"/>
                  </a:lnTo>
                  <a:lnTo>
                    <a:pt x="241" y="1329"/>
                  </a:lnTo>
                  <a:close/>
                  <a:moveTo>
                    <a:pt x="197" y="1048"/>
                  </a:moveTo>
                  <a:lnTo>
                    <a:pt x="197" y="1046"/>
                  </a:lnTo>
                  <a:lnTo>
                    <a:pt x="197" y="1048"/>
                  </a:lnTo>
                  <a:lnTo>
                    <a:pt x="197" y="1046"/>
                  </a:lnTo>
                  <a:lnTo>
                    <a:pt x="197" y="1048"/>
                  </a:lnTo>
                  <a:close/>
                  <a:moveTo>
                    <a:pt x="316" y="1459"/>
                  </a:moveTo>
                  <a:lnTo>
                    <a:pt x="317" y="1459"/>
                  </a:lnTo>
                  <a:lnTo>
                    <a:pt x="316" y="1459"/>
                  </a:lnTo>
                  <a:close/>
                  <a:moveTo>
                    <a:pt x="202" y="1454"/>
                  </a:moveTo>
                  <a:lnTo>
                    <a:pt x="202" y="1453"/>
                  </a:lnTo>
                  <a:lnTo>
                    <a:pt x="202" y="1454"/>
                  </a:lnTo>
                  <a:close/>
                  <a:moveTo>
                    <a:pt x="295" y="1436"/>
                  </a:moveTo>
                  <a:lnTo>
                    <a:pt x="296" y="1436"/>
                  </a:lnTo>
                  <a:lnTo>
                    <a:pt x="296" y="1438"/>
                  </a:lnTo>
                  <a:lnTo>
                    <a:pt x="295" y="1438"/>
                  </a:lnTo>
                  <a:lnTo>
                    <a:pt x="295" y="1436"/>
                  </a:lnTo>
                  <a:close/>
                  <a:moveTo>
                    <a:pt x="163" y="1069"/>
                  </a:moveTo>
                  <a:lnTo>
                    <a:pt x="163" y="1070"/>
                  </a:lnTo>
                  <a:lnTo>
                    <a:pt x="163" y="1069"/>
                  </a:lnTo>
                  <a:close/>
                  <a:moveTo>
                    <a:pt x="688" y="1337"/>
                  </a:moveTo>
                  <a:lnTo>
                    <a:pt x="688" y="1336"/>
                  </a:lnTo>
                  <a:lnTo>
                    <a:pt x="690" y="1336"/>
                  </a:lnTo>
                  <a:lnTo>
                    <a:pt x="690" y="1337"/>
                  </a:lnTo>
                  <a:lnTo>
                    <a:pt x="688" y="1337"/>
                  </a:lnTo>
                  <a:close/>
                  <a:moveTo>
                    <a:pt x="252" y="1454"/>
                  </a:moveTo>
                  <a:lnTo>
                    <a:pt x="252" y="1453"/>
                  </a:lnTo>
                  <a:lnTo>
                    <a:pt x="252" y="1454"/>
                  </a:lnTo>
                  <a:close/>
                  <a:moveTo>
                    <a:pt x="503" y="1432"/>
                  </a:moveTo>
                  <a:lnTo>
                    <a:pt x="504" y="1432"/>
                  </a:lnTo>
                  <a:lnTo>
                    <a:pt x="503" y="1432"/>
                  </a:lnTo>
                  <a:lnTo>
                    <a:pt x="503" y="1433"/>
                  </a:lnTo>
                  <a:lnTo>
                    <a:pt x="503" y="1432"/>
                  </a:lnTo>
                  <a:close/>
                  <a:moveTo>
                    <a:pt x="309" y="1498"/>
                  </a:moveTo>
                  <a:lnTo>
                    <a:pt x="309" y="1497"/>
                  </a:lnTo>
                  <a:lnTo>
                    <a:pt x="309" y="1498"/>
                  </a:lnTo>
                  <a:close/>
                  <a:moveTo>
                    <a:pt x="230" y="1445"/>
                  </a:moveTo>
                  <a:lnTo>
                    <a:pt x="230" y="1443"/>
                  </a:lnTo>
                  <a:lnTo>
                    <a:pt x="230" y="1445"/>
                  </a:lnTo>
                  <a:close/>
                  <a:moveTo>
                    <a:pt x="199" y="1474"/>
                  </a:moveTo>
                  <a:lnTo>
                    <a:pt x="197" y="1474"/>
                  </a:lnTo>
                  <a:lnTo>
                    <a:pt x="199" y="1474"/>
                  </a:lnTo>
                  <a:close/>
                  <a:moveTo>
                    <a:pt x="239" y="1358"/>
                  </a:moveTo>
                  <a:lnTo>
                    <a:pt x="241" y="1358"/>
                  </a:lnTo>
                  <a:lnTo>
                    <a:pt x="239" y="1360"/>
                  </a:lnTo>
                  <a:lnTo>
                    <a:pt x="239" y="1358"/>
                  </a:lnTo>
                  <a:close/>
                  <a:moveTo>
                    <a:pt x="208" y="1015"/>
                  </a:moveTo>
                  <a:lnTo>
                    <a:pt x="210" y="1015"/>
                  </a:lnTo>
                  <a:lnTo>
                    <a:pt x="208" y="1015"/>
                  </a:lnTo>
                  <a:close/>
                  <a:moveTo>
                    <a:pt x="698" y="1326"/>
                  </a:moveTo>
                  <a:lnTo>
                    <a:pt x="700" y="1326"/>
                  </a:lnTo>
                  <a:lnTo>
                    <a:pt x="700" y="1327"/>
                  </a:lnTo>
                  <a:lnTo>
                    <a:pt x="698" y="1326"/>
                  </a:lnTo>
                  <a:close/>
                  <a:moveTo>
                    <a:pt x="140" y="1456"/>
                  </a:moveTo>
                  <a:lnTo>
                    <a:pt x="142" y="1456"/>
                  </a:lnTo>
                  <a:lnTo>
                    <a:pt x="142" y="1454"/>
                  </a:lnTo>
                  <a:lnTo>
                    <a:pt x="142" y="1456"/>
                  </a:lnTo>
                  <a:lnTo>
                    <a:pt x="140" y="1456"/>
                  </a:lnTo>
                  <a:close/>
                  <a:moveTo>
                    <a:pt x="280" y="1482"/>
                  </a:moveTo>
                  <a:lnTo>
                    <a:pt x="282" y="1480"/>
                  </a:lnTo>
                  <a:lnTo>
                    <a:pt x="282" y="1482"/>
                  </a:lnTo>
                  <a:lnTo>
                    <a:pt x="280" y="1482"/>
                  </a:lnTo>
                  <a:close/>
                  <a:moveTo>
                    <a:pt x="221" y="1427"/>
                  </a:moveTo>
                  <a:lnTo>
                    <a:pt x="223" y="1427"/>
                  </a:lnTo>
                  <a:lnTo>
                    <a:pt x="221" y="1427"/>
                  </a:lnTo>
                  <a:close/>
                  <a:moveTo>
                    <a:pt x="384" y="1474"/>
                  </a:moveTo>
                  <a:lnTo>
                    <a:pt x="382" y="1474"/>
                  </a:lnTo>
                  <a:lnTo>
                    <a:pt x="384" y="1474"/>
                  </a:lnTo>
                  <a:close/>
                  <a:moveTo>
                    <a:pt x="309" y="1493"/>
                  </a:moveTo>
                  <a:lnTo>
                    <a:pt x="309" y="1495"/>
                  </a:lnTo>
                  <a:lnTo>
                    <a:pt x="308" y="1495"/>
                  </a:lnTo>
                  <a:lnTo>
                    <a:pt x="309" y="1493"/>
                  </a:lnTo>
                  <a:lnTo>
                    <a:pt x="308" y="1493"/>
                  </a:lnTo>
                  <a:lnTo>
                    <a:pt x="309" y="1493"/>
                  </a:lnTo>
                  <a:close/>
                  <a:moveTo>
                    <a:pt x="274" y="950"/>
                  </a:moveTo>
                  <a:lnTo>
                    <a:pt x="275" y="950"/>
                  </a:lnTo>
                  <a:lnTo>
                    <a:pt x="275" y="952"/>
                  </a:lnTo>
                  <a:lnTo>
                    <a:pt x="274" y="950"/>
                  </a:lnTo>
                  <a:close/>
                  <a:moveTo>
                    <a:pt x="278" y="1484"/>
                  </a:moveTo>
                  <a:lnTo>
                    <a:pt x="280" y="1484"/>
                  </a:lnTo>
                  <a:lnTo>
                    <a:pt x="278" y="1485"/>
                  </a:lnTo>
                  <a:lnTo>
                    <a:pt x="280" y="1485"/>
                  </a:lnTo>
                  <a:lnTo>
                    <a:pt x="278" y="1485"/>
                  </a:lnTo>
                  <a:lnTo>
                    <a:pt x="278" y="1484"/>
                  </a:lnTo>
                  <a:close/>
                  <a:moveTo>
                    <a:pt x="254" y="1399"/>
                  </a:moveTo>
                  <a:lnTo>
                    <a:pt x="254" y="1397"/>
                  </a:lnTo>
                  <a:lnTo>
                    <a:pt x="256" y="1397"/>
                  </a:lnTo>
                  <a:lnTo>
                    <a:pt x="254" y="1397"/>
                  </a:lnTo>
                  <a:lnTo>
                    <a:pt x="254" y="1399"/>
                  </a:lnTo>
                  <a:close/>
                  <a:moveTo>
                    <a:pt x="163" y="1067"/>
                  </a:moveTo>
                  <a:lnTo>
                    <a:pt x="163" y="1069"/>
                  </a:lnTo>
                  <a:lnTo>
                    <a:pt x="163" y="1067"/>
                  </a:lnTo>
                  <a:close/>
                  <a:moveTo>
                    <a:pt x="247" y="1327"/>
                  </a:moveTo>
                  <a:lnTo>
                    <a:pt x="246" y="1327"/>
                  </a:lnTo>
                  <a:lnTo>
                    <a:pt x="247" y="1327"/>
                  </a:lnTo>
                  <a:close/>
                  <a:moveTo>
                    <a:pt x="303" y="644"/>
                  </a:moveTo>
                  <a:lnTo>
                    <a:pt x="303" y="643"/>
                  </a:lnTo>
                  <a:lnTo>
                    <a:pt x="303" y="644"/>
                  </a:lnTo>
                  <a:close/>
                  <a:moveTo>
                    <a:pt x="187" y="1137"/>
                  </a:moveTo>
                  <a:lnTo>
                    <a:pt x="187" y="1136"/>
                  </a:lnTo>
                  <a:lnTo>
                    <a:pt x="187" y="1137"/>
                  </a:lnTo>
                  <a:close/>
                  <a:moveTo>
                    <a:pt x="430" y="1484"/>
                  </a:moveTo>
                  <a:lnTo>
                    <a:pt x="428" y="1484"/>
                  </a:lnTo>
                  <a:lnTo>
                    <a:pt x="430" y="1484"/>
                  </a:lnTo>
                  <a:close/>
                  <a:moveTo>
                    <a:pt x="244" y="1017"/>
                  </a:moveTo>
                  <a:lnTo>
                    <a:pt x="246" y="1017"/>
                  </a:lnTo>
                  <a:lnTo>
                    <a:pt x="244" y="1017"/>
                  </a:lnTo>
                  <a:close/>
                  <a:moveTo>
                    <a:pt x="327" y="1454"/>
                  </a:moveTo>
                  <a:lnTo>
                    <a:pt x="326" y="1454"/>
                  </a:lnTo>
                  <a:lnTo>
                    <a:pt x="327" y="1454"/>
                  </a:lnTo>
                  <a:close/>
                  <a:moveTo>
                    <a:pt x="249" y="1451"/>
                  </a:moveTo>
                  <a:lnTo>
                    <a:pt x="247" y="1451"/>
                  </a:lnTo>
                  <a:lnTo>
                    <a:pt x="249" y="1449"/>
                  </a:lnTo>
                  <a:lnTo>
                    <a:pt x="249" y="1451"/>
                  </a:lnTo>
                  <a:close/>
                  <a:moveTo>
                    <a:pt x="213" y="1204"/>
                  </a:moveTo>
                  <a:lnTo>
                    <a:pt x="213" y="1205"/>
                  </a:lnTo>
                  <a:lnTo>
                    <a:pt x="213" y="1204"/>
                  </a:lnTo>
                  <a:lnTo>
                    <a:pt x="213" y="1202"/>
                  </a:lnTo>
                  <a:lnTo>
                    <a:pt x="213" y="1204"/>
                  </a:lnTo>
                  <a:close/>
                  <a:moveTo>
                    <a:pt x="119" y="1485"/>
                  </a:moveTo>
                  <a:lnTo>
                    <a:pt x="119" y="1487"/>
                  </a:lnTo>
                  <a:lnTo>
                    <a:pt x="119" y="1485"/>
                  </a:lnTo>
                  <a:close/>
                  <a:moveTo>
                    <a:pt x="327" y="1454"/>
                  </a:moveTo>
                  <a:lnTo>
                    <a:pt x="327" y="1453"/>
                  </a:lnTo>
                  <a:lnTo>
                    <a:pt x="327" y="1454"/>
                  </a:lnTo>
                  <a:close/>
                  <a:moveTo>
                    <a:pt x="301" y="1451"/>
                  </a:moveTo>
                  <a:lnTo>
                    <a:pt x="303" y="1451"/>
                  </a:lnTo>
                  <a:lnTo>
                    <a:pt x="301" y="1451"/>
                  </a:lnTo>
                  <a:close/>
                  <a:moveTo>
                    <a:pt x="202" y="1446"/>
                  </a:moveTo>
                  <a:lnTo>
                    <a:pt x="200" y="1446"/>
                  </a:lnTo>
                  <a:lnTo>
                    <a:pt x="202" y="1446"/>
                  </a:lnTo>
                  <a:close/>
                  <a:moveTo>
                    <a:pt x="291" y="1500"/>
                  </a:moveTo>
                  <a:lnTo>
                    <a:pt x="291" y="1501"/>
                  </a:lnTo>
                  <a:lnTo>
                    <a:pt x="291" y="1500"/>
                  </a:lnTo>
                  <a:lnTo>
                    <a:pt x="293" y="1500"/>
                  </a:lnTo>
                  <a:lnTo>
                    <a:pt x="291" y="1500"/>
                  </a:lnTo>
                  <a:close/>
                  <a:moveTo>
                    <a:pt x="243" y="1430"/>
                  </a:moveTo>
                  <a:lnTo>
                    <a:pt x="244" y="1430"/>
                  </a:lnTo>
                  <a:lnTo>
                    <a:pt x="243" y="1430"/>
                  </a:lnTo>
                  <a:close/>
                  <a:moveTo>
                    <a:pt x="187" y="1108"/>
                  </a:moveTo>
                  <a:lnTo>
                    <a:pt x="186" y="1108"/>
                  </a:lnTo>
                  <a:lnTo>
                    <a:pt x="187" y="1108"/>
                  </a:lnTo>
                  <a:close/>
                  <a:moveTo>
                    <a:pt x="238" y="1311"/>
                  </a:moveTo>
                  <a:lnTo>
                    <a:pt x="239" y="1311"/>
                  </a:lnTo>
                  <a:lnTo>
                    <a:pt x="238" y="1313"/>
                  </a:lnTo>
                  <a:lnTo>
                    <a:pt x="238" y="1311"/>
                  </a:lnTo>
                  <a:close/>
                  <a:moveTo>
                    <a:pt x="304" y="1490"/>
                  </a:moveTo>
                  <a:lnTo>
                    <a:pt x="306" y="1490"/>
                  </a:lnTo>
                  <a:lnTo>
                    <a:pt x="306" y="1492"/>
                  </a:lnTo>
                  <a:lnTo>
                    <a:pt x="306" y="1490"/>
                  </a:lnTo>
                  <a:lnTo>
                    <a:pt x="306" y="1492"/>
                  </a:lnTo>
                  <a:lnTo>
                    <a:pt x="304" y="1492"/>
                  </a:lnTo>
                  <a:lnTo>
                    <a:pt x="304" y="1490"/>
                  </a:lnTo>
                  <a:close/>
                  <a:moveTo>
                    <a:pt x="220" y="1451"/>
                  </a:moveTo>
                  <a:lnTo>
                    <a:pt x="221" y="1453"/>
                  </a:lnTo>
                  <a:lnTo>
                    <a:pt x="220" y="1453"/>
                  </a:lnTo>
                  <a:lnTo>
                    <a:pt x="220" y="1451"/>
                  </a:lnTo>
                  <a:close/>
                  <a:moveTo>
                    <a:pt x="169" y="1505"/>
                  </a:moveTo>
                  <a:lnTo>
                    <a:pt x="168" y="1505"/>
                  </a:lnTo>
                  <a:lnTo>
                    <a:pt x="169" y="1505"/>
                  </a:lnTo>
                  <a:lnTo>
                    <a:pt x="169" y="1503"/>
                  </a:lnTo>
                  <a:lnTo>
                    <a:pt x="169" y="1505"/>
                  </a:lnTo>
                  <a:close/>
                  <a:moveTo>
                    <a:pt x="169" y="1498"/>
                  </a:moveTo>
                  <a:lnTo>
                    <a:pt x="169" y="1497"/>
                  </a:lnTo>
                  <a:lnTo>
                    <a:pt x="168" y="1497"/>
                  </a:lnTo>
                  <a:lnTo>
                    <a:pt x="169" y="1497"/>
                  </a:lnTo>
                  <a:lnTo>
                    <a:pt x="169" y="1498"/>
                  </a:lnTo>
                  <a:close/>
                  <a:moveTo>
                    <a:pt x="241" y="1493"/>
                  </a:moveTo>
                  <a:lnTo>
                    <a:pt x="239" y="1493"/>
                  </a:lnTo>
                  <a:lnTo>
                    <a:pt x="241" y="1493"/>
                  </a:lnTo>
                  <a:close/>
                  <a:moveTo>
                    <a:pt x="353" y="1488"/>
                  </a:moveTo>
                  <a:lnTo>
                    <a:pt x="353" y="1490"/>
                  </a:lnTo>
                  <a:lnTo>
                    <a:pt x="353" y="1488"/>
                  </a:lnTo>
                  <a:close/>
                  <a:moveTo>
                    <a:pt x="539" y="1404"/>
                  </a:moveTo>
                  <a:lnTo>
                    <a:pt x="537" y="1404"/>
                  </a:lnTo>
                  <a:lnTo>
                    <a:pt x="539" y="1404"/>
                  </a:lnTo>
                  <a:lnTo>
                    <a:pt x="537" y="1404"/>
                  </a:lnTo>
                  <a:lnTo>
                    <a:pt x="539" y="1404"/>
                  </a:lnTo>
                  <a:close/>
                  <a:moveTo>
                    <a:pt x="456" y="1461"/>
                  </a:moveTo>
                  <a:lnTo>
                    <a:pt x="454" y="1461"/>
                  </a:lnTo>
                  <a:lnTo>
                    <a:pt x="456" y="1461"/>
                  </a:lnTo>
                  <a:close/>
                  <a:moveTo>
                    <a:pt x="231" y="1256"/>
                  </a:moveTo>
                  <a:lnTo>
                    <a:pt x="233" y="1258"/>
                  </a:lnTo>
                  <a:lnTo>
                    <a:pt x="231" y="1258"/>
                  </a:lnTo>
                  <a:lnTo>
                    <a:pt x="231" y="1256"/>
                  </a:lnTo>
                  <a:close/>
                  <a:moveTo>
                    <a:pt x="321" y="1433"/>
                  </a:moveTo>
                  <a:lnTo>
                    <a:pt x="319" y="1433"/>
                  </a:lnTo>
                  <a:lnTo>
                    <a:pt x="321" y="1433"/>
                  </a:lnTo>
                  <a:close/>
                  <a:moveTo>
                    <a:pt x="553" y="1407"/>
                  </a:moveTo>
                  <a:lnTo>
                    <a:pt x="555" y="1407"/>
                  </a:lnTo>
                  <a:lnTo>
                    <a:pt x="553" y="1407"/>
                  </a:lnTo>
                  <a:close/>
                  <a:moveTo>
                    <a:pt x="688" y="1334"/>
                  </a:moveTo>
                  <a:lnTo>
                    <a:pt x="690" y="1334"/>
                  </a:lnTo>
                  <a:lnTo>
                    <a:pt x="690" y="1336"/>
                  </a:lnTo>
                  <a:lnTo>
                    <a:pt x="690" y="1334"/>
                  </a:lnTo>
                  <a:lnTo>
                    <a:pt x="688" y="1334"/>
                  </a:lnTo>
                  <a:lnTo>
                    <a:pt x="688" y="1336"/>
                  </a:lnTo>
                  <a:lnTo>
                    <a:pt x="688" y="1334"/>
                  </a:lnTo>
                  <a:close/>
                  <a:moveTo>
                    <a:pt x="249" y="1445"/>
                  </a:moveTo>
                  <a:lnTo>
                    <a:pt x="247" y="1445"/>
                  </a:lnTo>
                  <a:lnTo>
                    <a:pt x="249" y="1445"/>
                  </a:lnTo>
                  <a:close/>
                  <a:moveTo>
                    <a:pt x="285" y="1436"/>
                  </a:moveTo>
                  <a:lnTo>
                    <a:pt x="285" y="1435"/>
                  </a:lnTo>
                  <a:lnTo>
                    <a:pt x="285" y="1436"/>
                  </a:lnTo>
                  <a:close/>
                  <a:moveTo>
                    <a:pt x="257" y="1456"/>
                  </a:moveTo>
                  <a:lnTo>
                    <a:pt x="256" y="1456"/>
                  </a:lnTo>
                  <a:lnTo>
                    <a:pt x="257" y="1456"/>
                  </a:lnTo>
                  <a:lnTo>
                    <a:pt x="257" y="1454"/>
                  </a:lnTo>
                  <a:lnTo>
                    <a:pt x="257" y="1456"/>
                  </a:lnTo>
                  <a:close/>
                  <a:moveTo>
                    <a:pt x="589" y="1393"/>
                  </a:moveTo>
                  <a:lnTo>
                    <a:pt x="589" y="1394"/>
                  </a:lnTo>
                  <a:lnTo>
                    <a:pt x="589" y="1393"/>
                  </a:lnTo>
                  <a:close/>
                  <a:moveTo>
                    <a:pt x="244" y="1514"/>
                  </a:moveTo>
                  <a:lnTo>
                    <a:pt x="246" y="1514"/>
                  </a:lnTo>
                  <a:lnTo>
                    <a:pt x="244" y="1514"/>
                  </a:lnTo>
                  <a:lnTo>
                    <a:pt x="246" y="1513"/>
                  </a:lnTo>
                  <a:lnTo>
                    <a:pt x="244" y="1514"/>
                  </a:lnTo>
                  <a:close/>
                  <a:moveTo>
                    <a:pt x="223" y="1488"/>
                  </a:moveTo>
                  <a:lnTo>
                    <a:pt x="223" y="1487"/>
                  </a:lnTo>
                  <a:lnTo>
                    <a:pt x="223" y="1488"/>
                  </a:lnTo>
                  <a:lnTo>
                    <a:pt x="225" y="1488"/>
                  </a:lnTo>
                  <a:lnTo>
                    <a:pt x="223" y="1488"/>
                  </a:lnTo>
                  <a:close/>
                  <a:moveTo>
                    <a:pt x="246" y="1339"/>
                  </a:moveTo>
                  <a:lnTo>
                    <a:pt x="247" y="1339"/>
                  </a:lnTo>
                  <a:lnTo>
                    <a:pt x="246" y="1340"/>
                  </a:lnTo>
                  <a:lnTo>
                    <a:pt x="247" y="1340"/>
                  </a:lnTo>
                  <a:lnTo>
                    <a:pt x="246" y="1340"/>
                  </a:lnTo>
                  <a:lnTo>
                    <a:pt x="246" y="1339"/>
                  </a:lnTo>
                  <a:close/>
                  <a:moveTo>
                    <a:pt x="417" y="1487"/>
                  </a:moveTo>
                  <a:lnTo>
                    <a:pt x="417" y="1485"/>
                  </a:lnTo>
                  <a:lnTo>
                    <a:pt x="418" y="1487"/>
                  </a:lnTo>
                  <a:lnTo>
                    <a:pt x="417" y="1487"/>
                  </a:lnTo>
                  <a:close/>
                  <a:moveTo>
                    <a:pt x="303" y="1449"/>
                  </a:moveTo>
                  <a:lnTo>
                    <a:pt x="301" y="1449"/>
                  </a:lnTo>
                  <a:lnTo>
                    <a:pt x="303" y="1449"/>
                  </a:lnTo>
                  <a:close/>
                  <a:moveTo>
                    <a:pt x="213" y="1002"/>
                  </a:moveTo>
                  <a:lnTo>
                    <a:pt x="213" y="1001"/>
                  </a:lnTo>
                  <a:lnTo>
                    <a:pt x="213" y="1002"/>
                  </a:lnTo>
                  <a:lnTo>
                    <a:pt x="215" y="1002"/>
                  </a:lnTo>
                  <a:lnTo>
                    <a:pt x="213" y="1002"/>
                  </a:lnTo>
                  <a:close/>
                  <a:moveTo>
                    <a:pt x="300" y="1479"/>
                  </a:moveTo>
                  <a:lnTo>
                    <a:pt x="301" y="1479"/>
                  </a:lnTo>
                  <a:lnTo>
                    <a:pt x="300" y="1479"/>
                  </a:lnTo>
                  <a:close/>
                  <a:moveTo>
                    <a:pt x="496" y="1440"/>
                  </a:moveTo>
                  <a:lnTo>
                    <a:pt x="498" y="1440"/>
                  </a:lnTo>
                  <a:lnTo>
                    <a:pt x="496" y="1441"/>
                  </a:lnTo>
                  <a:lnTo>
                    <a:pt x="496" y="1440"/>
                  </a:lnTo>
                  <a:close/>
                  <a:moveTo>
                    <a:pt x="438" y="1477"/>
                  </a:moveTo>
                  <a:lnTo>
                    <a:pt x="439" y="1477"/>
                  </a:lnTo>
                  <a:lnTo>
                    <a:pt x="438" y="1477"/>
                  </a:lnTo>
                  <a:close/>
                  <a:moveTo>
                    <a:pt x="324" y="1467"/>
                  </a:moveTo>
                  <a:lnTo>
                    <a:pt x="322" y="1467"/>
                  </a:lnTo>
                  <a:lnTo>
                    <a:pt x="324" y="1467"/>
                  </a:lnTo>
                  <a:close/>
                  <a:moveTo>
                    <a:pt x="252" y="1454"/>
                  </a:moveTo>
                  <a:lnTo>
                    <a:pt x="254" y="1454"/>
                  </a:lnTo>
                  <a:lnTo>
                    <a:pt x="254" y="1456"/>
                  </a:lnTo>
                  <a:lnTo>
                    <a:pt x="252" y="1456"/>
                  </a:lnTo>
                  <a:lnTo>
                    <a:pt x="252" y="1454"/>
                  </a:lnTo>
                  <a:close/>
                  <a:moveTo>
                    <a:pt x="226" y="1451"/>
                  </a:moveTo>
                  <a:lnTo>
                    <a:pt x="226" y="1449"/>
                  </a:lnTo>
                  <a:lnTo>
                    <a:pt x="226" y="1451"/>
                  </a:lnTo>
                  <a:close/>
                  <a:moveTo>
                    <a:pt x="269" y="1425"/>
                  </a:moveTo>
                  <a:lnTo>
                    <a:pt x="270" y="1427"/>
                  </a:lnTo>
                  <a:lnTo>
                    <a:pt x="269" y="1427"/>
                  </a:lnTo>
                  <a:lnTo>
                    <a:pt x="269" y="1425"/>
                  </a:lnTo>
                  <a:close/>
                  <a:moveTo>
                    <a:pt x="340" y="1428"/>
                  </a:moveTo>
                  <a:lnTo>
                    <a:pt x="340" y="1427"/>
                  </a:lnTo>
                  <a:lnTo>
                    <a:pt x="342" y="1427"/>
                  </a:lnTo>
                  <a:lnTo>
                    <a:pt x="342" y="1428"/>
                  </a:lnTo>
                  <a:lnTo>
                    <a:pt x="340" y="1428"/>
                  </a:lnTo>
                  <a:close/>
                  <a:moveTo>
                    <a:pt x="129" y="1471"/>
                  </a:moveTo>
                  <a:lnTo>
                    <a:pt x="130" y="1471"/>
                  </a:lnTo>
                  <a:lnTo>
                    <a:pt x="129" y="1471"/>
                  </a:lnTo>
                  <a:close/>
                  <a:moveTo>
                    <a:pt x="669" y="1344"/>
                  </a:moveTo>
                  <a:lnTo>
                    <a:pt x="669" y="1342"/>
                  </a:lnTo>
                  <a:lnTo>
                    <a:pt x="670" y="1342"/>
                  </a:lnTo>
                  <a:lnTo>
                    <a:pt x="670" y="1344"/>
                  </a:lnTo>
                  <a:lnTo>
                    <a:pt x="670" y="1342"/>
                  </a:lnTo>
                  <a:lnTo>
                    <a:pt x="670" y="1344"/>
                  </a:lnTo>
                  <a:lnTo>
                    <a:pt x="669" y="1344"/>
                  </a:lnTo>
                  <a:close/>
                  <a:moveTo>
                    <a:pt x="304" y="1498"/>
                  </a:moveTo>
                  <a:lnTo>
                    <a:pt x="304" y="1500"/>
                  </a:lnTo>
                  <a:lnTo>
                    <a:pt x="304" y="1498"/>
                  </a:lnTo>
                  <a:close/>
                  <a:moveTo>
                    <a:pt x="701" y="1331"/>
                  </a:moveTo>
                  <a:lnTo>
                    <a:pt x="700" y="1331"/>
                  </a:lnTo>
                  <a:lnTo>
                    <a:pt x="701" y="1331"/>
                  </a:lnTo>
                  <a:close/>
                  <a:moveTo>
                    <a:pt x="365" y="1479"/>
                  </a:moveTo>
                  <a:lnTo>
                    <a:pt x="363" y="1479"/>
                  </a:lnTo>
                  <a:lnTo>
                    <a:pt x="365" y="1479"/>
                  </a:lnTo>
                  <a:close/>
                  <a:moveTo>
                    <a:pt x="251" y="1380"/>
                  </a:moveTo>
                  <a:lnTo>
                    <a:pt x="251" y="1381"/>
                  </a:lnTo>
                  <a:lnTo>
                    <a:pt x="251" y="1380"/>
                  </a:lnTo>
                  <a:close/>
                  <a:moveTo>
                    <a:pt x="231" y="1446"/>
                  </a:moveTo>
                  <a:lnTo>
                    <a:pt x="233" y="1446"/>
                  </a:lnTo>
                  <a:lnTo>
                    <a:pt x="233" y="1448"/>
                  </a:lnTo>
                  <a:lnTo>
                    <a:pt x="231" y="1448"/>
                  </a:lnTo>
                  <a:lnTo>
                    <a:pt x="231" y="1446"/>
                  </a:lnTo>
                  <a:close/>
                  <a:moveTo>
                    <a:pt x="379" y="737"/>
                  </a:moveTo>
                  <a:lnTo>
                    <a:pt x="379" y="735"/>
                  </a:lnTo>
                  <a:lnTo>
                    <a:pt x="381" y="737"/>
                  </a:lnTo>
                  <a:lnTo>
                    <a:pt x="379" y="737"/>
                  </a:lnTo>
                  <a:close/>
                  <a:moveTo>
                    <a:pt x="553" y="1406"/>
                  </a:moveTo>
                  <a:lnTo>
                    <a:pt x="553" y="1404"/>
                  </a:lnTo>
                  <a:lnTo>
                    <a:pt x="553" y="1406"/>
                  </a:lnTo>
                  <a:close/>
                  <a:moveTo>
                    <a:pt x="244" y="1524"/>
                  </a:moveTo>
                  <a:lnTo>
                    <a:pt x="246" y="1524"/>
                  </a:lnTo>
                  <a:lnTo>
                    <a:pt x="244" y="1524"/>
                  </a:lnTo>
                  <a:close/>
                  <a:moveTo>
                    <a:pt x="309" y="1497"/>
                  </a:moveTo>
                  <a:lnTo>
                    <a:pt x="309" y="1498"/>
                  </a:lnTo>
                  <a:lnTo>
                    <a:pt x="309" y="1497"/>
                  </a:lnTo>
                  <a:lnTo>
                    <a:pt x="308" y="1497"/>
                  </a:lnTo>
                  <a:lnTo>
                    <a:pt x="309" y="1497"/>
                  </a:lnTo>
                  <a:close/>
                  <a:moveTo>
                    <a:pt x="410" y="1485"/>
                  </a:moveTo>
                  <a:lnTo>
                    <a:pt x="410" y="1484"/>
                  </a:lnTo>
                  <a:lnTo>
                    <a:pt x="410" y="1485"/>
                  </a:lnTo>
                  <a:close/>
                  <a:moveTo>
                    <a:pt x="583" y="1397"/>
                  </a:moveTo>
                  <a:lnTo>
                    <a:pt x="584" y="1397"/>
                  </a:lnTo>
                  <a:lnTo>
                    <a:pt x="583" y="1397"/>
                  </a:lnTo>
                  <a:lnTo>
                    <a:pt x="584" y="1399"/>
                  </a:lnTo>
                  <a:lnTo>
                    <a:pt x="583" y="1397"/>
                  </a:lnTo>
                  <a:close/>
                  <a:moveTo>
                    <a:pt x="378" y="1500"/>
                  </a:moveTo>
                  <a:lnTo>
                    <a:pt x="378" y="1498"/>
                  </a:lnTo>
                  <a:lnTo>
                    <a:pt x="378" y="1500"/>
                  </a:lnTo>
                  <a:close/>
                  <a:moveTo>
                    <a:pt x="244" y="1441"/>
                  </a:moveTo>
                  <a:lnTo>
                    <a:pt x="246" y="1440"/>
                  </a:lnTo>
                  <a:lnTo>
                    <a:pt x="246" y="1441"/>
                  </a:lnTo>
                  <a:lnTo>
                    <a:pt x="244" y="1441"/>
                  </a:lnTo>
                  <a:lnTo>
                    <a:pt x="246" y="1441"/>
                  </a:lnTo>
                  <a:lnTo>
                    <a:pt x="244" y="1441"/>
                  </a:lnTo>
                  <a:close/>
                  <a:moveTo>
                    <a:pt x="553" y="1410"/>
                  </a:moveTo>
                  <a:lnTo>
                    <a:pt x="555" y="1409"/>
                  </a:lnTo>
                  <a:lnTo>
                    <a:pt x="555" y="1410"/>
                  </a:lnTo>
                  <a:lnTo>
                    <a:pt x="553" y="1410"/>
                  </a:lnTo>
                  <a:close/>
                  <a:moveTo>
                    <a:pt x="261" y="1445"/>
                  </a:moveTo>
                  <a:lnTo>
                    <a:pt x="259" y="1446"/>
                  </a:lnTo>
                  <a:lnTo>
                    <a:pt x="261" y="1445"/>
                  </a:lnTo>
                  <a:close/>
                  <a:moveTo>
                    <a:pt x="290" y="1497"/>
                  </a:moveTo>
                  <a:lnTo>
                    <a:pt x="288" y="1497"/>
                  </a:lnTo>
                  <a:lnTo>
                    <a:pt x="288" y="1495"/>
                  </a:lnTo>
                  <a:lnTo>
                    <a:pt x="290" y="1495"/>
                  </a:lnTo>
                  <a:lnTo>
                    <a:pt x="290" y="1497"/>
                  </a:lnTo>
                  <a:close/>
                  <a:moveTo>
                    <a:pt x="309" y="1449"/>
                  </a:moveTo>
                  <a:lnTo>
                    <a:pt x="311" y="1449"/>
                  </a:lnTo>
                  <a:lnTo>
                    <a:pt x="309" y="1449"/>
                  </a:lnTo>
                  <a:close/>
                  <a:moveTo>
                    <a:pt x="233" y="1438"/>
                  </a:moveTo>
                  <a:lnTo>
                    <a:pt x="233" y="1440"/>
                  </a:lnTo>
                  <a:lnTo>
                    <a:pt x="233" y="1438"/>
                  </a:lnTo>
                  <a:close/>
                  <a:moveTo>
                    <a:pt x="213" y="1186"/>
                  </a:moveTo>
                  <a:lnTo>
                    <a:pt x="213" y="1184"/>
                  </a:lnTo>
                  <a:lnTo>
                    <a:pt x="213" y="1186"/>
                  </a:lnTo>
                  <a:lnTo>
                    <a:pt x="213" y="1188"/>
                  </a:lnTo>
                  <a:lnTo>
                    <a:pt x="213" y="1186"/>
                  </a:lnTo>
                  <a:close/>
                  <a:moveTo>
                    <a:pt x="244" y="1375"/>
                  </a:moveTo>
                  <a:lnTo>
                    <a:pt x="244" y="1376"/>
                  </a:lnTo>
                  <a:lnTo>
                    <a:pt x="243" y="1376"/>
                  </a:lnTo>
                  <a:lnTo>
                    <a:pt x="243" y="1375"/>
                  </a:lnTo>
                  <a:lnTo>
                    <a:pt x="244" y="1375"/>
                  </a:lnTo>
                  <a:close/>
                  <a:moveTo>
                    <a:pt x="191" y="1025"/>
                  </a:moveTo>
                  <a:lnTo>
                    <a:pt x="191" y="1023"/>
                  </a:lnTo>
                  <a:lnTo>
                    <a:pt x="191" y="1025"/>
                  </a:lnTo>
                  <a:close/>
                  <a:moveTo>
                    <a:pt x="321" y="1459"/>
                  </a:moveTo>
                  <a:lnTo>
                    <a:pt x="321" y="1458"/>
                  </a:lnTo>
                  <a:lnTo>
                    <a:pt x="321" y="1459"/>
                  </a:lnTo>
                  <a:close/>
                  <a:moveTo>
                    <a:pt x="264" y="1479"/>
                  </a:moveTo>
                  <a:lnTo>
                    <a:pt x="265" y="1479"/>
                  </a:lnTo>
                  <a:lnTo>
                    <a:pt x="264" y="1479"/>
                  </a:lnTo>
                  <a:close/>
                  <a:moveTo>
                    <a:pt x="617" y="1381"/>
                  </a:moveTo>
                  <a:lnTo>
                    <a:pt x="618" y="1381"/>
                  </a:lnTo>
                  <a:lnTo>
                    <a:pt x="617" y="1381"/>
                  </a:lnTo>
                  <a:close/>
                  <a:moveTo>
                    <a:pt x="392" y="1472"/>
                  </a:moveTo>
                  <a:lnTo>
                    <a:pt x="391" y="1472"/>
                  </a:lnTo>
                  <a:lnTo>
                    <a:pt x="392" y="1472"/>
                  </a:lnTo>
                  <a:close/>
                  <a:moveTo>
                    <a:pt x="251" y="1461"/>
                  </a:moveTo>
                  <a:lnTo>
                    <a:pt x="252" y="1459"/>
                  </a:lnTo>
                  <a:lnTo>
                    <a:pt x="252" y="1461"/>
                  </a:lnTo>
                  <a:lnTo>
                    <a:pt x="251" y="1461"/>
                  </a:lnTo>
                  <a:close/>
                  <a:moveTo>
                    <a:pt x="267" y="1484"/>
                  </a:moveTo>
                  <a:lnTo>
                    <a:pt x="269" y="1484"/>
                  </a:lnTo>
                  <a:lnTo>
                    <a:pt x="267" y="1484"/>
                  </a:lnTo>
                  <a:close/>
                  <a:moveTo>
                    <a:pt x="369" y="1433"/>
                  </a:moveTo>
                  <a:lnTo>
                    <a:pt x="368" y="1433"/>
                  </a:lnTo>
                  <a:lnTo>
                    <a:pt x="368" y="1432"/>
                  </a:lnTo>
                  <a:lnTo>
                    <a:pt x="369" y="1432"/>
                  </a:lnTo>
                  <a:lnTo>
                    <a:pt x="369" y="1433"/>
                  </a:lnTo>
                  <a:close/>
                  <a:moveTo>
                    <a:pt x="259" y="1407"/>
                  </a:moveTo>
                  <a:lnTo>
                    <a:pt x="257" y="1407"/>
                  </a:lnTo>
                  <a:lnTo>
                    <a:pt x="259" y="1407"/>
                  </a:lnTo>
                  <a:close/>
                  <a:moveTo>
                    <a:pt x="226" y="1459"/>
                  </a:moveTo>
                  <a:lnTo>
                    <a:pt x="226" y="1461"/>
                  </a:lnTo>
                  <a:lnTo>
                    <a:pt x="226" y="1459"/>
                  </a:lnTo>
                  <a:close/>
                  <a:moveTo>
                    <a:pt x="182" y="1514"/>
                  </a:moveTo>
                  <a:lnTo>
                    <a:pt x="182" y="1513"/>
                  </a:lnTo>
                  <a:lnTo>
                    <a:pt x="184" y="1513"/>
                  </a:lnTo>
                  <a:lnTo>
                    <a:pt x="182" y="1514"/>
                  </a:lnTo>
                  <a:close/>
                  <a:moveTo>
                    <a:pt x="368" y="1484"/>
                  </a:moveTo>
                  <a:lnTo>
                    <a:pt x="366" y="1484"/>
                  </a:lnTo>
                  <a:lnTo>
                    <a:pt x="366" y="1482"/>
                  </a:lnTo>
                  <a:lnTo>
                    <a:pt x="368" y="1482"/>
                  </a:lnTo>
                  <a:lnTo>
                    <a:pt x="368" y="1484"/>
                  </a:lnTo>
                  <a:close/>
                  <a:moveTo>
                    <a:pt x="205" y="1017"/>
                  </a:moveTo>
                  <a:lnTo>
                    <a:pt x="205" y="1015"/>
                  </a:lnTo>
                  <a:lnTo>
                    <a:pt x="207" y="1015"/>
                  </a:lnTo>
                  <a:lnTo>
                    <a:pt x="207" y="1017"/>
                  </a:lnTo>
                  <a:lnTo>
                    <a:pt x="205" y="1017"/>
                  </a:lnTo>
                  <a:close/>
                  <a:moveTo>
                    <a:pt x="187" y="1110"/>
                  </a:moveTo>
                  <a:lnTo>
                    <a:pt x="187" y="1111"/>
                  </a:lnTo>
                  <a:lnTo>
                    <a:pt x="187" y="1110"/>
                  </a:lnTo>
                  <a:close/>
                  <a:moveTo>
                    <a:pt x="324" y="1484"/>
                  </a:moveTo>
                  <a:lnTo>
                    <a:pt x="322" y="1484"/>
                  </a:lnTo>
                  <a:lnTo>
                    <a:pt x="322" y="1485"/>
                  </a:lnTo>
                  <a:lnTo>
                    <a:pt x="322" y="1484"/>
                  </a:lnTo>
                  <a:lnTo>
                    <a:pt x="324" y="1484"/>
                  </a:lnTo>
                  <a:close/>
                  <a:moveTo>
                    <a:pt x="215" y="1020"/>
                  </a:moveTo>
                  <a:lnTo>
                    <a:pt x="215" y="1018"/>
                  </a:lnTo>
                  <a:lnTo>
                    <a:pt x="217" y="1018"/>
                  </a:lnTo>
                  <a:lnTo>
                    <a:pt x="217" y="1020"/>
                  </a:lnTo>
                  <a:lnTo>
                    <a:pt x="215" y="1020"/>
                  </a:lnTo>
                  <a:close/>
                  <a:moveTo>
                    <a:pt x="534" y="1410"/>
                  </a:moveTo>
                  <a:lnTo>
                    <a:pt x="535" y="1410"/>
                  </a:lnTo>
                  <a:lnTo>
                    <a:pt x="534" y="1410"/>
                  </a:lnTo>
                  <a:close/>
                  <a:moveTo>
                    <a:pt x="334" y="1466"/>
                  </a:moveTo>
                  <a:lnTo>
                    <a:pt x="334" y="1464"/>
                  </a:lnTo>
                  <a:lnTo>
                    <a:pt x="334" y="1466"/>
                  </a:lnTo>
                  <a:close/>
                  <a:moveTo>
                    <a:pt x="194" y="1503"/>
                  </a:moveTo>
                  <a:lnTo>
                    <a:pt x="192" y="1503"/>
                  </a:lnTo>
                  <a:lnTo>
                    <a:pt x="194" y="1501"/>
                  </a:lnTo>
                  <a:lnTo>
                    <a:pt x="194" y="1503"/>
                  </a:lnTo>
                  <a:close/>
                  <a:moveTo>
                    <a:pt x="218" y="1501"/>
                  </a:moveTo>
                  <a:lnTo>
                    <a:pt x="218" y="1503"/>
                  </a:lnTo>
                  <a:lnTo>
                    <a:pt x="218" y="1501"/>
                  </a:lnTo>
                  <a:lnTo>
                    <a:pt x="218" y="1503"/>
                  </a:lnTo>
                  <a:lnTo>
                    <a:pt x="217" y="1503"/>
                  </a:lnTo>
                  <a:lnTo>
                    <a:pt x="217" y="1501"/>
                  </a:lnTo>
                  <a:lnTo>
                    <a:pt x="218" y="1501"/>
                  </a:lnTo>
                  <a:close/>
                  <a:moveTo>
                    <a:pt x="169" y="1506"/>
                  </a:moveTo>
                  <a:lnTo>
                    <a:pt x="169" y="1505"/>
                  </a:lnTo>
                  <a:lnTo>
                    <a:pt x="168" y="1505"/>
                  </a:lnTo>
                  <a:lnTo>
                    <a:pt x="169" y="1505"/>
                  </a:lnTo>
                  <a:lnTo>
                    <a:pt x="169" y="1506"/>
                  </a:lnTo>
                  <a:close/>
                  <a:moveTo>
                    <a:pt x="264" y="916"/>
                  </a:moveTo>
                  <a:lnTo>
                    <a:pt x="265" y="916"/>
                  </a:lnTo>
                  <a:lnTo>
                    <a:pt x="265" y="918"/>
                  </a:lnTo>
                  <a:lnTo>
                    <a:pt x="264" y="916"/>
                  </a:lnTo>
                  <a:close/>
                  <a:moveTo>
                    <a:pt x="384" y="1462"/>
                  </a:moveTo>
                  <a:lnTo>
                    <a:pt x="386" y="1462"/>
                  </a:lnTo>
                  <a:lnTo>
                    <a:pt x="386" y="1464"/>
                  </a:lnTo>
                  <a:lnTo>
                    <a:pt x="386" y="1462"/>
                  </a:lnTo>
                  <a:lnTo>
                    <a:pt x="384" y="1464"/>
                  </a:lnTo>
                  <a:lnTo>
                    <a:pt x="384" y="1462"/>
                  </a:lnTo>
                  <a:close/>
                  <a:moveTo>
                    <a:pt x="574" y="1394"/>
                  </a:moveTo>
                  <a:lnTo>
                    <a:pt x="573" y="1394"/>
                  </a:lnTo>
                  <a:lnTo>
                    <a:pt x="574" y="1394"/>
                  </a:lnTo>
                  <a:close/>
                  <a:moveTo>
                    <a:pt x="480" y="1449"/>
                  </a:moveTo>
                  <a:lnTo>
                    <a:pt x="482" y="1451"/>
                  </a:lnTo>
                  <a:lnTo>
                    <a:pt x="480" y="1451"/>
                  </a:lnTo>
                  <a:lnTo>
                    <a:pt x="480" y="1449"/>
                  </a:lnTo>
                  <a:lnTo>
                    <a:pt x="482" y="1449"/>
                  </a:lnTo>
                  <a:lnTo>
                    <a:pt x="480" y="1449"/>
                  </a:lnTo>
                  <a:close/>
                  <a:moveTo>
                    <a:pt x="265" y="1501"/>
                  </a:moveTo>
                  <a:lnTo>
                    <a:pt x="264" y="1501"/>
                  </a:lnTo>
                  <a:lnTo>
                    <a:pt x="264" y="1500"/>
                  </a:lnTo>
                  <a:lnTo>
                    <a:pt x="265" y="1500"/>
                  </a:lnTo>
                  <a:lnTo>
                    <a:pt x="265" y="1501"/>
                  </a:lnTo>
                  <a:close/>
                  <a:moveTo>
                    <a:pt x="321" y="1427"/>
                  </a:moveTo>
                  <a:lnTo>
                    <a:pt x="322" y="1427"/>
                  </a:lnTo>
                  <a:lnTo>
                    <a:pt x="321" y="1428"/>
                  </a:lnTo>
                  <a:lnTo>
                    <a:pt x="321" y="1427"/>
                  </a:lnTo>
                  <a:close/>
                  <a:moveTo>
                    <a:pt x="262" y="1441"/>
                  </a:moveTo>
                  <a:lnTo>
                    <a:pt x="262" y="1440"/>
                  </a:lnTo>
                  <a:lnTo>
                    <a:pt x="264" y="1440"/>
                  </a:lnTo>
                  <a:lnTo>
                    <a:pt x="262" y="1441"/>
                  </a:lnTo>
                  <a:close/>
                  <a:moveTo>
                    <a:pt x="334" y="1484"/>
                  </a:moveTo>
                  <a:lnTo>
                    <a:pt x="334" y="1482"/>
                  </a:lnTo>
                  <a:lnTo>
                    <a:pt x="334" y="1484"/>
                  </a:lnTo>
                  <a:close/>
                  <a:moveTo>
                    <a:pt x="207" y="1477"/>
                  </a:moveTo>
                  <a:lnTo>
                    <a:pt x="207" y="1475"/>
                  </a:lnTo>
                  <a:lnTo>
                    <a:pt x="208" y="1475"/>
                  </a:lnTo>
                  <a:lnTo>
                    <a:pt x="208" y="1477"/>
                  </a:lnTo>
                  <a:lnTo>
                    <a:pt x="207" y="1475"/>
                  </a:lnTo>
                  <a:lnTo>
                    <a:pt x="207" y="1477"/>
                  </a:lnTo>
                  <a:close/>
                  <a:moveTo>
                    <a:pt x="208" y="1474"/>
                  </a:moveTo>
                  <a:lnTo>
                    <a:pt x="208" y="1472"/>
                  </a:lnTo>
                  <a:lnTo>
                    <a:pt x="208" y="1474"/>
                  </a:lnTo>
                  <a:close/>
                  <a:moveTo>
                    <a:pt x="283" y="1423"/>
                  </a:moveTo>
                  <a:lnTo>
                    <a:pt x="285" y="1423"/>
                  </a:lnTo>
                  <a:lnTo>
                    <a:pt x="285" y="1422"/>
                  </a:lnTo>
                  <a:lnTo>
                    <a:pt x="285" y="1423"/>
                  </a:lnTo>
                  <a:lnTo>
                    <a:pt x="283" y="1423"/>
                  </a:lnTo>
                  <a:close/>
                  <a:moveTo>
                    <a:pt x="259" y="1451"/>
                  </a:moveTo>
                  <a:lnTo>
                    <a:pt x="261" y="1451"/>
                  </a:lnTo>
                  <a:lnTo>
                    <a:pt x="259" y="1451"/>
                  </a:lnTo>
                  <a:close/>
                  <a:moveTo>
                    <a:pt x="223" y="1436"/>
                  </a:moveTo>
                  <a:lnTo>
                    <a:pt x="225" y="1436"/>
                  </a:lnTo>
                  <a:lnTo>
                    <a:pt x="225" y="1438"/>
                  </a:lnTo>
                  <a:lnTo>
                    <a:pt x="225" y="1436"/>
                  </a:lnTo>
                  <a:lnTo>
                    <a:pt x="225" y="1438"/>
                  </a:lnTo>
                  <a:lnTo>
                    <a:pt x="223" y="1436"/>
                  </a:lnTo>
                  <a:close/>
                  <a:moveTo>
                    <a:pt x="287" y="1436"/>
                  </a:moveTo>
                  <a:lnTo>
                    <a:pt x="288" y="1436"/>
                  </a:lnTo>
                  <a:lnTo>
                    <a:pt x="287" y="1436"/>
                  </a:lnTo>
                  <a:close/>
                  <a:moveTo>
                    <a:pt x="313" y="1472"/>
                  </a:moveTo>
                  <a:lnTo>
                    <a:pt x="313" y="1471"/>
                  </a:lnTo>
                  <a:lnTo>
                    <a:pt x="314" y="1472"/>
                  </a:lnTo>
                  <a:lnTo>
                    <a:pt x="313" y="1472"/>
                  </a:lnTo>
                  <a:close/>
                  <a:moveTo>
                    <a:pt x="321" y="1488"/>
                  </a:moveTo>
                  <a:lnTo>
                    <a:pt x="319" y="1490"/>
                  </a:lnTo>
                  <a:lnTo>
                    <a:pt x="319" y="1488"/>
                  </a:lnTo>
                  <a:lnTo>
                    <a:pt x="321" y="1488"/>
                  </a:lnTo>
                  <a:close/>
                  <a:moveTo>
                    <a:pt x="259" y="1419"/>
                  </a:moveTo>
                  <a:lnTo>
                    <a:pt x="259" y="1420"/>
                  </a:lnTo>
                  <a:lnTo>
                    <a:pt x="259" y="1419"/>
                  </a:lnTo>
                  <a:close/>
                  <a:moveTo>
                    <a:pt x="217" y="1521"/>
                  </a:moveTo>
                  <a:lnTo>
                    <a:pt x="218" y="1523"/>
                  </a:lnTo>
                  <a:lnTo>
                    <a:pt x="217" y="1523"/>
                  </a:lnTo>
                  <a:lnTo>
                    <a:pt x="218" y="1521"/>
                  </a:lnTo>
                  <a:lnTo>
                    <a:pt x="217" y="1521"/>
                  </a:lnTo>
                  <a:close/>
                  <a:moveTo>
                    <a:pt x="243" y="1316"/>
                  </a:moveTo>
                  <a:lnTo>
                    <a:pt x="244" y="1316"/>
                  </a:lnTo>
                  <a:lnTo>
                    <a:pt x="243" y="1316"/>
                  </a:lnTo>
                  <a:close/>
                  <a:moveTo>
                    <a:pt x="439" y="1475"/>
                  </a:moveTo>
                  <a:lnTo>
                    <a:pt x="439" y="1474"/>
                  </a:lnTo>
                  <a:lnTo>
                    <a:pt x="441" y="1474"/>
                  </a:lnTo>
                  <a:lnTo>
                    <a:pt x="441" y="1475"/>
                  </a:lnTo>
                  <a:lnTo>
                    <a:pt x="439" y="1475"/>
                  </a:lnTo>
                  <a:close/>
                  <a:moveTo>
                    <a:pt x="213" y="1523"/>
                  </a:moveTo>
                  <a:lnTo>
                    <a:pt x="215" y="1523"/>
                  </a:lnTo>
                  <a:lnTo>
                    <a:pt x="213" y="1523"/>
                  </a:lnTo>
                  <a:lnTo>
                    <a:pt x="215" y="1523"/>
                  </a:lnTo>
                  <a:lnTo>
                    <a:pt x="215" y="1524"/>
                  </a:lnTo>
                  <a:lnTo>
                    <a:pt x="213" y="1523"/>
                  </a:lnTo>
                  <a:close/>
                  <a:moveTo>
                    <a:pt x="291" y="656"/>
                  </a:moveTo>
                  <a:lnTo>
                    <a:pt x="293" y="656"/>
                  </a:lnTo>
                  <a:lnTo>
                    <a:pt x="291" y="656"/>
                  </a:lnTo>
                  <a:close/>
                  <a:moveTo>
                    <a:pt x="234" y="1362"/>
                  </a:moveTo>
                  <a:lnTo>
                    <a:pt x="236" y="1362"/>
                  </a:lnTo>
                  <a:lnTo>
                    <a:pt x="236" y="1363"/>
                  </a:lnTo>
                  <a:lnTo>
                    <a:pt x="234" y="1362"/>
                  </a:lnTo>
                  <a:close/>
                  <a:moveTo>
                    <a:pt x="335" y="1490"/>
                  </a:moveTo>
                  <a:lnTo>
                    <a:pt x="334" y="1490"/>
                  </a:lnTo>
                  <a:lnTo>
                    <a:pt x="335" y="1490"/>
                  </a:lnTo>
                  <a:close/>
                  <a:moveTo>
                    <a:pt x="342" y="1505"/>
                  </a:moveTo>
                  <a:lnTo>
                    <a:pt x="342" y="1503"/>
                  </a:lnTo>
                  <a:lnTo>
                    <a:pt x="343" y="1505"/>
                  </a:lnTo>
                  <a:lnTo>
                    <a:pt x="342" y="1505"/>
                  </a:lnTo>
                  <a:close/>
                  <a:moveTo>
                    <a:pt x="181" y="1453"/>
                  </a:moveTo>
                  <a:lnTo>
                    <a:pt x="181" y="1451"/>
                  </a:lnTo>
                  <a:lnTo>
                    <a:pt x="181" y="1453"/>
                  </a:lnTo>
                  <a:close/>
                  <a:moveTo>
                    <a:pt x="431" y="1487"/>
                  </a:moveTo>
                  <a:lnTo>
                    <a:pt x="430" y="1487"/>
                  </a:lnTo>
                  <a:lnTo>
                    <a:pt x="431" y="1487"/>
                  </a:lnTo>
                  <a:close/>
                  <a:moveTo>
                    <a:pt x="202" y="1448"/>
                  </a:moveTo>
                  <a:lnTo>
                    <a:pt x="204" y="1448"/>
                  </a:lnTo>
                  <a:lnTo>
                    <a:pt x="202" y="1448"/>
                  </a:lnTo>
                  <a:close/>
                  <a:moveTo>
                    <a:pt x="584" y="1396"/>
                  </a:moveTo>
                  <a:lnTo>
                    <a:pt x="586" y="1396"/>
                  </a:lnTo>
                  <a:lnTo>
                    <a:pt x="584" y="1396"/>
                  </a:lnTo>
                  <a:close/>
                  <a:moveTo>
                    <a:pt x="287" y="1414"/>
                  </a:moveTo>
                  <a:lnTo>
                    <a:pt x="285" y="1414"/>
                  </a:lnTo>
                  <a:lnTo>
                    <a:pt x="287" y="1414"/>
                  </a:lnTo>
                  <a:close/>
                  <a:moveTo>
                    <a:pt x="339" y="1462"/>
                  </a:moveTo>
                  <a:lnTo>
                    <a:pt x="337" y="1462"/>
                  </a:lnTo>
                  <a:lnTo>
                    <a:pt x="339" y="1462"/>
                  </a:lnTo>
                  <a:lnTo>
                    <a:pt x="337" y="1462"/>
                  </a:lnTo>
                  <a:lnTo>
                    <a:pt x="339" y="1462"/>
                  </a:lnTo>
                  <a:close/>
                  <a:moveTo>
                    <a:pt x="213" y="1191"/>
                  </a:moveTo>
                  <a:lnTo>
                    <a:pt x="213" y="1189"/>
                  </a:lnTo>
                  <a:lnTo>
                    <a:pt x="213" y="1191"/>
                  </a:lnTo>
                  <a:close/>
                  <a:moveTo>
                    <a:pt x="264" y="1445"/>
                  </a:moveTo>
                  <a:lnTo>
                    <a:pt x="265" y="1445"/>
                  </a:lnTo>
                  <a:lnTo>
                    <a:pt x="264" y="1445"/>
                  </a:lnTo>
                  <a:close/>
                  <a:moveTo>
                    <a:pt x="246" y="1432"/>
                  </a:moveTo>
                  <a:lnTo>
                    <a:pt x="246" y="1433"/>
                  </a:lnTo>
                  <a:lnTo>
                    <a:pt x="246" y="1432"/>
                  </a:lnTo>
                  <a:close/>
                  <a:moveTo>
                    <a:pt x="295" y="1441"/>
                  </a:moveTo>
                  <a:lnTo>
                    <a:pt x="296" y="1441"/>
                  </a:lnTo>
                  <a:lnTo>
                    <a:pt x="296" y="1443"/>
                  </a:lnTo>
                  <a:lnTo>
                    <a:pt x="295" y="1443"/>
                  </a:lnTo>
                  <a:lnTo>
                    <a:pt x="295" y="1441"/>
                  </a:lnTo>
                  <a:close/>
                  <a:moveTo>
                    <a:pt x="291" y="1488"/>
                  </a:moveTo>
                  <a:lnTo>
                    <a:pt x="291" y="1490"/>
                  </a:lnTo>
                  <a:lnTo>
                    <a:pt x="290" y="1490"/>
                  </a:lnTo>
                  <a:lnTo>
                    <a:pt x="290" y="1488"/>
                  </a:lnTo>
                  <a:lnTo>
                    <a:pt x="291" y="1488"/>
                  </a:lnTo>
                  <a:close/>
                  <a:moveTo>
                    <a:pt x="192" y="1057"/>
                  </a:moveTo>
                  <a:lnTo>
                    <a:pt x="191" y="1057"/>
                  </a:lnTo>
                  <a:lnTo>
                    <a:pt x="192" y="1057"/>
                  </a:lnTo>
                  <a:close/>
                  <a:moveTo>
                    <a:pt x="339" y="1462"/>
                  </a:moveTo>
                  <a:lnTo>
                    <a:pt x="340" y="1461"/>
                  </a:lnTo>
                  <a:lnTo>
                    <a:pt x="340" y="1462"/>
                  </a:lnTo>
                  <a:lnTo>
                    <a:pt x="339" y="1462"/>
                  </a:lnTo>
                  <a:close/>
                  <a:moveTo>
                    <a:pt x="126" y="1474"/>
                  </a:moveTo>
                  <a:lnTo>
                    <a:pt x="127" y="1474"/>
                  </a:lnTo>
                  <a:lnTo>
                    <a:pt x="126" y="1474"/>
                  </a:lnTo>
                  <a:close/>
                  <a:moveTo>
                    <a:pt x="233" y="1497"/>
                  </a:moveTo>
                  <a:lnTo>
                    <a:pt x="233" y="1498"/>
                  </a:lnTo>
                  <a:lnTo>
                    <a:pt x="233" y="1497"/>
                  </a:lnTo>
                  <a:close/>
                  <a:moveTo>
                    <a:pt x="252" y="1380"/>
                  </a:moveTo>
                  <a:lnTo>
                    <a:pt x="251" y="1380"/>
                  </a:lnTo>
                  <a:lnTo>
                    <a:pt x="251" y="1378"/>
                  </a:lnTo>
                  <a:lnTo>
                    <a:pt x="252" y="1378"/>
                  </a:lnTo>
                  <a:lnTo>
                    <a:pt x="252" y="1380"/>
                  </a:lnTo>
                  <a:close/>
                  <a:moveTo>
                    <a:pt x="659" y="1336"/>
                  </a:moveTo>
                  <a:lnTo>
                    <a:pt x="661" y="1336"/>
                  </a:lnTo>
                  <a:lnTo>
                    <a:pt x="661" y="1337"/>
                  </a:lnTo>
                  <a:lnTo>
                    <a:pt x="659" y="1337"/>
                  </a:lnTo>
                  <a:lnTo>
                    <a:pt x="659" y="1336"/>
                  </a:lnTo>
                  <a:close/>
                  <a:moveTo>
                    <a:pt x="332" y="1475"/>
                  </a:moveTo>
                  <a:lnTo>
                    <a:pt x="334" y="1475"/>
                  </a:lnTo>
                  <a:lnTo>
                    <a:pt x="332" y="1475"/>
                  </a:lnTo>
                  <a:close/>
                  <a:moveTo>
                    <a:pt x="356" y="1493"/>
                  </a:moveTo>
                  <a:lnTo>
                    <a:pt x="356" y="1495"/>
                  </a:lnTo>
                  <a:lnTo>
                    <a:pt x="356" y="1493"/>
                  </a:lnTo>
                  <a:close/>
                  <a:moveTo>
                    <a:pt x="231" y="1427"/>
                  </a:moveTo>
                  <a:lnTo>
                    <a:pt x="233" y="1427"/>
                  </a:lnTo>
                  <a:lnTo>
                    <a:pt x="233" y="1428"/>
                  </a:lnTo>
                  <a:lnTo>
                    <a:pt x="231" y="1428"/>
                  </a:lnTo>
                  <a:lnTo>
                    <a:pt x="231" y="1427"/>
                  </a:lnTo>
                  <a:close/>
                  <a:moveTo>
                    <a:pt x="350" y="1506"/>
                  </a:moveTo>
                  <a:lnTo>
                    <a:pt x="350" y="1505"/>
                  </a:lnTo>
                  <a:lnTo>
                    <a:pt x="350" y="1506"/>
                  </a:lnTo>
                  <a:close/>
                  <a:moveTo>
                    <a:pt x="130" y="1471"/>
                  </a:moveTo>
                  <a:lnTo>
                    <a:pt x="132" y="1472"/>
                  </a:lnTo>
                  <a:lnTo>
                    <a:pt x="130" y="1472"/>
                  </a:lnTo>
                  <a:lnTo>
                    <a:pt x="130" y="1471"/>
                  </a:lnTo>
                  <a:lnTo>
                    <a:pt x="130" y="1472"/>
                  </a:lnTo>
                  <a:lnTo>
                    <a:pt x="130" y="1471"/>
                  </a:lnTo>
                  <a:lnTo>
                    <a:pt x="132" y="1471"/>
                  </a:lnTo>
                  <a:lnTo>
                    <a:pt x="130" y="1471"/>
                  </a:lnTo>
                  <a:close/>
                  <a:moveTo>
                    <a:pt x="347" y="1490"/>
                  </a:moveTo>
                  <a:lnTo>
                    <a:pt x="345" y="1490"/>
                  </a:lnTo>
                  <a:lnTo>
                    <a:pt x="347" y="1490"/>
                  </a:lnTo>
                  <a:lnTo>
                    <a:pt x="347" y="1488"/>
                  </a:lnTo>
                  <a:lnTo>
                    <a:pt x="347" y="1490"/>
                  </a:lnTo>
                  <a:close/>
                  <a:moveTo>
                    <a:pt x="386" y="1488"/>
                  </a:moveTo>
                  <a:lnTo>
                    <a:pt x="387" y="1488"/>
                  </a:lnTo>
                  <a:lnTo>
                    <a:pt x="386" y="1488"/>
                  </a:lnTo>
                  <a:close/>
                  <a:moveTo>
                    <a:pt x="252" y="1511"/>
                  </a:moveTo>
                  <a:lnTo>
                    <a:pt x="254" y="1511"/>
                  </a:lnTo>
                  <a:lnTo>
                    <a:pt x="252" y="1513"/>
                  </a:lnTo>
                  <a:lnTo>
                    <a:pt x="252" y="1511"/>
                  </a:lnTo>
                  <a:close/>
                  <a:moveTo>
                    <a:pt x="236" y="1353"/>
                  </a:moveTo>
                  <a:lnTo>
                    <a:pt x="234" y="1353"/>
                  </a:lnTo>
                  <a:lnTo>
                    <a:pt x="236" y="1352"/>
                  </a:lnTo>
                  <a:lnTo>
                    <a:pt x="236" y="1353"/>
                  </a:lnTo>
                  <a:close/>
                  <a:moveTo>
                    <a:pt x="369" y="1508"/>
                  </a:moveTo>
                  <a:lnTo>
                    <a:pt x="371" y="1508"/>
                  </a:lnTo>
                  <a:lnTo>
                    <a:pt x="369" y="1508"/>
                  </a:lnTo>
                  <a:close/>
                  <a:moveTo>
                    <a:pt x="314" y="1467"/>
                  </a:moveTo>
                  <a:lnTo>
                    <a:pt x="314" y="1466"/>
                  </a:lnTo>
                  <a:lnTo>
                    <a:pt x="316" y="1466"/>
                  </a:lnTo>
                  <a:lnTo>
                    <a:pt x="314" y="1467"/>
                  </a:lnTo>
                  <a:close/>
                  <a:moveTo>
                    <a:pt x="179" y="1441"/>
                  </a:moveTo>
                  <a:lnTo>
                    <a:pt x="179" y="1443"/>
                  </a:lnTo>
                  <a:lnTo>
                    <a:pt x="178" y="1441"/>
                  </a:lnTo>
                  <a:lnTo>
                    <a:pt x="179" y="1441"/>
                  </a:lnTo>
                  <a:close/>
                  <a:moveTo>
                    <a:pt x="329" y="583"/>
                  </a:moveTo>
                  <a:lnTo>
                    <a:pt x="330" y="583"/>
                  </a:lnTo>
                  <a:lnTo>
                    <a:pt x="329" y="583"/>
                  </a:lnTo>
                  <a:close/>
                  <a:moveTo>
                    <a:pt x="199" y="1492"/>
                  </a:moveTo>
                  <a:lnTo>
                    <a:pt x="200" y="1492"/>
                  </a:lnTo>
                  <a:lnTo>
                    <a:pt x="200" y="1490"/>
                  </a:lnTo>
                  <a:lnTo>
                    <a:pt x="200" y="1492"/>
                  </a:lnTo>
                  <a:lnTo>
                    <a:pt x="199" y="1492"/>
                  </a:lnTo>
                  <a:close/>
                  <a:moveTo>
                    <a:pt x="218" y="1513"/>
                  </a:moveTo>
                  <a:lnTo>
                    <a:pt x="217" y="1513"/>
                  </a:lnTo>
                  <a:lnTo>
                    <a:pt x="218" y="1513"/>
                  </a:lnTo>
                  <a:close/>
                  <a:moveTo>
                    <a:pt x="189" y="1051"/>
                  </a:moveTo>
                  <a:lnTo>
                    <a:pt x="189" y="1053"/>
                  </a:lnTo>
                  <a:lnTo>
                    <a:pt x="189" y="1051"/>
                  </a:lnTo>
                  <a:close/>
                  <a:moveTo>
                    <a:pt x="212" y="1501"/>
                  </a:moveTo>
                  <a:lnTo>
                    <a:pt x="212" y="1503"/>
                  </a:lnTo>
                  <a:lnTo>
                    <a:pt x="210" y="1501"/>
                  </a:lnTo>
                  <a:lnTo>
                    <a:pt x="212" y="1501"/>
                  </a:lnTo>
                  <a:close/>
                  <a:moveTo>
                    <a:pt x="226" y="1490"/>
                  </a:moveTo>
                  <a:lnTo>
                    <a:pt x="226" y="1492"/>
                  </a:lnTo>
                  <a:lnTo>
                    <a:pt x="226" y="1490"/>
                  </a:lnTo>
                  <a:lnTo>
                    <a:pt x="225" y="1492"/>
                  </a:lnTo>
                  <a:lnTo>
                    <a:pt x="225" y="1490"/>
                  </a:lnTo>
                  <a:lnTo>
                    <a:pt x="226" y="1490"/>
                  </a:lnTo>
                  <a:close/>
                  <a:moveTo>
                    <a:pt x="376" y="1428"/>
                  </a:moveTo>
                  <a:lnTo>
                    <a:pt x="376" y="1427"/>
                  </a:lnTo>
                  <a:lnTo>
                    <a:pt x="376" y="1428"/>
                  </a:lnTo>
                  <a:close/>
                  <a:moveTo>
                    <a:pt x="275" y="1453"/>
                  </a:moveTo>
                  <a:lnTo>
                    <a:pt x="277" y="1453"/>
                  </a:lnTo>
                  <a:lnTo>
                    <a:pt x="275" y="1453"/>
                  </a:lnTo>
                  <a:close/>
                  <a:moveTo>
                    <a:pt x="241" y="1510"/>
                  </a:moveTo>
                  <a:lnTo>
                    <a:pt x="241" y="1508"/>
                  </a:lnTo>
                  <a:lnTo>
                    <a:pt x="243" y="1508"/>
                  </a:lnTo>
                  <a:lnTo>
                    <a:pt x="241" y="1510"/>
                  </a:lnTo>
                  <a:close/>
                  <a:moveTo>
                    <a:pt x="134" y="1451"/>
                  </a:moveTo>
                  <a:lnTo>
                    <a:pt x="135" y="1451"/>
                  </a:lnTo>
                  <a:lnTo>
                    <a:pt x="134" y="1451"/>
                  </a:lnTo>
                  <a:close/>
                  <a:moveTo>
                    <a:pt x="241" y="1020"/>
                  </a:moveTo>
                  <a:lnTo>
                    <a:pt x="243" y="1020"/>
                  </a:lnTo>
                  <a:lnTo>
                    <a:pt x="241" y="1020"/>
                  </a:lnTo>
                  <a:close/>
                  <a:moveTo>
                    <a:pt x="215" y="1508"/>
                  </a:moveTo>
                  <a:lnTo>
                    <a:pt x="217" y="1508"/>
                  </a:lnTo>
                  <a:lnTo>
                    <a:pt x="215" y="1508"/>
                  </a:lnTo>
                  <a:close/>
                  <a:moveTo>
                    <a:pt x="441" y="1477"/>
                  </a:moveTo>
                  <a:lnTo>
                    <a:pt x="441" y="1475"/>
                  </a:lnTo>
                  <a:lnTo>
                    <a:pt x="441" y="1477"/>
                  </a:lnTo>
                  <a:close/>
                  <a:moveTo>
                    <a:pt x="322" y="1487"/>
                  </a:moveTo>
                  <a:lnTo>
                    <a:pt x="321" y="1487"/>
                  </a:lnTo>
                  <a:lnTo>
                    <a:pt x="321" y="1485"/>
                  </a:lnTo>
                  <a:lnTo>
                    <a:pt x="322" y="1485"/>
                  </a:lnTo>
                  <a:lnTo>
                    <a:pt x="322" y="1487"/>
                  </a:lnTo>
                  <a:close/>
                  <a:moveTo>
                    <a:pt x="249" y="1386"/>
                  </a:moveTo>
                  <a:lnTo>
                    <a:pt x="247" y="1386"/>
                  </a:lnTo>
                  <a:lnTo>
                    <a:pt x="249" y="1386"/>
                  </a:lnTo>
                  <a:close/>
                  <a:moveTo>
                    <a:pt x="296" y="1493"/>
                  </a:moveTo>
                  <a:lnTo>
                    <a:pt x="298" y="1493"/>
                  </a:lnTo>
                  <a:lnTo>
                    <a:pt x="296" y="1493"/>
                  </a:lnTo>
                  <a:close/>
                  <a:moveTo>
                    <a:pt x="262" y="1445"/>
                  </a:moveTo>
                  <a:lnTo>
                    <a:pt x="261" y="1445"/>
                  </a:lnTo>
                  <a:lnTo>
                    <a:pt x="262" y="1445"/>
                  </a:lnTo>
                  <a:close/>
                  <a:moveTo>
                    <a:pt x="228" y="1440"/>
                  </a:moveTo>
                  <a:lnTo>
                    <a:pt x="228" y="1441"/>
                  </a:lnTo>
                  <a:lnTo>
                    <a:pt x="230" y="1441"/>
                  </a:lnTo>
                  <a:lnTo>
                    <a:pt x="228" y="1441"/>
                  </a:lnTo>
                  <a:lnTo>
                    <a:pt x="228" y="1440"/>
                  </a:lnTo>
                  <a:close/>
                  <a:moveTo>
                    <a:pt x="345" y="1500"/>
                  </a:moveTo>
                  <a:lnTo>
                    <a:pt x="343" y="1500"/>
                  </a:lnTo>
                  <a:lnTo>
                    <a:pt x="345" y="1500"/>
                  </a:lnTo>
                  <a:close/>
                  <a:moveTo>
                    <a:pt x="384" y="1474"/>
                  </a:moveTo>
                  <a:lnTo>
                    <a:pt x="384" y="1472"/>
                  </a:lnTo>
                  <a:lnTo>
                    <a:pt x="384" y="1474"/>
                  </a:lnTo>
                  <a:close/>
                  <a:moveTo>
                    <a:pt x="192" y="1459"/>
                  </a:moveTo>
                  <a:lnTo>
                    <a:pt x="191" y="1459"/>
                  </a:lnTo>
                  <a:lnTo>
                    <a:pt x="192" y="1459"/>
                  </a:lnTo>
                  <a:close/>
                  <a:moveTo>
                    <a:pt x="208" y="1501"/>
                  </a:moveTo>
                  <a:lnTo>
                    <a:pt x="208" y="1503"/>
                  </a:lnTo>
                  <a:lnTo>
                    <a:pt x="208" y="1501"/>
                  </a:lnTo>
                  <a:lnTo>
                    <a:pt x="208" y="1503"/>
                  </a:lnTo>
                  <a:lnTo>
                    <a:pt x="207" y="1503"/>
                  </a:lnTo>
                  <a:lnTo>
                    <a:pt x="208" y="1501"/>
                  </a:lnTo>
                  <a:close/>
                  <a:moveTo>
                    <a:pt x="176" y="1441"/>
                  </a:moveTo>
                  <a:lnTo>
                    <a:pt x="178" y="1441"/>
                  </a:lnTo>
                  <a:lnTo>
                    <a:pt x="176" y="1441"/>
                  </a:lnTo>
                  <a:close/>
                  <a:moveTo>
                    <a:pt x="573" y="1391"/>
                  </a:moveTo>
                  <a:lnTo>
                    <a:pt x="574" y="1389"/>
                  </a:lnTo>
                  <a:lnTo>
                    <a:pt x="574" y="1391"/>
                  </a:lnTo>
                  <a:lnTo>
                    <a:pt x="573" y="1391"/>
                  </a:lnTo>
                  <a:close/>
                  <a:moveTo>
                    <a:pt x="324" y="1503"/>
                  </a:moveTo>
                  <a:lnTo>
                    <a:pt x="326" y="1503"/>
                  </a:lnTo>
                  <a:lnTo>
                    <a:pt x="326" y="1501"/>
                  </a:lnTo>
                  <a:lnTo>
                    <a:pt x="326" y="1503"/>
                  </a:lnTo>
                  <a:lnTo>
                    <a:pt x="324" y="1503"/>
                  </a:lnTo>
                  <a:close/>
                  <a:moveTo>
                    <a:pt x="189" y="1124"/>
                  </a:moveTo>
                  <a:lnTo>
                    <a:pt x="191" y="1124"/>
                  </a:lnTo>
                  <a:lnTo>
                    <a:pt x="191" y="1126"/>
                  </a:lnTo>
                  <a:lnTo>
                    <a:pt x="189" y="1126"/>
                  </a:lnTo>
                  <a:lnTo>
                    <a:pt x="189" y="1124"/>
                  </a:lnTo>
                  <a:close/>
                  <a:moveTo>
                    <a:pt x="230" y="1467"/>
                  </a:moveTo>
                  <a:lnTo>
                    <a:pt x="230" y="1469"/>
                  </a:lnTo>
                  <a:lnTo>
                    <a:pt x="230" y="1467"/>
                  </a:lnTo>
                  <a:close/>
                  <a:moveTo>
                    <a:pt x="277" y="1513"/>
                  </a:moveTo>
                  <a:lnTo>
                    <a:pt x="278" y="1513"/>
                  </a:lnTo>
                  <a:lnTo>
                    <a:pt x="277" y="1514"/>
                  </a:lnTo>
                  <a:lnTo>
                    <a:pt x="277" y="1513"/>
                  </a:lnTo>
                  <a:close/>
                  <a:moveTo>
                    <a:pt x="277" y="932"/>
                  </a:moveTo>
                  <a:lnTo>
                    <a:pt x="277" y="934"/>
                  </a:lnTo>
                  <a:lnTo>
                    <a:pt x="277" y="932"/>
                  </a:lnTo>
                  <a:close/>
                  <a:moveTo>
                    <a:pt x="322" y="1501"/>
                  </a:moveTo>
                  <a:lnTo>
                    <a:pt x="322" y="1500"/>
                  </a:lnTo>
                  <a:lnTo>
                    <a:pt x="324" y="1500"/>
                  </a:lnTo>
                  <a:lnTo>
                    <a:pt x="324" y="1501"/>
                  </a:lnTo>
                  <a:lnTo>
                    <a:pt x="322" y="1501"/>
                  </a:lnTo>
                  <a:close/>
                  <a:moveTo>
                    <a:pt x="278" y="1462"/>
                  </a:moveTo>
                  <a:lnTo>
                    <a:pt x="277" y="1464"/>
                  </a:lnTo>
                  <a:lnTo>
                    <a:pt x="277" y="1462"/>
                  </a:lnTo>
                  <a:lnTo>
                    <a:pt x="278" y="1462"/>
                  </a:lnTo>
                  <a:close/>
                  <a:moveTo>
                    <a:pt x="425" y="1482"/>
                  </a:moveTo>
                  <a:lnTo>
                    <a:pt x="426" y="1482"/>
                  </a:lnTo>
                  <a:lnTo>
                    <a:pt x="425" y="1482"/>
                  </a:lnTo>
                  <a:close/>
                  <a:moveTo>
                    <a:pt x="246" y="1331"/>
                  </a:moveTo>
                  <a:lnTo>
                    <a:pt x="247" y="1331"/>
                  </a:lnTo>
                  <a:lnTo>
                    <a:pt x="247" y="1332"/>
                  </a:lnTo>
                  <a:lnTo>
                    <a:pt x="246" y="1331"/>
                  </a:lnTo>
                  <a:close/>
                  <a:moveTo>
                    <a:pt x="264" y="1441"/>
                  </a:moveTo>
                  <a:lnTo>
                    <a:pt x="264" y="1440"/>
                  </a:lnTo>
                  <a:lnTo>
                    <a:pt x="264" y="1441"/>
                  </a:lnTo>
                  <a:close/>
                  <a:moveTo>
                    <a:pt x="303" y="1474"/>
                  </a:moveTo>
                  <a:lnTo>
                    <a:pt x="304" y="1474"/>
                  </a:lnTo>
                  <a:lnTo>
                    <a:pt x="304" y="1475"/>
                  </a:lnTo>
                  <a:lnTo>
                    <a:pt x="303" y="1475"/>
                  </a:lnTo>
                  <a:lnTo>
                    <a:pt x="303" y="1474"/>
                  </a:lnTo>
                  <a:close/>
                  <a:moveTo>
                    <a:pt x="213" y="1194"/>
                  </a:moveTo>
                  <a:lnTo>
                    <a:pt x="212" y="1192"/>
                  </a:lnTo>
                  <a:lnTo>
                    <a:pt x="213" y="1192"/>
                  </a:lnTo>
                  <a:lnTo>
                    <a:pt x="213" y="1194"/>
                  </a:lnTo>
                  <a:close/>
                  <a:moveTo>
                    <a:pt x="337" y="1459"/>
                  </a:moveTo>
                  <a:lnTo>
                    <a:pt x="337" y="1458"/>
                  </a:lnTo>
                  <a:lnTo>
                    <a:pt x="339" y="1458"/>
                  </a:lnTo>
                  <a:lnTo>
                    <a:pt x="339" y="1459"/>
                  </a:lnTo>
                  <a:lnTo>
                    <a:pt x="337" y="1459"/>
                  </a:lnTo>
                  <a:close/>
                  <a:moveTo>
                    <a:pt x="247" y="1353"/>
                  </a:moveTo>
                  <a:lnTo>
                    <a:pt x="247" y="1352"/>
                  </a:lnTo>
                  <a:lnTo>
                    <a:pt x="247" y="1353"/>
                  </a:lnTo>
                  <a:close/>
                  <a:moveTo>
                    <a:pt x="555" y="1409"/>
                  </a:moveTo>
                  <a:lnTo>
                    <a:pt x="557" y="1409"/>
                  </a:lnTo>
                  <a:lnTo>
                    <a:pt x="555" y="1409"/>
                  </a:lnTo>
                  <a:close/>
                  <a:moveTo>
                    <a:pt x="244" y="1511"/>
                  </a:moveTo>
                  <a:lnTo>
                    <a:pt x="243" y="1510"/>
                  </a:lnTo>
                  <a:lnTo>
                    <a:pt x="244" y="1510"/>
                  </a:lnTo>
                  <a:lnTo>
                    <a:pt x="244" y="1511"/>
                  </a:lnTo>
                  <a:close/>
                  <a:moveTo>
                    <a:pt x="262" y="1519"/>
                  </a:moveTo>
                  <a:lnTo>
                    <a:pt x="261" y="1519"/>
                  </a:lnTo>
                  <a:lnTo>
                    <a:pt x="262" y="1518"/>
                  </a:lnTo>
                  <a:lnTo>
                    <a:pt x="262" y="1519"/>
                  </a:lnTo>
                  <a:close/>
                  <a:moveTo>
                    <a:pt x="228" y="1241"/>
                  </a:moveTo>
                  <a:lnTo>
                    <a:pt x="230" y="1241"/>
                  </a:lnTo>
                  <a:lnTo>
                    <a:pt x="228" y="1241"/>
                  </a:lnTo>
                  <a:close/>
                  <a:moveTo>
                    <a:pt x="330" y="1451"/>
                  </a:moveTo>
                  <a:lnTo>
                    <a:pt x="332" y="1451"/>
                  </a:lnTo>
                  <a:lnTo>
                    <a:pt x="330" y="1451"/>
                  </a:lnTo>
                  <a:close/>
                  <a:moveTo>
                    <a:pt x="543" y="1402"/>
                  </a:moveTo>
                  <a:lnTo>
                    <a:pt x="542" y="1401"/>
                  </a:lnTo>
                  <a:lnTo>
                    <a:pt x="543" y="1401"/>
                  </a:lnTo>
                  <a:lnTo>
                    <a:pt x="543" y="1402"/>
                  </a:lnTo>
                  <a:close/>
                  <a:moveTo>
                    <a:pt x="246" y="1373"/>
                  </a:moveTo>
                  <a:lnTo>
                    <a:pt x="247" y="1373"/>
                  </a:lnTo>
                  <a:lnTo>
                    <a:pt x="246" y="1373"/>
                  </a:lnTo>
                  <a:lnTo>
                    <a:pt x="246" y="1375"/>
                  </a:lnTo>
                  <a:lnTo>
                    <a:pt x="246" y="1373"/>
                  </a:lnTo>
                  <a:close/>
                  <a:moveTo>
                    <a:pt x="329" y="1490"/>
                  </a:moveTo>
                  <a:lnTo>
                    <a:pt x="330" y="1490"/>
                  </a:lnTo>
                  <a:lnTo>
                    <a:pt x="329" y="1490"/>
                  </a:lnTo>
                  <a:close/>
                  <a:moveTo>
                    <a:pt x="205" y="1051"/>
                  </a:moveTo>
                  <a:lnTo>
                    <a:pt x="204" y="1051"/>
                  </a:lnTo>
                  <a:lnTo>
                    <a:pt x="204" y="1049"/>
                  </a:lnTo>
                  <a:lnTo>
                    <a:pt x="205" y="1051"/>
                  </a:lnTo>
                  <a:close/>
                  <a:moveTo>
                    <a:pt x="259" y="1428"/>
                  </a:moveTo>
                  <a:lnTo>
                    <a:pt x="259" y="1430"/>
                  </a:lnTo>
                  <a:lnTo>
                    <a:pt x="259" y="1428"/>
                  </a:lnTo>
                  <a:close/>
                  <a:moveTo>
                    <a:pt x="182" y="1445"/>
                  </a:moveTo>
                  <a:lnTo>
                    <a:pt x="182" y="1443"/>
                  </a:lnTo>
                  <a:lnTo>
                    <a:pt x="182" y="1445"/>
                  </a:lnTo>
                  <a:close/>
                  <a:moveTo>
                    <a:pt x="257" y="1469"/>
                  </a:moveTo>
                  <a:lnTo>
                    <a:pt x="259" y="1469"/>
                  </a:lnTo>
                  <a:lnTo>
                    <a:pt x="257" y="1469"/>
                  </a:lnTo>
                  <a:close/>
                  <a:moveTo>
                    <a:pt x="274" y="1436"/>
                  </a:moveTo>
                  <a:lnTo>
                    <a:pt x="275" y="1436"/>
                  </a:lnTo>
                  <a:lnTo>
                    <a:pt x="274" y="1436"/>
                  </a:lnTo>
                  <a:close/>
                  <a:moveTo>
                    <a:pt x="300" y="1453"/>
                  </a:moveTo>
                  <a:lnTo>
                    <a:pt x="300" y="1451"/>
                  </a:lnTo>
                  <a:lnTo>
                    <a:pt x="300" y="1453"/>
                  </a:lnTo>
                  <a:close/>
                  <a:moveTo>
                    <a:pt x="330" y="1490"/>
                  </a:moveTo>
                  <a:lnTo>
                    <a:pt x="332" y="1490"/>
                  </a:lnTo>
                  <a:lnTo>
                    <a:pt x="330" y="1490"/>
                  </a:lnTo>
                  <a:lnTo>
                    <a:pt x="330" y="1488"/>
                  </a:lnTo>
                  <a:lnTo>
                    <a:pt x="330" y="1490"/>
                  </a:lnTo>
                  <a:close/>
                  <a:moveTo>
                    <a:pt x="368" y="706"/>
                  </a:moveTo>
                  <a:lnTo>
                    <a:pt x="366" y="706"/>
                  </a:lnTo>
                  <a:lnTo>
                    <a:pt x="368" y="706"/>
                  </a:lnTo>
                  <a:close/>
                  <a:moveTo>
                    <a:pt x="457" y="1469"/>
                  </a:moveTo>
                  <a:lnTo>
                    <a:pt x="459" y="1469"/>
                  </a:lnTo>
                  <a:lnTo>
                    <a:pt x="457" y="1469"/>
                  </a:lnTo>
                  <a:close/>
                  <a:moveTo>
                    <a:pt x="308" y="1449"/>
                  </a:moveTo>
                  <a:lnTo>
                    <a:pt x="308" y="1448"/>
                  </a:lnTo>
                  <a:lnTo>
                    <a:pt x="308" y="1449"/>
                  </a:lnTo>
                  <a:close/>
                  <a:moveTo>
                    <a:pt x="239" y="1436"/>
                  </a:moveTo>
                  <a:lnTo>
                    <a:pt x="239" y="1438"/>
                  </a:lnTo>
                  <a:lnTo>
                    <a:pt x="239" y="1436"/>
                  </a:lnTo>
                  <a:close/>
                  <a:moveTo>
                    <a:pt x="234" y="1432"/>
                  </a:moveTo>
                  <a:lnTo>
                    <a:pt x="236" y="1432"/>
                  </a:lnTo>
                  <a:lnTo>
                    <a:pt x="234" y="1432"/>
                  </a:lnTo>
                  <a:close/>
                  <a:moveTo>
                    <a:pt x="178" y="1441"/>
                  </a:moveTo>
                  <a:lnTo>
                    <a:pt x="178" y="1440"/>
                  </a:lnTo>
                  <a:lnTo>
                    <a:pt x="179" y="1440"/>
                  </a:lnTo>
                  <a:lnTo>
                    <a:pt x="179" y="1441"/>
                  </a:lnTo>
                  <a:lnTo>
                    <a:pt x="178" y="1441"/>
                  </a:lnTo>
                  <a:close/>
                  <a:moveTo>
                    <a:pt x="186" y="1110"/>
                  </a:moveTo>
                  <a:lnTo>
                    <a:pt x="186" y="1111"/>
                  </a:lnTo>
                  <a:lnTo>
                    <a:pt x="186" y="1110"/>
                  </a:lnTo>
                  <a:close/>
                  <a:moveTo>
                    <a:pt x="233" y="984"/>
                  </a:moveTo>
                  <a:lnTo>
                    <a:pt x="234" y="984"/>
                  </a:lnTo>
                  <a:lnTo>
                    <a:pt x="233" y="984"/>
                  </a:lnTo>
                  <a:close/>
                  <a:moveTo>
                    <a:pt x="602" y="1370"/>
                  </a:moveTo>
                  <a:lnTo>
                    <a:pt x="602" y="1371"/>
                  </a:lnTo>
                  <a:lnTo>
                    <a:pt x="602" y="1370"/>
                  </a:lnTo>
                  <a:close/>
                  <a:moveTo>
                    <a:pt x="246" y="532"/>
                  </a:moveTo>
                  <a:lnTo>
                    <a:pt x="246" y="531"/>
                  </a:lnTo>
                  <a:lnTo>
                    <a:pt x="247" y="531"/>
                  </a:lnTo>
                  <a:lnTo>
                    <a:pt x="247" y="532"/>
                  </a:lnTo>
                  <a:lnTo>
                    <a:pt x="246" y="532"/>
                  </a:lnTo>
                  <a:close/>
                  <a:moveTo>
                    <a:pt x="474" y="1449"/>
                  </a:moveTo>
                  <a:lnTo>
                    <a:pt x="474" y="1448"/>
                  </a:lnTo>
                  <a:lnTo>
                    <a:pt x="474" y="1449"/>
                  </a:lnTo>
                  <a:close/>
                  <a:moveTo>
                    <a:pt x="230" y="1360"/>
                  </a:moveTo>
                  <a:lnTo>
                    <a:pt x="231" y="1360"/>
                  </a:lnTo>
                  <a:lnTo>
                    <a:pt x="231" y="1362"/>
                  </a:lnTo>
                  <a:lnTo>
                    <a:pt x="230" y="1360"/>
                  </a:lnTo>
                  <a:close/>
                  <a:moveTo>
                    <a:pt x="251" y="1394"/>
                  </a:moveTo>
                  <a:lnTo>
                    <a:pt x="251" y="1396"/>
                  </a:lnTo>
                  <a:lnTo>
                    <a:pt x="251" y="1394"/>
                  </a:lnTo>
                  <a:lnTo>
                    <a:pt x="251" y="1396"/>
                  </a:lnTo>
                  <a:lnTo>
                    <a:pt x="251" y="1394"/>
                  </a:lnTo>
                  <a:close/>
                  <a:moveTo>
                    <a:pt x="243" y="1419"/>
                  </a:moveTo>
                  <a:lnTo>
                    <a:pt x="243" y="1417"/>
                  </a:lnTo>
                  <a:lnTo>
                    <a:pt x="244" y="1419"/>
                  </a:lnTo>
                  <a:lnTo>
                    <a:pt x="243" y="1419"/>
                  </a:lnTo>
                  <a:close/>
                  <a:moveTo>
                    <a:pt x="189" y="1448"/>
                  </a:moveTo>
                  <a:lnTo>
                    <a:pt x="189" y="1449"/>
                  </a:lnTo>
                  <a:lnTo>
                    <a:pt x="187" y="1448"/>
                  </a:lnTo>
                  <a:lnTo>
                    <a:pt x="189" y="1448"/>
                  </a:lnTo>
                  <a:close/>
                  <a:moveTo>
                    <a:pt x="342" y="1480"/>
                  </a:moveTo>
                  <a:lnTo>
                    <a:pt x="343" y="1480"/>
                  </a:lnTo>
                  <a:lnTo>
                    <a:pt x="342" y="1480"/>
                  </a:lnTo>
                  <a:close/>
                  <a:moveTo>
                    <a:pt x="410" y="742"/>
                  </a:moveTo>
                  <a:lnTo>
                    <a:pt x="412" y="742"/>
                  </a:lnTo>
                  <a:lnTo>
                    <a:pt x="410" y="742"/>
                  </a:lnTo>
                  <a:close/>
                  <a:moveTo>
                    <a:pt x="399" y="1459"/>
                  </a:moveTo>
                  <a:lnTo>
                    <a:pt x="397" y="1459"/>
                  </a:lnTo>
                  <a:lnTo>
                    <a:pt x="399" y="1459"/>
                  </a:lnTo>
                  <a:close/>
                  <a:moveTo>
                    <a:pt x="316" y="1469"/>
                  </a:moveTo>
                  <a:lnTo>
                    <a:pt x="317" y="1469"/>
                  </a:lnTo>
                  <a:lnTo>
                    <a:pt x="316" y="1469"/>
                  </a:lnTo>
                  <a:close/>
                  <a:moveTo>
                    <a:pt x="296" y="1410"/>
                  </a:moveTo>
                  <a:lnTo>
                    <a:pt x="298" y="1410"/>
                  </a:lnTo>
                  <a:lnTo>
                    <a:pt x="296" y="1410"/>
                  </a:lnTo>
                  <a:close/>
                  <a:moveTo>
                    <a:pt x="469" y="1454"/>
                  </a:moveTo>
                  <a:lnTo>
                    <a:pt x="470" y="1454"/>
                  </a:lnTo>
                  <a:lnTo>
                    <a:pt x="469" y="1454"/>
                  </a:lnTo>
                  <a:close/>
                  <a:moveTo>
                    <a:pt x="192" y="1510"/>
                  </a:moveTo>
                  <a:lnTo>
                    <a:pt x="192" y="1511"/>
                  </a:lnTo>
                  <a:lnTo>
                    <a:pt x="192" y="1510"/>
                  </a:lnTo>
                  <a:close/>
                  <a:moveTo>
                    <a:pt x="244" y="1513"/>
                  </a:moveTo>
                  <a:lnTo>
                    <a:pt x="244" y="1511"/>
                  </a:lnTo>
                  <a:lnTo>
                    <a:pt x="244" y="1513"/>
                  </a:lnTo>
                  <a:close/>
                  <a:moveTo>
                    <a:pt x="332" y="656"/>
                  </a:moveTo>
                  <a:lnTo>
                    <a:pt x="332" y="654"/>
                  </a:lnTo>
                  <a:lnTo>
                    <a:pt x="334" y="656"/>
                  </a:lnTo>
                  <a:lnTo>
                    <a:pt x="332" y="656"/>
                  </a:lnTo>
                  <a:close/>
                  <a:moveTo>
                    <a:pt x="174" y="1020"/>
                  </a:moveTo>
                  <a:lnTo>
                    <a:pt x="173" y="1020"/>
                  </a:lnTo>
                  <a:lnTo>
                    <a:pt x="174" y="1018"/>
                  </a:lnTo>
                  <a:lnTo>
                    <a:pt x="173" y="1018"/>
                  </a:lnTo>
                  <a:lnTo>
                    <a:pt x="174" y="1018"/>
                  </a:lnTo>
                  <a:lnTo>
                    <a:pt x="174" y="1020"/>
                  </a:lnTo>
                  <a:close/>
                  <a:moveTo>
                    <a:pt x="256" y="1453"/>
                  </a:moveTo>
                  <a:lnTo>
                    <a:pt x="256" y="1454"/>
                  </a:lnTo>
                  <a:lnTo>
                    <a:pt x="256" y="1453"/>
                  </a:lnTo>
                  <a:close/>
                  <a:moveTo>
                    <a:pt x="282" y="1449"/>
                  </a:moveTo>
                  <a:lnTo>
                    <a:pt x="283" y="1449"/>
                  </a:lnTo>
                  <a:lnTo>
                    <a:pt x="283" y="1451"/>
                  </a:lnTo>
                  <a:lnTo>
                    <a:pt x="282" y="1451"/>
                  </a:lnTo>
                  <a:lnTo>
                    <a:pt x="282" y="1449"/>
                  </a:lnTo>
                  <a:close/>
                  <a:moveTo>
                    <a:pt x="316" y="649"/>
                  </a:moveTo>
                  <a:lnTo>
                    <a:pt x="316" y="648"/>
                  </a:lnTo>
                  <a:lnTo>
                    <a:pt x="316" y="649"/>
                  </a:lnTo>
                  <a:close/>
                  <a:moveTo>
                    <a:pt x="368" y="1485"/>
                  </a:moveTo>
                  <a:lnTo>
                    <a:pt x="366" y="1485"/>
                  </a:lnTo>
                  <a:lnTo>
                    <a:pt x="366" y="1484"/>
                  </a:lnTo>
                  <a:lnTo>
                    <a:pt x="368" y="1484"/>
                  </a:lnTo>
                  <a:lnTo>
                    <a:pt x="368" y="1485"/>
                  </a:lnTo>
                  <a:close/>
                  <a:moveTo>
                    <a:pt x="269" y="1471"/>
                  </a:moveTo>
                  <a:lnTo>
                    <a:pt x="267" y="1471"/>
                  </a:lnTo>
                  <a:lnTo>
                    <a:pt x="269" y="1471"/>
                  </a:lnTo>
                  <a:close/>
                  <a:moveTo>
                    <a:pt x="352" y="1501"/>
                  </a:moveTo>
                  <a:lnTo>
                    <a:pt x="350" y="1501"/>
                  </a:lnTo>
                  <a:lnTo>
                    <a:pt x="350" y="1500"/>
                  </a:lnTo>
                  <a:lnTo>
                    <a:pt x="350" y="1501"/>
                  </a:lnTo>
                  <a:lnTo>
                    <a:pt x="352" y="1501"/>
                  </a:lnTo>
                  <a:close/>
                  <a:moveTo>
                    <a:pt x="254" y="953"/>
                  </a:moveTo>
                  <a:lnTo>
                    <a:pt x="254" y="952"/>
                  </a:lnTo>
                  <a:lnTo>
                    <a:pt x="254" y="953"/>
                  </a:lnTo>
                  <a:close/>
                  <a:moveTo>
                    <a:pt x="274" y="1420"/>
                  </a:moveTo>
                  <a:lnTo>
                    <a:pt x="272" y="1420"/>
                  </a:lnTo>
                  <a:lnTo>
                    <a:pt x="272" y="1419"/>
                  </a:lnTo>
                  <a:lnTo>
                    <a:pt x="274" y="1420"/>
                  </a:lnTo>
                  <a:close/>
                  <a:moveTo>
                    <a:pt x="210" y="1451"/>
                  </a:moveTo>
                  <a:lnTo>
                    <a:pt x="210" y="1449"/>
                  </a:lnTo>
                  <a:lnTo>
                    <a:pt x="210" y="1451"/>
                  </a:lnTo>
                  <a:lnTo>
                    <a:pt x="210" y="1449"/>
                  </a:lnTo>
                  <a:lnTo>
                    <a:pt x="210" y="1451"/>
                  </a:lnTo>
                  <a:close/>
                  <a:moveTo>
                    <a:pt x="161" y="1061"/>
                  </a:moveTo>
                  <a:lnTo>
                    <a:pt x="160" y="1061"/>
                  </a:lnTo>
                  <a:lnTo>
                    <a:pt x="161" y="1061"/>
                  </a:lnTo>
                  <a:close/>
                  <a:moveTo>
                    <a:pt x="537" y="1406"/>
                  </a:moveTo>
                  <a:lnTo>
                    <a:pt x="535" y="1404"/>
                  </a:lnTo>
                  <a:lnTo>
                    <a:pt x="537" y="1404"/>
                  </a:lnTo>
                  <a:lnTo>
                    <a:pt x="537" y="1406"/>
                  </a:lnTo>
                  <a:close/>
                  <a:moveTo>
                    <a:pt x="249" y="1449"/>
                  </a:moveTo>
                  <a:lnTo>
                    <a:pt x="249" y="1448"/>
                  </a:lnTo>
                  <a:lnTo>
                    <a:pt x="249" y="1449"/>
                  </a:lnTo>
                  <a:close/>
                  <a:moveTo>
                    <a:pt x="236" y="1498"/>
                  </a:moveTo>
                  <a:lnTo>
                    <a:pt x="238" y="1498"/>
                  </a:lnTo>
                  <a:lnTo>
                    <a:pt x="236" y="1498"/>
                  </a:lnTo>
                  <a:close/>
                  <a:moveTo>
                    <a:pt x="249" y="1453"/>
                  </a:moveTo>
                  <a:lnTo>
                    <a:pt x="251" y="1451"/>
                  </a:lnTo>
                  <a:lnTo>
                    <a:pt x="251" y="1453"/>
                  </a:lnTo>
                  <a:lnTo>
                    <a:pt x="249" y="1453"/>
                  </a:lnTo>
                  <a:close/>
                  <a:moveTo>
                    <a:pt x="291" y="1449"/>
                  </a:moveTo>
                  <a:lnTo>
                    <a:pt x="290" y="1449"/>
                  </a:lnTo>
                  <a:lnTo>
                    <a:pt x="290" y="1448"/>
                  </a:lnTo>
                  <a:lnTo>
                    <a:pt x="291" y="1448"/>
                  </a:lnTo>
                  <a:lnTo>
                    <a:pt x="291" y="1449"/>
                  </a:lnTo>
                  <a:close/>
                  <a:moveTo>
                    <a:pt x="389" y="734"/>
                  </a:moveTo>
                  <a:lnTo>
                    <a:pt x="391" y="734"/>
                  </a:lnTo>
                  <a:lnTo>
                    <a:pt x="389" y="734"/>
                  </a:lnTo>
                  <a:close/>
                  <a:moveTo>
                    <a:pt x="215" y="1027"/>
                  </a:moveTo>
                  <a:lnTo>
                    <a:pt x="215" y="1028"/>
                  </a:lnTo>
                  <a:lnTo>
                    <a:pt x="215" y="1027"/>
                  </a:lnTo>
                  <a:close/>
                  <a:moveTo>
                    <a:pt x="192" y="1067"/>
                  </a:moveTo>
                  <a:lnTo>
                    <a:pt x="194" y="1067"/>
                  </a:lnTo>
                  <a:lnTo>
                    <a:pt x="192" y="1067"/>
                  </a:lnTo>
                  <a:close/>
                  <a:moveTo>
                    <a:pt x="326" y="1495"/>
                  </a:moveTo>
                  <a:lnTo>
                    <a:pt x="327" y="1495"/>
                  </a:lnTo>
                  <a:lnTo>
                    <a:pt x="326" y="1495"/>
                  </a:lnTo>
                  <a:close/>
                  <a:moveTo>
                    <a:pt x="249" y="1513"/>
                  </a:moveTo>
                  <a:lnTo>
                    <a:pt x="249" y="1514"/>
                  </a:lnTo>
                  <a:lnTo>
                    <a:pt x="249" y="1513"/>
                  </a:lnTo>
                  <a:lnTo>
                    <a:pt x="249" y="1514"/>
                  </a:lnTo>
                  <a:lnTo>
                    <a:pt x="249" y="1513"/>
                  </a:lnTo>
                  <a:close/>
                  <a:moveTo>
                    <a:pt x="309" y="651"/>
                  </a:moveTo>
                  <a:lnTo>
                    <a:pt x="309" y="652"/>
                  </a:lnTo>
                  <a:lnTo>
                    <a:pt x="309" y="651"/>
                  </a:lnTo>
                  <a:close/>
                  <a:moveTo>
                    <a:pt x="480" y="1451"/>
                  </a:moveTo>
                  <a:lnTo>
                    <a:pt x="480" y="1453"/>
                  </a:lnTo>
                  <a:lnTo>
                    <a:pt x="480" y="1451"/>
                  </a:lnTo>
                  <a:close/>
                  <a:moveTo>
                    <a:pt x="282" y="909"/>
                  </a:moveTo>
                  <a:lnTo>
                    <a:pt x="282" y="908"/>
                  </a:lnTo>
                  <a:lnTo>
                    <a:pt x="283" y="909"/>
                  </a:lnTo>
                  <a:lnTo>
                    <a:pt x="282" y="909"/>
                  </a:lnTo>
                  <a:close/>
                  <a:moveTo>
                    <a:pt x="252" y="1423"/>
                  </a:moveTo>
                  <a:lnTo>
                    <a:pt x="254" y="1423"/>
                  </a:lnTo>
                  <a:lnTo>
                    <a:pt x="252" y="1423"/>
                  </a:lnTo>
                  <a:close/>
                  <a:moveTo>
                    <a:pt x="233" y="1433"/>
                  </a:moveTo>
                  <a:lnTo>
                    <a:pt x="233" y="1432"/>
                  </a:lnTo>
                  <a:lnTo>
                    <a:pt x="233" y="1433"/>
                  </a:lnTo>
                  <a:close/>
                  <a:moveTo>
                    <a:pt x="288" y="1492"/>
                  </a:moveTo>
                  <a:lnTo>
                    <a:pt x="287" y="1492"/>
                  </a:lnTo>
                  <a:lnTo>
                    <a:pt x="288" y="1490"/>
                  </a:lnTo>
                  <a:lnTo>
                    <a:pt x="288" y="1492"/>
                  </a:lnTo>
                  <a:close/>
                  <a:moveTo>
                    <a:pt x="384" y="1500"/>
                  </a:moveTo>
                  <a:lnTo>
                    <a:pt x="384" y="1501"/>
                  </a:lnTo>
                  <a:lnTo>
                    <a:pt x="384" y="1500"/>
                  </a:lnTo>
                  <a:lnTo>
                    <a:pt x="386" y="1500"/>
                  </a:lnTo>
                  <a:lnTo>
                    <a:pt x="386" y="1501"/>
                  </a:lnTo>
                  <a:lnTo>
                    <a:pt x="384" y="1501"/>
                  </a:lnTo>
                  <a:lnTo>
                    <a:pt x="384" y="1500"/>
                  </a:lnTo>
                  <a:close/>
                  <a:moveTo>
                    <a:pt x="174" y="1427"/>
                  </a:moveTo>
                  <a:lnTo>
                    <a:pt x="176" y="1427"/>
                  </a:lnTo>
                  <a:lnTo>
                    <a:pt x="176" y="1428"/>
                  </a:lnTo>
                  <a:lnTo>
                    <a:pt x="174" y="1427"/>
                  </a:lnTo>
                  <a:close/>
                  <a:moveTo>
                    <a:pt x="594" y="1378"/>
                  </a:moveTo>
                  <a:lnTo>
                    <a:pt x="592" y="1376"/>
                  </a:lnTo>
                  <a:lnTo>
                    <a:pt x="594" y="1376"/>
                  </a:lnTo>
                  <a:lnTo>
                    <a:pt x="594" y="1378"/>
                  </a:lnTo>
                  <a:close/>
                  <a:moveTo>
                    <a:pt x="244" y="1256"/>
                  </a:moveTo>
                  <a:lnTo>
                    <a:pt x="244" y="1258"/>
                  </a:lnTo>
                  <a:lnTo>
                    <a:pt x="243" y="1258"/>
                  </a:lnTo>
                  <a:lnTo>
                    <a:pt x="244" y="1258"/>
                  </a:lnTo>
                  <a:lnTo>
                    <a:pt x="244" y="1256"/>
                  </a:lnTo>
                  <a:close/>
                  <a:moveTo>
                    <a:pt x="165" y="1449"/>
                  </a:moveTo>
                  <a:lnTo>
                    <a:pt x="165" y="1448"/>
                  </a:lnTo>
                  <a:lnTo>
                    <a:pt x="165" y="1449"/>
                  </a:lnTo>
                  <a:close/>
                  <a:moveTo>
                    <a:pt x="280" y="1484"/>
                  </a:moveTo>
                  <a:lnTo>
                    <a:pt x="282" y="1484"/>
                  </a:lnTo>
                  <a:lnTo>
                    <a:pt x="280" y="1484"/>
                  </a:lnTo>
                  <a:lnTo>
                    <a:pt x="282" y="1484"/>
                  </a:lnTo>
                  <a:lnTo>
                    <a:pt x="280" y="1484"/>
                  </a:lnTo>
                  <a:close/>
                  <a:moveTo>
                    <a:pt x="278" y="1462"/>
                  </a:moveTo>
                  <a:lnTo>
                    <a:pt x="280" y="1462"/>
                  </a:lnTo>
                  <a:lnTo>
                    <a:pt x="278" y="1462"/>
                  </a:lnTo>
                  <a:close/>
                  <a:moveTo>
                    <a:pt x="264" y="919"/>
                  </a:moveTo>
                  <a:lnTo>
                    <a:pt x="265" y="919"/>
                  </a:lnTo>
                  <a:lnTo>
                    <a:pt x="264" y="919"/>
                  </a:lnTo>
                  <a:close/>
                  <a:moveTo>
                    <a:pt x="163" y="1500"/>
                  </a:moveTo>
                  <a:lnTo>
                    <a:pt x="161" y="1500"/>
                  </a:lnTo>
                  <a:lnTo>
                    <a:pt x="163" y="1500"/>
                  </a:lnTo>
                  <a:close/>
                  <a:moveTo>
                    <a:pt x="257" y="935"/>
                  </a:moveTo>
                  <a:lnTo>
                    <a:pt x="257" y="937"/>
                  </a:lnTo>
                  <a:lnTo>
                    <a:pt x="257" y="935"/>
                  </a:lnTo>
                  <a:close/>
                  <a:moveTo>
                    <a:pt x="335" y="1456"/>
                  </a:moveTo>
                  <a:lnTo>
                    <a:pt x="334" y="1456"/>
                  </a:lnTo>
                  <a:lnTo>
                    <a:pt x="335" y="1456"/>
                  </a:lnTo>
                  <a:close/>
                  <a:moveTo>
                    <a:pt x="207" y="1163"/>
                  </a:moveTo>
                  <a:lnTo>
                    <a:pt x="207" y="1162"/>
                  </a:lnTo>
                  <a:lnTo>
                    <a:pt x="207" y="1163"/>
                  </a:lnTo>
                  <a:close/>
                  <a:moveTo>
                    <a:pt x="208" y="1015"/>
                  </a:moveTo>
                  <a:lnTo>
                    <a:pt x="208" y="1014"/>
                  </a:lnTo>
                  <a:lnTo>
                    <a:pt x="210" y="1014"/>
                  </a:lnTo>
                  <a:lnTo>
                    <a:pt x="208" y="1014"/>
                  </a:lnTo>
                  <a:lnTo>
                    <a:pt x="208" y="1015"/>
                  </a:lnTo>
                  <a:close/>
                  <a:moveTo>
                    <a:pt x="578" y="1383"/>
                  </a:moveTo>
                  <a:lnTo>
                    <a:pt x="579" y="1383"/>
                  </a:lnTo>
                  <a:lnTo>
                    <a:pt x="578" y="1383"/>
                  </a:lnTo>
                  <a:close/>
                  <a:moveTo>
                    <a:pt x="238" y="1453"/>
                  </a:moveTo>
                  <a:lnTo>
                    <a:pt x="239" y="1453"/>
                  </a:lnTo>
                  <a:lnTo>
                    <a:pt x="238" y="1453"/>
                  </a:lnTo>
                  <a:lnTo>
                    <a:pt x="238" y="1451"/>
                  </a:lnTo>
                  <a:lnTo>
                    <a:pt x="238" y="1453"/>
                  </a:lnTo>
                  <a:close/>
                  <a:moveTo>
                    <a:pt x="252" y="1467"/>
                  </a:moveTo>
                  <a:lnTo>
                    <a:pt x="254" y="1469"/>
                  </a:lnTo>
                  <a:lnTo>
                    <a:pt x="252" y="1467"/>
                  </a:lnTo>
                  <a:close/>
                  <a:moveTo>
                    <a:pt x="143" y="1459"/>
                  </a:moveTo>
                  <a:lnTo>
                    <a:pt x="143" y="1461"/>
                  </a:lnTo>
                  <a:lnTo>
                    <a:pt x="143" y="1459"/>
                  </a:lnTo>
                  <a:close/>
                  <a:moveTo>
                    <a:pt x="241" y="1290"/>
                  </a:moveTo>
                  <a:lnTo>
                    <a:pt x="243" y="1290"/>
                  </a:lnTo>
                  <a:lnTo>
                    <a:pt x="241" y="1290"/>
                  </a:lnTo>
                  <a:close/>
                  <a:moveTo>
                    <a:pt x="256" y="1388"/>
                  </a:moveTo>
                  <a:lnTo>
                    <a:pt x="257" y="1388"/>
                  </a:lnTo>
                  <a:lnTo>
                    <a:pt x="256" y="1388"/>
                  </a:lnTo>
                  <a:close/>
                  <a:moveTo>
                    <a:pt x="348" y="1480"/>
                  </a:moveTo>
                  <a:lnTo>
                    <a:pt x="347" y="1480"/>
                  </a:lnTo>
                  <a:lnTo>
                    <a:pt x="347" y="1479"/>
                  </a:lnTo>
                  <a:lnTo>
                    <a:pt x="348" y="1479"/>
                  </a:lnTo>
                  <a:lnTo>
                    <a:pt x="348" y="1480"/>
                  </a:lnTo>
                  <a:close/>
                  <a:moveTo>
                    <a:pt x="269" y="1420"/>
                  </a:moveTo>
                  <a:lnTo>
                    <a:pt x="270" y="1420"/>
                  </a:lnTo>
                  <a:lnTo>
                    <a:pt x="269" y="1420"/>
                  </a:lnTo>
                  <a:close/>
                  <a:moveTo>
                    <a:pt x="226" y="997"/>
                  </a:moveTo>
                  <a:lnTo>
                    <a:pt x="226" y="996"/>
                  </a:lnTo>
                  <a:lnTo>
                    <a:pt x="226" y="997"/>
                  </a:lnTo>
                  <a:close/>
                  <a:moveTo>
                    <a:pt x="283" y="1490"/>
                  </a:moveTo>
                  <a:lnTo>
                    <a:pt x="285" y="1490"/>
                  </a:lnTo>
                  <a:lnTo>
                    <a:pt x="283" y="1490"/>
                  </a:lnTo>
                  <a:close/>
                  <a:moveTo>
                    <a:pt x="327" y="1503"/>
                  </a:moveTo>
                  <a:lnTo>
                    <a:pt x="329" y="1503"/>
                  </a:lnTo>
                  <a:lnTo>
                    <a:pt x="329" y="1501"/>
                  </a:lnTo>
                  <a:lnTo>
                    <a:pt x="329" y="1503"/>
                  </a:lnTo>
                  <a:lnTo>
                    <a:pt x="327" y="1503"/>
                  </a:lnTo>
                  <a:close/>
                  <a:moveTo>
                    <a:pt x="288" y="1513"/>
                  </a:moveTo>
                  <a:lnTo>
                    <a:pt x="288" y="1511"/>
                  </a:lnTo>
                  <a:lnTo>
                    <a:pt x="288" y="1513"/>
                  </a:lnTo>
                  <a:close/>
                  <a:moveTo>
                    <a:pt x="249" y="1386"/>
                  </a:moveTo>
                  <a:lnTo>
                    <a:pt x="249" y="1384"/>
                  </a:lnTo>
                  <a:lnTo>
                    <a:pt x="249" y="1386"/>
                  </a:lnTo>
                  <a:close/>
                  <a:moveTo>
                    <a:pt x="145" y="1458"/>
                  </a:moveTo>
                  <a:lnTo>
                    <a:pt x="145" y="1456"/>
                  </a:lnTo>
                  <a:lnTo>
                    <a:pt x="145" y="1458"/>
                  </a:lnTo>
                  <a:close/>
                  <a:moveTo>
                    <a:pt x="454" y="1469"/>
                  </a:moveTo>
                  <a:lnTo>
                    <a:pt x="454" y="1467"/>
                  </a:lnTo>
                  <a:lnTo>
                    <a:pt x="456" y="1467"/>
                  </a:lnTo>
                  <a:lnTo>
                    <a:pt x="456" y="1469"/>
                  </a:lnTo>
                  <a:lnTo>
                    <a:pt x="454" y="1469"/>
                  </a:lnTo>
                  <a:close/>
                  <a:moveTo>
                    <a:pt x="135" y="1451"/>
                  </a:moveTo>
                  <a:lnTo>
                    <a:pt x="135" y="1449"/>
                  </a:lnTo>
                  <a:lnTo>
                    <a:pt x="135" y="1451"/>
                  </a:lnTo>
                  <a:close/>
                  <a:moveTo>
                    <a:pt x="189" y="1446"/>
                  </a:moveTo>
                  <a:lnTo>
                    <a:pt x="191" y="1446"/>
                  </a:lnTo>
                  <a:lnTo>
                    <a:pt x="189" y="1446"/>
                  </a:lnTo>
                  <a:close/>
                  <a:moveTo>
                    <a:pt x="340" y="1458"/>
                  </a:moveTo>
                  <a:lnTo>
                    <a:pt x="339" y="1458"/>
                  </a:lnTo>
                  <a:lnTo>
                    <a:pt x="339" y="1456"/>
                  </a:lnTo>
                  <a:lnTo>
                    <a:pt x="340" y="1456"/>
                  </a:lnTo>
                  <a:lnTo>
                    <a:pt x="340" y="1458"/>
                  </a:lnTo>
                  <a:close/>
                  <a:moveTo>
                    <a:pt x="313" y="1474"/>
                  </a:moveTo>
                  <a:lnTo>
                    <a:pt x="314" y="1474"/>
                  </a:lnTo>
                  <a:lnTo>
                    <a:pt x="313" y="1474"/>
                  </a:lnTo>
                  <a:close/>
                  <a:moveTo>
                    <a:pt x="236" y="1417"/>
                  </a:moveTo>
                  <a:lnTo>
                    <a:pt x="238" y="1417"/>
                  </a:lnTo>
                  <a:lnTo>
                    <a:pt x="238" y="1415"/>
                  </a:lnTo>
                  <a:lnTo>
                    <a:pt x="238" y="1417"/>
                  </a:lnTo>
                  <a:lnTo>
                    <a:pt x="236" y="1417"/>
                  </a:lnTo>
                  <a:close/>
                  <a:moveTo>
                    <a:pt x="194" y="1492"/>
                  </a:moveTo>
                  <a:lnTo>
                    <a:pt x="194" y="1493"/>
                  </a:lnTo>
                  <a:lnTo>
                    <a:pt x="194" y="1492"/>
                  </a:lnTo>
                  <a:close/>
                  <a:moveTo>
                    <a:pt x="261" y="1526"/>
                  </a:moveTo>
                  <a:lnTo>
                    <a:pt x="262" y="1526"/>
                  </a:lnTo>
                  <a:lnTo>
                    <a:pt x="261" y="1526"/>
                  </a:lnTo>
                  <a:lnTo>
                    <a:pt x="261" y="1524"/>
                  </a:lnTo>
                  <a:lnTo>
                    <a:pt x="261" y="1526"/>
                  </a:lnTo>
                  <a:close/>
                  <a:moveTo>
                    <a:pt x="249" y="1501"/>
                  </a:moveTo>
                  <a:lnTo>
                    <a:pt x="247" y="1501"/>
                  </a:lnTo>
                  <a:lnTo>
                    <a:pt x="249" y="1500"/>
                  </a:lnTo>
                  <a:lnTo>
                    <a:pt x="249" y="1501"/>
                  </a:lnTo>
                  <a:close/>
                  <a:moveTo>
                    <a:pt x="283" y="1484"/>
                  </a:moveTo>
                  <a:lnTo>
                    <a:pt x="283" y="1482"/>
                  </a:lnTo>
                  <a:lnTo>
                    <a:pt x="283" y="1484"/>
                  </a:lnTo>
                  <a:lnTo>
                    <a:pt x="283" y="1482"/>
                  </a:lnTo>
                  <a:lnTo>
                    <a:pt x="283" y="1484"/>
                  </a:lnTo>
                  <a:close/>
                  <a:moveTo>
                    <a:pt x="270" y="947"/>
                  </a:moveTo>
                  <a:lnTo>
                    <a:pt x="270" y="945"/>
                  </a:lnTo>
                  <a:lnTo>
                    <a:pt x="270" y="947"/>
                  </a:lnTo>
                  <a:close/>
                  <a:moveTo>
                    <a:pt x="355" y="1497"/>
                  </a:moveTo>
                  <a:lnTo>
                    <a:pt x="356" y="1497"/>
                  </a:lnTo>
                  <a:lnTo>
                    <a:pt x="355" y="1498"/>
                  </a:lnTo>
                  <a:lnTo>
                    <a:pt x="355" y="1497"/>
                  </a:lnTo>
                  <a:close/>
                  <a:moveTo>
                    <a:pt x="278" y="1407"/>
                  </a:moveTo>
                  <a:lnTo>
                    <a:pt x="278" y="1406"/>
                  </a:lnTo>
                  <a:lnTo>
                    <a:pt x="278" y="1407"/>
                  </a:lnTo>
                  <a:close/>
                  <a:moveTo>
                    <a:pt x="174" y="1501"/>
                  </a:moveTo>
                  <a:lnTo>
                    <a:pt x="174" y="1500"/>
                  </a:lnTo>
                  <a:lnTo>
                    <a:pt x="174" y="1501"/>
                  </a:lnTo>
                  <a:close/>
                  <a:moveTo>
                    <a:pt x="282" y="1495"/>
                  </a:moveTo>
                  <a:lnTo>
                    <a:pt x="280" y="1495"/>
                  </a:lnTo>
                  <a:lnTo>
                    <a:pt x="282" y="1495"/>
                  </a:lnTo>
                  <a:close/>
                  <a:moveTo>
                    <a:pt x="238" y="1414"/>
                  </a:moveTo>
                  <a:lnTo>
                    <a:pt x="239" y="1414"/>
                  </a:lnTo>
                  <a:lnTo>
                    <a:pt x="238" y="1414"/>
                  </a:lnTo>
                  <a:close/>
                  <a:moveTo>
                    <a:pt x="269" y="922"/>
                  </a:moveTo>
                  <a:lnTo>
                    <a:pt x="270" y="922"/>
                  </a:lnTo>
                  <a:lnTo>
                    <a:pt x="269" y="922"/>
                  </a:lnTo>
                  <a:close/>
                  <a:moveTo>
                    <a:pt x="212" y="1001"/>
                  </a:moveTo>
                  <a:lnTo>
                    <a:pt x="212" y="1002"/>
                  </a:lnTo>
                  <a:lnTo>
                    <a:pt x="210" y="1002"/>
                  </a:lnTo>
                  <a:lnTo>
                    <a:pt x="210" y="1001"/>
                  </a:lnTo>
                  <a:lnTo>
                    <a:pt x="212" y="1001"/>
                  </a:lnTo>
                  <a:close/>
                  <a:moveTo>
                    <a:pt x="247" y="1378"/>
                  </a:moveTo>
                  <a:lnTo>
                    <a:pt x="247" y="1376"/>
                  </a:lnTo>
                  <a:lnTo>
                    <a:pt x="247" y="1378"/>
                  </a:lnTo>
                  <a:close/>
                  <a:moveTo>
                    <a:pt x="600" y="1388"/>
                  </a:moveTo>
                  <a:lnTo>
                    <a:pt x="602" y="1388"/>
                  </a:lnTo>
                  <a:lnTo>
                    <a:pt x="600" y="1388"/>
                  </a:lnTo>
                  <a:close/>
                  <a:moveTo>
                    <a:pt x="301" y="1503"/>
                  </a:moveTo>
                  <a:lnTo>
                    <a:pt x="303" y="1503"/>
                  </a:lnTo>
                  <a:lnTo>
                    <a:pt x="301" y="1503"/>
                  </a:lnTo>
                  <a:close/>
                  <a:moveTo>
                    <a:pt x="579" y="1404"/>
                  </a:moveTo>
                  <a:lnTo>
                    <a:pt x="578" y="1404"/>
                  </a:lnTo>
                  <a:lnTo>
                    <a:pt x="578" y="1402"/>
                  </a:lnTo>
                  <a:lnTo>
                    <a:pt x="579" y="1402"/>
                  </a:lnTo>
                  <a:lnTo>
                    <a:pt x="579" y="1404"/>
                  </a:lnTo>
                  <a:close/>
                  <a:moveTo>
                    <a:pt x="475" y="1448"/>
                  </a:moveTo>
                  <a:lnTo>
                    <a:pt x="477" y="1448"/>
                  </a:lnTo>
                  <a:lnTo>
                    <a:pt x="475" y="1448"/>
                  </a:lnTo>
                  <a:close/>
                  <a:moveTo>
                    <a:pt x="345" y="1477"/>
                  </a:moveTo>
                  <a:lnTo>
                    <a:pt x="345" y="1479"/>
                  </a:lnTo>
                  <a:lnTo>
                    <a:pt x="345" y="1477"/>
                  </a:lnTo>
                  <a:close/>
                  <a:moveTo>
                    <a:pt x="210" y="1503"/>
                  </a:moveTo>
                  <a:lnTo>
                    <a:pt x="212" y="1503"/>
                  </a:lnTo>
                  <a:lnTo>
                    <a:pt x="210" y="1503"/>
                  </a:lnTo>
                  <a:lnTo>
                    <a:pt x="212" y="1503"/>
                  </a:lnTo>
                  <a:lnTo>
                    <a:pt x="210" y="1503"/>
                  </a:lnTo>
                  <a:close/>
                  <a:moveTo>
                    <a:pt x="236" y="1290"/>
                  </a:moveTo>
                  <a:lnTo>
                    <a:pt x="234" y="1288"/>
                  </a:lnTo>
                  <a:lnTo>
                    <a:pt x="236" y="1288"/>
                  </a:lnTo>
                  <a:lnTo>
                    <a:pt x="236" y="1290"/>
                  </a:lnTo>
                  <a:close/>
                  <a:moveTo>
                    <a:pt x="348" y="1506"/>
                  </a:moveTo>
                  <a:lnTo>
                    <a:pt x="350" y="1506"/>
                  </a:lnTo>
                  <a:lnTo>
                    <a:pt x="348" y="1506"/>
                  </a:lnTo>
                  <a:close/>
                  <a:moveTo>
                    <a:pt x="272" y="949"/>
                  </a:moveTo>
                  <a:lnTo>
                    <a:pt x="272" y="950"/>
                  </a:lnTo>
                  <a:lnTo>
                    <a:pt x="270" y="949"/>
                  </a:lnTo>
                  <a:lnTo>
                    <a:pt x="272" y="949"/>
                  </a:lnTo>
                  <a:close/>
                  <a:moveTo>
                    <a:pt x="226" y="1459"/>
                  </a:moveTo>
                  <a:lnTo>
                    <a:pt x="226" y="1458"/>
                  </a:lnTo>
                  <a:lnTo>
                    <a:pt x="226" y="1459"/>
                  </a:lnTo>
                  <a:close/>
                  <a:moveTo>
                    <a:pt x="288" y="1432"/>
                  </a:moveTo>
                  <a:lnTo>
                    <a:pt x="290" y="1432"/>
                  </a:lnTo>
                  <a:lnTo>
                    <a:pt x="288" y="1432"/>
                  </a:lnTo>
                  <a:close/>
                  <a:moveTo>
                    <a:pt x="199" y="1033"/>
                  </a:moveTo>
                  <a:lnTo>
                    <a:pt x="200" y="1033"/>
                  </a:lnTo>
                  <a:lnTo>
                    <a:pt x="200" y="1035"/>
                  </a:lnTo>
                  <a:lnTo>
                    <a:pt x="199" y="1033"/>
                  </a:lnTo>
                  <a:close/>
                  <a:moveTo>
                    <a:pt x="261" y="1454"/>
                  </a:moveTo>
                  <a:lnTo>
                    <a:pt x="261" y="1453"/>
                  </a:lnTo>
                  <a:lnTo>
                    <a:pt x="261" y="1454"/>
                  </a:lnTo>
                  <a:close/>
                  <a:moveTo>
                    <a:pt x="672" y="1358"/>
                  </a:moveTo>
                  <a:lnTo>
                    <a:pt x="670" y="1357"/>
                  </a:lnTo>
                  <a:lnTo>
                    <a:pt x="672" y="1357"/>
                  </a:lnTo>
                  <a:lnTo>
                    <a:pt x="672" y="1358"/>
                  </a:lnTo>
                  <a:close/>
                  <a:moveTo>
                    <a:pt x="212" y="1500"/>
                  </a:moveTo>
                  <a:lnTo>
                    <a:pt x="212" y="1498"/>
                  </a:lnTo>
                  <a:lnTo>
                    <a:pt x="212" y="1500"/>
                  </a:lnTo>
                  <a:close/>
                  <a:moveTo>
                    <a:pt x="488" y="1461"/>
                  </a:moveTo>
                  <a:lnTo>
                    <a:pt x="488" y="1459"/>
                  </a:lnTo>
                  <a:lnTo>
                    <a:pt x="490" y="1459"/>
                  </a:lnTo>
                  <a:lnTo>
                    <a:pt x="488" y="1461"/>
                  </a:lnTo>
                  <a:close/>
                  <a:moveTo>
                    <a:pt x="155" y="1471"/>
                  </a:moveTo>
                  <a:lnTo>
                    <a:pt x="156" y="1471"/>
                  </a:lnTo>
                  <a:lnTo>
                    <a:pt x="156" y="1472"/>
                  </a:lnTo>
                  <a:lnTo>
                    <a:pt x="155" y="1472"/>
                  </a:lnTo>
                  <a:lnTo>
                    <a:pt x="155" y="1471"/>
                  </a:lnTo>
                  <a:close/>
                  <a:moveTo>
                    <a:pt x="217" y="1430"/>
                  </a:moveTo>
                  <a:lnTo>
                    <a:pt x="218" y="1432"/>
                  </a:lnTo>
                  <a:lnTo>
                    <a:pt x="217" y="1432"/>
                  </a:lnTo>
                  <a:lnTo>
                    <a:pt x="217" y="1430"/>
                  </a:lnTo>
                  <a:close/>
                  <a:moveTo>
                    <a:pt x="178" y="1506"/>
                  </a:moveTo>
                  <a:lnTo>
                    <a:pt x="178" y="1505"/>
                  </a:lnTo>
                  <a:lnTo>
                    <a:pt x="178" y="1506"/>
                  </a:lnTo>
                  <a:close/>
                  <a:moveTo>
                    <a:pt x="205" y="1464"/>
                  </a:moveTo>
                  <a:lnTo>
                    <a:pt x="205" y="1462"/>
                  </a:lnTo>
                  <a:lnTo>
                    <a:pt x="205" y="1464"/>
                  </a:lnTo>
                  <a:close/>
                  <a:moveTo>
                    <a:pt x="420" y="1453"/>
                  </a:moveTo>
                  <a:lnTo>
                    <a:pt x="420" y="1451"/>
                  </a:lnTo>
                  <a:lnTo>
                    <a:pt x="420" y="1453"/>
                  </a:lnTo>
                  <a:close/>
                  <a:moveTo>
                    <a:pt x="127" y="1485"/>
                  </a:moveTo>
                  <a:lnTo>
                    <a:pt x="127" y="1484"/>
                  </a:lnTo>
                  <a:lnTo>
                    <a:pt x="127" y="1485"/>
                  </a:lnTo>
                  <a:close/>
                  <a:moveTo>
                    <a:pt x="226" y="1493"/>
                  </a:moveTo>
                  <a:lnTo>
                    <a:pt x="226" y="1492"/>
                  </a:lnTo>
                  <a:lnTo>
                    <a:pt x="226" y="1493"/>
                  </a:lnTo>
                  <a:close/>
                  <a:moveTo>
                    <a:pt x="210" y="1007"/>
                  </a:moveTo>
                  <a:lnTo>
                    <a:pt x="210" y="1005"/>
                  </a:lnTo>
                  <a:lnTo>
                    <a:pt x="210" y="1007"/>
                  </a:lnTo>
                  <a:close/>
                  <a:moveTo>
                    <a:pt x="267" y="1420"/>
                  </a:moveTo>
                  <a:lnTo>
                    <a:pt x="267" y="1422"/>
                  </a:lnTo>
                  <a:lnTo>
                    <a:pt x="267" y="1420"/>
                  </a:lnTo>
                  <a:close/>
                  <a:moveTo>
                    <a:pt x="231" y="1449"/>
                  </a:moveTo>
                  <a:lnTo>
                    <a:pt x="233" y="1449"/>
                  </a:lnTo>
                  <a:lnTo>
                    <a:pt x="231" y="1449"/>
                  </a:lnTo>
                  <a:close/>
                  <a:moveTo>
                    <a:pt x="291" y="911"/>
                  </a:moveTo>
                  <a:lnTo>
                    <a:pt x="293" y="911"/>
                  </a:lnTo>
                  <a:lnTo>
                    <a:pt x="291" y="911"/>
                  </a:lnTo>
                  <a:close/>
                  <a:moveTo>
                    <a:pt x="319" y="1487"/>
                  </a:moveTo>
                  <a:lnTo>
                    <a:pt x="321" y="1487"/>
                  </a:lnTo>
                  <a:lnTo>
                    <a:pt x="319" y="1487"/>
                  </a:lnTo>
                  <a:close/>
                  <a:moveTo>
                    <a:pt x="615" y="1384"/>
                  </a:moveTo>
                  <a:lnTo>
                    <a:pt x="615" y="1383"/>
                  </a:lnTo>
                  <a:lnTo>
                    <a:pt x="615" y="1384"/>
                  </a:lnTo>
                  <a:close/>
                  <a:moveTo>
                    <a:pt x="293" y="1482"/>
                  </a:moveTo>
                  <a:lnTo>
                    <a:pt x="293" y="1484"/>
                  </a:lnTo>
                  <a:lnTo>
                    <a:pt x="293" y="1482"/>
                  </a:lnTo>
                  <a:close/>
                  <a:moveTo>
                    <a:pt x="355" y="1497"/>
                  </a:moveTo>
                  <a:lnTo>
                    <a:pt x="355" y="1495"/>
                  </a:lnTo>
                  <a:lnTo>
                    <a:pt x="355" y="1497"/>
                  </a:lnTo>
                  <a:close/>
                  <a:moveTo>
                    <a:pt x="274" y="1425"/>
                  </a:moveTo>
                  <a:lnTo>
                    <a:pt x="274" y="1427"/>
                  </a:lnTo>
                  <a:lnTo>
                    <a:pt x="274" y="1425"/>
                  </a:lnTo>
                  <a:close/>
                  <a:moveTo>
                    <a:pt x="275" y="1445"/>
                  </a:moveTo>
                  <a:lnTo>
                    <a:pt x="277" y="1445"/>
                  </a:lnTo>
                  <a:lnTo>
                    <a:pt x="275" y="1445"/>
                  </a:lnTo>
                  <a:close/>
                  <a:moveTo>
                    <a:pt x="186" y="1513"/>
                  </a:moveTo>
                  <a:lnTo>
                    <a:pt x="184" y="1513"/>
                  </a:lnTo>
                  <a:lnTo>
                    <a:pt x="186" y="1513"/>
                  </a:lnTo>
                  <a:close/>
                  <a:moveTo>
                    <a:pt x="194" y="1124"/>
                  </a:moveTo>
                  <a:lnTo>
                    <a:pt x="194" y="1123"/>
                  </a:lnTo>
                  <a:lnTo>
                    <a:pt x="194" y="1124"/>
                  </a:lnTo>
                  <a:close/>
                  <a:moveTo>
                    <a:pt x="207" y="1453"/>
                  </a:moveTo>
                  <a:lnTo>
                    <a:pt x="207" y="1451"/>
                  </a:lnTo>
                  <a:lnTo>
                    <a:pt x="207" y="1453"/>
                  </a:lnTo>
                  <a:close/>
                  <a:moveTo>
                    <a:pt x="467" y="1453"/>
                  </a:moveTo>
                  <a:lnTo>
                    <a:pt x="467" y="1454"/>
                  </a:lnTo>
                  <a:lnTo>
                    <a:pt x="467" y="1453"/>
                  </a:lnTo>
                  <a:close/>
                  <a:moveTo>
                    <a:pt x="238" y="1456"/>
                  </a:moveTo>
                  <a:lnTo>
                    <a:pt x="238" y="1458"/>
                  </a:lnTo>
                  <a:lnTo>
                    <a:pt x="238" y="1456"/>
                  </a:lnTo>
                  <a:close/>
                  <a:moveTo>
                    <a:pt x="176" y="1453"/>
                  </a:moveTo>
                  <a:lnTo>
                    <a:pt x="178" y="1453"/>
                  </a:lnTo>
                  <a:lnTo>
                    <a:pt x="176" y="1453"/>
                  </a:lnTo>
                  <a:close/>
                  <a:moveTo>
                    <a:pt x="187" y="1108"/>
                  </a:moveTo>
                  <a:lnTo>
                    <a:pt x="187" y="1106"/>
                  </a:lnTo>
                  <a:lnTo>
                    <a:pt x="187" y="1108"/>
                  </a:lnTo>
                  <a:close/>
                  <a:moveTo>
                    <a:pt x="204" y="1158"/>
                  </a:moveTo>
                  <a:lnTo>
                    <a:pt x="205" y="1158"/>
                  </a:lnTo>
                  <a:lnTo>
                    <a:pt x="204" y="1158"/>
                  </a:lnTo>
                  <a:lnTo>
                    <a:pt x="204" y="1157"/>
                  </a:lnTo>
                  <a:lnTo>
                    <a:pt x="204" y="1158"/>
                  </a:lnTo>
                  <a:close/>
                  <a:moveTo>
                    <a:pt x="262" y="1441"/>
                  </a:moveTo>
                  <a:lnTo>
                    <a:pt x="261" y="1441"/>
                  </a:lnTo>
                  <a:lnTo>
                    <a:pt x="261" y="1440"/>
                  </a:lnTo>
                  <a:lnTo>
                    <a:pt x="262" y="1440"/>
                  </a:lnTo>
                  <a:lnTo>
                    <a:pt x="262" y="1441"/>
                  </a:lnTo>
                  <a:close/>
                  <a:moveTo>
                    <a:pt x="327" y="1506"/>
                  </a:moveTo>
                  <a:lnTo>
                    <a:pt x="329" y="1506"/>
                  </a:lnTo>
                  <a:lnTo>
                    <a:pt x="327" y="1506"/>
                  </a:lnTo>
                  <a:close/>
                  <a:moveTo>
                    <a:pt x="327" y="1513"/>
                  </a:moveTo>
                  <a:lnTo>
                    <a:pt x="329" y="1513"/>
                  </a:lnTo>
                  <a:lnTo>
                    <a:pt x="327" y="1513"/>
                  </a:lnTo>
                  <a:close/>
                  <a:moveTo>
                    <a:pt x="217" y="1210"/>
                  </a:moveTo>
                  <a:lnTo>
                    <a:pt x="217" y="1212"/>
                  </a:lnTo>
                  <a:lnTo>
                    <a:pt x="217" y="1210"/>
                  </a:lnTo>
                  <a:close/>
                  <a:moveTo>
                    <a:pt x="233" y="1378"/>
                  </a:moveTo>
                  <a:lnTo>
                    <a:pt x="233" y="1376"/>
                  </a:lnTo>
                  <a:lnTo>
                    <a:pt x="233" y="1378"/>
                  </a:lnTo>
                  <a:close/>
                  <a:moveTo>
                    <a:pt x="316" y="1433"/>
                  </a:moveTo>
                  <a:lnTo>
                    <a:pt x="314" y="1432"/>
                  </a:lnTo>
                  <a:lnTo>
                    <a:pt x="316" y="1432"/>
                  </a:lnTo>
                  <a:lnTo>
                    <a:pt x="316" y="1433"/>
                  </a:lnTo>
                  <a:close/>
                  <a:moveTo>
                    <a:pt x="340" y="1433"/>
                  </a:moveTo>
                  <a:lnTo>
                    <a:pt x="340" y="1432"/>
                  </a:lnTo>
                  <a:lnTo>
                    <a:pt x="340" y="1433"/>
                  </a:lnTo>
                  <a:close/>
                  <a:moveTo>
                    <a:pt x="672" y="1337"/>
                  </a:moveTo>
                  <a:lnTo>
                    <a:pt x="672" y="1339"/>
                  </a:lnTo>
                  <a:lnTo>
                    <a:pt x="670" y="1339"/>
                  </a:lnTo>
                  <a:lnTo>
                    <a:pt x="670" y="1337"/>
                  </a:lnTo>
                  <a:lnTo>
                    <a:pt x="672" y="1337"/>
                  </a:lnTo>
                  <a:close/>
                  <a:moveTo>
                    <a:pt x="189" y="1459"/>
                  </a:moveTo>
                  <a:lnTo>
                    <a:pt x="191" y="1459"/>
                  </a:lnTo>
                  <a:lnTo>
                    <a:pt x="189" y="1459"/>
                  </a:lnTo>
                  <a:close/>
                  <a:moveTo>
                    <a:pt x="280" y="1459"/>
                  </a:moveTo>
                  <a:lnTo>
                    <a:pt x="282" y="1459"/>
                  </a:lnTo>
                  <a:lnTo>
                    <a:pt x="280" y="1459"/>
                  </a:lnTo>
                  <a:close/>
                  <a:moveTo>
                    <a:pt x="288" y="1493"/>
                  </a:moveTo>
                  <a:lnTo>
                    <a:pt x="288" y="1492"/>
                  </a:lnTo>
                  <a:lnTo>
                    <a:pt x="290" y="1493"/>
                  </a:lnTo>
                  <a:lnTo>
                    <a:pt x="288" y="1493"/>
                  </a:lnTo>
                  <a:close/>
                  <a:moveTo>
                    <a:pt x="386" y="1501"/>
                  </a:moveTo>
                  <a:lnTo>
                    <a:pt x="386" y="1500"/>
                  </a:lnTo>
                  <a:lnTo>
                    <a:pt x="386" y="1501"/>
                  </a:lnTo>
                  <a:close/>
                  <a:moveTo>
                    <a:pt x="243" y="1430"/>
                  </a:moveTo>
                  <a:lnTo>
                    <a:pt x="243" y="1428"/>
                  </a:lnTo>
                  <a:lnTo>
                    <a:pt x="243" y="1430"/>
                  </a:lnTo>
                  <a:close/>
                  <a:moveTo>
                    <a:pt x="187" y="1513"/>
                  </a:moveTo>
                  <a:lnTo>
                    <a:pt x="189" y="1513"/>
                  </a:lnTo>
                  <a:lnTo>
                    <a:pt x="187" y="1513"/>
                  </a:lnTo>
                  <a:lnTo>
                    <a:pt x="189" y="1513"/>
                  </a:lnTo>
                  <a:lnTo>
                    <a:pt x="187" y="1513"/>
                  </a:lnTo>
                  <a:close/>
                  <a:moveTo>
                    <a:pt x="186" y="1056"/>
                  </a:moveTo>
                  <a:lnTo>
                    <a:pt x="184" y="1056"/>
                  </a:lnTo>
                  <a:lnTo>
                    <a:pt x="186" y="1056"/>
                  </a:lnTo>
                  <a:close/>
                  <a:moveTo>
                    <a:pt x="186" y="1445"/>
                  </a:moveTo>
                  <a:lnTo>
                    <a:pt x="186" y="1446"/>
                  </a:lnTo>
                  <a:lnTo>
                    <a:pt x="186" y="1445"/>
                  </a:lnTo>
                  <a:lnTo>
                    <a:pt x="186" y="1446"/>
                  </a:lnTo>
                  <a:lnTo>
                    <a:pt x="186" y="1445"/>
                  </a:lnTo>
                  <a:close/>
                  <a:moveTo>
                    <a:pt x="522" y="1420"/>
                  </a:moveTo>
                  <a:lnTo>
                    <a:pt x="522" y="1422"/>
                  </a:lnTo>
                  <a:lnTo>
                    <a:pt x="522" y="1420"/>
                  </a:lnTo>
                  <a:close/>
                  <a:moveTo>
                    <a:pt x="296" y="1467"/>
                  </a:moveTo>
                  <a:lnTo>
                    <a:pt x="296" y="1469"/>
                  </a:lnTo>
                  <a:lnTo>
                    <a:pt x="295" y="1467"/>
                  </a:lnTo>
                  <a:lnTo>
                    <a:pt x="296" y="1467"/>
                  </a:lnTo>
                  <a:close/>
                  <a:moveTo>
                    <a:pt x="169" y="1446"/>
                  </a:moveTo>
                  <a:lnTo>
                    <a:pt x="169" y="1445"/>
                  </a:lnTo>
                  <a:lnTo>
                    <a:pt x="171" y="1446"/>
                  </a:lnTo>
                  <a:lnTo>
                    <a:pt x="169" y="1446"/>
                  </a:lnTo>
                  <a:close/>
                  <a:moveTo>
                    <a:pt x="317" y="1479"/>
                  </a:moveTo>
                  <a:lnTo>
                    <a:pt x="316" y="1479"/>
                  </a:lnTo>
                  <a:lnTo>
                    <a:pt x="317" y="1479"/>
                  </a:lnTo>
                  <a:lnTo>
                    <a:pt x="316" y="1477"/>
                  </a:lnTo>
                  <a:lnTo>
                    <a:pt x="317" y="1477"/>
                  </a:lnTo>
                  <a:lnTo>
                    <a:pt x="317" y="1479"/>
                  </a:lnTo>
                  <a:close/>
                  <a:moveTo>
                    <a:pt x="306" y="1490"/>
                  </a:moveTo>
                  <a:lnTo>
                    <a:pt x="308" y="1490"/>
                  </a:lnTo>
                  <a:lnTo>
                    <a:pt x="306" y="1492"/>
                  </a:lnTo>
                  <a:lnTo>
                    <a:pt x="306" y="1490"/>
                  </a:lnTo>
                  <a:close/>
                  <a:moveTo>
                    <a:pt x="200" y="1038"/>
                  </a:moveTo>
                  <a:lnTo>
                    <a:pt x="202" y="1038"/>
                  </a:lnTo>
                  <a:lnTo>
                    <a:pt x="200" y="1038"/>
                  </a:lnTo>
                  <a:lnTo>
                    <a:pt x="200" y="1036"/>
                  </a:lnTo>
                  <a:lnTo>
                    <a:pt x="202" y="1038"/>
                  </a:lnTo>
                  <a:lnTo>
                    <a:pt x="200" y="1038"/>
                  </a:lnTo>
                  <a:close/>
                  <a:moveTo>
                    <a:pt x="228" y="1474"/>
                  </a:moveTo>
                  <a:lnTo>
                    <a:pt x="228" y="1472"/>
                  </a:lnTo>
                  <a:lnTo>
                    <a:pt x="228" y="1474"/>
                  </a:lnTo>
                  <a:close/>
                  <a:moveTo>
                    <a:pt x="355" y="1495"/>
                  </a:moveTo>
                  <a:lnTo>
                    <a:pt x="355" y="1493"/>
                  </a:lnTo>
                  <a:lnTo>
                    <a:pt x="355" y="1495"/>
                  </a:lnTo>
                  <a:close/>
                  <a:moveTo>
                    <a:pt x="259" y="1430"/>
                  </a:moveTo>
                  <a:lnTo>
                    <a:pt x="257" y="1430"/>
                  </a:lnTo>
                  <a:lnTo>
                    <a:pt x="257" y="1428"/>
                  </a:lnTo>
                  <a:lnTo>
                    <a:pt x="259" y="1428"/>
                  </a:lnTo>
                  <a:lnTo>
                    <a:pt x="259" y="1430"/>
                  </a:lnTo>
                  <a:close/>
                  <a:moveTo>
                    <a:pt x="475" y="1464"/>
                  </a:moveTo>
                  <a:lnTo>
                    <a:pt x="477" y="1464"/>
                  </a:lnTo>
                  <a:lnTo>
                    <a:pt x="475" y="1464"/>
                  </a:lnTo>
                  <a:close/>
                  <a:moveTo>
                    <a:pt x="186" y="1027"/>
                  </a:moveTo>
                  <a:lnTo>
                    <a:pt x="187" y="1027"/>
                  </a:lnTo>
                  <a:lnTo>
                    <a:pt x="186" y="1027"/>
                  </a:lnTo>
                  <a:close/>
                  <a:moveTo>
                    <a:pt x="337" y="1459"/>
                  </a:moveTo>
                  <a:lnTo>
                    <a:pt x="337" y="1461"/>
                  </a:lnTo>
                  <a:lnTo>
                    <a:pt x="337" y="1459"/>
                  </a:lnTo>
                  <a:close/>
                  <a:moveTo>
                    <a:pt x="314" y="1469"/>
                  </a:moveTo>
                  <a:lnTo>
                    <a:pt x="316" y="1469"/>
                  </a:lnTo>
                  <a:lnTo>
                    <a:pt x="314" y="1469"/>
                  </a:lnTo>
                  <a:close/>
                  <a:moveTo>
                    <a:pt x="422" y="1480"/>
                  </a:moveTo>
                  <a:lnTo>
                    <a:pt x="420" y="1480"/>
                  </a:lnTo>
                  <a:lnTo>
                    <a:pt x="422" y="1480"/>
                  </a:lnTo>
                  <a:close/>
                  <a:moveTo>
                    <a:pt x="287" y="1422"/>
                  </a:moveTo>
                  <a:lnTo>
                    <a:pt x="285" y="1422"/>
                  </a:lnTo>
                  <a:lnTo>
                    <a:pt x="287" y="1422"/>
                  </a:lnTo>
                  <a:close/>
                  <a:moveTo>
                    <a:pt x="347" y="1479"/>
                  </a:moveTo>
                  <a:lnTo>
                    <a:pt x="347" y="1477"/>
                  </a:lnTo>
                  <a:lnTo>
                    <a:pt x="347" y="1479"/>
                  </a:lnTo>
                  <a:close/>
                  <a:moveTo>
                    <a:pt x="280" y="1477"/>
                  </a:moveTo>
                  <a:lnTo>
                    <a:pt x="278" y="1477"/>
                  </a:lnTo>
                  <a:lnTo>
                    <a:pt x="280" y="1477"/>
                  </a:lnTo>
                  <a:lnTo>
                    <a:pt x="278" y="1477"/>
                  </a:lnTo>
                  <a:lnTo>
                    <a:pt x="280" y="1477"/>
                  </a:lnTo>
                  <a:close/>
                  <a:moveTo>
                    <a:pt x="230" y="1256"/>
                  </a:moveTo>
                  <a:lnTo>
                    <a:pt x="230" y="1254"/>
                  </a:lnTo>
                  <a:lnTo>
                    <a:pt x="230" y="1256"/>
                  </a:lnTo>
                  <a:close/>
                  <a:moveTo>
                    <a:pt x="243" y="1410"/>
                  </a:moveTo>
                  <a:lnTo>
                    <a:pt x="244" y="1410"/>
                  </a:lnTo>
                  <a:lnTo>
                    <a:pt x="244" y="1412"/>
                  </a:lnTo>
                  <a:lnTo>
                    <a:pt x="244" y="1410"/>
                  </a:lnTo>
                  <a:lnTo>
                    <a:pt x="243" y="1410"/>
                  </a:lnTo>
                  <a:close/>
                  <a:moveTo>
                    <a:pt x="409" y="1493"/>
                  </a:moveTo>
                  <a:lnTo>
                    <a:pt x="407" y="1493"/>
                  </a:lnTo>
                  <a:lnTo>
                    <a:pt x="409" y="1493"/>
                  </a:lnTo>
                  <a:lnTo>
                    <a:pt x="409" y="1492"/>
                  </a:lnTo>
                  <a:lnTo>
                    <a:pt x="409" y="1493"/>
                  </a:lnTo>
                  <a:close/>
                  <a:moveTo>
                    <a:pt x="309" y="1472"/>
                  </a:moveTo>
                  <a:lnTo>
                    <a:pt x="311" y="1472"/>
                  </a:lnTo>
                  <a:lnTo>
                    <a:pt x="309" y="1472"/>
                  </a:lnTo>
                  <a:close/>
                  <a:moveTo>
                    <a:pt x="187" y="1462"/>
                  </a:moveTo>
                  <a:lnTo>
                    <a:pt x="189" y="1462"/>
                  </a:lnTo>
                  <a:lnTo>
                    <a:pt x="187" y="1462"/>
                  </a:lnTo>
                  <a:close/>
                  <a:moveTo>
                    <a:pt x="470" y="1454"/>
                  </a:moveTo>
                  <a:lnTo>
                    <a:pt x="470" y="1453"/>
                  </a:lnTo>
                  <a:lnTo>
                    <a:pt x="472" y="1453"/>
                  </a:lnTo>
                  <a:lnTo>
                    <a:pt x="470" y="1454"/>
                  </a:lnTo>
                  <a:close/>
                  <a:moveTo>
                    <a:pt x="191" y="1484"/>
                  </a:moveTo>
                  <a:lnTo>
                    <a:pt x="191" y="1482"/>
                  </a:lnTo>
                  <a:lnTo>
                    <a:pt x="191" y="1484"/>
                  </a:lnTo>
                  <a:close/>
                  <a:moveTo>
                    <a:pt x="251" y="1376"/>
                  </a:moveTo>
                  <a:lnTo>
                    <a:pt x="249" y="1375"/>
                  </a:lnTo>
                  <a:lnTo>
                    <a:pt x="251" y="1376"/>
                  </a:lnTo>
                  <a:close/>
                  <a:moveTo>
                    <a:pt x="282" y="916"/>
                  </a:moveTo>
                  <a:lnTo>
                    <a:pt x="282" y="914"/>
                  </a:lnTo>
                  <a:lnTo>
                    <a:pt x="282" y="916"/>
                  </a:lnTo>
                  <a:close/>
                  <a:moveTo>
                    <a:pt x="669" y="1336"/>
                  </a:moveTo>
                  <a:lnTo>
                    <a:pt x="670" y="1336"/>
                  </a:lnTo>
                  <a:lnTo>
                    <a:pt x="670" y="1337"/>
                  </a:lnTo>
                  <a:lnTo>
                    <a:pt x="669" y="1336"/>
                  </a:lnTo>
                  <a:lnTo>
                    <a:pt x="669" y="1337"/>
                  </a:lnTo>
                  <a:lnTo>
                    <a:pt x="669" y="1336"/>
                  </a:lnTo>
                  <a:close/>
                  <a:moveTo>
                    <a:pt x="234" y="1412"/>
                  </a:moveTo>
                  <a:lnTo>
                    <a:pt x="234" y="1410"/>
                  </a:lnTo>
                  <a:lnTo>
                    <a:pt x="236" y="1410"/>
                  </a:lnTo>
                  <a:lnTo>
                    <a:pt x="236" y="1412"/>
                  </a:lnTo>
                  <a:lnTo>
                    <a:pt x="234" y="1412"/>
                  </a:lnTo>
                  <a:close/>
                  <a:moveTo>
                    <a:pt x="638" y="1347"/>
                  </a:moveTo>
                  <a:lnTo>
                    <a:pt x="639" y="1347"/>
                  </a:lnTo>
                  <a:lnTo>
                    <a:pt x="638" y="1347"/>
                  </a:lnTo>
                  <a:close/>
                  <a:moveTo>
                    <a:pt x="238" y="1423"/>
                  </a:moveTo>
                  <a:lnTo>
                    <a:pt x="239" y="1423"/>
                  </a:lnTo>
                  <a:lnTo>
                    <a:pt x="238" y="1425"/>
                  </a:lnTo>
                  <a:lnTo>
                    <a:pt x="238" y="1423"/>
                  </a:lnTo>
                  <a:close/>
                  <a:moveTo>
                    <a:pt x="275" y="1464"/>
                  </a:moveTo>
                  <a:lnTo>
                    <a:pt x="275" y="1462"/>
                  </a:lnTo>
                  <a:lnTo>
                    <a:pt x="275" y="1464"/>
                  </a:lnTo>
                  <a:lnTo>
                    <a:pt x="277" y="1464"/>
                  </a:lnTo>
                  <a:lnTo>
                    <a:pt x="275" y="1464"/>
                  </a:lnTo>
                  <a:close/>
                  <a:moveTo>
                    <a:pt x="264" y="1497"/>
                  </a:moveTo>
                  <a:lnTo>
                    <a:pt x="265" y="1497"/>
                  </a:lnTo>
                  <a:lnTo>
                    <a:pt x="265" y="1498"/>
                  </a:lnTo>
                  <a:lnTo>
                    <a:pt x="264" y="1498"/>
                  </a:lnTo>
                  <a:lnTo>
                    <a:pt x="264" y="1497"/>
                  </a:lnTo>
                  <a:close/>
                  <a:moveTo>
                    <a:pt x="225" y="1466"/>
                  </a:moveTo>
                  <a:lnTo>
                    <a:pt x="226" y="1467"/>
                  </a:lnTo>
                  <a:lnTo>
                    <a:pt x="225" y="1466"/>
                  </a:lnTo>
                  <a:close/>
                  <a:moveTo>
                    <a:pt x="340" y="1477"/>
                  </a:moveTo>
                  <a:lnTo>
                    <a:pt x="342" y="1479"/>
                  </a:lnTo>
                  <a:lnTo>
                    <a:pt x="340" y="1477"/>
                  </a:lnTo>
                  <a:close/>
                  <a:moveTo>
                    <a:pt x="231" y="1440"/>
                  </a:moveTo>
                  <a:lnTo>
                    <a:pt x="231" y="1441"/>
                  </a:lnTo>
                  <a:lnTo>
                    <a:pt x="231" y="1440"/>
                  </a:lnTo>
                  <a:close/>
                  <a:moveTo>
                    <a:pt x="283" y="1482"/>
                  </a:moveTo>
                  <a:lnTo>
                    <a:pt x="283" y="1480"/>
                  </a:lnTo>
                  <a:lnTo>
                    <a:pt x="283" y="1482"/>
                  </a:lnTo>
                  <a:close/>
                  <a:moveTo>
                    <a:pt x="246" y="1326"/>
                  </a:moveTo>
                  <a:lnTo>
                    <a:pt x="247" y="1326"/>
                  </a:lnTo>
                  <a:lnTo>
                    <a:pt x="246" y="1326"/>
                  </a:lnTo>
                  <a:close/>
                  <a:moveTo>
                    <a:pt x="173" y="1446"/>
                  </a:moveTo>
                  <a:lnTo>
                    <a:pt x="173" y="1445"/>
                  </a:lnTo>
                  <a:lnTo>
                    <a:pt x="173" y="1446"/>
                  </a:lnTo>
                  <a:close/>
                  <a:moveTo>
                    <a:pt x="246" y="1501"/>
                  </a:moveTo>
                  <a:lnTo>
                    <a:pt x="247" y="1501"/>
                  </a:lnTo>
                  <a:lnTo>
                    <a:pt x="246" y="1501"/>
                  </a:lnTo>
                  <a:close/>
                  <a:moveTo>
                    <a:pt x="667" y="1370"/>
                  </a:moveTo>
                  <a:lnTo>
                    <a:pt x="667" y="1368"/>
                  </a:lnTo>
                  <a:lnTo>
                    <a:pt x="667" y="1370"/>
                  </a:lnTo>
                  <a:close/>
                  <a:moveTo>
                    <a:pt x="355" y="1488"/>
                  </a:moveTo>
                  <a:lnTo>
                    <a:pt x="353" y="1488"/>
                  </a:lnTo>
                  <a:lnTo>
                    <a:pt x="355" y="1488"/>
                  </a:lnTo>
                  <a:close/>
                  <a:moveTo>
                    <a:pt x="192" y="1495"/>
                  </a:moveTo>
                  <a:lnTo>
                    <a:pt x="191" y="1495"/>
                  </a:lnTo>
                  <a:lnTo>
                    <a:pt x="192" y="1495"/>
                  </a:lnTo>
                  <a:close/>
                  <a:moveTo>
                    <a:pt x="483" y="1461"/>
                  </a:moveTo>
                  <a:lnTo>
                    <a:pt x="483" y="1462"/>
                  </a:lnTo>
                  <a:lnTo>
                    <a:pt x="485" y="1461"/>
                  </a:lnTo>
                  <a:lnTo>
                    <a:pt x="483" y="1461"/>
                  </a:lnTo>
                  <a:close/>
                  <a:moveTo>
                    <a:pt x="241" y="1332"/>
                  </a:moveTo>
                  <a:lnTo>
                    <a:pt x="243" y="1332"/>
                  </a:lnTo>
                  <a:lnTo>
                    <a:pt x="241" y="1332"/>
                  </a:lnTo>
                  <a:close/>
                  <a:moveTo>
                    <a:pt x="309" y="872"/>
                  </a:moveTo>
                  <a:lnTo>
                    <a:pt x="311" y="872"/>
                  </a:lnTo>
                  <a:lnTo>
                    <a:pt x="309" y="872"/>
                  </a:lnTo>
                  <a:close/>
                  <a:moveTo>
                    <a:pt x="574" y="1404"/>
                  </a:moveTo>
                  <a:lnTo>
                    <a:pt x="576" y="1404"/>
                  </a:lnTo>
                  <a:lnTo>
                    <a:pt x="574" y="1404"/>
                  </a:lnTo>
                  <a:close/>
                  <a:moveTo>
                    <a:pt x="135" y="1458"/>
                  </a:moveTo>
                  <a:lnTo>
                    <a:pt x="135" y="1456"/>
                  </a:lnTo>
                  <a:lnTo>
                    <a:pt x="137" y="1456"/>
                  </a:lnTo>
                  <a:lnTo>
                    <a:pt x="137" y="1458"/>
                  </a:lnTo>
                  <a:lnTo>
                    <a:pt x="135" y="1458"/>
                  </a:lnTo>
                  <a:close/>
                  <a:moveTo>
                    <a:pt x="335" y="1492"/>
                  </a:moveTo>
                  <a:lnTo>
                    <a:pt x="335" y="1490"/>
                  </a:lnTo>
                  <a:lnTo>
                    <a:pt x="335" y="1492"/>
                  </a:lnTo>
                  <a:close/>
                  <a:moveTo>
                    <a:pt x="241" y="1366"/>
                  </a:moveTo>
                  <a:lnTo>
                    <a:pt x="243" y="1368"/>
                  </a:lnTo>
                  <a:lnTo>
                    <a:pt x="241" y="1368"/>
                  </a:lnTo>
                  <a:lnTo>
                    <a:pt x="241" y="1366"/>
                  </a:lnTo>
                  <a:lnTo>
                    <a:pt x="243" y="1366"/>
                  </a:lnTo>
                  <a:lnTo>
                    <a:pt x="241" y="1366"/>
                  </a:lnTo>
                  <a:close/>
                  <a:moveTo>
                    <a:pt x="234" y="1358"/>
                  </a:moveTo>
                  <a:lnTo>
                    <a:pt x="236" y="1358"/>
                  </a:lnTo>
                  <a:lnTo>
                    <a:pt x="236" y="1360"/>
                  </a:lnTo>
                  <a:lnTo>
                    <a:pt x="234" y="1358"/>
                  </a:lnTo>
                  <a:close/>
                  <a:moveTo>
                    <a:pt x="317" y="1474"/>
                  </a:moveTo>
                  <a:lnTo>
                    <a:pt x="319" y="1474"/>
                  </a:lnTo>
                  <a:lnTo>
                    <a:pt x="317" y="1474"/>
                  </a:lnTo>
                  <a:close/>
                  <a:moveTo>
                    <a:pt x="169" y="1475"/>
                  </a:moveTo>
                  <a:lnTo>
                    <a:pt x="169" y="1477"/>
                  </a:lnTo>
                  <a:lnTo>
                    <a:pt x="169" y="1475"/>
                  </a:lnTo>
                  <a:close/>
                  <a:moveTo>
                    <a:pt x="264" y="1479"/>
                  </a:moveTo>
                  <a:lnTo>
                    <a:pt x="262" y="1479"/>
                  </a:lnTo>
                  <a:lnTo>
                    <a:pt x="264" y="1479"/>
                  </a:lnTo>
                  <a:close/>
                  <a:moveTo>
                    <a:pt x="166" y="1445"/>
                  </a:moveTo>
                  <a:lnTo>
                    <a:pt x="168" y="1445"/>
                  </a:lnTo>
                  <a:lnTo>
                    <a:pt x="168" y="1446"/>
                  </a:lnTo>
                  <a:lnTo>
                    <a:pt x="166" y="1445"/>
                  </a:lnTo>
                  <a:close/>
                  <a:moveTo>
                    <a:pt x="257" y="1466"/>
                  </a:moveTo>
                  <a:lnTo>
                    <a:pt x="257" y="1464"/>
                  </a:lnTo>
                  <a:lnTo>
                    <a:pt x="257" y="1466"/>
                  </a:lnTo>
                  <a:lnTo>
                    <a:pt x="259" y="1464"/>
                  </a:lnTo>
                  <a:lnTo>
                    <a:pt x="259" y="1466"/>
                  </a:lnTo>
                  <a:lnTo>
                    <a:pt x="257" y="1466"/>
                  </a:lnTo>
                  <a:close/>
                  <a:moveTo>
                    <a:pt x="410" y="1485"/>
                  </a:moveTo>
                  <a:lnTo>
                    <a:pt x="410" y="1484"/>
                  </a:lnTo>
                  <a:lnTo>
                    <a:pt x="412" y="1484"/>
                  </a:lnTo>
                  <a:lnTo>
                    <a:pt x="412" y="1485"/>
                  </a:lnTo>
                  <a:lnTo>
                    <a:pt x="410" y="1485"/>
                  </a:lnTo>
                  <a:close/>
                  <a:moveTo>
                    <a:pt x="262" y="1498"/>
                  </a:moveTo>
                  <a:lnTo>
                    <a:pt x="262" y="1500"/>
                  </a:lnTo>
                  <a:lnTo>
                    <a:pt x="262" y="1498"/>
                  </a:lnTo>
                  <a:close/>
                  <a:moveTo>
                    <a:pt x="592" y="1386"/>
                  </a:moveTo>
                  <a:lnTo>
                    <a:pt x="594" y="1386"/>
                  </a:lnTo>
                  <a:lnTo>
                    <a:pt x="592" y="1386"/>
                  </a:lnTo>
                  <a:close/>
                  <a:moveTo>
                    <a:pt x="210" y="997"/>
                  </a:moveTo>
                  <a:lnTo>
                    <a:pt x="212" y="997"/>
                  </a:lnTo>
                  <a:lnTo>
                    <a:pt x="210" y="997"/>
                  </a:lnTo>
                  <a:close/>
                  <a:moveTo>
                    <a:pt x="122" y="1485"/>
                  </a:moveTo>
                  <a:lnTo>
                    <a:pt x="122" y="1484"/>
                  </a:lnTo>
                  <a:lnTo>
                    <a:pt x="122" y="1485"/>
                  </a:lnTo>
                  <a:close/>
                  <a:moveTo>
                    <a:pt x="239" y="1448"/>
                  </a:moveTo>
                  <a:lnTo>
                    <a:pt x="239" y="1446"/>
                  </a:lnTo>
                  <a:lnTo>
                    <a:pt x="241" y="1448"/>
                  </a:lnTo>
                  <a:lnTo>
                    <a:pt x="239" y="1448"/>
                  </a:lnTo>
                  <a:close/>
                  <a:moveTo>
                    <a:pt x="230" y="1443"/>
                  </a:moveTo>
                  <a:lnTo>
                    <a:pt x="230" y="1441"/>
                  </a:lnTo>
                  <a:lnTo>
                    <a:pt x="230" y="1443"/>
                  </a:lnTo>
                  <a:close/>
                  <a:moveTo>
                    <a:pt x="247" y="1514"/>
                  </a:moveTo>
                  <a:lnTo>
                    <a:pt x="247" y="1513"/>
                  </a:lnTo>
                  <a:lnTo>
                    <a:pt x="247" y="1514"/>
                  </a:lnTo>
                  <a:lnTo>
                    <a:pt x="247" y="1513"/>
                  </a:lnTo>
                  <a:lnTo>
                    <a:pt x="247" y="1514"/>
                  </a:lnTo>
                  <a:close/>
                  <a:moveTo>
                    <a:pt x="303" y="1488"/>
                  </a:moveTo>
                  <a:lnTo>
                    <a:pt x="301" y="1488"/>
                  </a:lnTo>
                  <a:lnTo>
                    <a:pt x="303" y="1488"/>
                  </a:lnTo>
                  <a:close/>
                  <a:moveTo>
                    <a:pt x="181" y="1516"/>
                  </a:moveTo>
                  <a:lnTo>
                    <a:pt x="179" y="1516"/>
                  </a:lnTo>
                  <a:lnTo>
                    <a:pt x="181" y="1516"/>
                  </a:lnTo>
                  <a:close/>
                  <a:moveTo>
                    <a:pt x="204" y="1490"/>
                  </a:moveTo>
                  <a:lnTo>
                    <a:pt x="204" y="1488"/>
                  </a:lnTo>
                  <a:lnTo>
                    <a:pt x="205" y="1490"/>
                  </a:lnTo>
                  <a:lnTo>
                    <a:pt x="204" y="1490"/>
                  </a:lnTo>
                  <a:close/>
                  <a:moveTo>
                    <a:pt x="256" y="1471"/>
                  </a:moveTo>
                  <a:lnTo>
                    <a:pt x="257" y="1471"/>
                  </a:lnTo>
                  <a:lnTo>
                    <a:pt x="257" y="1472"/>
                  </a:lnTo>
                  <a:lnTo>
                    <a:pt x="256" y="1471"/>
                  </a:lnTo>
                  <a:close/>
                  <a:moveTo>
                    <a:pt x="348" y="1477"/>
                  </a:moveTo>
                  <a:lnTo>
                    <a:pt x="348" y="1475"/>
                  </a:lnTo>
                  <a:lnTo>
                    <a:pt x="348" y="1477"/>
                  </a:lnTo>
                  <a:close/>
                  <a:moveTo>
                    <a:pt x="163" y="1074"/>
                  </a:moveTo>
                  <a:lnTo>
                    <a:pt x="161" y="1074"/>
                  </a:lnTo>
                  <a:lnTo>
                    <a:pt x="163" y="1072"/>
                  </a:lnTo>
                  <a:lnTo>
                    <a:pt x="163" y="1074"/>
                  </a:lnTo>
                  <a:close/>
                  <a:moveTo>
                    <a:pt x="319" y="1485"/>
                  </a:moveTo>
                  <a:lnTo>
                    <a:pt x="319" y="1487"/>
                  </a:lnTo>
                  <a:lnTo>
                    <a:pt x="317" y="1487"/>
                  </a:lnTo>
                  <a:lnTo>
                    <a:pt x="317" y="1485"/>
                  </a:lnTo>
                  <a:lnTo>
                    <a:pt x="319" y="1485"/>
                  </a:lnTo>
                  <a:close/>
                  <a:moveTo>
                    <a:pt x="171" y="1020"/>
                  </a:moveTo>
                  <a:lnTo>
                    <a:pt x="173" y="1020"/>
                  </a:lnTo>
                  <a:lnTo>
                    <a:pt x="173" y="1022"/>
                  </a:lnTo>
                  <a:lnTo>
                    <a:pt x="171" y="1022"/>
                  </a:lnTo>
                  <a:lnTo>
                    <a:pt x="173" y="1022"/>
                  </a:lnTo>
                  <a:lnTo>
                    <a:pt x="171" y="1020"/>
                  </a:lnTo>
                  <a:close/>
                  <a:moveTo>
                    <a:pt x="269" y="1433"/>
                  </a:moveTo>
                  <a:lnTo>
                    <a:pt x="270" y="1433"/>
                  </a:lnTo>
                  <a:lnTo>
                    <a:pt x="269" y="1433"/>
                  </a:lnTo>
                  <a:close/>
                  <a:moveTo>
                    <a:pt x="444" y="1469"/>
                  </a:moveTo>
                  <a:lnTo>
                    <a:pt x="444" y="1471"/>
                  </a:lnTo>
                  <a:lnTo>
                    <a:pt x="444" y="1469"/>
                  </a:lnTo>
                  <a:close/>
                  <a:moveTo>
                    <a:pt x="392" y="1462"/>
                  </a:moveTo>
                  <a:lnTo>
                    <a:pt x="391" y="1462"/>
                  </a:lnTo>
                  <a:lnTo>
                    <a:pt x="392" y="1462"/>
                  </a:lnTo>
                  <a:close/>
                  <a:moveTo>
                    <a:pt x="192" y="1152"/>
                  </a:moveTo>
                  <a:lnTo>
                    <a:pt x="192" y="1150"/>
                  </a:lnTo>
                  <a:lnTo>
                    <a:pt x="192" y="1152"/>
                  </a:lnTo>
                  <a:close/>
                  <a:moveTo>
                    <a:pt x="223" y="1487"/>
                  </a:moveTo>
                  <a:lnTo>
                    <a:pt x="223" y="1485"/>
                  </a:lnTo>
                  <a:lnTo>
                    <a:pt x="223" y="1487"/>
                  </a:lnTo>
                  <a:close/>
                  <a:moveTo>
                    <a:pt x="584" y="1378"/>
                  </a:moveTo>
                  <a:lnTo>
                    <a:pt x="583" y="1378"/>
                  </a:lnTo>
                  <a:lnTo>
                    <a:pt x="584" y="1378"/>
                  </a:lnTo>
                  <a:close/>
                  <a:moveTo>
                    <a:pt x="239" y="1493"/>
                  </a:moveTo>
                  <a:lnTo>
                    <a:pt x="239" y="1495"/>
                  </a:lnTo>
                  <a:lnTo>
                    <a:pt x="239" y="1493"/>
                  </a:lnTo>
                  <a:close/>
                  <a:moveTo>
                    <a:pt x="272" y="1445"/>
                  </a:moveTo>
                  <a:lnTo>
                    <a:pt x="272" y="1446"/>
                  </a:lnTo>
                  <a:lnTo>
                    <a:pt x="272" y="1445"/>
                  </a:lnTo>
                  <a:close/>
                  <a:moveTo>
                    <a:pt x="261" y="950"/>
                  </a:moveTo>
                  <a:lnTo>
                    <a:pt x="261" y="949"/>
                  </a:lnTo>
                  <a:lnTo>
                    <a:pt x="261" y="950"/>
                  </a:lnTo>
                  <a:close/>
                  <a:moveTo>
                    <a:pt x="217" y="1484"/>
                  </a:moveTo>
                  <a:lnTo>
                    <a:pt x="218" y="1484"/>
                  </a:lnTo>
                  <a:lnTo>
                    <a:pt x="217" y="1484"/>
                  </a:lnTo>
                  <a:close/>
                  <a:moveTo>
                    <a:pt x="287" y="1503"/>
                  </a:moveTo>
                  <a:lnTo>
                    <a:pt x="288" y="1503"/>
                  </a:lnTo>
                  <a:lnTo>
                    <a:pt x="287" y="1503"/>
                  </a:lnTo>
                  <a:close/>
                  <a:moveTo>
                    <a:pt x="311" y="1430"/>
                  </a:moveTo>
                  <a:lnTo>
                    <a:pt x="309" y="1430"/>
                  </a:lnTo>
                  <a:lnTo>
                    <a:pt x="311" y="1430"/>
                  </a:lnTo>
                  <a:close/>
                  <a:moveTo>
                    <a:pt x="247" y="1360"/>
                  </a:moveTo>
                  <a:lnTo>
                    <a:pt x="247" y="1358"/>
                  </a:lnTo>
                  <a:lnTo>
                    <a:pt x="247" y="1360"/>
                  </a:lnTo>
                  <a:lnTo>
                    <a:pt x="247" y="1358"/>
                  </a:lnTo>
                  <a:lnTo>
                    <a:pt x="249" y="1358"/>
                  </a:lnTo>
                  <a:lnTo>
                    <a:pt x="247" y="1358"/>
                  </a:lnTo>
                  <a:lnTo>
                    <a:pt x="247" y="1360"/>
                  </a:lnTo>
                  <a:close/>
                  <a:moveTo>
                    <a:pt x="256" y="1402"/>
                  </a:moveTo>
                  <a:lnTo>
                    <a:pt x="257" y="1402"/>
                  </a:lnTo>
                  <a:lnTo>
                    <a:pt x="256" y="1402"/>
                  </a:lnTo>
                  <a:close/>
                  <a:moveTo>
                    <a:pt x="317" y="1488"/>
                  </a:moveTo>
                  <a:lnTo>
                    <a:pt x="316" y="1488"/>
                  </a:lnTo>
                  <a:lnTo>
                    <a:pt x="317" y="1487"/>
                  </a:lnTo>
                  <a:lnTo>
                    <a:pt x="317" y="1488"/>
                  </a:lnTo>
                  <a:close/>
                  <a:moveTo>
                    <a:pt x="287" y="1419"/>
                  </a:moveTo>
                  <a:lnTo>
                    <a:pt x="287" y="1420"/>
                  </a:lnTo>
                  <a:lnTo>
                    <a:pt x="287" y="1419"/>
                  </a:lnTo>
                  <a:close/>
                  <a:moveTo>
                    <a:pt x="160" y="1497"/>
                  </a:moveTo>
                  <a:lnTo>
                    <a:pt x="158" y="1497"/>
                  </a:lnTo>
                  <a:lnTo>
                    <a:pt x="158" y="1495"/>
                  </a:lnTo>
                  <a:lnTo>
                    <a:pt x="160" y="1495"/>
                  </a:lnTo>
                  <a:lnTo>
                    <a:pt x="160" y="1497"/>
                  </a:lnTo>
                  <a:close/>
                  <a:moveTo>
                    <a:pt x="277" y="914"/>
                  </a:moveTo>
                  <a:lnTo>
                    <a:pt x="278" y="914"/>
                  </a:lnTo>
                  <a:lnTo>
                    <a:pt x="277" y="914"/>
                  </a:lnTo>
                  <a:close/>
                  <a:moveTo>
                    <a:pt x="410" y="1482"/>
                  </a:moveTo>
                  <a:lnTo>
                    <a:pt x="410" y="1480"/>
                  </a:lnTo>
                  <a:lnTo>
                    <a:pt x="412" y="1480"/>
                  </a:lnTo>
                  <a:lnTo>
                    <a:pt x="410" y="1482"/>
                  </a:lnTo>
                  <a:close/>
                  <a:moveTo>
                    <a:pt x="192" y="1508"/>
                  </a:moveTo>
                  <a:lnTo>
                    <a:pt x="194" y="1508"/>
                  </a:lnTo>
                  <a:lnTo>
                    <a:pt x="194" y="1510"/>
                  </a:lnTo>
                  <a:lnTo>
                    <a:pt x="192" y="1510"/>
                  </a:lnTo>
                  <a:lnTo>
                    <a:pt x="192" y="1508"/>
                  </a:lnTo>
                  <a:close/>
                  <a:moveTo>
                    <a:pt x="220" y="1475"/>
                  </a:moveTo>
                  <a:lnTo>
                    <a:pt x="221" y="1475"/>
                  </a:lnTo>
                  <a:lnTo>
                    <a:pt x="220" y="1475"/>
                  </a:lnTo>
                  <a:lnTo>
                    <a:pt x="221" y="1475"/>
                  </a:lnTo>
                  <a:lnTo>
                    <a:pt x="220" y="1475"/>
                  </a:lnTo>
                  <a:close/>
                  <a:moveTo>
                    <a:pt x="379" y="1497"/>
                  </a:moveTo>
                  <a:lnTo>
                    <a:pt x="378" y="1497"/>
                  </a:lnTo>
                  <a:lnTo>
                    <a:pt x="379" y="1497"/>
                  </a:lnTo>
                  <a:lnTo>
                    <a:pt x="379" y="1495"/>
                  </a:lnTo>
                  <a:lnTo>
                    <a:pt x="379" y="1497"/>
                  </a:lnTo>
                  <a:close/>
                  <a:moveTo>
                    <a:pt x="243" y="1396"/>
                  </a:moveTo>
                  <a:lnTo>
                    <a:pt x="243" y="1394"/>
                  </a:lnTo>
                  <a:lnTo>
                    <a:pt x="243" y="1396"/>
                  </a:lnTo>
                  <a:close/>
                  <a:moveTo>
                    <a:pt x="420" y="1485"/>
                  </a:moveTo>
                  <a:lnTo>
                    <a:pt x="420" y="1484"/>
                  </a:lnTo>
                  <a:lnTo>
                    <a:pt x="420" y="1485"/>
                  </a:lnTo>
                  <a:close/>
                  <a:moveTo>
                    <a:pt x="187" y="1448"/>
                  </a:moveTo>
                  <a:lnTo>
                    <a:pt x="187" y="1446"/>
                  </a:lnTo>
                  <a:lnTo>
                    <a:pt x="187" y="1448"/>
                  </a:lnTo>
                  <a:close/>
                  <a:moveTo>
                    <a:pt x="291" y="1490"/>
                  </a:moveTo>
                  <a:lnTo>
                    <a:pt x="291" y="1488"/>
                  </a:lnTo>
                  <a:lnTo>
                    <a:pt x="291" y="1490"/>
                  </a:lnTo>
                  <a:lnTo>
                    <a:pt x="293" y="1490"/>
                  </a:lnTo>
                  <a:lnTo>
                    <a:pt x="291" y="1490"/>
                  </a:lnTo>
                  <a:close/>
                  <a:moveTo>
                    <a:pt x="296" y="641"/>
                  </a:moveTo>
                  <a:lnTo>
                    <a:pt x="295" y="641"/>
                  </a:lnTo>
                  <a:lnTo>
                    <a:pt x="296" y="641"/>
                  </a:lnTo>
                  <a:lnTo>
                    <a:pt x="296" y="643"/>
                  </a:lnTo>
                  <a:lnTo>
                    <a:pt x="296" y="641"/>
                  </a:lnTo>
                  <a:close/>
                  <a:moveTo>
                    <a:pt x="143" y="1448"/>
                  </a:moveTo>
                  <a:lnTo>
                    <a:pt x="145" y="1448"/>
                  </a:lnTo>
                  <a:lnTo>
                    <a:pt x="145" y="1449"/>
                  </a:lnTo>
                  <a:lnTo>
                    <a:pt x="143" y="1449"/>
                  </a:lnTo>
                  <a:lnTo>
                    <a:pt x="143" y="1448"/>
                  </a:lnTo>
                  <a:close/>
                  <a:moveTo>
                    <a:pt x="295" y="1474"/>
                  </a:moveTo>
                  <a:lnTo>
                    <a:pt x="295" y="1472"/>
                  </a:lnTo>
                  <a:lnTo>
                    <a:pt x="295" y="1474"/>
                  </a:lnTo>
                  <a:close/>
                  <a:moveTo>
                    <a:pt x="345" y="1497"/>
                  </a:moveTo>
                  <a:lnTo>
                    <a:pt x="345" y="1498"/>
                  </a:lnTo>
                  <a:lnTo>
                    <a:pt x="345" y="1497"/>
                  </a:lnTo>
                  <a:close/>
                  <a:moveTo>
                    <a:pt x="247" y="1375"/>
                  </a:moveTo>
                  <a:lnTo>
                    <a:pt x="247" y="1373"/>
                  </a:lnTo>
                  <a:lnTo>
                    <a:pt x="247" y="1375"/>
                  </a:lnTo>
                  <a:close/>
                  <a:moveTo>
                    <a:pt x="311" y="1474"/>
                  </a:moveTo>
                  <a:lnTo>
                    <a:pt x="309" y="1474"/>
                  </a:lnTo>
                  <a:lnTo>
                    <a:pt x="311" y="1474"/>
                  </a:lnTo>
                  <a:close/>
                  <a:moveTo>
                    <a:pt x="618" y="1368"/>
                  </a:moveTo>
                  <a:lnTo>
                    <a:pt x="618" y="1370"/>
                  </a:lnTo>
                  <a:lnTo>
                    <a:pt x="618" y="1368"/>
                  </a:lnTo>
                  <a:close/>
                  <a:moveTo>
                    <a:pt x="288" y="1433"/>
                  </a:moveTo>
                  <a:lnTo>
                    <a:pt x="288" y="1432"/>
                  </a:lnTo>
                  <a:lnTo>
                    <a:pt x="288" y="1433"/>
                  </a:lnTo>
                  <a:close/>
                  <a:moveTo>
                    <a:pt x="306" y="1427"/>
                  </a:moveTo>
                  <a:lnTo>
                    <a:pt x="308" y="1427"/>
                  </a:lnTo>
                  <a:lnTo>
                    <a:pt x="306" y="1427"/>
                  </a:lnTo>
                  <a:close/>
                  <a:moveTo>
                    <a:pt x="165" y="1023"/>
                  </a:moveTo>
                  <a:lnTo>
                    <a:pt x="166" y="1023"/>
                  </a:lnTo>
                  <a:lnTo>
                    <a:pt x="165" y="1023"/>
                  </a:lnTo>
                  <a:close/>
                  <a:moveTo>
                    <a:pt x="285" y="1415"/>
                  </a:moveTo>
                  <a:lnTo>
                    <a:pt x="283" y="1415"/>
                  </a:lnTo>
                  <a:lnTo>
                    <a:pt x="285" y="1415"/>
                  </a:lnTo>
                  <a:close/>
                  <a:moveTo>
                    <a:pt x="543" y="1399"/>
                  </a:moveTo>
                  <a:lnTo>
                    <a:pt x="543" y="1401"/>
                  </a:lnTo>
                  <a:lnTo>
                    <a:pt x="543" y="1399"/>
                  </a:lnTo>
                  <a:close/>
                  <a:moveTo>
                    <a:pt x="337" y="1484"/>
                  </a:moveTo>
                  <a:lnTo>
                    <a:pt x="337" y="1482"/>
                  </a:lnTo>
                  <a:lnTo>
                    <a:pt x="339" y="1484"/>
                  </a:lnTo>
                  <a:lnTo>
                    <a:pt x="337" y="1484"/>
                  </a:lnTo>
                  <a:close/>
                  <a:moveTo>
                    <a:pt x="243" y="1298"/>
                  </a:moveTo>
                  <a:lnTo>
                    <a:pt x="244" y="1298"/>
                  </a:lnTo>
                  <a:lnTo>
                    <a:pt x="243" y="1298"/>
                  </a:lnTo>
                  <a:close/>
                  <a:moveTo>
                    <a:pt x="457" y="1469"/>
                  </a:moveTo>
                  <a:lnTo>
                    <a:pt x="459" y="1467"/>
                  </a:lnTo>
                  <a:lnTo>
                    <a:pt x="459" y="1469"/>
                  </a:lnTo>
                  <a:lnTo>
                    <a:pt x="457" y="1469"/>
                  </a:lnTo>
                  <a:close/>
                  <a:moveTo>
                    <a:pt x="665" y="1373"/>
                  </a:moveTo>
                  <a:lnTo>
                    <a:pt x="664" y="1373"/>
                  </a:lnTo>
                  <a:lnTo>
                    <a:pt x="664" y="1371"/>
                  </a:lnTo>
                  <a:lnTo>
                    <a:pt x="665" y="1371"/>
                  </a:lnTo>
                  <a:lnTo>
                    <a:pt x="665" y="1373"/>
                  </a:lnTo>
                  <a:close/>
                  <a:moveTo>
                    <a:pt x="252" y="981"/>
                  </a:moveTo>
                  <a:lnTo>
                    <a:pt x="251" y="981"/>
                  </a:lnTo>
                  <a:lnTo>
                    <a:pt x="251" y="979"/>
                  </a:lnTo>
                  <a:lnTo>
                    <a:pt x="252" y="979"/>
                  </a:lnTo>
                  <a:lnTo>
                    <a:pt x="252" y="981"/>
                  </a:lnTo>
                  <a:close/>
                  <a:moveTo>
                    <a:pt x="369" y="719"/>
                  </a:moveTo>
                  <a:lnTo>
                    <a:pt x="369" y="721"/>
                  </a:lnTo>
                  <a:lnTo>
                    <a:pt x="369" y="719"/>
                  </a:lnTo>
                  <a:close/>
                  <a:moveTo>
                    <a:pt x="230" y="1419"/>
                  </a:moveTo>
                  <a:lnTo>
                    <a:pt x="230" y="1420"/>
                  </a:lnTo>
                  <a:lnTo>
                    <a:pt x="230" y="1419"/>
                  </a:lnTo>
                  <a:close/>
                  <a:moveTo>
                    <a:pt x="247" y="1503"/>
                  </a:moveTo>
                  <a:lnTo>
                    <a:pt x="249" y="1503"/>
                  </a:lnTo>
                  <a:lnTo>
                    <a:pt x="247" y="1503"/>
                  </a:lnTo>
                  <a:close/>
                  <a:moveTo>
                    <a:pt x="306" y="1456"/>
                  </a:moveTo>
                  <a:lnTo>
                    <a:pt x="304" y="1456"/>
                  </a:lnTo>
                  <a:lnTo>
                    <a:pt x="306" y="1456"/>
                  </a:lnTo>
                  <a:close/>
                  <a:moveTo>
                    <a:pt x="195" y="1049"/>
                  </a:moveTo>
                  <a:lnTo>
                    <a:pt x="194" y="1049"/>
                  </a:lnTo>
                  <a:lnTo>
                    <a:pt x="195" y="1049"/>
                  </a:lnTo>
                  <a:lnTo>
                    <a:pt x="195" y="1048"/>
                  </a:lnTo>
                  <a:lnTo>
                    <a:pt x="195" y="1049"/>
                  </a:lnTo>
                  <a:close/>
                  <a:moveTo>
                    <a:pt x="200" y="1488"/>
                  </a:moveTo>
                  <a:lnTo>
                    <a:pt x="200" y="1487"/>
                  </a:lnTo>
                  <a:lnTo>
                    <a:pt x="200" y="1488"/>
                  </a:lnTo>
                  <a:close/>
                  <a:moveTo>
                    <a:pt x="418" y="1485"/>
                  </a:moveTo>
                  <a:lnTo>
                    <a:pt x="418" y="1484"/>
                  </a:lnTo>
                  <a:lnTo>
                    <a:pt x="418" y="1485"/>
                  </a:lnTo>
                  <a:close/>
                  <a:moveTo>
                    <a:pt x="249" y="1420"/>
                  </a:moveTo>
                  <a:lnTo>
                    <a:pt x="249" y="1422"/>
                  </a:lnTo>
                  <a:lnTo>
                    <a:pt x="249" y="1420"/>
                  </a:lnTo>
                  <a:close/>
                  <a:moveTo>
                    <a:pt x="335" y="1488"/>
                  </a:moveTo>
                  <a:lnTo>
                    <a:pt x="335" y="1490"/>
                  </a:lnTo>
                  <a:lnTo>
                    <a:pt x="335" y="1488"/>
                  </a:lnTo>
                  <a:close/>
                  <a:moveTo>
                    <a:pt x="348" y="1492"/>
                  </a:moveTo>
                  <a:lnTo>
                    <a:pt x="347" y="1492"/>
                  </a:lnTo>
                  <a:lnTo>
                    <a:pt x="348" y="1490"/>
                  </a:lnTo>
                  <a:lnTo>
                    <a:pt x="348" y="1492"/>
                  </a:lnTo>
                  <a:close/>
                  <a:moveTo>
                    <a:pt x="682" y="1337"/>
                  </a:moveTo>
                  <a:lnTo>
                    <a:pt x="682" y="1339"/>
                  </a:lnTo>
                  <a:lnTo>
                    <a:pt x="682" y="1337"/>
                  </a:lnTo>
                  <a:close/>
                  <a:moveTo>
                    <a:pt x="555" y="1404"/>
                  </a:moveTo>
                  <a:lnTo>
                    <a:pt x="555" y="1402"/>
                  </a:lnTo>
                  <a:lnTo>
                    <a:pt x="555" y="1404"/>
                  </a:lnTo>
                  <a:close/>
                  <a:moveTo>
                    <a:pt x="288" y="1498"/>
                  </a:moveTo>
                  <a:lnTo>
                    <a:pt x="287" y="1498"/>
                  </a:lnTo>
                  <a:lnTo>
                    <a:pt x="287" y="1497"/>
                  </a:lnTo>
                  <a:lnTo>
                    <a:pt x="288" y="1498"/>
                  </a:lnTo>
                  <a:close/>
                  <a:moveTo>
                    <a:pt x="238" y="1329"/>
                  </a:moveTo>
                  <a:lnTo>
                    <a:pt x="239" y="1329"/>
                  </a:lnTo>
                  <a:lnTo>
                    <a:pt x="238" y="1329"/>
                  </a:lnTo>
                  <a:close/>
                  <a:moveTo>
                    <a:pt x="195" y="1508"/>
                  </a:moveTo>
                  <a:lnTo>
                    <a:pt x="195" y="1510"/>
                  </a:lnTo>
                  <a:lnTo>
                    <a:pt x="195" y="1508"/>
                  </a:lnTo>
                  <a:close/>
                  <a:moveTo>
                    <a:pt x="225" y="1495"/>
                  </a:moveTo>
                  <a:lnTo>
                    <a:pt x="226" y="1495"/>
                  </a:lnTo>
                  <a:lnTo>
                    <a:pt x="225" y="1495"/>
                  </a:lnTo>
                  <a:close/>
                  <a:moveTo>
                    <a:pt x="171" y="1025"/>
                  </a:moveTo>
                  <a:lnTo>
                    <a:pt x="171" y="1027"/>
                  </a:lnTo>
                  <a:lnTo>
                    <a:pt x="171" y="1025"/>
                  </a:lnTo>
                  <a:close/>
                  <a:moveTo>
                    <a:pt x="247" y="1378"/>
                  </a:moveTo>
                  <a:lnTo>
                    <a:pt x="246" y="1378"/>
                  </a:lnTo>
                  <a:lnTo>
                    <a:pt x="247" y="1378"/>
                  </a:lnTo>
                  <a:close/>
                  <a:moveTo>
                    <a:pt x="282" y="1477"/>
                  </a:moveTo>
                  <a:lnTo>
                    <a:pt x="283" y="1477"/>
                  </a:lnTo>
                  <a:lnTo>
                    <a:pt x="282" y="1477"/>
                  </a:lnTo>
                  <a:close/>
                  <a:moveTo>
                    <a:pt x="244" y="1501"/>
                  </a:moveTo>
                  <a:lnTo>
                    <a:pt x="246" y="1500"/>
                  </a:lnTo>
                  <a:lnTo>
                    <a:pt x="246" y="1501"/>
                  </a:lnTo>
                  <a:lnTo>
                    <a:pt x="244" y="1501"/>
                  </a:lnTo>
                  <a:close/>
                  <a:moveTo>
                    <a:pt x="208" y="1166"/>
                  </a:moveTo>
                  <a:lnTo>
                    <a:pt x="207" y="1166"/>
                  </a:lnTo>
                  <a:lnTo>
                    <a:pt x="208" y="1165"/>
                  </a:lnTo>
                  <a:lnTo>
                    <a:pt x="208" y="1166"/>
                  </a:lnTo>
                  <a:close/>
                  <a:moveTo>
                    <a:pt x="386" y="1461"/>
                  </a:moveTo>
                  <a:lnTo>
                    <a:pt x="386" y="1462"/>
                  </a:lnTo>
                  <a:lnTo>
                    <a:pt x="386" y="1461"/>
                  </a:lnTo>
                  <a:close/>
                  <a:moveTo>
                    <a:pt x="174" y="1506"/>
                  </a:moveTo>
                  <a:lnTo>
                    <a:pt x="173" y="1505"/>
                  </a:lnTo>
                  <a:lnTo>
                    <a:pt x="174" y="1505"/>
                  </a:lnTo>
                  <a:lnTo>
                    <a:pt x="173" y="1505"/>
                  </a:lnTo>
                  <a:lnTo>
                    <a:pt x="174" y="1505"/>
                  </a:lnTo>
                  <a:lnTo>
                    <a:pt x="174" y="1506"/>
                  </a:lnTo>
                  <a:close/>
                  <a:moveTo>
                    <a:pt x="213" y="1500"/>
                  </a:moveTo>
                  <a:lnTo>
                    <a:pt x="213" y="1498"/>
                  </a:lnTo>
                  <a:lnTo>
                    <a:pt x="213" y="1500"/>
                  </a:lnTo>
                  <a:close/>
                  <a:moveTo>
                    <a:pt x="369" y="700"/>
                  </a:moveTo>
                  <a:lnTo>
                    <a:pt x="369" y="698"/>
                  </a:lnTo>
                  <a:lnTo>
                    <a:pt x="371" y="700"/>
                  </a:lnTo>
                  <a:lnTo>
                    <a:pt x="369" y="700"/>
                  </a:lnTo>
                  <a:close/>
                  <a:moveTo>
                    <a:pt x="321" y="1469"/>
                  </a:moveTo>
                  <a:lnTo>
                    <a:pt x="322" y="1469"/>
                  </a:lnTo>
                  <a:lnTo>
                    <a:pt x="321" y="1469"/>
                  </a:lnTo>
                  <a:close/>
                  <a:moveTo>
                    <a:pt x="244" y="1017"/>
                  </a:moveTo>
                  <a:lnTo>
                    <a:pt x="244" y="1015"/>
                  </a:lnTo>
                  <a:lnTo>
                    <a:pt x="244" y="1017"/>
                  </a:lnTo>
                  <a:close/>
                  <a:moveTo>
                    <a:pt x="535" y="1417"/>
                  </a:moveTo>
                  <a:lnTo>
                    <a:pt x="537" y="1417"/>
                  </a:lnTo>
                  <a:lnTo>
                    <a:pt x="535" y="1417"/>
                  </a:lnTo>
                  <a:close/>
                  <a:moveTo>
                    <a:pt x="477" y="1446"/>
                  </a:moveTo>
                  <a:lnTo>
                    <a:pt x="475" y="1446"/>
                  </a:lnTo>
                  <a:lnTo>
                    <a:pt x="477" y="1446"/>
                  </a:lnTo>
                  <a:close/>
                  <a:moveTo>
                    <a:pt x="246" y="1503"/>
                  </a:moveTo>
                  <a:lnTo>
                    <a:pt x="244" y="1503"/>
                  </a:lnTo>
                  <a:lnTo>
                    <a:pt x="246" y="1503"/>
                  </a:lnTo>
                  <a:close/>
                  <a:moveTo>
                    <a:pt x="259" y="1511"/>
                  </a:moveTo>
                  <a:lnTo>
                    <a:pt x="257" y="1511"/>
                  </a:lnTo>
                  <a:lnTo>
                    <a:pt x="259" y="1510"/>
                  </a:lnTo>
                  <a:lnTo>
                    <a:pt x="259" y="1511"/>
                  </a:lnTo>
                  <a:close/>
                  <a:moveTo>
                    <a:pt x="415" y="1487"/>
                  </a:moveTo>
                  <a:lnTo>
                    <a:pt x="417" y="1487"/>
                  </a:lnTo>
                  <a:lnTo>
                    <a:pt x="415" y="1487"/>
                  </a:lnTo>
                  <a:close/>
                  <a:moveTo>
                    <a:pt x="192" y="1474"/>
                  </a:moveTo>
                  <a:lnTo>
                    <a:pt x="192" y="1472"/>
                  </a:lnTo>
                  <a:lnTo>
                    <a:pt x="192" y="1474"/>
                  </a:lnTo>
                  <a:close/>
                  <a:moveTo>
                    <a:pt x="488" y="1453"/>
                  </a:moveTo>
                  <a:lnTo>
                    <a:pt x="488" y="1454"/>
                  </a:lnTo>
                  <a:lnTo>
                    <a:pt x="488" y="1453"/>
                  </a:lnTo>
                  <a:close/>
                  <a:moveTo>
                    <a:pt x="234" y="1503"/>
                  </a:moveTo>
                  <a:lnTo>
                    <a:pt x="236" y="1503"/>
                  </a:lnTo>
                  <a:lnTo>
                    <a:pt x="234" y="1503"/>
                  </a:lnTo>
                  <a:close/>
                  <a:moveTo>
                    <a:pt x="244" y="1433"/>
                  </a:moveTo>
                  <a:lnTo>
                    <a:pt x="244" y="1435"/>
                  </a:lnTo>
                  <a:lnTo>
                    <a:pt x="244" y="1433"/>
                  </a:lnTo>
                  <a:close/>
                  <a:moveTo>
                    <a:pt x="295" y="1454"/>
                  </a:moveTo>
                  <a:lnTo>
                    <a:pt x="296" y="1453"/>
                  </a:lnTo>
                  <a:lnTo>
                    <a:pt x="296" y="1454"/>
                  </a:lnTo>
                  <a:lnTo>
                    <a:pt x="295" y="1454"/>
                  </a:lnTo>
                  <a:close/>
                  <a:moveTo>
                    <a:pt x="508" y="1425"/>
                  </a:moveTo>
                  <a:lnTo>
                    <a:pt x="506" y="1423"/>
                  </a:lnTo>
                  <a:lnTo>
                    <a:pt x="508" y="1423"/>
                  </a:lnTo>
                  <a:lnTo>
                    <a:pt x="508" y="1425"/>
                  </a:lnTo>
                  <a:close/>
                  <a:moveTo>
                    <a:pt x="234" y="1373"/>
                  </a:moveTo>
                  <a:lnTo>
                    <a:pt x="234" y="1371"/>
                  </a:lnTo>
                  <a:lnTo>
                    <a:pt x="234" y="1373"/>
                  </a:lnTo>
                  <a:close/>
                  <a:moveTo>
                    <a:pt x="160" y="1062"/>
                  </a:moveTo>
                  <a:lnTo>
                    <a:pt x="160" y="1064"/>
                  </a:lnTo>
                  <a:lnTo>
                    <a:pt x="160" y="1062"/>
                  </a:lnTo>
                  <a:close/>
                  <a:moveTo>
                    <a:pt x="321" y="1506"/>
                  </a:moveTo>
                  <a:lnTo>
                    <a:pt x="322" y="1506"/>
                  </a:lnTo>
                  <a:lnTo>
                    <a:pt x="321" y="1506"/>
                  </a:lnTo>
                  <a:close/>
                  <a:moveTo>
                    <a:pt x="252" y="1430"/>
                  </a:moveTo>
                  <a:lnTo>
                    <a:pt x="252" y="1432"/>
                  </a:lnTo>
                  <a:lnTo>
                    <a:pt x="251" y="1432"/>
                  </a:lnTo>
                  <a:lnTo>
                    <a:pt x="251" y="1430"/>
                  </a:lnTo>
                  <a:lnTo>
                    <a:pt x="252" y="1430"/>
                  </a:lnTo>
                  <a:close/>
                  <a:moveTo>
                    <a:pt x="287" y="1404"/>
                  </a:moveTo>
                  <a:lnTo>
                    <a:pt x="287" y="1402"/>
                  </a:lnTo>
                  <a:lnTo>
                    <a:pt x="287" y="1404"/>
                  </a:lnTo>
                  <a:close/>
                  <a:moveTo>
                    <a:pt x="267" y="1498"/>
                  </a:moveTo>
                  <a:lnTo>
                    <a:pt x="269" y="1498"/>
                  </a:lnTo>
                  <a:lnTo>
                    <a:pt x="267" y="1498"/>
                  </a:lnTo>
                  <a:close/>
                  <a:moveTo>
                    <a:pt x="392" y="1487"/>
                  </a:moveTo>
                  <a:lnTo>
                    <a:pt x="392" y="1485"/>
                  </a:lnTo>
                  <a:lnTo>
                    <a:pt x="392" y="1487"/>
                  </a:lnTo>
                  <a:close/>
                  <a:moveTo>
                    <a:pt x="435" y="1474"/>
                  </a:moveTo>
                  <a:lnTo>
                    <a:pt x="436" y="1474"/>
                  </a:lnTo>
                  <a:lnTo>
                    <a:pt x="435" y="1474"/>
                  </a:lnTo>
                  <a:close/>
                  <a:moveTo>
                    <a:pt x="280" y="1461"/>
                  </a:moveTo>
                  <a:lnTo>
                    <a:pt x="282" y="1461"/>
                  </a:lnTo>
                  <a:lnTo>
                    <a:pt x="280" y="1461"/>
                  </a:lnTo>
                  <a:close/>
                  <a:moveTo>
                    <a:pt x="600" y="1380"/>
                  </a:moveTo>
                  <a:lnTo>
                    <a:pt x="602" y="1380"/>
                  </a:lnTo>
                  <a:lnTo>
                    <a:pt x="600" y="1380"/>
                  </a:lnTo>
                  <a:close/>
                  <a:moveTo>
                    <a:pt x="257" y="935"/>
                  </a:moveTo>
                  <a:lnTo>
                    <a:pt x="257" y="937"/>
                  </a:lnTo>
                  <a:lnTo>
                    <a:pt x="256" y="937"/>
                  </a:lnTo>
                  <a:lnTo>
                    <a:pt x="257" y="935"/>
                  </a:lnTo>
                  <a:close/>
                  <a:moveTo>
                    <a:pt x="269" y="947"/>
                  </a:moveTo>
                  <a:lnTo>
                    <a:pt x="270" y="947"/>
                  </a:lnTo>
                  <a:lnTo>
                    <a:pt x="269" y="947"/>
                  </a:lnTo>
                  <a:close/>
                  <a:moveTo>
                    <a:pt x="381" y="739"/>
                  </a:moveTo>
                  <a:lnTo>
                    <a:pt x="379" y="739"/>
                  </a:lnTo>
                  <a:lnTo>
                    <a:pt x="379" y="737"/>
                  </a:lnTo>
                  <a:lnTo>
                    <a:pt x="381" y="739"/>
                  </a:lnTo>
                  <a:close/>
                  <a:moveTo>
                    <a:pt x="443" y="1471"/>
                  </a:moveTo>
                  <a:lnTo>
                    <a:pt x="443" y="1469"/>
                  </a:lnTo>
                  <a:lnTo>
                    <a:pt x="443" y="1471"/>
                  </a:lnTo>
                  <a:close/>
                  <a:moveTo>
                    <a:pt x="231" y="1493"/>
                  </a:moveTo>
                  <a:lnTo>
                    <a:pt x="233" y="1493"/>
                  </a:lnTo>
                  <a:lnTo>
                    <a:pt x="231" y="1493"/>
                  </a:lnTo>
                  <a:close/>
                  <a:moveTo>
                    <a:pt x="298" y="1414"/>
                  </a:moveTo>
                  <a:lnTo>
                    <a:pt x="298" y="1415"/>
                  </a:lnTo>
                  <a:lnTo>
                    <a:pt x="298" y="1414"/>
                  </a:lnTo>
                  <a:close/>
                  <a:moveTo>
                    <a:pt x="215" y="1505"/>
                  </a:moveTo>
                  <a:lnTo>
                    <a:pt x="217" y="1505"/>
                  </a:lnTo>
                  <a:lnTo>
                    <a:pt x="215" y="1505"/>
                  </a:lnTo>
                  <a:close/>
                  <a:moveTo>
                    <a:pt x="236" y="1511"/>
                  </a:moveTo>
                  <a:lnTo>
                    <a:pt x="238" y="1511"/>
                  </a:lnTo>
                  <a:lnTo>
                    <a:pt x="236" y="1511"/>
                  </a:lnTo>
                  <a:close/>
                  <a:moveTo>
                    <a:pt x="516" y="1425"/>
                  </a:moveTo>
                  <a:lnTo>
                    <a:pt x="516" y="1423"/>
                  </a:lnTo>
                  <a:lnTo>
                    <a:pt x="516" y="1425"/>
                  </a:lnTo>
                  <a:close/>
                  <a:moveTo>
                    <a:pt x="317" y="1453"/>
                  </a:moveTo>
                  <a:lnTo>
                    <a:pt x="319" y="1453"/>
                  </a:lnTo>
                  <a:lnTo>
                    <a:pt x="317" y="1453"/>
                  </a:lnTo>
                  <a:close/>
                  <a:moveTo>
                    <a:pt x="210" y="1479"/>
                  </a:moveTo>
                  <a:lnTo>
                    <a:pt x="212" y="1479"/>
                  </a:lnTo>
                  <a:lnTo>
                    <a:pt x="210" y="1479"/>
                  </a:lnTo>
                  <a:close/>
                  <a:moveTo>
                    <a:pt x="278" y="1435"/>
                  </a:moveTo>
                  <a:lnTo>
                    <a:pt x="278" y="1436"/>
                  </a:lnTo>
                  <a:lnTo>
                    <a:pt x="278" y="1435"/>
                  </a:lnTo>
                  <a:close/>
                  <a:moveTo>
                    <a:pt x="339" y="802"/>
                  </a:moveTo>
                  <a:lnTo>
                    <a:pt x="337" y="802"/>
                  </a:lnTo>
                  <a:lnTo>
                    <a:pt x="339" y="802"/>
                  </a:lnTo>
                  <a:lnTo>
                    <a:pt x="339" y="800"/>
                  </a:lnTo>
                  <a:lnTo>
                    <a:pt x="339" y="802"/>
                  </a:lnTo>
                  <a:close/>
                  <a:moveTo>
                    <a:pt x="204" y="1510"/>
                  </a:moveTo>
                  <a:lnTo>
                    <a:pt x="202" y="1510"/>
                  </a:lnTo>
                  <a:lnTo>
                    <a:pt x="204" y="1508"/>
                  </a:lnTo>
                  <a:lnTo>
                    <a:pt x="204" y="1510"/>
                  </a:lnTo>
                  <a:close/>
                  <a:moveTo>
                    <a:pt x="609" y="1375"/>
                  </a:moveTo>
                  <a:lnTo>
                    <a:pt x="610" y="1375"/>
                  </a:lnTo>
                  <a:lnTo>
                    <a:pt x="609" y="1375"/>
                  </a:lnTo>
                  <a:close/>
                  <a:moveTo>
                    <a:pt x="300" y="1503"/>
                  </a:moveTo>
                  <a:lnTo>
                    <a:pt x="300" y="1505"/>
                  </a:lnTo>
                  <a:lnTo>
                    <a:pt x="300" y="1503"/>
                  </a:lnTo>
                  <a:lnTo>
                    <a:pt x="300" y="1505"/>
                  </a:lnTo>
                  <a:lnTo>
                    <a:pt x="300" y="1503"/>
                  </a:lnTo>
                  <a:close/>
                  <a:moveTo>
                    <a:pt x="218" y="1488"/>
                  </a:moveTo>
                  <a:lnTo>
                    <a:pt x="218" y="1487"/>
                  </a:lnTo>
                  <a:lnTo>
                    <a:pt x="218" y="1488"/>
                  </a:lnTo>
                  <a:close/>
                  <a:moveTo>
                    <a:pt x="243" y="1316"/>
                  </a:moveTo>
                  <a:lnTo>
                    <a:pt x="244" y="1316"/>
                  </a:lnTo>
                  <a:lnTo>
                    <a:pt x="243" y="1316"/>
                  </a:lnTo>
                  <a:close/>
                  <a:moveTo>
                    <a:pt x="493" y="1443"/>
                  </a:moveTo>
                  <a:lnTo>
                    <a:pt x="493" y="1445"/>
                  </a:lnTo>
                  <a:lnTo>
                    <a:pt x="493" y="1443"/>
                  </a:lnTo>
                  <a:close/>
                  <a:moveTo>
                    <a:pt x="129" y="1475"/>
                  </a:moveTo>
                  <a:lnTo>
                    <a:pt x="129" y="1474"/>
                  </a:lnTo>
                  <a:lnTo>
                    <a:pt x="129" y="1475"/>
                  </a:lnTo>
                  <a:close/>
                  <a:moveTo>
                    <a:pt x="335" y="656"/>
                  </a:moveTo>
                  <a:lnTo>
                    <a:pt x="335" y="654"/>
                  </a:lnTo>
                  <a:lnTo>
                    <a:pt x="335" y="656"/>
                  </a:lnTo>
                  <a:close/>
                  <a:moveTo>
                    <a:pt x="636" y="1355"/>
                  </a:moveTo>
                  <a:lnTo>
                    <a:pt x="636" y="1357"/>
                  </a:lnTo>
                  <a:lnTo>
                    <a:pt x="636" y="1355"/>
                  </a:lnTo>
                  <a:close/>
                  <a:moveTo>
                    <a:pt x="352" y="1475"/>
                  </a:moveTo>
                  <a:lnTo>
                    <a:pt x="353" y="1477"/>
                  </a:lnTo>
                  <a:lnTo>
                    <a:pt x="352" y="1477"/>
                  </a:lnTo>
                  <a:lnTo>
                    <a:pt x="352" y="1475"/>
                  </a:lnTo>
                  <a:lnTo>
                    <a:pt x="353" y="1475"/>
                  </a:lnTo>
                  <a:lnTo>
                    <a:pt x="352" y="1475"/>
                  </a:lnTo>
                  <a:close/>
                  <a:moveTo>
                    <a:pt x="202" y="1449"/>
                  </a:moveTo>
                  <a:lnTo>
                    <a:pt x="202" y="1448"/>
                  </a:lnTo>
                  <a:lnTo>
                    <a:pt x="204" y="1448"/>
                  </a:lnTo>
                  <a:lnTo>
                    <a:pt x="202" y="1449"/>
                  </a:lnTo>
                  <a:close/>
                  <a:moveTo>
                    <a:pt x="246" y="1513"/>
                  </a:moveTo>
                  <a:lnTo>
                    <a:pt x="246" y="1514"/>
                  </a:lnTo>
                  <a:lnTo>
                    <a:pt x="246" y="1513"/>
                  </a:lnTo>
                  <a:close/>
                  <a:moveTo>
                    <a:pt x="301" y="656"/>
                  </a:moveTo>
                  <a:lnTo>
                    <a:pt x="301" y="657"/>
                  </a:lnTo>
                  <a:lnTo>
                    <a:pt x="301" y="656"/>
                  </a:lnTo>
                  <a:close/>
                  <a:moveTo>
                    <a:pt x="267" y="939"/>
                  </a:moveTo>
                  <a:lnTo>
                    <a:pt x="269" y="940"/>
                  </a:lnTo>
                  <a:lnTo>
                    <a:pt x="267" y="940"/>
                  </a:lnTo>
                  <a:lnTo>
                    <a:pt x="267" y="939"/>
                  </a:lnTo>
                  <a:close/>
                  <a:moveTo>
                    <a:pt x="272" y="919"/>
                  </a:moveTo>
                  <a:lnTo>
                    <a:pt x="274" y="919"/>
                  </a:lnTo>
                  <a:lnTo>
                    <a:pt x="272" y="921"/>
                  </a:lnTo>
                  <a:lnTo>
                    <a:pt x="272" y="919"/>
                  </a:lnTo>
                  <a:close/>
                  <a:moveTo>
                    <a:pt x="207" y="1505"/>
                  </a:moveTo>
                  <a:lnTo>
                    <a:pt x="207" y="1503"/>
                  </a:lnTo>
                  <a:lnTo>
                    <a:pt x="207" y="1505"/>
                  </a:lnTo>
                  <a:close/>
                  <a:moveTo>
                    <a:pt x="483" y="1453"/>
                  </a:moveTo>
                  <a:lnTo>
                    <a:pt x="482" y="1453"/>
                  </a:lnTo>
                  <a:lnTo>
                    <a:pt x="483" y="1453"/>
                  </a:lnTo>
                  <a:close/>
                  <a:moveTo>
                    <a:pt x="252" y="1505"/>
                  </a:moveTo>
                  <a:lnTo>
                    <a:pt x="251" y="1505"/>
                  </a:lnTo>
                  <a:lnTo>
                    <a:pt x="252" y="1505"/>
                  </a:lnTo>
                  <a:close/>
                  <a:moveTo>
                    <a:pt x="431" y="1492"/>
                  </a:moveTo>
                  <a:lnTo>
                    <a:pt x="431" y="1490"/>
                  </a:lnTo>
                  <a:lnTo>
                    <a:pt x="433" y="1490"/>
                  </a:lnTo>
                  <a:lnTo>
                    <a:pt x="431" y="1492"/>
                  </a:lnTo>
                  <a:close/>
                  <a:moveTo>
                    <a:pt x="231" y="1428"/>
                  </a:moveTo>
                  <a:lnTo>
                    <a:pt x="230" y="1428"/>
                  </a:lnTo>
                  <a:lnTo>
                    <a:pt x="230" y="1427"/>
                  </a:lnTo>
                  <a:lnTo>
                    <a:pt x="231" y="1427"/>
                  </a:lnTo>
                  <a:lnTo>
                    <a:pt x="231" y="1428"/>
                  </a:lnTo>
                  <a:close/>
                  <a:moveTo>
                    <a:pt x="604" y="1381"/>
                  </a:moveTo>
                  <a:lnTo>
                    <a:pt x="604" y="1380"/>
                  </a:lnTo>
                  <a:lnTo>
                    <a:pt x="605" y="1381"/>
                  </a:lnTo>
                  <a:lnTo>
                    <a:pt x="604" y="1381"/>
                  </a:lnTo>
                  <a:close/>
                  <a:moveTo>
                    <a:pt x="309" y="1446"/>
                  </a:moveTo>
                  <a:lnTo>
                    <a:pt x="309" y="1445"/>
                  </a:lnTo>
                  <a:lnTo>
                    <a:pt x="309" y="1446"/>
                  </a:lnTo>
                  <a:close/>
                  <a:moveTo>
                    <a:pt x="376" y="1469"/>
                  </a:moveTo>
                  <a:lnTo>
                    <a:pt x="378" y="1469"/>
                  </a:lnTo>
                  <a:lnTo>
                    <a:pt x="376" y="1469"/>
                  </a:lnTo>
                  <a:close/>
                  <a:moveTo>
                    <a:pt x="306" y="1503"/>
                  </a:moveTo>
                  <a:lnTo>
                    <a:pt x="308" y="1503"/>
                  </a:lnTo>
                  <a:lnTo>
                    <a:pt x="306" y="1503"/>
                  </a:lnTo>
                  <a:close/>
                  <a:moveTo>
                    <a:pt x="335" y="1511"/>
                  </a:moveTo>
                  <a:lnTo>
                    <a:pt x="335" y="1510"/>
                  </a:lnTo>
                  <a:lnTo>
                    <a:pt x="335" y="1511"/>
                  </a:lnTo>
                  <a:close/>
                  <a:moveTo>
                    <a:pt x="174" y="1036"/>
                  </a:moveTo>
                  <a:lnTo>
                    <a:pt x="174" y="1035"/>
                  </a:lnTo>
                  <a:lnTo>
                    <a:pt x="174" y="1036"/>
                  </a:lnTo>
                  <a:close/>
                  <a:moveTo>
                    <a:pt x="223" y="1430"/>
                  </a:moveTo>
                  <a:lnTo>
                    <a:pt x="221" y="1430"/>
                  </a:lnTo>
                  <a:lnTo>
                    <a:pt x="223" y="1430"/>
                  </a:lnTo>
                  <a:lnTo>
                    <a:pt x="223" y="1428"/>
                  </a:lnTo>
                  <a:lnTo>
                    <a:pt x="223" y="1430"/>
                  </a:lnTo>
                  <a:close/>
                  <a:moveTo>
                    <a:pt x="226" y="1440"/>
                  </a:moveTo>
                  <a:lnTo>
                    <a:pt x="228" y="1440"/>
                  </a:lnTo>
                  <a:lnTo>
                    <a:pt x="228" y="1441"/>
                  </a:lnTo>
                  <a:lnTo>
                    <a:pt x="226" y="1441"/>
                  </a:lnTo>
                  <a:lnTo>
                    <a:pt x="226" y="1440"/>
                  </a:lnTo>
                  <a:close/>
                  <a:moveTo>
                    <a:pt x="259" y="1425"/>
                  </a:moveTo>
                  <a:lnTo>
                    <a:pt x="261" y="1425"/>
                  </a:lnTo>
                  <a:lnTo>
                    <a:pt x="261" y="1427"/>
                  </a:lnTo>
                  <a:lnTo>
                    <a:pt x="259" y="1425"/>
                  </a:lnTo>
                  <a:close/>
                  <a:moveTo>
                    <a:pt x="665" y="1339"/>
                  </a:moveTo>
                  <a:lnTo>
                    <a:pt x="665" y="1340"/>
                  </a:lnTo>
                  <a:lnTo>
                    <a:pt x="665" y="1339"/>
                  </a:lnTo>
                  <a:close/>
                  <a:moveTo>
                    <a:pt x="199" y="1510"/>
                  </a:moveTo>
                  <a:lnTo>
                    <a:pt x="200" y="1510"/>
                  </a:lnTo>
                  <a:lnTo>
                    <a:pt x="199" y="1510"/>
                  </a:lnTo>
                  <a:close/>
                  <a:moveTo>
                    <a:pt x="225" y="1464"/>
                  </a:moveTo>
                  <a:lnTo>
                    <a:pt x="225" y="1462"/>
                  </a:lnTo>
                  <a:lnTo>
                    <a:pt x="225" y="1464"/>
                  </a:lnTo>
                  <a:close/>
                  <a:moveTo>
                    <a:pt x="290" y="1451"/>
                  </a:moveTo>
                  <a:lnTo>
                    <a:pt x="290" y="1449"/>
                  </a:lnTo>
                  <a:lnTo>
                    <a:pt x="290" y="1451"/>
                  </a:lnTo>
                  <a:close/>
                  <a:moveTo>
                    <a:pt x="218" y="1440"/>
                  </a:moveTo>
                  <a:lnTo>
                    <a:pt x="220" y="1440"/>
                  </a:lnTo>
                  <a:lnTo>
                    <a:pt x="218" y="1440"/>
                  </a:lnTo>
                  <a:close/>
                  <a:moveTo>
                    <a:pt x="291" y="1435"/>
                  </a:moveTo>
                  <a:lnTo>
                    <a:pt x="290" y="1435"/>
                  </a:lnTo>
                  <a:lnTo>
                    <a:pt x="291" y="1435"/>
                  </a:lnTo>
                  <a:close/>
                  <a:moveTo>
                    <a:pt x="225" y="1430"/>
                  </a:moveTo>
                  <a:lnTo>
                    <a:pt x="225" y="1432"/>
                  </a:lnTo>
                  <a:lnTo>
                    <a:pt x="225" y="1430"/>
                  </a:lnTo>
                  <a:lnTo>
                    <a:pt x="225" y="1432"/>
                  </a:lnTo>
                  <a:lnTo>
                    <a:pt x="225" y="1430"/>
                  </a:lnTo>
                  <a:close/>
                  <a:moveTo>
                    <a:pt x="353" y="1501"/>
                  </a:moveTo>
                  <a:lnTo>
                    <a:pt x="353" y="1500"/>
                  </a:lnTo>
                  <a:lnTo>
                    <a:pt x="355" y="1500"/>
                  </a:lnTo>
                  <a:lnTo>
                    <a:pt x="353" y="1500"/>
                  </a:lnTo>
                  <a:lnTo>
                    <a:pt x="353" y="1501"/>
                  </a:lnTo>
                  <a:lnTo>
                    <a:pt x="353" y="1500"/>
                  </a:lnTo>
                  <a:lnTo>
                    <a:pt x="353" y="1501"/>
                  </a:lnTo>
                  <a:close/>
                  <a:moveTo>
                    <a:pt x="313" y="1490"/>
                  </a:moveTo>
                  <a:lnTo>
                    <a:pt x="313" y="1492"/>
                  </a:lnTo>
                  <a:lnTo>
                    <a:pt x="313" y="1490"/>
                  </a:lnTo>
                  <a:close/>
                  <a:moveTo>
                    <a:pt x="443" y="1471"/>
                  </a:moveTo>
                  <a:lnTo>
                    <a:pt x="441" y="1471"/>
                  </a:lnTo>
                  <a:lnTo>
                    <a:pt x="443" y="1471"/>
                  </a:lnTo>
                  <a:close/>
                  <a:moveTo>
                    <a:pt x="304" y="1451"/>
                  </a:moveTo>
                  <a:lnTo>
                    <a:pt x="303" y="1449"/>
                  </a:lnTo>
                  <a:lnTo>
                    <a:pt x="304" y="1449"/>
                  </a:lnTo>
                  <a:lnTo>
                    <a:pt x="304" y="1451"/>
                  </a:lnTo>
                  <a:close/>
                  <a:moveTo>
                    <a:pt x="275" y="1453"/>
                  </a:moveTo>
                  <a:lnTo>
                    <a:pt x="275" y="1451"/>
                  </a:lnTo>
                  <a:lnTo>
                    <a:pt x="275" y="1453"/>
                  </a:lnTo>
                  <a:close/>
                  <a:moveTo>
                    <a:pt x="230" y="1441"/>
                  </a:moveTo>
                  <a:lnTo>
                    <a:pt x="230" y="1440"/>
                  </a:lnTo>
                  <a:lnTo>
                    <a:pt x="231" y="1441"/>
                  </a:lnTo>
                  <a:lnTo>
                    <a:pt x="230" y="1441"/>
                  </a:lnTo>
                  <a:close/>
                  <a:moveTo>
                    <a:pt x="261" y="1506"/>
                  </a:moveTo>
                  <a:lnTo>
                    <a:pt x="261" y="1508"/>
                  </a:lnTo>
                  <a:lnTo>
                    <a:pt x="261" y="1506"/>
                  </a:lnTo>
                  <a:close/>
                  <a:moveTo>
                    <a:pt x="296" y="1438"/>
                  </a:moveTo>
                  <a:lnTo>
                    <a:pt x="295" y="1438"/>
                  </a:lnTo>
                  <a:lnTo>
                    <a:pt x="296" y="1438"/>
                  </a:lnTo>
                  <a:close/>
                  <a:moveTo>
                    <a:pt x="604" y="1380"/>
                  </a:moveTo>
                  <a:lnTo>
                    <a:pt x="604" y="1381"/>
                  </a:lnTo>
                  <a:lnTo>
                    <a:pt x="604" y="1380"/>
                  </a:lnTo>
                  <a:close/>
                  <a:moveTo>
                    <a:pt x="195" y="1149"/>
                  </a:moveTo>
                  <a:lnTo>
                    <a:pt x="195" y="1147"/>
                  </a:lnTo>
                  <a:lnTo>
                    <a:pt x="195" y="1149"/>
                  </a:lnTo>
                  <a:close/>
                  <a:moveTo>
                    <a:pt x="220" y="1022"/>
                  </a:moveTo>
                  <a:lnTo>
                    <a:pt x="221" y="1022"/>
                  </a:lnTo>
                  <a:lnTo>
                    <a:pt x="220" y="1022"/>
                  </a:lnTo>
                  <a:close/>
                  <a:moveTo>
                    <a:pt x="300" y="1498"/>
                  </a:moveTo>
                  <a:lnTo>
                    <a:pt x="300" y="1497"/>
                  </a:lnTo>
                  <a:lnTo>
                    <a:pt x="300" y="1498"/>
                  </a:lnTo>
                  <a:close/>
                  <a:moveTo>
                    <a:pt x="225" y="1477"/>
                  </a:moveTo>
                  <a:lnTo>
                    <a:pt x="226" y="1477"/>
                  </a:lnTo>
                  <a:lnTo>
                    <a:pt x="226" y="1479"/>
                  </a:lnTo>
                  <a:lnTo>
                    <a:pt x="226" y="1477"/>
                  </a:lnTo>
                  <a:lnTo>
                    <a:pt x="225" y="1477"/>
                  </a:lnTo>
                  <a:close/>
                  <a:moveTo>
                    <a:pt x="295" y="667"/>
                  </a:moveTo>
                  <a:lnTo>
                    <a:pt x="296" y="667"/>
                  </a:lnTo>
                  <a:lnTo>
                    <a:pt x="295" y="667"/>
                  </a:lnTo>
                  <a:close/>
                  <a:moveTo>
                    <a:pt x="278" y="1484"/>
                  </a:moveTo>
                  <a:lnTo>
                    <a:pt x="280" y="1484"/>
                  </a:lnTo>
                  <a:lnTo>
                    <a:pt x="278" y="1484"/>
                  </a:lnTo>
                  <a:close/>
                  <a:moveTo>
                    <a:pt x="210" y="1004"/>
                  </a:moveTo>
                  <a:lnTo>
                    <a:pt x="212" y="1004"/>
                  </a:lnTo>
                  <a:lnTo>
                    <a:pt x="210" y="1004"/>
                  </a:lnTo>
                  <a:close/>
                  <a:moveTo>
                    <a:pt x="509" y="1427"/>
                  </a:moveTo>
                  <a:lnTo>
                    <a:pt x="508" y="1427"/>
                  </a:lnTo>
                  <a:lnTo>
                    <a:pt x="509" y="1427"/>
                  </a:lnTo>
                  <a:close/>
                  <a:moveTo>
                    <a:pt x="204" y="1009"/>
                  </a:moveTo>
                  <a:lnTo>
                    <a:pt x="205" y="1009"/>
                  </a:lnTo>
                  <a:lnTo>
                    <a:pt x="204" y="1009"/>
                  </a:lnTo>
                  <a:close/>
                  <a:moveTo>
                    <a:pt x="309" y="1479"/>
                  </a:moveTo>
                  <a:lnTo>
                    <a:pt x="311" y="1479"/>
                  </a:lnTo>
                  <a:lnTo>
                    <a:pt x="309" y="1479"/>
                  </a:lnTo>
                  <a:close/>
                  <a:moveTo>
                    <a:pt x="278" y="1448"/>
                  </a:moveTo>
                  <a:lnTo>
                    <a:pt x="278" y="1446"/>
                  </a:lnTo>
                  <a:lnTo>
                    <a:pt x="280" y="1446"/>
                  </a:lnTo>
                  <a:lnTo>
                    <a:pt x="280" y="1448"/>
                  </a:lnTo>
                  <a:lnTo>
                    <a:pt x="278" y="1448"/>
                  </a:lnTo>
                  <a:close/>
                  <a:moveTo>
                    <a:pt x="147" y="1454"/>
                  </a:moveTo>
                  <a:lnTo>
                    <a:pt x="145" y="1454"/>
                  </a:lnTo>
                  <a:lnTo>
                    <a:pt x="145" y="1453"/>
                  </a:lnTo>
                  <a:lnTo>
                    <a:pt x="147" y="1454"/>
                  </a:lnTo>
                  <a:close/>
                  <a:moveTo>
                    <a:pt x="327" y="1428"/>
                  </a:moveTo>
                  <a:lnTo>
                    <a:pt x="329" y="1428"/>
                  </a:lnTo>
                  <a:lnTo>
                    <a:pt x="327" y="1428"/>
                  </a:lnTo>
                  <a:close/>
                  <a:moveTo>
                    <a:pt x="304" y="646"/>
                  </a:moveTo>
                  <a:lnTo>
                    <a:pt x="304" y="644"/>
                  </a:lnTo>
                  <a:lnTo>
                    <a:pt x="306" y="646"/>
                  </a:lnTo>
                  <a:lnTo>
                    <a:pt x="304" y="646"/>
                  </a:lnTo>
                  <a:close/>
                  <a:moveTo>
                    <a:pt x="208" y="1170"/>
                  </a:moveTo>
                  <a:lnTo>
                    <a:pt x="208" y="1168"/>
                  </a:lnTo>
                  <a:lnTo>
                    <a:pt x="208" y="1170"/>
                  </a:lnTo>
                  <a:close/>
                  <a:moveTo>
                    <a:pt x="278" y="1428"/>
                  </a:moveTo>
                  <a:lnTo>
                    <a:pt x="278" y="1430"/>
                  </a:lnTo>
                  <a:lnTo>
                    <a:pt x="278" y="1428"/>
                  </a:lnTo>
                  <a:close/>
                  <a:moveTo>
                    <a:pt x="309" y="1497"/>
                  </a:moveTo>
                  <a:lnTo>
                    <a:pt x="308" y="1497"/>
                  </a:lnTo>
                  <a:lnTo>
                    <a:pt x="309" y="1497"/>
                  </a:lnTo>
                  <a:close/>
                  <a:moveTo>
                    <a:pt x="272" y="1458"/>
                  </a:moveTo>
                  <a:lnTo>
                    <a:pt x="272" y="1456"/>
                  </a:lnTo>
                  <a:lnTo>
                    <a:pt x="274" y="1456"/>
                  </a:lnTo>
                  <a:lnTo>
                    <a:pt x="274" y="1458"/>
                  </a:lnTo>
                  <a:lnTo>
                    <a:pt x="272" y="1458"/>
                  </a:lnTo>
                  <a:close/>
                  <a:moveTo>
                    <a:pt x="592" y="1370"/>
                  </a:moveTo>
                  <a:lnTo>
                    <a:pt x="594" y="1370"/>
                  </a:lnTo>
                  <a:lnTo>
                    <a:pt x="592" y="1370"/>
                  </a:lnTo>
                  <a:close/>
                  <a:moveTo>
                    <a:pt x="311" y="1497"/>
                  </a:moveTo>
                  <a:lnTo>
                    <a:pt x="311" y="1498"/>
                  </a:lnTo>
                  <a:lnTo>
                    <a:pt x="309" y="1497"/>
                  </a:lnTo>
                  <a:lnTo>
                    <a:pt x="311" y="1497"/>
                  </a:lnTo>
                  <a:close/>
                  <a:moveTo>
                    <a:pt x="685" y="1337"/>
                  </a:moveTo>
                  <a:lnTo>
                    <a:pt x="685" y="1339"/>
                  </a:lnTo>
                  <a:lnTo>
                    <a:pt x="683" y="1339"/>
                  </a:lnTo>
                  <a:lnTo>
                    <a:pt x="685" y="1339"/>
                  </a:lnTo>
                  <a:lnTo>
                    <a:pt x="685" y="1337"/>
                  </a:lnTo>
                  <a:close/>
                  <a:moveTo>
                    <a:pt x="254" y="1475"/>
                  </a:moveTo>
                  <a:lnTo>
                    <a:pt x="254" y="1474"/>
                  </a:lnTo>
                  <a:lnTo>
                    <a:pt x="254" y="1475"/>
                  </a:lnTo>
                  <a:close/>
                  <a:moveTo>
                    <a:pt x="225" y="1492"/>
                  </a:moveTo>
                  <a:lnTo>
                    <a:pt x="226" y="1492"/>
                  </a:lnTo>
                  <a:lnTo>
                    <a:pt x="225" y="1492"/>
                  </a:lnTo>
                  <a:lnTo>
                    <a:pt x="226" y="1492"/>
                  </a:lnTo>
                  <a:lnTo>
                    <a:pt x="225" y="1492"/>
                  </a:lnTo>
                  <a:close/>
                  <a:moveTo>
                    <a:pt x="285" y="1428"/>
                  </a:moveTo>
                  <a:lnTo>
                    <a:pt x="287" y="1428"/>
                  </a:lnTo>
                  <a:lnTo>
                    <a:pt x="285" y="1428"/>
                  </a:lnTo>
                  <a:close/>
                  <a:moveTo>
                    <a:pt x="160" y="1075"/>
                  </a:moveTo>
                  <a:lnTo>
                    <a:pt x="161" y="1075"/>
                  </a:lnTo>
                  <a:lnTo>
                    <a:pt x="160" y="1075"/>
                  </a:lnTo>
                  <a:close/>
                  <a:moveTo>
                    <a:pt x="418" y="1487"/>
                  </a:moveTo>
                  <a:lnTo>
                    <a:pt x="420" y="1487"/>
                  </a:lnTo>
                  <a:lnTo>
                    <a:pt x="418" y="1487"/>
                  </a:lnTo>
                  <a:close/>
                  <a:moveTo>
                    <a:pt x="218" y="1508"/>
                  </a:moveTo>
                  <a:lnTo>
                    <a:pt x="218" y="1506"/>
                  </a:lnTo>
                  <a:lnTo>
                    <a:pt x="218" y="1508"/>
                  </a:lnTo>
                  <a:close/>
                  <a:moveTo>
                    <a:pt x="257" y="1469"/>
                  </a:moveTo>
                  <a:lnTo>
                    <a:pt x="256" y="1467"/>
                  </a:lnTo>
                  <a:lnTo>
                    <a:pt x="257" y="1467"/>
                  </a:lnTo>
                  <a:lnTo>
                    <a:pt x="257" y="1469"/>
                  </a:lnTo>
                  <a:close/>
                  <a:moveTo>
                    <a:pt x="251" y="1505"/>
                  </a:moveTo>
                  <a:lnTo>
                    <a:pt x="251" y="1506"/>
                  </a:lnTo>
                  <a:lnTo>
                    <a:pt x="251" y="1505"/>
                  </a:lnTo>
                  <a:close/>
                  <a:moveTo>
                    <a:pt x="208" y="1004"/>
                  </a:moveTo>
                  <a:lnTo>
                    <a:pt x="210" y="1004"/>
                  </a:lnTo>
                  <a:lnTo>
                    <a:pt x="208" y="1004"/>
                  </a:lnTo>
                  <a:close/>
                  <a:moveTo>
                    <a:pt x="171" y="1497"/>
                  </a:moveTo>
                  <a:lnTo>
                    <a:pt x="169" y="1497"/>
                  </a:lnTo>
                  <a:lnTo>
                    <a:pt x="171" y="1497"/>
                  </a:lnTo>
                  <a:close/>
                  <a:moveTo>
                    <a:pt x="347" y="1492"/>
                  </a:moveTo>
                  <a:lnTo>
                    <a:pt x="347" y="1490"/>
                  </a:lnTo>
                  <a:lnTo>
                    <a:pt x="347" y="1492"/>
                  </a:lnTo>
                  <a:close/>
                  <a:moveTo>
                    <a:pt x="347" y="1506"/>
                  </a:moveTo>
                  <a:lnTo>
                    <a:pt x="345" y="1506"/>
                  </a:lnTo>
                  <a:lnTo>
                    <a:pt x="347" y="1506"/>
                  </a:lnTo>
                  <a:close/>
                  <a:moveTo>
                    <a:pt x="371" y="1462"/>
                  </a:moveTo>
                  <a:lnTo>
                    <a:pt x="373" y="1462"/>
                  </a:lnTo>
                  <a:lnTo>
                    <a:pt x="371" y="1462"/>
                  </a:lnTo>
                  <a:close/>
                  <a:moveTo>
                    <a:pt x="293" y="636"/>
                  </a:moveTo>
                  <a:lnTo>
                    <a:pt x="293" y="638"/>
                  </a:lnTo>
                  <a:lnTo>
                    <a:pt x="293" y="636"/>
                  </a:lnTo>
                  <a:close/>
                  <a:moveTo>
                    <a:pt x="223" y="1230"/>
                  </a:moveTo>
                  <a:lnTo>
                    <a:pt x="223" y="1228"/>
                  </a:lnTo>
                  <a:lnTo>
                    <a:pt x="225" y="1230"/>
                  </a:lnTo>
                  <a:lnTo>
                    <a:pt x="223" y="1230"/>
                  </a:lnTo>
                  <a:close/>
                  <a:moveTo>
                    <a:pt x="553" y="1399"/>
                  </a:moveTo>
                  <a:lnTo>
                    <a:pt x="553" y="1401"/>
                  </a:lnTo>
                  <a:lnTo>
                    <a:pt x="553" y="1399"/>
                  </a:lnTo>
                  <a:close/>
                  <a:moveTo>
                    <a:pt x="366" y="1479"/>
                  </a:moveTo>
                  <a:lnTo>
                    <a:pt x="365" y="1479"/>
                  </a:lnTo>
                  <a:lnTo>
                    <a:pt x="366" y="1479"/>
                  </a:lnTo>
                  <a:close/>
                  <a:moveTo>
                    <a:pt x="246" y="1415"/>
                  </a:moveTo>
                  <a:lnTo>
                    <a:pt x="247" y="1415"/>
                  </a:lnTo>
                  <a:lnTo>
                    <a:pt x="247" y="1417"/>
                  </a:lnTo>
                  <a:lnTo>
                    <a:pt x="246" y="1417"/>
                  </a:lnTo>
                  <a:lnTo>
                    <a:pt x="246" y="1415"/>
                  </a:lnTo>
                  <a:close/>
                  <a:moveTo>
                    <a:pt x="221" y="1474"/>
                  </a:moveTo>
                  <a:lnTo>
                    <a:pt x="223" y="1474"/>
                  </a:lnTo>
                  <a:lnTo>
                    <a:pt x="221" y="1474"/>
                  </a:lnTo>
                  <a:close/>
                  <a:moveTo>
                    <a:pt x="270" y="1427"/>
                  </a:moveTo>
                  <a:lnTo>
                    <a:pt x="270" y="1425"/>
                  </a:lnTo>
                  <a:lnTo>
                    <a:pt x="270" y="1427"/>
                  </a:lnTo>
                  <a:close/>
                  <a:moveTo>
                    <a:pt x="233" y="1249"/>
                  </a:moveTo>
                  <a:lnTo>
                    <a:pt x="233" y="1251"/>
                  </a:lnTo>
                  <a:lnTo>
                    <a:pt x="233" y="1249"/>
                  </a:lnTo>
                  <a:close/>
                  <a:moveTo>
                    <a:pt x="207" y="1498"/>
                  </a:moveTo>
                  <a:lnTo>
                    <a:pt x="205" y="1498"/>
                  </a:lnTo>
                  <a:lnTo>
                    <a:pt x="207" y="1498"/>
                  </a:lnTo>
                  <a:close/>
                  <a:moveTo>
                    <a:pt x="542" y="1402"/>
                  </a:moveTo>
                  <a:lnTo>
                    <a:pt x="543" y="1402"/>
                  </a:lnTo>
                  <a:lnTo>
                    <a:pt x="543" y="1404"/>
                  </a:lnTo>
                  <a:lnTo>
                    <a:pt x="542" y="1404"/>
                  </a:lnTo>
                  <a:lnTo>
                    <a:pt x="542" y="1402"/>
                  </a:lnTo>
                  <a:close/>
                  <a:moveTo>
                    <a:pt x="262" y="1498"/>
                  </a:moveTo>
                  <a:lnTo>
                    <a:pt x="262" y="1497"/>
                  </a:lnTo>
                  <a:lnTo>
                    <a:pt x="264" y="1498"/>
                  </a:lnTo>
                  <a:lnTo>
                    <a:pt x="262" y="1498"/>
                  </a:lnTo>
                  <a:close/>
                  <a:moveTo>
                    <a:pt x="435" y="1474"/>
                  </a:moveTo>
                  <a:lnTo>
                    <a:pt x="436" y="1474"/>
                  </a:lnTo>
                  <a:lnTo>
                    <a:pt x="435" y="1474"/>
                  </a:lnTo>
                  <a:close/>
                  <a:moveTo>
                    <a:pt x="182" y="1043"/>
                  </a:moveTo>
                  <a:lnTo>
                    <a:pt x="182" y="1044"/>
                  </a:lnTo>
                  <a:lnTo>
                    <a:pt x="182" y="1043"/>
                  </a:lnTo>
                  <a:close/>
                  <a:moveTo>
                    <a:pt x="306" y="1488"/>
                  </a:moveTo>
                  <a:lnTo>
                    <a:pt x="306" y="1487"/>
                  </a:lnTo>
                  <a:lnTo>
                    <a:pt x="308" y="1487"/>
                  </a:lnTo>
                  <a:lnTo>
                    <a:pt x="306" y="1488"/>
                  </a:lnTo>
                  <a:close/>
                  <a:moveTo>
                    <a:pt x="288" y="1420"/>
                  </a:moveTo>
                  <a:lnTo>
                    <a:pt x="288" y="1419"/>
                  </a:lnTo>
                  <a:lnTo>
                    <a:pt x="288" y="1420"/>
                  </a:lnTo>
                  <a:close/>
                  <a:moveTo>
                    <a:pt x="223" y="1471"/>
                  </a:moveTo>
                  <a:lnTo>
                    <a:pt x="223" y="1469"/>
                  </a:lnTo>
                  <a:lnTo>
                    <a:pt x="225" y="1471"/>
                  </a:lnTo>
                  <a:lnTo>
                    <a:pt x="223" y="1471"/>
                  </a:lnTo>
                  <a:close/>
                  <a:moveTo>
                    <a:pt x="300" y="643"/>
                  </a:moveTo>
                  <a:lnTo>
                    <a:pt x="301" y="643"/>
                  </a:lnTo>
                  <a:lnTo>
                    <a:pt x="300" y="643"/>
                  </a:lnTo>
                  <a:close/>
                  <a:moveTo>
                    <a:pt x="589" y="1397"/>
                  </a:moveTo>
                  <a:lnTo>
                    <a:pt x="589" y="1396"/>
                  </a:lnTo>
                  <a:lnTo>
                    <a:pt x="589" y="1397"/>
                  </a:lnTo>
                  <a:close/>
                  <a:moveTo>
                    <a:pt x="700" y="1326"/>
                  </a:moveTo>
                  <a:lnTo>
                    <a:pt x="701" y="1326"/>
                  </a:lnTo>
                  <a:lnTo>
                    <a:pt x="700" y="1326"/>
                  </a:lnTo>
                  <a:close/>
                  <a:moveTo>
                    <a:pt x="215" y="1023"/>
                  </a:moveTo>
                  <a:lnTo>
                    <a:pt x="217" y="1025"/>
                  </a:lnTo>
                  <a:lnTo>
                    <a:pt x="215" y="1025"/>
                  </a:lnTo>
                  <a:lnTo>
                    <a:pt x="217" y="1025"/>
                  </a:lnTo>
                  <a:lnTo>
                    <a:pt x="215" y="1025"/>
                  </a:lnTo>
                  <a:lnTo>
                    <a:pt x="215" y="1023"/>
                  </a:lnTo>
                  <a:close/>
                  <a:moveTo>
                    <a:pt x="342" y="1462"/>
                  </a:moveTo>
                  <a:lnTo>
                    <a:pt x="343" y="1462"/>
                  </a:lnTo>
                  <a:lnTo>
                    <a:pt x="343" y="1464"/>
                  </a:lnTo>
                  <a:lnTo>
                    <a:pt x="342" y="1462"/>
                  </a:lnTo>
                  <a:close/>
                  <a:moveTo>
                    <a:pt x="166" y="1446"/>
                  </a:moveTo>
                  <a:lnTo>
                    <a:pt x="168" y="1446"/>
                  </a:lnTo>
                  <a:lnTo>
                    <a:pt x="166" y="1448"/>
                  </a:lnTo>
                  <a:lnTo>
                    <a:pt x="166" y="1446"/>
                  </a:lnTo>
                  <a:close/>
                  <a:moveTo>
                    <a:pt x="246" y="1370"/>
                  </a:moveTo>
                  <a:lnTo>
                    <a:pt x="247" y="1370"/>
                  </a:lnTo>
                  <a:lnTo>
                    <a:pt x="246" y="1370"/>
                  </a:lnTo>
                  <a:close/>
                  <a:moveTo>
                    <a:pt x="254" y="1493"/>
                  </a:moveTo>
                  <a:lnTo>
                    <a:pt x="256" y="1495"/>
                  </a:lnTo>
                  <a:lnTo>
                    <a:pt x="254" y="1495"/>
                  </a:lnTo>
                  <a:lnTo>
                    <a:pt x="254" y="1493"/>
                  </a:lnTo>
                  <a:close/>
                  <a:moveTo>
                    <a:pt x="405" y="1492"/>
                  </a:moveTo>
                  <a:lnTo>
                    <a:pt x="404" y="1492"/>
                  </a:lnTo>
                  <a:lnTo>
                    <a:pt x="405" y="1492"/>
                  </a:lnTo>
                  <a:close/>
                  <a:moveTo>
                    <a:pt x="217" y="1513"/>
                  </a:moveTo>
                  <a:lnTo>
                    <a:pt x="217" y="1514"/>
                  </a:lnTo>
                  <a:lnTo>
                    <a:pt x="217" y="1513"/>
                  </a:lnTo>
                  <a:close/>
                  <a:moveTo>
                    <a:pt x="231" y="1020"/>
                  </a:moveTo>
                  <a:lnTo>
                    <a:pt x="231" y="1022"/>
                  </a:lnTo>
                  <a:lnTo>
                    <a:pt x="231" y="1020"/>
                  </a:lnTo>
                  <a:close/>
                  <a:moveTo>
                    <a:pt x="353" y="1497"/>
                  </a:moveTo>
                  <a:lnTo>
                    <a:pt x="355" y="1497"/>
                  </a:lnTo>
                  <a:lnTo>
                    <a:pt x="353" y="1497"/>
                  </a:lnTo>
                  <a:close/>
                  <a:moveTo>
                    <a:pt x="165" y="1498"/>
                  </a:moveTo>
                  <a:lnTo>
                    <a:pt x="166" y="1498"/>
                  </a:lnTo>
                  <a:lnTo>
                    <a:pt x="165" y="1498"/>
                  </a:lnTo>
                  <a:close/>
                  <a:moveTo>
                    <a:pt x="218" y="1462"/>
                  </a:moveTo>
                  <a:lnTo>
                    <a:pt x="220" y="1462"/>
                  </a:lnTo>
                  <a:lnTo>
                    <a:pt x="218" y="1462"/>
                  </a:lnTo>
                  <a:close/>
                  <a:moveTo>
                    <a:pt x="187" y="1126"/>
                  </a:moveTo>
                  <a:lnTo>
                    <a:pt x="186" y="1126"/>
                  </a:lnTo>
                  <a:lnTo>
                    <a:pt x="186" y="1124"/>
                  </a:lnTo>
                  <a:lnTo>
                    <a:pt x="187" y="1126"/>
                  </a:lnTo>
                  <a:close/>
                  <a:moveTo>
                    <a:pt x="184" y="1451"/>
                  </a:moveTo>
                  <a:lnTo>
                    <a:pt x="186" y="1451"/>
                  </a:lnTo>
                  <a:lnTo>
                    <a:pt x="184" y="1451"/>
                  </a:lnTo>
                  <a:lnTo>
                    <a:pt x="186" y="1451"/>
                  </a:lnTo>
                  <a:lnTo>
                    <a:pt x="184" y="1451"/>
                  </a:lnTo>
                  <a:close/>
                  <a:moveTo>
                    <a:pt x="187" y="1514"/>
                  </a:moveTo>
                  <a:lnTo>
                    <a:pt x="189" y="1513"/>
                  </a:lnTo>
                  <a:lnTo>
                    <a:pt x="189" y="1514"/>
                  </a:lnTo>
                  <a:lnTo>
                    <a:pt x="189" y="1513"/>
                  </a:lnTo>
                  <a:lnTo>
                    <a:pt x="189" y="1514"/>
                  </a:lnTo>
                  <a:lnTo>
                    <a:pt x="187" y="1514"/>
                  </a:lnTo>
                  <a:close/>
                  <a:moveTo>
                    <a:pt x="199" y="1449"/>
                  </a:moveTo>
                  <a:lnTo>
                    <a:pt x="199" y="1451"/>
                  </a:lnTo>
                  <a:lnTo>
                    <a:pt x="199" y="1449"/>
                  </a:lnTo>
                  <a:lnTo>
                    <a:pt x="199" y="1451"/>
                  </a:lnTo>
                  <a:lnTo>
                    <a:pt x="199" y="1449"/>
                  </a:lnTo>
                  <a:close/>
                  <a:moveTo>
                    <a:pt x="158" y="1059"/>
                  </a:moveTo>
                  <a:lnTo>
                    <a:pt x="160" y="1059"/>
                  </a:lnTo>
                  <a:lnTo>
                    <a:pt x="158" y="1059"/>
                  </a:lnTo>
                  <a:close/>
                  <a:moveTo>
                    <a:pt x="220" y="1488"/>
                  </a:moveTo>
                  <a:lnTo>
                    <a:pt x="220" y="1487"/>
                  </a:lnTo>
                  <a:lnTo>
                    <a:pt x="220" y="1488"/>
                  </a:lnTo>
                  <a:close/>
                  <a:moveTo>
                    <a:pt x="246" y="1451"/>
                  </a:moveTo>
                  <a:lnTo>
                    <a:pt x="246" y="1449"/>
                  </a:lnTo>
                  <a:lnTo>
                    <a:pt x="246" y="1451"/>
                  </a:lnTo>
                  <a:lnTo>
                    <a:pt x="247" y="1451"/>
                  </a:lnTo>
                  <a:lnTo>
                    <a:pt x="246" y="1451"/>
                  </a:lnTo>
                  <a:close/>
                  <a:moveTo>
                    <a:pt x="191" y="1485"/>
                  </a:moveTo>
                  <a:lnTo>
                    <a:pt x="191" y="1484"/>
                  </a:lnTo>
                  <a:lnTo>
                    <a:pt x="191" y="1485"/>
                  </a:lnTo>
                  <a:close/>
                  <a:moveTo>
                    <a:pt x="459" y="1458"/>
                  </a:moveTo>
                  <a:lnTo>
                    <a:pt x="457" y="1458"/>
                  </a:lnTo>
                  <a:lnTo>
                    <a:pt x="459" y="1458"/>
                  </a:lnTo>
                  <a:close/>
                  <a:moveTo>
                    <a:pt x="238" y="1297"/>
                  </a:moveTo>
                  <a:lnTo>
                    <a:pt x="236" y="1297"/>
                  </a:lnTo>
                  <a:lnTo>
                    <a:pt x="238" y="1297"/>
                  </a:lnTo>
                  <a:close/>
                  <a:moveTo>
                    <a:pt x="282" y="1480"/>
                  </a:moveTo>
                  <a:lnTo>
                    <a:pt x="280" y="1480"/>
                  </a:lnTo>
                  <a:lnTo>
                    <a:pt x="282" y="1480"/>
                  </a:lnTo>
                  <a:close/>
                  <a:moveTo>
                    <a:pt x="330" y="1493"/>
                  </a:moveTo>
                  <a:lnTo>
                    <a:pt x="329" y="1493"/>
                  </a:lnTo>
                  <a:lnTo>
                    <a:pt x="330" y="1493"/>
                  </a:lnTo>
                  <a:close/>
                  <a:moveTo>
                    <a:pt x="243" y="1409"/>
                  </a:moveTo>
                  <a:lnTo>
                    <a:pt x="241" y="1409"/>
                  </a:lnTo>
                  <a:lnTo>
                    <a:pt x="243" y="1409"/>
                  </a:lnTo>
                  <a:close/>
                  <a:moveTo>
                    <a:pt x="200" y="1017"/>
                  </a:moveTo>
                  <a:lnTo>
                    <a:pt x="199" y="1017"/>
                  </a:lnTo>
                  <a:lnTo>
                    <a:pt x="200" y="1017"/>
                  </a:lnTo>
                  <a:close/>
                  <a:moveTo>
                    <a:pt x="342" y="657"/>
                  </a:moveTo>
                  <a:lnTo>
                    <a:pt x="342" y="656"/>
                  </a:lnTo>
                  <a:lnTo>
                    <a:pt x="343" y="657"/>
                  </a:lnTo>
                  <a:lnTo>
                    <a:pt x="342" y="657"/>
                  </a:lnTo>
                  <a:close/>
                  <a:moveTo>
                    <a:pt x="436" y="1480"/>
                  </a:moveTo>
                  <a:lnTo>
                    <a:pt x="436" y="1479"/>
                  </a:lnTo>
                  <a:lnTo>
                    <a:pt x="436" y="1480"/>
                  </a:lnTo>
                  <a:close/>
                  <a:moveTo>
                    <a:pt x="251" y="1503"/>
                  </a:moveTo>
                  <a:lnTo>
                    <a:pt x="251" y="1505"/>
                  </a:lnTo>
                  <a:lnTo>
                    <a:pt x="251" y="1503"/>
                  </a:lnTo>
                  <a:close/>
                  <a:moveTo>
                    <a:pt x="317" y="1506"/>
                  </a:moveTo>
                  <a:lnTo>
                    <a:pt x="317" y="1505"/>
                  </a:lnTo>
                  <a:lnTo>
                    <a:pt x="317" y="1506"/>
                  </a:lnTo>
                  <a:close/>
                  <a:moveTo>
                    <a:pt x="334" y="1500"/>
                  </a:moveTo>
                  <a:lnTo>
                    <a:pt x="334" y="1501"/>
                  </a:lnTo>
                  <a:lnTo>
                    <a:pt x="334" y="1500"/>
                  </a:lnTo>
                  <a:close/>
                  <a:moveTo>
                    <a:pt x="265" y="1495"/>
                  </a:moveTo>
                  <a:lnTo>
                    <a:pt x="267" y="1495"/>
                  </a:lnTo>
                  <a:lnTo>
                    <a:pt x="265" y="1495"/>
                  </a:lnTo>
                  <a:close/>
                  <a:moveTo>
                    <a:pt x="283" y="1448"/>
                  </a:moveTo>
                  <a:lnTo>
                    <a:pt x="285" y="1448"/>
                  </a:lnTo>
                  <a:lnTo>
                    <a:pt x="283" y="1448"/>
                  </a:lnTo>
                  <a:close/>
                  <a:moveTo>
                    <a:pt x="238" y="1360"/>
                  </a:moveTo>
                  <a:lnTo>
                    <a:pt x="239" y="1360"/>
                  </a:lnTo>
                  <a:lnTo>
                    <a:pt x="238" y="1360"/>
                  </a:lnTo>
                  <a:close/>
                  <a:moveTo>
                    <a:pt x="246" y="1329"/>
                  </a:moveTo>
                  <a:lnTo>
                    <a:pt x="247" y="1329"/>
                  </a:lnTo>
                  <a:lnTo>
                    <a:pt x="246" y="1329"/>
                  </a:lnTo>
                  <a:close/>
                  <a:moveTo>
                    <a:pt x="300" y="1415"/>
                  </a:moveTo>
                  <a:lnTo>
                    <a:pt x="301" y="1415"/>
                  </a:lnTo>
                  <a:lnTo>
                    <a:pt x="300" y="1415"/>
                  </a:lnTo>
                  <a:close/>
                  <a:moveTo>
                    <a:pt x="261" y="1459"/>
                  </a:moveTo>
                  <a:lnTo>
                    <a:pt x="259" y="1459"/>
                  </a:lnTo>
                  <a:lnTo>
                    <a:pt x="261" y="1459"/>
                  </a:lnTo>
                  <a:close/>
                  <a:moveTo>
                    <a:pt x="495" y="1451"/>
                  </a:moveTo>
                  <a:lnTo>
                    <a:pt x="493" y="1451"/>
                  </a:lnTo>
                  <a:lnTo>
                    <a:pt x="495" y="1451"/>
                  </a:lnTo>
                  <a:close/>
                  <a:moveTo>
                    <a:pt x="182" y="1443"/>
                  </a:moveTo>
                  <a:lnTo>
                    <a:pt x="182" y="1441"/>
                  </a:lnTo>
                  <a:lnTo>
                    <a:pt x="182" y="1443"/>
                  </a:lnTo>
                  <a:close/>
                  <a:moveTo>
                    <a:pt x="303" y="646"/>
                  </a:moveTo>
                  <a:lnTo>
                    <a:pt x="303" y="644"/>
                  </a:lnTo>
                  <a:lnTo>
                    <a:pt x="304" y="644"/>
                  </a:lnTo>
                  <a:lnTo>
                    <a:pt x="304" y="646"/>
                  </a:lnTo>
                  <a:lnTo>
                    <a:pt x="303" y="646"/>
                  </a:lnTo>
                  <a:close/>
                  <a:moveTo>
                    <a:pt x="236" y="1249"/>
                  </a:moveTo>
                  <a:lnTo>
                    <a:pt x="238" y="1249"/>
                  </a:lnTo>
                  <a:lnTo>
                    <a:pt x="236" y="1249"/>
                  </a:lnTo>
                  <a:close/>
                  <a:moveTo>
                    <a:pt x="267" y="1497"/>
                  </a:moveTo>
                  <a:lnTo>
                    <a:pt x="269" y="1497"/>
                  </a:lnTo>
                  <a:lnTo>
                    <a:pt x="269" y="1498"/>
                  </a:lnTo>
                  <a:lnTo>
                    <a:pt x="267" y="1497"/>
                  </a:lnTo>
                  <a:close/>
                  <a:moveTo>
                    <a:pt x="682" y="1362"/>
                  </a:moveTo>
                  <a:lnTo>
                    <a:pt x="682" y="1360"/>
                  </a:lnTo>
                  <a:lnTo>
                    <a:pt x="683" y="1360"/>
                  </a:lnTo>
                  <a:lnTo>
                    <a:pt x="682" y="1362"/>
                  </a:lnTo>
                  <a:close/>
                  <a:moveTo>
                    <a:pt x="244" y="1523"/>
                  </a:moveTo>
                  <a:lnTo>
                    <a:pt x="244" y="1521"/>
                  </a:lnTo>
                  <a:lnTo>
                    <a:pt x="246" y="1521"/>
                  </a:lnTo>
                  <a:lnTo>
                    <a:pt x="244" y="1523"/>
                  </a:lnTo>
                  <a:close/>
                  <a:moveTo>
                    <a:pt x="215" y="1004"/>
                  </a:moveTo>
                  <a:lnTo>
                    <a:pt x="213" y="1004"/>
                  </a:lnTo>
                  <a:lnTo>
                    <a:pt x="215" y="1004"/>
                  </a:lnTo>
                  <a:close/>
                  <a:moveTo>
                    <a:pt x="182" y="1088"/>
                  </a:moveTo>
                  <a:lnTo>
                    <a:pt x="182" y="1090"/>
                  </a:lnTo>
                  <a:lnTo>
                    <a:pt x="182" y="1088"/>
                  </a:lnTo>
                  <a:close/>
                  <a:moveTo>
                    <a:pt x="303" y="1461"/>
                  </a:moveTo>
                  <a:lnTo>
                    <a:pt x="304" y="1461"/>
                  </a:lnTo>
                  <a:lnTo>
                    <a:pt x="304" y="1462"/>
                  </a:lnTo>
                  <a:lnTo>
                    <a:pt x="303" y="1462"/>
                  </a:lnTo>
                  <a:lnTo>
                    <a:pt x="303" y="1461"/>
                  </a:lnTo>
                  <a:close/>
                  <a:moveTo>
                    <a:pt x="309" y="869"/>
                  </a:moveTo>
                  <a:lnTo>
                    <a:pt x="308" y="867"/>
                  </a:lnTo>
                  <a:lnTo>
                    <a:pt x="309" y="867"/>
                  </a:lnTo>
                  <a:lnTo>
                    <a:pt x="309" y="869"/>
                  </a:lnTo>
                  <a:close/>
                  <a:moveTo>
                    <a:pt x="267" y="1428"/>
                  </a:moveTo>
                  <a:lnTo>
                    <a:pt x="269" y="1428"/>
                  </a:lnTo>
                  <a:lnTo>
                    <a:pt x="269" y="1430"/>
                  </a:lnTo>
                  <a:lnTo>
                    <a:pt x="267" y="1428"/>
                  </a:lnTo>
                  <a:close/>
                  <a:moveTo>
                    <a:pt x="579" y="1384"/>
                  </a:moveTo>
                  <a:lnTo>
                    <a:pt x="579" y="1386"/>
                  </a:lnTo>
                  <a:lnTo>
                    <a:pt x="579" y="1384"/>
                  </a:lnTo>
                  <a:close/>
                  <a:moveTo>
                    <a:pt x="236" y="1443"/>
                  </a:moveTo>
                  <a:lnTo>
                    <a:pt x="238" y="1443"/>
                  </a:lnTo>
                  <a:lnTo>
                    <a:pt x="236" y="1443"/>
                  </a:lnTo>
                  <a:close/>
                  <a:moveTo>
                    <a:pt x="236" y="991"/>
                  </a:moveTo>
                  <a:lnTo>
                    <a:pt x="236" y="989"/>
                  </a:lnTo>
                  <a:lnTo>
                    <a:pt x="236" y="991"/>
                  </a:lnTo>
                  <a:close/>
                  <a:moveTo>
                    <a:pt x="537" y="1412"/>
                  </a:moveTo>
                  <a:lnTo>
                    <a:pt x="535" y="1412"/>
                  </a:lnTo>
                  <a:lnTo>
                    <a:pt x="537" y="1412"/>
                  </a:lnTo>
                  <a:close/>
                  <a:moveTo>
                    <a:pt x="368" y="1484"/>
                  </a:moveTo>
                  <a:lnTo>
                    <a:pt x="369" y="1484"/>
                  </a:lnTo>
                  <a:lnTo>
                    <a:pt x="368" y="1484"/>
                  </a:lnTo>
                  <a:close/>
                  <a:moveTo>
                    <a:pt x="300" y="1480"/>
                  </a:moveTo>
                  <a:lnTo>
                    <a:pt x="300" y="1482"/>
                  </a:lnTo>
                  <a:lnTo>
                    <a:pt x="298" y="1480"/>
                  </a:lnTo>
                  <a:lnTo>
                    <a:pt x="300" y="1480"/>
                  </a:lnTo>
                  <a:close/>
                  <a:moveTo>
                    <a:pt x="277" y="1521"/>
                  </a:moveTo>
                  <a:lnTo>
                    <a:pt x="277" y="1519"/>
                  </a:lnTo>
                  <a:lnTo>
                    <a:pt x="277" y="1521"/>
                  </a:lnTo>
                  <a:close/>
                  <a:moveTo>
                    <a:pt x="542" y="1406"/>
                  </a:moveTo>
                  <a:lnTo>
                    <a:pt x="543" y="1406"/>
                  </a:lnTo>
                  <a:lnTo>
                    <a:pt x="542" y="1406"/>
                  </a:lnTo>
                  <a:close/>
                  <a:moveTo>
                    <a:pt x="332" y="1503"/>
                  </a:moveTo>
                  <a:lnTo>
                    <a:pt x="332" y="1505"/>
                  </a:lnTo>
                  <a:lnTo>
                    <a:pt x="332" y="1503"/>
                  </a:lnTo>
                  <a:close/>
                  <a:moveTo>
                    <a:pt x="249" y="1524"/>
                  </a:moveTo>
                  <a:lnTo>
                    <a:pt x="249" y="1523"/>
                  </a:lnTo>
                  <a:lnTo>
                    <a:pt x="249" y="1524"/>
                  </a:lnTo>
                  <a:close/>
                  <a:moveTo>
                    <a:pt x="285" y="1480"/>
                  </a:moveTo>
                  <a:lnTo>
                    <a:pt x="285" y="1479"/>
                  </a:lnTo>
                  <a:lnTo>
                    <a:pt x="285" y="1480"/>
                  </a:lnTo>
                  <a:close/>
                  <a:moveTo>
                    <a:pt x="239" y="1298"/>
                  </a:moveTo>
                  <a:lnTo>
                    <a:pt x="239" y="1297"/>
                  </a:lnTo>
                  <a:lnTo>
                    <a:pt x="239" y="1298"/>
                  </a:lnTo>
                  <a:close/>
                  <a:moveTo>
                    <a:pt x="238" y="1266"/>
                  </a:moveTo>
                  <a:lnTo>
                    <a:pt x="238" y="1264"/>
                  </a:lnTo>
                  <a:lnTo>
                    <a:pt x="238" y="1266"/>
                  </a:lnTo>
                  <a:close/>
                  <a:moveTo>
                    <a:pt x="306" y="1506"/>
                  </a:moveTo>
                  <a:lnTo>
                    <a:pt x="306" y="1508"/>
                  </a:lnTo>
                  <a:lnTo>
                    <a:pt x="306" y="1506"/>
                  </a:lnTo>
                  <a:close/>
                  <a:moveTo>
                    <a:pt x="254" y="1423"/>
                  </a:moveTo>
                  <a:lnTo>
                    <a:pt x="256" y="1423"/>
                  </a:lnTo>
                  <a:lnTo>
                    <a:pt x="254" y="1423"/>
                  </a:lnTo>
                  <a:close/>
                  <a:moveTo>
                    <a:pt x="251" y="986"/>
                  </a:moveTo>
                  <a:lnTo>
                    <a:pt x="251" y="984"/>
                  </a:lnTo>
                  <a:lnTo>
                    <a:pt x="252" y="986"/>
                  </a:lnTo>
                  <a:lnTo>
                    <a:pt x="251" y="986"/>
                  </a:lnTo>
                  <a:close/>
                  <a:moveTo>
                    <a:pt x="335" y="1505"/>
                  </a:moveTo>
                  <a:lnTo>
                    <a:pt x="334" y="1505"/>
                  </a:lnTo>
                  <a:lnTo>
                    <a:pt x="335" y="1503"/>
                  </a:lnTo>
                  <a:lnTo>
                    <a:pt x="335" y="1505"/>
                  </a:lnTo>
                  <a:close/>
                  <a:moveTo>
                    <a:pt x="428" y="1479"/>
                  </a:moveTo>
                  <a:lnTo>
                    <a:pt x="430" y="1479"/>
                  </a:lnTo>
                  <a:lnTo>
                    <a:pt x="428" y="1479"/>
                  </a:lnTo>
                  <a:close/>
                  <a:moveTo>
                    <a:pt x="243" y="1290"/>
                  </a:moveTo>
                  <a:lnTo>
                    <a:pt x="244" y="1290"/>
                  </a:lnTo>
                  <a:lnTo>
                    <a:pt x="243" y="1290"/>
                  </a:lnTo>
                  <a:close/>
                  <a:moveTo>
                    <a:pt x="280" y="1406"/>
                  </a:moveTo>
                  <a:lnTo>
                    <a:pt x="278" y="1406"/>
                  </a:lnTo>
                  <a:lnTo>
                    <a:pt x="278" y="1404"/>
                  </a:lnTo>
                  <a:lnTo>
                    <a:pt x="280" y="1404"/>
                  </a:lnTo>
                  <a:lnTo>
                    <a:pt x="280" y="1406"/>
                  </a:lnTo>
                  <a:close/>
                  <a:moveTo>
                    <a:pt x="272" y="1461"/>
                  </a:moveTo>
                  <a:lnTo>
                    <a:pt x="274" y="1461"/>
                  </a:lnTo>
                  <a:lnTo>
                    <a:pt x="272" y="1461"/>
                  </a:lnTo>
                  <a:close/>
                  <a:moveTo>
                    <a:pt x="200" y="1471"/>
                  </a:moveTo>
                  <a:lnTo>
                    <a:pt x="199" y="1471"/>
                  </a:lnTo>
                  <a:lnTo>
                    <a:pt x="199" y="1469"/>
                  </a:lnTo>
                  <a:lnTo>
                    <a:pt x="200" y="1469"/>
                  </a:lnTo>
                  <a:lnTo>
                    <a:pt x="200" y="1471"/>
                  </a:lnTo>
                  <a:close/>
                  <a:moveTo>
                    <a:pt x="586" y="1397"/>
                  </a:moveTo>
                  <a:lnTo>
                    <a:pt x="586" y="1399"/>
                  </a:lnTo>
                  <a:lnTo>
                    <a:pt x="586" y="1397"/>
                  </a:lnTo>
                  <a:close/>
                  <a:moveTo>
                    <a:pt x="226" y="1220"/>
                  </a:moveTo>
                  <a:lnTo>
                    <a:pt x="226" y="1222"/>
                  </a:lnTo>
                  <a:lnTo>
                    <a:pt x="228" y="1222"/>
                  </a:lnTo>
                  <a:lnTo>
                    <a:pt x="226" y="1222"/>
                  </a:lnTo>
                  <a:lnTo>
                    <a:pt x="226" y="1220"/>
                  </a:lnTo>
                  <a:close/>
                  <a:moveTo>
                    <a:pt x="169" y="1440"/>
                  </a:moveTo>
                  <a:lnTo>
                    <a:pt x="169" y="1438"/>
                  </a:lnTo>
                  <a:lnTo>
                    <a:pt x="169" y="1440"/>
                  </a:lnTo>
                  <a:close/>
                  <a:moveTo>
                    <a:pt x="355" y="1479"/>
                  </a:moveTo>
                  <a:lnTo>
                    <a:pt x="355" y="1477"/>
                  </a:lnTo>
                  <a:lnTo>
                    <a:pt x="355" y="1479"/>
                  </a:lnTo>
                  <a:close/>
                  <a:moveTo>
                    <a:pt x="261" y="922"/>
                  </a:moveTo>
                  <a:lnTo>
                    <a:pt x="262" y="922"/>
                  </a:lnTo>
                  <a:lnTo>
                    <a:pt x="262" y="924"/>
                  </a:lnTo>
                  <a:lnTo>
                    <a:pt x="262" y="922"/>
                  </a:lnTo>
                  <a:lnTo>
                    <a:pt x="261" y="922"/>
                  </a:lnTo>
                  <a:close/>
                  <a:moveTo>
                    <a:pt x="283" y="625"/>
                  </a:moveTo>
                  <a:lnTo>
                    <a:pt x="282" y="626"/>
                  </a:lnTo>
                  <a:lnTo>
                    <a:pt x="282" y="625"/>
                  </a:lnTo>
                  <a:lnTo>
                    <a:pt x="283" y="625"/>
                  </a:lnTo>
                  <a:close/>
                  <a:moveTo>
                    <a:pt x="259" y="927"/>
                  </a:moveTo>
                  <a:lnTo>
                    <a:pt x="259" y="926"/>
                  </a:lnTo>
                  <a:lnTo>
                    <a:pt x="259" y="927"/>
                  </a:lnTo>
                  <a:close/>
                  <a:moveTo>
                    <a:pt x="223" y="1490"/>
                  </a:moveTo>
                  <a:lnTo>
                    <a:pt x="225" y="1492"/>
                  </a:lnTo>
                  <a:lnTo>
                    <a:pt x="223" y="1492"/>
                  </a:lnTo>
                  <a:lnTo>
                    <a:pt x="223" y="1490"/>
                  </a:lnTo>
                  <a:close/>
                  <a:moveTo>
                    <a:pt x="217" y="1017"/>
                  </a:moveTo>
                  <a:lnTo>
                    <a:pt x="215" y="1017"/>
                  </a:lnTo>
                  <a:lnTo>
                    <a:pt x="215" y="1015"/>
                  </a:lnTo>
                  <a:lnTo>
                    <a:pt x="217" y="1017"/>
                  </a:lnTo>
                  <a:close/>
                  <a:moveTo>
                    <a:pt x="422" y="1485"/>
                  </a:moveTo>
                  <a:lnTo>
                    <a:pt x="423" y="1485"/>
                  </a:lnTo>
                  <a:lnTo>
                    <a:pt x="422" y="1485"/>
                  </a:lnTo>
                  <a:close/>
                  <a:moveTo>
                    <a:pt x="165" y="1501"/>
                  </a:moveTo>
                  <a:lnTo>
                    <a:pt x="165" y="1503"/>
                  </a:lnTo>
                  <a:lnTo>
                    <a:pt x="165" y="1501"/>
                  </a:lnTo>
                  <a:close/>
                  <a:moveTo>
                    <a:pt x="226" y="1440"/>
                  </a:moveTo>
                  <a:lnTo>
                    <a:pt x="228" y="1440"/>
                  </a:lnTo>
                  <a:lnTo>
                    <a:pt x="226" y="1440"/>
                  </a:lnTo>
                  <a:close/>
                  <a:moveTo>
                    <a:pt x="169" y="1070"/>
                  </a:moveTo>
                  <a:lnTo>
                    <a:pt x="171" y="1070"/>
                  </a:lnTo>
                  <a:lnTo>
                    <a:pt x="169" y="1070"/>
                  </a:lnTo>
                  <a:lnTo>
                    <a:pt x="171" y="1070"/>
                  </a:lnTo>
                  <a:lnTo>
                    <a:pt x="169" y="1070"/>
                  </a:lnTo>
                  <a:lnTo>
                    <a:pt x="171" y="1070"/>
                  </a:lnTo>
                  <a:lnTo>
                    <a:pt x="169" y="1070"/>
                  </a:lnTo>
                  <a:close/>
                  <a:moveTo>
                    <a:pt x="259" y="1407"/>
                  </a:moveTo>
                  <a:lnTo>
                    <a:pt x="257" y="1407"/>
                  </a:lnTo>
                  <a:lnTo>
                    <a:pt x="259" y="1407"/>
                  </a:lnTo>
                  <a:close/>
                  <a:moveTo>
                    <a:pt x="246" y="1505"/>
                  </a:moveTo>
                  <a:lnTo>
                    <a:pt x="244" y="1505"/>
                  </a:lnTo>
                  <a:lnTo>
                    <a:pt x="246" y="1505"/>
                  </a:lnTo>
                  <a:close/>
                  <a:moveTo>
                    <a:pt x="238" y="1378"/>
                  </a:moveTo>
                  <a:lnTo>
                    <a:pt x="236" y="1378"/>
                  </a:lnTo>
                  <a:lnTo>
                    <a:pt x="238" y="1378"/>
                  </a:lnTo>
                  <a:close/>
                  <a:moveTo>
                    <a:pt x="179" y="1501"/>
                  </a:moveTo>
                  <a:lnTo>
                    <a:pt x="179" y="1503"/>
                  </a:lnTo>
                  <a:lnTo>
                    <a:pt x="179" y="1501"/>
                  </a:lnTo>
                  <a:close/>
                  <a:moveTo>
                    <a:pt x="210" y="1014"/>
                  </a:moveTo>
                  <a:lnTo>
                    <a:pt x="208" y="1014"/>
                  </a:lnTo>
                  <a:lnTo>
                    <a:pt x="210" y="1014"/>
                  </a:lnTo>
                  <a:close/>
                  <a:moveTo>
                    <a:pt x="252" y="1453"/>
                  </a:moveTo>
                  <a:lnTo>
                    <a:pt x="251" y="1453"/>
                  </a:lnTo>
                  <a:lnTo>
                    <a:pt x="252" y="1453"/>
                  </a:lnTo>
                  <a:close/>
                  <a:moveTo>
                    <a:pt x="356" y="1490"/>
                  </a:moveTo>
                  <a:lnTo>
                    <a:pt x="358" y="1490"/>
                  </a:lnTo>
                  <a:lnTo>
                    <a:pt x="356" y="1490"/>
                  </a:lnTo>
                  <a:close/>
                  <a:moveTo>
                    <a:pt x="238" y="1446"/>
                  </a:moveTo>
                  <a:lnTo>
                    <a:pt x="239" y="1446"/>
                  </a:lnTo>
                  <a:lnTo>
                    <a:pt x="238" y="1446"/>
                  </a:lnTo>
                  <a:close/>
                  <a:moveTo>
                    <a:pt x="215" y="1501"/>
                  </a:moveTo>
                  <a:lnTo>
                    <a:pt x="215" y="1500"/>
                  </a:lnTo>
                  <a:lnTo>
                    <a:pt x="217" y="1500"/>
                  </a:lnTo>
                  <a:lnTo>
                    <a:pt x="217" y="1501"/>
                  </a:lnTo>
                  <a:lnTo>
                    <a:pt x="215" y="1501"/>
                  </a:lnTo>
                  <a:close/>
                  <a:moveTo>
                    <a:pt x="186" y="1085"/>
                  </a:moveTo>
                  <a:lnTo>
                    <a:pt x="186" y="1083"/>
                  </a:lnTo>
                  <a:lnTo>
                    <a:pt x="186" y="1085"/>
                  </a:lnTo>
                  <a:close/>
                  <a:moveTo>
                    <a:pt x="265" y="1493"/>
                  </a:moveTo>
                  <a:lnTo>
                    <a:pt x="264" y="1493"/>
                  </a:lnTo>
                  <a:lnTo>
                    <a:pt x="265" y="1493"/>
                  </a:lnTo>
                  <a:close/>
                  <a:moveTo>
                    <a:pt x="199" y="1510"/>
                  </a:moveTo>
                  <a:lnTo>
                    <a:pt x="199" y="1508"/>
                  </a:lnTo>
                  <a:lnTo>
                    <a:pt x="199" y="1510"/>
                  </a:lnTo>
                  <a:close/>
                  <a:moveTo>
                    <a:pt x="287" y="1458"/>
                  </a:moveTo>
                  <a:lnTo>
                    <a:pt x="287" y="1456"/>
                  </a:lnTo>
                  <a:lnTo>
                    <a:pt x="288" y="1456"/>
                  </a:lnTo>
                  <a:lnTo>
                    <a:pt x="288" y="1458"/>
                  </a:lnTo>
                  <a:lnTo>
                    <a:pt x="287" y="1458"/>
                  </a:lnTo>
                  <a:close/>
                  <a:moveTo>
                    <a:pt x="208" y="1503"/>
                  </a:moveTo>
                  <a:lnTo>
                    <a:pt x="208" y="1505"/>
                  </a:lnTo>
                  <a:lnTo>
                    <a:pt x="208" y="1503"/>
                  </a:lnTo>
                  <a:close/>
                  <a:moveTo>
                    <a:pt x="342" y="1441"/>
                  </a:moveTo>
                  <a:lnTo>
                    <a:pt x="343" y="1441"/>
                  </a:lnTo>
                  <a:lnTo>
                    <a:pt x="342" y="1441"/>
                  </a:lnTo>
                  <a:close/>
                  <a:moveTo>
                    <a:pt x="199" y="1155"/>
                  </a:moveTo>
                  <a:lnTo>
                    <a:pt x="199" y="1153"/>
                  </a:lnTo>
                  <a:lnTo>
                    <a:pt x="199" y="1155"/>
                  </a:lnTo>
                  <a:close/>
                  <a:moveTo>
                    <a:pt x="212" y="1451"/>
                  </a:moveTo>
                  <a:lnTo>
                    <a:pt x="213" y="1451"/>
                  </a:lnTo>
                  <a:lnTo>
                    <a:pt x="212" y="1451"/>
                  </a:lnTo>
                  <a:lnTo>
                    <a:pt x="213" y="1451"/>
                  </a:lnTo>
                  <a:lnTo>
                    <a:pt x="212" y="1451"/>
                  </a:lnTo>
                  <a:close/>
                  <a:moveTo>
                    <a:pt x="287" y="916"/>
                  </a:moveTo>
                  <a:lnTo>
                    <a:pt x="288" y="916"/>
                  </a:lnTo>
                  <a:lnTo>
                    <a:pt x="287" y="916"/>
                  </a:lnTo>
                  <a:close/>
                  <a:moveTo>
                    <a:pt x="197" y="1036"/>
                  </a:moveTo>
                  <a:lnTo>
                    <a:pt x="197" y="1038"/>
                  </a:lnTo>
                  <a:lnTo>
                    <a:pt x="197" y="1036"/>
                  </a:lnTo>
                  <a:close/>
                  <a:moveTo>
                    <a:pt x="535" y="1406"/>
                  </a:moveTo>
                  <a:lnTo>
                    <a:pt x="534" y="1406"/>
                  </a:lnTo>
                  <a:lnTo>
                    <a:pt x="534" y="1404"/>
                  </a:lnTo>
                  <a:lnTo>
                    <a:pt x="535" y="1404"/>
                  </a:lnTo>
                  <a:lnTo>
                    <a:pt x="535" y="1406"/>
                  </a:lnTo>
                  <a:close/>
                  <a:moveTo>
                    <a:pt x="465" y="1458"/>
                  </a:moveTo>
                  <a:lnTo>
                    <a:pt x="467" y="1458"/>
                  </a:lnTo>
                  <a:lnTo>
                    <a:pt x="465" y="1458"/>
                  </a:lnTo>
                  <a:close/>
                  <a:moveTo>
                    <a:pt x="243" y="1331"/>
                  </a:moveTo>
                  <a:lnTo>
                    <a:pt x="244" y="1331"/>
                  </a:lnTo>
                  <a:lnTo>
                    <a:pt x="243" y="1331"/>
                  </a:lnTo>
                  <a:close/>
                  <a:moveTo>
                    <a:pt x="247" y="983"/>
                  </a:moveTo>
                  <a:lnTo>
                    <a:pt x="249" y="983"/>
                  </a:lnTo>
                  <a:lnTo>
                    <a:pt x="247" y="983"/>
                  </a:lnTo>
                  <a:close/>
                  <a:moveTo>
                    <a:pt x="202" y="1018"/>
                  </a:moveTo>
                  <a:lnTo>
                    <a:pt x="202" y="1017"/>
                  </a:lnTo>
                  <a:lnTo>
                    <a:pt x="202" y="1018"/>
                  </a:lnTo>
                  <a:close/>
                  <a:moveTo>
                    <a:pt x="324" y="1511"/>
                  </a:moveTo>
                  <a:lnTo>
                    <a:pt x="324" y="1510"/>
                  </a:lnTo>
                  <a:lnTo>
                    <a:pt x="324" y="1511"/>
                  </a:lnTo>
                  <a:close/>
                  <a:moveTo>
                    <a:pt x="243" y="1350"/>
                  </a:moveTo>
                  <a:lnTo>
                    <a:pt x="244" y="1350"/>
                  </a:lnTo>
                  <a:lnTo>
                    <a:pt x="243" y="1350"/>
                  </a:lnTo>
                  <a:close/>
                  <a:moveTo>
                    <a:pt x="639" y="1355"/>
                  </a:moveTo>
                  <a:lnTo>
                    <a:pt x="639" y="1357"/>
                  </a:lnTo>
                  <a:lnTo>
                    <a:pt x="639" y="1355"/>
                  </a:lnTo>
                  <a:close/>
                  <a:moveTo>
                    <a:pt x="347" y="1479"/>
                  </a:moveTo>
                  <a:lnTo>
                    <a:pt x="348" y="1479"/>
                  </a:lnTo>
                  <a:lnTo>
                    <a:pt x="347" y="1479"/>
                  </a:lnTo>
                  <a:close/>
                  <a:moveTo>
                    <a:pt x="547" y="1407"/>
                  </a:moveTo>
                  <a:lnTo>
                    <a:pt x="545" y="1407"/>
                  </a:lnTo>
                  <a:lnTo>
                    <a:pt x="547" y="1406"/>
                  </a:lnTo>
                  <a:lnTo>
                    <a:pt x="547" y="1407"/>
                  </a:lnTo>
                  <a:close/>
                  <a:moveTo>
                    <a:pt x="277" y="1488"/>
                  </a:moveTo>
                  <a:lnTo>
                    <a:pt x="277" y="1487"/>
                  </a:lnTo>
                  <a:lnTo>
                    <a:pt x="277" y="1488"/>
                  </a:lnTo>
                  <a:close/>
                  <a:moveTo>
                    <a:pt x="290" y="918"/>
                  </a:moveTo>
                  <a:lnTo>
                    <a:pt x="290" y="916"/>
                  </a:lnTo>
                  <a:lnTo>
                    <a:pt x="290" y="918"/>
                  </a:lnTo>
                  <a:close/>
                  <a:moveTo>
                    <a:pt x="337" y="796"/>
                  </a:moveTo>
                  <a:lnTo>
                    <a:pt x="337" y="794"/>
                  </a:lnTo>
                  <a:lnTo>
                    <a:pt x="337" y="796"/>
                  </a:lnTo>
                  <a:close/>
                  <a:moveTo>
                    <a:pt x="304" y="1511"/>
                  </a:moveTo>
                  <a:lnTo>
                    <a:pt x="306" y="1511"/>
                  </a:lnTo>
                  <a:lnTo>
                    <a:pt x="304" y="1511"/>
                  </a:lnTo>
                  <a:close/>
                  <a:moveTo>
                    <a:pt x="246" y="1389"/>
                  </a:moveTo>
                  <a:lnTo>
                    <a:pt x="247" y="1389"/>
                  </a:lnTo>
                  <a:lnTo>
                    <a:pt x="246" y="1389"/>
                  </a:lnTo>
                  <a:close/>
                  <a:moveTo>
                    <a:pt x="290" y="1521"/>
                  </a:moveTo>
                  <a:lnTo>
                    <a:pt x="291" y="1521"/>
                  </a:lnTo>
                  <a:lnTo>
                    <a:pt x="290" y="1521"/>
                  </a:lnTo>
                  <a:close/>
                  <a:moveTo>
                    <a:pt x="205" y="1492"/>
                  </a:moveTo>
                  <a:lnTo>
                    <a:pt x="207" y="1492"/>
                  </a:lnTo>
                  <a:lnTo>
                    <a:pt x="205" y="1492"/>
                  </a:lnTo>
                  <a:close/>
                  <a:moveTo>
                    <a:pt x="210" y="1176"/>
                  </a:moveTo>
                  <a:lnTo>
                    <a:pt x="210" y="1178"/>
                  </a:lnTo>
                  <a:lnTo>
                    <a:pt x="210" y="1176"/>
                  </a:lnTo>
                  <a:close/>
                  <a:moveTo>
                    <a:pt x="553" y="1389"/>
                  </a:moveTo>
                  <a:lnTo>
                    <a:pt x="555" y="1389"/>
                  </a:lnTo>
                  <a:lnTo>
                    <a:pt x="553" y="1389"/>
                  </a:lnTo>
                  <a:close/>
                  <a:moveTo>
                    <a:pt x="202" y="1451"/>
                  </a:moveTo>
                  <a:lnTo>
                    <a:pt x="204" y="1449"/>
                  </a:lnTo>
                  <a:lnTo>
                    <a:pt x="204" y="1451"/>
                  </a:lnTo>
                  <a:lnTo>
                    <a:pt x="202" y="1451"/>
                  </a:lnTo>
                  <a:lnTo>
                    <a:pt x="204" y="1451"/>
                  </a:lnTo>
                  <a:lnTo>
                    <a:pt x="202" y="1451"/>
                  </a:lnTo>
                  <a:close/>
                  <a:moveTo>
                    <a:pt x="158" y="1446"/>
                  </a:moveTo>
                  <a:lnTo>
                    <a:pt x="158" y="1448"/>
                  </a:lnTo>
                  <a:lnTo>
                    <a:pt x="158" y="1446"/>
                  </a:lnTo>
                  <a:close/>
                  <a:moveTo>
                    <a:pt x="134" y="1472"/>
                  </a:moveTo>
                  <a:lnTo>
                    <a:pt x="135" y="1472"/>
                  </a:lnTo>
                  <a:lnTo>
                    <a:pt x="134" y="1472"/>
                  </a:lnTo>
                  <a:close/>
                  <a:moveTo>
                    <a:pt x="223" y="1456"/>
                  </a:moveTo>
                  <a:lnTo>
                    <a:pt x="225" y="1456"/>
                  </a:lnTo>
                  <a:lnTo>
                    <a:pt x="223" y="1456"/>
                  </a:lnTo>
                  <a:close/>
                  <a:moveTo>
                    <a:pt x="251" y="1475"/>
                  </a:moveTo>
                  <a:lnTo>
                    <a:pt x="251" y="1477"/>
                  </a:lnTo>
                  <a:lnTo>
                    <a:pt x="251" y="1475"/>
                  </a:lnTo>
                  <a:close/>
                  <a:moveTo>
                    <a:pt x="230" y="1488"/>
                  </a:moveTo>
                  <a:lnTo>
                    <a:pt x="228" y="1488"/>
                  </a:lnTo>
                  <a:lnTo>
                    <a:pt x="230" y="1488"/>
                  </a:lnTo>
                  <a:close/>
                  <a:moveTo>
                    <a:pt x="296" y="652"/>
                  </a:moveTo>
                  <a:lnTo>
                    <a:pt x="298" y="652"/>
                  </a:lnTo>
                  <a:lnTo>
                    <a:pt x="296" y="652"/>
                  </a:lnTo>
                  <a:close/>
                  <a:moveTo>
                    <a:pt x="326" y="1513"/>
                  </a:moveTo>
                  <a:lnTo>
                    <a:pt x="327" y="1513"/>
                  </a:lnTo>
                  <a:lnTo>
                    <a:pt x="327" y="1514"/>
                  </a:lnTo>
                  <a:lnTo>
                    <a:pt x="327" y="1513"/>
                  </a:lnTo>
                  <a:lnTo>
                    <a:pt x="326" y="1514"/>
                  </a:lnTo>
                  <a:lnTo>
                    <a:pt x="326" y="1513"/>
                  </a:lnTo>
                  <a:close/>
                  <a:moveTo>
                    <a:pt x="226" y="1420"/>
                  </a:moveTo>
                  <a:lnTo>
                    <a:pt x="225" y="1420"/>
                  </a:lnTo>
                  <a:lnTo>
                    <a:pt x="226" y="1420"/>
                  </a:lnTo>
                  <a:close/>
                  <a:moveTo>
                    <a:pt x="220" y="1025"/>
                  </a:moveTo>
                  <a:lnTo>
                    <a:pt x="218" y="1025"/>
                  </a:lnTo>
                  <a:lnTo>
                    <a:pt x="220" y="1025"/>
                  </a:lnTo>
                  <a:close/>
                  <a:moveTo>
                    <a:pt x="295" y="656"/>
                  </a:moveTo>
                  <a:lnTo>
                    <a:pt x="295" y="657"/>
                  </a:lnTo>
                  <a:lnTo>
                    <a:pt x="295" y="656"/>
                  </a:lnTo>
                  <a:close/>
                  <a:moveTo>
                    <a:pt x="264" y="1510"/>
                  </a:moveTo>
                  <a:lnTo>
                    <a:pt x="265" y="1510"/>
                  </a:lnTo>
                  <a:lnTo>
                    <a:pt x="264" y="1510"/>
                  </a:lnTo>
                  <a:close/>
                  <a:moveTo>
                    <a:pt x="163" y="1449"/>
                  </a:moveTo>
                  <a:lnTo>
                    <a:pt x="163" y="1448"/>
                  </a:lnTo>
                  <a:lnTo>
                    <a:pt x="163" y="1449"/>
                  </a:lnTo>
                  <a:close/>
                  <a:moveTo>
                    <a:pt x="410" y="1480"/>
                  </a:moveTo>
                  <a:lnTo>
                    <a:pt x="412" y="1480"/>
                  </a:lnTo>
                  <a:lnTo>
                    <a:pt x="410" y="1480"/>
                  </a:lnTo>
                  <a:close/>
                  <a:moveTo>
                    <a:pt x="204" y="1480"/>
                  </a:moveTo>
                  <a:lnTo>
                    <a:pt x="205" y="1480"/>
                  </a:lnTo>
                  <a:lnTo>
                    <a:pt x="204" y="1480"/>
                  </a:lnTo>
                  <a:close/>
                  <a:moveTo>
                    <a:pt x="594" y="1388"/>
                  </a:moveTo>
                  <a:lnTo>
                    <a:pt x="594" y="1386"/>
                  </a:lnTo>
                  <a:lnTo>
                    <a:pt x="594" y="1388"/>
                  </a:lnTo>
                  <a:close/>
                  <a:moveTo>
                    <a:pt x="283" y="1407"/>
                  </a:moveTo>
                  <a:lnTo>
                    <a:pt x="283" y="1406"/>
                  </a:lnTo>
                  <a:lnTo>
                    <a:pt x="283" y="1407"/>
                  </a:lnTo>
                  <a:close/>
                  <a:moveTo>
                    <a:pt x="257" y="1521"/>
                  </a:moveTo>
                  <a:lnTo>
                    <a:pt x="259" y="1521"/>
                  </a:lnTo>
                  <a:lnTo>
                    <a:pt x="257" y="1521"/>
                  </a:lnTo>
                  <a:close/>
                  <a:moveTo>
                    <a:pt x="309" y="1497"/>
                  </a:moveTo>
                  <a:lnTo>
                    <a:pt x="309" y="1495"/>
                  </a:lnTo>
                  <a:lnTo>
                    <a:pt x="309" y="1497"/>
                  </a:lnTo>
                  <a:close/>
                  <a:moveTo>
                    <a:pt x="454" y="1466"/>
                  </a:moveTo>
                  <a:lnTo>
                    <a:pt x="452" y="1466"/>
                  </a:lnTo>
                  <a:lnTo>
                    <a:pt x="454" y="1466"/>
                  </a:lnTo>
                  <a:close/>
                  <a:moveTo>
                    <a:pt x="212" y="1179"/>
                  </a:moveTo>
                  <a:lnTo>
                    <a:pt x="212" y="1178"/>
                  </a:lnTo>
                  <a:lnTo>
                    <a:pt x="213" y="1178"/>
                  </a:lnTo>
                  <a:lnTo>
                    <a:pt x="213" y="1179"/>
                  </a:lnTo>
                  <a:lnTo>
                    <a:pt x="212" y="1179"/>
                  </a:lnTo>
                  <a:close/>
                  <a:moveTo>
                    <a:pt x="347" y="1456"/>
                  </a:moveTo>
                  <a:lnTo>
                    <a:pt x="347" y="1454"/>
                  </a:lnTo>
                  <a:lnTo>
                    <a:pt x="347" y="1456"/>
                  </a:lnTo>
                  <a:close/>
                  <a:moveTo>
                    <a:pt x="189" y="1467"/>
                  </a:moveTo>
                  <a:lnTo>
                    <a:pt x="189" y="1469"/>
                  </a:lnTo>
                  <a:lnTo>
                    <a:pt x="189" y="1467"/>
                  </a:lnTo>
                  <a:close/>
                  <a:moveTo>
                    <a:pt x="259" y="942"/>
                  </a:moveTo>
                  <a:lnTo>
                    <a:pt x="259" y="940"/>
                  </a:lnTo>
                  <a:lnTo>
                    <a:pt x="259" y="942"/>
                  </a:lnTo>
                  <a:close/>
                  <a:moveTo>
                    <a:pt x="365" y="1482"/>
                  </a:moveTo>
                  <a:lnTo>
                    <a:pt x="365" y="1480"/>
                  </a:lnTo>
                  <a:lnTo>
                    <a:pt x="365" y="1482"/>
                  </a:lnTo>
                  <a:close/>
                  <a:moveTo>
                    <a:pt x="191" y="1511"/>
                  </a:moveTo>
                  <a:lnTo>
                    <a:pt x="191" y="1510"/>
                  </a:lnTo>
                  <a:lnTo>
                    <a:pt x="192" y="1511"/>
                  </a:lnTo>
                  <a:lnTo>
                    <a:pt x="191" y="1511"/>
                  </a:lnTo>
                  <a:close/>
                  <a:moveTo>
                    <a:pt x="244" y="1511"/>
                  </a:moveTo>
                  <a:lnTo>
                    <a:pt x="244" y="1510"/>
                  </a:lnTo>
                  <a:lnTo>
                    <a:pt x="246" y="1511"/>
                  </a:lnTo>
                  <a:lnTo>
                    <a:pt x="244" y="1511"/>
                  </a:lnTo>
                  <a:close/>
                  <a:moveTo>
                    <a:pt x="306" y="1497"/>
                  </a:moveTo>
                  <a:lnTo>
                    <a:pt x="306" y="1498"/>
                  </a:lnTo>
                  <a:lnTo>
                    <a:pt x="306" y="1497"/>
                  </a:lnTo>
                  <a:close/>
                  <a:moveTo>
                    <a:pt x="199" y="1035"/>
                  </a:moveTo>
                  <a:lnTo>
                    <a:pt x="200" y="1035"/>
                  </a:lnTo>
                  <a:lnTo>
                    <a:pt x="199" y="1035"/>
                  </a:lnTo>
                  <a:close/>
                  <a:moveTo>
                    <a:pt x="555" y="1402"/>
                  </a:moveTo>
                  <a:lnTo>
                    <a:pt x="557" y="1402"/>
                  </a:lnTo>
                  <a:lnTo>
                    <a:pt x="555" y="1402"/>
                  </a:lnTo>
                  <a:close/>
                  <a:moveTo>
                    <a:pt x="285" y="1456"/>
                  </a:moveTo>
                  <a:lnTo>
                    <a:pt x="283" y="1456"/>
                  </a:lnTo>
                  <a:lnTo>
                    <a:pt x="285" y="1456"/>
                  </a:lnTo>
                  <a:close/>
                  <a:moveTo>
                    <a:pt x="246" y="1505"/>
                  </a:moveTo>
                  <a:lnTo>
                    <a:pt x="247" y="1505"/>
                  </a:lnTo>
                  <a:lnTo>
                    <a:pt x="246" y="1505"/>
                  </a:lnTo>
                  <a:close/>
                  <a:moveTo>
                    <a:pt x="366" y="1479"/>
                  </a:moveTo>
                  <a:lnTo>
                    <a:pt x="365" y="1479"/>
                  </a:lnTo>
                  <a:lnTo>
                    <a:pt x="366" y="1479"/>
                  </a:lnTo>
                  <a:close/>
                  <a:moveTo>
                    <a:pt x="457" y="1469"/>
                  </a:moveTo>
                  <a:lnTo>
                    <a:pt x="457" y="1467"/>
                  </a:lnTo>
                  <a:lnTo>
                    <a:pt x="457" y="1469"/>
                  </a:lnTo>
                  <a:close/>
                  <a:moveTo>
                    <a:pt x="540" y="1417"/>
                  </a:moveTo>
                  <a:lnTo>
                    <a:pt x="542" y="1417"/>
                  </a:lnTo>
                  <a:lnTo>
                    <a:pt x="540" y="1417"/>
                  </a:lnTo>
                  <a:close/>
                  <a:moveTo>
                    <a:pt x="366" y="692"/>
                  </a:moveTo>
                  <a:lnTo>
                    <a:pt x="368" y="692"/>
                  </a:lnTo>
                  <a:lnTo>
                    <a:pt x="366" y="692"/>
                  </a:lnTo>
                  <a:close/>
                  <a:moveTo>
                    <a:pt x="422" y="1484"/>
                  </a:moveTo>
                  <a:lnTo>
                    <a:pt x="423" y="1484"/>
                  </a:lnTo>
                  <a:lnTo>
                    <a:pt x="422" y="1484"/>
                  </a:lnTo>
                  <a:close/>
                  <a:moveTo>
                    <a:pt x="280" y="1417"/>
                  </a:moveTo>
                  <a:lnTo>
                    <a:pt x="280" y="1415"/>
                  </a:lnTo>
                  <a:lnTo>
                    <a:pt x="282" y="1417"/>
                  </a:lnTo>
                  <a:lnTo>
                    <a:pt x="280" y="1417"/>
                  </a:lnTo>
                  <a:close/>
                  <a:moveTo>
                    <a:pt x="259" y="949"/>
                  </a:moveTo>
                  <a:lnTo>
                    <a:pt x="261" y="949"/>
                  </a:lnTo>
                  <a:lnTo>
                    <a:pt x="259" y="949"/>
                  </a:lnTo>
                  <a:close/>
                  <a:moveTo>
                    <a:pt x="324" y="1508"/>
                  </a:moveTo>
                  <a:lnTo>
                    <a:pt x="324" y="1506"/>
                  </a:lnTo>
                  <a:lnTo>
                    <a:pt x="326" y="1508"/>
                  </a:lnTo>
                  <a:lnTo>
                    <a:pt x="324" y="1508"/>
                  </a:lnTo>
                  <a:close/>
                  <a:moveTo>
                    <a:pt x="197" y="1147"/>
                  </a:moveTo>
                  <a:lnTo>
                    <a:pt x="197" y="1145"/>
                  </a:lnTo>
                  <a:lnTo>
                    <a:pt x="197" y="1147"/>
                  </a:lnTo>
                  <a:close/>
                  <a:moveTo>
                    <a:pt x="256" y="1383"/>
                  </a:moveTo>
                  <a:lnTo>
                    <a:pt x="256" y="1384"/>
                  </a:lnTo>
                  <a:lnTo>
                    <a:pt x="256" y="1383"/>
                  </a:lnTo>
                  <a:close/>
                  <a:moveTo>
                    <a:pt x="578" y="1384"/>
                  </a:moveTo>
                  <a:lnTo>
                    <a:pt x="578" y="1383"/>
                  </a:lnTo>
                  <a:lnTo>
                    <a:pt x="578" y="1384"/>
                  </a:lnTo>
                  <a:close/>
                  <a:moveTo>
                    <a:pt x="319" y="1456"/>
                  </a:moveTo>
                  <a:lnTo>
                    <a:pt x="321" y="1456"/>
                  </a:lnTo>
                  <a:lnTo>
                    <a:pt x="319" y="1456"/>
                  </a:lnTo>
                  <a:close/>
                  <a:moveTo>
                    <a:pt x="464" y="1454"/>
                  </a:moveTo>
                  <a:lnTo>
                    <a:pt x="464" y="1453"/>
                  </a:lnTo>
                  <a:lnTo>
                    <a:pt x="464" y="1454"/>
                  </a:lnTo>
                  <a:close/>
                  <a:moveTo>
                    <a:pt x="298" y="1414"/>
                  </a:moveTo>
                  <a:lnTo>
                    <a:pt x="300" y="1414"/>
                  </a:lnTo>
                  <a:lnTo>
                    <a:pt x="298" y="1414"/>
                  </a:lnTo>
                  <a:close/>
                  <a:moveTo>
                    <a:pt x="368" y="1477"/>
                  </a:moveTo>
                  <a:lnTo>
                    <a:pt x="368" y="1475"/>
                  </a:lnTo>
                  <a:lnTo>
                    <a:pt x="368" y="1477"/>
                  </a:lnTo>
                  <a:close/>
                  <a:moveTo>
                    <a:pt x="557" y="1410"/>
                  </a:moveTo>
                  <a:lnTo>
                    <a:pt x="557" y="1409"/>
                  </a:lnTo>
                  <a:lnTo>
                    <a:pt x="557" y="1410"/>
                  </a:lnTo>
                  <a:close/>
                  <a:moveTo>
                    <a:pt x="199" y="1461"/>
                  </a:moveTo>
                  <a:lnTo>
                    <a:pt x="200" y="1461"/>
                  </a:lnTo>
                  <a:lnTo>
                    <a:pt x="199" y="1461"/>
                  </a:lnTo>
                  <a:close/>
                  <a:moveTo>
                    <a:pt x="347" y="1480"/>
                  </a:moveTo>
                  <a:lnTo>
                    <a:pt x="348" y="1480"/>
                  </a:lnTo>
                  <a:lnTo>
                    <a:pt x="347" y="1480"/>
                  </a:lnTo>
                  <a:close/>
                  <a:moveTo>
                    <a:pt x="267" y="1495"/>
                  </a:moveTo>
                  <a:lnTo>
                    <a:pt x="267" y="1497"/>
                  </a:lnTo>
                  <a:lnTo>
                    <a:pt x="267" y="1495"/>
                  </a:lnTo>
                  <a:close/>
                  <a:moveTo>
                    <a:pt x="221" y="1406"/>
                  </a:moveTo>
                  <a:lnTo>
                    <a:pt x="221" y="1407"/>
                  </a:lnTo>
                  <a:lnTo>
                    <a:pt x="221" y="1406"/>
                  </a:lnTo>
                  <a:close/>
                  <a:moveTo>
                    <a:pt x="236" y="1443"/>
                  </a:moveTo>
                  <a:lnTo>
                    <a:pt x="238" y="1445"/>
                  </a:lnTo>
                  <a:lnTo>
                    <a:pt x="236" y="1443"/>
                  </a:lnTo>
                  <a:close/>
                  <a:moveTo>
                    <a:pt x="504" y="1427"/>
                  </a:moveTo>
                  <a:lnTo>
                    <a:pt x="506" y="1427"/>
                  </a:lnTo>
                  <a:lnTo>
                    <a:pt x="504" y="1427"/>
                  </a:lnTo>
                  <a:close/>
                  <a:moveTo>
                    <a:pt x="259" y="1487"/>
                  </a:moveTo>
                  <a:lnTo>
                    <a:pt x="259" y="1485"/>
                  </a:lnTo>
                  <a:lnTo>
                    <a:pt x="259" y="1487"/>
                  </a:lnTo>
                  <a:close/>
                  <a:moveTo>
                    <a:pt x="207" y="1480"/>
                  </a:moveTo>
                  <a:lnTo>
                    <a:pt x="207" y="1482"/>
                  </a:lnTo>
                  <a:lnTo>
                    <a:pt x="207" y="1480"/>
                  </a:lnTo>
                  <a:lnTo>
                    <a:pt x="207" y="1482"/>
                  </a:lnTo>
                  <a:lnTo>
                    <a:pt x="207" y="1480"/>
                  </a:lnTo>
                  <a:close/>
                  <a:moveTo>
                    <a:pt x="213" y="1199"/>
                  </a:moveTo>
                  <a:lnTo>
                    <a:pt x="215" y="1199"/>
                  </a:lnTo>
                  <a:lnTo>
                    <a:pt x="215" y="1201"/>
                  </a:lnTo>
                  <a:lnTo>
                    <a:pt x="213" y="1201"/>
                  </a:lnTo>
                  <a:lnTo>
                    <a:pt x="213" y="1199"/>
                  </a:lnTo>
                  <a:close/>
                  <a:moveTo>
                    <a:pt x="540" y="1406"/>
                  </a:moveTo>
                  <a:lnTo>
                    <a:pt x="540" y="1404"/>
                  </a:lnTo>
                  <a:lnTo>
                    <a:pt x="540" y="1406"/>
                  </a:lnTo>
                  <a:close/>
                  <a:moveTo>
                    <a:pt x="191" y="1472"/>
                  </a:moveTo>
                  <a:lnTo>
                    <a:pt x="191" y="1471"/>
                  </a:lnTo>
                  <a:lnTo>
                    <a:pt x="191" y="1472"/>
                  </a:lnTo>
                  <a:close/>
                  <a:moveTo>
                    <a:pt x="270" y="1454"/>
                  </a:moveTo>
                  <a:lnTo>
                    <a:pt x="269" y="1454"/>
                  </a:lnTo>
                  <a:lnTo>
                    <a:pt x="270" y="1454"/>
                  </a:lnTo>
                  <a:close/>
                  <a:moveTo>
                    <a:pt x="274" y="1449"/>
                  </a:moveTo>
                  <a:lnTo>
                    <a:pt x="274" y="1451"/>
                  </a:lnTo>
                  <a:lnTo>
                    <a:pt x="274" y="1449"/>
                  </a:lnTo>
                  <a:close/>
                  <a:moveTo>
                    <a:pt x="244" y="1511"/>
                  </a:moveTo>
                  <a:lnTo>
                    <a:pt x="243" y="1511"/>
                  </a:lnTo>
                  <a:lnTo>
                    <a:pt x="244" y="1511"/>
                  </a:lnTo>
                  <a:close/>
                  <a:moveTo>
                    <a:pt x="195" y="1147"/>
                  </a:moveTo>
                  <a:lnTo>
                    <a:pt x="195" y="1145"/>
                  </a:lnTo>
                  <a:lnTo>
                    <a:pt x="195" y="1147"/>
                  </a:lnTo>
                  <a:close/>
                  <a:moveTo>
                    <a:pt x="184" y="1123"/>
                  </a:moveTo>
                  <a:lnTo>
                    <a:pt x="184" y="1124"/>
                  </a:lnTo>
                  <a:lnTo>
                    <a:pt x="184" y="1123"/>
                  </a:lnTo>
                  <a:close/>
                  <a:moveTo>
                    <a:pt x="304" y="1505"/>
                  </a:moveTo>
                  <a:lnTo>
                    <a:pt x="303" y="1505"/>
                  </a:lnTo>
                  <a:lnTo>
                    <a:pt x="304" y="1505"/>
                  </a:lnTo>
                  <a:close/>
                  <a:moveTo>
                    <a:pt x="290" y="1514"/>
                  </a:moveTo>
                  <a:lnTo>
                    <a:pt x="291" y="1514"/>
                  </a:lnTo>
                  <a:lnTo>
                    <a:pt x="291" y="1516"/>
                  </a:lnTo>
                  <a:lnTo>
                    <a:pt x="290" y="1514"/>
                  </a:lnTo>
                  <a:close/>
                  <a:moveTo>
                    <a:pt x="356" y="1472"/>
                  </a:moveTo>
                  <a:lnTo>
                    <a:pt x="356" y="1474"/>
                  </a:lnTo>
                  <a:lnTo>
                    <a:pt x="356" y="1472"/>
                  </a:lnTo>
                  <a:close/>
                  <a:moveTo>
                    <a:pt x="217" y="1503"/>
                  </a:moveTo>
                  <a:lnTo>
                    <a:pt x="218" y="1503"/>
                  </a:lnTo>
                  <a:lnTo>
                    <a:pt x="217" y="1503"/>
                  </a:lnTo>
                  <a:lnTo>
                    <a:pt x="217" y="1505"/>
                  </a:lnTo>
                  <a:lnTo>
                    <a:pt x="217" y="1503"/>
                  </a:lnTo>
                  <a:close/>
                  <a:moveTo>
                    <a:pt x="210" y="1482"/>
                  </a:moveTo>
                  <a:lnTo>
                    <a:pt x="212" y="1482"/>
                  </a:lnTo>
                  <a:lnTo>
                    <a:pt x="212" y="1484"/>
                  </a:lnTo>
                  <a:lnTo>
                    <a:pt x="210" y="1482"/>
                  </a:lnTo>
                  <a:close/>
                  <a:moveTo>
                    <a:pt x="246" y="1412"/>
                  </a:moveTo>
                  <a:lnTo>
                    <a:pt x="247" y="1412"/>
                  </a:lnTo>
                  <a:lnTo>
                    <a:pt x="247" y="1414"/>
                  </a:lnTo>
                  <a:lnTo>
                    <a:pt x="246" y="1412"/>
                  </a:lnTo>
                  <a:close/>
                  <a:moveTo>
                    <a:pt x="192" y="1129"/>
                  </a:moveTo>
                  <a:lnTo>
                    <a:pt x="194" y="1129"/>
                  </a:lnTo>
                  <a:lnTo>
                    <a:pt x="192" y="1129"/>
                  </a:lnTo>
                  <a:close/>
                  <a:moveTo>
                    <a:pt x="314" y="1475"/>
                  </a:moveTo>
                  <a:lnTo>
                    <a:pt x="313" y="1475"/>
                  </a:lnTo>
                  <a:lnTo>
                    <a:pt x="314" y="1475"/>
                  </a:lnTo>
                  <a:close/>
                  <a:moveTo>
                    <a:pt x="275" y="1469"/>
                  </a:moveTo>
                  <a:lnTo>
                    <a:pt x="275" y="1467"/>
                  </a:lnTo>
                  <a:lnTo>
                    <a:pt x="275" y="1469"/>
                  </a:lnTo>
                  <a:close/>
                  <a:moveTo>
                    <a:pt x="360" y="1493"/>
                  </a:moveTo>
                  <a:lnTo>
                    <a:pt x="360" y="1492"/>
                  </a:lnTo>
                  <a:lnTo>
                    <a:pt x="361" y="1492"/>
                  </a:lnTo>
                  <a:lnTo>
                    <a:pt x="360" y="1493"/>
                  </a:lnTo>
                  <a:close/>
                  <a:moveTo>
                    <a:pt x="246" y="1399"/>
                  </a:moveTo>
                  <a:lnTo>
                    <a:pt x="247" y="1399"/>
                  </a:lnTo>
                  <a:lnTo>
                    <a:pt x="246" y="1399"/>
                  </a:lnTo>
                  <a:close/>
                  <a:moveTo>
                    <a:pt x="217" y="1501"/>
                  </a:moveTo>
                  <a:lnTo>
                    <a:pt x="217" y="1503"/>
                  </a:lnTo>
                  <a:lnTo>
                    <a:pt x="217" y="1501"/>
                  </a:lnTo>
                  <a:close/>
                  <a:moveTo>
                    <a:pt x="412" y="1484"/>
                  </a:moveTo>
                  <a:lnTo>
                    <a:pt x="410" y="1484"/>
                  </a:lnTo>
                  <a:lnTo>
                    <a:pt x="412" y="1484"/>
                  </a:lnTo>
                  <a:close/>
                  <a:moveTo>
                    <a:pt x="695" y="1331"/>
                  </a:moveTo>
                  <a:lnTo>
                    <a:pt x="696" y="1331"/>
                  </a:lnTo>
                  <a:lnTo>
                    <a:pt x="696" y="1332"/>
                  </a:lnTo>
                  <a:lnTo>
                    <a:pt x="695" y="1331"/>
                  </a:lnTo>
                  <a:close/>
                  <a:moveTo>
                    <a:pt x="407" y="1490"/>
                  </a:moveTo>
                  <a:lnTo>
                    <a:pt x="409" y="1490"/>
                  </a:lnTo>
                  <a:lnTo>
                    <a:pt x="407" y="1490"/>
                  </a:lnTo>
                  <a:close/>
                  <a:moveTo>
                    <a:pt x="542" y="1409"/>
                  </a:moveTo>
                  <a:lnTo>
                    <a:pt x="543" y="1407"/>
                  </a:lnTo>
                  <a:lnTo>
                    <a:pt x="543" y="1409"/>
                  </a:lnTo>
                  <a:lnTo>
                    <a:pt x="542" y="1409"/>
                  </a:lnTo>
                  <a:close/>
                  <a:moveTo>
                    <a:pt x="187" y="1028"/>
                  </a:moveTo>
                  <a:lnTo>
                    <a:pt x="187" y="1027"/>
                  </a:lnTo>
                  <a:lnTo>
                    <a:pt x="187" y="1028"/>
                  </a:lnTo>
                  <a:close/>
                  <a:moveTo>
                    <a:pt x="652" y="1357"/>
                  </a:moveTo>
                  <a:lnTo>
                    <a:pt x="654" y="1357"/>
                  </a:lnTo>
                  <a:lnTo>
                    <a:pt x="652" y="1357"/>
                  </a:lnTo>
                  <a:close/>
                  <a:moveTo>
                    <a:pt x="586" y="1396"/>
                  </a:moveTo>
                  <a:lnTo>
                    <a:pt x="586" y="1394"/>
                  </a:lnTo>
                  <a:lnTo>
                    <a:pt x="586" y="1396"/>
                  </a:lnTo>
                  <a:close/>
                  <a:moveTo>
                    <a:pt x="173" y="1031"/>
                  </a:moveTo>
                  <a:lnTo>
                    <a:pt x="171" y="1031"/>
                  </a:lnTo>
                  <a:lnTo>
                    <a:pt x="173" y="1030"/>
                  </a:lnTo>
                  <a:lnTo>
                    <a:pt x="173" y="1031"/>
                  </a:lnTo>
                  <a:close/>
                  <a:moveTo>
                    <a:pt x="257" y="1523"/>
                  </a:moveTo>
                  <a:lnTo>
                    <a:pt x="259" y="1521"/>
                  </a:lnTo>
                  <a:lnTo>
                    <a:pt x="257" y="1523"/>
                  </a:lnTo>
                  <a:close/>
                  <a:moveTo>
                    <a:pt x="334" y="1511"/>
                  </a:moveTo>
                  <a:lnTo>
                    <a:pt x="335" y="1511"/>
                  </a:lnTo>
                  <a:lnTo>
                    <a:pt x="334" y="1511"/>
                  </a:lnTo>
                  <a:close/>
                  <a:moveTo>
                    <a:pt x="288" y="1422"/>
                  </a:moveTo>
                  <a:lnTo>
                    <a:pt x="287" y="1422"/>
                  </a:lnTo>
                  <a:lnTo>
                    <a:pt x="288" y="1422"/>
                  </a:lnTo>
                  <a:close/>
                  <a:moveTo>
                    <a:pt x="204" y="1469"/>
                  </a:moveTo>
                  <a:lnTo>
                    <a:pt x="202" y="1469"/>
                  </a:lnTo>
                  <a:lnTo>
                    <a:pt x="202" y="1467"/>
                  </a:lnTo>
                  <a:lnTo>
                    <a:pt x="204" y="1469"/>
                  </a:lnTo>
                  <a:close/>
                  <a:moveTo>
                    <a:pt x="274" y="1438"/>
                  </a:moveTo>
                  <a:lnTo>
                    <a:pt x="274" y="1440"/>
                  </a:lnTo>
                  <a:lnTo>
                    <a:pt x="274" y="1438"/>
                  </a:lnTo>
                  <a:close/>
                  <a:moveTo>
                    <a:pt x="243" y="1389"/>
                  </a:moveTo>
                  <a:lnTo>
                    <a:pt x="243" y="1388"/>
                  </a:lnTo>
                  <a:lnTo>
                    <a:pt x="244" y="1388"/>
                  </a:lnTo>
                  <a:lnTo>
                    <a:pt x="244" y="1389"/>
                  </a:lnTo>
                  <a:lnTo>
                    <a:pt x="243" y="1389"/>
                  </a:lnTo>
                  <a:close/>
                  <a:moveTo>
                    <a:pt x="179" y="1518"/>
                  </a:moveTo>
                  <a:lnTo>
                    <a:pt x="181" y="1519"/>
                  </a:lnTo>
                  <a:lnTo>
                    <a:pt x="179" y="1519"/>
                  </a:lnTo>
                  <a:lnTo>
                    <a:pt x="179" y="1518"/>
                  </a:lnTo>
                  <a:close/>
                  <a:moveTo>
                    <a:pt x="407" y="1490"/>
                  </a:moveTo>
                  <a:lnTo>
                    <a:pt x="407" y="1488"/>
                  </a:lnTo>
                  <a:lnTo>
                    <a:pt x="409" y="1488"/>
                  </a:lnTo>
                  <a:lnTo>
                    <a:pt x="407" y="1490"/>
                  </a:lnTo>
                  <a:close/>
                  <a:moveTo>
                    <a:pt x="659" y="1373"/>
                  </a:moveTo>
                  <a:lnTo>
                    <a:pt x="659" y="1375"/>
                  </a:lnTo>
                  <a:lnTo>
                    <a:pt x="657" y="1373"/>
                  </a:lnTo>
                  <a:lnTo>
                    <a:pt x="659" y="1373"/>
                  </a:lnTo>
                  <a:close/>
                  <a:moveTo>
                    <a:pt x="691" y="1332"/>
                  </a:moveTo>
                  <a:lnTo>
                    <a:pt x="693" y="1332"/>
                  </a:lnTo>
                  <a:lnTo>
                    <a:pt x="691" y="1332"/>
                  </a:lnTo>
                  <a:lnTo>
                    <a:pt x="693" y="1332"/>
                  </a:lnTo>
                  <a:lnTo>
                    <a:pt x="691" y="1332"/>
                  </a:lnTo>
                  <a:close/>
                  <a:moveTo>
                    <a:pt x="239" y="1422"/>
                  </a:moveTo>
                  <a:lnTo>
                    <a:pt x="239" y="1423"/>
                  </a:lnTo>
                  <a:lnTo>
                    <a:pt x="239" y="1422"/>
                  </a:lnTo>
                  <a:close/>
                  <a:moveTo>
                    <a:pt x="155" y="1061"/>
                  </a:moveTo>
                  <a:lnTo>
                    <a:pt x="155" y="1059"/>
                  </a:lnTo>
                  <a:lnTo>
                    <a:pt x="155" y="1061"/>
                  </a:lnTo>
                  <a:close/>
                  <a:moveTo>
                    <a:pt x="319" y="1467"/>
                  </a:moveTo>
                  <a:lnTo>
                    <a:pt x="321" y="1467"/>
                  </a:lnTo>
                  <a:lnTo>
                    <a:pt x="319" y="1467"/>
                  </a:lnTo>
                  <a:close/>
                  <a:moveTo>
                    <a:pt x="290" y="1436"/>
                  </a:moveTo>
                  <a:lnTo>
                    <a:pt x="288" y="1436"/>
                  </a:lnTo>
                  <a:lnTo>
                    <a:pt x="290" y="1435"/>
                  </a:lnTo>
                  <a:lnTo>
                    <a:pt x="290" y="1436"/>
                  </a:lnTo>
                  <a:close/>
                  <a:moveTo>
                    <a:pt x="221" y="1482"/>
                  </a:moveTo>
                  <a:lnTo>
                    <a:pt x="220" y="1482"/>
                  </a:lnTo>
                  <a:lnTo>
                    <a:pt x="221" y="1482"/>
                  </a:lnTo>
                  <a:close/>
                  <a:moveTo>
                    <a:pt x="249" y="1009"/>
                  </a:moveTo>
                  <a:lnTo>
                    <a:pt x="249" y="1010"/>
                  </a:lnTo>
                  <a:lnTo>
                    <a:pt x="247" y="1009"/>
                  </a:lnTo>
                  <a:lnTo>
                    <a:pt x="249" y="1009"/>
                  </a:lnTo>
                  <a:close/>
                  <a:moveTo>
                    <a:pt x="392" y="1474"/>
                  </a:moveTo>
                  <a:lnTo>
                    <a:pt x="391" y="1474"/>
                  </a:lnTo>
                  <a:lnTo>
                    <a:pt x="392" y="1474"/>
                  </a:lnTo>
                  <a:close/>
                  <a:moveTo>
                    <a:pt x="283" y="1451"/>
                  </a:moveTo>
                  <a:lnTo>
                    <a:pt x="283" y="1449"/>
                  </a:lnTo>
                  <a:lnTo>
                    <a:pt x="283" y="1451"/>
                  </a:lnTo>
                  <a:close/>
                  <a:moveTo>
                    <a:pt x="540" y="1402"/>
                  </a:moveTo>
                  <a:lnTo>
                    <a:pt x="539" y="1402"/>
                  </a:lnTo>
                  <a:lnTo>
                    <a:pt x="540" y="1402"/>
                  </a:lnTo>
                  <a:close/>
                  <a:moveTo>
                    <a:pt x="261" y="1453"/>
                  </a:moveTo>
                  <a:lnTo>
                    <a:pt x="261" y="1451"/>
                  </a:lnTo>
                  <a:lnTo>
                    <a:pt x="261" y="1453"/>
                  </a:lnTo>
                  <a:close/>
                  <a:moveTo>
                    <a:pt x="254" y="1399"/>
                  </a:moveTo>
                  <a:lnTo>
                    <a:pt x="254" y="1401"/>
                  </a:lnTo>
                  <a:lnTo>
                    <a:pt x="254" y="1399"/>
                  </a:lnTo>
                  <a:close/>
                  <a:moveTo>
                    <a:pt x="243" y="1412"/>
                  </a:moveTo>
                  <a:lnTo>
                    <a:pt x="244" y="1412"/>
                  </a:lnTo>
                  <a:lnTo>
                    <a:pt x="243" y="1412"/>
                  </a:lnTo>
                  <a:close/>
                  <a:moveTo>
                    <a:pt x="238" y="1458"/>
                  </a:moveTo>
                  <a:lnTo>
                    <a:pt x="236" y="1456"/>
                  </a:lnTo>
                  <a:lnTo>
                    <a:pt x="238" y="1456"/>
                  </a:lnTo>
                  <a:lnTo>
                    <a:pt x="238" y="1458"/>
                  </a:lnTo>
                  <a:close/>
                  <a:moveTo>
                    <a:pt x="241" y="1357"/>
                  </a:moveTo>
                  <a:lnTo>
                    <a:pt x="241" y="1355"/>
                  </a:lnTo>
                  <a:lnTo>
                    <a:pt x="241" y="1357"/>
                  </a:lnTo>
                  <a:close/>
                  <a:moveTo>
                    <a:pt x="239" y="1438"/>
                  </a:moveTo>
                  <a:lnTo>
                    <a:pt x="239" y="1440"/>
                  </a:lnTo>
                  <a:lnTo>
                    <a:pt x="239" y="1438"/>
                  </a:lnTo>
                  <a:close/>
                  <a:moveTo>
                    <a:pt x="225" y="1458"/>
                  </a:moveTo>
                  <a:lnTo>
                    <a:pt x="225" y="1456"/>
                  </a:lnTo>
                  <a:lnTo>
                    <a:pt x="226" y="1458"/>
                  </a:lnTo>
                  <a:lnTo>
                    <a:pt x="225" y="1458"/>
                  </a:lnTo>
                  <a:close/>
                  <a:moveTo>
                    <a:pt x="576" y="1394"/>
                  </a:moveTo>
                  <a:lnTo>
                    <a:pt x="576" y="1393"/>
                  </a:lnTo>
                  <a:lnTo>
                    <a:pt x="576" y="1394"/>
                  </a:lnTo>
                  <a:close/>
                  <a:moveTo>
                    <a:pt x="379" y="1493"/>
                  </a:moveTo>
                  <a:lnTo>
                    <a:pt x="379" y="1495"/>
                  </a:lnTo>
                  <a:lnTo>
                    <a:pt x="379" y="1493"/>
                  </a:lnTo>
                  <a:close/>
                  <a:moveTo>
                    <a:pt x="306" y="877"/>
                  </a:moveTo>
                  <a:lnTo>
                    <a:pt x="306" y="879"/>
                  </a:lnTo>
                  <a:lnTo>
                    <a:pt x="306" y="877"/>
                  </a:lnTo>
                  <a:close/>
                  <a:moveTo>
                    <a:pt x="342" y="1458"/>
                  </a:moveTo>
                  <a:lnTo>
                    <a:pt x="342" y="1456"/>
                  </a:lnTo>
                  <a:lnTo>
                    <a:pt x="343" y="1458"/>
                  </a:lnTo>
                  <a:lnTo>
                    <a:pt x="342" y="1458"/>
                  </a:lnTo>
                  <a:close/>
                  <a:moveTo>
                    <a:pt x="301" y="1493"/>
                  </a:moveTo>
                  <a:lnTo>
                    <a:pt x="303" y="1493"/>
                  </a:lnTo>
                  <a:lnTo>
                    <a:pt x="301" y="1493"/>
                  </a:lnTo>
                  <a:close/>
                  <a:moveTo>
                    <a:pt x="236" y="1497"/>
                  </a:moveTo>
                  <a:lnTo>
                    <a:pt x="236" y="1498"/>
                  </a:lnTo>
                  <a:lnTo>
                    <a:pt x="236" y="1497"/>
                  </a:lnTo>
                  <a:close/>
                  <a:moveTo>
                    <a:pt x="296" y="1469"/>
                  </a:moveTo>
                  <a:lnTo>
                    <a:pt x="298" y="1469"/>
                  </a:lnTo>
                  <a:lnTo>
                    <a:pt x="298" y="1471"/>
                  </a:lnTo>
                  <a:lnTo>
                    <a:pt x="296" y="1469"/>
                  </a:lnTo>
                  <a:close/>
                  <a:moveTo>
                    <a:pt x="241" y="1430"/>
                  </a:moveTo>
                  <a:lnTo>
                    <a:pt x="239" y="1430"/>
                  </a:lnTo>
                  <a:lnTo>
                    <a:pt x="241" y="1430"/>
                  </a:lnTo>
                  <a:close/>
                  <a:moveTo>
                    <a:pt x="436" y="1479"/>
                  </a:moveTo>
                  <a:lnTo>
                    <a:pt x="435" y="1479"/>
                  </a:lnTo>
                  <a:lnTo>
                    <a:pt x="436" y="1479"/>
                  </a:lnTo>
                  <a:lnTo>
                    <a:pt x="435" y="1479"/>
                  </a:lnTo>
                  <a:lnTo>
                    <a:pt x="436" y="1479"/>
                  </a:lnTo>
                  <a:close/>
                  <a:moveTo>
                    <a:pt x="220" y="1474"/>
                  </a:moveTo>
                  <a:lnTo>
                    <a:pt x="220" y="1475"/>
                  </a:lnTo>
                  <a:lnTo>
                    <a:pt x="220" y="1474"/>
                  </a:lnTo>
                  <a:close/>
                  <a:moveTo>
                    <a:pt x="202" y="1464"/>
                  </a:moveTo>
                  <a:lnTo>
                    <a:pt x="202" y="1462"/>
                  </a:lnTo>
                  <a:lnTo>
                    <a:pt x="202" y="1464"/>
                  </a:lnTo>
                  <a:close/>
                  <a:moveTo>
                    <a:pt x="265" y="1433"/>
                  </a:moveTo>
                  <a:lnTo>
                    <a:pt x="267" y="1433"/>
                  </a:lnTo>
                  <a:lnTo>
                    <a:pt x="265" y="1433"/>
                  </a:lnTo>
                  <a:close/>
                  <a:moveTo>
                    <a:pt x="194" y="1051"/>
                  </a:moveTo>
                  <a:lnTo>
                    <a:pt x="192" y="1051"/>
                  </a:lnTo>
                  <a:lnTo>
                    <a:pt x="194" y="1051"/>
                  </a:lnTo>
                  <a:close/>
                  <a:moveTo>
                    <a:pt x="412" y="1488"/>
                  </a:moveTo>
                  <a:lnTo>
                    <a:pt x="413" y="1488"/>
                  </a:lnTo>
                  <a:lnTo>
                    <a:pt x="412" y="1488"/>
                  </a:lnTo>
                  <a:close/>
                  <a:moveTo>
                    <a:pt x="633" y="1357"/>
                  </a:moveTo>
                  <a:lnTo>
                    <a:pt x="633" y="1355"/>
                  </a:lnTo>
                  <a:lnTo>
                    <a:pt x="633" y="1357"/>
                  </a:lnTo>
                  <a:close/>
                  <a:moveTo>
                    <a:pt x="204" y="1508"/>
                  </a:moveTo>
                  <a:lnTo>
                    <a:pt x="204" y="1506"/>
                  </a:lnTo>
                  <a:lnTo>
                    <a:pt x="204" y="1508"/>
                  </a:lnTo>
                  <a:close/>
                  <a:moveTo>
                    <a:pt x="308" y="648"/>
                  </a:moveTo>
                  <a:lnTo>
                    <a:pt x="308" y="649"/>
                  </a:lnTo>
                  <a:lnTo>
                    <a:pt x="308" y="648"/>
                  </a:lnTo>
                  <a:close/>
                  <a:moveTo>
                    <a:pt x="225" y="1435"/>
                  </a:moveTo>
                  <a:lnTo>
                    <a:pt x="226" y="1435"/>
                  </a:lnTo>
                  <a:lnTo>
                    <a:pt x="225" y="1435"/>
                  </a:lnTo>
                  <a:close/>
                  <a:moveTo>
                    <a:pt x="296" y="1419"/>
                  </a:moveTo>
                  <a:lnTo>
                    <a:pt x="298" y="1419"/>
                  </a:lnTo>
                  <a:lnTo>
                    <a:pt x="296" y="1419"/>
                  </a:lnTo>
                  <a:close/>
                  <a:moveTo>
                    <a:pt x="226" y="1493"/>
                  </a:moveTo>
                  <a:lnTo>
                    <a:pt x="226" y="1492"/>
                  </a:lnTo>
                  <a:lnTo>
                    <a:pt x="226" y="1493"/>
                  </a:lnTo>
                  <a:close/>
                  <a:moveTo>
                    <a:pt x="428" y="1485"/>
                  </a:moveTo>
                  <a:lnTo>
                    <a:pt x="428" y="1484"/>
                  </a:lnTo>
                  <a:lnTo>
                    <a:pt x="428" y="1485"/>
                  </a:lnTo>
                  <a:close/>
                  <a:moveTo>
                    <a:pt x="368" y="1479"/>
                  </a:moveTo>
                  <a:lnTo>
                    <a:pt x="369" y="1479"/>
                  </a:lnTo>
                  <a:lnTo>
                    <a:pt x="368" y="1479"/>
                  </a:lnTo>
                  <a:close/>
                  <a:moveTo>
                    <a:pt x="334" y="1501"/>
                  </a:moveTo>
                  <a:lnTo>
                    <a:pt x="335" y="1501"/>
                  </a:lnTo>
                  <a:lnTo>
                    <a:pt x="334" y="1501"/>
                  </a:lnTo>
                  <a:close/>
                  <a:moveTo>
                    <a:pt x="265" y="1495"/>
                  </a:moveTo>
                  <a:lnTo>
                    <a:pt x="265" y="1493"/>
                  </a:lnTo>
                  <a:lnTo>
                    <a:pt x="267" y="1493"/>
                  </a:lnTo>
                  <a:lnTo>
                    <a:pt x="267" y="1495"/>
                  </a:lnTo>
                  <a:lnTo>
                    <a:pt x="265" y="1495"/>
                  </a:lnTo>
                  <a:close/>
                  <a:moveTo>
                    <a:pt x="314" y="1461"/>
                  </a:moveTo>
                  <a:lnTo>
                    <a:pt x="316" y="1461"/>
                  </a:lnTo>
                  <a:lnTo>
                    <a:pt x="314" y="1461"/>
                  </a:lnTo>
                  <a:close/>
                  <a:moveTo>
                    <a:pt x="246" y="1410"/>
                  </a:moveTo>
                  <a:lnTo>
                    <a:pt x="246" y="1412"/>
                  </a:lnTo>
                  <a:lnTo>
                    <a:pt x="246" y="1410"/>
                  </a:lnTo>
                  <a:close/>
                  <a:moveTo>
                    <a:pt x="169" y="1513"/>
                  </a:moveTo>
                  <a:lnTo>
                    <a:pt x="169" y="1511"/>
                  </a:lnTo>
                  <a:lnTo>
                    <a:pt x="169" y="1513"/>
                  </a:lnTo>
                  <a:close/>
                  <a:moveTo>
                    <a:pt x="365" y="696"/>
                  </a:moveTo>
                  <a:lnTo>
                    <a:pt x="366" y="696"/>
                  </a:lnTo>
                  <a:lnTo>
                    <a:pt x="365" y="696"/>
                  </a:lnTo>
                  <a:close/>
                  <a:moveTo>
                    <a:pt x="262" y="1451"/>
                  </a:moveTo>
                  <a:lnTo>
                    <a:pt x="261" y="1451"/>
                  </a:lnTo>
                  <a:lnTo>
                    <a:pt x="262" y="1451"/>
                  </a:lnTo>
                  <a:close/>
                  <a:moveTo>
                    <a:pt x="233" y="1440"/>
                  </a:moveTo>
                  <a:lnTo>
                    <a:pt x="234" y="1440"/>
                  </a:lnTo>
                  <a:lnTo>
                    <a:pt x="234" y="1441"/>
                  </a:lnTo>
                  <a:lnTo>
                    <a:pt x="233" y="1440"/>
                  </a:lnTo>
                  <a:close/>
                  <a:moveTo>
                    <a:pt x="187" y="1500"/>
                  </a:moveTo>
                  <a:lnTo>
                    <a:pt x="187" y="1498"/>
                  </a:lnTo>
                  <a:lnTo>
                    <a:pt x="187" y="1500"/>
                  </a:lnTo>
                  <a:close/>
                  <a:moveTo>
                    <a:pt x="233" y="1490"/>
                  </a:moveTo>
                  <a:lnTo>
                    <a:pt x="233" y="1492"/>
                  </a:lnTo>
                  <a:lnTo>
                    <a:pt x="233" y="1490"/>
                  </a:lnTo>
                  <a:close/>
                  <a:moveTo>
                    <a:pt x="220" y="1420"/>
                  </a:moveTo>
                  <a:lnTo>
                    <a:pt x="221" y="1420"/>
                  </a:lnTo>
                  <a:lnTo>
                    <a:pt x="220" y="1420"/>
                  </a:lnTo>
                  <a:close/>
                  <a:moveTo>
                    <a:pt x="296" y="1510"/>
                  </a:moveTo>
                  <a:lnTo>
                    <a:pt x="298" y="1510"/>
                  </a:lnTo>
                  <a:lnTo>
                    <a:pt x="296" y="1510"/>
                  </a:lnTo>
                  <a:close/>
                  <a:moveTo>
                    <a:pt x="249" y="1394"/>
                  </a:moveTo>
                  <a:lnTo>
                    <a:pt x="251" y="1394"/>
                  </a:lnTo>
                  <a:lnTo>
                    <a:pt x="249" y="1394"/>
                  </a:lnTo>
                  <a:close/>
                  <a:moveTo>
                    <a:pt x="313" y="1501"/>
                  </a:moveTo>
                  <a:lnTo>
                    <a:pt x="314" y="1501"/>
                  </a:lnTo>
                  <a:lnTo>
                    <a:pt x="313" y="1501"/>
                  </a:lnTo>
                  <a:close/>
                  <a:moveTo>
                    <a:pt x="272" y="1462"/>
                  </a:moveTo>
                  <a:lnTo>
                    <a:pt x="272" y="1464"/>
                  </a:lnTo>
                  <a:lnTo>
                    <a:pt x="272" y="1462"/>
                  </a:lnTo>
                  <a:close/>
                  <a:moveTo>
                    <a:pt x="355" y="1488"/>
                  </a:moveTo>
                  <a:lnTo>
                    <a:pt x="353" y="1488"/>
                  </a:lnTo>
                  <a:lnTo>
                    <a:pt x="353" y="1487"/>
                  </a:lnTo>
                  <a:lnTo>
                    <a:pt x="355" y="1487"/>
                  </a:lnTo>
                  <a:lnTo>
                    <a:pt x="355" y="1488"/>
                  </a:lnTo>
                  <a:close/>
                  <a:moveTo>
                    <a:pt x="557" y="1399"/>
                  </a:moveTo>
                  <a:lnTo>
                    <a:pt x="558" y="1399"/>
                  </a:lnTo>
                  <a:lnTo>
                    <a:pt x="557" y="1399"/>
                  </a:lnTo>
                  <a:close/>
                  <a:moveTo>
                    <a:pt x="589" y="1393"/>
                  </a:moveTo>
                  <a:lnTo>
                    <a:pt x="589" y="1391"/>
                  </a:lnTo>
                  <a:lnTo>
                    <a:pt x="591" y="1391"/>
                  </a:lnTo>
                  <a:lnTo>
                    <a:pt x="589" y="1393"/>
                  </a:lnTo>
                  <a:close/>
                  <a:moveTo>
                    <a:pt x="192" y="1475"/>
                  </a:moveTo>
                  <a:lnTo>
                    <a:pt x="192" y="1474"/>
                  </a:lnTo>
                  <a:lnTo>
                    <a:pt x="192" y="1475"/>
                  </a:lnTo>
                  <a:close/>
                  <a:moveTo>
                    <a:pt x="212" y="1498"/>
                  </a:moveTo>
                  <a:lnTo>
                    <a:pt x="213" y="1498"/>
                  </a:lnTo>
                  <a:lnTo>
                    <a:pt x="212" y="1498"/>
                  </a:lnTo>
                  <a:lnTo>
                    <a:pt x="213" y="1498"/>
                  </a:lnTo>
                  <a:lnTo>
                    <a:pt x="212" y="1498"/>
                  </a:lnTo>
                  <a:close/>
                  <a:moveTo>
                    <a:pt x="238" y="1435"/>
                  </a:moveTo>
                  <a:lnTo>
                    <a:pt x="239" y="1435"/>
                  </a:lnTo>
                  <a:lnTo>
                    <a:pt x="238" y="1435"/>
                  </a:lnTo>
                  <a:close/>
                  <a:moveTo>
                    <a:pt x="241" y="1380"/>
                  </a:moveTo>
                  <a:lnTo>
                    <a:pt x="241" y="1378"/>
                  </a:lnTo>
                  <a:lnTo>
                    <a:pt x="241" y="1380"/>
                  </a:lnTo>
                  <a:close/>
                  <a:moveTo>
                    <a:pt x="174" y="1015"/>
                  </a:moveTo>
                  <a:lnTo>
                    <a:pt x="173" y="1015"/>
                  </a:lnTo>
                  <a:lnTo>
                    <a:pt x="173" y="1014"/>
                  </a:lnTo>
                  <a:lnTo>
                    <a:pt x="174" y="1014"/>
                  </a:lnTo>
                  <a:lnTo>
                    <a:pt x="173" y="1015"/>
                  </a:lnTo>
                  <a:lnTo>
                    <a:pt x="174" y="1015"/>
                  </a:lnTo>
                  <a:close/>
                  <a:moveTo>
                    <a:pt x="295" y="1469"/>
                  </a:moveTo>
                  <a:lnTo>
                    <a:pt x="296" y="1469"/>
                  </a:lnTo>
                  <a:lnTo>
                    <a:pt x="295" y="1469"/>
                  </a:lnTo>
                  <a:close/>
                  <a:moveTo>
                    <a:pt x="309" y="648"/>
                  </a:moveTo>
                  <a:lnTo>
                    <a:pt x="309" y="646"/>
                  </a:lnTo>
                  <a:lnTo>
                    <a:pt x="309" y="648"/>
                  </a:lnTo>
                  <a:close/>
                  <a:moveTo>
                    <a:pt x="584" y="1391"/>
                  </a:moveTo>
                  <a:lnTo>
                    <a:pt x="584" y="1389"/>
                  </a:lnTo>
                  <a:lnTo>
                    <a:pt x="584" y="1391"/>
                  </a:lnTo>
                  <a:close/>
                  <a:moveTo>
                    <a:pt x="431" y="1474"/>
                  </a:moveTo>
                  <a:lnTo>
                    <a:pt x="431" y="1475"/>
                  </a:lnTo>
                  <a:lnTo>
                    <a:pt x="431" y="1474"/>
                  </a:lnTo>
                  <a:close/>
                  <a:moveTo>
                    <a:pt x="218" y="1020"/>
                  </a:moveTo>
                  <a:lnTo>
                    <a:pt x="218" y="1022"/>
                  </a:lnTo>
                  <a:lnTo>
                    <a:pt x="218" y="1020"/>
                  </a:lnTo>
                  <a:close/>
                  <a:moveTo>
                    <a:pt x="464" y="1453"/>
                  </a:moveTo>
                  <a:lnTo>
                    <a:pt x="464" y="1451"/>
                  </a:lnTo>
                  <a:lnTo>
                    <a:pt x="464" y="1453"/>
                  </a:lnTo>
                  <a:close/>
                  <a:moveTo>
                    <a:pt x="287" y="644"/>
                  </a:moveTo>
                  <a:lnTo>
                    <a:pt x="287" y="643"/>
                  </a:lnTo>
                  <a:lnTo>
                    <a:pt x="287" y="644"/>
                  </a:lnTo>
                  <a:close/>
                  <a:moveTo>
                    <a:pt x="274" y="1430"/>
                  </a:moveTo>
                  <a:lnTo>
                    <a:pt x="274" y="1432"/>
                  </a:lnTo>
                  <a:lnTo>
                    <a:pt x="274" y="1430"/>
                  </a:lnTo>
                  <a:close/>
                  <a:moveTo>
                    <a:pt x="274" y="1427"/>
                  </a:moveTo>
                  <a:lnTo>
                    <a:pt x="274" y="1428"/>
                  </a:lnTo>
                  <a:lnTo>
                    <a:pt x="274" y="1427"/>
                  </a:lnTo>
                  <a:close/>
                  <a:moveTo>
                    <a:pt x="230" y="1420"/>
                  </a:moveTo>
                  <a:lnTo>
                    <a:pt x="231" y="1420"/>
                  </a:lnTo>
                  <a:lnTo>
                    <a:pt x="230" y="1420"/>
                  </a:lnTo>
                  <a:close/>
                  <a:moveTo>
                    <a:pt x="290" y="1446"/>
                  </a:moveTo>
                  <a:lnTo>
                    <a:pt x="291" y="1446"/>
                  </a:lnTo>
                  <a:lnTo>
                    <a:pt x="290" y="1446"/>
                  </a:lnTo>
                  <a:close/>
                  <a:moveTo>
                    <a:pt x="378" y="737"/>
                  </a:moveTo>
                  <a:lnTo>
                    <a:pt x="379" y="737"/>
                  </a:lnTo>
                  <a:lnTo>
                    <a:pt x="378" y="739"/>
                  </a:lnTo>
                  <a:lnTo>
                    <a:pt x="378" y="737"/>
                  </a:lnTo>
                  <a:close/>
                  <a:moveTo>
                    <a:pt x="343" y="1508"/>
                  </a:moveTo>
                  <a:lnTo>
                    <a:pt x="343" y="1506"/>
                  </a:lnTo>
                  <a:lnTo>
                    <a:pt x="343" y="1508"/>
                  </a:lnTo>
                  <a:close/>
                  <a:moveTo>
                    <a:pt x="217" y="1516"/>
                  </a:moveTo>
                  <a:lnTo>
                    <a:pt x="217" y="1514"/>
                  </a:lnTo>
                  <a:lnTo>
                    <a:pt x="217" y="1516"/>
                  </a:lnTo>
                  <a:close/>
                  <a:moveTo>
                    <a:pt x="249" y="1430"/>
                  </a:moveTo>
                  <a:lnTo>
                    <a:pt x="251" y="1430"/>
                  </a:lnTo>
                  <a:lnTo>
                    <a:pt x="249" y="1430"/>
                  </a:lnTo>
                  <a:close/>
                  <a:moveTo>
                    <a:pt x="407" y="1493"/>
                  </a:moveTo>
                  <a:lnTo>
                    <a:pt x="407" y="1492"/>
                  </a:lnTo>
                  <a:lnTo>
                    <a:pt x="407" y="1493"/>
                  </a:lnTo>
                  <a:close/>
                  <a:moveTo>
                    <a:pt x="353" y="1501"/>
                  </a:moveTo>
                  <a:lnTo>
                    <a:pt x="352" y="1501"/>
                  </a:lnTo>
                  <a:lnTo>
                    <a:pt x="353" y="1500"/>
                  </a:lnTo>
                  <a:lnTo>
                    <a:pt x="353" y="1501"/>
                  </a:lnTo>
                  <a:close/>
                  <a:moveTo>
                    <a:pt x="225" y="1423"/>
                  </a:moveTo>
                  <a:lnTo>
                    <a:pt x="225" y="1422"/>
                  </a:lnTo>
                  <a:lnTo>
                    <a:pt x="226" y="1422"/>
                  </a:lnTo>
                  <a:lnTo>
                    <a:pt x="226" y="1423"/>
                  </a:lnTo>
                  <a:lnTo>
                    <a:pt x="225" y="1423"/>
                  </a:lnTo>
                  <a:close/>
                  <a:moveTo>
                    <a:pt x="192" y="1132"/>
                  </a:moveTo>
                  <a:lnTo>
                    <a:pt x="191" y="1132"/>
                  </a:lnTo>
                  <a:lnTo>
                    <a:pt x="191" y="1131"/>
                  </a:lnTo>
                  <a:lnTo>
                    <a:pt x="192" y="1132"/>
                  </a:lnTo>
                  <a:close/>
                  <a:moveTo>
                    <a:pt x="306" y="1461"/>
                  </a:moveTo>
                  <a:lnTo>
                    <a:pt x="306" y="1462"/>
                  </a:lnTo>
                  <a:lnTo>
                    <a:pt x="306" y="1461"/>
                  </a:lnTo>
                  <a:close/>
                  <a:moveTo>
                    <a:pt x="291" y="913"/>
                  </a:moveTo>
                  <a:lnTo>
                    <a:pt x="291" y="911"/>
                  </a:lnTo>
                  <a:lnTo>
                    <a:pt x="291" y="913"/>
                  </a:lnTo>
                  <a:close/>
                  <a:moveTo>
                    <a:pt x="249" y="1528"/>
                  </a:moveTo>
                  <a:lnTo>
                    <a:pt x="251" y="1528"/>
                  </a:lnTo>
                  <a:lnTo>
                    <a:pt x="249" y="1528"/>
                  </a:lnTo>
                  <a:close/>
                  <a:moveTo>
                    <a:pt x="641" y="1355"/>
                  </a:moveTo>
                  <a:lnTo>
                    <a:pt x="641" y="1357"/>
                  </a:lnTo>
                  <a:lnTo>
                    <a:pt x="641" y="1355"/>
                  </a:lnTo>
                  <a:close/>
                  <a:moveTo>
                    <a:pt x="223" y="1230"/>
                  </a:moveTo>
                  <a:lnTo>
                    <a:pt x="223" y="1231"/>
                  </a:lnTo>
                  <a:lnTo>
                    <a:pt x="221" y="1231"/>
                  </a:lnTo>
                  <a:lnTo>
                    <a:pt x="223" y="1231"/>
                  </a:lnTo>
                  <a:lnTo>
                    <a:pt x="223" y="1230"/>
                  </a:lnTo>
                  <a:close/>
                  <a:moveTo>
                    <a:pt x="143" y="1456"/>
                  </a:moveTo>
                  <a:lnTo>
                    <a:pt x="145" y="1456"/>
                  </a:lnTo>
                  <a:lnTo>
                    <a:pt x="145" y="1458"/>
                  </a:lnTo>
                  <a:lnTo>
                    <a:pt x="143" y="1456"/>
                  </a:lnTo>
                  <a:close/>
                  <a:moveTo>
                    <a:pt x="166" y="1446"/>
                  </a:moveTo>
                  <a:lnTo>
                    <a:pt x="166" y="1445"/>
                  </a:lnTo>
                  <a:lnTo>
                    <a:pt x="166" y="1446"/>
                  </a:lnTo>
                  <a:close/>
                  <a:moveTo>
                    <a:pt x="243" y="1404"/>
                  </a:moveTo>
                  <a:lnTo>
                    <a:pt x="244" y="1404"/>
                  </a:lnTo>
                  <a:lnTo>
                    <a:pt x="243" y="1404"/>
                  </a:lnTo>
                  <a:close/>
                  <a:moveTo>
                    <a:pt x="648" y="1345"/>
                  </a:moveTo>
                  <a:lnTo>
                    <a:pt x="648" y="1347"/>
                  </a:lnTo>
                  <a:lnTo>
                    <a:pt x="648" y="1345"/>
                  </a:lnTo>
                  <a:close/>
                  <a:moveTo>
                    <a:pt x="251" y="1433"/>
                  </a:moveTo>
                  <a:lnTo>
                    <a:pt x="251" y="1435"/>
                  </a:lnTo>
                  <a:lnTo>
                    <a:pt x="251" y="1433"/>
                  </a:lnTo>
                  <a:close/>
                  <a:moveTo>
                    <a:pt x="252" y="1521"/>
                  </a:moveTo>
                  <a:lnTo>
                    <a:pt x="252" y="1519"/>
                  </a:lnTo>
                  <a:lnTo>
                    <a:pt x="252" y="1521"/>
                  </a:lnTo>
                  <a:close/>
                  <a:moveTo>
                    <a:pt x="308" y="641"/>
                  </a:moveTo>
                  <a:lnTo>
                    <a:pt x="308" y="643"/>
                  </a:lnTo>
                  <a:lnTo>
                    <a:pt x="308" y="641"/>
                  </a:lnTo>
                  <a:close/>
                  <a:moveTo>
                    <a:pt x="244" y="1523"/>
                  </a:moveTo>
                  <a:lnTo>
                    <a:pt x="244" y="1521"/>
                  </a:lnTo>
                  <a:lnTo>
                    <a:pt x="244" y="1523"/>
                  </a:lnTo>
                  <a:close/>
                  <a:moveTo>
                    <a:pt x="200" y="1461"/>
                  </a:moveTo>
                  <a:lnTo>
                    <a:pt x="200" y="1462"/>
                  </a:lnTo>
                  <a:lnTo>
                    <a:pt x="200" y="1461"/>
                  </a:lnTo>
                  <a:close/>
                  <a:moveTo>
                    <a:pt x="672" y="1347"/>
                  </a:moveTo>
                  <a:lnTo>
                    <a:pt x="674" y="1347"/>
                  </a:lnTo>
                  <a:lnTo>
                    <a:pt x="672" y="1347"/>
                  </a:lnTo>
                  <a:close/>
                  <a:moveTo>
                    <a:pt x="265" y="918"/>
                  </a:moveTo>
                  <a:lnTo>
                    <a:pt x="265" y="919"/>
                  </a:lnTo>
                  <a:lnTo>
                    <a:pt x="265" y="918"/>
                  </a:lnTo>
                  <a:close/>
                  <a:moveTo>
                    <a:pt x="261" y="1407"/>
                  </a:moveTo>
                  <a:lnTo>
                    <a:pt x="261" y="1409"/>
                  </a:lnTo>
                  <a:lnTo>
                    <a:pt x="261" y="1407"/>
                  </a:lnTo>
                  <a:close/>
                  <a:moveTo>
                    <a:pt x="218" y="1454"/>
                  </a:moveTo>
                  <a:lnTo>
                    <a:pt x="218" y="1453"/>
                  </a:lnTo>
                  <a:lnTo>
                    <a:pt x="220" y="1454"/>
                  </a:lnTo>
                  <a:lnTo>
                    <a:pt x="218" y="1454"/>
                  </a:lnTo>
                  <a:close/>
                  <a:moveTo>
                    <a:pt x="444" y="1474"/>
                  </a:moveTo>
                  <a:lnTo>
                    <a:pt x="444" y="1472"/>
                  </a:lnTo>
                  <a:lnTo>
                    <a:pt x="444" y="1474"/>
                  </a:lnTo>
                  <a:close/>
                  <a:moveTo>
                    <a:pt x="270" y="1428"/>
                  </a:moveTo>
                  <a:lnTo>
                    <a:pt x="270" y="1430"/>
                  </a:lnTo>
                  <a:lnTo>
                    <a:pt x="270" y="1428"/>
                  </a:lnTo>
                  <a:close/>
                  <a:moveTo>
                    <a:pt x="200" y="1461"/>
                  </a:moveTo>
                  <a:lnTo>
                    <a:pt x="200" y="1459"/>
                  </a:lnTo>
                  <a:lnTo>
                    <a:pt x="202" y="1461"/>
                  </a:lnTo>
                  <a:lnTo>
                    <a:pt x="200" y="1461"/>
                  </a:lnTo>
                  <a:close/>
                  <a:moveTo>
                    <a:pt x="244" y="1412"/>
                  </a:moveTo>
                  <a:lnTo>
                    <a:pt x="244" y="1414"/>
                  </a:lnTo>
                  <a:lnTo>
                    <a:pt x="246" y="1414"/>
                  </a:lnTo>
                  <a:lnTo>
                    <a:pt x="244" y="1414"/>
                  </a:lnTo>
                  <a:lnTo>
                    <a:pt x="244" y="1412"/>
                  </a:lnTo>
                  <a:close/>
                  <a:moveTo>
                    <a:pt x="228" y="1456"/>
                  </a:moveTo>
                  <a:lnTo>
                    <a:pt x="228" y="1458"/>
                  </a:lnTo>
                  <a:lnTo>
                    <a:pt x="228" y="1456"/>
                  </a:lnTo>
                  <a:close/>
                  <a:moveTo>
                    <a:pt x="225" y="1490"/>
                  </a:moveTo>
                  <a:lnTo>
                    <a:pt x="226" y="1490"/>
                  </a:lnTo>
                  <a:lnTo>
                    <a:pt x="225" y="1490"/>
                  </a:lnTo>
                  <a:close/>
                  <a:moveTo>
                    <a:pt x="449" y="1471"/>
                  </a:moveTo>
                  <a:lnTo>
                    <a:pt x="451" y="1471"/>
                  </a:lnTo>
                  <a:lnTo>
                    <a:pt x="449" y="1472"/>
                  </a:lnTo>
                  <a:lnTo>
                    <a:pt x="449" y="1471"/>
                  </a:lnTo>
                  <a:close/>
                  <a:moveTo>
                    <a:pt x="186" y="1456"/>
                  </a:moveTo>
                  <a:lnTo>
                    <a:pt x="186" y="1458"/>
                  </a:lnTo>
                  <a:lnTo>
                    <a:pt x="184" y="1456"/>
                  </a:lnTo>
                  <a:lnTo>
                    <a:pt x="186" y="1456"/>
                  </a:lnTo>
                  <a:close/>
                  <a:moveTo>
                    <a:pt x="278" y="914"/>
                  </a:moveTo>
                  <a:lnTo>
                    <a:pt x="280" y="914"/>
                  </a:lnTo>
                  <a:lnTo>
                    <a:pt x="280" y="916"/>
                  </a:lnTo>
                  <a:lnTo>
                    <a:pt x="278" y="914"/>
                  </a:lnTo>
                  <a:close/>
                  <a:moveTo>
                    <a:pt x="178" y="1516"/>
                  </a:moveTo>
                  <a:lnTo>
                    <a:pt x="178" y="1518"/>
                  </a:lnTo>
                  <a:lnTo>
                    <a:pt x="178" y="1516"/>
                  </a:lnTo>
                  <a:close/>
                  <a:moveTo>
                    <a:pt x="652" y="1339"/>
                  </a:moveTo>
                  <a:lnTo>
                    <a:pt x="651" y="1339"/>
                  </a:lnTo>
                  <a:lnTo>
                    <a:pt x="651" y="1337"/>
                  </a:lnTo>
                  <a:lnTo>
                    <a:pt x="652" y="1337"/>
                  </a:lnTo>
                  <a:lnTo>
                    <a:pt x="652" y="1339"/>
                  </a:lnTo>
                  <a:close/>
                  <a:moveTo>
                    <a:pt x="215" y="1441"/>
                  </a:moveTo>
                  <a:lnTo>
                    <a:pt x="215" y="1443"/>
                  </a:lnTo>
                  <a:lnTo>
                    <a:pt x="215" y="1441"/>
                  </a:lnTo>
                  <a:close/>
                  <a:moveTo>
                    <a:pt x="352" y="1505"/>
                  </a:moveTo>
                  <a:lnTo>
                    <a:pt x="350" y="1505"/>
                  </a:lnTo>
                  <a:lnTo>
                    <a:pt x="352" y="1505"/>
                  </a:lnTo>
                  <a:close/>
                  <a:moveTo>
                    <a:pt x="247" y="1329"/>
                  </a:moveTo>
                  <a:lnTo>
                    <a:pt x="247" y="1327"/>
                  </a:lnTo>
                  <a:lnTo>
                    <a:pt x="247" y="1329"/>
                  </a:lnTo>
                  <a:close/>
                  <a:moveTo>
                    <a:pt x="373" y="693"/>
                  </a:moveTo>
                  <a:lnTo>
                    <a:pt x="371" y="693"/>
                  </a:lnTo>
                  <a:lnTo>
                    <a:pt x="373" y="693"/>
                  </a:lnTo>
                  <a:close/>
                  <a:moveTo>
                    <a:pt x="274" y="1462"/>
                  </a:moveTo>
                  <a:lnTo>
                    <a:pt x="275" y="1462"/>
                  </a:lnTo>
                  <a:lnTo>
                    <a:pt x="274" y="1462"/>
                  </a:lnTo>
                  <a:close/>
                  <a:moveTo>
                    <a:pt x="218" y="1474"/>
                  </a:moveTo>
                  <a:lnTo>
                    <a:pt x="218" y="1472"/>
                  </a:lnTo>
                  <a:lnTo>
                    <a:pt x="218" y="1474"/>
                  </a:lnTo>
                  <a:close/>
                  <a:moveTo>
                    <a:pt x="378" y="1495"/>
                  </a:moveTo>
                  <a:lnTo>
                    <a:pt x="376" y="1495"/>
                  </a:lnTo>
                  <a:lnTo>
                    <a:pt x="378" y="1495"/>
                  </a:lnTo>
                  <a:close/>
                  <a:moveTo>
                    <a:pt x="475" y="1449"/>
                  </a:moveTo>
                  <a:lnTo>
                    <a:pt x="474" y="1449"/>
                  </a:lnTo>
                  <a:lnTo>
                    <a:pt x="475" y="1449"/>
                  </a:lnTo>
                  <a:close/>
                  <a:moveTo>
                    <a:pt x="124" y="1474"/>
                  </a:moveTo>
                  <a:lnTo>
                    <a:pt x="126" y="1474"/>
                  </a:lnTo>
                  <a:lnTo>
                    <a:pt x="124" y="1474"/>
                  </a:lnTo>
                  <a:close/>
                  <a:moveTo>
                    <a:pt x="231" y="1445"/>
                  </a:moveTo>
                  <a:lnTo>
                    <a:pt x="230" y="1445"/>
                  </a:lnTo>
                  <a:lnTo>
                    <a:pt x="231" y="1445"/>
                  </a:lnTo>
                  <a:close/>
                  <a:moveTo>
                    <a:pt x="246" y="1407"/>
                  </a:moveTo>
                  <a:lnTo>
                    <a:pt x="247" y="1407"/>
                  </a:lnTo>
                  <a:lnTo>
                    <a:pt x="246" y="1407"/>
                  </a:lnTo>
                  <a:close/>
                  <a:moveTo>
                    <a:pt x="609" y="1371"/>
                  </a:moveTo>
                  <a:lnTo>
                    <a:pt x="610" y="1371"/>
                  </a:lnTo>
                  <a:lnTo>
                    <a:pt x="609" y="1371"/>
                  </a:lnTo>
                  <a:close/>
                  <a:moveTo>
                    <a:pt x="257" y="1497"/>
                  </a:moveTo>
                  <a:lnTo>
                    <a:pt x="259" y="1497"/>
                  </a:lnTo>
                  <a:lnTo>
                    <a:pt x="257" y="1497"/>
                  </a:lnTo>
                  <a:close/>
                  <a:moveTo>
                    <a:pt x="270" y="1501"/>
                  </a:moveTo>
                  <a:lnTo>
                    <a:pt x="270" y="1503"/>
                  </a:lnTo>
                  <a:lnTo>
                    <a:pt x="270" y="1501"/>
                  </a:lnTo>
                  <a:close/>
                  <a:moveTo>
                    <a:pt x="410" y="1487"/>
                  </a:moveTo>
                  <a:lnTo>
                    <a:pt x="409" y="1487"/>
                  </a:lnTo>
                  <a:lnTo>
                    <a:pt x="410" y="1487"/>
                  </a:lnTo>
                  <a:close/>
                  <a:moveTo>
                    <a:pt x="246" y="1012"/>
                  </a:moveTo>
                  <a:lnTo>
                    <a:pt x="246" y="1014"/>
                  </a:lnTo>
                  <a:lnTo>
                    <a:pt x="246" y="1012"/>
                  </a:lnTo>
                  <a:close/>
                  <a:moveTo>
                    <a:pt x="208" y="1031"/>
                  </a:moveTo>
                  <a:lnTo>
                    <a:pt x="208" y="1030"/>
                  </a:lnTo>
                  <a:lnTo>
                    <a:pt x="208" y="1031"/>
                  </a:lnTo>
                  <a:lnTo>
                    <a:pt x="208" y="1030"/>
                  </a:lnTo>
                  <a:lnTo>
                    <a:pt x="208" y="1031"/>
                  </a:lnTo>
                  <a:close/>
                  <a:moveTo>
                    <a:pt x="335" y="1498"/>
                  </a:moveTo>
                  <a:lnTo>
                    <a:pt x="337" y="1498"/>
                  </a:lnTo>
                  <a:lnTo>
                    <a:pt x="335" y="1498"/>
                  </a:lnTo>
                  <a:close/>
                  <a:moveTo>
                    <a:pt x="243" y="1409"/>
                  </a:moveTo>
                  <a:lnTo>
                    <a:pt x="243" y="1410"/>
                  </a:lnTo>
                  <a:lnTo>
                    <a:pt x="243" y="1409"/>
                  </a:lnTo>
                  <a:close/>
                  <a:moveTo>
                    <a:pt x="225" y="1438"/>
                  </a:moveTo>
                  <a:lnTo>
                    <a:pt x="225" y="1436"/>
                  </a:lnTo>
                  <a:lnTo>
                    <a:pt x="226" y="1436"/>
                  </a:lnTo>
                  <a:lnTo>
                    <a:pt x="226" y="1438"/>
                  </a:lnTo>
                  <a:lnTo>
                    <a:pt x="225" y="1438"/>
                  </a:lnTo>
                  <a:close/>
                  <a:moveTo>
                    <a:pt x="205" y="1479"/>
                  </a:moveTo>
                  <a:lnTo>
                    <a:pt x="205" y="1477"/>
                  </a:lnTo>
                  <a:lnTo>
                    <a:pt x="205" y="1479"/>
                  </a:lnTo>
                  <a:close/>
                  <a:moveTo>
                    <a:pt x="221" y="1427"/>
                  </a:moveTo>
                  <a:lnTo>
                    <a:pt x="221" y="1425"/>
                  </a:lnTo>
                  <a:lnTo>
                    <a:pt x="223" y="1425"/>
                  </a:lnTo>
                  <a:lnTo>
                    <a:pt x="223" y="1427"/>
                  </a:lnTo>
                  <a:lnTo>
                    <a:pt x="221" y="1427"/>
                  </a:lnTo>
                  <a:close/>
                  <a:moveTo>
                    <a:pt x="187" y="1514"/>
                  </a:moveTo>
                  <a:lnTo>
                    <a:pt x="189" y="1514"/>
                  </a:lnTo>
                  <a:lnTo>
                    <a:pt x="187" y="1514"/>
                  </a:lnTo>
                  <a:close/>
                  <a:moveTo>
                    <a:pt x="236" y="1406"/>
                  </a:moveTo>
                  <a:lnTo>
                    <a:pt x="234" y="1406"/>
                  </a:lnTo>
                  <a:lnTo>
                    <a:pt x="236" y="1406"/>
                  </a:lnTo>
                  <a:close/>
                  <a:moveTo>
                    <a:pt x="269" y="947"/>
                  </a:moveTo>
                  <a:lnTo>
                    <a:pt x="269" y="945"/>
                  </a:lnTo>
                  <a:lnTo>
                    <a:pt x="270" y="945"/>
                  </a:lnTo>
                  <a:lnTo>
                    <a:pt x="269" y="947"/>
                  </a:lnTo>
                  <a:close/>
                  <a:moveTo>
                    <a:pt x="592" y="1381"/>
                  </a:moveTo>
                  <a:lnTo>
                    <a:pt x="594" y="1380"/>
                  </a:lnTo>
                  <a:lnTo>
                    <a:pt x="594" y="1381"/>
                  </a:lnTo>
                  <a:lnTo>
                    <a:pt x="592" y="1381"/>
                  </a:lnTo>
                  <a:close/>
                  <a:moveTo>
                    <a:pt x="254" y="1521"/>
                  </a:moveTo>
                  <a:lnTo>
                    <a:pt x="254" y="1519"/>
                  </a:lnTo>
                  <a:lnTo>
                    <a:pt x="254" y="1521"/>
                  </a:lnTo>
                  <a:close/>
                  <a:moveTo>
                    <a:pt x="251" y="1438"/>
                  </a:moveTo>
                  <a:lnTo>
                    <a:pt x="251" y="1436"/>
                  </a:lnTo>
                  <a:lnTo>
                    <a:pt x="251" y="1438"/>
                  </a:lnTo>
                  <a:close/>
                  <a:moveTo>
                    <a:pt x="210" y="1474"/>
                  </a:moveTo>
                  <a:lnTo>
                    <a:pt x="208" y="1474"/>
                  </a:lnTo>
                  <a:lnTo>
                    <a:pt x="210" y="1474"/>
                  </a:lnTo>
                  <a:close/>
                  <a:moveTo>
                    <a:pt x="252" y="1380"/>
                  </a:moveTo>
                  <a:lnTo>
                    <a:pt x="251" y="1380"/>
                  </a:lnTo>
                  <a:lnTo>
                    <a:pt x="252" y="1380"/>
                  </a:lnTo>
                  <a:close/>
                  <a:moveTo>
                    <a:pt x="306" y="1518"/>
                  </a:moveTo>
                  <a:lnTo>
                    <a:pt x="308" y="1518"/>
                  </a:lnTo>
                  <a:lnTo>
                    <a:pt x="306" y="1518"/>
                  </a:lnTo>
                  <a:close/>
                  <a:moveTo>
                    <a:pt x="252" y="1433"/>
                  </a:moveTo>
                  <a:lnTo>
                    <a:pt x="252" y="1435"/>
                  </a:lnTo>
                  <a:lnTo>
                    <a:pt x="252" y="1433"/>
                  </a:lnTo>
                  <a:close/>
                  <a:moveTo>
                    <a:pt x="238" y="1009"/>
                  </a:moveTo>
                  <a:lnTo>
                    <a:pt x="238" y="1007"/>
                  </a:lnTo>
                  <a:lnTo>
                    <a:pt x="239" y="1009"/>
                  </a:lnTo>
                  <a:lnTo>
                    <a:pt x="238" y="1009"/>
                  </a:lnTo>
                  <a:close/>
                  <a:moveTo>
                    <a:pt x="430" y="1480"/>
                  </a:moveTo>
                  <a:lnTo>
                    <a:pt x="430" y="1479"/>
                  </a:lnTo>
                  <a:lnTo>
                    <a:pt x="430" y="1480"/>
                  </a:lnTo>
                  <a:close/>
                  <a:moveTo>
                    <a:pt x="226" y="1365"/>
                  </a:moveTo>
                  <a:lnTo>
                    <a:pt x="226" y="1366"/>
                  </a:lnTo>
                  <a:lnTo>
                    <a:pt x="226" y="1365"/>
                  </a:lnTo>
                  <a:close/>
                  <a:moveTo>
                    <a:pt x="252" y="1427"/>
                  </a:moveTo>
                  <a:lnTo>
                    <a:pt x="254" y="1427"/>
                  </a:lnTo>
                  <a:lnTo>
                    <a:pt x="252" y="1428"/>
                  </a:lnTo>
                  <a:lnTo>
                    <a:pt x="252" y="1427"/>
                  </a:lnTo>
                  <a:close/>
                  <a:moveTo>
                    <a:pt x="186" y="1121"/>
                  </a:moveTo>
                  <a:lnTo>
                    <a:pt x="186" y="1119"/>
                  </a:lnTo>
                  <a:lnTo>
                    <a:pt x="186" y="1121"/>
                  </a:lnTo>
                  <a:close/>
                  <a:moveTo>
                    <a:pt x="326" y="1514"/>
                  </a:moveTo>
                  <a:lnTo>
                    <a:pt x="326" y="1516"/>
                  </a:lnTo>
                  <a:lnTo>
                    <a:pt x="326" y="1514"/>
                  </a:lnTo>
                  <a:close/>
                  <a:moveTo>
                    <a:pt x="204" y="1511"/>
                  </a:moveTo>
                  <a:lnTo>
                    <a:pt x="205" y="1511"/>
                  </a:lnTo>
                  <a:lnTo>
                    <a:pt x="204" y="1511"/>
                  </a:lnTo>
                  <a:close/>
                  <a:moveTo>
                    <a:pt x="425" y="1485"/>
                  </a:moveTo>
                  <a:lnTo>
                    <a:pt x="426" y="1485"/>
                  </a:lnTo>
                  <a:lnTo>
                    <a:pt x="425" y="1485"/>
                  </a:lnTo>
                  <a:close/>
                  <a:moveTo>
                    <a:pt x="267" y="947"/>
                  </a:moveTo>
                  <a:lnTo>
                    <a:pt x="269" y="947"/>
                  </a:lnTo>
                  <a:lnTo>
                    <a:pt x="269" y="949"/>
                  </a:lnTo>
                  <a:lnTo>
                    <a:pt x="267" y="947"/>
                  </a:lnTo>
                  <a:close/>
                  <a:moveTo>
                    <a:pt x="243" y="1428"/>
                  </a:moveTo>
                  <a:lnTo>
                    <a:pt x="244" y="1428"/>
                  </a:lnTo>
                  <a:lnTo>
                    <a:pt x="244" y="1430"/>
                  </a:lnTo>
                  <a:lnTo>
                    <a:pt x="243" y="1430"/>
                  </a:lnTo>
                  <a:lnTo>
                    <a:pt x="243" y="1428"/>
                  </a:lnTo>
                  <a:close/>
                  <a:moveTo>
                    <a:pt x="448" y="1474"/>
                  </a:moveTo>
                  <a:lnTo>
                    <a:pt x="446" y="1474"/>
                  </a:lnTo>
                  <a:lnTo>
                    <a:pt x="446" y="1472"/>
                  </a:lnTo>
                  <a:lnTo>
                    <a:pt x="448" y="1472"/>
                  </a:lnTo>
                  <a:lnTo>
                    <a:pt x="448" y="1474"/>
                  </a:lnTo>
                  <a:close/>
                  <a:moveTo>
                    <a:pt x="426" y="1485"/>
                  </a:moveTo>
                  <a:lnTo>
                    <a:pt x="428" y="1485"/>
                  </a:lnTo>
                  <a:lnTo>
                    <a:pt x="426" y="1485"/>
                  </a:lnTo>
                  <a:close/>
                  <a:moveTo>
                    <a:pt x="506" y="1433"/>
                  </a:moveTo>
                  <a:lnTo>
                    <a:pt x="504" y="1433"/>
                  </a:lnTo>
                  <a:lnTo>
                    <a:pt x="506" y="1433"/>
                  </a:lnTo>
                  <a:close/>
                  <a:moveTo>
                    <a:pt x="439" y="1479"/>
                  </a:moveTo>
                  <a:lnTo>
                    <a:pt x="438" y="1479"/>
                  </a:lnTo>
                  <a:lnTo>
                    <a:pt x="439" y="1479"/>
                  </a:lnTo>
                  <a:close/>
                  <a:moveTo>
                    <a:pt x="210" y="1160"/>
                  </a:moveTo>
                  <a:lnTo>
                    <a:pt x="210" y="1158"/>
                  </a:lnTo>
                  <a:lnTo>
                    <a:pt x="212" y="1160"/>
                  </a:lnTo>
                  <a:lnTo>
                    <a:pt x="210" y="1160"/>
                  </a:lnTo>
                  <a:close/>
                  <a:moveTo>
                    <a:pt x="262" y="1453"/>
                  </a:moveTo>
                  <a:lnTo>
                    <a:pt x="264" y="1453"/>
                  </a:lnTo>
                  <a:lnTo>
                    <a:pt x="262" y="1453"/>
                  </a:lnTo>
                  <a:close/>
                  <a:moveTo>
                    <a:pt x="166" y="1505"/>
                  </a:moveTo>
                  <a:lnTo>
                    <a:pt x="165" y="1503"/>
                  </a:lnTo>
                  <a:lnTo>
                    <a:pt x="166" y="1503"/>
                  </a:lnTo>
                  <a:lnTo>
                    <a:pt x="166" y="1505"/>
                  </a:lnTo>
                  <a:close/>
                  <a:moveTo>
                    <a:pt x="508" y="1425"/>
                  </a:moveTo>
                  <a:lnTo>
                    <a:pt x="509" y="1425"/>
                  </a:lnTo>
                  <a:lnTo>
                    <a:pt x="509" y="1423"/>
                  </a:lnTo>
                  <a:lnTo>
                    <a:pt x="509" y="1425"/>
                  </a:lnTo>
                  <a:lnTo>
                    <a:pt x="508" y="1425"/>
                  </a:lnTo>
                  <a:close/>
                  <a:moveTo>
                    <a:pt x="236" y="1004"/>
                  </a:moveTo>
                  <a:lnTo>
                    <a:pt x="234" y="1004"/>
                  </a:lnTo>
                  <a:lnTo>
                    <a:pt x="236" y="1004"/>
                  </a:lnTo>
                  <a:close/>
                  <a:moveTo>
                    <a:pt x="226" y="1453"/>
                  </a:moveTo>
                  <a:lnTo>
                    <a:pt x="225" y="1453"/>
                  </a:lnTo>
                  <a:lnTo>
                    <a:pt x="226" y="1453"/>
                  </a:lnTo>
                  <a:lnTo>
                    <a:pt x="226" y="1454"/>
                  </a:lnTo>
                  <a:lnTo>
                    <a:pt x="226" y="1453"/>
                  </a:lnTo>
                  <a:close/>
                  <a:moveTo>
                    <a:pt x="243" y="1368"/>
                  </a:moveTo>
                  <a:lnTo>
                    <a:pt x="243" y="1366"/>
                  </a:lnTo>
                  <a:lnTo>
                    <a:pt x="243" y="1368"/>
                  </a:lnTo>
                  <a:lnTo>
                    <a:pt x="243" y="1366"/>
                  </a:lnTo>
                  <a:lnTo>
                    <a:pt x="243" y="1368"/>
                  </a:lnTo>
                  <a:close/>
                  <a:moveTo>
                    <a:pt x="228" y="1380"/>
                  </a:moveTo>
                  <a:lnTo>
                    <a:pt x="230" y="1380"/>
                  </a:lnTo>
                  <a:lnTo>
                    <a:pt x="228" y="1380"/>
                  </a:lnTo>
                  <a:close/>
                  <a:moveTo>
                    <a:pt x="202" y="1508"/>
                  </a:moveTo>
                  <a:lnTo>
                    <a:pt x="202" y="1510"/>
                  </a:lnTo>
                  <a:lnTo>
                    <a:pt x="202" y="1508"/>
                  </a:lnTo>
                  <a:close/>
                  <a:moveTo>
                    <a:pt x="285" y="1518"/>
                  </a:moveTo>
                  <a:lnTo>
                    <a:pt x="285" y="1516"/>
                  </a:lnTo>
                  <a:lnTo>
                    <a:pt x="285" y="1518"/>
                  </a:lnTo>
                  <a:close/>
                  <a:moveTo>
                    <a:pt x="262" y="949"/>
                  </a:moveTo>
                  <a:lnTo>
                    <a:pt x="262" y="950"/>
                  </a:lnTo>
                  <a:lnTo>
                    <a:pt x="262" y="949"/>
                  </a:lnTo>
                  <a:close/>
                  <a:moveTo>
                    <a:pt x="290" y="1495"/>
                  </a:moveTo>
                  <a:lnTo>
                    <a:pt x="290" y="1497"/>
                  </a:lnTo>
                  <a:lnTo>
                    <a:pt x="290" y="1495"/>
                  </a:lnTo>
                  <a:close/>
                  <a:moveTo>
                    <a:pt x="221" y="1488"/>
                  </a:moveTo>
                  <a:lnTo>
                    <a:pt x="223" y="1488"/>
                  </a:lnTo>
                  <a:lnTo>
                    <a:pt x="221" y="1488"/>
                  </a:lnTo>
                  <a:close/>
                  <a:moveTo>
                    <a:pt x="254" y="1497"/>
                  </a:moveTo>
                  <a:lnTo>
                    <a:pt x="254" y="1498"/>
                  </a:lnTo>
                  <a:lnTo>
                    <a:pt x="254" y="1497"/>
                  </a:lnTo>
                  <a:close/>
                  <a:moveTo>
                    <a:pt x="313" y="1462"/>
                  </a:moveTo>
                  <a:lnTo>
                    <a:pt x="313" y="1461"/>
                  </a:lnTo>
                  <a:lnTo>
                    <a:pt x="313" y="1462"/>
                  </a:lnTo>
                  <a:close/>
                  <a:moveTo>
                    <a:pt x="339" y="1482"/>
                  </a:moveTo>
                  <a:lnTo>
                    <a:pt x="337" y="1482"/>
                  </a:lnTo>
                  <a:lnTo>
                    <a:pt x="339" y="1482"/>
                  </a:lnTo>
                  <a:close/>
                  <a:moveTo>
                    <a:pt x="290" y="1440"/>
                  </a:moveTo>
                  <a:lnTo>
                    <a:pt x="291" y="1440"/>
                  </a:lnTo>
                  <a:lnTo>
                    <a:pt x="291" y="1441"/>
                  </a:lnTo>
                  <a:lnTo>
                    <a:pt x="290" y="1440"/>
                  </a:lnTo>
                  <a:close/>
                  <a:moveTo>
                    <a:pt x="272" y="950"/>
                  </a:moveTo>
                  <a:lnTo>
                    <a:pt x="272" y="949"/>
                  </a:lnTo>
                  <a:lnTo>
                    <a:pt x="274" y="949"/>
                  </a:lnTo>
                  <a:lnTo>
                    <a:pt x="272" y="950"/>
                  </a:lnTo>
                  <a:close/>
                  <a:moveTo>
                    <a:pt x="223" y="1427"/>
                  </a:moveTo>
                  <a:lnTo>
                    <a:pt x="223" y="1425"/>
                  </a:lnTo>
                  <a:lnTo>
                    <a:pt x="223" y="1427"/>
                  </a:lnTo>
                  <a:close/>
                  <a:moveTo>
                    <a:pt x="168" y="1505"/>
                  </a:moveTo>
                  <a:lnTo>
                    <a:pt x="168" y="1503"/>
                  </a:lnTo>
                  <a:lnTo>
                    <a:pt x="168" y="1505"/>
                  </a:lnTo>
                  <a:close/>
                  <a:moveTo>
                    <a:pt x="423" y="752"/>
                  </a:moveTo>
                  <a:lnTo>
                    <a:pt x="423" y="753"/>
                  </a:lnTo>
                  <a:lnTo>
                    <a:pt x="423" y="752"/>
                  </a:lnTo>
                  <a:close/>
                  <a:moveTo>
                    <a:pt x="134" y="1466"/>
                  </a:moveTo>
                  <a:lnTo>
                    <a:pt x="135" y="1466"/>
                  </a:lnTo>
                  <a:lnTo>
                    <a:pt x="134" y="1466"/>
                  </a:lnTo>
                  <a:close/>
                  <a:moveTo>
                    <a:pt x="274" y="958"/>
                  </a:moveTo>
                  <a:lnTo>
                    <a:pt x="274" y="957"/>
                  </a:lnTo>
                  <a:lnTo>
                    <a:pt x="274" y="958"/>
                  </a:lnTo>
                  <a:close/>
                  <a:moveTo>
                    <a:pt x="535" y="1404"/>
                  </a:moveTo>
                  <a:lnTo>
                    <a:pt x="537" y="1404"/>
                  </a:lnTo>
                  <a:lnTo>
                    <a:pt x="535" y="1404"/>
                  </a:lnTo>
                  <a:close/>
                  <a:moveTo>
                    <a:pt x="275" y="1466"/>
                  </a:moveTo>
                  <a:lnTo>
                    <a:pt x="275" y="1464"/>
                  </a:lnTo>
                  <a:lnTo>
                    <a:pt x="277" y="1464"/>
                  </a:lnTo>
                  <a:lnTo>
                    <a:pt x="277" y="1466"/>
                  </a:lnTo>
                  <a:lnTo>
                    <a:pt x="275" y="1466"/>
                  </a:lnTo>
                  <a:close/>
                  <a:moveTo>
                    <a:pt x="234" y="1353"/>
                  </a:moveTo>
                  <a:lnTo>
                    <a:pt x="234" y="1352"/>
                  </a:lnTo>
                  <a:lnTo>
                    <a:pt x="234" y="1353"/>
                  </a:lnTo>
                  <a:close/>
                  <a:moveTo>
                    <a:pt x="334" y="1485"/>
                  </a:moveTo>
                  <a:lnTo>
                    <a:pt x="334" y="1487"/>
                  </a:lnTo>
                  <a:lnTo>
                    <a:pt x="334" y="1485"/>
                  </a:lnTo>
                  <a:close/>
                  <a:moveTo>
                    <a:pt x="423" y="1480"/>
                  </a:moveTo>
                  <a:lnTo>
                    <a:pt x="423" y="1482"/>
                  </a:lnTo>
                  <a:lnTo>
                    <a:pt x="423" y="1480"/>
                  </a:lnTo>
                  <a:close/>
                  <a:moveTo>
                    <a:pt x="285" y="1462"/>
                  </a:moveTo>
                  <a:lnTo>
                    <a:pt x="285" y="1461"/>
                  </a:lnTo>
                  <a:lnTo>
                    <a:pt x="285" y="1462"/>
                  </a:lnTo>
                  <a:close/>
                  <a:moveTo>
                    <a:pt x="347" y="664"/>
                  </a:moveTo>
                  <a:lnTo>
                    <a:pt x="347" y="666"/>
                  </a:lnTo>
                  <a:lnTo>
                    <a:pt x="347" y="664"/>
                  </a:lnTo>
                  <a:close/>
                  <a:moveTo>
                    <a:pt x="430" y="1479"/>
                  </a:moveTo>
                  <a:lnTo>
                    <a:pt x="430" y="1480"/>
                  </a:lnTo>
                  <a:lnTo>
                    <a:pt x="430" y="1479"/>
                  </a:lnTo>
                  <a:close/>
                  <a:moveTo>
                    <a:pt x="213" y="1441"/>
                  </a:moveTo>
                  <a:lnTo>
                    <a:pt x="213" y="1443"/>
                  </a:lnTo>
                  <a:lnTo>
                    <a:pt x="213" y="1441"/>
                  </a:lnTo>
                  <a:close/>
                  <a:moveTo>
                    <a:pt x="267" y="1419"/>
                  </a:moveTo>
                  <a:lnTo>
                    <a:pt x="267" y="1417"/>
                  </a:lnTo>
                  <a:lnTo>
                    <a:pt x="267" y="1419"/>
                  </a:lnTo>
                  <a:close/>
                  <a:moveTo>
                    <a:pt x="204" y="1511"/>
                  </a:moveTo>
                  <a:lnTo>
                    <a:pt x="204" y="1513"/>
                  </a:lnTo>
                  <a:lnTo>
                    <a:pt x="204" y="1511"/>
                  </a:lnTo>
                  <a:close/>
                  <a:moveTo>
                    <a:pt x="313" y="1503"/>
                  </a:moveTo>
                  <a:lnTo>
                    <a:pt x="314" y="1503"/>
                  </a:lnTo>
                  <a:lnTo>
                    <a:pt x="313" y="1503"/>
                  </a:lnTo>
                  <a:close/>
                  <a:moveTo>
                    <a:pt x="189" y="1456"/>
                  </a:moveTo>
                  <a:lnTo>
                    <a:pt x="191" y="1456"/>
                  </a:lnTo>
                  <a:lnTo>
                    <a:pt x="189" y="1456"/>
                  </a:lnTo>
                  <a:close/>
                  <a:moveTo>
                    <a:pt x="387" y="1484"/>
                  </a:moveTo>
                  <a:lnTo>
                    <a:pt x="389" y="1482"/>
                  </a:lnTo>
                  <a:lnTo>
                    <a:pt x="389" y="1484"/>
                  </a:lnTo>
                  <a:lnTo>
                    <a:pt x="387" y="1484"/>
                  </a:lnTo>
                  <a:close/>
                  <a:moveTo>
                    <a:pt x="300" y="1423"/>
                  </a:moveTo>
                  <a:lnTo>
                    <a:pt x="300" y="1422"/>
                  </a:lnTo>
                  <a:lnTo>
                    <a:pt x="301" y="1423"/>
                  </a:lnTo>
                  <a:lnTo>
                    <a:pt x="300" y="1423"/>
                  </a:lnTo>
                  <a:close/>
                  <a:moveTo>
                    <a:pt x="270" y="1438"/>
                  </a:moveTo>
                  <a:lnTo>
                    <a:pt x="272" y="1438"/>
                  </a:lnTo>
                  <a:lnTo>
                    <a:pt x="270" y="1438"/>
                  </a:lnTo>
                  <a:close/>
                  <a:moveTo>
                    <a:pt x="210" y="1438"/>
                  </a:moveTo>
                  <a:lnTo>
                    <a:pt x="210" y="1436"/>
                  </a:lnTo>
                  <a:lnTo>
                    <a:pt x="210" y="1438"/>
                  </a:lnTo>
                  <a:close/>
                  <a:moveTo>
                    <a:pt x="358" y="1493"/>
                  </a:moveTo>
                  <a:lnTo>
                    <a:pt x="360" y="1493"/>
                  </a:lnTo>
                  <a:lnTo>
                    <a:pt x="358" y="1493"/>
                  </a:lnTo>
                  <a:close/>
                  <a:moveTo>
                    <a:pt x="243" y="1409"/>
                  </a:moveTo>
                  <a:lnTo>
                    <a:pt x="243" y="1410"/>
                  </a:lnTo>
                  <a:lnTo>
                    <a:pt x="243" y="1409"/>
                  </a:lnTo>
                  <a:close/>
                  <a:moveTo>
                    <a:pt x="274" y="924"/>
                  </a:moveTo>
                  <a:lnTo>
                    <a:pt x="274" y="926"/>
                  </a:lnTo>
                  <a:lnTo>
                    <a:pt x="274" y="924"/>
                  </a:lnTo>
                  <a:close/>
                  <a:moveTo>
                    <a:pt x="230" y="1448"/>
                  </a:moveTo>
                  <a:lnTo>
                    <a:pt x="231" y="1448"/>
                  </a:lnTo>
                  <a:lnTo>
                    <a:pt x="230" y="1448"/>
                  </a:lnTo>
                  <a:close/>
                  <a:moveTo>
                    <a:pt x="156" y="1462"/>
                  </a:moveTo>
                  <a:lnTo>
                    <a:pt x="158" y="1462"/>
                  </a:lnTo>
                  <a:lnTo>
                    <a:pt x="156" y="1462"/>
                  </a:lnTo>
                  <a:close/>
                  <a:moveTo>
                    <a:pt x="301" y="1451"/>
                  </a:moveTo>
                  <a:lnTo>
                    <a:pt x="301" y="1449"/>
                  </a:lnTo>
                  <a:lnTo>
                    <a:pt x="301" y="1451"/>
                  </a:lnTo>
                  <a:close/>
                  <a:moveTo>
                    <a:pt x="329" y="1498"/>
                  </a:moveTo>
                  <a:lnTo>
                    <a:pt x="329" y="1500"/>
                  </a:lnTo>
                  <a:lnTo>
                    <a:pt x="329" y="1498"/>
                  </a:lnTo>
                  <a:close/>
                  <a:moveTo>
                    <a:pt x="360" y="1482"/>
                  </a:moveTo>
                  <a:lnTo>
                    <a:pt x="361" y="1482"/>
                  </a:lnTo>
                  <a:lnTo>
                    <a:pt x="360" y="1482"/>
                  </a:lnTo>
                  <a:close/>
                  <a:moveTo>
                    <a:pt x="221" y="1023"/>
                  </a:moveTo>
                  <a:lnTo>
                    <a:pt x="221" y="1022"/>
                  </a:lnTo>
                  <a:lnTo>
                    <a:pt x="221" y="1023"/>
                  </a:lnTo>
                  <a:close/>
                  <a:moveTo>
                    <a:pt x="264" y="1495"/>
                  </a:moveTo>
                  <a:lnTo>
                    <a:pt x="264" y="1493"/>
                  </a:lnTo>
                  <a:lnTo>
                    <a:pt x="265" y="1495"/>
                  </a:lnTo>
                  <a:lnTo>
                    <a:pt x="264" y="1495"/>
                  </a:lnTo>
                  <a:close/>
                  <a:moveTo>
                    <a:pt x="288" y="1503"/>
                  </a:moveTo>
                  <a:lnTo>
                    <a:pt x="287" y="1503"/>
                  </a:lnTo>
                  <a:lnTo>
                    <a:pt x="288" y="1503"/>
                  </a:lnTo>
                  <a:close/>
                  <a:moveTo>
                    <a:pt x="223" y="1407"/>
                  </a:moveTo>
                  <a:lnTo>
                    <a:pt x="223" y="1409"/>
                  </a:lnTo>
                  <a:lnTo>
                    <a:pt x="225" y="1409"/>
                  </a:lnTo>
                  <a:lnTo>
                    <a:pt x="223" y="1409"/>
                  </a:lnTo>
                  <a:lnTo>
                    <a:pt x="223" y="1407"/>
                  </a:lnTo>
                  <a:close/>
                  <a:moveTo>
                    <a:pt x="176" y="1061"/>
                  </a:moveTo>
                  <a:lnTo>
                    <a:pt x="176" y="1062"/>
                  </a:lnTo>
                  <a:lnTo>
                    <a:pt x="176" y="1061"/>
                  </a:lnTo>
                  <a:close/>
                  <a:moveTo>
                    <a:pt x="244" y="1331"/>
                  </a:moveTo>
                  <a:lnTo>
                    <a:pt x="246" y="1331"/>
                  </a:lnTo>
                  <a:lnTo>
                    <a:pt x="244" y="1331"/>
                  </a:lnTo>
                  <a:close/>
                  <a:moveTo>
                    <a:pt x="335" y="1458"/>
                  </a:moveTo>
                  <a:lnTo>
                    <a:pt x="334" y="1458"/>
                  </a:lnTo>
                  <a:lnTo>
                    <a:pt x="335" y="1458"/>
                  </a:lnTo>
                  <a:lnTo>
                    <a:pt x="335" y="1456"/>
                  </a:lnTo>
                  <a:lnTo>
                    <a:pt x="335" y="1458"/>
                  </a:lnTo>
                  <a:close/>
                  <a:moveTo>
                    <a:pt x="238" y="1318"/>
                  </a:moveTo>
                  <a:lnTo>
                    <a:pt x="239" y="1318"/>
                  </a:lnTo>
                  <a:lnTo>
                    <a:pt x="238" y="1318"/>
                  </a:lnTo>
                  <a:close/>
                  <a:moveTo>
                    <a:pt x="587" y="1396"/>
                  </a:moveTo>
                  <a:lnTo>
                    <a:pt x="587" y="1394"/>
                  </a:lnTo>
                  <a:lnTo>
                    <a:pt x="587" y="1396"/>
                  </a:lnTo>
                  <a:close/>
                  <a:moveTo>
                    <a:pt x="244" y="1490"/>
                  </a:moveTo>
                  <a:lnTo>
                    <a:pt x="244" y="1492"/>
                  </a:lnTo>
                  <a:lnTo>
                    <a:pt x="244" y="1490"/>
                  </a:lnTo>
                  <a:close/>
                  <a:moveTo>
                    <a:pt x="365" y="724"/>
                  </a:moveTo>
                  <a:lnTo>
                    <a:pt x="365" y="726"/>
                  </a:lnTo>
                  <a:lnTo>
                    <a:pt x="365" y="724"/>
                  </a:lnTo>
                  <a:close/>
                  <a:moveTo>
                    <a:pt x="609" y="1391"/>
                  </a:moveTo>
                  <a:lnTo>
                    <a:pt x="610" y="1391"/>
                  </a:lnTo>
                  <a:lnTo>
                    <a:pt x="609" y="1391"/>
                  </a:lnTo>
                  <a:close/>
                  <a:moveTo>
                    <a:pt x="321" y="1477"/>
                  </a:moveTo>
                  <a:lnTo>
                    <a:pt x="321" y="1475"/>
                  </a:lnTo>
                  <a:lnTo>
                    <a:pt x="321" y="1477"/>
                  </a:lnTo>
                  <a:close/>
                  <a:moveTo>
                    <a:pt x="280" y="1498"/>
                  </a:moveTo>
                  <a:lnTo>
                    <a:pt x="278" y="1498"/>
                  </a:lnTo>
                  <a:lnTo>
                    <a:pt x="280" y="1497"/>
                  </a:lnTo>
                  <a:lnTo>
                    <a:pt x="280" y="1498"/>
                  </a:lnTo>
                  <a:close/>
                  <a:moveTo>
                    <a:pt x="343" y="1445"/>
                  </a:moveTo>
                  <a:lnTo>
                    <a:pt x="343" y="1443"/>
                  </a:lnTo>
                  <a:lnTo>
                    <a:pt x="345" y="1445"/>
                  </a:lnTo>
                  <a:lnTo>
                    <a:pt x="343" y="1445"/>
                  </a:lnTo>
                  <a:close/>
                  <a:moveTo>
                    <a:pt x="223" y="1484"/>
                  </a:moveTo>
                  <a:lnTo>
                    <a:pt x="223" y="1482"/>
                  </a:lnTo>
                  <a:lnTo>
                    <a:pt x="225" y="1482"/>
                  </a:lnTo>
                  <a:lnTo>
                    <a:pt x="223" y="1484"/>
                  </a:lnTo>
                  <a:close/>
                  <a:moveTo>
                    <a:pt x="291" y="1500"/>
                  </a:moveTo>
                  <a:lnTo>
                    <a:pt x="293" y="1498"/>
                  </a:lnTo>
                  <a:lnTo>
                    <a:pt x="293" y="1500"/>
                  </a:lnTo>
                  <a:lnTo>
                    <a:pt x="291" y="1500"/>
                  </a:lnTo>
                  <a:close/>
                  <a:moveTo>
                    <a:pt x="213" y="1510"/>
                  </a:moveTo>
                  <a:lnTo>
                    <a:pt x="213" y="1508"/>
                  </a:lnTo>
                  <a:lnTo>
                    <a:pt x="215" y="1510"/>
                  </a:lnTo>
                  <a:lnTo>
                    <a:pt x="213" y="1510"/>
                  </a:lnTo>
                  <a:close/>
                  <a:moveTo>
                    <a:pt x="243" y="1259"/>
                  </a:moveTo>
                  <a:lnTo>
                    <a:pt x="241" y="1261"/>
                  </a:lnTo>
                  <a:lnTo>
                    <a:pt x="241" y="1259"/>
                  </a:lnTo>
                  <a:lnTo>
                    <a:pt x="243" y="1259"/>
                  </a:lnTo>
                  <a:close/>
                  <a:moveTo>
                    <a:pt x="485" y="1462"/>
                  </a:moveTo>
                  <a:lnTo>
                    <a:pt x="483" y="1462"/>
                  </a:lnTo>
                  <a:lnTo>
                    <a:pt x="485" y="1462"/>
                  </a:lnTo>
                  <a:close/>
                  <a:moveTo>
                    <a:pt x="324" y="1467"/>
                  </a:moveTo>
                  <a:lnTo>
                    <a:pt x="324" y="1466"/>
                  </a:lnTo>
                  <a:lnTo>
                    <a:pt x="324" y="1467"/>
                  </a:lnTo>
                  <a:close/>
                  <a:moveTo>
                    <a:pt x="395" y="1497"/>
                  </a:moveTo>
                  <a:lnTo>
                    <a:pt x="395" y="1495"/>
                  </a:lnTo>
                  <a:lnTo>
                    <a:pt x="395" y="1497"/>
                  </a:lnTo>
                  <a:close/>
                  <a:moveTo>
                    <a:pt x="236" y="1396"/>
                  </a:moveTo>
                  <a:lnTo>
                    <a:pt x="238" y="1396"/>
                  </a:lnTo>
                  <a:lnTo>
                    <a:pt x="236" y="1396"/>
                  </a:lnTo>
                  <a:close/>
                  <a:moveTo>
                    <a:pt x="589" y="1386"/>
                  </a:moveTo>
                  <a:lnTo>
                    <a:pt x="587" y="1386"/>
                  </a:lnTo>
                  <a:lnTo>
                    <a:pt x="589" y="1384"/>
                  </a:lnTo>
                  <a:lnTo>
                    <a:pt x="589" y="1386"/>
                  </a:lnTo>
                  <a:close/>
                  <a:moveTo>
                    <a:pt x="236" y="1466"/>
                  </a:moveTo>
                  <a:lnTo>
                    <a:pt x="236" y="1464"/>
                  </a:lnTo>
                  <a:lnTo>
                    <a:pt x="236" y="1466"/>
                  </a:lnTo>
                  <a:close/>
                  <a:moveTo>
                    <a:pt x="212" y="1001"/>
                  </a:moveTo>
                  <a:lnTo>
                    <a:pt x="210" y="1001"/>
                  </a:lnTo>
                  <a:lnTo>
                    <a:pt x="212" y="1001"/>
                  </a:lnTo>
                  <a:close/>
                  <a:moveTo>
                    <a:pt x="319" y="1492"/>
                  </a:moveTo>
                  <a:lnTo>
                    <a:pt x="319" y="1490"/>
                  </a:lnTo>
                  <a:lnTo>
                    <a:pt x="319" y="1492"/>
                  </a:lnTo>
                  <a:close/>
                  <a:moveTo>
                    <a:pt x="409" y="1487"/>
                  </a:moveTo>
                  <a:lnTo>
                    <a:pt x="409" y="1485"/>
                  </a:lnTo>
                  <a:lnTo>
                    <a:pt x="409" y="1487"/>
                  </a:lnTo>
                  <a:close/>
                  <a:moveTo>
                    <a:pt x="256" y="1436"/>
                  </a:moveTo>
                  <a:lnTo>
                    <a:pt x="256" y="1438"/>
                  </a:lnTo>
                  <a:lnTo>
                    <a:pt x="256" y="1436"/>
                  </a:lnTo>
                  <a:close/>
                  <a:moveTo>
                    <a:pt x="433" y="1477"/>
                  </a:moveTo>
                  <a:lnTo>
                    <a:pt x="433" y="1475"/>
                  </a:lnTo>
                  <a:lnTo>
                    <a:pt x="433" y="1477"/>
                  </a:lnTo>
                  <a:close/>
                  <a:moveTo>
                    <a:pt x="586" y="1384"/>
                  </a:moveTo>
                  <a:lnTo>
                    <a:pt x="587" y="1384"/>
                  </a:lnTo>
                  <a:lnTo>
                    <a:pt x="586" y="1384"/>
                  </a:lnTo>
                  <a:close/>
                  <a:moveTo>
                    <a:pt x="395" y="1480"/>
                  </a:moveTo>
                  <a:lnTo>
                    <a:pt x="394" y="1480"/>
                  </a:lnTo>
                  <a:lnTo>
                    <a:pt x="395" y="1480"/>
                  </a:lnTo>
                  <a:close/>
                  <a:moveTo>
                    <a:pt x="187" y="1501"/>
                  </a:moveTo>
                  <a:lnTo>
                    <a:pt x="189" y="1500"/>
                  </a:lnTo>
                  <a:lnTo>
                    <a:pt x="189" y="1501"/>
                  </a:lnTo>
                  <a:lnTo>
                    <a:pt x="187" y="1501"/>
                  </a:lnTo>
                  <a:close/>
                  <a:moveTo>
                    <a:pt x="343" y="656"/>
                  </a:moveTo>
                  <a:lnTo>
                    <a:pt x="345" y="656"/>
                  </a:lnTo>
                  <a:lnTo>
                    <a:pt x="343" y="656"/>
                  </a:lnTo>
                  <a:lnTo>
                    <a:pt x="345" y="656"/>
                  </a:lnTo>
                  <a:lnTo>
                    <a:pt x="343" y="656"/>
                  </a:lnTo>
                  <a:close/>
                  <a:moveTo>
                    <a:pt x="316" y="1471"/>
                  </a:moveTo>
                  <a:lnTo>
                    <a:pt x="317" y="1471"/>
                  </a:lnTo>
                  <a:lnTo>
                    <a:pt x="316" y="1471"/>
                  </a:lnTo>
                  <a:close/>
                  <a:moveTo>
                    <a:pt x="184" y="1516"/>
                  </a:moveTo>
                  <a:lnTo>
                    <a:pt x="184" y="1514"/>
                  </a:lnTo>
                  <a:lnTo>
                    <a:pt x="184" y="1516"/>
                  </a:lnTo>
                  <a:close/>
                  <a:moveTo>
                    <a:pt x="251" y="1456"/>
                  </a:moveTo>
                  <a:lnTo>
                    <a:pt x="252" y="1456"/>
                  </a:lnTo>
                  <a:lnTo>
                    <a:pt x="251" y="1456"/>
                  </a:lnTo>
                  <a:close/>
                  <a:moveTo>
                    <a:pt x="345" y="1505"/>
                  </a:moveTo>
                  <a:lnTo>
                    <a:pt x="343" y="1505"/>
                  </a:lnTo>
                  <a:lnTo>
                    <a:pt x="345" y="1505"/>
                  </a:lnTo>
                  <a:close/>
                  <a:moveTo>
                    <a:pt x="267" y="1410"/>
                  </a:moveTo>
                  <a:lnTo>
                    <a:pt x="267" y="1412"/>
                  </a:lnTo>
                  <a:lnTo>
                    <a:pt x="267" y="1410"/>
                  </a:lnTo>
                  <a:close/>
                  <a:moveTo>
                    <a:pt x="233" y="1243"/>
                  </a:moveTo>
                  <a:lnTo>
                    <a:pt x="233" y="1241"/>
                  </a:lnTo>
                  <a:lnTo>
                    <a:pt x="233" y="1243"/>
                  </a:lnTo>
                  <a:close/>
                  <a:moveTo>
                    <a:pt x="218" y="1022"/>
                  </a:moveTo>
                  <a:lnTo>
                    <a:pt x="220" y="1022"/>
                  </a:lnTo>
                  <a:lnTo>
                    <a:pt x="218" y="1022"/>
                  </a:lnTo>
                  <a:close/>
                  <a:moveTo>
                    <a:pt x="308" y="867"/>
                  </a:moveTo>
                  <a:lnTo>
                    <a:pt x="308" y="869"/>
                  </a:lnTo>
                  <a:lnTo>
                    <a:pt x="308" y="867"/>
                  </a:lnTo>
                  <a:close/>
                  <a:moveTo>
                    <a:pt x="257" y="1495"/>
                  </a:moveTo>
                  <a:lnTo>
                    <a:pt x="259" y="1495"/>
                  </a:lnTo>
                  <a:lnTo>
                    <a:pt x="257" y="1495"/>
                  </a:lnTo>
                  <a:close/>
                  <a:moveTo>
                    <a:pt x="652" y="1337"/>
                  </a:moveTo>
                  <a:lnTo>
                    <a:pt x="652" y="1336"/>
                  </a:lnTo>
                  <a:lnTo>
                    <a:pt x="652" y="1337"/>
                  </a:lnTo>
                  <a:close/>
                  <a:moveTo>
                    <a:pt x="246" y="1501"/>
                  </a:moveTo>
                  <a:lnTo>
                    <a:pt x="244" y="1501"/>
                  </a:lnTo>
                  <a:lnTo>
                    <a:pt x="246" y="1501"/>
                  </a:lnTo>
                  <a:close/>
                  <a:moveTo>
                    <a:pt x="163" y="1501"/>
                  </a:moveTo>
                  <a:lnTo>
                    <a:pt x="163" y="1503"/>
                  </a:lnTo>
                  <a:lnTo>
                    <a:pt x="163" y="1501"/>
                  </a:lnTo>
                  <a:close/>
                  <a:moveTo>
                    <a:pt x="265" y="1498"/>
                  </a:moveTo>
                  <a:lnTo>
                    <a:pt x="265" y="1497"/>
                  </a:lnTo>
                  <a:lnTo>
                    <a:pt x="267" y="1497"/>
                  </a:lnTo>
                  <a:lnTo>
                    <a:pt x="267" y="1498"/>
                  </a:lnTo>
                  <a:lnTo>
                    <a:pt x="265" y="1498"/>
                  </a:lnTo>
                  <a:close/>
                  <a:moveTo>
                    <a:pt x="246" y="1292"/>
                  </a:moveTo>
                  <a:lnTo>
                    <a:pt x="247" y="1292"/>
                  </a:lnTo>
                  <a:lnTo>
                    <a:pt x="247" y="1293"/>
                  </a:lnTo>
                  <a:lnTo>
                    <a:pt x="246" y="1292"/>
                  </a:lnTo>
                  <a:close/>
                  <a:moveTo>
                    <a:pt x="244" y="1407"/>
                  </a:moveTo>
                  <a:lnTo>
                    <a:pt x="244" y="1406"/>
                  </a:lnTo>
                  <a:lnTo>
                    <a:pt x="244" y="1407"/>
                  </a:lnTo>
                  <a:close/>
                  <a:moveTo>
                    <a:pt x="498" y="1438"/>
                  </a:moveTo>
                  <a:lnTo>
                    <a:pt x="498" y="1436"/>
                  </a:lnTo>
                  <a:lnTo>
                    <a:pt x="498" y="1438"/>
                  </a:lnTo>
                  <a:close/>
                  <a:moveTo>
                    <a:pt x="308" y="1484"/>
                  </a:moveTo>
                  <a:lnTo>
                    <a:pt x="308" y="1482"/>
                  </a:lnTo>
                  <a:lnTo>
                    <a:pt x="308" y="1484"/>
                  </a:lnTo>
                  <a:close/>
                  <a:moveTo>
                    <a:pt x="612" y="1371"/>
                  </a:moveTo>
                  <a:lnTo>
                    <a:pt x="613" y="1371"/>
                  </a:lnTo>
                  <a:lnTo>
                    <a:pt x="612" y="1371"/>
                  </a:lnTo>
                  <a:close/>
                  <a:moveTo>
                    <a:pt x="233" y="1292"/>
                  </a:moveTo>
                  <a:lnTo>
                    <a:pt x="234" y="1292"/>
                  </a:lnTo>
                  <a:lnTo>
                    <a:pt x="233" y="1292"/>
                  </a:lnTo>
                  <a:close/>
                  <a:moveTo>
                    <a:pt x="265" y="1466"/>
                  </a:moveTo>
                  <a:lnTo>
                    <a:pt x="267" y="1466"/>
                  </a:lnTo>
                  <a:lnTo>
                    <a:pt x="265" y="1466"/>
                  </a:lnTo>
                  <a:close/>
                  <a:moveTo>
                    <a:pt x="223" y="1218"/>
                  </a:moveTo>
                  <a:lnTo>
                    <a:pt x="225" y="1218"/>
                  </a:lnTo>
                  <a:lnTo>
                    <a:pt x="223" y="1218"/>
                  </a:lnTo>
                  <a:lnTo>
                    <a:pt x="223" y="1220"/>
                  </a:lnTo>
                  <a:lnTo>
                    <a:pt x="223" y="1218"/>
                  </a:lnTo>
                  <a:close/>
                  <a:moveTo>
                    <a:pt x="345" y="1508"/>
                  </a:moveTo>
                  <a:lnTo>
                    <a:pt x="345" y="1506"/>
                  </a:lnTo>
                  <a:lnTo>
                    <a:pt x="345" y="1508"/>
                  </a:lnTo>
                  <a:close/>
                  <a:moveTo>
                    <a:pt x="246" y="1506"/>
                  </a:moveTo>
                  <a:lnTo>
                    <a:pt x="246" y="1505"/>
                  </a:lnTo>
                  <a:lnTo>
                    <a:pt x="246" y="1506"/>
                  </a:lnTo>
                  <a:close/>
                  <a:moveTo>
                    <a:pt x="270" y="1449"/>
                  </a:moveTo>
                  <a:lnTo>
                    <a:pt x="272" y="1449"/>
                  </a:lnTo>
                  <a:lnTo>
                    <a:pt x="270" y="1449"/>
                  </a:lnTo>
                  <a:close/>
                  <a:moveTo>
                    <a:pt x="168" y="1020"/>
                  </a:moveTo>
                  <a:lnTo>
                    <a:pt x="168" y="1018"/>
                  </a:lnTo>
                  <a:lnTo>
                    <a:pt x="169" y="1018"/>
                  </a:lnTo>
                  <a:lnTo>
                    <a:pt x="168" y="1020"/>
                  </a:lnTo>
                  <a:close/>
                  <a:moveTo>
                    <a:pt x="189" y="1044"/>
                  </a:moveTo>
                  <a:lnTo>
                    <a:pt x="191" y="1044"/>
                  </a:lnTo>
                  <a:lnTo>
                    <a:pt x="189" y="1044"/>
                  </a:lnTo>
                  <a:close/>
                  <a:moveTo>
                    <a:pt x="275" y="1456"/>
                  </a:moveTo>
                  <a:lnTo>
                    <a:pt x="275" y="1454"/>
                  </a:lnTo>
                  <a:lnTo>
                    <a:pt x="275" y="1456"/>
                  </a:lnTo>
                  <a:close/>
                  <a:moveTo>
                    <a:pt x="394" y="1484"/>
                  </a:moveTo>
                  <a:lnTo>
                    <a:pt x="395" y="1484"/>
                  </a:lnTo>
                  <a:lnTo>
                    <a:pt x="394" y="1484"/>
                  </a:lnTo>
                  <a:close/>
                  <a:moveTo>
                    <a:pt x="324" y="1461"/>
                  </a:moveTo>
                  <a:lnTo>
                    <a:pt x="324" y="1459"/>
                  </a:lnTo>
                  <a:lnTo>
                    <a:pt x="324" y="1461"/>
                  </a:lnTo>
                  <a:close/>
                  <a:moveTo>
                    <a:pt x="277" y="1449"/>
                  </a:moveTo>
                  <a:lnTo>
                    <a:pt x="277" y="1451"/>
                  </a:lnTo>
                  <a:lnTo>
                    <a:pt x="277" y="1449"/>
                  </a:lnTo>
                  <a:close/>
                  <a:moveTo>
                    <a:pt x="233" y="1288"/>
                  </a:moveTo>
                  <a:lnTo>
                    <a:pt x="234" y="1288"/>
                  </a:lnTo>
                  <a:lnTo>
                    <a:pt x="233" y="1288"/>
                  </a:lnTo>
                  <a:lnTo>
                    <a:pt x="234" y="1288"/>
                  </a:lnTo>
                  <a:lnTo>
                    <a:pt x="233" y="1288"/>
                  </a:lnTo>
                  <a:close/>
                  <a:moveTo>
                    <a:pt x="591" y="1396"/>
                  </a:moveTo>
                  <a:lnTo>
                    <a:pt x="591" y="1397"/>
                  </a:lnTo>
                  <a:lnTo>
                    <a:pt x="591" y="1396"/>
                  </a:lnTo>
                  <a:close/>
                  <a:moveTo>
                    <a:pt x="217" y="1519"/>
                  </a:moveTo>
                  <a:lnTo>
                    <a:pt x="217" y="1521"/>
                  </a:lnTo>
                  <a:lnTo>
                    <a:pt x="217" y="1519"/>
                  </a:lnTo>
                  <a:close/>
                  <a:moveTo>
                    <a:pt x="269" y="953"/>
                  </a:moveTo>
                  <a:lnTo>
                    <a:pt x="270" y="953"/>
                  </a:lnTo>
                  <a:lnTo>
                    <a:pt x="269" y="953"/>
                  </a:lnTo>
                  <a:close/>
                  <a:moveTo>
                    <a:pt x="441" y="1466"/>
                  </a:moveTo>
                  <a:lnTo>
                    <a:pt x="439" y="1466"/>
                  </a:lnTo>
                  <a:lnTo>
                    <a:pt x="441" y="1466"/>
                  </a:lnTo>
                  <a:close/>
                  <a:moveTo>
                    <a:pt x="317" y="1480"/>
                  </a:moveTo>
                  <a:lnTo>
                    <a:pt x="317" y="1479"/>
                  </a:lnTo>
                  <a:lnTo>
                    <a:pt x="317" y="1480"/>
                  </a:lnTo>
                  <a:close/>
                  <a:moveTo>
                    <a:pt x="243" y="1388"/>
                  </a:moveTo>
                  <a:lnTo>
                    <a:pt x="244" y="1388"/>
                  </a:lnTo>
                  <a:lnTo>
                    <a:pt x="243" y="1388"/>
                  </a:lnTo>
                  <a:close/>
                  <a:moveTo>
                    <a:pt x="226" y="1490"/>
                  </a:moveTo>
                  <a:lnTo>
                    <a:pt x="226" y="1492"/>
                  </a:lnTo>
                  <a:lnTo>
                    <a:pt x="226" y="1490"/>
                  </a:lnTo>
                  <a:close/>
                  <a:moveTo>
                    <a:pt x="221" y="1497"/>
                  </a:moveTo>
                  <a:lnTo>
                    <a:pt x="223" y="1497"/>
                  </a:lnTo>
                  <a:lnTo>
                    <a:pt x="221" y="1497"/>
                  </a:lnTo>
                  <a:close/>
                  <a:moveTo>
                    <a:pt x="171" y="1446"/>
                  </a:moveTo>
                  <a:lnTo>
                    <a:pt x="173" y="1445"/>
                  </a:lnTo>
                  <a:lnTo>
                    <a:pt x="173" y="1446"/>
                  </a:lnTo>
                  <a:lnTo>
                    <a:pt x="171" y="1446"/>
                  </a:lnTo>
                  <a:close/>
                  <a:moveTo>
                    <a:pt x="256" y="935"/>
                  </a:moveTo>
                  <a:lnTo>
                    <a:pt x="257" y="935"/>
                  </a:lnTo>
                  <a:lnTo>
                    <a:pt x="256" y="935"/>
                  </a:lnTo>
                  <a:close/>
                  <a:moveTo>
                    <a:pt x="187" y="1064"/>
                  </a:moveTo>
                  <a:lnTo>
                    <a:pt x="189" y="1064"/>
                  </a:lnTo>
                  <a:lnTo>
                    <a:pt x="187" y="1064"/>
                  </a:lnTo>
                  <a:close/>
                  <a:moveTo>
                    <a:pt x="241" y="1500"/>
                  </a:moveTo>
                  <a:lnTo>
                    <a:pt x="239" y="1500"/>
                  </a:lnTo>
                  <a:lnTo>
                    <a:pt x="241" y="1500"/>
                  </a:lnTo>
                  <a:close/>
                  <a:moveTo>
                    <a:pt x="314" y="1472"/>
                  </a:moveTo>
                  <a:lnTo>
                    <a:pt x="316" y="1472"/>
                  </a:lnTo>
                  <a:lnTo>
                    <a:pt x="314" y="1472"/>
                  </a:lnTo>
                  <a:close/>
                  <a:moveTo>
                    <a:pt x="152" y="1056"/>
                  </a:moveTo>
                  <a:lnTo>
                    <a:pt x="153" y="1056"/>
                  </a:lnTo>
                  <a:lnTo>
                    <a:pt x="152" y="1056"/>
                  </a:lnTo>
                  <a:close/>
                  <a:moveTo>
                    <a:pt x="539" y="1415"/>
                  </a:moveTo>
                  <a:lnTo>
                    <a:pt x="540" y="1415"/>
                  </a:lnTo>
                  <a:lnTo>
                    <a:pt x="539" y="1415"/>
                  </a:lnTo>
                  <a:close/>
                  <a:moveTo>
                    <a:pt x="189" y="1025"/>
                  </a:moveTo>
                  <a:lnTo>
                    <a:pt x="189" y="1027"/>
                  </a:lnTo>
                  <a:lnTo>
                    <a:pt x="189" y="1025"/>
                  </a:lnTo>
                  <a:close/>
                  <a:moveTo>
                    <a:pt x="241" y="1327"/>
                  </a:moveTo>
                  <a:lnTo>
                    <a:pt x="241" y="1329"/>
                  </a:lnTo>
                  <a:lnTo>
                    <a:pt x="241" y="1327"/>
                  </a:lnTo>
                  <a:close/>
                  <a:moveTo>
                    <a:pt x="238" y="1493"/>
                  </a:moveTo>
                  <a:lnTo>
                    <a:pt x="239" y="1493"/>
                  </a:lnTo>
                  <a:lnTo>
                    <a:pt x="238" y="1493"/>
                  </a:lnTo>
                  <a:close/>
                  <a:moveTo>
                    <a:pt x="578" y="1402"/>
                  </a:moveTo>
                  <a:lnTo>
                    <a:pt x="579" y="1402"/>
                  </a:lnTo>
                  <a:lnTo>
                    <a:pt x="578" y="1402"/>
                  </a:lnTo>
                  <a:close/>
                  <a:moveTo>
                    <a:pt x="669" y="1365"/>
                  </a:moveTo>
                  <a:lnTo>
                    <a:pt x="669" y="1363"/>
                  </a:lnTo>
                  <a:lnTo>
                    <a:pt x="670" y="1363"/>
                  </a:lnTo>
                  <a:lnTo>
                    <a:pt x="669" y="1365"/>
                  </a:lnTo>
                  <a:close/>
                  <a:moveTo>
                    <a:pt x="215" y="1518"/>
                  </a:moveTo>
                  <a:lnTo>
                    <a:pt x="215" y="1516"/>
                  </a:lnTo>
                  <a:lnTo>
                    <a:pt x="215" y="1518"/>
                  </a:lnTo>
                  <a:close/>
                  <a:moveTo>
                    <a:pt x="135" y="1466"/>
                  </a:moveTo>
                  <a:lnTo>
                    <a:pt x="135" y="1467"/>
                  </a:lnTo>
                  <a:lnTo>
                    <a:pt x="135" y="1466"/>
                  </a:lnTo>
                  <a:close/>
                  <a:moveTo>
                    <a:pt x="256" y="1430"/>
                  </a:moveTo>
                  <a:lnTo>
                    <a:pt x="257" y="1430"/>
                  </a:lnTo>
                  <a:lnTo>
                    <a:pt x="257" y="1432"/>
                  </a:lnTo>
                  <a:lnTo>
                    <a:pt x="256" y="1432"/>
                  </a:lnTo>
                  <a:lnTo>
                    <a:pt x="256" y="1430"/>
                  </a:lnTo>
                  <a:close/>
                  <a:moveTo>
                    <a:pt x="192" y="1018"/>
                  </a:moveTo>
                  <a:lnTo>
                    <a:pt x="194" y="1018"/>
                  </a:lnTo>
                  <a:lnTo>
                    <a:pt x="192" y="1018"/>
                  </a:lnTo>
                  <a:close/>
                  <a:moveTo>
                    <a:pt x="252" y="963"/>
                  </a:moveTo>
                  <a:lnTo>
                    <a:pt x="252" y="965"/>
                  </a:lnTo>
                  <a:lnTo>
                    <a:pt x="252" y="963"/>
                  </a:lnTo>
                  <a:close/>
                  <a:moveTo>
                    <a:pt x="191" y="1066"/>
                  </a:moveTo>
                  <a:lnTo>
                    <a:pt x="192" y="1066"/>
                  </a:lnTo>
                  <a:lnTo>
                    <a:pt x="191" y="1066"/>
                  </a:lnTo>
                  <a:close/>
                  <a:moveTo>
                    <a:pt x="243" y="1497"/>
                  </a:moveTo>
                  <a:lnTo>
                    <a:pt x="244" y="1497"/>
                  </a:lnTo>
                  <a:lnTo>
                    <a:pt x="243" y="1497"/>
                  </a:lnTo>
                  <a:close/>
                  <a:moveTo>
                    <a:pt x="391" y="735"/>
                  </a:moveTo>
                  <a:lnTo>
                    <a:pt x="389" y="735"/>
                  </a:lnTo>
                  <a:lnTo>
                    <a:pt x="391" y="735"/>
                  </a:lnTo>
                  <a:close/>
                  <a:moveTo>
                    <a:pt x="295" y="1414"/>
                  </a:moveTo>
                  <a:lnTo>
                    <a:pt x="295" y="1412"/>
                  </a:lnTo>
                  <a:lnTo>
                    <a:pt x="295" y="1414"/>
                  </a:lnTo>
                  <a:close/>
                  <a:moveTo>
                    <a:pt x="121" y="1485"/>
                  </a:moveTo>
                  <a:lnTo>
                    <a:pt x="119" y="1485"/>
                  </a:lnTo>
                  <a:lnTo>
                    <a:pt x="121" y="1485"/>
                  </a:lnTo>
                  <a:close/>
                  <a:moveTo>
                    <a:pt x="231" y="1443"/>
                  </a:moveTo>
                  <a:lnTo>
                    <a:pt x="231" y="1445"/>
                  </a:lnTo>
                  <a:lnTo>
                    <a:pt x="231" y="1443"/>
                  </a:lnTo>
                  <a:close/>
                  <a:moveTo>
                    <a:pt x="226" y="1471"/>
                  </a:moveTo>
                  <a:lnTo>
                    <a:pt x="226" y="1472"/>
                  </a:lnTo>
                  <a:lnTo>
                    <a:pt x="226" y="1471"/>
                  </a:lnTo>
                  <a:close/>
                  <a:moveTo>
                    <a:pt x="295" y="1485"/>
                  </a:moveTo>
                  <a:lnTo>
                    <a:pt x="295" y="1484"/>
                  </a:lnTo>
                  <a:lnTo>
                    <a:pt x="295" y="1485"/>
                  </a:lnTo>
                  <a:close/>
                  <a:moveTo>
                    <a:pt x="251" y="1518"/>
                  </a:moveTo>
                  <a:lnTo>
                    <a:pt x="251" y="1519"/>
                  </a:lnTo>
                  <a:lnTo>
                    <a:pt x="251" y="1518"/>
                  </a:lnTo>
                  <a:close/>
                  <a:moveTo>
                    <a:pt x="191" y="1441"/>
                  </a:moveTo>
                  <a:lnTo>
                    <a:pt x="191" y="1440"/>
                  </a:lnTo>
                  <a:lnTo>
                    <a:pt x="191" y="1441"/>
                  </a:lnTo>
                  <a:close/>
                  <a:moveTo>
                    <a:pt x="469" y="1451"/>
                  </a:moveTo>
                  <a:lnTo>
                    <a:pt x="470" y="1449"/>
                  </a:lnTo>
                  <a:lnTo>
                    <a:pt x="470" y="1451"/>
                  </a:lnTo>
                  <a:lnTo>
                    <a:pt x="469" y="1451"/>
                  </a:lnTo>
                  <a:close/>
                  <a:moveTo>
                    <a:pt x="371" y="1462"/>
                  </a:moveTo>
                  <a:lnTo>
                    <a:pt x="371" y="1464"/>
                  </a:lnTo>
                  <a:lnTo>
                    <a:pt x="371" y="1462"/>
                  </a:lnTo>
                  <a:close/>
                  <a:moveTo>
                    <a:pt x="200" y="1014"/>
                  </a:moveTo>
                  <a:lnTo>
                    <a:pt x="200" y="1012"/>
                  </a:lnTo>
                  <a:lnTo>
                    <a:pt x="200" y="1014"/>
                  </a:lnTo>
                  <a:close/>
                  <a:moveTo>
                    <a:pt x="244" y="973"/>
                  </a:moveTo>
                  <a:lnTo>
                    <a:pt x="243" y="973"/>
                  </a:lnTo>
                  <a:lnTo>
                    <a:pt x="244" y="973"/>
                  </a:lnTo>
                  <a:close/>
                  <a:moveTo>
                    <a:pt x="194" y="1062"/>
                  </a:moveTo>
                  <a:lnTo>
                    <a:pt x="195" y="1064"/>
                  </a:lnTo>
                  <a:lnTo>
                    <a:pt x="194" y="1064"/>
                  </a:lnTo>
                  <a:lnTo>
                    <a:pt x="194" y="1062"/>
                  </a:lnTo>
                  <a:close/>
                  <a:moveTo>
                    <a:pt x="233" y="1401"/>
                  </a:moveTo>
                  <a:lnTo>
                    <a:pt x="233" y="1399"/>
                  </a:lnTo>
                  <a:lnTo>
                    <a:pt x="233" y="1401"/>
                  </a:lnTo>
                  <a:close/>
                  <a:moveTo>
                    <a:pt x="340" y="1462"/>
                  </a:moveTo>
                  <a:lnTo>
                    <a:pt x="340" y="1461"/>
                  </a:lnTo>
                  <a:lnTo>
                    <a:pt x="340" y="1462"/>
                  </a:lnTo>
                  <a:close/>
                  <a:moveTo>
                    <a:pt x="313" y="1503"/>
                  </a:moveTo>
                  <a:lnTo>
                    <a:pt x="314" y="1503"/>
                  </a:lnTo>
                  <a:lnTo>
                    <a:pt x="313" y="1503"/>
                  </a:lnTo>
                  <a:close/>
                  <a:moveTo>
                    <a:pt x="212" y="1500"/>
                  </a:moveTo>
                  <a:lnTo>
                    <a:pt x="213" y="1500"/>
                  </a:lnTo>
                  <a:lnTo>
                    <a:pt x="212" y="1500"/>
                  </a:lnTo>
                  <a:close/>
                  <a:moveTo>
                    <a:pt x="197" y="1498"/>
                  </a:moveTo>
                  <a:lnTo>
                    <a:pt x="199" y="1498"/>
                  </a:lnTo>
                  <a:lnTo>
                    <a:pt x="197" y="1498"/>
                  </a:lnTo>
                  <a:lnTo>
                    <a:pt x="199" y="1498"/>
                  </a:lnTo>
                  <a:lnTo>
                    <a:pt x="197" y="1498"/>
                  </a:lnTo>
                  <a:close/>
                  <a:moveTo>
                    <a:pt x="173" y="1009"/>
                  </a:moveTo>
                  <a:lnTo>
                    <a:pt x="171" y="1009"/>
                  </a:lnTo>
                  <a:lnTo>
                    <a:pt x="173" y="1009"/>
                  </a:lnTo>
                  <a:close/>
                  <a:moveTo>
                    <a:pt x="443" y="1466"/>
                  </a:moveTo>
                  <a:lnTo>
                    <a:pt x="441" y="1466"/>
                  </a:lnTo>
                  <a:lnTo>
                    <a:pt x="443" y="1466"/>
                  </a:lnTo>
                  <a:close/>
                  <a:moveTo>
                    <a:pt x="275" y="1516"/>
                  </a:moveTo>
                  <a:lnTo>
                    <a:pt x="274" y="1516"/>
                  </a:lnTo>
                  <a:lnTo>
                    <a:pt x="275" y="1516"/>
                  </a:lnTo>
                  <a:close/>
                  <a:moveTo>
                    <a:pt x="665" y="1366"/>
                  </a:moveTo>
                  <a:lnTo>
                    <a:pt x="667" y="1366"/>
                  </a:lnTo>
                  <a:lnTo>
                    <a:pt x="665" y="1366"/>
                  </a:lnTo>
                  <a:close/>
                  <a:moveTo>
                    <a:pt x="199" y="1451"/>
                  </a:moveTo>
                  <a:lnTo>
                    <a:pt x="200" y="1451"/>
                  </a:lnTo>
                  <a:lnTo>
                    <a:pt x="199" y="1451"/>
                  </a:lnTo>
                  <a:close/>
                  <a:moveTo>
                    <a:pt x="236" y="1503"/>
                  </a:moveTo>
                  <a:lnTo>
                    <a:pt x="236" y="1501"/>
                  </a:lnTo>
                  <a:lnTo>
                    <a:pt x="236" y="1503"/>
                  </a:lnTo>
                  <a:close/>
                  <a:moveTo>
                    <a:pt x="246" y="1443"/>
                  </a:moveTo>
                  <a:lnTo>
                    <a:pt x="244" y="1443"/>
                  </a:lnTo>
                  <a:lnTo>
                    <a:pt x="246" y="1443"/>
                  </a:lnTo>
                  <a:close/>
                  <a:moveTo>
                    <a:pt x="295" y="657"/>
                  </a:moveTo>
                  <a:lnTo>
                    <a:pt x="295" y="659"/>
                  </a:lnTo>
                  <a:lnTo>
                    <a:pt x="295" y="657"/>
                  </a:lnTo>
                  <a:close/>
                  <a:moveTo>
                    <a:pt x="498" y="1443"/>
                  </a:moveTo>
                  <a:lnTo>
                    <a:pt x="498" y="1441"/>
                  </a:lnTo>
                  <a:lnTo>
                    <a:pt x="498" y="1443"/>
                  </a:lnTo>
                  <a:close/>
                  <a:moveTo>
                    <a:pt x="200" y="1040"/>
                  </a:moveTo>
                  <a:lnTo>
                    <a:pt x="200" y="1041"/>
                  </a:lnTo>
                  <a:lnTo>
                    <a:pt x="200" y="1040"/>
                  </a:lnTo>
                  <a:close/>
                  <a:moveTo>
                    <a:pt x="259" y="1449"/>
                  </a:moveTo>
                  <a:lnTo>
                    <a:pt x="261" y="1449"/>
                  </a:lnTo>
                  <a:lnTo>
                    <a:pt x="259" y="1449"/>
                  </a:lnTo>
                  <a:close/>
                  <a:moveTo>
                    <a:pt x="267" y="1417"/>
                  </a:moveTo>
                  <a:lnTo>
                    <a:pt x="265" y="1417"/>
                  </a:lnTo>
                  <a:lnTo>
                    <a:pt x="267" y="1417"/>
                  </a:lnTo>
                  <a:close/>
                  <a:moveTo>
                    <a:pt x="353" y="1492"/>
                  </a:moveTo>
                  <a:lnTo>
                    <a:pt x="353" y="1490"/>
                  </a:lnTo>
                  <a:lnTo>
                    <a:pt x="353" y="1492"/>
                  </a:lnTo>
                  <a:close/>
                  <a:moveTo>
                    <a:pt x="238" y="1443"/>
                  </a:moveTo>
                  <a:lnTo>
                    <a:pt x="238" y="1441"/>
                  </a:lnTo>
                  <a:lnTo>
                    <a:pt x="238" y="1443"/>
                  </a:lnTo>
                  <a:close/>
                  <a:moveTo>
                    <a:pt x="304" y="1472"/>
                  </a:moveTo>
                  <a:lnTo>
                    <a:pt x="306" y="1472"/>
                  </a:lnTo>
                  <a:lnTo>
                    <a:pt x="304" y="1472"/>
                  </a:lnTo>
                  <a:close/>
                  <a:moveTo>
                    <a:pt x="309" y="872"/>
                  </a:moveTo>
                  <a:lnTo>
                    <a:pt x="309" y="870"/>
                  </a:lnTo>
                  <a:lnTo>
                    <a:pt x="309" y="872"/>
                  </a:lnTo>
                  <a:close/>
                  <a:moveTo>
                    <a:pt x="457" y="1458"/>
                  </a:moveTo>
                  <a:lnTo>
                    <a:pt x="459" y="1458"/>
                  </a:lnTo>
                  <a:lnTo>
                    <a:pt x="457" y="1458"/>
                  </a:lnTo>
                  <a:lnTo>
                    <a:pt x="457" y="1459"/>
                  </a:lnTo>
                  <a:lnTo>
                    <a:pt x="457" y="1458"/>
                  </a:lnTo>
                  <a:close/>
                  <a:moveTo>
                    <a:pt x="234" y="1441"/>
                  </a:moveTo>
                  <a:lnTo>
                    <a:pt x="236" y="1441"/>
                  </a:lnTo>
                  <a:lnTo>
                    <a:pt x="234" y="1441"/>
                  </a:lnTo>
                  <a:close/>
                  <a:moveTo>
                    <a:pt x="254" y="1503"/>
                  </a:moveTo>
                  <a:lnTo>
                    <a:pt x="254" y="1505"/>
                  </a:lnTo>
                  <a:lnTo>
                    <a:pt x="254" y="1503"/>
                  </a:lnTo>
                  <a:close/>
                  <a:moveTo>
                    <a:pt x="278" y="1528"/>
                  </a:moveTo>
                  <a:lnTo>
                    <a:pt x="280" y="1528"/>
                  </a:lnTo>
                  <a:lnTo>
                    <a:pt x="278" y="1528"/>
                  </a:lnTo>
                  <a:close/>
                  <a:moveTo>
                    <a:pt x="382" y="1500"/>
                  </a:moveTo>
                  <a:lnTo>
                    <a:pt x="381" y="1500"/>
                  </a:lnTo>
                  <a:lnTo>
                    <a:pt x="382" y="1500"/>
                  </a:lnTo>
                  <a:close/>
                  <a:moveTo>
                    <a:pt x="158" y="1059"/>
                  </a:moveTo>
                  <a:lnTo>
                    <a:pt x="156" y="1061"/>
                  </a:lnTo>
                  <a:lnTo>
                    <a:pt x="156" y="1059"/>
                  </a:lnTo>
                  <a:lnTo>
                    <a:pt x="158" y="1059"/>
                  </a:lnTo>
                  <a:close/>
                  <a:moveTo>
                    <a:pt x="412" y="1480"/>
                  </a:moveTo>
                  <a:lnTo>
                    <a:pt x="413" y="1480"/>
                  </a:lnTo>
                  <a:lnTo>
                    <a:pt x="413" y="1482"/>
                  </a:lnTo>
                  <a:lnTo>
                    <a:pt x="412" y="1480"/>
                  </a:lnTo>
                  <a:close/>
                  <a:moveTo>
                    <a:pt x="488" y="1456"/>
                  </a:moveTo>
                  <a:lnTo>
                    <a:pt x="488" y="1454"/>
                  </a:lnTo>
                  <a:lnTo>
                    <a:pt x="488" y="1456"/>
                  </a:lnTo>
                  <a:close/>
                  <a:moveTo>
                    <a:pt x="254" y="947"/>
                  </a:moveTo>
                  <a:lnTo>
                    <a:pt x="252" y="947"/>
                  </a:lnTo>
                  <a:lnTo>
                    <a:pt x="254" y="947"/>
                  </a:lnTo>
                  <a:lnTo>
                    <a:pt x="252" y="947"/>
                  </a:lnTo>
                  <a:lnTo>
                    <a:pt x="254" y="947"/>
                  </a:lnTo>
                  <a:close/>
                  <a:moveTo>
                    <a:pt x="426" y="755"/>
                  </a:moveTo>
                  <a:lnTo>
                    <a:pt x="428" y="755"/>
                  </a:lnTo>
                  <a:lnTo>
                    <a:pt x="426" y="755"/>
                  </a:lnTo>
                  <a:close/>
                  <a:moveTo>
                    <a:pt x="270" y="1521"/>
                  </a:moveTo>
                  <a:lnTo>
                    <a:pt x="270" y="1523"/>
                  </a:lnTo>
                  <a:lnTo>
                    <a:pt x="270" y="1521"/>
                  </a:lnTo>
                  <a:close/>
                  <a:moveTo>
                    <a:pt x="435" y="1482"/>
                  </a:moveTo>
                  <a:lnTo>
                    <a:pt x="433" y="1482"/>
                  </a:lnTo>
                  <a:lnTo>
                    <a:pt x="435" y="1482"/>
                  </a:lnTo>
                  <a:close/>
                  <a:moveTo>
                    <a:pt x="233" y="997"/>
                  </a:moveTo>
                  <a:lnTo>
                    <a:pt x="233" y="999"/>
                  </a:lnTo>
                  <a:lnTo>
                    <a:pt x="233" y="997"/>
                  </a:lnTo>
                  <a:close/>
                  <a:moveTo>
                    <a:pt x="236" y="1510"/>
                  </a:moveTo>
                  <a:lnTo>
                    <a:pt x="238" y="1510"/>
                  </a:lnTo>
                  <a:lnTo>
                    <a:pt x="236" y="1510"/>
                  </a:lnTo>
                  <a:close/>
                  <a:moveTo>
                    <a:pt x="313" y="1497"/>
                  </a:moveTo>
                  <a:lnTo>
                    <a:pt x="313" y="1495"/>
                  </a:lnTo>
                  <a:lnTo>
                    <a:pt x="313" y="1497"/>
                  </a:lnTo>
                  <a:close/>
                  <a:moveTo>
                    <a:pt x="322" y="1459"/>
                  </a:moveTo>
                  <a:lnTo>
                    <a:pt x="321" y="1459"/>
                  </a:lnTo>
                  <a:lnTo>
                    <a:pt x="321" y="1458"/>
                  </a:lnTo>
                  <a:lnTo>
                    <a:pt x="322" y="1458"/>
                  </a:lnTo>
                  <a:lnTo>
                    <a:pt x="322" y="1459"/>
                  </a:lnTo>
                  <a:close/>
                  <a:moveTo>
                    <a:pt x="583" y="1399"/>
                  </a:moveTo>
                  <a:lnTo>
                    <a:pt x="584" y="1399"/>
                  </a:lnTo>
                  <a:lnTo>
                    <a:pt x="583" y="1399"/>
                  </a:lnTo>
                  <a:close/>
                  <a:moveTo>
                    <a:pt x="610" y="1376"/>
                  </a:moveTo>
                  <a:lnTo>
                    <a:pt x="610" y="1375"/>
                  </a:lnTo>
                  <a:lnTo>
                    <a:pt x="610" y="1376"/>
                  </a:lnTo>
                  <a:close/>
                  <a:moveTo>
                    <a:pt x="454" y="1462"/>
                  </a:moveTo>
                  <a:lnTo>
                    <a:pt x="456" y="1462"/>
                  </a:lnTo>
                  <a:lnTo>
                    <a:pt x="454" y="1462"/>
                  </a:lnTo>
                  <a:close/>
                  <a:moveTo>
                    <a:pt x="557" y="1402"/>
                  </a:moveTo>
                  <a:lnTo>
                    <a:pt x="557" y="1404"/>
                  </a:lnTo>
                  <a:lnTo>
                    <a:pt x="557" y="1402"/>
                  </a:lnTo>
                  <a:close/>
                  <a:moveTo>
                    <a:pt x="208" y="1484"/>
                  </a:moveTo>
                  <a:lnTo>
                    <a:pt x="208" y="1485"/>
                  </a:lnTo>
                  <a:lnTo>
                    <a:pt x="208" y="1484"/>
                  </a:lnTo>
                  <a:close/>
                  <a:moveTo>
                    <a:pt x="208" y="1445"/>
                  </a:moveTo>
                  <a:lnTo>
                    <a:pt x="208" y="1446"/>
                  </a:lnTo>
                  <a:lnTo>
                    <a:pt x="208" y="1445"/>
                  </a:lnTo>
                  <a:close/>
                  <a:moveTo>
                    <a:pt x="259" y="934"/>
                  </a:moveTo>
                  <a:lnTo>
                    <a:pt x="259" y="932"/>
                  </a:lnTo>
                  <a:lnTo>
                    <a:pt x="259" y="934"/>
                  </a:lnTo>
                  <a:close/>
                  <a:moveTo>
                    <a:pt x="308" y="1490"/>
                  </a:moveTo>
                  <a:lnTo>
                    <a:pt x="306" y="1490"/>
                  </a:lnTo>
                  <a:lnTo>
                    <a:pt x="306" y="1488"/>
                  </a:lnTo>
                  <a:lnTo>
                    <a:pt x="308" y="1490"/>
                  </a:lnTo>
                  <a:close/>
                  <a:moveTo>
                    <a:pt x="426" y="1485"/>
                  </a:moveTo>
                  <a:lnTo>
                    <a:pt x="426" y="1484"/>
                  </a:lnTo>
                  <a:lnTo>
                    <a:pt x="426" y="1485"/>
                  </a:lnTo>
                  <a:close/>
                  <a:moveTo>
                    <a:pt x="482" y="1451"/>
                  </a:moveTo>
                  <a:lnTo>
                    <a:pt x="483" y="1451"/>
                  </a:lnTo>
                  <a:lnTo>
                    <a:pt x="482" y="1451"/>
                  </a:lnTo>
                  <a:close/>
                  <a:moveTo>
                    <a:pt x="252" y="1435"/>
                  </a:moveTo>
                  <a:lnTo>
                    <a:pt x="254" y="1435"/>
                  </a:lnTo>
                  <a:lnTo>
                    <a:pt x="252" y="1435"/>
                  </a:lnTo>
                  <a:close/>
                  <a:moveTo>
                    <a:pt x="306" y="893"/>
                  </a:moveTo>
                  <a:lnTo>
                    <a:pt x="308" y="893"/>
                  </a:lnTo>
                  <a:lnTo>
                    <a:pt x="308" y="895"/>
                  </a:lnTo>
                  <a:lnTo>
                    <a:pt x="308" y="893"/>
                  </a:lnTo>
                  <a:lnTo>
                    <a:pt x="306" y="895"/>
                  </a:lnTo>
                  <a:lnTo>
                    <a:pt x="306" y="893"/>
                  </a:lnTo>
                  <a:close/>
                  <a:moveTo>
                    <a:pt x="348" y="1490"/>
                  </a:moveTo>
                  <a:lnTo>
                    <a:pt x="350" y="1490"/>
                  </a:lnTo>
                  <a:lnTo>
                    <a:pt x="348" y="1490"/>
                  </a:lnTo>
                  <a:close/>
                  <a:moveTo>
                    <a:pt x="571" y="1397"/>
                  </a:moveTo>
                  <a:lnTo>
                    <a:pt x="573" y="1397"/>
                  </a:lnTo>
                  <a:lnTo>
                    <a:pt x="571" y="1397"/>
                  </a:lnTo>
                  <a:close/>
                  <a:moveTo>
                    <a:pt x="303" y="643"/>
                  </a:moveTo>
                  <a:lnTo>
                    <a:pt x="303" y="644"/>
                  </a:lnTo>
                  <a:lnTo>
                    <a:pt x="303" y="643"/>
                  </a:lnTo>
                  <a:close/>
                  <a:moveTo>
                    <a:pt x="304" y="1425"/>
                  </a:moveTo>
                  <a:lnTo>
                    <a:pt x="304" y="1423"/>
                  </a:lnTo>
                  <a:lnTo>
                    <a:pt x="306" y="1423"/>
                  </a:lnTo>
                  <a:lnTo>
                    <a:pt x="306" y="1425"/>
                  </a:lnTo>
                  <a:lnTo>
                    <a:pt x="304" y="1425"/>
                  </a:lnTo>
                  <a:close/>
                  <a:moveTo>
                    <a:pt x="267" y="1458"/>
                  </a:moveTo>
                  <a:lnTo>
                    <a:pt x="265" y="1458"/>
                  </a:lnTo>
                  <a:lnTo>
                    <a:pt x="267" y="1458"/>
                  </a:lnTo>
                  <a:close/>
                  <a:moveTo>
                    <a:pt x="282" y="1479"/>
                  </a:moveTo>
                  <a:lnTo>
                    <a:pt x="283" y="1479"/>
                  </a:lnTo>
                  <a:lnTo>
                    <a:pt x="282" y="1479"/>
                  </a:lnTo>
                  <a:close/>
                  <a:moveTo>
                    <a:pt x="221" y="1500"/>
                  </a:moveTo>
                  <a:lnTo>
                    <a:pt x="223" y="1500"/>
                  </a:lnTo>
                  <a:lnTo>
                    <a:pt x="221" y="1500"/>
                  </a:lnTo>
                  <a:close/>
                  <a:moveTo>
                    <a:pt x="300" y="1490"/>
                  </a:moveTo>
                  <a:lnTo>
                    <a:pt x="298" y="1490"/>
                  </a:lnTo>
                  <a:lnTo>
                    <a:pt x="300" y="1488"/>
                  </a:lnTo>
                  <a:lnTo>
                    <a:pt x="300" y="1490"/>
                  </a:lnTo>
                  <a:close/>
                  <a:moveTo>
                    <a:pt x="249" y="1410"/>
                  </a:moveTo>
                  <a:lnTo>
                    <a:pt x="249" y="1412"/>
                  </a:lnTo>
                  <a:lnTo>
                    <a:pt x="249" y="1410"/>
                  </a:lnTo>
                  <a:close/>
                  <a:moveTo>
                    <a:pt x="448" y="1474"/>
                  </a:moveTo>
                  <a:lnTo>
                    <a:pt x="446" y="1474"/>
                  </a:lnTo>
                  <a:lnTo>
                    <a:pt x="448" y="1474"/>
                  </a:lnTo>
                  <a:close/>
                  <a:moveTo>
                    <a:pt x="187" y="1513"/>
                  </a:moveTo>
                  <a:lnTo>
                    <a:pt x="187" y="1514"/>
                  </a:lnTo>
                  <a:lnTo>
                    <a:pt x="187" y="1513"/>
                  </a:lnTo>
                  <a:close/>
                  <a:moveTo>
                    <a:pt x="236" y="1397"/>
                  </a:moveTo>
                  <a:lnTo>
                    <a:pt x="238" y="1397"/>
                  </a:lnTo>
                  <a:lnTo>
                    <a:pt x="236" y="1397"/>
                  </a:lnTo>
                  <a:close/>
                  <a:moveTo>
                    <a:pt x="345" y="1498"/>
                  </a:moveTo>
                  <a:lnTo>
                    <a:pt x="345" y="1497"/>
                  </a:lnTo>
                  <a:lnTo>
                    <a:pt x="345" y="1498"/>
                  </a:lnTo>
                  <a:close/>
                  <a:moveTo>
                    <a:pt x="282" y="1443"/>
                  </a:moveTo>
                  <a:lnTo>
                    <a:pt x="283" y="1443"/>
                  </a:lnTo>
                  <a:lnTo>
                    <a:pt x="282" y="1443"/>
                  </a:lnTo>
                  <a:close/>
                  <a:moveTo>
                    <a:pt x="220" y="1456"/>
                  </a:moveTo>
                  <a:lnTo>
                    <a:pt x="221" y="1456"/>
                  </a:lnTo>
                  <a:lnTo>
                    <a:pt x="220" y="1456"/>
                  </a:lnTo>
                  <a:close/>
                  <a:moveTo>
                    <a:pt x="430" y="1480"/>
                  </a:moveTo>
                  <a:lnTo>
                    <a:pt x="431" y="1480"/>
                  </a:lnTo>
                  <a:lnTo>
                    <a:pt x="430" y="1480"/>
                  </a:lnTo>
                  <a:close/>
                  <a:moveTo>
                    <a:pt x="212" y="1178"/>
                  </a:moveTo>
                  <a:lnTo>
                    <a:pt x="212" y="1176"/>
                  </a:lnTo>
                  <a:lnTo>
                    <a:pt x="212" y="1178"/>
                  </a:lnTo>
                  <a:close/>
                  <a:moveTo>
                    <a:pt x="317" y="1505"/>
                  </a:moveTo>
                  <a:lnTo>
                    <a:pt x="319" y="1505"/>
                  </a:lnTo>
                  <a:lnTo>
                    <a:pt x="317" y="1505"/>
                  </a:lnTo>
                  <a:close/>
                  <a:moveTo>
                    <a:pt x="179" y="1069"/>
                  </a:moveTo>
                  <a:lnTo>
                    <a:pt x="179" y="1067"/>
                  </a:lnTo>
                  <a:lnTo>
                    <a:pt x="179" y="1069"/>
                  </a:lnTo>
                  <a:close/>
                  <a:moveTo>
                    <a:pt x="275" y="1446"/>
                  </a:moveTo>
                  <a:lnTo>
                    <a:pt x="274" y="1446"/>
                  </a:lnTo>
                  <a:lnTo>
                    <a:pt x="274" y="1445"/>
                  </a:lnTo>
                  <a:lnTo>
                    <a:pt x="275" y="1446"/>
                  </a:lnTo>
                  <a:close/>
                  <a:moveTo>
                    <a:pt x="247" y="1407"/>
                  </a:moveTo>
                  <a:lnTo>
                    <a:pt x="249" y="1407"/>
                  </a:lnTo>
                  <a:lnTo>
                    <a:pt x="247" y="1407"/>
                  </a:lnTo>
                  <a:close/>
                  <a:moveTo>
                    <a:pt x="317" y="1445"/>
                  </a:moveTo>
                  <a:lnTo>
                    <a:pt x="316" y="1445"/>
                  </a:lnTo>
                  <a:lnTo>
                    <a:pt x="317" y="1445"/>
                  </a:lnTo>
                  <a:lnTo>
                    <a:pt x="316" y="1445"/>
                  </a:lnTo>
                  <a:lnTo>
                    <a:pt x="317" y="1445"/>
                  </a:lnTo>
                  <a:close/>
                  <a:moveTo>
                    <a:pt x="195" y="1479"/>
                  </a:moveTo>
                  <a:lnTo>
                    <a:pt x="197" y="1480"/>
                  </a:lnTo>
                  <a:lnTo>
                    <a:pt x="195" y="1479"/>
                  </a:lnTo>
                  <a:close/>
                  <a:moveTo>
                    <a:pt x="347" y="1477"/>
                  </a:moveTo>
                  <a:lnTo>
                    <a:pt x="348" y="1477"/>
                  </a:lnTo>
                  <a:lnTo>
                    <a:pt x="347" y="1477"/>
                  </a:lnTo>
                  <a:close/>
                  <a:moveTo>
                    <a:pt x="314" y="657"/>
                  </a:moveTo>
                  <a:lnTo>
                    <a:pt x="314" y="659"/>
                  </a:lnTo>
                  <a:lnTo>
                    <a:pt x="314" y="657"/>
                  </a:lnTo>
                  <a:close/>
                  <a:moveTo>
                    <a:pt x="142" y="1454"/>
                  </a:moveTo>
                  <a:lnTo>
                    <a:pt x="142" y="1453"/>
                  </a:lnTo>
                  <a:lnTo>
                    <a:pt x="142" y="1454"/>
                  </a:lnTo>
                  <a:close/>
                  <a:moveTo>
                    <a:pt x="361" y="1495"/>
                  </a:moveTo>
                  <a:lnTo>
                    <a:pt x="363" y="1495"/>
                  </a:lnTo>
                  <a:lnTo>
                    <a:pt x="361" y="1495"/>
                  </a:lnTo>
                  <a:close/>
                  <a:moveTo>
                    <a:pt x="313" y="1451"/>
                  </a:moveTo>
                  <a:lnTo>
                    <a:pt x="311" y="1451"/>
                  </a:lnTo>
                  <a:lnTo>
                    <a:pt x="313" y="1451"/>
                  </a:lnTo>
                  <a:close/>
                  <a:moveTo>
                    <a:pt x="290" y="1495"/>
                  </a:moveTo>
                  <a:lnTo>
                    <a:pt x="290" y="1493"/>
                  </a:lnTo>
                  <a:lnTo>
                    <a:pt x="290" y="1495"/>
                  </a:lnTo>
                  <a:close/>
                  <a:moveTo>
                    <a:pt x="270" y="944"/>
                  </a:moveTo>
                  <a:lnTo>
                    <a:pt x="269" y="944"/>
                  </a:lnTo>
                  <a:lnTo>
                    <a:pt x="270" y="944"/>
                  </a:lnTo>
                  <a:close/>
                  <a:moveTo>
                    <a:pt x="220" y="1500"/>
                  </a:moveTo>
                  <a:lnTo>
                    <a:pt x="221" y="1500"/>
                  </a:lnTo>
                  <a:lnTo>
                    <a:pt x="220" y="1500"/>
                  </a:lnTo>
                  <a:close/>
                  <a:moveTo>
                    <a:pt x="223" y="1430"/>
                  </a:moveTo>
                  <a:lnTo>
                    <a:pt x="225" y="1430"/>
                  </a:lnTo>
                  <a:lnTo>
                    <a:pt x="223" y="1430"/>
                  </a:lnTo>
                  <a:close/>
                  <a:moveTo>
                    <a:pt x="327" y="1433"/>
                  </a:moveTo>
                  <a:lnTo>
                    <a:pt x="327" y="1435"/>
                  </a:lnTo>
                  <a:lnTo>
                    <a:pt x="327" y="1433"/>
                  </a:lnTo>
                  <a:close/>
                  <a:moveTo>
                    <a:pt x="290" y="1519"/>
                  </a:moveTo>
                  <a:lnTo>
                    <a:pt x="290" y="1521"/>
                  </a:lnTo>
                  <a:lnTo>
                    <a:pt x="290" y="1519"/>
                  </a:lnTo>
                  <a:close/>
                  <a:moveTo>
                    <a:pt x="277" y="1514"/>
                  </a:moveTo>
                  <a:lnTo>
                    <a:pt x="278" y="1514"/>
                  </a:lnTo>
                  <a:lnTo>
                    <a:pt x="277" y="1514"/>
                  </a:lnTo>
                  <a:close/>
                  <a:moveTo>
                    <a:pt x="247" y="1384"/>
                  </a:moveTo>
                  <a:lnTo>
                    <a:pt x="246" y="1384"/>
                  </a:lnTo>
                  <a:lnTo>
                    <a:pt x="247" y="1384"/>
                  </a:lnTo>
                  <a:close/>
                  <a:moveTo>
                    <a:pt x="335" y="1467"/>
                  </a:moveTo>
                  <a:lnTo>
                    <a:pt x="334" y="1467"/>
                  </a:lnTo>
                  <a:lnTo>
                    <a:pt x="335" y="1466"/>
                  </a:lnTo>
                  <a:lnTo>
                    <a:pt x="335" y="1467"/>
                  </a:lnTo>
                  <a:close/>
                  <a:moveTo>
                    <a:pt x="230" y="1438"/>
                  </a:moveTo>
                  <a:lnTo>
                    <a:pt x="228" y="1438"/>
                  </a:lnTo>
                  <a:lnTo>
                    <a:pt x="230" y="1438"/>
                  </a:lnTo>
                  <a:close/>
                  <a:moveTo>
                    <a:pt x="244" y="1409"/>
                  </a:moveTo>
                  <a:lnTo>
                    <a:pt x="243" y="1409"/>
                  </a:lnTo>
                  <a:lnTo>
                    <a:pt x="244" y="1409"/>
                  </a:lnTo>
                  <a:close/>
                  <a:moveTo>
                    <a:pt x="270" y="1513"/>
                  </a:moveTo>
                  <a:lnTo>
                    <a:pt x="272" y="1513"/>
                  </a:lnTo>
                  <a:lnTo>
                    <a:pt x="270" y="1513"/>
                  </a:lnTo>
                  <a:close/>
                  <a:moveTo>
                    <a:pt x="249" y="1014"/>
                  </a:moveTo>
                  <a:lnTo>
                    <a:pt x="251" y="1012"/>
                  </a:lnTo>
                  <a:lnTo>
                    <a:pt x="251" y="1014"/>
                  </a:lnTo>
                  <a:lnTo>
                    <a:pt x="249" y="1014"/>
                  </a:lnTo>
                  <a:close/>
                  <a:moveTo>
                    <a:pt x="265" y="952"/>
                  </a:moveTo>
                  <a:lnTo>
                    <a:pt x="264" y="952"/>
                  </a:lnTo>
                  <a:lnTo>
                    <a:pt x="265" y="952"/>
                  </a:lnTo>
                  <a:close/>
                  <a:moveTo>
                    <a:pt x="247" y="1500"/>
                  </a:moveTo>
                  <a:lnTo>
                    <a:pt x="247" y="1498"/>
                  </a:lnTo>
                  <a:lnTo>
                    <a:pt x="249" y="1498"/>
                  </a:lnTo>
                  <a:lnTo>
                    <a:pt x="249" y="1500"/>
                  </a:lnTo>
                  <a:lnTo>
                    <a:pt x="247" y="1500"/>
                  </a:lnTo>
                  <a:close/>
                  <a:moveTo>
                    <a:pt x="230" y="1487"/>
                  </a:moveTo>
                  <a:lnTo>
                    <a:pt x="230" y="1488"/>
                  </a:lnTo>
                  <a:lnTo>
                    <a:pt x="230" y="1487"/>
                  </a:lnTo>
                  <a:close/>
                  <a:moveTo>
                    <a:pt x="239" y="1329"/>
                  </a:moveTo>
                  <a:lnTo>
                    <a:pt x="241" y="1329"/>
                  </a:lnTo>
                  <a:lnTo>
                    <a:pt x="239" y="1329"/>
                  </a:lnTo>
                  <a:close/>
                  <a:moveTo>
                    <a:pt x="184" y="1510"/>
                  </a:moveTo>
                  <a:lnTo>
                    <a:pt x="186" y="1510"/>
                  </a:lnTo>
                  <a:lnTo>
                    <a:pt x="184" y="1510"/>
                  </a:lnTo>
                  <a:close/>
                  <a:moveTo>
                    <a:pt x="272" y="1484"/>
                  </a:moveTo>
                  <a:lnTo>
                    <a:pt x="274" y="1484"/>
                  </a:lnTo>
                  <a:lnTo>
                    <a:pt x="272" y="1484"/>
                  </a:lnTo>
                  <a:close/>
                  <a:moveTo>
                    <a:pt x="295" y="1510"/>
                  </a:moveTo>
                  <a:lnTo>
                    <a:pt x="293" y="1511"/>
                  </a:lnTo>
                  <a:lnTo>
                    <a:pt x="293" y="1510"/>
                  </a:lnTo>
                  <a:lnTo>
                    <a:pt x="295" y="1510"/>
                  </a:lnTo>
                  <a:close/>
                  <a:moveTo>
                    <a:pt x="288" y="1523"/>
                  </a:moveTo>
                  <a:lnTo>
                    <a:pt x="290" y="1521"/>
                  </a:lnTo>
                  <a:lnTo>
                    <a:pt x="290" y="1523"/>
                  </a:lnTo>
                  <a:lnTo>
                    <a:pt x="290" y="1521"/>
                  </a:lnTo>
                  <a:lnTo>
                    <a:pt x="288" y="1523"/>
                  </a:lnTo>
                  <a:close/>
                  <a:moveTo>
                    <a:pt x="301" y="657"/>
                  </a:moveTo>
                  <a:lnTo>
                    <a:pt x="300" y="657"/>
                  </a:lnTo>
                  <a:lnTo>
                    <a:pt x="300" y="656"/>
                  </a:lnTo>
                  <a:lnTo>
                    <a:pt x="301" y="657"/>
                  </a:lnTo>
                  <a:close/>
                  <a:moveTo>
                    <a:pt x="600" y="1368"/>
                  </a:moveTo>
                  <a:lnTo>
                    <a:pt x="600" y="1370"/>
                  </a:lnTo>
                  <a:lnTo>
                    <a:pt x="602" y="1368"/>
                  </a:lnTo>
                  <a:lnTo>
                    <a:pt x="602" y="1370"/>
                  </a:lnTo>
                  <a:lnTo>
                    <a:pt x="600" y="1370"/>
                  </a:lnTo>
                  <a:lnTo>
                    <a:pt x="600" y="1368"/>
                  </a:lnTo>
                  <a:close/>
                  <a:moveTo>
                    <a:pt x="274" y="1440"/>
                  </a:moveTo>
                  <a:lnTo>
                    <a:pt x="274" y="1438"/>
                  </a:lnTo>
                  <a:lnTo>
                    <a:pt x="275" y="1438"/>
                  </a:lnTo>
                  <a:lnTo>
                    <a:pt x="275" y="1440"/>
                  </a:lnTo>
                  <a:lnTo>
                    <a:pt x="274" y="1440"/>
                  </a:lnTo>
                  <a:close/>
                  <a:moveTo>
                    <a:pt x="259" y="1497"/>
                  </a:moveTo>
                  <a:lnTo>
                    <a:pt x="259" y="1495"/>
                  </a:lnTo>
                  <a:lnTo>
                    <a:pt x="259" y="1497"/>
                  </a:lnTo>
                  <a:close/>
                  <a:moveTo>
                    <a:pt x="187" y="1061"/>
                  </a:moveTo>
                  <a:lnTo>
                    <a:pt x="189" y="1061"/>
                  </a:lnTo>
                  <a:lnTo>
                    <a:pt x="189" y="1062"/>
                  </a:lnTo>
                  <a:lnTo>
                    <a:pt x="187" y="1061"/>
                  </a:lnTo>
                  <a:close/>
                  <a:moveTo>
                    <a:pt x="451" y="1471"/>
                  </a:moveTo>
                  <a:lnTo>
                    <a:pt x="452" y="1471"/>
                  </a:lnTo>
                  <a:lnTo>
                    <a:pt x="451" y="1471"/>
                  </a:lnTo>
                  <a:close/>
                  <a:moveTo>
                    <a:pt x="230" y="1376"/>
                  </a:moveTo>
                  <a:lnTo>
                    <a:pt x="231" y="1376"/>
                  </a:lnTo>
                  <a:lnTo>
                    <a:pt x="230" y="1376"/>
                  </a:lnTo>
                  <a:close/>
                  <a:moveTo>
                    <a:pt x="210" y="1435"/>
                  </a:moveTo>
                  <a:lnTo>
                    <a:pt x="208" y="1435"/>
                  </a:lnTo>
                  <a:lnTo>
                    <a:pt x="210" y="1435"/>
                  </a:lnTo>
                  <a:close/>
                  <a:moveTo>
                    <a:pt x="243" y="1412"/>
                  </a:moveTo>
                  <a:lnTo>
                    <a:pt x="244" y="1412"/>
                  </a:lnTo>
                  <a:lnTo>
                    <a:pt x="243" y="1412"/>
                  </a:lnTo>
                  <a:lnTo>
                    <a:pt x="244" y="1412"/>
                  </a:lnTo>
                  <a:lnTo>
                    <a:pt x="243" y="1412"/>
                  </a:lnTo>
                  <a:lnTo>
                    <a:pt x="243" y="1414"/>
                  </a:lnTo>
                  <a:lnTo>
                    <a:pt x="243" y="1412"/>
                  </a:lnTo>
                  <a:close/>
                  <a:moveTo>
                    <a:pt x="278" y="1487"/>
                  </a:moveTo>
                  <a:lnTo>
                    <a:pt x="278" y="1485"/>
                  </a:lnTo>
                  <a:lnTo>
                    <a:pt x="278" y="1487"/>
                  </a:lnTo>
                  <a:close/>
                  <a:moveTo>
                    <a:pt x="295" y="1453"/>
                  </a:moveTo>
                  <a:lnTo>
                    <a:pt x="293" y="1453"/>
                  </a:lnTo>
                  <a:lnTo>
                    <a:pt x="295" y="1451"/>
                  </a:lnTo>
                  <a:lnTo>
                    <a:pt x="295" y="1453"/>
                  </a:lnTo>
                  <a:close/>
                  <a:moveTo>
                    <a:pt x="256" y="1441"/>
                  </a:moveTo>
                  <a:lnTo>
                    <a:pt x="257" y="1441"/>
                  </a:lnTo>
                  <a:lnTo>
                    <a:pt x="256" y="1441"/>
                  </a:lnTo>
                  <a:close/>
                  <a:moveTo>
                    <a:pt x="228" y="1233"/>
                  </a:moveTo>
                  <a:lnTo>
                    <a:pt x="228" y="1235"/>
                  </a:lnTo>
                  <a:lnTo>
                    <a:pt x="230" y="1233"/>
                  </a:lnTo>
                  <a:lnTo>
                    <a:pt x="230" y="1235"/>
                  </a:lnTo>
                  <a:lnTo>
                    <a:pt x="228" y="1235"/>
                  </a:lnTo>
                  <a:lnTo>
                    <a:pt x="228" y="1233"/>
                  </a:lnTo>
                  <a:close/>
                  <a:moveTo>
                    <a:pt x="272" y="1422"/>
                  </a:moveTo>
                  <a:lnTo>
                    <a:pt x="272" y="1420"/>
                  </a:lnTo>
                  <a:lnTo>
                    <a:pt x="272" y="1422"/>
                  </a:lnTo>
                  <a:close/>
                  <a:moveTo>
                    <a:pt x="283" y="1490"/>
                  </a:moveTo>
                  <a:lnTo>
                    <a:pt x="282" y="1490"/>
                  </a:lnTo>
                  <a:lnTo>
                    <a:pt x="283" y="1490"/>
                  </a:lnTo>
                  <a:close/>
                  <a:moveTo>
                    <a:pt x="210" y="1173"/>
                  </a:moveTo>
                  <a:lnTo>
                    <a:pt x="212" y="1173"/>
                  </a:lnTo>
                  <a:lnTo>
                    <a:pt x="210" y="1175"/>
                  </a:lnTo>
                  <a:lnTo>
                    <a:pt x="210" y="1173"/>
                  </a:lnTo>
                  <a:close/>
                  <a:moveTo>
                    <a:pt x="173" y="1020"/>
                  </a:moveTo>
                  <a:lnTo>
                    <a:pt x="174" y="1022"/>
                  </a:lnTo>
                  <a:lnTo>
                    <a:pt x="174" y="1020"/>
                  </a:lnTo>
                  <a:lnTo>
                    <a:pt x="174" y="1022"/>
                  </a:lnTo>
                  <a:lnTo>
                    <a:pt x="173" y="1020"/>
                  </a:lnTo>
                  <a:close/>
                  <a:moveTo>
                    <a:pt x="244" y="1497"/>
                  </a:moveTo>
                  <a:lnTo>
                    <a:pt x="244" y="1495"/>
                  </a:lnTo>
                  <a:lnTo>
                    <a:pt x="244" y="1497"/>
                  </a:lnTo>
                  <a:close/>
                  <a:moveTo>
                    <a:pt x="262" y="924"/>
                  </a:moveTo>
                  <a:lnTo>
                    <a:pt x="262" y="926"/>
                  </a:lnTo>
                  <a:lnTo>
                    <a:pt x="262" y="924"/>
                  </a:lnTo>
                  <a:close/>
                  <a:moveTo>
                    <a:pt x="202" y="1511"/>
                  </a:moveTo>
                  <a:lnTo>
                    <a:pt x="200" y="1511"/>
                  </a:lnTo>
                  <a:lnTo>
                    <a:pt x="202" y="1511"/>
                  </a:lnTo>
                  <a:close/>
                  <a:moveTo>
                    <a:pt x="413" y="1488"/>
                  </a:moveTo>
                  <a:lnTo>
                    <a:pt x="413" y="1487"/>
                  </a:lnTo>
                  <a:lnTo>
                    <a:pt x="413" y="1488"/>
                  </a:lnTo>
                  <a:close/>
                  <a:moveTo>
                    <a:pt x="446" y="1469"/>
                  </a:moveTo>
                  <a:lnTo>
                    <a:pt x="446" y="1467"/>
                  </a:lnTo>
                  <a:lnTo>
                    <a:pt x="448" y="1469"/>
                  </a:lnTo>
                  <a:lnTo>
                    <a:pt x="446" y="1469"/>
                  </a:lnTo>
                  <a:close/>
                  <a:moveTo>
                    <a:pt x="337" y="1456"/>
                  </a:moveTo>
                  <a:lnTo>
                    <a:pt x="337" y="1458"/>
                  </a:lnTo>
                  <a:lnTo>
                    <a:pt x="337" y="1456"/>
                  </a:lnTo>
                  <a:close/>
                  <a:moveTo>
                    <a:pt x="296" y="1480"/>
                  </a:moveTo>
                  <a:lnTo>
                    <a:pt x="296" y="1479"/>
                  </a:lnTo>
                  <a:lnTo>
                    <a:pt x="296" y="1480"/>
                  </a:lnTo>
                  <a:close/>
                  <a:moveTo>
                    <a:pt x="161" y="1070"/>
                  </a:moveTo>
                  <a:lnTo>
                    <a:pt x="161" y="1072"/>
                  </a:lnTo>
                  <a:lnTo>
                    <a:pt x="161" y="1070"/>
                  </a:lnTo>
                  <a:close/>
                  <a:moveTo>
                    <a:pt x="184" y="1453"/>
                  </a:moveTo>
                  <a:lnTo>
                    <a:pt x="184" y="1454"/>
                  </a:lnTo>
                  <a:lnTo>
                    <a:pt x="184" y="1453"/>
                  </a:lnTo>
                  <a:close/>
                  <a:moveTo>
                    <a:pt x="243" y="1329"/>
                  </a:moveTo>
                  <a:lnTo>
                    <a:pt x="241" y="1329"/>
                  </a:lnTo>
                  <a:lnTo>
                    <a:pt x="243" y="1329"/>
                  </a:lnTo>
                  <a:close/>
                  <a:moveTo>
                    <a:pt x="698" y="1318"/>
                  </a:moveTo>
                  <a:lnTo>
                    <a:pt x="698" y="1319"/>
                  </a:lnTo>
                  <a:lnTo>
                    <a:pt x="698" y="1318"/>
                  </a:lnTo>
                  <a:close/>
                  <a:moveTo>
                    <a:pt x="152" y="1471"/>
                  </a:moveTo>
                  <a:lnTo>
                    <a:pt x="150" y="1471"/>
                  </a:lnTo>
                  <a:lnTo>
                    <a:pt x="152" y="1471"/>
                  </a:lnTo>
                  <a:close/>
                  <a:moveTo>
                    <a:pt x="287" y="1459"/>
                  </a:moveTo>
                  <a:lnTo>
                    <a:pt x="287" y="1458"/>
                  </a:lnTo>
                  <a:lnTo>
                    <a:pt x="287" y="1459"/>
                  </a:lnTo>
                  <a:close/>
                  <a:moveTo>
                    <a:pt x="184" y="1453"/>
                  </a:moveTo>
                  <a:lnTo>
                    <a:pt x="186" y="1453"/>
                  </a:lnTo>
                  <a:lnTo>
                    <a:pt x="184" y="1453"/>
                  </a:lnTo>
                  <a:close/>
                  <a:moveTo>
                    <a:pt x="225" y="1471"/>
                  </a:moveTo>
                  <a:lnTo>
                    <a:pt x="225" y="1469"/>
                  </a:lnTo>
                  <a:lnTo>
                    <a:pt x="225" y="1471"/>
                  </a:lnTo>
                  <a:close/>
                  <a:moveTo>
                    <a:pt x="165" y="1448"/>
                  </a:moveTo>
                  <a:lnTo>
                    <a:pt x="165" y="1449"/>
                  </a:lnTo>
                  <a:lnTo>
                    <a:pt x="165" y="1448"/>
                  </a:lnTo>
                  <a:close/>
                  <a:moveTo>
                    <a:pt x="625" y="1365"/>
                  </a:moveTo>
                  <a:lnTo>
                    <a:pt x="626" y="1365"/>
                  </a:lnTo>
                  <a:lnTo>
                    <a:pt x="625" y="1365"/>
                  </a:lnTo>
                  <a:close/>
                  <a:moveTo>
                    <a:pt x="192" y="1518"/>
                  </a:moveTo>
                  <a:lnTo>
                    <a:pt x="191" y="1518"/>
                  </a:lnTo>
                  <a:lnTo>
                    <a:pt x="192" y="1518"/>
                  </a:lnTo>
                  <a:close/>
                  <a:moveTo>
                    <a:pt x="252" y="1443"/>
                  </a:moveTo>
                  <a:lnTo>
                    <a:pt x="254" y="1443"/>
                  </a:lnTo>
                  <a:lnTo>
                    <a:pt x="254" y="1445"/>
                  </a:lnTo>
                  <a:lnTo>
                    <a:pt x="252" y="1443"/>
                  </a:lnTo>
                  <a:close/>
                  <a:moveTo>
                    <a:pt x="529" y="1420"/>
                  </a:moveTo>
                  <a:lnTo>
                    <a:pt x="527" y="1420"/>
                  </a:lnTo>
                  <a:lnTo>
                    <a:pt x="529" y="1420"/>
                  </a:lnTo>
                  <a:close/>
                  <a:moveTo>
                    <a:pt x="361" y="1477"/>
                  </a:moveTo>
                  <a:lnTo>
                    <a:pt x="361" y="1475"/>
                  </a:lnTo>
                  <a:lnTo>
                    <a:pt x="361" y="1477"/>
                  </a:lnTo>
                  <a:close/>
                  <a:moveTo>
                    <a:pt x="169" y="1451"/>
                  </a:moveTo>
                  <a:lnTo>
                    <a:pt x="168" y="1451"/>
                  </a:lnTo>
                  <a:lnTo>
                    <a:pt x="169" y="1451"/>
                  </a:lnTo>
                  <a:close/>
                  <a:moveTo>
                    <a:pt x="236" y="1365"/>
                  </a:moveTo>
                  <a:lnTo>
                    <a:pt x="238" y="1366"/>
                  </a:lnTo>
                  <a:lnTo>
                    <a:pt x="236" y="1366"/>
                  </a:lnTo>
                  <a:lnTo>
                    <a:pt x="236" y="1365"/>
                  </a:lnTo>
                  <a:close/>
                  <a:moveTo>
                    <a:pt x="270" y="1480"/>
                  </a:moveTo>
                  <a:lnTo>
                    <a:pt x="272" y="1480"/>
                  </a:lnTo>
                  <a:lnTo>
                    <a:pt x="272" y="1482"/>
                  </a:lnTo>
                  <a:lnTo>
                    <a:pt x="270" y="1482"/>
                  </a:lnTo>
                  <a:lnTo>
                    <a:pt x="270" y="1480"/>
                  </a:lnTo>
                  <a:close/>
                  <a:moveTo>
                    <a:pt x="389" y="735"/>
                  </a:moveTo>
                  <a:lnTo>
                    <a:pt x="389" y="737"/>
                  </a:lnTo>
                  <a:lnTo>
                    <a:pt x="389" y="735"/>
                  </a:lnTo>
                  <a:close/>
                  <a:moveTo>
                    <a:pt x="189" y="1106"/>
                  </a:moveTo>
                  <a:lnTo>
                    <a:pt x="189" y="1108"/>
                  </a:lnTo>
                  <a:lnTo>
                    <a:pt x="189" y="1106"/>
                  </a:lnTo>
                  <a:close/>
                  <a:moveTo>
                    <a:pt x="654" y="1336"/>
                  </a:moveTo>
                  <a:lnTo>
                    <a:pt x="654" y="1337"/>
                  </a:lnTo>
                  <a:lnTo>
                    <a:pt x="654" y="1336"/>
                  </a:lnTo>
                  <a:close/>
                  <a:moveTo>
                    <a:pt x="454" y="1471"/>
                  </a:moveTo>
                  <a:lnTo>
                    <a:pt x="454" y="1469"/>
                  </a:lnTo>
                  <a:lnTo>
                    <a:pt x="454" y="1471"/>
                  </a:lnTo>
                  <a:close/>
                  <a:moveTo>
                    <a:pt x="291" y="1453"/>
                  </a:moveTo>
                  <a:lnTo>
                    <a:pt x="291" y="1451"/>
                  </a:lnTo>
                  <a:lnTo>
                    <a:pt x="291" y="1453"/>
                  </a:lnTo>
                  <a:close/>
                  <a:moveTo>
                    <a:pt x="311" y="1479"/>
                  </a:moveTo>
                  <a:lnTo>
                    <a:pt x="313" y="1480"/>
                  </a:lnTo>
                  <a:lnTo>
                    <a:pt x="311" y="1480"/>
                  </a:lnTo>
                  <a:lnTo>
                    <a:pt x="311" y="1479"/>
                  </a:lnTo>
                  <a:close/>
                  <a:moveTo>
                    <a:pt x="342" y="1443"/>
                  </a:moveTo>
                  <a:lnTo>
                    <a:pt x="340" y="1443"/>
                  </a:lnTo>
                  <a:lnTo>
                    <a:pt x="342" y="1443"/>
                  </a:lnTo>
                  <a:close/>
                  <a:moveTo>
                    <a:pt x="239" y="1497"/>
                  </a:moveTo>
                  <a:lnTo>
                    <a:pt x="238" y="1497"/>
                  </a:lnTo>
                  <a:lnTo>
                    <a:pt x="238" y="1495"/>
                  </a:lnTo>
                  <a:lnTo>
                    <a:pt x="239" y="1495"/>
                  </a:lnTo>
                  <a:lnTo>
                    <a:pt x="239" y="1497"/>
                  </a:lnTo>
                  <a:close/>
                  <a:moveTo>
                    <a:pt x="187" y="1053"/>
                  </a:moveTo>
                  <a:lnTo>
                    <a:pt x="189" y="1053"/>
                  </a:lnTo>
                  <a:lnTo>
                    <a:pt x="187" y="1054"/>
                  </a:lnTo>
                  <a:lnTo>
                    <a:pt x="187" y="1053"/>
                  </a:lnTo>
                  <a:close/>
                  <a:moveTo>
                    <a:pt x="257" y="1469"/>
                  </a:moveTo>
                  <a:lnTo>
                    <a:pt x="257" y="1467"/>
                  </a:lnTo>
                  <a:lnTo>
                    <a:pt x="257" y="1469"/>
                  </a:lnTo>
                  <a:close/>
                  <a:moveTo>
                    <a:pt x="369" y="1480"/>
                  </a:moveTo>
                  <a:lnTo>
                    <a:pt x="369" y="1479"/>
                  </a:lnTo>
                  <a:lnTo>
                    <a:pt x="369" y="1480"/>
                  </a:lnTo>
                  <a:close/>
                  <a:moveTo>
                    <a:pt x="225" y="1409"/>
                  </a:moveTo>
                  <a:lnTo>
                    <a:pt x="225" y="1407"/>
                  </a:lnTo>
                  <a:lnTo>
                    <a:pt x="225" y="1409"/>
                  </a:lnTo>
                  <a:close/>
                  <a:moveTo>
                    <a:pt x="267" y="1422"/>
                  </a:moveTo>
                  <a:lnTo>
                    <a:pt x="267" y="1420"/>
                  </a:lnTo>
                  <a:lnTo>
                    <a:pt x="267" y="1422"/>
                  </a:lnTo>
                  <a:close/>
                  <a:moveTo>
                    <a:pt x="262" y="1471"/>
                  </a:moveTo>
                  <a:lnTo>
                    <a:pt x="264" y="1471"/>
                  </a:lnTo>
                  <a:lnTo>
                    <a:pt x="262" y="1471"/>
                  </a:lnTo>
                  <a:close/>
                  <a:moveTo>
                    <a:pt x="464" y="1469"/>
                  </a:moveTo>
                  <a:lnTo>
                    <a:pt x="462" y="1469"/>
                  </a:lnTo>
                  <a:lnTo>
                    <a:pt x="462" y="1467"/>
                  </a:lnTo>
                  <a:lnTo>
                    <a:pt x="464" y="1467"/>
                  </a:lnTo>
                  <a:lnTo>
                    <a:pt x="464" y="1469"/>
                  </a:lnTo>
                  <a:close/>
                  <a:moveTo>
                    <a:pt x="267" y="1475"/>
                  </a:moveTo>
                  <a:lnTo>
                    <a:pt x="269" y="1475"/>
                  </a:lnTo>
                  <a:lnTo>
                    <a:pt x="267" y="1475"/>
                  </a:lnTo>
                  <a:close/>
                  <a:moveTo>
                    <a:pt x="272" y="950"/>
                  </a:moveTo>
                  <a:lnTo>
                    <a:pt x="270" y="950"/>
                  </a:lnTo>
                  <a:lnTo>
                    <a:pt x="272" y="950"/>
                  </a:lnTo>
                  <a:close/>
                  <a:moveTo>
                    <a:pt x="256" y="1404"/>
                  </a:moveTo>
                  <a:lnTo>
                    <a:pt x="257" y="1404"/>
                  </a:lnTo>
                  <a:lnTo>
                    <a:pt x="256" y="1404"/>
                  </a:lnTo>
                  <a:close/>
                  <a:moveTo>
                    <a:pt x="278" y="1406"/>
                  </a:moveTo>
                  <a:lnTo>
                    <a:pt x="277" y="1406"/>
                  </a:lnTo>
                  <a:lnTo>
                    <a:pt x="278" y="1406"/>
                  </a:lnTo>
                  <a:close/>
                  <a:moveTo>
                    <a:pt x="249" y="1474"/>
                  </a:moveTo>
                  <a:lnTo>
                    <a:pt x="251" y="1472"/>
                  </a:lnTo>
                  <a:lnTo>
                    <a:pt x="251" y="1474"/>
                  </a:lnTo>
                  <a:lnTo>
                    <a:pt x="249" y="1474"/>
                  </a:lnTo>
                  <a:close/>
                  <a:moveTo>
                    <a:pt x="384" y="732"/>
                  </a:moveTo>
                  <a:lnTo>
                    <a:pt x="382" y="732"/>
                  </a:lnTo>
                  <a:lnTo>
                    <a:pt x="384" y="732"/>
                  </a:lnTo>
                  <a:close/>
                  <a:moveTo>
                    <a:pt x="135" y="1458"/>
                  </a:moveTo>
                  <a:lnTo>
                    <a:pt x="135" y="1456"/>
                  </a:lnTo>
                  <a:lnTo>
                    <a:pt x="135" y="1458"/>
                  </a:lnTo>
                  <a:close/>
                  <a:moveTo>
                    <a:pt x="233" y="1240"/>
                  </a:moveTo>
                  <a:lnTo>
                    <a:pt x="234" y="1240"/>
                  </a:lnTo>
                  <a:lnTo>
                    <a:pt x="233" y="1240"/>
                  </a:lnTo>
                  <a:close/>
                  <a:moveTo>
                    <a:pt x="287" y="1513"/>
                  </a:moveTo>
                  <a:lnTo>
                    <a:pt x="287" y="1514"/>
                  </a:lnTo>
                  <a:lnTo>
                    <a:pt x="287" y="1513"/>
                  </a:lnTo>
                  <a:close/>
                  <a:moveTo>
                    <a:pt x="243" y="1407"/>
                  </a:moveTo>
                  <a:lnTo>
                    <a:pt x="243" y="1409"/>
                  </a:lnTo>
                  <a:lnTo>
                    <a:pt x="243" y="1407"/>
                  </a:lnTo>
                  <a:close/>
                  <a:moveTo>
                    <a:pt x="223" y="1220"/>
                  </a:moveTo>
                  <a:lnTo>
                    <a:pt x="225" y="1220"/>
                  </a:lnTo>
                  <a:lnTo>
                    <a:pt x="223" y="1220"/>
                  </a:lnTo>
                  <a:close/>
                  <a:moveTo>
                    <a:pt x="238" y="1329"/>
                  </a:moveTo>
                  <a:lnTo>
                    <a:pt x="238" y="1331"/>
                  </a:lnTo>
                  <a:lnTo>
                    <a:pt x="238" y="1329"/>
                  </a:lnTo>
                  <a:close/>
                  <a:moveTo>
                    <a:pt x="560" y="1399"/>
                  </a:moveTo>
                  <a:lnTo>
                    <a:pt x="560" y="1401"/>
                  </a:lnTo>
                  <a:lnTo>
                    <a:pt x="560" y="1399"/>
                  </a:lnTo>
                  <a:close/>
                  <a:moveTo>
                    <a:pt x="602" y="1373"/>
                  </a:moveTo>
                  <a:lnTo>
                    <a:pt x="602" y="1375"/>
                  </a:lnTo>
                  <a:lnTo>
                    <a:pt x="602" y="1373"/>
                  </a:lnTo>
                  <a:close/>
                  <a:moveTo>
                    <a:pt x="225" y="1415"/>
                  </a:moveTo>
                  <a:lnTo>
                    <a:pt x="225" y="1417"/>
                  </a:lnTo>
                  <a:lnTo>
                    <a:pt x="225" y="1415"/>
                  </a:lnTo>
                  <a:close/>
                  <a:moveTo>
                    <a:pt x="259" y="1406"/>
                  </a:moveTo>
                  <a:lnTo>
                    <a:pt x="259" y="1407"/>
                  </a:lnTo>
                  <a:lnTo>
                    <a:pt x="259" y="1406"/>
                  </a:lnTo>
                  <a:close/>
                  <a:moveTo>
                    <a:pt x="369" y="1461"/>
                  </a:moveTo>
                  <a:lnTo>
                    <a:pt x="369" y="1462"/>
                  </a:lnTo>
                  <a:lnTo>
                    <a:pt x="369" y="1461"/>
                  </a:lnTo>
                  <a:close/>
                  <a:moveTo>
                    <a:pt x="187" y="1445"/>
                  </a:moveTo>
                  <a:lnTo>
                    <a:pt x="187" y="1443"/>
                  </a:lnTo>
                  <a:lnTo>
                    <a:pt x="189" y="1445"/>
                  </a:lnTo>
                  <a:lnTo>
                    <a:pt x="187" y="1445"/>
                  </a:lnTo>
                  <a:close/>
                  <a:moveTo>
                    <a:pt x="368" y="679"/>
                  </a:moveTo>
                  <a:lnTo>
                    <a:pt x="369" y="679"/>
                  </a:lnTo>
                  <a:lnTo>
                    <a:pt x="368" y="679"/>
                  </a:lnTo>
                  <a:close/>
                  <a:moveTo>
                    <a:pt x="283" y="1407"/>
                  </a:moveTo>
                  <a:lnTo>
                    <a:pt x="285" y="1407"/>
                  </a:lnTo>
                  <a:lnTo>
                    <a:pt x="283" y="1407"/>
                  </a:lnTo>
                  <a:close/>
                  <a:moveTo>
                    <a:pt x="589" y="1393"/>
                  </a:moveTo>
                  <a:lnTo>
                    <a:pt x="589" y="1391"/>
                  </a:lnTo>
                  <a:lnTo>
                    <a:pt x="589" y="1393"/>
                  </a:lnTo>
                  <a:close/>
                  <a:moveTo>
                    <a:pt x="314" y="1505"/>
                  </a:moveTo>
                  <a:lnTo>
                    <a:pt x="314" y="1503"/>
                  </a:lnTo>
                  <a:lnTo>
                    <a:pt x="314" y="1505"/>
                  </a:lnTo>
                  <a:close/>
                  <a:moveTo>
                    <a:pt x="230" y="1380"/>
                  </a:moveTo>
                  <a:lnTo>
                    <a:pt x="230" y="1381"/>
                  </a:lnTo>
                  <a:lnTo>
                    <a:pt x="230" y="1380"/>
                  </a:lnTo>
                  <a:close/>
                  <a:moveTo>
                    <a:pt x="132" y="1472"/>
                  </a:moveTo>
                  <a:lnTo>
                    <a:pt x="132" y="1471"/>
                  </a:lnTo>
                  <a:lnTo>
                    <a:pt x="132" y="1472"/>
                  </a:lnTo>
                  <a:close/>
                  <a:moveTo>
                    <a:pt x="181" y="1505"/>
                  </a:moveTo>
                  <a:lnTo>
                    <a:pt x="179" y="1505"/>
                  </a:lnTo>
                  <a:lnTo>
                    <a:pt x="181" y="1505"/>
                  </a:lnTo>
                  <a:close/>
                  <a:moveTo>
                    <a:pt x="207" y="1513"/>
                  </a:moveTo>
                  <a:lnTo>
                    <a:pt x="207" y="1511"/>
                  </a:lnTo>
                  <a:lnTo>
                    <a:pt x="207" y="1513"/>
                  </a:lnTo>
                  <a:close/>
                  <a:moveTo>
                    <a:pt x="252" y="1386"/>
                  </a:moveTo>
                  <a:lnTo>
                    <a:pt x="251" y="1386"/>
                  </a:lnTo>
                  <a:lnTo>
                    <a:pt x="252" y="1384"/>
                  </a:lnTo>
                  <a:lnTo>
                    <a:pt x="252" y="1386"/>
                  </a:lnTo>
                  <a:close/>
                  <a:moveTo>
                    <a:pt x="332" y="1505"/>
                  </a:moveTo>
                  <a:lnTo>
                    <a:pt x="332" y="1503"/>
                  </a:lnTo>
                  <a:lnTo>
                    <a:pt x="332" y="1505"/>
                  </a:lnTo>
                  <a:close/>
                  <a:moveTo>
                    <a:pt x="350" y="685"/>
                  </a:moveTo>
                  <a:lnTo>
                    <a:pt x="348" y="685"/>
                  </a:lnTo>
                  <a:lnTo>
                    <a:pt x="350" y="685"/>
                  </a:lnTo>
                  <a:close/>
                  <a:moveTo>
                    <a:pt x="186" y="1459"/>
                  </a:moveTo>
                  <a:lnTo>
                    <a:pt x="186" y="1461"/>
                  </a:lnTo>
                  <a:lnTo>
                    <a:pt x="186" y="1459"/>
                  </a:lnTo>
                  <a:close/>
                  <a:moveTo>
                    <a:pt x="221" y="1446"/>
                  </a:moveTo>
                  <a:lnTo>
                    <a:pt x="221" y="1448"/>
                  </a:lnTo>
                  <a:lnTo>
                    <a:pt x="221" y="1446"/>
                  </a:lnTo>
                  <a:close/>
                  <a:moveTo>
                    <a:pt x="345" y="1493"/>
                  </a:moveTo>
                  <a:lnTo>
                    <a:pt x="343" y="1495"/>
                  </a:lnTo>
                  <a:lnTo>
                    <a:pt x="345" y="1493"/>
                  </a:lnTo>
                  <a:close/>
                  <a:moveTo>
                    <a:pt x="558" y="1389"/>
                  </a:moveTo>
                  <a:lnTo>
                    <a:pt x="560" y="1389"/>
                  </a:lnTo>
                  <a:lnTo>
                    <a:pt x="560" y="1388"/>
                  </a:lnTo>
                  <a:lnTo>
                    <a:pt x="560" y="1389"/>
                  </a:lnTo>
                  <a:lnTo>
                    <a:pt x="558" y="1389"/>
                  </a:lnTo>
                  <a:close/>
                  <a:moveTo>
                    <a:pt x="208" y="1482"/>
                  </a:moveTo>
                  <a:lnTo>
                    <a:pt x="210" y="1482"/>
                  </a:lnTo>
                  <a:lnTo>
                    <a:pt x="208" y="1482"/>
                  </a:lnTo>
                  <a:close/>
                  <a:moveTo>
                    <a:pt x="225" y="1443"/>
                  </a:moveTo>
                  <a:lnTo>
                    <a:pt x="225" y="1441"/>
                  </a:lnTo>
                  <a:lnTo>
                    <a:pt x="225" y="1443"/>
                  </a:lnTo>
                  <a:close/>
                  <a:moveTo>
                    <a:pt x="231" y="1498"/>
                  </a:moveTo>
                  <a:lnTo>
                    <a:pt x="231" y="1497"/>
                  </a:lnTo>
                  <a:lnTo>
                    <a:pt x="233" y="1498"/>
                  </a:lnTo>
                  <a:lnTo>
                    <a:pt x="231" y="1498"/>
                  </a:lnTo>
                  <a:close/>
                  <a:moveTo>
                    <a:pt x="269" y="1466"/>
                  </a:moveTo>
                  <a:lnTo>
                    <a:pt x="269" y="1464"/>
                  </a:lnTo>
                  <a:lnTo>
                    <a:pt x="269" y="1466"/>
                  </a:lnTo>
                  <a:close/>
                  <a:moveTo>
                    <a:pt x="179" y="1441"/>
                  </a:moveTo>
                  <a:lnTo>
                    <a:pt x="181" y="1441"/>
                  </a:lnTo>
                  <a:lnTo>
                    <a:pt x="179" y="1441"/>
                  </a:lnTo>
                  <a:close/>
                  <a:moveTo>
                    <a:pt x="278" y="1513"/>
                  </a:moveTo>
                  <a:lnTo>
                    <a:pt x="280" y="1513"/>
                  </a:lnTo>
                  <a:lnTo>
                    <a:pt x="278" y="1514"/>
                  </a:lnTo>
                  <a:lnTo>
                    <a:pt x="278" y="1513"/>
                  </a:lnTo>
                  <a:close/>
                  <a:moveTo>
                    <a:pt x="230" y="1505"/>
                  </a:moveTo>
                  <a:lnTo>
                    <a:pt x="231" y="1505"/>
                  </a:lnTo>
                  <a:lnTo>
                    <a:pt x="230" y="1505"/>
                  </a:lnTo>
                  <a:close/>
                  <a:moveTo>
                    <a:pt x="228" y="1436"/>
                  </a:moveTo>
                  <a:lnTo>
                    <a:pt x="230" y="1436"/>
                  </a:lnTo>
                  <a:lnTo>
                    <a:pt x="228" y="1436"/>
                  </a:lnTo>
                  <a:close/>
                  <a:moveTo>
                    <a:pt x="184" y="1516"/>
                  </a:moveTo>
                  <a:lnTo>
                    <a:pt x="184" y="1514"/>
                  </a:lnTo>
                  <a:lnTo>
                    <a:pt x="184" y="1516"/>
                  </a:lnTo>
                  <a:close/>
                  <a:moveTo>
                    <a:pt x="304" y="1503"/>
                  </a:moveTo>
                  <a:lnTo>
                    <a:pt x="306" y="1503"/>
                  </a:lnTo>
                  <a:lnTo>
                    <a:pt x="304" y="1503"/>
                  </a:lnTo>
                  <a:close/>
                  <a:moveTo>
                    <a:pt x="560" y="1383"/>
                  </a:moveTo>
                  <a:lnTo>
                    <a:pt x="560" y="1381"/>
                  </a:lnTo>
                  <a:lnTo>
                    <a:pt x="560" y="1383"/>
                  </a:lnTo>
                  <a:close/>
                  <a:moveTo>
                    <a:pt x="454" y="1467"/>
                  </a:moveTo>
                  <a:lnTo>
                    <a:pt x="456" y="1467"/>
                  </a:lnTo>
                  <a:lnTo>
                    <a:pt x="454" y="1467"/>
                  </a:lnTo>
                  <a:close/>
                  <a:moveTo>
                    <a:pt x="269" y="1436"/>
                  </a:moveTo>
                  <a:lnTo>
                    <a:pt x="269" y="1435"/>
                  </a:lnTo>
                  <a:lnTo>
                    <a:pt x="269" y="1436"/>
                  </a:lnTo>
                  <a:close/>
                  <a:moveTo>
                    <a:pt x="233" y="1497"/>
                  </a:moveTo>
                  <a:lnTo>
                    <a:pt x="234" y="1497"/>
                  </a:lnTo>
                  <a:lnTo>
                    <a:pt x="233" y="1497"/>
                  </a:lnTo>
                  <a:close/>
                  <a:moveTo>
                    <a:pt x="584" y="1399"/>
                  </a:moveTo>
                  <a:lnTo>
                    <a:pt x="586" y="1399"/>
                  </a:lnTo>
                  <a:lnTo>
                    <a:pt x="584" y="1399"/>
                  </a:lnTo>
                  <a:close/>
                  <a:moveTo>
                    <a:pt x="288" y="1498"/>
                  </a:moveTo>
                  <a:lnTo>
                    <a:pt x="288" y="1497"/>
                  </a:lnTo>
                  <a:lnTo>
                    <a:pt x="288" y="1498"/>
                  </a:lnTo>
                  <a:close/>
                  <a:moveTo>
                    <a:pt x="249" y="1503"/>
                  </a:moveTo>
                  <a:lnTo>
                    <a:pt x="251" y="1503"/>
                  </a:lnTo>
                  <a:lnTo>
                    <a:pt x="249" y="1503"/>
                  </a:lnTo>
                  <a:close/>
                  <a:moveTo>
                    <a:pt x="303" y="1490"/>
                  </a:moveTo>
                  <a:lnTo>
                    <a:pt x="304" y="1490"/>
                  </a:lnTo>
                  <a:lnTo>
                    <a:pt x="303" y="1490"/>
                  </a:lnTo>
                  <a:close/>
                  <a:moveTo>
                    <a:pt x="335" y="1448"/>
                  </a:moveTo>
                  <a:lnTo>
                    <a:pt x="334" y="1449"/>
                  </a:lnTo>
                  <a:lnTo>
                    <a:pt x="334" y="1448"/>
                  </a:lnTo>
                  <a:lnTo>
                    <a:pt x="335" y="1448"/>
                  </a:lnTo>
                  <a:close/>
                  <a:moveTo>
                    <a:pt x="204" y="1162"/>
                  </a:moveTo>
                  <a:lnTo>
                    <a:pt x="205" y="1162"/>
                  </a:lnTo>
                  <a:lnTo>
                    <a:pt x="204" y="1162"/>
                  </a:lnTo>
                  <a:close/>
                  <a:moveTo>
                    <a:pt x="265" y="1432"/>
                  </a:moveTo>
                  <a:lnTo>
                    <a:pt x="267" y="1432"/>
                  </a:lnTo>
                  <a:lnTo>
                    <a:pt x="265" y="1432"/>
                  </a:lnTo>
                  <a:close/>
                  <a:moveTo>
                    <a:pt x="184" y="1456"/>
                  </a:moveTo>
                  <a:lnTo>
                    <a:pt x="184" y="1454"/>
                  </a:lnTo>
                  <a:lnTo>
                    <a:pt x="184" y="1456"/>
                  </a:lnTo>
                  <a:close/>
                  <a:moveTo>
                    <a:pt x="187" y="1446"/>
                  </a:moveTo>
                  <a:lnTo>
                    <a:pt x="186" y="1446"/>
                  </a:lnTo>
                  <a:lnTo>
                    <a:pt x="186" y="1445"/>
                  </a:lnTo>
                  <a:lnTo>
                    <a:pt x="187" y="1446"/>
                  </a:lnTo>
                  <a:close/>
                  <a:moveTo>
                    <a:pt x="587" y="1368"/>
                  </a:moveTo>
                  <a:lnTo>
                    <a:pt x="587" y="1366"/>
                  </a:lnTo>
                  <a:lnTo>
                    <a:pt x="587" y="1368"/>
                  </a:lnTo>
                  <a:close/>
                  <a:moveTo>
                    <a:pt x="334" y="1498"/>
                  </a:moveTo>
                  <a:lnTo>
                    <a:pt x="335" y="1498"/>
                  </a:lnTo>
                  <a:lnTo>
                    <a:pt x="334" y="1498"/>
                  </a:lnTo>
                  <a:close/>
                  <a:moveTo>
                    <a:pt x="278" y="1482"/>
                  </a:moveTo>
                  <a:lnTo>
                    <a:pt x="280" y="1482"/>
                  </a:lnTo>
                  <a:lnTo>
                    <a:pt x="278" y="1482"/>
                  </a:lnTo>
                  <a:close/>
                  <a:moveTo>
                    <a:pt x="251" y="1459"/>
                  </a:moveTo>
                  <a:lnTo>
                    <a:pt x="251" y="1458"/>
                  </a:lnTo>
                  <a:lnTo>
                    <a:pt x="251" y="1459"/>
                  </a:lnTo>
                  <a:close/>
                  <a:moveTo>
                    <a:pt x="428" y="1482"/>
                  </a:moveTo>
                  <a:lnTo>
                    <a:pt x="426" y="1482"/>
                  </a:lnTo>
                  <a:lnTo>
                    <a:pt x="428" y="1482"/>
                  </a:lnTo>
                  <a:close/>
                  <a:moveTo>
                    <a:pt x="417" y="1480"/>
                  </a:moveTo>
                  <a:lnTo>
                    <a:pt x="417" y="1479"/>
                  </a:lnTo>
                  <a:lnTo>
                    <a:pt x="417" y="1480"/>
                  </a:lnTo>
                  <a:close/>
                  <a:moveTo>
                    <a:pt x="288" y="1514"/>
                  </a:moveTo>
                  <a:lnTo>
                    <a:pt x="287" y="1516"/>
                  </a:lnTo>
                  <a:lnTo>
                    <a:pt x="288" y="1514"/>
                  </a:lnTo>
                  <a:close/>
                  <a:moveTo>
                    <a:pt x="267" y="1433"/>
                  </a:moveTo>
                  <a:lnTo>
                    <a:pt x="265" y="1433"/>
                  </a:lnTo>
                  <a:lnTo>
                    <a:pt x="265" y="1432"/>
                  </a:lnTo>
                  <a:lnTo>
                    <a:pt x="267" y="1433"/>
                  </a:lnTo>
                  <a:close/>
                  <a:moveTo>
                    <a:pt x="241" y="1332"/>
                  </a:moveTo>
                  <a:lnTo>
                    <a:pt x="241" y="1331"/>
                  </a:lnTo>
                  <a:lnTo>
                    <a:pt x="241" y="1332"/>
                  </a:lnTo>
                  <a:close/>
                  <a:moveTo>
                    <a:pt x="586" y="1383"/>
                  </a:moveTo>
                  <a:lnTo>
                    <a:pt x="587" y="1383"/>
                  </a:lnTo>
                  <a:lnTo>
                    <a:pt x="586" y="1383"/>
                  </a:lnTo>
                  <a:close/>
                  <a:moveTo>
                    <a:pt x="208" y="1503"/>
                  </a:moveTo>
                  <a:lnTo>
                    <a:pt x="207" y="1503"/>
                  </a:lnTo>
                  <a:lnTo>
                    <a:pt x="208" y="1503"/>
                  </a:lnTo>
                  <a:close/>
                  <a:moveTo>
                    <a:pt x="293" y="1500"/>
                  </a:moveTo>
                  <a:lnTo>
                    <a:pt x="293" y="1498"/>
                  </a:lnTo>
                  <a:lnTo>
                    <a:pt x="293" y="1500"/>
                  </a:lnTo>
                  <a:close/>
                  <a:moveTo>
                    <a:pt x="327" y="1508"/>
                  </a:moveTo>
                  <a:lnTo>
                    <a:pt x="327" y="1510"/>
                  </a:lnTo>
                  <a:lnTo>
                    <a:pt x="327" y="1508"/>
                  </a:lnTo>
                  <a:close/>
                  <a:moveTo>
                    <a:pt x="298" y="1490"/>
                  </a:moveTo>
                  <a:lnTo>
                    <a:pt x="298" y="1488"/>
                  </a:lnTo>
                  <a:lnTo>
                    <a:pt x="298" y="1490"/>
                  </a:lnTo>
                  <a:close/>
                  <a:moveTo>
                    <a:pt x="667" y="1368"/>
                  </a:moveTo>
                  <a:lnTo>
                    <a:pt x="669" y="1368"/>
                  </a:lnTo>
                  <a:lnTo>
                    <a:pt x="667" y="1368"/>
                  </a:lnTo>
                  <a:close/>
                  <a:moveTo>
                    <a:pt x="200" y="1458"/>
                  </a:moveTo>
                  <a:lnTo>
                    <a:pt x="199" y="1458"/>
                  </a:lnTo>
                  <a:lnTo>
                    <a:pt x="199" y="1456"/>
                  </a:lnTo>
                  <a:lnTo>
                    <a:pt x="200" y="1458"/>
                  </a:lnTo>
                  <a:close/>
                  <a:moveTo>
                    <a:pt x="239" y="1347"/>
                  </a:moveTo>
                  <a:lnTo>
                    <a:pt x="239" y="1345"/>
                  </a:lnTo>
                  <a:lnTo>
                    <a:pt x="241" y="1345"/>
                  </a:lnTo>
                  <a:lnTo>
                    <a:pt x="241" y="1347"/>
                  </a:lnTo>
                  <a:lnTo>
                    <a:pt x="239" y="1347"/>
                  </a:lnTo>
                  <a:close/>
                  <a:moveTo>
                    <a:pt x="264" y="1441"/>
                  </a:moveTo>
                  <a:lnTo>
                    <a:pt x="265" y="1441"/>
                  </a:lnTo>
                  <a:lnTo>
                    <a:pt x="264" y="1441"/>
                  </a:lnTo>
                  <a:close/>
                  <a:moveTo>
                    <a:pt x="143" y="1449"/>
                  </a:moveTo>
                  <a:lnTo>
                    <a:pt x="143" y="1448"/>
                  </a:lnTo>
                  <a:lnTo>
                    <a:pt x="143" y="1449"/>
                  </a:lnTo>
                  <a:close/>
                  <a:moveTo>
                    <a:pt x="498" y="1449"/>
                  </a:moveTo>
                  <a:lnTo>
                    <a:pt x="498" y="1451"/>
                  </a:lnTo>
                  <a:lnTo>
                    <a:pt x="498" y="1449"/>
                  </a:lnTo>
                  <a:close/>
                  <a:moveTo>
                    <a:pt x="195" y="1145"/>
                  </a:moveTo>
                  <a:lnTo>
                    <a:pt x="195" y="1147"/>
                  </a:lnTo>
                  <a:lnTo>
                    <a:pt x="195" y="1145"/>
                  </a:lnTo>
                  <a:close/>
                  <a:moveTo>
                    <a:pt x="239" y="1331"/>
                  </a:moveTo>
                  <a:lnTo>
                    <a:pt x="241" y="1332"/>
                  </a:lnTo>
                  <a:lnTo>
                    <a:pt x="239" y="1332"/>
                  </a:lnTo>
                  <a:lnTo>
                    <a:pt x="239" y="1331"/>
                  </a:lnTo>
                  <a:close/>
                  <a:moveTo>
                    <a:pt x="311" y="1475"/>
                  </a:moveTo>
                  <a:lnTo>
                    <a:pt x="311" y="1477"/>
                  </a:lnTo>
                  <a:lnTo>
                    <a:pt x="311" y="1475"/>
                  </a:lnTo>
                  <a:close/>
                  <a:moveTo>
                    <a:pt x="267" y="1422"/>
                  </a:moveTo>
                  <a:lnTo>
                    <a:pt x="269" y="1422"/>
                  </a:lnTo>
                  <a:lnTo>
                    <a:pt x="269" y="1423"/>
                  </a:lnTo>
                  <a:lnTo>
                    <a:pt x="267" y="1423"/>
                  </a:lnTo>
                  <a:lnTo>
                    <a:pt x="267" y="1422"/>
                  </a:lnTo>
                  <a:close/>
                  <a:moveTo>
                    <a:pt x="192" y="1449"/>
                  </a:moveTo>
                  <a:lnTo>
                    <a:pt x="192" y="1451"/>
                  </a:lnTo>
                  <a:lnTo>
                    <a:pt x="192" y="1449"/>
                  </a:lnTo>
                  <a:close/>
                  <a:moveTo>
                    <a:pt x="501" y="1435"/>
                  </a:moveTo>
                  <a:lnTo>
                    <a:pt x="501" y="1436"/>
                  </a:lnTo>
                  <a:lnTo>
                    <a:pt x="501" y="1435"/>
                  </a:lnTo>
                  <a:close/>
                  <a:moveTo>
                    <a:pt x="252" y="1397"/>
                  </a:moveTo>
                  <a:lnTo>
                    <a:pt x="254" y="1397"/>
                  </a:lnTo>
                  <a:lnTo>
                    <a:pt x="252" y="1397"/>
                  </a:lnTo>
                  <a:close/>
                  <a:moveTo>
                    <a:pt x="311" y="872"/>
                  </a:moveTo>
                  <a:lnTo>
                    <a:pt x="311" y="874"/>
                  </a:lnTo>
                  <a:lnTo>
                    <a:pt x="311" y="872"/>
                  </a:lnTo>
                  <a:close/>
                  <a:moveTo>
                    <a:pt x="246" y="1438"/>
                  </a:moveTo>
                  <a:lnTo>
                    <a:pt x="247" y="1438"/>
                  </a:lnTo>
                  <a:lnTo>
                    <a:pt x="246" y="1438"/>
                  </a:lnTo>
                  <a:close/>
                  <a:moveTo>
                    <a:pt x="293" y="1454"/>
                  </a:moveTo>
                  <a:lnTo>
                    <a:pt x="295" y="1454"/>
                  </a:lnTo>
                  <a:lnTo>
                    <a:pt x="293" y="1454"/>
                  </a:lnTo>
                  <a:close/>
                  <a:moveTo>
                    <a:pt x="324" y="1484"/>
                  </a:moveTo>
                  <a:lnTo>
                    <a:pt x="324" y="1482"/>
                  </a:lnTo>
                  <a:lnTo>
                    <a:pt x="324" y="1484"/>
                  </a:lnTo>
                  <a:close/>
                  <a:moveTo>
                    <a:pt x="584" y="1389"/>
                  </a:moveTo>
                  <a:lnTo>
                    <a:pt x="584" y="1391"/>
                  </a:lnTo>
                  <a:lnTo>
                    <a:pt x="584" y="1389"/>
                  </a:lnTo>
                  <a:close/>
                  <a:moveTo>
                    <a:pt x="265" y="1433"/>
                  </a:moveTo>
                  <a:lnTo>
                    <a:pt x="265" y="1432"/>
                  </a:lnTo>
                  <a:lnTo>
                    <a:pt x="265" y="1433"/>
                  </a:lnTo>
                  <a:close/>
                  <a:moveTo>
                    <a:pt x="231" y="1498"/>
                  </a:moveTo>
                  <a:lnTo>
                    <a:pt x="233" y="1498"/>
                  </a:lnTo>
                  <a:lnTo>
                    <a:pt x="231" y="1500"/>
                  </a:lnTo>
                  <a:lnTo>
                    <a:pt x="231" y="1498"/>
                  </a:lnTo>
                  <a:close/>
                  <a:moveTo>
                    <a:pt x="221" y="1218"/>
                  </a:moveTo>
                  <a:lnTo>
                    <a:pt x="223" y="1218"/>
                  </a:lnTo>
                  <a:lnTo>
                    <a:pt x="221" y="1220"/>
                  </a:lnTo>
                  <a:lnTo>
                    <a:pt x="223" y="1220"/>
                  </a:lnTo>
                  <a:lnTo>
                    <a:pt x="221" y="1218"/>
                  </a:lnTo>
                  <a:close/>
                  <a:moveTo>
                    <a:pt x="168" y="1508"/>
                  </a:moveTo>
                  <a:lnTo>
                    <a:pt x="166" y="1508"/>
                  </a:lnTo>
                  <a:lnTo>
                    <a:pt x="166" y="1506"/>
                  </a:lnTo>
                  <a:lnTo>
                    <a:pt x="168" y="1506"/>
                  </a:lnTo>
                  <a:lnTo>
                    <a:pt x="168" y="1508"/>
                  </a:lnTo>
                  <a:close/>
                  <a:moveTo>
                    <a:pt x="392" y="1485"/>
                  </a:moveTo>
                  <a:lnTo>
                    <a:pt x="392" y="1484"/>
                  </a:lnTo>
                  <a:lnTo>
                    <a:pt x="392" y="1485"/>
                  </a:lnTo>
                  <a:close/>
                  <a:moveTo>
                    <a:pt x="368" y="690"/>
                  </a:moveTo>
                  <a:lnTo>
                    <a:pt x="366" y="690"/>
                  </a:lnTo>
                  <a:lnTo>
                    <a:pt x="368" y="690"/>
                  </a:lnTo>
                  <a:close/>
                  <a:moveTo>
                    <a:pt x="202" y="1471"/>
                  </a:moveTo>
                  <a:lnTo>
                    <a:pt x="202" y="1469"/>
                  </a:lnTo>
                  <a:lnTo>
                    <a:pt x="202" y="1471"/>
                  </a:lnTo>
                  <a:close/>
                  <a:moveTo>
                    <a:pt x="301" y="1505"/>
                  </a:moveTo>
                  <a:lnTo>
                    <a:pt x="303" y="1505"/>
                  </a:lnTo>
                  <a:lnTo>
                    <a:pt x="301" y="1505"/>
                  </a:lnTo>
                  <a:close/>
                  <a:moveTo>
                    <a:pt x="321" y="1506"/>
                  </a:moveTo>
                  <a:lnTo>
                    <a:pt x="319" y="1506"/>
                  </a:lnTo>
                  <a:lnTo>
                    <a:pt x="321" y="1506"/>
                  </a:lnTo>
                  <a:close/>
                  <a:moveTo>
                    <a:pt x="230" y="1493"/>
                  </a:moveTo>
                  <a:lnTo>
                    <a:pt x="230" y="1495"/>
                  </a:lnTo>
                  <a:lnTo>
                    <a:pt x="230" y="1493"/>
                  </a:lnTo>
                  <a:close/>
                  <a:moveTo>
                    <a:pt x="435" y="1475"/>
                  </a:moveTo>
                  <a:lnTo>
                    <a:pt x="433" y="1475"/>
                  </a:lnTo>
                  <a:lnTo>
                    <a:pt x="435" y="1475"/>
                  </a:lnTo>
                  <a:close/>
                  <a:moveTo>
                    <a:pt x="587" y="1397"/>
                  </a:moveTo>
                  <a:lnTo>
                    <a:pt x="586" y="1397"/>
                  </a:lnTo>
                  <a:lnTo>
                    <a:pt x="587" y="1397"/>
                  </a:lnTo>
                  <a:close/>
                  <a:moveTo>
                    <a:pt x="178" y="1022"/>
                  </a:moveTo>
                  <a:lnTo>
                    <a:pt x="178" y="1020"/>
                  </a:lnTo>
                  <a:lnTo>
                    <a:pt x="179" y="1020"/>
                  </a:lnTo>
                  <a:lnTo>
                    <a:pt x="179" y="1022"/>
                  </a:lnTo>
                  <a:lnTo>
                    <a:pt x="178" y="1022"/>
                  </a:lnTo>
                  <a:close/>
                  <a:moveTo>
                    <a:pt x="314" y="1500"/>
                  </a:moveTo>
                  <a:lnTo>
                    <a:pt x="313" y="1500"/>
                  </a:lnTo>
                  <a:lnTo>
                    <a:pt x="314" y="1500"/>
                  </a:lnTo>
                  <a:close/>
                  <a:moveTo>
                    <a:pt x="293" y="1498"/>
                  </a:moveTo>
                  <a:lnTo>
                    <a:pt x="293" y="1497"/>
                  </a:lnTo>
                  <a:lnTo>
                    <a:pt x="293" y="1498"/>
                  </a:lnTo>
                  <a:close/>
                  <a:moveTo>
                    <a:pt x="348" y="1495"/>
                  </a:moveTo>
                  <a:lnTo>
                    <a:pt x="348" y="1497"/>
                  </a:lnTo>
                  <a:lnTo>
                    <a:pt x="348" y="1495"/>
                  </a:lnTo>
                  <a:close/>
                  <a:moveTo>
                    <a:pt x="254" y="934"/>
                  </a:moveTo>
                  <a:lnTo>
                    <a:pt x="252" y="934"/>
                  </a:lnTo>
                  <a:lnTo>
                    <a:pt x="254" y="934"/>
                  </a:lnTo>
                  <a:close/>
                  <a:moveTo>
                    <a:pt x="195" y="1079"/>
                  </a:moveTo>
                  <a:lnTo>
                    <a:pt x="195" y="1077"/>
                  </a:lnTo>
                  <a:lnTo>
                    <a:pt x="195" y="1079"/>
                  </a:lnTo>
                  <a:close/>
                  <a:moveTo>
                    <a:pt x="295" y="1446"/>
                  </a:moveTo>
                  <a:lnTo>
                    <a:pt x="296" y="1446"/>
                  </a:lnTo>
                  <a:lnTo>
                    <a:pt x="295" y="1446"/>
                  </a:lnTo>
                  <a:close/>
                  <a:moveTo>
                    <a:pt x="233" y="996"/>
                  </a:moveTo>
                  <a:lnTo>
                    <a:pt x="231" y="996"/>
                  </a:lnTo>
                  <a:lnTo>
                    <a:pt x="233" y="996"/>
                  </a:lnTo>
                  <a:close/>
                  <a:moveTo>
                    <a:pt x="213" y="1446"/>
                  </a:moveTo>
                  <a:lnTo>
                    <a:pt x="213" y="1445"/>
                  </a:lnTo>
                  <a:lnTo>
                    <a:pt x="215" y="1446"/>
                  </a:lnTo>
                  <a:lnTo>
                    <a:pt x="213" y="1446"/>
                  </a:lnTo>
                  <a:close/>
                  <a:moveTo>
                    <a:pt x="239" y="1454"/>
                  </a:moveTo>
                  <a:lnTo>
                    <a:pt x="241" y="1454"/>
                  </a:lnTo>
                  <a:lnTo>
                    <a:pt x="239" y="1454"/>
                  </a:lnTo>
                  <a:close/>
                  <a:moveTo>
                    <a:pt x="287" y="916"/>
                  </a:moveTo>
                  <a:lnTo>
                    <a:pt x="287" y="918"/>
                  </a:lnTo>
                  <a:lnTo>
                    <a:pt x="287" y="916"/>
                  </a:lnTo>
                  <a:close/>
                  <a:moveTo>
                    <a:pt x="217" y="1516"/>
                  </a:moveTo>
                  <a:lnTo>
                    <a:pt x="217" y="1518"/>
                  </a:lnTo>
                  <a:lnTo>
                    <a:pt x="217" y="1516"/>
                  </a:lnTo>
                  <a:close/>
                  <a:moveTo>
                    <a:pt x="246" y="1498"/>
                  </a:moveTo>
                  <a:lnTo>
                    <a:pt x="247" y="1500"/>
                  </a:lnTo>
                  <a:lnTo>
                    <a:pt x="246" y="1498"/>
                  </a:lnTo>
                  <a:close/>
                  <a:moveTo>
                    <a:pt x="145" y="1464"/>
                  </a:moveTo>
                  <a:lnTo>
                    <a:pt x="145" y="1466"/>
                  </a:lnTo>
                  <a:lnTo>
                    <a:pt x="145" y="1464"/>
                  </a:lnTo>
                  <a:close/>
                  <a:moveTo>
                    <a:pt x="345" y="1492"/>
                  </a:moveTo>
                  <a:lnTo>
                    <a:pt x="347" y="1492"/>
                  </a:lnTo>
                  <a:lnTo>
                    <a:pt x="345" y="1492"/>
                  </a:lnTo>
                  <a:close/>
                  <a:moveTo>
                    <a:pt x="145" y="1451"/>
                  </a:moveTo>
                  <a:lnTo>
                    <a:pt x="145" y="1449"/>
                  </a:lnTo>
                  <a:lnTo>
                    <a:pt x="145" y="1451"/>
                  </a:lnTo>
                  <a:close/>
                  <a:moveTo>
                    <a:pt x="345" y="1441"/>
                  </a:moveTo>
                  <a:lnTo>
                    <a:pt x="347" y="1443"/>
                  </a:lnTo>
                  <a:lnTo>
                    <a:pt x="345" y="1443"/>
                  </a:lnTo>
                  <a:lnTo>
                    <a:pt x="345" y="1441"/>
                  </a:lnTo>
                  <a:lnTo>
                    <a:pt x="347" y="1441"/>
                  </a:lnTo>
                  <a:lnTo>
                    <a:pt x="345" y="1441"/>
                  </a:lnTo>
                  <a:close/>
                  <a:moveTo>
                    <a:pt x="233" y="1440"/>
                  </a:moveTo>
                  <a:lnTo>
                    <a:pt x="234" y="1440"/>
                  </a:lnTo>
                  <a:lnTo>
                    <a:pt x="233" y="1440"/>
                  </a:lnTo>
                  <a:close/>
                  <a:moveTo>
                    <a:pt x="314" y="651"/>
                  </a:moveTo>
                  <a:lnTo>
                    <a:pt x="316" y="651"/>
                  </a:lnTo>
                  <a:lnTo>
                    <a:pt x="314" y="651"/>
                  </a:lnTo>
                  <a:close/>
                  <a:moveTo>
                    <a:pt x="238" y="1300"/>
                  </a:moveTo>
                  <a:lnTo>
                    <a:pt x="238" y="1301"/>
                  </a:lnTo>
                  <a:lnTo>
                    <a:pt x="238" y="1300"/>
                  </a:lnTo>
                  <a:close/>
                  <a:moveTo>
                    <a:pt x="407" y="1484"/>
                  </a:moveTo>
                  <a:lnTo>
                    <a:pt x="407" y="1482"/>
                  </a:lnTo>
                  <a:lnTo>
                    <a:pt x="407" y="1484"/>
                  </a:lnTo>
                  <a:close/>
                  <a:moveTo>
                    <a:pt x="457" y="1466"/>
                  </a:moveTo>
                  <a:lnTo>
                    <a:pt x="456" y="1466"/>
                  </a:lnTo>
                  <a:lnTo>
                    <a:pt x="457" y="1466"/>
                  </a:lnTo>
                  <a:close/>
                  <a:moveTo>
                    <a:pt x="415" y="1479"/>
                  </a:moveTo>
                  <a:lnTo>
                    <a:pt x="413" y="1479"/>
                  </a:lnTo>
                  <a:lnTo>
                    <a:pt x="415" y="1479"/>
                  </a:lnTo>
                  <a:close/>
                  <a:moveTo>
                    <a:pt x="195" y="1054"/>
                  </a:moveTo>
                  <a:lnTo>
                    <a:pt x="195" y="1053"/>
                  </a:lnTo>
                  <a:lnTo>
                    <a:pt x="195" y="1054"/>
                  </a:lnTo>
                  <a:close/>
                  <a:moveTo>
                    <a:pt x="636" y="1357"/>
                  </a:moveTo>
                  <a:lnTo>
                    <a:pt x="636" y="1358"/>
                  </a:lnTo>
                  <a:lnTo>
                    <a:pt x="636" y="1357"/>
                  </a:lnTo>
                  <a:lnTo>
                    <a:pt x="635" y="1357"/>
                  </a:lnTo>
                  <a:lnTo>
                    <a:pt x="636" y="1357"/>
                  </a:lnTo>
                  <a:close/>
                  <a:moveTo>
                    <a:pt x="311" y="1495"/>
                  </a:moveTo>
                  <a:lnTo>
                    <a:pt x="311" y="1493"/>
                  </a:lnTo>
                  <a:lnTo>
                    <a:pt x="313" y="1495"/>
                  </a:lnTo>
                  <a:lnTo>
                    <a:pt x="311" y="1495"/>
                  </a:lnTo>
                  <a:close/>
                  <a:moveTo>
                    <a:pt x="243" y="1508"/>
                  </a:moveTo>
                  <a:lnTo>
                    <a:pt x="244" y="1508"/>
                  </a:lnTo>
                  <a:lnTo>
                    <a:pt x="243" y="1508"/>
                  </a:lnTo>
                  <a:close/>
                  <a:moveTo>
                    <a:pt x="337" y="1490"/>
                  </a:moveTo>
                  <a:lnTo>
                    <a:pt x="337" y="1488"/>
                  </a:lnTo>
                  <a:lnTo>
                    <a:pt x="337" y="1490"/>
                  </a:lnTo>
                  <a:close/>
                  <a:moveTo>
                    <a:pt x="343" y="1425"/>
                  </a:moveTo>
                  <a:lnTo>
                    <a:pt x="343" y="1427"/>
                  </a:lnTo>
                  <a:lnTo>
                    <a:pt x="343" y="1425"/>
                  </a:lnTo>
                  <a:lnTo>
                    <a:pt x="342" y="1425"/>
                  </a:lnTo>
                  <a:lnTo>
                    <a:pt x="343" y="1425"/>
                  </a:lnTo>
                  <a:close/>
                  <a:moveTo>
                    <a:pt x="343" y="1500"/>
                  </a:moveTo>
                  <a:lnTo>
                    <a:pt x="343" y="1501"/>
                  </a:lnTo>
                  <a:lnTo>
                    <a:pt x="343" y="1500"/>
                  </a:lnTo>
                  <a:close/>
                  <a:moveTo>
                    <a:pt x="360" y="1440"/>
                  </a:moveTo>
                  <a:lnTo>
                    <a:pt x="361" y="1440"/>
                  </a:lnTo>
                  <a:lnTo>
                    <a:pt x="360" y="1440"/>
                  </a:lnTo>
                  <a:close/>
                  <a:moveTo>
                    <a:pt x="669" y="1371"/>
                  </a:moveTo>
                  <a:lnTo>
                    <a:pt x="669" y="1370"/>
                  </a:lnTo>
                  <a:lnTo>
                    <a:pt x="669" y="1371"/>
                  </a:lnTo>
                  <a:close/>
                  <a:moveTo>
                    <a:pt x="511" y="1432"/>
                  </a:moveTo>
                  <a:lnTo>
                    <a:pt x="511" y="1430"/>
                  </a:lnTo>
                  <a:lnTo>
                    <a:pt x="511" y="1432"/>
                  </a:lnTo>
                  <a:close/>
                  <a:moveTo>
                    <a:pt x="197" y="1069"/>
                  </a:moveTo>
                  <a:lnTo>
                    <a:pt x="199" y="1069"/>
                  </a:lnTo>
                  <a:lnTo>
                    <a:pt x="197" y="1069"/>
                  </a:lnTo>
                  <a:close/>
                  <a:moveTo>
                    <a:pt x="187" y="1514"/>
                  </a:moveTo>
                  <a:lnTo>
                    <a:pt x="187" y="1513"/>
                  </a:lnTo>
                  <a:lnTo>
                    <a:pt x="187" y="1514"/>
                  </a:lnTo>
                  <a:close/>
                  <a:moveTo>
                    <a:pt x="223" y="1427"/>
                  </a:moveTo>
                  <a:lnTo>
                    <a:pt x="223" y="1425"/>
                  </a:lnTo>
                  <a:lnTo>
                    <a:pt x="223" y="1427"/>
                  </a:lnTo>
                  <a:close/>
                  <a:moveTo>
                    <a:pt x="329" y="1456"/>
                  </a:moveTo>
                  <a:lnTo>
                    <a:pt x="329" y="1454"/>
                  </a:lnTo>
                  <a:lnTo>
                    <a:pt x="329" y="1456"/>
                  </a:lnTo>
                  <a:close/>
                  <a:moveTo>
                    <a:pt x="217" y="1500"/>
                  </a:moveTo>
                  <a:lnTo>
                    <a:pt x="217" y="1498"/>
                  </a:lnTo>
                  <a:lnTo>
                    <a:pt x="217" y="1500"/>
                  </a:lnTo>
                  <a:close/>
                  <a:moveTo>
                    <a:pt x="241" y="1498"/>
                  </a:moveTo>
                  <a:lnTo>
                    <a:pt x="243" y="1498"/>
                  </a:lnTo>
                  <a:lnTo>
                    <a:pt x="241" y="1498"/>
                  </a:lnTo>
                  <a:close/>
                  <a:moveTo>
                    <a:pt x="607" y="1366"/>
                  </a:moveTo>
                  <a:lnTo>
                    <a:pt x="609" y="1366"/>
                  </a:lnTo>
                  <a:lnTo>
                    <a:pt x="607" y="1366"/>
                  </a:lnTo>
                  <a:close/>
                  <a:moveTo>
                    <a:pt x="122" y="1458"/>
                  </a:moveTo>
                  <a:lnTo>
                    <a:pt x="124" y="1458"/>
                  </a:lnTo>
                  <a:lnTo>
                    <a:pt x="122" y="1458"/>
                  </a:lnTo>
                  <a:close/>
                  <a:moveTo>
                    <a:pt x="272" y="1513"/>
                  </a:moveTo>
                  <a:lnTo>
                    <a:pt x="274" y="1513"/>
                  </a:lnTo>
                  <a:lnTo>
                    <a:pt x="272" y="1513"/>
                  </a:lnTo>
                  <a:close/>
                  <a:moveTo>
                    <a:pt x="589" y="1384"/>
                  </a:moveTo>
                  <a:lnTo>
                    <a:pt x="587" y="1384"/>
                  </a:lnTo>
                  <a:lnTo>
                    <a:pt x="589" y="1384"/>
                  </a:lnTo>
                  <a:close/>
                  <a:moveTo>
                    <a:pt x="485" y="1451"/>
                  </a:moveTo>
                  <a:lnTo>
                    <a:pt x="483" y="1451"/>
                  </a:lnTo>
                  <a:lnTo>
                    <a:pt x="485" y="1451"/>
                  </a:lnTo>
                  <a:close/>
                  <a:moveTo>
                    <a:pt x="378" y="1488"/>
                  </a:moveTo>
                  <a:lnTo>
                    <a:pt x="378" y="1487"/>
                  </a:lnTo>
                  <a:lnTo>
                    <a:pt x="378" y="1488"/>
                  </a:lnTo>
                  <a:close/>
                  <a:moveTo>
                    <a:pt x="439" y="1477"/>
                  </a:moveTo>
                  <a:lnTo>
                    <a:pt x="439" y="1475"/>
                  </a:lnTo>
                  <a:lnTo>
                    <a:pt x="439" y="1477"/>
                  </a:lnTo>
                  <a:close/>
                  <a:moveTo>
                    <a:pt x="202" y="1513"/>
                  </a:moveTo>
                  <a:lnTo>
                    <a:pt x="202" y="1514"/>
                  </a:lnTo>
                  <a:lnTo>
                    <a:pt x="202" y="1513"/>
                  </a:lnTo>
                  <a:lnTo>
                    <a:pt x="204" y="1513"/>
                  </a:lnTo>
                  <a:lnTo>
                    <a:pt x="202" y="1513"/>
                  </a:lnTo>
                  <a:close/>
                  <a:moveTo>
                    <a:pt x="269" y="1518"/>
                  </a:moveTo>
                  <a:lnTo>
                    <a:pt x="267" y="1518"/>
                  </a:lnTo>
                  <a:lnTo>
                    <a:pt x="269" y="1518"/>
                  </a:lnTo>
                  <a:close/>
                  <a:moveTo>
                    <a:pt x="350" y="695"/>
                  </a:moveTo>
                  <a:lnTo>
                    <a:pt x="352" y="696"/>
                  </a:lnTo>
                  <a:lnTo>
                    <a:pt x="350" y="696"/>
                  </a:lnTo>
                  <a:lnTo>
                    <a:pt x="350" y="695"/>
                  </a:lnTo>
                  <a:close/>
                  <a:moveTo>
                    <a:pt x="238" y="1394"/>
                  </a:moveTo>
                  <a:lnTo>
                    <a:pt x="238" y="1396"/>
                  </a:lnTo>
                  <a:lnTo>
                    <a:pt x="238" y="1394"/>
                  </a:lnTo>
                  <a:close/>
                  <a:moveTo>
                    <a:pt x="304" y="1503"/>
                  </a:moveTo>
                  <a:lnTo>
                    <a:pt x="306" y="1503"/>
                  </a:lnTo>
                  <a:lnTo>
                    <a:pt x="304" y="1503"/>
                  </a:lnTo>
                  <a:close/>
                  <a:moveTo>
                    <a:pt x="304" y="1501"/>
                  </a:moveTo>
                  <a:lnTo>
                    <a:pt x="303" y="1501"/>
                  </a:lnTo>
                  <a:lnTo>
                    <a:pt x="304" y="1501"/>
                  </a:lnTo>
                  <a:close/>
                  <a:moveTo>
                    <a:pt x="204" y="1448"/>
                  </a:moveTo>
                  <a:lnTo>
                    <a:pt x="204" y="1446"/>
                  </a:lnTo>
                  <a:lnTo>
                    <a:pt x="205" y="1448"/>
                  </a:lnTo>
                  <a:lnTo>
                    <a:pt x="204" y="1448"/>
                  </a:lnTo>
                  <a:close/>
                  <a:moveTo>
                    <a:pt x="291" y="913"/>
                  </a:moveTo>
                  <a:lnTo>
                    <a:pt x="291" y="911"/>
                  </a:lnTo>
                  <a:lnTo>
                    <a:pt x="291" y="913"/>
                  </a:lnTo>
                  <a:close/>
                  <a:moveTo>
                    <a:pt x="265" y="1479"/>
                  </a:moveTo>
                  <a:lnTo>
                    <a:pt x="265" y="1480"/>
                  </a:lnTo>
                  <a:lnTo>
                    <a:pt x="265" y="1479"/>
                  </a:lnTo>
                  <a:close/>
                  <a:moveTo>
                    <a:pt x="454" y="1464"/>
                  </a:moveTo>
                  <a:lnTo>
                    <a:pt x="456" y="1464"/>
                  </a:lnTo>
                  <a:lnTo>
                    <a:pt x="454" y="1464"/>
                  </a:lnTo>
                  <a:close/>
                  <a:moveTo>
                    <a:pt x="243" y="1523"/>
                  </a:moveTo>
                  <a:lnTo>
                    <a:pt x="244" y="1523"/>
                  </a:lnTo>
                  <a:lnTo>
                    <a:pt x="243" y="1523"/>
                  </a:lnTo>
                  <a:close/>
                  <a:moveTo>
                    <a:pt x="343" y="1493"/>
                  </a:moveTo>
                  <a:lnTo>
                    <a:pt x="342" y="1493"/>
                  </a:lnTo>
                  <a:lnTo>
                    <a:pt x="343" y="1493"/>
                  </a:lnTo>
                  <a:close/>
                  <a:moveTo>
                    <a:pt x="330" y="1501"/>
                  </a:moveTo>
                  <a:lnTo>
                    <a:pt x="330" y="1500"/>
                  </a:lnTo>
                  <a:lnTo>
                    <a:pt x="330" y="1501"/>
                  </a:lnTo>
                  <a:close/>
                  <a:moveTo>
                    <a:pt x="322" y="1469"/>
                  </a:moveTo>
                  <a:lnTo>
                    <a:pt x="324" y="1469"/>
                  </a:lnTo>
                  <a:lnTo>
                    <a:pt x="322" y="1469"/>
                  </a:lnTo>
                  <a:close/>
                  <a:moveTo>
                    <a:pt x="243" y="1514"/>
                  </a:moveTo>
                  <a:lnTo>
                    <a:pt x="244" y="1514"/>
                  </a:lnTo>
                  <a:lnTo>
                    <a:pt x="243" y="1514"/>
                  </a:lnTo>
                  <a:close/>
                  <a:moveTo>
                    <a:pt x="239" y="1254"/>
                  </a:moveTo>
                  <a:lnTo>
                    <a:pt x="239" y="1256"/>
                  </a:lnTo>
                  <a:lnTo>
                    <a:pt x="239" y="1254"/>
                  </a:lnTo>
                  <a:close/>
                  <a:moveTo>
                    <a:pt x="213" y="1175"/>
                  </a:moveTo>
                  <a:lnTo>
                    <a:pt x="213" y="1173"/>
                  </a:lnTo>
                  <a:lnTo>
                    <a:pt x="213" y="1175"/>
                  </a:lnTo>
                  <a:close/>
                  <a:moveTo>
                    <a:pt x="298" y="1497"/>
                  </a:moveTo>
                  <a:lnTo>
                    <a:pt x="300" y="1497"/>
                  </a:lnTo>
                  <a:lnTo>
                    <a:pt x="298" y="1497"/>
                  </a:lnTo>
                  <a:close/>
                  <a:moveTo>
                    <a:pt x="425" y="1485"/>
                  </a:moveTo>
                  <a:lnTo>
                    <a:pt x="426" y="1485"/>
                  </a:lnTo>
                  <a:lnTo>
                    <a:pt x="425" y="1485"/>
                  </a:lnTo>
                  <a:close/>
                  <a:moveTo>
                    <a:pt x="467" y="1456"/>
                  </a:moveTo>
                  <a:lnTo>
                    <a:pt x="467" y="1454"/>
                  </a:lnTo>
                  <a:lnTo>
                    <a:pt x="467" y="1456"/>
                  </a:lnTo>
                  <a:close/>
                  <a:moveTo>
                    <a:pt x="178" y="1449"/>
                  </a:moveTo>
                  <a:lnTo>
                    <a:pt x="178" y="1448"/>
                  </a:lnTo>
                  <a:lnTo>
                    <a:pt x="178" y="1449"/>
                  </a:lnTo>
                  <a:close/>
                  <a:moveTo>
                    <a:pt x="197" y="1432"/>
                  </a:moveTo>
                  <a:lnTo>
                    <a:pt x="195" y="1432"/>
                  </a:lnTo>
                  <a:lnTo>
                    <a:pt x="197" y="1432"/>
                  </a:lnTo>
                  <a:close/>
                  <a:moveTo>
                    <a:pt x="355" y="1508"/>
                  </a:moveTo>
                  <a:lnTo>
                    <a:pt x="356" y="1508"/>
                  </a:lnTo>
                  <a:lnTo>
                    <a:pt x="355" y="1508"/>
                  </a:lnTo>
                  <a:close/>
                  <a:moveTo>
                    <a:pt x="324" y="1433"/>
                  </a:moveTo>
                  <a:lnTo>
                    <a:pt x="326" y="1433"/>
                  </a:lnTo>
                  <a:lnTo>
                    <a:pt x="324" y="1433"/>
                  </a:lnTo>
                  <a:close/>
                  <a:moveTo>
                    <a:pt x="316" y="1477"/>
                  </a:moveTo>
                  <a:lnTo>
                    <a:pt x="316" y="1475"/>
                  </a:lnTo>
                  <a:lnTo>
                    <a:pt x="316" y="1477"/>
                  </a:lnTo>
                  <a:close/>
                  <a:moveTo>
                    <a:pt x="191" y="1041"/>
                  </a:moveTo>
                  <a:lnTo>
                    <a:pt x="191" y="1040"/>
                  </a:lnTo>
                  <a:lnTo>
                    <a:pt x="191" y="1041"/>
                  </a:lnTo>
                  <a:close/>
                  <a:moveTo>
                    <a:pt x="587" y="1391"/>
                  </a:moveTo>
                  <a:lnTo>
                    <a:pt x="589" y="1391"/>
                  </a:lnTo>
                  <a:lnTo>
                    <a:pt x="587" y="1391"/>
                  </a:lnTo>
                  <a:close/>
                  <a:moveTo>
                    <a:pt x="280" y="1485"/>
                  </a:moveTo>
                  <a:lnTo>
                    <a:pt x="280" y="1484"/>
                  </a:lnTo>
                  <a:lnTo>
                    <a:pt x="280" y="1485"/>
                  </a:lnTo>
                  <a:close/>
                  <a:moveTo>
                    <a:pt x="238" y="1005"/>
                  </a:moveTo>
                  <a:lnTo>
                    <a:pt x="238" y="1004"/>
                  </a:lnTo>
                  <a:lnTo>
                    <a:pt x="239" y="1005"/>
                  </a:lnTo>
                  <a:lnTo>
                    <a:pt x="238" y="1005"/>
                  </a:lnTo>
                  <a:close/>
                  <a:moveTo>
                    <a:pt x="334" y="1503"/>
                  </a:moveTo>
                  <a:lnTo>
                    <a:pt x="334" y="1501"/>
                  </a:lnTo>
                  <a:lnTo>
                    <a:pt x="334" y="1503"/>
                  </a:lnTo>
                  <a:close/>
                  <a:moveTo>
                    <a:pt x="202" y="1449"/>
                  </a:moveTo>
                  <a:lnTo>
                    <a:pt x="204" y="1449"/>
                  </a:lnTo>
                  <a:lnTo>
                    <a:pt x="202" y="1449"/>
                  </a:lnTo>
                  <a:close/>
                  <a:moveTo>
                    <a:pt x="366" y="687"/>
                  </a:moveTo>
                  <a:lnTo>
                    <a:pt x="366" y="685"/>
                  </a:lnTo>
                  <a:lnTo>
                    <a:pt x="366" y="687"/>
                  </a:lnTo>
                  <a:close/>
                  <a:moveTo>
                    <a:pt x="340" y="1482"/>
                  </a:moveTo>
                  <a:lnTo>
                    <a:pt x="342" y="1482"/>
                  </a:lnTo>
                  <a:lnTo>
                    <a:pt x="342" y="1484"/>
                  </a:lnTo>
                  <a:lnTo>
                    <a:pt x="340" y="1482"/>
                  </a:lnTo>
                  <a:close/>
                  <a:moveTo>
                    <a:pt x="179" y="1501"/>
                  </a:moveTo>
                  <a:lnTo>
                    <a:pt x="179" y="1500"/>
                  </a:lnTo>
                  <a:lnTo>
                    <a:pt x="179" y="1501"/>
                  </a:lnTo>
                  <a:close/>
                  <a:moveTo>
                    <a:pt x="356" y="1501"/>
                  </a:moveTo>
                  <a:lnTo>
                    <a:pt x="358" y="1501"/>
                  </a:lnTo>
                  <a:lnTo>
                    <a:pt x="356" y="1501"/>
                  </a:lnTo>
                  <a:close/>
                  <a:moveTo>
                    <a:pt x="485" y="1458"/>
                  </a:moveTo>
                  <a:lnTo>
                    <a:pt x="487" y="1458"/>
                  </a:lnTo>
                  <a:lnTo>
                    <a:pt x="485" y="1458"/>
                  </a:lnTo>
                  <a:close/>
                  <a:moveTo>
                    <a:pt x="262" y="932"/>
                  </a:moveTo>
                  <a:lnTo>
                    <a:pt x="264" y="932"/>
                  </a:lnTo>
                  <a:lnTo>
                    <a:pt x="262" y="932"/>
                  </a:lnTo>
                  <a:close/>
                  <a:moveTo>
                    <a:pt x="169" y="1498"/>
                  </a:moveTo>
                  <a:lnTo>
                    <a:pt x="171" y="1498"/>
                  </a:lnTo>
                  <a:lnTo>
                    <a:pt x="169" y="1498"/>
                  </a:lnTo>
                  <a:close/>
                  <a:moveTo>
                    <a:pt x="238" y="1454"/>
                  </a:moveTo>
                  <a:lnTo>
                    <a:pt x="238" y="1453"/>
                  </a:lnTo>
                  <a:lnTo>
                    <a:pt x="238" y="1454"/>
                  </a:lnTo>
                  <a:close/>
                  <a:moveTo>
                    <a:pt x="446" y="1472"/>
                  </a:moveTo>
                  <a:lnTo>
                    <a:pt x="446" y="1471"/>
                  </a:lnTo>
                  <a:lnTo>
                    <a:pt x="446" y="1472"/>
                  </a:lnTo>
                  <a:close/>
                  <a:moveTo>
                    <a:pt x="345" y="1501"/>
                  </a:moveTo>
                  <a:lnTo>
                    <a:pt x="347" y="1501"/>
                  </a:lnTo>
                  <a:lnTo>
                    <a:pt x="345" y="1501"/>
                  </a:lnTo>
                  <a:close/>
                  <a:moveTo>
                    <a:pt x="358" y="1506"/>
                  </a:moveTo>
                  <a:lnTo>
                    <a:pt x="358" y="1508"/>
                  </a:lnTo>
                  <a:lnTo>
                    <a:pt x="358" y="1506"/>
                  </a:lnTo>
                  <a:close/>
                  <a:moveTo>
                    <a:pt x="547" y="1406"/>
                  </a:moveTo>
                  <a:lnTo>
                    <a:pt x="545" y="1406"/>
                  </a:lnTo>
                  <a:lnTo>
                    <a:pt x="547" y="1404"/>
                  </a:lnTo>
                  <a:lnTo>
                    <a:pt x="547" y="1406"/>
                  </a:lnTo>
                  <a:close/>
                  <a:moveTo>
                    <a:pt x="226" y="1458"/>
                  </a:moveTo>
                  <a:lnTo>
                    <a:pt x="228" y="1458"/>
                  </a:lnTo>
                  <a:lnTo>
                    <a:pt x="226" y="1459"/>
                  </a:lnTo>
                  <a:lnTo>
                    <a:pt x="226" y="1458"/>
                  </a:lnTo>
                  <a:close/>
                  <a:moveTo>
                    <a:pt x="558" y="1389"/>
                  </a:moveTo>
                  <a:lnTo>
                    <a:pt x="560" y="1389"/>
                  </a:lnTo>
                  <a:lnTo>
                    <a:pt x="558" y="1389"/>
                  </a:lnTo>
                  <a:close/>
                  <a:moveTo>
                    <a:pt x="249" y="1518"/>
                  </a:moveTo>
                  <a:lnTo>
                    <a:pt x="249" y="1519"/>
                  </a:lnTo>
                  <a:lnTo>
                    <a:pt x="249" y="1518"/>
                  </a:lnTo>
                  <a:close/>
                  <a:moveTo>
                    <a:pt x="288" y="1417"/>
                  </a:moveTo>
                  <a:lnTo>
                    <a:pt x="290" y="1417"/>
                  </a:lnTo>
                  <a:lnTo>
                    <a:pt x="288" y="1417"/>
                  </a:lnTo>
                  <a:close/>
                  <a:moveTo>
                    <a:pt x="174" y="1018"/>
                  </a:moveTo>
                  <a:lnTo>
                    <a:pt x="173" y="1018"/>
                  </a:lnTo>
                  <a:lnTo>
                    <a:pt x="174" y="1018"/>
                  </a:lnTo>
                  <a:close/>
                  <a:moveTo>
                    <a:pt x="579" y="1363"/>
                  </a:moveTo>
                  <a:lnTo>
                    <a:pt x="579" y="1362"/>
                  </a:lnTo>
                  <a:lnTo>
                    <a:pt x="581" y="1362"/>
                  </a:lnTo>
                  <a:lnTo>
                    <a:pt x="581" y="1363"/>
                  </a:lnTo>
                  <a:lnTo>
                    <a:pt x="579" y="1363"/>
                  </a:lnTo>
                  <a:close/>
                  <a:moveTo>
                    <a:pt x="256" y="1451"/>
                  </a:moveTo>
                  <a:lnTo>
                    <a:pt x="256" y="1453"/>
                  </a:lnTo>
                  <a:lnTo>
                    <a:pt x="256" y="1451"/>
                  </a:lnTo>
                  <a:close/>
                  <a:moveTo>
                    <a:pt x="236" y="1493"/>
                  </a:moveTo>
                  <a:lnTo>
                    <a:pt x="238" y="1493"/>
                  </a:lnTo>
                  <a:lnTo>
                    <a:pt x="236" y="1493"/>
                  </a:lnTo>
                  <a:close/>
                  <a:moveTo>
                    <a:pt x="280" y="1427"/>
                  </a:moveTo>
                  <a:lnTo>
                    <a:pt x="280" y="1425"/>
                  </a:lnTo>
                  <a:lnTo>
                    <a:pt x="280" y="1427"/>
                  </a:lnTo>
                  <a:close/>
                  <a:moveTo>
                    <a:pt x="319" y="1469"/>
                  </a:moveTo>
                  <a:lnTo>
                    <a:pt x="319" y="1467"/>
                  </a:lnTo>
                  <a:lnTo>
                    <a:pt x="319" y="1469"/>
                  </a:lnTo>
                  <a:close/>
                  <a:moveTo>
                    <a:pt x="202" y="1508"/>
                  </a:moveTo>
                  <a:lnTo>
                    <a:pt x="204" y="1508"/>
                  </a:lnTo>
                  <a:lnTo>
                    <a:pt x="202" y="1508"/>
                  </a:lnTo>
                  <a:close/>
                  <a:moveTo>
                    <a:pt x="365" y="1498"/>
                  </a:moveTo>
                  <a:lnTo>
                    <a:pt x="365" y="1497"/>
                  </a:lnTo>
                  <a:lnTo>
                    <a:pt x="365" y="1498"/>
                  </a:lnTo>
                  <a:close/>
                  <a:moveTo>
                    <a:pt x="420" y="1482"/>
                  </a:moveTo>
                  <a:lnTo>
                    <a:pt x="422" y="1482"/>
                  </a:lnTo>
                  <a:lnTo>
                    <a:pt x="420" y="1482"/>
                  </a:lnTo>
                  <a:close/>
                  <a:moveTo>
                    <a:pt x="306" y="1503"/>
                  </a:moveTo>
                  <a:lnTo>
                    <a:pt x="306" y="1501"/>
                  </a:lnTo>
                  <a:lnTo>
                    <a:pt x="306" y="1503"/>
                  </a:lnTo>
                  <a:close/>
                  <a:moveTo>
                    <a:pt x="293" y="1445"/>
                  </a:moveTo>
                  <a:lnTo>
                    <a:pt x="291" y="1445"/>
                  </a:lnTo>
                  <a:lnTo>
                    <a:pt x="293" y="1445"/>
                  </a:lnTo>
                  <a:close/>
                  <a:moveTo>
                    <a:pt x="326" y="1484"/>
                  </a:moveTo>
                  <a:lnTo>
                    <a:pt x="324" y="1484"/>
                  </a:lnTo>
                  <a:lnTo>
                    <a:pt x="326" y="1484"/>
                  </a:lnTo>
                  <a:close/>
                  <a:moveTo>
                    <a:pt x="195" y="1145"/>
                  </a:moveTo>
                  <a:lnTo>
                    <a:pt x="195" y="1147"/>
                  </a:lnTo>
                  <a:lnTo>
                    <a:pt x="195" y="1145"/>
                  </a:lnTo>
                  <a:close/>
                  <a:moveTo>
                    <a:pt x="166" y="1448"/>
                  </a:moveTo>
                  <a:lnTo>
                    <a:pt x="166" y="1446"/>
                  </a:lnTo>
                  <a:lnTo>
                    <a:pt x="166" y="1448"/>
                  </a:lnTo>
                  <a:close/>
                  <a:moveTo>
                    <a:pt x="158" y="1064"/>
                  </a:moveTo>
                  <a:lnTo>
                    <a:pt x="160" y="1064"/>
                  </a:lnTo>
                  <a:lnTo>
                    <a:pt x="158" y="1064"/>
                  </a:lnTo>
                  <a:close/>
                  <a:moveTo>
                    <a:pt x="243" y="973"/>
                  </a:moveTo>
                  <a:lnTo>
                    <a:pt x="243" y="971"/>
                  </a:lnTo>
                  <a:lnTo>
                    <a:pt x="243" y="973"/>
                  </a:lnTo>
                  <a:close/>
                  <a:moveTo>
                    <a:pt x="386" y="1501"/>
                  </a:moveTo>
                  <a:lnTo>
                    <a:pt x="387" y="1501"/>
                  </a:lnTo>
                  <a:lnTo>
                    <a:pt x="386" y="1501"/>
                  </a:lnTo>
                  <a:close/>
                  <a:moveTo>
                    <a:pt x="148" y="1493"/>
                  </a:moveTo>
                  <a:lnTo>
                    <a:pt x="148" y="1492"/>
                  </a:lnTo>
                  <a:lnTo>
                    <a:pt x="148" y="1493"/>
                  </a:lnTo>
                  <a:close/>
                  <a:moveTo>
                    <a:pt x="194" y="1046"/>
                  </a:moveTo>
                  <a:lnTo>
                    <a:pt x="194" y="1044"/>
                  </a:lnTo>
                  <a:lnTo>
                    <a:pt x="194" y="1046"/>
                  </a:lnTo>
                  <a:close/>
                  <a:moveTo>
                    <a:pt x="173" y="1014"/>
                  </a:moveTo>
                  <a:lnTo>
                    <a:pt x="174" y="1014"/>
                  </a:lnTo>
                  <a:lnTo>
                    <a:pt x="173" y="1014"/>
                  </a:lnTo>
                  <a:close/>
                  <a:moveTo>
                    <a:pt x="234" y="1436"/>
                  </a:moveTo>
                  <a:lnTo>
                    <a:pt x="236" y="1436"/>
                  </a:lnTo>
                  <a:lnTo>
                    <a:pt x="234" y="1436"/>
                  </a:lnTo>
                  <a:close/>
                  <a:moveTo>
                    <a:pt x="303" y="1497"/>
                  </a:moveTo>
                  <a:lnTo>
                    <a:pt x="304" y="1497"/>
                  </a:lnTo>
                  <a:lnTo>
                    <a:pt x="304" y="1498"/>
                  </a:lnTo>
                  <a:lnTo>
                    <a:pt x="303" y="1498"/>
                  </a:lnTo>
                  <a:lnTo>
                    <a:pt x="303" y="1497"/>
                  </a:lnTo>
                  <a:close/>
                  <a:moveTo>
                    <a:pt x="262" y="1518"/>
                  </a:moveTo>
                  <a:lnTo>
                    <a:pt x="264" y="1516"/>
                  </a:lnTo>
                  <a:lnTo>
                    <a:pt x="264" y="1518"/>
                  </a:lnTo>
                  <a:lnTo>
                    <a:pt x="262" y="1518"/>
                  </a:lnTo>
                  <a:close/>
                  <a:moveTo>
                    <a:pt x="181" y="1017"/>
                  </a:moveTo>
                  <a:lnTo>
                    <a:pt x="181" y="1015"/>
                  </a:lnTo>
                  <a:lnTo>
                    <a:pt x="181" y="1017"/>
                  </a:lnTo>
                  <a:close/>
                  <a:moveTo>
                    <a:pt x="589" y="1375"/>
                  </a:moveTo>
                  <a:lnTo>
                    <a:pt x="589" y="1376"/>
                  </a:lnTo>
                  <a:lnTo>
                    <a:pt x="589" y="1375"/>
                  </a:lnTo>
                  <a:close/>
                  <a:moveTo>
                    <a:pt x="223" y="1519"/>
                  </a:moveTo>
                  <a:lnTo>
                    <a:pt x="225" y="1519"/>
                  </a:lnTo>
                  <a:lnTo>
                    <a:pt x="223" y="1519"/>
                  </a:lnTo>
                  <a:close/>
                  <a:moveTo>
                    <a:pt x="467" y="1454"/>
                  </a:moveTo>
                  <a:lnTo>
                    <a:pt x="467" y="1453"/>
                  </a:lnTo>
                  <a:lnTo>
                    <a:pt x="469" y="1453"/>
                  </a:lnTo>
                  <a:lnTo>
                    <a:pt x="469" y="1454"/>
                  </a:lnTo>
                  <a:lnTo>
                    <a:pt x="467" y="1454"/>
                  </a:lnTo>
                  <a:close/>
                  <a:moveTo>
                    <a:pt x="223" y="1454"/>
                  </a:moveTo>
                  <a:lnTo>
                    <a:pt x="225" y="1454"/>
                  </a:lnTo>
                  <a:lnTo>
                    <a:pt x="223" y="1454"/>
                  </a:lnTo>
                  <a:close/>
                  <a:moveTo>
                    <a:pt x="342" y="1493"/>
                  </a:moveTo>
                  <a:lnTo>
                    <a:pt x="343" y="1493"/>
                  </a:lnTo>
                  <a:lnTo>
                    <a:pt x="342" y="1493"/>
                  </a:lnTo>
                  <a:close/>
                  <a:moveTo>
                    <a:pt x="334" y="1500"/>
                  </a:moveTo>
                  <a:lnTo>
                    <a:pt x="335" y="1500"/>
                  </a:lnTo>
                  <a:lnTo>
                    <a:pt x="334" y="1500"/>
                  </a:lnTo>
                  <a:close/>
                  <a:moveTo>
                    <a:pt x="182" y="1454"/>
                  </a:moveTo>
                  <a:lnTo>
                    <a:pt x="182" y="1453"/>
                  </a:lnTo>
                  <a:lnTo>
                    <a:pt x="182" y="1454"/>
                  </a:lnTo>
                  <a:close/>
                  <a:moveTo>
                    <a:pt x="267" y="922"/>
                  </a:moveTo>
                  <a:lnTo>
                    <a:pt x="269" y="922"/>
                  </a:lnTo>
                  <a:lnTo>
                    <a:pt x="267" y="922"/>
                  </a:lnTo>
                  <a:close/>
                  <a:moveTo>
                    <a:pt x="378" y="748"/>
                  </a:moveTo>
                  <a:lnTo>
                    <a:pt x="379" y="748"/>
                  </a:lnTo>
                  <a:lnTo>
                    <a:pt x="378" y="748"/>
                  </a:lnTo>
                  <a:close/>
                  <a:moveTo>
                    <a:pt x="490" y="1454"/>
                  </a:moveTo>
                  <a:lnTo>
                    <a:pt x="491" y="1454"/>
                  </a:lnTo>
                  <a:lnTo>
                    <a:pt x="490" y="1454"/>
                  </a:lnTo>
                  <a:close/>
                  <a:moveTo>
                    <a:pt x="309" y="1423"/>
                  </a:moveTo>
                  <a:lnTo>
                    <a:pt x="309" y="1425"/>
                  </a:lnTo>
                  <a:lnTo>
                    <a:pt x="309" y="1423"/>
                  </a:lnTo>
                  <a:close/>
                  <a:moveTo>
                    <a:pt x="451" y="1472"/>
                  </a:moveTo>
                  <a:lnTo>
                    <a:pt x="449" y="1472"/>
                  </a:lnTo>
                  <a:lnTo>
                    <a:pt x="451" y="1472"/>
                  </a:lnTo>
                  <a:close/>
                  <a:moveTo>
                    <a:pt x="230" y="1417"/>
                  </a:moveTo>
                  <a:lnTo>
                    <a:pt x="231" y="1417"/>
                  </a:lnTo>
                  <a:lnTo>
                    <a:pt x="230" y="1417"/>
                  </a:lnTo>
                  <a:close/>
                  <a:moveTo>
                    <a:pt x="360" y="1475"/>
                  </a:moveTo>
                  <a:lnTo>
                    <a:pt x="361" y="1475"/>
                  </a:lnTo>
                  <a:lnTo>
                    <a:pt x="360" y="1475"/>
                  </a:lnTo>
                  <a:close/>
                  <a:moveTo>
                    <a:pt x="239" y="1396"/>
                  </a:moveTo>
                  <a:lnTo>
                    <a:pt x="238" y="1396"/>
                  </a:lnTo>
                  <a:lnTo>
                    <a:pt x="239" y="1396"/>
                  </a:lnTo>
                  <a:close/>
                  <a:moveTo>
                    <a:pt x="304" y="1500"/>
                  </a:moveTo>
                  <a:lnTo>
                    <a:pt x="304" y="1498"/>
                  </a:lnTo>
                  <a:lnTo>
                    <a:pt x="304" y="1500"/>
                  </a:lnTo>
                  <a:close/>
                  <a:moveTo>
                    <a:pt x="587" y="1391"/>
                  </a:moveTo>
                  <a:lnTo>
                    <a:pt x="586" y="1391"/>
                  </a:lnTo>
                  <a:lnTo>
                    <a:pt x="587" y="1389"/>
                  </a:lnTo>
                  <a:lnTo>
                    <a:pt x="587" y="1391"/>
                  </a:lnTo>
                  <a:close/>
                  <a:moveTo>
                    <a:pt x="246" y="1518"/>
                  </a:moveTo>
                  <a:lnTo>
                    <a:pt x="246" y="1516"/>
                  </a:lnTo>
                  <a:lnTo>
                    <a:pt x="246" y="1518"/>
                  </a:lnTo>
                  <a:close/>
                  <a:moveTo>
                    <a:pt x="526" y="1417"/>
                  </a:moveTo>
                  <a:lnTo>
                    <a:pt x="527" y="1417"/>
                  </a:lnTo>
                  <a:lnTo>
                    <a:pt x="526" y="1417"/>
                  </a:lnTo>
                  <a:close/>
                  <a:moveTo>
                    <a:pt x="438" y="1471"/>
                  </a:moveTo>
                  <a:lnTo>
                    <a:pt x="439" y="1471"/>
                  </a:lnTo>
                  <a:lnTo>
                    <a:pt x="438" y="1471"/>
                  </a:lnTo>
                  <a:close/>
                  <a:moveTo>
                    <a:pt x="342" y="1479"/>
                  </a:moveTo>
                  <a:lnTo>
                    <a:pt x="343" y="1479"/>
                  </a:lnTo>
                  <a:lnTo>
                    <a:pt x="342" y="1479"/>
                  </a:lnTo>
                  <a:close/>
                  <a:moveTo>
                    <a:pt x="610" y="1371"/>
                  </a:moveTo>
                  <a:lnTo>
                    <a:pt x="610" y="1370"/>
                  </a:lnTo>
                  <a:lnTo>
                    <a:pt x="610" y="1371"/>
                  </a:lnTo>
                  <a:close/>
                  <a:moveTo>
                    <a:pt x="226" y="1490"/>
                  </a:moveTo>
                  <a:lnTo>
                    <a:pt x="226" y="1492"/>
                  </a:lnTo>
                  <a:lnTo>
                    <a:pt x="226" y="1490"/>
                  </a:lnTo>
                  <a:close/>
                  <a:moveTo>
                    <a:pt x="322" y="1467"/>
                  </a:moveTo>
                  <a:lnTo>
                    <a:pt x="321" y="1467"/>
                  </a:lnTo>
                  <a:lnTo>
                    <a:pt x="322" y="1467"/>
                  </a:lnTo>
                  <a:close/>
                  <a:moveTo>
                    <a:pt x="378" y="1497"/>
                  </a:moveTo>
                  <a:lnTo>
                    <a:pt x="379" y="1497"/>
                  </a:lnTo>
                  <a:lnTo>
                    <a:pt x="378" y="1497"/>
                  </a:lnTo>
                  <a:close/>
                  <a:moveTo>
                    <a:pt x="311" y="1495"/>
                  </a:moveTo>
                  <a:lnTo>
                    <a:pt x="309" y="1495"/>
                  </a:lnTo>
                  <a:lnTo>
                    <a:pt x="311" y="1495"/>
                  </a:lnTo>
                  <a:close/>
                  <a:moveTo>
                    <a:pt x="278" y="1436"/>
                  </a:moveTo>
                  <a:lnTo>
                    <a:pt x="280" y="1436"/>
                  </a:lnTo>
                  <a:lnTo>
                    <a:pt x="278" y="1436"/>
                  </a:lnTo>
                  <a:close/>
                  <a:moveTo>
                    <a:pt x="517" y="1422"/>
                  </a:moveTo>
                  <a:lnTo>
                    <a:pt x="519" y="1422"/>
                  </a:lnTo>
                  <a:lnTo>
                    <a:pt x="517" y="1422"/>
                  </a:lnTo>
                  <a:close/>
                  <a:moveTo>
                    <a:pt x="301" y="888"/>
                  </a:moveTo>
                  <a:lnTo>
                    <a:pt x="301" y="890"/>
                  </a:lnTo>
                  <a:lnTo>
                    <a:pt x="301" y="888"/>
                  </a:lnTo>
                  <a:close/>
                  <a:moveTo>
                    <a:pt x="215" y="1202"/>
                  </a:moveTo>
                  <a:lnTo>
                    <a:pt x="215" y="1201"/>
                  </a:lnTo>
                  <a:lnTo>
                    <a:pt x="215" y="1202"/>
                  </a:lnTo>
                  <a:close/>
                  <a:moveTo>
                    <a:pt x="247" y="1388"/>
                  </a:moveTo>
                  <a:lnTo>
                    <a:pt x="249" y="1388"/>
                  </a:lnTo>
                  <a:lnTo>
                    <a:pt x="247" y="1388"/>
                  </a:lnTo>
                  <a:close/>
                  <a:moveTo>
                    <a:pt x="439" y="1475"/>
                  </a:moveTo>
                  <a:lnTo>
                    <a:pt x="438" y="1475"/>
                  </a:lnTo>
                  <a:lnTo>
                    <a:pt x="439" y="1475"/>
                  </a:lnTo>
                  <a:close/>
                  <a:moveTo>
                    <a:pt x="444" y="1472"/>
                  </a:moveTo>
                  <a:lnTo>
                    <a:pt x="444" y="1474"/>
                  </a:lnTo>
                  <a:lnTo>
                    <a:pt x="444" y="1472"/>
                  </a:lnTo>
                  <a:lnTo>
                    <a:pt x="446" y="1472"/>
                  </a:lnTo>
                  <a:lnTo>
                    <a:pt x="444" y="1472"/>
                  </a:lnTo>
                  <a:close/>
                  <a:moveTo>
                    <a:pt x="378" y="1501"/>
                  </a:moveTo>
                  <a:lnTo>
                    <a:pt x="376" y="1501"/>
                  </a:lnTo>
                  <a:lnTo>
                    <a:pt x="376" y="1500"/>
                  </a:lnTo>
                  <a:lnTo>
                    <a:pt x="378" y="1500"/>
                  </a:lnTo>
                  <a:lnTo>
                    <a:pt x="378" y="1501"/>
                  </a:lnTo>
                  <a:close/>
                  <a:moveTo>
                    <a:pt x="210" y="1500"/>
                  </a:moveTo>
                  <a:lnTo>
                    <a:pt x="208" y="1501"/>
                  </a:lnTo>
                  <a:lnTo>
                    <a:pt x="208" y="1500"/>
                  </a:lnTo>
                  <a:lnTo>
                    <a:pt x="210" y="1500"/>
                  </a:lnTo>
                  <a:close/>
                  <a:moveTo>
                    <a:pt x="350" y="695"/>
                  </a:moveTo>
                  <a:lnTo>
                    <a:pt x="350" y="696"/>
                  </a:lnTo>
                  <a:lnTo>
                    <a:pt x="350" y="695"/>
                  </a:lnTo>
                  <a:close/>
                  <a:moveTo>
                    <a:pt x="288" y="1484"/>
                  </a:moveTo>
                  <a:lnTo>
                    <a:pt x="288" y="1482"/>
                  </a:lnTo>
                  <a:lnTo>
                    <a:pt x="288" y="1484"/>
                  </a:lnTo>
                  <a:close/>
                  <a:moveTo>
                    <a:pt x="280" y="1458"/>
                  </a:moveTo>
                  <a:lnTo>
                    <a:pt x="282" y="1456"/>
                  </a:lnTo>
                  <a:lnTo>
                    <a:pt x="282" y="1458"/>
                  </a:lnTo>
                  <a:lnTo>
                    <a:pt x="280" y="1458"/>
                  </a:lnTo>
                  <a:close/>
                  <a:moveTo>
                    <a:pt x="264" y="932"/>
                  </a:moveTo>
                  <a:lnTo>
                    <a:pt x="265" y="932"/>
                  </a:lnTo>
                  <a:lnTo>
                    <a:pt x="264" y="932"/>
                  </a:lnTo>
                  <a:close/>
                  <a:moveTo>
                    <a:pt x="194" y="1152"/>
                  </a:moveTo>
                  <a:lnTo>
                    <a:pt x="192" y="1152"/>
                  </a:lnTo>
                  <a:lnTo>
                    <a:pt x="194" y="1152"/>
                  </a:lnTo>
                  <a:close/>
                  <a:moveTo>
                    <a:pt x="256" y="1399"/>
                  </a:moveTo>
                  <a:lnTo>
                    <a:pt x="254" y="1399"/>
                  </a:lnTo>
                  <a:lnTo>
                    <a:pt x="256" y="1399"/>
                  </a:lnTo>
                  <a:close/>
                  <a:moveTo>
                    <a:pt x="234" y="1253"/>
                  </a:moveTo>
                  <a:lnTo>
                    <a:pt x="234" y="1251"/>
                  </a:lnTo>
                  <a:lnTo>
                    <a:pt x="234" y="1253"/>
                  </a:lnTo>
                  <a:close/>
                  <a:moveTo>
                    <a:pt x="251" y="1401"/>
                  </a:moveTo>
                  <a:lnTo>
                    <a:pt x="252" y="1401"/>
                  </a:lnTo>
                  <a:lnTo>
                    <a:pt x="251" y="1401"/>
                  </a:lnTo>
                  <a:close/>
                  <a:moveTo>
                    <a:pt x="251" y="988"/>
                  </a:moveTo>
                  <a:lnTo>
                    <a:pt x="251" y="986"/>
                  </a:lnTo>
                  <a:lnTo>
                    <a:pt x="251" y="988"/>
                  </a:lnTo>
                  <a:close/>
                  <a:moveTo>
                    <a:pt x="252" y="1521"/>
                  </a:moveTo>
                  <a:lnTo>
                    <a:pt x="254" y="1521"/>
                  </a:lnTo>
                  <a:lnTo>
                    <a:pt x="252" y="1521"/>
                  </a:lnTo>
                  <a:close/>
                  <a:moveTo>
                    <a:pt x="418" y="1495"/>
                  </a:moveTo>
                  <a:lnTo>
                    <a:pt x="418" y="1493"/>
                  </a:lnTo>
                  <a:lnTo>
                    <a:pt x="420" y="1495"/>
                  </a:lnTo>
                  <a:lnTo>
                    <a:pt x="418" y="1495"/>
                  </a:lnTo>
                  <a:close/>
                  <a:moveTo>
                    <a:pt x="368" y="1482"/>
                  </a:moveTo>
                  <a:lnTo>
                    <a:pt x="368" y="1484"/>
                  </a:lnTo>
                  <a:lnTo>
                    <a:pt x="368" y="1482"/>
                  </a:lnTo>
                  <a:close/>
                  <a:moveTo>
                    <a:pt x="446" y="1472"/>
                  </a:moveTo>
                  <a:lnTo>
                    <a:pt x="446" y="1474"/>
                  </a:lnTo>
                  <a:lnTo>
                    <a:pt x="446" y="1472"/>
                  </a:lnTo>
                  <a:close/>
                  <a:moveTo>
                    <a:pt x="207" y="1028"/>
                  </a:moveTo>
                  <a:lnTo>
                    <a:pt x="208" y="1028"/>
                  </a:lnTo>
                  <a:lnTo>
                    <a:pt x="207" y="1028"/>
                  </a:lnTo>
                  <a:close/>
                  <a:moveTo>
                    <a:pt x="221" y="1228"/>
                  </a:moveTo>
                  <a:lnTo>
                    <a:pt x="223" y="1228"/>
                  </a:lnTo>
                  <a:lnTo>
                    <a:pt x="223" y="1230"/>
                  </a:lnTo>
                  <a:lnTo>
                    <a:pt x="221" y="1228"/>
                  </a:lnTo>
                  <a:close/>
                  <a:moveTo>
                    <a:pt x="374" y="1480"/>
                  </a:moveTo>
                  <a:lnTo>
                    <a:pt x="374" y="1479"/>
                  </a:lnTo>
                  <a:lnTo>
                    <a:pt x="374" y="1480"/>
                  </a:lnTo>
                  <a:close/>
                  <a:moveTo>
                    <a:pt x="335" y="1492"/>
                  </a:moveTo>
                  <a:lnTo>
                    <a:pt x="337" y="1492"/>
                  </a:lnTo>
                  <a:lnTo>
                    <a:pt x="335" y="1492"/>
                  </a:lnTo>
                  <a:close/>
                  <a:moveTo>
                    <a:pt x="243" y="1332"/>
                  </a:moveTo>
                  <a:lnTo>
                    <a:pt x="243" y="1334"/>
                  </a:lnTo>
                  <a:lnTo>
                    <a:pt x="243" y="1332"/>
                  </a:lnTo>
                  <a:close/>
                  <a:moveTo>
                    <a:pt x="378" y="1501"/>
                  </a:moveTo>
                  <a:lnTo>
                    <a:pt x="378" y="1500"/>
                  </a:lnTo>
                  <a:lnTo>
                    <a:pt x="378" y="1501"/>
                  </a:lnTo>
                  <a:close/>
                  <a:moveTo>
                    <a:pt x="438" y="1469"/>
                  </a:moveTo>
                  <a:lnTo>
                    <a:pt x="439" y="1469"/>
                  </a:lnTo>
                  <a:lnTo>
                    <a:pt x="439" y="1471"/>
                  </a:lnTo>
                  <a:lnTo>
                    <a:pt x="438" y="1469"/>
                  </a:lnTo>
                  <a:close/>
                  <a:moveTo>
                    <a:pt x="368" y="690"/>
                  </a:moveTo>
                  <a:lnTo>
                    <a:pt x="368" y="688"/>
                  </a:lnTo>
                  <a:lnTo>
                    <a:pt x="369" y="688"/>
                  </a:lnTo>
                  <a:lnTo>
                    <a:pt x="369" y="690"/>
                  </a:lnTo>
                  <a:lnTo>
                    <a:pt x="368" y="690"/>
                  </a:lnTo>
                  <a:close/>
                  <a:moveTo>
                    <a:pt x="251" y="1441"/>
                  </a:moveTo>
                  <a:lnTo>
                    <a:pt x="251" y="1443"/>
                  </a:lnTo>
                  <a:lnTo>
                    <a:pt x="251" y="1441"/>
                  </a:lnTo>
                  <a:close/>
                  <a:moveTo>
                    <a:pt x="226" y="1427"/>
                  </a:moveTo>
                  <a:lnTo>
                    <a:pt x="228" y="1428"/>
                  </a:lnTo>
                  <a:lnTo>
                    <a:pt x="226" y="1428"/>
                  </a:lnTo>
                  <a:lnTo>
                    <a:pt x="226" y="1427"/>
                  </a:lnTo>
                  <a:close/>
                  <a:moveTo>
                    <a:pt x="303" y="1493"/>
                  </a:moveTo>
                  <a:lnTo>
                    <a:pt x="303" y="1492"/>
                  </a:lnTo>
                  <a:lnTo>
                    <a:pt x="303" y="1493"/>
                  </a:lnTo>
                  <a:close/>
                  <a:moveTo>
                    <a:pt x="202" y="1471"/>
                  </a:moveTo>
                  <a:lnTo>
                    <a:pt x="202" y="1472"/>
                  </a:lnTo>
                  <a:lnTo>
                    <a:pt x="202" y="1471"/>
                  </a:lnTo>
                  <a:close/>
                  <a:moveTo>
                    <a:pt x="184" y="1513"/>
                  </a:moveTo>
                  <a:lnTo>
                    <a:pt x="186" y="1513"/>
                  </a:lnTo>
                  <a:lnTo>
                    <a:pt x="184" y="1513"/>
                  </a:lnTo>
                  <a:close/>
                  <a:moveTo>
                    <a:pt x="213" y="1521"/>
                  </a:moveTo>
                  <a:lnTo>
                    <a:pt x="215" y="1521"/>
                  </a:lnTo>
                  <a:lnTo>
                    <a:pt x="215" y="1523"/>
                  </a:lnTo>
                  <a:lnTo>
                    <a:pt x="213" y="1521"/>
                  </a:lnTo>
                  <a:close/>
                  <a:moveTo>
                    <a:pt x="189" y="1467"/>
                  </a:moveTo>
                  <a:lnTo>
                    <a:pt x="189" y="1466"/>
                  </a:lnTo>
                  <a:lnTo>
                    <a:pt x="189" y="1467"/>
                  </a:lnTo>
                  <a:close/>
                  <a:moveTo>
                    <a:pt x="290" y="1433"/>
                  </a:moveTo>
                  <a:lnTo>
                    <a:pt x="290" y="1435"/>
                  </a:lnTo>
                  <a:lnTo>
                    <a:pt x="290" y="1433"/>
                  </a:lnTo>
                  <a:close/>
                  <a:moveTo>
                    <a:pt x="459" y="1469"/>
                  </a:moveTo>
                  <a:lnTo>
                    <a:pt x="461" y="1469"/>
                  </a:lnTo>
                  <a:lnTo>
                    <a:pt x="459" y="1469"/>
                  </a:lnTo>
                  <a:close/>
                  <a:moveTo>
                    <a:pt x="210" y="1018"/>
                  </a:moveTo>
                  <a:lnTo>
                    <a:pt x="210" y="1017"/>
                  </a:lnTo>
                  <a:lnTo>
                    <a:pt x="210" y="1018"/>
                  </a:lnTo>
                  <a:close/>
                  <a:moveTo>
                    <a:pt x="145" y="1446"/>
                  </a:moveTo>
                  <a:lnTo>
                    <a:pt x="145" y="1445"/>
                  </a:lnTo>
                  <a:lnTo>
                    <a:pt x="147" y="1446"/>
                  </a:lnTo>
                  <a:lnTo>
                    <a:pt x="145" y="1446"/>
                  </a:lnTo>
                  <a:close/>
                  <a:moveTo>
                    <a:pt x="423" y="1485"/>
                  </a:moveTo>
                  <a:lnTo>
                    <a:pt x="423" y="1484"/>
                  </a:lnTo>
                  <a:lnTo>
                    <a:pt x="423" y="1485"/>
                  </a:lnTo>
                  <a:close/>
                  <a:moveTo>
                    <a:pt x="329" y="1505"/>
                  </a:moveTo>
                  <a:lnTo>
                    <a:pt x="330" y="1505"/>
                  </a:lnTo>
                  <a:lnTo>
                    <a:pt x="329" y="1505"/>
                  </a:lnTo>
                  <a:close/>
                  <a:moveTo>
                    <a:pt x="197" y="1158"/>
                  </a:moveTo>
                  <a:lnTo>
                    <a:pt x="197" y="1157"/>
                  </a:lnTo>
                  <a:lnTo>
                    <a:pt x="197" y="1158"/>
                  </a:lnTo>
                  <a:close/>
                  <a:moveTo>
                    <a:pt x="169" y="1511"/>
                  </a:moveTo>
                  <a:lnTo>
                    <a:pt x="171" y="1511"/>
                  </a:lnTo>
                  <a:lnTo>
                    <a:pt x="169" y="1511"/>
                  </a:lnTo>
                  <a:close/>
                  <a:moveTo>
                    <a:pt x="262" y="1498"/>
                  </a:moveTo>
                  <a:lnTo>
                    <a:pt x="261" y="1498"/>
                  </a:lnTo>
                  <a:lnTo>
                    <a:pt x="261" y="1497"/>
                  </a:lnTo>
                  <a:lnTo>
                    <a:pt x="262" y="1497"/>
                  </a:lnTo>
                  <a:lnTo>
                    <a:pt x="262" y="1498"/>
                  </a:lnTo>
                  <a:close/>
                  <a:moveTo>
                    <a:pt x="300" y="1477"/>
                  </a:moveTo>
                  <a:lnTo>
                    <a:pt x="301" y="1477"/>
                  </a:lnTo>
                  <a:lnTo>
                    <a:pt x="300" y="1477"/>
                  </a:lnTo>
                  <a:close/>
                  <a:moveTo>
                    <a:pt x="243" y="1370"/>
                  </a:moveTo>
                  <a:lnTo>
                    <a:pt x="244" y="1370"/>
                  </a:lnTo>
                  <a:lnTo>
                    <a:pt x="243" y="1370"/>
                  </a:lnTo>
                  <a:close/>
                  <a:moveTo>
                    <a:pt x="205" y="1048"/>
                  </a:moveTo>
                  <a:lnTo>
                    <a:pt x="207" y="1048"/>
                  </a:lnTo>
                  <a:lnTo>
                    <a:pt x="205" y="1048"/>
                  </a:lnTo>
                  <a:close/>
                  <a:moveTo>
                    <a:pt x="221" y="1423"/>
                  </a:moveTo>
                  <a:lnTo>
                    <a:pt x="223" y="1423"/>
                  </a:lnTo>
                  <a:lnTo>
                    <a:pt x="221" y="1423"/>
                  </a:lnTo>
                  <a:close/>
                  <a:moveTo>
                    <a:pt x="426" y="1482"/>
                  </a:moveTo>
                  <a:lnTo>
                    <a:pt x="428" y="1482"/>
                  </a:lnTo>
                  <a:lnTo>
                    <a:pt x="426" y="1482"/>
                  </a:lnTo>
                  <a:close/>
                  <a:moveTo>
                    <a:pt x="270" y="1498"/>
                  </a:moveTo>
                  <a:lnTo>
                    <a:pt x="270" y="1500"/>
                  </a:lnTo>
                  <a:lnTo>
                    <a:pt x="270" y="1498"/>
                  </a:lnTo>
                  <a:close/>
                  <a:moveTo>
                    <a:pt x="291" y="1498"/>
                  </a:moveTo>
                  <a:lnTo>
                    <a:pt x="293" y="1498"/>
                  </a:lnTo>
                  <a:lnTo>
                    <a:pt x="291" y="1498"/>
                  </a:lnTo>
                  <a:close/>
                  <a:moveTo>
                    <a:pt x="254" y="1510"/>
                  </a:moveTo>
                  <a:lnTo>
                    <a:pt x="256" y="1510"/>
                  </a:lnTo>
                  <a:lnTo>
                    <a:pt x="254" y="1510"/>
                  </a:lnTo>
                  <a:close/>
                  <a:moveTo>
                    <a:pt x="155" y="1495"/>
                  </a:moveTo>
                  <a:lnTo>
                    <a:pt x="155" y="1497"/>
                  </a:lnTo>
                  <a:lnTo>
                    <a:pt x="155" y="1495"/>
                  </a:lnTo>
                  <a:close/>
                  <a:moveTo>
                    <a:pt x="378" y="1484"/>
                  </a:moveTo>
                  <a:lnTo>
                    <a:pt x="379" y="1484"/>
                  </a:lnTo>
                  <a:lnTo>
                    <a:pt x="379" y="1485"/>
                  </a:lnTo>
                  <a:lnTo>
                    <a:pt x="378" y="1484"/>
                  </a:lnTo>
                  <a:close/>
                  <a:moveTo>
                    <a:pt x="256" y="1404"/>
                  </a:moveTo>
                  <a:lnTo>
                    <a:pt x="256" y="1402"/>
                  </a:lnTo>
                  <a:lnTo>
                    <a:pt x="256" y="1404"/>
                  </a:lnTo>
                  <a:close/>
                  <a:moveTo>
                    <a:pt x="228" y="1462"/>
                  </a:moveTo>
                  <a:lnTo>
                    <a:pt x="230" y="1462"/>
                  </a:lnTo>
                  <a:lnTo>
                    <a:pt x="228" y="1462"/>
                  </a:lnTo>
                  <a:close/>
                  <a:moveTo>
                    <a:pt x="256" y="1454"/>
                  </a:moveTo>
                  <a:lnTo>
                    <a:pt x="256" y="1453"/>
                  </a:lnTo>
                  <a:lnTo>
                    <a:pt x="256" y="1454"/>
                  </a:lnTo>
                  <a:close/>
                  <a:moveTo>
                    <a:pt x="288" y="1514"/>
                  </a:moveTo>
                  <a:lnTo>
                    <a:pt x="288" y="1516"/>
                  </a:lnTo>
                  <a:lnTo>
                    <a:pt x="288" y="1514"/>
                  </a:lnTo>
                  <a:close/>
                  <a:moveTo>
                    <a:pt x="223" y="1474"/>
                  </a:moveTo>
                  <a:lnTo>
                    <a:pt x="223" y="1475"/>
                  </a:lnTo>
                  <a:lnTo>
                    <a:pt x="223" y="1474"/>
                  </a:lnTo>
                  <a:close/>
                  <a:moveTo>
                    <a:pt x="326" y="662"/>
                  </a:moveTo>
                  <a:lnTo>
                    <a:pt x="327" y="664"/>
                  </a:lnTo>
                  <a:lnTo>
                    <a:pt x="326" y="664"/>
                  </a:lnTo>
                  <a:lnTo>
                    <a:pt x="326" y="662"/>
                  </a:lnTo>
                  <a:close/>
                  <a:moveTo>
                    <a:pt x="700" y="1326"/>
                  </a:moveTo>
                  <a:lnTo>
                    <a:pt x="701" y="1326"/>
                  </a:lnTo>
                  <a:lnTo>
                    <a:pt x="700" y="1326"/>
                  </a:lnTo>
                  <a:close/>
                  <a:moveTo>
                    <a:pt x="298" y="659"/>
                  </a:moveTo>
                  <a:lnTo>
                    <a:pt x="298" y="657"/>
                  </a:lnTo>
                  <a:lnTo>
                    <a:pt x="298" y="659"/>
                  </a:lnTo>
                  <a:close/>
                  <a:moveTo>
                    <a:pt x="332" y="1474"/>
                  </a:moveTo>
                  <a:lnTo>
                    <a:pt x="334" y="1474"/>
                  </a:lnTo>
                  <a:lnTo>
                    <a:pt x="332" y="1474"/>
                  </a:lnTo>
                  <a:close/>
                  <a:moveTo>
                    <a:pt x="246" y="1506"/>
                  </a:moveTo>
                  <a:lnTo>
                    <a:pt x="246" y="1508"/>
                  </a:lnTo>
                  <a:lnTo>
                    <a:pt x="244" y="1506"/>
                  </a:lnTo>
                  <a:lnTo>
                    <a:pt x="246" y="1506"/>
                  </a:lnTo>
                  <a:close/>
                  <a:moveTo>
                    <a:pt x="265" y="1495"/>
                  </a:moveTo>
                  <a:lnTo>
                    <a:pt x="265" y="1493"/>
                  </a:lnTo>
                  <a:lnTo>
                    <a:pt x="265" y="1495"/>
                  </a:lnTo>
                  <a:close/>
                  <a:moveTo>
                    <a:pt x="195" y="1497"/>
                  </a:moveTo>
                  <a:lnTo>
                    <a:pt x="197" y="1497"/>
                  </a:lnTo>
                  <a:lnTo>
                    <a:pt x="197" y="1498"/>
                  </a:lnTo>
                  <a:lnTo>
                    <a:pt x="195" y="1497"/>
                  </a:lnTo>
                  <a:close/>
                  <a:moveTo>
                    <a:pt x="171" y="1018"/>
                  </a:moveTo>
                  <a:lnTo>
                    <a:pt x="171" y="1017"/>
                  </a:lnTo>
                  <a:lnTo>
                    <a:pt x="171" y="1018"/>
                  </a:lnTo>
                  <a:close/>
                  <a:moveTo>
                    <a:pt x="233" y="1240"/>
                  </a:moveTo>
                  <a:lnTo>
                    <a:pt x="233" y="1238"/>
                  </a:lnTo>
                  <a:lnTo>
                    <a:pt x="233" y="1240"/>
                  </a:lnTo>
                  <a:close/>
                  <a:moveTo>
                    <a:pt x="672" y="1355"/>
                  </a:moveTo>
                  <a:lnTo>
                    <a:pt x="672" y="1353"/>
                  </a:lnTo>
                  <a:lnTo>
                    <a:pt x="672" y="1355"/>
                  </a:lnTo>
                  <a:close/>
                  <a:moveTo>
                    <a:pt x="568" y="1402"/>
                  </a:moveTo>
                  <a:lnTo>
                    <a:pt x="568" y="1401"/>
                  </a:lnTo>
                  <a:lnTo>
                    <a:pt x="568" y="1402"/>
                  </a:lnTo>
                  <a:close/>
                  <a:moveTo>
                    <a:pt x="343" y="1490"/>
                  </a:moveTo>
                  <a:lnTo>
                    <a:pt x="345" y="1490"/>
                  </a:lnTo>
                  <a:lnTo>
                    <a:pt x="343" y="1490"/>
                  </a:lnTo>
                  <a:close/>
                  <a:moveTo>
                    <a:pt x="496" y="1451"/>
                  </a:moveTo>
                  <a:lnTo>
                    <a:pt x="496" y="1449"/>
                  </a:lnTo>
                  <a:lnTo>
                    <a:pt x="496" y="1451"/>
                  </a:lnTo>
                  <a:close/>
                  <a:moveTo>
                    <a:pt x="213" y="1448"/>
                  </a:moveTo>
                  <a:lnTo>
                    <a:pt x="213" y="1446"/>
                  </a:lnTo>
                  <a:lnTo>
                    <a:pt x="213" y="1448"/>
                  </a:lnTo>
                  <a:close/>
                  <a:moveTo>
                    <a:pt x="293" y="1514"/>
                  </a:moveTo>
                  <a:lnTo>
                    <a:pt x="293" y="1513"/>
                  </a:lnTo>
                  <a:lnTo>
                    <a:pt x="293" y="1514"/>
                  </a:lnTo>
                  <a:close/>
                  <a:moveTo>
                    <a:pt x="326" y="1511"/>
                  </a:moveTo>
                  <a:lnTo>
                    <a:pt x="327" y="1511"/>
                  </a:lnTo>
                  <a:lnTo>
                    <a:pt x="326" y="1511"/>
                  </a:lnTo>
                  <a:close/>
                  <a:moveTo>
                    <a:pt x="304" y="1453"/>
                  </a:moveTo>
                  <a:lnTo>
                    <a:pt x="306" y="1451"/>
                  </a:lnTo>
                  <a:lnTo>
                    <a:pt x="304" y="1453"/>
                  </a:lnTo>
                  <a:close/>
                  <a:moveTo>
                    <a:pt x="259" y="1506"/>
                  </a:moveTo>
                  <a:lnTo>
                    <a:pt x="261" y="1506"/>
                  </a:lnTo>
                  <a:lnTo>
                    <a:pt x="259" y="1506"/>
                  </a:lnTo>
                  <a:close/>
                  <a:moveTo>
                    <a:pt x="356" y="1493"/>
                  </a:moveTo>
                  <a:lnTo>
                    <a:pt x="358" y="1493"/>
                  </a:lnTo>
                  <a:lnTo>
                    <a:pt x="358" y="1495"/>
                  </a:lnTo>
                  <a:lnTo>
                    <a:pt x="356" y="1493"/>
                  </a:lnTo>
                  <a:close/>
                  <a:moveTo>
                    <a:pt x="374" y="1498"/>
                  </a:moveTo>
                  <a:lnTo>
                    <a:pt x="376" y="1498"/>
                  </a:lnTo>
                  <a:lnTo>
                    <a:pt x="374" y="1498"/>
                  </a:lnTo>
                  <a:close/>
                  <a:moveTo>
                    <a:pt x="194" y="1433"/>
                  </a:moveTo>
                  <a:lnTo>
                    <a:pt x="194" y="1432"/>
                  </a:lnTo>
                  <a:lnTo>
                    <a:pt x="194" y="1433"/>
                  </a:lnTo>
                  <a:close/>
                  <a:moveTo>
                    <a:pt x="296" y="1477"/>
                  </a:moveTo>
                  <a:lnTo>
                    <a:pt x="298" y="1477"/>
                  </a:lnTo>
                  <a:lnTo>
                    <a:pt x="296" y="1477"/>
                  </a:lnTo>
                  <a:close/>
                  <a:moveTo>
                    <a:pt x="238" y="1275"/>
                  </a:moveTo>
                  <a:lnTo>
                    <a:pt x="239" y="1275"/>
                  </a:lnTo>
                  <a:lnTo>
                    <a:pt x="238" y="1275"/>
                  </a:lnTo>
                  <a:close/>
                  <a:moveTo>
                    <a:pt x="257" y="1495"/>
                  </a:moveTo>
                  <a:lnTo>
                    <a:pt x="259" y="1495"/>
                  </a:lnTo>
                  <a:lnTo>
                    <a:pt x="257" y="1495"/>
                  </a:lnTo>
                  <a:close/>
                  <a:moveTo>
                    <a:pt x="665" y="1342"/>
                  </a:moveTo>
                  <a:lnTo>
                    <a:pt x="665" y="1344"/>
                  </a:lnTo>
                  <a:lnTo>
                    <a:pt x="665" y="1342"/>
                  </a:lnTo>
                  <a:close/>
                  <a:moveTo>
                    <a:pt x="291" y="1471"/>
                  </a:moveTo>
                  <a:lnTo>
                    <a:pt x="291" y="1469"/>
                  </a:lnTo>
                  <a:lnTo>
                    <a:pt x="293" y="1469"/>
                  </a:lnTo>
                  <a:lnTo>
                    <a:pt x="291" y="1471"/>
                  </a:lnTo>
                  <a:close/>
                  <a:moveTo>
                    <a:pt x="287" y="1454"/>
                  </a:moveTo>
                  <a:lnTo>
                    <a:pt x="288" y="1456"/>
                  </a:lnTo>
                  <a:lnTo>
                    <a:pt x="287" y="1456"/>
                  </a:lnTo>
                  <a:lnTo>
                    <a:pt x="287" y="1454"/>
                  </a:lnTo>
                  <a:close/>
                  <a:moveTo>
                    <a:pt x="350" y="1508"/>
                  </a:moveTo>
                  <a:lnTo>
                    <a:pt x="352" y="1508"/>
                  </a:lnTo>
                  <a:lnTo>
                    <a:pt x="350" y="1508"/>
                  </a:lnTo>
                  <a:close/>
                  <a:moveTo>
                    <a:pt x="236" y="1004"/>
                  </a:moveTo>
                  <a:lnTo>
                    <a:pt x="236" y="1005"/>
                  </a:lnTo>
                  <a:lnTo>
                    <a:pt x="236" y="1004"/>
                  </a:lnTo>
                  <a:close/>
                  <a:moveTo>
                    <a:pt x="230" y="1414"/>
                  </a:moveTo>
                  <a:lnTo>
                    <a:pt x="228" y="1415"/>
                  </a:lnTo>
                  <a:lnTo>
                    <a:pt x="228" y="1414"/>
                  </a:lnTo>
                  <a:lnTo>
                    <a:pt x="230" y="1414"/>
                  </a:lnTo>
                  <a:close/>
                  <a:moveTo>
                    <a:pt x="192" y="1144"/>
                  </a:moveTo>
                  <a:lnTo>
                    <a:pt x="192" y="1142"/>
                  </a:lnTo>
                  <a:lnTo>
                    <a:pt x="192" y="1144"/>
                  </a:lnTo>
                  <a:close/>
                  <a:moveTo>
                    <a:pt x="217" y="1516"/>
                  </a:moveTo>
                  <a:lnTo>
                    <a:pt x="217" y="1514"/>
                  </a:lnTo>
                  <a:lnTo>
                    <a:pt x="217" y="1516"/>
                  </a:lnTo>
                  <a:close/>
                  <a:moveTo>
                    <a:pt x="186" y="1514"/>
                  </a:moveTo>
                  <a:lnTo>
                    <a:pt x="184" y="1514"/>
                  </a:lnTo>
                  <a:lnTo>
                    <a:pt x="186" y="1514"/>
                  </a:lnTo>
                  <a:close/>
                  <a:moveTo>
                    <a:pt x="243" y="1401"/>
                  </a:moveTo>
                  <a:lnTo>
                    <a:pt x="244" y="1401"/>
                  </a:lnTo>
                  <a:lnTo>
                    <a:pt x="243" y="1401"/>
                  </a:lnTo>
                  <a:close/>
                  <a:moveTo>
                    <a:pt x="391" y="1471"/>
                  </a:moveTo>
                  <a:lnTo>
                    <a:pt x="391" y="1472"/>
                  </a:lnTo>
                  <a:lnTo>
                    <a:pt x="391" y="1471"/>
                  </a:lnTo>
                  <a:close/>
                  <a:moveTo>
                    <a:pt x="187" y="1064"/>
                  </a:moveTo>
                  <a:lnTo>
                    <a:pt x="187" y="1066"/>
                  </a:lnTo>
                  <a:lnTo>
                    <a:pt x="187" y="1064"/>
                  </a:lnTo>
                  <a:close/>
                  <a:moveTo>
                    <a:pt x="231" y="1230"/>
                  </a:moveTo>
                  <a:lnTo>
                    <a:pt x="233" y="1231"/>
                  </a:lnTo>
                  <a:lnTo>
                    <a:pt x="231" y="1230"/>
                  </a:lnTo>
                  <a:close/>
                  <a:moveTo>
                    <a:pt x="356" y="1490"/>
                  </a:moveTo>
                  <a:lnTo>
                    <a:pt x="358" y="1490"/>
                  </a:lnTo>
                  <a:lnTo>
                    <a:pt x="356" y="1490"/>
                  </a:lnTo>
                  <a:close/>
                  <a:moveTo>
                    <a:pt x="304" y="890"/>
                  </a:moveTo>
                  <a:lnTo>
                    <a:pt x="306" y="890"/>
                  </a:lnTo>
                  <a:lnTo>
                    <a:pt x="306" y="892"/>
                  </a:lnTo>
                  <a:lnTo>
                    <a:pt x="306" y="890"/>
                  </a:lnTo>
                  <a:lnTo>
                    <a:pt x="304" y="890"/>
                  </a:lnTo>
                  <a:close/>
                  <a:moveTo>
                    <a:pt x="221" y="1490"/>
                  </a:moveTo>
                  <a:lnTo>
                    <a:pt x="220" y="1490"/>
                  </a:lnTo>
                  <a:lnTo>
                    <a:pt x="221" y="1490"/>
                  </a:lnTo>
                  <a:close/>
                  <a:moveTo>
                    <a:pt x="291" y="1490"/>
                  </a:moveTo>
                  <a:lnTo>
                    <a:pt x="291" y="1488"/>
                  </a:lnTo>
                  <a:lnTo>
                    <a:pt x="291" y="1490"/>
                  </a:lnTo>
                  <a:close/>
                  <a:moveTo>
                    <a:pt x="602" y="1368"/>
                  </a:moveTo>
                  <a:lnTo>
                    <a:pt x="602" y="1366"/>
                  </a:lnTo>
                  <a:lnTo>
                    <a:pt x="602" y="1368"/>
                  </a:lnTo>
                  <a:close/>
                  <a:moveTo>
                    <a:pt x="301" y="1467"/>
                  </a:moveTo>
                  <a:lnTo>
                    <a:pt x="301" y="1466"/>
                  </a:lnTo>
                  <a:lnTo>
                    <a:pt x="301" y="1467"/>
                  </a:lnTo>
                  <a:close/>
                  <a:moveTo>
                    <a:pt x="247" y="1451"/>
                  </a:moveTo>
                  <a:lnTo>
                    <a:pt x="249" y="1451"/>
                  </a:lnTo>
                  <a:lnTo>
                    <a:pt x="247" y="1451"/>
                  </a:lnTo>
                  <a:close/>
                  <a:moveTo>
                    <a:pt x="241" y="1410"/>
                  </a:moveTo>
                  <a:lnTo>
                    <a:pt x="241" y="1409"/>
                  </a:lnTo>
                  <a:lnTo>
                    <a:pt x="241" y="1410"/>
                  </a:lnTo>
                  <a:close/>
                  <a:moveTo>
                    <a:pt x="220" y="1488"/>
                  </a:moveTo>
                  <a:lnTo>
                    <a:pt x="221" y="1488"/>
                  </a:lnTo>
                  <a:lnTo>
                    <a:pt x="221" y="1490"/>
                  </a:lnTo>
                  <a:lnTo>
                    <a:pt x="221" y="1488"/>
                  </a:lnTo>
                  <a:lnTo>
                    <a:pt x="220" y="1490"/>
                  </a:lnTo>
                  <a:lnTo>
                    <a:pt x="220" y="1488"/>
                  </a:lnTo>
                  <a:close/>
                  <a:moveTo>
                    <a:pt x="228" y="1518"/>
                  </a:moveTo>
                  <a:lnTo>
                    <a:pt x="228" y="1519"/>
                  </a:lnTo>
                  <a:lnTo>
                    <a:pt x="228" y="1518"/>
                  </a:lnTo>
                  <a:close/>
                  <a:moveTo>
                    <a:pt x="576" y="1401"/>
                  </a:moveTo>
                  <a:lnTo>
                    <a:pt x="576" y="1399"/>
                  </a:lnTo>
                  <a:lnTo>
                    <a:pt x="576" y="1401"/>
                  </a:lnTo>
                  <a:close/>
                  <a:moveTo>
                    <a:pt x="228" y="1249"/>
                  </a:moveTo>
                  <a:lnTo>
                    <a:pt x="230" y="1249"/>
                  </a:lnTo>
                  <a:lnTo>
                    <a:pt x="228" y="1249"/>
                  </a:lnTo>
                  <a:lnTo>
                    <a:pt x="228" y="1248"/>
                  </a:lnTo>
                  <a:lnTo>
                    <a:pt x="228" y="1249"/>
                  </a:lnTo>
                  <a:close/>
                  <a:moveTo>
                    <a:pt x="145" y="1041"/>
                  </a:moveTo>
                  <a:lnTo>
                    <a:pt x="147" y="1041"/>
                  </a:lnTo>
                  <a:lnTo>
                    <a:pt x="145" y="1041"/>
                  </a:lnTo>
                  <a:close/>
                  <a:moveTo>
                    <a:pt x="156" y="1066"/>
                  </a:moveTo>
                  <a:lnTo>
                    <a:pt x="158" y="1066"/>
                  </a:lnTo>
                  <a:lnTo>
                    <a:pt x="156" y="1066"/>
                  </a:lnTo>
                  <a:close/>
                  <a:moveTo>
                    <a:pt x="431" y="1490"/>
                  </a:moveTo>
                  <a:lnTo>
                    <a:pt x="431" y="1492"/>
                  </a:lnTo>
                  <a:lnTo>
                    <a:pt x="431" y="1490"/>
                  </a:lnTo>
                  <a:close/>
                  <a:moveTo>
                    <a:pt x="397" y="1497"/>
                  </a:moveTo>
                  <a:lnTo>
                    <a:pt x="397" y="1495"/>
                  </a:lnTo>
                  <a:lnTo>
                    <a:pt x="399" y="1497"/>
                  </a:lnTo>
                  <a:lnTo>
                    <a:pt x="397" y="1497"/>
                  </a:lnTo>
                  <a:close/>
                  <a:moveTo>
                    <a:pt x="236" y="1275"/>
                  </a:moveTo>
                  <a:lnTo>
                    <a:pt x="238" y="1275"/>
                  </a:lnTo>
                  <a:lnTo>
                    <a:pt x="236" y="1275"/>
                  </a:lnTo>
                  <a:close/>
                  <a:moveTo>
                    <a:pt x="241" y="1510"/>
                  </a:moveTo>
                  <a:lnTo>
                    <a:pt x="243" y="1510"/>
                  </a:lnTo>
                  <a:lnTo>
                    <a:pt x="241" y="1510"/>
                  </a:lnTo>
                  <a:close/>
                  <a:moveTo>
                    <a:pt x="283" y="1433"/>
                  </a:moveTo>
                  <a:lnTo>
                    <a:pt x="285" y="1433"/>
                  </a:lnTo>
                  <a:lnTo>
                    <a:pt x="283" y="1433"/>
                  </a:lnTo>
                  <a:close/>
                  <a:moveTo>
                    <a:pt x="304" y="1448"/>
                  </a:moveTo>
                  <a:lnTo>
                    <a:pt x="306" y="1448"/>
                  </a:lnTo>
                  <a:lnTo>
                    <a:pt x="304" y="1448"/>
                  </a:lnTo>
                  <a:close/>
                  <a:moveTo>
                    <a:pt x="236" y="1503"/>
                  </a:moveTo>
                  <a:lnTo>
                    <a:pt x="236" y="1501"/>
                  </a:lnTo>
                  <a:lnTo>
                    <a:pt x="238" y="1503"/>
                  </a:lnTo>
                  <a:lnTo>
                    <a:pt x="236" y="1503"/>
                  </a:lnTo>
                  <a:close/>
                  <a:moveTo>
                    <a:pt x="234" y="1414"/>
                  </a:moveTo>
                  <a:lnTo>
                    <a:pt x="236" y="1414"/>
                  </a:lnTo>
                  <a:lnTo>
                    <a:pt x="234" y="1414"/>
                  </a:lnTo>
                  <a:close/>
                  <a:moveTo>
                    <a:pt x="365" y="1475"/>
                  </a:moveTo>
                  <a:lnTo>
                    <a:pt x="363" y="1475"/>
                  </a:lnTo>
                  <a:lnTo>
                    <a:pt x="365" y="1475"/>
                  </a:lnTo>
                  <a:close/>
                  <a:moveTo>
                    <a:pt x="296" y="1510"/>
                  </a:moveTo>
                  <a:lnTo>
                    <a:pt x="296" y="1511"/>
                  </a:lnTo>
                  <a:lnTo>
                    <a:pt x="296" y="1510"/>
                  </a:lnTo>
                  <a:close/>
                  <a:moveTo>
                    <a:pt x="256" y="1501"/>
                  </a:moveTo>
                  <a:lnTo>
                    <a:pt x="257" y="1501"/>
                  </a:lnTo>
                  <a:lnTo>
                    <a:pt x="257" y="1503"/>
                  </a:lnTo>
                  <a:lnTo>
                    <a:pt x="256" y="1501"/>
                  </a:lnTo>
                  <a:close/>
                  <a:moveTo>
                    <a:pt x="184" y="1097"/>
                  </a:moveTo>
                  <a:lnTo>
                    <a:pt x="186" y="1097"/>
                  </a:lnTo>
                  <a:lnTo>
                    <a:pt x="184" y="1097"/>
                  </a:lnTo>
                  <a:close/>
                  <a:moveTo>
                    <a:pt x="238" y="1375"/>
                  </a:moveTo>
                  <a:lnTo>
                    <a:pt x="238" y="1373"/>
                  </a:lnTo>
                  <a:lnTo>
                    <a:pt x="239" y="1375"/>
                  </a:lnTo>
                  <a:lnTo>
                    <a:pt x="238" y="1375"/>
                  </a:lnTo>
                  <a:close/>
                  <a:moveTo>
                    <a:pt x="613" y="1373"/>
                  </a:moveTo>
                  <a:lnTo>
                    <a:pt x="613" y="1371"/>
                  </a:lnTo>
                  <a:lnTo>
                    <a:pt x="613" y="1373"/>
                  </a:lnTo>
                  <a:close/>
                  <a:moveTo>
                    <a:pt x="261" y="952"/>
                  </a:moveTo>
                  <a:lnTo>
                    <a:pt x="261" y="953"/>
                  </a:lnTo>
                  <a:lnTo>
                    <a:pt x="261" y="952"/>
                  </a:lnTo>
                  <a:close/>
                  <a:moveTo>
                    <a:pt x="278" y="1404"/>
                  </a:moveTo>
                  <a:lnTo>
                    <a:pt x="278" y="1406"/>
                  </a:lnTo>
                  <a:lnTo>
                    <a:pt x="278" y="1404"/>
                  </a:lnTo>
                  <a:close/>
                  <a:moveTo>
                    <a:pt x="339" y="1438"/>
                  </a:moveTo>
                  <a:lnTo>
                    <a:pt x="339" y="1440"/>
                  </a:lnTo>
                  <a:lnTo>
                    <a:pt x="339" y="1438"/>
                  </a:lnTo>
                  <a:close/>
                  <a:moveTo>
                    <a:pt x="233" y="1022"/>
                  </a:moveTo>
                  <a:lnTo>
                    <a:pt x="233" y="1020"/>
                  </a:lnTo>
                  <a:lnTo>
                    <a:pt x="233" y="1022"/>
                  </a:lnTo>
                  <a:close/>
                  <a:moveTo>
                    <a:pt x="454" y="1467"/>
                  </a:moveTo>
                  <a:lnTo>
                    <a:pt x="456" y="1467"/>
                  </a:lnTo>
                  <a:lnTo>
                    <a:pt x="454" y="1467"/>
                  </a:lnTo>
                  <a:close/>
                  <a:moveTo>
                    <a:pt x="247" y="1386"/>
                  </a:moveTo>
                  <a:lnTo>
                    <a:pt x="246" y="1386"/>
                  </a:lnTo>
                  <a:lnTo>
                    <a:pt x="246" y="1384"/>
                  </a:lnTo>
                  <a:lnTo>
                    <a:pt x="247" y="1386"/>
                  </a:lnTo>
                  <a:close/>
                  <a:moveTo>
                    <a:pt x="233" y="1453"/>
                  </a:moveTo>
                  <a:lnTo>
                    <a:pt x="234" y="1453"/>
                  </a:lnTo>
                  <a:lnTo>
                    <a:pt x="234" y="1454"/>
                  </a:lnTo>
                  <a:lnTo>
                    <a:pt x="233" y="1453"/>
                  </a:lnTo>
                  <a:close/>
                  <a:moveTo>
                    <a:pt x="228" y="1023"/>
                  </a:moveTo>
                  <a:lnTo>
                    <a:pt x="226" y="1023"/>
                  </a:lnTo>
                  <a:lnTo>
                    <a:pt x="228" y="1023"/>
                  </a:lnTo>
                  <a:close/>
                  <a:moveTo>
                    <a:pt x="181" y="1454"/>
                  </a:moveTo>
                  <a:lnTo>
                    <a:pt x="182" y="1454"/>
                  </a:lnTo>
                  <a:lnTo>
                    <a:pt x="181" y="1454"/>
                  </a:lnTo>
                  <a:close/>
                  <a:moveTo>
                    <a:pt x="195" y="1075"/>
                  </a:moveTo>
                  <a:lnTo>
                    <a:pt x="195" y="1077"/>
                  </a:lnTo>
                  <a:lnTo>
                    <a:pt x="195" y="1075"/>
                  </a:lnTo>
                  <a:close/>
                  <a:moveTo>
                    <a:pt x="238" y="1511"/>
                  </a:moveTo>
                  <a:lnTo>
                    <a:pt x="238" y="1513"/>
                  </a:lnTo>
                  <a:lnTo>
                    <a:pt x="238" y="1511"/>
                  </a:lnTo>
                  <a:close/>
                  <a:moveTo>
                    <a:pt x="446" y="1471"/>
                  </a:moveTo>
                  <a:lnTo>
                    <a:pt x="446" y="1472"/>
                  </a:lnTo>
                  <a:lnTo>
                    <a:pt x="446" y="1471"/>
                  </a:lnTo>
                  <a:close/>
                  <a:moveTo>
                    <a:pt x="189" y="1123"/>
                  </a:moveTo>
                  <a:lnTo>
                    <a:pt x="189" y="1124"/>
                  </a:lnTo>
                  <a:lnTo>
                    <a:pt x="189" y="1123"/>
                  </a:lnTo>
                  <a:close/>
                  <a:moveTo>
                    <a:pt x="278" y="1488"/>
                  </a:moveTo>
                  <a:lnTo>
                    <a:pt x="278" y="1487"/>
                  </a:lnTo>
                  <a:lnTo>
                    <a:pt x="278" y="1488"/>
                  </a:lnTo>
                  <a:close/>
                  <a:moveTo>
                    <a:pt x="205" y="1501"/>
                  </a:moveTo>
                  <a:lnTo>
                    <a:pt x="207" y="1500"/>
                  </a:lnTo>
                  <a:lnTo>
                    <a:pt x="207" y="1501"/>
                  </a:lnTo>
                  <a:lnTo>
                    <a:pt x="205" y="1501"/>
                  </a:lnTo>
                  <a:close/>
                  <a:moveTo>
                    <a:pt x="225" y="1497"/>
                  </a:moveTo>
                  <a:lnTo>
                    <a:pt x="225" y="1495"/>
                  </a:lnTo>
                  <a:lnTo>
                    <a:pt x="226" y="1495"/>
                  </a:lnTo>
                  <a:lnTo>
                    <a:pt x="226" y="1497"/>
                  </a:lnTo>
                  <a:lnTo>
                    <a:pt x="225" y="1497"/>
                  </a:lnTo>
                  <a:close/>
                  <a:moveTo>
                    <a:pt x="213" y="1175"/>
                  </a:moveTo>
                  <a:lnTo>
                    <a:pt x="212" y="1175"/>
                  </a:lnTo>
                  <a:lnTo>
                    <a:pt x="213" y="1175"/>
                  </a:lnTo>
                  <a:close/>
                  <a:moveTo>
                    <a:pt x="592" y="1370"/>
                  </a:moveTo>
                  <a:lnTo>
                    <a:pt x="592" y="1371"/>
                  </a:lnTo>
                  <a:lnTo>
                    <a:pt x="592" y="1370"/>
                  </a:lnTo>
                  <a:close/>
                  <a:moveTo>
                    <a:pt x="625" y="1363"/>
                  </a:moveTo>
                  <a:lnTo>
                    <a:pt x="625" y="1362"/>
                  </a:lnTo>
                  <a:lnTo>
                    <a:pt x="625" y="1363"/>
                  </a:lnTo>
                  <a:close/>
                  <a:moveTo>
                    <a:pt x="461" y="1456"/>
                  </a:moveTo>
                  <a:lnTo>
                    <a:pt x="459" y="1456"/>
                  </a:lnTo>
                  <a:lnTo>
                    <a:pt x="461" y="1456"/>
                  </a:lnTo>
                  <a:close/>
                  <a:moveTo>
                    <a:pt x="517" y="1430"/>
                  </a:moveTo>
                  <a:lnTo>
                    <a:pt x="516" y="1430"/>
                  </a:lnTo>
                  <a:lnTo>
                    <a:pt x="517" y="1430"/>
                  </a:lnTo>
                  <a:close/>
                  <a:moveTo>
                    <a:pt x="350" y="662"/>
                  </a:moveTo>
                  <a:lnTo>
                    <a:pt x="352" y="662"/>
                  </a:lnTo>
                  <a:lnTo>
                    <a:pt x="350" y="662"/>
                  </a:lnTo>
                  <a:close/>
                  <a:moveTo>
                    <a:pt x="358" y="724"/>
                  </a:moveTo>
                  <a:lnTo>
                    <a:pt x="360" y="724"/>
                  </a:lnTo>
                  <a:lnTo>
                    <a:pt x="358" y="724"/>
                  </a:lnTo>
                  <a:close/>
                  <a:moveTo>
                    <a:pt x="220" y="1445"/>
                  </a:moveTo>
                  <a:lnTo>
                    <a:pt x="221" y="1445"/>
                  </a:lnTo>
                  <a:lnTo>
                    <a:pt x="220" y="1445"/>
                  </a:lnTo>
                  <a:close/>
                  <a:moveTo>
                    <a:pt x="356" y="1492"/>
                  </a:moveTo>
                  <a:lnTo>
                    <a:pt x="358" y="1492"/>
                  </a:lnTo>
                  <a:lnTo>
                    <a:pt x="356" y="1492"/>
                  </a:lnTo>
                  <a:lnTo>
                    <a:pt x="358" y="1492"/>
                  </a:lnTo>
                  <a:lnTo>
                    <a:pt x="356" y="1492"/>
                  </a:lnTo>
                  <a:close/>
                  <a:moveTo>
                    <a:pt x="290" y="1451"/>
                  </a:moveTo>
                  <a:lnTo>
                    <a:pt x="288" y="1451"/>
                  </a:lnTo>
                  <a:lnTo>
                    <a:pt x="290" y="1451"/>
                  </a:lnTo>
                  <a:close/>
                  <a:moveTo>
                    <a:pt x="272" y="1514"/>
                  </a:moveTo>
                  <a:lnTo>
                    <a:pt x="272" y="1513"/>
                  </a:lnTo>
                  <a:lnTo>
                    <a:pt x="272" y="1514"/>
                  </a:lnTo>
                  <a:close/>
                  <a:moveTo>
                    <a:pt x="678" y="1363"/>
                  </a:moveTo>
                  <a:lnTo>
                    <a:pt x="680" y="1363"/>
                  </a:lnTo>
                  <a:lnTo>
                    <a:pt x="680" y="1365"/>
                  </a:lnTo>
                  <a:lnTo>
                    <a:pt x="678" y="1363"/>
                  </a:lnTo>
                  <a:close/>
                  <a:moveTo>
                    <a:pt x="186" y="1441"/>
                  </a:moveTo>
                  <a:lnTo>
                    <a:pt x="187" y="1441"/>
                  </a:lnTo>
                  <a:lnTo>
                    <a:pt x="187" y="1443"/>
                  </a:lnTo>
                  <a:lnTo>
                    <a:pt x="186" y="1443"/>
                  </a:lnTo>
                  <a:lnTo>
                    <a:pt x="186" y="1441"/>
                  </a:lnTo>
                  <a:close/>
                  <a:moveTo>
                    <a:pt x="239" y="1393"/>
                  </a:moveTo>
                  <a:lnTo>
                    <a:pt x="239" y="1394"/>
                  </a:lnTo>
                  <a:lnTo>
                    <a:pt x="239" y="1393"/>
                  </a:lnTo>
                  <a:close/>
                  <a:moveTo>
                    <a:pt x="347" y="667"/>
                  </a:moveTo>
                  <a:lnTo>
                    <a:pt x="348" y="667"/>
                  </a:lnTo>
                  <a:lnTo>
                    <a:pt x="348" y="669"/>
                  </a:lnTo>
                  <a:lnTo>
                    <a:pt x="347" y="667"/>
                  </a:lnTo>
                  <a:close/>
                  <a:moveTo>
                    <a:pt x="267" y="1495"/>
                  </a:moveTo>
                  <a:lnTo>
                    <a:pt x="267" y="1493"/>
                  </a:lnTo>
                  <a:lnTo>
                    <a:pt x="267" y="1495"/>
                  </a:lnTo>
                  <a:close/>
                  <a:moveTo>
                    <a:pt x="259" y="931"/>
                  </a:moveTo>
                  <a:lnTo>
                    <a:pt x="259" y="932"/>
                  </a:lnTo>
                  <a:lnTo>
                    <a:pt x="259" y="931"/>
                  </a:lnTo>
                  <a:close/>
                  <a:moveTo>
                    <a:pt x="420" y="1482"/>
                  </a:moveTo>
                  <a:lnTo>
                    <a:pt x="420" y="1484"/>
                  </a:lnTo>
                  <a:lnTo>
                    <a:pt x="420" y="1482"/>
                  </a:lnTo>
                  <a:close/>
                  <a:moveTo>
                    <a:pt x="236" y="1353"/>
                  </a:moveTo>
                  <a:lnTo>
                    <a:pt x="238" y="1353"/>
                  </a:lnTo>
                  <a:lnTo>
                    <a:pt x="236" y="1353"/>
                  </a:lnTo>
                  <a:close/>
                  <a:moveTo>
                    <a:pt x="132" y="1467"/>
                  </a:moveTo>
                  <a:lnTo>
                    <a:pt x="134" y="1467"/>
                  </a:lnTo>
                  <a:lnTo>
                    <a:pt x="134" y="1469"/>
                  </a:lnTo>
                  <a:lnTo>
                    <a:pt x="132" y="1467"/>
                  </a:lnTo>
                  <a:close/>
                  <a:moveTo>
                    <a:pt x="178" y="1043"/>
                  </a:moveTo>
                  <a:lnTo>
                    <a:pt x="178" y="1041"/>
                  </a:lnTo>
                  <a:lnTo>
                    <a:pt x="178" y="1043"/>
                  </a:lnTo>
                  <a:close/>
                  <a:moveTo>
                    <a:pt x="210" y="1449"/>
                  </a:moveTo>
                  <a:lnTo>
                    <a:pt x="212" y="1449"/>
                  </a:lnTo>
                  <a:lnTo>
                    <a:pt x="210" y="1449"/>
                  </a:lnTo>
                  <a:close/>
                  <a:moveTo>
                    <a:pt x="382" y="1503"/>
                  </a:moveTo>
                  <a:lnTo>
                    <a:pt x="384" y="1503"/>
                  </a:lnTo>
                  <a:lnTo>
                    <a:pt x="382" y="1503"/>
                  </a:lnTo>
                  <a:close/>
                  <a:moveTo>
                    <a:pt x="409" y="1488"/>
                  </a:moveTo>
                  <a:lnTo>
                    <a:pt x="410" y="1488"/>
                  </a:lnTo>
                  <a:lnTo>
                    <a:pt x="409" y="1488"/>
                  </a:lnTo>
                  <a:close/>
                  <a:moveTo>
                    <a:pt x="648" y="1358"/>
                  </a:moveTo>
                  <a:lnTo>
                    <a:pt x="648" y="1357"/>
                  </a:lnTo>
                  <a:lnTo>
                    <a:pt x="648" y="1358"/>
                  </a:lnTo>
                  <a:close/>
                  <a:moveTo>
                    <a:pt x="361" y="1482"/>
                  </a:moveTo>
                  <a:lnTo>
                    <a:pt x="361" y="1480"/>
                  </a:lnTo>
                  <a:lnTo>
                    <a:pt x="361" y="1482"/>
                  </a:lnTo>
                  <a:close/>
                  <a:moveTo>
                    <a:pt x="205" y="1018"/>
                  </a:moveTo>
                  <a:lnTo>
                    <a:pt x="204" y="1018"/>
                  </a:lnTo>
                  <a:lnTo>
                    <a:pt x="205" y="1018"/>
                  </a:lnTo>
                  <a:close/>
                  <a:moveTo>
                    <a:pt x="295" y="667"/>
                  </a:moveTo>
                  <a:lnTo>
                    <a:pt x="296" y="669"/>
                  </a:lnTo>
                  <a:lnTo>
                    <a:pt x="295" y="669"/>
                  </a:lnTo>
                  <a:lnTo>
                    <a:pt x="295" y="667"/>
                  </a:lnTo>
                  <a:close/>
                  <a:moveTo>
                    <a:pt x="176" y="1505"/>
                  </a:moveTo>
                  <a:lnTo>
                    <a:pt x="176" y="1503"/>
                  </a:lnTo>
                  <a:lnTo>
                    <a:pt x="178" y="1505"/>
                  </a:lnTo>
                  <a:lnTo>
                    <a:pt x="176" y="1505"/>
                  </a:lnTo>
                  <a:close/>
                  <a:moveTo>
                    <a:pt x="197" y="1432"/>
                  </a:moveTo>
                  <a:lnTo>
                    <a:pt x="197" y="1430"/>
                  </a:lnTo>
                  <a:lnTo>
                    <a:pt x="197" y="1432"/>
                  </a:lnTo>
                  <a:close/>
                  <a:moveTo>
                    <a:pt x="191" y="1129"/>
                  </a:moveTo>
                  <a:lnTo>
                    <a:pt x="192" y="1129"/>
                  </a:lnTo>
                  <a:lnTo>
                    <a:pt x="191" y="1129"/>
                  </a:lnTo>
                  <a:close/>
                  <a:moveTo>
                    <a:pt x="435" y="1479"/>
                  </a:moveTo>
                  <a:lnTo>
                    <a:pt x="433" y="1480"/>
                  </a:lnTo>
                  <a:lnTo>
                    <a:pt x="433" y="1479"/>
                  </a:lnTo>
                  <a:lnTo>
                    <a:pt x="435" y="1479"/>
                  </a:lnTo>
                  <a:close/>
                  <a:moveTo>
                    <a:pt x="350" y="1492"/>
                  </a:moveTo>
                  <a:lnTo>
                    <a:pt x="348" y="1492"/>
                  </a:lnTo>
                  <a:lnTo>
                    <a:pt x="350" y="1492"/>
                  </a:lnTo>
                  <a:close/>
                  <a:moveTo>
                    <a:pt x="231" y="1433"/>
                  </a:moveTo>
                  <a:lnTo>
                    <a:pt x="231" y="1432"/>
                  </a:lnTo>
                  <a:lnTo>
                    <a:pt x="231" y="1433"/>
                  </a:lnTo>
                  <a:close/>
                  <a:moveTo>
                    <a:pt x="236" y="1497"/>
                  </a:moveTo>
                  <a:lnTo>
                    <a:pt x="238" y="1497"/>
                  </a:lnTo>
                  <a:lnTo>
                    <a:pt x="236" y="1497"/>
                  </a:lnTo>
                  <a:close/>
                  <a:moveTo>
                    <a:pt x="578" y="1391"/>
                  </a:moveTo>
                  <a:lnTo>
                    <a:pt x="576" y="1393"/>
                  </a:lnTo>
                  <a:lnTo>
                    <a:pt x="576" y="1391"/>
                  </a:lnTo>
                  <a:lnTo>
                    <a:pt x="578" y="1391"/>
                  </a:lnTo>
                  <a:close/>
                  <a:moveTo>
                    <a:pt x="199" y="1467"/>
                  </a:moveTo>
                  <a:lnTo>
                    <a:pt x="197" y="1467"/>
                  </a:lnTo>
                  <a:lnTo>
                    <a:pt x="199" y="1467"/>
                  </a:lnTo>
                  <a:close/>
                  <a:moveTo>
                    <a:pt x="282" y="1423"/>
                  </a:moveTo>
                  <a:lnTo>
                    <a:pt x="283" y="1423"/>
                  </a:lnTo>
                  <a:lnTo>
                    <a:pt x="282" y="1423"/>
                  </a:lnTo>
                  <a:close/>
                  <a:moveTo>
                    <a:pt x="542" y="1402"/>
                  </a:moveTo>
                  <a:lnTo>
                    <a:pt x="540" y="1402"/>
                  </a:lnTo>
                  <a:lnTo>
                    <a:pt x="542" y="1402"/>
                  </a:lnTo>
                  <a:close/>
                  <a:moveTo>
                    <a:pt x="148" y="1446"/>
                  </a:moveTo>
                  <a:lnTo>
                    <a:pt x="148" y="1448"/>
                  </a:lnTo>
                  <a:lnTo>
                    <a:pt x="148" y="1446"/>
                  </a:lnTo>
                  <a:close/>
                  <a:moveTo>
                    <a:pt x="168" y="1501"/>
                  </a:moveTo>
                  <a:lnTo>
                    <a:pt x="168" y="1503"/>
                  </a:lnTo>
                  <a:lnTo>
                    <a:pt x="168" y="1501"/>
                  </a:lnTo>
                  <a:close/>
                  <a:moveTo>
                    <a:pt x="452" y="1469"/>
                  </a:moveTo>
                  <a:lnTo>
                    <a:pt x="454" y="1469"/>
                  </a:lnTo>
                  <a:lnTo>
                    <a:pt x="452" y="1469"/>
                  </a:lnTo>
                  <a:close/>
                  <a:moveTo>
                    <a:pt x="244" y="1422"/>
                  </a:moveTo>
                  <a:lnTo>
                    <a:pt x="244" y="1420"/>
                  </a:lnTo>
                  <a:lnTo>
                    <a:pt x="244" y="1422"/>
                  </a:lnTo>
                  <a:close/>
                  <a:moveTo>
                    <a:pt x="230" y="1511"/>
                  </a:moveTo>
                  <a:lnTo>
                    <a:pt x="230" y="1510"/>
                  </a:lnTo>
                  <a:lnTo>
                    <a:pt x="230" y="1511"/>
                  </a:lnTo>
                  <a:close/>
                  <a:moveTo>
                    <a:pt x="247" y="1445"/>
                  </a:moveTo>
                  <a:lnTo>
                    <a:pt x="247" y="1446"/>
                  </a:lnTo>
                  <a:lnTo>
                    <a:pt x="247" y="1445"/>
                  </a:lnTo>
                  <a:close/>
                  <a:moveTo>
                    <a:pt x="251" y="1513"/>
                  </a:moveTo>
                  <a:lnTo>
                    <a:pt x="251" y="1511"/>
                  </a:lnTo>
                  <a:lnTo>
                    <a:pt x="251" y="1513"/>
                  </a:lnTo>
                  <a:close/>
                  <a:moveTo>
                    <a:pt x="491" y="1451"/>
                  </a:moveTo>
                  <a:lnTo>
                    <a:pt x="491" y="1453"/>
                  </a:lnTo>
                  <a:lnTo>
                    <a:pt x="491" y="1451"/>
                  </a:lnTo>
                  <a:close/>
                  <a:moveTo>
                    <a:pt x="360" y="1479"/>
                  </a:moveTo>
                  <a:lnTo>
                    <a:pt x="361" y="1479"/>
                  </a:lnTo>
                  <a:lnTo>
                    <a:pt x="360" y="1479"/>
                  </a:lnTo>
                  <a:close/>
                  <a:moveTo>
                    <a:pt x="301" y="1501"/>
                  </a:moveTo>
                  <a:lnTo>
                    <a:pt x="301" y="1500"/>
                  </a:lnTo>
                  <a:lnTo>
                    <a:pt x="301" y="1501"/>
                  </a:lnTo>
                  <a:close/>
                  <a:moveTo>
                    <a:pt x="324" y="1469"/>
                  </a:moveTo>
                  <a:lnTo>
                    <a:pt x="322" y="1469"/>
                  </a:lnTo>
                  <a:lnTo>
                    <a:pt x="324" y="1469"/>
                  </a:lnTo>
                  <a:close/>
                  <a:moveTo>
                    <a:pt x="241" y="1004"/>
                  </a:moveTo>
                  <a:lnTo>
                    <a:pt x="241" y="1005"/>
                  </a:lnTo>
                  <a:lnTo>
                    <a:pt x="241" y="1004"/>
                  </a:lnTo>
                  <a:close/>
                  <a:moveTo>
                    <a:pt x="491" y="1448"/>
                  </a:moveTo>
                  <a:lnTo>
                    <a:pt x="493" y="1448"/>
                  </a:lnTo>
                  <a:lnTo>
                    <a:pt x="491" y="1448"/>
                  </a:lnTo>
                  <a:close/>
                  <a:moveTo>
                    <a:pt x="191" y="1085"/>
                  </a:moveTo>
                  <a:lnTo>
                    <a:pt x="192" y="1085"/>
                  </a:lnTo>
                  <a:lnTo>
                    <a:pt x="191" y="1085"/>
                  </a:lnTo>
                  <a:close/>
                  <a:moveTo>
                    <a:pt x="259" y="950"/>
                  </a:moveTo>
                  <a:lnTo>
                    <a:pt x="259" y="949"/>
                  </a:lnTo>
                  <a:lnTo>
                    <a:pt x="259" y="950"/>
                  </a:lnTo>
                  <a:close/>
                  <a:moveTo>
                    <a:pt x="226" y="1500"/>
                  </a:moveTo>
                  <a:lnTo>
                    <a:pt x="226" y="1498"/>
                  </a:lnTo>
                  <a:lnTo>
                    <a:pt x="226" y="1500"/>
                  </a:lnTo>
                  <a:close/>
                  <a:moveTo>
                    <a:pt x="239" y="1518"/>
                  </a:moveTo>
                  <a:lnTo>
                    <a:pt x="239" y="1516"/>
                  </a:lnTo>
                  <a:lnTo>
                    <a:pt x="239" y="1518"/>
                  </a:lnTo>
                  <a:close/>
                  <a:moveTo>
                    <a:pt x="152" y="1462"/>
                  </a:moveTo>
                  <a:lnTo>
                    <a:pt x="153" y="1462"/>
                  </a:lnTo>
                  <a:lnTo>
                    <a:pt x="152" y="1462"/>
                  </a:lnTo>
                  <a:close/>
                  <a:moveTo>
                    <a:pt x="415" y="1487"/>
                  </a:moveTo>
                  <a:lnTo>
                    <a:pt x="413" y="1487"/>
                  </a:lnTo>
                  <a:lnTo>
                    <a:pt x="413" y="1485"/>
                  </a:lnTo>
                  <a:lnTo>
                    <a:pt x="415" y="1487"/>
                  </a:lnTo>
                  <a:close/>
                  <a:moveTo>
                    <a:pt x="254" y="937"/>
                  </a:moveTo>
                  <a:lnTo>
                    <a:pt x="256" y="937"/>
                  </a:lnTo>
                  <a:lnTo>
                    <a:pt x="256" y="939"/>
                  </a:lnTo>
                  <a:lnTo>
                    <a:pt x="254" y="939"/>
                  </a:lnTo>
                  <a:lnTo>
                    <a:pt x="254" y="937"/>
                  </a:lnTo>
                  <a:close/>
                  <a:moveTo>
                    <a:pt x="186" y="1510"/>
                  </a:moveTo>
                  <a:lnTo>
                    <a:pt x="187" y="1510"/>
                  </a:lnTo>
                  <a:lnTo>
                    <a:pt x="186" y="1510"/>
                  </a:lnTo>
                  <a:close/>
                  <a:moveTo>
                    <a:pt x="244" y="1339"/>
                  </a:moveTo>
                  <a:lnTo>
                    <a:pt x="244" y="1337"/>
                  </a:lnTo>
                  <a:lnTo>
                    <a:pt x="244" y="1339"/>
                  </a:lnTo>
                  <a:close/>
                  <a:moveTo>
                    <a:pt x="238" y="1500"/>
                  </a:moveTo>
                  <a:lnTo>
                    <a:pt x="239" y="1498"/>
                  </a:lnTo>
                  <a:lnTo>
                    <a:pt x="239" y="1500"/>
                  </a:lnTo>
                  <a:lnTo>
                    <a:pt x="238" y="1500"/>
                  </a:lnTo>
                  <a:close/>
                  <a:moveTo>
                    <a:pt x="199" y="1430"/>
                  </a:moveTo>
                  <a:lnTo>
                    <a:pt x="199" y="1432"/>
                  </a:lnTo>
                  <a:lnTo>
                    <a:pt x="199" y="1430"/>
                  </a:lnTo>
                  <a:close/>
                  <a:moveTo>
                    <a:pt x="374" y="1453"/>
                  </a:moveTo>
                  <a:lnTo>
                    <a:pt x="376" y="1453"/>
                  </a:lnTo>
                  <a:lnTo>
                    <a:pt x="374" y="1453"/>
                  </a:lnTo>
                  <a:close/>
                  <a:moveTo>
                    <a:pt x="409" y="1482"/>
                  </a:moveTo>
                  <a:lnTo>
                    <a:pt x="409" y="1480"/>
                  </a:lnTo>
                  <a:lnTo>
                    <a:pt x="409" y="1482"/>
                  </a:lnTo>
                  <a:close/>
                  <a:moveTo>
                    <a:pt x="194" y="1005"/>
                  </a:moveTo>
                  <a:lnTo>
                    <a:pt x="195" y="1005"/>
                  </a:lnTo>
                  <a:lnTo>
                    <a:pt x="194" y="1005"/>
                  </a:lnTo>
                  <a:close/>
                  <a:moveTo>
                    <a:pt x="439" y="1480"/>
                  </a:moveTo>
                  <a:lnTo>
                    <a:pt x="439" y="1479"/>
                  </a:lnTo>
                  <a:lnTo>
                    <a:pt x="439" y="1480"/>
                  </a:lnTo>
                  <a:close/>
                  <a:moveTo>
                    <a:pt x="669" y="1337"/>
                  </a:moveTo>
                  <a:lnTo>
                    <a:pt x="670" y="1337"/>
                  </a:lnTo>
                  <a:lnTo>
                    <a:pt x="669" y="1337"/>
                  </a:lnTo>
                  <a:close/>
                  <a:moveTo>
                    <a:pt x="319" y="1503"/>
                  </a:moveTo>
                  <a:lnTo>
                    <a:pt x="321" y="1503"/>
                  </a:lnTo>
                  <a:lnTo>
                    <a:pt x="319" y="1503"/>
                  </a:lnTo>
                  <a:close/>
                  <a:moveTo>
                    <a:pt x="189" y="1440"/>
                  </a:moveTo>
                  <a:lnTo>
                    <a:pt x="189" y="1438"/>
                  </a:lnTo>
                  <a:lnTo>
                    <a:pt x="191" y="1438"/>
                  </a:lnTo>
                  <a:lnTo>
                    <a:pt x="189" y="1440"/>
                  </a:lnTo>
                  <a:close/>
                  <a:moveTo>
                    <a:pt x="265" y="1467"/>
                  </a:moveTo>
                  <a:lnTo>
                    <a:pt x="267" y="1466"/>
                  </a:lnTo>
                  <a:lnTo>
                    <a:pt x="267" y="1467"/>
                  </a:lnTo>
                  <a:lnTo>
                    <a:pt x="265" y="1467"/>
                  </a:lnTo>
                  <a:close/>
                  <a:moveTo>
                    <a:pt x="221" y="1497"/>
                  </a:moveTo>
                  <a:lnTo>
                    <a:pt x="221" y="1495"/>
                  </a:lnTo>
                  <a:lnTo>
                    <a:pt x="221" y="1497"/>
                  </a:lnTo>
                  <a:close/>
                  <a:moveTo>
                    <a:pt x="696" y="1334"/>
                  </a:moveTo>
                  <a:lnTo>
                    <a:pt x="696" y="1332"/>
                  </a:lnTo>
                  <a:lnTo>
                    <a:pt x="696" y="1334"/>
                  </a:lnTo>
                  <a:close/>
                  <a:moveTo>
                    <a:pt x="285" y="1428"/>
                  </a:moveTo>
                  <a:lnTo>
                    <a:pt x="287" y="1428"/>
                  </a:lnTo>
                  <a:lnTo>
                    <a:pt x="285" y="1428"/>
                  </a:lnTo>
                  <a:close/>
                  <a:moveTo>
                    <a:pt x="257" y="1469"/>
                  </a:moveTo>
                  <a:lnTo>
                    <a:pt x="259" y="1469"/>
                  </a:lnTo>
                  <a:lnTo>
                    <a:pt x="257" y="1469"/>
                  </a:lnTo>
                  <a:close/>
                  <a:moveTo>
                    <a:pt x="311" y="1495"/>
                  </a:moveTo>
                  <a:lnTo>
                    <a:pt x="313" y="1495"/>
                  </a:lnTo>
                  <a:lnTo>
                    <a:pt x="311" y="1495"/>
                  </a:lnTo>
                  <a:close/>
                  <a:moveTo>
                    <a:pt x="187" y="1513"/>
                  </a:moveTo>
                  <a:lnTo>
                    <a:pt x="186" y="1514"/>
                  </a:lnTo>
                  <a:lnTo>
                    <a:pt x="186" y="1513"/>
                  </a:lnTo>
                  <a:lnTo>
                    <a:pt x="187" y="1513"/>
                  </a:lnTo>
                  <a:close/>
                  <a:moveTo>
                    <a:pt x="423" y="1488"/>
                  </a:moveTo>
                  <a:lnTo>
                    <a:pt x="425" y="1488"/>
                  </a:lnTo>
                  <a:lnTo>
                    <a:pt x="423" y="1488"/>
                  </a:lnTo>
                  <a:close/>
                  <a:moveTo>
                    <a:pt x="221" y="1490"/>
                  </a:moveTo>
                  <a:lnTo>
                    <a:pt x="221" y="1492"/>
                  </a:lnTo>
                  <a:lnTo>
                    <a:pt x="221" y="1490"/>
                  </a:lnTo>
                  <a:close/>
                  <a:moveTo>
                    <a:pt x="296" y="1497"/>
                  </a:moveTo>
                  <a:lnTo>
                    <a:pt x="296" y="1495"/>
                  </a:lnTo>
                  <a:lnTo>
                    <a:pt x="296" y="1497"/>
                  </a:lnTo>
                  <a:close/>
                  <a:moveTo>
                    <a:pt x="236" y="1025"/>
                  </a:moveTo>
                  <a:lnTo>
                    <a:pt x="238" y="1025"/>
                  </a:lnTo>
                  <a:lnTo>
                    <a:pt x="236" y="1025"/>
                  </a:lnTo>
                  <a:close/>
                  <a:moveTo>
                    <a:pt x="334" y="1482"/>
                  </a:moveTo>
                  <a:lnTo>
                    <a:pt x="334" y="1480"/>
                  </a:lnTo>
                  <a:lnTo>
                    <a:pt x="334" y="1482"/>
                  </a:lnTo>
                  <a:close/>
                  <a:moveTo>
                    <a:pt x="200" y="1482"/>
                  </a:moveTo>
                  <a:lnTo>
                    <a:pt x="200" y="1480"/>
                  </a:lnTo>
                  <a:lnTo>
                    <a:pt x="200" y="1482"/>
                  </a:lnTo>
                  <a:close/>
                  <a:moveTo>
                    <a:pt x="251" y="1389"/>
                  </a:moveTo>
                  <a:lnTo>
                    <a:pt x="252" y="1389"/>
                  </a:lnTo>
                  <a:lnTo>
                    <a:pt x="251" y="1389"/>
                  </a:lnTo>
                  <a:close/>
                  <a:moveTo>
                    <a:pt x="378" y="1487"/>
                  </a:moveTo>
                  <a:lnTo>
                    <a:pt x="379" y="1487"/>
                  </a:lnTo>
                  <a:lnTo>
                    <a:pt x="378" y="1487"/>
                  </a:lnTo>
                  <a:close/>
                  <a:moveTo>
                    <a:pt x="223" y="1477"/>
                  </a:moveTo>
                  <a:lnTo>
                    <a:pt x="225" y="1477"/>
                  </a:lnTo>
                  <a:lnTo>
                    <a:pt x="223" y="1477"/>
                  </a:lnTo>
                  <a:close/>
                  <a:moveTo>
                    <a:pt x="443" y="1474"/>
                  </a:moveTo>
                  <a:lnTo>
                    <a:pt x="443" y="1472"/>
                  </a:lnTo>
                  <a:lnTo>
                    <a:pt x="443" y="1474"/>
                  </a:lnTo>
                  <a:close/>
                  <a:moveTo>
                    <a:pt x="412" y="1487"/>
                  </a:moveTo>
                  <a:lnTo>
                    <a:pt x="413" y="1487"/>
                  </a:lnTo>
                  <a:lnTo>
                    <a:pt x="412" y="1487"/>
                  </a:lnTo>
                  <a:close/>
                  <a:moveTo>
                    <a:pt x="290" y="1490"/>
                  </a:moveTo>
                  <a:lnTo>
                    <a:pt x="290" y="1488"/>
                  </a:lnTo>
                  <a:lnTo>
                    <a:pt x="290" y="1490"/>
                  </a:lnTo>
                  <a:close/>
                  <a:moveTo>
                    <a:pt x="254" y="1501"/>
                  </a:moveTo>
                  <a:lnTo>
                    <a:pt x="256" y="1501"/>
                  </a:lnTo>
                  <a:lnTo>
                    <a:pt x="254" y="1501"/>
                  </a:lnTo>
                  <a:close/>
                  <a:moveTo>
                    <a:pt x="623" y="1362"/>
                  </a:moveTo>
                  <a:lnTo>
                    <a:pt x="625" y="1362"/>
                  </a:lnTo>
                  <a:lnTo>
                    <a:pt x="623" y="1362"/>
                  </a:lnTo>
                  <a:close/>
                  <a:moveTo>
                    <a:pt x="550" y="1410"/>
                  </a:moveTo>
                  <a:lnTo>
                    <a:pt x="550" y="1409"/>
                  </a:lnTo>
                  <a:lnTo>
                    <a:pt x="550" y="1410"/>
                  </a:lnTo>
                  <a:close/>
                  <a:moveTo>
                    <a:pt x="251" y="1501"/>
                  </a:moveTo>
                  <a:lnTo>
                    <a:pt x="252" y="1501"/>
                  </a:lnTo>
                  <a:lnTo>
                    <a:pt x="251" y="1501"/>
                  </a:lnTo>
                  <a:close/>
                  <a:moveTo>
                    <a:pt x="378" y="1500"/>
                  </a:moveTo>
                  <a:lnTo>
                    <a:pt x="379" y="1500"/>
                  </a:lnTo>
                  <a:lnTo>
                    <a:pt x="378" y="1500"/>
                  </a:lnTo>
                  <a:close/>
                  <a:moveTo>
                    <a:pt x="244" y="1017"/>
                  </a:moveTo>
                  <a:lnTo>
                    <a:pt x="244" y="1015"/>
                  </a:lnTo>
                  <a:lnTo>
                    <a:pt x="244" y="1017"/>
                  </a:lnTo>
                  <a:close/>
                  <a:moveTo>
                    <a:pt x="290" y="1511"/>
                  </a:moveTo>
                  <a:lnTo>
                    <a:pt x="291" y="1511"/>
                  </a:lnTo>
                  <a:lnTo>
                    <a:pt x="290" y="1511"/>
                  </a:lnTo>
                  <a:close/>
                  <a:moveTo>
                    <a:pt x="165" y="1501"/>
                  </a:moveTo>
                  <a:lnTo>
                    <a:pt x="165" y="1503"/>
                  </a:lnTo>
                  <a:lnTo>
                    <a:pt x="165" y="1501"/>
                  </a:lnTo>
                  <a:close/>
                  <a:moveTo>
                    <a:pt x="589" y="1393"/>
                  </a:moveTo>
                  <a:lnTo>
                    <a:pt x="591" y="1393"/>
                  </a:lnTo>
                  <a:lnTo>
                    <a:pt x="589" y="1393"/>
                  </a:lnTo>
                  <a:close/>
                  <a:moveTo>
                    <a:pt x="288" y="1523"/>
                  </a:moveTo>
                  <a:lnTo>
                    <a:pt x="287" y="1523"/>
                  </a:lnTo>
                  <a:lnTo>
                    <a:pt x="288" y="1523"/>
                  </a:lnTo>
                  <a:close/>
                  <a:moveTo>
                    <a:pt x="394" y="1497"/>
                  </a:moveTo>
                  <a:lnTo>
                    <a:pt x="395" y="1497"/>
                  </a:lnTo>
                  <a:lnTo>
                    <a:pt x="395" y="1498"/>
                  </a:lnTo>
                  <a:lnTo>
                    <a:pt x="394" y="1497"/>
                  </a:lnTo>
                  <a:close/>
                  <a:moveTo>
                    <a:pt x="215" y="1210"/>
                  </a:moveTo>
                  <a:lnTo>
                    <a:pt x="215" y="1212"/>
                  </a:lnTo>
                  <a:lnTo>
                    <a:pt x="215" y="1210"/>
                  </a:lnTo>
                  <a:close/>
                  <a:moveTo>
                    <a:pt x="254" y="1432"/>
                  </a:moveTo>
                  <a:lnTo>
                    <a:pt x="256" y="1432"/>
                  </a:lnTo>
                  <a:lnTo>
                    <a:pt x="254" y="1432"/>
                  </a:lnTo>
                  <a:close/>
                  <a:moveTo>
                    <a:pt x="191" y="1127"/>
                  </a:moveTo>
                  <a:lnTo>
                    <a:pt x="192" y="1127"/>
                  </a:lnTo>
                  <a:lnTo>
                    <a:pt x="192" y="1129"/>
                  </a:lnTo>
                  <a:lnTo>
                    <a:pt x="191" y="1127"/>
                  </a:lnTo>
                  <a:close/>
                  <a:moveTo>
                    <a:pt x="244" y="1396"/>
                  </a:moveTo>
                  <a:lnTo>
                    <a:pt x="246" y="1396"/>
                  </a:lnTo>
                  <a:lnTo>
                    <a:pt x="244" y="1396"/>
                  </a:lnTo>
                  <a:close/>
                  <a:moveTo>
                    <a:pt x="291" y="1487"/>
                  </a:moveTo>
                  <a:lnTo>
                    <a:pt x="293" y="1488"/>
                  </a:lnTo>
                  <a:lnTo>
                    <a:pt x="291" y="1488"/>
                  </a:lnTo>
                  <a:lnTo>
                    <a:pt x="291" y="1487"/>
                  </a:lnTo>
                  <a:close/>
                  <a:moveTo>
                    <a:pt x="591" y="1388"/>
                  </a:moveTo>
                  <a:lnTo>
                    <a:pt x="591" y="1386"/>
                  </a:lnTo>
                  <a:lnTo>
                    <a:pt x="591" y="1388"/>
                  </a:lnTo>
                  <a:close/>
                  <a:moveTo>
                    <a:pt x="143" y="1038"/>
                  </a:moveTo>
                  <a:lnTo>
                    <a:pt x="143" y="1040"/>
                  </a:lnTo>
                  <a:lnTo>
                    <a:pt x="143" y="1038"/>
                  </a:lnTo>
                  <a:close/>
                  <a:moveTo>
                    <a:pt x="233" y="1238"/>
                  </a:moveTo>
                  <a:lnTo>
                    <a:pt x="233" y="1240"/>
                  </a:lnTo>
                  <a:lnTo>
                    <a:pt x="233" y="1238"/>
                  </a:lnTo>
                  <a:close/>
                  <a:moveTo>
                    <a:pt x="186" y="1445"/>
                  </a:moveTo>
                  <a:lnTo>
                    <a:pt x="187" y="1445"/>
                  </a:lnTo>
                  <a:lnTo>
                    <a:pt x="186" y="1445"/>
                  </a:lnTo>
                  <a:close/>
                  <a:moveTo>
                    <a:pt x="368" y="1485"/>
                  </a:moveTo>
                  <a:lnTo>
                    <a:pt x="368" y="1484"/>
                  </a:lnTo>
                  <a:lnTo>
                    <a:pt x="368" y="1485"/>
                  </a:lnTo>
                  <a:close/>
                  <a:moveTo>
                    <a:pt x="267" y="1466"/>
                  </a:moveTo>
                  <a:lnTo>
                    <a:pt x="269" y="1466"/>
                  </a:lnTo>
                  <a:lnTo>
                    <a:pt x="267" y="1466"/>
                  </a:lnTo>
                  <a:close/>
                  <a:moveTo>
                    <a:pt x="246" y="1014"/>
                  </a:moveTo>
                  <a:lnTo>
                    <a:pt x="246" y="1012"/>
                  </a:lnTo>
                  <a:lnTo>
                    <a:pt x="246" y="1014"/>
                  </a:lnTo>
                  <a:close/>
                  <a:moveTo>
                    <a:pt x="309" y="1453"/>
                  </a:moveTo>
                  <a:lnTo>
                    <a:pt x="308" y="1453"/>
                  </a:lnTo>
                  <a:lnTo>
                    <a:pt x="309" y="1453"/>
                  </a:lnTo>
                  <a:close/>
                  <a:moveTo>
                    <a:pt x="418" y="1498"/>
                  </a:moveTo>
                  <a:lnTo>
                    <a:pt x="418" y="1500"/>
                  </a:lnTo>
                  <a:lnTo>
                    <a:pt x="418" y="1498"/>
                  </a:lnTo>
                  <a:close/>
                  <a:moveTo>
                    <a:pt x="329" y="1497"/>
                  </a:moveTo>
                  <a:lnTo>
                    <a:pt x="329" y="1495"/>
                  </a:lnTo>
                  <a:lnTo>
                    <a:pt x="329" y="1497"/>
                  </a:lnTo>
                  <a:close/>
                  <a:moveTo>
                    <a:pt x="215" y="1508"/>
                  </a:moveTo>
                  <a:lnTo>
                    <a:pt x="215" y="1510"/>
                  </a:lnTo>
                  <a:lnTo>
                    <a:pt x="215" y="1508"/>
                  </a:lnTo>
                  <a:close/>
                  <a:moveTo>
                    <a:pt x="270" y="1519"/>
                  </a:moveTo>
                  <a:lnTo>
                    <a:pt x="270" y="1518"/>
                  </a:lnTo>
                  <a:lnTo>
                    <a:pt x="270" y="1519"/>
                  </a:lnTo>
                  <a:close/>
                  <a:moveTo>
                    <a:pt x="191" y="1495"/>
                  </a:moveTo>
                  <a:lnTo>
                    <a:pt x="191" y="1493"/>
                  </a:lnTo>
                  <a:lnTo>
                    <a:pt x="191" y="1495"/>
                  </a:lnTo>
                  <a:close/>
                  <a:moveTo>
                    <a:pt x="389" y="1505"/>
                  </a:moveTo>
                  <a:lnTo>
                    <a:pt x="389" y="1506"/>
                  </a:lnTo>
                  <a:lnTo>
                    <a:pt x="389" y="1505"/>
                  </a:lnTo>
                  <a:close/>
                  <a:moveTo>
                    <a:pt x="285" y="1497"/>
                  </a:moveTo>
                  <a:lnTo>
                    <a:pt x="287" y="1497"/>
                  </a:lnTo>
                  <a:lnTo>
                    <a:pt x="285" y="1497"/>
                  </a:lnTo>
                  <a:close/>
                  <a:moveTo>
                    <a:pt x="329" y="1500"/>
                  </a:moveTo>
                  <a:lnTo>
                    <a:pt x="329" y="1498"/>
                  </a:lnTo>
                  <a:lnTo>
                    <a:pt x="330" y="1500"/>
                  </a:lnTo>
                  <a:lnTo>
                    <a:pt x="329" y="1500"/>
                  </a:lnTo>
                  <a:close/>
                  <a:moveTo>
                    <a:pt x="557" y="1399"/>
                  </a:moveTo>
                  <a:lnTo>
                    <a:pt x="557" y="1397"/>
                  </a:lnTo>
                  <a:lnTo>
                    <a:pt x="557" y="1399"/>
                  </a:lnTo>
                  <a:close/>
                  <a:moveTo>
                    <a:pt x="252" y="1510"/>
                  </a:moveTo>
                  <a:lnTo>
                    <a:pt x="252" y="1508"/>
                  </a:lnTo>
                  <a:lnTo>
                    <a:pt x="252" y="1510"/>
                  </a:lnTo>
                  <a:close/>
                  <a:moveTo>
                    <a:pt x="213" y="1513"/>
                  </a:moveTo>
                  <a:lnTo>
                    <a:pt x="213" y="1511"/>
                  </a:lnTo>
                  <a:lnTo>
                    <a:pt x="213" y="1513"/>
                  </a:lnTo>
                  <a:close/>
                  <a:moveTo>
                    <a:pt x="418" y="1487"/>
                  </a:moveTo>
                  <a:lnTo>
                    <a:pt x="418" y="1488"/>
                  </a:lnTo>
                  <a:lnTo>
                    <a:pt x="417" y="1487"/>
                  </a:lnTo>
                  <a:lnTo>
                    <a:pt x="418" y="1487"/>
                  </a:lnTo>
                  <a:close/>
                  <a:moveTo>
                    <a:pt x="386" y="1472"/>
                  </a:moveTo>
                  <a:lnTo>
                    <a:pt x="384" y="1472"/>
                  </a:lnTo>
                  <a:lnTo>
                    <a:pt x="386" y="1471"/>
                  </a:lnTo>
                  <a:lnTo>
                    <a:pt x="386" y="1472"/>
                  </a:lnTo>
                  <a:close/>
                  <a:moveTo>
                    <a:pt x="238" y="1318"/>
                  </a:moveTo>
                  <a:lnTo>
                    <a:pt x="238" y="1319"/>
                  </a:lnTo>
                  <a:lnTo>
                    <a:pt x="238" y="1318"/>
                  </a:lnTo>
                  <a:close/>
                  <a:moveTo>
                    <a:pt x="238" y="999"/>
                  </a:moveTo>
                  <a:lnTo>
                    <a:pt x="239" y="999"/>
                  </a:lnTo>
                  <a:lnTo>
                    <a:pt x="238" y="999"/>
                  </a:lnTo>
                  <a:close/>
                  <a:moveTo>
                    <a:pt x="244" y="1397"/>
                  </a:moveTo>
                  <a:lnTo>
                    <a:pt x="246" y="1397"/>
                  </a:lnTo>
                  <a:lnTo>
                    <a:pt x="244" y="1397"/>
                  </a:lnTo>
                  <a:close/>
                  <a:moveTo>
                    <a:pt x="277" y="1477"/>
                  </a:moveTo>
                  <a:lnTo>
                    <a:pt x="277" y="1475"/>
                  </a:lnTo>
                  <a:lnTo>
                    <a:pt x="277" y="1477"/>
                  </a:lnTo>
                  <a:close/>
                  <a:moveTo>
                    <a:pt x="350" y="1501"/>
                  </a:moveTo>
                  <a:lnTo>
                    <a:pt x="350" y="1500"/>
                  </a:lnTo>
                  <a:lnTo>
                    <a:pt x="350" y="1501"/>
                  </a:lnTo>
                  <a:close/>
                  <a:moveTo>
                    <a:pt x="205" y="1166"/>
                  </a:moveTo>
                  <a:lnTo>
                    <a:pt x="205" y="1165"/>
                  </a:lnTo>
                  <a:lnTo>
                    <a:pt x="205" y="1166"/>
                  </a:lnTo>
                  <a:close/>
                  <a:moveTo>
                    <a:pt x="350" y="1500"/>
                  </a:moveTo>
                  <a:lnTo>
                    <a:pt x="352" y="1500"/>
                  </a:lnTo>
                  <a:lnTo>
                    <a:pt x="350" y="1500"/>
                  </a:lnTo>
                  <a:close/>
                  <a:moveTo>
                    <a:pt x="246" y="1519"/>
                  </a:moveTo>
                  <a:lnTo>
                    <a:pt x="247" y="1519"/>
                  </a:lnTo>
                  <a:lnTo>
                    <a:pt x="246" y="1519"/>
                  </a:lnTo>
                  <a:close/>
                  <a:moveTo>
                    <a:pt x="487" y="1448"/>
                  </a:moveTo>
                  <a:lnTo>
                    <a:pt x="485" y="1448"/>
                  </a:lnTo>
                  <a:lnTo>
                    <a:pt x="487" y="1448"/>
                  </a:lnTo>
                  <a:close/>
                  <a:moveTo>
                    <a:pt x="194" y="1438"/>
                  </a:moveTo>
                  <a:lnTo>
                    <a:pt x="195" y="1438"/>
                  </a:lnTo>
                  <a:lnTo>
                    <a:pt x="194" y="1438"/>
                  </a:lnTo>
                  <a:close/>
                  <a:moveTo>
                    <a:pt x="137" y="1462"/>
                  </a:moveTo>
                  <a:lnTo>
                    <a:pt x="137" y="1461"/>
                  </a:lnTo>
                  <a:lnTo>
                    <a:pt x="137" y="1462"/>
                  </a:lnTo>
                  <a:close/>
                  <a:moveTo>
                    <a:pt x="272" y="1464"/>
                  </a:moveTo>
                  <a:lnTo>
                    <a:pt x="270" y="1464"/>
                  </a:lnTo>
                  <a:lnTo>
                    <a:pt x="272" y="1462"/>
                  </a:lnTo>
                  <a:lnTo>
                    <a:pt x="272" y="1464"/>
                  </a:lnTo>
                  <a:close/>
                  <a:moveTo>
                    <a:pt x="571" y="1401"/>
                  </a:moveTo>
                  <a:lnTo>
                    <a:pt x="573" y="1401"/>
                  </a:lnTo>
                  <a:lnTo>
                    <a:pt x="573" y="1402"/>
                  </a:lnTo>
                  <a:lnTo>
                    <a:pt x="571" y="1401"/>
                  </a:lnTo>
                  <a:close/>
                  <a:moveTo>
                    <a:pt x="680" y="1345"/>
                  </a:moveTo>
                  <a:lnTo>
                    <a:pt x="680" y="1344"/>
                  </a:lnTo>
                  <a:lnTo>
                    <a:pt x="680" y="1345"/>
                  </a:lnTo>
                  <a:close/>
                  <a:moveTo>
                    <a:pt x="490" y="1458"/>
                  </a:moveTo>
                  <a:lnTo>
                    <a:pt x="490" y="1456"/>
                  </a:lnTo>
                  <a:lnTo>
                    <a:pt x="490" y="1458"/>
                  </a:lnTo>
                  <a:close/>
                  <a:moveTo>
                    <a:pt x="246" y="1508"/>
                  </a:moveTo>
                  <a:lnTo>
                    <a:pt x="246" y="1506"/>
                  </a:lnTo>
                  <a:lnTo>
                    <a:pt x="246" y="1508"/>
                  </a:lnTo>
                  <a:close/>
                  <a:moveTo>
                    <a:pt x="192" y="1456"/>
                  </a:moveTo>
                  <a:lnTo>
                    <a:pt x="194" y="1456"/>
                  </a:lnTo>
                  <a:lnTo>
                    <a:pt x="192" y="1456"/>
                  </a:lnTo>
                  <a:close/>
                  <a:moveTo>
                    <a:pt x="422" y="1475"/>
                  </a:moveTo>
                  <a:lnTo>
                    <a:pt x="423" y="1475"/>
                  </a:lnTo>
                  <a:lnTo>
                    <a:pt x="422" y="1475"/>
                  </a:lnTo>
                  <a:close/>
                  <a:moveTo>
                    <a:pt x="324" y="1505"/>
                  </a:moveTo>
                  <a:lnTo>
                    <a:pt x="324" y="1503"/>
                  </a:lnTo>
                  <a:lnTo>
                    <a:pt x="324" y="1505"/>
                  </a:lnTo>
                  <a:close/>
                  <a:moveTo>
                    <a:pt x="230" y="1493"/>
                  </a:moveTo>
                  <a:lnTo>
                    <a:pt x="231" y="1493"/>
                  </a:lnTo>
                  <a:lnTo>
                    <a:pt x="230" y="1493"/>
                  </a:lnTo>
                  <a:close/>
                  <a:moveTo>
                    <a:pt x="565" y="1396"/>
                  </a:moveTo>
                  <a:lnTo>
                    <a:pt x="565" y="1394"/>
                  </a:lnTo>
                  <a:lnTo>
                    <a:pt x="565" y="1396"/>
                  </a:lnTo>
                  <a:close/>
                  <a:moveTo>
                    <a:pt x="358" y="1514"/>
                  </a:moveTo>
                  <a:lnTo>
                    <a:pt x="356" y="1514"/>
                  </a:lnTo>
                  <a:lnTo>
                    <a:pt x="356" y="1513"/>
                  </a:lnTo>
                  <a:lnTo>
                    <a:pt x="358" y="1513"/>
                  </a:lnTo>
                  <a:lnTo>
                    <a:pt x="358" y="1514"/>
                  </a:lnTo>
                  <a:close/>
                  <a:moveTo>
                    <a:pt x="184" y="1454"/>
                  </a:moveTo>
                  <a:lnTo>
                    <a:pt x="186" y="1454"/>
                  </a:lnTo>
                  <a:lnTo>
                    <a:pt x="184" y="1454"/>
                  </a:lnTo>
                  <a:close/>
                  <a:moveTo>
                    <a:pt x="236" y="1427"/>
                  </a:moveTo>
                  <a:lnTo>
                    <a:pt x="236" y="1425"/>
                  </a:lnTo>
                  <a:lnTo>
                    <a:pt x="236" y="1427"/>
                  </a:lnTo>
                  <a:close/>
                  <a:moveTo>
                    <a:pt x="335" y="1508"/>
                  </a:moveTo>
                  <a:lnTo>
                    <a:pt x="335" y="1506"/>
                  </a:lnTo>
                  <a:lnTo>
                    <a:pt x="335" y="1508"/>
                  </a:lnTo>
                  <a:close/>
                  <a:moveTo>
                    <a:pt x="152" y="1471"/>
                  </a:moveTo>
                  <a:lnTo>
                    <a:pt x="153" y="1471"/>
                  </a:lnTo>
                  <a:lnTo>
                    <a:pt x="152" y="1471"/>
                  </a:lnTo>
                  <a:close/>
                  <a:moveTo>
                    <a:pt x="503" y="1427"/>
                  </a:moveTo>
                  <a:lnTo>
                    <a:pt x="501" y="1427"/>
                  </a:lnTo>
                  <a:lnTo>
                    <a:pt x="503" y="1427"/>
                  </a:lnTo>
                  <a:close/>
                  <a:moveTo>
                    <a:pt x="234" y="1422"/>
                  </a:moveTo>
                  <a:lnTo>
                    <a:pt x="236" y="1422"/>
                  </a:lnTo>
                  <a:lnTo>
                    <a:pt x="234" y="1422"/>
                  </a:lnTo>
                  <a:close/>
                  <a:moveTo>
                    <a:pt x="251" y="1524"/>
                  </a:moveTo>
                  <a:lnTo>
                    <a:pt x="249" y="1524"/>
                  </a:lnTo>
                  <a:lnTo>
                    <a:pt x="251" y="1524"/>
                  </a:lnTo>
                  <a:close/>
                  <a:moveTo>
                    <a:pt x="304" y="1501"/>
                  </a:moveTo>
                  <a:lnTo>
                    <a:pt x="304" y="1500"/>
                  </a:lnTo>
                  <a:lnTo>
                    <a:pt x="304" y="1501"/>
                  </a:lnTo>
                  <a:close/>
                  <a:moveTo>
                    <a:pt x="202" y="1049"/>
                  </a:moveTo>
                  <a:lnTo>
                    <a:pt x="204" y="1049"/>
                  </a:lnTo>
                  <a:lnTo>
                    <a:pt x="204" y="1051"/>
                  </a:lnTo>
                  <a:lnTo>
                    <a:pt x="202" y="1049"/>
                  </a:lnTo>
                  <a:close/>
                  <a:moveTo>
                    <a:pt x="267" y="1495"/>
                  </a:moveTo>
                  <a:lnTo>
                    <a:pt x="269" y="1495"/>
                  </a:lnTo>
                  <a:lnTo>
                    <a:pt x="267" y="1495"/>
                  </a:lnTo>
                  <a:close/>
                  <a:moveTo>
                    <a:pt x="420" y="1484"/>
                  </a:moveTo>
                  <a:lnTo>
                    <a:pt x="422" y="1484"/>
                  </a:lnTo>
                  <a:lnTo>
                    <a:pt x="420" y="1484"/>
                  </a:lnTo>
                  <a:close/>
                  <a:moveTo>
                    <a:pt x="246" y="975"/>
                  </a:moveTo>
                  <a:lnTo>
                    <a:pt x="246" y="973"/>
                  </a:lnTo>
                  <a:lnTo>
                    <a:pt x="246" y="975"/>
                  </a:lnTo>
                  <a:close/>
                  <a:moveTo>
                    <a:pt x="352" y="1503"/>
                  </a:moveTo>
                  <a:lnTo>
                    <a:pt x="353" y="1503"/>
                  </a:lnTo>
                  <a:lnTo>
                    <a:pt x="352" y="1505"/>
                  </a:lnTo>
                  <a:lnTo>
                    <a:pt x="352" y="1503"/>
                  </a:lnTo>
                  <a:close/>
                  <a:moveTo>
                    <a:pt x="322" y="1477"/>
                  </a:moveTo>
                  <a:lnTo>
                    <a:pt x="322" y="1479"/>
                  </a:lnTo>
                  <a:lnTo>
                    <a:pt x="322" y="1477"/>
                  </a:lnTo>
                  <a:close/>
                  <a:moveTo>
                    <a:pt x="256" y="1417"/>
                  </a:moveTo>
                  <a:lnTo>
                    <a:pt x="254" y="1417"/>
                  </a:lnTo>
                  <a:lnTo>
                    <a:pt x="256" y="1417"/>
                  </a:lnTo>
                  <a:close/>
                  <a:moveTo>
                    <a:pt x="238" y="1471"/>
                  </a:moveTo>
                  <a:lnTo>
                    <a:pt x="239" y="1471"/>
                  </a:lnTo>
                  <a:lnTo>
                    <a:pt x="238" y="1471"/>
                  </a:lnTo>
                  <a:close/>
                  <a:moveTo>
                    <a:pt x="217" y="1505"/>
                  </a:moveTo>
                  <a:lnTo>
                    <a:pt x="218" y="1505"/>
                  </a:lnTo>
                  <a:lnTo>
                    <a:pt x="217" y="1505"/>
                  </a:lnTo>
                  <a:close/>
                  <a:moveTo>
                    <a:pt x="413" y="1487"/>
                  </a:moveTo>
                  <a:lnTo>
                    <a:pt x="415" y="1487"/>
                  </a:lnTo>
                  <a:lnTo>
                    <a:pt x="413" y="1487"/>
                  </a:lnTo>
                  <a:close/>
                  <a:moveTo>
                    <a:pt x="420" y="1485"/>
                  </a:moveTo>
                  <a:lnTo>
                    <a:pt x="420" y="1484"/>
                  </a:lnTo>
                  <a:lnTo>
                    <a:pt x="420" y="1485"/>
                  </a:lnTo>
                  <a:close/>
                  <a:moveTo>
                    <a:pt x="223" y="1410"/>
                  </a:moveTo>
                  <a:lnTo>
                    <a:pt x="225" y="1410"/>
                  </a:lnTo>
                  <a:lnTo>
                    <a:pt x="223" y="1410"/>
                  </a:lnTo>
                  <a:close/>
                  <a:moveTo>
                    <a:pt x="280" y="1482"/>
                  </a:moveTo>
                  <a:lnTo>
                    <a:pt x="282" y="1482"/>
                  </a:lnTo>
                  <a:lnTo>
                    <a:pt x="280" y="1482"/>
                  </a:lnTo>
                  <a:close/>
                  <a:moveTo>
                    <a:pt x="418" y="1477"/>
                  </a:moveTo>
                  <a:lnTo>
                    <a:pt x="420" y="1477"/>
                  </a:lnTo>
                  <a:lnTo>
                    <a:pt x="418" y="1477"/>
                  </a:lnTo>
                  <a:close/>
                  <a:moveTo>
                    <a:pt x="236" y="1414"/>
                  </a:moveTo>
                  <a:lnTo>
                    <a:pt x="238" y="1414"/>
                  </a:lnTo>
                  <a:lnTo>
                    <a:pt x="238" y="1415"/>
                  </a:lnTo>
                  <a:lnTo>
                    <a:pt x="236" y="1414"/>
                  </a:lnTo>
                  <a:close/>
                  <a:moveTo>
                    <a:pt x="254" y="929"/>
                  </a:moveTo>
                  <a:lnTo>
                    <a:pt x="256" y="929"/>
                  </a:lnTo>
                  <a:lnTo>
                    <a:pt x="254" y="929"/>
                  </a:lnTo>
                  <a:close/>
                  <a:moveTo>
                    <a:pt x="356" y="1474"/>
                  </a:moveTo>
                  <a:lnTo>
                    <a:pt x="356" y="1475"/>
                  </a:lnTo>
                  <a:lnTo>
                    <a:pt x="356" y="1474"/>
                  </a:lnTo>
                  <a:close/>
                  <a:moveTo>
                    <a:pt x="243" y="1523"/>
                  </a:moveTo>
                  <a:lnTo>
                    <a:pt x="244" y="1523"/>
                  </a:lnTo>
                  <a:lnTo>
                    <a:pt x="243" y="1523"/>
                  </a:lnTo>
                  <a:close/>
                  <a:moveTo>
                    <a:pt x="241" y="1301"/>
                  </a:moveTo>
                  <a:lnTo>
                    <a:pt x="239" y="1301"/>
                  </a:lnTo>
                  <a:lnTo>
                    <a:pt x="239" y="1300"/>
                  </a:lnTo>
                  <a:lnTo>
                    <a:pt x="241" y="1301"/>
                  </a:lnTo>
                  <a:close/>
                  <a:moveTo>
                    <a:pt x="420" y="1488"/>
                  </a:moveTo>
                  <a:lnTo>
                    <a:pt x="422" y="1488"/>
                  </a:lnTo>
                  <a:lnTo>
                    <a:pt x="420" y="1488"/>
                  </a:lnTo>
                  <a:close/>
                  <a:moveTo>
                    <a:pt x="317" y="1510"/>
                  </a:moveTo>
                  <a:lnTo>
                    <a:pt x="317" y="1508"/>
                  </a:lnTo>
                  <a:lnTo>
                    <a:pt x="317" y="1510"/>
                  </a:lnTo>
                  <a:close/>
                  <a:moveTo>
                    <a:pt x="208" y="1503"/>
                  </a:moveTo>
                  <a:lnTo>
                    <a:pt x="208" y="1505"/>
                  </a:lnTo>
                  <a:lnTo>
                    <a:pt x="208" y="1503"/>
                  </a:lnTo>
                  <a:close/>
                  <a:moveTo>
                    <a:pt x="347" y="1487"/>
                  </a:moveTo>
                  <a:lnTo>
                    <a:pt x="347" y="1485"/>
                  </a:lnTo>
                  <a:lnTo>
                    <a:pt x="347" y="1487"/>
                  </a:lnTo>
                  <a:close/>
                  <a:moveTo>
                    <a:pt x="241" y="1298"/>
                  </a:moveTo>
                  <a:lnTo>
                    <a:pt x="243" y="1298"/>
                  </a:lnTo>
                  <a:lnTo>
                    <a:pt x="241" y="1298"/>
                  </a:lnTo>
                  <a:close/>
                  <a:moveTo>
                    <a:pt x="319" y="1449"/>
                  </a:moveTo>
                  <a:lnTo>
                    <a:pt x="321" y="1449"/>
                  </a:lnTo>
                  <a:lnTo>
                    <a:pt x="319" y="1449"/>
                  </a:lnTo>
                  <a:close/>
                  <a:moveTo>
                    <a:pt x="247" y="1440"/>
                  </a:moveTo>
                  <a:lnTo>
                    <a:pt x="247" y="1438"/>
                  </a:lnTo>
                  <a:lnTo>
                    <a:pt x="247" y="1440"/>
                  </a:lnTo>
                  <a:close/>
                  <a:moveTo>
                    <a:pt x="195" y="1077"/>
                  </a:moveTo>
                  <a:lnTo>
                    <a:pt x="197" y="1077"/>
                  </a:lnTo>
                  <a:lnTo>
                    <a:pt x="195" y="1077"/>
                  </a:lnTo>
                  <a:close/>
                  <a:moveTo>
                    <a:pt x="254" y="1443"/>
                  </a:moveTo>
                  <a:lnTo>
                    <a:pt x="256" y="1443"/>
                  </a:lnTo>
                  <a:lnTo>
                    <a:pt x="254" y="1443"/>
                  </a:lnTo>
                  <a:close/>
                  <a:moveTo>
                    <a:pt x="295" y="1446"/>
                  </a:moveTo>
                  <a:lnTo>
                    <a:pt x="296" y="1446"/>
                  </a:lnTo>
                  <a:lnTo>
                    <a:pt x="295" y="1446"/>
                  </a:lnTo>
                  <a:close/>
                  <a:moveTo>
                    <a:pt x="249" y="1445"/>
                  </a:moveTo>
                  <a:lnTo>
                    <a:pt x="251" y="1445"/>
                  </a:lnTo>
                  <a:lnTo>
                    <a:pt x="249" y="1445"/>
                  </a:lnTo>
                  <a:close/>
                  <a:moveTo>
                    <a:pt x="256" y="1519"/>
                  </a:moveTo>
                  <a:lnTo>
                    <a:pt x="257" y="1519"/>
                  </a:lnTo>
                  <a:lnTo>
                    <a:pt x="256" y="1519"/>
                  </a:lnTo>
                  <a:close/>
                  <a:moveTo>
                    <a:pt x="604" y="1368"/>
                  </a:moveTo>
                  <a:lnTo>
                    <a:pt x="604" y="1370"/>
                  </a:lnTo>
                  <a:lnTo>
                    <a:pt x="604" y="1368"/>
                  </a:lnTo>
                  <a:close/>
                  <a:moveTo>
                    <a:pt x="322" y="1497"/>
                  </a:moveTo>
                  <a:lnTo>
                    <a:pt x="322" y="1495"/>
                  </a:lnTo>
                  <a:lnTo>
                    <a:pt x="322" y="1497"/>
                  </a:lnTo>
                  <a:close/>
                  <a:moveTo>
                    <a:pt x="202" y="1480"/>
                  </a:moveTo>
                  <a:lnTo>
                    <a:pt x="200" y="1480"/>
                  </a:lnTo>
                  <a:lnTo>
                    <a:pt x="202" y="1480"/>
                  </a:lnTo>
                  <a:close/>
                  <a:moveTo>
                    <a:pt x="199" y="1025"/>
                  </a:moveTo>
                  <a:lnTo>
                    <a:pt x="200" y="1025"/>
                  </a:lnTo>
                  <a:lnTo>
                    <a:pt x="199" y="1025"/>
                  </a:lnTo>
                  <a:close/>
                  <a:moveTo>
                    <a:pt x="226" y="1500"/>
                  </a:moveTo>
                  <a:lnTo>
                    <a:pt x="228" y="1500"/>
                  </a:lnTo>
                  <a:lnTo>
                    <a:pt x="226" y="1500"/>
                  </a:lnTo>
                  <a:close/>
                  <a:moveTo>
                    <a:pt x="234" y="1432"/>
                  </a:moveTo>
                  <a:lnTo>
                    <a:pt x="233" y="1432"/>
                  </a:lnTo>
                  <a:lnTo>
                    <a:pt x="234" y="1432"/>
                  </a:lnTo>
                  <a:close/>
                  <a:moveTo>
                    <a:pt x="215" y="1446"/>
                  </a:moveTo>
                  <a:lnTo>
                    <a:pt x="217" y="1446"/>
                  </a:lnTo>
                  <a:lnTo>
                    <a:pt x="215" y="1446"/>
                  </a:lnTo>
                  <a:close/>
                  <a:moveTo>
                    <a:pt x="246" y="1352"/>
                  </a:moveTo>
                  <a:lnTo>
                    <a:pt x="247" y="1353"/>
                  </a:lnTo>
                  <a:lnTo>
                    <a:pt x="246" y="1353"/>
                  </a:lnTo>
                  <a:lnTo>
                    <a:pt x="246" y="1352"/>
                  </a:lnTo>
                  <a:close/>
                  <a:moveTo>
                    <a:pt x="197" y="1505"/>
                  </a:moveTo>
                  <a:lnTo>
                    <a:pt x="199" y="1505"/>
                  </a:lnTo>
                  <a:lnTo>
                    <a:pt x="197" y="1505"/>
                  </a:lnTo>
                  <a:close/>
                  <a:moveTo>
                    <a:pt x="280" y="1475"/>
                  </a:moveTo>
                  <a:lnTo>
                    <a:pt x="278" y="1475"/>
                  </a:lnTo>
                  <a:lnTo>
                    <a:pt x="280" y="1475"/>
                  </a:lnTo>
                  <a:close/>
                  <a:moveTo>
                    <a:pt x="262" y="1526"/>
                  </a:moveTo>
                  <a:lnTo>
                    <a:pt x="262" y="1528"/>
                  </a:lnTo>
                  <a:lnTo>
                    <a:pt x="262" y="1526"/>
                  </a:lnTo>
                  <a:close/>
                  <a:moveTo>
                    <a:pt x="283" y="1399"/>
                  </a:moveTo>
                  <a:lnTo>
                    <a:pt x="285" y="1399"/>
                  </a:lnTo>
                  <a:lnTo>
                    <a:pt x="283" y="1399"/>
                  </a:lnTo>
                  <a:close/>
                  <a:moveTo>
                    <a:pt x="295" y="1493"/>
                  </a:moveTo>
                  <a:lnTo>
                    <a:pt x="296" y="1493"/>
                  </a:lnTo>
                  <a:lnTo>
                    <a:pt x="295" y="1493"/>
                  </a:lnTo>
                  <a:close/>
                  <a:moveTo>
                    <a:pt x="327" y="1510"/>
                  </a:moveTo>
                  <a:lnTo>
                    <a:pt x="326" y="1510"/>
                  </a:lnTo>
                  <a:lnTo>
                    <a:pt x="327" y="1510"/>
                  </a:lnTo>
                  <a:close/>
                  <a:moveTo>
                    <a:pt x="178" y="1519"/>
                  </a:moveTo>
                  <a:lnTo>
                    <a:pt x="178" y="1518"/>
                  </a:lnTo>
                  <a:lnTo>
                    <a:pt x="179" y="1519"/>
                  </a:lnTo>
                  <a:lnTo>
                    <a:pt x="178" y="1519"/>
                  </a:lnTo>
                  <a:close/>
                  <a:moveTo>
                    <a:pt x="322" y="1508"/>
                  </a:moveTo>
                  <a:lnTo>
                    <a:pt x="322" y="1506"/>
                  </a:lnTo>
                  <a:lnTo>
                    <a:pt x="322" y="1508"/>
                  </a:lnTo>
                  <a:close/>
                  <a:moveTo>
                    <a:pt x="270" y="1466"/>
                  </a:moveTo>
                  <a:lnTo>
                    <a:pt x="272" y="1466"/>
                  </a:lnTo>
                  <a:lnTo>
                    <a:pt x="270" y="1466"/>
                  </a:lnTo>
                  <a:close/>
                  <a:moveTo>
                    <a:pt x="319" y="1451"/>
                  </a:moveTo>
                  <a:lnTo>
                    <a:pt x="317" y="1451"/>
                  </a:lnTo>
                  <a:lnTo>
                    <a:pt x="317" y="1449"/>
                  </a:lnTo>
                  <a:lnTo>
                    <a:pt x="319" y="1449"/>
                  </a:lnTo>
                  <a:lnTo>
                    <a:pt x="319" y="1451"/>
                  </a:lnTo>
                  <a:close/>
                  <a:moveTo>
                    <a:pt x="181" y="1453"/>
                  </a:moveTo>
                  <a:lnTo>
                    <a:pt x="181" y="1454"/>
                  </a:lnTo>
                  <a:lnTo>
                    <a:pt x="181" y="1453"/>
                  </a:lnTo>
                  <a:close/>
                  <a:moveTo>
                    <a:pt x="215" y="1005"/>
                  </a:moveTo>
                  <a:lnTo>
                    <a:pt x="215" y="1004"/>
                  </a:lnTo>
                  <a:lnTo>
                    <a:pt x="215" y="1005"/>
                  </a:lnTo>
                  <a:close/>
                  <a:moveTo>
                    <a:pt x="208" y="1438"/>
                  </a:moveTo>
                  <a:lnTo>
                    <a:pt x="208" y="1436"/>
                  </a:lnTo>
                  <a:lnTo>
                    <a:pt x="208" y="1438"/>
                  </a:lnTo>
                  <a:close/>
                  <a:moveTo>
                    <a:pt x="244" y="1002"/>
                  </a:moveTo>
                  <a:lnTo>
                    <a:pt x="244" y="1004"/>
                  </a:lnTo>
                  <a:lnTo>
                    <a:pt x="244" y="1002"/>
                  </a:lnTo>
                  <a:close/>
                  <a:moveTo>
                    <a:pt x="335" y="1500"/>
                  </a:moveTo>
                  <a:lnTo>
                    <a:pt x="337" y="1500"/>
                  </a:lnTo>
                  <a:lnTo>
                    <a:pt x="335" y="1500"/>
                  </a:lnTo>
                  <a:close/>
                  <a:moveTo>
                    <a:pt x="213" y="1501"/>
                  </a:moveTo>
                  <a:lnTo>
                    <a:pt x="215" y="1501"/>
                  </a:lnTo>
                  <a:lnTo>
                    <a:pt x="213" y="1501"/>
                  </a:lnTo>
                  <a:close/>
                  <a:moveTo>
                    <a:pt x="670" y="1342"/>
                  </a:moveTo>
                  <a:lnTo>
                    <a:pt x="670" y="1344"/>
                  </a:lnTo>
                  <a:lnTo>
                    <a:pt x="670" y="1342"/>
                  </a:lnTo>
                  <a:close/>
                  <a:moveTo>
                    <a:pt x="161" y="1448"/>
                  </a:moveTo>
                  <a:lnTo>
                    <a:pt x="163" y="1448"/>
                  </a:lnTo>
                  <a:lnTo>
                    <a:pt x="161" y="1448"/>
                  </a:lnTo>
                  <a:lnTo>
                    <a:pt x="161" y="1449"/>
                  </a:lnTo>
                  <a:lnTo>
                    <a:pt x="161" y="1448"/>
                  </a:lnTo>
                  <a:close/>
                  <a:moveTo>
                    <a:pt x="389" y="1497"/>
                  </a:moveTo>
                  <a:lnTo>
                    <a:pt x="387" y="1497"/>
                  </a:lnTo>
                  <a:lnTo>
                    <a:pt x="389" y="1497"/>
                  </a:lnTo>
                  <a:close/>
                  <a:moveTo>
                    <a:pt x="397" y="1484"/>
                  </a:moveTo>
                  <a:lnTo>
                    <a:pt x="399" y="1484"/>
                  </a:lnTo>
                  <a:lnTo>
                    <a:pt x="397" y="1484"/>
                  </a:lnTo>
                  <a:close/>
                  <a:moveTo>
                    <a:pt x="347" y="1506"/>
                  </a:moveTo>
                  <a:lnTo>
                    <a:pt x="347" y="1508"/>
                  </a:lnTo>
                  <a:lnTo>
                    <a:pt x="347" y="1506"/>
                  </a:lnTo>
                  <a:close/>
                  <a:moveTo>
                    <a:pt x="516" y="1423"/>
                  </a:moveTo>
                  <a:lnTo>
                    <a:pt x="516" y="1425"/>
                  </a:lnTo>
                  <a:lnTo>
                    <a:pt x="516" y="1423"/>
                  </a:lnTo>
                  <a:close/>
                  <a:moveTo>
                    <a:pt x="236" y="1370"/>
                  </a:moveTo>
                  <a:lnTo>
                    <a:pt x="238" y="1370"/>
                  </a:lnTo>
                  <a:lnTo>
                    <a:pt x="236" y="1370"/>
                  </a:lnTo>
                  <a:close/>
                  <a:moveTo>
                    <a:pt x="304" y="1484"/>
                  </a:moveTo>
                  <a:lnTo>
                    <a:pt x="304" y="1482"/>
                  </a:lnTo>
                  <a:lnTo>
                    <a:pt x="304" y="1484"/>
                  </a:lnTo>
                  <a:close/>
                  <a:moveTo>
                    <a:pt x="291" y="1490"/>
                  </a:moveTo>
                  <a:lnTo>
                    <a:pt x="293" y="1490"/>
                  </a:lnTo>
                  <a:lnTo>
                    <a:pt x="291" y="1490"/>
                  </a:lnTo>
                  <a:close/>
                  <a:moveTo>
                    <a:pt x="262" y="1479"/>
                  </a:moveTo>
                  <a:lnTo>
                    <a:pt x="262" y="1480"/>
                  </a:lnTo>
                  <a:lnTo>
                    <a:pt x="262" y="1479"/>
                  </a:lnTo>
                  <a:close/>
                  <a:moveTo>
                    <a:pt x="225" y="1458"/>
                  </a:moveTo>
                  <a:lnTo>
                    <a:pt x="226" y="1459"/>
                  </a:lnTo>
                  <a:lnTo>
                    <a:pt x="225" y="1459"/>
                  </a:lnTo>
                  <a:lnTo>
                    <a:pt x="225" y="1458"/>
                  </a:lnTo>
                  <a:close/>
                  <a:moveTo>
                    <a:pt x="233" y="1012"/>
                  </a:moveTo>
                  <a:lnTo>
                    <a:pt x="234" y="1012"/>
                  </a:lnTo>
                  <a:lnTo>
                    <a:pt x="233" y="1012"/>
                  </a:lnTo>
                  <a:close/>
                  <a:moveTo>
                    <a:pt x="238" y="1023"/>
                  </a:moveTo>
                  <a:lnTo>
                    <a:pt x="236" y="1023"/>
                  </a:lnTo>
                  <a:lnTo>
                    <a:pt x="238" y="1023"/>
                  </a:lnTo>
                  <a:close/>
                  <a:moveTo>
                    <a:pt x="143" y="1464"/>
                  </a:moveTo>
                  <a:lnTo>
                    <a:pt x="143" y="1466"/>
                  </a:lnTo>
                  <a:lnTo>
                    <a:pt x="143" y="1464"/>
                  </a:lnTo>
                  <a:close/>
                  <a:moveTo>
                    <a:pt x="239" y="1253"/>
                  </a:moveTo>
                  <a:lnTo>
                    <a:pt x="241" y="1251"/>
                  </a:lnTo>
                  <a:lnTo>
                    <a:pt x="241" y="1253"/>
                  </a:lnTo>
                  <a:lnTo>
                    <a:pt x="239" y="1253"/>
                  </a:lnTo>
                  <a:close/>
                  <a:moveTo>
                    <a:pt x="360" y="1472"/>
                  </a:moveTo>
                  <a:lnTo>
                    <a:pt x="360" y="1471"/>
                  </a:lnTo>
                  <a:lnTo>
                    <a:pt x="360" y="1472"/>
                  </a:lnTo>
                  <a:close/>
                  <a:moveTo>
                    <a:pt x="207" y="1454"/>
                  </a:moveTo>
                  <a:lnTo>
                    <a:pt x="208" y="1454"/>
                  </a:lnTo>
                  <a:lnTo>
                    <a:pt x="207" y="1454"/>
                  </a:lnTo>
                  <a:close/>
                  <a:moveTo>
                    <a:pt x="207" y="1015"/>
                  </a:moveTo>
                  <a:lnTo>
                    <a:pt x="208" y="1015"/>
                  </a:lnTo>
                  <a:lnTo>
                    <a:pt x="208" y="1017"/>
                  </a:lnTo>
                  <a:lnTo>
                    <a:pt x="207" y="1015"/>
                  </a:lnTo>
                  <a:close/>
                  <a:moveTo>
                    <a:pt x="410" y="1488"/>
                  </a:moveTo>
                  <a:lnTo>
                    <a:pt x="410" y="1490"/>
                  </a:lnTo>
                  <a:lnTo>
                    <a:pt x="410" y="1488"/>
                  </a:lnTo>
                  <a:close/>
                  <a:moveTo>
                    <a:pt x="306" y="1462"/>
                  </a:moveTo>
                  <a:lnTo>
                    <a:pt x="306" y="1461"/>
                  </a:lnTo>
                  <a:lnTo>
                    <a:pt x="306" y="1462"/>
                  </a:lnTo>
                  <a:close/>
                  <a:moveTo>
                    <a:pt x="291" y="1524"/>
                  </a:moveTo>
                  <a:lnTo>
                    <a:pt x="291" y="1523"/>
                  </a:lnTo>
                  <a:lnTo>
                    <a:pt x="291" y="1524"/>
                  </a:lnTo>
                  <a:close/>
                  <a:moveTo>
                    <a:pt x="259" y="1511"/>
                  </a:moveTo>
                  <a:lnTo>
                    <a:pt x="261" y="1511"/>
                  </a:lnTo>
                  <a:lnTo>
                    <a:pt x="259" y="1511"/>
                  </a:lnTo>
                  <a:close/>
                  <a:moveTo>
                    <a:pt x="241" y="1414"/>
                  </a:moveTo>
                  <a:lnTo>
                    <a:pt x="241" y="1415"/>
                  </a:lnTo>
                  <a:lnTo>
                    <a:pt x="241" y="1414"/>
                  </a:lnTo>
                  <a:close/>
                  <a:moveTo>
                    <a:pt x="233" y="1419"/>
                  </a:moveTo>
                  <a:lnTo>
                    <a:pt x="233" y="1420"/>
                  </a:lnTo>
                  <a:lnTo>
                    <a:pt x="233" y="1419"/>
                  </a:lnTo>
                  <a:close/>
                  <a:moveTo>
                    <a:pt x="313" y="1435"/>
                  </a:moveTo>
                  <a:lnTo>
                    <a:pt x="314" y="1435"/>
                  </a:lnTo>
                  <a:lnTo>
                    <a:pt x="313" y="1435"/>
                  </a:lnTo>
                  <a:close/>
                  <a:moveTo>
                    <a:pt x="210" y="1484"/>
                  </a:moveTo>
                  <a:lnTo>
                    <a:pt x="212" y="1484"/>
                  </a:lnTo>
                  <a:lnTo>
                    <a:pt x="210" y="1484"/>
                  </a:lnTo>
                  <a:close/>
                  <a:moveTo>
                    <a:pt x="304" y="648"/>
                  </a:moveTo>
                  <a:lnTo>
                    <a:pt x="306" y="648"/>
                  </a:lnTo>
                  <a:lnTo>
                    <a:pt x="304" y="648"/>
                  </a:lnTo>
                  <a:close/>
                  <a:moveTo>
                    <a:pt x="415" y="1488"/>
                  </a:moveTo>
                  <a:lnTo>
                    <a:pt x="413" y="1488"/>
                  </a:lnTo>
                  <a:lnTo>
                    <a:pt x="413" y="1487"/>
                  </a:lnTo>
                  <a:lnTo>
                    <a:pt x="415" y="1487"/>
                  </a:lnTo>
                  <a:lnTo>
                    <a:pt x="415" y="1488"/>
                  </a:lnTo>
                  <a:close/>
                  <a:moveTo>
                    <a:pt x="501" y="1436"/>
                  </a:moveTo>
                  <a:lnTo>
                    <a:pt x="500" y="1436"/>
                  </a:lnTo>
                  <a:lnTo>
                    <a:pt x="501" y="1436"/>
                  </a:lnTo>
                  <a:close/>
                  <a:moveTo>
                    <a:pt x="654" y="1352"/>
                  </a:moveTo>
                  <a:lnTo>
                    <a:pt x="656" y="1350"/>
                  </a:lnTo>
                  <a:lnTo>
                    <a:pt x="656" y="1352"/>
                  </a:lnTo>
                  <a:lnTo>
                    <a:pt x="654" y="1352"/>
                  </a:lnTo>
                  <a:close/>
                  <a:moveTo>
                    <a:pt x="361" y="1480"/>
                  </a:moveTo>
                  <a:lnTo>
                    <a:pt x="361" y="1479"/>
                  </a:lnTo>
                  <a:lnTo>
                    <a:pt x="361" y="1480"/>
                  </a:lnTo>
                  <a:close/>
                  <a:moveTo>
                    <a:pt x="457" y="1469"/>
                  </a:moveTo>
                  <a:lnTo>
                    <a:pt x="457" y="1471"/>
                  </a:lnTo>
                  <a:lnTo>
                    <a:pt x="457" y="1469"/>
                  </a:lnTo>
                  <a:close/>
                  <a:moveTo>
                    <a:pt x="340" y="1433"/>
                  </a:moveTo>
                  <a:lnTo>
                    <a:pt x="340" y="1432"/>
                  </a:lnTo>
                  <a:lnTo>
                    <a:pt x="340" y="1433"/>
                  </a:lnTo>
                  <a:close/>
                  <a:moveTo>
                    <a:pt x="239" y="1518"/>
                  </a:moveTo>
                  <a:lnTo>
                    <a:pt x="241" y="1518"/>
                  </a:lnTo>
                  <a:lnTo>
                    <a:pt x="239" y="1518"/>
                  </a:lnTo>
                  <a:close/>
                  <a:moveTo>
                    <a:pt x="207" y="1015"/>
                  </a:moveTo>
                  <a:lnTo>
                    <a:pt x="208" y="1015"/>
                  </a:lnTo>
                  <a:lnTo>
                    <a:pt x="207" y="1015"/>
                  </a:lnTo>
                  <a:close/>
                  <a:moveTo>
                    <a:pt x="187" y="1449"/>
                  </a:moveTo>
                  <a:lnTo>
                    <a:pt x="189" y="1449"/>
                  </a:lnTo>
                  <a:lnTo>
                    <a:pt x="187" y="1449"/>
                  </a:lnTo>
                  <a:close/>
                  <a:moveTo>
                    <a:pt x="218" y="1510"/>
                  </a:moveTo>
                  <a:lnTo>
                    <a:pt x="220" y="1510"/>
                  </a:lnTo>
                  <a:lnTo>
                    <a:pt x="218" y="1511"/>
                  </a:lnTo>
                  <a:lnTo>
                    <a:pt x="218" y="1510"/>
                  </a:lnTo>
                  <a:close/>
                  <a:moveTo>
                    <a:pt x="163" y="1072"/>
                  </a:moveTo>
                  <a:lnTo>
                    <a:pt x="163" y="1070"/>
                  </a:lnTo>
                  <a:lnTo>
                    <a:pt x="163" y="1072"/>
                  </a:lnTo>
                  <a:close/>
                  <a:moveTo>
                    <a:pt x="217" y="1521"/>
                  </a:moveTo>
                  <a:lnTo>
                    <a:pt x="217" y="1523"/>
                  </a:lnTo>
                  <a:lnTo>
                    <a:pt x="217" y="1521"/>
                  </a:lnTo>
                  <a:close/>
                  <a:moveTo>
                    <a:pt x="121" y="1477"/>
                  </a:moveTo>
                  <a:lnTo>
                    <a:pt x="121" y="1475"/>
                  </a:lnTo>
                  <a:lnTo>
                    <a:pt x="121" y="1477"/>
                  </a:lnTo>
                  <a:close/>
                  <a:moveTo>
                    <a:pt x="277" y="1485"/>
                  </a:moveTo>
                  <a:lnTo>
                    <a:pt x="277" y="1484"/>
                  </a:lnTo>
                  <a:lnTo>
                    <a:pt x="277" y="1485"/>
                  </a:lnTo>
                  <a:close/>
                  <a:moveTo>
                    <a:pt x="571" y="1402"/>
                  </a:moveTo>
                  <a:lnTo>
                    <a:pt x="573" y="1402"/>
                  </a:lnTo>
                  <a:lnTo>
                    <a:pt x="571" y="1402"/>
                  </a:lnTo>
                  <a:close/>
                  <a:moveTo>
                    <a:pt x="374" y="739"/>
                  </a:moveTo>
                  <a:lnTo>
                    <a:pt x="376" y="739"/>
                  </a:lnTo>
                  <a:lnTo>
                    <a:pt x="374" y="739"/>
                  </a:lnTo>
                  <a:close/>
                  <a:moveTo>
                    <a:pt x="249" y="1505"/>
                  </a:moveTo>
                  <a:lnTo>
                    <a:pt x="251" y="1505"/>
                  </a:lnTo>
                  <a:lnTo>
                    <a:pt x="249" y="1505"/>
                  </a:lnTo>
                  <a:close/>
                  <a:moveTo>
                    <a:pt x="327" y="1495"/>
                  </a:moveTo>
                  <a:lnTo>
                    <a:pt x="329" y="1495"/>
                  </a:lnTo>
                  <a:lnTo>
                    <a:pt x="327" y="1495"/>
                  </a:lnTo>
                  <a:close/>
                  <a:moveTo>
                    <a:pt x="207" y="1160"/>
                  </a:moveTo>
                  <a:lnTo>
                    <a:pt x="207" y="1158"/>
                  </a:lnTo>
                  <a:lnTo>
                    <a:pt x="207" y="1160"/>
                  </a:lnTo>
                  <a:close/>
                  <a:moveTo>
                    <a:pt x="217" y="1425"/>
                  </a:moveTo>
                  <a:lnTo>
                    <a:pt x="215" y="1425"/>
                  </a:lnTo>
                  <a:lnTo>
                    <a:pt x="217" y="1425"/>
                  </a:lnTo>
                  <a:close/>
                  <a:moveTo>
                    <a:pt x="352" y="1493"/>
                  </a:moveTo>
                  <a:lnTo>
                    <a:pt x="352" y="1492"/>
                  </a:lnTo>
                  <a:lnTo>
                    <a:pt x="352" y="1493"/>
                  </a:lnTo>
                  <a:close/>
                  <a:moveTo>
                    <a:pt x="252" y="1505"/>
                  </a:moveTo>
                  <a:lnTo>
                    <a:pt x="254" y="1505"/>
                  </a:lnTo>
                  <a:lnTo>
                    <a:pt x="252" y="1505"/>
                  </a:lnTo>
                  <a:close/>
                  <a:moveTo>
                    <a:pt x="230" y="1438"/>
                  </a:moveTo>
                  <a:lnTo>
                    <a:pt x="230" y="1440"/>
                  </a:lnTo>
                  <a:lnTo>
                    <a:pt x="230" y="1438"/>
                  </a:lnTo>
                  <a:close/>
                  <a:moveTo>
                    <a:pt x="633" y="1353"/>
                  </a:moveTo>
                  <a:lnTo>
                    <a:pt x="635" y="1353"/>
                  </a:lnTo>
                  <a:lnTo>
                    <a:pt x="633" y="1353"/>
                  </a:lnTo>
                  <a:close/>
                  <a:moveTo>
                    <a:pt x="327" y="1467"/>
                  </a:moveTo>
                  <a:lnTo>
                    <a:pt x="326" y="1467"/>
                  </a:lnTo>
                  <a:lnTo>
                    <a:pt x="327" y="1467"/>
                  </a:lnTo>
                  <a:close/>
                  <a:moveTo>
                    <a:pt x="231" y="1498"/>
                  </a:moveTo>
                  <a:lnTo>
                    <a:pt x="233" y="1498"/>
                  </a:lnTo>
                  <a:lnTo>
                    <a:pt x="231" y="1498"/>
                  </a:lnTo>
                  <a:close/>
                  <a:moveTo>
                    <a:pt x="259" y="940"/>
                  </a:moveTo>
                  <a:lnTo>
                    <a:pt x="259" y="942"/>
                  </a:lnTo>
                  <a:lnTo>
                    <a:pt x="259" y="940"/>
                  </a:lnTo>
                  <a:close/>
                  <a:moveTo>
                    <a:pt x="314" y="1445"/>
                  </a:moveTo>
                  <a:lnTo>
                    <a:pt x="314" y="1443"/>
                  </a:lnTo>
                  <a:lnTo>
                    <a:pt x="314" y="1445"/>
                  </a:lnTo>
                  <a:close/>
                  <a:moveTo>
                    <a:pt x="618" y="1371"/>
                  </a:moveTo>
                  <a:lnTo>
                    <a:pt x="620" y="1371"/>
                  </a:lnTo>
                  <a:lnTo>
                    <a:pt x="618" y="1371"/>
                  </a:lnTo>
                  <a:close/>
                  <a:moveTo>
                    <a:pt x="295" y="643"/>
                  </a:moveTo>
                  <a:lnTo>
                    <a:pt x="295" y="644"/>
                  </a:lnTo>
                  <a:lnTo>
                    <a:pt x="295" y="643"/>
                  </a:lnTo>
                  <a:close/>
                  <a:moveTo>
                    <a:pt x="602" y="1381"/>
                  </a:moveTo>
                  <a:lnTo>
                    <a:pt x="604" y="1381"/>
                  </a:lnTo>
                  <a:lnTo>
                    <a:pt x="602" y="1381"/>
                  </a:lnTo>
                  <a:close/>
                  <a:moveTo>
                    <a:pt x="199" y="1523"/>
                  </a:moveTo>
                  <a:lnTo>
                    <a:pt x="200" y="1523"/>
                  </a:lnTo>
                  <a:lnTo>
                    <a:pt x="199" y="1523"/>
                  </a:lnTo>
                  <a:close/>
                  <a:moveTo>
                    <a:pt x="353" y="1485"/>
                  </a:moveTo>
                  <a:lnTo>
                    <a:pt x="355" y="1485"/>
                  </a:lnTo>
                  <a:lnTo>
                    <a:pt x="353" y="1485"/>
                  </a:lnTo>
                  <a:close/>
                  <a:moveTo>
                    <a:pt x="234" y="1425"/>
                  </a:moveTo>
                  <a:lnTo>
                    <a:pt x="236" y="1425"/>
                  </a:lnTo>
                  <a:lnTo>
                    <a:pt x="234" y="1425"/>
                  </a:lnTo>
                  <a:close/>
                  <a:moveTo>
                    <a:pt x="265" y="926"/>
                  </a:moveTo>
                  <a:lnTo>
                    <a:pt x="265" y="927"/>
                  </a:lnTo>
                  <a:lnTo>
                    <a:pt x="265" y="926"/>
                  </a:lnTo>
                  <a:close/>
                  <a:moveTo>
                    <a:pt x="513" y="1419"/>
                  </a:moveTo>
                  <a:lnTo>
                    <a:pt x="514" y="1419"/>
                  </a:lnTo>
                  <a:lnTo>
                    <a:pt x="513" y="1419"/>
                  </a:lnTo>
                  <a:close/>
                  <a:moveTo>
                    <a:pt x="241" y="1449"/>
                  </a:moveTo>
                  <a:lnTo>
                    <a:pt x="243" y="1449"/>
                  </a:lnTo>
                  <a:lnTo>
                    <a:pt x="241" y="1449"/>
                  </a:lnTo>
                  <a:close/>
                  <a:moveTo>
                    <a:pt x="252" y="1505"/>
                  </a:moveTo>
                  <a:lnTo>
                    <a:pt x="251" y="1505"/>
                  </a:lnTo>
                  <a:lnTo>
                    <a:pt x="252" y="1505"/>
                  </a:lnTo>
                  <a:close/>
                  <a:moveTo>
                    <a:pt x="317" y="1445"/>
                  </a:moveTo>
                  <a:lnTo>
                    <a:pt x="317" y="1443"/>
                  </a:lnTo>
                  <a:lnTo>
                    <a:pt x="317" y="1445"/>
                  </a:lnTo>
                  <a:close/>
                  <a:moveTo>
                    <a:pt x="334" y="1495"/>
                  </a:moveTo>
                  <a:lnTo>
                    <a:pt x="334" y="1493"/>
                  </a:lnTo>
                  <a:lnTo>
                    <a:pt x="334" y="1495"/>
                  </a:lnTo>
                  <a:close/>
                  <a:moveTo>
                    <a:pt x="438" y="1479"/>
                  </a:moveTo>
                  <a:lnTo>
                    <a:pt x="438" y="1480"/>
                  </a:lnTo>
                  <a:lnTo>
                    <a:pt x="438" y="1479"/>
                  </a:lnTo>
                  <a:close/>
                  <a:moveTo>
                    <a:pt x="296" y="641"/>
                  </a:moveTo>
                  <a:lnTo>
                    <a:pt x="298" y="641"/>
                  </a:lnTo>
                  <a:lnTo>
                    <a:pt x="298" y="643"/>
                  </a:lnTo>
                  <a:lnTo>
                    <a:pt x="298" y="641"/>
                  </a:lnTo>
                  <a:lnTo>
                    <a:pt x="296" y="641"/>
                  </a:lnTo>
                  <a:close/>
                  <a:moveTo>
                    <a:pt x="269" y="1466"/>
                  </a:moveTo>
                  <a:lnTo>
                    <a:pt x="267" y="1466"/>
                  </a:lnTo>
                  <a:lnTo>
                    <a:pt x="269" y="1466"/>
                  </a:lnTo>
                  <a:close/>
                  <a:moveTo>
                    <a:pt x="233" y="1454"/>
                  </a:moveTo>
                  <a:lnTo>
                    <a:pt x="233" y="1456"/>
                  </a:lnTo>
                  <a:lnTo>
                    <a:pt x="233" y="1454"/>
                  </a:lnTo>
                  <a:close/>
                  <a:moveTo>
                    <a:pt x="539" y="1402"/>
                  </a:moveTo>
                  <a:lnTo>
                    <a:pt x="540" y="1402"/>
                  </a:lnTo>
                  <a:lnTo>
                    <a:pt x="539" y="1402"/>
                  </a:lnTo>
                  <a:close/>
                  <a:moveTo>
                    <a:pt x="212" y="1015"/>
                  </a:moveTo>
                  <a:lnTo>
                    <a:pt x="213" y="1015"/>
                  </a:lnTo>
                  <a:lnTo>
                    <a:pt x="212" y="1015"/>
                  </a:lnTo>
                  <a:close/>
                  <a:moveTo>
                    <a:pt x="530" y="1415"/>
                  </a:moveTo>
                  <a:lnTo>
                    <a:pt x="532" y="1415"/>
                  </a:lnTo>
                  <a:lnTo>
                    <a:pt x="532" y="1417"/>
                  </a:lnTo>
                  <a:lnTo>
                    <a:pt x="530" y="1417"/>
                  </a:lnTo>
                  <a:lnTo>
                    <a:pt x="530" y="1415"/>
                  </a:lnTo>
                  <a:close/>
                  <a:moveTo>
                    <a:pt x="321" y="1506"/>
                  </a:moveTo>
                  <a:lnTo>
                    <a:pt x="321" y="1508"/>
                  </a:lnTo>
                  <a:lnTo>
                    <a:pt x="321" y="1506"/>
                  </a:lnTo>
                  <a:close/>
                  <a:moveTo>
                    <a:pt x="202" y="1471"/>
                  </a:moveTo>
                  <a:lnTo>
                    <a:pt x="202" y="1472"/>
                  </a:lnTo>
                  <a:lnTo>
                    <a:pt x="202" y="1471"/>
                  </a:lnTo>
                  <a:close/>
                  <a:moveTo>
                    <a:pt x="249" y="1438"/>
                  </a:moveTo>
                  <a:lnTo>
                    <a:pt x="249" y="1436"/>
                  </a:lnTo>
                  <a:lnTo>
                    <a:pt x="249" y="1438"/>
                  </a:lnTo>
                  <a:close/>
                  <a:moveTo>
                    <a:pt x="356" y="742"/>
                  </a:moveTo>
                  <a:lnTo>
                    <a:pt x="356" y="744"/>
                  </a:lnTo>
                  <a:lnTo>
                    <a:pt x="356" y="742"/>
                  </a:lnTo>
                  <a:close/>
                  <a:moveTo>
                    <a:pt x="324" y="1506"/>
                  </a:moveTo>
                  <a:lnTo>
                    <a:pt x="322" y="1506"/>
                  </a:lnTo>
                  <a:lnTo>
                    <a:pt x="324" y="1506"/>
                  </a:lnTo>
                  <a:close/>
                  <a:moveTo>
                    <a:pt x="228" y="1427"/>
                  </a:moveTo>
                  <a:lnTo>
                    <a:pt x="230" y="1427"/>
                  </a:lnTo>
                  <a:lnTo>
                    <a:pt x="228" y="1427"/>
                  </a:lnTo>
                  <a:close/>
                  <a:moveTo>
                    <a:pt x="282" y="1458"/>
                  </a:moveTo>
                  <a:lnTo>
                    <a:pt x="282" y="1456"/>
                  </a:lnTo>
                  <a:lnTo>
                    <a:pt x="282" y="1458"/>
                  </a:lnTo>
                  <a:close/>
                  <a:moveTo>
                    <a:pt x="631" y="1362"/>
                  </a:moveTo>
                  <a:lnTo>
                    <a:pt x="633" y="1362"/>
                  </a:lnTo>
                  <a:lnTo>
                    <a:pt x="631" y="1362"/>
                  </a:lnTo>
                  <a:close/>
                  <a:moveTo>
                    <a:pt x="542" y="1415"/>
                  </a:moveTo>
                  <a:lnTo>
                    <a:pt x="542" y="1417"/>
                  </a:lnTo>
                  <a:lnTo>
                    <a:pt x="542" y="1415"/>
                  </a:lnTo>
                  <a:close/>
                  <a:moveTo>
                    <a:pt x="246" y="1500"/>
                  </a:moveTo>
                  <a:lnTo>
                    <a:pt x="247" y="1500"/>
                  </a:lnTo>
                  <a:lnTo>
                    <a:pt x="246" y="1500"/>
                  </a:lnTo>
                  <a:close/>
                  <a:moveTo>
                    <a:pt x="243" y="1350"/>
                  </a:moveTo>
                  <a:lnTo>
                    <a:pt x="243" y="1352"/>
                  </a:lnTo>
                  <a:lnTo>
                    <a:pt x="243" y="1350"/>
                  </a:lnTo>
                  <a:close/>
                  <a:moveTo>
                    <a:pt x="231" y="1430"/>
                  </a:moveTo>
                  <a:lnTo>
                    <a:pt x="231" y="1432"/>
                  </a:lnTo>
                  <a:lnTo>
                    <a:pt x="231" y="1430"/>
                  </a:lnTo>
                  <a:close/>
                  <a:moveTo>
                    <a:pt x="587" y="1370"/>
                  </a:moveTo>
                  <a:lnTo>
                    <a:pt x="586" y="1370"/>
                  </a:lnTo>
                  <a:lnTo>
                    <a:pt x="587" y="1370"/>
                  </a:lnTo>
                  <a:close/>
                  <a:moveTo>
                    <a:pt x="231" y="1505"/>
                  </a:moveTo>
                  <a:lnTo>
                    <a:pt x="233" y="1505"/>
                  </a:lnTo>
                  <a:lnTo>
                    <a:pt x="231" y="1505"/>
                  </a:lnTo>
                  <a:close/>
                  <a:moveTo>
                    <a:pt x="234" y="1492"/>
                  </a:moveTo>
                  <a:lnTo>
                    <a:pt x="234" y="1490"/>
                  </a:lnTo>
                  <a:lnTo>
                    <a:pt x="234" y="1492"/>
                  </a:lnTo>
                  <a:close/>
                  <a:moveTo>
                    <a:pt x="199" y="1511"/>
                  </a:moveTo>
                  <a:lnTo>
                    <a:pt x="200" y="1511"/>
                  </a:lnTo>
                  <a:lnTo>
                    <a:pt x="199" y="1511"/>
                  </a:lnTo>
                  <a:close/>
                  <a:moveTo>
                    <a:pt x="625" y="1381"/>
                  </a:moveTo>
                  <a:lnTo>
                    <a:pt x="626" y="1381"/>
                  </a:lnTo>
                  <a:lnTo>
                    <a:pt x="625" y="1381"/>
                  </a:lnTo>
                  <a:close/>
                  <a:moveTo>
                    <a:pt x="496" y="1438"/>
                  </a:moveTo>
                  <a:lnTo>
                    <a:pt x="498" y="1438"/>
                  </a:lnTo>
                  <a:lnTo>
                    <a:pt x="496" y="1438"/>
                  </a:lnTo>
                  <a:close/>
                  <a:moveTo>
                    <a:pt x="249" y="1397"/>
                  </a:moveTo>
                  <a:lnTo>
                    <a:pt x="249" y="1396"/>
                  </a:lnTo>
                  <a:lnTo>
                    <a:pt x="249" y="1397"/>
                  </a:lnTo>
                  <a:close/>
                  <a:moveTo>
                    <a:pt x="225" y="1370"/>
                  </a:moveTo>
                  <a:lnTo>
                    <a:pt x="226" y="1370"/>
                  </a:lnTo>
                  <a:lnTo>
                    <a:pt x="225" y="1370"/>
                  </a:lnTo>
                  <a:close/>
                  <a:moveTo>
                    <a:pt x="213" y="1002"/>
                  </a:moveTo>
                  <a:lnTo>
                    <a:pt x="215" y="1002"/>
                  </a:lnTo>
                  <a:lnTo>
                    <a:pt x="213" y="1002"/>
                  </a:lnTo>
                  <a:close/>
                  <a:moveTo>
                    <a:pt x="192" y="1062"/>
                  </a:moveTo>
                  <a:lnTo>
                    <a:pt x="194" y="1062"/>
                  </a:lnTo>
                  <a:lnTo>
                    <a:pt x="192" y="1062"/>
                  </a:lnTo>
                  <a:close/>
                  <a:moveTo>
                    <a:pt x="343" y="1497"/>
                  </a:moveTo>
                  <a:lnTo>
                    <a:pt x="343" y="1498"/>
                  </a:lnTo>
                  <a:lnTo>
                    <a:pt x="343" y="1497"/>
                  </a:lnTo>
                  <a:close/>
                  <a:moveTo>
                    <a:pt x="555" y="1397"/>
                  </a:moveTo>
                  <a:lnTo>
                    <a:pt x="555" y="1399"/>
                  </a:lnTo>
                  <a:lnTo>
                    <a:pt x="555" y="1397"/>
                  </a:lnTo>
                  <a:close/>
                  <a:moveTo>
                    <a:pt x="700" y="1342"/>
                  </a:moveTo>
                  <a:lnTo>
                    <a:pt x="700" y="1344"/>
                  </a:lnTo>
                  <a:lnTo>
                    <a:pt x="700" y="1342"/>
                  </a:lnTo>
                  <a:close/>
                  <a:moveTo>
                    <a:pt x="176" y="1085"/>
                  </a:moveTo>
                  <a:lnTo>
                    <a:pt x="176" y="1083"/>
                  </a:lnTo>
                  <a:lnTo>
                    <a:pt x="176" y="1085"/>
                  </a:lnTo>
                  <a:close/>
                  <a:moveTo>
                    <a:pt x="304" y="649"/>
                  </a:moveTo>
                  <a:lnTo>
                    <a:pt x="304" y="648"/>
                  </a:lnTo>
                  <a:lnTo>
                    <a:pt x="304" y="649"/>
                  </a:lnTo>
                  <a:close/>
                  <a:moveTo>
                    <a:pt x="189" y="1513"/>
                  </a:moveTo>
                  <a:lnTo>
                    <a:pt x="191" y="1513"/>
                  </a:lnTo>
                  <a:lnTo>
                    <a:pt x="189" y="1513"/>
                  </a:lnTo>
                  <a:close/>
                  <a:moveTo>
                    <a:pt x="356" y="1493"/>
                  </a:moveTo>
                  <a:lnTo>
                    <a:pt x="356" y="1492"/>
                  </a:lnTo>
                  <a:lnTo>
                    <a:pt x="358" y="1492"/>
                  </a:lnTo>
                  <a:lnTo>
                    <a:pt x="358" y="1493"/>
                  </a:lnTo>
                  <a:lnTo>
                    <a:pt x="356" y="1493"/>
                  </a:lnTo>
                  <a:close/>
                  <a:moveTo>
                    <a:pt x="249" y="1389"/>
                  </a:moveTo>
                  <a:lnTo>
                    <a:pt x="247" y="1389"/>
                  </a:lnTo>
                  <a:lnTo>
                    <a:pt x="249" y="1389"/>
                  </a:lnTo>
                  <a:close/>
                  <a:moveTo>
                    <a:pt x="241" y="1018"/>
                  </a:moveTo>
                  <a:lnTo>
                    <a:pt x="241" y="1020"/>
                  </a:lnTo>
                  <a:lnTo>
                    <a:pt x="241" y="1018"/>
                  </a:lnTo>
                  <a:close/>
                  <a:moveTo>
                    <a:pt x="356" y="1484"/>
                  </a:moveTo>
                  <a:lnTo>
                    <a:pt x="358" y="1484"/>
                  </a:lnTo>
                  <a:lnTo>
                    <a:pt x="356" y="1484"/>
                  </a:lnTo>
                  <a:close/>
                  <a:moveTo>
                    <a:pt x="280" y="1409"/>
                  </a:moveTo>
                  <a:lnTo>
                    <a:pt x="280" y="1410"/>
                  </a:lnTo>
                  <a:lnTo>
                    <a:pt x="280" y="1409"/>
                  </a:lnTo>
                  <a:close/>
                  <a:moveTo>
                    <a:pt x="285" y="1474"/>
                  </a:moveTo>
                  <a:lnTo>
                    <a:pt x="285" y="1475"/>
                  </a:lnTo>
                  <a:lnTo>
                    <a:pt x="285" y="1474"/>
                  </a:lnTo>
                  <a:close/>
                  <a:moveTo>
                    <a:pt x="270" y="609"/>
                  </a:moveTo>
                  <a:lnTo>
                    <a:pt x="272" y="610"/>
                  </a:lnTo>
                  <a:lnTo>
                    <a:pt x="270" y="610"/>
                  </a:lnTo>
                  <a:lnTo>
                    <a:pt x="270" y="609"/>
                  </a:lnTo>
                  <a:close/>
                  <a:moveTo>
                    <a:pt x="243" y="1414"/>
                  </a:moveTo>
                  <a:lnTo>
                    <a:pt x="244" y="1414"/>
                  </a:lnTo>
                  <a:lnTo>
                    <a:pt x="243" y="1414"/>
                  </a:lnTo>
                  <a:close/>
                  <a:moveTo>
                    <a:pt x="482" y="1462"/>
                  </a:moveTo>
                  <a:lnTo>
                    <a:pt x="483" y="1462"/>
                  </a:lnTo>
                  <a:lnTo>
                    <a:pt x="482" y="1462"/>
                  </a:lnTo>
                  <a:close/>
                  <a:moveTo>
                    <a:pt x="304" y="1472"/>
                  </a:moveTo>
                  <a:lnTo>
                    <a:pt x="304" y="1474"/>
                  </a:lnTo>
                  <a:lnTo>
                    <a:pt x="304" y="1472"/>
                  </a:lnTo>
                  <a:close/>
                  <a:moveTo>
                    <a:pt x="449" y="1467"/>
                  </a:moveTo>
                  <a:lnTo>
                    <a:pt x="451" y="1467"/>
                  </a:lnTo>
                  <a:lnTo>
                    <a:pt x="449" y="1467"/>
                  </a:lnTo>
                  <a:close/>
                  <a:moveTo>
                    <a:pt x="236" y="1292"/>
                  </a:moveTo>
                  <a:lnTo>
                    <a:pt x="236" y="1290"/>
                  </a:lnTo>
                  <a:lnTo>
                    <a:pt x="236" y="1292"/>
                  </a:lnTo>
                  <a:close/>
                  <a:moveTo>
                    <a:pt x="278" y="1484"/>
                  </a:moveTo>
                  <a:lnTo>
                    <a:pt x="280" y="1484"/>
                  </a:lnTo>
                  <a:lnTo>
                    <a:pt x="278" y="1484"/>
                  </a:lnTo>
                  <a:close/>
                  <a:moveTo>
                    <a:pt x="311" y="1501"/>
                  </a:moveTo>
                  <a:lnTo>
                    <a:pt x="311" y="1503"/>
                  </a:lnTo>
                  <a:lnTo>
                    <a:pt x="311" y="1501"/>
                  </a:lnTo>
                  <a:close/>
                  <a:moveTo>
                    <a:pt x="213" y="1175"/>
                  </a:moveTo>
                  <a:lnTo>
                    <a:pt x="213" y="1173"/>
                  </a:lnTo>
                  <a:lnTo>
                    <a:pt x="213" y="1175"/>
                  </a:lnTo>
                  <a:close/>
                  <a:moveTo>
                    <a:pt x="217" y="1501"/>
                  </a:moveTo>
                  <a:lnTo>
                    <a:pt x="217" y="1500"/>
                  </a:lnTo>
                  <a:lnTo>
                    <a:pt x="217" y="1501"/>
                  </a:lnTo>
                  <a:close/>
                  <a:moveTo>
                    <a:pt x="187" y="1446"/>
                  </a:moveTo>
                  <a:lnTo>
                    <a:pt x="189" y="1446"/>
                  </a:lnTo>
                  <a:lnTo>
                    <a:pt x="187" y="1446"/>
                  </a:lnTo>
                  <a:close/>
                  <a:moveTo>
                    <a:pt x="256" y="955"/>
                  </a:moveTo>
                  <a:lnTo>
                    <a:pt x="256" y="957"/>
                  </a:lnTo>
                  <a:lnTo>
                    <a:pt x="256" y="955"/>
                  </a:lnTo>
                  <a:close/>
                  <a:moveTo>
                    <a:pt x="379" y="1498"/>
                  </a:moveTo>
                  <a:lnTo>
                    <a:pt x="381" y="1498"/>
                  </a:lnTo>
                  <a:lnTo>
                    <a:pt x="379" y="1498"/>
                  </a:lnTo>
                  <a:close/>
                  <a:moveTo>
                    <a:pt x="337" y="1484"/>
                  </a:moveTo>
                  <a:lnTo>
                    <a:pt x="339" y="1484"/>
                  </a:lnTo>
                  <a:lnTo>
                    <a:pt x="337" y="1484"/>
                  </a:lnTo>
                  <a:close/>
                  <a:moveTo>
                    <a:pt x="239" y="1376"/>
                  </a:moveTo>
                  <a:lnTo>
                    <a:pt x="239" y="1378"/>
                  </a:lnTo>
                  <a:lnTo>
                    <a:pt x="239" y="1376"/>
                  </a:lnTo>
                  <a:close/>
                  <a:moveTo>
                    <a:pt x="176" y="1445"/>
                  </a:moveTo>
                  <a:lnTo>
                    <a:pt x="176" y="1443"/>
                  </a:lnTo>
                  <a:lnTo>
                    <a:pt x="176" y="1445"/>
                  </a:lnTo>
                  <a:close/>
                  <a:moveTo>
                    <a:pt x="308" y="1508"/>
                  </a:moveTo>
                  <a:lnTo>
                    <a:pt x="308" y="1510"/>
                  </a:lnTo>
                  <a:lnTo>
                    <a:pt x="308" y="1508"/>
                  </a:lnTo>
                  <a:close/>
                  <a:moveTo>
                    <a:pt x="340" y="1490"/>
                  </a:moveTo>
                  <a:lnTo>
                    <a:pt x="342" y="1490"/>
                  </a:lnTo>
                  <a:lnTo>
                    <a:pt x="340" y="1490"/>
                  </a:lnTo>
                  <a:close/>
                  <a:moveTo>
                    <a:pt x="197" y="1035"/>
                  </a:moveTo>
                  <a:lnTo>
                    <a:pt x="197" y="1033"/>
                  </a:lnTo>
                  <a:lnTo>
                    <a:pt x="197" y="1035"/>
                  </a:lnTo>
                  <a:close/>
                  <a:moveTo>
                    <a:pt x="369" y="1493"/>
                  </a:moveTo>
                  <a:lnTo>
                    <a:pt x="369" y="1495"/>
                  </a:lnTo>
                  <a:lnTo>
                    <a:pt x="369" y="1493"/>
                  </a:lnTo>
                  <a:close/>
                  <a:moveTo>
                    <a:pt x="270" y="1456"/>
                  </a:moveTo>
                  <a:lnTo>
                    <a:pt x="272" y="1456"/>
                  </a:lnTo>
                  <a:lnTo>
                    <a:pt x="270" y="1456"/>
                  </a:lnTo>
                  <a:close/>
                  <a:moveTo>
                    <a:pt x="353" y="1488"/>
                  </a:moveTo>
                  <a:lnTo>
                    <a:pt x="353" y="1487"/>
                  </a:lnTo>
                  <a:lnTo>
                    <a:pt x="353" y="1488"/>
                  </a:lnTo>
                  <a:close/>
                  <a:moveTo>
                    <a:pt x="335" y="792"/>
                  </a:moveTo>
                  <a:lnTo>
                    <a:pt x="334" y="792"/>
                  </a:lnTo>
                  <a:lnTo>
                    <a:pt x="335" y="792"/>
                  </a:lnTo>
                  <a:close/>
                  <a:moveTo>
                    <a:pt x="272" y="1440"/>
                  </a:moveTo>
                  <a:lnTo>
                    <a:pt x="270" y="1440"/>
                  </a:lnTo>
                  <a:lnTo>
                    <a:pt x="272" y="1440"/>
                  </a:lnTo>
                  <a:close/>
                  <a:moveTo>
                    <a:pt x="231" y="1440"/>
                  </a:moveTo>
                  <a:lnTo>
                    <a:pt x="231" y="1441"/>
                  </a:lnTo>
                  <a:lnTo>
                    <a:pt x="231" y="1440"/>
                  </a:lnTo>
                  <a:close/>
                  <a:moveTo>
                    <a:pt x="322" y="1503"/>
                  </a:moveTo>
                  <a:lnTo>
                    <a:pt x="324" y="1503"/>
                  </a:lnTo>
                  <a:lnTo>
                    <a:pt x="322" y="1503"/>
                  </a:lnTo>
                  <a:close/>
                  <a:moveTo>
                    <a:pt x="243" y="1378"/>
                  </a:moveTo>
                  <a:lnTo>
                    <a:pt x="243" y="1380"/>
                  </a:lnTo>
                  <a:lnTo>
                    <a:pt x="243" y="1378"/>
                  </a:lnTo>
                  <a:close/>
                  <a:moveTo>
                    <a:pt x="179" y="1516"/>
                  </a:moveTo>
                  <a:lnTo>
                    <a:pt x="178" y="1516"/>
                  </a:lnTo>
                  <a:lnTo>
                    <a:pt x="179" y="1516"/>
                  </a:lnTo>
                  <a:close/>
                  <a:moveTo>
                    <a:pt x="192" y="1482"/>
                  </a:moveTo>
                  <a:lnTo>
                    <a:pt x="194" y="1482"/>
                  </a:lnTo>
                  <a:lnTo>
                    <a:pt x="192" y="1482"/>
                  </a:lnTo>
                  <a:close/>
                  <a:moveTo>
                    <a:pt x="313" y="1508"/>
                  </a:moveTo>
                  <a:lnTo>
                    <a:pt x="314" y="1508"/>
                  </a:lnTo>
                  <a:lnTo>
                    <a:pt x="313" y="1508"/>
                  </a:lnTo>
                  <a:close/>
                  <a:moveTo>
                    <a:pt x="295" y="1445"/>
                  </a:moveTo>
                  <a:lnTo>
                    <a:pt x="295" y="1446"/>
                  </a:lnTo>
                  <a:lnTo>
                    <a:pt x="295" y="1445"/>
                  </a:lnTo>
                  <a:close/>
                  <a:moveTo>
                    <a:pt x="241" y="1347"/>
                  </a:moveTo>
                  <a:lnTo>
                    <a:pt x="241" y="1345"/>
                  </a:lnTo>
                  <a:lnTo>
                    <a:pt x="241" y="1347"/>
                  </a:lnTo>
                  <a:close/>
                  <a:moveTo>
                    <a:pt x="165" y="1048"/>
                  </a:moveTo>
                  <a:lnTo>
                    <a:pt x="165" y="1049"/>
                  </a:lnTo>
                  <a:lnTo>
                    <a:pt x="165" y="1048"/>
                  </a:lnTo>
                  <a:close/>
                  <a:moveTo>
                    <a:pt x="587" y="1366"/>
                  </a:moveTo>
                  <a:lnTo>
                    <a:pt x="587" y="1368"/>
                  </a:lnTo>
                  <a:lnTo>
                    <a:pt x="587" y="1366"/>
                  </a:lnTo>
                  <a:close/>
                  <a:moveTo>
                    <a:pt x="599" y="1362"/>
                  </a:moveTo>
                  <a:lnTo>
                    <a:pt x="599" y="1363"/>
                  </a:lnTo>
                  <a:lnTo>
                    <a:pt x="599" y="1362"/>
                  </a:lnTo>
                  <a:close/>
                  <a:moveTo>
                    <a:pt x="261" y="1492"/>
                  </a:moveTo>
                  <a:lnTo>
                    <a:pt x="261" y="1493"/>
                  </a:lnTo>
                  <a:lnTo>
                    <a:pt x="261" y="1492"/>
                  </a:lnTo>
                  <a:close/>
                  <a:moveTo>
                    <a:pt x="290" y="1471"/>
                  </a:moveTo>
                  <a:lnTo>
                    <a:pt x="291" y="1471"/>
                  </a:lnTo>
                  <a:lnTo>
                    <a:pt x="290" y="1471"/>
                  </a:lnTo>
                  <a:close/>
                  <a:moveTo>
                    <a:pt x="693" y="1331"/>
                  </a:moveTo>
                  <a:lnTo>
                    <a:pt x="693" y="1332"/>
                  </a:lnTo>
                  <a:lnTo>
                    <a:pt x="693" y="1331"/>
                  </a:lnTo>
                  <a:close/>
                  <a:moveTo>
                    <a:pt x="324" y="1467"/>
                  </a:moveTo>
                  <a:lnTo>
                    <a:pt x="324" y="1466"/>
                  </a:lnTo>
                  <a:lnTo>
                    <a:pt x="324" y="1467"/>
                  </a:lnTo>
                  <a:close/>
                  <a:moveTo>
                    <a:pt x="238" y="1316"/>
                  </a:moveTo>
                  <a:lnTo>
                    <a:pt x="239" y="1316"/>
                  </a:lnTo>
                  <a:lnTo>
                    <a:pt x="238" y="1316"/>
                  </a:lnTo>
                  <a:close/>
                  <a:moveTo>
                    <a:pt x="308" y="1513"/>
                  </a:moveTo>
                  <a:lnTo>
                    <a:pt x="308" y="1511"/>
                  </a:lnTo>
                  <a:lnTo>
                    <a:pt x="308" y="1513"/>
                  </a:lnTo>
                  <a:close/>
                  <a:moveTo>
                    <a:pt x="678" y="1365"/>
                  </a:moveTo>
                  <a:lnTo>
                    <a:pt x="680" y="1365"/>
                  </a:lnTo>
                  <a:lnTo>
                    <a:pt x="678" y="1365"/>
                  </a:lnTo>
                  <a:close/>
                  <a:moveTo>
                    <a:pt x="319" y="1458"/>
                  </a:moveTo>
                  <a:lnTo>
                    <a:pt x="321" y="1458"/>
                  </a:lnTo>
                  <a:lnTo>
                    <a:pt x="321" y="1459"/>
                  </a:lnTo>
                  <a:lnTo>
                    <a:pt x="319" y="1458"/>
                  </a:lnTo>
                  <a:close/>
                  <a:moveTo>
                    <a:pt x="267" y="1433"/>
                  </a:moveTo>
                  <a:lnTo>
                    <a:pt x="269" y="1433"/>
                  </a:lnTo>
                  <a:lnTo>
                    <a:pt x="267" y="1433"/>
                  </a:lnTo>
                  <a:close/>
                  <a:moveTo>
                    <a:pt x="171" y="1501"/>
                  </a:moveTo>
                  <a:lnTo>
                    <a:pt x="173" y="1501"/>
                  </a:lnTo>
                  <a:lnTo>
                    <a:pt x="171" y="1501"/>
                  </a:lnTo>
                  <a:close/>
                  <a:moveTo>
                    <a:pt x="269" y="609"/>
                  </a:moveTo>
                  <a:lnTo>
                    <a:pt x="270" y="609"/>
                  </a:lnTo>
                  <a:lnTo>
                    <a:pt x="269" y="609"/>
                  </a:lnTo>
                  <a:close/>
                  <a:moveTo>
                    <a:pt x="304" y="1441"/>
                  </a:moveTo>
                  <a:lnTo>
                    <a:pt x="306" y="1441"/>
                  </a:lnTo>
                  <a:lnTo>
                    <a:pt x="304" y="1441"/>
                  </a:lnTo>
                  <a:close/>
                  <a:moveTo>
                    <a:pt x="314" y="657"/>
                  </a:moveTo>
                  <a:lnTo>
                    <a:pt x="316" y="657"/>
                  </a:lnTo>
                  <a:lnTo>
                    <a:pt x="314" y="657"/>
                  </a:lnTo>
                  <a:close/>
                  <a:moveTo>
                    <a:pt x="300" y="643"/>
                  </a:moveTo>
                  <a:lnTo>
                    <a:pt x="300" y="641"/>
                  </a:lnTo>
                  <a:lnTo>
                    <a:pt x="300" y="643"/>
                  </a:lnTo>
                  <a:close/>
                  <a:moveTo>
                    <a:pt x="244" y="1414"/>
                  </a:moveTo>
                  <a:lnTo>
                    <a:pt x="244" y="1412"/>
                  </a:lnTo>
                  <a:lnTo>
                    <a:pt x="244" y="1414"/>
                  </a:lnTo>
                  <a:close/>
                  <a:moveTo>
                    <a:pt x="207" y="1479"/>
                  </a:moveTo>
                  <a:lnTo>
                    <a:pt x="207" y="1477"/>
                  </a:lnTo>
                  <a:lnTo>
                    <a:pt x="207" y="1479"/>
                  </a:lnTo>
                  <a:close/>
                  <a:moveTo>
                    <a:pt x="230" y="1381"/>
                  </a:moveTo>
                  <a:lnTo>
                    <a:pt x="230" y="1380"/>
                  </a:lnTo>
                  <a:lnTo>
                    <a:pt x="230" y="1381"/>
                  </a:lnTo>
                  <a:close/>
                  <a:moveTo>
                    <a:pt x="326" y="1498"/>
                  </a:moveTo>
                  <a:lnTo>
                    <a:pt x="327" y="1498"/>
                  </a:lnTo>
                  <a:lnTo>
                    <a:pt x="327" y="1500"/>
                  </a:lnTo>
                  <a:lnTo>
                    <a:pt x="327" y="1498"/>
                  </a:lnTo>
                  <a:lnTo>
                    <a:pt x="326" y="1498"/>
                  </a:lnTo>
                  <a:close/>
                  <a:moveTo>
                    <a:pt x="278" y="1488"/>
                  </a:moveTo>
                  <a:lnTo>
                    <a:pt x="280" y="1488"/>
                  </a:lnTo>
                  <a:lnTo>
                    <a:pt x="278" y="1488"/>
                  </a:lnTo>
                  <a:close/>
                  <a:moveTo>
                    <a:pt x="213" y="1449"/>
                  </a:moveTo>
                  <a:lnTo>
                    <a:pt x="213" y="1448"/>
                  </a:lnTo>
                  <a:lnTo>
                    <a:pt x="213" y="1449"/>
                  </a:lnTo>
                  <a:close/>
                  <a:moveTo>
                    <a:pt x="496" y="1428"/>
                  </a:moveTo>
                  <a:lnTo>
                    <a:pt x="496" y="1430"/>
                  </a:lnTo>
                  <a:lnTo>
                    <a:pt x="496" y="1428"/>
                  </a:lnTo>
                  <a:close/>
                  <a:moveTo>
                    <a:pt x="417" y="1487"/>
                  </a:moveTo>
                  <a:lnTo>
                    <a:pt x="417" y="1485"/>
                  </a:lnTo>
                  <a:lnTo>
                    <a:pt x="417" y="1487"/>
                  </a:lnTo>
                  <a:close/>
                  <a:moveTo>
                    <a:pt x="223" y="1454"/>
                  </a:moveTo>
                  <a:lnTo>
                    <a:pt x="223" y="1456"/>
                  </a:lnTo>
                  <a:lnTo>
                    <a:pt x="223" y="1454"/>
                  </a:lnTo>
                  <a:close/>
                  <a:moveTo>
                    <a:pt x="195" y="1044"/>
                  </a:moveTo>
                  <a:lnTo>
                    <a:pt x="195" y="1043"/>
                  </a:lnTo>
                  <a:lnTo>
                    <a:pt x="195" y="1044"/>
                  </a:lnTo>
                  <a:close/>
                  <a:moveTo>
                    <a:pt x="334" y="652"/>
                  </a:moveTo>
                  <a:lnTo>
                    <a:pt x="334" y="651"/>
                  </a:lnTo>
                  <a:lnTo>
                    <a:pt x="334" y="652"/>
                  </a:lnTo>
                  <a:close/>
                  <a:moveTo>
                    <a:pt x="197" y="1443"/>
                  </a:moveTo>
                  <a:lnTo>
                    <a:pt x="197" y="1445"/>
                  </a:lnTo>
                  <a:lnTo>
                    <a:pt x="197" y="1443"/>
                  </a:lnTo>
                  <a:close/>
                  <a:moveTo>
                    <a:pt x="213" y="1511"/>
                  </a:moveTo>
                  <a:lnTo>
                    <a:pt x="213" y="1510"/>
                  </a:lnTo>
                  <a:lnTo>
                    <a:pt x="213" y="1511"/>
                  </a:lnTo>
                  <a:close/>
                  <a:moveTo>
                    <a:pt x="251" y="1510"/>
                  </a:moveTo>
                  <a:lnTo>
                    <a:pt x="252" y="1510"/>
                  </a:lnTo>
                  <a:lnTo>
                    <a:pt x="251" y="1510"/>
                  </a:lnTo>
                  <a:close/>
                  <a:moveTo>
                    <a:pt x="327" y="1459"/>
                  </a:moveTo>
                  <a:lnTo>
                    <a:pt x="329" y="1459"/>
                  </a:lnTo>
                  <a:lnTo>
                    <a:pt x="327" y="1459"/>
                  </a:lnTo>
                  <a:close/>
                  <a:moveTo>
                    <a:pt x="191" y="1497"/>
                  </a:moveTo>
                  <a:lnTo>
                    <a:pt x="192" y="1497"/>
                  </a:lnTo>
                  <a:lnTo>
                    <a:pt x="191" y="1497"/>
                  </a:lnTo>
                  <a:close/>
                  <a:moveTo>
                    <a:pt x="205" y="1449"/>
                  </a:moveTo>
                  <a:lnTo>
                    <a:pt x="205" y="1448"/>
                  </a:lnTo>
                  <a:lnTo>
                    <a:pt x="205" y="1449"/>
                  </a:lnTo>
                  <a:close/>
                  <a:moveTo>
                    <a:pt x="223" y="1466"/>
                  </a:moveTo>
                  <a:lnTo>
                    <a:pt x="223" y="1467"/>
                  </a:lnTo>
                  <a:lnTo>
                    <a:pt x="223" y="1466"/>
                  </a:lnTo>
                  <a:close/>
                  <a:moveTo>
                    <a:pt x="259" y="1469"/>
                  </a:moveTo>
                  <a:lnTo>
                    <a:pt x="261" y="1471"/>
                  </a:lnTo>
                  <a:lnTo>
                    <a:pt x="259" y="1471"/>
                  </a:lnTo>
                  <a:lnTo>
                    <a:pt x="259" y="1469"/>
                  </a:lnTo>
                  <a:close/>
                  <a:moveTo>
                    <a:pt x="591" y="1393"/>
                  </a:moveTo>
                  <a:lnTo>
                    <a:pt x="592" y="1393"/>
                  </a:lnTo>
                  <a:lnTo>
                    <a:pt x="591" y="1394"/>
                  </a:lnTo>
                  <a:lnTo>
                    <a:pt x="591" y="1393"/>
                  </a:lnTo>
                  <a:close/>
                  <a:moveTo>
                    <a:pt x="202" y="1051"/>
                  </a:moveTo>
                  <a:lnTo>
                    <a:pt x="202" y="1049"/>
                  </a:lnTo>
                  <a:lnTo>
                    <a:pt x="202" y="1051"/>
                  </a:lnTo>
                  <a:close/>
                  <a:moveTo>
                    <a:pt x="382" y="1487"/>
                  </a:moveTo>
                  <a:lnTo>
                    <a:pt x="384" y="1487"/>
                  </a:lnTo>
                  <a:lnTo>
                    <a:pt x="382" y="1487"/>
                  </a:lnTo>
                  <a:close/>
                  <a:moveTo>
                    <a:pt x="360" y="1495"/>
                  </a:moveTo>
                  <a:lnTo>
                    <a:pt x="361" y="1495"/>
                  </a:lnTo>
                  <a:lnTo>
                    <a:pt x="360" y="1495"/>
                  </a:lnTo>
                  <a:close/>
                  <a:moveTo>
                    <a:pt x="236" y="1384"/>
                  </a:moveTo>
                  <a:lnTo>
                    <a:pt x="238" y="1384"/>
                  </a:lnTo>
                  <a:lnTo>
                    <a:pt x="236" y="1384"/>
                  </a:lnTo>
                  <a:close/>
                  <a:moveTo>
                    <a:pt x="467" y="1454"/>
                  </a:moveTo>
                  <a:lnTo>
                    <a:pt x="467" y="1453"/>
                  </a:lnTo>
                  <a:lnTo>
                    <a:pt x="467" y="1454"/>
                  </a:lnTo>
                  <a:close/>
                  <a:moveTo>
                    <a:pt x="246" y="1495"/>
                  </a:moveTo>
                  <a:lnTo>
                    <a:pt x="247" y="1495"/>
                  </a:lnTo>
                  <a:lnTo>
                    <a:pt x="246" y="1495"/>
                  </a:lnTo>
                  <a:close/>
                  <a:moveTo>
                    <a:pt x="332" y="1464"/>
                  </a:moveTo>
                  <a:lnTo>
                    <a:pt x="334" y="1464"/>
                  </a:lnTo>
                  <a:lnTo>
                    <a:pt x="332" y="1464"/>
                  </a:lnTo>
                  <a:close/>
                  <a:moveTo>
                    <a:pt x="226" y="1487"/>
                  </a:moveTo>
                  <a:lnTo>
                    <a:pt x="226" y="1485"/>
                  </a:lnTo>
                  <a:lnTo>
                    <a:pt x="226" y="1487"/>
                  </a:lnTo>
                  <a:close/>
                  <a:moveTo>
                    <a:pt x="327" y="1492"/>
                  </a:moveTo>
                  <a:lnTo>
                    <a:pt x="329" y="1492"/>
                  </a:lnTo>
                  <a:lnTo>
                    <a:pt x="327" y="1492"/>
                  </a:lnTo>
                  <a:close/>
                  <a:moveTo>
                    <a:pt x="326" y="1505"/>
                  </a:moveTo>
                  <a:lnTo>
                    <a:pt x="326" y="1503"/>
                  </a:lnTo>
                  <a:lnTo>
                    <a:pt x="326" y="1505"/>
                  </a:lnTo>
                  <a:close/>
                  <a:moveTo>
                    <a:pt x="238" y="1497"/>
                  </a:moveTo>
                  <a:lnTo>
                    <a:pt x="239" y="1497"/>
                  </a:lnTo>
                  <a:lnTo>
                    <a:pt x="239" y="1498"/>
                  </a:lnTo>
                  <a:lnTo>
                    <a:pt x="238" y="1497"/>
                  </a:lnTo>
                  <a:close/>
                  <a:moveTo>
                    <a:pt x="365" y="1497"/>
                  </a:moveTo>
                  <a:lnTo>
                    <a:pt x="366" y="1497"/>
                  </a:lnTo>
                  <a:lnTo>
                    <a:pt x="365" y="1497"/>
                  </a:lnTo>
                  <a:close/>
                  <a:moveTo>
                    <a:pt x="451" y="1471"/>
                  </a:moveTo>
                  <a:lnTo>
                    <a:pt x="452" y="1471"/>
                  </a:lnTo>
                  <a:lnTo>
                    <a:pt x="451" y="1471"/>
                  </a:lnTo>
                  <a:close/>
                  <a:moveTo>
                    <a:pt x="348" y="1485"/>
                  </a:moveTo>
                  <a:lnTo>
                    <a:pt x="350" y="1485"/>
                  </a:lnTo>
                  <a:lnTo>
                    <a:pt x="348" y="1485"/>
                  </a:lnTo>
                  <a:close/>
                  <a:moveTo>
                    <a:pt x="342" y="1479"/>
                  </a:moveTo>
                  <a:lnTo>
                    <a:pt x="343" y="1479"/>
                  </a:lnTo>
                  <a:lnTo>
                    <a:pt x="343" y="1480"/>
                  </a:lnTo>
                  <a:lnTo>
                    <a:pt x="342" y="1479"/>
                  </a:lnTo>
                  <a:close/>
                  <a:moveTo>
                    <a:pt x="579" y="1383"/>
                  </a:moveTo>
                  <a:lnTo>
                    <a:pt x="579" y="1381"/>
                  </a:lnTo>
                  <a:lnTo>
                    <a:pt x="579" y="1383"/>
                  </a:lnTo>
                  <a:close/>
                  <a:moveTo>
                    <a:pt x="161" y="1498"/>
                  </a:moveTo>
                  <a:lnTo>
                    <a:pt x="163" y="1498"/>
                  </a:lnTo>
                  <a:lnTo>
                    <a:pt x="161" y="1498"/>
                  </a:lnTo>
                  <a:close/>
                  <a:moveTo>
                    <a:pt x="422" y="1482"/>
                  </a:moveTo>
                  <a:lnTo>
                    <a:pt x="423" y="1480"/>
                  </a:lnTo>
                  <a:lnTo>
                    <a:pt x="423" y="1482"/>
                  </a:lnTo>
                  <a:lnTo>
                    <a:pt x="422" y="1482"/>
                  </a:lnTo>
                  <a:close/>
                  <a:moveTo>
                    <a:pt x="239" y="1451"/>
                  </a:moveTo>
                  <a:lnTo>
                    <a:pt x="239" y="1449"/>
                  </a:lnTo>
                  <a:lnTo>
                    <a:pt x="239" y="1451"/>
                  </a:lnTo>
                  <a:close/>
                  <a:moveTo>
                    <a:pt x="410" y="1485"/>
                  </a:moveTo>
                  <a:lnTo>
                    <a:pt x="412" y="1485"/>
                  </a:lnTo>
                  <a:lnTo>
                    <a:pt x="410" y="1485"/>
                  </a:lnTo>
                  <a:close/>
                  <a:moveTo>
                    <a:pt x="256" y="1467"/>
                  </a:moveTo>
                  <a:lnTo>
                    <a:pt x="257" y="1467"/>
                  </a:lnTo>
                  <a:lnTo>
                    <a:pt x="256" y="1467"/>
                  </a:lnTo>
                  <a:close/>
                  <a:moveTo>
                    <a:pt x="234" y="1288"/>
                  </a:moveTo>
                  <a:lnTo>
                    <a:pt x="234" y="1290"/>
                  </a:lnTo>
                  <a:lnTo>
                    <a:pt x="234" y="1288"/>
                  </a:lnTo>
                  <a:close/>
                  <a:moveTo>
                    <a:pt x="306" y="649"/>
                  </a:moveTo>
                  <a:lnTo>
                    <a:pt x="306" y="648"/>
                  </a:lnTo>
                  <a:lnTo>
                    <a:pt x="306" y="649"/>
                  </a:lnTo>
                  <a:close/>
                  <a:moveTo>
                    <a:pt x="225" y="1475"/>
                  </a:moveTo>
                  <a:lnTo>
                    <a:pt x="225" y="1477"/>
                  </a:lnTo>
                  <a:lnTo>
                    <a:pt x="225" y="1475"/>
                  </a:lnTo>
                  <a:close/>
                  <a:moveTo>
                    <a:pt x="646" y="1347"/>
                  </a:moveTo>
                  <a:lnTo>
                    <a:pt x="648" y="1347"/>
                  </a:lnTo>
                  <a:lnTo>
                    <a:pt x="646" y="1347"/>
                  </a:lnTo>
                  <a:close/>
                  <a:moveTo>
                    <a:pt x="274" y="1415"/>
                  </a:moveTo>
                  <a:lnTo>
                    <a:pt x="272" y="1415"/>
                  </a:lnTo>
                  <a:lnTo>
                    <a:pt x="274" y="1415"/>
                  </a:lnTo>
                  <a:close/>
                  <a:moveTo>
                    <a:pt x="173" y="1074"/>
                  </a:moveTo>
                  <a:lnTo>
                    <a:pt x="171" y="1074"/>
                  </a:lnTo>
                  <a:lnTo>
                    <a:pt x="173" y="1074"/>
                  </a:lnTo>
                  <a:close/>
                  <a:moveTo>
                    <a:pt x="470" y="1451"/>
                  </a:moveTo>
                  <a:lnTo>
                    <a:pt x="472" y="1451"/>
                  </a:lnTo>
                  <a:lnTo>
                    <a:pt x="470" y="1451"/>
                  </a:lnTo>
                  <a:close/>
                  <a:moveTo>
                    <a:pt x="236" y="1490"/>
                  </a:moveTo>
                  <a:lnTo>
                    <a:pt x="236" y="1492"/>
                  </a:lnTo>
                  <a:lnTo>
                    <a:pt x="236" y="1490"/>
                  </a:lnTo>
                  <a:close/>
                  <a:moveTo>
                    <a:pt x="225" y="1454"/>
                  </a:moveTo>
                  <a:lnTo>
                    <a:pt x="226" y="1454"/>
                  </a:lnTo>
                  <a:lnTo>
                    <a:pt x="225" y="1454"/>
                  </a:lnTo>
                  <a:close/>
                  <a:moveTo>
                    <a:pt x="199" y="1015"/>
                  </a:moveTo>
                  <a:lnTo>
                    <a:pt x="200" y="1015"/>
                  </a:lnTo>
                  <a:lnTo>
                    <a:pt x="199" y="1015"/>
                  </a:lnTo>
                  <a:close/>
                  <a:moveTo>
                    <a:pt x="204" y="1505"/>
                  </a:moveTo>
                  <a:lnTo>
                    <a:pt x="205" y="1505"/>
                  </a:lnTo>
                  <a:lnTo>
                    <a:pt x="204" y="1505"/>
                  </a:lnTo>
                  <a:close/>
                  <a:moveTo>
                    <a:pt x="391" y="1487"/>
                  </a:moveTo>
                  <a:lnTo>
                    <a:pt x="391" y="1485"/>
                  </a:lnTo>
                  <a:lnTo>
                    <a:pt x="391" y="1487"/>
                  </a:lnTo>
                  <a:close/>
                  <a:moveTo>
                    <a:pt x="334" y="1503"/>
                  </a:moveTo>
                  <a:lnTo>
                    <a:pt x="335" y="1503"/>
                  </a:lnTo>
                  <a:lnTo>
                    <a:pt x="334" y="1503"/>
                  </a:lnTo>
                  <a:close/>
                  <a:moveTo>
                    <a:pt x="145" y="1461"/>
                  </a:moveTo>
                  <a:lnTo>
                    <a:pt x="147" y="1461"/>
                  </a:lnTo>
                  <a:lnTo>
                    <a:pt x="145" y="1461"/>
                  </a:lnTo>
                  <a:close/>
                  <a:moveTo>
                    <a:pt x="500" y="1446"/>
                  </a:moveTo>
                  <a:lnTo>
                    <a:pt x="498" y="1446"/>
                  </a:lnTo>
                  <a:lnTo>
                    <a:pt x="500" y="1446"/>
                  </a:lnTo>
                  <a:close/>
                  <a:moveTo>
                    <a:pt x="189" y="1061"/>
                  </a:moveTo>
                  <a:lnTo>
                    <a:pt x="189" y="1059"/>
                  </a:lnTo>
                  <a:lnTo>
                    <a:pt x="191" y="1059"/>
                  </a:lnTo>
                  <a:lnTo>
                    <a:pt x="191" y="1061"/>
                  </a:lnTo>
                  <a:lnTo>
                    <a:pt x="189" y="1061"/>
                  </a:lnTo>
                  <a:close/>
                  <a:moveTo>
                    <a:pt x="220" y="1495"/>
                  </a:moveTo>
                  <a:lnTo>
                    <a:pt x="221" y="1495"/>
                  </a:lnTo>
                  <a:lnTo>
                    <a:pt x="220" y="1495"/>
                  </a:lnTo>
                  <a:close/>
                  <a:moveTo>
                    <a:pt x="495" y="1443"/>
                  </a:moveTo>
                  <a:lnTo>
                    <a:pt x="495" y="1441"/>
                  </a:lnTo>
                  <a:lnTo>
                    <a:pt x="495" y="1443"/>
                  </a:lnTo>
                  <a:close/>
                  <a:moveTo>
                    <a:pt x="334" y="1503"/>
                  </a:moveTo>
                  <a:lnTo>
                    <a:pt x="332" y="1503"/>
                  </a:lnTo>
                  <a:lnTo>
                    <a:pt x="334" y="1503"/>
                  </a:lnTo>
                  <a:close/>
                  <a:moveTo>
                    <a:pt x="392" y="1462"/>
                  </a:moveTo>
                  <a:lnTo>
                    <a:pt x="392" y="1461"/>
                  </a:lnTo>
                  <a:lnTo>
                    <a:pt x="392" y="1462"/>
                  </a:lnTo>
                  <a:close/>
                  <a:moveTo>
                    <a:pt x="358" y="1495"/>
                  </a:moveTo>
                  <a:lnTo>
                    <a:pt x="360" y="1495"/>
                  </a:lnTo>
                  <a:lnTo>
                    <a:pt x="358" y="1495"/>
                  </a:lnTo>
                  <a:close/>
                  <a:moveTo>
                    <a:pt x="189" y="1462"/>
                  </a:moveTo>
                  <a:lnTo>
                    <a:pt x="187" y="1462"/>
                  </a:lnTo>
                  <a:lnTo>
                    <a:pt x="189" y="1462"/>
                  </a:lnTo>
                  <a:close/>
                  <a:moveTo>
                    <a:pt x="422" y="1490"/>
                  </a:moveTo>
                  <a:lnTo>
                    <a:pt x="423" y="1490"/>
                  </a:lnTo>
                  <a:lnTo>
                    <a:pt x="422" y="1490"/>
                  </a:lnTo>
                  <a:close/>
                  <a:moveTo>
                    <a:pt x="334" y="1505"/>
                  </a:moveTo>
                  <a:lnTo>
                    <a:pt x="334" y="1503"/>
                  </a:lnTo>
                  <a:lnTo>
                    <a:pt x="334" y="1505"/>
                  </a:lnTo>
                  <a:close/>
                  <a:moveTo>
                    <a:pt x="665" y="1365"/>
                  </a:moveTo>
                  <a:lnTo>
                    <a:pt x="667" y="1365"/>
                  </a:lnTo>
                  <a:lnTo>
                    <a:pt x="665" y="1365"/>
                  </a:lnTo>
                  <a:close/>
                  <a:moveTo>
                    <a:pt x="339" y="792"/>
                  </a:moveTo>
                  <a:lnTo>
                    <a:pt x="339" y="794"/>
                  </a:lnTo>
                  <a:lnTo>
                    <a:pt x="339" y="792"/>
                  </a:lnTo>
                  <a:close/>
                  <a:moveTo>
                    <a:pt x="202" y="1498"/>
                  </a:moveTo>
                  <a:lnTo>
                    <a:pt x="204" y="1498"/>
                  </a:lnTo>
                  <a:lnTo>
                    <a:pt x="202" y="1498"/>
                  </a:lnTo>
                  <a:close/>
                  <a:moveTo>
                    <a:pt x="430" y="1492"/>
                  </a:moveTo>
                  <a:lnTo>
                    <a:pt x="431" y="1492"/>
                  </a:lnTo>
                  <a:lnTo>
                    <a:pt x="430" y="1492"/>
                  </a:lnTo>
                  <a:close/>
                  <a:moveTo>
                    <a:pt x="343" y="1482"/>
                  </a:moveTo>
                  <a:lnTo>
                    <a:pt x="343" y="1480"/>
                  </a:lnTo>
                  <a:lnTo>
                    <a:pt x="343" y="1482"/>
                  </a:lnTo>
                  <a:close/>
                  <a:moveTo>
                    <a:pt x="376" y="1497"/>
                  </a:moveTo>
                  <a:lnTo>
                    <a:pt x="376" y="1495"/>
                  </a:lnTo>
                  <a:lnTo>
                    <a:pt x="378" y="1497"/>
                  </a:lnTo>
                  <a:lnTo>
                    <a:pt x="376" y="1497"/>
                  </a:lnTo>
                  <a:close/>
                  <a:moveTo>
                    <a:pt x="194" y="1124"/>
                  </a:moveTo>
                  <a:lnTo>
                    <a:pt x="194" y="1126"/>
                  </a:lnTo>
                  <a:lnTo>
                    <a:pt x="194" y="1124"/>
                  </a:lnTo>
                  <a:close/>
                  <a:moveTo>
                    <a:pt x="244" y="1301"/>
                  </a:moveTo>
                  <a:lnTo>
                    <a:pt x="244" y="1300"/>
                  </a:lnTo>
                  <a:lnTo>
                    <a:pt x="244" y="1301"/>
                  </a:lnTo>
                  <a:close/>
                  <a:moveTo>
                    <a:pt x="300" y="1474"/>
                  </a:moveTo>
                  <a:lnTo>
                    <a:pt x="301" y="1474"/>
                  </a:lnTo>
                  <a:lnTo>
                    <a:pt x="300" y="1474"/>
                  </a:lnTo>
                  <a:close/>
                  <a:moveTo>
                    <a:pt x="247" y="1506"/>
                  </a:moveTo>
                  <a:lnTo>
                    <a:pt x="249" y="1506"/>
                  </a:lnTo>
                  <a:lnTo>
                    <a:pt x="247" y="1506"/>
                  </a:lnTo>
                  <a:close/>
                  <a:moveTo>
                    <a:pt x="270" y="1523"/>
                  </a:moveTo>
                  <a:lnTo>
                    <a:pt x="272" y="1523"/>
                  </a:lnTo>
                  <a:lnTo>
                    <a:pt x="270" y="1524"/>
                  </a:lnTo>
                  <a:lnTo>
                    <a:pt x="270" y="1523"/>
                  </a:lnTo>
                  <a:close/>
                  <a:moveTo>
                    <a:pt x="278" y="1521"/>
                  </a:moveTo>
                  <a:lnTo>
                    <a:pt x="278" y="1519"/>
                  </a:lnTo>
                  <a:lnTo>
                    <a:pt x="278" y="1521"/>
                  </a:lnTo>
                  <a:close/>
                  <a:moveTo>
                    <a:pt x="300" y="1510"/>
                  </a:moveTo>
                  <a:lnTo>
                    <a:pt x="301" y="1510"/>
                  </a:lnTo>
                  <a:lnTo>
                    <a:pt x="300" y="1510"/>
                  </a:lnTo>
                  <a:close/>
                  <a:moveTo>
                    <a:pt x="212" y="1002"/>
                  </a:moveTo>
                  <a:lnTo>
                    <a:pt x="213" y="1002"/>
                  </a:lnTo>
                  <a:lnTo>
                    <a:pt x="212" y="1002"/>
                  </a:lnTo>
                  <a:close/>
                  <a:moveTo>
                    <a:pt x="213" y="1510"/>
                  </a:moveTo>
                  <a:lnTo>
                    <a:pt x="213" y="1511"/>
                  </a:lnTo>
                  <a:lnTo>
                    <a:pt x="213" y="1510"/>
                  </a:lnTo>
                  <a:close/>
                  <a:moveTo>
                    <a:pt x="329" y="1482"/>
                  </a:moveTo>
                  <a:lnTo>
                    <a:pt x="329" y="1484"/>
                  </a:lnTo>
                  <a:lnTo>
                    <a:pt x="329" y="1482"/>
                  </a:lnTo>
                  <a:close/>
                  <a:moveTo>
                    <a:pt x="295" y="1472"/>
                  </a:moveTo>
                  <a:lnTo>
                    <a:pt x="295" y="1471"/>
                  </a:lnTo>
                  <a:lnTo>
                    <a:pt x="295" y="1472"/>
                  </a:lnTo>
                  <a:close/>
                  <a:moveTo>
                    <a:pt x="696" y="1331"/>
                  </a:moveTo>
                  <a:lnTo>
                    <a:pt x="698" y="1331"/>
                  </a:lnTo>
                  <a:lnTo>
                    <a:pt x="696" y="1331"/>
                  </a:lnTo>
                  <a:close/>
                  <a:moveTo>
                    <a:pt x="119" y="1482"/>
                  </a:moveTo>
                  <a:lnTo>
                    <a:pt x="119" y="1484"/>
                  </a:lnTo>
                  <a:lnTo>
                    <a:pt x="119" y="1482"/>
                  </a:lnTo>
                  <a:close/>
                  <a:moveTo>
                    <a:pt x="326" y="1461"/>
                  </a:moveTo>
                  <a:lnTo>
                    <a:pt x="324" y="1461"/>
                  </a:lnTo>
                  <a:lnTo>
                    <a:pt x="326" y="1461"/>
                  </a:lnTo>
                  <a:close/>
                  <a:moveTo>
                    <a:pt x="337" y="1474"/>
                  </a:moveTo>
                  <a:lnTo>
                    <a:pt x="339" y="1474"/>
                  </a:lnTo>
                  <a:lnTo>
                    <a:pt x="337" y="1474"/>
                  </a:lnTo>
                  <a:close/>
                  <a:moveTo>
                    <a:pt x="218" y="1479"/>
                  </a:moveTo>
                  <a:lnTo>
                    <a:pt x="220" y="1480"/>
                  </a:lnTo>
                  <a:lnTo>
                    <a:pt x="218" y="1480"/>
                  </a:lnTo>
                  <a:lnTo>
                    <a:pt x="218" y="1479"/>
                  </a:lnTo>
                  <a:close/>
                  <a:moveTo>
                    <a:pt x="213" y="1448"/>
                  </a:moveTo>
                  <a:lnTo>
                    <a:pt x="213" y="1449"/>
                  </a:lnTo>
                  <a:lnTo>
                    <a:pt x="213" y="1448"/>
                  </a:lnTo>
                  <a:close/>
                  <a:moveTo>
                    <a:pt x="295" y="1451"/>
                  </a:moveTo>
                  <a:lnTo>
                    <a:pt x="296" y="1451"/>
                  </a:lnTo>
                  <a:lnTo>
                    <a:pt x="295" y="1451"/>
                  </a:lnTo>
                  <a:close/>
                  <a:moveTo>
                    <a:pt x="490" y="1461"/>
                  </a:moveTo>
                  <a:lnTo>
                    <a:pt x="490" y="1459"/>
                  </a:lnTo>
                  <a:lnTo>
                    <a:pt x="490" y="1461"/>
                  </a:lnTo>
                  <a:close/>
                  <a:moveTo>
                    <a:pt x="230" y="1441"/>
                  </a:moveTo>
                  <a:lnTo>
                    <a:pt x="230" y="1443"/>
                  </a:lnTo>
                  <a:lnTo>
                    <a:pt x="231" y="1443"/>
                  </a:lnTo>
                  <a:lnTo>
                    <a:pt x="230" y="1441"/>
                  </a:lnTo>
                  <a:close/>
                  <a:moveTo>
                    <a:pt x="251" y="1501"/>
                  </a:moveTo>
                  <a:lnTo>
                    <a:pt x="251" y="1503"/>
                  </a:lnTo>
                  <a:lnTo>
                    <a:pt x="251" y="1501"/>
                  </a:lnTo>
                  <a:close/>
                  <a:moveTo>
                    <a:pt x="220" y="1022"/>
                  </a:moveTo>
                  <a:lnTo>
                    <a:pt x="220" y="1023"/>
                  </a:lnTo>
                  <a:lnTo>
                    <a:pt x="220" y="1022"/>
                  </a:lnTo>
                  <a:close/>
                  <a:moveTo>
                    <a:pt x="454" y="1461"/>
                  </a:moveTo>
                  <a:lnTo>
                    <a:pt x="456" y="1461"/>
                  </a:lnTo>
                  <a:lnTo>
                    <a:pt x="454" y="1461"/>
                  </a:lnTo>
                  <a:close/>
                  <a:moveTo>
                    <a:pt x="584" y="1396"/>
                  </a:moveTo>
                  <a:lnTo>
                    <a:pt x="586" y="1394"/>
                  </a:lnTo>
                  <a:lnTo>
                    <a:pt x="586" y="1396"/>
                  </a:lnTo>
                  <a:lnTo>
                    <a:pt x="584" y="1396"/>
                  </a:lnTo>
                  <a:close/>
                  <a:moveTo>
                    <a:pt x="241" y="1438"/>
                  </a:moveTo>
                  <a:lnTo>
                    <a:pt x="241" y="1440"/>
                  </a:lnTo>
                  <a:lnTo>
                    <a:pt x="241" y="1438"/>
                  </a:lnTo>
                  <a:close/>
                  <a:moveTo>
                    <a:pt x="280" y="1516"/>
                  </a:moveTo>
                  <a:lnTo>
                    <a:pt x="282" y="1516"/>
                  </a:lnTo>
                  <a:lnTo>
                    <a:pt x="280" y="1516"/>
                  </a:lnTo>
                  <a:close/>
                  <a:moveTo>
                    <a:pt x="422" y="1488"/>
                  </a:moveTo>
                  <a:lnTo>
                    <a:pt x="423" y="1488"/>
                  </a:lnTo>
                  <a:lnTo>
                    <a:pt x="422" y="1488"/>
                  </a:lnTo>
                  <a:close/>
                  <a:moveTo>
                    <a:pt x="342" y="1508"/>
                  </a:moveTo>
                  <a:lnTo>
                    <a:pt x="343" y="1508"/>
                  </a:lnTo>
                  <a:lnTo>
                    <a:pt x="342" y="1508"/>
                  </a:lnTo>
                  <a:close/>
                  <a:moveTo>
                    <a:pt x="386" y="1500"/>
                  </a:moveTo>
                  <a:lnTo>
                    <a:pt x="387" y="1500"/>
                  </a:lnTo>
                  <a:lnTo>
                    <a:pt x="386" y="1500"/>
                  </a:lnTo>
                  <a:close/>
                  <a:moveTo>
                    <a:pt x="236" y="1448"/>
                  </a:moveTo>
                  <a:lnTo>
                    <a:pt x="238" y="1448"/>
                  </a:lnTo>
                  <a:lnTo>
                    <a:pt x="236" y="1448"/>
                  </a:lnTo>
                  <a:close/>
                  <a:moveTo>
                    <a:pt x="348" y="1505"/>
                  </a:moveTo>
                  <a:lnTo>
                    <a:pt x="350" y="1505"/>
                  </a:lnTo>
                  <a:lnTo>
                    <a:pt x="348" y="1505"/>
                  </a:lnTo>
                  <a:close/>
                  <a:moveTo>
                    <a:pt x="594" y="1384"/>
                  </a:moveTo>
                  <a:lnTo>
                    <a:pt x="596" y="1384"/>
                  </a:lnTo>
                  <a:lnTo>
                    <a:pt x="594" y="1384"/>
                  </a:lnTo>
                  <a:close/>
                  <a:moveTo>
                    <a:pt x="547" y="1404"/>
                  </a:moveTo>
                  <a:lnTo>
                    <a:pt x="545" y="1404"/>
                  </a:lnTo>
                  <a:lnTo>
                    <a:pt x="547" y="1404"/>
                  </a:lnTo>
                  <a:close/>
                  <a:moveTo>
                    <a:pt x="243" y="1454"/>
                  </a:moveTo>
                  <a:lnTo>
                    <a:pt x="243" y="1456"/>
                  </a:lnTo>
                  <a:lnTo>
                    <a:pt x="241" y="1456"/>
                  </a:lnTo>
                  <a:lnTo>
                    <a:pt x="243" y="1456"/>
                  </a:lnTo>
                  <a:lnTo>
                    <a:pt x="243" y="1454"/>
                  </a:lnTo>
                  <a:close/>
                  <a:moveTo>
                    <a:pt x="191" y="1139"/>
                  </a:moveTo>
                  <a:lnTo>
                    <a:pt x="191" y="1137"/>
                  </a:lnTo>
                  <a:lnTo>
                    <a:pt x="191" y="1139"/>
                  </a:lnTo>
                  <a:close/>
                  <a:moveTo>
                    <a:pt x="246" y="1428"/>
                  </a:moveTo>
                  <a:lnTo>
                    <a:pt x="247" y="1428"/>
                  </a:lnTo>
                  <a:lnTo>
                    <a:pt x="246" y="1428"/>
                  </a:lnTo>
                  <a:close/>
                  <a:moveTo>
                    <a:pt x="296" y="1471"/>
                  </a:moveTo>
                  <a:lnTo>
                    <a:pt x="298" y="1471"/>
                  </a:lnTo>
                  <a:lnTo>
                    <a:pt x="296" y="1471"/>
                  </a:lnTo>
                  <a:close/>
                  <a:moveTo>
                    <a:pt x="615" y="1383"/>
                  </a:moveTo>
                  <a:lnTo>
                    <a:pt x="617" y="1383"/>
                  </a:lnTo>
                  <a:lnTo>
                    <a:pt x="615" y="1383"/>
                  </a:lnTo>
                  <a:close/>
                  <a:moveTo>
                    <a:pt x="181" y="1080"/>
                  </a:moveTo>
                  <a:lnTo>
                    <a:pt x="182" y="1080"/>
                  </a:lnTo>
                  <a:lnTo>
                    <a:pt x="181" y="1080"/>
                  </a:lnTo>
                  <a:close/>
                  <a:moveTo>
                    <a:pt x="623" y="1363"/>
                  </a:moveTo>
                  <a:lnTo>
                    <a:pt x="625" y="1363"/>
                  </a:lnTo>
                  <a:lnTo>
                    <a:pt x="623" y="1363"/>
                  </a:lnTo>
                  <a:close/>
                  <a:moveTo>
                    <a:pt x="202" y="1017"/>
                  </a:moveTo>
                  <a:lnTo>
                    <a:pt x="202" y="1018"/>
                  </a:lnTo>
                  <a:lnTo>
                    <a:pt x="202" y="1017"/>
                  </a:lnTo>
                  <a:close/>
                  <a:moveTo>
                    <a:pt x="451" y="1471"/>
                  </a:moveTo>
                  <a:lnTo>
                    <a:pt x="451" y="1469"/>
                  </a:lnTo>
                  <a:lnTo>
                    <a:pt x="451" y="1471"/>
                  </a:lnTo>
                  <a:close/>
                  <a:moveTo>
                    <a:pt x="313" y="1492"/>
                  </a:moveTo>
                  <a:lnTo>
                    <a:pt x="313" y="1493"/>
                  </a:lnTo>
                  <a:lnTo>
                    <a:pt x="313" y="1492"/>
                  </a:lnTo>
                  <a:close/>
                  <a:moveTo>
                    <a:pt x="238" y="1014"/>
                  </a:moveTo>
                  <a:lnTo>
                    <a:pt x="238" y="1012"/>
                  </a:lnTo>
                  <a:lnTo>
                    <a:pt x="238" y="1014"/>
                  </a:lnTo>
                  <a:close/>
                  <a:moveTo>
                    <a:pt x="353" y="1511"/>
                  </a:moveTo>
                  <a:lnTo>
                    <a:pt x="353" y="1510"/>
                  </a:lnTo>
                  <a:lnTo>
                    <a:pt x="353" y="1511"/>
                  </a:lnTo>
                  <a:close/>
                  <a:moveTo>
                    <a:pt x="352" y="1510"/>
                  </a:moveTo>
                  <a:lnTo>
                    <a:pt x="352" y="1508"/>
                  </a:lnTo>
                  <a:lnTo>
                    <a:pt x="352" y="1510"/>
                  </a:lnTo>
                  <a:close/>
                  <a:moveTo>
                    <a:pt x="205" y="1513"/>
                  </a:moveTo>
                  <a:lnTo>
                    <a:pt x="204" y="1513"/>
                  </a:lnTo>
                  <a:lnTo>
                    <a:pt x="205" y="1513"/>
                  </a:lnTo>
                  <a:close/>
                  <a:moveTo>
                    <a:pt x="381" y="1464"/>
                  </a:moveTo>
                  <a:lnTo>
                    <a:pt x="379" y="1464"/>
                  </a:lnTo>
                  <a:lnTo>
                    <a:pt x="381" y="1462"/>
                  </a:lnTo>
                  <a:lnTo>
                    <a:pt x="381" y="1464"/>
                  </a:lnTo>
                  <a:close/>
                  <a:moveTo>
                    <a:pt x="249" y="1501"/>
                  </a:moveTo>
                  <a:lnTo>
                    <a:pt x="251" y="1501"/>
                  </a:lnTo>
                  <a:lnTo>
                    <a:pt x="249" y="1501"/>
                  </a:lnTo>
                  <a:close/>
                  <a:moveTo>
                    <a:pt x="169" y="1030"/>
                  </a:moveTo>
                  <a:lnTo>
                    <a:pt x="171" y="1030"/>
                  </a:lnTo>
                  <a:lnTo>
                    <a:pt x="169" y="1030"/>
                  </a:lnTo>
                  <a:close/>
                  <a:moveTo>
                    <a:pt x="280" y="1490"/>
                  </a:moveTo>
                  <a:lnTo>
                    <a:pt x="282" y="1490"/>
                  </a:lnTo>
                  <a:lnTo>
                    <a:pt x="280" y="1490"/>
                  </a:lnTo>
                  <a:close/>
                  <a:moveTo>
                    <a:pt x="342" y="1430"/>
                  </a:moveTo>
                  <a:lnTo>
                    <a:pt x="342" y="1428"/>
                  </a:lnTo>
                  <a:lnTo>
                    <a:pt x="342" y="1430"/>
                  </a:lnTo>
                  <a:close/>
                  <a:moveTo>
                    <a:pt x="287" y="918"/>
                  </a:moveTo>
                  <a:lnTo>
                    <a:pt x="288" y="918"/>
                  </a:lnTo>
                  <a:lnTo>
                    <a:pt x="287" y="918"/>
                  </a:lnTo>
                  <a:close/>
                  <a:moveTo>
                    <a:pt x="365" y="690"/>
                  </a:moveTo>
                  <a:lnTo>
                    <a:pt x="366" y="690"/>
                  </a:lnTo>
                  <a:lnTo>
                    <a:pt x="365" y="690"/>
                  </a:lnTo>
                  <a:close/>
                  <a:moveTo>
                    <a:pt x="132" y="1469"/>
                  </a:moveTo>
                  <a:lnTo>
                    <a:pt x="132" y="1467"/>
                  </a:lnTo>
                  <a:lnTo>
                    <a:pt x="132" y="1469"/>
                  </a:lnTo>
                  <a:close/>
                  <a:moveTo>
                    <a:pt x="204" y="1464"/>
                  </a:moveTo>
                  <a:lnTo>
                    <a:pt x="204" y="1462"/>
                  </a:lnTo>
                  <a:lnTo>
                    <a:pt x="204" y="1464"/>
                  </a:lnTo>
                  <a:close/>
                  <a:moveTo>
                    <a:pt x="285" y="1449"/>
                  </a:moveTo>
                  <a:lnTo>
                    <a:pt x="283" y="1449"/>
                  </a:lnTo>
                  <a:lnTo>
                    <a:pt x="285" y="1449"/>
                  </a:lnTo>
                  <a:close/>
                  <a:moveTo>
                    <a:pt x="199" y="1048"/>
                  </a:moveTo>
                  <a:lnTo>
                    <a:pt x="199" y="1046"/>
                  </a:lnTo>
                  <a:lnTo>
                    <a:pt x="199" y="1048"/>
                  </a:lnTo>
                  <a:close/>
                  <a:moveTo>
                    <a:pt x="194" y="1432"/>
                  </a:moveTo>
                  <a:lnTo>
                    <a:pt x="194" y="1433"/>
                  </a:lnTo>
                  <a:lnTo>
                    <a:pt x="194" y="1432"/>
                  </a:lnTo>
                  <a:close/>
                  <a:moveTo>
                    <a:pt x="662" y="1336"/>
                  </a:moveTo>
                  <a:lnTo>
                    <a:pt x="664" y="1337"/>
                  </a:lnTo>
                  <a:lnTo>
                    <a:pt x="662" y="1336"/>
                  </a:lnTo>
                  <a:close/>
                  <a:moveTo>
                    <a:pt x="269" y="1475"/>
                  </a:moveTo>
                  <a:lnTo>
                    <a:pt x="269" y="1477"/>
                  </a:lnTo>
                  <a:lnTo>
                    <a:pt x="269" y="1475"/>
                  </a:lnTo>
                  <a:close/>
                  <a:moveTo>
                    <a:pt x="356" y="1490"/>
                  </a:moveTo>
                  <a:lnTo>
                    <a:pt x="356" y="1488"/>
                  </a:lnTo>
                  <a:lnTo>
                    <a:pt x="356" y="1490"/>
                  </a:lnTo>
                  <a:close/>
                  <a:moveTo>
                    <a:pt x="355" y="672"/>
                  </a:moveTo>
                  <a:lnTo>
                    <a:pt x="356" y="672"/>
                  </a:lnTo>
                  <a:lnTo>
                    <a:pt x="355" y="672"/>
                  </a:lnTo>
                  <a:close/>
                  <a:moveTo>
                    <a:pt x="173" y="1035"/>
                  </a:moveTo>
                  <a:lnTo>
                    <a:pt x="174" y="1035"/>
                  </a:lnTo>
                  <a:lnTo>
                    <a:pt x="173" y="1035"/>
                  </a:lnTo>
                  <a:close/>
                  <a:moveTo>
                    <a:pt x="246" y="1435"/>
                  </a:moveTo>
                  <a:lnTo>
                    <a:pt x="246" y="1433"/>
                  </a:lnTo>
                  <a:lnTo>
                    <a:pt x="246" y="1435"/>
                  </a:lnTo>
                  <a:close/>
                  <a:moveTo>
                    <a:pt x="192" y="1061"/>
                  </a:moveTo>
                  <a:lnTo>
                    <a:pt x="194" y="1061"/>
                  </a:lnTo>
                  <a:lnTo>
                    <a:pt x="192" y="1061"/>
                  </a:lnTo>
                  <a:close/>
                  <a:moveTo>
                    <a:pt x="171" y="1440"/>
                  </a:moveTo>
                  <a:lnTo>
                    <a:pt x="171" y="1438"/>
                  </a:lnTo>
                  <a:lnTo>
                    <a:pt x="171" y="1440"/>
                  </a:lnTo>
                  <a:close/>
                  <a:moveTo>
                    <a:pt x="496" y="1436"/>
                  </a:moveTo>
                  <a:lnTo>
                    <a:pt x="498" y="1436"/>
                  </a:lnTo>
                  <a:lnTo>
                    <a:pt x="496" y="1436"/>
                  </a:lnTo>
                  <a:close/>
                  <a:moveTo>
                    <a:pt x="474" y="1446"/>
                  </a:moveTo>
                  <a:lnTo>
                    <a:pt x="475" y="1446"/>
                  </a:lnTo>
                  <a:lnTo>
                    <a:pt x="475" y="1448"/>
                  </a:lnTo>
                  <a:lnTo>
                    <a:pt x="474" y="1446"/>
                  </a:lnTo>
                  <a:close/>
                  <a:moveTo>
                    <a:pt x="178" y="1445"/>
                  </a:moveTo>
                  <a:lnTo>
                    <a:pt x="179" y="1445"/>
                  </a:lnTo>
                  <a:lnTo>
                    <a:pt x="178" y="1445"/>
                  </a:lnTo>
                  <a:close/>
                  <a:moveTo>
                    <a:pt x="314" y="1485"/>
                  </a:moveTo>
                  <a:lnTo>
                    <a:pt x="314" y="1484"/>
                  </a:lnTo>
                  <a:lnTo>
                    <a:pt x="314" y="1485"/>
                  </a:lnTo>
                  <a:close/>
                  <a:moveTo>
                    <a:pt x="249" y="1407"/>
                  </a:moveTo>
                  <a:lnTo>
                    <a:pt x="249" y="1409"/>
                  </a:lnTo>
                  <a:lnTo>
                    <a:pt x="249" y="1407"/>
                  </a:lnTo>
                  <a:close/>
                  <a:moveTo>
                    <a:pt x="413" y="1490"/>
                  </a:moveTo>
                  <a:lnTo>
                    <a:pt x="413" y="1488"/>
                  </a:lnTo>
                  <a:lnTo>
                    <a:pt x="413" y="1490"/>
                  </a:lnTo>
                  <a:close/>
                  <a:moveTo>
                    <a:pt x="343" y="1495"/>
                  </a:moveTo>
                  <a:lnTo>
                    <a:pt x="343" y="1493"/>
                  </a:lnTo>
                  <a:lnTo>
                    <a:pt x="343" y="1495"/>
                  </a:lnTo>
                  <a:close/>
                  <a:moveTo>
                    <a:pt x="609" y="1373"/>
                  </a:moveTo>
                  <a:lnTo>
                    <a:pt x="610" y="1371"/>
                  </a:lnTo>
                  <a:lnTo>
                    <a:pt x="610" y="1373"/>
                  </a:lnTo>
                  <a:lnTo>
                    <a:pt x="609" y="1373"/>
                  </a:lnTo>
                  <a:close/>
                  <a:moveTo>
                    <a:pt x="204" y="1010"/>
                  </a:moveTo>
                  <a:lnTo>
                    <a:pt x="205" y="1010"/>
                  </a:lnTo>
                  <a:lnTo>
                    <a:pt x="204" y="1010"/>
                  </a:lnTo>
                  <a:close/>
                  <a:moveTo>
                    <a:pt x="626" y="1362"/>
                  </a:moveTo>
                  <a:lnTo>
                    <a:pt x="628" y="1362"/>
                  </a:lnTo>
                  <a:lnTo>
                    <a:pt x="626" y="1362"/>
                  </a:lnTo>
                  <a:close/>
                  <a:moveTo>
                    <a:pt x="326" y="1458"/>
                  </a:moveTo>
                  <a:lnTo>
                    <a:pt x="327" y="1458"/>
                  </a:lnTo>
                  <a:lnTo>
                    <a:pt x="326" y="1458"/>
                  </a:lnTo>
                  <a:close/>
                  <a:moveTo>
                    <a:pt x="184" y="1461"/>
                  </a:moveTo>
                  <a:lnTo>
                    <a:pt x="184" y="1462"/>
                  </a:lnTo>
                  <a:lnTo>
                    <a:pt x="184" y="1461"/>
                  </a:lnTo>
                  <a:close/>
                  <a:moveTo>
                    <a:pt x="303" y="1492"/>
                  </a:moveTo>
                  <a:lnTo>
                    <a:pt x="303" y="1490"/>
                  </a:lnTo>
                  <a:lnTo>
                    <a:pt x="303" y="1492"/>
                  </a:lnTo>
                  <a:close/>
                  <a:moveTo>
                    <a:pt x="205" y="1051"/>
                  </a:moveTo>
                  <a:lnTo>
                    <a:pt x="205" y="1049"/>
                  </a:lnTo>
                  <a:lnTo>
                    <a:pt x="205" y="1051"/>
                  </a:lnTo>
                  <a:close/>
                  <a:moveTo>
                    <a:pt x="212" y="1441"/>
                  </a:moveTo>
                  <a:lnTo>
                    <a:pt x="212" y="1443"/>
                  </a:lnTo>
                  <a:lnTo>
                    <a:pt x="212" y="1441"/>
                  </a:lnTo>
                  <a:close/>
                  <a:moveTo>
                    <a:pt x="189" y="1126"/>
                  </a:moveTo>
                  <a:lnTo>
                    <a:pt x="189" y="1124"/>
                  </a:lnTo>
                  <a:lnTo>
                    <a:pt x="189" y="1126"/>
                  </a:lnTo>
                  <a:close/>
                  <a:moveTo>
                    <a:pt x="230" y="1238"/>
                  </a:moveTo>
                  <a:lnTo>
                    <a:pt x="231" y="1238"/>
                  </a:lnTo>
                  <a:lnTo>
                    <a:pt x="231" y="1240"/>
                  </a:lnTo>
                  <a:lnTo>
                    <a:pt x="230" y="1238"/>
                  </a:lnTo>
                  <a:close/>
                  <a:moveTo>
                    <a:pt x="555" y="1410"/>
                  </a:moveTo>
                  <a:lnTo>
                    <a:pt x="557" y="1410"/>
                  </a:lnTo>
                  <a:lnTo>
                    <a:pt x="555" y="1410"/>
                  </a:lnTo>
                  <a:close/>
                  <a:moveTo>
                    <a:pt x="215" y="1523"/>
                  </a:moveTo>
                  <a:lnTo>
                    <a:pt x="215" y="1524"/>
                  </a:lnTo>
                  <a:lnTo>
                    <a:pt x="215" y="1523"/>
                  </a:lnTo>
                  <a:close/>
                  <a:moveTo>
                    <a:pt x="347" y="1508"/>
                  </a:moveTo>
                  <a:lnTo>
                    <a:pt x="347" y="1510"/>
                  </a:lnTo>
                  <a:lnTo>
                    <a:pt x="347" y="1508"/>
                  </a:lnTo>
                  <a:close/>
                  <a:moveTo>
                    <a:pt x="270" y="1475"/>
                  </a:moveTo>
                  <a:lnTo>
                    <a:pt x="270" y="1474"/>
                  </a:lnTo>
                  <a:lnTo>
                    <a:pt x="270" y="1475"/>
                  </a:lnTo>
                  <a:close/>
                  <a:moveTo>
                    <a:pt x="228" y="1467"/>
                  </a:moveTo>
                  <a:lnTo>
                    <a:pt x="230" y="1467"/>
                  </a:lnTo>
                  <a:lnTo>
                    <a:pt x="228" y="1467"/>
                  </a:lnTo>
                  <a:close/>
                  <a:moveTo>
                    <a:pt x="308" y="1514"/>
                  </a:moveTo>
                  <a:lnTo>
                    <a:pt x="309" y="1514"/>
                  </a:lnTo>
                  <a:lnTo>
                    <a:pt x="308" y="1514"/>
                  </a:lnTo>
                  <a:close/>
                  <a:moveTo>
                    <a:pt x="326" y="1482"/>
                  </a:moveTo>
                  <a:lnTo>
                    <a:pt x="327" y="1482"/>
                  </a:lnTo>
                  <a:lnTo>
                    <a:pt x="326" y="1482"/>
                  </a:lnTo>
                  <a:close/>
                  <a:moveTo>
                    <a:pt x="205" y="1453"/>
                  </a:moveTo>
                  <a:lnTo>
                    <a:pt x="207" y="1453"/>
                  </a:lnTo>
                  <a:lnTo>
                    <a:pt x="205" y="1453"/>
                  </a:lnTo>
                  <a:close/>
                  <a:moveTo>
                    <a:pt x="306" y="1501"/>
                  </a:moveTo>
                  <a:lnTo>
                    <a:pt x="306" y="1500"/>
                  </a:lnTo>
                  <a:lnTo>
                    <a:pt x="306" y="1501"/>
                  </a:lnTo>
                  <a:close/>
                  <a:moveTo>
                    <a:pt x="181" y="1070"/>
                  </a:moveTo>
                  <a:lnTo>
                    <a:pt x="181" y="1072"/>
                  </a:lnTo>
                  <a:lnTo>
                    <a:pt x="181" y="1070"/>
                  </a:lnTo>
                  <a:close/>
                  <a:moveTo>
                    <a:pt x="257" y="1458"/>
                  </a:moveTo>
                  <a:lnTo>
                    <a:pt x="259" y="1458"/>
                  </a:lnTo>
                  <a:lnTo>
                    <a:pt x="257" y="1458"/>
                  </a:lnTo>
                  <a:close/>
                  <a:moveTo>
                    <a:pt x="418" y="1482"/>
                  </a:moveTo>
                  <a:lnTo>
                    <a:pt x="420" y="1482"/>
                  </a:lnTo>
                  <a:lnTo>
                    <a:pt x="418" y="1482"/>
                  </a:lnTo>
                  <a:close/>
                  <a:moveTo>
                    <a:pt x="350" y="1506"/>
                  </a:moveTo>
                  <a:lnTo>
                    <a:pt x="352" y="1506"/>
                  </a:lnTo>
                  <a:lnTo>
                    <a:pt x="350" y="1506"/>
                  </a:lnTo>
                  <a:close/>
                  <a:moveTo>
                    <a:pt x="350" y="1495"/>
                  </a:moveTo>
                  <a:lnTo>
                    <a:pt x="348" y="1495"/>
                  </a:lnTo>
                  <a:lnTo>
                    <a:pt x="350" y="1495"/>
                  </a:lnTo>
                  <a:close/>
                  <a:moveTo>
                    <a:pt x="293" y="1505"/>
                  </a:moveTo>
                  <a:lnTo>
                    <a:pt x="295" y="1505"/>
                  </a:lnTo>
                  <a:lnTo>
                    <a:pt x="293" y="1505"/>
                  </a:lnTo>
                  <a:close/>
                  <a:moveTo>
                    <a:pt x="215" y="1495"/>
                  </a:moveTo>
                  <a:lnTo>
                    <a:pt x="217" y="1495"/>
                  </a:lnTo>
                  <a:lnTo>
                    <a:pt x="215" y="1495"/>
                  </a:lnTo>
                  <a:close/>
                  <a:moveTo>
                    <a:pt x="485" y="1449"/>
                  </a:moveTo>
                  <a:lnTo>
                    <a:pt x="485" y="1448"/>
                  </a:lnTo>
                  <a:lnTo>
                    <a:pt x="485" y="1449"/>
                  </a:lnTo>
                  <a:close/>
                  <a:moveTo>
                    <a:pt x="239" y="1448"/>
                  </a:moveTo>
                  <a:lnTo>
                    <a:pt x="241" y="1448"/>
                  </a:lnTo>
                  <a:lnTo>
                    <a:pt x="239" y="1448"/>
                  </a:lnTo>
                  <a:close/>
                  <a:moveTo>
                    <a:pt x="236" y="1381"/>
                  </a:moveTo>
                  <a:lnTo>
                    <a:pt x="238" y="1381"/>
                  </a:lnTo>
                  <a:lnTo>
                    <a:pt x="236" y="1381"/>
                  </a:lnTo>
                  <a:close/>
                  <a:moveTo>
                    <a:pt x="324" y="661"/>
                  </a:moveTo>
                  <a:lnTo>
                    <a:pt x="326" y="661"/>
                  </a:lnTo>
                  <a:lnTo>
                    <a:pt x="324" y="661"/>
                  </a:lnTo>
                  <a:close/>
                  <a:moveTo>
                    <a:pt x="226" y="1417"/>
                  </a:moveTo>
                  <a:lnTo>
                    <a:pt x="228" y="1417"/>
                  </a:lnTo>
                  <a:lnTo>
                    <a:pt x="226" y="1417"/>
                  </a:lnTo>
                  <a:lnTo>
                    <a:pt x="228" y="1417"/>
                  </a:lnTo>
                  <a:lnTo>
                    <a:pt x="226" y="1417"/>
                  </a:lnTo>
                  <a:close/>
                  <a:moveTo>
                    <a:pt x="628" y="1362"/>
                  </a:moveTo>
                  <a:lnTo>
                    <a:pt x="628" y="1363"/>
                  </a:lnTo>
                  <a:lnTo>
                    <a:pt x="628" y="1362"/>
                  </a:lnTo>
                  <a:close/>
                  <a:moveTo>
                    <a:pt x="365" y="1493"/>
                  </a:moveTo>
                  <a:lnTo>
                    <a:pt x="365" y="1492"/>
                  </a:lnTo>
                  <a:lnTo>
                    <a:pt x="365" y="1493"/>
                  </a:lnTo>
                  <a:close/>
                  <a:moveTo>
                    <a:pt x="187" y="1105"/>
                  </a:moveTo>
                  <a:lnTo>
                    <a:pt x="187" y="1103"/>
                  </a:lnTo>
                  <a:lnTo>
                    <a:pt x="187" y="1105"/>
                  </a:lnTo>
                  <a:close/>
                  <a:moveTo>
                    <a:pt x="223" y="1467"/>
                  </a:moveTo>
                  <a:lnTo>
                    <a:pt x="225" y="1467"/>
                  </a:lnTo>
                  <a:lnTo>
                    <a:pt x="223" y="1467"/>
                  </a:lnTo>
                  <a:close/>
                  <a:moveTo>
                    <a:pt x="670" y="1368"/>
                  </a:moveTo>
                  <a:lnTo>
                    <a:pt x="670" y="1366"/>
                  </a:lnTo>
                  <a:lnTo>
                    <a:pt x="670" y="1368"/>
                  </a:lnTo>
                  <a:close/>
                  <a:moveTo>
                    <a:pt x="262" y="1516"/>
                  </a:moveTo>
                  <a:lnTo>
                    <a:pt x="262" y="1518"/>
                  </a:lnTo>
                  <a:lnTo>
                    <a:pt x="262" y="1516"/>
                  </a:lnTo>
                  <a:close/>
                  <a:moveTo>
                    <a:pt x="348" y="1479"/>
                  </a:moveTo>
                  <a:lnTo>
                    <a:pt x="350" y="1479"/>
                  </a:lnTo>
                  <a:lnTo>
                    <a:pt x="348" y="1479"/>
                  </a:lnTo>
                  <a:close/>
                  <a:moveTo>
                    <a:pt x="290" y="856"/>
                  </a:moveTo>
                  <a:lnTo>
                    <a:pt x="291" y="856"/>
                  </a:lnTo>
                  <a:lnTo>
                    <a:pt x="290" y="856"/>
                  </a:lnTo>
                  <a:close/>
                  <a:moveTo>
                    <a:pt x="306" y="1482"/>
                  </a:moveTo>
                  <a:lnTo>
                    <a:pt x="306" y="1480"/>
                  </a:lnTo>
                  <a:lnTo>
                    <a:pt x="306" y="1482"/>
                  </a:lnTo>
                  <a:close/>
                  <a:moveTo>
                    <a:pt x="234" y="1010"/>
                  </a:moveTo>
                  <a:lnTo>
                    <a:pt x="234" y="1012"/>
                  </a:lnTo>
                  <a:lnTo>
                    <a:pt x="234" y="1010"/>
                  </a:lnTo>
                  <a:close/>
                  <a:moveTo>
                    <a:pt x="251" y="1453"/>
                  </a:moveTo>
                  <a:lnTo>
                    <a:pt x="252" y="1453"/>
                  </a:lnTo>
                  <a:lnTo>
                    <a:pt x="251" y="1453"/>
                  </a:lnTo>
                  <a:close/>
                  <a:moveTo>
                    <a:pt x="259" y="1493"/>
                  </a:moveTo>
                  <a:lnTo>
                    <a:pt x="257" y="1493"/>
                  </a:lnTo>
                  <a:lnTo>
                    <a:pt x="259" y="1493"/>
                  </a:lnTo>
                  <a:close/>
                  <a:moveTo>
                    <a:pt x="254" y="1462"/>
                  </a:moveTo>
                  <a:lnTo>
                    <a:pt x="256" y="1462"/>
                  </a:lnTo>
                  <a:lnTo>
                    <a:pt x="254" y="1462"/>
                  </a:lnTo>
                  <a:close/>
                  <a:moveTo>
                    <a:pt x="256" y="1475"/>
                  </a:moveTo>
                  <a:lnTo>
                    <a:pt x="256" y="1474"/>
                  </a:lnTo>
                  <a:lnTo>
                    <a:pt x="256" y="1475"/>
                  </a:lnTo>
                  <a:close/>
                  <a:moveTo>
                    <a:pt x="176" y="1082"/>
                  </a:moveTo>
                  <a:lnTo>
                    <a:pt x="176" y="1080"/>
                  </a:lnTo>
                  <a:lnTo>
                    <a:pt x="176" y="1082"/>
                  </a:lnTo>
                  <a:close/>
                  <a:moveTo>
                    <a:pt x="343" y="1497"/>
                  </a:moveTo>
                  <a:lnTo>
                    <a:pt x="342" y="1497"/>
                  </a:lnTo>
                  <a:lnTo>
                    <a:pt x="343" y="1497"/>
                  </a:lnTo>
                  <a:close/>
                  <a:moveTo>
                    <a:pt x="197" y="1147"/>
                  </a:moveTo>
                  <a:lnTo>
                    <a:pt x="197" y="1145"/>
                  </a:lnTo>
                  <a:lnTo>
                    <a:pt x="197" y="1147"/>
                  </a:lnTo>
                  <a:close/>
                  <a:moveTo>
                    <a:pt x="169" y="1501"/>
                  </a:moveTo>
                  <a:lnTo>
                    <a:pt x="171" y="1501"/>
                  </a:lnTo>
                  <a:lnTo>
                    <a:pt x="169" y="1501"/>
                  </a:lnTo>
                  <a:close/>
                  <a:moveTo>
                    <a:pt x="186" y="1446"/>
                  </a:moveTo>
                  <a:lnTo>
                    <a:pt x="186" y="1448"/>
                  </a:lnTo>
                  <a:lnTo>
                    <a:pt x="186" y="1446"/>
                  </a:lnTo>
                  <a:close/>
                  <a:moveTo>
                    <a:pt x="420" y="1485"/>
                  </a:moveTo>
                  <a:lnTo>
                    <a:pt x="420" y="1484"/>
                  </a:lnTo>
                  <a:lnTo>
                    <a:pt x="422" y="1485"/>
                  </a:lnTo>
                  <a:lnTo>
                    <a:pt x="420" y="1485"/>
                  </a:lnTo>
                  <a:close/>
                  <a:moveTo>
                    <a:pt x="200" y="1158"/>
                  </a:moveTo>
                  <a:lnTo>
                    <a:pt x="199" y="1158"/>
                  </a:lnTo>
                  <a:lnTo>
                    <a:pt x="199" y="1157"/>
                  </a:lnTo>
                  <a:lnTo>
                    <a:pt x="200" y="1158"/>
                  </a:lnTo>
                  <a:close/>
                  <a:moveTo>
                    <a:pt x="257" y="1459"/>
                  </a:moveTo>
                  <a:lnTo>
                    <a:pt x="257" y="1458"/>
                  </a:lnTo>
                  <a:lnTo>
                    <a:pt x="259" y="1458"/>
                  </a:lnTo>
                  <a:lnTo>
                    <a:pt x="259" y="1459"/>
                  </a:lnTo>
                  <a:lnTo>
                    <a:pt x="257" y="1459"/>
                  </a:lnTo>
                  <a:close/>
                  <a:moveTo>
                    <a:pt x="342" y="1501"/>
                  </a:moveTo>
                  <a:lnTo>
                    <a:pt x="343" y="1501"/>
                  </a:lnTo>
                  <a:lnTo>
                    <a:pt x="343" y="1503"/>
                  </a:lnTo>
                  <a:lnTo>
                    <a:pt x="342" y="1501"/>
                  </a:lnTo>
                  <a:close/>
                  <a:moveTo>
                    <a:pt x="277" y="929"/>
                  </a:moveTo>
                  <a:lnTo>
                    <a:pt x="278" y="929"/>
                  </a:lnTo>
                  <a:lnTo>
                    <a:pt x="277" y="929"/>
                  </a:lnTo>
                  <a:close/>
                  <a:moveTo>
                    <a:pt x="444" y="1471"/>
                  </a:moveTo>
                  <a:lnTo>
                    <a:pt x="443" y="1471"/>
                  </a:lnTo>
                  <a:lnTo>
                    <a:pt x="444" y="1471"/>
                  </a:lnTo>
                  <a:close/>
                  <a:moveTo>
                    <a:pt x="337" y="804"/>
                  </a:moveTo>
                  <a:lnTo>
                    <a:pt x="337" y="805"/>
                  </a:lnTo>
                  <a:lnTo>
                    <a:pt x="337" y="804"/>
                  </a:lnTo>
                  <a:lnTo>
                    <a:pt x="339" y="804"/>
                  </a:lnTo>
                  <a:lnTo>
                    <a:pt x="337" y="804"/>
                  </a:lnTo>
                  <a:close/>
                  <a:moveTo>
                    <a:pt x="119" y="1480"/>
                  </a:moveTo>
                  <a:lnTo>
                    <a:pt x="121" y="1480"/>
                  </a:lnTo>
                  <a:lnTo>
                    <a:pt x="119" y="1480"/>
                  </a:lnTo>
                  <a:close/>
                  <a:moveTo>
                    <a:pt x="212" y="1500"/>
                  </a:moveTo>
                  <a:lnTo>
                    <a:pt x="212" y="1498"/>
                  </a:lnTo>
                  <a:lnTo>
                    <a:pt x="212" y="1500"/>
                  </a:lnTo>
                  <a:close/>
                  <a:moveTo>
                    <a:pt x="247" y="1388"/>
                  </a:moveTo>
                  <a:lnTo>
                    <a:pt x="249" y="1388"/>
                  </a:lnTo>
                  <a:lnTo>
                    <a:pt x="247" y="1388"/>
                  </a:lnTo>
                  <a:close/>
                  <a:moveTo>
                    <a:pt x="669" y="1368"/>
                  </a:moveTo>
                  <a:lnTo>
                    <a:pt x="670" y="1368"/>
                  </a:lnTo>
                  <a:lnTo>
                    <a:pt x="669" y="1368"/>
                  </a:lnTo>
                  <a:close/>
                  <a:moveTo>
                    <a:pt x="685" y="1345"/>
                  </a:moveTo>
                  <a:lnTo>
                    <a:pt x="685" y="1344"/>
                  </a:lnTo>
                  <a:lnTo>
                    <a:pt x="685" y="1345"/>
                  </a:lnTo>
                  <a:close/>
                  <a:moveTo>
                    <a:pt x="261" y="953"/>
                  </a:moveTo>
                  <a:lnTo>
                    <a:pt x="261" y="952"/>
                  </a:lnTo>
                  <a:lnTo>
                    <a:pt x="261" y="953"/>
                  </a:lnTo>
                  <a:close/>
                  <a:moveTo>
                    <a:pt x="212" y="1025"/>
                  </a:moveTo>
                  <a:lnTo>
                    <a:pt x="210" y="1025"/>
                  </a:lnTo>
                  <a:lnTo>
                    <a:pt x="212" y="1025"/>
                  </a:lnTo>
                  <a:close/>
                  <a:moveTo>
                    <a:pt x="501" y="1428"/>
                  </a:moveTo>
                  <a:lnTo>
                    <a:pt x="501" y="1427"/>
                  </a:lnTo>
                  <a:lnTo>
                    <a:pt x="501" y="1428"/>
                  </a:lnTo>
                  <a:close/>
                  <a:moveTo>
                    <a:pt x="244" y="1371"/>
                  </a:moveTo>
                  <a:lnTo>
                    <a:pt x="246" y="1371"/>
                  </a:lnTo>
                  <a:lnTo>
                    <a:pt x="244" y="1371"/>
                  </a:lnTo>
                  <a:close/>
                  <a:moveTo>
                    <a:pt x="376" y="1430"/>
                  </a:moveTo>
                  <a:lnTo>
                    <a:pt x="376" y="1428"/>
                  </a:lnTo>
                  <a:lnTo>
                    <a:pt x="376" y="1430"/>
                  </a:lnTo>
                  <a:close/>
                  <a:moveTo>
                    <a:pt x="251" y="1505"/>
                  </a:moveTo>
                  <a:lnTo>
                    <a:pt x="251" y="1503"/>
                  </a:lnTo>
                  <a:lnTo>
                    <a:pt x="251" y="1505"/>
                  </a:lnTo>
                  <a:close/>
                  <a:moveTo>
                    <a:pt x="438" y="1474"/>
                  </a:moveTo>
                  <a:lnTo>
                    <a:pt x="438" y="1475"/>
                  </a:lnTo>
                  <a:lnTo>
                    <a:pt x="438" y="1474"/>
                  </a:lnTo>
                  <a:close/>
                  <a:moveTo>
                    <a:pt x="454" y="1469"/>
                  </a:moveTo>
                  <a:lnTo>
                    <a:pt x="456" y="1469"/>
                  </a:lnTo>
                  <a:lnTo>
                    <a:pt x="454" y="1469"/>
                  </a:lnTo>
                  <a:close/>
                  <a:moveTo>
                    <a:pt x="280" y="1419"/>
                  </a:moveTo>
                  <a:lnTo>
                    <a:pt x="280" y="1420"/>
                  </a:lnTo>
                  <a:lnTo>
                    <a:pt x="280" y="1419"/>
                  </a:lnTo>
                  <a:close/>
                  <a:moveTo>
                    <a:pt x="337" y="675"/>
                  </a:moveTo>
                  <a:lnTo>
                    <a:pt x="339" y="675"/>
                  </a:lnTo>
                  <a:lnTo>
                    <a:pt x="337" y="675"/>
                  </a:lnTo>
                  <a:close/>
                  <a:moveTo>
                    <a:pt x="381" y="1487"/>
                  </a:moveTo>
                  <a:lnTo>
                    <a:pt x="382" y="1487"/>
                  </a:lnTo>
                  <a:lnTo>
                    <a:pt x="381" y="1487"/>
                  </a:lnTo>
                  <a:close/>
                  <a:moveTo>
                    <a:pt x="329" y="1462"/>
                  </a:moveTo>
                  <a:lnTo>
                    <a:pt x="329" y="1464"/>
                  </a:lnTo>
                  <a:lnTo>
                    <a:pt x="329" y="1462"/>
                  </a:lnTo>
                  <a:close/>
                  <a:moveTo>
                    <a:pt x="239" y="1438"/>
                  </a:moveTo>
                  <a:lnTo>
                    <a:pt x="241" y="1438"/>
                  </a:lnTo>
                  <a:lnTo>
                    <a:pt x="239" y="1438"/>
                  </a:lnTo>
                  <a:close/>
                  <a:moveTo>
                    <a:pt x="197" y="1054"/>
                  </a:moveTo>
                  <a:lnTo>
                    <a:pt x="197" y="1053"/>
                  </a:lnTo>
                  <a:lnTo>
                    <a:pt x="197" y="1054"/>
                  </a:lnTo>
                  <a:close/>
                  <a:moveTo>
                    <a:pt x="261" y="1498"/>
                  </a:moveTo>
                  <a:lnTo>
                    <a:pt x="262" y="1498"/>
                  </a:lnTo>
                  <a:lnTo>
                    <a:pt x="261" y="1498"/>
                  </a:lnTo>
                  <a:close/>
                  <a:moveTo>
                    <a:pt x="173" y="1072"/>
                  </a:moveTo>
                  <a:lnTo>
                    <a:pt x="174" y="1072"/>
                  </a:lnTo>
                  <a:lnTo>
                    <a:pt x="173" y="1072"/>
                  </a:lnTo>
                  <a:close/>
                  <a:moveTo>
                    <a:pt x="335" y="1484"/>
                  </a:moveTo>
                  <a:lnTo>
                    <a:pt x="337" y="1484"/>
                  </a:lnTo>
                  <a:lnTo>
                    <a:pt x="335" y="1484"/>
                  </a:lnTo>
                  <a:close/>
                  <a:moveTo>
                    <a:pt x="199" y="1012"/>
                  </a:moveTo>
                  <a:lnTo>
                    <a:pt x="200" y="1012"/>
                  </a:lnTo>
                  <a:lnTo>
                    <a:pt x="199" y="1012"/>
                  </a:lnTo>
                  <a:close/>
                  <a:moveTo>
                    <a:pt x="309" y="1420"/>
                  </a:moveTo>
                  <a:lnTo>
                    <a:pt x="311" y="1420"/>
                  </a:lnTo>
                  <a:lnTo>
                    <a:pt x="309" y="1422"/>
                  </a:lnTo>
                  <a:lnTo>
                    <a:pt x="309" y="1420"/>
                  </a:lnTo>
                  <a:close/>
                  <a:moveTo>
                    <a:pt x="298" y="1484"/>
                  </a:moveTo>
                  <a:lnTo>
                    <a:pt x="298" y="1485"/>
                  </a:lnTo>
                  <a:lnTo>
                    <a:pt x="298" y="1484"/>
                  </a:lnTo>
                  <a:close/>
                  <a:moveTo>
                    <a:pt x="275" y="1443"/>
                  </a:moveTo>
                  <a:lnTo>
                    <a:pt x="275" y="1441"/>
                  </a:lnTo>
                  <a:lnTo>
                    <a:pt x="275" y="1443"/>
                  </a:lnTo>
                  <a:close/>
                  <a:moveTo>
                    <a:pt x="218" y="1526"/>
                  </a:moveTo>
                  <a:lnTo>
                    <a:pt x="220" y="1526"/>
                  </a:lnTo>
                  <a:lnTo>
                    <a:pt x="218" y="1526"/>
                  </a:lnTo>
                  <a:close/>
                  <a:moveTo>
                    <a:pt x="324" y="1500"/>
                  </a:moveTo>
                  <a:lnTo>
                    <a:pt x="324" y="1498"/>
                  </a:lnTo>
                  <a:lnTo>
                    <a:pt x="324" y="1500"/>
                  </a:lnTo>
                  <a:close/>
                  <a:moveTo>
                    <a:pt x="581" y="1406"/>
                  </a:moveTo>
                  <a:lnTo>
                    <a:pt x="579" y="1406"/>
                  </a:lnTo>
                  <a:lnTo>
                    <a:pt x="581" y="1406"/>
                  </a:lnTo>
                  <a:close/>
                  <a:moveTo>
                    <a:pt x="417" y="1471"/>
                  </a:moveTo>
                  <a:lnTo>
                    <a:pt x="417" y="1472"/>
                  </a:lnTo>
                  <a:lnTo>
                    <a:pt x="417" y="1471"/>
                  </a:lnTo>
                  <a:close/>
                  <a:moveTo>
                    <a:pt x="340" y="1433"/>
                  </a:moveTo>
                  <a:lnTo>
                    <a:pt x="342" y="1433"/>
                  </a:lnTo>
                  <a:lnTo>
                    <a:pt x="340" y="1433"/>
                  </a:lnTo>
                  <a:close/>
                  <a:moveTo>
                    <a:pt x="221" y="1230"/>
                  </a:moveTo>
                  <a:lnTo>
                    <a:pt x="221" y="1231"/>
                  </a:lnTo>
                  <a:lnTo>
                    <a:pt x="221" y="1230"/>
                  </a:lnTo>
                  <a:close/>
                  <a:moveTo>
                    <a:pt x="495" y="1454"/>
                  </a:moveTo>
                  <a:lnTo>
                    <a:pt x="493" y="1454"/>
                  </a:lnTo>
                  <a:lnTo>
                    <a:pt x="495" y="1454"/>
                  </a:lnTo>
                  <a:close/>
                  <a:moveTo>
                    <a:pt x="295" y="1484"/>
                  </a:moveTo>
                  <a:lnTo>
                    <a:pt x="296" y="1484"/>
                  </a:lnTo>
                  <a:lnTo>
                    <a:pt x="295" y="1484"/>
                  </a:lnTo>
                  <a:close/>
                  <a:moveTo>
                    <a:pt x="274" y="1432"/>
                  </a:moveTo>
                  <a:lnTo>
                    <a:pt x="275" y="1432"/>
                  </a:lnTo>
                  <a:lnTo>
                    <a:pt x="274" y="1432"/>
                  </a:lnTo>
                  <a:close/>
                  <a:moveTo>
                    <a:pt x="236" y="1375"/>
                  </a:moveTo>
                  <a:lnTo>
                    <a:pt x="238" y="1375"/>
                  </a:lnTo>
                  <a:lnTo>
                    <a:pt x="236" y="1375"/>
                  </a:lnTo>
                  <a:close/>
                  <a:moveTo>
                    <a:pt x="212" y="1487"/>
                  </a:moveTo>
                  <a:lnTo>
                    <a:pt x="212" y="1485"/>
                  </a:lnTo>
                  <a:lnTo>
                    <a:pt x="213" y="1485"/>
                  </a:lnTo>
                  <a:lnTo>
                    <a:pt x="213" y="1487"/>
                  </a:lnTo>
                  <a:lnTo>
                    <a:pt x="212" y="1487"/>
                  </a:lnTo>
                  <a:close/>
                  <a:moveTo>
                    <a:pt x="612" y="1362"/>
                  </a:moveTo>
                  <a:lnTo>
                    <a:pt x="612" y="1363"/>
                  </a:lnTo>
                  <a:lnTo>
                    <a:pt x="612" y="1362"/>
                  </a:lnTo>
                  <a:close/>
                  <a:moveTo>
                    <a:pt x="234" y="1497"/>
                  </a:moveTo>
                  <a:lnTo>
                    <a:pt x="236" y="1497"/>
                  </a:lnTo>
                  <a:lnTo>
                    <a:pt x="234" y="1497"/>
                  </a:lnTo>
                  <a:close/>
                  <a:moveTo>
                    <a:pt x="234" y="1241"/>
                  </a:moveTo>
                  <a:lnTo>
                    <a:pt x="234" y="1240"/>
                  </a:lnTo>
                  <a:lnTo>
                    <a:pt x="234" y="1241"/>
                  </a:lnTo>
                  <a:close/>
                  <a:moveTo>
                    <a:pt x="493" y="1454"/>
                  </a:moveTo>
                  <a:lnTo>
                    <a:pt x="493" y="1453"/>
                  </a:lnTo>
                  <a:lnTo>
                    <a:pt x="493" y="1454"/>
                  </a:lnTo>
                  <a:close/>
                  <a:moveTo>
                    <a:pt x="270" y="947"/>
                  </a:moveTo>
                  <a:lnTo>
                    <a:pt x="272" y="947"/>
                  </a:lnTo>
                  <a:lnTo>
                    <a:pt x="270" y="947"/>
                  </a:lnTo>
                  <a:close/>
                  <a:moveTo>
                    <a:pt x="243" y="1323"/>
                  </a:moveTo>
                  <a:lnTo>
                    <a:pt x="243" y="1321"/>
                  </a:lnTo>
                  <a:lnTo>
                    <a:pt x="244" y="1321"/>
                  </a:lnTo>
                  <a:lnTo>
                    <a:pt x="243" y="1323"/>
                  </a:lnTo>
                  <a:close/>
                  <a:moveTo>
                    <a:pt x="264" y="1469"/>
                  </a:moveTo>
                  <a:lnTo>
                    <a:pt x="262" y="1469"/>
                  </a:lnTo>
                  <a:lnTo>
                    <a:pt x="264" y="1469"/>
                  </a:lnTo>
                  <a:close/>
                  <a:moveTo>
                    <a:pt x="234" y="1233"/>
                  </a:moveTo>
                  <a:lnTo>
                    <a:pt x="234" y="1235"/>
                  </a:lnTo>
                  <a:lnTo>
                    <a:pt x="234" y="1233"/>
                  </a:lnTo>
                  <a:close/>
                  <a:moveTo>
                    <a:pt x="212" y="1449"/>
                  </a:moveTo>
                  <a:lnTo>
                    <a:pt x="212" y="1448"/>
                  </a:lnTo>
                  <a:lnTo>
                    <a:pt x="212" y="1449"/>
                  </a:lnTo>
                  <a:close/>
                  <a:moveTo>
                    <a:pt x="243" y="1383"/>
                  </a:moveTo>
                  <a:lnTo>
                    <a:pt x="244" y="1383"/>
                  </a:lnTo>
                  <a:lnTo>
                    <a:pt x="243" y="1383"/>
                  </a:lnTo>
                  <a:close/>
                  <a:moveTo>
                    <a:pt x="236" y="1430"/>
                  </a:moveTo>
                  <a:lnTo>
                    <a:pt x="238" y="1430"/>
                  </a:lnTo>
                  <a:lnTo>
                    <a:pt x="236" y="1430"/>
                  </a:lnTo>
                  <a:close/>
                  <a:moveTo>
                    <a:pt x="272" y="1443"/>
                  </a:moveTo>
                  <a:lnTo>
                    <a:pt x="274" y="1443"/>
                  </a:lnTo>
                  <a:lnTo>
                    <a:pt x="272" y="1443"/>
                  </a:lnTo>
                  <a:close/>
                  <a:moveTo>
                    <a:pt x="306" y="1511"/>
                  </a:moveTo>
                  <a:lnTo>
                    <a:pt x="306" y="1510"/>
                  </a:lnTo>
                  <a:lnTo>
                    <a:pt x="306" y="1511"/>
                  </a:lnTo>
                  <a:close/>
                  <a:moveTo>
                    <a:pt x="269" y="1446"/>
                  </a:moveTo>
                  <a:lnTo>
                    <a:pt x="269" y="1448"/>
                  </a:lnTo>
                  <a:lnTo>
                    <a:pt x="269" y="1446"/>
                  </a:lnTo>
                  <a:close/>
                  <a:moveTo>
                    <a:pt x="366" y="1484"/>
                  </a:moveTo>
                  <a:lnTo>
                    <a:pt x="365" y="1484"/>
                  </a:lnTo>
                  <a:lnTo>
                    <a:pt x="366" y="1484"/>
                  </a:lnTo>
                  <a:close/>
                  <a:moveTo>
                    <a:pt x="422" y="1488"/>
                  </a:moveTo>
                  <a:lnTo>
                    <a:pt x="422" y="1487"/>
                  </a:lnTo>
                  <a:lnTo>
                    <a:pt x="422" y="1488"/>
                  </a:lnTo>
                  <a:close/>
                  <a:moveTo>
                    <a:pt x="548" y="1420"/>
                  </a:moveTo>
                  <a:lnTo>
                    <a:pt x="548" y="1419"/>
                  </a:lnTo>
                  <a:lnTo>
                    <a:pt x="550" y="1419"/>
                  </a:lnTo>
                  <a:lnTo>
                    <a:pt x="548" y="1420"/>
                  </a:lnTo>
                  <a:close/>
                  <a:moveTo>
                    <a:pt x="194" y="1124"/>
                  </a:moveTo>
                  <a:lnTo>
                    <a:pt x="194" y="1126"/>
                  </a:lnTo>
                  <a:lnTo>
                    <a:pt x="194" y="1124"/>
                  </a:lnTo>
                  <a:close/>
                  <a:moveTo>
                    <a:pt x="550" y="1420"/>
                  </a:moveTo>
                  <a:lnTo>
                    <a:pt x="550" y="1419"/>
                  </a:lnTo>
                  <a:lnTo>
                    <a:pt x="552" y="1419"/>
                  </a:lnTo>
                  <a:lnTo>
                    <a:pt x="550" y="1420"/>
                  </a:lnTo>
                  <a:close/>
                  <a:moveTo>
                    <a:pt x="426" y="1474"/>
                  </a:moveTo>
                  <a:lnTo>
                    <a:pt x="426" y="1475"/>
                  </a:lnTo>
                  <a:lnTo>
                    <a:pt x="426" y="1474"/>
                  </a:lnTo>
                  <a:close/>
                  <a:moveTo>
                    <a:pt x="254" y="1511"/>
                  </a:moveTo>
                  <a:lnTo>
                    <a:pt x="254" y="1513"/>
                  </a:lnTo>
                  <a:lnTo>
                    <a:pt x="254" y="1511"/>
                  </a:lnTo>
                  <a:close/>
                  <a:moveTo>
                    <a:pt x="277" y="919"/>
                  </a:moveTo>
                  <a:lnTo>
                    <a:pt x="278" y="919"/>
                  </a:lnTo>
                  <a:lnTo>
                    <a:pt x="277" y="919"/>
                  </a:lnTo>
                  <a:close/>
                  <a:moveTo>
                    <a:pt x="213" y="1017"/>
                  </a:moveTo>
                  <a:lnTo>
                    <a:pt x="213" y="1015"/>
                  </a:lnTo>
                  <a:lnTo>
                    <a:pt x="213" y="1017"/>
                  </a:lnTo>
                  <a:close/>
                  <a:moveTo>
                    <a:pt x="233" y="1425"/>
                  </a:moveTo>
                  <a:lnTo>
                    <a:pt x="233" y="1423"/>
                  </a:lnTo>
                  <a:lnTo>
                    <a:pt x="233" y="1425"/>
                  </a:lnTo>
                  <a:close/>
                  <a:moveTo>
                    <a:pt x="348" y="1477"/>
                  </a:moveTo>
                  <a:lnTo>
                    <a:pt x="347" y="1477"/>
                  </a:lnTo>
                  <a:lnTo>
                    <a:pt x="347" y="1475"/>
                  </a:lnTo>
                  <a:lnTo>
                    <a:pt x="348" y="1475"/>
                  </a:lnTo>
                  <a:lnTo>
                    <a:pt x="348" y="1477"/>
                  </a:lnTo>
                  <a:close/>
                  <a:moveTo>
                    <a:pt x="247" y="1438"/>
                  </a:moveTo>
                  <a:lnTo>
                    <a:pt x="247" y="1440"/>
                  </a:lnTo>
                  <a:lnTo>
                    <a:pt x="247" y="1438"/>
                  </a:lnTo>
                  <a:close/>
                  <a:moveTo>
                    <a:pt x="256" y="1521"/>
                  </a:moveTo>
                  <a:lnTo>
                    <a:pt x="256" y="1519"/>
                  </a:lnTo>
                  <a:lnTo>
                    <a:pt x="256" y="1521"/>
                  </a:lnTo>
                  <a:close/>
                  <a:moveTo>
                    <a:pt x="187" y="1070"/>
                  </a:moveTo>
                  <a:lnTo>
                    <a:pt x="189" y="1070"/>
                  </a:lnTo>
                  <a:lnTo>
                    <a:pt x="187" y="1070"/>
                  </a:lnTo>
                  <a:close/>
                  <a:moveTo>
                    <a:pt x="285" y="1453"/>
                  </a:moveTo>
                  <a:lnTo>
                    <a:pt x="285" y="1451"/>
                  </a:lnTo>
                  <a:lnTo>
                    <a:pt x="285" y="1453"/>
                  </a:lnTo>
                  <a:close/>
                  <a:moveTo>
                    <a:pt x="234" y="1378"/>
                  </a:moveTo>
                  <a:lnTo>
                    <a:pt x="234" y="1380"/>
                  </a:lnTo>
                  <a:lnTo>
                    <a:pt x="234" y="1378"/>
                  </a:lnTo>
                  <a:close/>
                  <a:moveTo>
                    <a:pt x="259" y="924"/>
                  </a:moveTo>
                  <a:lnTo>
                    <a:pt x="259" y="926"/>
                  </a:lnTo>
                  <a:lnTo>
                    <a:pt x="259" y="924"/>
                  </a:lnTo>
                  <a:close/>
                  <a:moveTo>
                    <a:pt x="195" y="1145"/>
                  </a:moveTo>
                  <a:lnTo>
                    <a:pt x="195" y="1144"/>
                  </a:lnTo>
                  <a:lnTo>
                    <a:pt x="195" y="1145"/>
                  </a:lnTo>
                  <a:close/>
                  <a:moveTo>
                    <a:pt x="361" y="729"/>
                  </a:moveTo>
                  <a:lnTo>
                    <a:pt x="363" y="729"/>
                  </a:lnTo>
                  <a:lnTo>
                    <a:pt x="361" y="729"/>
                  </a:lnTo>
                  <a:close/>
                  <a:moveTo>
                    <a:pt x="244" y="1523"/>
                  </a:moveTo>
                  <a:lnTo>
                    <a:pt x="244" y="1524"/>
                  </a:lnTo>
                  <a:lnTo>
                    <a:pt x="244" y="1523"/>
                  </a:lnTo>
                  <a:close/>
                  <a:moveTo>
                    <a:pt x="324" y="1472"/>
                  </a:moveTo>
                  <a:lnTo>
                    <a:pt x="324" y="1471"/>
                  </a:lnTo>
                  <a:lnTo>
                    <a:pt x="326" y="1471"/>
                  </a:lnTo>
                  <a:lnTo>
                    <a:pt x="326" y="1472"/>
                  </a:lnTo>
                  <a:lnTo>
                    <a:pt x="324" y="1472"/>
                  </a:lnTo>
                  <a:close/>
                  <a:moveTo>
                    <a:pt x="182" y="1459"/>
                  </a:moveTo>
                  <a:lnTo>
                    <a:pt x="182" y="1458"/>
                  </a:lnTo>
                  <a:lnTo>
                    <a:pt x="182" y="1459"/>
                  </a:lnTo>
                  <a:close/>
                  <a:moveTo>
                    <a:pt x="304" y="1513"/>
                  </a:moveTo>
                  <a:lnTo>
                    <a:pt x="306" y="1513"/>
                  </a:lnTo>
                  <a:lnTo>
                    <a:pt x="304" y="1513"/>
                  </a:lnTo>
                  <a:close/>
                  <a:moveTo>
                    <a:pt x="426" y="1477"/>
                  </a:moveTo>
                  <a:lnTo>
                    <a:pt x="426" y="1475"/>
                  </a:lnTo>
                  <a:lnTo>
                    <a:pt x="426" y="1477"/>
                  </a:lnTo>
                  <a:close/>
                  <a:moveTo>
                    <a:pt x="252" y="1448"/>
                  </a:moveTo>
                  <a:lnTo>
                    <a:pt x="252" y="1446"/>
                  </a:lnTo>
                  <a:lnTo>
                    <a:pt x="252" y="1448"/>
                  </a:lnTo>
                  <a:close/>
                  <a:moveTo>
                    <a:pt x="287" y="1449"/>
                  </a:moveTo>
                  <a:lnTo>
                    <a:pt x="285" y="1449"/>
                  </a:lnTo>
                  <a:lnTo>
                    <a:pt x="287" y="1449"/>
                  </a:lnTo>
                  <a:close/>
                  <a:moveTo>
                    <a:pt x="327" y="1495"/>
                  </a:moveTo>
                  <a:lnTo>
                    <a:pt x="329" y="1495"/>
                  </a:lnTo>
                  <a:lnTo>
                    <a:pt x="327" y="1495"/>
                  </a:lnTo>
                  <a:close/>
                  <a:moveTo>
                    <a:pt x="241" y="1384"/>
                  </a:moveTo>
                  <a:lnTo>
                    <a:pt x="241" y="1386"/>
                  </a:lnTo>
                  <a:lnTo>
                    <a:pt x="241" y="1384"/>
                  </a:lnTo>
                  <a:close/>
                  <a:moveTo>
                    <a:pt x="244" y="1500"/>
                  </a:moveTo>
                  <a:lnTo>
                    <a:pt x="246" y="1500"/>
                  </a:lnTo>
                  <a:lnTo>
                    <a:pt x="244" y="1500"/>
                  </a:lnTo>
                  <a:close/>
                  <a:moveTo>
                    <a:pt x="192" y="1136"/>
                  </a:moveTo>
                  <a:lnTo>
                    <a:pt x="194" y="1136"/>
                  </a:lnTo>
                  <a:lnTo>
                    <a:pt x="192" y="1136"/>
                  </a:lnTo>
                  <a:close/>
                  <a:moveTo>
                    <a:pt x="251" y="1505"/>
                  </a:moveTo>
                  <a:lnTo>
                    <a:pt x="252" y="1505"/>
                  </a:lnTo>
                  <a:lnTo>
                    <a:pt x="251" y="1505"/>
                  </a:lnTo>
                  <a:close/>
                  <a:moveTo>
                    <a:pt x="308" y="1475"/>
                  </a:moveTo>
                  <a:lnTo>
                    <a:pt x="309" y="1475"/>
                  </a:lnTo>
                  <a:lnTo>
                    <a:pt x="308" y="1475"/>
                  </a:lnTo>
                  <a:close/>
                  <a:moveTo>
                    <a:pt x="174" y="1518"/>
                  </a:moveTo>
                  <a:lnTo>
                    <a:pt x="176" y="1518"/>
                  </a:lnTo>
                  <a:lnTo>
                    <a:pt x="174" y="1518"/>
                  </a:lnTo>
                  <a:close/>
                  <a:moveTo>
                    <a:pt x="366" y="693"/>
                  </a:moveTo>
                  <a:lnTo>
                    <a:pt x="366" y="692"/>
                  </a:lnTo>
                  <a:lnTo>
                    <a:pt x="368" y="692"/>
                  </a:lnTo>
                  <a:lnTo>
                    <a:pt x="368" y="693"/>
                  </a:lnTo>
                  <a:lnTo>
                    <a:pt x="366" y="693"/>
                  </a:lnTo>
                  <a:close/>
                  <a:moveTo>
                    <a:pt x="223" y="1458"/>
                  </a:moveTo>
                  <a:lnTo>
                    <a:pt x="223" y="1456"/>
                  </a:lnTo>
                  <a:lnTo>
                    <a:pt x="223" y="1458"/>
                  </a:lnTo>
                  <a:close/>
                  <a:moveTo>
                    <a:pt x="244" y="1393"/>
                  </a:moveTo>
                  <a:lnTo>
                    <a:pt x="243" y="1393"/>
                  </a:lnTo>
                  <a:lnTo>
                    <a:pt x="244" y="1393"/>
                  </a:lnTo>
                  <a:close/>
                  <a:moveTo>
                    <a:pt x="163" y="1077"/>
                  </a:moveTo>
                  <a:lnTo>
                    <a:pt x="165" y="1077"/>
                  </a:lnTo>
                  <a:lnTo>
                    <a:pt x="163" y="1077"/>
                  </a:lnTo>
                  <a:close/>
                  <a:moveTo>
                    <a:pt x="199" y="1041"/>
                  </a:moveTo>
                  <a:lnTo>
                    <a:pt x="199" y="1043"/>
                  </a:lnTo>
                  <a:lnTo>
                    <a:pt x="199" y="1041"/>
                  </a:lnTo>
                  <a:close/>
                  <a:moveTo>
                    <a:pt x="241" y="1410"/>
                  </a:moveTo>
                  <a:lnTo>
                    <a:pt x="241" y="1409"/>
                  </a:lnTo>
                  <a:lnTo>
                    <a:pt x="241" y="1410"/>
                  </a:lnTo>
                  <a:close/>
                  <a:moveTo>
                    <a:pt x="277" y="1492"/>
                  </a:moveTo>
                  <a:lnTo>
                    <a:pt x="278" y="1490"/>
                  </a:lnTo>
                  <a:lnTo>
                    <a:pt x="278" y="1492"/>
                  </a:lnTo>
                  <a:lnTo>
                    <a:pt x="277" y="1492"/>
                  </a:lnTo>
                  <a:close/>
                  <a:moveTo>
                    <a:pt x="225" y="1220"/>
                  </a:moveTo>
                  <a:lnTo>
                    <a:pt x="225" y="1222"/>
                  </a:lnTo>
                  <a:lnTo>
                    <a:pt x="225" y="1220"/>
                  </a:lnTo>
                  <a:close/>
                  <a:moveTo>
                    <a:pt x="265" y="1511"/>
                  </a:moveTo>
                  <a:lnTo>
                    <a:pt x="267" y="1511"/>
                  </a:lnTo>
                  <a:lnTo>
                    <a:pt x="265" y="1511"/>
                  </a:lnTo>
                  <a:close/>
                  <a:moveTo>
                    <a:pt x="259" y="1466"/>
                  </a:moveTo>
                  <a:lnTo>
                    <a:pt x="259" y="1464"/>
                  </a:lnTo>
                  <a:lnTo>
                    <a:pt x="259" y="1466"/>
                  </a:lnTo>
                  <a:close/>
                  <a:moveTo>
                    <a:pt x="143" y="1485"/>
                  </a:moveTo>
                  <a:lnTo>
                    <a:pt x="143" y="1487"/>
                  </a:lnTo>
                  <a:lnTo>
                    <a:pt x="143" y="1485"/>
                  </a:lnTo>
                  <a:close/>
                  <a:moveTo>
                    <a:pt x="571" y="1402"/>
                  </a:moveTo>
                  <a:lnTo>
                    <a:pt x="571" y="1401"/>
                  </a:lnTo>
                  <a:lnTo>
                    <a:pt x="571" y="1402"/>
                  </a:lnTo>
                  <a:close/>
                  <a:moveTo>
                    <a:pt x="275" y="926"/>
                  </a:moveTo>
                  <a:lnTo>
                    <a:pt x="277" y="927"/>
                  </a:lnTo>
                  <a:lnTo>
                    <a:pt x="275" y="927"/>
                  </a:lnTo>
                  <a:lnTo>
                    <a:pt x="275" y="926"/>
                  </a:lnTo>
                  <a:close/>
                  <a:moveTo>
                    <a:pt x="322" y="1490"/>
                  </a:moveTo>
                  <a:lnTo>
                    <a:pt x="321" y="1490"/>
                  </a:lnTo>
                  <a:lnTo>
                    <a:pt x="322" y="1490"/>
                  </a:lnTo>
                  <a:close/>
                  <a:moveTo>
                    <a:pt x="373" y="1453"/>
                  </a:moveTo>
                  <a:lnTo>
                    <a:pt x="373" y="1451"/>
                  </a:lnTo>
                  <a:lnTo>
                    <a:pt x="373" y="1453"/>
                  </a:lnTo>
                  <a:close/>
                  <a:moveTo>
                    <a:pt x="257" y="1389"/>
                  </a:moveTo>
                  <a:lnTo>
                    <a:pt x="257" y="1388"/>
                  </a:lnTo>
                  <a:lnTo>
                    <a:pt x="257" y="1389"/>
                  </a:lnTo>
                  <a:close/>
                  <a:moveTo>
                    <a:pt x="267" y="1479"/>
                  </a:moveTo>
                  <a:lnTo>
                    <a:pt x="267" y="1477"/>
                  </a:lnTo>
                  <a:lnTo>
                    <a:pt x="267" y="1479"/>
                  </a:lnTo>
                  <a:close/>
                  <a:moveTo>
                    <a:pt x="306" y="1497"/>
                  </a:moveTo>
                  <a:lnTo>
                    <a:pt x="306" y="1495"/>
                  </a:lnTo>
                  <a:lnTo>
                    <a:pt x="306" y="1497"/>
                  </a:lnTo>
                  <a:close/>
                  <a:moveTo>
                    <a:pt x="238" y="1445"/>
                  </a:moveTo>
                  <a:lnTo>
                    <a:pt x="238" y="1443"/>
                  </a:lnTo>
                  <a:lnTo>
                    <a:pt x="238" y="1445"/>
                  </a:lnTo>
                  <a:close/>
                  <a:moveTo>
                    <a:pt x="309" y="1495"/>
                  </a:moveTo>
                  <a:lnTo>
                    <a:pt x="311" y="1495"/>
                  </a:lnTo>
                  <a:lnTo>
                    <a:pt x="309" y="1495"/>
                  </a:lnTo>
                  <a:close/>
                  <a:moveTo>
                    <a:pt x="527" y="1420"/>
                  </a:moveTo>
                  <a:lnTo>
                    <a:pt x="529" y="1422"/>
                  </a:lnTo>
                  <a:lnTo>
                    <a:pt x="527" y="1422"/>
                  </a:lnTo>
                  <a:lnTo>
                    <a:pt x="527" y="1420"/>
                  </a:lnTo>
                  <a:close/>
                  <a:moveTo>
                    <a:pt x="231" y="1488"/>
                  </a:moveTo>
                  <a:lnTo>
                    <a:pt x="231" y="1490"/>
                  </a:lnTo>
                  <a:lnTo>
                    <a:pt x="231" y="1488"/>
                  </a:lnTo>
                  <a:close/>
                  <a:moveTo>
                    <a:pt x="187" y="1061"/>
                  </a:moveTo>
                  <a:lnTo>
                    <a:pt x="189" y="1059"/>
                  </a:lnTo>
                  <a:lnTo>
                    <a:pt x="189" y="1061"/>
                  </a:lnTo>
                  <a:lnTo>
                    <a:pt x="187" y="1061"/>
                  </a:lnTo>
                  <a:close/>
                  <a:moveTo>
                    <a:pt x="257" y="1518"/>
                  </a:moveTo>
                  <a:lnTo>
                    <a:pt x="259" y="1518"/>
                  </a:lnTo>
                  <a:lnTo>
                    <a:pt x="257" y="1519"/>
                  </a:lnTo>
                  <a:lnTo>
                    <a:pt x="257" y="1518"/>
                  </a:lnTo>
                  <a:close/>
                  <a:moveTo>
                    <a:pt x="192" y="1127"/>
                  </a:moveTo>
                  <a:lnTo>
                    <a:pt x="191" y="1127"/>
                  </a:lnTo>
                  <a:lnTo>
                    <a:pt x="192" y="1127"/>
                  </a:lnTo>
                  <a:close/>
                  <a:moveTo>
                    <a:pt x="228" y="1495"/>
                  </a:moveTo>
                  <a:lnTo>
                    <a:pt x="230" y="1495"/>
                  </a:lnTo>
                  <a:lnTo>
                    <a:pt x="228" y="1495"/>
                  </a:lnTo>
                  <a:close/>
                  <a:moveTo>
                    <a:pt x="358" y="1495"/>
                  </a:moveTo>
                  <a:lnTo>
                    <a:pt x="358" y="1493"/>
                  </a:lnTo>
                  <a:lnTo>
                    <a:pt x="358" y="1495"/>
                  </a:lnTo>
                  <a:close/>
                  <a:moveTo>
                    <a:pt x="578" y="1386"/>
                  </a:moveTo>
                  <a:lnTo>
                    <a:pt x="578" y="1384"/>
                  </a:lnTo>
                  <a:lnTo>
                    <a:pt x="579" y="1386"/>
                  </a:lnTo>
                  <a:lnTo>
                    <a:pt x="578" y="1386"/>
                  </a:lnTo>
                  <a:close/>
                  <a:moveTo>
                    <a:pt x="488" y="1458"/>
                  </a:moveTo>
                  <a:lnTo>
                    <a:pt x="487" y="1458"/>
                  </a:lnTo>
                  <a:lnTo>
                    <a:pt x="488" y="1458"/>
                  </a:lnTo>
                  <a:close/>
                  <a:moveTo>
                    <a:pt x="228" y="1404"/>
                  </a:moveTo>
                  <a:lnTo>
                    <a:pt x="228" y="1402"/>
                  </a:lnTo>
                  <a:lnTo>
                    <a:pt x="228" y="1404"/>
                  </a:lnTo>
                  <a:close/>
                  <a:moveTo>
                    <a:pt x="191" y="1129"/>
                  </a:moveTo>
                  <a:lnTo>
                    <a:pt x="191" y="1131"/>
                  </a:lnTo>
                  <a:lnTo>
                    <a:pt x="191" y="1129"/>
                  </a:lnTo>
                  <a:close/>
                  <a:moveTo>
                    <a:pt x="296" y="913"/>
                  </a:moveTo>
                  <a:lnTo>
                    <a:pt x="295" y="913"/>
                  </a:lnTo>
                  <a:lnTo>
                    <a:pt x="296" y="913"/>
                  </a:lnTo>
                  <a:close/>
                  <a:moveTo>
                    <a:pt x="217" y="1464"/>
                  </a:moveTo>
                  <a:lnTo>
                    <a:pt x="217" y="1466"/>
                  </a:lnTo>
                  <a:lnTo>
                    <a:pt x="217" y="1464"/>
                  </a:lnTo>
                  <a:close/>
                  <a:moveTo>
                    <a:pt x="247" y="1453"/>
                  </a:moveTo>
                  <a:lnTo>
                    <a:pt x="249" y="1453"/>
                  </a:lnTo>
                  <a:lnTo>
                    <a:pt x="247" y="1453"/>
                  </a:lnTo>
                  <a:close/>
                  <a:moveTo>
                    <a:pt x="324" y="1516"/>
                  </a:moveTo>
                  <a:lnTo>
                    <a:pt x="326" y="1516"/>
                  </a:lnTo>
                  <a:lnTo>
                    <a:pt x="324" y="1516"/>
                  </a:lnTo>
                  <a:close/>
                  <a:moveTo>
                    <a:pt x="491" y="1454"/>
                  </a:moveTo>
                  <a:lnTo>
                    <a:pt x="493" y="1454"/>
                  </a:lnTo>
                  <a:lnTo>
                    <a:pt x="491" y="1454"/>
                  </a:lnTo>
                  <a:close/>
                  <a:moveTo>
                    <a:pt x="483" y="1464"/>
                  </a:moveTo>
                  <a:lnTo>
                    <a:pt x="485" y="1464"/>
                  </a:lnTo>
                  <a:lnTo>
                    <a:pt x="483" y="1464"/>
                  </a:lnTo>
                  <a:close/>
                  <a:moveTo>
                    <a:pt x="682" y="1347"/>
                  </a:moveTo>
                  <a:lnTo>
                    <a:pt x="682" y="1349"/>
                  </a:lnTo>
                  <a:lnTo>
                    <a:pt x="682" y="1347"/>
                  </a:lnTo>
                  <a:close/>
                  <a:moveTo>
                    <a:pt x="290" y="649"/>
                  </a:moveTo>
                  <a:lnTo>
                    <a:pt x="291" y="649"/>
                  </a:lnTo>
                  <a:lnTo>
                    <a:pt x="290" y="649"/>
                  </a:lnTo>
                  <a:close/>
                  <a:moveTo>
                    <a:pt x="296" y="914"/>
                  </a:moveTo>
                  <a:lnTo>
                    <a:pt x="298" y="914"/>
                  </a:lnTo>
                  <a:lnTo>
                    <a:pt x="296" y="914"/>
                  </a:lnTo>
                  <a:close/>
                  <a:moveTo>
                    <a:pt x="306" y="1467"/>
                  </a:moveTo>
                  <a:lnTo>
                    <a:pt x="308" y="1467"/>
                  </a:lnTo>
                  <a:lnTo>
                    <a:pt x="306" y="1467"/>
                  </a:lnTo>
                  <a:close/>
                  <a:moveTo>
                    <a:pt x="340" y="1428"/>
                  </a:moveTo>
                  <a:lnTo>
                    <a:pt x="339" y="1428"/>
                  </a:lnTo>
                  <a:lnTo>
                    <a:pt x="340" y="1427"/>
                  </a:lnTo>
                  <a:lnTo>
                    <a:pt x="340" y="1428"/>
                  </a:lnTo>
                  <a:close/>
                  <a:moveTo>
                    <a:pt x="295" y="1500"/>
                  </a:moveTo>
                  <a:lnTo>
                    <a:pt x="295" y="1498"/>
                  </a:lnTo>
                  <a:lnTo>
                    <a:pt x="295" y="1500"/>
                  </a:lnTo>
                  <a:close/>
                  <a:moveTo>
                    <a:pt x="578" y="1384"/>
                  </a:moveTo>
                  <a:lnTo>
                    <a:pt x="579" y="1384"/>
                  </a:lnTo>
                  <a:lnTo>
                    <a:pt x="578" y="1384"/>
                  </a:lnTo>
                  <a:close/>
                  <a:moveTo>
                    <a:pt x="192" y="1124"/>
                  </a:moveTo>
                  <a:lnTo>
                    <a:pt x="194" y="1124"/>
                  </a:lnTo>
                  <a:lnTo>
                    <a:pt x="194" y="1126"/>
                  </a:lnTo>
                  <a:lnTo>
                    <a:pt x="192" y="1124"/>
                  </a:lnTo>
                  <a:close/>
                  <a:moveTo>
                    <a:pt x="316" y="1480"/>
                  </a:moveTo>
                  <a:lnTo>
                    <a:pt x="317" y="1480"/>
                  </a:lnTo>
                  <a:lnTo>
                    <a:pt x="316" y="1480"/>
                  </a:lnTo>
                  <a:close/>
                  <a:moveTo>
                    <a:pt x="184" y="1461"/>
                  </a:moveTo>
                  <a:lnTo>
                    <a:pt x="182" y="1461"/>
                  </a:lnTo>
                  <a:lnTo>
                    <a:pt x="184" y="1461"/>
                  </a:lnTo>
                  <a:close/>
                  <a:moveTo>
                    <a:pt x="407" y="1492"/>
                  </a:moveTo>
                  <a:lnTo>
                    <a:pt x="409" y="1490"/>
                  </a:lnTo>
                  <a:lnTo>
                    <a:pt x="409" y="1492"/>
                  </a:lnTo>
                  <a:lnTo>
                    <a:pt x="407" y="1492"/>
                  </a:lnTo>
                  <a:close/>
                  <a:moveTo>
                    <a:pt x="361" y="1492"/>
                  </a:moveTo>
                  <a:lnTo>
                    <a:pt x="363" y="1490"/>
                  </a:lnTo>
                  <a:lnTo>
                    <a:pt x="363" y="1492"/>
                  </a:lnTo>
                  <a:lnTo>
                    <a:pt x="361" y="1492"/>
                  </a:lnTo>
                  <a:close/>
                  <a:moveTo>
                    <a:pt x="509" y="1423"/>
                  </a:moveTo>
                  <a:lnTo>
                    <a:pt x="511" y="1423"/>
                  </a:lnTo>
                  <a:lnTo>
                    <a:pt x="509" y="1423"/>
                  </a:lnTo>
                  <a:close/>
                  <a:moveTo>
                    <a:pt x="252" y="1389"/>
                  </a:moveTo>
                  <a:lnTo>
                    <a:pt x="254" y="1389"/>
                  </a:lnTo>
                  <a:lnTo>
                    <a:pt x="252" y="1389"/>
                  </a:lnTo>
                  <a:close/>
                  <a:moveTo>
                    <a:pt x="337" y="1500"/>
                  </a:moveTo>
                  <a:lnTo>
                    <a:pt x="339" y="1500"/>
                  </a:lnTo>
                  <a:lnTo>
                    <a:pt x="339" y="1501"/>
                  </a:lnTo>
                  <a:lnTo>
                    <a:pt x="337" y="1500"/>
                  </a:lnTo>
                  <a:close/>
                  <a:moveTo>
                    <a:pt x="586" y="1396"/>
                  </a:moveTo>
                  <a:lnTo>
                    <a:pt x="586" y="1394"/>
                  </a:lnTo>
                  <a:lnTo>
                    <a:pt x="586" y="1396"/>
                  </a:lnTo>
                  <a:close/>
                  <a:moveTo>
                    <a:pt x="306" y="652"/>
                  </a:moveTo>
                  <a:lnTo>
                    <a:pt x="308" y="652"/>
                  </a:lnTo>
                  <a:lnTo>
                    <a:pt x="306" y="652"/>
                  </a:lnTo>
                  <a:close/>
                  <a:moveTo>
                    <a:pt x="207" y="1501"/>
                  </a:moveTo>
                  <a:lnTo>
                    <a:pt x="207" y="1503"/>
                  </a:lnTo>
                  <a:lnTo>
                    <a:pt x="207" y="1501"/>
                  </a:lnTo>
                  <a:close/>
                  <a:moveTo>
                    <a:pt x="329" y="1454"/>
                  </a:moveTo>
                  <a:lnTo>
                    <a:pt x="330" y="1454"/>
                  </a:lnTo>
                  <a:lnTo>
                    <a:pt x="330" y="1456"/>
                  </a:lnTo>
                  <a:lnTo>
                    <a:pt x="329" y="1454"/>
                  </a:lnTo>
                  <a:close/>
                  <a:moveTo>
                    <a:pt x="457" y="1453"/>
                  </a:moveTo>
                  <a:lnTo>
                    <a:pt x="459" y="1453"/>
                  </a:lnTo>
                  <a:lnTo>
                    <a:pt x="457" y="1453"/>
                  </a:lnTo>
                  <a:close/>
                  <a:moveTo>
                    <a:pt x="322" y="1485"/>
                  </a:moveTo>
                  <a:lnTo>
                    <a:pt x="324" y="1485"/>
                  </a:lnTo>
                  <a:lnTo>
                    <a:pt x="322" y="1485"/>
                  </a:lnTo>
                  <a:close/>
                  <a:moveTo>
                    <a:pt x="249" y="1511"/>
                  </a:moveTo>
                  <a:lnTo>
                    <a:pt x="249" y="1510"/>
                  </a:lnTo>
                  <a:lnTo>
                    <a:pt x="249" y="1511"/>
                  </a:lnTo>
                  <a:close/>
                  <a:moveTo>
                    <a:pt x="293" y="916"/>
                  </a:moveTo>
                  <a:lnTo>
                    <a:pt x="293" y="914"/>
                  </a:lnTo>
                  <a:lnTo>
                    <a:pt x="293" y="916"/>
                  </a:lnTo>
                  <a:close/>
                  <a:moveTo>
                    <a:pt x="477" y="1454"/>
                  </a:moveTo>
                  <a:lnTo>
                    <a:pt x="477" y="1456"/>
                  </a:lnTo>
                  <a:lnTo>
                    <a:pt x="477" y="1454"/>
                  </a:lnTo>
                  <a:close/>
                  <a:moveTo>
                    <a:pt x="496" y="1441"/>
                  </a:moveTo>
                  <a:lnTo>
                    <a:pt x="498" y="1441"/>
                  </a:lnTo>
                  <a:lnTo>
                    <a:pt x="496" y="1441"/>
                  </a:lnTo>
                  <a:close/>
                  <a:moveTo>
                    <a:pt x="563" y="1391"/>
                  </a:moveTo>
                  <a:lnTo>
                    <a:pt x="561" y="1391"/>
                  </a:lnTo>
                  <a:lnTo>
                    <a:pt x="563" y="1391"/>
                  </a:lnTo>
                  <a:close/>
                  <a:moveTo>
                    <a:pt x="252" y="950"/>
                  </a:moveTo>
                  <a:lnTo>
                    <a:pt x="254" y="950"/>
                  </a:lnTo>
                  <a:lnTo>
                    <a:pt x="254" y="952"/>
                  </a:lnTo>
                  <a:lnTo>
                    <a:pt x="252" y="950"/>
                  </a:lnTo>
                  <a:close/>
                  <a:moveTo>
                    <a:pt x="495" y="1446"/>
                  </a:moveTo>
                  <a:lnTo>
                    <a:pt x="495" y="1445"/>
                  </a:lnTo>
                  <a:lnTo>
                    <a:pt x="495" y="1446"/>
                  </a:lnTo>
                  <a:close/>
                  <a:moveTo>
                    <a:pt x="631" y="1350"/>
                  </a:moveTo>
                  <a:lnTo>
                    <a:pt x="633" y="1350"/>
                  </a:lnTo>
                  <a:lnTo>
                    <a:pt x="631" y="1350"/>
                  </a:lnTo>
                  <a:close/>
                  <a:moveTo>
                    <a:pt x="238" y="1414"/>
                  </a:moveTo>
                  <a:lnTo>
                    <a:pt x="238" y="1415"/>
                  </a:lnTo>
                  <a:lnTo>
                    <a:pt x="238" y="1414"/>
                  </a:lnTo>
                  <a:close/>
                  <a:moveTo>
                    <a:pt x="174" y="1445"/>
                  </a:moveTo>
                  <a:lnTo>
                    <a:pt x="176" y="1445"/>
                  </a:lnTo>
                  <a:lnTo>
                    <a:pt x="174" y="1445"/>
                  </a:lnTo>
                  <a:close/>
                  <a:moveTo>
                    <a:pt x="247" y="1440"/>
                  </a:moveTo>
                  <a:lnTo>
                    <a:pt x="247" y="1438"/>
                  </a:lnTo>
                  <a:lnTo>
                    <a:pt x="247" y="1440"/>
                  </a:lnTo>
                  <a:close/>
                  <a:moveTo>
                    <a:pt x="261" y="1497"/>
                  </a:moveTo>
                  <a:lnTo>
                    <a:pt x="261" y="1498"/>
                  </a:lnTo>
                  <a:lnTo>
                    <a:pt x="261" y="1497"/>
                  </a:lnTo>
                  <a:close/>
                  <a:moveTo>
                    <a:pt x="204" y="1017"/>
                  </a:moveTo>
                  <a:lnTo>
                    <a:pt x="204" y="1015"/>
                  </a:lnTo>
                  <a:lnTo>
                    <a:pt x="204" y="1017"/>
                  </a:lnTo>
                  <a:close/>
                  <a:moveTo>
                    <a:pt x="366" y="1487"/>
                  </a:moveTo>
                  <a:lnTo>
                    <a:pt x="366" y="1485"/>
                  </a:lnTo>
                  <a:lnTo>
                    <a:pt x="366" y="1487"/>
                  </a:lnTo>
                  <a:close/>
                  <a:moveTo>
                    <a:pt x="420" y="1456"/>
                  </a:moveTo>
                  <a:lnTo>
                    <a:pt x="422" y="1456"/>
                  </a:lnTo>
                  <a:lnTo>
                    <a:pt x="420" y="1456"/>
                  </a:lnTo>
                  <a:close/>
                  <a:moveTo>
                    <a:pt x="246" y="1386"/>
                  </a:moveTo>
                  <a:lnTo>
                    <a:pt x="246" y="1388"/>
                  </a:lnTo>
                  <a:lnTo>
                    <a:pt x="246" y="1386"/>
                  </a:lnTo>
                  <a:close/>
                  <a:moveTo>
                    <a:pt x="274" y="1441"/>
                  </a:moveTo>
                  <a:lnTo>
                    <a:pt x="272" y="1441"/>
                  </a:lnTo>
                  <a:lnTo>
                    <a:pt x="274" y="1441"/>
                  </a:lnTo>
                  <a:close/>
                  <a:moveTo>
                    <a:pt x="239" y="1331"/>
                  </a:moveTo>
                  <a:lnTo>
                    <a:pt x="239" y="1329"/>
                  </a:lnTo>
                  <a:lnTo>
                    <a:pt x="239" y="1331"/>
                  </a:lnTo>
                  <a:close/>
                  <a:moveTo>
                    <a:pt x="197" y="1030"/>
                  </a:moveTo>
                  <a:lnTo>
                    <a:pt x="197" y="1031"/>
                  </a:lnTo>
                  <a:lnTo>
                    <a:pt x="197" y="1030"/>
                  </a:lnTo>
                  <a:close/>
                  <a:moveTo>
                    <a:pt x="379" y="1495"/>
                  </a:moveTo>
                  <a:lnTo>
                    <a:pt x="379" y="1493"/>
                  </a:lnTo>
                  <a:lnTo>
                    <a:pt x="379" y="1495"/>
                  </a:lnTo>
                  <a:close/>
                  <a:moveTo>
                    <a:pt x="261" y="1433"/>
                  </a:moveTo>
                  <a:lnTo>
                    <a:pt x="262" y="1433"/>
                  </a:lnTo>
                  <a:lnTo>
                    <a:pt x="261" y="1433"/>
                  </a:lnTo>
                  <a:close/>
                  <a:moveTo>
                    <a:pt x="223" y="1475"/>
                  </a:moveTo>
                  <a:lnTo>
                    <a:pt x="223" y="1477"/>
                  </a:lnTo>
                  <a:lnTo>
                    <a:pt x="223" y="1475"/>
                  </a:lnTo>
                  <a:close/>
                  <a:moveTo>
                    <a:pt x="317" y="1449"/>
                  </a:moveTo>
                  <a:lnTo>
                    <a:pt x="317" y="1448"/>
                  </a:lnTo>
                  <a:lnTo>
                    <a:pt x="317" y="1449"/>
                  </a:lnTo>
                  <a:close/>
                  <a:moveTo>
                    <a:pt x="304" y="1427"/>
                  </a:moveTo>
                  <a:lnTo>
                    <a:pt x="304" y="1425"/>
                  </a:lnTo>
                  <a:lnTo>
                    <a:pt x="304" y="1427"/>
                  </a:lnTo>
                  <a:close/>
                  <a:moveTo>
                    <a:pt x="337" y="1428"/>
                  </a:moveTo>
                  <a:lnTo>
                    <a:pt x="339" y="1428"/>
                  </a:lnTo>
                  <a:lnTo>
                    <a:pt x="337" y="1428"/>
                  </a:lnTo>
                  <a:close/>
                  <a:moveTo>
                    <a:pt x="369" y="706"/>
                  </a:moveTo>
                  <a:lnTo>
                    <a:pt x="369" y="708"/>
                  </a:lnTo>
                  <a:lnTo>
                    <a:pt x="369" y="706"/>
                  </a:lnTo>
                  <a:close/>
                  <a:moveTo>
                    <a:pt x="391" y="1487"/>
                  </a:moveTo>
                  <a:lnTo>
                    <a:pt x="392" y="1487"/>
                  </a:lnTo>
                  <a:lnTo>
                    <a:pt x="391" y="1488"/>
                  </a:lnTo>
                  <a:lnTo>
                    <a:pt x="391" y="1487"/>
                  </a:lnTo>
                  <a:close/>
                  <a:moveTo>
                    <a:pt x="449" y="1469"/>
                  </a:moveTo>
                  <a:lnTo>
                    <a:pt x="449" y="1471"/>
                  </a:lnTo>
                  <a:lnTo>
                    <a:pt x="449" y="1469"/>
                  </a:lnTo>
                  <a:close/>
                  <a:moveTo>
                    <a:pt x="306" y="1513"/>
                  </a:moveTo>
                  <a:lnTo>
                    <a:pt x="308" y="1513"/>
                  </a:lnTo>
                  <a:lnTo>
                    <a:pt x="308" y="1514"/>
                  </a:lnTo>
                  <a:lnTo>
                    <a:pt x="306" y="1513"/>
                  </a:lnTo>
                  <a:close/>
                  <a:moveTo>
                    <a:pt x="265" y="1448"/>
                  </a:moveTo>
                  <a:lnTo>
                    <a:pt x="265" y="1449"/>
                  </a:lnTo>
                  <a:lnTo>
                    <a:pt x="265" y="1448"/>
                  </a:lnTo>
                  <a:close/>
                  <a:moveTo>
                    <a:pt x="272" y="1441"/>
                  </a:moveTo>
                  <a:lnTo>
                    <a:pt x="272" y="1443"/>
                  </a:lnTo>
                  <a:lnTo>
                    <a:pt x="272" y="1441"/>
                  </a:lnTo>
                  <a:close/>
                  <a:moveTo>
                    <a:pt x="208" y="1461"/>
                  </a:moveTo>
                  <a:lnTo>
                    <a:pt x="208" y="1459"/>
                  </a:lnTo>
                  <a:lnTo>
                    <a:pt x="208" y="1461"/>
                  </a:lnTo>
                  <a:close/>
                  <a:moveTo>
                    <a:pt x="596" y="1389"/>
                  </a:moveTo>
                  <a:lnTo>
                    <a:pt x="594" y="1389"/>
                  </a:lnTo>
                  <a:lnTo>
                    <a:pt x="596" y="1389"/>
                  </a:lnTo>
                  <a:close/>
                  <a:moveTo>
                    <a:pt x="225" y="1017"/>
                  </a:moveTo>
                  <a:lnTo>
                    <a:pt x="226" y="1017"/>
                  </a:lnTo>
                  <a:lnTo>
                    <a:pt x="225" y="1017"/>
                  </a:lnTo>
                  <a:close/>
                  <a:moveTo>
                    <a:pt x="197" y="1040"/>
                  </a:moveTo>
                  <a:lnTo>
                    <a:pt x="199" y="1040"/>
                  </a:lnTo>
                  <a:lnTo>
                    <a:pt x="197" y="1040"/>
                  </a:lnTo>
                  <a:close/>
                  <a:moveTo>
                    <a:pt x="234" y="1293"/>
                  </a:moveTo>
                  <a:lnTo>
                    <a:pt x="234" y="1292"/>
                  </a:lnTo>
                  <a:lnTo>
                    <a:pt x="234" y="1293"/>
                  </a:lnTo>
                  <a:lnTo>
                    <a:pt x="234" y="1292"/>
                  </a:lnTo>
                  <a:lnTo>
                    <a:pt x="234" y="1293"/>
                  </a:lnTo>
                  <a:close/>
                  <a:moveTo>
                    <a:pt x="311" y="1484"/>
                  </a:moveTo>
                  <a:lnTo>
                    <a:pt x="311" y="1485"/>
                  </a:lnTo>
                  <a:lnTo>
                    <a:pt x="311" y="1484"/>
                  </a:lnTo>
                  <a:close/>
                  <a:moveTo>
                    <a:pt x="321" y="589"/>
                  </a:moveTo>
                  <a:lnTo>
                    <a:pt x="319" y="589"/>
                  </a:lnTo>
                  <a:lnTo>
                    <a:pt x="321" y="587"/>
                  </a:lnTo>
                  <a:lnTo>
                    <a:pt x="321" y="589"/>
                  </a:lnTo>
                  <a:close/>
                  <a:moveTo>
                    <a:pt x="519" y="1422"/>
                  </a:moveTo>
                  <a:lnTo>
                    <a:pt x="521" y="1422"/>
                  </a:lnTo>
                  <a:lnTo>
                    <a:pt x="519" y="1422"/>
                  </a:lnTo>
                  <a:close/>
                  <a:moveTo>
                    <a:pt x="415" y="1488"/>
                  </a:moveTo>
                  <a:lnTo>
                    <a:pt x="415" y="1487"/>
                  </a:lnTo>
                  <a:lnTo>
                    <a:pt x="415" y="1488"/>
                  </a:lnTo>
                  <a:close/>
                  <a:moveTo>
                    <a:pt x="192" y="1127"/>
                  </a:moveTo>
                  <a:lnTo>
                    <a:pt x="192" y="1126"/>
                  </a:lnTo>
                  <a:lnTo>
                    <a:pt x="192" y="1127"/>
                  </a:lnTo>
                  <a:close/>
                  <a:moveTo>
                    <a:pt x="330" y="1461"/>
                  </a:moveTo>
                  <a:lnTo>
                    <a:pt x="330" y="1462"/>
                  </a:lnTo>
                  <a:lnTo>
                    <a:pt x="330" y="1461"/>
                  </a:lnTo>
                  <a:close/>
                  <a:moveTo>
                    <a:pt x="252" y="1436"/>
                  </a:moveTo>
                  <a:lnTo>
                    <a:pt x="252" y="1438"/>
                  </a:lnTo>
                  <a:lnTo>
                    <a:pt x="252" y="1436"/>
                  </a:lnTo>
                  <a:close/>
                  <a:moveTo>
                    <a:pt x="426" y="1488"/>
                  </a:moveTo>
                  <a:lnTo>
                    <a:pt x="426" y="1487"/>
                  </a:lnTo>
                  <a:lnTo>
                    <a:pt x="426" y="1488"/>
                  </a:lnTo>
                  <a:close/>
                  <a:moveTo>
                    <a:pt x="290" y="1523"/>
                  </a:moveTo>
                  <a:lnTo>
                    <a:pt x="290" y="1524"/>
                  </a:lnTo>
                  <a:lnTo>
                    <a:pt x="290" y="1523"/>
                  </a:lnTo>
                  <a:close/>
                  <a:moveTo>
                    <a:pt x="221" y="1475"/>
                  </a:moveTo>
                  <a:lnTo>
                    <a:pt x="221" y="1477"/>
                  </a:lnTo>
                  <a:lnTo>
                    <a:pt x="221" y="1475"/>
                  </a:lnTo>
                  <a:close/>
                  <a:moveTo>
                    <a:pt x="238" y="1461"/>
                  </a:moveTo>
                  <a:lnTo>
                    <a:pt x="238" y="1459"/>
                  </a:lnTo>
                  <a:lnTo>
                    <a:pt x="238" y="1461"/>
                  </a:lnTo>
                  <a:close/>
                  <a:moveTo>
                    <a:pt x="251" y="1422"/>
                  </a:moveTo>
                  <a:lnTo>
                    <a:pt x="251" y="1423"/>
                  </a:lnTo>
                  <a:lnTo>
                    <a:pt x="251" y="1422"/>
                  </a:lnTo>
                  <a:close/>
                  <a:moveTo>
                    <a:pt x="213" y="1173"/>
                  </a:moveTo>
                  <a:lnTo>
                    <a:pt x="215" y="1173"/>
                  </a:lnTo>
                  <a:lnTo>
                    <a:pt x="213" y="1175"/>
                  </a:lnTo>
                  <a:lnTo>
                    <a:pt x="213" y="1173"/>
                  </a:lnTo>
                  <a:close/>
                  <a:moveTo>
                    <a:pt x="301" y="641"/>
                  </a:moveTo>
                  <a:lnTo>
                    <a:pt x="301" y="643"/>
                  </a:lnTo>
                  <a:lnTo>
                    <a:pt x="301" y="641"/>
                  </a:lnTo>
                  <a:close/>
                  <a:moveTo>
                    <a:pt x="238" y="1389"/>
                  </a:moveTo>
                  <a:lnTo>
                    <a:pt x="239" y="1389"/>
                  </a:lnTo>
                  <a:lnTo>
                    <a:pt x="238" y="1389"/>
                  </a:lnTo>
                  <a:close/>
                  <a:moveTo>
                    <a:pt x="262" y="953"/>
                  </a:moveTo>
                  <a:lnTo>
                    <a:pt x="262" y="955"/>
                  </a:lnTo>
                  <a:lnTo>
                    <a:pt x="262" y="953"/>
                  </a:lnTo>
                  <a:close/>
                  <a:moveTo>
                    <a:pt x="277" y="1436"/>
                  </a:moveTo>
                  <a:lnTo>
                    <a:pt x="277" y="1435"/>
                  </a:lnTo>
                  <a:lnTo>
                    <a:pt x="277" y="1436"/>
                  </a:lnTo>
                  <a:close/>
                  <a:moveTo>
                    <a:pt x="265" y="1500"/>
                  </a:moveTo>
                  <a:lnTo>
                    <a:pt x="265" y="1501"/>
                  </a:lnTo>
                  <a:lnTo>
                    <a:pt x="265" y="1500"/>
                  </a:lnTo>
                  <a:close/>
                  <a:moveTo>
                    <a:pt x="560" y="1389"/>
                  </a:moveTo>
                  <a:lnTo>
                    <a:pt x="561" y="1389"/>
                  </a:lnTo>
                  <a:lnTo>
                    <a:pt x="560" y="1389"/>
                  </a:lnTo>
                  <a:close/>
                  <a:moveTo>
                    <a:pt x="199" y="1469"/>
                  </a:moveTo>
                  <a:lnTo>
                    <a:pt x="197" y="1469"/>
                  </a:lnTo>
                  <a:lnTo>
                    <a:pt x="199" y="1469"/>
                  </a:lnTo>
                  <a:close/>
                  <a:moveTo>
                    <a:pt x="314" y="1425"/>
                  </a:moveTo>
                  <a:lnTo>
                    <a:pt x="316" y="1425"/>
                  </a:lnTo>
                  <a:lnTo>
                    <a:pt x="314" y="1425"/>
                  </a:lnTo>
                  <a:close/>
                  <a:moveTo>
                    <a:pt x="469" y="1454"/>
                  </a:moveTo>
                  <a:lnTo>
                    <a:pt x="469" y="1453"/>
                  </a:lnTo>
                  <a:lnTo>
                    <a:pt x="469" y="1454"/>
                  </a:lnTo>
                  <a:close/>
                  <a:moveTo>
                    <a:pt x="290" y="1519"/>
                  </a:moveTo>
                  <a:lnTo>
                    <a:pt x="290" y="1521"/>
                  </a:lnTo>
                  <a:lnTo>
                    <a:pt x="290" y="1519"/>
                  </a:lnTo>
                  <a:close/>
                  <a:moveTo>
                    <a:pt x="238" y="1243"/>
                  </a:moveTo>
                  <a:lnTo>
                    <a:pt x="236" y="1243"/>
                  </a:lnTo>
                  <a:lnTo>
                    <a:pt x="238" y="1243"/>
                  </a:lnTo>
                  <a:close/>
                  <a:moveTo>
                    <a:pt x="342" y="1495"/>
                  </a:moveTo>
                  <a:lnTo>
                    <a:pt x="340" y="1495"/>
                  </a:lnTo>
                  <a:lnTo>
                    <a:pt x="342" y="1493"/>
                  </a:lnTo>
                  <a:lnTo>
                    <a:pt x="342" y="1495"/>
                  </a:lnTo>
                  <a:close/>
                  <a:moveTo>
                    <a:pt x="254" y="1467"/>
                  </a:moveTo>
                  <a:lnTo>
                    <a:pt x="256" y="1467"/>
                  </a:lnTo>
                  <a:lnTo>
                    <a:pt x="254" y="1467"/>
                  </a:lnTo>
                  <a:close/>
                  <a:moveTo>
                    <a:pt x="226" y="1490"/>
                  </a:moveTo>
                  <a:lnTo>
                    <a:pt x="228" y="1490"/>
                  </a:lnTo>
                  <a:lnTo>
                    <a:pt x="226" y="1490"/>
                  </a:lnTo>
                  <a:close/>
                  <a:moveTo>
                    <a:pt x="184" y="1111"/>
                  </a:moveTo>
                  <a:lnTo>
                    <a:pt x="184" y="1113"/>
                  </a:lnTo>
                  <a:lnTo>
                    <a:pt x="184" y="1111"/>
                  </a:lnTo>
                  <a:close/>
                  <a:moveTo>
                    <a:pt x="278" y="1448"/>
                  </a:moveTo>
                  <a:lnTo>
                    <a:pt x="278" y="1446"/>
                  </a:lnTo>
                  <a:lnTo>
                    <a:pt x="278" y="1448"/>
                  </a:lnTo>
                  <a:close/>
                  <a:moveTo>
                    <a:pt x="228" y="1425"/>
                  </a:moveTo>
                  <a:lnTo>
                    <a:pt x="228" y="1427"/>
                  </a:lnTo>
                  <a:lnTo>
                    <a:pt x="228" y="1425"/>
                  </a:lnTo>
                  <a:close/>
                  <a:moveTo>
                    <a:pt x="378" y="1506"/>
                  </a:moveTo>
                  <a:lnTo>
                    <a:pt x="378" y="1505"/>
                  </a:lnTo>
                  <a:lnTo>
                    <a:pt x="378" y="1506"/>
                  </a:lnTo>
                  <a:close/>
                  <a:moveTo>
                    <a:pt x="215" y="1020"/>
                  </a:moveTo>
                  <a:lnTo>
                    <a:pt x="217" y="1020"/>
                  </a:lnTo>
                  <a:lnTo>
                    <a:pt x="215" y="1020"/>
                  </a:lnTo>
                  <a:close/>
                  <a:moveTo>
                    <a:pt x="238" y="1446"/>
                  </a:moveTo>
                  <a:lnTo>
                    <a:pt x="239" y="1446"/>
                  </a:lnTo>
                  <a:lnTo>
                    <a:pt x="238" y="1446"/>
                  </a:lnTo>
                  <a:close/>
                  <a:moveTo>
                    <a:pt x="366" y="1471"/>
                  </a:moveTo>
                  <a:lnTo>
                    <a:pt x="368" y="1469"/>
                  </a:lnTo>
                  <a:lnTo>
                    <a:pt x="368" y="1471"/>
                  </a:lnTo>
                  <a:lnTo>
                    <a:pt x="366" y="1471"/>
                  </a:lnTo>
                  <a:close/>
                  <a:moveTo>
                    <a:pt x="548" y="1406"/>
                  </a:moveTo>
                  <a:lnTo>
                    <a:pt x="548" y="1404"/>
                  </a:lnTo>
                  <a:lnTo>
                    <a:pt x="548" y="1406"/>
                  </a:lnTo>
                  <a:close/>
                  <a:moveTo>
                    <a:pt x="631" y="1353"/>
                  </a:moveTo>
                  <a:lnTo>
                    <a:pt x="633" y="1353"/>
                  </a:lnTo>
                  <a:lnTo>
                    <a:pt x="631" y="1353"/>
                  </a:lnTo>
                  <a:close/>
                  <a:moveTo>
                    <a:pt x="236" y="1235"/>
                  </a:moveTo>
                  <a:lnTo>
                    <a:pt x="234" y="1235"/>
                  </a:lnTo>
                  <a:lnTo>
                    <a:pt x="236" y="1235"/>
                  </a:lnTo>
                  <a:close/>
                  <a:moveTo>
                    <a:pt x="319" y="1487"/>
                  </a:moveTo>
                  <a:lnTo>
                    <a:pt x="319" y="1488"/>
                  </a:lnTo>
                  <a:lnTo>
                    <a:pt x="319" y="1487"/>
                  </a:lnTo>
                  <a:close/>
                  <a:moveTo>
                    <a:pt x="252" y="1523"/>
                  </a:moveTo>
                  <a:lnTo>
                    <a:pt x="254" y="1523"/>
                  </a:lnTo>
                  <a:lnTo>
                    <a:pt x="252" y="1523"/>
                  </a:lnTo>
                  <a:close/>
                  <a:moveTo>
                    <a:pt x="496" y="1451"/>
                  </a:moveTo>
                  <a:lnTo>
                    <a:pt x="496" y="1449"/>
                  </a:lnTo>
                  <a:lnTo>
                    <a:pt x="496" y="1451"/>
                  </a:lnTo>
                  <a:close/>
                  <a:moveTo>
                    <a:pt x="238" y="1319"/>
                  </a:moveTo>
                  <a:lnTo>
                    <a:pt x="238" y="1318"/>
                  </a:lnTo>
                  <a:lnTo>
                    <a:pt x="239" y="1318"/>
                  </a:lnTo>
                  <a:lnTo>
                    <a:pt x="239" y="1319"/>
                  </a:lnTo>
                  <a:lnTo>
                    <a:pt x="238" y="1319"/>
                  </a:lnTo>
                  <a:close/>
                  <a:moveTo>
                    <a:pt x="275" y="1495"/>
                  </a:moveTo>
                  <a:lnTo>
                    <a:pt x="277" y="1495"/>
                  </a:lnTo>
                  <a:lnTo>
                    <a:pt x="275" y="1495"/>
                  </a:lnTo>
                  <a:close/>
                  <a:moveTo>
                    <a:pt x="348" y="1488"/>
                  </a:moveTo>
                  <a:lnTo>
                    <a:pt x="347" y="1488"/>
                  </a:lnTo>
                  <a:lnTo>
                    <a:pt x="348" y="1488"/>
                  </a:lnTo>
                  <a:close/>
                  <a:moveTo>
                    <a:pt x="269" y="1500"/>
                  </a:moveTo>
                  <a:lnTo>
                    <a:pt x="270" y="1500"/>
                  </a:lnTo>
                  <a:lnTo>
                    <a:pt x="269" y="1500"/>
                  </a:lnTo>
                  <a:close/>
                  <a:moveTo>
                    <a:pt x="592" y="1394"/>
                  </a:moveTo>
                  <a:lnTo>
                    <a:pt x="594" y="1394"/>
                  </a:lnTo>
                  <a:lnTo>
                    <a:pt x="592" y="1394"/>
                  </a:lnTo>
                  <a:close/>
                  <a:moveTo>
                    <a:pt x="309" y="1487"/>
                  </a:moveTo>
                  <a:lnTo>
                    <a:pt x="309" y="1485"/>
                  </a:lnTo>
                  <a:lnTo>
                    <a:pt x="309" y="1487"/>
                  </a:lnTo>
                  <a:close/>
                  <a:moveTo>
                    <a:pt x="256" y="1417"/>
                  </a:moveTo>
                  <a:lnTo>
                    <a:pt x="256" y="1419"/>
                  </a:lnTo>
                  <a:lnTo>
                    <a:pt x="256" y="1417"/>
                  </a:lnTo>
                  <a:close/>
                  <a:moveTo>
                    <a:pt x="204" y="1459"/>
                  </a:moveTo>
                  <a:lnTo>
                    <a:pt x="205" y="1459"/>
                  </a:lnTo>
                  <a:lnTo>
                    <a:pt x="205" y="1461"/>
                  </a:lnTo>
                  <a:lnTo>
                    <a:pt x="204" y="1459"/>
                  </a:lnTo>
                  <a:close/>
                  <a:moveTo>
                    <a:pt x="334" y="1484"/>
                  </a:moveTo>
                  <a:lnTo>
                    <a:pt x="334" y="1485"/>
                  </a:lnTo>
                  <a:lnTo>
                    <a:pt x="334" y="1484"/>
                  </a:lnTo>
                  <a:close/>
                  <a:moveTo>
                    <a:pt x="280" y="1445"/>
                  </a:moveTo>
                  <a:lnTo>
                    <a:pt x="282" y="1445"/>
                  </a:lnTo>
                  <a:lnTo>
                    <a:pt x="280" y="1445"/>
                  </a:lnTo>
                  <a:close/>
                  <a:moveTo>
                    <a:pt x="571" y="1397"/>
                  </a:moveTo>
                  <a:lnTo>
                    <a:pt x="573" y="1397"/>
                  </a:lnTo>
                  <a:lnTo>
                    <a:pt x="571" y="1397"/>
                  </a:lnTo>
                  <a:close/>
                  <a:moveTo>
                    <a:pt x="233" y="1292"/>
                  </a:moveTo>
                  <a:lnTo>
                    <a:pt x="234" y="1292"/>
                  </a:lnTo>
                  <a:lnTo>
                    <a:pt x="233" y="1292"/>
                  </a:lnTo>
                  <a:close/>
                  <a:moveTo>
                    <a:pt x="350" y="1500"/>
                  </a:moveTo>
                  <a:lnTo>
                    <a:pt x="352" y="1500"/>
                  </a:lnTo>
                  <a:lnTo>
                    <a:pt x="350" y="1500"/>
                  </a:lnTo>
                  <a:close/>
                  <a:moveTo>
                    <a:pt x="210" y="1022"/>
                  </a:moveTo>
                  <a:lnTo>
                    <a:pt x="208" y="1022"/>
                  </a:lnTo>
                  <a:lnTo>
                    <a:pt x="210" y="1022"/>
                  </a:lnTo>
                  <a:close/>
                  <a:moveTo>
                    <a:pt x="316" y="1495"/>
                  </a:moveTo>
                  <a:lnTo>
                    <a:pt x="316" y="1493"/>
                  </a:lnTo>
                  <a:lnTo>
                    <a:pt x="316" y="1495"/>
                  </a:lnTo>
                  <a:close/>
                  <a:moveTo>
                    <a:pt x="247" y="1449"/>
                  </a:moveTo>
                  <a:lnTo>
                    <a:pt x="249" y="1449"/>
                  </a:lnTo>
                  <a:lnTo>
                    <a:pt x="247" y="1449"/>
                  </a:lnTo>
                  <a:close/>
                  <a:moveTo>
                    <a:pt x="192" y="1090"/>
                  </a:moveTo>
                  <a:lnTo>
                    <a:pt x="192" y="1092"/>
                  </a:lnTo>
                  <a:lnTo>
                    <a:pt x="192" y="1090"/>
                  </a:lnTo>
                  <a:close/>
                  <a:moveTo>
                    <a:pt x="540" y="1407"/>
                  </a:moveTo>
                  <a:lnTo>
                    <a:pt x="542" y="1407"/>
                  </a:lnTo>
                  <a:lnTo>
                    <a:pt x="540" y="1407"/>
                  </a:lnTo>
                  <a:close/>
                  <a:moveTo>
                    <a:pt x="213" y="1017"/>
                  </a:moveTo>
                  <a:lnTo>
                    <a:pt x="213" y="1015"/>
                  </a:lnTo>
                  <a:lnTo>
                    <a:pt x="213" y="1017"/>
                  </a:lnTo>
                  <a:close/>
                  <a:moveTo>
                    <a:pt x="234" y="1378"/>
                  </a:moveTo>
                  <a:lnTo>
                    <a:pt x="234" y="1380"/>
                  </a:lnTo>
                  <a:lnTo>
                    <a:pt x="234" y="1378"/>
                  </a:lnTo>
                  <a:close/>
                  <a:moveTo>
                    <a:pt x="259" y="1458"/>
                  </a:moveTo>
                  <a:lnTo>
                    <a:pt x="259" y="1456"/>
                  </a:lnTo>
                  <a:lnTo>
                    <a:pt x="259" y="1458"/>
                  </a:lnTo>
                  <a:close/>
                  <a:moveTo>
                    <a:pt x="238" y="1246"/>
                  </a:moveTo>
                  <a:lnTo>
                    <a:pt x="238" y="1248"/>
                  </a:lnTo>
                  <a:lnTo>
                    <a:pt x="238" y="1246"/>
                  </a:lnTo>
                  <a:close/>
                  <a:moveTo>
                    <a:pt x="230" y="1362"/>
                  </a:moveTo>
                  <a:lnTo>
                    <a:pt x="231" y="1362"/>
                  </a:lnTo>
                  <a:lnTo>
                    <a:pt x="230" y="1362"/>
                  </a:lnTo>
                  <a:close/>
                  <a:moveTo>
                    <a:pt x="246" y="1529"/>
                  </a:moveTo>
                  <a:lnTo>
                    <a:pt x="247" y="1529"/>
                  </a:lnTo>
                  <a:lnTo>
                    <a:pt x="246" y="1529"/>
                  </a:lnTo>
                  <a:close/>
                  <a:moveTo>
                    <a:pt x="238" y="1401"/>
                  </a:moveTo>
                  <a:lnTo>
                    <a:pt x="238" y="1399"/>
                  </a:lnTo>
                  <a:lnTo>
                    <a:pt x="238" y="1401"/>
                  </a:lnTo>
                  <a:close/>
                  <a:moveTo>
                    <a:pt x="322" y="1505"/>
                  </a:moveTo>
                  <a:lnTo>
                    <a:pt x="324" y="1505"/>
                  </a:lnTo>
                  <a:lnTo>
                    <a:pt x="322" y="1505"/>
                  </a:lnTo>
                  <a:close/>
                  <a:moveTo>
                    <a:pt x="446" y="1467"/>
                  </a:moveTo>
                  <a:lnTo>
                    <a:pt x="448" y="1467"/>
                  </a:lnTo>
                  <a:lnTo>
                    <a:pt x="446" y="1467"/>
                  </a:lnTo>
                  <a:close/>
                  <a:moveTo>
                    <a:pt x="407" y="1493"/>
                  </a:moveTo>
                  <a:lnTo>
                    <a:pt x="409" y="1493"/>
                  </a:lnTo>
                  <a:lnTo>
                    <a:pt x="407" y="1493"/>
                  </a:lnTo>
                  <a:close/>
                  <a:moveTo>
                    <a:pt x="376" y="1498"/>
                  </a:moveTo>
                  <a:lnTo>
                    <a:pt x="376" y="1497"/>
                  </a:lnTo>
                  <a:lnTo>
                    <a:pt x="376" y="1498"/>
                  </a:lnTo>
                  <a:close/>
                  <a:moveTo>
                    <a:pt x="522" y="1419"/>
                  </a:moveTo>
                  <a:lnTo>
                    <a:pt x="522" y="1420"/>
                  </a:lnTo>
                  <a:lnTo>
                    <a:pt x="522" y="1419"/>
                  </a:lnTo>
                  <a:close/>
                  <a:moveTo>
                    <a:pt x="278" y="1516"/>
                  </a:moveTo>
                  <a:lnTo>
                    <a:pt x="278" y="1518"/>
                  </a:lnTo>
                  <a:lnTo>
                    <a:pt x="278" y="1516"/>
                  </a:lnTo>
                  <a:close/>
                  <a:moveTo>
                    <a:pt x="267" y="1466"/>
                  </a:moveTo>
                  <a:lnTo>
                    <a:pt x="267" y="1467"/>
                  </a:lnTo>
                  <a:lnTo>
                    <a:pt x="267" y="1466"/>
                  </a:lnTo>
                  <a:close/>
                  <a:moveTo>
                    <a:pt x="622" y="1368"/>
                  </a:moveTo>
                  <a:lnTo>
                    <a:pt x="622" y="1370"/>
                  </a:lnTo>
                  <a:lnTo>
                    <a:pt x="622" y="1368"/>
                  </a:lnTo>
                  <a:close/>
                  <a:moveTo>
                    <a:pt x="181" y="1440"/>
                  </a:moveTo>
                  <a:lnTo>
                    <a:pt x="182" y="1440"/>
                  </a:lnTo>
                  <a:lnTo>
                    <a:pt x="181" y="1440"/>
                  </a:lnTo>
                  <a:close/>
                  <a:moveTo>
                    <a:pt x="171" y="1438"/>
                  </a:moveTo>
                  <a:lnTo>
                    <a:pt x="173" y="1438"/>
                  </a:lnTo>
                  <a:lnTo>
                    <a:pt x="171" y="1438"/>
                  </a:lnTo>
                  <a:close/>
                  <a:moveTo>
                    <a:pt x="504" y="1435"/>
                  </a:moveTo>
                  <a:lnTo>
                    <a:pt x="506" y="1435"/>
                  </a:lnTo>
                  <a:lnTo>
                    <a:pt x="504" y="1435"/>
                  </a:lnTo>
                  <a:close/>
                  <a:moveTo>
                    <a:pt x="249" y="1485"/>
                  </a:moveTo>
                  <a:lnTo>
                    <a:pt x="249" y="1487"/>
                  </a:lnTo>
                  <a:lnTo>
                    <a:pt x="249" y="1485"/>
                  </a:lnTo>
                  <a:close/>
                  <a:moveTo>
                    <a:pt x="182" y="1440"/>
                  </a:moveTo>
                  <a:lnTo>
                    <a:pt x="182" y="1441"/>
                  </a:lnTo>
                  <a:lnTo>
                    <a:pt x="182" y="1440"/>
                  </a:lnTo>
                  <a:close/>
                  <a:moveTo>
                    <a:pt x="210" y="1449"/>
                  </a:moveTo>
                  <a:lnTo>
                    <a:pt x="212" y="1449"/>
                  </a:lnTo>
                  <a:lnTo>
                    <a:pt x="210" y="1449"/>
                  </a:lnTo>
                  <a:close/>
                  <a:moveTo>
                    <a:pt x="418" y="1498"/>
                  </a:moveTo>
                  <a:lnTo>
                    <a:pt x="418" y="1500"/>
                  </a:lnTo>
                  <a:lnTo>
                    <a:pt x="418" y="1498"/>
                  </a:lnTo>
                  <a:close/>
                  <a:moveTo>
                    <a:pt x="145" y="1461"/>
                  </a:moveTo>
                  <a:lnTo>
                    <a:pt x="145" y="1462"/>
                  </a:lnTo>
                  <a:lnTo>
                    <a:pt x="145" y="1461"/>
                  </a:lnTo>
                  <a:close/>
                  <a:moveTo>
                    <a:pt x="283" y="1425"/>
                  </a:moveTo>
                  <a:lnTo>
                    <a:pt x="283" y="1423"/>
                  </a:lnTo>
                  <a:lnTo>
                    <a:pt x="283" y="1425"/>
                  </a:lnTo>
                  <a:close/>
                  <a:moveTo>
                    <a:pt x="283" y="1493"/>
                  </a:moveTo>
                  <a:lnTo>
                    <a:pt x="282" y="1495"/>
                  </a:lnTo>
                  <a:lnTo>
                    <a:pt x="282" y="1493"/>
                  </a:lnTo>
                  <a:lnTo>
                    <a:pt x="283" y="1493"/>
                  </a:lnTo>
                  <a:close/>
                  <a:moveTo>
                    <a:pt x="148" y="1446"/>
                  </a:moveTo>
                  <a:lnTo>
                    <a:pt x="148" y="1445"/>
                  </a:lnTo>
                  <a:lnTo>
                    <a:pt x="148" y="1446"/>
                  </a:lnTo>
                  <a:close/>
                  <a:moveTo>
                    <a:pt x="246" y="1311"/>
                  </a:moveTo>
                  <a:lnTo>
                    <a:pt x="246" y="1310"/>
                  </a:lnTo>
                  <a:lnTo>
                    <a:pt x="246" y="1311"/>
                  </a:lnTo>
                  <a:close/>
                  <a:moveTo>
                    <a:pt x="381" y="1469"/>
                  </a:moveTo>
                  <a:lnTo>
                    <a:pt x="381" y="1471"/>
                  </a:lnTo>
                  <a:lnTo>
                    <a:pt x="381" y="1469"/>
                  </a:lnTo>
                  <a:close/>
                  <a:moveTo>
                    <a:pt x="233" y="1446"/>
                  </a:moveTo>
                  <a:lnTo>
                    <a:pt x="234" y="1446"/>
                  </a:lnTo>
                  <a:lnTo>
                    <a:pt x="233" y="1446"/>
                  </a:lnTo>
                  <a:close/>
                  <a:moveTo>
                    <a:pt x="313" y="1501"/>
                  </a:moveTo>
                  <a:lnTo>
                    <a:pt x="313" y="1500"/>
                  </a:lnTo>
                  <a:lnTo>
                    <a:pt x="313" y="1501"/>
                  </a:lnTo>
                  <a:close/>
                  <a:moveTo>
                    <a:pt x="337" y="791"/>
                  </a:moveTo>
                  <a:lnTo>
                    <a:pt x="337" y="792"/>
                  </a:lnTo>
                  <a:lnTo>
                    <a:pt x="335" y="792"/>
                  </a:lnTo>
                  <a:lnTo>
                    <a:pt x="337" y="791"/>
                  </a:lnTo>
                  <a:close/>
                  <a:moveTo>
                    <a:pt x="269" y="1498"/>
                  </a:moveTo>
                  <a:lnTo>
                    <a:pt x="269" y="1500"/>
                  </a:lnTo>
                  <a:lnTo>
                    <a:pt x="269" y="1498"/>
                  </a:lnTo>
                  <a:close/>
                  <a:moveTo>
                    <a:pt x="259" y="1407"/>
                  </a:moveTo>
                  <a:lnTo>
                    <a:pt x="261" y="1407"/>
                  </a:lnTo>
                  <a:lnTo>
                    <a:pt x="259" y="1407"/>
                  </a:lnTo>
                  <a:close/>
                  <a:moveTo>
                    <a:pt x="202" y="1469"/>
                  </a:moveTo>
                  <a:lnTo>
                    <a:pt x="202" y="1471"/>
                  </a:lnTo>
                  <a:lnTo>
                    <a:pt x="202" y="1469"/>
                  </a:lnTo>
                  <a:close/>
                  <a:moveTo>
                    <a:pt x="368" y="1495"/>
                  </a:moveTo>
                  <a:lnTo>
                    <a:pt x="368" y="1493"/>
                  </a:lnTo>
                  <a:lnTo>
                    <a:pt x="369" y="1495"/>
                  </a:lnTo>
                  <a:lnTo>
                    <a:pt x="368" y="1495"/>
                  </a:lnTo>
                  <a:close/>
                  <a:moveTo>
                    <a:pt x="233" y="1005"/>
                  </a:moveTo>
                  <a:lnTo>
                    <a:pt x="234" y="1005"/>
                  </a:lnTo>
                  <a:lnTo>
                    <a:pt x="233" y="1005"/>
                  </a:lnTo>
                  <a:close/>
                  <a:moveTo>
                    <a:pt x="243" y="1422"/>
                  </a:moveTo>
                  <a:lnTo>
                    <a:pt x="243" y="1420"/>
                  </a:lnTo>
                  <a:lnTo>
                    <a:pt x="243" y="1422"/>
                  </a:lnTo>
                  <a:close/>
                  <a:moveTo>
                    <a:pt x="247" y="1510"/>
                  </a:moveTo>
                  <a:lnTo>
                    <a:pt x="249" y="1510"/>
                  </a:lnTo>
                  <a:lnTo>
                    <a:pt x="247" y="1510"/>
                  </a:lnTo>
                  <a:close/>
                  <a:moveTo>
                    <a:pt x="300" y="1487"/>
                  </a:moveTo>
                  <a:lnTo>
                    <a:pt x="300" y="1488"/>
                  </a:lnTo>
                  <a:lnTo>
                    <a:pt x="300" y="1487"/>
                  </a:lnTo>
                  <a:close/>
                  <a:moveTo>
                    <a:pt x="259" y="1407"/>
                  </a:moveTo>
                  <a:lnTo>
                    <a:pt x="261" y="1407"/>
                  </a:lnTo>
                  <a:lnTo>
                    <a:pt x="259" y="1407"/>
                  </a:lnTo>
                  <a:close/>
                  <a:moveTo>
                    <a:pt x="623" y="1366"/>
                  </a:moveTo>
                  <a:lnTo>
                    <a:pt x="623" y="1365"/>
                  </a:lnTo>
                  <a:lnTo>
                    <a:pt x="623" y="1366"/>
                  </a:lnTo>
                  <a:close/>
                  <a:moveTo>
                    <a:pt x="231" y="1253"/>
                  </a:moveTo>
                  <a:lnTo>
                    <a:pt x="233" y="1253"/>
                  </a:lnTo>
                  <a:lnTo>
                    <a:pt x="231" y="1253"/>
                  </a:lnTo>
                  <a:close/>
                  <a:moveTo>
                    <a:pt x="213" y="1183"/>
                  </a:moveTo>
                  <a:lnTo>
                    <a:pt x="213" y="1184"/>
                  </a:lnTo>
                  <a:lnTo>
                    <a:pt x="213" y="1183"/>
                  </a:lnTo>
                  <a:lnTo>
                    <a:pt x="215" y="1183"/>
                  </a:lnTo>
                  <a:lnTo>
                    <a:pt x="213" y="1183"/>
                  </a:lnTo>
                  <a:close/>
                  <a:moveTo>
                    <a:pt x="435" y="1474"/>
                  </a:moveTo>
                  <a:lnTo>
                    <a:pt x="433" y="1474"/>
                  </a:lnTo>
                  <a:lnTo>
                    <a:pt x="435" y="1474"/>
                  </a:lnTo>
                  <a:close/>
                  <a:moveTo>
                    <a:pt x="168" y="1461"/>
                  </a:moveTo>
                  <a:lnTo>
                    <a:pt x="169" y="1461"/>
                  </a:lnTo>
                  <a:lnTo>
                    <a:pt x="168" y="1461"/>
                  </a:lnTo>
                  <a:close/>
                  <a:moveTo>
                    <a:pt x="648" y="1344"/>
                  </a:moveTo>
                  <a:lnTo>
                    <a:pt x="648" y="1342"/>
                  </a:lnTo>
                  <a:lnTo>
                    <a:pt x="648" y="1344"/>
                  </a:lnTo>
                  <a:close/>
                  <a:moveTo>
                    <a:pt x="244" y="1373"/>
                  </a:moveTo>
                  <a:lnTo>
                    <a:pt x="244" y="1371"/>
                  </a:lnTo>
                  <a:lnTo>
                    <a:pt x="244" y="1373"/>
                  </a:lnTo>
                  <a:close/>
                  <a:moveTo>
                    <a:pt x="210" y="1488"/>
                  </a:moveTo>
                  <a:lnTo>
                    <a:pt x="210" y="1490"/>
                  </a:lnTo>
                  <a:lnTo>
                    <a:pt x="210" y="1488"/>
                  </a:lnTo>
                  <a:close/>
                  <a:moveTo>
                    <a:pt x="277" y="1480"/>
                  </a:moveTo>
                  <a:lnTo>
                    <a:pt x="278" y="1480"/>
                  </a:lnTo>
                  <a:lnTo>
                    <a:pt x="277" y="1480"/>
                  </a:lnTo>
                  <a:close/>
                  <a:moveTo>
                    <a:pt x="274" y="1467"/>
                  </a:moveTo>
                  <a:lnTo>
                    <a:pt x="274" y="1466"/>
                  </a:lnTo>
                  <a:lnTo>
                    <a:pt x="275" y="1467"/>
                  </a:lnTo>
                  <a:lnTo>
                    <a:pt x="274" y="1467"/>
                  </a:lnTo>
                  <a:close/>
                  <a:moveTo>
                    <a:pt x="239" y="1469"/>
                  </a:moveTo>
                  <a:lnTo>
                    <a:pt x="239" y="1471"/>
                  </a:lnTo>
                  <a:lnTo>
                    <a:pt x="239" y="1469"/>
                  </a:lnTo>
                  <a:close/>
                  <a:moveTo>
                    <a:pt x="212" y="1440"/>
                  </a:moveTo>
                  <a:lnTo>
                    <a:pt x="212" y="1438"/>
                  </a:lnTo>
                  <a:lnTo>
                    <a:pt x="212" y="1440"/>
                  </a:lnTo>
                  <a:close/>
                  <a:moveTo>
                    <a:pt x="280" y="1422"/>
                  </a:moveTo>
                  <a:lnTo>
                    <a:pt x="280" y="1423"/>
                  </a:lnTo>
                  <a:lnTo>
                    <a:pt x="280" y="1422"/>
                  </a:lnTo>
                  <a:close/>
                  <a:moveTo>
                    <a:pt x="373" y="1482"/>
                  </a:moveTo>
                  <a:lnTo>
                    <a:pt x="373" y="1480"/>
                  </a:lnTo>
                  <a:lnTo>
                    <a:pt x="373" y="1482"/>
                  </a:lnTo>
                  <a:close/>
                  <a:moveTo>
                    <a:pt x="321" y="1500"/>
                  </a:moveTo>
                  <a:lnTo>
                    <a:pt x="321" y="1498"/>
                  </a:lnTo>
                  <a:lnTo>
                    <a:pt x="321" y="1500"/>
                  </a:lnTo>
                  <a:close/>
                  <a:moveTo>
                    <a:pt x="348" y="771"/>
                  </a:moveTo>
                  <a:lnTo>
                    <a:pt x="347" y="771"/>
                  </a:lnTo>
                  <a:lnTo>
                    <a:pt x="348" y="770"/>
                  </a:lnTo>
                  <a:lnTo>
                    <a:pt x="348" y="771"/>
                  </a:lnTo>
                  <a:close/>
                  <a:moveTo>
                    <a:pt x="181" y="1448"/>
                  </a:moveTo>
                  <a:lnTo>
                    <a:pt x="181" y="1446"/>
                  </a:lnTo>
                  <a:lnTo>
                    <a:pt x="181" y="1448"/>
                  </a:lnTo>
                  <a:close/>
                  <a:moveTo>
                    <a:pt x="137" y="1471"/>
                  </a:moveTo>
                  <a:lnTo>
                    <a:pt x="137" y="1469"/>
                  </a:lnTo>
                  <a:lnTo>
                    <a:pt x="137" y="1471"/>
                  </a:lnTo>
                  <a:close/>
                  <a:moveTo>
                    <a:pt x="391" y="1482"/>
                  </a:moveTo>
                  <a:lnTo>
                    <a:pt x="391" y="1484"/>
                  </a:lnTo>
                  <a:lnTo>
                    <a:pt x="391" y="1482"/>
                  </a:lnTo>
                  <a:close/>
                  <a:moveTo>
                    <a:pt x="578" y="1386"/>
                  </a:moveTo>
                  <a:lnTo>
                    <a:pt x="578" y="1384"/>
                  </a:lnTo>
                  <a:lnTo>
                    <a:pt x="578" y="1386"/>
                  </a:lnTo>
                  <a:close/>
                  <a:moveTo>
                    <a:pt x="316" y="1510"/>
                  </a:moveTo>
                  <a:lnTo>
                    <a:pt x="317" y="1510"/>
                  </a:lnTo>
                  <a:lnTo>
                    <a:pt x="316" y="1510"/>
                  </a:lnTo>
                  <a:close/>
                  <a:moveTo>
                    <a:pt x="171" y="1022"/>
                  </a:moveTo>
                  <a:lnTo>
                    <a:pt x="173" y="1022"/>
                  </a:lnTo>
                  <a:lnTo>
                    <a:pt x="171" y="1022"/>
                  </a:lnTo>
                  <a:close/>
                  <a:moveTo>
                    <a:pt x="609" y="1370"/>
                  </a:moveTo>
                  <a:lnTo>
                    <a:pt x="610" y="1370"/>
                  </a:lnTo>
                  <a:lnTo>
                    <a:pt x="609" y="1370"/>
                  </a:lnTo>
                  <a:close/>
                  <a:moveTo>
                    <a:pt x="378" y="729"/>
                  </a:moveTo>
                  <a:lnTo>
                    <a:pt x="378" y="731"/>
                  </a:lnTo>
                  <a:lnTo>
                    <a:pt x="378" y="729"/>
                  </a:lnTo>
                  <a:close/>
                  <a:moveTo>
                    <a:pt x="171" y="1030"/>
                  </a:moveTo>
                  <a:lnTo>
                    <a:pt x="171" y="1031"/>
                  </a:lnTo>
                  <a:lnTo>
                    <a:pt x="171" y="1030"/>
                  </a:lnTo>
                  <a:close/>
                  <a:moveTo>
                    <a:pt x="309" y="1477"/>
                  </a:moveTo>
                  <a:lnTo>
                    <a:pt x="309" y="1475"/>
                  </a:lnTo>
                  <a:lnTo>
                    <a:pt x="309" y="1477"/>
                  </a:lnTo>
                  <a:close/>
                  <a:moveTo>
                    <a:pt x="311" y="654"/>
                  </a:moveTo>
                  <a:lnTo>
                    <a:pt x="311" y="656"/>
                  </a:lnTo>
                  <a:lnTo>
                    <a:pt x="311" y="654"/>
                  </a:lnTo>
                  <a:close/>
                  <a:moveTo>
                    <a:pt x="143" y="1461"/>
                  </a:moveTo>
                  <a:lnTo>
                    <a:pt x="145" y="1461"/>
                  </a:lnTo>
                  <a:lnTo>
                    <a:pt x="143" y="1461"/>
                  </a:lnTo>
                  <a:close/>
                  <a:moveTo>
                    <a:pt x="288" y="1493"/>
                  </a:moveTo>
                  <a:lnTo>
                    <a:pt x="290" y="1493"/>
                  </a:lnTo>
                  <a:lnTo>
                    <a:pt x="288" y="1493"/>
                  </a:lnTo>
                  <a:close/>
                  <a:moveTo>
                    <a:pt x="223" y="1432"/>
                  </a:moveTo>
                  <a:lnTo>
                    <a:pt x="223" y="1430"/>
                  </a:lnTo>
                  <a:lnTo>
                    <a:pt x="223" y="1432"/>
                  </a:lnTo>
                  <a:close/>
                  <a:moveTo>
                    <a:pt x="439" y="1474"/>
                  </a:moveTo>
                  <a:lnTo>
                    <a:pt x="439" y="1472"/>
                  </a:lnTo>
                  <a:lnTo>
                    <a:pt x="439" y="1474"/>
                  </a:lnTo>
                  <a:close/>
                  <a:moveTo>
                    <a:pt x="669" y="1368"/>
                  </a:moveTo>
                  <a:lnTo>
                    <a:pt x="670" y="1368"/>
                  </a:lnTo>
                  <a:lnTo>
                    <a:pt x="669" y="1368"/>
                  </a:lnTo>
                  <a:close/>
                  <a:moveTo>
                    <a:pt x="324" y="1510"/>
                  </a:moveTo>
                  <a:lnTo>
                    <a:pt x="324" y="1508"/>
                  </a:lnTo>
                  <a:lnTo>
                    <a:pt x="324" y="1510"/>
                  </a:lnTo>
                  <a:close/>
                  <a:moveTo>
                    <a:pt x="335" y="1503"/>
                  </a:moveTo>
                  <a:lnTo>
                    <a:pt x="337" y="1503"/>
                  </a:lnTo>
                  <a:lnTo>
                    <a:pt x="335" y="1503"/>
                  </a:lnTo>
                  <a:close/>
                  <a:moveTo>
                    <a:pt x="270" y="1432"/>
                  </a:moveTo>
                  <a:lnTo>
                    <a:pt x="270" y="1430"/>
                  </a:lnTo>
                  <a:lnTo>
                    <a:pt x="270" y="1432"/>
                  </a:lnTo>
                  <a:close/>
                  <a:moveTo>
                    <a:pt x="337" y="797"/>
                  </a:moveTo>
                  <a:lnTo>
                    <a:pt x="339" y="797"/>
                  </a:lnTo>
                  <a:lnTo>
                    <a:pt x="337" y="797"/>
                  </a:lnTo>
                  <a:close/>
                  <a:moveTo>
                    <a:pt x="326" y="1485"/>
                  </a:moveTo>
                  <a:lnTo>
                    <a:pt x="326" y="1484"/>
                  </a:lnTo>
                  <a:lnTo>
                    <a:pt x="326" y="1485"/>
                  </a:lnTo>
                  <a:close/>
                  <a:moveTo>
                    <a:pt x="195" y="1479"/>
                  </a:moveTo>
                  <a:lnTo>
                    <a:pt x="195" y="1480"/>
                  </a:lnTo>
                  <a:lnTo>
                    <a:pt x="195" y="1479"/>
                  </a:lnTo>
                  <a:close/>
                  <a:moveTo>
                    <a:pt x="682" y="1353"/>
                  </a:moveTo>
                  <a:lnTo>
                    <a:pt x="682" y="1355"/>
                  </a:lnTo>
                  <a:lnTo>
                    <a:pt x="682" y="1353"/>
                  </a:lnTo>
                  <a:close/>
                  <a:moveTo>
                    <a:pt x="363" y="1492"/>
                  </a:moveTo>
                  <a:lnTo>
                    <a:pt x="363" y="1490"/>
                  </a:lnTo>
                  <a:lnTo>
                    <a:pt x="365" y="1490"/>
                  </a:lnTo>
                  <a:lnTo>
                    <a:pt x="365" y="1492"/>
                  </a:lnTo>
                  <a:lnTo>
                    <a:pt x="363" y="1492"/>
                  </a:lnTo>
                  <a:close/>
                  <a:moveTo>
                    <a:pt x="290" y="1505"/>
                  </a:moveTo>
                  <a:lnTo>
                    <a:pt x="290" y="1506"/>
                  </a:lnTo>
                  <a:lnTo>
                    <a:pt x="290" y="1505"/>
                  </a:lnTo>
                  <a:close/>
                  <a:moveTo>
                    <a:pt x="239" y="1314"/>
                  </a:moveTo>
                  <a:lnTo>
                    <a:pt x="241" y="1314"/>
                  </a:lnTo>
                  <a:lnTo>
                    <a:pt x="239" y="1316"/>
                  </a:lnTo>
                  <a:lnTo>
                    <a:pt x="239" y="1314"/>
                  </a:lnTo>
                  <a:close/>
                  <a:moveTo>
                    <a:pt x="456" y="1456"/>
                  </a:moveTo>
                  <a:lnTo>
                    <a:pt x="456" y="1458"/>
                  </a:lnTo>
                  <a:lnTo>
                    <a:pt x="456" y="1456"/>
                  </a:lnTo>
                  <a:close/>
                  <a:moveTo>
                    <a:pt x="290" y="1492"/>
                  </a:moveTo>
                  <a:lnTo>
                    <a:pt x="290" y="1490"/>
                  </a:lnTo>
                  <a:lnTo>
                    <a:pt x="291" y="1492"/>
                  </a:lnTo>
                  <a:lnTo>
                    <a:pt x="290" y="1492"/>
                  </a:lnTo>
                  <a:close/>
                  <a:moveTo>
                    <a:pt x="121" y="1482"/>
                  </a:moveTo>
                  <a:lnTo>
                    <a:pt x="121" y="1480"/>
                  </a:lnTo>
                  <a:lnTo>
                    <a:pt x="121" y="1482"/>
                  </a:lnTo>
                  <a:close/>
                  <a:moveTo>
                    <a:pt x="327" y="1514"/>
                  </a:moveTo>
                  <a:lnTo>
                    <a:pt x="329" y="1514"/>
                  </a:lnTo>
                  <a:lnTo>
                    <a:pt x="327" y="1514"/>
                  </a:lnTo>
                  <a:close/>
                  <a:moveTo>
                    <a:pt x="313" y="1513"/>
                  </a:moveTo>
                  <a:lnTo>
                    <a:pt x="313" y="1514"/>
                  </a:lnTo>
                  <a:lnTo>
                    <a:pt x="313" y="1513"/>
                  </a:lnTo>
                  <a:close/>
                  <a:moveTo>
                    <a:pt x="246" y="1500"/>
                  </a:moveTo>
                  <a:lnTo>
                    <a:pt x="247" y="1500"/>
                  </a:lnTo>
                  <a:lnTo>
                    <a:pt x="246" y="1500"/>
                  </a:lnTo>
                  <a:close/>
                  <a:moveTo>
                    <a:pt x="182" y="1440"/>
                  </a:moveTo>
                  <a:lnTo>
                    <a:pt x="182" y="1438"/>
                  </a:lnTo>
                  <a:lnTo>
                    <a:pt x="182" y="1440"/>
                  </a:lnTo>
                  <a:close/>
                  <a:moveTo>
                    <a:pt x="251" y="1386"/>
                  </a:moveTo>
                  <a:lnTo>
                    <a:pt x="252" y="1386"/>
                  </a:lnTo>
                  <a:lnTo>
                    <a:pt x="251" y="1388"/>
                  </a:lnTo>
                  <a:lnTo>
                    <a:pt x="251" y="1386"/>
                  </a:lnTo>
                  <a:close/>
                  <a:moveTo>
                    <a:pt x="218" y="1445"/>
                  </a:moveTo>
                  <a:lnTo>
                    <a:pt x="220" y="1445"/>
                  </a:lnTo>
                  <a:lnTo>
                    <a:pt x="218" y="1445"/>
                  </a:lnTo>
                  <a:close/>
                  <a:moveTo>
                    <a:pt x="363" y="1490"/>
                  </a:moveTo>
                  <a:lnTo>
                    <a:pt x="365" y="1490"/>
                  </a:lnTo>
                  <a:lnTo>
                    <a:pt x="363" y="1490"/>
                  </a:lnTo>
                  <a:close/>
                  <a:moveTo>
                    <a:pt x="326" y="1513"/>
                  </a:moveTo>
                  <a:lnTo>
                    <a:pt x="326" y="1511"/>
                  </a:lnTo>
                  <a:lnTo>
                    <a:pt x="327" y="1513"/>
                  </a:lnTo>
                  <a:lnTo>
                    <a:pt x="326" y="1513"/>
                  </a:lnTo>
                  <a:close/>
                  <a:moveTo>
                    <a:pt x="382" y="757"/>
                  </a:moveTo>
                  <a:lnTo>
                    <a:pt x="384" y="757"/>
                  </a:lnTo>
                  <a:lnTo>
                    <a:pt x="382" y="757"/>
                  </a:lnTo>
                  <a:close/>
                  <a:moveTo>
                    <a:pt x="205" y="1020"/>
                  </a:moveTo>
                  <a:lnTo>
                    <a:pt x="204" y="1020"/>
                  </a:lnTo>
                  <a:lnTo>
                    <a:pt x="205" y="1020"/>
                  </a:lnTo>
                  <a:close/>
                  <a:moveTo>
                    <a:pt x="316" y="1472"/>
                  </a:moveTo>
                  <a:lnTo>
                    <a:pt x="317" y="1472"/>
                  </a:lnTo>
                  <a:lnTo>
                    <a:pt x="316" y="1472"/>
                  </a:lnTo>
                  <a:close/>
                  <a:moveTo>
                    <a:pt x="293" y="1448"/>
                  </a:moveTo>
                  <a:lnTo>
                    <a:pt x="295" y="1448"/>
                  </a:lnTo>
                  <a:lnTo>
                    <a:pt x="293" y="1448"/>
                  </a:lnTo>
                  <a:close/>
                  <a:moveTo>
                    <a:pt x="443" y="1471"/>
                  </a:moveTo>
                  <a:lnTo>
                    <a:pt x="443" y="1469"/>
                  </a:lnTo>
                  <a:lnTo>
                    <a:pt x="443" y="1471"/>
                  </a:lnTo>
                  <a:close/>
                  <a:moveTo>
                    <a:pt x="233" y="1017"/>
                  </a:moveTo>
                  <a:lnTo>
                    <a:pt x="234" y="1017"/>
                  </a:lnTo>
                  <a:lnTo>
                    <a:pt x="233" y="1017"/>
                  </a:lnTo>
                  <a:close/>
                  <a:moveTo>
                    <a:pt x="529" y="1417"/>
                  </a:moveTo>
                  <a:lnTo>
                    <a:pt x="529" y="1415"/>
                  </a:lnTo>
                  <a:lnTo>
                    <a:pt x="529" y="1417"/>
                  </a:lnTo>
                  <a:close/>
                  <a:moveTo>
                    <a:pt x="296" y="1474"/>
                  </a:moveTo>
                  <a:lnTo>
                    <a:pt x="296" y="1472"/>
                  </a:lnTo>
                  <a:lnTo>
                    <a:pt x="296" y="1474"/>
                  </a:lnTo>
                  <a:close/>
                  <a:moveTo>
                    <a:pt x="251" y="1454"/>
                  </a:moveTo>
                  <a:lnTo>
                    <a:pt x="251" y="1453"/>
                  </a:lnTo>
                  <a:lnTo>
                    <a:pt x="251" y="1454"/>
                  </a:lnTo>
                  <a:close/>
                  <a:moveTo>
                    <a:pt x="532" y="1414"/>
                  </a:moveTo>
                  <a:lnTo>
                    <a:pt x="530" y="1414"/>
                  </a:lnTo>
                  <a:lnTo>
                    <a:pt x="532" y="1414"/>
                  </a:lnTo>
                  <a:close/>
                  <a:moveTo>
                    <a:pt x="259" y="1523"/>
                  </a:moveTo>
                  <a:lnTo>
                    <a:pt x="261" y="1523"/>
                  </a:lnTo>
                  <a:lnTo>
                    <a:pt x="259" y="1523"/>
                  </a:lnTo>
                  <a:close/>
                  <a:moveTo>
                    <a:pt x="339" y="1456"/>
                  </a:moveTo>
                  <a:lnTo>
                    <a:pt x="337" y="1456"/>
                  </a:lnTo>
                  <a:lnTo>
                    <a:pt x="339" y="1456"/>
                  </a:lnTo>
                  <a:close/>
                  <a:moveTo>
                    <a:pt x="314" y="1459"/>
                  </a:moveTo>
                  <a:lnTo>
                    <a:pt x="316" y="1459"/>
                  </a:lnTo>
                  <a:lnTo>
                    <a:pt x="314" y="1459"/>
                  </a:lnTo>
                  <a:close/>
                  <a:moveTo>
                    <a:pt x="474" y="1453"/>
                  </a:moveTo>
                  <a:lnTo>
                    <a:pt x="475" y="1453"/>
                  </a:lnTo>
                  <a:lnTo>
                    <a:pt x="474" y="1453"/>
                  </a:lnTo>
                  <a:close/>
                  <a:moveTo>
                    <a:pt x="639" y="1353"/>
                  </a:moveTo>
                  <a:lnTo>
                    <a:pt x="641" y="1353"/>
                  </a:lnTo>
                  <a:lnTo>
                    <a:pt x="639" y="1353"/>
                  </a:lnTo>
                  <a:close/>
                  <a:moveTo>
                    <a:pt x="215" y="1007"/>
                  </a:moveTo>
                  <a:lnTo>
                    <a:pt x="215" y="1009"/>
                  </a:lnTo>
                  <a:lnTo>
                    <a:pt x="215" y="1007"/>
                  </a:lnTo>
                  <a:close/>
                  <a:moveTo>
                    <a:pt x="241" y="1256"/>
                  </a:moveTo>
                  <a:lnTo>
                    <a:pt x="241" y="1254"/>
                  </a:lnTo>
                  <a:lnTo>
                    <a:pt x="241" y="1256"/>
                  </a:lnTo>
                  <a:close/>
                  <a:moveTo>
                    <a:pt x="259" y="1469"/>
                  </a:moveTo>
                  <a:lnTo>
                    <a:pt x="261" y="1469"/>
                  </a:lnTo>
                  <a:lnTo>
                    <a:pt x="259" y="1469"/>
                  </a:lnTo>
                  <a:close/>
                  <a:moveTo>
                    <a:pt x="303" y="1488"/>
                  </a:moveTo>
                  <a:lnTo>
                    <a:pt x="303" y="1487"/>
                  </a:lnTo>
                  <a:lnTo>
                    <a:pt x="303" y="1488"/>
                  </a:lnTo>
                  <a:close/>
                  <a:moveTo>
                    <a:pt x="327" y="1511"/>
                  </a:moveTo>
                  <a:lnTo>
                    <a:pt x="327" y="1510"/>
                  </a:lnTo>
                  <a:lnTo>
                    <a:pt x="327" y="1511"/>
                  </a:lnTo>
                  <a:close/>
                  <a:moveTo>
                    <a:pt x="270" y="1511"/>
                  </a:moveTo>
                  <a:lnTo>
                    <a:pt x="270" y="1513"/>
                  </a:lnTo>
                  <a:lnTo>
                    <a:pt x="270" y="1511"/>
                  </a:lnTo>
                  <a:close/>
                  <a:moveTo>
                    <a:pt x="208" y="1492"/>
                  </a:moveTo>
                  <a:lnTo>
                    <a:pt x="208" y="1490"/>
                  </a:lnTo>
                  <a:lnTo>
                    <a:pt x="208" y="1492"/>
                  </a:lnTo>
                  <a:lnTo>
                    <a:pt x="210" y="1492"/>
                  </a:lnTo>
                  <a:lnTo>
                    <a:pt x="208" y="1492"/>
                  </a:lnTo>
                  <a:close/>
                  <a:moveTo>
                    <a:pt x="343" y="1511"/>
                  </a:moveTo>
                  <a:lnTo>
                    <a:pt x="343" y="1510"/>
                  </a:lnTo>
                  <a:lnTo>
                    <a:pt x="343" y="1511"/>
                  </a:lnTo>
                  <a:close/>
                  <a:moveTo>
                    <a:pt x="247" y="1511"/>
                  </a:moveTo>
                  <a:lnTo>
                    <a:pt x="247" y="1513"/>
                  </a:lnTo>
                  <a:lnTo>
                    <a:pt x="247" y="1511"/>
                  </a:lnTo>
                  <a:close/>
                  <a:moveTo>
                    <a:pt x="231" y="1488"/>
                  </a:moveTo>
                  <a:lnTo>
                    <a:pt x="231" y="1487"/>
                  </a:lnTo>
                  <a:lnTo>
                    <a:pt x="231" y="1488"/>
                  </a:lnTo>
                  <a:close/>
                  <a:moveTo>
                    <a:pt x="316" y="1490"/>
                  </a:moveTo>
                  <a:lnTo>
                    <a:pt x="317" y="1490"/>
                  </a:lnTo>
                  <a:lnTo>
                    <a:pt x="316" y="1490"/>
                  </a:lnTo>
                  <a:close/>
                  <a:moveTo>
                    <a:pt x="168" y="1441"/>
                  </a:moveTo>
                  <a:lnTo>
                    <a:pt x="168" y="1440"/>
                  </a:lnTo>
                  <a:lnTo>
                    <a:pt x="169" y="1440"/>
                  </a:lnTo>
                  <a:lnTo>
                    <a:pt x="169" y="1441"/>
                  </a:lnTo>
                  <a:lnTo>
                    <a:pt x="168" y="1441"/>
                  </a:lnTo>
                  <a:close/>
                  <a:moveTo>
                    <a:pt x="298" y="657"/>
                  </a:moveTo>
                  <a:lnTo>
                    <a:pt x="300" y="657"/>
                  </a:lnTo>
                  <a:lnTo>
                    <a:pt x="298" y="657"/>
                  </a:lnTo>
                  <a:close/>
                  <a:moveTo>
                    <a:pt x="379" y="748"/>
                  </a:moveTo>
                  <a:lnTo>
                    <a:pt x="379" y="750"/>
                  </a:lnTo>
                  <a:lnTo>
                    <a:pt x="379" y="748"/>
                  </a:lnTo>
                  <a:close/>
                  <a:moveTo>
                    <a:pt x="249" y="1510"/>
                  </a:moveTo>
                  <a:lnTo>
                    <a:pt x="251" y="1508"/>
                  </a:lnTo>
                  <a:lnTo>
                    <a:pt x="249" y="1510"/>
                  </a:lnTo>
                  <a:close/>
                  <a:moveTo>
                    <a:pt x="422" y="750"/>
                  </a:moveTo>
                  <a:lnTo>
                    <a:pt x="423" y="752"/>
                  </a:lnTo>
                  <a:lnTo>
                    <a:pt x="422" y="750"/>
                  </a:lnTo>
                  <a:close/>
                  <a:moveTo>
                    <a:pt x="267" y="1518"/>
                  </a:moveTo>
                  <a:lnTo>
                    <a:pt x="269" y="1518"/>
                  </a:lnTo>
                  <a:lnTo>
                    <a:pt x="267" y="1518"/>
                  </a:lnTo>
                  <a:close/>
                  <a:moveTo>
                    <a:pt x="251" y="1528"/>
                  </a:moveTo>
                  <a:lnTo>
                    <a:pt x="251" y="1529"/>
                  </a:lnTo>
                  <a:lnTo>
                    <a:pt x="251" y="1528"/>
                  </a:lnTo>
                  <a:close/>
                  <a:moveTo>
                    <a:pt x="173" y="1501"/>
                  </a:moveTo>
                  <a:lnTo>
                    <a:pt x="174" y="1501"/>
                  </a:lnTo>
                  <a:lnTo>
                    <a:pt x="173" y="1501"/>
                  </a:lnTo>
                  <a:close/>
                  <a:moveTo>
                    <a:pt x="298" y="1471"/>
                  </a:moveTo>
                  <a:lnTo>
                    <a:pt x="300" y="1471"/>
                  </a:lnTo>
                  <a:lnTo>
                    <a:pt x="298" y="1471"/>
                  </a:lnTo>
                  <a:close/>
                  <a:moveTo>
                    <a:pt x="233" y="1438"/>
                  </a:moveTo>
                  <a:lnTo>
                    <a:pt x="234" y="1438"/>
                  </a:lnTo>
                  <a:lnTo>
                    <a:pt x="233" y="1438"/>
                  </a:lnTo>
                  <a:close/>
                  <a:moveTo>
                    <a:pt x="223" y="1412"/>
                  </a:moveTo>
                  <a:lnTo>
                    <a:pt x="225" y="1412"/>
                  </a:lnTo>
                  <a:lnTo>
                    <a:pt x="223" y="1412"/>
                  </a:lnTo>
                  <a:close/>
                  <a:moveTo>
                    <a:pt x="226" y="1458"/>
                  </a:moveTo>
                  <a:lnTo>
                    <a:pt x="226" y="1456"/>
                  </a:lnTo>
                  <a:lnTo>
                    <a:pt x="226" y="1458"/>
                  </a:lnTo>
                  <a:close/>
                  <a:moveTo>
                    <a:pt x="202" y="1445"/>
                  </a:moveTo>
                  <a:lnTo>
                    <a:pt x="202" y="1443"/>
                  </a:lnTo>
                  <a:lnTo>
                    <a:pt x="202" y="1445"/>
                  </a:lnTo>
                  <a:close/>
                  <a:moveTo>
                    <a:pt x="231" y="1432"/>
                  </a:moveTo>
                  <a:lnTo>
                    <a:pt x="231" y="1433"/>
                  </a:lnTo>
                  <a:lnTo>
                    <a:pt x="231" y="1432"/>
                  </a:lnTo>
                  <a:close/>
                  <a:moveTo>
                    <a:pt x="589" y="1394"/>
                  </a:moveTo>
                  <a:lnTo>
                    <a:pt x="591" y="1394"/>
                  </a:lnTo>
                  <a:lnTo>
                    <a:pt x="589" y="1394"/>
                  </a:lnTo>
                  <a:close/>
                  <a:moveTo>
                    <a:pt x="234" y="1412"/>
                  </a:moveTo>
                  <a:lnTo>
                    <a:pt x="234" y="1414"/>
                  </a:lnTo>
                  <a:lnTo>
                    <a:pt x="234" y="1412"/>
                  </a:lnTo>
                  <a:close/>
                  <a:moveTo>
                    <a:pt x="269" y="1498"/>
                  </a:moveTo>
                  <a:lnTo>
                    <a:pt x="270" y="1498"/>
                  </a:lnTo>
                  <a:lnTo>
                    <a:pt x="269" y="1498"/>
                  </a:lnTo>
                  <a:close/>
                  <a:moveTo>
                    <a:pt x="317" y="1506"/>
                  </a:moveTo>
                  <a:lnTo>
                    <a:pt x="319" y="1506"/>
                  </a:lnTo>
                  <a:lnTo>
                    <a:pt x="317" y="1506"/>
                  </a:lnTo>
                  <a:close/>
                  <a:moveTo>
                    <a:pt x="181" y="1435"/>
                  </a:moveTo>
                  <a:lnTo>
                    <a:pt x="181" y="1433"/>
                  </a:lnTo>
                  <a:lnTo>
                    <a:pt x="181" y="1435"/>
                  </a:lnTo>
                  <a:close/>
                  <a:moveTo>
                    <a:pt x="304" y="1498"/>
                  </a:moveTo>
                  <a:lnTo>
                    <a:pt x="304" y="1497"/>
                  </a:lnTo>
                  <a:lnTo>
                    <a:pt x="304" y="1498"/>
                  </a:lnTo>
                  <a:close/>
                  <a:moveTo>
                    <a:pt x="244" y="1501"/>
                  </a:moveTo>
                  <a:lnTo>
                    <a:pt x="244" y="1500"/>
                  </a:lnTo>
                  <a:lnTo>
                    <a:pt x="244" y="1501"/>
                  </a:lnTo>
                  <a:close/>
                  <a:moveTo>
                    <a:pt x="347" y="1497"/>
                  </a:moveTo>
                  <a:lnTo>
                    <a:pt x="348" y="1497"/>
                  </a:lnTo>
                  <a:lnTo>
                    <a:pt x="347" y="1497"/>
                  </a:lnTo>
                  <a:close/>
                  <a:moveTo>
                    <a:pt x="223" y="1475"/>
                  </a:moveTo>
                  <a:lnTo>
                    <a:pt x="221" y="1475"/>
                  </a:lnTo>
                  <a:lnTo>
                    <a:pt x="223" y="1475"/>
                  </a:lnTo>
                  <a:close/>
                  <a:moveTo>
                    <a:pt x="192" y="1150"/>
                  </a:moveTo>
                  <a:lnTo>
                    <a:pt x="192" y="1149"/>
                  </a:lnTo>
                  <a:lnTo>
                    <a:pt x="192" y="1150"/>
                  </a:lnTo>
                  <a:close/>
                  <a:moveTo>
                    <a:pt x="244" y="1505"/>
                  </a:moveTo>
                  <a:lnTo>
                    <a:pt x="244" y="1503"/>
                  </a:lnTo>
                  <a:lnTo>
                    <a:pt x="244" y="1505"/>
                  </a:lnTo>
                  <a:close/>
                  <a:moveTo>
                    <a:pt x="225" y="1014"/>
                  </a:moveTo>
                  <a:lnTo>
                    <a:pt x="226" y="1014"/>
                  </a:lnTo>
                  <a:lnTo>
                    <a:pt x="225" y="1014"/>
                  </a:lnTo>
                  <a:close/>
                  <a:moveTo>
                    <a:pt x="218" y="1506"/>
                  </a:moveTo>
                  <a:lnTo>
                    <a:pt x="220" y="1506"/>
                  </a:lnTo>
                  <a:lnTo>
                    <a:pt x="218" y="1506"/>
                  </a:lnTo>
                  <a:close/>
                  <a:moveTo>
                    <a:pt x="321" y="1505"/>
                  </a:moveTo>
                  <a:lnTo>
                    <a:pt x="321" y="1506"/>
                  </a:lnTo>
                  <a:lnTo>
                    <a:pt x="321" y="1505"/>
                  </a:lnTo>
                  <a:close/>
                  <a:moveTo>
                    <a:pt x="267" y="1471"/>
                  </a:moveTo>
                  <a:lnTo>
                    <a:pt x="269" y="1471"/>
                  </a:lnTo>
                  <a:lnTo>
                    <a:pt x="267" y="1471"/>
                  </a:lnTo>
                  <a:close/>
                  <a:moveTo>
                    <a:pt x="438" y="1471"/>
                  </a:moveTo>
                  <a:lnTo>
                    <a:pt x="436" y="1471"/>
                  </a:lnTo>
                  <a:lnTo>
                    <a:pt x="438" y="1469"/>
                  </a:lnTo>
                  <a:lnTo>
                    <a:pt x="438" y="1471"/>
                  </a:lnTo>
                  <a:close/>
                  <a:moveTo>
                    <a:pt x="236" y="1248"/>
                  </a:moveTo>
                  <a:lnTo>
                    <a:pt x="238" y="1248"/>
                  </a:lnTo>
                  <a:lnTo>
                    <a:pt x="236" y="1248"/>
                  </a:lnTo>
                  <a:close/>
                  <a:moveTo>
                    <a:pt x="550" y="1420"/>
                  </a:moveTo>
                  <a:lnTo>
                    <a:pt x="552" y="1420"/>
                  </a:lnTo>
                  <a:lnTo>
                    <a:pt x="552" y="1422"/>
                  </a:lnTo>
                  <a:lnTo>
                    <a:pt x="550" y="1420"/>
                  </a:lnTo>
                  <a:close/>
                  <a:moveTo>
                    <a:pt x="195" y="1436"/>
                  </a:moveTo>
                  <a:lnTo>
                    <a:pt x="195" y="1438"/>
                  </a:lnTo>
                  <a:lnTo>
                    <a:pt x="195" y="1436"/>
                  </a:lnTo>
                  <a:close/>
                  <a:moveTo>
                    <a:pt x="200" y="1506"/>
                  </a:moveTo>
                  <a:lnTo>
                    <a:pt x="200" y="1505"/>
                  </a:lnTo>
                  <a:lnTo>
                    <a:pt x="202" y="1506"/>
                  </a:lnTo>
                  <a:lnTo>
                    <a:pt x="200" y="1506"/>
                  </a:lnTo>
                  <a:close/>
                  <a:moveTo>
                    <a:pt x="270" y="609"/>
                  </a:moveTo>
                  <a:lnTo>
                    <a:pt x="270" y="610"/>
                  </a:lnTo>
                  <a:lnTo>
                    <a:pt x="270" y="609"/>
                  </a:lnTo>
                  <a:close/>
                  <a:moveTo>
                    <a:pt x="584" y="1397"/>
                  </a:moveTo>
                  <a:lnTo>
                    <a:pt x="584" y="1396"/>
                  </a:lnTo>
                  <a:lnTo>
                    <a:pt x="586" y="1396"/>
                  </a:lnTo>
                  <a:lnTo>
                    <a:pt x="586" y="1397"/>
                  </a:lnTo>
                  <a:lnTo>
                    <a:pt x="584" y="1397"/>
                  </a:lnTo>
                  <a:close/>
                  <a:moveTo>
                    <a:pt x="272" y="1441"/>
                  </a:moveTo>
                  <a:lnTo>
                    <a:pt x="274" y="1441"/>
                  </a:lnTo>
                  <a:lnTo>
                    <a:pt x="272" y="1441"/>
                  </a:lnTo>
                  <a:close/>
                  <a:moveTo>
                    <a:pt x="225" y="1441"/>
                  </a:moveTo>
                  <a:lnTo>
                    <a:pt x="225" y="1443"/>
                  </a:lnTo>
                  <a:lnTo>
                    <a:pt x="225" y="1441"/>
                  </a:lnTo>
                  <a:close/>
                  <a:moveTo>
                    <a:pt x="184" y="1121"/>
                  </a:moveTo>
                  <a:lnTo>
                    <a:pt x="184" y="1119"/>
                  </a:lnTo>
                  <a:lnTo>
                    <a:pt x="184" y="1121"/>
                  </a:lnTo>
                  <a:close/>
                  <a:moveTo>
                    <a:pt x="290" y="1441"/>
                  </a:moveTo>
                  <a:lnTo>
                    <a:pt x="290" y="1443"/>
                  </a:lnTo>
                  <a:lnTo>
                    <a:pt x="290" y="1441"/>
                  </a:lnTo>
                  <a:close/>
                  <a:moveTo>
                    <a:pt x="418" y="1493"/>
                  </a:moveTo>
                  <a:lnTo>
                    <a:pt x="420" y="1493"/>
                  </a:lnTo>
                  <a:lnTo>
                    <a:pt x="418" y="1493"/>
                  </a:lnTo>
                  <a:close/>
                  <a:moveTo>
                    <a:pt x="174" y="1015"/>
                  </a:moveTo>
                  <a:lnTo>
                    <a:pt x="173" y="1015"/>
                  </a:lnTo>
                  <a:lnTo>
                    <a:pt x="174" y="1015"/>
                  </a:lnTo>
                  <a:close/>
                  <a:moveTo>
                    <a:pt x="171" y="1069"/>
                  </a:moveTo>
                  <a:lnTo>
                    <a:pt x="171" y="1067"/>
                  </a:lnTo>
                  <a:lnTo>
                    <a:pt x="173" y="1069"/>
                  </a:lnTo>
                  <a:lnTo>
                    <a:pt x="171" y="1069"/>
                  </a:lnTo>
                  <a:close/>
                  <a:moveTo>
                    <a:pt x="644" y="1350"/>
                  </a:moveTo>
                  <a:lnTo>
                    <a:pt x="646" y="1350"/>
                  </a:lnTo>
                  <a:lnTo>
                    <a:pt x="644" y="1350"/>
                  </a:lnTo>
                  <a:close/>
                  <a:moveTo>
                    <a:pt x="426" y="1480"/>
                  </a:moveTo>
                  <a:lnTo>
                    <a:pt x="426" y="1482"/>
                  </a:lnTo>
                  <a:lnTo>
                    <a:pt x="426" y="1480"/>
                  </a:lnTo>
                  <a:close/>
                  <a:moveTo>
                    <a:pt x="243" y="1319"/>
                  </a:moveTo>
                  <a:lnTo>
                    <a:pt x="243" y="1321"/>
                  </a:lnTo>
                  <a:lnTo>
                    <a:pt x="243" y="1319"/>
                  </a:lnTo>
                  <a:close/>
                  <a:moveTo>
                    <a:pt x="649" y="1339"/>
                  </a:moveTo>
                  <a:lnTo>
                    <a:pt x="651" y="1339"/>
                  </a:lnTo>
                  <a:lnTo>
                    <a:pt x="649" y="1340"/>
                  </a:lnTo>
                  <a:lnTo>
                    <a:pt x="649" y="1339"/>
                  </a:lnTo>
                  <a:close/>
                  <a:moveTo>
                    <a:pt x="296" y="1514"/>
                  </a:moveTo>
                  <a:lnTo>
                    <a:pt x="298" y="1514"/>
                  </a:lnTo>
                  <a:lnTo>
                    <a:pt x="296" y="1514"/>
                  </a:lnTo>
                  <a:close/>
                  <a:moveTo>
                    <a:pt x="345" y="1443"/>
                  </a:moveTo>
                  <a:lnTo>
                    <a:pt x="347" y="1443"/>
                  </a:lnTo>
                  <a:lnTo>
                    <a:pt x="345" y="1443"/>
                  </a:lnTo>
                  <a:close/>
                  <a:moveTo>
                    <a:pt x="659" y="1347"/>
                  </a:moveTo>
                  <a:lnTo>
                    <a:pt x="657" y="1347"/>
                  </a:lnTo>
                  <a:lnTo>
                    <a:pt x="659" y="1347"/>
                  </a:lnTo>
                  <a:close/>
                  <a:moveTo>
                    <a:pt x="205" y="1018"/>
                  </a:moveTo>
                  <a:lnTo>
                    <a:pt x="207" y="1018"/>
                  </a:lnTo>
                  <a:lnTo>
                    <a:pt x="205" y="1018"/>
                  </a:lnTo>
                  <a:close/>
                  <a:moveTo>
                    <a:pt x="345" y="1497"/>
                  </a:moveTo>
                  <a:lnTo>
                    <a:pt x="347" y="1497"/>
                  </a:lnTo>
                  <a:lnTo>
                    <a:pt x="345" y="1497"/>
                  </a:lnTo>
                  <a:close/>
                  <a:moveTo>
                    <a:pt x="317" y="1472"/>
                  </a:moveTo>
                  <a:lnTo>
                    <a:pt x="317" y="1471"/>
                  </a:lnTo>
                  <a:lnTo>
                    <a:pt x="317" y="1472"/>
                  </a:lnTo>
                  <a:close/>
                  <a:moveTo>
                    <a:pt x="230" y="1440"/>
                  </a:moveTo>
                  <a:lnTo>
                    <a:pt x="231" y="1440"/>
                  </a:lnTo>
                  <a:lnTo>
                    <a:pt x="230" y="1440"/>
                  </a:lnTo>
                  <a:close/>
                  <a:moveTo>
                    <a:pt x="308" y="1510"/>
                  </a:moveTo>
                  <a:lnTo>
                    <a:pt x="308" y="1508"/>
                  </a:lnTo>
                  <a:lnTo>
                    <a:pt x="308" y="1510"/>
                  </a:lnTo>
                  <a:close/>
                  <a:moveTo>
                    <a:pt x="254" y="1462"/>
                  </a:moveTo>
                  <a:lnTo>
                    <a:pt x="256" y="1462"/>
                  </a:lnTo>
                  <a:lnTo>
                    <a:pt x="254" y="1462"/>
                  </a:lnTo>
                  <a:close/>
                  <a:moveTo>
                    <a:pt x="365" y="1472"/>
                  </a:moveTo>
                  <a:lnTo>
                    <a:pt x="365" y="1474"/>
                  </a:lnTo>
                  <a:lnTo>
                    <a:pt x="365" y="1472"/>
                  </a:lnTo>
                  <a:close/>
                  <a:moveTo>
                    <a:pt x="194" y="1445"/>
                  </a:moveTo>
                  <a:lnTo>
                    <a:pt x="195" y="1445"/>
                  </a:lnTo>
                  <a:lnTo>
                    <a:pt x="194" y="1445"/>
                  </a:lnTo>
                  <a:close/>
                  <a:moveTo>
                    <a:pt x="239" y="1412"/>
                  </a:moveTo>
                  <a:lnTo>
                    <a:pt x="241" y="1412"/>
                  </a:lnTo>
                  <a:lnTo>
                    <a:pt x="239" y="1412"/>
                  </a:lnTo>
                  <a:close/>
                  <a:moveTo>
                    <a:pt x="236" y="1012"/>
                  </a:moveTo>
                  <a:lnTo>
                    <a:pt x="236" y="1010"/>
                  </a:lnTo>
                  <a:lnTo>
                    <a:pt x="236" y="1012"/>
                  </a:lnTo>
                  <a:close/>
                  <a:moveTo>
                    <a:pt x="350" y="1484"/>
                  </a:moveTo>
                  <a:lnTo>
                    <a:pt x="350" y="1482"/>
                  </a:lnTo>
                  <a:lnTo>
                    <a:pt x="350" y="1484"/>
                  </a:lnTo>
                  <a:close/>
                  <a:moveTo>
                    <a:pt x="277" y="1487"/>
                  </a:moveTo>
                  <a:lnTo>
                    <a:pt x="278" y="1487"/>
                  </a:lnTo>
                  <a:lnTo>
                    <a:pt x="277" y="1487"/>
                  </a:lnTo>
                  <a:close/>
                  <a:moveTo>
                    <a:pt x="321" y="1474"/>
                  </a:moveTo>
                  <a:lnTo>
                    <a:pt x="321" y="1472"/>
                  </a:lnTo>
                  <a:lnTo>
                    <a:pt x="321" y="1474"/>
                  </a:lnTo>
                  <a:close/>
                  <a:moveTo>
                    <a:pt x="246" y="1339"/>
                  </a:moveTo>
                  <a:lnTo>
                    <a:pt x="247" y="1339"/>
                  </a:lnTo>
                  <a:lnTo>
                    <a:pt x="246" y="1339"/>
                  </a:lnTo>
                  <a:close/>
                  <a:moveTo>
                    <a:pt x="306" y="1488"/>
                  </a:moveTo>
                  <a:lnTo>
                    <a:pt x="308" y="1488"/>
                  </a:lnTo>
                  <a:lnTo>
                    <a:pt x="306" y="1488"/>
                  </a:lnTo>
                  <a:close/>
                  <a:moveTo>
                    <a:pt x="324" y="1506"/>
                  </a:moveTo>
                  <a:lnTo>
                    <a:pt x="322" y="1506"/>
                  </a:lnTo>
                  <a:lnTo>
                    <a:pt x="324" y="1506"/>
                  </a:lnTo>
                  <a:close/>
                  <a:moveTo>
                    <a:pt x="223" y="1432"/>
                  </a:moveTo>
                  <a:lnTo>
                    <a:pt x="225" y="1432"/>
                  </a:lnTo>
                  <a:lnTo>
                    <a:pt x="223" y="1432"/>
                  </a:lnTo>
                  <a:close/>
                  <a:moveTo>
                    <a:pt x="306" y="1497"/>
                  </a:moveTo>
                  <a:lnTo>
                    <a:pt x="306" y="1498"/>
                  </a:lnTo>
                  <a:lnTo>
                    <a:pt x="306" y="1497"/>
                  </a:lnTo>
                  <a:close/>
                  <a:moveTo>
                    <a:pt x="192" y="1435"/>
                  </a:moveTo>
                  <a:lnTo>
                    <a:pt x="194" y="1435"/>
                  </a:lnTo>
                  <a:lnTo>
                    <a:pt x="192" y="1435"/>
                  </a:lnTo>
                  <a:close/>
                  <a:moveTo>
                    <a:pt x="672" y="1337"/>
                  </a:moveTo>
                  <a:lnTo>
                    <a:pt x="672" y="1336"/>
                  </a:lnTo>
                  <a:lnTo>
                    <a:pt x="672" y="1337"/>
                  </a:lnTo>
                  <a:close/>
                  <a:moveTo>
                    <a:pt x="482" y="1451"/>
                  </a:moveTo>
                  <a:lnTo>
                    <a:pt x="482" y="1449"/>
                  </a:lnTo>
                  <a:lnTo>
                    <a:pt x="482" y="1451"/>
                  </a:lnTo>
                  <a:close/>
                  <a:moveTo>
                    <a:pt x="578" y="1384"/>
                  </a:moveTo>
                  <a:lnTo>
                    <a:pt x="576" y="1384"/>
                  </a:lnTo>
                  <a:lnTo>
                    <a:pt x="578" y="1384"/>
                  </a:lnTo>
                  <a:close/>
                  <a:moveTo>
                    <a:pt x="324" y="1508"/>
                  </a:moveTo>
                  <a:lnTo>
                    <a:pt x="326" y="1508"/>
                  </a:lnTo>
                  <a:lnTo>
                    <a:pt x="324" y="1508"/>
                  </a:lnTo>
                  <a:close/>
                  <a:moveTo>
                    <a:pt x="267" y="957"/>
                  </a:moveTo>
                  <a:lnTo>
                    <a:pt x="269" y="957"/>
                  </a:lnTo>
                  <a:lnTo>
                    <a:pt x="267" y="957"/>
                  </a:lnTo>
                  <a:close/>
                  <a:moveTo>
                    <a:pt x="249" y="1422"/>
                  </a:moveTo>
                  <a:lnTo>
                    <a:pt x="251" y="1422"/>
                  </a:lnTo>
                  <a:lnTo>
                    <a:pt x="249" y="1422"/>
                  </a:lnTo>
                  <a:close/>
                  <a:moveTo>
                    <a:pt x="594" y="1396"/>
                  </a:moveTo>
                  <a:lnTo>
                    <a:pt x="594" y="1397"/>
                  </a:lnTo>
                  <a:lnTo>
                    <a:pt x="594" y="1396"/>
                  </a:lnTo>
                  <a:close/>
                  <a:moveTo>
                    <a:pt x="231" y="1254"/>
                  </a:moveTo>
                  <a:lnTo>
                    <a:pt x="231" y="1253"/>
                  </a:lnTo>
                  <a:lnTo>
                    <a:pt x="231" y="1254"/>
                  </a:lnTo>
                  <a:close/>
                  <a:moveTo>
                    <a:pt x="272" y="1464"/>
                  </a:moveTo>
                  <a:lnTo>
                    <a:pt x="272" y="1466"/>
                  </a:lnTo>
                  <a:lnTo>
                    <a:pt x="272" y="1464"/>
                  </a:lnTo>
                  <a:close/>
                  <a:moveTo>
                    <a:pt x="283" y="1519"/>
                  </a:moveTo>
                  <a:lnTo>
                    <a:pt x="285" y="1519"/>
                  </a:lnTo>
                  <a:lnTo>
                    <a:pt x="283" y="1519"/>
                  </a:lnTo>
                  <a:close/>
                  <a:moveTo>
                    <a:pt x="365" y="688"/>
                  </a:moveTo>
                  <a:lnTo>
                    <a:pt x="366" y="688"/>
                  </a:lnTo>
                  <a:lnTo>
                    <a:pt x="365" y="688"/>
                  </a:lnTo>
                  <a:close/>
                  <a:moveTo>
                    <a:pt x="262" y="1510"/>
                  </a:moveTo>
                  <a:lnTo>
                    <a:pt x="262" y="1508"/>
                  </a:lnTo>
                  <a:lnTo>
                    <a:pt x="262" y="1510"/>
                  </a:lnTo>
                  <a:close/>
                  <a:moveTo>
                    <a:pt x="247" y="1010"/>
                  </a:moveTo>
                  <a:lnTo>
                    <a:pt x="247" y="1012"/>
                  </a:lnTo>
                  <a:lnTo>
                    <a:pt x="247" y="1010"/>
                  </a:lnTo>
                  <a:close/>
                  <a:moveTo>
                    <a:pt x="508" y="1432"/>
                  </a:moveTo>
                  <a:lnTo>
                    <a:pt x="508" y="1430"/>
                  </a:lnTo>
                  <a:lnTo>
                    <a:pt x="508" y="1432"/>
                  </a:lnTo>
                  <a:close/>
                  <a:moveTo>
                    <a:pt x="622" y="1355"/>
                  </a:moveTo>
                  <a:lnTo>
                    <a:pt x="622" y="1353"/>
                  </a:lnTo>
                  <a:lnTo>
                    <a:pt x="622" y="1355"/>
                  </a:lnTo>
                  <a:close/>
                  <a:moveTo>
                    <a:pt x="234" y="1253"/>
                  </a:moveTo>
                  <a:lnTo>
                    <a:pt x="234" y="1254"/>
                  </a:lnTo>
                  <a:lnTo>
                    <a:pt x="234" y="1253"/>
                  </a:lnTo>
                  <a:close/>
                  <a:moveTo>
                    <a:pt x="267" y="1420"/>
                  </a:moveTo>
                  <a:lnTo>
                    <a:pt x="265" y="1420"/>
                  </a:lnTo>
                  <a:lnTo>
                    <a:pt x="267" y="1420"/>
                  </a:lnTo>
                  <a:close/>
                  <a:moveTo>
                    <a:pt x="236" y="1336"/>
                  </a:moveTo>
                  <a:lnTo>
                    <a:pt x="236" y="1334"/>
                  </a:lnTo>
                  <a:lnTo>
                    <a:pt x="236" y="1336"/>
                  </a:lnTo>
                  <a:close/>
                  <a:moveTo>
                    <a:pt x="316" y="1492"/>
                  </a:moveTo>
                  <a:lnTo>
                    <a:pt x="316" y="1490"/>
                  </a:lnTo>
                  <a:lnTo>
                    <a:pt x="316" y="1492"/>
                  </a:lnTo>
                  <a:close/>
                  <a:moveTo>
                    <a:pt x="329" y="1505"/>
                  </a:moveTo>
                  <a:lnTo>
                    <a:pt x="330" y="1505"/>
                  </a:lnTo>
                  <a:lnTo>
                    <a:pt x="330" y="1506"/>
                  </a:lnTo>
                  <a:lnTo>
                    <a:pt x="329" y="1505"/>
                  </a:lnTo>
                  <a:close/>
                  <a:moveTo>
                    <a:pt x="127" y="1472"/>
                  </a:moveTo>
                  <a:lnTo>
                    <a:pt x="129" y="1472"/>
                  </a:lnTo>
                  <a:lnTo>
                    <a:pt x="127" y="1472"/>
                  </a:lnTo>
                  <a:close/>
                  <a:moveTo>
                    <a:pt x="239" y="1327"/>
                  </a:moveTo>
                  <a:lnTo>
                    <a:pt x="241" y="1327"/>
                  </a:lnTo>
                  <a:lnTo>
                    <a:pt x="239" y="1327"/>
                  </a:lnTo>
                  <a:close/>
                  <a:moveTo>
                    <a:pt x="261" y="1524"/>
                  </a:moveTo>
                  <a:lnTo>
                    <a:pt x="262" y="1524"/>
                  </a:lnTo>
                  <a:lnTo>
                    <a:pt x="261" y="1524"/>
                  </a:lnTo>
                  <a:close/>
                  <a:moveTo>
                    <a:pt x="247" y="1262"/>
                  </a:moveTo>
                  <a:lnTo>
                    <a:pt x="247" y="1264"/>
                  </a:lnTo>
                  <a:lnTo>
                    <a:pt x="247" y="1262"/>
                  </a:lnTo>
                  <a:close/>
                  <a:moveTo>
                    <a:pt x="264" y="1480"/>
                  </a:moveTo>
                  <a:lnTo>
                    <a:pt x="265" y="1480"/>
                  </a:lnTo>
                  <a:lnTo>
                    <a:pt x="264" y="1480"/>
                  </a:lnTo>
                  <a:close/>
                  <a:moveTo>
                    <a:pt x="220" y="1475"/>
                  </a:moveTo>
                  <a:lnTo>
                    <a:pt x="221" y="1475"/>
                  </a:lnTo>
                  <a:lnTo>
                    <a:pt x="220" y="1475"/>
                  </a:lnTo>
                  <a:close/>
                  <a:moveTo>
                    <a:pt x="283" y="1420"/>
                  </a:moveTo>
                  <a:lnTo>
                    <a:pt x="285" y="1420"/>
                  </a:lnTo>
                  <a:lnTo>
                    <a:pt x="283" y="1420"/>
                  </a:lnTo>
                  <a:close/>
                  <a:moveTo>
                    <a:pt x="244" y="1378"/>
                  </a:moveTo>
                  <a:lnTo>
                    <a:pt x="244" y="1380"/>
                  </a:lnTo>
                  <a:lnTo>
                    <a:pt x="244" y="1378"/>
                  </a:lnTo>
                  <a:close/>
                  <a:moveTo>
                    <a:pt x="205" y="1007"/>
                  </a:moveTo>
                  <a:lnTo>
                    <a:pt x="207" y="1007"/>
                  </a:lnTo>
                  <a:lnTo>
                    <a:pt x="205" y="1007"/>
                  </a:lnTo>
                  <a:close/>
                  <a:moveTo>
                    <a:pt x="314" y="1475"/>
                  </a:moveTo>
                  <a:lnTo>
                    <a:pt x="314" y="1474"/>
                  </a:lnTo>
                  <a:lnTo>
                    <a:pt x="314" y="1475"/>
                  </a:lnTo>
                  <a:close/>
                  <a:moveTo>
                    <a:pt x="274" y="1438"/>
                  </a:moveTo>
                  <a:lnTo>
                    <a:pt x="274" y="1436"/>
                  </a:lnTo>
                  <a:lnTo>
                    <a:pt x="274" y="1438"/>
                  </a:lnTo>
                  <a:close/>
                  <a:moveTo>
                    <a:pt x="374" y="1472"/>
                  </a:moveTo>
                  <a:lnTo>
                    <a:pt x="376" y="1472"/>
                  </a:lnTo>
                  <a:lnTo>
                    <a:pt x="374" y="1472"/>
                  </a:lnTo>
                  <a:close/>
                  <a:moveTo>
                    <a:pt x="230" y="1425"/>
                  </a:moveTo>
                  <a:lnTo>
                    <a:pt x="231" y="1425"/>
                  </a:lnTo>
                  <a:lnTo>
                    <a:pt x="230" y="1425"/>
                  </a:lnTo>
                  <a:close/>
                  <a:moveTo>
                    <a:pt x="178" y="1075"/>
                  </a:moveTo>
                  <a:lnTo>
                    <a:pt x="176" y="1075"/>
                  </a:lnTo>
                  <a:lnTo>
                    <a:pt x="178" y="1075"/>
                  </a:lnTo>
                  <a:close/>
                  <a:moveTo>
                    <a:pt x="200" y="1498"/>
                  </a:moveTo>
                  <a:lnTo>
                    <a:pt x="202" y="1498"/>
                  </a:lnTo>
                  <a:lnTo>
                    <a:pt x="202" y="1500"/>
                  </a:lnTo>
                  <a:lnTo>
                    <a:pt x="200" y="1498"/>
                  </a:lnTo>
                  <a:close/>
                  <a:moveTo>
                    <a:pt x="332" y="1451"/>
                  </a:moveTo>
                  <a:lnTo>
                    <a:pt x="334" y="1451"/>
                  </a:lnTo>
                  <a:lnTo>
                    <a:pt x="332" y="1451"/>
                  </a:lnTo>
                  <a:close/>
                  <a:moveTo>
                    <a:pt x="456" y="1462"/>
                  </a:moveTo>
                  <a:lnTo>
                    <a:pt x="457" y="1462"/>
                  </a:lnTo>
                  <a:lnTo>
                    <a:pt x="456" y="1462"/>
                  </a:lnTo>
                  <a:close/>
                  <a:moveTo>
                    <a:pt x="238" y="994"/>
                  </a:moveTo>
                  <a:lnTo>
                    <a:pt x="238" y="996"/>
                  </a:lnTo>
                  <a:lnTo>
                    <a:pt x="238" y="994"/>
                  </a:lnTo>
                  <a:close/>
                  <a:moveTo>
                    <a:pt x="296" y="1485"/>
                  </a:moveTo>
                  <a:lnTo>
                    <a:pt x="296" y="1487"/>
                  </a:lnTo>
                  <a:lnTo>
                    <a:pt x="296" y="1485"/>
                  </a:lnTo>
                  <a:close/>
                  <a:moveTo>
                    <a:pt x="239" y="1300"/>
                  </a:moveTo>
                  <a:lnTo>
                    <a:pt x="241" y="1300"/>
                  </a:lnTo>
                  <a:lnTo>
                    <a:pt x="239" y="1300"/>
                  </a:lnTo>
                  <a:close/>
                  <a:moveTo>
                    <a:pt x="182" y="1445"/>
                  </a:moveTo>
                  <a:lnTo>
                    <a:pt x="184" y="1445"/>
                  </a:lnTo>
                  <a:lnTo>
                    <a:pt x="184" y="1446"/>
                  </a:lnTo>
                  <a:lnTo>
                    <a:pt x="182" y="1445"/>
                  </a:lnTo>
                  <a:close/>
                  <a:moveTo>
                    <a:pt x="662" y="1340"/>
                  </a:moveTo>
                  <a:lnTo>
                    <a:pt x="664" y="1340"/>
                  </a:lnTo>
                  <a:lnTo>
                    <a:pt x="664" y="1342"/>
                  </a:lnTo>
                  <a:lnTo>
                    <a:pt x="662" y="1340"/>
                  </a:lnTo>
                  <a:close/>
                  <a:moveTo>
                    <a:pt x="280" y="1404"/>
                  </a:moveTo>
                  <a:lnTo>
                    <a:pt x="282" y="1404"/>
                  </a:lnTo>
                  <a:lnTo>
                    <a:pt x="280" y="1404"/>
                  </a:lnTo>
                  <a:close/>
                  <a:moveTo>
                    <a:pt x="361" y="1498"/>
                  </a:moveTo>
                  <a:lnTo>
                    <a:pt x="360" y="1498"/>
                  </a:lnTo>
                  <a:lnTo>
                    <a:pt x="361" y="1498"/>
                  </a:lnTo>
                  <a:close/>
                  <a:moveTo>
                    <a:pt x="243" y="1396"/>
                  </a:moveTo>
                  <a:lnTo>
                    <a:pt x="244" y="1396"/>
                  </a:lnTo>
                  <a:lnTo>
                    <a:pt x="243" y="1396"/>
                  </a:lnTo>
                  <a:close/>
                  <a:moveTo>
                    <a:pt x="269" y="921"/>
                  </a:moveTo>
                  <a:lnTo>
                    <a:pt x="270" y="921"/>
                  </a:lnTo>
                  <a:lnTo>
                    <a:pt x="269" y="921"/>
                  </a:lnTo>
                  <a:close/>
                  <a:moveTo>
                    <a:pt x="308" y="1454"/>
                  </a:moveTo>
                  <a:lnTo>
                    <a:pt x="309" y="1454"/>
                  </a:lnTo>
                  <a:lnTo>
                    <a:pt x="308" y="1454"/>
                  </a:lnTo>
                  <a:close/>
                  <a:moveTo>
                    <a:pt x="343" y="1425"/>
                  </a:moveTo>
                  <a:lnTo>
                    <a:pt x="345" y="1425"/>
                  </a:lnTo>
                  <a:lnTo>
                    <a:pt x="343" y="1425"/>
                  </a:lnTo>
                  <a:close/>
                  <a:moveTo>
                    <a:pt x="319" y="1501"/>
                  </a:moveTo>
                  <a:lnTo>
                    <a:pt x="319" y="1500"/>
                  </a:lnTo>
                  <a:lnTo>
                    <a:pt x="321" y="1501"/>
                  </a:lnTo>
                  <a:lnTo>
                    <a:pt x="319" y="1501"/>
                  </a:lnTo>
                  <a:close/>
                  <a:moveTo>
                    <a:pt x="483" y="1453"/>
                  </a:moveTo>
                  <a:lnTo>
                    <a:pt x="483" y="1451"/>
                  </a:lnTo>
                  <a:lnTo>
                    <a:pt x="483" y="1453"/>
                  </a:lnTo>
                  <a:close/>
                  <a:moveTo>
                    <a:pt x="249" y="1467"/>
                  </a:moveTo>
                  <a:lnTo>
                    <a:pt x="251" y="1467"/>
                  </a:lnTo>
                  <a:lnTo>
                    <a:pt x="249" y="1467"/>
                  </a:lnTo>
                  <a:close/>
                  <a:moveTo>
                    <a:pt x="693" y="1331"/>
                  </a:moveTo>
                  <a:lnTo>
                    <a:pt x="693" y="1332"/>
                  </a:lnTo>
                  <a:lnTo>
                    <a:pt x="693" y="1331"/>
                  </a:lnTo>
                  <a:close/>
                  <a:moveTo>
                    <a:pt x="283" y="1480"/>
                  </a:moveTo>
                  <a:lnTo>
                    <a:pt x="283" y="1479"/>
                  </a:lnTo>
                  <a:lnTo>
                    <a:pt x="283" y="1480"/>
                  </a:lnTo>
                  <a:close/>
                  <a:moveTo>
                    <a:pt x="534" y="1417"/>
                  </a:moveTo>
                  <a:lnTo>
                    <a:pt x="532" y="1417"/>
                  </a:lnTo>
                  <a:lnTo>
                    <a:pt x="534" y="1417"/>
                  </a:lnTo>
                  <a:close/>
                  <a:moveTo>
                    <a:pt x="413" y="1482"/>
                  </a:moveTo>
                  <a:lnTo>
                    <a:pt x="415" y="1482"/>
                  </a:lnTo>
                  <a:lnTo>
                    <a:pt x="413" y="1482"/>
                  </a:lnTo>
                  <a:close/>
                  <a:moveTo>
                    <a:pt x="592" y="1375"/>
                  </a:moveTo>
                  <a:lnTo>
                    <a:pt x="594" y="1375"/>
                  </a:lnTo>
                  <a:lnTo>
                    <a:pt x="592" y="1375"/>
                  </a:lnTo>
                  <a:close/>
                  <a:moveTo>
                    <a:pt x="586" y="1393"/>
                  </a:moveTo>
                  <a:lnTo>
                    <a:pt x="586" y="1391"/>
                  </a:lnTo>
                  <a:lnTo>
                    <a:pt x="586" y="1393"/>
                  </a:lnTo>
                  <a:close/>
                  <a:moveTo>
                    <a:pt x="314" y="1464"/>
                  </a:moveTo>
                  <a:lnTo>
                    <a:pt x="313" y="1464"/>
                  </a:lnTo>
                  <a:lnTo>
                    <a:pt x="314" y="1464"/>
                  </a:lnTo>
                  <a:close/>
                  <a:moveTo>
                    <a:pt x="142" y="1449"/>
                  </a:moveTo>
                  <a:lnTo>
                    <a:pt x="142" y="1451"/>
                  </a:lnTo>
                  <a:lnTo>
                    <a:pt x="142" y="1449"/>
                  </a:lnTo>
                  <a:close/>
                  <a:moveTo>
                    <a:pt x="282" y="1484"/>
                  </a:moveTo>
                  <a:lnTo>
                    <a:pt x="283" y="1484"/>
                  </a:lnTo>
                  <a:lnTo>
                    <a:pt x="282" y="1484"/>
                  </a:lnTo>
                  <a:close/>
                  <a:moveTo>
                    <a:pt x="254" y="1456"/>
                  </a:moveTo>
                  <a:lnTo>
                    <a:pt x="254" y="1458"/>
                  </a:lnTo>
                  <a:lnTo>
                    <a:pt x="254" y="1456"/>
                  </a:lnTo>
                  <a:close/>
                  <a:moveTo>
                    <a:pt x="596" y="1384"/>
                  </a:moveTo>
                  <a:lnTo>
                    <a:pt x="597" y="1384"/>
                  </a:lnTo>
                  <a:lnTo>
                    <a:pt x="596" y="1384"/>
                  </a:lnTo>
                  <a:close/>
                  <a:moveTo>
                    <a:pt x="522" y="1417"/>
                  </a:moveTo>
                  <a:lnTo>
                    <a:pt x="522" y="1415"/>
                  </a:lnTo>
                  <a:lnTo>
                    <a:pt x="522" y="1417"/>
                  </a:lnTo>
                  <a:close/>
                  <a:moveTo>
                    <a:pt x="368" y="722"/>
                  </a:moveTo>
                  <a:lnTo>
                    <a:pt x="368" y="724"/>
                  </a:lnTo>
                  <a:lnTo>
                    <a:pt x="368" y="722"/>
                  </a:lnTo>
                  <a:close/>
                  <a:moveTo>
                    <a:pt x="462" y="1456"/>
                  </a:moveTo>
                  <a:lnTo>
                    <a:pt x="462" y="1454"/>
                  </a:lnTo>
                  <a:lnTo>
                    <a:pt x="464" y="1456"/>
                  </a:lnTo>
                  <a:lnTo>
                    <a:pt x="462" y="1456"/>
                  </a:lnTo>
                  <a:close/>
                  <a:moveTo>
                    <a:pt x="487" y="1461"/>
                  </a:moveTo>
                  <a:lnTo>
                    <a:pt x="487" y="1459"/>
                  </a:lnTo>
                  <a:lnTo>
                    <a:pt x="487" y="1461"/>
                  </a:lnTo>
                  <a:close/>
                  <a:moveTo>
                    <a:pt x="399" y="1464"/>
                  </a:moveTo>
                  <a:lnTo>
                    <a:pt x="399" y="1466"/>
                  </a:lnTo>
                  <a:lnTo>
                    <a:pt x="399" y="1464"/>
                  </a:lnTo>
                  <a:close/>
                  <a:moveTo>
                    <a:pt x="186" y="1131"/>
                  </a:moveTo>
                  <a:lnTo>
                    <a:pt x="186" y="1129"/>
                  </a:lnTo>
                  <a:lnTo>
                    <a:pt x="186" y="1131"/>
                  </a:lnTo>
                  <a:close/>
                  <a:moveTo>
                    <a:pt x="241" y="1301"/>
                  </a:moveTo>
                  <a:lnTo>
                    <a:pt x="243" y="1301"/>
                  </a:lnTo>
                  <a:lnTo>
                    <a:pt x="241" y="1301"/>
                  </a:lnTo>
                  <a:close/>
                  <a:moveTo>
                    <a:pt x="615" y="1358"/>
                  </a:moveTo>
                  <a:lnTo>
                    <a:pt x="615" y="1357"/>
                  </a:lnTo>
                  <a:lnTo>
                    <a:pt x="617" y="1357"/>
                  </a:lnTo>
                  <a:lnTo>
                    <a:pt x="615" y="1358"/>
                  </a:lnTo>
                  <a:close/>
                  <a:moveTo>
                    <a:pt x="443" y="1472"/>
                  </a:moveTo>
                  <a:lnTo>
                    <a:pt x="444" y="1474"/>
                  </a:lnTo>
                  <a:lnTo>
                    <a:pt x="443" y="1474"/>
                  </a:lnTo>
                  <a:lnTo>
                    <a:pt x="443" y="1472"/>
                  </a:lnTo>
                  <a:close/>
                  <a:moveTo>
                    <a:pt x="332" y="1490"/>
                  </a:moveTo>
                  <a:lnTo>
                    <a:pt x="332" y="1488"/>
                  </a:lnTo>
                  <a:lnTo>
                    <a:pt x="332" y="1490"/>
                  </a:lnTo>
                  <a:close/>
                  <a:moveTo>
                    <a:pt x="330" y="1514"/>
                  </a:moveTo>
                  <a:lnTo>
                    <a:pt x="330" y="1513"/>
                  </a:lnTo>
                  <a:lnTo>
                    <a:pt x="332" y="1513"/>
                  </a:lnTo>
                  <a:lnTo>
                    <a:pt x="330" y="1514"/>
                  </a:lnTo>
                  <a:close/>
                  <a:moveTo>
                    <a:pt x="228" y="1427"/>
                  </a:moveTo>
                  <a:lnTo>
                    <a:pt x="228" y="1425"/>
                  </a:lnTo>
                  <a:lnTo>
                    <a:pt x="228" y="1427"/>
                  </a:lnTo>
                  <a:close/>
                  <a:moveTo>
                    <a:pt x="199" y="1033"/>
                  </a:moveTo>
                  <a:lnTo>
                    <a:pt x="200" y="1033"/>
                  </a:lnTo>
                  <a:lnTo>
                    <a:pt x="199" y="1033"/>
                  </a:lnTo>
                  <a:close/>
                  <a:moveTo>
                    <a:pt x="233" y="1249"/>
                  </a:moveTo>
                  <a:lnTo>
                    <a:pt x="234" y="1249"/>
                  </a:lnTo>
                  <a:lnTo>
                    <a:pt x="233" y="1249"/>
                  </a:lnTo>
                  <a:close/>
                  <a:moveTo>
                    <a:pt x="225" y="1428"/>
                  </a:moveTo>
                  <a:lnTo>
                    <a:pt x="225" y="1427"/>
                  </a:lnTo>
                  <a:lnTo>
                    <a:pt x="225" y="1428"/>
                  </a:lnTo>
                  <a:close/>
                  <a:moveTo>
                    <a:pt x="363" y="1484"/>
                  </a:moveTo>
                  <a:lnTo>
                    <a:pt x="365" y="1484"/>
                  </a:lnTo>
                  <a:lnTo>
                    <a:pt x="363" y="1484"/>
                  </a:lnTo>
                  <a:close/>
                  <a:moveTo>
                    <a:pt x="291" y="1500"/>
                  </a:moveTo>
                  <a:lnTo>
                    <a:pt x="293" y="1500"/>
                  </a:lnTo>
                  <a:lnTo>
                    <a:pt x="291" y="1500"/>
                  </a:lnTo>
                  <a:close/>
                  <a:moveTo>
                    <a:pt x="171" y="1010"/>
                  </a:moveTo>
                  <a:lnTo>
                    <a:pt x="169" y="1010"/>
                  </a:lnTo>
                  <a:lnTo>
                    <a:pt x="171" y="1009"/>
                  </a:lnTo>
                  <a:lnTo>
                    <a:pt x="171" y="1010"/>
                  </a:lnTo>
                  <a:close/>
                  <a:moveTo>
                    <a:pt x="143" y="1449"/>
                  </a:moveTo>
                  <a:lnTo>
                    <a:pt x="143" y="1451"/>
                  </a:lnTo>
                  <a:lnTo>
                    <a:pt x="143" y="1449"/>
                  </a:lnTo>
                  <a:close/>
                  <a:moveTo>
                    <a:pt x="517" y="1419"/>
                  </a:moveTo>
                  <a:lnTo>
                    <a:pt x="519" y="1419"/>
                  </a:lnTo>
                  <a:lnTo>
                    <a:pt x="517" y="1419"/>
                  </a:lnTo>
                  <a:close/>
                  <a:moveTo>
                    <a:pt x="210" y="1018"/>
                  </a:moveTo>
                  <a:lnTo>
                    <a:pt x="212" y="1018"/>
                  </a:lnTo>
                  <a:lnTo>
                    <a:pt x="210" y="1018"/>
                  </a:lnTo>
                  <a:close/>
                  <a:moveTo>
                    <a:pt x="166" y="1453"/>
                  </a:moveTo>
                  <a:lnTo>
                    <a:pt x="166" y="1451"/>
                  </a:lnTo>
                  <a:lnTo>
                    <a:pt x="168" y="1451"/>
                  </a:lnTo>
                  <a:lnTo>
                    <a:pt x="166" y="1453"/>
                  </a:lnTo>
                  <a:close/>
                  <a:moveTo>
                    <a:pt x="454" y="1466"/>
                  </a:moveTo>
                  <a:lnTo>
                    <a:pt x="454" y="1464"/>
                  </a:lnTo>
                  <a:lnTo>
                    <a:pt x="454" y="1466"/>
                  </a:lnTo>
                  <a:close/>
                  <a:moveTo>
                    <a:pt x="243" y="1326"/>
                  </a:moveTo>
                  <a:lnTo>
                    <a:pt x="244" y="1326"/>
                  </a:lnTo>
                  <a:lnTo>
                    <a:pt x="243" y="1326"/>
                  </a:lnTo>
                  <a:close/>
                  <a:moveTo>
                    <a:pt x="278" y="1493"/>
                  </a:moveTo>
                  <a:lnTo>
                    <a:pt x="280" y="1493"/>
                  </a:lnTo>
                  <a:lnTo>
                    <a:pt x="278" y="1493"/>
                  </a:lnTo>
                  <a:close/>
                  <a:moveTo>
                    <a:pt x="210" y="1484"/>
                  </a:moveTo>
                  <a:lnTo>
                    <a:pt x="212" y="1484"/>
                  </a:lnTo>
                  <a:lnTo>
                    <a:pt x="210" y="1484"/>
                  </a:lnTo>
                  <a:close/>
                  <a:moveTo>
                    <a:pt x="459" y="1454"/>
                  </a:moveTo>
                  <a:lnTo>
                    <a:pt x="459" y="1456"/>
                  </a:lnTo>
                  <a:lnTo>
                    <a:pt x="459" y="1454"/>
                  </a:lnTo>
                  <a:close/>
                  <a:moveTo>
                    <a:pt x="173" y="1020"/>
                  </a:moveTo>
                  <a:lnTo>
                    <a:pt x="174" y="1020"/>
                  </a:lnTo>
                  <a:lnTo>
                    <a:pt x="173" y="1020"/>
                  </a:lnTo>
                  <a:close/>
                  <a:moveTo>
                    <a:pt x="238" y="1419"/>
                  </a:moveTo>
                  <a:lnTo>
                    <a:pt x="238" y="1417"/>
                  </a:lnTo>
                  <a:lnTo>
                    <a:pt x="238" y="1419"/>
                  </a:lnTo>
                  <a:close/>
                  <a:moveTo>
                    <a:pt x="252" y="1513"/>
                  </a:moveTo>
                  <a:lnTo>
                    <a:pt x="254" y="1511"/>
                  </a:lnTo>
                  <a:lnTo>
                    <a:pt x="254" y="1513"/>
                  </a:lnTo>
                  <a:lnTo>
                    <a:pt x="252" y="1513"/>
                  </a:lnTo>
                  <a:close/>
                  <a:moveTo>
                    <a:pt x="613" y="1365"/>
                  </a:moveTo>
                  <a:lnTo>
                    <a:pt x="615" y="1365"/>
                  </a:lnTo>
                  <a:lnTo>
                    <a:pt x="613" y="1365"/>
                  </a:lnTo>
                  <a:close/>
                  <a:moveTo>
                    <a:pt x="293" y="1498"/>
                  </a:moveTo>
                  <a:lnTo>
                    <a:pt x="293" y="1497"/>
                  </a:lnTo>
                  <a:lnTo>
                    <a:pt x="293" y="1498"/>
                  </a:lnTo>
                  <a:close/>
                  <a:moveTo>
                    <a:pt x="174" y="1018"/>
                  </a:moveTo>
                  <a:lnTo>
                    <a:pt x="174" y="1017"/>
                  </a:lnTo>
                  <a:lnTo>
                    <a:pt x="174" y="1018"/>
                  </a:lnTo>
                  <a:close/>
                  <a:moveTo>
                    <a:pt x="230" y="1475"/>
                  </a:moveTo>
                  <a:lnTo>
                    <a:pt x="231" y="1477"/>
                  </a:lnTo>
                  <a:lnTo>
                    <a:pt x="231" y="1475"/>
                  </a:lnTo>
                  <a:lnTo>
                    <a:pt x="230" y="1475"/>
                  </a:lnTo>
                  <a:close/>
                  <a:moveTo>
                    <a:pt x="236" y="1373"/>
                  </a:moveTo>
                  <a:lnTo>
                    <a:pt x="238" y="1373"/>
                  </a:lnTo>
                  <a:lnTo>
                    <a:pt x="236" y="1373"/>
                  </a:lnTo>
                  <a:close/>
                  <a:moveTo>
                    <a:pt x="194" y="1144"/>
                  </a:moveTo>
                  <a:lnTo>
                    <a:pt x="194" y="1145"/>
                  </a:lnTo>
                  <a:lnTo>
                    <a:pt x="194" y="1144"/>
                  </a:lnTo>
                  <a:close/>
                  <a:moveTo>
                    <a:pt x="238" y="1274"/>
                  </a:moveTo>
                  <a:lnTo>
                    <a:pt x="239" y="1274"/>
                  </a:lnTo>
                  <a:lnTo>
                    <a:pt x="238" y="1274"/>
                  </a:lnTo>
                  <a:close/>
                  <a:moveTo>
                    <a:pt x="472" y="1456"/>
                  </a:moveTo>
                  <a:lnTo>
                    <a:pt x="474" y="1456"/>
                  </a:lnTo>
                  <a:lnTo>
                    <a:pt x="472" y="1456"/>
                  </a:lnTo>
                  <a:close/>
                  <a:moveTo>
                    <a:pt x="259" y="1445"/>
                  </a:moveTo>
                  <a:lnTo>
                    <a:pt x="259" y="1443"/>
                  </a:lnTo>
                  <a:lnTo>
                    <a:pt x="259" y="1445"/>
                  </a:lnTo>
                  <a:close/>
                  <a:moveTo>
                    <a:pt x="280" y="1449"/>
                  </a:moveTo>
                  <a:lnTo>
                    <a:pt x="282" y="1448"/>
                  </a:lnTo>
                  <a:lnTo>
                    <a:pt x="282" y="1449"/>
                  </a:lnTo>
                  <a:lnTo>
                    <a:pt x="280" y="1449"/>
                  </a:lnTo>
                  <a:close/>
                  <a:moveTo>
                    <a:pt x="218" y="1022"/>
                  </a:moveTo>
                  <a:lnTo>
                    <a:pt x="220" y="1022"/>
                  </a:lnTo>
                  <a:lnTo>
                    <a:pt x="218" y="1022"/>
                  </a:lnTo>
                  <a:close/>
                  <a:moveTo>
                    <a:pt x="274" y="1514"/>
                  </a:moveTo>
                  <a:lnTo>
                    <a:pt x="275" y="1514"/>
                  </a:lnTo>
                  <a:lnTo>
                    <a:pt x="274" y="1514"/>
                  </a:lnTo>
                  <a:close/>
                  <a:moveTo>
                    <a:pt x="361" y="721"/>
                  </a:moveTo>
                  <a:lnTo>
                    <a:pt x="363" y="722"/>
                  </a:lnTo>
                  <a:lnTo>
                    <a:pt x="361" y="722"/>
                  </a:lnTo>
                  <a:lnTo>
                    <a:pt x="361" y="721"/>
                  </a:lnTo>
                  <a:close/>
                  <a:moveTo>
                    <a:pt x="355" y="1501"/>
                  </a:moveTo>
                  <a:lnTo>
                    <a:pt x="356" y="1501"/>
                  </a:lnTo>
                  <a:lnTo>
                    <a:pt x="355" y="1501"/>
                  </a:lnTo>
                  <a:close/>
                  <a:moveTo>
                    <a:pt x="557" y="1404"/>
                  </a:moveTo>
                  <a:lnTo>
                    <a:pt x="558" y="1404"/>
                  </a:lnTo>
                  <a:lnTo>
                    <a:pt x="557" y="1404"/>
                  </a:lnTo>
                  <a:close/>
                  <a:moveTo>
                    <a:pt x="274" y="1484"/>
                  </a:moveTo>
                  <a:lnTo>
                    <a:pt x="275" y="1484"/>
                  </a:lnTo>
                  <a:lnTo>
                    <a:pt x="274" y="1484"/>
                  </a:lnTo>
                  <a:close/>
                  <a:moveTo>
                    <a:pt x="265" y="1412"/>
                  </a:moveTo>
                  <a:lnTo>
                    <a:pt x="265" y="1410"/>
                  </a:lnTo>
                  <a:lnTo>
                    <a:pt x="265" y="1412"/>
                  </a:lnTo>
                  <a:close/>
                  <a:moveTo>
                    <a:pt x="218" y="1482"/>
                  </a:moveTo>
                  <a:lnTo>
                    <a:pt x="220" y="1482"/>
                  </a:lnTo>
                  <a:lnTo>
                    <a:pt x="220" y="1484"/>
                  </a:lnTo>
                  <a:lnTo>
                    <a:pt x="218" y="1482"/>
                  </a:lnTo>
                  <a:close/>
                  <a:moveTo>
                    <a:pt x="534" y="1420"/>
                  </a:moveTo>
                  <a:lnTo>
                    <a:pt x="534" y="1419"/>
                  </a:lnTo>
                  <a:lnTo>
                    <a:pt x="534" y="1420"/>
                  </a:lnTo>
                  <a:close/>
                  <a:moveTo>
                    <a:pt x="239" y="1495"/>
                  </a:moveTo>
                  <a:lnTo>
                    <a:pt x="239" y="1497"/>
                  </a:lnTo>
                  <a:lnTo>
                    <a:pt x="239" y="1495"/>
                  </a:lnTo>
                  <a:close/>
                  <a:moveTo>
                    <a:pt x="298" y="1440"/>
                  </a:moveTo>
                  <a:lnTo>
                    <a:pt x="300" y="1440"/>
                  </a:lnTo>
                  <a:lnTo>
                    <a:pt x="298" y="1440"/>
                  </a:lnTo>
                  <a:close/>
                  <a:moveTo>
                    <a:pt x="173" y="1454"/>
                  </a:moveTo>
                  <a:lnTo>
                    <a:pt x="174" y="1454"/>
                  </a:lnTo>
                  <a:lnTo>
                    <a:pt x="173" y="1454"/>
                  </a:lnTo>
                  <a:close/>
                  <a:moveTo>
                    <a:pt x="195" y="1464"/>
                  </a:moveTo>
                  <a:lnTo>
                    <a:pt x="197" y="1464"/>
                  </a:lnTo>
                  <a:lnTo>
                    <a:pt x="195" y="1464"/>
                  </a:lnTo>
                  <a:close/>
                  <a:moveTo>
                    <a:pt x="246" y="1508"/>
                  </a:moveTo>
                  <a:lnTo>
                    <a:pt x="247" y="1508"/>
                  </a:lnTo>
                  <a:lnTo>
                    <a:pt x="246" y="1508"/>
                  </a:lnTo>
                  <a:close/>
                  <a:moveTo>
                    <a:pt x="165" y="1074"/>
                  </a:moveTo>
                  <a:lnTo>
                    <a:pt x="165" y="1075"/>
                  </a:lnTo>
                  <a:lnTo>
                    <a:pt x="165" y="1074"/>
                  </a:lnTo>
                  <a:close/>
                  <a:moveTo>
                    <a:pt x="319" y="1488"/>
                  </a:moveTo>
                  <a:lnTo>
                    <a:pt x="319" y="1487"/>
                  </a:lnTo>
                  <a:lnTo>
                    <a:pt x="319" y="1488"/>
                  </a:lnTo>
                  <a:close/>
                  <a:moveTo>
                    <a:pt x="161" y="1493"/>
                  </a:moveTo>
                  <a:lnTo>
                    <a:pt x="161" y="1495"/>
                  </a:lnTo>
                  <a:lnTo>
                    <a:pt x="161" y="1493"/>
                  </a:lnTo>
                  <a:close/>
                  <a:moveTo>
                    <a:pt x="272" y="1467"/>
                  </a:moveTo>
                  <a:lnTo>
                    <a:pt x="274" y="1467"/>
                  </a:lnTo>
                  <a:lnTo>
                    <a:pt x="272" y="1467"/>
                  </a:lnTo>
                  <a:close/>
                  <a:moveTo>
                    <a:pt x="352" y="1505"/>
                  </a:moveTo>
                  <a:lnTo>
                    <a:pt x="352" y="1506"/>
                  </a:lnTo>
                  <a:lnTo>
                    <a:pt x="352" y="1505"/>
                  </a:lnTo>
                  <a:close/>
                  <a:moveTo>
                    <a:pt x="161" y="1057"/>
                  </a:moveTo>
                  <a:lnTo>
                    <a:pt x="160" y="1057"/>
                  </a:lnTo>
                  <a:lnTo>
                    <a:pt x="161" y="1057"/>
                  </a:lnTo>
                  <a:close/>
                  <a:moveTo>
                    <a:pt x="493" y="1445"/>
                  </a:moveTo>
                  <a:lnTo>
                    <a:pt x="493" y="1443"/>
                  </a:lnTo>
                  <a:lnTo>
                    <a:pt x="493" y="1445"/>
                  </a:lnTo>
                  <a:close/>
                  <a:moveTo>
                    <a:pt x="226" y="1471"/>
                  </a:moveTo>
                  <a:lnTo>
                    <a:pt x="228" y="1471"/>
                  </a:lnTo>
                  <a:lnTo>
                    <a:pt x="226" y="1471"/>
                  </a:lnTo>
                  <a:close/>
                  <a:moveTo>
                    <a:pt x="504" y="1433"/>
                  </a:moveTo>
                  <a:lnTo>
                    <a:pt x="503" y="1433"/>
                  </a:lnTo>
                  <a:lnTo>
                    <a:pt x="504" y="1433"/>
                  </a:lnTo>
                  <a:close/>
                  <a:moveTo>
                    <a:pt x="194" y="1480"/>
                  </a:moveTo>
                  <a:lnTo>
                    <a:pt x="192" y="1480"/>
                  </a:lnTo>
                  <a:lnTo>
                    <a:pt x="194" y="1480"/>
                  </a:lnTo>
                  <a:close/>
                  <a:moveTo>
                    <a:pt x="156" y="1497"/>
                  </a:moveTo>
                  <a:lnTo>
                    <a:pt x="158" y="1497"/>
                  </a:lnTo>
                  <a:lnTo>
                    <a:pt x="156" y="1497"/>
                  </a:lnTo>
                  <a:close/>
                  <a:moveTo>
                    <a:pt x="662" y="1373"/>
                  </a:moveTo>
                  <a:lnTo>
                    <a:pt x="662" y="1375"/>
                  </a:lnTo>
                  <a:lnTo>
                    <a:pt x="662" y="1373"/>
                  </a:lnTo>
                  <a:close/>
                  <a:moveTo>
                    <a:pt x="184" y="1461"/>
                  </a:moveTo>
                  <a:lnTo>
                    <a:pt x="184" y="1459"/>
                  </a:lnTo>
                  <a:lnTo>
                    <a:pt x="184" y="1461"/>
                  </a:lnTo>
                  <a:close/>
                  <a:moveTo>
                    <a:pt x="130" y="1466"/>
                  </a:moveTo>
                  <a:lnTo>
                    <a:pt x="130" y="1467"/>
                  </a:lnTo>
                  <a:lnTo>
                    <a:pt x="130" y="1466"/>
                  </a:lnTo>
                  <a:close/>
                  <a:moveTo>
                    <a:pt x="213" y="1510"/>
                  </a:moveTo>
                  <a:lnTo>
                    <a:pt x="215" y="1510"/>
                  </a:lnTo>
                  <a:lnTo>
                    <a:pt x="215" y="1511"/>
                  </a:lnTo>
                  <a:lnTo>
                    <a:pt x="213" y="1510"/>
                  </a:lnTo>
                  <a:close/>
                  <a:moveTo>
                    <a:pt x="291" y="1456"/>
                  </a:moveTo>
                  <a:lnTo>
                    <a:pt x="293" y="1456"/>
                  </a:lnTo>
                  <a:lnTo>
                    <a:pt x="291" y="1456"/>
                  </a:lnTo>
                  <a:close/>
                  <a:moveTo>
                    <a:pt x="532" y="1415"/>
                  </a:moveTo>
                  <a:lnTo>
                    <a:pt x="532" y="1417"/>
                  </a:lnTo>
                  <a:lnTo>
                    <a:pt x="532" y="1415"/>
                  </a:lnTo>
                  <a:close/>
                  <a:moveTo>
                    <a:pt x="293" y="1497"/>
                  </a:moveTo>
                  <a:lnTo>
                    <a:pt x="295" y="1497"/>
                  </a:lnTo>
                  <a:lnTo>
                    <a:pt x="293" y="1497"/>
                  </a:lnTo>
                  <a:close/>
                  <a:moveTo>
                    <a:pt x="261" y="1472"/>
                  </a:moveTo>
                  <a:lnTo>
                    <a:pt x="259" y="1472"/>
                  </a:lnTo>
                  <a:lnTo>
                    <a:pt x="261" y="1472"/>
                  </a:lnTo>
                  <a:close/>
                  <a:moveTo>
                    <a:pt x="217" y="1427"/>
                  </a:moveTo>
                  <a:lnTo>
                    <a:pt x="218" y="1427"/>
                  </a:lnTo>
                  <a:lnTo>
                    <a:pt x="218" y="1428"/>
                  </a:lnTo>
                  <a:lnTo>
                    <a:pt x="217" y="1427"/>
                  </a:lnTo>
                  <a:close/>
                  <a:moveTo>
                    <a:pt x="277" y="1480"/>
                  </a:moveTo>
                  <a:lnTo>
                    <a:pt x="278" y="1480"/>
                  </a:lnTo>
                  <a:lnTo>
                    <a:pt x="277" y="1480"/>
                  </a:lnTo>
                  <a:close/>
                  <a:moveTo>
                    <a:pt x="586" y="1373"/>
                  </a:moveTo>
                  <a:lnTo>
                    <a:pt x="586" y="1371"/>
                  </a:lnTo>
                  <a:lnTo>
                    <a:pt x="586" y="1373"/>
                  </a:lnTo>
                  <a:close/>
                  <a:moveTo>
                    <a:pt x="179" y="1044"/>
                  </a:moveTo>
                  <a:lnTo>
                    <a:pt x="179" y="1043"/>
                  </a:lnTo>
                  <a:lnTo>
                    <a:pt x="179" y="1044"/>
                  </a:lnTo>
                  <a:close/>
                  <a:moveTo>
                    <a:pt x="231" y="1448"/>
                  </a:moveTo>
                  <a:lnTo>
                    <a:pt x="233" y="1448"/>
                  </a:lnTo>
                  <a:lnTo>
                    <a:pt x="231" y="1448"/>
                  </a:lnTo>
                  <a:close/>
                  <a:moveTo>
                    <a:pt x="467" y="1456"/>
                  </a:moveTo>
                  <a:lnTo>
                    <a:pt x="469" y="1456"/>
                  </a:lnTo>
                  <a:lnTo>
                    <a:pt x="467" y="1456"/>
                  </a:lnTo>
                  <a:close/>
                  <a:moveTo>
                    <a:pt x="506" y="1438"/>
                  </a:moveTo>
                  <a:lnTo>
                    <a:pt x="508" y="1438"/>
                  </a:lnTo>
                  <a:lnTo>
                    <a:pt x="506" y="1438"/>
                  </a:lnTo>
                  <a:close/>
                  <a:moveTo>
                    <a:pt x="552" y="1417"/>
                  </a:moveTo>
                  <a:lnTo>
                    <a:pt x="553" y="1417"/>
                  </a:lnTo>
                  <a:lnTo>
                    <a:pt x="552" y="1417"/>
                  </a:lnTo>
                  <a:close/>
                  <a:moveTo>
                    <a:pt x="337" y="1484"/>
                  </a:moveTo>
                  <a:lnTo>
                    <a:pt x="339" y="1484"/>
                  </a:lnTo>
                  <a:lnTo>
                    <a:pt x="337" y="1484"/>
                  </a:lnTo>
                  <a:close/>
                  <a:moveTo>
                    <a:pt x="661" y="1339"/>
                  </a:moveTo>
                  <a:lnTo>
                    <a:pt x="662" y="1339"/>
                  </a:lnTo>
                  <a:lnTo>
                    <a:pt x="661" y="1339"/>
                  </a:lnTo>
                  <a:close/>
                  <a:moveTo>
                    <a:pt x="313" y="1474"/>
                  </a:moveTo>
                  <a:lnTo>
                    <a:pt x="313" y="1475"/>
                  </a:lnTo>
                  <a:lnTo>
                    <a:pt x="313" y="1474"/>
                  </a:lnTo>
                  <a:close/>
                  <a:moveTo>
                    <a:pt x="230" y="1430"/>
                  </a:moveTo>
                  <a:lnTo>
                    <a:pt x="230" y="1428"/>
                  </a:lnTo>
                  <a:lnTo>
                    <a:pt x="230" y="1430"/>
                  </a:lnTo>
                  <a:close/>
                  <a:moveTo>
                    <a:pt x="274" y="1423"/>
                  </a:moveTo>
                  <a:lnTo>
                    <a:pt x="274" y="1425"/>
                  </a:lnTo>
                  <a:lnTo>
                    <a:pt x="274" y="1423"/>
                  </a:lnTo>
                  <a:close/>
                  <a:moveTo>
                    <a:pt x="303" y="1436"/>
                  </a:moveTo>
                  <a:lnTo>
                    <a:pt x="303" y="1438"/>
                  </a:lnTo>
                  <a:lnTo>
                    <a:pt x="303" y="1436"/>
                  </a:lnTo>
                  <a:close/>
                  <a:moveTo>
                    <a:pt x="192" y="1493"/>
                  </a:moveTo>
                  <a:lnTo>
                    <a:pt x="192" y="1495"/>
                  </a:lnTo>
                  <a:lnTo>
                    <a:pt x="192" y="1493"/>
                  </a:lnTo>
                  <a:close/>
                  <a:moveTo>
                    <a:pt x="557" y="1412"/>
                  </a:moveTo>
                  <a:lnTo>
                    <a:pt x="557" y="1410"/>
                  </a:lnTo>
                  <a:lnTo>
                    <a:pt x="557" y="1412"/>
                  </a:lnTo>
                  <a:close/>
                  <a:moveTo>
                    <a:pt x="340" y="1443"/>
                  </a:moveTo>
                  <a:lnTo>
                    <a:pt x="339" y="1443"/>
                  </a:lnTo>
                  <a:lnTo>
                    <a:pt x="340" y="1443"/>
                  </a:lnTo>
                  <a:close/>
                  <a:moveTo>
                    <a:pt x="249" y="1469"/>
                  </a:moveTo>
                  <a:lnTo>
                    <a:pt x="249" y="1471"/>
                  </a:lnTo>
                  <a:lnTo>
                    <a:pt x="249" y="1469"/>
                  </a:lnTo>
                  <a:close/>
                  <a:moveTo>
                    <a:pt x="207" y="1018"/>
                  </a:moveTo>
                  <a:lnTo>
                    <a:pt x="207" y="1017"/>
                  </a:lnTo>
                  <a:lnTo>
                    <a:pt x="207" y="1018"/>
                  </a:lnTo>
                  <a:close/>
                  <a:moveTo>
                    <a:pt x="301" y="1516"/>
                  </a:moveTo>
                  <a:lnTo>
                    <a:pt x="303" y="1516"/>
                  </a:lnTo>
                  <a:lnTo>
                    <a:pt x="301" y="1516"/>
                  </a:lnTo>
                  <a:close/>
                  <a:moveTo>
                    <a:pt x="379" y="1472"/>
                  </a:moveTo>
                  <a:lnTo>
                    <a:pt x="379" y="1471"/>
                  </a:lnTo>
                  <a:lnTo>
                    <a:pt x="381" y="1472"/>
                  </a:lnTo>
                  <a:lnTo>
                    <a:pt x="379" y="1472"/>
                  </a:lnTo>
                  <a:close/>
                  <a:moveTo>
                    <a:pt x="509" y="1427"/>
                  </a:moveTo>
                  <a:lnTo>
                    <a:pt x="511" y="1427"/>
                  </a:lnTo>
                  <a:lnTo>
                    <a:pt x="509" y="1427"/>
                  </a:lnTo>
                  <a:close/>
                  <a:moveTo>
                    <a:pt x="348" y="1516"/>
                  </a:moveTo>
                  <a:lnTo>
                    <a:pt x="350" y="1516"/>
                  </a:lnTo>
                  <a:lnTo>
                    <a:pt x="348" y="1516"/>
                  </a:lnTo>
                  <a:close/>
                  <a:moveTo>
                    <a:pt x="192" y="1017"/>
                  </a:moveTo>
                  <a:lnTo>
                    <a:pt x="194" y="1017"/>
                  </a:lnTo>
                  <a:lnTo>
                    <a:pt x="192" y="1017"/>
                  </a:lnTo>
                  <a:close/>
                  <a:moveTo>
                    <a:pt x="212" y="1030"/>
                  </a:moveTo>
                  <a:lnTo>
                    <a:pt x="213" y="1030"/>
                  </a:lnTo>
                  <a:lnTo>
                    <a:pt x="212" y="1030"/>
                  </a:lnTo>
                  <a:close/>
                  <a:moveTo>
                    <a:pt x="306" y="1441"/>
                  </a:moveTo>
                  <a:lnTo>
                    <a:pt x="306" y="1440"/>
                  </a:lnTo>
                  <a:lnTo>
                    <a:pt x="306" y="1441"/>
                  </a:lnTo>
                  <a:close/>
                  <a:moveTo>
                    <a:pt x="181" y="1459"/>
                  </a:moveTo>
                  <a:lnTo>
                    <a:pt x="181" y="1461"/>
                  </a:lnTo>
                  <a:lnTo>
                    <a:pt x="181" y="1459"/>
                  </a:lnTo>
                  <a:close/>
                  <a:moveTo>
                    <a:pt x="215" y="1004"/>
                  </a:moveTo>
                  <a:lnTo>
                    <a:pt x="215" y="1005"/>
                  </a:lnTo>
                  <a:lnTo>
                    <a:pt x="215" y="1004"/>
                  </a:lnTo>
                  <a:close/>
                  <a:moveTo>
                    <a:pt x="622" y="1366"/>
                  </a:moveTo>
                  <a:lnTo>
                    <a:pt x="622" y="1368"/>
                  </a:lnTo>
                  <a:lnTo>
                    <a:pt x="622" y="1366"/>
                  </a:lnTo>
                  <a:close/>
                  <a:moveTo>
                    <a:pt x="244" y="1295"/>
                  </a:moveTo>
                  <a:lnTo>
                    <a:pt x="244" y="1293"/>
                  </a:lnTo>
                  <a:lnTo>
                    <a:pt x="244" y="1295"/>
                  </a:lnTo>
                  <a:close/>
                  <a:moveTo>
                    <a:pt x="246" y="1373"/>
                  </a:moveTo>
                  <a:lnTo>
                    <a:pt x="247" y="1373"/>
                  </a:lnTo>
                  <a:lnTo>
                    <a:pt x="246" y="1373"/>
                  </a:lnTo>
                  <a:close/>
                  <a:moveTo>
                    <a:pt x="220" y="1464"/>
                  </a:moveTo>
                  <a:lnTo>
                    <a:pt x="221" y="1464"/>
                  </a:lnTo>
                  <a:lnTo>
                    <a:pt x="220" y="1464"/>
                  </a:lnTo>
                  <a:close/>
                  <a:moveTo>
                    <a:pt x="189" y="1139"/>
                  </a:moveTo>
                  <a:lnTo>
                    <a:pt x="191" y="1137"/>
                  </a:lnTo>
                  <a:lnTo>
                    <a:pt x="191" y="1139"/>
                  </a:lnTo>
                  <a:lnTo>
                    <a:pt x="189" y="1139"/>
                  </a:lnTo>
                  <a:close/>
                  <a:moveTo>
                    <a:pt x="265" y="1409"/>
                  </a:moveTo>
                  <a:lnTo>
                    <a:pt x="267" y="1409"/>
                  </a:lnTo>
                  <a:lnTo>
                    <a:pt x="265" y="1409"/>
                  </a:lnTo>
                  <a:close/>
                  <a:moveTo>
                    <a:pt x="155" y="1495"/>
                  </a:moveTo>
                  <a:lnTo>
                    <a:pt x="156" y="1495"/>
                  </a:lnTo>
                  <a:lnTo>
                    <a:pt x="155" y="1495"/>
                  </a:lnTo>
                  <a:close/>
                  <a:moveTo>
                    <a:pt x="604" y="1381"/>
                  </a:moveTo>
                  <a:lnTo>
                    <a:pt x="605" y="1381"/>
                  </a:lnTo>
                  <a:lnTo>
                    <a:pt x="604" y="1381"/>
                  </a:lnTo>
                  <a:close/>
                  <a:moveTo>
                    <a:pt x="156" y="1497"/>
                  </a:moveTo>
                  <a:lnTo>
                    <a:pt x="156" y="1495"/>
                  </a:lnTo>
                  <a:lnTo>
                    <a:pt x="156" y="1497"/>
                  </a:lnTo>
                  <a:close/>
                  <a:moveTo>
                    <a:pt x="205" y="1015"/>
                  </a:moveTo>
                  <a:lnTo>
                    <a:pt x="205" y="1014"/>
                  </a:lnTo>
                  <a:lnTo>
                    <a:pt x="205" y="1015"/>
                  </a:lnTo>
                  <a:close/>
                  <a:moveTo>
                    <a:pt x="256" y="958"/>
                  </a:moveTo>
                  <a:lnTo>
                    <a:pt x="257" y="958"/>
                  </a:lnTo>
                  <a:lnTo>
                    <a:pt x="256" y="958"/>
                  </a:lnTo>
                  <a:close/>
                  <a:moveTo>
                    <a:pt x="259" y="1487"/>
                  </a:moveTo>
                  <a:lnTo>
                    <a:pt x="259" y="1488"/>
                  </a:lnTo>
                  <a:lnTo>
                    <a:pt x="259" y="1487"/>
                  </a:lnTo>
                  <a:close/>
                  <a:moveTo>
                    <a:pt x="324" y="1432"/>
                  </a:moveTo>
                  <a:lnTo>
                    <a:pt x="324" y="1430"/>
                  </a:lnTo>
                  <a:lnTo>
                    <a:pt x="324" y="1432"/>
                  </a:lnTo>
                  <a:close/>
                  <a:moveTo>
                    <a:pt x="212" y="1192"/>
                  </a:moveTo>
                  <a:lnTo>
                    <a:pt x="213" y="1192"/>
                  </a:lnTo>
                  <a:lnTo>
                    <a:pt x="212" y="1192"/>
                  </a:lnTo>
                  <a:close/>
                  <a:moveTo>
                    <a:pt x="256" y="1501"/>
                  </a:moveTo>
                  <a:lnTo>
                    <a:pt x="257" y="1501"/>
                  </a:lnTo>
                  <a:lnTo>
                    <a:pt x="256" y="1501"/>
                  </a:lnTo>
                  <a:close/>
                  <a:moveTo>
                    <a:pt x="368" y="688"/>
                  </a:moveTo>
                  <a:lnTo>
                    <a:pt x="368" y="690"/>
                  </a:lnTo>
                  <a:lnTo>
                    <a:pt x="368" y="688"/>
                  </a:lnTo>
                  <a:close/>
                  <a:moveTo>
                    <a:pt x="313" y="1500"/>
                  </a:moveTo>
                  <a:lnTo>
                    <a:pt x="313" y="1498"/>
                  </a:lnTo>
                  <a:lnTo>
                    <a:pt x="313" y="1500"/>
                  </a:lnTo>
                  <a:close/>
                  <a:moveTo>
                    <a:pt x="228" y="1259"/>
                  </a:moveTo>
                  <a:lnTo>
                    <a:pt x="230" y="1259"/>
                  </a:lnTo>
                  <a:lnTo>
                    <a:pt x="228" y="1259"/>
                  </a:lnTo>
                  <a:close/>
                  <a:moveTo>
                    <a:pt x="215" y="1186"/>
                  </a:moveTo>
                  <a:lnTo>
                    <a:pt x="215" y="1184"/>
                  </a:lnTo>
                  <a:lnTo>
                    <a:pt x="215" y="1186"/>
                  </a:lnTo>
                  <a:close/>
                  <a:moveTo>
                    <a:pt x="609" y="1366"/>
                  </a:moveTo>
                  <a:lnTo>
                    <a:pt x="610" y="1366"/>
                  </a:lnTo>
                  <a:lnTo>
                    <a:pt x="609" y="1366"/>
                  </a:lnTo>
                  <a:close/>
                  <a:moveTo>
                    <a:pt x="173" y="1020"/>
                  </a:moveTo>
                  <a:lnTo>
                    <a:pt x="173" y="1018"/>
                  </a:lnTo>
                  <a:lnTo>
                    <a:pt x="173" y="1020"/>
                  </a:lnTo>
                  <a:close/>
                  <a:moveTo>
                    <a:pt x="586" y="1366"/>
                  </a:moveTo>
                  <a:lnTo>
                    <a:pt x="586" y="1368"/>
                  </a:lnTo>
                  <a:lnTo>
                    <a:pt x="586" y="1366"/>
                  </a:lnTo>
                  <a:close/>
                  <a:moveTo>
                    <a:pt x="657" y="1368"/>
                  </a:moveTo>
                  <a:lnTo>
                    <a:pt x="659" y="1368"/>
                  </a:lnTo>
                  <a:lnTo>
                    <a:pt x="657" y="1368"/>
                  </a:lnTo>
                  <a:close/>
                  <a:moveTo>
                    <a:pt x="373" y="1454"/>
                  </a:moveTo>
                  <a:lnTo>
                    <a:pt x="373" y="1456"/>
                  </a:lnTo>
                  <a:lnTo>
                    <a:pt x="373" y="1454"/>
                  </a:lnTo>
                  <a:close/>
                  <a:moveTo>
                    <a:pt x="298" y="643"/>
                  </a:moveTo>
                  <a:lnTo>
                    <a:pt x="300" y="643"/>
                  </a:lnTo>
                  <a:lnTo>
                    <a:pt x="298" y="643"/>
                  </a:lnTo>
                  <a:close/>
                  <a:moveTo>
                    <a:pt x="223" y="1233"/>
                  </a:moveTo>
                  <a:lnTo>
                    <a:pt x="223" y="1231"/>
                  </a:lnTo>
                  <a:lnTo>
                    <a:pt x="223" y="1233"/>
                  </a:lnTo>
                  <a:close/>
                  <a:moveTo>
                    <a:pt x="234" y="1295"/>
                  </a:moveTo>
                  <a:lnTo>
                    <a:pt x="236" y="1295"/>
                  </a:lnTo>
                  <a:lnTo>
                    <a:pt x="234" y="1295"/>
                  </a:lnTo>
                  <a:close/>
                  <a:moveTo>
                    <a:pt x="179" y="1044"/>
                  </a:moveTo>
                  <a:lnTo>
                    <a:pt x="179" y="1043"/>
                  </a:lnTo>
                  <a:lnTo>
                    <a:pt x="179" y="1044"/>
                  </a:lnTo>
                  <a:close/>
                  <a:moveTo>
                    <a:pt x="200" y="1461"/>
                  </a:moveTo>
                  <a:lnTo>
                    <a:pt x="202" y="1461"/>
                  </a:lnTo>
                  <a:lnTo>
                    <a:pt x="200" y="1461"/>
                  </a:lnTo>
                  <a:close/>
                  <a:moveTo>
                    <a:pt x="254" y="1519"/>
                  </a:moveTo>
                  <a:lnTo>
                    <a:pt x="256" y="1519"/>
                  </a:lnTo>
                  <a:lnTo>
                    <a:pt x="254" y="1519"/>
                  </a:lnTo>
                  <a:close/>
                  <a:moveTo>
                    <a:pt x="249" y="1516"/>
                  </a:moveTo>
                  <a:lnTo>
                    <a:pt x="251" y="1516"/>
                  </a:lnTo>
                  <a:lnTo>
                    <a:pt x="249" y="1516"/>
                  </a:lnTo>
                  <a:close/>
                  <a:moveTo>
                    <a:pt x="114" y="1474"/>
                  </a:moveTo>
                  <a:lnTo>
                    <a:pt x="114" y="1475"/>
                  </a:lnTo>
                  <a:lnTo>
                    <a:pt x="114" y="1474"/>
                  </a:lnTo>
                  <a:close/>
                  <a:moveTo>
                    <a:pt x="350" y="1488"/>
                  </a:moveTo>
                  <a:lnTo>
                    <a:pt x="352" y="1488"/>
                  </a:lnTo>
                  <a:lnTo>
                    <a:pt x="350" y="1488"/>
                  </a:lnTo>
                  <a:close/>
                  <a:moveTo>
                    <a:pt x="285" y="1482"/>
                  </a:moveTo>
                  <a:lnTo>
                    <a:pt x="287" y="1482"/>
                  </a:lnTo>
                  <a:lnTo>
                    <a:pt x="285" y="1482"/>
                  </a:lnTo>
                  <a:close/>
                  <a:moveTo>
                    <a:pt x="230" y="1430"/>
                  </a:moveTo>
                  <a:lnTo>
                    <a:pt x="230" y="1432"/>
                  </a:lnTo>
                  <a:lnTo>
                    <a:pt x="230" y="1430"/>
                  </a:lnTo>
                  <a:close/>
                  <a:moveTo>
                    <a:pt x="204" y="1428"/>
                  </a:moveTo>
                  <a:lnTo>
                    <a:pt x="204" y="1430"/>
                  </a:lnTo>
                  <a:lnTo>
                    <a:pt x="204" y="1428"/>
                  </a:lnTo>
                  <a:close/>
                  <a:moveTo>
                    <a:pt x="241" y="1326"/>
                  </a:moveTo>
                  <a:lnTo>
                    <a:pt x="243" y="1326"/>
                  </a:lnTo>
                  <a:lnTo>
                    <a:pt x="241" y="1326"/>
                  </a:lnTo>
                  <a:close/>
                  <a:moveTo>
                    <a:pt x="233" y="1246"/>
                  </a:moveTo>
                  <a:lnTo>
                    <a:pt x="234" y="1246"/>
                  </a:lnTo>
                  <a:lnTo>
                    <a:pt x="233" y="1246"/>
                  </a:lnTo>
                  <a:close/>
                  <a:moveTo>
                    <a:pt x="257" y="1456"/>
                  </a:moveTo>
                  <a:lnTo>
                    <a:pt x="259" y="1456"/>
                  </a:lnTo>
                  <a:lnTo>
                    <a:pt x="257" y="1456"/>
                  </a:lnTo>
                  <a:close/>
                  <a:moveTo>
                    <a:pt x="623" y="1363"/>
                  </a:moveTo>
                  <a:lnTo>
                    <a:pt x="622" y="1362"/>
                  </a:lnTo>
                  <a:lnTo>
                    <a:pt x="623" y="1363"/>
                  </a:lnTo>
                  <a:close/>
                  <a:moveTo>
                    <a:pt x="247" y="1409"/>
                  </a:moveTo>
                  <a:lnTo>
                    <a:pt x="247" y="1407"/>
                  </a:lnTo>
                  <a:lnTo>
                    <a:pt x="247" y="1409"/>
                  </a:lnTo>
                  <a:close/>
                  <a:moveTo>
                    <a:pt x="254" y="1404"/>
                  </a:moveTo>
                  <a:lnTo>
                    <a:pt x="254" y="1402"/>
                  </a:lnTo>
                  <a:lnTo>
                    <a:pt x="254" y="1404"/>
                  </a:lnTo>
                  <a:close/>
                  <a:moveTo>
                    <a:pt x="500" y="1430"/>
                  </a:moveTo>
                  <a:lnTo>
                    <a:pt x="501" y="1430"/>
                  </a:lnTo>
                  <a:lnTo>
                    <a:pt x="500" y="1430"/>
                  </a:lnTo>
                  <a:close/>
                  <a:moveTo>
                    <a:pt x="368" y="1467"/>
                  </a:moveTo>
                  <a:lnTo>
                    <a:pt x="369" y="1467"/>
                  </a:lnTo>
                  <a:lnTo>
                    <a:pt x="368" y="1467"/>
                  </a:lnTo>
                  <a:close/>
                  <a:moveTo>
                    <a:pt x="231" y="1433"/>
                  </a:moveTo>
                  <a:lnTo>
                    <a:pt x="231" y="1435"/>
                  </a:lnTo>
                  <a:lnTo>
                    <a:pt x="231" y="1433"/>
                  </a:lnTo>
                  <a:close/>
                  <a:moveTo>
                    <a:pt x="570" y="1399"/>
                  </a:moveTo>
                  <a:lnTo>
                    <a:pt x="571" y="1399"/>
                  </a:lnTo>
                  <a:lnTo>
                    <a:pt x="570" y="1399"/>
                  </a:lnTo>
                  <a:close/>
                  <a:moveTo>
                    <a:pt x="241" y="1288"/>
                  </a:moveTo>
                  <a:lnTo>
                    <a:pt x="241" y="1290"/>
                  </a:lnTo>
                  <a:lnTo>
                    <a:pt x="241" y="1288"/>
                  </a:lnTo>
                  <a:close/>
                  <a:moveTo>
                    <a:pt x="234" y="1419"/>
                  </a:moveTo>
                  <a:lnTo>
                    <a:pt x="236" y="1419"/>
                  </a:lnTo>
                  <a:lnTo>
                    <a:pt x="234" y="1419"/>
                  </a:lnTo>
                  <a:close/>
                  <a:moveTo>
                    <a:pt x="148" y="1449"/>
                  </a:moveTo>
                  <a:lnTo>
                    <a:pt x="148" y="1448"/>
                  </a:lnTo>
                  <a:lnTo>
                    <a:pt x="148" y="1449"/>
                  </a:lnTo>
                  <a:close/>
                  <a:moveTo>
                    <a:pt x="574" y="1394"/>
                  </a:moveTo>
                  <a:lnTo>
                    <a:pt x="576" y="1394"/>
                  </a:lnTo>
                  <a:lnTo>
                    <a:pt x="574" y="1394"/>
                  </a:lnTo>
                  <a:close/>
                  <a:moveTo>
                    <a:pt x="179" y="1453"/>
                  </a:moveTo>
                  <a:lnTo>
                    <a:pt x="179" y="1454"/>
                  </a:lnTo>
                  <a:lnTo>
                    <a:pt x="179" y="1453"/>
                  </a:lnTo>
                  <a:close/>
                  <a:moveTo>
                    <a:pt x="241" y="1310"/>
                  </a:moveTo>
                  <a:lnTo>
                    <a:pt x="243" y="1310"/>
                  </a:lnTo>
                  <a:lnTo>
                    <a:pt x="241" y="1310"/>
                  </a:lnTo>
                  <a:close/>
                  <a:moveTo>
                    <a:pt x="314" y="1472"/>
                  </a:moveTo>
                  <a:lnTo>
                    <a:pt x="316" y="1472"/>
                  </a:lnTo>
                  <a:lnTo>
                    <a:pt x="314" y="1472"/>
                  </a:lnTo>
                  <a:close/>
                  <a:moveTo>
                    <a:pt x="233" y="1466"/>
                  </a:moveTo>
                  <a:lnTo>
                    <a:pt x="233" y="1464"/>
                  </a:lnTo>
                  <a:lnTo>
                    <a:pt x="233" y="1466"/>
                  </a:lnTo>
                  <a:close/>
                  <a:moveTo>
                    <a:pt x="168" y="1497"/>
                  </a:moveTo>
                  <a:lnTo>
                    <a:pt x="168" y="1498"/>
                  </a:lnTo>
                  <a:lnTo>
                    <a:pt x="168" y="1497"/>
                  </a:lnTo>
                  <a:close/>
                  <a:moveTo>
                    <a:pt x="169" y="1017"/>
                  </a:moveTo>
                  <a:lnTo>
                    <a:pt x="171" y="1017"/>
                  </a:lnTo>
                  <a:lnTo>
                    <a:pt x="171" y="1018"/>
                  </a:lnTo>
                  <a:lnTo>
                    <a:pt x="169" y="1017"/>
                  </a:lnTo>
                  <a:close/>
                  <a:moveTo>
                    <a:pt x="213" y="996"/>
                  </a:moveTo>
                  <a:lnTo>
                    <a:pt x="215" y="996"/>
                  </a:lnTo>
                  <a:lnTo>
                    <a:pt x="213" y="996"/>
                  </a:lnTo>
                  <a:close/>
                  <a:moveTo>
                    <a:pt x="173" y="1454"/>
                  </a:moveTo>
                  <a:lnTo>
                    <a:pt x="173" y="1453"/>
                  </a:lnTo>
                  <a:lnTo>
                    <a:pt x="173" y="1454"/>
                  </a:lnTo>
                  <a:close/>
                  <a:moveTo>
                    <a:pt x="171" y="1010"/>
                  </a:moveTo>
                  <a:lnTo>
                    <a:pt x="173" y="1010"/>
                  </a:lnTo>
                  <a:lnTo>
                    <a:pt x="171" y="1010"/>
                  </a:lnTo>
                  <a:close/>
                  <a:moveTo>
                    <a:pt x="254" y="1423"/>
                  </a:moveTo>
                  <a:lnTo>
                    <a:pt x="256" y="1423"/>
                  </a:lnTo>
                  <a:lnTo>
                    <a:pt x="254" y="1423"/>
                  </a:lnTo>
                  <a:close/>
                  <a:moveTo>
                    <a:pt x="264" y="926"/>
                  </a:moveTo>
                  <a:lnTo>
                    <a:pt x="265" y="926"/>
                  </a:lnTo>
                  <a:lnTo>
                    <a:pt x="264" y="926"/>
                  </a:lnTo>
                  <a:close/>
                  <a:moveTo>
                    <a:pt x="280" y="1432"/>
                  </a:moveTo>
                  <a:lnTo>
                    <a:pt x="280" y="1430"/>
                  </a:lnTo>
                  <a:lnTo>
                    <a:pt x="280" y="1432"/>
                  </a:lnTo>
                  <a:close/>
                  <a:moveTo>
                    <a:pt x="261" y="1427"/>
                  </a:moveTo>
                  <a:lnTo>
                    <a:pt x="262" y="1427"/>
                  </a:lnTo>
                  <a:lnTo>
                    <a:pt x="261" y="1427"/>
                  </a:lnTo>
                  <a:close/>
                  <a:moveTo>
                    <a:pt x="335" y="1485"/>
                  </a:moveTo>
                  <a:lnTo>
                    <a:pt x="335" y="1484"/>
                  </a:lnTo>
                  <a:lnTo>
                    <a:pt x="335" y="1485"/>
                  </a:lnTo>
                  <a:close/>
                  <a:moveTo>
                    <a:pt x="278" y="1475"/>
                  </a:moveTo>
                  <a:lnTo>
                    <a:pt x="278" y="1474"/>
                  </a:lnTo>
                  <a:lnTo>
                    <a:pt x="278" y="1475"/>
                  </a:lnTo>
                  <a:close/>
                  <a:moveTo>
                    <a:pt x="275" y="929"/>
                  </a:moveTo>
                  <a:lnTo>
                    <a:pt x="275" y="931"/>
                  </a:lnTo>
                  <a:lnTo>
                    <a:pt x="275" y="929"/>
                  </a:lnTo>
                  <a:close/>
                  <a:moveTo>
                    <a:pt x="228" y="1456"/>
                  </a:moveTo>
                  <a:lnTo>
                    <a:pt x="228" y="1458"/>
                  </a:lnTo>
                  <a:lnTo>
                    <a:pt x="228" y="1456"/>
                  </a:lnTo>
                  <a:close/>
                  <a:moveTo>
                    <a:pt x="290" y="1485"/>
                  </a:moveTo>
                  <a:lnTo>
                    <a:pt x="290" y="1484"/>
                  </a:lnTo>
                  <a:lnTo>
                    <a:pt x="290" y="1485"/>
                  </a:lnTo>
                  <a:close/>
                  <a:moveTo>
                    <a:pt x="399" y="1466"/>
                  </a:moveTo>
                  <a:lnTo>
                    <a:pt x="399" y="1464"/>
                  </a:lnTo>
                  <a:lnTo>
                    <a:pt x="399" y="1466"/>
                  </a:lnTo>
                  <a:close/>
                  <a:moveTo>
                    <a:pt x="234" y="1443"/>
                  </a:moveTo>
                  <a:lnTo>
                    <a:pt x="234" y="1445"/>
                  </a:lnTo>
                  <a:lnTo>
                    <a:pt x="234" y="1443"/>
                  </a:lnTo>
                  <a:close/>
                  <a:moveTo>
                    <a:pt x="236" y="1007"/>
                  </a:moveTo>
                  <a:lnTo>
                    <a:pt x="238" y="1007"/>
                  </a:lnTo>
                  <a:lnTo>
                    <a:pt x="236" y="1007"/>
                  </a:lnTo>
                  <a:close/>
                  <a:moveTo>
                    <a:pt x="205" y="1004"/>
                  </a:moveTo>
                  <a:lnTo>
                    <a:pt x="207" y="1004"/>
                  </a:lnTo>
                  <a:lnTo>
                    <a:pt x="205" y="1004"/>
                  </a:lnTo>
                  <a:close/>
                  <a:moveTo>
                    <a:pt x="212" y="1168"/>
                  </a:moveTo>
                  <a:lnTo>
                    <a:pt x="212" y="1166"/>
                  </a:lnTo>
                  <a:lnTo>
                    <a:pt x="212" y="1168"/>
                  </a:lnTo>
                  <a:close/>
                  <a:moveTo>
                    <a:pt x="230" y="1435"/>
                  </a:moveTo>
                  <a:lnTo>
                    <a:pt x="228" y="1435"/>
                  </a:lnTo>
                  <a:lnTo>
                    <a:pt x="230" y="1435"/>
                  </a:lnTo>
                  <a:close/>
                  <a:moveTo>
                    <a:pt x="425" y="1472"/>
                  </a:moveTo>
                  <a:lnTo>
                    <a:pt x="426" y="1472"/>
                  </a:lnTo>
                  <a:lnTo>
                    <a:pt x="425" y="1472"/>
                  </a:lnTo>
                  <a:close/>
                  <a:moveTo>
                    <a:pt x="303" y="874"/>
                  </a:moveTo>
                  <a:lnTo>
                    <a:pt x="303" y="875"/>
                  </a:lnTo>
                  <a:lnTo>
                    <a:pt x="303" y="874"/>
                  </a:lnTo>
                  <a:close/>
                  <a:moveTo>
                    <a:pt x="321" y="1472"/>
                  </a:moveTo>
                  <a:lnTo>
                    <a:pt x="322" y="1472"/>
                  </a:lnTo>
                  <a:lnTo>
                    <a:pt x="321" y="1472"/>
                  </a:lnTo>
                  <a:close/>
                  <a:moveTo>
                    <a:pt x="246" y="1409"/>
                  </a:moveTo>
                  <a:lnTo>
                    <a:pt x="246" y="1407"/>
                  </a:lnTo>
                  <a:lnTo>
                    <a:pt x="246" y="1409"/>
                  </a:lnTo>
                  <a:close/>
                  <a:moveTo>
                    <a:pt x="231" y="1490"/>
                  </a:moveTo>
                  <a:lnTo>
                    <a:pt x="233" y="1490"/>
                  </a:lnTo>
                  <a:lnTo>
                    <a:pt x="231" y="1492"/>
                  </a:lnTo>
                  <a:lnTo>
                    <a:pt x="231" y="1490"/>
                  </a:lnTo>
                  <a:close/>
                  <a:moveTo>
                    <a:pt x="373" y="734"/>
                  </a:moveTo>
                  <a:lnTo>
                    <a:pt x="373" y="732"/>
                  </a:lnTo>
                  <a:lnTo>
                    <a:pt x="373" y="734"/>
                  </a:lnTo>
                  <a:close/>
                  <a:moveTo>
                    <a:pt x="252" y="1510"/>
                  </a:moveTo>
                  <a:lnTo>
                    <a:pt x="252" y="1508"/>
                  </a:lnTo>
                  <a:lnTo>
                    <a:pt x="252" y="1510"/>
                  </a:lnTo>
                  <a:close/>
                  <a:moveTo>
                    <a:pt x="298" y="641"/>
                  </a:moveTo>
                  <a:lnTo>
                    <a:pt x="298" y="643"/>
                  </a:lnTo>
                  <a:lnTo>
                    <a:pt x="298" y="641"/>
                  </a:lnTo>
                  <a:close/>
                  <a:moveTo>
                    <a:pt x="295" y="1435"/>
                  </a:moveTo>
                  <a:lnTo>
                    <a:pt x="296" y="1435"/>
                  </a:lnTo>
                  <a:lnTo>
                    <a:pt x="295" y="1435"/>
                  </a:lnTo>
                  <a:close/>
                  <a:moveTo>
                    <a:pt x="319" y="654"/>
                  </a:moveTo>
                  <a:lnTo>
                    <a:pt x="321" y="654"/>
                  </a:lnTo>
                  <a:lnTo>
                    <a:pt x="319" y="654"/>
                  </a:lnTo>
                  <a:close/>
                  <a:moveTo>
                    <a:pt x="233" y="1443"/>
                  </a:moveTo>
                  <a:lnTo>
                    <a:pt x="233" y="1445"/>
                  </a:lnTo>
                  <a:lnTo>
                    <a:pt x="233" y="1443"/>
                  </a:lnTo>
                  <a:close/>
                  <a:moveTo>
                    <a:pt x="322" y="1477"/>
                  </a:moveTo>
                  <a:lnTo>
                    <a:pt x="324" y="1477"/>
                  </a:lnTo>
                  <a:lnTo>
                    <a:pt x="322" y="1477"/>
                  </a:lnTo>
                  <a:close/>
                  <a:moveTo>
                    <a:pt x="592" y="1393"/>
                  </a:moveTo>
                  <a:lnTo>
                    <a:pt x="591" y="1393"/>
                  </a:lnTo>
                  <a:lnTo>
                    <a:pt x="592" y="1393"/>
                  </a:lnTo>
                  <a:close/>
                  <a:moveTo>
                    <a:pt x="244" y="1350"/>
                  </a:moveTo>
                  <a:lnTo>
                    <a:pt x="246" y="1350"/>
                  </a:lnTo>
                  <a:lnTo>
                    <a:pt x="244" y="1352"/>
                  </a:lnTo>
                  <a:lnTo>
                    <a:pt x="244" y="1350"/>
                  </a:lnTo>
                  <a:close/>
                  <a:moveTo>
                    <a:pt x="678" y="1353"/>
                  </a:moveTo>
                  <a:lnTo>
                    <a:pt x="680" y="1353"/>
                  </a:lnTo>
                  <a:lnTo>
                    <a:pt x="678" y="1353"/>
                  </a:lnTo>
                  <a:close/>
                  <a:moveTo>
                    <a:pt x="332" y="1466"/>
                  </a:moveTo>
                  <a:lnTo>
                    <a:pt x="332" y="1464"/>
                  </a:lnTo>
                  <a:lnTo>
                    <a:pt x="332" y="1466"/>
                  </a:lnTo>
                  <a:close/>
                  <a:moveTo>
                    <a:pt x="280" y="1484"/>
                  </a:moveTo>
                  <a:lnTo>
                    <a:pt x="280" y="1485"/>
                  </a:lnTo>
                  <a:lnTo>
                    <a:pt x="280" y="1484"/>
                  </a:lnTo>
                  <a:close/>
                  <a:moveTo>
                    <a:pt x="343" y="1492"/>
                  </a:moveTo>
                  <a:lnTo>
                    <a:pt x="345" y="1492"/>
                  </a:lnTo>
                  <a:lnTo>
                    <a:pt x="343" y="1492"/>
                  </a:lnTo>
                  <a:close/>
                  <a:moveTo>
                    <a:pt x="223" y="1458"/>
                  </a:moveTo>
                  <a:lnTo>
                    <a:pt x="225" y="1458"/>
                  </a:lnTo>
                  <a:lnTo>
                    <a:pt x="223" y="1458"/>
                  </a:lnTo>
                  <a:close/>
                  <a:moveTo>
                    <a:pt x="309" y="1475"/>
                  </a:moveTo>
                  <a:lnTo>
                    <a:pt x="311" y="1475"/>
                  </a:lnTo>
                  <a:lnTo>
                    <a:pt x="309" y="1475"/>
                  </a:lnTo>
                  <a:close/>
                  <a:moveTo>
                    <a:pt x="355" y="1505"/>
                  </a:moveTo>
                  <a:lnTo>
                    <a:pt x="356" y="1505"/>
                  </a:lnTo>
                  <a:lnTo>
                    <a:pt x="355" y="1505"/>
                  </a:lnTo>
                  <a:close/>
                  <a:moveTo>
                    <a:pt x="311" y="1474"/>
                  </a:moveTo>
                  <a:lnTo>
                    <a:pt x="311" y="1475"/>
                  </a:lnTo>
                  <a:lnTo>
                    <a:pt x="311" y="1474"/>
                  </a:lnTo>
                  <a:close/>
                  <a:moveTo>
                    <a:pt x="313" y="646"/>
                  </a:moveTo>
                  <a:lnTo>
                    <a:pt x="313" y="648"/>
                  </a:lnTo>
                  <a:lnTo>
                    <a:pt x="313" y="646"/>
                  </a:lnTo>
                  <a:close/>
                  <a:moveTo>
                    <a:pt x="197" y="1044"/>
                  </a:moveTo>
                  <a:lnTo>
                    <a:pt x="199" y="1044"/>
                  </a:lnTo>
                  <a:lnTo>
                    <a:pt x="197" y="1044"/>
                  </a:lnTo>
                  <a:close/>
                  <a:moveTo>
                    <a:pt x="334" y="1490"/>
                  </a:moveTo>
                  <a:lnTo>
                    <a:pt x="334" y="1488"/>
                  </a:lnTo>
                  <a:lnTo>
                    <a:pt x="334" y="1490"/>
                  </a:lnTo>
                  <a:close/>
                  <a:moveTo>
                    <a:pt x="594" y="1373"/>
                  </a:moveTo>
                  <a:lnTo>
                    <a:pt x="594" y="1371"/>
                  </a:lnTo>
                  <a:lnTo>
                    <a:pt x="594" y="1373"/>
                  </a:lnTo>
                  <a:close/>
                  <a:moveTo>
                    <a:pt x="238" y="1402"/>
                  </a:moveTo>
                  <a:lnTo>
                    <a:pt x="238" y="1404"/>
                  </a:lnTo>
                  <a:lnTo>
                    <a:pt x="238" y="1402"/>
                  </a:lnTo>
                  <a:close/>
                  <a:moveTo>
                    <a:pt x="246" y="1506"/>
                  </a:moveTo>
                  <a:lnTo>
                    <a:pt x="247" y="1506"/>
                  </a:lnTo>
                  <a:lnTo>
                    <a:pt x="246" y="1506"/>
                  </a:lnTo>
                  <a:close/>
                  <a:moveTo>
                    <a:pt x="241" y="1319"/>
                  </a:moveTo>
                  <a:lnTo>
                    <a:pt x="241" y="1318"/>
                  </a:lnTo>
                  <a:lnTo>
                    <a:pt x="241" y="1319"/>
                  </a:lnTo>
                  <a:close/>
                  <a:moveTo>
                    <a:pt x="218" y="1179"/>
                  </a:moveTo>
                  <a:lnTo>
                    <a:pt x="218" y="1178"/>
                  </a:lnTo>
                  <a:lnTo>
                    <a:pt x="218" y="1179"/>
                  </a:lnTo>
                  <a:close/>
                  <a:moveTo>
                    <a:pt x="169" y="1017"/>
                  </a:moveTo>
                  <a:lnTo>
                    <a:pt x="171" y="1017"/>
                  </a:lnTo>
                  <a:lnTo>
                    <a:pt x="169" y="1017"/>
                  </a:lnTo>
                  <a:close/>
                  <a:moveTo>
                    <a:pt x="228" y="1448"/>
                  </a:moveTo>
                  <a:lnTo>
                    <a:pt x="228" y="1446"/>
                  </a:lnTo>
                  <a:lnTo>
                    <a:pt x="228" y="1448"/>
                  </a:lnTo>
                  <a:close/>
                  <a:moveTo>
                    <a:pt x="228" y="1488"/>
                  </a:moveTo>
                  <a:lnTo>
                    <a:pt x="230" y="1488"/>
                  </a:lnTo>
                  <a:lnTo>
                    <a:pt x="228" y="1488"/>
                  </a:lnTo>
                  <a:close/>
                  <a:moveTo>
                    <a:pt x="234" y="1425"/>
                  </a:moveTo>
                  <a:lnTo>
                    <a:pt x="234" y="1427"/>
                  </a:lnTo>
                  <a:lnTo>
                    <a:pt x="234" y="1425"/>
                  </a:lnTo>
                  <a:close/>
                  <a:moveTo>
                    <a:pt x="339" y="1493"/>
                  </a:moveTo>
                  <a:lnTo>
                    <a:pt x="340" y="1492"/>
                  </a:lnTo>
                  <a:lnTo>
                    <a:pt x="340" y="1493"/>
                  </a:lnTo>
                  <a:lnTo>
                    <a:pt x="339" y="1493"/>
                  </a:lnTo>
                  <a:close/>
                  <a:moveTo>
                    <a:pt x="236" y="1256"/>
                  </a:moveTo>
                  <a:lnTo>
                    <a:pt x="238" y="1256"/>
                  </a:lnTo>
                  <a:lnTo>
                    <a:pt x="236" y="1256"/>
                  </a:lnTo>
                  <a:close/>
                  <a:moveTo>
                    <a:pt x="264" y="1436"/>
                  </a:moveTo>
                  <a:lnTo>
                    <a:pt x="264" y="1435"/>
                  </a:lnTo>
                  <a:lnTo>
                    <a:pt x="264" y="1436"/>
                  </a:lnTo>
                  <a:close/>
                  <a:moveTo>
                    <a:pt x="169" y="1023"/>
                  </a:moveTo>
                  <a:lnTo>
                    <a:pt x="169" y="1022"/>
                  </a:lnTo>
                  <a:lnTo>
                    <a:pt x="169" y="1023"/>
                  </a:lnTo>
                  <a:close/>
                  <a:moveTo>
                    <a:pt x="618" y="1370"/>
                  </a:moveTo>
                  <a:lnTo>
                    <a:pt x="618" y="1371"/>
                  </a:lnTo>
                  <a:lnTo>
                    <a:pt x="618" y="1370"/>
                  </a:lnTo>
                  <a:close/>
                  <a:moveTo>
                    <a:pt x="262" y="1456"/>
                  </a:moveTo>
                  <a:lnTo>
                    <a:pt x="262" y="1454"/>
                  </a:lnTo>
                  <a:lnTo>
                    <a:pt x="262" y="1456"/>
                  </a:lnTo>
                  <a:close/>
                  <a:moveTo>
                    <a:pt x="459" y="1454"/>
                  </a:moveTo>
                  <a:lnTo>
                    <a:pt x="461" y="1454"/>
                  </a:lnTo>
                  <a:lnTo>
                    <a:pt x="459" y="1454"/>
                  </a:lnTo>
                  <a:close/>
                  <a:moveTo>
                    <a:pt x="522" y="1422"/>
                  </a:moveTo>
                  <a:lnTo>
                    <a:pt x="524" y="1422"/>
                  </a:lnTo>
                  <a:lnTo>
                    <a:pt x="522" y="1422"/>
                  </a:lnTo>
                  <a:close/>
                  <a:moveTo>
                    <a:pt x="238" y="1422"/>
                  </a:moveTo>
                  <a:lnTo>
                    <a:pt x="239" y="1422"/>
                  </a:lnTo>
                  <a:lnTo>
                    <a:pt x="238" y="1422"/>
                  </a:lnTo>
                  <a:close/>
                  <a:moveTo>
                    <a:pt x="371" y="1469"/>
                  </a:moveTo>
                  <a:lnTo>
                    <a:pt x="373" y="1467"/>
                  </a:lnTo>
                  <a:lnTo>
                    <a:pt x="373" y="1469"/>
                  </a:lnTo>
                  <a:lnTo>
                    <a:pt x="371" y="1469"/>
                  </a:lnTo>
                  <a:close/>
                  <a:moveTo>
                    <a:pt x="298" y="643"/>
                  </a:moveTo>
                  <a:lnTo>
                    <a:pt x="300" y="643"/>
                  </a:lnTo>
                  <a:lnTo>
                    <a:pt x="298" y="643"/>
                  </a:lnTo>
                  <a:close/>
                  <a:moveTo>
                    <a:pt x="550" y="1414"/>
                  </a:moveTo>
                  <a:lnTo>
                    <a:pt x="552" y="1414"/>
                  </a:lnTo>
                  <a:lnTo>
                    <a:pt x="550" y="1414"/>
                  </a:lnTo>
                  <a:close/>
                  <a:moveTo>
                    <a:pt x="381" y="1469"/>
                  </a:moveTo>
                  <a:lnTo>
                    <a:pt x="381" y="1471"/>
                  </a:lnTo>
                  <a:lnTo>
                    <a:pt x="381" y="1469"/>
                  </a:lnTo>
                  <a:close/>
                  <a:moveTo>
                    <a:pt x="589" y="1393"/>
                  </a:moveTo>
                  <a:lnTo>
                    <a:pt x="591" y="1393"/>
                  </a:lnTo>
                  <a:lnTo>
                    <a:pt x="589" y="1393"/>
                  </a:lnTo>
                  <a:close/>
                  <a:moveTo>
                    <a:pt x="350" y="1505"/>
                  </a:moveTo>
                  <a:lnTo>
                    <a:pt x="350" y="1503"/>
                  </a:lnTo>
                  <a:lnTo>
                    <a:pt x="350" y="1505"/>
                  </a:lnTo>
                  <a:close/>
                  <a:moveTo>
                    <a:pt x="143" y="1445"/>
                  </a:moveTo>
                  <a:lnTo>
                    <a:pt x="145" y="1445"/>
                  </a:lnTo>
                  <a:lnTo>
                    <a:pt x="143" y="1445"/>
                  </a:lnTo>
                  <a:close/>
                  <a:moveTo>
                    <a:pt x="226" y="1258"/>
                  </a:moveTo>
                  <a:lnTo>
                    <a:pt x="226" y="1259"/>
                  </a:lnTo>
                  <a:lnTo>
                    <a:pt x="226" y="1258"/>
                  </a:lnTo>
                  <a:close/>
                  <a:moveTo>
                    <a:pt x="345" y="703"/>
                  </a:moveTo>
                  <a:lnTo>
                    <a:pt x="347" y="703"/>
                  </a:lnTo>
                  <a:lnTo>
                    <a:pt x="345" y="703"/>
                  </a:lnTo>
                  <a:close/>
                  <a:moveTo>
                    <a:pt x="174" y="1083"/>
                  </a:moveTo>
                  <a:lnTo>
                    <a:pt x="176" y="1083"/>
                  </a:lnTo>
                  <a:lnTo>
                    <a:pt x="174" y="1083"/>
                  </a:lnTo>
                  <a:close/>
                  <a:moveTo>
                    <a:pt x="317" y="1435"/>
                  </a:moveTo>
                  <a:lnTo>
                    <a:pt x="317" y="1433"/>
                  </a:lnTo>
                  <a:lnTo>
                    <a:pt x="317" y="1435"/>
                  </a:lnTo>
                  <a:close/>
                  <a:moveTo>
                    <a:pt x="225" y="1467"/>
                  </a:moveTo>
                  <a:lnTo>
                    <a:pt x="225" y="1469"/>
                  </a:lnTo>
                  <a:lnTo>
                    <a:pt x="225" y="1467"/>
                  </a:lnTo>
                  <a:close/>
                  <a:moveTo>
                    <a:pt x="282" y="1432"/>
                  </a:moveTo>
                  <a:lnTo>
                    <a:pt x="283" y="1432"/>
                  </a:lnTo>
                  <a:lnTo>
                    <a:pt x="282" y="1432"/>
                  </a:lnTo>
                  <a:close/>
                  <a:moveTo>
                    <a:pt x="296" y="644"/>
                  </a:moveTo>
                  <a:lnTo>
                    <a:pt x="296" y="643"/>
                  </a:lnTo>
                  <a:lnTo>
                    <a:pt x="296" y="644"/>
                  </a:lnTo>
                  <a:close/>
                  <a:moveTo>
                    <a:pt x="207" y="1048"/>
                  </a:moveTo>
                  <a:lnTo>
                    <a:pt x="208" y="1048"/>
                  </a:lnTo>
                  <a:lnTo>
                    <a:pt x="207" y="1048"/>
                  </a:lnTo>
                  <a:close/>
                  <a:moveTo>
                    <a:pt x="238" y="1350"/>
                  </a:moveTo>
                  <a:lnTo>
                    <a:pt x="238" y="1352"/>
                  </a:lnTo>
                  <a:lnTo>
                    <a:pt x="238" y="1350"/>
                  </a:lnTo>
                  <a:close/>
                  <a:moveTo>
                    <a:pt x="275" y="1441"/>
                  </a:moveTo>
                  <a:lnTo>
                    <a:pt x="275" y="1443"/>
                  </a:lnTo>
                  <a:lnTo>
                    <a:pt x="275" y="1441"/>
                  </a:lnTo>
                  <a:close/>
                  <a:moveTo>
                    <a:pt x="296" y="1451"/>
                  </a:moveTo>
                  <a:lnTo>
                    <a:pt x="296" y="1449"/>
                  </a:lnTo>
                  <a:lnTo>
                    <a:pt x="296" y="1451"/>
                  </a:lnTo>
                  <a:close/>
                  <a:moveTo>
                    <a:pt x="204" y="1436"/>
                  </a:moveTo>
                  <a:lnTo>
                    <a:pt x="205" y="1435"/>
                  </a:lnTo>
                  <a:lnTo>
                    <a:pt x="205" y="1436"/>
                  </a:lnTo>
                  <a:lnTo>
                    <a:pt x="204" y="1436"/>
                  </a:lnTo>
                  <a:close/>
                  <a:moveTo>
                    <a:pt x="244" y="1493"/>
                  </a:moveTo>
                  <a:lnTo>
                    <a:pt x="246" y="1493"/>
                  </a:lnTo>
                  <a:lnTo>
                    <a:pt x="244" y="1493"/>
                  </a:lnTo>
                  <a:close/>
                  <a:moveTo>
                    <a:pt x="174" y="1083"/>
                  </a:moveTo>
                  <a:lnTo>
                    <a:pt x="176" y="1083"/>
                  </a:lnTo>
                  <a:lnTo>
                    <a:pt x="174" y="1083"/>
                  </a:lnTo>
                  <a:close/>
                  <a:moveTo>
                    <a:pt x="269" y="1427"/>
                  </a:moveTo>
                  <a:lnTo>
                    <a:pt x="270" y="1427"/>
                  </a:lnTo>
                  <a:lnTo>
                    <a:pt x="269" y="1427"/>
                  </a:lnTo>
                  <a:close/>
                  <a:moveTo>
                    <a:pt x="687" y="1350"/>
                  </a:moveTo>
                  <a:lnTo>
                    <a:pt x="688" y="1350"/>
                  </a:lnTo>
                  <a:lnTo>
                    <a:pt x="687" y="1350"/>
                  </a:lnTo>
                  <a:close/>
                  <a:moveTo>
                    <a:pt x="503" y="1435"/>
                  </a:moveTo>
                  <a:lnTo>
                    <a:pt x="503" y="1433"/>
                  </a:lnTo>
                  <a:lnTo>
                    <a:pt x="503" y="1435"/>
                  </a:lnTo>
                  <a:close/>
                  <a:moveTo>
                    <a:pt x="379" y="1425"/>
                  </a:moveTo>
                  <a:lnTo>
                    <a:pt x="379" y="1423"/>
                  </a:lnTo>
                  <a:lnTo>
                    <a:pt x="379" y="1425"/>
                  </a:lnTo>
                  <a:close/>
                  <a:moveTo>
                    <a:pt x="231" y="1241"/>
                  </a:moveTo>
                  <a:lnTo>
                    <a:pt x="233" y="1241"/>
                  </a:lnTo>
                  <a:lnTo>
                    <a:pt x="231" y="1241"/>
                  </a:lnTo>
                  <a:close/>
                  <a:moveTo>
                    <a:pt x="591" y="1375"/>
                  </a:moveTo>
                  <a:lnTo>
                    <a:pt x="591" y="1376"/>
                  </a:lnTo>
                  <a:lnTo>
                    <a:pt x="591" y="1375"/>
                  </a:lnTo>
                  <a:close/>
                  <a:moveTo>
                    <a:pt x="244" y="1332"/>
                  </a:moveTo>
                  <a:lnTo>
                    <a:pt x="244" y="1331"/>
                  </a:lnTo>
                  <a:lnTo>
                    <a:pt x="244" y="1332"/>
                  </a:lnTo>
                  <a:close/>
                  <a:moveTo>
                    <a:pt x="210" y="1469"/>
                  </a:moveTo>
                  <a:lnTo>
                    <a:pt x="210" y="1471"/>
                  </a:lnTo>
                  <a:lnTo>
                    <a:pt x="210" y="1469"/>
                  </a:lnTo>
                  <a:close/>
                  <a:moveTo>
                    <a:pt x="391" y="1484"/>
                  </a:moveTo>
                  <a:lnTo>
                    <a:pt x="389" y="1484"/>
                  </a:lnTo>
                  <a:lnTo>
                    <a:pt x="391" y="1484"/>
                  </a:lnTo>
                  <a:close/>
                  <a:moveTo>
                    <a:pt x="199" y="1500"/>
                  </a:moveTo>
                  <a:lnTo>
                    <a:pt x="197" y="1500"/>
                  </a:lnTo>
                  <a:lnTo>
                    <a:pt x="199" y="1500"/>
                  </a:lnTo>
                  <a:close/>
                  <a:moveTo>
                    <a:pt x="200" y="1059"/>
                  </a:moveTo>
                  <a:lnTo>
                    <a:pt x="200" y="1057"/>
                  </a:lnTo>
                  <a:lnTo>
                    <a:pt x="200" y="1059"/>
                  </a:lnTo>
                  <a:close/>
                  <a:moveTo>
                    <a:pt x="225" y="1471"/>
                  </a:moveTo>
                  <a:lnTo>
                    <a:pt x="226" y="1471"/>
                  </a:lnTo>
                  <a:lnTo>
                    <a:pt x="225" y="1471"/>
                  </a:lnTo>
                  <a:close/>
                  <a:moveTo>
                    <a:pt x="256" y="1423"/>
                  </a:moveTo>
                  <a:lnTo>
                    <a:pt x="256" y="1422"/>
                  </a:lnTo>
                  <a:lnTo>
                    <a:pt x="256" y="1423"/>
                  </a:lnTo>
                  <a:close/>
                  <a:moveTo>
                    <a:pt x="527" y="1417"/>
                  </a:moveTo>
                  <a:lnTo>
                    <a:pt x="527" y="1415"/>
                  </a:lnTo>
                  <a:lnTo>
                    <a:pt x="527" y="1417"/>
                  </a:lnTo>
                  <a:close/>
                  <a:moveTo>
                    <a:pt x="181" y="1014"/>
                  </a:moveTo>
                  <a:lnTo>
                    <a:pt x="182" y="1014"/>
                  </a:lnTo>
                  <a:lnTo>
                    <a:pt x="181" y="1014"/>
                  </a:lnTo>
                  <a:close/>
                  <a:moveTo>
                    <a:pt x="321" y="1503"/>
                  </a:moveTo>
                  <a:lnTo>
                    <a:pt x="322" y="1503"/>
                  </a:lnTo>
                  <a:lnTo>
                    <a:pt x="321" y="1503"/>
                  </a:lnTo>
                  <a:close/>
                  <a:moveTo>
                    <a:pt x="296" y="648"/>
                  </a:moveTo>
                  <a:lnTo>
                    <a:pt x="296" y="646"/>
                  </a:lnTo>
                  <a:lnTo>
                    <a:pt x="296" y="648"/>
                  </a:lnTo>
                  <a:close/>
                  <a:moveTo>
                    <a:pt x="184" y="1098"/>
                  </a:moveTo>
                  <a:lnTo>
                    <a:pt x="184" y="1097"/>
                  </a:lnTo>
                  <a:lnTo>
                    <a:pt x="184" y="1098"/>
                  </a:lnTo>
                  <a:close/>
                  <a:moveTo>
                    <a:pt x="677" y="1358"/>
                  </a:moveTo>
                  <a:lnTo>
                    <a:pt x="678" y="1358"/>
                  </a:lnTo>
                  <a:lnTo>
                    <a:pt x="677" y="1358"/>
                  </a:lnTo>
                  <a:close/>
                  <a:moveTo>
                    <a:pt x="234" y="1004"/>
                  </a:moveTo>
                  <a:lnTo>
                    <a:pt x="234" y="1005"/>
                  </a:lnTo>
                  <a:lnTo>
                    <a:pt x="234" y="1004"/>
                  </a:lnTo>
                  <a:close/>
                  <a:moveTo>
                    <a:pt x="226" y="1440"/>
                  </a:moveTo>
                  <a:lnTo>
                    <a:pt x="226" y="1441"/>
                  </a:lnTo>
                  <a:lnTo>
                    <a:pt x="226" y="1440"/>
                  </a:lnTo>
                  <a:close/>
                  <a:moveTo>
                    <a:pt x="228" y="1490"/>
                  </a:moveTo>
                  <a:lnTo>
                    <a:pt x="228" y="1492"/>
                  </a:lnTo>
                  <a:lnTo>
                    <a:pt x="228" y="1490"/>
                  </a:lnTo>
                  <a:close/>
                  <a:moveTo>
                    <a:pt x="311" y="1501"/>
                  </a:moveTo>
                  <a:lnTo>
                    <a:pt x="313" y="1501"/>
                  </a:lnTo>
                  <a:lnTo>
                    <a:pt x="311" y="1501"/>
                  </a:lnTo>
                  <a:close/>
                  <a:moveTo>
                    <a:pt x="285" y="1433"/>
                  </a:moveTo>
                  <a:lnTo>
                    <a:pt x="285" y="1435"/>
                  </a:lnTo>
                  <a:lnTo>
                    <a:pt x="285" y="1433"/>
                  </a:lnTo>
                  <a:close/>
                  <a:moveTo>
                    <a:pt x="166" y="1018"/>
                  </a:moveTo>
                  <a:lnTo>
                    <a:pt x="168" y="1018"/>
                  </a:lnTo>
                  <a:lnTo>
                    <a:pt x="166" y="1018"/>
                  </a:lnTo>
                  <a:close/>
                  <a:moveTo>
                    <a:pt x="478" y="1440"/>
                  </a:moveTo>
                  <a:lnTo>
                    <a:pt x="478" y="1441"/>
                  </a:lnTo>
                  <a:lnTo>
                    <a:pt x="478" y="1440"/>
                  </a:lnTo>
                  <a:close/>
                  <a:moveTo>
                    <a:pt x="604" y="1380"/>
                  </a:moveTo>
                  <a:lnTo>
                    <a:pt x="604" y="1378"/>
                  </a:lnTo>
                  <a:lnTo>
                    <a:pt x="604" y="1380"/>
                  </a:lnTo>
                  <a:close/>
                  <a:moveTo>
                    <a:pt x="277" y="1445"/>
                  </a:moveTo>
                  <a:lnTo>
                    <a:pt x="277" y="1443"/>
                  </a:lnTo>
                  <a:lnTo>
                    <a:pt x="277" y="1445"/>
                  </a:lnTo>
                  <a:close/>
                  <a:moveTo>
                    <a:pt x="570" y="1397"/>
                  </a:moveTo>
                  <a:lnTo>
                    <a:pt x="570" y="1399"/>
                  </a:lnTo>
                  <a:lnTo>
                    <a:pt x="570" y="1397"/>
                  </a:lnTo>
                  <a:close/>
                  <a:moveTo>
                    <a:pt x="591" y="1391"/>
                  </a:moveTo>
                  <a:lnTo>
                    <a:pt x="592" y="1391"/>
                  </a:lnTo>
                  <a:lnTo>
                    <a:pt x="591" y="1391"/>
                  </a:lnTo>
                  <a:close/>
                  <a:moveTo>
                    <a:pt x="664" y="1366"/>
                  </a:moveTo>
                  <a:lnTo>
                    <a:pt x="662" y="1366"/>
                  </a:lnTo>
                  <a:lnTo>
                    <a:pt x="664" y="1366"/>
                  </a:lnTo>
                  <a:close/>
                  <a:moveTo>
                    <a:pt x="181" y="1445"/>
                  </a:moveTo>
                  <a:lnTo>
                    <a:pt x="182" y="1445"/>
                  </a:lnTo>
                  <a:lnTo>
                    <a:pt x="182" y="1446"/>
                  </a:lnTo>
                  <a:lnTo>
                    <a:pt x="181" y="1445"/>
                  </a:lnTo>
                  <a:close/>
                  <a:moveTo>
                    <a:pt x="181" y="1445"/>
                  </a:moveTo>
                  <a:lnTo>
                    <a:pt x="182" y="1445"/>
                  </a:lnTo>
                  <a:lnTo>
                    <a:pt x="181" y="1445"/>
                  </a:lnTo>
                  <a:close/>
                  <a:moveTo>
                    <a:pt x="261" y="1497"/>
                  </a:moveTo>
                  <a:lnTo>
                    <a:pt x="261" y="1495"/>
                  </a:lnTo>
                  <a:lnTo>
                    <a:pt x="261" y="1497"/>
                  </a:lnTo>
                  <a:close/>
                  <a:moveTo>
                    <a:pt x="537" y="1407"/>
                  </a:moveTo>
                  <a:lnTo>
                    <a:pt x="539" y="1407"/>
                  </a:lnTo>
                  <a:lnTo>
                    <a:pt x="537" y="1407"/>
                  </a:lnTo>
                  <a:close/>
                  <a:moveTo>
                    <a:pt x="355" y="664"/>
                  </a:moveTo>
                  <a:lnTo>
                    <a:pt x="356" y="664"/>
                  </a:lnTo>
                  <a:lnTo>
                    <a:pt x="355" y="664"/>
                  </a:lnTo>
                  <a:close/>
                  <a:moveTo>
                    <a:pt x="234" y="1241"/>
                  </a:moveTo>
                  <a:lnTo>
                    <a:pt x="234" y="1243"/>
                  </a:lnTo>
                  <a:lnTo>
                    <a:pt x="234" y="1241"/>
                  </a:lnTo>
                  <a:close/>
                  <a:moveTo>
                    <a:pt x="254" y="953"/>
                  </a:moveTo>
                  <a:lnTo>
                    <a:pt x="254" y="955"/>
                  </a:lnTo>
                  <a:lnTo>
                    <a:pt x="254" y="953"/>
                  </a:lnTo>
                  <a:close/>
                  <a:moveTo>
                    <a:pt x="189" y="1066"/>
                  </a:moveTo>
                  <a:lnTo>
                    <a:pt x="191" y="1066"/>
                  </a:lnTo>
                  <a:lnTo>
                    <a:pt x="189" y="1066"/>
                  </a:lnTo>
                  <a:close/>
                  <a:moveTo>
                    <a:pt x="239" y="1254"/>
                  </a:moveTo>
                  <a:lnTo>
                    <a:pt x="241" y="1254"/>
                  </a:lnTo>
                  <a:lnTo>
                    <a:pt x="239" y="1254"/>
                  </a:lnTo>
                  <a:close/>
                  <a:moveTo>
                    <a:pt x="244" y="1371"/>
                  </a:moveTo>
                  <a:lnTo>
                    <a:pt x="246" y="1371"/>
                  </a:lnTo>
                  <a:lnTo>
                    <a:pt x="244" y="1371"/>
                  </a:lnTo>
                  <a:close/>
                  <a:moveTo>
                    <a:pt x="274" y="1440"/>
                  </a:moveTo>
                  <a:lnTo>
                    <a:pt x="275" y="1440"/>
                  </a:lnTo>
                  <a:lnTo>
                    <a:pt x="274" y="1440"/>
                  </a:lnTo>
                  <a:close/>
                  <a:moveTo>
                    <a:pt x="540" y="1407"/>
                  </a:moveTo>
                  <a:lnTo>
                    <a:pt x="540" y="1409"/>
                  </a:lnTo>
                  <a:lnTo>
                    <a:pt x="540" y="1407"/>
                  </a:lnTo>
                  <a:close/>
                  <a:moveTo>
                    <a:pt x="256" y="934"/>
                  </a:moveTo>
                  <a:lnTo>
                    <a:pt x="257" y="934"/>
                  </a:lnTo>
                  <a:lnTo>
                    <a:pt x="256" y="934"/>
                  </a:lnTo>
                  <a:close/>
                  <a:moveTo>
                    <a:pt x="262" y="1506"/>
                  </a:moveTo>
                  <a:lnTo>
                    <a:pt x="262" y="1505"/>
                  </a:lnTo>
                  <a:lnTo>
                    <a:pt x="262" y="1506"/>
                  </a:lnTo>
                  <a:close/>
                  <a:moveTo>
                    <a:pt x="278" y="1433"/>
                  </a:moveTo>
                  <a:lnTo>
                    <a:pt x="278" y="1432"/>
                  </a:lnTo>
                  <a:lnTo>
                    <a:pt x="278" y="1433"/>
                  </a:lnTo>
                  <a:close/>
                  <a:moveTo>
                    <a:pt x="259" y="1453"/>
                  </a:moveTo>
                  <a:lnTo>
                    <a:pt x="259" y="1451"/>
                  </a:lnTo>
                  <a:lnTo>
                    <a:pt x="259" y="1453"/>
                  </a:lnTo>
                  <a:close/>
                  <a:moveTo>
                    <a:pt x="228" y="1475"/>
                  </a:moveTo>
                  <a:lnTo>
                    <a:pt x="230" y="1475"/>
                  </a:lnTo>
                  <a:lnTo>
                    <a:pt x="228" y="1475"/>
                  </a:lnTo>
                  <a:close/>
                  <a:moveTo>
                    <a:pt x="195" y="1145"/>
                  </a:moveTo>
                  <a:lnTo>
                    <a:pt x="197" y="1145"/>
                  </a:lnTo>
                  <a:lnTo>
                    <a:pt x="195" y="1145"/>
                  </a:lnTo>
                  <a:close/>
                  <a:moveTo>
                    <a:pt x="329" y="1503"/>
                  </a:moveTo>
                  <a:lnTo>
                    <a:pt x="330" y="1503"/>
                  </a:lnTo>
                  <a:lnTo>
                    <a:pt x="329" y="1503"/>
                  </a:lnTo>
                  <a:close/>
                  <a:moveTo>
                    <a:pt x="579" y="1381"/>
                  </a:moveTo>
                  <a:lnTo>
                    <a:pt x="578" y="1381"/>
                  </a:lnTo>
                  <a:lnTo>
                    <a:pt x="579" y="1381"/>
                  </a:lnTo>
                  <a:close/>
                  <a:moveTo>
                    <a:pt x="542" y="1402"/>
                  </a:moveTo>
                  <a:lnTo>
                    <a:pt x="542" y="1401"/>
                  </a:lnTo>
                  <a:lnTo>
                    <a:pt x="542" y="1402"/>
                  </a:lnTo>
                  <a:close/>
                  <a:moveTo>
                    <a:pt x="199" y="1448"/>
                  </a:moveTo>
                  <a:lnTo>
                    <a:pt x="199" y="1449"/>
                  </a:lnTo>
                  <a:lnTo>
                    <a:pt x="199" y="1448"/>
                  </a:lnTo>
                  <a:close/>
                  <a:moveTo>
                    <a:pt x="343" y="1510"/>
                  </a:moveTo>
                  <a:lnTo>
                    <a:pt x="343" y="1508"/>
                  </a:lnTo>
                  <a:lnTo>
                    <a:pt x="343" y="1510"/>
                  </a:lnTo>
                  <a:close/>
                  <a:moveTo>
                    <a:pt x="547" y="1404"/>
                  </a:moveTo>
                  <a:lnTo>
                    <a:pt x="548" y="1404"/>
                  </a:lnTo>
                  <a:lnTo>
                    <a:pt x="547" y="1404"/>
                  </a:lnTo>
                  <a:close/>
                  <a:moveTo>
                    <a:pt x="247" y="1409"/>
                  </a:moveTo>
                  <a:lnTo>
                    <a:pt x="247" y="1410"/>
                  </a:lnTo>
                  <a:lnTo>
                    <a:pt x="247" y="1409"/>
                  </a:lnTo>
                  <a:close/>
                  <a:moveTo>
                    <a:pt x="352" y="1500"/>
                  </a:moveTo>
                  <a:lnTo>
                    <a:pt x="353" y="1500"/>
                  </a:lnTo>
                  <a:lnTo>
                    <a:pt x="352" y="1500"/>
                  </a:lnTo>
                  <a:close/>
                  <a:moveTo>
                    <a:pt x="324" y="1511"/>
                  </a:moveTo>
                  <a:lnTo>
                    <a:pt x="324" y="1510"/>
                  </a:lnTo>
                  <a:lnTo>
                    <a:pt x="324" y="1511"/>
                  </a:lnTo>
                  <a:close/>
                  <a:moveTo>
                    <a:pt x="238" y="1329"/>
                  </a:moveTo>
                  <a:lnTo>
                    <a:pt x="239" y="1329"/>
                  </a:lnTo>
                  <a:lnTo>
                    <a:pt x="238" y="1329"/>
                  </a:lnTo>
                  <a:close/>
                  <a:moveTo>
                    <a:pt x="122" y="1459"/>
                  </a:moveTo>
                  <a:lnTo>
                    <a:pt x="124" y="1459"/>
                  </a:lnTo>
                  <a:lnTo>
                    <a:pt x="122" y="1459"/>
                  </a:lnTo>
                  <a:close/>
                  <a:moveTo>
                    <a:pt x="220" y="1464"/>
                  </a:moveTo>
                  <a:lnTo>
                    <a:pt x="220" y="1466"/>
                  </a:lnTo>
                  <a:lnTo>
                    <a:pt x="220" y="1464"/>
                  </a:lnTo>
                  <a:close/>
                  <a:moveTo>
                    <a:pt x="234" y="1436"/>
                  </a:moveTo>
                  <a:lnTo>
                    <a:pt x="234" y="1435"/>
                  </a:lnTo>
                  <a:lnTo>
                    <a:pt x="234" y="1436"/>
                  </a:lnTo>
                  <a:close/>
                  <a:moveTo>
                    <a:pt x="272" y="1466"/>
                  </a:moveTo>
                  <a:lnTo>
                    <a:pt x="272" y="1464"/>
                  </a:lnTo>
                  <a:lnTo>
                    <a:pt x="272" y="1466"/>
                  </a:lnTo>
                  <a:close/>
                  <a:moveTo>
                    <a:pt x="683" y="1355"/>
                  </a:moveTo>
                  <a:lnTo>
                    <a:pt x="683" y="1353"/>
                  </a:lnTo>
                  <a:lnTo>
                    <a:pt x="683" y="1355"/>
                  </a:lnTo>
                  <a:close/>
                  <a:moveTo>
                    <a:pt x="244" y="1451"/>
                  </a:moveTo>
                  <a:lnTo>
                    <a:pt x="244" y="1449"/>
                  </a:lnTo>
                  <a:lnTo>
                    <a:pt x="244" y="1451"/>
                  </a:lnTo>
                  <a:close/>
                  <a:moveTo>
                    <a:pt x="313" y="1497"/>
                  </a:moveTo>
                  <a:lnTo>
                    <a:pt x="313" y="1498"/>
                  </a:lnTo>
                  <a:lnTo>
                    <a:pt x="313" y="1497"/>
                  </a:lnTo>
                  <a:close/>
                  <a:moveTo>
                    <a:pt x="249" y="1445"/>
                  </a:moveTo>
                  <a:lnTo>
                    <a:pt x="249" y="1443"/>
                  </a:lnTo>
                  <a:lnTo>
                    <a:pt x="249" y="1445"/>
                  </a:lnTo>
                  <a:close/>
                  <a:moveTo>
                    <a:pt x="280" y="1461"/>
                  </a:moveTo>
                  <a:lnTo>
                    <a:pt x="282" y="1461"/>
                  </a:lnTo>
                  <a:lnTo>
                    <a:pt x="280" y="1461"/>
                  </a:lnTo>
                  <a:close/>
                  <a:moveTo>
                    <a:pt x="537" y="1409"/>
                  </a:moveTo>
                  <a:lnTo>
                    <a:pt x="539" y="1409"/>
                  </a:lnTo>
                  <a:lnTo>
                    <a:pt x="537" y="1409"/>
                  </a:lnTo>
                  <a:close/>
                  <a:moveTo>
                    <a:pt x="319" y="1474"/>
                  </a:moveTo>
                  <a:lnTo>
                    <a:pt x="321" y="1474"/>
                  </a:lnTo>
                  <a:lnTo>
                    <a:pt x="319" y="1474"/>
                  </a:lnTo>
                  <a:close/>
                  <a:moveTo>
                    <a:pt x="311" y="1501"/>
                  </a:moveTo>
                  <a:lnTo>
                    <a:pt x="311" y="1503"/>
                  </a:lnTo>
                  <a:lnTo>
                    <a:pt x="311" y="1501"/>
                  </a:lnTo>
                  <a:close/>
                  <a:moveTo>
                    <a:pt x="234" y="1253"/>
                  </a:moveTo>
                  <a:lnTo>
                    <a:pt x="236" y="1253"/>
                  </a:lnTo>
                  <a:lnTo>
                    <a:pt x="234" y="1253"/>
                  </a:lnTo>
                  <a:close/>
                  <a:moveTo>
                    <a:pt x="243" y="1261"/>
                  </a:moveTo>
                  <a:lnTo>
                    <a:pt x="244" y="1261"/>
                  </a:lnTo>
                  <a:lnTo>
                    <a:pt x="243" y="1261"/>
                  </a:lnTo>
                  <a:close/>
                  <a:moveTo>
                    <a:pt x="160" y="1448"/>
                  </a:moveTo>
                  <a:lnTo>
                    <a:pt x="161" y="1448"/>
                  </a:lnTo>
                  <a:lnTo>
                    <a:pt x="160" y="1448"/>
                  </a:lnTo>
                  <a:close/>
                  <a:moveTo>
                    <a:pt x="277" y="1485"/>
                  </a:moveTo>
                  <a:lnTo>
                    <a:pt x="278" y="1485"/>
                  </a:lnTo>
                  <a:lnTo>
                    <a:pt x="277" y="1485"/>
                  </a:lnTo>
                  <a:close/>
                  <a:moveTo>
                    <a:pt x="184" y="1471"/>
                  </a:moveTo>
                  <a:lnTo>
                    <a:pt x="186" y="1471"/>
                  </a:lnTo>
                  <a:lnTo>
                    <a:pt x="184" y="1471"/>
                  </a:lnTo>
                  <a:close/>
                  <a:moveTo>
                    <a:pt x="374" y="706"/>
                  </a:moveTo>
                  <a:lnTo>
                    <a:pt x="374" y="705"/>
                  </a:lnTo>
                  <a:lnTo>
                    <a:pt x="374" y="706"/>
                  </a:lnTo>
                  <a:close/>
                  <a:moveTo>
                    <a:pt x="667" y="1366"/>
                  </a:moveTo>
                  <a:lnTo>
                    <a:pt x="667" y="1368"/>
                  </a:lnTo>
                  <a:lnTo>
                    <a:pt x="667" y="1366"/>
                  </a:lnTo>
                  <a:close/>
                  <a:moveTo>
                    <a:pt x="290" y="1471"/>
                  </a:moveTo>
                  <a:lnTo>
                    <a:pt x="290" y="1469"/>
                  </a:lnTo>
                  <a:lnTo>
                    <a:pt x="290" y="1471"/>
                  </a:lnTo>
                  <a:close/>
                  <a:moveTo>
                    <a:pt x="238" y="1014"/>
                  </a:moveTo>
                  <a:lnTo>
                    <a:pt x="238" y="1012"/>
                  </a:lnTo>
                  <a:lnTo>
                    <a:pt x="238" y="1014"/>
                  </a:lnTo>
                  <a:close/>
                  <a:moveTo>
                    <a:pt x="231" y="1417"/>
                  </a:moveTo>
                  <a:lnTo>
                    <a:pt x="231" y="1419"/>
                  </a:lnTo>
                  <a:lnTo>
                    <a:pt x="231" y="1417"/>
                  </a:lnTo>
                  <a:close/>
                  <a:moveTo>
                    <a:pt x="272" y="1443"/>
                  </a:moveTo>
                  <a:lnTo>
                    <a:pt x="274" y="1443"/>
                  </a:lnTo>
                  <a:lnTo>
                    <a:pt x="272" y="1443"/>
                  </a:lnTo>
                  <a:close/>
                  <a:moveTo>
                    <a:pt x="308" y="1436"/>
                  </a:moveTo>
                  <a:lnTo>
                    <a:pt x="308" y="1435"/>
                  </a:lnTo>
                  <a:lnTo>
                    <a:pt x="308" y="1436"/>
                  </a:lnTo>
                  <a:close/>
                  <a:moveTo>
                    <a:pt x="521" y="1427"/>
                  </a:moveTo>
                  <a:lnTo>
                    <a:pt x="522" y="1427"/>
                  </a:lnTo>
                  <a:lnTo>
                    <a:pt x="521" y="1427"/>
                  </a:lnTo>
                  <a:close/>
                  <a:moveTo>
                    <a:pt x="238" y="1256"/>
                  </a:moveTo>
                  <a:lnTo>
                    <a:pt x="238" y="1254"/>
                  </a:lnTo>
                  <a:lnTo>
                    <a:pt x="238" y="1256"/>
                  </a:lnTo>
                  <a:close/>
                  <a:moveTo>
                    <a:pt x="168" y="1010"/>
                  </a:moveTo>
                  <a:lnTo>
                    <a:pt x="169" y="1010"/>
                  </a:lnTo>
                  <a:lnTo>
                    <a:pt x="168" y="1010"/>
                  </a:lnTo>
                  <a:close/>
                  <a:moveTo>
                    <a:pt x="220" y="1469"/>
                  </a:moveTo>
                  <a:lnTo>
                    <a:pt x="221" y="1469"/>
                  </a:lnTo>
                  <a:lnTo>
                    <a:pt x="220" y="1469"/>
                  </a:lnTo>
                  <a:close/>
                  <a:moveTo>
                    <a:pt x="233" y="1466"/>
                  </a:moveTo>
                  <a:lnTo>
                    <a:pt x="233" y="1464"/>
                  </a:lnTo>
                  <a:lnTo>
                    <a:pt x="233" y="1466"/>
                  </a:lnTo>
                  <a:close/>
                  <a:moveTo>
                    <a:pt x="295" y="641"/>
                  </a:moveTo>
                  <a:lnTo>
                    <a:pt x="293" y="643"/>
                  </a:lnTo>
                  <a:lnTo>
                    <a:pt x="293" y="641"/>
                  </a:lnTo>
                  <a:lnTo>
                    <a:pt x="295" y="641"/>
                  </a:lnTo>
                  <a:close/>
                  <a:moveTo>
                    <a:pt x="261" y="947"/>
                  </a:moveTo>
                  <a:lnTo>
                    <a:pt x="261" y="949"/>
                  </a:lnTo>
                  <a:lnTo>
                    <a:pt x="261" y="947"/>
                  </a:lnTo>
                  <a:close/>
                  <a:moveTo>
                    <a:pt x="238" y="1419"/>
                  </a:moveTo>
                  <a:lnTo>
                    <a:pt x="238" y="1417"/>
                  </a:lnTo>
                  <a:lnTo>
                    <a:pt x="238" y="1419"/>
                  </a:lnTo>
                  <a:close/>
                  <a:moveTo>
                    <a:pt x="226" y="1448"/>
                  </a:moveTo>
                  <a:lnTo>
                    <a:pt x="228" y="1448"/>
                  </a:lnTo>
                  <a:lnTo>
                    <a:pt x="226" y="1448"/>
                  </a:lnTo>
                  <a:close/>
                  <a:moveTo>
                    <a:pt x="246" y="1353"/>
                  </a:moveTo>
                  <a:lnTo>
                    <a:pt x="247" y="1353"/>
                  </a:lnTo>
                  <a:lnTo>
                    <a:pt x="246" y="1353"/>
                  </a:lnTo>
                  <a:close/>
                  <a:moveTo>
                    <a:pt x="267" y="1482"/>
                  </a:moveTo>
                  <a:lnTo>
                    <a:pt x="267" y="1480"/>
                  </a:lnTo>
                  <a:lnTo>
                    <a:pt x="267" y="1482"/>
                  </a:lnTo>
                  <a:close/>
                  <a:moveTo>
                    <a:pt x="552" y="1409"/>
                  </a:moveTo>
                  <a:lnTo>
                    <a:pt x="552" y="1410"/>
                  </a:lnTo>
                  <a:lnTo>
                    <a:pt x="552" y="1409"/>
                  </a:lnTo>
                  <a:close/>
                  <a:moveTo>
                    <a:pt x="303" y="1488"/>
                  </a:moveTo>
                  <a:lnTo>
                    <a:pt x="303" y="1487"/>
                  </a:lnTo>
                  <a:lnTo>
                    <a:pt x="303" y="1488"/>
                  </a:lnTo>
                  <a:close/>
                  <a:moveTo>
                    <a:pt x="560" y="1406"/>
                  </a:moveTo>
                  <a:lnTo>
                    <a:pt x="558" y="1406"/>
                  </a:lnTo>
                  <a:lnTo>
                    <a:pt x="560" y="1406"/>
                  </a:lnTo>
                  <a:close/>
                  <a:moveTo>
                    <a:pt x="288" y="1477"/>
                  </a:moveTo>
                  <a:lnTo>
                    <a:pt x="290" y="1477"/>
                  </a:lnTo>
                  <a:lnTo>
                    <a:pt x="288" y="1477"/>
                  </a:lnTo>
                  <a:close/>
                  <a:moveTo>
                    <a:pt x="249" y="1441"/>
                  </a:moveTo>
                  <a:lnTo>
                    <a:pt x="251" y="1441"/>
                  </a:lnTo>
                  <a:lnTo>
                    <a:pt x="249" y="1441"/>
                  </a:lnTo>
                  <a:close/>
                  <a:moveTo>
                    <a:pt x="202" y="1012"/>
                  </a:moveTo>
                  <a:lnTo>
                    <a:pt x="202" y="1014"/>
                  </a:lnTo>
                  <a:lnTo>
                    <a:pt x="202" y="1012"/>
                  </a:lnTo>
                  <a:close/>
                  <a:moveTo>
                    <a:pt x="179" y="1043"/>
                  </a:moveTo>
                  <a:lnTo>
                    <a:pt x="181" y="1043"/>
                  </a:lnTo>
                  <a:lnTo>
                    <a:pt x="179" y="1043"/>
                  </a:lnTo>
                  <a:close/>
                  <a:moveTo>
                    <a:pt x="314" y="1462"/>
                  </a:moveTo>
                  <a:lnTo>
                    <a:pt x="316" y="1461"/>
                  </a:lnTo>
                  <a:lnTo>
                    <a:pt x="316" y="1462"/>
                  </a:lnTo>
                  <a:lnTo>
                    <a:pt x="314" y="1462"/>
                  </a:lnTo>
                  <a:close/>
                  <a:moveTo>
                    <a:pt x="195" y="1083"/>
                  </a:moveTo>
                  <a:lnTo>
                    <a:pt x="197" y="1083"/>
                  </a:lnTo>
                  <a:lnTo>
                    <a:pt x="195" y="1083"/>
                  </a:lnTo>
                  <a:close/>
                  <a:moveTo>
                    <a:pt x="221" y="1231"/>
                  </a:moveTo>
                  <a:lnTo>
                    <a:pt x="223" y="1231"/>
                  </a:lnTo>
                  <a:lnTo>
                    <a:pt x="221" y="1231"/>
                  </a:lnTo>
                  <a:close/>
                  <a:moveTo>
                    <a:pt x="213" y="1524"/>
                  </a:moveTo>
                  <a:lnTo>
                    <a:pt x="215" y="1524"/>
                  </a:lnTo>
                  <a:lnTo>
                    <a:pt x="213" y="1524"/>
                  </a:lnTo>
                  <a:close/>
                  <a:moveTo>
                    <a:pt x="635" y="1358"/>
                  </a:moveTo>
                  <a:lnTo>
                    <a:pt x="636" y="1358"/>
                  </a:lnTo>
                  <a:lnTo>
                    <a:pt x="635" y="1358"/>
                  </a:lnTo>
                  <a:close/>
                  <a:moveTo>
                    <a:pt x="334" y="1451"/>
                  </a:moveTo>
                  <a:lnTo>
                    <a:pt x="334" y="1449"/>
                  </a:lnTo>
                  <a:lnTo>
                    <a:pt x="334" y="1451"/>
                  </a:lnTo>
                  <a:close/>
                  <a:moveTo>
                    <a:pt x="267" y="1436"/>
                  </a:moveTo>
                  <a:lnTo>
                    <a:pt x="267" y="1435"/>
                  </a:lnTo>
                  <a:lnTo>
                    <a:pt x="267" y="1436"/>
                  </a:lnTo>
                  <a:close/>
                  <a:moveTo>
                    <a:pt x="221" y="1425"/>
                  </a:moveTo>
                  <a:lnTo>
                    <a:pt x="223" y="1425"/>
                  </a:lnTo>
                  <a:lnTo>
                    <a:pt x="221" y="1425"/>
                  </a:lnTo>
                  <a:close/>
                  <a:moveTo>
                    <a:pt x="168" y="1493"/>
                  </a:moveTo>
                  <a:lnTo>
                    <a:pt x="168" y="1492"/>
                  </a:lnTo>
                  <a:lnTo>
                    <a:pt x="168" y="1493"/>
                  </a:lnTo>
                  <a:close/>
                  <a:moveTo>
                    <a:pt x="269" y="1440"/>
                  </a:moveTo>
                  <a:lnTo>
                    <a:pt x="270" y="1440"/>
                  </a:lnTo>
                  <a:lnTo>
                    <a:pt x="269" y="1440"/>
                  </a:lnTo>
                  <a:close/>
                  <a:moveTo>
                    <a:pt x="230" y="1487"/>
                  </a:moveTo>
                  <a:lnTo>
                    <a:pt x="231" y="1487"/>
                  </a:lnTo>
                  <a:lnTo>
                    <a:pt x="230" y="1487"/>
                  </a:lnTo>
                  <a:close/>
                  <a:moveTo>
                    <a:pt x="415" y="1482"/>
                  </a:moveTo>
                  <a:lnTo>
                    <a:pt x="415" y="1480"/>
                  </a:lnTo>
                  <a:lnTo>
                    <a:pt x="415" y="1482"/>
                  </a:lnTo>
                  <a:close/>
                  <a:moveTo>
                    <a:pt x="226" y="1471"/>
                  </a:moveTo>
                  <a:lnTo>
                    <a:pt x="225" y="1472"/>
                  </a:lnTo>
                  <a:lnTo>
                    <a:pt x="226" y="1471"/>
                  </a:lnTo>
                  <a:close/>
                  <a:moveTo>
                    <a:pt x="256" y="1490"/>
                  </a:moveTo>
                  <a:lnTo>
                    <a:pt x="257" y="1490"/>
                  </a:lnTo>
                  <a:lnTo>
                    <a:pt x="256" y="1492"/>
                  </a:lnTo>
                  <a:lnTo>
                    <a:pt x="256" y="1490"/>
                  </a:lnTo>
                  <a:close/>
                  <a:moveTo>
                    <a:pt x="234" y="1366"/>
                  </a:moveTo>
                  <a:lnTo>
                    <a:pt x="236" y="1366"/>
                  </a:lnTo>
                  <a:lnTo>
                    <a:pt x="234" y="1366"/>
                  </a:lnTo>
                  <a:close/>
                  <a:moveTo>
                    <a:pt x="234" y="1375"/>
                  </a:moveTo>
                  <a:lnTo>
                    <a:pt x="234" y="1373"/>
                  </a:lnTo>
                  <a:lnTo>
                    <a:pt x="236" y="1373"/>
                  </a:lnTo>
                  <a:lnTo>
                    <a:pt x="236" y="1375"/>
                  </a:lnTo>
                  <a:lnTo>
                    <a:pt x="234" y="1375"/>
                  </a:lnTo>
                  <a:close/>
                  <a:moveTo>
                    <a:pt x="285" y="1454"/>
                  </a:moveTo>
                  <a:lnTo>
                    <a:pt x="287" y="1456"/>
                  </a:lnTo>
                  <a:lnTo>
                    <a:pt x="285" y="1456"/>
                  </a:lnTo>
                  <a:lnTo>
                    <a:pt x="285" y="1454"/>
                  </a:lnTo>
                  <a:close/>
                  <a:moveTo>
                    <a:pt x="376" y="752"/>
                  </a:moveTo>
                  <a:lnTo>
                    <a:pt x="376" y="753"/>
                  </a:lnTo>
                  <a:lnTo>
                    <a:pt x="376" y="752"/>
                  </a:lnTo>
                  <a:close/>
                  <a:moveTo>
                    <a:pt x="267" y="1477"/>
                  </a:moveTo>
                  <a:lnTo>
                    <a:pt x="267" y="1479"/>
                  </a:lnTo>
                  <a:lnTo>
                    <a:pt x="267" y="1477"/>
                  </a:lnTo>
                  <a:close/>
                  <a:moveTo>
                    <a:pt x="274" y="949"/>
                  </a:moveTo>
                  <a:lnTo>
                    <a:pt x="274" y="950"/>
                  </a:lnTo>
                  <a:lnTo>
                    <a:pt x="274" y="949"/>
                  </a:lnTo>
                  <a:close/>
                  <a:moveTo>
                    <a:pt x="202" y="1490"/>
                  </a:moveTo>
                  <a:lnTo>
                    <a:pt x="204" y="1490"/>
                  </a:lnTo>
                  <a:lnTo>
                    <a:pt x="202" y="1490"/>
                  </a:lnTo>
                  <a:close/>
                  <a:moveTo>
                    <a:pt x="587" y="1389"/>
                  </a:moveTo>
                  <a:lnTo>
                    <a:pt x="589" y="1389"/>
                  </a:lnTo>
                  <a:lnTo>
                    <a:pt x="587" y="1389"/>
                  </a:lnTo>
                  <a:close/>
                  <a:moveTo>
                    <a:pt x="287" y="1419"/>
                  </a:moveTo>
                  <a:lnTo>
                    <a:pt x="288" y="1419"/>
                  </a:lnTo>
                  <a:lnTo>
                    <a:pt x="287" y="1419"/>
                  </a:lnTo>
                  <a:close/>
                  <a:moveTo>
                    <a:pt x="680" y="1332"/>
                  </a:moveTo>
                  <a:lnTo>
                    <a:pt x="682" y="1332"/>
                  </a:lnTo>
                  <a:lnTo>
                    <a:pt x="680" y="1332"/>
                  </a:lnTo>
                  <a:close/>
                  <a:moveTo>
                    <a:pt x="234" y="1440"/>
                  </a:moveTo>
                  <a:lnTo>
                    <a:pt x="234" y="1438"/>
                  </a:lnTo>
                  <a:lnTo>
                    <a:pt x="234" y="1440"/>
                  </a:lnTo>
                  <a:close/>
                  <a:moveTo>
                    <a:pt x="178" y="1503"/>
                  </a:moveTo>
                  <a:lnTo>
                    <a:pt x="176" y="1503"/>
                  </a:lnTo>
                  <a:lnTo>
                    <a:pt x="178" y="1503"/>
                  </a:lnTo>
                  <a:close/>
                  <a:moveTo>
                    <a:pt x="202" y="1480"/>
                  </a:moveTo>
                  <a:lnTo>
                    <a:pt x="204" y="1480"/>
                  </a:lnTo>
                  <a:lnTo>
                    <a:pt x="202" y="1480"/>
                  </a:lnTo>
                  <a:close/>
                  <a:moveTo>
                    <a:pt x="213" y="1441"/>
                  </a:moveTo>
                  <a:lnTo>
                    <a:pt x="212" y="1441"/>
                  </a:lnTo>
                  <a:lnTo>
                    <a:pt x="213" y="1441"/>
                  </a:lnTo>
                  <a:close/>
                  <a:moveTo>
                    <a:pt x="652" y="1337"/>
                  </a:moveTo>
                  <a:lnTo>
                    <a:pt x="652" y="1339"/>
                  </a:lnTo>
                  <a:lnTo>
                    <a:pt x="652" y="1337"/>
                  </a:lnTo>
                  <a:close/>
                  <a:moveTo>
                    <a:pt x="532" y="1407"/>
                  </a:moveTo>
                  <a:lnTo>
                    <a:pt x="532" y="1409"/>
                  </a:lnTo>
                  <a:lnTo>
                    <a:pt x="532" y="1407"/>
                  </a:lnTo>
                  <a:close/>
                  <a:moveTo>
                    <a:pt x="238" y="1327"/>
                  </a:moveTo>
                  <a:lnTo>
                    <a:pt x="239" y="1327"/>
                  </a:lnTo>
                  <a:lnTo>
                    <a:pt x="238" y="1327"/>
                  </a:lnTo>
                  <a:close/>
                  <a:moveTo>
                    <a:pt x="688" y="1327"/>
                  </a:moveTo>
                  <a:lnTo>
                    <a:pt x="690" y="1327"/>
                  </a:lnTo>
                  <a:lnTo>
                    <a:pt x="688" y="1329"/>
                  </a:lnTo>
                  <a:lnTo>
                    <a:pt x="688" y="1327"/>
                  </a:lnTo>
                  <a:close/>
                  <a:moveTo>
                    <a:pt x="246" y="1412"/>
                  </a:moveTo>
                  <a:lnTo>
                    <a:pt x="246" y="1414"/>
                  </a:lnTo>
                  <a:lnTo>
                    <a:pt x="246" y="1412"/>
                  </a:lnTo>
                  <a:close/>
                  <a:moveTo>
                    <a:pt x="181" y="1435"/>
                  </a:moveTo>
                  <a:lnTo>
                    <a:pt x="181" y="1433"/>
                  </a:lnTo>
                  <a:lnTo>
                    <a:pt x="181" y="1435"/>
                  </a:lnTo>
                  <a:close/>
                  <a:moveTo>
                    <a:pt x="280" y="1487"/>
                  </a:moveTo>
                  <a:lnTo>
                    <a:pt x="280" y="1488"/>
                  </a:lnTo>
                  <a:lnTo>
                    <a:pt x="280" y="1487"/>
                  </a:lnTo>
                  <a:close/>
                  <a:moveTo>
                    <a:pt x="244" y="1352"/>
                  </a:moveTo>
                  <a:lnTo>
                    <a:pt x="244" y="1353"/>
                  </a:lnTo>
                  <a:lnTo>
                    <a:pt x="244" y="1352"/>
                  </a:lnTo>
                  <a:close/>
                  <a:moveTo>
                    <a:pt x="586" y="1391"/>
                  </a:moveTo>
                  <a:lnTo>
                    <a:pt x="587" y="1391"/>
                  </a:lnTo>
                  <a:lnTo>
                    <a:pt x="587" y="1393"/>
                  </a:lnTo>
                  <a:lnTo>
                    <a:pt x="586" y="1391"/>
                  </a:lnTo>
                  <a:close/>
                  <a:moveTo>
                    <a:pt x="314" y="1422"/>
                  </a:moveTo>
                  <a:lnTo>
                    <a:pt x="316" y="1422"/>
                  </a:lnTo>
                  <a:lnTo>
                    <a:pt x="314" y="1422"/>
                  </a:lnTo>
                  <a:close/>
                  <a:moveTo>
                    <a:pt x="282" y="1454"/>
                  </a:moveTo>
                  <a:lnTo>
                    <a:pt x="282" y="1453"/>
                  </a:lnTo>
                  <a:lnTo>
                    <a:pt x="282" y="1454"/>
                  </a:lnTo>
                  <a:close/>
                  <a:moveTo>
                    <a:pt x="197" y="1149"/>
                  </a:moveTo>
                  <a:lnTo>
                    <a:pt x="197" y="1147"/>
                  </a:lnTo>
                  <a:lnTo>
                    <a:pt x="197" y="1149"/>
                  </a:lnTo>
                  <a:close/>
                  <a:moveTo>
                    <a:pt x="208" y="1018"/>
                  </a:moveTo>
                  <a:lnTo>
                    <a:pt x="207" y="1018"/>
                  </a:lnTo>
                  <a:lnTo>
                    <a:pt x="208" y="1018"/>
                  </a:lnTo>
                  <a:close/>
                  <a:moveTo>
                    <a:pt x="243" y="1492"/>
                  </a:moveTo>
                  <a:lnTo>
                    <a:pt x="243" y="1490"/>
                  </a:lnTo>
                  <a:lnTo>
                    <a:pt x="243" y="1492"/>
                  </a:lnTo>
                  <a:close/>
                  <a:moveTo>
                    <a:pt x="246" y="1449"/>
                  </a:moveTo>
                  <a:lnTo>
                    <a:pt x="246" y="1448"/>
                  </a:lnTo>
                  <a:lnTo>
                    <a:pt x="246" y="1449"/>
                  </a:lnTo>
                  <a:close/>
                  <a:moveTo>
                    <a:pt x="555" y="1404"/>
                  </a:moveTo>
                  <a:lnTo>
                    <a:pt x="557" y="1404"/>
                  </a:lnTo>
                  <a:lnTo>
                    <a:pt x="555" y="1404"/>
                  </a:lnTo>
                  <a:close/>
                  <a:moveTo>
                    <a:pt x="270" y="607"/>
                  </a:moveTo>
                  <a:lnTo>
                    <a:pt x="269" y="607"/>
                  </a:lnTo>
                  <a:lnTo>
                    <a:pt x="270" y="607"/>
                  </a:lnTo>
                  <a:close/>
                  <a:moveTo>
                    <a:pt x="267" y="1477"/>
                  </a:moveTo>
                  <a:lnTo>
                    <a:pt x="269" y="1477"/>
                  </a:lnTo>
                  <a:lnTo>
                    <a:pt x="267" y="1477"/>
                  </a:lnTo>
                  <a:close/>
                  <a:moveTo>
                    <a:pt x="656" y="1355"/>
                  </a:moveTo>
                  <a:lnTo>
                    <a:pt x="656" y="1353"/>
                  </a:lnTo>
                  <a:lnTo>
                    <a:pt x="657" y="1355"/>
                  </a:lnTo>
                  <a:lnTo>
                    <a:pt x="656" y="1355"/>
                  </a:lnTo>
                  <a:close/>
                  <a:moveTo>
                    <a:pt x="163" y="1069"/>
                  </a:moveTo>
                  <a:lnTo>
                    <a:pt x="163" y="1070"/>
                  </a:lnTo>
                  <a:lnTo>
                    <a:pt x="163" y="1069"/>
                  </a:lnTo>
                  <a:close/>
                  <a:moveTo>
                    <a:pt x="654" y="1342"/>
                  </a:moveTo>
                  <a:lnTo>
                    <a:pt x="654" y="1340"/>
                  </a:lnTo>
                  <a:lnTo>
                    <a:pt x="654" y="1342"/>
                  </a:lnTo>
                  <a:close/>
                  <a:moveTo>
                    <a:pt x="243" y="1313"/>
                  </a:moveTo>
                  <a:lnTo>
                    <a:pt x="243" y="1314"/>
                  </a:lnTo>
                  <a:lnTo>
                    <a:pt x="243" y="1313"/>
                  </a:lnTo>
                  <a:close/>
                  <a:moveTo>
                    <a:pt x="257" y="1475"/>
                  </a:moveTo>
                  <a:lnTo>
                    <a:pt x="259" y="1475"/>
                  </a:lnTo>
                  <a:lnTo>
                    <a:pt x="257" y="1475"/>
                  </a:lnTo>
                  <a:close/>
                  <a:moveTo>
                    <a:pt x="270" y="1472"/>
                  </a:moveTo>
                  <a:lnTo>
                    <a:pt x="272" y="1472"/>
                  </a:lnTo>
                  <a:lnTo>
                    <a:pt x="270" y="1472"/>
                  </a:lnTo>
                  <a:close/>
                  <a:moveTo>
                    <a:pt x="135" y="1458"/>
                  </a:moveTo>
                  <a:lnTo>
                    <a:pt x="135" y="1456"/>
                  </a:lnTo>
                  <a:lnTo>
                    <a:pt x="135" y="1458"/>
                  </a:lnTo>
                  <a:close/>
                  <a:moveTo>
                    <a:pt x="199" y="1488"/>
                  </a:moveTo>
                  <a:lnTo>
                    <a:pt x="200" y="1488"/>
                  </a:lnTo>
                  <a:lnTo>
                    <a:pt x="199" y="1488"/>
                  </a:lnTo>
                  <a:close/>
                  <a:moveTo>
                    <a:pt x="223" y="1428"/>
                  </a:moveTo>
                  <a:lnTo>
                    <a:pt x="225" y="1428"/>
                  </a:lnTo>
                  <a:lnTo>
                    <a:pt x="223" y="1428"/>
                  </a:lnTo>
                  <a:close/>
                  <a:moveTo>
                    <a:pt x="228" y="1436"/>
                  </a:moveTo>
                  <a:lnTo>
                    <a:pt x="228" y="1438"/>
                  </a:lnTo>
                  <a:lnTo>
                    <a:pt x="228" y="1436"/>
                  </a:lnTo>
                  <a:close/>
                  <a:moveTo>
                    <a:pt x="337" y="674"/>
                  </a:moveTo>
                  <a:lnTo>
                    <a:pt x="337" y="675"/>
                  </a:lnTo>
                  <a:lnTo>
                    <a:pt x="337" y="674"/>
                  </a:lnTo>
                  <a:close/>
                  <a:moveTo>
                    <a:pt x="117" y="1485"/>
                  </a:moveTo>
                  <a:lnTo>
                    <a:pt x="119" y="1485"/>
                  </a:lnTo>
                  <a:lnTo>
                    <a:pt x="117" y="1485"/>
                  </a:lnTo>
                  <a:close/>
                  <a:moveTo>
                    <a:pt x="256" y="1475"/>
                  </a:moveTo>
                  <a:lnTo>
                    <a:pt x="257" y="1475"/>
                  </a:lnTo>
                  <a:lnTo>
                    <a:pt x="256" y="1475"/>
                  </a:lnTo>
                  <a:close/>
                  <a:moveTo>
                    <a:pt x="570" y="1397"/>
                  </a:moveTo>
                  <a:lnTo>
                    <a:pt x="571" y="1399"/>
                  </a:lnTo>
                  <a:lnTo>
                    <a:pt x="570" y="1399"/>
                  </a:lnTo>
                  <a:lnTo>
                    <a:pt x="570" y="1397"/>
                  </a:lnTo>
                  <a:close/>
                  <a:moveTo>
                    <a:pt x="259" y="1407"/>
                  </a:moveTo>
                  <a:lnTo>
                    <a:pt x="261" y="1409"/>
                  </a:lnTo>
                  <a:lnTo>
                    <a:pt x="259" y="1409"/>
                  </a:lnTo>
                  <a:lnTo>
                    <a:pt x="259" y="1407"/>
                  </a:lnTo>
                  <a:close/>
                  <a:moveTo>
                    <a:pt x="244" y="1407"/>
                  </a:moveTo>
                  <a:lnTo>
                    <a:pt x="246" y="1407"/>
                  </a:lnTo>
                  <a:lnTo>
                    <a:pt x="244" y="1407"/>
                  </a:lnTo>
                  <a:close/>
                  <a:moveTo>
                    <a:pt x="195" y="1459"/>
                  </a:moveTo>
                  <a:lnTo>
                    <a:pt x="195" y="1461"/>
                  </a:lnTo>
                  <a:lnTo>
                    <a:pt x="195" y="1459"/>
                  </a:lnTo>
                  <a:close/>
                  <a:moveTo>
                    <a:pt x="550" y="1414"/>
                  </a:moveTo>
                  <a:lnTo>
                    <a:pt x="552" y="1414"/>
                  </a:lnTo>
                  <a:lnTo>
                    <a:pt x="550" y="1414"/>
                  </a:lnTo>
                  <a:close/>
                  <a:moveTo>
                    <a:pt x="226" y="1466"/>
                  </a:moveTo>
                  <a:lnTo>
                    <a:pt x="228" y="1466"/>
                  </a:lnTo>
                  <a:lnTo>
                    <a:pt x="226" y="1466"/>
                  </a:lnTo>
                  <a:close/>
                  <a:moveTo>
                    <a:pt x="225" y="1230"/>
                  </a:moveTo>
                  <a:lnTo>
                    <a:pt x="225" y="1231"/>
                  </a:lnTo>
                  <a:lnTo>
                    <a:pt x="223" y="1230"/>
                  </a:lnTo>
                  <a:lnTo>
                    <a:pt x="225" y="1230"/>
                  </a:lnTo>
                  <a:close/>
                  <a:moveTo>
                    <a:pt x="355" y="1514"/>
                  </a:moveTo>
                  <a:lnTo>
                    <a:pt x="355" y="1513"/>
                  </a:lnTo>
                  <a:lnTo>
                    <a:pt x="355" y="1514"/>
                  </a:lnTo>
                  <a:close/>
                  <a:moveTo>
                    <a:pt x="313" y="1471"/>
                  </a:moveTo>
                  <a:lnTo>
                    <a:pt x="314" y="1471"/>
                  </a:lnTo>
                  <a:lnTo>
                    <a:pt x="313" y="1471"/>
                  </a:lnTo>
                  <a:close/>
                  <a:moveTo>
                    <a:pt x="345" y="787"/>
                  </a:moveTo>
                  <a:lnTo>
                    <a:pt x="343" y="787"/>
                  </a:lnTo>
                  <a:lnTo>
                    <a:pt x="345" y="787"/>
                  </a:lnTo>
                  <a:close/>
                  <a:moveTo>
                    <a:pt x="243" y="1316"/>
                  </a:moveTo>
                  <a:lnTo>
                    <a:pt x="244" y="1316"/>
                  </a:lnTo>
                  <a:lnTo>
                    <a:pt x="243" y="1316"/>
                  </a:lnTo>
                  <a:close/>
                  <a:moveTo>
                    <a:pt x="612" y="1370"/>
                  </a:moveTo>
                  <a:lnTo>
                    <a:pt x="613" y="1370"/>
                  </a:lnTo>
                  <a:lnTo>
                    <a:pt x="612" y="1370"/>
                  </a:lnTo>
                  <a:close/>
                  <a:moveTo>
                    <a:pt x="252" y="1456"/>
                  </a:moveTo>
                  <a:lnTo>
                    <a:pt x="254" y="1456"/>
                  </a:lnTo>
                  <a:lnTo>
                    <a:pt x="252" y="1456"/>
                  </a:lnTo>
                  <a:close/>
                  <a:moveTo>
                    <a:pt x="205" y="1427"/>
                  </a:moveTo>
                  <a:lnTo>
                    <a:pt x="205" y="1428"/>
                  </a:lnTo>
                  <a:lnTo>
                    <a:pt x="205" y="1427"/>
                  </a:lnTo>
                  <a:close/>
                  <a:moveTo>
                    <a:pt x="226" y="1453"/>
                  </a:moveTo>
                  <a:lnTo>
                    <a:pt x="226" y="1454"/>
                  </a:lnTo>
                  <a:lnTo>
                    <a:pt x="226" y="1453"/>
                  </a:lnTo>
                  <a:close/>
                  <a:moveTo>
                    <a:pt x="382" y="732"/>
                  </a:moveTo>
                  <a:lnTo>
                    <a:pt x="384" y="732"/>
                  </a:lnTo>
                  <a:lnTo>
                    <a:pt x="382" y="732"/>
                  </a:lnTo>
                  <a:close/>
                  <a:moveTo>
                    <a:pt x="176" y="1440"/>
                  </a:moveTo>
                  <a:lnTo>
                    <a:pt x="178" y="1440"/>
                  </a:lnTo>
                  <a:lnTo>
                    <a:pt x="176" y="1440"/>
                  </a:lnTo>
                  <a:close/>
                  <a:moveTo>
                    <a:pt x="243" y="1329"/>
                  </a:moveTo>
                  <a:lnTo>
                    <a:pt x="244" y="1329"/>
                  </a:lnTo>
                  <a:lnTo>
                    <a:pt x="243" y="1329"/>
                  </a:lnTo>
                  <a:close/>
                  <a:moveTo>
                    <a:pt x="303" y="1500"/>
                  </a:moveTo>
                  <a:lnTo>
                    <a:pt x="303" y="1498"/>
                  </a:lnTo>
                  <a:lnTo>
                    <a:pt x="303" y="1500"/>
                  </a:lnTo>
                  <a:close/>
                  <a:moveTo>
                    <a:pt x="212" y="1441"/>
                  </a:moveTo>
                  <a:lnTo>
                    <a:pt x="212" y="1440"/>
                  </a:lnTo>
                  <a:lnTo>
                    <a:pt x="212" y="1441"/>
                  </a:lnTo>
                  <a:close/>
                  <a:moveTo>
                    <a:pt x="169" y="1018"/>
                  </a:moveTo>
                  <a:lnTo>
                    <a:pt x="171" y="1018"/>
                  </a:lnTo>
                  <a:lnTo>
                    <a:pt x="169" y="1018"/>
                  </a:lnTo>
                  <a:close/>
                  <a:moveTo>
                    <a:pt x="391" y="735"/>
                  </a:moveTo>
                  <a:lnTo>
                    <a:pt x="389" y="735"/>
                  </a:lnTo>
                  <a:lnTo>
                    <a:pt x="391" y="735"/>
                  </a:lnTo>
                  <a:close/>
                  <a:moveTo>
                    <a:pt x="278" y="1488"/>
                  </a:moveTo>
                  <a:lnTo>
                    <a:pt x="280" y="1488"/>
                  </a:lnTo>
                  <a:lnTo>
                    <a:pt x="278" y="1488"/>
                  </a:lnTo>
                  <a:close/>
                  <a:moveTo>
                    <a:pt x="225" y="1471"/>
                  </a:moveTo>
                  <a:lnTo>
                    <a:pt x="225" y="1472"/>
                  </a:lnTo>
                  <a:lnTo>
                    <a:pt x="225" y="1471"/>
                  </a:lnTo>
                  <a:close/>
                  <a:moveTo>
                    <a:pt x="189" y="1449"/>
                  </a:moveTo>
                  <a:lnTo>
                    <a:pt x="187" y="1449"/>
                  </a:lnTo>
                  <a:lnTo>
                    <a:pt x="189" y="1449"/>
                  </a:lnTo>
                  <a:close/>
                  <a:moveTo>
                    <a:pt x="326" y="1467"/>
                  </a:moveTo>
                  <a:lnTo>
                    <a:pt x="327" y="1467"/>
                  </a:lnTo>
                  <a:lnTo>
                    <a:pt x="326" y="1467"/>
                  </a:lnTo>
                  <a:close/>
                  <a:moveTo>
                    <a:pt x="261" y="949"/>
                  </a:moveTo>
                  <a:lnTo>
                    <a:pt x="261" y="950"/>
                  </a:lnTo>
                  <a:lnTo>
                    <a:pt x="261" y="949"/>
                  </a:lnTo>
                  <a:close/>
                  <a:moveTo>
                    <a:pt x="234" y="1010"/>
                  </a:moveTo>
                  <a:lnTo>
                    <a:pt x="234" y="1012"/>
                  </a:lnTo>
                  <a:lnTo>
                    <a:pt x="234" y="1010"/>
                  </a:lnTo>
                  <a:close/>
                  <a:moveTo>
                    <a:pt x="319" y="1453"/>
                  </a:moveTo>
                  <a:lnTo>
                    <a:pt x="319" y="1451"/>
                  </a:lnTo>
                  <a:lnTo>
                    <a:pt x="319" y="1453"/>
                  </a:lnTo>
                  <a:close/>
                  <a:moveTo>
                    <a:pt x="165" y="1010"/>
                  </a:moveTo>
                  <a:lnTo>
                    <a:pt x="166" y="1010"/>
                  </a:lnTo>
                  <a:lnTo>
                    <a:pt x="165" y="1010"/>
                  </a:lnTo>
                  <a:close/>
                  <a:moveTo>
                    <a:pt x="287" y="1409"/>
                  </a:moveTo>
                  <a:lnTo>
                    <a:pt x="288" y="1409"/>
                  </a:lnTo>
                  <a:lnTo>
                    <a:pt x="287" y="1409"/>
                  </a:lnTo>
                  <a:close/>
                  <a:moveTo>
                    <a:pt x="275" y="1423"/>
                  </a:moveTo>
                  <a:lnTo>
                    <a:pt x="275" y="1425"/>
                  </a:lnTo>
                  <a:lnTo>
                    <a:pt x="275" y="1423"/>
                  </a:lnTo>
                  <a:close/>
                  <a:moveTo>
                    <a:pt x="233" y="1422"/>
                  </a:moveTo>
                  <a:lnTo>
                    <a:pt x="234" y="1422"/>
                  </a:lnTo>
                  <a:lnTo>
                    <a:pt x="233" y="1422"/>
                  </a:lnTo>
                  <a:close/>
                  <a:moveTo>
                    <a:pt x="205" y="1464"/>
                  </a:moveTo>
                  <a:lnTo>
                    <a:pt x="205" y="1466"/>
                  </a:lnTo>
                  <a:lnTo>
                    <a:pt x="205" y="1464"/>
                  </a:lnTo>
                  <a:close/>
                  <a:moveTo>
                    <a:pt x="670" y="1368"/>
                  </a:moveTo>
                  <a:lnTo>
                    <a:pt x="670" y="1366"/>
                  </a:lnTo>
                  <a:lnTo>
                    <a:pt x="670" y="1368"/>
                  </a:lnTo>
                  <a:close/>
                  <a:moveTo>
                    <a:pt x="199" y="1040"/>
                  </a:moveTo>
                  <a:lnTo>
                    <a:pt x="199" y="1038"/>
                  </a:lnTo>
                  <a:lnTo>
                    <a:pt x="199" y="1040"/>
                  </a:lnTo>
                  <a:close/>
                  <a:moveTo>
                    <a:pt x="231" y="1433"/>
                  </a:moveTo>
                  <a:lnTo>
                    <a:pt x="231" y="1435"/>
                  </a:lnTo>
                  <a:lnTo>
                    <a:pt x="231" y="1433"/>
                  </a:lnTo>
                  <a:close/>
                  <a:moveTo>
                    <a:pt x="288" y="1451"/>
                  </a:moveTo>
                  <a:lnTo>
                    <a:pt x="290" y="1451"/>
                  </a:lnTo>
                  <a:lnTo>
                    <a:pt x="288" y="1451"/>
                  </a:lnTo>
                  <a:close/>
                  <a:moveTo>
                    <a:pt x="587" y="1397"/>
                  </a:moveTo>
                  <a:lnTo>
                    <a:pt x="589" y="1396"/>
                  </a:lnTo>
                  <a:lnTo>
                    <a:pt x="589" y="1397"/>
                  </a:lnTo>
                  <a:lnTo>
                    <a:pt x="587" y="1397"/>
                  </a:lnTo>
                  <a:close/>
                  <a:moveTo>
                    <a:pt x="298" y="656"/>
                  </a:moveTo>
                  <a:lnTo>
                    <a:pt x="296" y="656"/>
                  </a:lnTo>
                  <a:lnTo>
                    <a:pt x="298" y="656"/>
                  </a:lnTo>
                  <a:close/>
                  <a:moveTo>
                    <a:pt x="269" y="1456"/>
                  </a:moveTo>
                  <a:lnTo>
                    <a:pt x="270" y="1456"/>
                  </a:lnTo>
                  <a:lnTo>
                    <a:pt x="269" y="1456"/>
                  </a:lnTo>
                  <a:close/>
                  <a:moveTo>
                    <a:pt x="230" y="1436"/>
                  </a:moveTo>
                  <a:lnTo>
                    <a:pt x="231" y="1438"/>
                  </a:lnTo>
                  <a:lnTo>
                    <a:pt x="230" y="1438"/>
                  </a:lnTo>
                  <a:lnTo>
                    <a:pt x="230" y="1436"/>
                  </a:lnTo>
                  <a:close/>
                  <a:moveTo>
                    <a:pt x="256" y="1417"/>
                  </a:moveTo>
                  <a:lnTo>
                    <a:pt x="256" y="1415"/>
                  </a:lnTo>
                  <a:lnTo>
                    <a:pt x="256" y="1417"/>
                  </a:lnTo>
                  <a:close/>
                  <a:moveTo>
                    <a:pt x="226" y="1497"/>
                  </a:moveTo>
                  <a:lnTo>
                    <a:pt x="226" y="1495"/>
                  </a:lnTo>
                  <a:lnTo>
                    <a:pt x="226" y="1497"/>
                  </a:lnTo>
                  <a:close/>
                  <a:moveTo>
                    <a:pt x="156" y="1497"/>
                  </a:moveTo>
                  <a:lnTo>
                    <a:pt x="156" y="1495"/>
                  </a:lnTo>
                  <a:lnTo>
                    <a:pt x="156" y="1497"/>
                  </a:lnTo>
                  <a:close/>
                  <a:moveTo>
                    <a:pt x="212" y="1192"/>
                  </a:moveTo>
                  <a:lnTo>
                    <a:pt x="213" y="1192"/>
                  </a:lnTo>
                  <a:lnTo>
                    <a:pt x="212" y="1192"/>
                  </a:lnTo>
                  <a:close/>
                  <a:moveTo>
                    <a:pt x="191" y="1123"/>
                  </a:moveTo>
                  <a:lnTo>
                    <a:pt x="191" y="1124"/>
                  </a:lnTo>
                  <a:lnTo>
                    <a:pt x="191" y="1123"/>
                  </a:lnTo>
                  <a:close/>
                  <a:moveTo>
                    <a:pt x="348" y="666"/>
                  </a:moveTo>
                  <a:lnTo>
                    <a:pt x="350" y="666"/>
                  </a:lnTo>
                  <a:lnTo>
                    <a:pt x="348" y="666"/>
                  </a:lnTo>
                  <a:close/>
                  <a:moveTo>
                    <a:pt x="304" y="1471"/>
                  </a:moveTo>
                  <a:lnTo>
                    <a:pt x="306" y="1471"/>
                  </a:lnTo>
                  <a:lnTo>
                    <a:pt x="306" y="1472"/>
                  </a:lnTo>
                  <a:lnTo>
                    <a:pt x="304" y="1471"/>
                  </a:lnTo>
                  <a:close/>
                  <a:moveTo>
                    <a:pt x="207" y="1031"/>
                  </a:moveTo>
                  <a:lnTo>
                    <a:pt x="208" y="1031"/>
                  </a:lnTo>
                  <a:lnTo>
                    <a:pt x="207" y="1031"/>
                  </a:lnTo>
                  <a:close/>
                  <a:moveTo>
                    <a:pt x="205" y="1500"/>
                  </a:moveTo>
                  <a:lnTo>
                    <a:pt x="207" y="1500"/>
                  </a:lnTo>
                  <a:lnTo>
                    <a:pt x="205" y="1500"/>
                  </a:lnTo>
                  <a:close/>
                  <a:moveTo>
                    <a:pt x="249" y="1471"/>
                  </a:moveTo>
                  <a:lnTo>
                    <a:pt x="251" y="1471"/>
                  </a:lnTo>
                  <a:lnTo>
                    <a:pt x="249" y="1471"/>
                  </a:lnTo>
                  <a:close/>
                  <a:moveTo>
                    <a:pt x="213" y="1176"/>
                  </a:moveTo>
                  <a:lnTo>
                    <a:pt x="213" y="1175"/>
                  </a:lnTo>
                  <a:lnTo>
                    <a:pt x="213" y="1176"/>
                  </a:lnTo>
                  <a:close/>
                  <a:moveTo>
                    <a:pt x="277" y="931"/>
                  </a:moveTo>
                  <a:lnTo>
                    <a:pt x="277" y="929"/>
                  </a:lnTo>
                  <a:lnTo>
                    <a:pt x="277" y="931"/>
                  </a:lnTo>
                  <a:close/>
                  <a:moveTo>
                    <a:pt x="586" y="1371"/>
                  </a:moveTo>
                  <a:lnTo>
                    <a:pt x="584" y="1371"/>
                  </a:lnTo>
                  <a:lnTo>
                    <a:pt x="586" y="1371"/>
                  </a:lnTo>
                  <a:close/>
                  <a:moveTo>
                    <a:pt x="552" y="1420"/>
                  </a:moveTo>
                  <a:lnTo>
                    <a:pt x="552" y="1422"/>
                  </a:lnTo>
                  <a:lnTo>
                    <a:pt x="552" y="1420"/>
                  </a:lnTo>
                  <a:close/>
                  <a:moveTo>
                    <a:pt x="698" y="1334"/>
                  </a:moveTo>
                  <a:lnTo>
                    <a:pt x="700" y="1334"/>
                  </a:lnTo>
                  <a:lnTo>
                    <a:pt x="698" y="1334"/>
                  </a:lnTo>
                  <a:close/>
                  <a:moveTo>
                    <a:pt x="189" y="1436"/>
                  </a:moveTo>
                  <a:lnTo>
                    <a:pt x="189" y="1438"/>
                  </a:lnTo>
                  <a:lnTo>
                    <a:pt x="189" y="1436"/>
                  </a:lnTo>
                  <a:close/>
                  <a:moveTo>
                    <a:pt x="202" y="1056"/>
                  </a:moveTo>
                  <a:lnTo>
                    <a:pt x="204" y="1056"/>
                  </a:lnTo>
                  <a:lnTo>
                    <a:pt x="202" y="1056"/>
                  </a:lnTo>
                  <a:close/>
                  <a:moveTo>
                    <a:pt x="217" y="1025"/>
                  </a:moveTo>
                  <a:lnTo>
                    <a:pt x="218" y="1025"/>
                  </a:lnTo>
                  <a:lnTo>
                    <a:pt x="217" y="1025"/>
                  </a:lnTo>
                  <a:close/>
                  <a:moveTo>
                    <a:pt x="324" y="1425"/>
                  </a:moveTo>
                  <a:lnTo>
                    <a:pt x="324" y="1427"/>
                  </a:lnTo>
                  <a:lnTo>
                    <a:pt x="324" y="1425"/>
                  </a:lnTo>
                  <a:close/>
                  <a:moveTo>
                    <a:pt x="306" y="1454"/>
                  </a:moveTo>
                  <a:lnTo>
                    <a:pt x="306" y="1456"/>
                  </a:lnTo>
                  <a:lnTo>
                    <a:pt x="306" y="1454"/>
                  </a:lnTo>
                  <a:close/>
                  <a:moveTo>
                    <a:pt x="269" y="952"/>
                  </a:moveTo>
                  <a:lnTo>
                    <a:pt x="269" y="953"/>
                  </a:lnTo>
                  <a:lnTo>
                    <a:pt x="269" y="952"/>
                  </a:lnTo>
                  <a:close/>
                  <a:moveTo>
                    <a:pt x="217" y="1472"/>
                  </a:moveTo>
                  <a:lnTo>
                    <a:pt x="217" y="1471"/>
                  </a:lnTo>
                  <a:lnTo>
                    <a:pt x="217" y="1472"/>
                  </a:lnTo>
                  <a:close/>
                  <a:moveTo>
                    <a:pt x="324" y="659"/>
                  </a:moveTo>
                  <a:lnTo>
                    <a:pt x="324" y="657"/>
                  </a:lnTo>
                  <a:lnTo>
                    <a:pt x="324" y="659"/>
                  </a:lnTo>
                  <a:close/>
                  <a:moveTo>
                    <a:pt x="225" y="1493"/>
                  </a:moveTo>
                  <a:lnTo>
                    <a:pt x="226" y="1493"/>
                  </a:lnTo>
                  <a:lnTo>
                    <a:pt x="225" y="1493"/>
                  </a:lnTo>
                  <a:close/>
                  <a:moveTo>
                    <a:pt x="269" y="1433"/>
                  </a:moveTo>
                  <a:lnTo>
                    <a:pt x="269" y="1435"/>
                  </a:lnTo>
                  <a:lnTo>
                    <a:pt x="269" y="1433"/>
                  </a:lnTo>
                  <a:close/>
                  <a:moveTo>
                    <a:pt x="213" y="1492"/>
                  </a:moveTo>
                  <a:lnTo>
                    <a:pt x="213" y="1490"/>
                  </a:lnTo>
                  <a:lnTo>
                    <a:pt x="213" y="1492"/>
                  </a:lnTo>
                  <a:close/>
                  <a:moveTo>
                    <a:pt x="617" y="1357"/>
                  </a:moveTo>
                  <a:lnTo>
                    <a:pt x="617" y="1355"/>
                  </a:lnTo>
                  <a:lnTo>
                    <a:pt x="617" y="1357"/>
                  </a:lnTo>
                  <a:close/>
                  <a:moveTo>
                    <a:pt x="150" y="1054"/>
                  </a:moveTo>
                  <a:lnTo>
                    <a:pt x="150" y="1056"/>
                  </a:lnTo>
                  <a:lnTo>
                    <a:pt x="150" y="1054"/>
                  </a:lnTo>
                  <a:close/>
                  <a:moveTo>
                    <a:pt x="238" y="1358"/>
                  </a:moveTo>
                  <a:lnTo>
                    <a:pt x="239" y="1358"/>
                  </a:lnTo>
                  <a:lnTo>
                    <a:pt x="238" y="1358"/>
                  </a:lnTo>
                  <a:close/>
                  <a:moveTo>
                    <a:pt x="256" y="1462"/>
                  </a:moveTo>
                  <a:lnTo>
                    <a:pt x="256" y="1464"/>
                  </a:lnTo>
                  <a:lnTo>
                    <a:pt x="256" y="1462"/>
                  </a:lnTo>
                  <a:close/>
                  <a:moveTo>
                    <a:pt x="532" y="1428"/>
                  </a:moveTo>
                  <a:lnTo>
                    <a:pt x="532" y="1427"/>
                  </a:lnTo>
                  <a:lnTo>
                    <a:pt x="532" y="1428"/>
                  </a:lnTo>
                  <a:close/>
                  <a:moveTo>
                    <a:pt x="246" y="966"/>
                  </a:moveTo>
                  <a:lnTo>
                    <a:pt x="246" y="965"/>
                  </a:lnTo>
                  <a:lnTo>
                    <a:pt x="246" y="966"/>
                  </a:lnTo>
                  <a:close/>
                  <a:moveTo>
                    <a:pt x="256" y="1453"/>
                  </a:moveTo>
                  <a:lnTo>
                    <a:pt x="256" y="1451"/>
                  </a:lnTo>
                  <a:lnTo>
                    <a:pt x="256" y="1453"/>
                  </a:lnTo>
                  <a:close/>
                  <a:moveTo>
                    <a:pt x="230" y="1433"/>
                  </a:moveTo>
                  <a:lnTo>
                    <a:pt x="230" y="1432"/>
                  </a:lnTo>
                  <a:lnTo>
                    <a:pt x="230" y="1433"/>
                  </a:lnTo>
                  <a:close/>
                  <a:moveTo>
                    <a:pt x="220" y="1472"/>
                  </a:moveTo>
                  <a:lnTo>
                    <a:pt x="218" y="1472"/>
                  </a:lnTo>
                  <a:lnTo>
                    <a:pt x="220" y="1472"/>
                  </a:lnTo>
                  <a:close/>
                  <a:moveTo>
                    <a:pt x="296" y="1415"/>
                  </a:moveTo>
                  <a:lnTo>
                    <a:pt x="298" y="1415"/>
                  </a:lnTo>
                  <a:lnTo>
                    <a:pt x="296" y="1415"/>
                  </a:lnTo>
                  <a:close/>
                  <a:moveTo>
                    <a:pt x="316" y="1471"/>
                  </a:moveTo>
                  <a:lnTo>
                    <a:pt x="317" y="1471"/>
                  </a:lnTo>
                  <a:lnTo>
                    <a:pt x="316" y="1471"/>
                  </a:lnTo>
                  <a:close/>
                  <a:moveTo>
                    <a:pt x="270" y="1415"/>
                  </a:moveTo>
                  <a:lnTo>
                    <a:pt x="269" y="1415"/>
                  </a:lnTo>
                  <a:lnTo>
                    <a:pt x="270" y="1415"/>
                  </a:lnTo>
                  <a:close/>
                  <a:moveTo>
                    <a:pt x="249" y="1445"/>
                  </a:moveTo>
                  <a:lnTo>
                    <a:pt x="251" y="1445"/>
                  </a:lnTo>
                  <a:lnTo>
                    <a:pt x="251" y="1446"/>
                  </a:lnTo>
                  <a:lnTo>
                    <a:pt x="249" y="1445"/>
                  </a:lnTo>
                  <a:close/>
                  <a:moveTo>
                    <a:pt x="308" y="869"/>
                  </a:moveTo>
                  <a:lnTo>
                    <a:pt x="308" y="867"/>
                  </a:lnTo>
                  <a:lnTo>
                    <a:pt x="308" y="869"/>
                  </a:lnTo>
                  <a:close/>
                  <a:moveTo>
                    <a:pt x="496" y="1438"/>
                  </a:moveTo>
                  <a:lnTo>
                    <a:pt x="498" y="1436"/>
                  </a:lnTo>
                  <a:lnTo>
                    <a:pt x="496" y="1438"/>
                  </a:lnTo>
                  <a:close/>
                  <a:moveTo>
                    <a:pt x="309" y="1448"/>
                  </a:moveTo>
                  <a:lnTo>
                    <a:pt x="311" y="1448"/>
                  </a:lnTo>
                  <a:lnTo>
                    <a:pt x="309" y="1448"/>
                  </a:lnTo>
                  <a:close/>
                  <a:moveTo>
                    <a:pt x="560" y="1388"/>
                  </a:moveTo>
                  <a:lnTo>
                    <a:pt x="560" y="1389"/>
                  </a:lnTo>
                  <a:lnTo>
                    <a:pt x="560" y="1388"/>
                  </a:lnTo>
                  <a:close/>
                  <a:moveTo>
                    <a:pt x="192" y="1131"/>
                  </a:moveTo>
                  <a:lnTo>
                    <a:pt x="192" y="1132"/>
                  </a:lnTo>
                  <a:lnTo>
                    <a:pt x="192" y="1131"/>
                  </a:lnTo>
                  <a:close/>
                  <a:moveTo>
                    <a:pt x="257" y="1449"/>
                  </a:moveTo>
                  <a:lnTo>
                    <a:pt x="259" y="1449"/>
                  </a:lnTo>
                  <a:lnTo>
                    <a:pt x="257" y="1449"/>
                  </a:lnTo>
                  <a:close/>
                  <a:moveTo>
                    <a:pt x="270" y="1469"/>
                  </a:moveTo>
                  <a:lnTo>
                    <a:pt x="270" y="1467"/>
                  </a:lnTo>
                  <a:lnTo>
                    <a:pt x="270" y="1469"/>
                  </a:lnTo>
                  <a:close/>
                  <a:moveTo>
                    <a:pt x="301" y="1501"/>
                  </a:moveTo>
                  <a:lnTo>
                    <a:pt x="303" y="1501"/>
                  </a:lnTo>
                  <a:lnTo>
                    <a:pt x="301" y="1501"/>
                  </a:lnTo>
                  <a:close/>
                  <a:moveTo>
                    <a:pt x="247" y="1298"/>
                  </a:moveTo>
                  <a:lnTo>
                    <a:pt x="247" y="1300"/>
                  </a:lnTo>
                  <a:lnTo>
                    <a:pt x="247" y="1298"/>
                  </a:lnTo>
                  <a:close/>
                  <a:moveTo>
                    <a:pt x="584" y="1380"/>
                  </a:moveTo>
                  <a:lnTo>
                    <a:pt x="586" y="1380"/>
                  </a:lnTo>
                  <a:lnTo>
                    <a:pt x="584" y="1380"/>
                  </a:lnTo>
                  <a:close/>
                  <a:moveTo>
                    <a:pt x="288" y="1456"/>
                  </a:moveTo>
                  <a:lnTo>
                    <a:pt x="288" y="1454"/>
                  </a:lnTo>
                  <a:lnTo>
                    <a:pt x="288" y="1456"/>
                  </a:lnTo>
                  <a:close/>
                  <a:moveTo>
                    <a:pt x="264" y="921"/>
                  </a:moveTo>
                  <a:lnTo>
                    <a:pt x="265" y="921"/>
                  </a:lnTo>
                  <a:lnTo>
                    <a:pt x="264" y="921"/>
                  </a:lnTo>
                  <a:close/>
                  <a:moveTo>
                    <a:pt x="202" y="1015"/>
                  </a:moveTo>
                  <a:lnTo>
                    <a:pt x="202" y="1017"/>
                  </a:lnTo>
                  <a:lnTo>
                    <a:pt x="202" y="1015"/>
                  </a:lnTo>
                  <a:close/>
                  <a:moveTo>
                    <a:pt x="239" y="1012"/>
                  </a:moveTo>
                  <a:lnTo>
                    <a:pt x="239" y="1010"/>
                  </a:lnTo>
                  <a:lnTo>
                    <a:pt x="239" y="1012"/>
                  </a:lnTo>
                  <a:close/>
                  <a:moveTo>
                    <a:pt x="277" y="1432"/>
                  </a:moveTo>
                  <a:lnTo>
                    <a:pt x="277" y="1433"/>
                  </a:lnTo>
                  <a:lnTo>
                    <a:pt x="277" y="1432"/>
                  </a:lnTo>
                  <a:close/>
                  <a:moveTo>
                    <a:pt x="550" y="1409"/>
                  </a:moveTo>
                  <a:lnTo>
                    <a:pt x="550" y="1407"/>
                  </a:lnTo>
                  <a:lnTo>
                    <a:pt x="550" y="1409"/>
                  </a:lnTo>
                  <a:close/>
                  <a:moveTo>
                    <a:pt x="329" y="1466"/>
                  </a:moveTo>
                  <a:lnTo>
                    <a:pt x="329" y="1464"/>
                  </a:lnTo>
                  <a:lnTo>
                    <a:pt x="329" y="1466"/>
                  </a:lnTo>
                  <a:close/>
                  <a:moveTo>
                    <a:pt x="230" y="1440"/>
                  </a:moveTo>
                  <a:lnTo>
                    <a:pt x="230" y="1441"/>
                  </a:lnTo>
                  <a:lnTo>
                    <a:pt x="230" y="1440"/>
                  </a:lnTo>
                  <a:close/>
                  <a:moveTo>
                    <a:pt x="687" y="1350"/>
                  </a:moveTo>
                  <a:lnTo>
                    <a:pt x="688" y="1350"/>
                  </a:lnTo>
                  <a:lnTo>
                    <a:pt x="687" y="1350"/>
                  </a:lnTo>
                  <a:close/>
                  <a:moveTo>
                    <a:pt x="213" y="1027"/>
                  </a:moveTo>
                  <a:lnTo>
                    <a:pt x="215" y="1027"/>
                  </a:lnTo>
                  <a:lnTo>
                    <a:pt x="213" y="1027"/>
                  </a:lnTo>
                  <a:lnTo>
                    <a:pt x="215" y="1027"/>
                  </a:lnTo>
                  <a:lnTo>
                    <a:pt x="213" y="1027"/>
                  </a:lnTo>
                  <a:close/>
                  <a:moveTo>
                    <a:pt x="210" y="1005"/>
                  </a:moveTo>
                  <a:lnTo>
                    <a:pt x="210" y="1004"/>
                  </a:lnTo>
                  <a:lnTo>
                    <a:pt x="210" y="1005"/>
                  </a:lnTo>
                  <a:close/>
                  <a:moveTo>
                    <a:pt x="220" y="1497"/>
                  </a:moveTo>
                  <a:lnTo>
                    <a:pt x="220" y="1498"/>
                  </a:lnTo>
                  <a:lnTo>
                    <a:pt x="220" y="1497"/>
                  </a:lnTo>
                  <a:close/>
                  <a:moveTo>
                    <a:pt x="508" y="1428"/>
                  </a:moveTo>
                  <a:lnTo>
                    <a:pt x="508" y="1427"/>
                  </a:lnTo>
                  <a:lnTo>
                    <a:pt x="508" y="1428"/>
                  </a:lnTo>
                  <a:close/>
                  <a:moveTo>
                    <a:pt x="238" y="1352"/>
                  </a:moveTo>
                  <a:lnTo>
                    <a:pt x="238" y="1350"/>
                  </a:lnTo>
                  <a:lnTo>
                    <a:pt x="239" y="1352"/>
                  </a:lnTo>
                  <a:lnTo>
                    <a:pt x="238" y="1352"/>
                  </a:lnTo>
                  <a:close/>
                  <a:moveTo>
                    <a:pt x="309" y="1484"/>
                  </a:moveTo>
                  <a:lnTo>
                    <a:pt x="308" y="1484"/>
                  </a:lnTo>
                  <a:lnTo>
                    <a:pt x="309" y="1484"/>
                  </a:lnTo>
                  <a:close/>
                  <a:moveTo>
                    <a:pt x="249" y="1415"/>
                  </a:moveTo>
                  <a:lnTo>
                    <a:pt x="249" y="1417"/>
                  </a:lnTo>
                  <a:lnTo>
                    <a:pt x="249" y="1415"/>
                  </a:lnTo>
                  <a:close/>
                  <a:moveTo>
                    <a:pt x="290" y="1485"/>
                  </a:moveTo>
                  <a:lnTo>
                    <a:pt x="291" y="1485"/>
                  </a:lnTo>
                  <a:lnTo>
                    <a:pt x="290" y="1485"/>
                  </a:lnTo>
                  <a:close/>
                  <a:moveTo>
                    <a:pt x="537" y="1404"/>
                  </a:moveTo>
                  <a:lnTo>
                    <a:pt x="539" y="1404"/>
                  </a:lnTo>
                  <a:lnTo>
                    <a:pt x="537" y="1404"/>
                  </a:lnTo>
                  <a:close/>
                  <a:moveTo>
                    <a:pt x="303" y="1448"/>
                  </a:moveTo>
                  <a:lnTo>
                    <a:pt x="304" y="1448"/>
                  </a:lnTo>
                  <a:lnTo>
                    <a:pt x="303" y="1448"/>
                  </a:lnTo>
                  <a:close/>
                  <a:moveTo>
                    <a:pt x="498" y="1438"/>
                  </a:moveTo>
                  <a:lnTo>
                    <a:pt x="498" y="1436"/>
                  </a:lnTo>
                  <a:lnTo>
                    <a:pt x="498" y="1438"/>
                  </a:lnTo>
                  <a:close/>
                  <a:moveTo>
                    <a:pt x="199" y="1014"/>
                  </a:moveTo>
                  <a:lnTo>
                    <a:pt x="199" y="1015"/>
                  </a:lnTo>
                  <a:lnTo>
                    <a:pt x="199" y="1014"/>
                  </a:lnTo>
                  <a:close/>
                  <a:moveTo>
                    <a:pt x="200" y="1010"/>
                  </a:moveTo>
                  <a:lnTo>
                    <a:pt x="200" y="1012"/>
                  </a:lnTo>
                  <a:lnTo>
                    <a:pt x="200" y="1010"/>
                  </a:lnTo>
                  <a:close/>
                  <a:moveTo>
                    <a:pt x="254" y="953"/>
                  </a:moveTo>
                  <a:lnTo>
                    <a:pt x="254" y="955"/>
                  </a:lnTo>
                  <a:lnTo>
                    <a:pt x="254" y="953"/>
                  </a:lnTo>
                  <a:close/>
                  <a:moveTo>
                    <a:pt x="195" y="1040"/>
                  </a:moveTo>
                  <a:lnTo>
                    <a:pt x="197" y="1040"/>
                  </a:lnTo>
                  <a:lnTo>
                    <a:pt x="195" y="1040"/>
                  </a:lnTo>
                  <a:close/>
                  <a:moveTo>
                    <a:pt x="238" y="1012"/>
                  </a:moveTo>
                  <a:lnTo>
                    <a:pt x="239" y="1012"/>
                  </a:lnTo>
                  <a:lnTo>
                    <a:pt x="238" y="1012"/>
                  </a:lnTo>
                  <a:close/>
                  <a:moveTo>
                    <a:pt x="205" y="1170"/>
                  </a:moveTo>
                  <a:lnTo>
                    <a:pt x="205" y="1168"/>
                  </a:lnTo>
                  <a:lnTo>
                    <a:pt x="205" y="1170"/>
                  </a:lnTo>
                  <a:close/>
                  <a:moveTo>
                    <a:pt x="589" y="1394"/>
                  </a:moveTo>
                  <a:lnTo>
                    <a:pt x="591" y="1394"/>
                  </a:lnTo>
                  <a:lnTo>
                    <a:pt x="589" y="1394"/>
                  </a:lnTo>
                  <a:close/>
                  <a:moveTo>
                    <a:pt x="191" y="1493"/>
                  </a:moveTo>
                  <a:lnTo>
                    <a:pt x="191" y="1492"/>
                  </a:lnTo>
                  <a:lnTo>
                    <a:pt x="191" y="1493"/>
                  </a:lnTo>
                  <a:close/>
                  <a:moveTo>
                    <a:pt x="221" y="1406"/>
                  </a:moveTo>
                  <a:lnTo>
                    <a:pt x="223" y="1407"/>
                  </a:lnTo>
                  <a:lnTo>
                    <a:pt x="221" y="1407"/>
                  </a:lnTo>
                  <a:lnTo>
                    <a:pt x="221" y="1406"/>
                  </a:lnTo>
                  <a:close/>
                  <a:moveTo>
                    <a:pt x="189" y="1129"/>
                  </a:moveTo>
                  <a:lnTo>
                    <a:pt x="189" y="1131"/>
                  </a:lnTo>
                  <a:lnTo>
                    <a:pt x="189" y="1129"/>
                  </a:lnTo>
                  <a:close/>
                  <a:moveTo>
                    <a:pt x="659" y="1340"/>
                  </a:moveTo>
                  <a:lnTo>
                    <a:pt x="661" y="1340"/>
                  </a:lnTo>
                  <a:lnTo>
                    <a:pt x="659" y="1340"/>
                  </a:lnTo>
                  <a:close/>
                  <a:moveTo>
                    <a:pt x="160" y="1501"/>
                  </a:moveTo>
                  <a:lnTo>
                    <a:pt x="161" y="1501"/>
                  </a:lnTo>
                  <a:lnTo>
                    <a:pt x="160" y="1501"/>
                  </a:lnTo>
                  <a:close/>
                  <a:moveTo>
                    <a:pt x="192" y="1495"/>
                  </a:moveTo>
                  <a:lnTo>
                    <a:pt x="192" y="1493"/>
                  </a:lnTo>
                  <a:lnTo>
                    <a:pt x="192" y="1495"/>
                  </a:lnTo>
                  <a:close/>
                  <a:moveTo>
                    <a:pt x="599" y="1368"/>
                  </a:moveTo>
                  <a:lnTo>
                    <a:pt x="599" y="1370"/>
                  </a:lnTo>
                  <a:lnTo>
                    <a:pt x="599" y="1368"/>
                  </a:lnTo>
                  <a:close/>
                  <a:moveTo>
                    <a:pt x="228" y="1435"/>
                  </a:moveTo>
                  <a:lnTo>
                    <a:pt x="228" y="1436"/>
                  </a:lnTo>
                  <a:lnTo>
                    <a:pt x="228" y="1435"/>
                  </a:lnTo>
                  <a:close/>
                  <a:moveTo>
                    <a:pt x="228" y="1453"/>
                  </a:moveTo>
                  <a:lnTo>
                    <a:pt x="230" y="1453"/>
                  </a:lnTo>
                  <a:lnTo>
                    <a:pt x="228" y="1453"/>
                  </a:lnTo>
                  <a:close/>
                  <a:moveTo>
                    <a:pt x="317" y="1477"/>
                  </a:moveTo>
                  <a:lnTo>
                    <a:pt x="317" y="1479"/>
                  </a:lnTo>
                  <a:lnTo>
                    <a:pt x="317" y="1477"/>
                  </a:lnTo>
                  <a:close/>
                  <a:moveTo>
                    <a:pt x="605" y="1380"/>
                  </a:moveTo>
                  <a:lnTo>
                    <a:pt x="607" y="1380"/>
                  </a:lnTo>
                  <a:lnTo>
                    <a:pt x="605" y="1380"/>
                  </a:lnTo>
                  <a:close/>
                  <a:moveTo>
                    <a:pt x="135" y="1487"/>
                  </a:moveTo>
                  <a:lnTo>
                    <a:pt x="135" y="1488"/>
                  </a:lnTo>
                  <a:lnTo>
                    <a:pt x="135" y="1487"/>
                  </a:lnTo>
                  <a:close/>
                  <a:moveTo>
                    <a:pt x="166" y="1451"/>
                  </a:moveTo>
                  <a:lnTo>
                    <a:pt x="166" y="1453"/>
                  </a:lnTo>
                  <a:lnTo>
                    <a:pt x="166" y="1451"/>
                  </a:lnTo>
                  <a:close/>
                  <a:moveTo>
                    <a:pt x="298" y="1433"/>
                  </a:moveTo>
                  <a:lnTo>
                    <a:pt x="300" y="1433"/>
                  </a:lnTo>
                  <a:lnTo>
                    <a:pt x="298" y="1433"/>
                  </a:lnTo>
                  <a:close/>
                  <a:moveTo>
                    <a:pt x="241" y="1256"/>
                  </a:moveTo>
                  <a:lnTo>
                    <a:pt x="243" y="1256"/>
                  </a:lnTo>
                  <a:lnTo>
                    <a:pt x="241" y="1256"/>
                  </a:lnTo>
                  <a:close/>
                  <a:moveTo>
                    <a:pt x="182" y="1043"/>
                  </a:moveTo>
                  <a:lnTo>
                    <a:pt x="181" y="1043"/>
                  </a:lnTo>
                  <a:lnTo>
                    <a:pt x="182" y="1043"/>
                  </a:lnTo>
                  <a:close/>
                  <a:moveTo>
                    <a:pt x="186" y="1456"/>
                  </a:moveTo>
                  <a:lnTo>
                    <a:pt x="186" y="1458"/>
                  </a:lnTo>
                  <a:lnTo>
                    <a:pt x="186" y="1456"/>
                  </a:lnTo>
                  <a:close/>
                  <a:moveTo>
                    <a:pt x="334" y="1487"/>
                  </a:moveTo>
                  <a:lnTo>
                    <a:pt x="335" y="1487"/>
                  </a:lnTo>
                  <a:lnTo>
                    <a:pt x="334" y="1487"/>
                  </a:lnTo>
                  <a:close/>
                  <a:moveTo>
                    <a:pt x="208" y="1490"/>
                  </a:moveTo>
                  <a:lnTo>
                    <a:pt x="210" y="1490"/>
                  </a:lnTo>
                  <a:lnTo>
                    <a:pt x="208" y="1490"/>
                  </a:lnTo>
                  <a:close/>
                  <a:moveTo>
                    <a:pt x="269" y="1482"/>
                  </a:moveTo>
                  <a:lnTo>
                    <a:pt x="269" y="1484"/>
                  </a:lnTo>
                  <a:lnTo>
                    <a:pt x="269" y="1482"/>
                  </a:lnTo>
                  <a:close/>
                  <a:moveTo>
                    <a:pt x="257" y="1432"/>
                  </a:moveTo>
                  <a:lnTo>
                    <a:pt x="257" y="1433"/>
                  </a:lnTo>
                  <a:lnTo>
                    <a:pt x="257" y="1432"/>
                  </a:lnTo>
                  <a:close/>
                  <a:moveTo>
                    <a:pt x="191" y="1046"/>
                  </a:moveTo>
                  <a:lnTo>
                    <a:pt x="192" y="1046"/>
                  </a:lnTo>
                  <a:lnTo>
                    <a:pt x="191" y="1046"/>
                  </a:lnTo>
                  <a:close/>
                  <a:moveTo>
                    <a:pt x="220" y="1432"/>
                  </a:moveTo>
                  <a:lnTo>
                    <a:pt x="220" y="1430"/>
                  </a:lnTo>
                  <a:lnTo>
                    <a:pt x="220" y="1432"/>
                  </a:lnTo>
                  <a:close/>
                  <a:moveTo>
                    <a:pt x="223" y="1228"/>
                  </a:moveTo>
                  <a:lnTo>
                    <a:pt x="223" y="1230"/>
                  </a:lnTo>
                  <a:lnTo>
                    <a:pt x="223" y="1228"/>
                  </a:lnTo>
                  <a:close/>
                  <a:moveTo>
                    <a:pt x="339" y="1474"/>
                  </a:moveTo>
                  <a:lnTo>
                    <a:pt x="339" y="1475"/>
                  </a:lnTo>
                  <a:lnTo>
                    <a:pt x="339" y="1474"/>
                  </a:lnTo>
                  <a:close/>
                  <a:moveTo>
                    <a:pt x="225" y="1415"/>
                  </a:moveTo>
                  <a:lnTo>
                    <a:pt x="225" y="1417"/>
                  </a:lnTo>
                  <a:lnTo>
                    <a:pt x="225" y="1415"/>
                  </a:lnTo>
                  <a:close/>
                  <a:moveTo>
                    <a:pt x="314" y="1425"/>
                  </a:moveTo>
                  <a:lnTo>
                    <a:pt x="314" y="1427"/>
                  </a:lnTo>
                  <a:lnTo>
                    <a:pt x="314" y="1425"/>
                  </a:lnTo>
                  <a:close/>
                  <a:moveTo>
                    <a:pt x="615" y="1365"/>
                  </a:moveTo>
                  <a:lnTo>
                    <a:pt x="617" y="1366"/>
                  </a:lnTo>
                  <a:lnTo>
                    <a:pt x="615" y="1366"/>
                  </a:lnTo>
                  <a:lnTo>
                    <a:pt x="615" y="1365"/>
                  </a:lnTo>
                  <a:close/>
                  <a:moveTo>
                    <a:pt x="636" y="1349"/>
                  </a:moveTo>
                  <a:lnTo>
                    <a:pt x="638" y="1349"/>
                  </a:lnTo>
                  <a:lnTo>
                    <a:pt x="636" y="1349"/>
                  </a:lnTo>
                  <a:close/>
                  <a:moveTo>
                    <a:pt x="205" y="1018"/>
                  </a:moveTo>
                  <a:lnTo>
                    <a:pt x="207" y="1018"/>
                  </a:lnTo>
                  <a:lnTo>
                    <a:pt x="205" y="1018"/>
                  </a:lnTo>
                  <a:close/>
                  <a:moveTo>
                    <a:pt x="236" y="1380"/>
                  </a:moveTo>
                  <a:lnTo>
                    <a:pt x="236" y="1381"/>
                  </a:lnTo>
                  <a:lnTo>
                    <a:pt x="236" y="1380"/>
                  </a:lnTo>
                  <a:close/>
                  <a:moveTo>
                    <a:pt x="267" y="1454"/>
                  </a:moveTo>
                  <a:lnTo>
                    <a:pt x="269" y="1454"/>
                  </a:lnTo>
                  <a:lnTo>
                    <a:pt x="267" y="1454"/>
                  </a:lnTo>
                  <a:close/>
                  <a:moveTo>
                    <a:pt x="202" y="1485"/>
                  </a:moveTo>
                  <a:lnTo>
                    <a:pt x="202" y="1487"/>
                  </a:lnTo>
                  <a:lnTo>
                    <a:pt x="202" y="1485"/>
                  </a:lnTo>
                  <a:close/>
                  <a:moveTo>
                    <a:pt x="208" y="1438"/>
                  </a:moveTo>
                  <a:lnTo>
                    <a:pt x="208" y="1440"/>
                  </a:lnTo>
                  <a:lnTo>
                    <a:pt x="208" y="1438"/>
                  </a:lnTo>
                  <a:close/>
                  <a:moveTo>
                    <a:pt x="270" y="1453"/>
                  </a:moveTo>
                  <a:lnTo>
                    <a:pt x="270" y="1451"/>
                  </a:lnTo>
                  <a:lnTo>
                    <a:pt x="270" y="1453"/>
                  </a:lnTo>
                  <a:close/>
                  <a:moveTo>
                    <a:pt x="308" y="872"/>
                  </a:moveTo>
                  <a:lnTo>
                    <a:pt x="308" y="870"/>
                  </a:lnTo>
                  <a:lnTo>
                    <a:pt x="308" y="872"/>
                  </a:lnTo>
                  <a:close/>
                  <a:moveTo>
                    <a:pt x="353" y="1490"/>
                  </a:moveTo>
                  <a:lnTo>
                    <a:pt x="355" y="1490"/>
                  </a:lnTo>
                  <a:lnTo>
                    <a:pt x="353" y="1490"/>
                  </a:lnTo>
                  <a:close/>
                  <a:moveTo>
                    <a:pt x="181" y="1074"/>
                  </a:moveTo>
                  <a:lnTo>
                    <a:pt x="182" y="1074"/>
                  </a:lnTo>
                  <a:lnTo>
                    <a:pt x="181" y="1074"/>
                  </a:lnTo>
                  <a:close/>
                  <a:moveTo>
                    <a:pt x="545" y="1409"/>
                  </a:moveTo>
                  <a:lnTo>
                    <a:pt x="547" y="1409"/>
                  </a:lnTo>
                  <a:lnTo>
                    <a:pt x="545" y="1409"/>
                  </a:lnTo>
                  <a:close/>
                  <a:moveTo>
                    <a:pt x="596" y="1386"/>
                  </a:moveTo>
                  <a:lnTo>
                    <a:pt x="597" y="1386"/>
                  </a:lnTo>
                  <a:lnTo>
                    <a:pt x="596" y="1386"/>
                  </a:lnTo>
                  <a:close/>
                  <a:moveTo>
                    <a:pt x="215" y="1201"/>
                  </a:moveTo>
                  <a:lnTo>
                    <a:pt x="215" y="1199"/>
                  </a:lnTo>
                  <a:lnTo>
                    <a:pt x="215" y="1201"/>
                  </a:lnTo>
                  <a:close/>
                  <a:moveTo>
                    <a:pt x="155" y="1059"/>
                  </a:moveTo>
                  <a:lnTo>
                    <a:pt x="156" y="1059"/>
                  </a:lnTo>
                  <a:lnTo>
                    <a:pt x="155" y="1059"/>
                  </a:lnTo>
                  <a:close/>
                  <a:moveTo>
                    <a:pt x="552" y="1420"/>
                  </a:moveTo>
                  <a:lnTo>
                    <a:pt x="552" y="1422"/>
                  </a:lnTo>
                  <a:lnTo>
                    <a:pt x="552" y="1420"/>
                  </a:lnTo>
                  <a:close/>
                  <a:moveTo>
                    <a:pt x="208" y="1449"/>
                  </a:moveTo>
                  <a:lnTo>
                    <a:pt x="210" y="1449"/>
                  </a:lnTo>
                  <a:lnTo>
                    <a:pt x="208" y="1449"/>
                  </a:lnTo>
                  <a:close/>
                  <a:moveTo>
                    <a:pt x="184" y="1479"/>
                  </a:moveTo>
                  <a:lnTo>
                    <a:pt x="184" y="1477"/>
                  </a:lnTo>
                  <a:lnTo>
                    <a:pt x="184" y="1479"/>
                  </a:lnTo>
                  <a:close/>
                  <a:moveTo>
                    <a:pt x="382" y="737"/>
                  </a:moveTo>
                  <a:lnTo>
                    <a:pt x="384" y="737"/>
                  </a:lnTo>
                  <a:lnTo>
                    <a:pt x="382" y="737"/>
                  </a:lnTo>
                  <a:close/>
                  <a:moveTo>
                    <a:pt x="204" y="1014"/>
                  </a:moveTo>
                  <a:lnTo>
                    <a:pt x="205" y="1014"/>
                  </a:lnTo>
                  <a:lnTo>
                    <a:pt x="204" y="1015"/>
                  </a:lnTo>
                  <a:lnTo>
                    <a:pt x="204" y="1014"/>
                  </a:lnTo>
                  <a:close/>
                  <a:moveTo>
                    <a:pt x="246" y="1292"/>
                  </a:moveTo>
                  <a:lnTo>
                    <a:pt x="246" y="1290"/>
                  </a:lnTo>
                  <a:lnTo>
                    <a:pt x="246" y="1292"/>
                  </a:lnTo>
                  <a:close/>
                  <a:moveTo>
                    <a:pt x="288" y="1482"/>
                  </a:moveTo>
                  <a:lnTo>
                    <a:pt x="290" y="1482"/>
                  </a:lnTo>
                  <a:lnTo>
                    <a:pt x="288" y="1482"/>
                  </a:lnTo>
                  <a:close/>
                  <a:moveTo>
                    <a:pt x="278" y="1484"/>
                  </a:moveTo>
                  <a:lnTo>
                    <a:pt x="278" y="1482"/>
                  </a:lnTo>
                  <a:lnTo>
                    <a:pt x="278" y="1484"/>
                  </a:lnTo>
                  <a:close/>
                  <a:moveTo>
                    <a:pt x="218" y="1487"/>
                  </a:moveTo>
                  <a:lnTo>
                    <a:pt x="220" y="1487"/>
                  </a:lnTo>
                  <a:lnTo>
                    <a:pt x="218" y="1487"/>
                  </a:lnTo>
                  <a:close/>
                  <a:moveTo>
                    <a:pt x="181" y="1015"/>
                  </a:moveTo>
                  <a:lnTo>
                    <a:pt x="182" y="1015"/>
                  </a:lnTo>
                  <a:lnTo>
                    <a:pt x="181" y="1015"/>
                  </a:lnTo>
                  <a:close/>
                  <a:moveTo>
                    <a:pt x="239" y="1454"/>
                  </a:moveTo>
                  <a:lnTo>
                    <a:pt x="241" y="1454"/>
                  </a:lnTo>
                  <a:lnTo>
                    <a:pt x="239" y="1454"/>
                  </a:lnTo>
                  <a:close/>
                  <a:moveTo>
                    <a:pt x="230" y="1249"/>
                  </a:moveTo>
                  <a:lnTo>
                    <a:pt x="230" y="1248"/>
                  </a:lnTo>
                  <a:lnTo>
                    <a:pt x="230" y="1249"/>
                  </a:lnTo>
                  <a:close/>
                  <a:moveTo>
                    <a:pt x="251" y="1451"/>
                  </a:moveTo>
                  <a:lnTo>
                    <a:pt x="251" y="1453"/>
                  </a:lnTo>
                  <a:lnTo>
                    <a:pt x="251" y="1451"/>
                  </a:lnTo>
                  <a:close/>
                  <a:moveTo>
                    <a:pt x="485" y="1446"/>
                  </a:moveTo>
                  <a:lnTo>
                    <a:pt x="485" y="1448"/>
                  </a:lnTo>
                  <a:lnTo>
                    <a:pt x="485" y="1446"/>
                  </a:lnTo>
                  <a:close/>
                  <a:moveTo>
                    <a:pt x="298" y="1475"/>
                  </a:moveTo>
                  <a:lnTo>
                    <a:pt x="298" y="1474"/>
                  </a:lnTo>
                  <a:lnTo>
                    <a:pt x="298" y="1475"/>
                  </a:lnTo>
                  <a:close/>
                  <a:moveTo>
                    <a:pt x="610" y="1373"/>
                  </a:moveTo>
                  <a:lnTo>
                    <a:pt x="610" y="1375"/>
                  </a:lnTo>
                  <a:lnTo>
                    <a:pt x="610" y="1373"/>
                  </a:lnTo>
                  <a:close/>
                  <a:moveTo>
                    <a:pt x="221" y="1443"/>
                  </a:moveTo>
                  <a:lnTo>
                    <a:pt x="221" y="1445"/>
                  </a:lnTo>
                  <a:lnTo>
                    <a:pt x="221" y="1443"/>
                  </a:lnTo>
                  <a:close/>
                  <a:moveTo>
                    <a:pt x="213" y="1475"/>
                  </a:moveTo>
                  <a:lnTo>
                    <a:pt x="213" y="1477"/>
                  </a:lnTo>
                  <a:lnTo>
                    <a:pt x="213" y="1475"/>
                  </a:lnTo>
                  <a:close/>
                  <a:moveTo>
                    <a:pt x="264" y="1493"/>
                  </a:moveTo>
                  <a:lnTo>
                    <a:pt x="265" y="1493"/>
                  </a:lnTo>
                  <a:lnTo>
                    <a:pt x="264" y="1493"/>
                  </a:lnTo>
                  <a:close/>
                  <a:moveTo>
                    <a:pt x="230" y="1440"/>
                  </a:moveTo>
                  <a:lnTo>
                    <a:pt x="230" y="1441"/>
                  </a:lnTo>
                  <a:lnTo>
                    <a:pt x="230" y="1440"/>
                  </a:lnTo>
                  <a:close/>
                  <a:moveTo>
                    <a:pt x="249" y="1428"/>
                  </a:moveTo>
                  <a:lnTo>
                    <a:pt x="251" y="1428"/>
                  </a:lnTo>
                  <a:lnTo>
                    <a:pt x="249" y="1428"/>
                  </a:lnTo>
                  <a:close/>
                  <a:moveTo>
                    <a:pt x="591" y="1371"/>
                  </a:moveTo>
                  <a:lnTo>
                    <a:pt x="592" y="1371"/>
                  </a:lnTo>
                  <a:lnTo>
                    <a:pt x="591" y="1371"/>
                  </a:lnTo>
                  <a:close/>
                  <a:moveTo>
                    <a:pt x="322" y="1458"/>
                  </a:moveTo>
                  <a:lnTo>
                    <a:pt x="322" y="1456"/>
                  </a:lnTo>
                  <a:lnTo>
                    <a:pt x="322" y="1458"/>
                  </a:lnTo>
                  <a:close/>
                  <a:moveTo>
                    <a:pt x="617" y="1357"/>
                  </a:moveTo>
                  <a:lnTo>
                    <a:pt x="617" y="1355"/>
                  </a:lnTo>
                  <a:lnTo>
                    <a:pt x="617" y="1357"/>
                  </a:lnTo>
                  <a:close/>
                  <a:moveTo>
                    <a:pt x="171" y="1022"/>
                  </a:moveTo>
                  <a:lnTo>
                    <a:pt x="173" y="1022"/>
                  </a:lnTo>
                  <a:lnTo>
                    <a:pt x="171" y="1022"/>
                  </a:lnTo>
                  <a:close/>
                  <a:moveTo>
                    <a:pt x="254" y="1505"/>
                  </a:moveTo>
                  <a:lnTo>
                    <a:pt x="256" y="1506"/>
                  </a:lnTo>
                  <a:lnTo>
                    <a:pt x="254" y="1506"/>
                  </a:lnTo>
                  <a:lnTo>
                    <a:pt x="254" y="1505"/>
                  </a:lnTo>
                  <a:close/>
                  <a:moveTo>
                    <a:pt x="251" y="1438"/>
                  </a:moveTo>
                  <a:lnTo>
                    <a:pt x="251" y="1440"/>
                  </a:lnTo>
                  <a:lnTo>
                    <a:pt x="251" y="1438"/>
                  </a:lnTo>
                  <a:close/>
                  <a:moveTo>
                    <a:pt x="270" y="1438"/>
                  </a:moveTo>
                  <a:lnTo>
                    <a:pt x="270" y="1440"/>
                  </a:lnTo>
                  <a:lnTo>
                    <a:pt x="270" y="1438"/>
                  </a:lnTo>
                  <a:close/>
                  <a:moveTo>
                    <a:pt x="223" y="1218"/>
                  </a:moveTo>
                  <a:lnTo>
                    <a:pt x="223" y="1217"/>
                  </a:lnTo>
                  <a:lnTo>
                    <a:pt x="223" y="1218"/>
                  </a:lnTo>
                  <a:close/>
                  <a:moveTo>
                    <a:pt x="365" y="1472"/>
                  </a:moveTo>
                  <a:lnTo>
                    <a:pt x="366" y="1472"/>
                  </a:lnTo>
                  <a:lnTo>
                    <a:pt x="365" y="1472"/>
                  </a:lnTo>
                  <a:close/>
                  <a:moveTo>
                    <a:pt x="304" y="1467"/>
                  </a:moveTo>
                  <a:lnTo>
                    <a:pt x="304" y="1466"/>
                  </a:lnTo>
                  <a:lnTo>
                    <a:pt x="304" y="1467"/>
                  </a:lnTo>
                  <a:close/>
                  <a:moveTo>
                    <a:pt x="592" y="1375"/>
                  </a:moveTo>
                  <a:lnTo>
                    <a:pt x="594" y="1375"/>
                  </a:lnTo>
                  <a:lnTo>
                    <a:pt x="592" y="1375"/>
                  </a:lnTo>
                  <a:close/>
                  <a:moveTo>
                    <a:pt x="327" y="1430"/>
                  </a:moveTo>
                  <a:lnTo>
                    <a:pt x="326" y="1430"/>
                  </a:lnTo>
                  <a:lnTo>
                    <a:pt x="327" y="1430"/>
                  </a:lnTo>
                  <a:close/>
                  <a:moveTo>
                    <a:pt x="625" y="1363"/>
                  </a:moveTo>
                  <a:lnTo>
                    <a:pt x="625" y="1362"/>
                  </a:lnTo>
                  <a:lnTo>
                    <a:pt x="625" y="1363"/>
                  </a:lnTo>
                  <a:close/>
                  <a:moveTo>
                    <a:pt x="672" y="1345"/>
                  </a:moveTo>
                  <a:lnTo>
                    <a:pt x="674" y="1345"/>
                  </a:lnTo>
                  <a:lnTo>
                    <a:pt x="672" y="1345"/>
                  </a:lnTo>
                  <a:close/>
                  <a:moveTo>
                    <a:pt x="199" y="1461"/>
                  </a:moveTo>
                  <a:lnTo>
                    <a:pt x="200" y="1461"/>
                  </a:lnTo>
                  <a:lnTo>
                    <a:pt x="199" y="1461"/>
                  </a:lnTo>
                  <a:close/>
                  <a:moveTo>
                    <a:pt x="677" y="1353"/>
                  </a:moveTo>
                  <a:lnTo>
                    <a:pt x="678" y="1353"/>
                  </a:lnTo>
                  <a:lnTo>
                    <a:pt x="677" y="1353"/>
                  </a:lnTo>
                  <a:close/>
                  <a:moveTo>
                    <a:pt x="251" y="1445"/>
                  </a:moveTo>
                  <a:lnTo>
                    <a:pt x="251" y="1446"/>
                  </a:lnTo>
                  <a:lnTo>
                    <a:pt x="251" y="1445"/>
                  </a:lnTo>
                  <a:close/>
                  <a:moveTo>
                    <a:pt x="187" y="1451"/>
                  </a:moveTo>
                  <a:lnTo>
                    <a:pt x="187" y="1449"/>
                  </a:lnTo>
                  <a:lnTo>
                    <a:pt x="187" y="1451"/>
                  </a:lnTo>
                  <a:close/>
                  <a:moveTo>
                    <a:pt x="254" y="1440"/>
                  </a:moveTo>
                  <a:lnTo>
                    <a:pt x="256" y="1440"/>
                  </a:lnTo>
                  <a:lnTo>
                    <a:pt x="254" y="1440"/>
                  </a:lnTo>
                  <a:close/>
                  <a:moveTo>
                    <a:pt x="192" y="1469"/>
                  </a:moveTo>
                  <a:lnTo>
                    <a:pt x="192" y="1471"/>
                  </a:lnTo>
                  <a:lnTo>
                    <a:pt x="192" y="1469"/>
                  </a:lnTo>
                  <a:close/>
                  <a:moveTo>
                    <a:pt x="217" y="1487"/>
                  </a:moveTo>
                  <a:lnTo>
                    <a:pt x="218" y="1487"/>
                  </a:lnTo>
                  <a:lnTo>
                    <a:pt x="217" y="1487"/>
                  </a:lnTo>
                  <a:close/>
                  <a:moveTo>
                    <a:pt x="308" y="1461"/>
                  </a:moveTo>
                  <a:lnTo>
                    <a:pt x="308" y="1462"/>
                  </a:lnTo>
                  <a:lnTo>
                    <a:pt x="308" y="1461"/>
                  </a:lnTo>
                  <a:close/>
                  <a:moveTo>
                    <a:pt x="208" y="1010"/>
                  </a:moveTo>
                  <a:lnTo>
                    <a:pt x="208" y="1012"/>
                  </a:lnTo>
                  <a:lnTo>
                    <a:pt x="208" y="1010"/>
                  </a:lnTo>
                  <a:close/>
                  <a:moveTo>
                    <a:pt x="269" y="1427"/>
                  </a:moveTo>
                  <a:lnTo>
                    <a:pt x="269" y="1425"/>
                  </a:lnTo>
                  <a:lnTo>
                    <a:pt x="269" y="1427"/>
                  </a:lnTo>
                  <a:close/>
                  <a:moveTo>
                    <a:pt x="210" y="1017"/>
                  </a:moveTo>
                  <a:lnTo>
                    <a:pt x="212" y="1017"/>
                  </a:lnTo>
                  <a:lnTo>
                    <a:pt x="212" y="1018"/>
                  </a:lnTo>
                  <a:lnTo>
                    <a:pt x="210" y="1017"/>
                  </a:lnTo>
                  <a:close/>
                  <a:moveTo>
                    <a:pt x="153" y="1461"/>
                  </a:moveTo>
                  <a:lnTo>
                    <a:pt x="153" y="1462"/>
                  </a:lnTo>
                  <a:lnTo>
                    <a:pt x="153" y="1461"/>
                  </a:lnTo>
                  <a:close/>
                  <a:moveTo>
                    <a:pt x="283" y="1446"/>
                  </a:moveTo>
                  <a:lnTo>
                    <a:pt x="285" y="1446"/>
                  </a:lnTo>
                  <a:lnTo>
                    <a:pt x="283" y="1446"/>
                  </a:lnTo>
                  <a:close/>
                  <a:moveTo>
                    <a:pt x="226" y="1474"/>
                  </a:moveTo>
                  <a:lnTo>
                    <a:pt x="226" y="1472"/>
                  </a:lnTo>
                  <a:lnTo>
                    <a:pt x="226" y="1474"/>
                  </a:lnTo>
                  <a:close/>
                  <a:moveTo>
                    <a:pt x="223" y="1488"/>
                  </a:moveTo>
                  <a:lnTo>
                    <a:pt x="223" y="1487"/>
                  </a:lnTo>
                  <a:lnTo>
                    <a:pt x="223" y="1488"/>
                  </a:lnTo>
                  <a:close/>
                  <a:moveTo>
                    <a:pt x="563" y="1401"/>
                  </a:moveTo>
                  <a:lnTo>
                    <a:pt x="565" y="1401"/>
                  </a:lnTo>
                  <a:lnTo>
                    <a:pt x="563" y="1401"/>
                  </a:lnTo>
                  <a:close/>
                  <a:moveTo>
                    <a:pt x="623" y="1371"/>
                  </a:moveTo>
                  <a:lnTo>
                    <a:pt x="625" y="1371"/>
                  </a:lnTo>
                  <a:lnTo>
                    <a:pt x="623" y="1371"/>
                  </a:lnTo>
                  <a:close/>
                  <a:moveTo>
                    <a:pt x="220" y="1420"/>
                  </a:moveTo>
                  <a:lnTo>
                    <a:pt x="221" y="1420"/>
                  </a:lnTo>
                  <a:lnTo>
                    <a:pt x="220" y="1420"/>
                  </a:lnTo>
                  <a:close/>
                  <a:moveTo>
                    <a:pt x="181" y="1446"/>
                  </a:moveTo>
                  <a:lnTo>
                    <a:pt x="181" y="1445"/>
                  </a:lnTo>
                  <a:lnTo>
                    <a:pt x="181" y="1446"/>
                  </a:lnTo>
                  <a:close/>
                  <a:moveTo>
                    <a:pt x="589" y="1396"/>
                  </a:moveTo>
                  <a:lnTo>
                    <a:pt x="591" y="1396"/>
                  </a:lnTo>
                  <a:lnTo>
                    <a:pt x="589" y="1396"/>
                  </a:lnTo>
                  <a:close/>
                  <a:moveTo>
                    <a:pt x="280" y="1438"/>
                  </a:moveTo>
                  <a:lnTo>
                    <a:pt x="278" y="1438"/>
                  </a:lnTo>
                  <a:lnTo>
                    <a:pt x="280" y="1438"/>
                  </a:lnTo>
                  <a:close/>
                  <a:moveTo>
                    <a:pt x="272" y="957"/>
                  </a:moveTo>
                  <a:lnTo>
                    <a:pt x="272" y="958"/>
                  </a:lnTo>
                  <a:lnTo>
                    <a:pt x="272" y="957"/>
                  </a:lnTo>
                  <a:close/>
                  <a:moveTo>
                    <a:pt x="285" y="1420"/>
                  </a:moveTo>
                  <a:lnTo>
                    <a:pt x="287" y="1420"/>
                  </a:lnTo>
                  <a:lnTo>
                    <a:pt x="285" y="1420"/>
                  </a:lnTo>
                  <a:close/>
                  <a:moveTo>
                    <a:pt x="241" y="1329"/>
                  </a:moveTo>
                  <a:lnTo>
                    <a:pt x="241" y="1327"/>
                  </a:lnTo>
                  <a:lnTo>
                    <a:pt x="241" y="1329"/>
                  </a:lnTo>
                  <a:close/>
                  <a:moveTo>
                    <a:pt x="230" y="1256"/>
                  </a:moveTo>
                  <a:lnTo>
                    <a:pt x="230" y="1258"/>
                  </a:lnTo>
                  <a:lnTo>
                    <a:pt x="230" y="1256"/>
                  </a:lnTo>
                  <a:close/>
                  <a:moveTo>
                    <a:pt x="283" y="1425"/>
                  </a:moveTo>
                  <a:lnTo>
                    <a:pt x="285" y="1425"/>
                  </a:lnTo>
                  <a:lnTo>
                    <a:pt x="283" y="1425"/>
                  </a:lnTo>
                  <a:close/>
                  <a:moveTo>
                    <a:pt x="374" y="706"/>
                  </a:moveTo>
                  <a:lnTo>
                    <a:pt x="376" y="706"/>
                  </a:lnTo>
                  <a:lnTo>
                    <a:pt x="374" y="706"/>
                  </a:lnTo>
                  <a:close/>
                  <a:moveTo>
                    <a:pt x="178" y="1080"/>
                  </a:moveTo>
                  <a:lnTo>
                    <a:pt x="178" y="1079"/>
                  </a:lnTo>
                  <a:lnTo>
                    <a:pt x="178" y="1080"/>
                  </a:lnTo>
                  <a:close/>
                  <a:moveTo>
                    <a:pt x="233" y="1440"/>
                  </a:moveTo>
                  <a:lnTo>
                    <a:pt x="233" y="1441"/>
                  </a:lnTo>
                  <a:lnTo>
                    <a:pt x="233" y="1440"/>
                  </a:lnTo>
                  <a:close/>
                  <a:moveTo>
                    <a:pt x="200" y="1149"/>
                  </a:moveTo>
                  <a:lnTo>
                    <a:pt x="200" y="1147"/>
                  </a:lnTo>
                  <a:lnTo>
                    <a:pt x="200" y="1149"/>
                  </a:lnTo>
                  <a:close/>
                  <a:moveTo>
                    <a:pt x="181" y="1041"/>
                  </a:moveTo>
                  <a:lnTo>
                    <a:pt x="181" y="1043"/>
                  </a:lnTo>
                  <a:lnTo>
                    <a:pt x="181" y="1041"/>
                  </a:lnTo>
                  <a:close/>
                  <a:moveTo>
                    <a:pt x="181" y="1043"/>
                  </a:moveTo>
                  <a:lnTo>
                    <a:pt x="179" y="1043"/>
                  </a:lnTo>
                  <a:lnTo>
                    <a:pt x="181" y="1043"/>
                  </a:lnTo>
                  <a:close/>
                  <a:moveTo>
                    <a:pt x="205" y="1025"/>
                  </a:moveTo>
                  <a:lnTo>
                    <a:pt x="207" y="1025"/>
                  </a:lnTo>
                  <a:lnTo>
                    <a:pt x="205" y="1025"/>
                  </a:lnTo>
                  <a:close/>
                  <a:moveTo>
                    <a:pt x="208" y="1440"/>
                  </a:moveTo>
                  <a:lnTo>
                    <a:pt x="208" y="1438"/>
                  </a:lnTo>
                  <a:lnTo>
                    <a:pt x="208" y="1440"/>
                  </a:lnTo>
                  <a:close/>
                  <a:moveTo>
                    <a:pt x="244" y="1327"/>
                  </a:moveTo>
                  <a:lnTo>
                    <a:pt x="243" y="1327"/>
                  </a:lnTo>
                  <a:lnTo>
                    <a:pt x="244" y="1326"/>
                  </a:lnTo>
                  <a:lnTo>
                    <a:pt x="244" y="1327"/>
                  </a:lnTo>
                  <a:close/>
                  <a:moveTo>
                    <a:pt x="197" y="1471"/>
                  </a:moveTo>
                  <a:lnTo>
                    <a:pt x="197" y="1472"/>
                  </a:lnTo>
                  <a:lnTo>
                    <a:pt x="197" y="1471"/>
                  </a:lnTo>
                  <a:close/>
                  <a:moveTo>
                    <a:pt x="233" y="1012"/>
                  </a:moveTo>
                  <a:lnTo>
                    <a:pt x="234" y="1012"/>
                  </a:lnTo>
                  <a:lnTo>
                    <a:pt x="233" y="1012"/>
                  </a:lnTo>
                  <a:close/>
                  <a:moveTo>
                    <a:pt x="215" y="1498"/>
                  </a:moveTo>
                  <a:lnTo>
                    <a:pt x="215" y="1500"/>
                  </a:lnTo>
                  <a:lnTo>
                    <a:pt x="215" y="1498"/>
                  </a:lnTo>
                  <a:close/>
                  <a:moveTo>
                    <a:pt x="581" y="1389"/>
                  </a:moveTo>
                  <a:lnTo>
                    <a:pt x="583" y="1389"/>
                  </a:lnTo>
                  <a:lnTo>
                    <a:pt x="581" y="1389"/>
                  </a:lnTo>
                  <a:close/>
                  <a:moveTo>
                    <a:pt x="246" y="963"/>
                  </a:moveTo>
                  <a:lnTo>
                    <a:pt x="246" y="965"/>
                  </a:lnTo>
                  <a:lnTo>
                    <a:pt x="246" y="963"/>
                  </a:lnTo>
                  <a:close/>
                  <a:moveTo>
                    <a:pt x="208" y="1014"/>
                  </a:moveTo>
                  <a:lnTo>
                    <a:pt x="208" y="1012"/>
                  </a:lnTo>
                  <a:lnTo>
                    <a:pt x="208" y="1014"/>
                  </a:lnTo>
                  <a:close/>
                  <a:moveTo>
                    <a:pt x="700" y="1329"/>
                  </a:moveTo>
                  <a:lnTo>
                    <a:pt x="700" y="1327"/>
                  </a:lnTo>
                  <a:lnTo>
                    <a:pt x="700" y="1329"/>
                  </a:lnTo>
                  <a:close/>
                  <a:moveTo>
                    <a:pt x="233" y="1288"/>
                  </a:moveTo>
                  <a:lnTo>
                    <a:pt x="233" y="1287"/>
                  </a:lnTo>
                  <a:lnTo>
                    <a:pt x="233" y="1288"/>
                  </a:lnTo>
                  <a:close/>
                  <a:moveTo>
                    <a:pt x="189" y="1440"/>
                  </a:moveTo>
                  <a:lnTo>
                    <a:pt x="189" y="1441"/>
                  </a:lnTo>
                  <a:lnTo>
                    <a:pt x="189" y="1440"/>
                  </a:lnTo>
                  <a:close/>
                  <a:moveTo>
                    <a:pt x="649" y="1350"/>
                  </a:moveTo>
                  <a:lnTo>
                    <a:pt x="651" y="1350"/>
                  </a:lnTo>
                  <a:lnTo>
                    <a:pt x="651" y="1352"/>
                  </a:lnTo>
                  <a:lnTo>
                    <a:pt x="649" y="1352"/>
                  </a:lnTo>
                  <a:lnTo>
                    <a:pt x="649" y="1350"/>
                  </a:lnTo>
                  <a:close/>
                  <a:moveTo>
                    <a:pt x="231" y="1231"/>
                  </a:moveTo>
                  <a:lnTo>
                    <a:pt x="231" y="1230"/>
                  </a:lnTo>
                  <a:lnTo>
                    <a:pt x="231" y="1231"/>
                  </a:lnTo>
                  <a:close/>
                  <a:moveTo>
                    <a:pt x="142" y="1454"/>
                  </a:moveTo>
                  <a:lnTo>
                    <a:pt x="143" y="1454"/>
                  </a:lnTo>
                  <a:lnTo>
                    <a:pt x="142" y="1454"/>
                  </a:lnTo>
                  <a:close/>
                  <a:moveTo>
                    <a:pt x="548" y="1420"/>
                  </a:moveTo>
                  <a:lnTo>
                    <a:pt x="550" y="1420"/>
                  </a:lnTo>
                  <a:lnTo>
                    <a:pt x="548" y="1420"/>
                  </a:lnTo>
                  <a:close/>
                  <a:moveTo>
                    <a:pt x="267" y="1432"/>
                  </a:moveTo>
                  <a:lnTo>
                    <a:pt x="267" y="1433"/>
                  </a:lnTo>
                  <a:lnTo>
                    <a:pt x="267" y="1432"/>
                  </a:lnTo>
                  <a:close/>
                  <a:moveTo>
                    <a:pt x="234" y="1248"/>
                  </a:moveTo>
                  <a:lnTo>
                    <a:pt x="236" y="1248"/>
                  </a:lnTo>
                  <a:lnTo>
                    <a:pt x="234" y="1248"/>
                  </a:lnTo>
                  <a:close/>
                  <a:moveTo>
                    <a:pt x="234" y="1428"/>
                  </a:moveTo>
                  <a:lnTo>
                    <a:pt x="236" y="1428"/>
                  </a:lnTo>
                  <a:lnTo>
                    <a:pt x="234" y="1428"/>
                  </a:lnTo>
                  <a:close/>
                  <a:moveTo>
                    <a:pt x="290" y="1485"/>
                  </a:moveTo>
                  <a:lnTo>
                    <a:pt x="290" y="1484"/>
                  </a:lnTo>
                  <a:lnTo>
                    <a:pt x="290" y="1485"/>
                  </a:lnTo>
                  <a:close/>
                  <a:moveTo>
                    <a:pt x="378" y="1466"/>
                  </a:moveTo>
                  <a:lnTo>
                    <a:pt x="378" y="1467"/>
                  </a:lnTo>
                  <a:lnTo>
                    <a:pt x="378" y="1466"/>
                  </a:lnTo>
                  <a:close/>
                  <a:moveTo>
                    <a:pt x="238" y="1471"/>
                  </a:moveTo>
                  <a:lnTo>
                    <a:pt x="238" y="1469"/>
                  </a:lnTo>
                  <a:lnTo>
                    <a:pt x="238" y="1471"/>
                  </a:lnTo>
                  <a:close/>
                  <a:moveTo>
                    <a:pt x="212" y="997"/>
                  </a:moveTo>
                  <a:lnTo>
                    <a:pt x="213" y="997"/>
                  </a:lnTo>
                  <a:lnTo>
                    <a:pt x="212" y="997"/>
                  </a:lnTo>
                  <a:close/>
                  <a:moveTo>
                    <a:pt x="233" y="984"/>
                  </a:moveTo>
                  <a:lnTo>
                    <a:pt x="233" y="986"/>
                  </a:lnTo>
                  <a:lnTo>
                    <a:pt x="233" y="984"/>
                  </a:lnTo>
                  <a:close/>
                  <a:moveTo>
                    <a:pt x="256" y="1432"/>
                  </a:moveTo>
                  <a:lnTo>
                    <a:pt x="257" y="1432"/>
                  </a:lnTo>
                  <a:lnTo>
                    <a:pt x="256" y="1432"/>
                  </a:lnTo>
                  <a:close/>
                  <a:moveTo>
                    <a:pt x="169" y="1505"/>
                  </a:moveTo>
                  <a:lnTo>
                    <a:pt x="171" y="1505"/>
                  </a:lnTo>
                  <a:lnTo>
                    <a:pt x="169" y="1505"/>
                  </a:lnTo>
                  <a:close/>
                  <a:moveTo>
                    <a:pt x="574" y="1404"/>
                  </a:moveTo>
                  <a:lnTo>
                    <a:pt x="576" y="1404"/>
                  </a:lnTo>
                  <a:lnTo>
                    <a:pt x="574" y="1404"/>
                  </a:lnTo>
                  <a:close/>
                  <a:moveTo>
                    <a:pt x="259" y="924"/>
                  </a:moveTo>
                  <a:lnTo>
                    <a:pt x="259" y="926"/>
                  </a:lnTo>
                  <a:lnTo>
                    <a:pt x="259" y="924"/>
                  </a:lnTo>
                  <a:close/>
                  <a:moveTo>
                    <a:pt x="285" y="1484"/>
                  </a:moveTo>
                  <a:lnTo>
                    <a:pt x="285" y="1482"/>
                  </a:lnTo>
                  <a:lnTo>
                    <a:pt x="285" y="1484"/>
                  </a:lnTo>
                  <a:close/>
                  <a:moveTo>
                    <a:pt x="210" y="1485"/>
                  </a:moveTo>
                  <a:lnTo>
                    <a:pt x="212" y="1485"/>
                  </a:lnTo>
                  <a:lnTo>
                    <a:pt x="210" y="1485"/>
                  </a:lnTo>
                  <a:close/>
                  <a:moveTo>
                    <a:pt x="262" y="1443"/>
                  </a:moveTo>
                  <a:lnTo>
                    <a:pt x="262" y="1445"/>
                  </a:lnTo>
                  <a:lnTo>
                    <a:pt x="262" y="1443"/>
                  </a:lnTo>
                  <a:close/>
                  <a:moveTo>
                    <a:pt x="212" y="1490"/>
                  </a:moveTo>
                  <a:lnTo>
                    <a:pt x="212" y="1488"/>
                  </a:lnTo>
                  <a:lnTo>
                    <a:pt x="212" y="1490"/>
                  </a:lnTo>
                  <a:close/>
                  <a:moveTo>
                    <a:pt x="199" y="1017"/>
                  </a:moveTo>
                  <a:lnTo>
                    <a:pt x="200" y="1017"/>
                  </a:lnTo>
                  <a:lnTo>
                    <a:pt x="199" y="1017"/>
                  </a:lnTo>
                  <a:close/>
                  <a:moveTo>
                    <a:pt x="304" y="651"/>
                  </a:moveTo>
                  <a:lnTo>
                    <a:pt x="304" y="649"/>
                  </a:lnTo>
                  <a:lnTo>
                    <a:pt x="304" y="651"/>
                  </a:lnTo>
                  <a:close/>
                  <a:moveTo>
                    <a:pt x="696" y="1323"/>
                  </a:moveTo>
                  <a:lnTo>
                    <a:pt x="696" y="1321"/>
                  </a:lnTo>
                  <a:lnTo>
                    <a:pt x="696" y="1323"/>
                  </a:lnTo>
                  <a:close/>
                  <a:moveTo>
                    <a:pt x="529" y="1420"/>
                  </a:moveTo>
                  <a:lnTo>
                    <a:pt x="527" y="1420"/>
                  </a:lnTo>
                  <a:lnTo>
                    <a:pt x="529" y="1420"/>
                  </a:lnTo>
                  <a:close/>
                  <a:moveTo>
                    <a:pt x="262" y="1458"/>
                  </a:moveTo>
                  <a:lnTo>
                    <a:pt x="264" y="1458"/>
                  </a:lnTo>
                  <a:lnTo>
                    <a:pt x="262" y="1458"/>
                  </a:lnTo>
                  <a:close/>
                  <a:moveTo>
                    <a:pt x="145" y="1040"/>
                  </a:moveTo>
                  <a:lnTo>
                    <a:pt x="145" y="1041"/>
                  </a:lnTo>
                  <a:lnTo>
                    <a:pt x="145" y="1040"/>
                  </a:lnTo>
                  <a:close/>
                  <a:moveTo>
                    <a:pt x="243" y="1464"/>
                  </a:moveTo>
                  <a:lnTo>
                    <a:pt x="243" y="1466"/>
                  </a:lnTo>
                  <a:lnTo>
                    <a:pt x="243" y="1464"/>
                  </a:lnTo>
                  <a:close/>
                  <a:moveTo>
                    <a:pt x="256" y="1449"/>
                  </a:moveTo>
                  <a:lnTo>
                    <a:pt x="257" y="1449"/>
                  </a:lnTo>
                  <a:lnTo>
                    <a:pt x="256" y="1449"/>
                  </a:lnTo>
                  <a:close/>
                  <a:moveTo>
                    <a:pt x="521" y="1422"/>
                  </a:moveTo>
                  <a:lnTo>
                    <a:pt x="521" y="1420"/>
                  </a:lnTo>
                  <a:lnTo>
                    <a:pt x="521" y="1422"/>
                  </a:lnTo>
                  <a:close/>
                  <a:moveTo>
                    <a:pt x="191" y="1456"/>
                  </a:moveTo>
                  <a:lnTo>
                    <a:pt x="191" y="1458"/>
                  </a:lnTo>
                  <a:lnTo>
                    <a:pt x="191" y="1456"/>
                  </a:lnTo>
                  <a:close/>
                  <a:moveTo>
                    <a:pt x="246" y="1012"/>
                  </a:moveTo>
                  <a:lnTo>
                    <a:pt x="244" y="1012"/>
                  </a:lnTo>
                  <a:lnTo>
                    <a:pt x="246" y="1012"/>
                  </a:lnTo>
                  <a:close/>
                  <a:moveTo>
                    <a:pt x="215" y="1497"/>
                  </a:moveTo>
                  <a:lnTo>
                    <a:pt x="217" y="1497"/>
                  </a:lnTo>
                  <a:lnTo>
                    <a:pt x="215" y="1497"/>
                  </a:lnTo>
                  <a:close/>
                  <a:moveTo>
                    <a:pt x="231" y="1231"/>
                  </a:moveTo>
                  <a:lnTo>
                    <a:pt x="231" y="1233"/>
                  </a:lnTo>
                  <a:lnTo>
                    <a:pt x="231" y="1231"/>
                  </a:lnTo>
                  <a:close/>
                  <a:moveTo>
                    <a:pt x="191" y="1493"/>
                  </a:moveTo>
                  <a:lnTo>
                    <a:pt x="189" y="1493"/>
                  </a:lnTo>
                  <a:lnTo>
                    <a:pt x="191" y="1493"/>
                  </a:lnTo>
                  <a:close/>
                  <a:moveTo>
                    <a:pt x="272" y="1445"/>
                  </a:moveTo>
                  <a:lnTo>
                    <a:pt x="272" y="1443"/>
                  </a:lnTo>
                  <a:lnTo>
                    <a:pt x="272" y="1445"/>
                  </a:lnTo>
                  <a:close/>
                  <a:moveTo>
                    <a:pt x="287" y="1417"/>
                  </a:moveTo>
                  <a:lnTo>
                    <a:pt x="288" y="1417"/>
                  </a:lnTo>
                  <a:lnTo>
                    <a:pt x="287" y="1417"/>
                  </a:lnTo>
                  <a:close/>
                  <a:moveTo>
                    <a:pt x="241" y="1326"/>
                  </a:moveTo>
                  <a:lnTo>
                    <a:pt x="243" y="1326"/>
                  </a:lnTo>
                  <a:lnTo>
                    <a:pt x="241" y="1326"/>
                  </a:lnTo>
                  <a:close/>
                  <a:moveTo>
                    <a:pt x="243" y="1409"/>
                  </a:moveTo>
                  <a:lnTo>
                    <a:pt x="243" y="1407"/>
                  </a:lnTo>
                  <a:lnTo>
                    <a:pt x="243" y="1409"/>
                  </a:lnTo>
                  <a:close/>
                  <a:moveTo>
                    <a:pt x="212" y="1500"/>
                  </a:moveTo>
                  <a:lnTo>
                    <a:pt x="212" y="1498"/>
                  </a:lnTo>
                  <a:lnTo>
                    <a:pt x="212" y="1500"/>
                  </a:lnTo>
                  <a:close/>
                  <a:moveTo>
                    <a:pt x="239" y="1319"/>
                  </a:moveTo>
                  <a:lnTo>
                    <a:pt x="239" y="1318"/>
                  </a:lnTo>
                  <a:lnTo>
                    <a:pt x="239" y="1319"/>
                  </a:lnTo>
                  <a:close/>
                  <a:moveTo>
                    <a:pt x="204" y="1500"/>
                  </a:moveTo>
                  <a:lnTo>
                    <a:pt x="205" y="1500"/>
                  </a:lnTo>
                  <a:lnTo>
                    <a:pt x="204" y="1500"/>
                  </a:lnTo>
                  <a:close/>
                  <a:moveTo>
                    <a:pt x="252" y="1477"/>
                  </a:moveTo>
                  <a:lnTo>
                    <a:pt x="252" y="1475"/>
                  </a:lnTo>
                  <a:lnTo>
                    <a:pt x="252" y="1477"/>
                  </a:lnTo>
                  <a:close/>
                  <a:moveTo>
                    <a:pt x="246" y="1259"/>
                  </a:moveTo>
                  <a:lnTo>
                    <a:pt x="247" y="1259"/>
                  </a:lnTo>
                  <a:lnTo>
                    <a:pt x="246" y="1259"/>
                  </a:lnTo>
                  <a:close/>
                  <a:moveTo>
                    <a:pt x="238" y="1009"/>
                  </a:moveTo>
                  <a:lnTo>
                    <a:pt x="238" y="1007"/>
                  </a:lnTo>
                  <a:lnTo>
                    <a:pt x="238" y="1009"/>
                  </a:lnTo>
                  <a:close/>
                  <a:moveTo>
                    <a:pt x="241" y="1349"/>
                  </a:moveTo>
                  <a:lnTo>
                    <a:pt x="241" y="1350"/>
                  </a:lnTo>
                  <a:lnTo>
                    <a:pt x="241" y="1349"/>
                  </a:lnTo>
                  <a:close/>
                  <a:moveTo>
                    <a:pt x="254" y="1438"/>
                  </a:moveTo>
                  <a:lnTo>
                    <a:pt x="256" y="1438"/>
                  </a:lnTo>
                  <a:lnTo>
                    <a:pt x="254" y="1438"/>
                  </a:lnTo>
                  <a:close/>
                  <a:moveTo>
                    <a:pt x="261" y="1420"/>
                  </a:moveTo>
                  <a:lnTo>
                    <a:pt x="262" y="1420"/>
                  </a:lnTo>
                  <a:lnTo>
                    <a:pt x="261" y="1420"/>
                  </a:lnTo>
                  <a:close/>
                  <a:moveTo>
                    <a:pt x="236" y="1497"/>
                  </a:moveTo>
                  <a:lnTo>
                    <a:pt x="236" y="1495"/>
                  </a:lnTo>
                  <a:lnTo>
                    <a:pt x="236" y="1497"/>
                  </a:lnTo>
                  <a:close/>
                  <a:moveTo>
                    <a:pt x="194" y="1435"/>
                  </a:moveTo>
                  <a:lnTo>
                    <a:pt x="194" y="1433"/>
                  </a:lnTo>
                  <a:lnTo>
                    <a:pt x="194" y="1435"/>
                  </a:lnTo>
                  <a:close/>
                  <a:moveTo>
                    <a:pt x="244" y="1412"/>
                  </a:moveTo>
                  <a:lnTo>
                    <a:pt x="244" y="1410"/>
                  </a:lnTo>
                  <a:lnTo>
                    <a:pt x="244" y="1412"/>
                  </a:lnTo>
                  <a:close/>
                  <a:moveTo>
                    <a:pt x="191" y="1123"/>
                  </a:moveTo>
                  <a:lnTo>
                    <a:pt x="191" y="1121"/>
                  </a:lnTo>
                  <a:lnTo>
                    <a:pt x="191" y="1123"/>
                  </a:lnTo>
                  <a:close/>
                  <a:moveTo>
                    <a:pt x="218" y="1484"/>
                  </a:moveTo>
                  <a:lnTo>
                    <a:pt x="218" y="1485"/>
                  </a:lnTo>
                  <a:lnTo>
                    <a:pt x="218" y="1484"/>
                  </a:lnTo>
                  <a:close/>
                  <a:moveTo>
                    <a:pt x="574" y="1407"/>
                  </a:moveTo>
                  <a:lnTo>
                    <a:pt x="576" y="1407"/>
                  </a:lnTo>
                  <a:lnTo>
                    <a:pt x="576" y="1409"/>
                  </a:lnTo>
                  <a:lnTo>
                    <a:pt x="574" y="1407"/>
                  </a:lnTo>
                  <a:close/>
                  <a:moveTo>
                    <a:pt x="280" y="1438"/>
                  </a:moveTo>
                  <a:lnTo>
                    <a:pt x="282" y="1438"/>
                  </a:lnTo>
                  <a:lnTo>
                    <a:pt x="280" y="1438"/>
                  </a:lnTo>
                  <a:close/>
                  <a:moveTo>
                    <a:pt x="171" y="1020"/>
                  </a:moveTo>
                  <a:lnTo>
                    <a:pt x="171" y="1022"/>
                  </a:lnTo>
                  <a:lnTo>
                    <a:pt x="171" y="1020"/>
                  </a:lnTo>
                  <a:close/>
                  <a:moveTo>
                    <a:pt x="249" y="1380"/>
                  </a:moveTo>
                  <a:lnTo>
                    <a:pt x="251" y="1380"/>
                  </a:lnTo>
                  <a:lnTo>
                    <a:pt x="249" y="1380"/>
                  </a:lnTo>
                  <a:close/>
                  <a:moveTo>
                    <a:pt x="163" y="1493"/>
                  </a:moveTo>
                  <a:lnTo>
                    <a:pt x="163" y="1495"/>
                  </a:lnTo>
                  <a:lnTo>
                    <a:pt x="163" y="1493"/>
                  </a:lnTo>
                  <a:close/>
                  <a:moveTo>
                    <a:pt x="700" y="1326"/>
                  </a:moveTo>
                  <a:lnTo>
                    <a:pt x="701" y="1326"/>
                  </a:lnTo>
                  <a:lnTo>
                    <a:pt x="700" y="1326"/>
                  </a:lnTo>
                  <a:close/>
                  <a:moveTo>
                    <a:pt x="228" y="1493"/>
                  </a:moveTo>
                  <a:lnTo>
                    <a:pt x="230" y="1493"/>
                  </a:lnTo>
                  <a:lnTo>
                    <a:pt x="228" y="1493"/>
                  </a:lnTo>
                  <a:close/>
                  <a:moveTo>
                    <a:pt x="363" y="1474"/>
                  </a:moveTo>
                  <a:lnTo>
                    <a:pt x="365" y="1474"/>
                  </a:lnTo>
                  <a:lnTo>
                    <a:pt x="363" y="1474"/>
                  </a:lnTo>
                  <a:close/>
                  <a:moveTo>
                    <a:pt x="207" y="1001"/>
                  </a:moveTo>
                  <a:lnTo>
                    <a:pt x="207" y="999"/>
                  </a:lnTo>
                  <a:lnTo>
                    <a:pt x="207" y="1001"/>
                  </a:lnTo>
                  <a:close/>
                  <a:moveTo>
                    <a:pt x="244" y="1436"/>
                  </a:moveTo>
                  <a:lnTo>
                    <a:pt x="244" y="1438"/>
                  </a:lnTo>
                  <a:lnTo>
                    <a:pt x="244" y="1436"/>
                  </a:lnTo>
                  <a:close/>
                  <a:moveTo>
                    <a:pt x="529" y="1415"/>
                  </a:moveTo>
                  <a:lnTo>
                    <a:pt x="529" y="1414"/>
                  </a:lnTo>
                  <a:lnTo>
                    <a:pt x="529" y="1415"/>
                  </a:lnTo>
                  <a:close/>
                  <a:moveTo>
                    <a:pt x="579" y="1402"/>
                  </a:moveTo>
                  <a:lnTo>
                    <a:pt x="579" y="1401"/>
                  </a:lnTo>
                  <a:lnTo>
                    <a:pt x="579" y="1402"/>
                  </a:lnTo>
                  <a:close/>
                  <a:moveTo>
                    <a:pt x="194" y="1147"/>
                  </a:moveTo>
                  <a:lnTo>
                    <a:pt x="195" y="1147"/>
                  </a:lnTo>
                  <a:lnTo>
                    <a:pt x="194" y="1147"/>
                  </a:lnTo>
                  <a:close/>
                  <a:moveTo>
                    <a:pt x="230" y="1466"/>
                  </a:moveTo>
                  <a:lnTo>
                    <a:pt x="230" y="1467"/>
                  </a:lnTo>
                  <a:lnTo>
                    <a:pt x="230" y="1466"/>
                  </a:lnTo>
                  <a:close/>
                  <a:moveTo>
                    <a:pt x="261" y="1487"/>
                  </a:moveTo>
                  <a:lnTo>
                    <a:pt x="259" y="1485"/>
                  </a:lnTo>
                  <a:lnTo>
                    <a:pt x="261" y="1485"/>
                  </a:lnTo>
                  <a:lnTo>
                    <a:pt x="261" y="1487"/>
                  </a:lnTo>
                  <a:close/>
                  <a:moveTo>
                    <a:pt x="169" y="1440"/>
                  </a:moveTo>
                  <a:lnTo>
                    <a:pt x="171" y="1440"/>
                  </a:lnTo>
                  <a:lnTo>
                    <a:pt x="169" y="1440"/>
                  </a:lnTo>
                  <a:close/>
                  <a:moveTo>
                    <a:pt x="272" y="1432"/>
                  </a:moveTo>
                  <a:lnTo>
                    <a:pt x="274" y="1432"/>
                  </a:lnTo>
                  <a:lnTo>
                    <a:pt x="272" y="1432"/>
                  </a:lnTo>
                  <a:close/>
                  <a:moveTo>
                    <a:pt x="165" y="1445"/>
                  </a:moveTo>
                  <a:lnTo>
                    <a:pt x="165" y="1443"/>
                  </a:lnTo>
                  <a:lnTo>
                    <a:pt x="165" y="1445"/>
                  </a:lnTo>
                  <a:close/>
                  <a:moveTo>
                    <a:pt x="649" y="1337"/>
                  </a:moveTo>
                  <a:lnTo>
                    <a:pt x="651" y="1337"/>
                  </a:lnTo>
                  <a:lnTo>
                    <a:pt x="649" y="1337"/>
                  </a:lnTo>
                  <a:close/>
                  <a:moveTo>
                    <a:pt x="199" y="1153"/>
                  </a:moveTo>
                  <a:lnTo>
                    <a:pt x="199" y="1155"/>
                  </a:lnTo>
                  <a:lnTo>
                    <a:pt x="199" y="1153"/>
                  </a:lnTo>
                  <a:close/>
                  <a:moveTo>
                    <a:pt x="168" y="1451"/>
                  </a:moveTo>
                  <a:lnTo>
                    <a:pt x="168" y="1449"/>
                  </a:lnTo>
                  <a:lnTo>
                    <a:pt x="168" y="1451"/>
                  </a:lnTo>
                  <a:close/>
                  <a:moveTo>
                    <a:pt x="304" y="1423"/>
                  </a:moveTo>
                  <a:lnTo>
                    <a:pt x="306" y="1423"/>
                  </a:lnTo>
                  <a:lnTo>
                    <a:pt x="304" y="1423"/>
                  </a:lnTo>
                  <a:close/>
                  <a:moveTo>
                    <a:pt x="215" y="1477"/>
                  </a:moveTo>
                  <a:lnTo>
                    <a:pt x="217" y="1477"/>
                  </a:lnTo>
                  <a:lnTo>
                    <a:pt x="215" y="1477"/>
                  </a:lnTo>
                  <a:close/>
                  <a:moveTo>
                    <a:pt x="225" y="1456"/>
                  </a:moveTo>
                  <a:lnTo>
                    <a:pt x="226" y="1456"/>
                  </a:lnTo>
                  <a:lnTo>
                    <a:pt x="225" y="1456"/>
                  </a:lnTo>
                  <a:close/>
                  <a:moveTo>
                    <a:pt x="269" y="1438"/>
                  </a:moveTo>
                  <a:lnTo>
                    <a:pt x="270" y="1438"/>
                  </a:lnTo>
                  <a:lnTo>
                    <a:pt x="269" y="1438"/>
                  </a:lnTo>
                  <a:close/>
                  <a:moveTo>
                    <a:pt x="186" y="1095"/>
                  </a:moveTo>
                  <a:lnTo>
                    <a:pt x="187" y="1095"/>
                  </a:lnTo>
                  <a:lnTo>
                    <a:pt x="186" y="1095"/>
                  </a:lnTo>
                  <a:close/>
                  <a:moveTo>
                    <a:pt x="264" y="1479"/>
                  </a:moveTo>
                  <a:lnTo>
                    <a:pt x="264" y="1480"/>
                  </a:lnTo>
                  <a:lnTo>
                    <a:pt x="264" y="1479"/>
                  </a:lnTo>
                  <a:close/>
                  <a:moveTo>
                    <a:pt x="340" y="1435"/>
                  </a:moveTo>
                  <a:lnTo>
                    <a:pt x="340" y="1433"/>
                  </a:lnTo>
                  <a:lnTo>
                    <a:pt x="340" y="1435"/>
                  </a:lnTo>
                  <a:close/>
                  <a:moveTo>
                    <a:pt x="186" y="1454"/>
                  </a:moveTo>
                  <a:lnTo>
                    <a:pt x="186" y="1456"/>
                  </a:lnTo>
                  <a:lnTo>
                    <a:pt x="186" y="1454"/>
                  </a:lnTo>
                  <a:close/>
                  <a:moveTo>
                    <a:pt x="586" y="1394"/>
                  </a:moveTo>
                  <a:lnTo>
                    <a:pt x="587" y="1394"/>
                  </a:lnTo>
                  <a:lnTo>
                    <a:pt x="586" y="1394"/>
                  </a:lnTo>
                  <a:close/>
                  <a:moveTo>
                    <a:pt x="238" y="1384"/>
                  </a:moveTo>
                  <a:lnTo>
                    <a:pt x="236" y="1384"/>
                  </a:lnTo>
                  <a:lnTo>
                    <a:pt x="238" y="1384"/>
                  </a:lnTo>
                  <a:close/>
                  <a:moveTo>
                    <a:pt x="261" y="1432"/>
                  </a:moveTo>
                  <a:lnTo>
                    <a:pt x="261" y="1433"/>
                  </a:lnTo>
                  <a:lnTo>
                    <a:pt x="261" y="1432"/>
                  </a:lnTo>
                  <a:close/>
                  <a:moveTo>
                    <a:pt x="230" y="1475"/>
                  </a:moveTo>
                  <a:lnTo>
                    <a:pt x="230" y="1477"/>
                  </a:lnTo>
                  <a:lnTo>
                    <a:pt x="230" y="1475"/>
                  </a:lnTo>
                  <a:close/>
                  <a:moveTo>
                    <a:pt x="171" y="1010"/>
                  </a:moveTo>
                  <a:lnTo>
                    <a:pt x="173" y="1010"/>
                  </a:lnTo>
                  <a:lnTo>
                    <a:pt x="171" y="1010"/>
                  </a:lnTo>
                  <a:close/>
                  <a:moveTo>
                    <a:pt x="239" y="1292"/>
                  </a:moveTo>
                  <a:lnTo>
                    <a:pt x="241" y="1292"/>
                  </a:lnTo>
                  <a:lnTo>
                    <a:pt x="239" y="1292"/>
                  </a:lnTo>
                  <a:close/>
                  <a:moveTo>
                    <a:pt x="262" y="1472"/>
                  </a:moveTo>
                  <a:lnTo>
                    <a:pt x="264" y="1472"/>
                  </a:lnTo>
                  <a:lnTo>
                    <a:pt x="262" y="1472"/>
                  </a:lnTo>
                  <a:close/>
                  <a:moveTo>
                    <a:pt x="239" y="1438"/>
                  </a:moveTo>
                  <a:lnTo>
                    <a:pt x="239" y="1436"/>
                  </a:lnTo>
                  <a:lnTo>
                    <a:pt x="241" y="1438"/>
                  </a:lnTo>
                  <a:lnTo>
                    <a:pt x="239" y="1438"/>
                  </a:lnTo>
                  <a:close/>
                  <a:moveTo>
                    <a:pt x="199" y="1488"/>
                  </a:moveTo>
                  <a:lnTo>
                    <a:pt x="197" y="1488"/>
                  </a:lnTo>
                  <a:lnTo>
                    <a:pt x="199" y="1488"/>
                  </a:lnTo>
                  <a:close/>
                  <a:moveTo>
                    <a:pt x="581" y="1401"/>
                  </a:moveTo>
                  <a:lnTo>
                    <a:pt x="583" y="1401"/>
                  </a:lnTo>
                  <a:lnTo>
                    <a:pt x="581" y="1401"/>
                  </a:lnTo>
                  <a:close/>
                  <a:moveTo>
                    <a:pt x="249" y="1393"/>
                  </a:moveTo>
                  <a:lnTo>
                    <a:pt x="251" y="1393"/>
                  </a:lnTo>
                  <a:lnTo>
                    <a:pt x="251" y="1394"/>
                  </a:lnTo>
                  <a:lnTo>
                    <a:pt x="249" y="1393"/>
                  </a:lnTo>
                  <a:close/>
                  <a:moveTo>
                    <a:pt x="187" y="1479"/>
                  </a:moveTo>
                  <a:lnTo>
                    <a:pt x="186" y="1479"/>
                  </a:lnTo>
                  <a:lnTo>
                    <a:pt x="187" y="1479"/>
                  </a:lnTo>
                  <a:close/>
                  <a:moveTo>
                    <a:pt x="298" y="1472"/>
                  </a:moveTo>
                  <a:lnTo>
                    <a:pt x="300" y="1472"/>
                  </a:lnTo>
                  <a:lnTo>
                    <a:pt x="298" y="1472"/>
                  </a:lnTo>
                  <a:close/>
                  <a:moveTo>
                    <a:pt x="277" y="1464"/>
                  </a:moveTo>
                  <a:lnTo>
                    <a:pt x="277" y="1466"/>
                  </a:lnTo>
                  <a:lnTo>
                    <a:pt x="277" y="1464"/>
                  </a:lnTo>
                  <a:close/>
                  <a:moveTo>
                    <a:pt x="165" y="1500"/>
                  </a:moveTo>
                  <a:lnTo>
                    <a:pt x="166" y="1498"/>
                  </a:lnTo>
                  <a:lnTo>
                    <a:pt x="166" y="1500"/>
                  </a:lnTo>
                  <a:lnTo>
                    <a:pt x="165" y="1500"/>
                  </a:lnTo>
                  <a:close/>
                  <a:moveTo>
                    <a:pt x="199" y="1014"/>
                  </a:moveTo>
                  <a:lnTo>
                    <a:pt x="200" y="1014"/>
                  </a:lnTo>
                  <a:lnTo>
                    <a:pt x="199" y="1014"/>
                  </a:lnTo>
                  <a:close/>
                  <a:moveTo>
                    <a:pt x="272" y="955"/>
                  </a:moveTo>
                  <a:lnTo>
                    <a:pt x="272" y="957"/>
                  </a:lnTo>
                  <a:lnTo>
                    <a:pt x="272" y="955"/>
                  </a:lnTo>
                  <a:close/>
                  <a:moveTo>
                    <a:pt x="280" y="1435"/>
                  </a:moveTo>
                  <a:lnTo>
                    <a:pt x="280" y="1436"/>
                  </a:lnTo>
                  <a:lnTo>
                    <a:pt x="280" y="1435"/>
                  </a:lnTo>
                  <a:close/>
                  <a:moveTo>
                    <a:pt x="236" y="1295"/>
                  </a:moveTo>
                  <a:lnTo>
                    <a:pt x="238" y="1295"/>
                  </a:lnTo>
                  <a:lnTo>
                    <a:pt x="236" y="1295"/>
                  </a:lnTo>
                  <a:close/>
                  <a:moveTo>
                    <a:pt x="236" y="1280"/>
                  </a:moveTo>
                  <a:lnTo>
                    <a:pt x="238" y="1280"/>
                  </a:lnTo>
                  <a:lnTo>
                    <a:pt x="236" y="1280"/>
                  </a:lnTo>
                  <a:close/>
                  <a:moveTo>
                    <a:pt x="169" y="1500"/>
                  </a:moveTo>
                  <a:lnTo>
                    <a:pt x="169" y="1498"/>
                  </a:lnTo>
                  <a:lnTo>
                    <a:pt x="169" y="1500"/>
                  </a:lnTo>
                  <a:close/>
                  <a:moveTo>
                    <a:pt x="308" y="867"/>
                  </a:moveTo>
                  <a:lnTo>
                    <a:pt x="309" y="867"/>
                  </a:lnTo>
                  <a:lnTo>
                    <a:pt x="308" y="867"/>
                  </a:lnTo>
                  <a:close/>
                  <a:moveTo>
                    <a:pt x="234" y="1002"/>
                  </a:moveTo>
                  <a:lnTo>
                    <a:pt x="234" y="1004"/>
                  </a:lnTo>
                  <a:lnTo>
                    <a:pt x="234" y="1002"/>
                  </a:lnTo>
                  <a:close/>
                  <a:moveTo>
                    <a:pt x="236" y="1422"/>
                  </a:moveTo>
                  <a:lnTo>
                    <a:pt x="236" y="1423"/>
                  </a:lnTo>
                  <a:lnTo>
                    <a:pt x="236" y="1422"/>
                  </a:lnTo>
                  <a:close/>
                  <a:moveTo>
                    <a:pt x="594" y="1388"/>
                  </a:moveTo>
                  <a:lnTo>
                    <a:pt x="596" y="1388"/>
                  </a:lnTo>
                  <a:lnTo>
                    <a:pt x="594" y="1388"/>
                  </a:lnTo>
                  <a:close/>
                  <a:moveTo>
                    <a:pt x="287" y="1449"/>
                  </a:moveTo>
                  <a:lnTo>
                    <a:pt x="288" y="1449"/>
                  </a:lnTo>
                  <a:lnTo>
                    <a:pt x="287" y="1449"/>
                  </a:lnTo>
                  <a:close/>
                  <a:moveTo>
                    <a:pt x="243" y="1383"/>
                  </a:moveTo>
                  <a:lnTo>
                    <a:pt x="244" y="1383"/>
                  </a:lnTo>
                  <a:lnTo>
                    <a:pt x="243" y="1383"/>
                  </a:lnTo>
                  <a:close/>
                  <a:moveTo>
                    <a:pt x="220" y="1464"/>
                  </a:moveTo>
                  <a:lnTo>
                    <a:pt x="221" y="1464"/>
                  </a:lnTo>
                  <a:lnTo>
                    <a:pt x="220" y="1464"/>
                  </a:lnTo>
                  <a:close/>
                  <a:moveTo>
                    <a:pt x="308" y="1484"/>
                  </a:moveTo>
                  <a:lnTo>
                    <a:pt x="308" y="1485"/>
                  </a:lnTo>
                  <a:lnTo>
                    <a:pt x="308" y="1484"/>
                  </a:lnTo>
                  <a:close/>
                  <a:moveTo>
                    <a:pt x="537" y="1415"/>
                  </a:moveTo>
                  <a:lnTo>
                    <a:pt x="537" y="1414"/>
                  </a:lnTo>
                  <a:lnTo>
                    <a:pt x="537" y="1415"/>
                  </a:lnTo>
                  <a:close/>
                  <a:moveTo>
                    <a:pt x="239" y="1425"/>
                  </a:moveTo>
                  <a:lnTo>
                    <a:pt x="239" y="1427"/>
                  </a:lnTo>
                  <a:lnTo>
                    <a:pt x="239" y="1425"/>
                  </a:lnTo>
                  <a:close/>
                  <a:moveTo>
                    <a:pt x="584" y="1394"/>
                  </a:moveTo>
                  <a:lnTo>
                    <a:pt x="586" y="1394"/>
                  </a:lnTo>
                  <a:lnTo>
                    <a:pt x="584" y="1394"/>
                  </a:lnTo>
                  <a:close/>
                  <a:moveTo>
                    <a:pt x="355" y="1474"/>
                  </a:moveTo>
                  <a:lnTo>
                    <a:pt x="356" y="1474"/>
                  </a:lnTo>
                  <a:lnTo>
                    <a:pt x="355" y="1474"/>
                  </a:lnTo>
                  <a:close/>
                  <a:moveTo>
                    <a:pt x="291" y="1472"/>
                  </a:moveTo>
                  <a:lnTo>
                    <a:pt x="293" y="1472"/>
                  </a:lnTo>
                  <a:lnTo>
                    <a:pt x="291" y="1472"/>
                  </a:lnTo>
                  <a:close/>
                  <a:moveTo>
                    <a:pt x="342" y="1484"/>
                  </a:moveTo>
                  <a:lnTo>
                    <a:pt x="342" y="1482"/>
                  </a:lnTo>
                  <a:lnTo>
                    <a:pt x="342" y="1484"/>
                  </a:lnTo>
                  <a:close/>
                  <a:moveTo>
                    <a:pt x="270" y="1469"/>
                  </a:moveTo>
                  <a:lnTo>
                    <a:pt x="270" y="1467"/>
                  </a:lnTo>
                  <a:lnTo>
                    <a:pt x="270" y="1469"/>
                  </a:lnTo>
                  <a:close/>
                  <a:moveTo>
                    <a:pt x="205" y="1480"/>
                  </a:moveTo>
                  <a:lnTo>
                    <a:pt x="205" y="1482"/>
                  </a:lnTo>
                  <a:lnTo>
                    <a:pt x="205" y="1480"/>
                  </a:lnTo>
                  <a:close/>
                  <a:moveTo>
                    <a:pt x="283" y="1440"/>
                  </a:moveTo>
                  <a:lnTo>
                    <a:pt x="285" y="1440"/>
                  </a:lnTo>
                  <a:lnTo>
                    <a:pt x="283" y="1440"/>
                  </a:lnTo>
                  <a:close/>
                  <a:moveTo>
                    <a:pt x="337" y="1464"/>
                  </a:moveTo>
                  <a:lnTo>
                    <a:pt x="337" y="1462"/>
                  </a:lnTo>
                  <a:lnTo>
                    <a:pt x="339" y="1464"/>
                  </a:lnTo>
                  <a:lnTo>
                    <a:pt x="337" y="1464"/>
                  </a:lnTo>
                  <a:close/>
                  <a:moveTo>
                    <a:pt x="132" y="1474"/>
                  </a:moveTo>
                  <a:lnTo>
                    <a:pt x="134" y="1474"/>
                  </a:lnTo>
                  <a:lnTo>
                    <a:pt x="132" y="1474"/>
                  </a:lnTo>
                  <a:close/>
                  <a:moveTo>
                    <a:pt x="210" y="1017"/>
                  </a:moveTo>
                  <a:lnTo>
                    <a:pt x="208" y="1017"/>
                  </a:lnTo>
                  <a:lnTo>
                    <a:pt x="210" y="1017"/>
                  </a:lnTo>
                  <a:close/>
                  <a:moveTo>
                    <a:pt x="127" y="1471"/>
                  </a:moveTo>
                  <a:lnTo>
                    <a:pt x="127" y="1472"/>
                  </a:lnTo>
                  <a:lnTo>
                    <a:pt x="127" y="1471"/>
                  </a:lnTo>
                  <a:close/>
                  <a:moveTo>
                    <a:pt x="189" y="1493"/>
                  </a:moveTo>
                  <a:lnTo>
                    <a:pt x="189" y="1495"/>
                  </a:lnTo>
                  <a:lnTo>
                    <a:pt x="189" y="1493"/>
                  </a:lnTo>
                  <a:close/>
                  <a:moveTo>
                    <a:pt x="342" y="657"/>
                  </a:moveTo>
                  <a:lnTo>
                    <a:pt x="343" y="657"/>
                  </a:lnTo>
                  <a:lnTo>
                    <a:pt x="342" y="657"/>
                  </a:lnTo>
                  <a:close/>
                  <a:moveTo>
                    <a:pt x="244" y="1417"/>
                  </a:moveTo>
                  <a:lnTo>
                    <a:pt x="244" y="1415"/>
                  </a:lnTo>
                  <a:lnTo>
                    <a:pt x="244" y="1417"/>
                  </a:lnTo>
                  <a:close/>
                  <a:moveTo>
                    <a:pt x="272" y="1462"/>
                  </a:moveTo>
                  <a:lnTo>
                    <a:pt x="274" y="1462"/>
                  </a:lnTo>
                  <a:lnTo>
                    <a:pt x="272" y="1462"/>
                  </a:lnTo>
                  <a:close/>
                  <a:moveTo>
                    <a:pt x="192" y="1456"/>
                  </a:moveTo>
                  <a:lnTo>
                    <a:pt x="192" y="1458"/>
                  </a:lnTo>
                  <a:lnTo>
                    <a:pt x="192" y="1456"/>
                  </a:lnTo>
                  <a:close/>
                  <a:moveTo>
                    <a:pt x="213" y="1179"/>
                  </a:moveTo>
                  <a:lnTo>
                    <a:pt x="213" y="1181"/>
                  </a:lnTo>
                  <a:lnTo>
                    <a:pt x="213" y="1179"/>
                  </a:lnTo>
                  <a:close/>
                  <a:moveTo>
                    <a:pt x="225" y="1218"/>
                  </a:moveTo>
                  <a:lnTo>
                    <a:pt x="223" y="1218"/>
                  </a:lnTo>
                  <a:lnTo>
                    <a:pt x="225" y="1218"/>
                  </a:lnTo>
                  <a:close/>
                  <a:moveTo>
                    <a:pt x="194" y="1480"/>
                  </a:moveTo>
                  <a:lnTo>
                    <a:pt x="194" y="1482"/>
                  </a:lnTo>
                  <a:lnTo>
                    <a:pt x="194" y="1480"/>
                  </a:lnTo>
                  <a:close/>
                  <a:moveTo>
                    <a:pt x="326" y="1492"/>
                  </a:moveTo>
                  <a:lnTo>
                    <a:pt x="324" y="1492"/>
                  </a:lnTo>
                  <a:lnTo>
                    <a:pt x="326" y="1492"/>
                  </a:lnTo>
                  <a:close/>
                  <a:moveTo>
                    <a:pt x="223" y="1420"/>
                  </a:moveTo>
                  <a:lnTo>
                    <a:pt x="223" y="1422"/>
                  </a:lnTo>
                  <a:lnTo>
                    <a:pt x="223" y="1420"/>
                  </a:lnTo>
                  <a:close/>
                  <a:moveTo>
                    <a:pt x="309" y="1477"/>
                  </a:moveTo>
                  <a:lnTo>
                    <a:pt x="309" y="1479"/>
                  </a:lnTo>
                  <a:lnTo>
                    <a:pt x="309" y="1477"/>
                  </a:lnTo>
                  <a:close/>
                  <a:moveTo>
                    <a:pt x="244" y="1388"/>
                  </a:moveTo>
                  <a:lnTo>
                    <a:pt x="244" y="1386"/>
                  </a:lnTo>
                  <a:lnTo>
                    <a:pt x="244" y="1388"/>
                  </a:lnTo>
                  <a:close/>
                  <a:moveTo>
                    <a:pt x="249" y="1393"/>
                  </a:moveTo>
                  <a:lnTo>
                    <a:pt x="249" y="1394"/>
                  </a:lnTo>
                  <a:lnTo>
                    <a:pt x="249" y="1393"/>
                  </a:lnTo>
                  <a:close/>
                  <a:moveTo>
                    <a:pt x="226" y="1228"/>
                  </a:moveTo>
                  <a:lnTo>
                    <a:pt x="228" y="1228"/>
                  </a:lnTo>
                  <a:lnTo>
                    <a:pt x="226" y="1228"/>
                  </a:lnTo>
                  <a:close/>
                  <a:moveTo>
                    <a:pt x="147" y="1482"/>
                  </a:moveTo>
                  <a:lnTo>
                    <a:pt x="147" y="1484"/>
                  </a:lnTo>
                  <a:lnTo>
                    <a:pt x="147" y="1482"/>
                  </a:lnTo>
                  <a:close/>
                  <a:moveTo>
                    <a:pt x="243" y="1440"/>
                  </a:moveTo>
                  <a:lnTo>
                    <a:pt x="243" y="1438"/>
                  </a:lnTo>
                  <a:lnTo>
                    <a:pt x="244" y="1438"/>
                  </a:lnTo>
                  <a:lnTo>
                    <a:pt x="243" y="1440"/>
                  </a:lnTo>
                  <a:close/>
                  <a:moveTo>
                    <a:pt x="532" y="1414"/>
                  </a:moveTo>
                  <a:lnTo>
                    <a:pt x="532" y="1412"/>
                  </a:lnTo>
                  <a:lnTo>
                    <a:pt x="532" y="1414"/>
                  </a:lnTo>
                  <a:close/>
                  <a:moveTo>
                    <a:pt x="337" y="1474"/>
                  </a:moveTo>
                  <a:lnTo>
                    <a:pt x="337" y="1472"/>
                  </a:lnTo>
                  <a:lnTo>
                    <a:pt x="337" y="1474"/>
                  </a:lnTo>
                  <a:close/>
                  <a:moveTo>
                    <a:pt x="291" y="1448"/>
                  </a:moveTo>
                  <a:lnTo>
                    <a:pt x="293" y="1448"/>
                  </a:lnTo>
                  <a:lnTo>
                    <a:pt x="291" y="1448"/>
                  </a:lnTo>
                  <a:close/>
                  <a:moveTo>
                    <a:pt x="249" y="968"/>
                  </a:moveTo>
                  <a:lnTo>
                    <a:pt x="249" y="970"/>
                  </a:lnTo>
                  <a:lnTo>
                    <a:pt x="249" y="968"/>
                  </a:lnTo>
                  <a:close/>
                  <a:moveTo>
                    <a:pt x="212" y="1179"/>
                  </a:moveTo>
                  <a:lnTo>
                    <a:pt x="213" y="1179"/>
                  </a:lnTo>
                  <a:lnTo>
                    <a:pt x="212" y="1179"/>
                  </a:lnTo>
                  <a:close/>
                  <a:moveTo>
                    <a:pt x="682" y="1340"/>
                  </a:moveTo>
                  <a:lnTo>
                    <a:pt x="683" y="1340"/>
                  </a:lnTo>
                  <a:lnTo>
                    <a:pt x="682" y="1340"/>
                  </a:lnTo>
                  <a:close/>
                  <a:moveTo>
                    <a:pt x="277" y="1488"/>
                  </a:moveTo>
                  <a:lnTo>
                    <a:pt x="278" y="1488"/>
                  </a:lnTo>
                  <a:lnTo>
                    <a:pt x="277" y="1488"/>
                  </a:lnTo>
                  <a:close/>
                  <a:moveTo>
                    <a:pt x="220" y="1446"/>
                  </a:moveTo>
                  <a:lnTo>
                    <a:pt x="221" y="1446"/>
                  </a:lnTo>
                  <a:lnTo>
                    <a:pt x="220" y="1446"/>
                  </a:lnTo>
                  <a:close/>
                  <a:moveTo>
                    <a:pt x="226" y="1410"/>
                  </a:moveTo>
                  <a:lnTo>
                    <a:pt x="226" y="1409"/>
                  </a:lnTo>
                  <a:lnTo>
                    <a:pt x="226" y="1410"/>
                  </a:lnTo>
                  <a:close/>
                  <a:moveTo>
                    <a:pt x="220" y="1467"/>
                  </a:moveTo>
                  <a:lnTo>
                    <a:pt x="220" y="1469"/>
                  </a:lnTo>
                  <a:lnTo>
                    <a:pt x="220" y="1467"/>
                  </a:lnTo>
                  <a:close/>
                  <a:moveTo>
                    <a:pt x="270" y="1469"/>
                  </a:moveTo>
                  <a:lnTo>
                    <a:pt x="272" y="1469"/>
                  </a:lnTo>
                  <a:lnTo>
                    <a:pt x="270" y="1469"/>
                  </a:lnTo>
                  <a:close/>
                  <a:moveTo>
                    <a:pt x="234" y="1375"/>
                  </a:moveTo>
                  <a:lnTo>
                    <a:pt x="236" y="1375"/>
                  </a:lnTo>
                  <a:lnTo>
                    <a:pt x="234" y="1375"/>
                  </a:lnTo>
                  <a:close/>
                  <a:moveTo>
                    <a:pt x="189" y="1136"/>
                  </a:moveTo>
                  <a:lnTo>
                    <a:pt x="189" y="1137"/>
                  </a:lnTo>
                  <a:lnTo>
                    <a:pt x="189" y="1136"/>
                  </a:lnTo>
                  <a:close/>
                  <a:moveTo>
                    <a:pt x="599" y="1370"/>
                  </a:moveTo>
                  <a:lnTo>
                    <a:pt x="599" y="1368"/>
                  </a:lnTo>
                  <a:lnTo>
                    <a:pt x="599" y="1370"/>
                  </a:lnTo>
                  <a:close/>
                  <a:moveTo>
                    <a:pt x="122" y="1475"/>
                  </a:moveTo>
                  <a:lnTo>
                    <a:pt x="124" y="1475"/>
                  </a:lnTo>
                  <a:lnTo>
                    <a:pt x="122" y="1475"/>
                  </a:lnTo>
                  <a:close/>
                  <a:moveTo>
                    <a:pt x="228" y="1469"/>
                  </a:moveTo>
                  <a:lnTo>
                    <a:pt x="228" y="1471"/>
                  </a:lnTo>
                  <a:lnTo>
                    <a:pt x="228" y="1469"/>
                  </a:lnTo>
                  <a:close/>
                  <a:moveTo>
                    <a:pt x="657" y="1357"/>
                  </a:moveTo>
                  <a:lnTo>
                    <a:pt x="657" y="1358"/>
                  </a:lnTo>
                  <a:lnTo>
                    <a:pt x="657" y="1357"/>
                  </a:lnTo>
                  <a:close/>
                  <a:moveTo>
                    <a:pt x="552" y="1420"/>
                  </a:moveTo>
                  <a:lnTo>
                    <a:pt x="553" y="1422"/>
                  </a:lnTo>
                  <a:lnTo>
                    <a:pt x="552" y="1422"/>
                  </a:lnTo>
                  <a:lnTo>
                    <a:pt x="552" y="1420"/>
                  </a:lnTo>
                  <a:close/>
                  <a:moveTo>
                    <a:pt x="300" y="666"/>
                  </a:moveTo>
                  <a:lnTo>
                    <a:pt x="301" y="666"/>
                  </a:lnTo>
                  <a:lnTo>
                    <a:pt x="300" y="666"/>
                  </a:lnTo>
                  <a:close/>
                  <a:moveTo>
                    <a:pt x="174" y="1074"/>
                  </a:moveTo>
                  <a:lnTo>
                    <a:pt x="176" y="1074"/>
                  </a:lnTo>
                  <a:lnTo>
                    <a:pt x="174" y="1074"/>
                  </a:lnTo>
                  <a:close/>
                  <a:moveTo>
                    <a:pt x="696" y="1324"/>
                  </a:moveTo>
                  <a:lnTo>
                    <a:pt x="696" y="1323"/>
                  </a:lnTo>
                  <a:lnTo>
                    <a:pt x="696" y="1324"/>
                  </a:lnTo>
                  <a:close/>
                  <a:moveTo>
                    <a:pt x="234" y="1436"/>
                  </a:moveTo>
                  <a:lnTo>
                    <a:pt x="234" y="1435"/>
                  </a:lnTo>
                  <a:lnTo>
                    <a:pt x="234" y="1436"/>
                  </a:lnTo>
                  <a:close/>
                  <a:moveTo>
                    <a:pt x="231" y="1288"/>
                  </a:moveTo>
                  <a:lnTo>
                    <a:pt x="233" y="1288"/>
                  </a:lnTo>
                  <a:lnTo>
                    <a:pt x="231" y="1288"/>
                  </a:lnTo>
                  <a:close/>
                  <a:moveTo>
                    <a:pt x="378" y="1459"/>
                  </a:moveTo>
                  <a:lnTo>
                    <a:pt x="378" y="1458"/>
                  </a:lnTo>
                  <a:lnTo>
                    <a:pt x="379" y="1459"/>
                  </a:lnTo>
                  <a:lnTo>
                    <a:pt x="378" y="1459"/>
                  </a:lnTo>
                  <a:close/>
                  <a:moveTo>
                    <a:pt x="220" y="1420"/>
                  </a:moveTo>
                  <a:lnTo>
                    <a:pt x="220" y="1419"/>
                  </a:lnTo>
                  <a:lnTo>
                    <a:pt x="220" y="1420"/>
                  </a:lnTo>
                  <a:close/>
                  <a:moveTo>
                    <a:pt x="174" y="1493"/>
                  </a:moveTo>
                  <a:lnTo>
                    <a:pt x="174" y="1495"/>
                  </a:lnTo>
                  <a:lnTo>
                    <a:pt x="174" y="1493"/>
                  </a:lnTo>
                  <a:close/>
                  <a:moveTo>
                    <a:pt x="228" y="1436"/>
                  </a:moveTo>
                  <a:lnTo>
                    <a:pt x="228" y="1435"/>
                  </a:lnTo>
                  <a:lnTo>
                    <a:pt x="228" y="1436"/>
                  </a:lnTo>
                  <a:close/>
                  <a:moveTo>
                    <a:pt x="174" y="1456"/>
                  </a:moveTo>
                  <a:lnTo>
                    <a:pt x="174" y="1454"/>
                  </a:lnTo>
                  <a:lnTo>
                    <a:pt x="174" y="1456"/>
                  </a:lnTo>
                  <a:close/>
                  <a:moveTo>
                    <a:pt x="319" y="1464"/>
                  </a:moveTo>
                  <a:lnTo>
                    <a:pt x="319" y="1466"/>
                  </a:lnTo>
                  <a:lnTo>
                    <a:pt x="319" y="1464"/>
                  </a:lnTo>
                  <a:close/>
                  <a:moveTo>
                    <a:pt x="210" y="1176"/>
                  </a:moveTo>
                  <a:lnTo>
                    <a:pt x="212" y="1176"/>
                  </a:lnTo>
                  <a:lnTo>
                    <a:pt x="210" y="1176"/>
                  </a:lnTo>
                  <a:close/>
                  <a:moveTo>
                    <a:pt x="241" y="1495"/>
                  </a:moveTo>
                  <a:lnTo>
                    <a:pt x="243" y="1495"/>
                  </a:lnTo>
                  <a:lnTo>
                    <a:pt x="241" y="1495"/>
                  </a:lnTo>
                  <a:close/>
                  <a:moveTo>
                    <a:pt x="217" y="1462"/>
                  </a:moveTo>
                  <a:lnTo>
                    <a:pt x="217" y="1461"/>
                  </a:lnTo>
                  <a:lnTo>
                    <a:pt x="217" y="1462"/>
                  </a:lnTo>
                  <a:close/>
                  <a:moveTo>
                    <a:pt x="247" y="1300"/>
                  </a:moveTo>
                  <a:lnTo>
                    <a:pt x="249" y="1300"/>
                  </a:lnTo>
                  <a:lnTo>
                    <a:pt x="247" y="1300"/>
                  </a:lnTo>
                  <a:close/>
                  <a:moveTo>
                    <a:pt x="171" y="1069"/>
                  </a:moveTo>
                  <a:lnTo>
                    <a:pt x="173" y="1069"/>
                  </a:lnTo>
                  <a:lnTo>
                    <a:pt x="171" y="1069"/>
                  </a:lnTo>
                  <a:close/>
                  <a:moveTo>
                    <a:pt x="311" y="1449"/>
                  </a:moveTo>
                  <a:lnTo>
                    <a:pt x="311" y="1448"/>
                  </a:lnTo>
                  <a:lnTo>
                    <a:pt x="311" y="1449"/>
                  </a:lnTo>
                  <a:close/>
                  <a:moveTo>
                    <a:pt x="667" y="1336"/>
                  </a:moveTo>
                  <a:lnTo>
                    <a:pt x="667" y="1334"/>
                  </a:lnTo>
                  <a:lnTo>
                    <a:pt x="667" y="1336"/>
                  </a:lnTo>
                  <a:close/>
                  <a:moveTo>
                    <a:pt x="202" y="1445"/>
                  </a:moveTo>
                  <a:lnTo>
                    <a:pt x="202" y="1446"/>
                  </a:lnTo>
                  <a:lnTo>
                    <a:pt x="202" y="1445"/>
                  </a:lnTo>
                  <a:close/>
                  <a:moveTo>
                    <a:pt x="243" y="1313"/>
                  </a:moveTo>
                  <a:lnTo>
                    <a:pt x="244" y="1313"/>
                  </a:lnTo>
                  <a:lnTo>
                    <a:pt x="243" y="1313"/>
                  </a:lnTo>
                  <a:close/>
                  <a:moveTo>
                    <a:pt x="491" y="1446"/>
                  </a:moveTo>
                  <a:lnTo>
                    <a:pt x="491" y="1448"/>
                  </a:lnTo>
                  <a:lnTo>
                    <a:pt x="491" y="1446"/>
                  </a:lnTo>
                  <a:close/>
                  <a:moveTo>
                    <a:pt x="261" y="931"/>
                  </a:moveTo>
                  <a:lnTo>
                    <a:pt x="259" y="931"/>
                  </a:lnTo>
                  <a:lnTo>
                    <a:pt x="261" y="931"/>
                  </a:lnTo>
                  <a:close/>
                  <a:moveTo>
                    <a:pt x="267" y="1461"/>
                  </a:moveTo>
                  <a:lnTo>
                    <a:pt x="265" y="1461"/>
                  </a:lnTo>
                  <a:lnTo>
                    <a:pt x="267" y="1461"/>
                  </a:lnTo>
                  <a:close/>
                  <a:moveTo>
                    <a:pt x="298" y="1474"/>
                  </a:moveTo>
                  <a:lnTo>
                    <a:pt x="298" y="1475"/>
                  </a:lnTo>
                  <a:lnTo>
                    <a:pt x="298" y="1474"/>
                  </a:lnTo>
                  <a:close/>
                  <a:moveTo>
                    <a:pt x="238" y="1254"/>
                  </a:moveTo>
                  <a:lnTo>
                    <a:pt x="238" y="1256"/>
                  </a:lnTo>
                  <a:lnTo>
                    <a:pt x="238" y="1254"/>
                  </a:lnTo>
                  <a:close/>
                  <a:moveTo>
                    <a:pt x="220" y="1217"/>
                  </a:moveTo>
                  <a:lnTo>
                    <a:pt x="220" y="1215"/>
                  </a:lnTo>
                  <a:lnTo>
                    <a:pt x="221" y="1217"/>
                  </a:lnTo>
                  <a:lnTo>
                    <a:pt x="220" y="1217"/>
                  </a:lnTo>
                  <a:close/>
                  <a:moveTo>
                    <a:pt x="537" y="1422"/>
                  </a:moveTo>
                  <a:lnTo>
                    <a:pt x="537" y="1420"/>
                  </a:lnTo>
                  <a:lnTo>
                    <a:pt x="537" y="1422"/>
                  </a:lnTo>
                  <a:close/>
                  <a:moveTo>
                    <a:pt x="667" y="1342"/>
                  </a:moveTo>
                  <a:lnTo>
                    <a:pt x="669" y="1342"/>
                  </a:lnTo>
                  <a:lnTo>
                    <a:pt x="667" y="1342"/>
                  </a:lnTo>
                  <a:close/>
                  <a:moveTo>
                    <a:pt x="542" y="1406"/>
                  </a:moveTo>
                  <a:lnTo>
                    <a:pt x="542" y="1404"/>
                  </a:lnTo>
                  <a:lnTo>
                    <a:pt x="542" y="1406"/>
                  </a:lnTo>
                  <a:close/>
                  <a:moveTo>
                    <a:pt x="249" y="586"/>
                  </a:moveTo>
                  <a:lnTo>
                    <a:pt x="251" y="586"/>
                  </a:lnTo>
                  <a:lnTo>
                    <a:pt x="249" y="586"/>
                  </a:lnTo>
                  <a:close/>
                  <a:moveTo>
                    <a:pt x="174" y="1075"/>
                  </a:moveTo>
                  <a:lnTo>
                    <a:pt x="176" y="1075"/>
                  </a:lnTo>
                  <a:lnTo>
                    <a:pt x="174" y="1075"/>
                  </a:lnTo>
                  <a:close/>
                  <a:moveTo>
                    <a:pt x="504" y="1427"/>
                  </a:moveTo>
                  <a:lnTo>
                    <a:pt x="504" y="1425"/>
                  </a:lnTo>
                  <a:lnTo>
                    <a:pt x="504" y="1427"/>
                  </a:lnTo>
                  <a:close/>
                  <a:moveTo>
                    <a:pt x="308" y="651"/>
                  </a:moveTo>
                  <a:lnTo>
                    <a:pt x="308" y="649"/>
                  </a:lnTo>
                  <a:lnTo>
                    <a:pt x="309" y="649"/>
                  </a:lnTo>
                  <a:lnTo>
                    <a:pt x="308" y="651"/>
                  </a:lnTo>
                  <a:close/>
                  <a:moveTo>
                    <a:pt x="604" y="1368"/>
                  </a:moveTo>
                  <a:lnTo>
                    <a:pt x="604" y="1366"/>
                  </a:lnTo>
                  <a:lnTo>
                    <a:pt x="604" y="1368"/>
                  </a:lnTo>
                  <a:close/>
                  <a:moveTo>
                    <a:pt x="293" y="1456"/>
                  </a:moveTo>
                  <a:lnTo>
                    <a:pt x="293" y="1454"/>
                  </a:lnTo>
                  <a:lnTo>
                    <a:pt x="293" y="1456"/>
                  </a:lnTo>
                  <a:close/>
                  <a:moveTo>
                    <a:pt x="678" y="1353"/>
                  </a:moveTo>
                  <a:lnTo>
                    <a:pt x="678" y="1352"/>
                  </a:lnTo>
                  <a:lnTo>
                    <a:pt x="678" y="1353"/>
                  </a:lnTo>
                  <a:close/>
                  <a:moveTo>
                    <a:pt x="298" y="913"/>
                  </a:moveTo>
                  <a:lnTo>
                    <a:pt x="298" y="914"/>
                  </a:lnTo>
                  <a:lnTo>
                    <a:pt x="298" y="913"/>
                  </a:lnTo>
                  <a:close/>
                  <a:moveTo>
                    <a:pt x="174" y="1077"/>
                  </a:moveTo>
                  <a:lnTo>
                    <a:pt x="176" y="1077"/>
                  </a:lnTo>
                  <a:lnTo>
                    <a:pt x="174" y="1077"/>
                  </a:lnTo>
                  <a:close/>
                  <a:moveTo>
                    <a:pt x="477" y="1441"/>
                  </a:moveTo>
                  <a:lnTo>
                    <a:pt x="478" y="1441"/>
                  </a:lnTo>
                  <a:lnTo>
                    <a:pt x="477" y="1441"/>
                  </a:lnTo>
                  <a:close/>
                  <a:moveTo>
                    <a:pt x="287" y="1432"/>
                  </a:moveTo>
                  <a:lnTo>
                    <a:pt x="287" y="1430"/>
                  </a:lnTo>
                  <a:lnTo>
                    <a:pt x="287" y="1432"/>
                  </a:lnTo>
                  <a:close/>
                  <a:moveTo>
                    <a:pt x="234" y="1292"/>
                  </a:moveTo>
                  <a:lnTo>
                    <a:pt x="236" y="1292"/>
                  </a:lnTo>
                  <a:lnTo>
                    <a:pt x="234" y="1292"/>
                  </a:lnTo>
                  <a:close/>
                  <a:moveTo>
                    <a:pt x="277" y="1487"/>
                  </a:moveTo>
                  <a:lnTo>
                    <a:pt x="277" y="1485"/>
                  </a:lnTo>
                  <a:lnTo>
                    <a:pt x="278" y="1487"/>
                  </a:lnTo>
                  <a:lnTo>
                    <a:pt x="277" y="1487"/>
                  </a:lnTo>
                  <a:close/>
                  <a:moveTo>
                    <a:pt x="280" y="1445"/>
                  </a:moveTo>
                  <a:lnTo>
                    <a:pt x="282" y="1445"/>
                  </a:lnTo>
                  <a:lnTo>
                    <a:pt x="280" y="1445"/>
                  </a:lnTo>
                  <a:close/>
                  <a:moveTo>
                    <a:pt x="661" y="1363"/>
                  </a:moveTo>
                  <a:lnTo>
                    <a:pt x="661" y="1365"/>
                  </a:lnTo>
                  <a:lnTo>
                    <a:pt x="661" y="1363"/>
                  </a:lnTo>
                  <a:close/>
                  <a:moveTo>
                    <a:pt x="199" y="1432"/>
                  </a:moveTo>
                  <a:lnTo>
                    <a:pt x="200" y="1432"/>
                  </a:lnTo>
                  <a:lnTo>
                    <a:pt x="199" y="1432"/>
                  </a:lnTo>
                  <a:close/>
                  <a:moveTo>
                    <a:pt x="145" y="1446"/>
                  </a:moveTo>
                  <a:lnTo>
                    <a:pt x="145" y="1445"/>
                  </a:lnTo>
                  <a:lnTo>
                    <a:pt x="145" y="1446"/>
                  </a:lnTo>
                  <a:close/>
                  <a:moveTo>
                    <a:pt x="300" y="1472"/>
                  </a:moveTo>
                  <a:lnTo>
                    <a:pt x="300" y="1474"/>
                  </a:lnTo>
                  <a:lnTo>
                    <a:pt x="300" y="1472"/>
                  </a:lnTo>
                  <a:close/>
                  <a:moveTo>
                    <a:pt x="233" y="1423"/>
                  </a:moveTo>
                  <a:lnTo>
                    <a:pt x="234" y="1423"/>
                  </a:lnTo>
                  <a:lnTo>
                    <a:pt x="233" y="1423"/>
                  </a:lnTo>
                  <a:close/>
                  <a:moveTo>
                    <a:pt x="205" y="1466"/>
                  </a:moveTo>
                  <a:lnTo>
                    <a:pt x="207" y="1466"/>
                  </a:lnTo>
                  <a:lnTo>
                    <a:pt x="205" y="1466"/>
                  </a:lnTo>
                  <a:close/>
                  <a:moveTo>
                    <a:pt x="566" y="1393"/>
                  </a:moveTo>
                  <a:lnTo>
                    <a:pt x="566" y="1394"/>
                  </a:lnTo>
                  <a:lnTo>
                    <a:pt x="566" y="1393"/>
                  </a:lnTo>
                  <a:close/>
                  <a:moveTo>
                    <a:pt x="262" y="1441"/>
                  </a:moveTo>
                  <a:lnTo>
                    <a:pt x="264" y="1441"/>
                  </a:lnTo>
                  <a:lnTo>
                    <a:pt x="262" y="1441"/>
                  </a:lnTo>
                  <a:close/>
                  <a:moveTo>
                    <a:pt x="218" y="1415"/>
                  </a:moveTo>
                  <a:lnTo>
                    <a:pt x="220" y="1415"/>
                  </a:lnTo>
                  <a:lnTo>
                    <a:pt x="218" y="1415"/>
                  </a:lnTo>
                  <a:close/>
                  <a:moveTo>
                    <a:pt x="304" y="1462"/>
                  </a:moveTo>
                  <a:lnTo>
                    <a:pt x="306" y="1462"/>
                  </a:lnTo>
                  <a:lnTo>
                    <a:pt x="304" y="1462"/>
                  </a:lnTo>
                  <a:close/>
                  <a:moveTo>
                    <a:pt x="182" y="1119"/>
                  </a:moveTo>
                  <a:lnTo>
                    <a:pt x="184" y="1119"/>
                  </a:lnTo>
                  <a:lnTo>
                    <a:pt x="182" y="1119"/>
                  </a:lnTo>
                  <a:close/>
                  <a:moveTo>
                    <a:pt x="234" y="1441"/>
                  </a:moveTo>
                  <a:lnTo>
                    <a:pt x="234" y="1440"/>
                  </a:lnTo>
                  <a:lnTo>
                    <a:pt x="234" y="1441"/>
                  </a:lnTo>
                  <a:close/>
                  <a:moveTo>
                    <a:pt x="578" y="1388"/>
                  </a:moveTo>
                  <a:lnTo>
                    <a:pt x="579" y="1388"/>
                  </a:lnTo>
                  <a:lnTo>
                    <a:pt x="578" y="1388"/>
                  </a:lnTo>
                  <a:close/>
                  <a:moveTo>
                    <a:pt x="182" y="1017"/>
                  </a:moveTo>
                  <a:lnTo>
                    <a:pt x="182" y="1015"/>
                  </a:lnTo>
                  <a:lnTo>
                    <a:pt x="182" y="1017"/>
                  </a:lnTo>
                  <a:close/>
                  <a:moveTo>
                    <a:pt x="204" y="1446"/>
                  </a:moveTo>
                  <a:lnTo>
                    <a:pt x="204" y="1445"/>
                  </a:lnTo>
                  <a:lnTo>
                    <a:pt x="204" y="1446"/>
                  </a:lnTo>
                  <a:close/>
                  <a:moveTo>
                    <a:pt x="231" y="1009"/>
                  </a:moveTo>
                  <a:lnTo>
                    <a:pt x="231" y="1010"/>
                  </a:lnTo>
                  <a:lnTo>
                    <a:pt x="231" y="1009"/>
                  </a:lnTo>
                  <a:close/>
                  <a:moveTo>
                    <a:pt x="304" y="1443"/>
                  </a:moveTo>
                  <a:lnTo>
                    <a:pt x="306" y="1443"/>
                  </a:lnTo>
                  <a:lnTo>
                    <a:pt x="304" y="1443"/>
                  </a:lnTo>
                  <a:close/>
                  <a:moveTo>
                    <a:pt x="241" y="1329"/>
                  </a:moveTo>
                  <a:lnTo>
                    <a:pt x="243" y="1329"/>
                  </a:lnTo>
                  <a:lnTo>
                    <a:pt x="241" y="1329"/>
                  </a:lnTo>
                  <a:close/>
                  <a:moveTo>
                    <a:pt x="265" y="1409"/>
                  </a:moveTo>
                  <a:lnTo>
                    <a:pt x="265" y="1407"/>
                  </a:lnTo>
                  <a:lnTo>
                    <a:pt x="265" y="1409"/>
                  </a:lnTo>
                  <a:close/>
                  <a:moveTo>
                    <a:pt x="298" y="1409"/>
                  </a:moveTo>
                  <a:lnTo>
                    <a:pt x="298" y="1410"/>
                  </a:lnTo>
                  <a:lnTo>
                    <a:pt x="298" y="1409"/>
                  </a:lnTo>
                  <a:close/>
                  <a:moveTo>
                    <a:pt x="261" y="1432"/>
                  </a:moveTo>
                  <a:lnTo>
                    <a:pt x="262" y="1432"/>
                  </a:lnTo>
                  <a:lnTo>
                    <a:pt x="261" y="1432"/>
                  </a:lnTo>
                  <a:close/>
                  <a:moveTo>
                    <a:pt x="295" y="916"/>
                  </a:moveTo>
                  <a:lnTo>
                    <a:pt x="295" y="914"/>
                  </a:lnTo>
                  <a:lnTo>
                    <a:pt x="295" y="916"/>
                  </a:lnTo>
                  <a:close/>
                  <a:moveTo>
                    <a:pt x="200" y="1446"/>
                  </a:moveTo>
                  <a:lnTo>
                    <a:pt x="202" y="1446"/>
                  </a:lnTo>
                  <a:lnTo>
                    <a:pt x="200" y="1446"/>
                  </a:lnTo>
                  <a:close/>
                  <a:moveTo>
                    <a:pt x="220" y="1432"/>
                  </a:moveTo>
                  <a:lnTo>
                    <a:pt x="221" y="1432"/>
                  </a:lnTo>
                  <a:lnTo>
                    <a:pt x="220" y="1432"/>
                  </a:lnTo>
                  <a:close/>
                  <a:moveTo>
                    <a:pt x="234" y="1445"/>
                  </a:moveTo>
                  <a:lnTo>
                    <a:pt x="234" y="1443"/>
                  </a:lnTo>
                  <a:lnTo>
                    <a:pt x="234" y="1445"/>
                  </a:lnTo>
                  <a:close/>
                  <a:moveTo>
                    <a:pt x="574" y="1394"/>
                  </a:moveTo>
                  <a:lnTo>
                    <a:pt x="574" y="1396"/>
                  </a:lnTo>
                  <a:lnTo>
                    <a:pt x="574" y="1394"/>
                  </a:lnTo>
                  <a:close/>
                  <a:moveTo>
                    <a:pt x="296" y="1438"/>
                  </a:moveTo>
                  <a:lnTo>
                    <a:pt x="296" y="1440"/>
                  </a:lnTo>
                  <a:lnTo>
                    <a:pt x="296" y="1438"/>
                  </a:lnTo>
                  <a:close/>
                  <a:moveTo>
                    <a:pt x="223" y="1428"/>
                  </a:moveTo>
                  <a:lnTo>
                    <a:pt x="223" y="1430"/>
                  </a:lnTo>
                  <a:lnTo>
                    <a:pt x="223" y="1428"/>
                  </a:lnTo>
                  <a:close/>
                  <a:moveTo>
                    <a:pt x="298" y="643"/>
                  </a:moveTo>
                  <a:lnTo>
                    <a:pt x="300" y="643"/>
                  </a:lnTo>
                  <a:lnTo>
                    <a:pt x="298" y="643"/>
                  </a:lnTo>
                  <a:close/>
                  <a:moveTo>
                    <a:pt x="498" y="1436"/>
                  </a:moveTo>
                  <a:lnTo>
                    <a:pt x="498" y="1438"/>
                  </a:lnTo>
                  <a:lnTo>
                    <a:pt x="498" y="1436"/>
                  </a:lnTo>
                  <a:close/>
                  <a:moveTo>
                    <a:pt x="321" y="1474"/>
                  </a:moveTo>
                  <a:lnTo>
                    <a:pt x="322" y="1474"/>
                  </a:lnTo>
                  <a:lnTo>
                    <a:pt x="321" y="1474"/>
                  </a:lnTo>
                  <a:close/>
                  <a:moveTo>
                    <a:pt x="267" y="1474"/>
                  </a:moveTo>
                  <a:lnTo>
                    <a:pt x="269" y="1475"/>
                  </a:lnTo>
                  <a:lnTo>
                    <a:pt x="267" y="1474"/>
                  </a:lnTo>
                  <a:close/>
                  <a:moveTo>
                    <a:pt x="233" y="1453"/>
                  </a:moveTo>
                  <a:lnTo>
                    <a:pt x="234" y="1453"/>
                  </a:lnTo>
                  <a:lnTo>
                    <a:pt x="233" y="1453"/>
                  </a:lnTo>
                  <a:close/>
                  <a:moveTo>
                    <a:pt x="244" y="1396"/>
                  </a:moveTo>
                  <a:lnTo>
                    <a:pt x="246" y="1396"/>
                  </a:lnTo>
                  <a:lnTo>
                    <a:pt x="244" y="1396"/>
                  </a:lnTo>
                  <a:close/>
                  <a:moveTo>
                    <a:pt x="578" y="1394"/>
                  </a:moveTo>
                  <a:lnTo>
                    <a:pt x="579" y="1394"/>
                  </a:lnTo>
                  <a:lnTo>
                    <a:pt x="579" y="1396"/>
                  </a:lnTo>
                  <a:lnTo>
                    <a:pt x="578" y="1394"/>
                  </a:lnTo>
                  <a:close/>
                  <a:moveTo>
                    <a:pt x="234" y="1417"/>
                  </a:moveTo>
                  <a:lnTo>
                    <a:pt x="236" y="1417"/>
                  </a:lnTo>
                  <a:lnTo>
                    <a:pt x="234" y="1417"/>
                  </a:lnTo>
                  <a:close/>
                  <a:moveTo>
                    <a:pt x="277" y="1454"/>
                  </a:moveTo>
                  <a:lnTo>
                    <a:pt x="277" y="1456"/>
                  </a:lnTo>
                  <a:lnTo>
                    <a:pt x="277" y="1454"/>
                  </a:lnTo>
                  <a:close/>
                  <a:moveTo>
                    <a:pt x="278" y="1414"/>
                  </a:moveTo>
                  <a:lnTo>
                    <a:pt x="280" y="1414"/>
                  </a:lnTo>
                  <a:lnTo>
                    <a:pt x="278" y="1414"/>
                  </a:lnTo>
                  <a:close/>
                  <a:moveTo>
                    <a:pt x="244" y="1402"/>
                  </a:moveTo>
                  <a:lnTo>
                    <a:pt x="244" y="1404"/>
                  </a:lnTo>
                  <a:lnTo>
                    <a:pt x="244" y="1402"/>
                  </a:lnTo>
                  <a:close/>
                  <a:moveTo>
                    <a:pt x="200" y="1043"/>
                  </a:moveTo>
                  <a:lnTo>
                    <a:pt x="202" y="1043"/>
                  </a:lnTo>
                  <a:lnTo>
                    <a:pt x="200" y="1043"/>
                  </a:lnTo>
                  <a:close/>
                  <a:moveTo>
                    <a:pt x="304" y="1453"/>
                  </a:moveTo>
                  <a:lnTo>
                    <a:pt x="304" y="1454"/>
                  </a:lnTo>
                  <a:lnTo>
                    <a:pt x="304" y="1453"/>
                  </a:lnTo>
                  <a:close/>
                  <a:moveTo>
                    <a:pt x="223" y="1440"/>
                  </a:moveTo>
                  <a:lnTo>
                    <a:pt x="225" y="1440"/>
                  </a:lnTo>
                  <a:lnTo>
                    <a:pt x="223" y="1440"/>
                  </a:lnTo>
                  <a:close/>
                  <a:moveTo>
                    <a:pt x="274" y="1484"/>
                  </a:moveTo>
                  <a:lnTo>
                    <a:pt x="275" y="1484"/>
                  </a:lnTo>
                  <a:lnTo>
                    <a:pt x="274" y="1484"/>
                  </a:lnTo>
                  <a:close/>
                  <a:moveTo>
                    <a:pt x="584" y="1394"/>
                  </a:moveTo>
                  <a:lnTo>
                    <a:pt x="586" y="1394"/>
                  </a:lnTo>
                  <a:lnTo>
                    <a:pt x="584" y="1394"/>
                  </a:lnTo>
                  <a:close/>
                  <a:moveTo>
                    <a:pt x="226" y="1456"/>
                  </a:moveTo>
                  <a:lnTo>
                    <a:pt x="228" y="1456"/>
                  </a:lnTo>
                  <a:lnTo>
                    <a:pt x="226" y="1456"/>
                  </a:lnTo>
                  <a:close/>
                  <a:moveTo>
                    <a:pt x="176" y="1028"/>
                  </a:moveTo>
                  <a:lnTo>
                    <a:pt x="178" y="1028"/>
                  </a:lnTo>
                  <a:lnTo>
                    <a:pt x="176" y="1028"/>
                  </a:lnTo>
                  <a:close/>
                  <a:moveTo>
                    <a:pt x="599" y="1370"/>
                  </a:moveTo>
                  <a:lnTo>
                    <a:pt x="599" y="1371"/>
                  </a:lnTo>
                  <a:lnTo>
                    <a:pt x="599" y="1370"/>
                  </a:lnTo>
                  <a:close/>
                  <a:moveTo>
                    <a:pt x="249" y="1394"/>
                  </a:moveTo>
                  <a:lnTo>
                    <a:pt x="251" y="1394"/>
                  </a:lnTo>
                  <a:lnTo>
                    <a:pt x="249" y="1396"/>
                  </a:lnTo>
                  <a:lnTo>
                    <a:pt x="249" y="1394"/>
                  </a:lnTo>
                  <a:close/>
                  <a:moveTo>
                    <a:pt x="166" y="1505"/>
                  </a:moveTo>
                  <a:lnTo>
                    <a:pt x="166" y="1503"/>
                  </a:lnTo>
                  <a:lnTo>
                    <a:pt x="166" y="1505"/>
                  </a:lnTo>
                  <a:close/>
                  <a:moveTo>
                    <a:pt x="182" y="1025"/>
                  </a:moveTo>
                  <a:lnTo>
                    <a:pt x="184" y="1025"/>
                  </a:lnTo>
                  <a:lnTo>
                    <a:pt x="182" y="1025"/>
                  </a:lnTo>
                  <a:close/>
                  <a:moveTo>
                    <a:pt x="189" y="1056"/>
                  </a:moveTo>
                  <a:lnTo>
                    <a:pt x="191" y="1056"/>
                  </a:lnTo>
                  <a:lnTo>
                    <a:pt x="189" y="1056"/>
                  </a:lnTo>
                  <a:close/>
                  <a:moveTo>
                    <a:pt x="517" y="1427"/>
                  </a:moveTo>
                  <a:lnTo>
                    <a:pt x="519" y="1427"/>
                  </a:lnTo>
                  <a:lnTo>
                    <a:pt x="517" y="1427"/>
                  </a:lnTo>
                  <a:close/>
                  <a:moveTo>
                    <a:pt x="171" y="1505"/>
                  </a:moveTo>
                  <a:lnTo>
                    <a:pt x="171" y="1506"/>
                  </a:lnTo>
                  <a:lnTo>
                    <a:pt x="171" y="1505"/>
                  </a:lnTo>
                  <a:close/>
                  <a:moveTo>
                    <a:pt x="670" y="1345"/>
                  </a:moveTo>
                  <a:lnTo>
                    <a:pt x="670" y="1347"/>
                  </a:lnTo>
                  <a:lnTo>
                    <a:pt x="670" y="1345"/>
                  </a:lnTo>
                  <a:close/>
                  <a:moveTo>
                    <a:pt x="202" y="1441"/>
                  </a:moveTo>
                  <a:lnTo>
                    <a:pt x="204" y="1441"/>
                  </a:lnTo>
                  <a:lnTo>
                    <a:pt x="202" y="1441"/>
                  </a:lnTo>
                  <a:close/>
                  <a:moveTo>
                    <a:pt x="197" y="1053"/>
                  </a:moveTo>
                  <a:lnTo>
                    <a:pt x="199" y="1053"/>
                  </a:lnTo>
                  <a:lnTo>
                    <a:pt x="197" y="1053"/>
                  </a:lnTo>
                  <a:close/>
                  <a:moveTo>
                    <a:pt x="217" y="1407"/>
                  </a:moveTo>
                  <a:lnTo>
                    <a:pt x="217" y="1406"/>
                  </a:lnTo>
                  <a:lnTo>
                    <a:pt x="217" y="1407"/>
                  </a:lnTo>
                  <a:close/>
                  <a:moveTo>
                    <a:pt x="239" y="1454"/>
                  </a:moveTo>
                  <a:lnTo>
                    <a:pt x="241" y="1454"/>
                  </a:lnTo>
                  <a:lnTo>
                    <a:pt x="239" y="1454"/>
                  </a:lnTo>
                  <a:close/>
                  <a:moveTo>
                    <a:pt x="234" y="1345"/>
                  </a:moveTo>
                  <a:lnTo>
                    <a:pt x="236" y="1345"/>
                  </a:lnTo>
                  <a:lnTo>
                    <a:pt x="234" y="1345"/>
                  </a:lnTo>
                  <a:close/>
                  <a:moveTo>
                    <a:pt x="239" y="1292"/>
                  </a:moveTo>
                  <a:lnTo>
                    <a:pt x="239" y="1293"/>
                  </a:lnTo>
                  <a:lnTo>
                    <a:pt x="239" y="1292"/>
                  </a:lnTo>
                  <a:close/>
                  <a:moveTo>
                    <a:pt x="532" y="1423"/>
                  </a:moveTo>
                  <a:lnTo>
                    <a:pt x="532" y="1425"/>
                  </a:lnTo>
                  <a:lnTo>
                    <a:pt x="532" y="1423"/>
                  </a:lnTo>
                  <a:close/>
                  <a:moveTo>
                    <a:pt x="217" y="1453"/>
                  </a:moveTo>
                  <a:lnTo>
                    <a:pt x="217" y="1451"/>
                  </a:lnTo>
                  <a:lnTo>
                    <a:pt x="217" y="1453"/>
                  </a:lnTo>
                  <a:close/>
                  <a:moveTo>
                    <a:pt x="200" y="1027"/>
                  </a:moveTo>
                  <a:lnTo>
                    <a:pt x="200" y="1025"/>
                  </a:lnTo>
                  <a:lnTo>
                    <a:pt x="200" y="1027"/>
                  </a:lnTo>
                  <a:close/>
                  <a:moveTo>
                    <a:pt x="166" y="1020"/>
                  </a:moveTo>
                  <a:lnTo>
                    <a:pt x="166" y="1018"/>
                  </a:lnTo>
                  <a:lnTo>
                    <a:pt x="166" y="1020"/>
                  </a:lnTo>
                  <a:close/>
                  <a:moveTo>
                    <a:pt x="233" y="1243"/>
                  </a:moveTo>
                  <a:lnTo>
                    <a:pt x="234" y="1243"/>
                  </a:lnTo>
                  <a:lnTo>
                    <a:pt x="233" y="1243"/>
                  </a:lnTo>
                  <a:close/>
                  <a:moveTo>
                    <a:pt x="659" y="1366"/>
                  </a:moveTo>
                  <a:lnTo>
                    <a:pt x="659" y="1368"/>
                  </a:lnTo>
                  <a:lnTo>
                    <a:pt x="659" y="1366"/>
                  </a:lnTo>
                  <a:close/>
                  <a:moveTo>
                    <a:pt x="360" y="1475"/>
                  </a:moveTo>
                  <a:lnTo>
                    <a:pt x="360" y="1474"/>
                  </a:lnTo>
                  <a:lnTo>
                    <a:pt x="360" y="1475"/>
                  </a:lnTo>
                  <a:close/>
                  <a:moveTo>
                    <a:pt x="301" y="887"/>
                  </a:moveTo>
                  <a:lnTo>
                    <a:pt x="301" y="888"/>
                  </a:lnTo>
                  <a:lnTo>
                    <a:pt x="301" y="887"/>
                  </a:lnTo>
                  <a:close/>
                  <a:moveTo>
                    <a:pt x="200" y="1048"/>
                  </a:moveTo>
                  <a:lnTo>
                    <a:pt x="199" y="1048"/>
                  </a:lnTo>
                  <a:lnTo>
                    <a:pt x="200" y="1048"/>
                  </a:lnTo>
                  <a:lnTo>
                    <a:pt x="200" y="1049"/>
                  </a:lnTo>
                  <a:lnTo>
                    <a:pt x="200" y="1048"/>
                  </a:lnTo>
                  <a:close/>
                  <a:moveTo>
                    <a:pt x="221" y="1475"/>
                  </a:moveTo>
                  <a:lnTo>
                    <a:pt x="221" y="1474"/>
                  </a:lnTo>
                  <a:lnTo>
                    <a:pt x="221" y="1475"/>
                  </a:lnTo>
                  <a:close/>
                  <a:moveTo>
                    <a:pt x="291" y="1448"/>
                  </a:moveTo>
                  <a:lnTo>
                    <a:pt x="293" y="1448"/>
                  </a:lnTo>
                  <a:lnTo>
                    <a:pt x="291" y="1448"/>
                  </a:lnTo>
                  <a:close/>
                  <a:moveTo>
                    <a:pt x="234" y="1495"/>
                  </a:moveTo>
                  <a:lnTo>
                    <a:pt x="234" y="1497"/>
                  </a:lnTo>
                  <a:lnTo>
                    <a:pt x="234" y="1495"/>
                  </a:lnTo>
                  <a:close/>
                  <a:moveTo>
                    <a:pt x="506" y="1432"/>
                  </a:moveTo>
                  <a:lnTo>
                    <a:pt x="506" y="1433"/>
                  </a:lnTo>
                  <a:lnTo>
                    <a:pt x="506" y="1432"/>
                  </a:lnTo>
                  <a:close/>
                  <a:moveTo>
                    <a:pt x="181" y="1069"/>
                  </a:moveTo>
                  <a:lnTo>
                    <a:pt x="181" y="1067"/>
                  </a:lnTo>
                  <a:lnTo>
                    <a:pt x="181" y="1069"/>
                  </a:lnTo>
                  <a:close/>
                  <a:moveTo>
                    <a:pt x="246" y="1433"/>
                  </a:moveTo>
                  <a:lnTo>
                    <a:pt x="247" y="1433"/>
                  </a:lnTo>
                  <a:lnTo>
                    <a:pt x="246" y="1433"/>
                  </a:lnTo>
                  <a:close/>
                  <a:moveTo>
                    <a:pt x="238" y="1464"/>
                  </a:moveTo>
                  <a:lnTo>
                    <a:pt x="238" y="1466"/>
                  </a:lnTo>
                  <a:lnTo>
                    <a:pt x="238" y="1464"/>
                  </a:lnTo>
                  <a:close/>
                  <a:moveTo>
                    <a:pt x="550" y="1410"/>
                  </a:moveTo>
                  <a:lnTo>
                    <a:pt x="552" y="1410"/>
                  </a:lnTo>
                  <a:lnTo>
                    <a:pt x="552" y="1412"/>
                  </a:lnTo>
                  <a:lnTo>
                    <a:pt x="550" y="1410"/>
                  </a:lnTo>
                  <a:close/>
                  <a:moveTo>
                    <a:pt x="378" y="1469"/>
                  </a:moveTo>
                  <a:lnTo>
                    <a:pt x="379" y="1469"/>
                  </a:lnTo>
                  <a:lnTo>
                    <a:pt x="378" y="1469"/>
                  </a:lnTo>
                  <a:close/>
                  <a:moveTo>
                    <a:pt x="215" y="1022"/>
                  </a:moveTo>
                  <a:lnTo>
                    <a:pt x="217" y="1022"/>
                  </a:lnTo>
                  <a:lnTo>
                    <a:pt x="215" y="1022"/>
                  </a:lnTo>
                  <a:close/>
                  <a:moveTo>
                    <a:pt x="249" y="1376"/>
                  </a:moveTo>
                  <a:lnTo>
                    <a:pt x="249" y="1378"/>
                  </a:lnTo>
                  <a:lnTo>
                    <a:pt x="249" y="1376"/>
                  </a:lnTo>
                  <a:close/>
                  <a:moveTo>
                    <a:pt x="238" y="1492"/>
                  </a:moveTo>
                  <a:lnTo>
                    <a:pt x="239" y="1492"/>
                  </a:lnTo>
                  <a:lnTo>
                    <a:pt x="238" y="1492"/>
                  </a:lnTo>
                  <a:close/>
                  <a:moveTo>
                    <a:pt x="225" y="1366"/>
                  </a:moveTo>
                  <a:lnTo>
                    <a:pt x="226" y="1366"/>
                  </a:lnTo>
                  <a:lnTo>
                    <a:pt x="225" y="1366"/>
                  </a:lnTo>
                  <a:close/>
                  <a:moveTo>
                    <a:pt x="186" y="1461"/>
                  </a:moveTo>
                  <a:lnTo>
                    <a:pt x="186" y="1462"/>
                  </a:lnTo>
                  <a:lnTo>
                    <a:pt x="186" y="1461"/>
                  </a:lnTo>
                  <a:close/>
                  <a:moveTo>
                    <a:pt x="197" y="1446"/>
                  </a:moveTo>
                  <a:lnTo>
                    <a:pt x="199" y="1446"/>
                  </a:lnTo>
                  <a:lnTo>
                    <a:pt x="197" y="1446"/>
                  </a:lnTo>
                  <a:close/>
                  <a:moveTo>
                    <a:pt x="217" y="1453"/>
                  </a:moveTo>
                  <a:lnTo>
                    <a:pt x="217" y="1451"/>
                  </a:lnTo>
                  <a:lnTo>
                    <a:pt x="217" y="1453"/>
                  </a:lnTo>
                  <a:close/>
                  <a:moveTo>
                    <a:pt x="652" y="1355"/>
                  </a:moveTo>
                  <a:lnTo>
                    <a:pt x="652" y="1353"/>
                  </a:lnTo>
                  <a:lnTo>
                    <a:pt x="652" y="1355"/>
                  </a:lnTo>
                  <a:close/>
                  <a:moveTo>
                    <a:pt x="683" y="1358"/>
                  </a:moveTo>
                  <a:lnTo>
                    <a:pt x="683" y="1357"/>
                  </a:lnTo>
                  <a:lnTo>
                    <a:pt x="683" y="1358"/>
                  </a:lnTo>
                  <a:close/>
                  <a:moveTo>
                    <a:pt x="631" y="1375"/>
                  </a:moveTo>
                  <a:lnTo>
                    <a:pt x="633" y="1375"/>
                  </a:lnTo>
                  <a:lnTo>
                    <a:pt x="631" y="1375"/>
                  </a:lnTo>
                  <a:close/>
                  <a:moveTo>
                    <a:pt x="254" y="1488"/>
                  </a:moveTo>
                  <a:lnTo>
                    <a:pt x="254" y="1487"/>
                  </a:lnTo>
                  <a:lnTo>
                    <a:pt x="254" y="1488"/>
                  </a:lnTo>
                  <a:close/>
                  <a:moveTo>
                    <a:pt x="239" y="1293"/>
                  </a:moveTo>
                  <a:lnTo>
                    <a:pt x="241" y="1293"/>
                  </a:lnTo>
                  <a:lnTo>
                    <a:pt x="239" y="1293"/>
                  </a:lnTo>
                  <a:close/>
                  <a:moveTo>
                    <a:pt x="277" y="1448"/>
                  </a:moveTo>
                  <a:lnTo>
                    <a:pt x="277" y="1449"/>
                  </a:lnTo>
                  <a:lnTo>
                    <a:pt x="277" y="1448"/>
                  </a:lnTo>
                  <a:close/>
                  <a:moveTo>
                    <a:pt x="208" y="1012"/>
                  </a:moveTo>
                  <a:lnTo>
                    <a:pt x="210" y="1012"/>
                  </a:lnTo>
                  <a:lnTo>
                    <a:pt x="208" y="1012"/>
                  </a:lnTo>
                  <a:close/>
                  <a:moveTo>
                    <a:pt x="231" y="1492"/>
                  </a:moveTo>
                  <a:lnTo>
                    <a:pt x="233" y="1492"/>
                  </a:lnTo>
                  <a:lnTo>
                    <a:pt x="231" y="1492"/>
                  </a:lnTo>
                  <a:close/>
                  <a:moveTo>
                    <a:pt x="496" y="1438"/>
                  </a:moveTo>
                  <a:lnTo>
                    <a:pt x="496" y="1436"/>
                  </a:lnTo>
                  <a:lnTo>
                    <a:pt x="496" y="1438"/>
                  </a:lnTo>
                  <a:close/>
                  <a:moveTo>
                    <a:pt x="555" y="1410"/>
                  </a:moveTo>
                  <a:lnTo>
                    <a:pt x="557" y="1410"/>
                  </a:lnTo>
                  <a:lnTo>
                    <a:pt x="555" y="1410"/>
                  </a:lnTo>
                  <a:close/>
                  <a:moveTo>
                    <a:pt x="246" y="1423"/>
                  </a:moveTo>
                  <a:lnTo>
                    <a:pt x="247" y="1423"/>
                  </a:lnTo>
                  <a:lnTo>
                    <a:pt x="246" y="1423"/>
                  </a:lnTo>
                  <a:close/>
                  <a:moveTo>
                    <a:pt x="257" y="1451"/>
                  </a:moveTo>
                  <a:lnTo>
                    <a:pt x="259" y="1451"/>
                  </a:lnTo>
                  <a:lnTo>
                    <a:pt x="257" y="1451"/>
                  </a:lnTo>
                  <a:close/>
                  <a:moveTo>
                    <a:pt x="187" y="1095"/>
                  </a:moveTo>
                  <a:lnTo>
                    <a:pt x="189" y="1095"/>
                  </a:lnTo>
                  <a:lnTo>
                    <a:pt x="187" y="1095"/>
                  </a:lnTo>
                  <a:close/>
                  <a:moveTo>
                    <a:pt x="339" y="687"/>
                  </a:moveTo>
                  <a:lnTo>
                    <a:pt x="340" y="687"/>
                  </a:lnTo>
                  <a:lnTo>
                    <a:pt x="339" y="687"/>
                  </a:lnTo>
                  <a:close/>
                  <a:moveTo>
                    <a:pt x="244" y="1350"/>
                  </a:moveTo>
                  <a:lnTo>
                    <a:pt x="244" y="1352"/>
                  </a:lnTo>
                  <a:lnTo>
                    <a:pt x="244" y="1350"/>
                  </a:lnTo>
                  <a:close/>
                  <a:moveTo>
                    <a:pt x="217" y="1498"/>
                  </a:moveTo>
                  <a:lnTo>
                    <a:pt x="217" y="1497"/>
                  </a:lnTo>
                  <a:lnTo>
                    <a:pt x="217" y="1498"/>
                  </a:lnTo>
                  <a:close/>
                  <a:moveTo>
                    <a:pt x="262" y="1471"/>
                  </a:moveTo>
                  <a:lnTo>
                    <a:pt x="262" y="1469"/>
                  </a:lnTo>
                  <a:lnTo>
                    <a:pt x="262" y="1471"/>
                  </a:lnTo>
                  <a:close/>
                  <a:moveTo>
                    <a:pt x="233" y="1292"/>
                  </a:moveTo>
                  <a:lnTo>
                    <a:pt x="233" y="1290"/>
                  </a:lnTo>
                  <a:lnTo>
                    <a:pt x="233" y="1292"/>
                  </a:lnTo>
                  <a:close/>
                  <a:moveTo>
                    <a:pt x="301" y="643"/>
                  </a:moveTo>
                  <a:lnTo>
                    <a:pt x="303" y="643"/>
                  </a:lnTo>
                  <a:lnTo>
                    <a:pt x="301" y="643"/>
                  </a:lnTo>
                  <a:close/>
                  <a:moveTo>
                    <a:pt x="290" y="1484"/>
                  </a:moveTo>
                  <a:lnTo>
                    <a:pt x="290" y="1485"/>
                  </a:lnTo>
                  <a:lnTo>
                    <a:pt x="290" y="1484"/>
                  </a:lnTo>
                  <a:close/>
                  <a:moveTo>
                    <a:pt x="218" y="1023"/>
                  </a:moveTo>
                  <a:lnTo>
                    <a:pt x="218" y="1025"/>
                  </a:lnTo>
                  <a:lnTo>
                    <a:pt x="218" y="1023"/>
                  </a:lnTo>
                  <a:close/>
                  <a:moveTo>
                    <a:pt x="462" y="1453"/>
                  </a:moveTo>
                  <a:lnTo>
                    <a:pt x="462" y="1451"/>
                  </a:lnTo>
                  <a:lnTo>
                    <a:pt x="462" y="1453"/>
                  </a:lnTo>
                  <a:close/>
                  <a:moveTo>
                    <a:pt x="574" y="1409"/>
                  </a:moveTo>
                  <a:lnTo>
                    <a:pt x="574" y="1407"/>
                  </a:lnTo>
                  <a:lnTo>
                    <a:pt x="574" y="1409"/>
                  </a:lnTo>
                  <a:close/>
                  <a:moveTo>
                    <a:pt x="226" y="1490"/>
                  </a:moveTo>
                  <a:lnTo>
                    <a:pt x="226" y="1488"/>
                  </a:lnTo>
                  <a:lnTo>
                    <a:pt x="226" y="1490"/>
                  </a:lnTo>
                  <a:close/>
                  <a:moveTo>
                    <a:pt x="652" y="1336"/>
                  </a:moveTo>
                  <a:lnTo>
                    <a:pt x="654" y="1336"/>
                  </a:lnTo>
                  <a:lnTo>
                    <a:pt x="652" y="1336"/>
                  </a:lnTo>
                  <a:close/>
                  <a:moveTo>
                    <a:pt x="234" y="1435"/>
                  </a:moveTo>
                  <a:lnTo>
                    <a:pt x="236" y="1435"/>
                  </a:lnTo>
                  <a:lnTo>
                    <a:pt x="234" y="1435"/>
                  </a:lnTo>
                  <a:close/>
                  <a:moveTo>
                    <a:pt x="217" y="1212"/>
                  </a:moveTo>
                  <a:lnTo>
                    <a:pt x="218" y="1212"/>
                  </a:lnTo>
                  <a:lnTo>
                    <a:pt x="217" y="1212"/>
                  </a:lnTo>
                  <a:close/>
                  <a:moveTo>
                    <a:pt x="218" y="1471"/>
                  </a:moveTo>
                  <a:lnTo>
                    <a:pt x="220" y="1471"/>
                  </a:lnTo>
                  <a:lnTo>
                    <a:pt x="218" y="1471"/>
                  </a:lnTo>
                  <a:close/>
                  <a:moveTo>
                    <a:pt x="165" y="1079"/>
                  </a:moveTo>
                  <a:lnTo>
                    <a:pt x="165" y="1077"/>
                  </a:lnTo>
                  <a:lnTo>
                    <a:pt x="165" y="1079"/>
                  </a:lnTo>
                  <a:close/>
                  <a:moveTo>
                    <a:pt x="166" y="1018"/>
                  </a:moveTo>
                  <a:lnTo>
                    <a:pt x="168" y="1018"/>
                  </a:lnTo>
                  <a:lnTo>
                    <a:pt x="166" y="1018"/>
                  </a:lnTo>
                  <a:close/>
                  <a:moveTo>
                    <a:pt x="143" y="1492"/>
                  </a:moveTo>
                  <a:lnTo>
                    <a:pt x="145" y="1492"/>
                  </a:lnTo>
                  <a:lnTo>
                    <a:pt x="143" y="1492"/>
                  </a:lnTo>
                  <a:close/>
                  <a:moveTo>
                    <a:pt x="259" y="1445"/>
                  </a:moveTo>
                  <a:lnTo>
                    <a:pt x="259" y="1446"/>
                  </a:lnTo>
                  <a:lnTo>
                    <a:pt x="259" y="1445"/>
                  </a:lnTo>
                  <a:close/>
                  <a:moveTo>
                    <a:pt x="160" y="1061"/>
                  </a:moveTo>
                  <a:lnTo>
                    <a:pt x="160" y="1059"/>
                  </a:lnTo>
                  <a:lnTo>
                    <a:pt x="160" y="1061"/>
                  </a:lnTo>
                  <a:close/>
                  <a:moveTo>
                    <a:pt x="251" y="1459"/>
                  </a:moveTo>
                  <a:lnTo>
                    <a:pt x="252" y="1459"/>
                  </a:lnTo>
                  <a:lnTo>
                    <a:pt x="251" y="1459"/>
                  </a:lnTo>
                  <a:close/>
                  <a:moveTo>
                    <a:pt x="192" y="1433"/>
                  </a:moveTo>
                  <a:lnTo>
                    <a:pt x="194" y="1433"/>
                  </a:lnTo>
                  <a:lnTo>
                    <a:pt x="192" y="1433"/>
                  </a:lnTo>
                  <a:close/>
                  <a:moveTo>
                    <a:pt x="225" y="997"/>
                  </a:moveTo>
                  <a:lnTo>
                    <a:pt x="226" y="999"/>
                  </a:lnTo>
                  <a:lnTo>
                    <a:pt x="225" y="997"/>
                  </a:lnTo>
                  <a:close/>
                  <a:moveTo>
                    <a:pt x="296" y="1440"/>
                  </a:moveTo>
                  <a:lnTo>
                    <a:pt x="298" y="1440"/>
                  </a:lnTo>
                  <a:lnTo>
                    <a:pt x="296" y="1440"/>
                  </a:lnTo>
                  <a:close/>
                  <a:moveTo>
                    <a:pt x="272" y="1440"/>
                  </a:moveTo>
                  <a:lnTo>
                    <a:pt x="272" y="1438"/>
                  </a:lnTo>
                  <a:lnTo>
                    <a:pt x="272" y="1440"/>
                  </a:lnTo>
                  <a:close/>
                  <a:moveTo>
                    <a:pt x="236" y="997"/>
                  </a:moveTo>
                  <a:lnTo>
                    <a:pt x="238" y="997"/>
                  </a:lnTo>
                  <a:lnTo>
                    <a:pt x="236" y="997"/>
                  </a:lnTo>
                  <a:close/>
                  <a:moveTo>
                    <a:pt x="244" y="1017"/>
                  </a:moveTo>
                  <a:lnTo>
                    <a:pt x="244" y="1018"/>
                  </a:lnTo>
                  <a:lnTo>
                    <a:pt x="244" y="1017"/>
                  </a:lnTo>
                  <a:close/>
                  <a:moveTo>
                    <a:pt x="241" y="1023"/>
                  </a:moveTo>
                  <a:lnTo>
                    <a:pt x="241" y="1022"/>
                  </a:lnTo>
                  <a:lnTo>
                    <a:pt x="241" y="1023"/>
                  </a:lnTo>
                  <a:close/>
                  <a:moveTo>
                    <a:pt x="246" y="1259"/>
                  </a:moveTo>
                  <a:lnTo>
                    <a:pt x="246" y="1261"/>
                  </a:lnTo>
                  <a:lnTo>
                    <a:pt x="246" y="1259"/>
                  </a:lnTo>
                  <a:close/>
                  <a:moveTo>
                    <a:pt x="306" y="648"/>
                  </a:moveTo>
                  <a:lnTo>
                    <a:pt x="306" y="646"/>
                  </a:lnTo>
                  <a:lnTo>
                    <a:pt x="306" y="648"/>
                  </a:lnTo>
                  <a:close/>
                  <a:moveTo>
                    <a:pt x="238" y="1453"/>
                  </a:moveTo>
                  <a:lnTo>
                    <a:pt x="238" y="1454"/>
                  </a:lnTo>
                  <a:lnTo>
                    <a:pt x="238" y="1453"/>
                  </a:lnTo>
                  <a:close/>
                  <a:moveTo>
                    <a:pt x="251" y="1472"/>
                  </a:moveTo>
                  <a:lnTo>
                    <a:pt x="252" y="1472"/>
                  </a:lnTo>
                  <a:lnTo>
                    <a:pt x="251" y="1472"/>
                  </a:lnTo>
                  <a:close/>
                  <a:moveTo>
                    <a:pt x="212" y="1002"/>
                  </a:moveTo>
                  <a:lnTo>
                    <a:pt x="212" y="1004"/>
                  </a:lnTo>
                  <a:lnTo>
                    <a:pt x="212" y="1002"/>
                  </a:lnTo>
                  <a:close/>
                  <a:moveTo>
                    <a:pt x="169" y="1027"/>
                  </a:moveTo>
                  <a:lnTo>
                    <a:pt x="171" y="1027"/>
                  </a:lnTo>
                  <a:lnTo>
                    <a:pt x="169" y="1027"/>
                  </a:lnTo>
                  <a:close/>
                  <a:moveTo>
                    <a:pt x="225" y="1222"/>
                  </a:moveTo>
                  <a:lnTo>
                    <a:pt x="225" y="1220"/>
                  </a:lnTo>
                  <a:lnTo>
                    <a:pt x="225" y="1222"/>
                  </a:lnTo>
                  <a:close/>
                  <a:moveTo>
                    <a:pt x="243" y="1349"/>
                  </a:moveTo>
                  <a:lnTo>
                    <a:pt x="243" y="1350"/>
                  </a:lnTo>
                  <a:lnTo>
                    <a:pt x="243" y="1349"/>
                  </a:lnTo>
                  <a:close/>
                  <a:moveTo>
                    <a:pt x="251" y="1389"/>
                  </a:moveTo>
                  <a:lnTo>
                    <a:pt x="251" y="1388"/>
                  </a:lnTo>
                  <a:lnTo>
                    <a:pt x="251" y="1389"/>
                  </a:lnTo>
                  <a:close/>
                  <a:moveTo>
                    <a:pt x="228" y="1376"/>
                  </a:moveTo>
                  <a:lnTo>
                    <a:pt x="230" y="1378"/>
                  </a:lnTo>
                  <a:lnTo>
                    <a:pt x="228" y="1376"/>
                  </a:lnTo>
                  <a:close/>
                  <a:moveTo>
                    <a:pt x="212" y="1179"/>
                  </a:moveTo>
                  <a:lnTo>
                    <a:pt x="213" y="1179"/>
                  </a:lnTo>
                  <a:lnTo>
                    <a:pt x="212" y="1179"/>
                  </a:lnTo>
                  <a:close/>
                  <a:moveTo>
                    <a:pt x="664" y="1368"/>
                  </a:moveTo>
                  <a:lnTo>
                    <a:pt x="665" y="1368"/>
                  </a:lnTo>
                  <a:lnTo>
                    <a:pt x="664" y="1368"/>
                  </a:lnTo>
                  <a:close/>
                  <a:moveTo>
                    <a:pt x="200" y="1485"/>
                  </a:moveTo>
                  <a:lnTo>
                    <a:pt x="202" y="1485"/>
                  </a:lnTo>
                  <a:lnTo>
                    <a:pt x="200" y="1485"/>
                  </a:lnTo>
                  <a:close/>
                  <a:moveTo>
                    <a:pt x="195" y="1040"/>
                  </a:moveTo>
                  <a:lnTo>
                    <a:pt x="195" y="1041"/>
                  </a:lnTo>
                  <a:lnTo>
                    <a:pt x="195" y="1040"/>
                  </a:lnTo>
                  <a:close/>
                  <a:moveTo>
                    <a:pt x="469" y="1451"/>
                  </a:moveTo>
                  <a:lnTo>
                    <a:pt x="470" y="1451"/>
                  </a:lnTo>
                  <a:lnTo>
                    <a:pt x="470" y="1453"/>
                  </a:lnTo>
                  <a:lnTo>
                    <a:pt x="469" y="1451"/>
                  </a:lnTo>
                  <a:close/>
                  <a:moveTo>
                    <a:pt x="247" y="1358"/>
                  </a:moveTo>
                  <a:lnTo>
                    <a:pt x="249" y="1358"/>
                  </a:lnTo>
                  <a:lnTo>
                    <a:pt x="249" y="1360"/>
                  </a:lnTo>
                  <a:lnTo>
                    <a:pt x="247" y="1358"/>
                  </a:lnTo>
                  <a:close/>
                  <a:moveTo>
                    <a:pt x="208" y="1018"/>
                  </a:moveTo>
                  <a:lnTo>
                    <a:pt x="208" y="1017"/>
                  </a:lnTo>
                  <a:lnTo>
                    <a:pt x="208" y="1018"/>
                  </a:lnTo>
                  <a:close/>
                  <a:moveTo>
                    <a:pt x="160" y="1056"/>
                  </a:moveTo>
                  <a:lnTo>
                    <a:pt x="160" y="1057"/>
                  </a:lnTo>
                  <a:lnTo>
                    <a:pt x="160" y="1056"/>
                  </a:lnTo>
                  <a:close/>
                  <a:moveTo>
                    <a:pt x="200" y="1471"/>
                  </a:moveTo>
                  <a:lnTo>
                    <a:pt x="200" y="1472"/>
                  </a:lnTo>
                  <a:lnTo>
                    <a:pt x="200" y="1471"/>
                  </a:lnTo>
                  <a:close/>
                  <a:moveTo>
                    <a:pt x="228" y="1249"/>
                  </a:moveTo>
                  <a:lnTo>
                    <a:pt x="230" y="1251"/>
                  </a:lnTo>
                  <a:lnTo>
                    <a:pt x="228" y="1249"/>
                  </a:lnTo>
                  <a:close/>
                  <a:moveTo>
                    <a:pt x="591" y="1388"/>
                  </a:moveTo>
                  <a:lnTo>
                    <a:pt x="591" y="1389"/>
                  </a:lnTo>
                  <a:lnTo>
                    <a:pt x="591" y="1388"/>
                  </a:lnTo>
                  <a:close/>
                  <a:moveTo>
                    <a:pt x="482" y="1448"/>
                  </a:moveTo>
                  <a:lnTo>
                    <a:pt x="482" y="1449"/>
                  </a:lnTo>
                  <a:lnTo>
                    <a:pt x="482" y="1448"/>
                  </a:lnTo>
                  <a:close/>
                  <a:moveTo>
                    <a:pt x="298" y="1469"/>
                  </a:moveTo>
                  <a:lnTo>
                    <a:pt x="298" y="1471"/>
                  </a:lnTo>
                  <a:lnTo>
                    <a:pt x="298" y="1469"/>
                  </a:lnTo>
                  <a:close/>
                  <a:moveTo>
                    <a:pt x="199" y="1036"/>
                  </a:moveTo>
                  <a:lnTo>
                    <a:pt x="200" y="1036"/>
                  </a:lnTo>
                  <a:lnTo>
                    <a:pt x="199" y="1036"/>
                  </a:lnTo>
                  <a:close/>
                  <a:moveTo>
                    <a:pt x="674" y="1340"/>
                  </a:moveTo>
                  <a:lnTo>
                    <a:pt x="674" y="1342"/>
                  </a:lnTo>
                  <a:lnTo>
                    <a:pt x="674" y="1340"/>
                  </a:lnTo>
                  <a:close/>
                  <a:moveTo>
                    <a:pt x="358" y="714"/>
                  </a:moveTo>
                  <a:lnTo>
                    <a:pt x="360" y="714"/>
                  </a:lnTo>
                  <a:lnTo>
                    <a:pt x="358" y="714"/>
                  </a:lnTo>
                  <a:close/>
                  <a:moveTo>
                    <a:pt x="254" y="1440"/>
                  </a:moveTo>
                  <a:lnTo>
                    <a:pt x="254" y="1441"/>
                  </a:lnTo>
                  <a:lnTo>
                    <a:pt x="254" y="1440"/>
                  </a:lnTo>
                  <a:close/>
                  <a:moveTo>
                    <a:pt x="256" y="1423"/>
                  </a:moveTo>
                  <a:lnTo>
                    <a:pt x="256" y="1422"/>
                  </a:lnTo>
                  <a:lnTo>
                    <a:pt x="256" y="1423"/>
                  </a:lnTo>
                  <a:close/>
                  <a:moveTo>
                    <a:pt x="246" y="1378"/>
                  </a:moveTo>
                  <a:lnTo>
                    <a:pt x="246" y="1376"/>
                  </a:lnTo>
                  <a:lnTo>
                    <a:pt x="247" y="1378"/>
                  </a:lnTo>
                  <a:lnTo>
                    <a:pt x="246" y="1378"/>
                  </a:lnTo>
                  <a:close/>
                  <a:moveTo>
                    <a:pt x="306" y="892"/>
                  </a:moveTo>
                  <a:lnTo>
                    <a:pt x="306" y="893"/>
                  </a:lnTo>
                  <a:lnTo>
                    <a:pt x="306" y="892"/>
                  </a:lnTo>
                  <a:close/>
                  <a:moveTo>
                    <a:pt x="165" y="1010"/>
                  </a:moveTo>
                  <a:lnTo>
                    <a:pt x="165" y="1009"/>
                  </a:lnTo>
                  <a:lnTo>
                    <a:pt x="165" y="1010"/>
                  </a:lnTo>
                  <a:close/>
                  <a:moveTo>
                    <a:pt x="225" y="1228"/>
                  </a:moveTo>
                  <a:lnTo>
                    <a:pt x="226" y="1228"/>
                  </a:lnTo>
                  <a:lnTo>
                    <a:pt x="225" y="1228"/>
                  </a:lnTo>
                  <a:close/>
                  <a:moveTo>
                    <a:pt x="612" y="1373"/>
                  </a:moveTo>
                  <a:lnTo>
                    <a:pt x="612" y="1375"/>
                  </a:lnTo>
                  <a:lnTo>
                    <a:pt x="612" y="1373"/>
                  </a:lnTo>
                  <a:close/>
                  <a:moveTo>
                    <a:pt x="239" y="1436"/>
                  </a:moveTo>
                  <a:lnTo>
                    <a:pt x="239" y="1435"/>
                  </a:lnTo>
                  <a:lnTo>
                    <a:pt x="241" y="1435"/>
                  </a:lnTo>
                  <a:lnTo>
                    <a:pt x="239" y="1436"/>
                  </a:lnTo>
                  <a:close/>
                  <a:moveTo>
                    <a:pt x="200" y="1054"/>
                  </a:moveTo>
                  <a:lnTo>
                    <a:pt x="200" y="1056"/>
                  </a:lnTo>
                  <a:lnTo>
                    <a:pt x="200" y="1054"/>
                  </a:lnTo>
                  <a:close/>
                  <a:moveTo>
                    <a:pt x="174" y="1503"/>
                  </a:moveTo>
                  <a:lnTo>
                    <a:pt x="174" y="1501"/>
                  </a:lnTo>
                  <a:lnTo>
                    <a:pt x="174" y="1503"/>
                  </a:lnTo>
                  <a:close/>
                  <a:moveTo>
                    <a:pt x="208" y="1436"/>
                  </a:moveTo>
                  <a:lnTo>
                    <a:pt x="210" y="1436"/>
                  </a:lnTo>
                  <a:lnTo>
                    <a:pt x="208" y="1436"/>
                  </a:lnTo>
                  <a:close/>
                  <a:moveTo>
                    <a:pt x="254" y="1402"/>
                  </a:moveTo>
                  <a:lnTo>
                    <a:pt x="254" y="1404"/>
                  </a:lnTo>
                  <a:lnTo>
                    <a:pt x="254" y="1402"/>
                  </a:lnTo>
                  <a:close/>
                  <a:moveTo>
                    <a:pt x="247" y="1363"/>
                  </a:moveTo>
                  <a:lnTo>
                    <a:pt x="249" y="1363"/>
                  </a:lnTo>
                  <a:lnTo>
                    <a:pt x="247" y="1363"/>
                  </a:lnTo>
                  <a:close/>
                  <a:moveTo>
                    <a:pt x="238" y="1254"/>
                  </a:moveTo>
                  <a:lnTo>
                    <a:pt x="239" y="1254"/>
                  </a:lnTo>
                  <a:lnTo>
                    <a:pt x="238" y="1254"/>
                  </a:lnTo>
                  <a:close/>
                  <a:moveTo>
                    <a:pt x="327" y="1464"/>
                  </a:moveTo>
                  <a:lnTo>
                    <a:pt x="329" y="1464"/>
                  </a:lnTo>
                  <a:lnTo>
                    <a:pt x="327" y="1464"/>
                  </a:lnTo>
                  <a:close/>
                  <a:moveTo>
                    <a:pt x="165" y="1077"/>
                  </a:moveTo>
                  <a:lnTo>
                    <a:pt x="165" y="1075"/>
                  </a:lnTo>
                  <a:lnTo>
                    <a:pt x="165" y="1077"/>
                  </a:lnTo>
                  <a:close/>
                  <a:moveTo>
                    <a:pt x="202" y="1020"/>
                  </a:moveTo>
                  <a:lnTo>
                    <a:pt x="204" y="1020"/>
                  </a:lnTo>
                  <a:lnTo>
                    <a:pt x="202" y="1020"/>
                  </a:lnTo>
                  <a:close/>
                  <a:moveTo>
                    <a:pt x="217" y="1406"/>
                  </a:moveTo>
                  <a:lnTo>
                    <a:pt x="217" y="1407"/>
                  </a:lnTo>
                  <a:lnTo>
                    <a:pt x="217" y="1406"/>
                  </a:lnTo>
                  <a:close/>
                  <a:moveTo>
                    <a:pt x="587" y="1371"/>
                  </a:moveTo>
                  <a:lnTo>
                    <a:pt x="589" y="1371"/>
                  </a:lnTo>
                  <a:lnTo>
                    <a:pt x="587" y="1371"/>
                  </a:lnTo>
                  <a:close/>
                  <a:moveTo>
                    <a:pt x="243" y="1324"/>
                  </a:moveTo>
                  <a:lnTo>
                    <a:pt x="244" y="1326"/>
                  </a:lnTo>
                  <a:lnTo>
                    <a:pt x="243" y="1326"/>
                  </a:lnTo>
                  <a:lnTo>
                    <a:pt x="243" y="1324"/>
                  </a:lnTo>
                  <a:close/>
                  <a:moveTo>
                    <a:pt x="226" y="1375"/>
                  </a:moveTo>
                  <a:lnTo>
                    <a:pt x="226" y="1376"/>
                  </a:lnTo>
                  <a:lnTo>
                    <a:pt x="226" y="1375"/>
                  </a:lnTo>
                  <a:close/>
                  <a:moveTo>
                    <a:pt x="226" y="1227"/>
                  </a:moveTo>
                  <a:lnTo>
                    <a:pt x="226" y="1228"/>
                  </a:lnTo>
                  <a:lnTo>
                    <a:pt x="226" y="1227"/>
                  </a:lnTo>
                  <a:close/>
                  <a:moveTo>
                    <a:pt x="230" y="1475"/>
                  </a:moveTo>
                  <a:lnTo>
                    <a:pt x="230" y="1477"/>
                  </a:lnTo>
                  <a:lnTo>
                    <a:pt x="230" y="1475"/>
                  </a:lnTo>
                  <a:close/>
                  <a:moveTo>
                    <a:pt x="231" y="1240"/>
                  </a:moveTo>
                  <a:lnTo>
                    <a:pt x="231" y="1238"/>
                  </a:lnTo>
                  <a:lnTo>
                    <a:pt x="231" y="1240"/>
                  </a:lnTo>
                  <a:close/>
                  <a:moveTo>
                    <a:pt x="300" y="1472"/>
                  </a:moveTo>
                  <a:lnTo>
                    <a:pt x="301" y="1472"/>
                  </a:lnTo>
                  <a:lnTo>
                    <a:pt x="300" y="1472"/>
                  </a:lnTo>
                  <a:close/>
                  <a:moveTo>
                    <a:pt x="236" y="1292"/>
                  </a:moveTo>
                  <a:lnTo>
                    <a:pt x="238" y="1292"/>
                  </a:lnTo>
                  <a:lnTo>
                    <a:pt x="236" y="1292"/>
                  </a:lnTo>
                  <a:close/>
                  <a:moveTo>
                    <a:pt x="184" y="1433"/>
                  </a:moveTo>
                  <a:lnTo>
                    <a:pt x="184" y="1435"/>
                  </a:lnTo>
                  <a:lnTo>
                    <a:pt x="184" y="1433"/>
                  </a:lnTo>
                  <a:close/>
                  <a:moveTo>
                    <a:pt x="238" y="1417"/>
                  </a:moveTo>
                  <a:lnTo>
                    <a:pt x="238" y="1415"/>
                  </a:lnTo>
                  <a:lnTo>
                    <a:pt x="238" y="1417"/>
                  </a:lnTo>
                  <a:close/>
                  <a:moveTo>
                    <a:pt x="583" y="1394"/>
                  </a:moveTo>
                  <a:lnTo>
                    <a:pt x="583" y="1393"/>
                  </a:lnTo>
                  <a:lnTo>
                    <a:pt x="583" y="1394"/>
                  </a:lnTo>
                  <a:close/>
                  <a:moveTo>
                    <a:pt x="303" y="1467"/>
                  </a:moveTo>
                  <a:lnTo>
                    <a:pt x="303" y="1469"/>
                  </a:lnTo>
                  <a:lnTo>
                    <a:pt x="303" y="1467"/>
                  </a:lnTo>
                  <a:close/>
                  <a:moveTo>
                    <a:pt x="241" y="1293"/>
                  </a:moveTo>
                  <a:lnTo>
                    <a:pt x="241" y="1295"/>
                  </a:lnTo>
                  <a:lnTo>
                    <a:pt x="241" y="1293"/>
                  </a:lnTo>
                  <a:close/>
                  <a:moveTo>
                    <a:pt x="230" y="1488"/>
                  </a:moveTo>
                  <a:lnTo>
                    <a:pt x="230" y="1487"/>
                  </a:lnTo>
                  <a:lnTo>
                    <a:pt x="230" y="1488"/>
                  </a:lnTo>
                  <a:close/>
                  <a:moveTo>
                    <a:pt x="246" y="1295"/>
                  </a:moveTo>
                  <a:lnTo>
                    <a:pt x="247" y="1293"/>
                  </a:lnTo>
                  <a:lnTo>
                    <a:pt x="247" y="1295"/>
                  </a:lnTo>
                  <a:lnTo>
                    <a:pt x="246" y="1295"/>
                  </a:lnTo>
                  <a:close/>
                  <a:moveTo>
                    <a:pt x="313" y="1469"/>
                  </a:moveTo>
                  <a:lnTo>
                    <a:pt x="313" y="1471"/>
                  </a:lnTo>
                  <a:lnTo>
                    <a:pt x="313" y="1469"/>
                  </a:lnTo>
                  <a:close/>
                  <a:moveTo>
                    <a:pt x="226" y="1018"/>
                  </a:moveTo>
                  <a:lnTo>
                    <a:pt x="226" y="1017"/>
                  </a:lnTo>
                  <a:lnTo>
                    <a:pt x="228" y="1017"/>
                  </a:lnTo>
                  <a:lnTo>
                    <a:pt x="226" y="1018"/>
                  </a:lnTo>
                  <a:close/>
                  <a:moveTo>
                    <a:pt x="207" y="1017"/>
                  </a:moveTo>
                  <a:lnTo>
                    <a:pt x="208" y="1017"/>
                  </a:lnTo>
                  <a:lnTo>
                    <a:pt x="207" y="1017"/>
                  </a:lnTo>
                  <a:close/>
                  <a:moveTo>
                    <a:pt x="508" y="1422"/>
                  </a:moveTo>
                  <a:lnTo>
                    <a:pt x="508" y="1423"/>
                  </a:lnTo>
                  <a:lnTo>
                    <a:pt x="508" y="1422"/>
                  </a:lnTo>
                  <a:close/>
                  <a:moveTo>
                    <a:pt x="199" y="1012"/>
                  </a:moveTo>
                  <a:lnTo>
                    <a:pt x="199" y="1014"/>
                  </a:lnTo>
                  <a:lnTo>
                    <a:pt x="199" y="1012"/>
                  </a:lnTo>
                  <a:close/>
                  <a:moveTo>
                    <a:pt x="649" y="1337"/>
                  </a:moveTo>
                  <a:lnTo>
                    <a:pt x="649" y="1339"/>
                  </a:lnTo>
                  <a:lnTo>
                    <a:pt x="649" y="1337"/>
                  </a:lnTo>
                  <a:close/>
                  <a:moveTo>
                    <a:pt x="698" y="1331"/>
                  </a:moveTo>
                  <a:lnTo>
                    <a:pt x="698" y="1329"/>
                  </a:lnTo>
                  <a:lnTo>
                    <a:pt x="698" y="1331"/>
                  </a:lnTo>
                  <a:close/>
                  <a:moveTo>
                    <a:pt x="249" y="949"/>
                  </a:moveTo>
                  <a:lnTo>
                    <a:pt x="251" y="949"/>
                  </a:lnTo>
                  <a:lnTo>
                    <a:pt x="249" y="949"/>
                  </a:lnTo>
                  <a:close/>
                  <a:moveTo>
                    <a:pt x="669" y="1370"/>
                  </a:moveTo>
                  <a:lnTo>
                    <a:pt x="667" y="1370"/>
                  </a:lnTo>
                  <a:lnTo>
                    <a:pt x="669" y="1370"/>
                  </a:lnTo>
                  <a:close/>
                  <a:moveTo>
                    <a:pt x="179" y="1458"/>
                  </a:moveTo>
                  <a:lnTo>
                    <a:pt x="181" y="1458"/>
                  </a:lnTo>
                  <a:lnTo>
                    <a:pt x="179" y="1458"/>
                  </a:lnTo>
                  <a:close/>
                  <a:moveTo>
                    <a:pt x="249" y="1412"/>
                  </a:moveTo>
                  <a:lnTo>
                    <a:pt x="251" y="1412"/>
                  </a:lnTo>
                  <a:lnTo>
                    <a:pt x="249" y="1412"/>
                  </a:lnTo>
                  <a:close/>
                  <a:moveTo>
                    <a:pt x="204" y="1472"/>
                  </a:moveTo>
                  <a:lnTo>
                    <a:pt x="205" y="1472"/>
                  </a:lnTo>
                  <a:lnTo>
                    <a:pt x="204" y="1472"/>
                  </a:lnTo>
                  <a:close/>
                  <a:moveTo>
                    <a:pt x="165" y="1077"/>
                  </a:moveTo>
                  <a:lnTo>
                    <a:pt x="165" y="1075"/>
                  </a:lnTo>
                  <a:lnTo>
                    <a:pt x="165" y="1077"/>
                  </a:lnTo>
                  <a:close/>
                  <a:moveTo>
                    <a:pt x="221" y="1479"/>
                  </a:moveTo>
                  <a:lnTo>
                    <a:pt x="223" y="1479"/>
                  </a:lnTo>
                  <a:lnTo>
                    <a:pt x="221" y="1479"/>
                  </a:lnTo>
                  <a:close/>
                  <a:moveTo>
                    <a:pt x="228" y="1467"/>
                  </a:moveTo>
                  <a:lnTo>
                    <a:pt x="228" y="1466"/>
                  </a:lnTo>
                  <a:lnTo>
                    <a:pt x="228" y="1467"/>
                  </a:lnTo>
                  <a:close/>
                  <a:moveTo>
                    <a:pt x="280" y="1488"/>
                  </a:moveTo>
                  <a:lnTo>
                    <a:pt x="280" y="1487"/>
                  </a:lnTo>
                  <a:lnTo>
                    <a:pt x="280" y="1488"/>
                  </a:lnTo>
                  <a:close/>
                  <a:moveTo>
                    <a:pt x="565" y="1402"/>
                  </a:moveTo>
                  <a:lnTo>
                    <a:pt x="565" y="1404"/>
                  </a:lnTo>
                  <a:lnTo>
                    <a:pt x="565" y="1402"/>
                  </a:lnTo>
                  <a:close/>
                  <a:moveTo>
                    <a:pt x="247" y="1311"/>
                  </a:moveTo>
                  <a:lnTo>
                    <a:pt x="247" y="1310"/>
                  </a:lnTo>
                  <a:lnTo>
                    <a:pt x="247" y="1311"/>
                  </a:lnTo>
                  <a:close/>
                  <a:moveTo>
                    <a:pt x="609" y="1399"/>
                  </a:moveTo>
                  <a:lnTo>
                    <a:pt x="609" y="1401"/>
                  </a:lnTo>
                  <a:lnTo>
                    <a:pt x="609" y="1399"/>
                  </a:lnTo>
                  <a:close/>
                  <a:moveTo>
                    <a:pt x="519" y="1427"/>
                  </a:moveTo>
                  <a:lnTo>
                    <a:pt x="519" y="1425"/>
                  </a:lnTo>
                  <a:lnTo>
                    <a:pt x="519" y="1427"/>
                  </a:lnTo>
                  <a:close/>
                  <a:moveTo>
                    <a:pt x="226" y="1454"/>
                  </a:moveTo>
                  <a:lnTo>
                    <a:pt x="226" y="1456"/>
                  </a:lnTo>
                  <a:lnTo>
                    <a:pt x="226" y="1454"/>
                  </a:lnTo>
                  <a:close/>
                  <a:moveTo>
                    <a:pt x="304" y="652"/>
                  </a:moveTo>
                  <a:lnTo>
                    <a:pt x="306" y="652"/>
                  </a:lnTo>
                  <a:lnTo>
                    <a:pt x="304" y="652"/>
                  </a:lnTo>
                  <a:close/>
                  <a:moveTo>
                    <a:pt x="311" y="869"/>
                  </a:moveTo>
                  <a:lnTo>
                    <a:pt x="311" y="867"/>
                  </a:lnTo>
                  <a:lnTo>
                    <a:pt x="311" y="869"/>
                  </a:lnTo>
                  <a:close/>
                  <a:moveTo>
                    <a:pt x="140" y="1451"/>
                  </a:moveTo>
                  <a:lnTo>
                    <a:pt x="140" y="1453"/>
                  </a:lnTo>
                  <a:lnTo>
                    <a:pt x="140" y="1451"/>
                  </a:lnTo>
                  <a:close/>
                  <a:moveTo>
                    <a:pt x="160" y="1451"/>
                  </a:moveTo>
                  <a:lnTo>
                    <a:pt x="160" y="1453"/>
                  </a:lnTo>
                  <a:lnTo>
                    <a:pt x="160" y="1451"/>
                  </a:lnTo>
                  <a:close/>
                  <a:moveTo>
                    <a:pt x="371" y="1469"/>
                  </a:moveTo>
                  <a:lnTo>
                    <a:pt x="373" y="1469"/>
                  </a:lnTo>
                  <a:lnTo>
                    <a:pt x="371" y="1469"/>
                  </a:lnTo>
                  <a:close/>
                  <a:moveTo>
                    <a:pt x="339" y="815"/>
                  </a:moveTo>
                  <a:lnTo>
                    <a:pt x="340" y="815"/>
                  </a:lnTo>
                  <a:lnTo>
                    <a:pt x="339" y="815"/>
                  </a:lnTo>
                  <a:close/>
                  <a:moveTo>
                    <a:pt x="171" y="1025"/>
                  </a:moveTo>
                  <a:lnTo>
                    <a:pt x="171" y="1023"/>
                  </a:lnTo>
                  <a:lnTo>
                    <a:pt x="171" y="1025"/>
                  </a:lnTo>
                  <a:close/>
                  <a:moveTo>
                    <a:pt x="234" y="1261"/>
                  </a:moveTo>
                  <a:lnTo>
                    <a:pt x="236" y="1261"/>
                  </a:lnTo>
                  <a:lnTo>
                    <a:pt x="234" y="1261"/>
                  </a:lnTo>
                  <a:close/>
                  <a:moveTo>
                    <a:pt x="366" y="674"/>
                  </a:moveTo>
                  <a:lnTo>
                    <a:pt x="366" y="672"/>
                  </a:lnTo>
                  <a:lnTo>
                    <a:pt x="366" y="674"/>
                  </a:lnTo>
                  <a:close/>
                  <a:moveTo>
                    <a:pt x="223" y="996"/>
                  </a:moveTo>
                  <a:lnTo>
                    <a:pt x="225" y="996"/>
                  </a:lnTo>
                  <a:lnTo>
                    <a:pt x="223" y="996"/>
                  </a:lnTo>
                  <a:close/>
                  <a:moveTo>
                    <a:pt x="287" y="1420"/>
                  </a:moveTo>
                  <a:lnTo>
                    <a:pt x="287" y="1422"/>
                  </a:lnTo>
                  <a:lnTo>
                    <a:pt x="287" y="1420"/>
                  </a:lnTo>
                  <a:close/>
                  <a:moveTo>
                    <a:pt x="176" y="1027"/>
                  </a:moveTo>
                  <a:lnTo>
                    <a:pt x="176" y="1028"/>
                  </a:lnTo>
                  <a:lnTo>
                    <a:pt x="176" y="1027"/>
                  </a:lnTo>
                  <a:close/>
                  <a:moveTo>
                    <a:pt x="252" y="1467"/>
                  </a:moveTo>
                  <a:lnTo>
                    <a:pt x="254" y="1467"/>
                  </a:lnTo>
                  <a:lnTo>
                    <a:pt x="252" y="1467"/>
                  </a:lnTo>
                  <a:close/>
                  <a:moveTo>
                    <a:pt x="234" y="1288"/>
                  </a:moveTo>
                  <a:lnTo>
                    <a:pt x="236" y="1288"/>
                  </a:lnTo>
                  <a:lnTo>
                    <a:pt x="234" y="1288"/>
                  </a:lnTo>
                  <a:close/>
                  <a:moveTo>
                    <a:pt x="678" y="1355"/>
                  </a:moveTo>
                  <a:lnTo>
                    <a:pt x="678" y="1357"/>
                  </a:lnTo>
                  <a:lnTo>
                    <a:pt x="678" y="1355"/>
                  </a:lnTo>
                  <a:close/>
                  <a:moveTo>
                    <a:pt x="236" y="1249"/>
                  </a:moveTo>
                  <a:lnTo>
                    <a:pt x="238" y="1249"/>
                  </a:lnTo>
                  <a:lnTo>
                    <a:pt x="236" y="1249"/>
                  </a:lnTo>
                  <a:close/>
                  <a:moveTo>
                    <a:pt x="456" y="1453"/>
                  </a:moveTo>
                  <a:lnTo>
                    <a:pt x="456" y="1454"/>
                  </a:lnTo>
                  <a:lnTo>
                    <a:pt x="456" y="1453"/>
                  </a:lnTo>
                  <a:close/>
                  <a:moveTo>
                    <a:pt x="259" y="926"/>
                  </a:moveTo>
                  <a:lnTo>
                    <a:pt x="261" y="926"/>
                  </a:lnTo>
                  <a:lnTo>
                    <a:pt x="259" y="926"/>
                  </a:lnTo>
                  <a:close/>
                  <a:moveTo>
                    <a:pt x="239" y="1249"/>
                  </a:moveTo>
                  <a:lnTo>
                    <a:pt x="238" y="1249"/>
                  </a:lnTo>
                  <a:lnTo>
                    <a:pt x="239" y="1249"/>
                  </a:lnTo>
                  <a:close/>
                  <a:moveTo>
                    <a:pt x="184" y="1456"/>
                  </a:moveTo>
                  <a:lnTo>
                    <a:pt x="186" y="1456"/>
                  </a:lnTo>
                  <a:lnTo>
                    <a:pt x="184" y="1456"/>
                  </a:lnTo>
                  <a:close/>
                  <a:moveTo>
                    <a:pt x="231" y="1492"/>
                  </a:moveTo>
                  <a:lnTo>
                    <a:pt x="231" y="1493"/>
                  </a:lnTo>
                  <a:lnTo>
                    <a:pt x="231" y="1492"/>
                  </a:lnTo>
                  <a:close/>
                  <a:moveTo>
                    <a:pt x="207" y="1002"/>
                  </a:moveTo>
                  <a:lnTo>
                    <a:pt x="207" y="1001"/>
                  </a:lnTo>
                  <a:lnTo>
                    <a:pt x="207" y="1002"/>
                  </a:lnTo>
                  <a:close/>
                  <a:moveTo>
                    <a:pt x="303" y="1472"/>
                  </a:moveTo>
                  <a:lnTo>
                    <a:pt x="303" y="1471"/>
                  </a:lnTo>
                  <a:lnTo>
                    <a:pt x="303" y="1472"/>
                  </a:lnTo>
                  <a:close/>
                  <a:moveTo>
                    <a:pt x="348" y="664"/>
                  </a:moveTo>
                  <a:lnTo>
                    <a:pt x="348" y="666"/>
                  </a:lnTo>
                  <a:lnTo>
                    <a:pt x="348" y="664"/>
                  </a:lnTo>
                  <a:close/>
                  <a:moveTo>
                    <a:pt x="244" y="1350"/>
                  </a:moveTo>
                  <a:lnTo>
                    <a:pt x="244" y="1352"/>
                  </a:lnTo>
                  <a:lnTo>
                    <a:pt x="244" y="1350"/>
                  </a:lnTo>
                  <a:close/>
                  <a:moveTo>
                    <a:pt x="296" y="1484"/>
                  </a:moveTo>
                  <a:lnTo>
                    <a:pt x="298" y="1484"/>
                  </a:lnTo>
                  <a:lnTo>
                    <a:pt x="296" y="1484"/>
                  </a:lnTo>
                  <a:close/>
                  <a:moveTo>
                    <a:pt x="174" y="1030"/>
                  </a:moveTo>
                  <a:lnTo>
                    <a:pt x="174" y="1028"/>
                  </a:lnTo>
                  <a:lnTo>
                    <a:pt x="174" y="1030"/>
                  </a:lnTo>
                  <a:close/>
                  <a:moveTo>
                    <a:pt x="228" y="1228"/>
                  </a:moveTo>
                  <a:lnTo>
                    <a:pt x="228" y="1227"/>
                  </a:lnTo>
                  <a:lnTo>
                    <a:pt x="228" y="1228"/>
                  </a:lnTo>
                  <a:close/>
                  <a:moveTo>
                    <a:pt x="254" y="1440"/>
                  </a:moveTo>
                  <a:lnTo>
                    <a:pt x="254" y="1441"/>
                  </a:lnTo>
                  <a:lnTo>
                    <a:pt x="254" y="1440"/>
                  </a:lnTo>
                  <a:close/>
                  <a:moveTo>
                    <a:pt x="221" y="1427"/>
                  </a:moveTo>
                  <a:lnTo>
                    <a:pt x="221" y="1425"/>
                  </a:lnTo>
                  <a:lnTo>
                    <a:pt x="221" y="1427"/>
                  </a:lnTo>
                  <a:close/>
                  <a:moveTo>
                    <a:pt x="392" y="1462"/>
                  </a:moveTo>
                  <a:lnTo>
                    <a:pt x="392" y="1461"/>
                  </a:lnTo>
                  <a:lnTo>
                    <a:pt x="392" y="1462"/>
                  </a:lnTo>
                  <a:close/>
                  <a:moveTo>
                    <a:pt x="662" y="1349"/>
                  </a:moveTo>
                  <a:lnTo>
                    <a:pt x="662" y="1350"/>
                  </a:lnTo>
                  <a:lnTo>
                    <a:pt x="662" y="1349"/>
                  </a:lnTo>
                  <a:close/>
                  <a:moveTo>
                    <a:pt x="267" y="1475"/>
                  </a:moveTo>
                  <a:lnTo>
                    <a:pt x="267" y="1477"/>
                  </a:lnTo>
                  <a:lnTo>
                    <a:pt x="267" y="1475"/>
                  </a:lnTo>
                  <a:close/>
                  <a:moveTo>
                    <a:pt x="199" y="1038"/>
                  </a:moveTo>
                  <a:lnTo>
                    <a:pt x="199" y="1040"/>
                  </a:lnTo>
                  <a:lnTo>
                    <a:pt x="199" y="1038"/>
                  </a:lnTo>
                  <a:close/>
                  <a:moveTo>
                    <a:pt x="205" y="1498"/>
                  </a:moveTo>
                  <a:lnTo>
                    <a:pt x="207" y="1498"/>
                  </a:lnTo>
                  <a:lnTo>
                    <a:pt x="205" y="1498"/>
                  </a:lnTo>
                  <a:close/>
                  <a:moveTo>
                    <a:pt x="168" y="1480"/>
                  </a:moveTo>
                  <a:lnTo>
                    <a:pt x="169" y="1480"/>
                  </a:lnTo>
                  <a:lnTo>
                    <a:pt x="168" y="1480"/>
                  </a:lnTo>
                  <a:close/>
                  <a:moveTo>
                    <a:pt x="244" y="1290"/>
                  </a:moveTo>
                  <a:lnTo>
                    <a:pt x="246" y="1290"/>
                  </a:lnTo>
                  <a:lnTo>
                    <a:pt x="244" y="1290"/>
                  </a:lnTo>
                  <a:close/>
                  <a:moveTo>
                    <a:pt x="272" y="922"/>
                  </a:moveTo>
                  <a:lnTo>
                    <a:pt x="274" y="922"/>
                  </a:lnTo>
                  <a:lnTo>
                    <a:pt x="272" y="922"/>
                  </a:lnTo>
                  <a:close/>
                  <a:moveTo>
                    <a:pt x="246" y="1433"/>
                  </a:moveTo>
                  <a:lnTo>
                    <a:pt x="246" y="1435"/>
                  </a:lnTo>
                  <a:lnTo>
                    <a:pt x="246" y="1433"/>
                  </a:lnTo>
                  <a:close/>
                  <a:moveTo>
                    <a:pt x="199" y="1475"/>
                  </a:moveTo>
                  <a:lnTo>
                    <a:pt x="199" y="1474"/>
                  </a:lnTo>
                  <a:lnTo>
                    <a:pt x="199" y="1475"/>
                  </a:lnTo>
                  <a:close/>
                  <a:moveTo>
                    <a:pt x="204" y="1448"/>
                  </a:moveTo>
                  <a:lnTo>
                    <a:pt x="204" y="1446"/>
                  </a:lnTo>
                  <a:lnTo>
                    <a:pt x="204" y="1448"/>
                  </a:lnTo>
                  <a:close/>
                  <a:moveTo>
                    <a:pt x="200" y="1033"/>
                  </a:moveTo>
                  <a:lnTo>
                    <a:pt x="200" y="1031"/>
                  </a:lnTo>
                  <a:lnTo>
                    <a:pt x="200" y="1033"/>
                  </a:lnTo>
                  <a:close/>
                  <a:moveTo>
                    <a:pt x="252" y="1433"/>
                  </a:moveTo>
                  <a:lnTo>
                    <a:pt x="254" y="1433"/>
                  </a:lnTo>
                  <a:lnTo>
                    <a:pt x="252" y="1433"/>
                  </a:lnTo>
                  <a:close/>
                  <a:moveTo>
                    <a:pt x="197" y="1152"/>
                  </a:moveTo>
                  <a:lnTo>
                    <a:pt x="197" y="1150"/>
                  </a:lnTo>
                  <a:lnTo>
                    <a:pt x="197" y="1152"/>
                  </a:lnTo>
                  <a:close/>
                  <a:moveTo>
                    <a:pt x="495" y="1440"/>
                  </a:moveTo>
                  <a:lnTo>
                    <a:pt x="496" y="1440"/>
                  </a:lnTo>
                  <a:lnTo>
                    <a:pt x="495" y="1440"/>
                  </a:lnTo>
                  <a:close/>
                  <a:moveTo>
                    <a:pt x="246" y="1007"/>
                  </a:moveTo>
                  <a:lnTo>
                    <a:pt x="246" y="1009"/>
                  </a:lnTo>
                  <a:lnTo>
                    <a:pt x="246" y="1007"/>
                  </a:lnTo>
                  <a:close/>
                  <a:moveTo>
                    <a:pt x="238" y="1292"/>
                  </a:moveTo>
                  <a:lnTo>
                    <a:pt x="236" y="1292"/>
                  </a:lnTo>
                  <a:lnTo>
                    <a:pt x="238" y="1292"/>
                  </a:lnTo>
                  <a:close/>
                  <a:moveTo>
                    <a:pt x="309" y="1445"/>
                  </a:moveTo>
                  <a:lnTo>
                    <a:pt x="311" y="1445"/>
                  </a:lnTo>
                  <a:lnTo>
                    <a:pt x="309" y="1445"/>
                  </a:lnTo>
                  <a:close/>
                  <a:moveTo>
                    <a:pt x="202" y="1480"/>
                  </a:moveTo>
                  <a:lnTo>
                    <a:pt x="202" y="1479"/>
                  </a:lnTo>
                  <a:lnTo>
                    <a:pt x="202" y="1480"/>
                  </a:lnTo>
                  <a:close/>
                  <a:moveTo>
                    <a:pt x="234" y="1251"/>
                  </a:moveTo>
                  <a:lnTo>
                    <a:pt x="236" y="1251"/>
                  </a:lnTo>
                  <a:lnTo>
                    <a:pt x="234" y="1251"/>
                  </a:lnTo>
                  <a:close/>
                  <a:moveTo>
                    <a:pt x="587" y="1391"/>
                  </a:moveTo>
                  <a:lnTo>
                    <a:pt x="587" y="1389"/>
                  </a:lnTo>
                  <a:lnTo>
                    <a:pt x="587" y="1391"/>
                  </a:lnTo>
                  <a:close/>
                  <a:moveTo>
                    <a:pt x="194" y="1030"/>
                  </a:moveTo>
                  <a:lnTo>
                    <a:pt x="195" y="1030"/>
                  </a:lnTo>
                  <a:lnTo>
                    <a:pt x="194" y="1030"/>
                  </a:lnTo>
                  <a:close/>
                  <a:moveTo>
                    <a:pt x="247" y="979"/>
                  </a:moveTo>
                  <a:lnTo>
                    <a:pt x="247" y="978"/>
                  </a:lnTo>
                  <a:lnTo>
                    <a:pt x="247" y="979"/>
                  </a:lnTo>
                  <a:close/>
                  <a:moveTo>
                    <a:pt x="223" y="1472"/>
                  </a:moveTo>
                  <a:lnTo>
                    <a:pt x="223" y="1471"/>
                  </a:lnTo>
                  <a:lnTo>
                    <a:pt x="223" y="1472"/>
                  </a:lnTo>
                  <a:close/>
                  <a:moveTo>
                    <a:pt x="360" y="677"/>
                  </a:moveTo>
                  <a:lnTo>
                    <a:pt x="360" y="679"/>
                  </a:lnTo>
                  <a:lnTo>
                    <a:pt x="360" y="677"/>
                  </a:lnTo>
                  <a:close/>
                  <a:moveTo>
                    <a:pt x="169" y="1503"/>
                  </a:moveTo>
                  <a:lnTo>
                    <a:pt x="169" y="1505"/>
                  </a:lnTo>
                  <a:lnTo>
                    <a:pt x="169" y="1503"/>
                  </a:lnTo>
                  <a:close/>
                  <a:moveTo>
                    <a:pt x="231" y="1414"/>
                  </a:moveTo>
                  <a:lnTo>
                    <a:pt x="231" y="1415"/>
                  </a:lnTo>
                  <a:lnTo>
                    <a:pt x="231" y="1414"/>
                  </a:lnTo>
                  <a:close/>
                  <a:moveTo>
                    <a:pt x="230" y="1430"/>
                  </a:moveTo>
                  <a:lnTo>
                    <a:pt x="230" y="1428"/>
                  </a:lnTo>
                  <a:lnTo>
                    <a:pt x="230" y="1430"/>
                  </a:lnTo>
                  <a:close/>
                  <a:moveTo>
                    <a:pt x="589" y="1394"/>
                  </a:moveTo>
                  <a:lnTo>
                    <a:pt x="591" y="1394"/>
                  </a:lnTo>
                  <a:lnTo>
                    <a:pt x="589" y="1394"/>
                  </a:lnTo>
                  <a:close/>
                  <a:moveTo>
                    <a:pt x="233" y="996"/>
                  </a:moveTo>
                  <a:lnTo>
                    <a:pt x="233" y="997"/>
                  </a:lnTo>
                  <a:lnTo>
                    <a:pt x="233" y="996"/>
                  </a:lnTo>
                  <a:close/>
                  <a:moveTo>
                    <a:pt x="543" y="1407"/>
                  </a:moveTo>
                  <a:lnTo>
                    <a:pt x="545" y="1407"/>
                  </a:lnTo>
                  <a:lnTo>
                    <a:pt x="543" y="1407"/>
                  </a:lnTo>
                  <a:close/>
                  <a:moveTo>
                    <a:pt x="277" y="1445"/>
                  </a:moveTo>
                  <a:lnTo>
                    <a:pt x="277" y="1446"/>
                  </a:lnTo>
                  <a:lnTo>
                    <a:pt x="277" y="1445"/>
                  </a:lnTo>
                  <a:close/>
                  <a:moveTo>
                    <a:pt x="254" y="1438"/>
                  </a:moveTo>
                  <a:lnTo>
                    <a:pt x="256" y="1438"/>
                  </a:lnTo>
                  <a:lnTo>
                    <a:pt x="254" y="1438"/>
                  </a:lnTo>
                  <a:close/>
                  <a:moveTo>
                    <a:pt x="226" y="1432"/>
                  </a:moveTo>
                  <a:lnTo>
                    <a:pt x="228" y="1432"/>
                  </a:lnTo>
                  <a:lnTo>
                    <a:pt x="226" y="1432"/>
                  </a:lnTo>
                  <a:close/>
                  <a:moveTo>
                    <a:pt x="225" y="1432"/>
                  </a:moveTo>
                  <a:lnTo>
                    <a:pt x="226" y="1432"/>
                  </a:lnTo>
                  <a:lnTo>
                    <a:pt x="225" y="1432"/>
                  </a:lnTo>
                  <a:close/>
                  <a:moveTo>
                    <a:pt x="226" y="1453"/>
                  </a:moveTo>
                  <a:lnTo>
                    <a:pt x="226" y="1454"/>
                  </a:lnTo>
                  <a:lnTo>
                    <a:pt x="226" y="1453"/>
                  </a:lnTo>
                  <a:close/>
                  <a:moveTo>
                    <a:pt x="234" y="1448"/>
                  </a:moveTo>
                  <a:lnTo>
                    <a:pt x="236" y="1448"/>
                  </a:lnTo>
                  <a:lnTo>
                    <a:pt x="234" y="1448"/>
                  </a:lnTo>
                  <a:close/>
                  <a:moveTo>
                    <a:pt x="230" y="1430"/>
                  </a:moveTo>
                  <a:lnTo>
                    <a:pt x="230" y="1428"/>
                  </a:lnTo>
                  <a:lnTo>
                    <a:pt x="230" y="1430"/>
                  </a:lnTo>
                  <a:close/>
                  <a:moveTo>
                    <a:pt x="335" y="1466"/>
                  </a:moveTo>
                  <a:lnTo>
                    <a:pt x="337" y="1466"/>
                  </a:lnTo>
                  <a:lnTo>
                    <a:pt x="335" y="1466"/>
                  </a:lnTo>
                  <a:close/>
                  <a:moveTo>
                    <a:pt x="360" y="680"/>
                  </a:moveTo>
                  <a:lnTo>
                    <a:pt x="360" y="682"/>
                  </a:lnTo>
                  <a:lnTo>
                    <a:pt x="360" y="680"/>
                  </a:lnTo>
                  <a:close/>
                  <a:moveTo>
                    <a:pt x="200" y="1025"/>
                  </a:moveTo>
                  <a:lnTo>
                    <a:pt x="200" y="1027"/>
                  </a:lnTo>
                  <a:lnTo>
                    <a:pt x="200" y="1025"/>
                  </a:lnTo>
                  <a:close/>
                  <a:moveTo>
                    <a:pt x="215" y="1204"/>
                  </a:moveTo>
                  <a:lnTo>
                    <a:pt x="215" y="1202"/>
                  </a:lnTo>
                  <a:lnTo>
                    <a:pt x="215" y="1204"/>
                  </a:lnTo>
                  <a:close/>
                  <a:moveTo>
                    <a:pt x="583" y="1401"/>
                  </a:moveTo>
                  <a:lnTo>
                    <a:pt x="583" y="1399"/>
                  </a:lnTo>
                  <a:lnTo>
                    <a:pt x="583" y="1401"/>
                  </a:lnTo>
                  <a:close/>
                  <a:moveTo>
                    <a:pt x="291" y="1471"/>
                  </a:moveTo>
                  <a:lnTo>
                    <a:pt x="293" y="1471"/>
                  </a:lnTo>
                  <a:lnTo>
                    <a:pt x="291" y="1471"/>
                  </a:lnTo>
                  <a:close/>
                  <a:moveTo>
                    <a:pt x="208" y="1015"/>
                  </a:moveTo>
                  <a:lnTo>
                    <a:pt x="208" y="1014"/>
                  </a:lnTo>
                  <a:lnTo>
                    <a:pt x="208" y="1015"/>
                  </a:lnTo>
                  <a:close/>
                  <a:moveTo>
                    <a:pt x="228" y="1474"/>
                  </a:moveTo>
                  <a:lnTo>
                    <a:pt x="230" y="1474"/>
                  </a:lnTo>
                  <a:lnTo>
                    <a:pt x="228" y="1474"/>
                  </a:lnTo>
                  <a:close/>
                  <a:moveTo>
                    <a:pt x="226" y="1464"/>
                  </a:moveTo>
                  <a:lnTo>
                    <a:pt x="228" y="1464"/>
                  </a:lnTo>
                  <a:lnTo>
                    <a:pt x="226" y="1464"/>
                  </a:lnTo>
                  <a:close/>
                  <a:moveTo>
                    <a:pt x="225" y="1443"/>
                  </a:moveTo>
                  <a:lnTo>
                    <a:pt x="225" y="1441"/>
                  </a:lnTo>
                  <a:lnTo>
                    <a:pt x="225" y="1443"/>
                  </a:lnTo>
                  <a:close/>
                  <a:moveTo>
                    <a:pt x="226" y="1423"/>
                  </a:moveTo>
                  <a:lnTo>
                    <a:pt x="228" y="1423"/>
                  </a:lnTo>
                  <a:lnTo>
                    <a:pt x="226" y="1423"/>
                  </a:lnTo>
                  <a:close/>
                  <a:moveTo>
                    <a:pt x="261" y="1454"/>
                  </a:moveTo>
                  <a:lnTo>
                    <a:pt x="262" y="1454"/>
                  </a:lnTo>
                  <a:lnTo>
                    <a:pt x="262" y="1456"/>
                  </a:lnTo>
                  <a:lnTo>
                    <a:pt x="261" y="1454"/>
                  </a:lnTo>
                  <a:close/>
                  <a:moveTo>
                    <a:pt x="187" y="1093"/>
                  </a:moveTo>
                  <a:lnTo>
                    <a:pt x="189" y="1093"/>
                  </a:lnTo>
                  <a:lnTo>
                    <a:pt x="187" y="1093"/>
                  </a:lnTo>
                  <a:close/>
                  <a:moveTo>
                    <a:pt x="129" y="1475"/>
                  </a:moveTo>
                  <a:lnTo>
                    <a:pt x="130" y="1475"/>
                  </a:lnTo>
                  <a:lnTo>
                    <a:pt x="129" y="1475"/>
                  </a:lnTo>
                  <a:close/>
                  <a:moveTo>
                    <a:pt x="285" y="1399"/>
                  </a:moveTo>
                  <a:lnTo>
                    <a:pt x="285" y="1401"/>
                  </a:lnTo>
                  <a:lnTo>
                    <a:pt x="285" y="1399"/>
                  </a:lnTo>
                  <a:close/>
                  <a:moveTo>
                    <a:pt x="204" y="1012"/>
                  </a:moveTo>
                  <a:lnTo>
                    <a:pt x="204" y="1014"/>
                  </a:lnTo>
                  <a:lnTo>
                    <a:pt x="204" y="1012"/>
                  </a:lnTo>
                  <a:close/>
                  <a:moveTo>
                    <a:pt x="373" y="713"/>
                  </a:moveTo>
                  <a:lnTo>
                    <a:pt x="373" y="714"/>
                  </a:lnTo>
                  <a:lnTo>
                    <a:pt x="373" y="713"/>
                  </a:lnTo>
                  <a:close/>
                  <a:moveTo>
                    <a:pt x="191" y="1036"/>
                  </a:moveTo>
                  <a:lnTo>
                    <a:pt x="191" y="1038"/>
                  </a:lnTo>
                  <a:lnTo>
                    <a:pt x="191" y="1036"/>
                  </a:lnTo>
                  <a:close/>
                  <a:moveTo>
                    <a:pt x="296" y="1441"/>
                  </a:moveTo>
                  <a:lnTo>
                    <a:pt x="298" y="1441"/>
                  </a:lnTo>
                  <a:lnTo>
                    <a:pt x="296" y="1441"/>
                  </a:lnTo>
                  <a:close/>
                  <a:moveTo>
                    <a:pt x="587" y="1389"/>
                  </a:moveTo>
                  <a:lnTo>
                    <a:pt x="587" y="1391"/>
                  </a:lnTo>
                  <a:lnTo>
                    <a:pt x="587" y="1389"/>
                  </a:lnTo>
                  <a:close/>
                  <a:moveTo>
                    <a:pt x="337" y="1466"/>
                  </a:moveTo>
                  <a:lnTo>
                    <a:pt x="337" y="1464"/>
                  </a:lnTo>
                  <a:lnTo>
                    <a:pt x="337" y="1466"/>
                  </a:lnTo>
                  <a:close/>
                  <a:moveTo>
                    <a:pt x="261" y="1443"/>
                  </a:moveTo>
                  <a:lnTo>
                    <a:pt x="262" y="1443"/>
                  </a:lnTo>
                  <a:lnTo>
                    <a:pt x="261" y="1443"/>
                  </a:lnTo>
                  <a:close/>
                  <a:moveTo>
                    <a:pt x="335" y="1472"/>
                  </a:moveTo>
                  <a:lnTo>
                    <a:pt x="337" y="1472"/>
                  </a:lnTo>
                  <a:lnTo>
                    <a:pt x="335" y="1472"/>
                  </a:lnTo>
                  <a:close/>
                  <a:moveTo>
                    <a:pt x="369" y="1464"/>
                  </a:moveTo>
                  <a:lnTo>
                    <a:pt x="369" y="1466"/>
                  </a:lnTo>
                  <a:lnTo>
                    <a:pt x="369" y="1464"/>
                  </a:lnTo>
                  <a:close/>
                  <a:moveTo>
                    <a:pt x="189" y="1446"/>
                  </a:moveTo>
                  <a:lnTo>
                    <a:pt x="189" y="1448"/>
                  </a:lnTo>
                  <a:lnTo>
                    <a:pt x="189" y="1446"/>
                  </a:lnTo>
                  <a:close/>
                  <a:moveTo>
                    <a:pt x="267" y="1441"/>
                  </a:moveTo>
                  <a:lnTo>
                    <a:pt x="267" y="1443"/>
                  </a:lnTo>
                  <a:lnTo>
                    <a:pt x="267" y="1441"/>
                  </a:lnTo>
                  <a:close/>
                  <a:moveTo>
                    <a:pt x="194" y="1147"/>
                  </a:moveTo>
                  <a:lnTo>
                    <a:pt x="194" y="1149"/>
                  </a:lnTo>
                  <a:lnTo>
                    <a:pt x="194" y="1147"/>
                  </a:lnTo>
                  <a:close/>
                  <a:moveTo>
                    <a:pt x="565" y="1402"/>
                  </a:moveTo>
                  <a:lnTo>
                    <a:pt x="566" y="1402"/>
                  </a:lnTo>
                  <a:lnTo>
                    <a:pt x="565" y="1402"/>
                  </a:lnTo>
                  <a:close/>
                  <a:moveTo>
                    <a:pt x="215" y="1025"/>
                  </a:moveTo>
                  <a:lnTo>
                    <a:pt x="215" y="1027"/>
                  </a:lnTo>
                  <a:lnTo>
                    <a:pt x="215" y="1025"/>
                  </a:lnTo>
                  <a:close/>
                  <a:moveTo>
                    <a:pt x="278" y="1443"/>
                  </a:moveTo>
                  <a:lnTo>
                    <a:pt x="280" y="1443"/>
                  </a:lnTo>
                  <a:lnTo>
                    <a:pt x="278" y="1443"/>
                  </a:lnTo>
                  <a:close/>
                  <a:moveTo>
                    <a:pt x="213" y="1171"/>
                  </a:moveTo>
                  <a:lnTo>
                    <a:pt x="215" y="1171"/>
                  </a:lnTo>
                  <a:lnTo>
                    <a:pt x="213" y="1171"/>
                  </a:lnTo>
                  <a:close/>
                  <a:moveTo>
                    <a:pt x="244" y="1345"/>
                  </a:moveTo>
                  <a:lnTo>
                    <a:pt x="244" y="1347"/>
                  </a:lnTo>
                  <a:lnTo>
                    <a:pt x="244" y="1345"/>
                  </a:lnTo>
                  <a:close/>
                  <a:moveTo>
                    <a:pt x="179" y="1022"/>
                  </a:moveTo>
                  <a:lnTo>
                    <a:pt x="179" y="1023"/>
                  </a:lnTo>
                  <a:lnTo>
                    <a:pt x="179" y="1022"/>
                  </a:lnTo>
                  <a:close/>
                  <a:moveTo>
                    <a:pt x="241" y="1254"/>
                  </a:moveTo>
                  <a:lnTo>
                    <a:pt x="241" y="1256"/>
                  </a:lnTo>
                  <a:lnTo>
                    <a:pt x="241" y="1254"/>
                  </a:lnTo>
                  <a:close/>
                  <a:moveTo>
                    <a:pt x="212" y="1176"/>
                  </a:moveTo>
                  <a:lnTo>
                    <a:pt x="212" y="1178"/>
                  </a:lnTo>
                  <a:lnTo>
                    <a:pt x="212" y="1176"/>
                  </a:lnTo>
                  <a:close/>
                  <a:moveTo>
                    <a:pt x="187" y="1493"/>
                  </a:moveTo>
                  <a:lnTo>
                    <a:pt x="187" y="1492"/>
                  </a:lnTo>
                  <a:lnTo>
                    <a:pt x="187" y="1493"/>
                  </a:lnTo>
                  <a:close/>
                  <a:moveTo>
                    <a:pt x="247" y="1339"/>
                  </a:moveTo>
                  <a:lnTo>
                    <a:pt x="247" y="1340"/>
                  </a:lnTo>
                  <a:lnTo>
                    <a:pt x="247" y="1339"/>
                  </a:lnTo>
                  <a:close/>
                  <a:moveTo>
                    <a:pt x="228" y="1430"/>
                  </a:moveTo>
                  <a:lnTo>
                    <a:pt x="230" y="1430"/>
                  </a:lnTo>
                  <a:lnTo>
                    <a:pt x="228" y="1430"/>
                  </a:lnTo>
                  <a:close/>
                  <a:moveTo>
                    <a:pt x="205" y="1479"/>
                  </a:moveTo>
                  <a:lnTo>
                    <a:pt x="207" y="1479"/>
                  </a:lnTo>
                  <a:lnTo>
                    <a:pt x="205" y="1479"/>
                  </a:lnTo>
                  <a:close/>
                  <a:moveTo>
                    <a:pt x="382" y="1459"/>
                  </a:moveTo>
                  <a:lnTo>
                    <a:pt x="382" y="1458"/>
                  </a:lnTo>
                  <a:lnTo>
                    <a:pt x="382" y="1459"/>
                  </a:lnTo>
                  <a:close/>
                  <a:moveTo>
                    <a:pt x="231" y="1010"/>
                  </a:moveTo>
                  <a:lnTo>
                    <a:pt x="231" y="1012"/>
                  </a:lnTo>
                  <a:lnTo>
                    <a:pt x="231" y="1010"/>
                  </a:lnTo>
                  <a:close/>
                  <a:moveTo>
                    <a:pt x="228" y="1223"/>
                  </a:moveTo>
                  <a:lnTo>
                    <a:pt x="228" y="1225"/>
                  </a:lnTo>
                  <a:lnTo>
                    <a:pt x="228" y="1223"/>
                  </a:lnTo>
                  <a:close/>
                  <a:moveTo>
                    <a:pt x="247" y="978"/>
                  </a:moveTo>
                  <a:lnTo>
                    <a:pt x="249" y="978"/>
                  </a:lnTo>
                  <a:lnTo>
                    <a:pt x="247" y="978"/>
                  </a:lnTo>
                  <a:close/>
                  <a:moveTo>
                    <a:pt x="173" y="1010"/>
                  </a:moveTo>
                  <a:lnTo>
                    <a:pt x="174" y="1010"/>
                  </a:lnTo>
                  <a:lnTo>
                    <a:pt x="173" y="1010"/>
                  </a:lnTo>
                  <a:close/>
                  <a:moveTo>
                    <a:pt x="594" y="1380"/>
                  </a:moveTo>
                  <a:lnTo>
                    <a:pt x="596" y="1380"/>
                  </a:lnTo>
                  <a:lnTo>
                    <a:pt x="594" y="1380"/>
                  </a:lnTo>
                  <a:close/>
                  <a:moveTo>
                    <a:pt x="207" y="1017"/>
                  </a:moveTo>
                  <a:lnTo>
                    <a:pt x="208" y="1017"/>
                  </a:lnTo>
                  <a:lnTo>
                    <a:pt x="207" y="1017"/>
                  </a:lnTo>
                  <a:close/>
                  <a:moveTo>
                    <a:pt x="278" y="1433"/>
                  </a:moveTo>
                  <a:lnTo>
                    <a:pt x="278" y="1435"/>
                  </a:lnTo>
                  <a:lnTo>
                    <a:pt x="278" y="1433"/>
                  </a:lnTo>
                  <a:close/>
                  <a:moveTo>
                    <a:pt x="186" y="1451"/>
                  </a:moveTo>
                  <a:lnTo>
                    <a:pt x="187" y="1451"/>
                  </a:lnTo>
                  <a:lnTo>
                    <a:pt x="186" y="1451"/>
                  </a:lnTo>
                  <a:close/>
                  <a:moveTo>
                    <a:pt x="332" y="1448"/>
                  </a:moveTo>
                  <a:lnTo>
                    <a:pt x="330" y="1448"/>
                  </a:lnTo>
                  <a:lnTo>
                    <a:pt x="332" y="1448"/>
                  </a:lnTo>
                  <a:close/>
                  <a:moveTo>
                    <a:pt x="212" y="1176"/>
                  </a:moveTo>
                  <a:lnTo>
                    <a:pt x="212" y="1175"/>
                  </a:lnTo>
                  <a:lnTo>
                    <a:pt x="212" y="1176"/>
                  </a:lnTo>
                  <a:close/>
                  <a:moveTo>
                    <a:pt x="169" y="1492"/>
                  </a:moveTo>
                  <a:lnTo>
                    <a:pt x="171" y="1492"/>
                  </a:lnTo>
                  <a:lnTo>
                    <a:pt x="169" y="1492"/>
                  </a:lnTo>
                  <a:close/>
                  <a:moveTo>
                    <a:pt x="225" y="1479"/>
                  </a:moveTo>
                  <a:lnTo>
                    <a:pt x="225" y="1477"/>
                  </a:lnTo>
                  <a:lnTo>
                    <a:pt x="225" y="1479"/>
                  </a:lnTo>
                  <a:close/>
                  <a:moveTo>
                    <a:pt x="600" y="1363"/>
                  </a:moveTo>
                  <a:lnTo>
                    <a:pt x="600" y="1362"/>
                  </a:lnTo>
                  <a:lnTo>
                    <a:pt x="600" y="1363"/>
                  </a:lnTo>
                  <a:close/>
                  <a:moveTo>
                    <a:pt x="134" y="1449"/>
                  </a:moveTo>
                  <a:lnTo>
                    <a:pt x="134" y="1451"/>
                  </a:lnTo>
                  <a:lnTo>
                    <a:pt x="134" y="1449"/>
                  </a:lnTo>
                  <a:close/>
                  <a:moveTo>
                    <a:pt x="142" y="1472"/>
                  </a:moveTo>
                  <a:lnTo>
                    <a:pt x="142" y="1471"/>
                  </a:lnTo>
                  <a:lnTo>
                    <a:pt x="142" y="1472"/>
                  </a:lnTo>
                  <a:close/>
                  <a:moveTo>
                    <a:pt x="332" y="1456"/>
                  </a:moveTo>
                  <a:lnTo>
                    <a:pt x="334" y="1456"/>
                  </a:lnTo>
                  <a:lnTo>
                    <a:pt x="332" y="1456"/>
                  </a:lnTo>
                  <a:close/>
                  <a:moveTo>
                    <a:pt x="142" y="1466"/>
                  </a:moveTo>
                  <a:lnTo>
                    <a:pt x="142" y="1464"/>
                  </a:lnTo>
                  <a:lnTo>
                    <a:pt x="142" y="1466"/>
                  </a:lnTo>
                  <a:close/>
                  <a:moveTo>
                    <a:pt x="678" y="1345"/>
                  </a:moveTo>
                  <a:lnTo>
                    <a:pt x="680" y="1345"/>
                  </a:lnTo>
                  <a:lnTo>
                    <a:pt x="678" y="1345"/>
                  </a:lnTo>
                  <a:close/>
                  <a:moveTo>
                    <a:pt x="641" y="1352"/>
                  </a:moveTo>
                  <a:lnTo>
                    <a:pt x="643" y="1352"/>
                  </a:lnTo>
                  <a:lnTo>
                    <a:pt x="641" y="1352"/>
                  </a:lnTo>
                  <a:close/>
                  <a:moveTo>
                    <a:pt x="139" y="1490"/>
                  </a:moveTo>
                  <a:lnTo>
                    <a:pt x="139" y="1488"/>
                  </a:lnTo>
                  <a:lnTo>
                    <a:pt x="139" y="1490"/>
                  </a:lnTo>
                  <a:close/>
                  <a:moveTo>
                    <a:pt x="228" y="1461"/>
                  </a:moveTo>
                  <a:lnTo>
                    <a:pt x="230" y="1461"/>
                  </a:lnTo>
                  <a:lnTo>
                    <a:pt x="228" y="1461"/>
                  </a:lnTo>
                  <a:close/>
                  <a:moveTo>
                    <a:pt x="204" y="1464"/>
                  </a:moveTo>
                  <a:lnTo>
                    <a:pt x="205" y="1464"/>
                  </a:lnTo>
                  <a:lnTo>
                    <a:pt x="204" y="1464"/>
                  </a:lnTo>
                  <a:close/>
                  <a:moveTo>
                    <a:pt x="280" y="1430"/>
                  </a:moveTo>
                  <a:lnTo>
                    <a:pt x="280" y="1428"/>
                  </a:lnTo>
                  <a:lnTo>
                    <a:pt x="280" y="1430"/>
                  </a:lnTo>
                  <a:close/>
                  <a:moveTo>
                    <a:pt x="509" y="1425"/>
                  </a:moveTo>
                  <a:lnTo>
                    <a:pt x="511" y="1425"/>
                  </a:lnTo>
                  <a:lnTo>
                    <a:pt x="509" y="1425"/>
                  </a:lnTo>
                  <a:close/>
                  <a:moveTo>
                    <a:pt x="231" y="1415"/>
                  </a:moveTo>
                  <a:lnTo>
                    <a:pt x="231" y="1414"/>
                  </a:lnTo>
                  <a:lnTo>
                    <a:pt x="231" y="1415"/>
                  </a:lnTo>
                  <a:close/>
                  <a:moveTo>
                    <a:pt x="238" y="1249"/>
                  </a:moveTo>
                  <a:lnTo>
                    <a:pt x="238" y="1248"/>
                  </a:lnTo>
                  <a:lnTo>
                    <a:pt x="238" y="1249"/>
                  </a:lnTo>
                  <a:close/>
                  <a:moveTo>
                    <a:pt x="189" y="1106"/>
                  </a:moveTo>
                  <a:lnTo>
                    <a:pt x="189" y="1108"/>
                  </a:lnTo>
                  <a:lnTo>
                    <a:pt x="189" y="1106"/>
                  </a:lnTo>
                  <a:close/>
                  <a:moveTo>
                    <a:pt x="212" y="1018"/>
                  </a:moveTo>
                  <a:lnTo>
                    <a:pt x="212" y="1017"/>
                  </a:lnTo>
                  <a:lnTo>
                    <a:pt x="212" y="1018"/>
                  </a:lnTo>
                  <a:close/>
                  <a:moveTo>
                    <a:pt x="239" y="1371"/>
                  </a:moveTo>
                  <a:lnTo>
                    <a:pt x="241" y="1371"/>
                  </a:lnTo>
                  <a:lnTo>
                    <a:pt x="239" y="1371"/>
                  </a:lnTo>
                  <a:close/>
                  <a:moveTo>
                    <a:pt x="215" y="1025"/>
                  </a:moveTo>
                  <a:lnTo>
                    <a:pt x="215" y="1023"/>
                  </a:lnTo>
                  <a:lnTo>
                    <a:pt x="215" y="1025"/>
                  </a:lnTo>
                  <a:close/>
                  <a:moveTo>
                    <a:pt x="239" y="1313"/>
                  </a:moveTo>
                  <a:lnTo>
                    <a:pt x="241" y="1313"/>
                  </a:lnTo>
                  <a:lnTo>
                    <a:pt x="239" y="1313"/>
                  </a:lnTo>
                  <a:close/>
                  <a:moveTo>
                    <a:pt x="330" y="805"/>
                  </a:moveTo>
                  <a:lnTo>
                    <a:pt x="330" y="804"/>
                  </a:lnTo>
                  <a:lnTo>
                    <a:pt x="330" y="805"/>
                  </a:lnTo>
                  <a:close/>
                  <a:moveTo>
                    <a:pt x="213" y="1020"/>
                  </a:moveTo>
                  <a:lnTo>
                    <a:pt x="213" y="1018"/>
                  </a:lnTo>
                  <a:lnTo>
                    <a:pt x="213" y="1020"/>
                  </a:lnTo>
                  <a:close/>
                  <a:moveTo>
                    <a:pt x="171" y="1020"/>
                  </a:moveTo>
                  <a:lnTo>
                    <a:pt x="171" y="1018"/>
                  </a:lnTo>
                  <a:lnTo>
                    <a:pt x="171" y="1020"/>
                  </a:lnTo>
                  <a:close/>
                  <a:moveTo>
                    <a:pt x="581" y="1383"/>
                  </a:moveTo>
                  <a:lnTo>
                    <a:pt x="581" y="1384"/>
                  </a:lnTo>
                  <a:lnTo>
                    <a:pt x="581" y="1383"/>
                  </a:lnTo>
                  <a:close/>
                  <a:moveTo>
                    <a:pt x="584" y="1373"/>
                  </a:moveTo>
                  <a:lnTo>
                    <a:pt x="584" y="1371"/>
                  </a:lnTo>
                  <a:lnTo>
                    <a:pt x="584" y="1373"/>
                  </a:lnTo>
                  <a:close/>
                  <a:moveTo>
                    <a:pt x="288" y="1482"/>
                  </a:moveTo>
                  <a:lnTo>
                    <a:pt x="288" y="1484"/>
                  </a:lnTo>
                  <a:lnTo>
                    <a:pt x="288" y="1482"/>
                  </a:lnTo>
                  <a:close/>
                  <a:moveTo>
                    <a:pt x="254" y="1399"/>
                  </a:moveTo>
                  <a:lnTo>
                    <a:pt x="256" y="1399"/>
                  </a:lnTo>
                  <a:lnTo>
                    <a:pt x="254" y="1399"/>
                  </a:lnTo>
                  <a:close/>
                  <a:moveTo>
                    <a:pt x="324" y="1461"/>
                  </a:moveTo>
                  <a:lnTo>
                    <a:pt x="324" y="1462"/>
                  </a:lnTo>
                  <a:lnTo>
                    <a:pt x="324" y="1461"/>
                  </a:lnTo>
                  <a:close/>
                  <a:moveTo>
                    <a:pt x="207" y="1484"/>
                  </a:moveTo>
                  <a:lnTo>
                    <a:pt x="207" y="1482"/>
                  </a:lnTo>
                  <a:lnTo>
                    <a:pt x="207" y="1484"/>
                  </a:lnTo>
                  <a:close/>
                  <a:moveTo>
                    <a:pt x="243" y="1412"/>
                  </a:moveTo>
                  <a:lnTo>
                    <a:pt x="244" y="1412"/>
                  </a:lnTo>
                  <a:lnTo>
                    <a:pt x="243" y="1412"/>
                  </a:lnTo>
                  <a:close/>
                  <a:moveTo>
                    <a:pt x="592" y="1389"/>
                  </a:moveTo>
                  <a:lnTo>
                    <a:pt x="592" y="1391"/>
                  </a:lnTo>
                  <a:lnTo>
                    <a:pt x="592" y="1389"/>
                  </a:lnTo>
                  <a:close/>
                  <a:moveTo>
                    <a:pt x="238" y="1453"/>
                  </a:moveTo>
                  <a:lnTo>
                    <a:pt x="239" y="1454"/>
                  </a:lnTo>
                  <a:lnTo>
                    <a:pt x="238" y="1453"/>
                  </a:lnTo>
                  <a:close/>
                  <a:moveTo>
                    <a:pt x="280" y="1454"/>
                  </a:moveTo>
                  <a:lnTo>
                    <a:pt x="282" y="1456"/>
                  </a:lnTo>
                  <a:lnTo>
                    <a:pt x="280" y="1454"/>
                  </a:lnTo>
                  <a:close/>
                  <a:moveTo>
                    <a:pt x="586" y="1397"/>
                  </a:moveTo>
                  <a:lnTo>
                    <a:pt x="587" y="1397"/>
                  </a:lnTo>
                  <a:lnTo>
                    <a:pt x="586" y="1397"/>
                  </a:lnTo>
                  <a:close/>
                  <a:moveTo>
                    <a:pt x="241" y="1453"/>
                  </a:moveTo>
                  <a:lnTo>
                    <a:pt x="241" y="1454"/>
                  </a:lnTo>
                  <a:lnTo>
                    <a:pt x="241" y="1453"/>
                  </a:lnTo>
                  <a:close/>
                  <a:moveTo>
                    <a:pt x="685" y="1355"/>
                  </a:moveTo>
                  <a:lnTo>
                    <a:pt x="687" y="1355"/>
                  </a:lnTo>
                  <a:lnTo>
                    <a:pt x="685" y="1355"/>
                  </a:lnTo>
                  <a:close/>
                  <a:moveTo>
                    <a:pt x="597" y="1383"/>
                  </a:moveTo>
                  <a:lnTo>
                    <a:pt x="597" y="1384"/>
                  </a:lnTo>
                  <a:lnTo>
                    <a:pt x="597" y="1383"/>
                  </a:lnTo>
                  <a:close/>
                  <a:moveTo>
                    <a:pt x="337" y="805"/>
                  </a:moveTo>
                  <a:lnTo>
                    <a:pt x="337" y="804"/>
                  </a:lnTo>
                  <a:lnTo>
                    <a:pt x="337" y="805"/>
                  </a:lnTo>
                  <a:close/>
                  <a:moveTo>
                    <a:pt x="161" y="1446"/>
                  </a:moveTo>
                  <a:lnTo>
                    <a:pt x="161" y="1448"/>
                  </a:lnTo>
                  <a:lnTo>
                    <a:pt x="161" y="1446"/>
                  </a:lnTo>
                  <a:close/>
                  <a:moveTo>
                    <a:pt x="348" y="682"/>
                  </a:moveTo>
                  <a:lnTo>
                    <a:pt x="350" y="682"/>
                  </a:lnTo>
                  <a:lnTo>
                    <a:pt x="348" y="683"/>
                  </a:lnTo>
                  <a:lnTo>
                    <a:pt x="348" y="682"/>
                  </a:lnTo>
                  <a:close/>
                  <a:moveTo>
                    <a:pt x="231" y="1490"/>
                  </a:moveTo>
                  <a:lnTo>
                    <a:pt x="231" y="1488"/>
                  </a:lnTo>
                  <a:lnTo>
                    <a:pt x="231" y="1490"/>
                  </a:lnTo>
                  <a:close/>
                  <a:moveTo>
                    <a:pt x="547" y="1409"/>
                  </a:moveTo>
                  <a:lnTo>
                    <a:pt x="548" y="1409"/>
                  </a:lnTo>
                  <a:lnTo>
                    <a:pt x="547" y="1409"/>
                  </a:lnTo>
                  <a:close/>
                  <a:moveTo>
                    <a:pt x="287" y="1462"/>
                  </a:moveTo>
                  <a:lnTo>
                    <a:pt x="287" y="1461"/>
                  </a:lnTo>
                  <a:lnTo>
                    <a:pt x="287" y="1462"/>
                  </a:lnTo>
                  <a:close/>
                  <a:moveTo>
                    <a:pt x="280" y="1487"/>
                  </a:moveTo>
                  <a:lnTo>
                    <a:pt x="280" y="1485"/>
                  </a:lnTo>
                  <a:lnTo>
                    <a:pt x="280" y="1487"/>
                  </a:lnTo>
                  <a:close/>
                  <a:moveTo>
                    <a:pt x="233" y="1005"/>
                  </a:moveTo>
                  <a:lnTo>
                    <a:pt x="234" y="1005"/>
                  </a:lnTo>
                  <a:lnTo>
                    <a:pt x="233" y="1005"/>
                  </a:lnTo>
                  <a:close/>
                  <a:moveTo>
                    <a:pt x="230" y="1292"/>
                  </a:moveTo>
                  <a:lnTo>
                    <a:pt x="231" y="1292"/>
                  </a:lnTo>
                  <a:lnTo>
                    <a:pt x="230" y="1292"/>
                  </a:lnTo>
                  <a:close/>
                  <a:moveTo>
                    <a:pt x="256" y="947"/>
                  </a:moveTo>
                  <a:lnTo>
                    <a:pt x="256" y="949"/>
                  </a:lnTo>
                  <a:lnTo>
                    <a:pt x="256" y="947"/>
                  </a:lnTo>
                  <a:close/>
                  <a:moveTo>
                    <a:pt x="267" y="952"/>
                  </a:moveTo>
                  <a:lnTo>
                    <a:pt x="267" y="953"/>
                  </a:lnTo>
                  <a:lnTo>
                    <a:pt x="267" y="952"/>
                  </a:lnTo>
                  <a:close/>
                  <a:moveTo>
                    <a:pt x="246" y="1261"/>
                  </a:moveTo>
                  <a:lnTo>
                    <a:pt x="246" y="1259"/>
                  </a:lnTo>
                  <a:lnTo>
                    <a:pt x="246" y="1261"/>
                  </a:lnTo>
                  <a:close/>
                  <a:moveTo>
                    <a:pt x="173" y="1022"/>
                  </a:moveTo>
                  <a:lnTo>
                    <a:pt x="174" y="1022"/>
                  </a:lnTo>
                  <a:lnTo>
                    <a:pt x="173" y="1022"/>
                  </a:lnTo>
                  <a:close/>
                  <a:moveTo>
                    <a:pt x="213" y="1004"/>
                  </a:moveTo>
                  <a:lnTo>
                    <a:pt x="213" y="1005"/>
                  </a:lnTo>
                  <a:lnTo>
                    <a:pt x="213" y="1004"/>
                  </a:lnTo>
                  <a:close/>
                  <a:moveTo>
                    <a:pt x="212" y="1027"/>
                  </a:moveTo>
                  <a:lnTo>
                    <a:pt x="213" y="1027"/>
                  </a:lnTo>
                  <a:lnTo>
                    <a:pt x="212" y="1027"/>
                  </a:lnTo>
                  <a:close/>
                  <a:moveTo>
                    <a:pt x="197" y="1079"/>
                  </a:moveTo>
                  <a:lnTo>
                    <a:pt x="197" y="1077"/>
                  </a:lnTo>
                  <a:lnTo>
                    <a:pt x="197" y="1079"/>
                  </a:lnTo>
                  <a:close/>
                  <a:moveTo>
                    <a:pt x="218" y="1493"/>
                  </a:moveTo>
                  <a:lnTo>
                    <a:pt x="218" y="1495"/>
                  </a:lnTo>
                  <a:lnTo>
                    <a:pt x="218" y="1493"/>
                  </a:lnTo>
                  <a:close/>
                  <a:moveTo>
                    <a:pt x="296" y="913"/>
                  </a:moveTo>
                  <a:lnTo>
                    <a:pt x="298" y="913"/>
                  </a:lnTo>
                  <a:lnTo>
                    <a:pt x="296" y="913"/>
                  </a:lnTo>
                  <a:close/>
                  <a:moveTo>
                    <a:pt x="311" y="872"/>
                  </a:moveTo>
                  <a:lnTo>
                    <a:pt x="311" y="870"/>
                  </a:lnTo>
                  <a:lnTo>
                    <a:pt x="311" y="872"/>
                  </a:lnTo>
                  <a:close/>
                  <a:moveTo>
                    <a:pt x="397" y="1459"/>
                  </a:moveTo>
                  <a:lnTo>
                    <a:pt x="397" y="1458"/>
                  </a:lnTo>
                  <a:lnTo>
                    <a:pt x="397" y="1459"/>
                  </a:lnTo>
                  <a:close/>
                  <a:moveTo>
                    <a:pt x="208" y="1010"/>
                  </a:moveTo>
                  <a:lnTo>
                    <a:pt x="208" y="1012"/>
                  </a:lnTo>
                  <a:lnTo>
                    <a:pt x="208" y="1010"/>
                  </a:lnTo>
                  <a:close/>
                  <a:moveTo>
                    <a:pt x="291" y="1441"/>
                  </a:moveTo>
                  <a:lnTo>
                    <a:pt x="293" y="1441"/>
                  </a:lnTo>
                  <a:lnTo>
                    <a:pt x="291" y="1441"/>
                  </a:lnTo>
                  <a:close/>
                  <a:moveTo>
                    <a:pt x="371" y="1459"/>
                  </a:moveTo>
                  <a:lnTo>
                    <a:pt x="373" y="1459"/>
                  </a:lnTo>
                  <a:lnTo>
                    <a:pt x="371" y="1459"/>
                  </a:lnTo>
                  <a:close/>
                  <a:moveTo>
                    <a:pt x="160" y="1054"/>
                  </a:moveTo>
                  <a:lnTo>
                    <a:pt x="161" y="1054"/>
                  </a:lnTo>
                  <a:lnTo>
                    <a:pt x="160" y="1054"/>
                  </a:lnTo>
                  <a:close/>
                  <a:moveTo>
                    <a:pt x="309" y="1448"/>
                  </a:moveTo>
                  <a:lnTo>
                    <a:pt x="309" y="1449"/>
                  </a:lnTo>
                  <a:lnTo>
                    <a:pt x="309" y="1448"/>
                  </a:lnTo>
                  <a:close/>
                  <a:moveTo>
                    <a:pt x="288" y="1474"/>
                  </a:moveTo>
                  <a:lnTo>
                    <a:pt x="290" y="1474"/>
                  </a:lnTo>
                  <a:lnTo>
                    <a:pt x="288" y="1474"/>
                  </a:lnTo>
                  <a:close/>
                  <a:moveTo>
                    <a:pt x="207" y="1497"/>
                  </a:moveTo>
                  <a:lnTo>
                    <a:pt x="207" y="1495"/>
                  </a:lnTo>
                  <a:lnTo>
                    <a:pt x="207" y="1497"/>
                  </a:lnTo>
                  <a:close/>
                  <a:moveTo>
                    <a:pt x="296" y="1477"/>
                  </a:moveTo>
                  <a:lnTo>
                    <a:pt x="298" y="1477"/>
                  </a:lnTo>
                  <a:lnTo>
                    <a:pt x="296" y="1477"/>
                  </a:lnTo>
                  <a:close/>
                  <a:moveTo>
                    <a:pt x="662" y="1345"/>
                  </a:moveTo>
                  <a:lnTo>
                    <a:pt x="664" y="1345"/>
                  </a:lnTo>
                  <a:lnTo>
                    <a:pt x="662" y="1345"/>
                  </a:lnTo>
                  <a:close/>
                  <a:moveTo>
                    <a:pt x="210" y="1178"/>
                  </a:moveTo>
                  <a:lnTo>
                    <a:pt x="210" y="1176"/>
                  </a:lnTo>
                  <a:lnTo>
                    <a:pt x="210" y="1178"/>
                  </a:lnTo>
                  <a:close/>
                  <a:moveTo>
                    <a:pt x="231" y="1493"/>
                  </a:moveTo>
                  <a:lnTo>
                    <a:pt x="231" y="1492"/>
                  </a:lnTo>
                  <a:lnTo>
                    <a:pt x="231" y="1493"/>
                  </a:lnTo>
                  <a:close/>
                  <a:moveTo>
                    <a:pt x="628" y="1381"/>
                  </a:moveTo>
                  <a:lnTo>
                    <a:pt x="628" y="1383"/>
                  </a:lnTo>
                  <a:lnTo>
                    <a:pt x="628" y="1381"/>
                  </a:lnTo>
                  <a:close/>
                  <a:moveTo>
                    <a:pt x="257" y="1446"/>
                  </a:moveTo>
                  <a:lnTo>
                    <a:pt x="259" y="1446"/>
                  </a:lnTo>
                  <a:lnTo>
                    <a:pt x="257" y="1446"/>
                  </a:lnTo>
                  <a:close/>
                  <a:moveTo>
                    <a:pt x="233" y="1425"/>
                  </a:moveTo>
                  <a:lnTo>
                    <a:pt x="234" y="1425"/>
                  </a:lnTo>
                  <a:lnTo>
                    <a:pt x="233" y="1425"/>
                  </a:lnTo>
                  <a:close/>
                  <a:moveTo>
                    <a:pt x="661" y="1339"/>
                  </a:moveTo>
                  <a:lnTo>
                    <a:pt x="662" y="1339"/>
                  </a:lnTo>
                  <a:lnTo>
                    <a:pt x="661" y="1339"/>
                  </a:lnTo>
                  <a:close/>
                  <a:moveTo>
                    <a:pt x="234" y="1448"/>
                  </a:moveTo>
                  <a:lnTo>
                    <a:pt x="234" y="1449"/>
                  </a:lnTo>
                  <a:lnTo>
                    <a:pt x="234" y="1448"/>
                  </a:lnTo>
                  <a:close/>
                  <a:moveTo>
                    <a:pt x="643" y="1352"/>
                  </a:moveTo>
                  <a:lnTo>
                    <a:pt x="644" y="1352"/>
                  </a:lnTo>
                  <a:lnTo>
                    <a:pt x="643" y="1352"/>
                  </a:lnTo>
                  <a:close/>
                  <a:moveTo>
                    <a:pt x="155" y="1464"/>
                  </a:moveTo>
                  <a:lnTo>
                    <a:pt x="155" y="1466"/>
                  </a:lnTo>
                  <a:lnTo>
                    <a:pt x="155" y="1464"/>
                  </a:lnTo>
                  <a:close/>
                  <a:moveTo>
                    <a:pt x="631" y="1353"/>
                  </a:moveTo>
                  <a:lnTo>
                    <a:pt x="631" y="1355"/>
                  </a:lnTo>
                  <a:lnTo>
                    <a:pt x="631" y="1353"/>
                  </a:lnTo>
                  <a:close/>
                  <a:moveTo>
                    <a:pt x="251" y="1446"/>
                  </a:moveTo>
                  <a:lnTo>
                    <a:pt x="251" y="1448"/>
                  </a:lnTo>
                  <a:lnTo>
                    <a:pt x="251" y="1446"/>
                  </a:lnTo>
                  <a:close/>
                  <a:moveTo>
                    <a:pt x="173" y="1441"/>
                  </a:moveTo>
                  <a:lnTo>
                    <a:pt x="174" y="1441"/>
                  </a:lnTo>
                  <a:lnTo>
                    <a:pt x="173" y="1441"/>
                  </a:lnTo>
                  <a:close/>
                  <a:moveTo>
                    <a:pt x="246" y="1258"/>
                  </a:moveTo>
                  <a:lnTo>
                    <a:pt x="246" y="1259"/>
                  </a:lnTo>
                  <a:lnTo>
                    <a:pt x="246" y="1258"/>
                  </a:lnTo>
                  <a:close/>
                  <a:moveTo>
                    <a:pt x="628" y="1378"/>
                  </a:moveTo>
                  <a:lnTo>
                    <a:pt x="630" y="1378"/>
                  </a:lnTo>
                  <a:lnTo>
                    <a:pt x="628" y="1378"/>
                  </a:lnTo>
                  <a:close/>
                  <a:moveTo>
                    <a:pt x="304" y="1466"/>
                  </a:moveTo>
                  <a:lnTo>
                    <a:pt x="304" y="1467"/>
                  </a:lnTo>
                  <a:lnTo>
                    <a:pt x="304" y="1466"/>
                  </a:lnTo>
                  <a:close/>
                  <a:moveTo>
                    <a:pt x="275" y="1419"/>
                  </a:moveTo>
                  <a:lnTo>
                    <a:pt x="277" y="1419"/>
                  </a:lnTo>
                  <a:lnTo>
                    <a:pt x="275" y="1419"/>
                  </a:lnTo>
                  <a:close/>
                  <a:moveTo>
                    <a:pt x="293" y="1412"/>
                  </a:moveTo>
                  <a:lnTo>
                    <a:pt x="295" y="1412"/>
                  </a:lnTo>
                  <a:lnTo>
                    <a:pt x="293" y="1412"/>
                  </a:lnTo>
                  <a:close/>
                  <a:moveTo>
                    <a:pt x="210" y="1002"/>
                  </a:moveTo>
                  <a:lnTo>
                    <a:pt x="210" y="1004"/>
                  </a:lnTo>
                  <a:lnTo>
                    <a:pt x="210" y="1002"/>
                  </a:lnTo>
                  <a:close/>
                  <a:moveTo>
                    <a:pt x="191" y="1017"/>
                  </a:moveTo>
                  <a:lnTo>
                    <a:pt x="192" y="1017"/>
                  </a:lnTo>
                  <a:lnTo>
                    <a:pt x="191" y="1017"/>
                  </a:lnTo>
                  <a:close/>
                  <a:moveTo>
                    <a:pt x="200" y="1014"/>
                  </a:moveTo>
                  <a:lnTo>
                    <a:pt x="202" y="1014"/>
                  </a:lnTo>
                  <a:lnTo>
                    <a:pt x="200" y="1014"/>
                  </a:lnTo>
                  <a:close/>
                  <a:moveTo>
                    <a:pt x="239" y="1482"/>
                  </a:moveTo>
                  <a:lnTo>
                    <a:pt x="241" y="1482"/>
                  </a:lnTo>
                  <a:lnTo>
                    <a:pt x="239" y="1482"/>
                  </a:lnTo>
                  <a:close/>
                  <a:moveTo>
                    <a:pt x="298" y="1474"/>
                  </a:moveTo>
                  <a:lnTo>
                    <a:pt x="300" y="1474"/>
                  </a:lnTo>
                  <a:lnTo>
                    <a:pt x="298" y="1474"/>
                  </a:lnTo>
                  <a:close/>
                  <a:moveTo>
                    <a:pt x="241" y="1349"/>
                  </a:moveTo>
                  <a:lnTo>
                    <a:pt x="243" y="1349"/>
                  </a:lnTo>
                  <a:lnTo>
                    <a:pt x="241" y="1349"/>
                  </a:lnTo>
                  <a:close/>
                  <a:moveTo>
                    <a:pt x="241" y="1449"/>
                  </a:moveTo>
                  <a:lnTo>
                    <a:pt x="243" y="1449"/>
                  </a:lnTo>
                  <a:lnTo>
                    <a:pt x="241" y="1449"/>
                  </a:lnTo>
                  <a:close/>
                  <a:moveTo>
                    <a:pt x="213" y="1027"/>
                  </a:moveTo>
                  <a:lnTo>
                    <a:pt x="213" y="1028"/>
                  </a:lnTo>
                  <a:lnTo>
                    <a:pt x="213" y="1027"/>
                  </a:lnTo>
                  <a:close/>
                  <a:moveTo>
                    <a:pt x="239" y="1469"/>
                  </a:moveTo>
                  <a:lnTo>
                    <a:pt x="239" y="1471"/>
                  </a:lnTo>
                  <a:lnTo>
                    <a:pt x="239" y="1469"/>
                  </a:lnTo>
                  <a:close/>
                  <a:moveTo>
                    <a:pt x="176" y="1082"/>
                  </a:moveTo>
                  <a:lnTo>
                    <a:pt x="178" y="1082"/>
                  </a:lnTo>
                  <a:lnTo>
                    <a:pt x="176" y="1082"/>
                  </a:lnTo>
                  <a:close/>
                  <a:moveTo>
                    <a:pt x="607" y="1368"/>
                  </a:moveTo>
                  <a:lnTo>
                    <a:pt x="607" y="1370"/>
                  </a:lnTo>
                  <a:lnTo>
                    <a:pt x="607" y="1368"/>
                  </a:lnTo>
                  <a:close/>
                  <a:moveTo>
                    <a:pt x="303" y="1427"/>
                  </a:moveTo>
                  <a:lnTo>
                    <a:pt x="304" y="1427"/>
                  </a:lnTo>
                  <a:lnTo>
                    <a:pt x="303" y="1427"/>
                  </a:lnTo>
                  <a:close/>
                  <a:moveTo>
                    <a:pt x="194" y="1134"/>
                  </a:moveTo>
                  <a:lnTo>
                    <a:pt x="194" y="1132"/>
                  </a:lnTo>
                  <a:lnTo>
                    <a:pt x="194" y="1134"/>
                  </a:lnTo>
                  <a:close/>
                  <a:moveTo>
                    <a:pt x="272" y="1423"/>
                  </a:moveTo>
                  <a:lnTo>
                    <a:pt x="274" y="1423"/>
                  </a:lnTo>
                  <a:lnTo>
                    <a:pt x="272" y="1423"/>
                  </a:lnTo>
                  <a:close/>
                  <a:moveTo>
                    <a:pt x="230" y="1484"/>
                  </a:moveTo>
                  <a:lnTo>
                    <a:pt x="231" y="1484"/>
                  </a:lnTo>
                  <a:lnTo>
                    <a:pt x="230" y="1484"/>
                  </a:lnTo>
                  <a:close/>
                  <a:moveTo>
                    <a:pt x="208" y="1165"/>
                  </a:moveTo>
                  <a:lnTo>
                    <a:pt x="210" y="1165"/>
                  </a:lnTo>
                  <a:lnTo>
                    <a:pt x="208" y="1165"/>
                  </a:lnTo>
                  <a:close/>
                  <a:moveTo>
                    <a:pt x="296" y="1443"/>
                  </a:moveTo>
                  <a:lnTo>
                    <a:pt x="296" y="1441"/>
                  </a:lnTo>
                  <a:lnTo>
                    <a:pt x="296" y="1443"/>
                  </a:lnTo>
                  <a:close/>
                  <a:moveTo>
                    <a:pt x="213" y="1005"/>
                  </a:moveTo>
                  <a:lnTo>
                    <a:pt x="213" y="1007"/>
                  </a:lnTo>
                  <a:lnTo>
                    <a:pt x="213" y="1005"/>
                  </a:lnTo>
                  <a:close/>
                  <a:moveTo>
                    <a:pt x="249" y="1274"/>
                  </a:moveTo>
                  <a:lnTo>
                    <a:pt x="249" y="1275"/>
                  </a:lnTo>
                  <a:lnTo>
                    <a:pt x="249" y="1274"/>
                  </a:lnTo>
                  <a:close/>
                  <a:moveTo>
                    <a:pt x="555" y="1399"/>
                  </a:moveTo>
                  <a:lnTo>
                    <a:pt x="555" y="1397"/>
                  </a:lnTo>
                  <a:lnTo>
                    <a:pt x="555" y="1399"/>
                  </a:lnTo>
                  <a:close/>
                  <a:moveTo>
                    <a:pt x="270" y="1430"/>
                  </a:moveTo>
                  <a:lnTo>
                    <a:pt x="270" y="1428"/>
                  </a:lnTo>
                  <a:lnTo>
                    <a:pt x="270" y="1430"/>
                  </a:lnTo>
                  <a:close/>
                  <a:moveTo>
                    <a:pt x="246" y="1327"/>
                  </a:moveTo>
                  <a:lnTo>
                    <a:pt x="247" y="1327"/>
                  </a:lnTo>
                  <a:lnTo>
                    <a:pt x="246" y="1327"/>
                  </a:lnTo>
                  <a:close/>
                  <a:moveTo>
                    <a:pt x="230" y="1423"/>
                  </a:moveTo>
                  <a:lnTo>
                    <a:pt x="231" y="1423"/>
                  </a:lnTo>
                  <a:lnTo>
                    <a:pt x="230" y="1423"/>
                  </a:lnTo>
                  <a:close/>
                  <a:moveTo>
                    <a:pt x="269" y="1420"/>
                  </a:moveTo>
                  <a:lnTo>
                    <a:pt x="270" y="1420"/>
                  </a:lnTo>
                  <a:lnTo>
                    <a:pt x="269" y="1420"/>
                  </a:lnTo>
                  <a:close/>
                  <a:moveTo>
                    <a:pt x="592" y="1370"/>
                  </a:moveTo>
                  <a:lnTo>
                    <a:pt x="592" y="1371"/>
                  </a:lnTo>
                  <a:lnTo>
                    <a:pt x="592" y="1370"/>
                  </a:lnTo>
                  <a:close/>
                  <a:moveTo>
                    <a:pt x="270" y="1467"/>
                  </a:moveTo>
                  <a:lnTo>
                    <a:pt x="270" y="1469"/>
                  </a:lnTo>
                  <a:lnTo>
                    <a:pt x="270" y="1467"/>
                  </a:lnTo>
                  <a:close/>
                  <a:moveTo>
                    <a:pt x="282" y="1482"/>
                  </a:moveTo>
                  <a:lnTo>
                    <a:pt x="282" y="1484"/>
                  </a:lnTo>
                  <a:lnTo>
                    <a:pt x="282" y="1482"/>
                  </a:lnTo>
                  <a:close/>
                  <a:moveTo>
                    <a:pt x="527" y="1425"/>
                  </a:moveTo>
                  <a:lnTo>
                    <a:pt x="527" y="1427"/>
                  </a:lnTo>
                  <a:lnTo>
                    <a:pt x="527" y="1425"/>
                  </a:lnTo>
                  <a:close/>
                  <a:moveTo>
                    <a:pt x="500" y="1440"/>
                  </a:moveTo>
                  <a:lnTo>
                    <a:pt x="500" y="1441"/>
                  </a:lnTo>
                  <a:lnTo>
                    <a:pt x="500" y="1440"/>
                  </a:lnTo>
                  <a:close/>
                  <a:moveTo>
                    <a:pt x="298" y="1477"/>
                  </a:moveTo>
                  <a:lnTo>
                    <a:pt x="298" y="1475"/>
                  </a:lnTo>
                  <a:lnTo>
                    <a:pt x="298" y="1477"/>
                  </a:lnTo>
                  <a:close/>
                  <a:moveTo>
                    <a:pt x="179" y="1456"/>
                  </a:moveTo>
                  <a:lnTo>
                    <a:pt x="181" y="1456"/>
                  </a:lnTo>
                  <a:lnTo>
                    <a:pt x="179" y="1456"/>
                  </a:lnTo>
                  <a:close/>
                  <a:moveTo>
                    <a:pt x="308" y="875"/>
                  </a:moveTo>
                  <a:lnTo>
                    <a:pt x="309" y="875"/>
                  </a:lnTo>
                  <a:lnTo>
                    <a:pt x="308" y="875"/>
                  </a:lnTo>
                  <a:close/>
                  <a:moveTo>
                    <a:pt x="477" y="1440"/>
                  </a:moveTo>
                  <a:lnTo>
                    <a:pt x="477" y="1441"/>
                  </a:lnTo>
                  <a:lnTo>
                    <a:pt x="477" y="1440"/>
                  </a:lnTo>
                  <a:close/>
                  <a:moveTo>
                    <a:pt x="221" y="1492"/>
                  </a:moveTo>
                  <a:lnTo>
                    <a:pt x="221" y="1493"/>
                  </a:lnTo>
                  <a:lnTo>
                    <a:pt x="221" y="1492"/>
                  </a:lnTo>
                  <a:close/>
                  <a:moveTo>
                    <a:pt x="381" y="1469"/>
                  </a:moveTo>
                  <a:lnTo>
                    <a:pt x="381" y="1471"/>
                  </a:lnTo>
                  <a:lnTo>
                    <a:pt x="381" y="1469"/>
                  </a:lnTo>
                  <a:close/>
                  <a:moveTo>
                    <a:pt x="238" y="1293"/>
                  </a:moveTo>
                  <a:lnTo>
                    <a:pt x="238" y="1295"/>
                  </a:lnTo>
                  <a:lnTo>
                    <a:pt x="238" y="1293"/>
                  </a:lnTo>
                  <a:close/>
                  <a:moveTo>
                    <a:pt x="350" y="667"/>
                  </a:moveTo>
                  <a:lnTo>
                    <a:pt x="352" y="667"/>
                  </a:lnTo>
                  <a:lnTo>
                    <a:pt x="350" y="667"/>
                  </a:lnTo>
                  <a:close/>
                  <a:moveTo>
                    <a:pt x="374" y="711"/>
                  </a:moveTo>
                  <a:lnTo>
                    <a:pt x="376" y="711"/>
                  </a:lnTo>
                  <a:lnTo>
                    <a:pt x="374" y="711"/>
                  </a:lnTo>
                  <a:close/>
                  <a:moveTo>
                    <a:pt x="178" y="1436"/>
                  </a:moveTo>
                  <a:lnTo>
                    <a:pt x="178" y="1438"/>
                  </a:lnTo>
                  <a:lnTo>
                    <a:pt x="178" y="1436"/>
                  </a:lnTo>
                  <a:close/>
                  <a:moveTo>
                    <a:pt x="303" y="1467"/>
                  </a:moveTo>
                  <a:lnTo>
                    <a:pt x="303" y="1469"/>
                  </a:lnTo>
                  <a:lnTo>
                    <a:pt x="303" y="1467"/>
                  </a:lnTo>
                  <a:close/>
                  <a:moveTo>
                    <a:pt x="137" y="1471"/>
                  </a:moveTo>
                  <a:lnTo>
                    <a:pt x="137" y="1469"/>
                  </a:lnTo>
                  <a:lnTo>
                    <a:pt x="137" y="1471"/>
                  </a:lnTo>
                  <a:close/>
                  <a:moveTo>
                    <a:pt x="238" y="1495"/>
                  </a:moveTo>
                  <a:lnTo>
                    <a:pt x="238" y="1493"/>
                  </a:lnTo>
                  <a:lnTo>
                    <a:pt x="238" y="1495"/>
                  </a:lnTo>
                  <a:close/>
                  <a:moveTo>
                    <a:pt x="202" y="1056"/>
                  </a:moveTo>
                  <a:lnTo>
                    <a:pt x="204" y="1056"/>
                  </a:lnTo>
                  <a:lnTo>
                    <a:pt x="202" y="1056"/>
                  </a:lnTo>
                  <a:close/>
                  <a:moveTo>
                    <a:pt x="163" y="1070"/>
                  </a:moveTo>
                  <a:lnTo>
                    <a:pt x="165" y="1070"/>
                  </a:lnTo>
                  <a:lnTo>
                    <a:pt x="163" y="1070"/>
                  </a:lnTo>
                  <a:close/>
                  <a:moveTo>
                    <a:pt x="189" y="1069"/>
                  </a:moveTo>
                  <a:lnTo>
                    <a:pt x="189" y="1070"/>
                  </a:lnTo>
                  <a:lnTo>
                    <a:pt x="189" y="1069"/>
                  </a:lnTo>
                  <a:close/>
                  <a:moveTo>
                    <a:pt x="215" y="1202"/>
                  </a:moveTo>
                  <a:lnTo>
                    <a:pt x="215" y="1204"/>
                  </a:lnTo>
                  <a:lnTo>
                    <a:pt x="215" y="1202"/>
                  </a:lnTo>
                  <a:close/>
                  <a:moveTo>
                    <a:pt x="148" y="1493"/>
                  </a:moveTo>
                  <a:lnTo>
                    <a:pt x="148" y="1495"/>
                  </a:lnTo>
                  <a:lnTo>
                    <a:pt x="148" y="1493"/>
                  </a:lnTo>
                  <a:close/>
                  <a:moveTo>
                    <a:pt x="308" y="1484"/>
                  </a:moveTo>
                  <a:lnTo>
                    <a:pt x="309" y="1484"/>
                  </a:lnTo>
                  <a:lnTo>
                    <a:pt x="308" y="1484"/>
                  </a:lnTo>
                  <a:close/>
                  <a:moveTo>
                    <a:pt x="200" y="1428"/>
                  </a:moveTo>
                  <a:lnTo>
                    <a:pt x="200" y="1430"/>
                  </a:lnTo>
                  <a:lnTo>
                    <a:pt x="200" y="1428"/>
                  </a:lnTo>
                  <a:close/>
                  <a:moveTo>
                    <a:pt x="231" y="1492"/>
                  </a:moveTo>
                  <a:lnTo>
                    <a:pt x="231" y="1493"/>
                  </a:lnTo>
                  <a:lnTo>
                    <a:pt x="231" y="1492"/>
                  </a:lnTo>
                  <a:close/>
                  <a:moveTo>
                    <a:pt x="384" y="1464"/>
                  </a:moveTo>
                  <a:lnTo>
                    <a:pt x="386" y="1464"/>
                  </a:lnTo>
                  <a:lnTo>
                    <a:pt x="384" y="1464"/>
                  </a:lnTo>
                  <a:close/>
                  <a:moveTo>
                    <a:pt x="381" y="1469"/>
                  </a:moveTo>
                  <a:lnTo>
                    <a:pt x="379" y="1469"/>
                  </a:lnTo>
                  <a:lnTo>
                    <a:pt x="381" y="1469"/>
                  </a:lnTo>
                  <a:close/>
                  <a:moveTo>
                    <a:pt x="339" y="1472"/>
                  </a:moveTo>
                  <a:lnTo>
                    <a:pt x="339" y="1474"/>
                  </a:lnTo>
                  <a:lnTo>
                    <a:pt x="339" y="1472"/>
                  </a:lnTo>
                  <a:close/>
                  <a:moveTo>
                    <a:pt x="236" y="1248"/>
                  </a:moveTo>
                  <a:lnTo>
                    <a:pt x="238" y="1248"/>
                  </a:lnTo>
                  <a:lnTo>
                    <a:pt x="236" y="1248"/>
                  </a:lnTo>
                  <a:close/>
                </a:path>
              </a:pathLst>
            </a:custGeom>
            <a:solidFill>
              <a:srgbClr val="0070C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1176" name="Freeform 23">
              <a:extLst>
                <a:ext uri="{FF2B5EF4-FFF2-40B4-BE49-F238E27FC236}">
                  <a16:creationId xmlns:a16="http://schemas.microsoft.com/office/drawing/2014/main" id="{EF41CBC5-2CDD-0513-611C-3B36D57ADB5E}"/>
                </a:ext>
              </a:extLst>
            </p:cNvPr>
            <p:cNvSpPr>
              <a:spLocks noEditPoints="1"/>
            </p:cNvSpPr>
            <p:nvPr/>
          </p:nvSpPr>
          <p:spPr bwMode="auto">
            <a:xfrm>
              <a:off x="3025" y="1842"/>
              <a:ext cx="103" cy="140"/>
            </a:xfrm>
            <a:custGeom>
              <a:avLst/>
              <a:gdLst>
                <a:gd name="T0" fmla="*/ 49 w 103"/>
                <a:gd name="T1" fmla="*/ 21 h 140"/>
                <a:gd name="T2" fmla="*/ 52 w 103"/>
                <a:gd name="T3" fmla="*/ 34 h 140"/>
                <a:gd name="T4" fmla="*/ 55 w 103"/>
                <a:gd name="T5" fmla="*/ 41 h 140"/>
                <a:gd name="T6" fmla="*/ 54 w 103"/>
                <a:gd name="T7" fmla="*/ 45 h 140"/>
                <a:gd name="T8" fmla="*/ 55 w 103"/>
                <a:gd name="T9" fmla="*/ 54 h 140"/>
                <a:gd name="T10" fmla="*/ 49 w 103"/>
                <a:gd name="T11" fmla="*/ 54 h 140"/>
                <a:gd name="T12" fmla="*/ 44 w 103"/>
                <a:gd name="T13" fmla="*/ 37 h 140"/>
                <a:gd name="T14" fmla="*/ 37 w 103"/>
                <a:gd name="T15" fmla="*/ 26 h 140"/>
                <a:gd name="T16" fmla="*/ 33 w 103"/>
                <a:gd name="T17" fmla="*/ 16 h 140"/>
                <a:gd name="T18" fmla="*/ 36 w 103"/>
                <a:gd name="T19" fmla="*/ 8 h 140"/>
                <a:gd name="T20" fmla="*/ 59 w 103"/>
                <a:gd name="T21" fmla="*/ 6 h 140"/>
                <a:gd name="T22" fmla="*/ 55 w 103"/>
                <a:gd name="T23" fmla="*/ 11 h 140"/>
                <a:gd name="T24" fmla="*/ 64 w 103"/>
                <a:gd name="T25" fmla="*/ 16 h 140"/>
                <a:gd name="T26" fmla="*/ 67 w 103"/>
                <a:gd name="T27" fmla="*/ 24 h 140"/>
                <a:gd name="T28" fmla="*/ 65 w 103"/>
                <a:gd name="T29" fmla="*/ 28 h 140"/>
                <a:gd name="T30" fmla="*/ 72 w 103"/>
                <a:gd name="T31" fmla="*/ 39 h 140"/>
                <a:gd name="T32" fmla="*/ 65 w 103"/>
                <a:gd name="T33" fmla="*/ 41 h 140"/>
                <a:gd name="T34" fmla="*/ 64 w 103"/>
                <a:gd name="T35" fmla="*/ 37 h 140"/>
                <a:gd name="T36" fmla="*/ 62 w 103"/>
                <a:gd name="T37" fmla="*/ 34 h 140"/>
                <a:gd name="T38" fmla="*/ 50 w 103"/>
                <a:gd name="T39" fmla="*/ 26 h 140"/>
                <a:gd name="T40" fmla="*/ 46 w 103"/>
                <a:gd name="T41" fmla="*/ 6 h 140"/>
                <a:gd name="T42" fmla="*/ 31 w 103"/>
                <a:gd name="T43" fmla="*/ 26 h 140"/>
                <a:gd name="T44" fmla="*/ 36 w 103"/>
                <a:gd name="T45" fmla="*/ 42 h 140"/>
                <a:gd name="T46" fmla="*/ 23 w 103"/>
                <a:gd name="T47" fmla="*/ 39 h 140"/>
                <a:gd name="T48" fmla="*/ 21 w 103"/>
                <a:gd name="T49" fmla="*/ 34 h 140"/>
                <a:gd name="T50" fmla="*/ 20 w 103"/>
                <a:gd name="T51" fmla="*/ 26 h 140"/>
                <a:gd name="T52" fmla="*/ 33 w 103"/>
                <a:gd name="T53" fmla="*/ 102 h 140"/>
                <a:gd name="T54" fmla="*/ 36 w 103"/>
                <a:gd name="T55" fmla="*/ 109 h 140"/>
                <a:gd name="T56" fmla="*/ 41 w 103"/>
                <a:gd name="T57" fmla="*/ 117 h 140"/>
                <a:gd name="T58" fmla="*/ 41 w 103"/>
                <a:gd name="T59" fmla="*/ 122 h 140"/>
                <a:gd name="T60" fmla="*/ 33 w 103"/>
                <a:gd name="T61" fmla="*/ 127 h 140"/>
                <a:gd name="T62" fmla="*/ 41 w 103"/>
                <a:gd name="T63" fmla="*/ 136 h 140"/>
                <a:gd name="T64" fmla="*/ 34 w 103"/>
                <a:gd name="T65" fmla="*/ 132 h 140"/>
                <a:gd name="T66" fmla="*/ 29 w 103"/>
                <a:gd name="T67" fmla="*/ 120 h 140"/>
                <a:gd name="T68" fmla="*/ 28 w 103"/>
                <a:gd name="T69" fmla="*/ 106 h 140"/>
                <a:gd name="T70" fmla="*/ 49 w 103"/>
                <a:gd name="T71" fmla="*/ 67 h 140"/>
                <a:gd name="T72" fmla="*/ 59 w 103"/>
                <a:gd name="T73" fmla="*/ 80 h 140"/>
                <a:gd name="T74" fmla="*/ 52 w 103"/>
                <a:gd name="T75" fmla="*/ 88 h 140"/>
                <a:gd name="T76" fmla="*/ 47 w 103"/>
                <a:gd name="T77" fmla="*/ 76 h 140"/>
                <a:gd name="T78" fmla="*/ 41 w 103"/>
                <a:gd name="T79" fmla="*/ 62 h 140"/>
                <a:gd name="T80" fmla="*/ 81 w 103"/>
                <a:gd name="T81" fmla="*/ 21 h 140"/>
                <a:gd name="T82" fmla="*/ 80 w 103"/>
                <a:gd name="T83" fmla="*/ 32 h 140"/>
                <a:gd name="T84" fmla="*/ 73 w 103"/>
                <a:gd name="T85" fmla="*/ 26 h 140"/>
                <a:gd name="T86" fmla="*/ 78 w 103"/>
                <a:gd name="T87" fmla="*/ 10 h 140"/>
                <a:gd name="T88" fmla="*/ 86 w 103"/>
                <a:gd name="T89" fmla="*/ 21 h 140"/>
                <a:gd name="T90" fmla="*/ 86 w 103"/>
                <a:gd name="T91" fmla="*/ 16 h 140"/>
                <a:gd name="T92" fmla="*/ 83 w 103"/>
                <a:gd name="T93" fmla="*/ 10 h 140"/>
                <a:gd name="T94" fmla="*/ 75 w 103"/>
                <a:gd name="T95" fmla="*/ 8 h 140"/>
                <a:gd name="T96" fmla="*/ 73 w 103"/>
                <a:gd name="T97" fmla="*/ 15 h 140"/>
                <a:gd name="T98" fmla="*/ 68 w 103"/>
                <a:gd name="T99" fmla="*/ 23 h 140"/>
                <a:gd name="T100" fmla="*/ 67 w 103"/>
                <a:gd name="T101" fmla="*/ 1 h 140"/>
                <a:gd name="T102" fmla="*/ 72 w 103"/>
                <a:gd name="T103" fmla="*/ 19 h 140"/>
                <a:gd name="T104" fmla="*/ 93 w 103"/>
                <a:gd name="T105" fmla="*/ 26 h 140"/>
                <a:gd name="T106" fmla="*/ 96 w 103"/>
                <a:gd name="T107" fmla="*/ 18 h 140"/>
                <a:gd name="T108" fmla="*/ 96 w 103"/>
                <a:gd name="T109" fmla="*/ 16 h 140"/>
                <a:gd name="T110" fmla="*/ 64 w 103"/>
                <a:gd name="T111" fmla="*/ 63 h 140"/>
                <a:gd name="T112" fmla="*/ 64 w 103"/>
                <a:gd name="T113" fmla="*/ 54 h 140"/>
                <a:gd name="T114" fmla="*/ 46 w 103"/>
                <a:gd name="T115" fmla="*/ 84 h 140"/>
                <a:gd name="T116" fmla="*/ 3 w 103"/>
                <a:gd name="T117" fmla="*/ 26 h 140"/>
                <a:gd name="T118" fmla="*/ 46 w 103"/>
                <a:gd name="T119" fmla="*/ 57 h 140"/>
                <a:gd name="T120" fmla="*/ 46 w 103"/>
                <a:gd name="T121" fmla="*/ 96 h 140"/>
                <a:gd name="T122" fmla="*/ 47 w 103"/>
                <a:gd name="T123" fmla="*/ 106 h 140"/>
                <a:gd name="T124" fmla="*/ 2 w 103"/>
                <a:gd name="T125" fmla="*/ 24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03" h="140">
                  <a:moveTo>
                    <a:pt x="42" y="5"/>
                  </a:moveTo>
                  <a:lnTo>
                    <a:pt x="42" y="6"/>
                  </a:lnTo>
                  <a:lnTo>
                    <a:pt x="44" y="6"/>
                  </a:lnTo>
                  <a:lnTo>
                    <a:pt x="44" y="8"/>
                  </a:lnTo>
                  <a:lnTo>
                    <a:pt x="46" y="8"/>
                  </a:lnTo>
                  <a:lnTo>
                    <a:pt x="46" y="10"/>
                  </a:lnTo>
                  <a:lnTo>
                    <a:pt x="46" y="11"/>
                  </a:lnTo>
                  <a:lnTo>
                    <a:pt x="46" y="13"/>
                  </a:lnTo>
                  <a:lnTo>
                    <a:pt x="46" y="16"/>
                  </a:lnTo>
                  <a:lnTo>
                    <a:pt x="47" y="18"/>
                  </a:lnTo>
                  <a:lnTo>
                    <a:pt x="47" y="19"/>
                  </a:lnTo>
                  <a:lnTo>
                    <a:pt x="49" y="21"/>
                  </a:lnTo>
                  <a:lnTo>
                    <a:pt x="47" y="23"/>
                  </a:lnTo>
                  <a:lnTo>
                    <a:pt x="46" y="23"/>
                  </a:lnTo>
                  <a:lnTo>
                    <a:pt x="49" y="24"/>
                  </a:lnTo>
                  <a:lnTo>
                    <a:pt x="49" y="26"/>
                  </a:lnTo>
                  <a:lnTo>
                    <a:pt x="50" y="28"/>
                  </a:lnTo>
                  <a:lnTo>
                    <a:pt x="50" y="29"/>
                  </a:lnTo>
                  <a:lnTo>
                    <a:pt x="52" y="31"/>
                  </a:lnTo>
                  <a:lnTo>
                    <a:pt x="54" y="32"/>
                  </a:lnTo>
                  <a:lnTo>
                    <a:pt x="54" y="34"/>
                  </a:lnTo>
                  <a:lnTo>
                    <a:pt x="54" y="36"/>
                  </a:lnTo>
                  <a:lnTo>
                    <a:pt x="52" y="36"/>
                  </a:lnTo>
                  <a:lnTo>
                    <a:pt x="52" y="34"/>
                  </a:lnTo>
                  <a:lnTo>
                    <a:pt x="52" y="36"/>
                  </a:lnTo>
                  <a:lnTo>
                    <a:pt x="50" y="36"/>
                  </a:lnTo>
                  <a:lnTo>
                    <a:pt x="49" y="37"/>
                  </a:lnTo>
                  <a:lnTo>
                    <a:pt x="49" y="36"/>
                  </a:lnTo>
                  <a:lnTo>
                    <a:pt x="49" y="37"/>
                  </a:lnTo>
                  <a:lnTo>
                    <a:pt x="50" y="37"/>
                  </a:lnTo>
                  <a:lnTo>
                    <a:pt x="52" y="37"/>
                  </a:lnTo>
                  <a:lnTo>
                    <a:pt x="52" y="36"/>
                  </a:lnTo>
                  <a:lnTo>
                    <a:pt x="52" y="37"/>
                  </a:lnTo>
                  <a:lnTo>
                    <a:pt x="54" y="37"/>
                  </a:lnTo>
                  <a:lnTo>
                    <a:pt x="55" y="39"/>
                  </a:lnTo>
                  <a:lnTo>
                    <a:pt x="55" y="41"/>
                  </a:lnTo>
                  <a:lnTo>
                    <a:pt x="57" y="41"/>
                  </a:lnTo>
                  <a:lnTo>
                    <a:pt x="57" y="44"/>
                  </a:lnTo>
                  <a:lnTo>
                    <a:pt x="55" y="44"/>
                  </a:lnTo>
                  <a:lnTo>
                    <a:pt x="54" y="44"/>
                  </a:lnTo>
                  <a:lnTo>
                    <a:pt x="52" y="44"/>
                  </a:lnTo>
                  <a:lnTo>
                    <a:pt x="50" y="42"/>
                  </a:lnTo>
                  <a:lnTo>
                    <a:pt x="49" y="42"/>
                  </a:lnTo>
                  <a:lnTo>
                    <a:pt x="49" y="44"/>
                  </a:lnTo>
                  <a:lnTo>
                    <a:pt x="50" y="44"/>
                  </a:lnTo>
                  <a:lnTo>
                    <a:pt x="52" y="44"/>
                  </a:lnTo>
                  <a:lnTo>
                    <a:pt x="52" y="45"/>
                  </a:lnTo>
                  <a:lnTo>
                    <a:pt x="54" y="45"/>
                  </a:lnTo>
                  <a:lnTo>
                    <a:pt x="55" y="45"/>
                  </a:lnTo>
                  <a:lnTo>
                    <a:pt x="57" y="45"/>
                  </a:lnTo>
                  <a:lnTo>
                    <a:pt x="57" y="47"/>
                  </a:lnTo>
                  <a:lnTo>
                    <a:pt x="59" y="47"/>
                  </a:lnTo>
                  <a:lnTo>
                    <a:pt x="57" y="47"/>
                  </a:lnTo>
                  <a:lnTo>
                    <a:pt x="59" y="49"/>
                  </a:lnTo>
                  <a:lnTo>
                    <a:pt x="59" y="50"/>
                  </a:lnTo>
                  <a:lnTo>
                    <a:pt x="57" y="50"/>
                  </a:lnTo>
                  <a:lnTo>
                    <a:pt x="59" y="50"/>
                  </a:lnTo>
                  <a:lnTo>
                    <a:pt x="57" y="52"/>
                  </a:lnTo>
                  <a:lnTo>
                    <a:pt x="55" y="52"/>
                  </a:lnTo>
                  <a:lnTo>
                    <a:pt x="55" y="54"/>
                  </a:lnTo>
                  <a:lnTo>
                    <a:pt x="55" y="55"/>
                  </a:lnTo>
                  <a:lnTo>
                    <a:pt x="57" y="57"/>
                  </a:lnTo>
                  <a:lnTo>
                    <a:pt x="57" y="58"/>
                  </a:lnTo>
                  <a:lnTo>
                    <a:pt x="57" y="62"/>
                  </a:lnTo>
                  <a:lnTo>
                    <a:pt x="55" y="62"/>
                  </a:lnTo>
                  <a:lnTo>
                    <a:pt x="54" y="62"/>
                  </a:lnTo>
                  <a:lnTo>
                    <a:pt x="54" y="60"/>
                  </a:lnTo>
                  <a:lnTo>
                    <a:pt x="52" y="60"/>
                  </a:lnTo>
                  <a:lnTo>
                    <a:pt x="52" y="58"/>
                  </a:lnTo>
                  <a:lnTo>
                    <a:pt x="50" y="55"/>
                  </a:lnTo>
                  <a:lnTo>
                    <a:pt x="49" y="55"/>
                  </a:lnTo>
                  <a:lnTo>
                    <a:pt x="49" y="54"/>
                  </a:lnTo>
                  <a:lnTo>
                    <a:pt x="47" y="52"/>
                  </a:lnTo>
                  <a:lnTo>
                    <a:pt x="47" y="50"/>
                  </a:lnTo>
                  <a:lnTo>
                    <a:pt x="47" y="49"/>
                  </a:lnTo>
                  <a:lnTo>
                    <a:pt x="47" y="47"/>
                  </a:lnTo>
                  <a:lnTo>
                    <a:pt x="47" y="45"/>
                  </a:lnTo>
                  <a:lnTo>
                    <a:pt x="46" y="45"/>
                  </a:lnTo>
                  <a:lnTo>
                    <a:pt x="44" y="45"/>
                  </a:lnTo>
                  <a:lnTo>
                    <a:pt x="44" y="44"/>
                  </a:lnTo>
                  <a:lnTo>
                    <a:pt x="44" y="42"/>
                  </a:lnTo>
                  <a:lnTo>
                    <a:pt x="44" y="41"/>
                  </a:lnTo>
                  <a:lnTo>
                    <a:pt x="44" y="39"/>
                  </a:lnTo>
                  <a:lnTo>
                    <a:pt x="44" y="37"/>
                  </a:lnTo>
                  <a:lnTo>
                    <a:pt x="44" y="36"/>
                  </a:lnTo>
                  <a:lnTo>
                    <a:pt x="42" y="34"/>
                  </a:lnTo>
                  <a:lnTo>
                    <a:pt x="42" y="32"/>
                  </a:lnTo>
                  <a:lnTo>
                    <a:pt x="41" y="32"/>
                  </a:lnTo>
                  <a:lnTo>
                    <a:pt x="39" y="32"/>
                  </a:lnTo>
                  <a:lnTo>
                    <a:pt x="37" y="32"/>
                  </a:lnTo>
                  <a:lnTo>
                    <a:pt x="36" y="31"/>
                  </a:lnTo>
                  <a:lnTo>
                    <a:pt x="36" y="29"/>
                  </a:lnTo>
                  <a:lnTo>
                    <a:pt x="34" y="28"/>
                  </a:lnTo>
                  <a:lnTo>
                    <a:pt x="36" y="28"/>
                  </a:lnTo>
                  <a:lnTo>
                    <a:pt x="36" y="26"/>
                  </a:lnTo>
                  <a:lnTo>
                    <a:pt x="37" y="26"/>
                  </a:lnTo>
                  <a:lnTo>
                    <a:pt x="36" y="26"/>
                  </a:lnTo>
                  <a:lnTo>
                    <a:pt x="34" y="26"/>
                  </a:lnTo>
                  <a:lnTo>
                    <a:pt x="33" y="26"/>
                  </a:lnTo>
                  <a:lnTo>
                    <a:pt x="33" y="24"/>
                  </a:lnTo>
                  <a:lnTo>
                    <a:pt x="33" y="23"/>
                  </a:lnTo>
                  <a:lnTo>
                    <a:pt x="31" y="23"/>
                  </a:lnTo>
                  <a:lnTo>
                    <a:pt x="33" y="23"/>
                  </a:lnTo>
                  <a:lnTo>
                    <a:pt x="31" y="21"/>
                  </a:lnTo>
                  <a:lnTo>
                    <a:pt x="31" y="19"/>
                  </a:lnTo>
                  <a:lnTo>
                    <a:pt x="33" y="19"/>
                  </a:lnTo>
                  <a:lnTo>
                    <a:pt x="33" y="18"/>
                  </a:lnTo>
                  <a:lnTo>
                    <a:pt x="33" y="16"/>
                  </a:lnTo>
                  <a:lnTo>
                    <a:pt x="34" y="16"/>
                  </a:lnTo>
                  <a:lnTo>
                    <a:pt x="34" y="15"/>
                  </a:lnTo>
                  <a:lnTo>
                    <a:pt x="34" y="13"/>
                  </a:lnTo>
                  <a:lnTo>
                    <a:pt x="36" y="11"/>
                  </a:lnTo>
                  <a:lnTo>
                    <a:pt x="37" y="11"/>
                  </a:lnTo>
                  <a:lnTo>
                    <a:pt x="37" y="13"/>
                  </a:lnTo>
                  <a:lnTo>
                    <a:pt x="37" y="11"/>
                  </a:lnTo>
                  <a:lnTo>
                    <a:pt x="36" y="11"/>
                  </a:lnTo>
                  <a:lnTo>
                    <a:pt x="34" y="11"/>
                  </a:lnTo>
                  <a:lnTo>
                    <a:pt x="34" y="10"/>
                  </a:lnTo>
                  <a:lnTo>
                    <a:pt x="36" y="10"/>
                  </a:lnTo>
                  <a:lnTo>
                    <a:pt x="36" y="8"/>
                  </a:lnTo>
                  <a:lnTo>
                    <a:pt x="36" y="6"/>
                  </a:lnTo>
                  <a:lnTo>
                    <a:pt x="37" y="6"/>
                  </a:lnTo>
                  <a:lnTo>
                    <a:pt x="37" y="5"/>
                  </a:lnTo>
                  <a:lnTo>
                    <a:pt x="37" y="3"/>
                  </a:lnTo>
                  <a:lnTo>
                    <a:pt x="39" y="3"/>
                  </a:lnTo>
                  <a:lnTo>
                    <a:pt x="39" y="5"/>
                  </a:lnTo>
                  <a:lnTo>
                    <a:pt x="41" y="5"/>
                  </a:lnTo>
                  <a:lnTo>
                    <a:pt x="41" y="3"/>
                  </a:lnTo>
                  <a:lnTo>
                    <a:pt x="42" y="5"/>
                  </a:lnTo>
                  <a:close/>
                  <a:moveTo>
                    <a:pt x="55" y="3"/>
                  </a:moveTo>
                  <a:lnTo>
                    <a:pt x="57" y="5"/>
                  </a:lnTo>
                  <a:lnTo>
                    <a:pt x="59" y="6"/>
                  </a:lnTo>
                  <a:lnTo>
                    <a:pt x="59" y="8"/>
                  </a:lnTo>
                  <a:lnTo>
                    <a:pt x="57" y="8"/>
                  </a:lnTo>
                  <a:lnTo>
                    <a:pt x="55" y="10"/>
                  </a:lnTo>
                  <a:lnTo>
                    <a:pt x="54" y="10"/>
                  </a:lnTo>
                  <a:lnTo>
                    <a:pt x="54" y="11"/>
                  </a:lnTo>
                  <a:lnTo>
                    <a:pt x="54" y="13"/>
                  </a:lnTo>
                  <a:lnTo>
                    <a:pt x="54" y="16"/>
                  </a:lnTo>
                  <a:lnTo>
                    <a:pt x="54" y="18"/>
                  </a:lnTo>
                  <a:lnTo>
                    <a:pt x="54" y="16"/>
                  </a:lnTo>
                  <a:lnTo>
                    <a:pt x="54" y="15"/>
                  </a:lnTo>
                  <a:lnTo>
                    <a:pt x="55" y="13"/>
                  </a:lnTo>
                  <a:lnTo>
                    <a:pt x="55" y="11"/>
                  </a:lnTo>
                  <a:lnTo>
                    <a:pt x="57" y="11"/>
                  </a:lnTo>
                  <a:lnTo>
                    <a:pt x="59" y="11"/>
                  </a:lnTo>
                  <a:lnTo>
                    <a:pt x="60" y="11"/>
                  </a:lnTo>
                  <a:lnTo>
                    <a:pt x="62" y="11"/>
                  </a:lnTo>
                  <a:lnTo>
                    <a:pt x="62" y="13"/>
                  </a:lnTo>
                  <a:lnTo>
                    <a:pt x="60" y="13"/>
                  </a:lnTo>
                  <a:lnTo>
                    <a:pt x="60" y="15"/>
                  </a:lnTo>
                  <a:lnTo>
                    <a:pt x="59" y="15"/>
                  </a:lnTo>
                  <a:lnTo>
                    <a:pt x="60" y="16"/>
                  </a:lnTo>
                  <a:lnTo>
                    <a:pt x="62" y="15"/>
                  </a:lnTo>
                  <a:lnTo>
                    <a:pt x="64" y="15"/>
                  </a:lnTo>
                  <a:lnTo>
                    <a:pt x="64" y="16"/>
                  </a:lnTo>
                  <a:lnTo>
                    <a:pt x="65" y="16"/>
                  </a:lnTo>
                  <a:lnTo>
                    <a:pt x="65" y="18"/>
                  </a:lnTo>
                  <a:lnTo>
                    <a:pt x="65" y="19"/>
                  </a:lnTo>
                  <a:lnTo>
                    <a:pt x="64" y="21"/>
                  </a:lnTo>
                  <a:lnTo>
                    <a:pt x="64" y="19"/>
                  </a:lnTo>
                  <a:lnTo>
                    <a:pt x="62" y="19"/>
                  </a:lnTo>
                  <a:lnTo>
                    <a:pt x="62" y="21"/>
                  </a:lnTo>
                  <a:lnTo>
                    <a:pt x="62" y="23"/>
                  </a:lnTo>
                  <a:lnTo>
                    <a:pt x="64" y="23"/>
                  </a:lnTo>
                  <a:lnTo>
                    <a:pt x="65" y="23"/>
                  </a:lnTo>
                  <a:lnTo>
                    <a:pt x="67" y="23"/>
                  </a:lnTo>
                  <a:lnTo>
                    <a:pt x="67" y="24"/>
                  </a:lnTo>
                  <a:lnTo>
                    <a:pt x="68" y="24"/>
                  </a:lnTo>
                  <a:lnTo>
                    <a:pt x="68" y="26"/>
                  </a:lnTo>
                  <a:lnTo>
                    <a:pt x="70" y="26"/>
                  </a:lnTo>
                  <a:lnTo>
                    <a:pt x="72" y="28"/>
                  </a:lnTo>
                  <a:lnTo>
                    <a:pt x="72" y="29"/>
                  </a:lnTo>
                  <a:lnTo>
                    <a:pt x="72" y="31"/>
                  </a:lnTo>
                  <a:lnTo>
                    <a:pt x="70" y="31"/>
                  </a:lnTo>
                  <a:lnTo>
                    <a:pt x="68" y="29"/>
                  </a:lnTo>
                  <a:lnTo>
                    <a:pt x="67" y="28"/>
                  </a:lnTo>
                  <a:lnTo>
                    <a:pt x="65" y="28"/>
                  </a:lnTo>
                  <a:lnTo>
                    <a:pt x="65" y="26"/>
                  </a:lnTo>
                  <a:lnTo>
                    <a:pt x="65" y="28"/>
                  </a:lnTo>
                  <a:lnTo>
                    <a:pt x="64" y="28"/>
                  </a:lnTo>
                  <a:lnTo>
                    <a:pt x="64" y="29"/>
                  </a:lnTo>
                  <a:lnTo>
                    <a:pt x="65" y="29"/>
                  </a:lnTo>
                  <a:lnTo>
                    <a:pt x="65" y="31"/>
                  </a:lnTo>
                  <a:lnTo>
                    <a:pt x="67" y="31"/>
                  </a:lnTo>
                  <a:lnTo>
                    <a:pt x="67" y="32"/>
                  </a:lnTo>
                  <a:lnTo>
                    <a:pt x="68" y="32"/>
                  </a:lnTo>
                  <a:lnTo>
                    <a:pt x="70" y="36"/>
                  </a:lnTo>
                  <a:lnTo>
                    <a:pt x="72" y="37"/>
                  </a:lnTo>
                  <a:lnTo>
                    <a:pt x="73" y="37"/>
                  </a:lnTo>
                  <a:lnTo>
                    <a:pt x="73" y="39"/>
                  </a:lnTo>
                  <a:lnTo>
                    <a:pt x="72" y="39"/>
                  </a:lnTo>
                  <a:lnTo>
                    <a:pt x="70" y="37"/>
                  </a:lnTo>
                  <a:lnTo>
                    <a:pt x="68" y="36"/>
                  </a:lnTo>
                  <a:lnTo>
                    <a:pt x="67" y="34"/>
                  </a:lnTo>
                  <a:lnTo>
                    <a:pt x="65" y="34"/>
                  </a:lnTo>
                  <a:lnTo>
                    <a:pt x="65" y="36"/>
                  </a:lnTo>
                  <a:lnTo>
                    <a:pt x="67" y="36"/>
                  </a:lnTo>
                  <a:lnTo>
                    <a:pt x="67" y="37"/>
                  </a:lnTo>
                  <a:lnTo>
                    <a:pt x="68" y="39"/>
                  </a:lnTo>
                  <a:lnTo>
                    <a:pt x="70" y="41"/>
                  </a:lnTo>
                  <a:lnTo>
                    <a:pt x="68" y="41"/>
                  </a:lnTo>
                  <a:lnTo>
                    <a:pt x="67" y="41"/>
                  </a:lnTo>
                  <a:lnTo>
                    <a:pt x="65" y="41"/>
                  </a:lnTo>
                  <a:lnTo>
                    <a:pt x="65" y="42"/>
                  </a:lnTo>
                  <a:lnTo>
                    <a:pt x="64" y="44"/>
                  </a:lnTo>
                  <a:lnTo>
                    <a:pt x="64" y="45"/>
                  </a:lnTo>
                  <a:lnTo>
                    <a:pt x="64" y="47"/>
                  </a:lnTo>
                  <a:lnTo>
                    <a:pt x="62" y="47"/>
                  </a:lnTo>
                  <a:lnTo>
                    <a:pt x="62" y="45"/>
                  </a:lnTo>
                  <a:lnTo>
                    <a:pt x="62" y="44"/>
                  </a:lnTo>
                  <a:lnTo>
                    <a:pt x="60" y="42"/>
                  </a:lnTo>
                  <a:lnTo>
                    <a:pt x="62" y="41"/>
                  </a:lnTo>
                  <a:lnTo>
                    <a:pt x="62" y="39"/>
                  </a:lnTo>
                  <a:lnTo>
                    <a:pt x="64" y="39"/>
                  </a:lnTo>
                  <a:lnTo>
                    <a:pt x="64" y="37"/>
                  </a:lnTo>
                  <a:lnTo>
                    <a:pt x="64" y="34"/>
                  </a:lnTo>
                  <a:lnTo>
                    <a:pt x="64" y="32"/>
                  </a:lnTo>
                  <a:lnTo>
                    <a:pt x="62" y="31"/>
                  </a:lnTo>
                  <a:lnTo>
                    <a:pt x="62" y="29"/>
                  </a:lnTo>
                  <a:lnTo>
                    <a:pt x="60" y="28"/>
                  </a:lnTo>
                  <a:lnTo>
                    <a:pt x="60" y="26"/>
                  </a:lnTo>
                  <a:lnTo>
                    <a:pt x="59" y="24"/>
                  </a:lnTo>
                  <a:lnTo>
                    <a:pt x="59" y="26"/>
                  </a:lnTo>
                  <a:lnTo>
                    <a:pt x="59" y="28"/>
                  </a:lnTo>
                  <a:lnTo>
                    <a:pt x="60" y="31"/>
                  </a:lnTo>
                  <a:lnTo>
                    <a:pt x="62" y="31"/>
                  </a:lnTo>
                  <a:lnTo>
                    <a:pt x="62" y="34"/>
                  </a:lnTo>
                  <a:lnTo>
                    <a:pt x="62" y="37"/>
                  </a:lnTo>
                  <a:lnTo>
                    <a:pt x="60" y="39"/>
                  </a:lnTo>
                  <a:lnTo>
                    <a:pt x="60" y="41"/>
                  </a:lnTo>
                  <a:lnTo>
                    <a:pt x="59" y="37"/>
                  </a:lnTo>
                  <a:lnTo>
                    <a:pt x="57" y="36"/>
                  </a:lnTo>
                  <a:lnTo>
                    <a:pt x="55" y="34"/>
                  </a:lnTo>
                  <a:lnTo>
                    <a:pt x="55" y="32"/>
                  </a:lnTo>
                  <a:lnTo>
                    <a:pt x="55" y="31"/>
                  </a:lnTo>
                  <a:lnTo>
                    <a:pt x="54" y="29"/>
                  </a:lnTo>
                  <a:lnTo>
                    <a:pt x="52" y="29"/>
                  </a:lnTo>
                  <a:lnTo>
                    <a:pt x="52" y="28"/>
                  </a:lnTo>
                  <a:lnTo>
                    <a:pt x="50" y="26"/>
                  </a:lnTo>
                  <a:lnTo>
                    <a:pt x="50" y="24"/>
                  </a:lnTo>
                  <a:lnTo>
                    <a:pt x="49" y="23"/>
                  </a:lnTo>
                  <a:lnTo>
                    <a:pt x="49" y="21"/>
                  </a:lnTo>
                  <a:lnTo>
                    <a:pt x="49" y="19"/>
                  </a:lnTo>
                  <a:lnTo>
                    <a:pt x="47" y="18"/>
                  </a:lnTo>
                  <a:lnTo>
                    <a:pt x="47" y="16"/>
                  </a:lnTo>
                  <a:lnTo>
                    <a:pt x="47" y="15"/>
                  </a:lnTo>
                  <a:lnTo>
                    <a:pt x="47" y="13"/>
                  </a:lnTo>
                  <a:lnTo>
                    <a:pt x="47" y="10"/>
                  </a:lnTo>
                  <a:lnTo>
                    <a:pt x="46" y="8"/>
                  </a:lnTo>
                  <a:lnTo>
                    <a:pt x="47" y="8"/>
                  </a:lnTo>
                  <a:lnTo>
                    <a:pt x="46" y="6"/>
                  </a:lnTo>
                  <a:lnTo>
                    <a:pt x="44" y="6"/>
                  </a:lnTo>
                  <a:lnTo>
                    <a:pt x="46" y="5"/>
                  </a:lnTo>
                  <a:lnTo>
                    <a:pt x="46" y="3"/>
                  </a:lnTo>
                  <a:lnTo>
                    <a:pt x="47" y="3"/>
                  </a:lnTo>
                  <a:lnTo>
                    <a:pt x="47" y="5"/>
                  </a:lnTo>
                  <a:lnTo>
                    <a:pt x="49" y="5"/>
                  </a:lnTo>
                  <a:lnTo>
                    <a:pt x="50" y="5"/>
                  </a:lnTo>
                  <a:lnTo>
                    <a:pt x="52" y="3"/>
                  </a:lnTo>
                  <a:lnTo>
                    <a:pt x="54" y="3"/>
                  </a:lnTo>
                  <a:lnTo>
                    <a:pt x="54" y="1"/>
                  </a:lnTo>
                  <a:lnTo>
                    <a:pt x="55" y="3"/>
                  </a:lnTo>
                  <a:close/>
                  <a:moveTo>
                    <a:pt x="31" y="26"/>
                  </a:moveTo>
                  <a:lnTo>
                    <a:pt x="33" y="28"/>
                  </a:lnTo>
                  <a:lnTo>
                    <a:pt x="34" y="29"/>
                  </a:lnTo>
                  <a:lnTo>
                    <a:pt x="34" y="31"/>
                  </a:lnTo>
                  <a:lnTo>
                    <a:pt x="34" y="32"/>
                  </a:lnTo>
                  <a:lnTo>
                    <a:pt x="36" y="34"/>
                  </a:lnTo>
                  <a:lnTo>
                    <a:pt x="37" y="34"/>
                  </a:lnTo>
                  <a:lnTo>
                    <a:pt x="39" y="34"/>
                  </a:lnTo>
                  <a:lnTo>
                    <a:pt x="39" y="36"/>
                  </a:lnTo>
                  <a:lnTo>
                    <a:pt x="41" y="37"/>
                  </a:lnTo>
                  <a:lnTo>
                    <a:pt x="39" y="39"/>
                  </a:lnTo>
                  <a:lnTo>
                    <a:pt x="37" y="42"/>
                  </a:lnTo>
                  <a:lnTo>
                    <a:pt x="36" y="42"/>
                  </a:lnTo>
                  <a:lnTo>
                    <a:pt x="34" y="42"/>
                  </a:lnTo>
                  <a:lnTo>
                    <a:pt x="33" y="41"/>
                  </a:lnTo>
                  <a:lnTo>
                    <a:pt x="33" y="39"/>
                  </a:lnTo>
                  <a:lnTo>
                    <a:pt x="33" y="41"/>
                  </a:lnTo>
                  <a:lnTo>
                    <a:pt x="31" y="41"/>
                  </a:lnTo>
                  <a:lnTo>
                    <a:pt x="33" y="42"/>
                  </a:lnTo>
                  <a:lnTo>
                    <a:pt x="31" y="42"/>
                  </a:lnTo>
                  <a:lnTo>
                    <a:pt x="28" y="44"/>
                  </a:lnTo>
                  <a:lnTo>
                    <a:pt x="26" y="42"/>
                  </a:lnTo>
                  <a:lnTo>
                    <a:pt x="26" y="41"/>
                  </a:lnTo>
                  <a:lnTo>
                    <a:pt x="24" y="41"/>
                  </a:lnTo>
                  <a:lnTo>
                    <a:pt x="23" y="39"/>
                  </a:lnTo>
                  <a:lnTo>
                    <a:pt x="21" y="39"/>
                  </a:lnTo>
                  <a:lnTo>
                    <a:pt x="21" y="37"/>
                  </a:lnTo>
                  <a:lnTo>
                    <a:pt x="20" y="37"/>
                  </a:lnTo>
                  <a:lnTo>
                    <a:pt x="20" y="36"/>
                  </a:lnTo>
                  <a:lnTo>
                    <a:pt x="18" y="36"/>
                  </a:lnTo>
                  <a:lnTo>
                    <a:pt x="18" y="34"/>
                  </a:lnTo>
                  <a:lnTo>
                    <a:pt x="16" y="34"/>
                  </a:lnTo>
                  <a:lnTo>
                    <a:pt x="16" y="32"/>
                  </a:lnTo>
                  <a:lnTo>
                    <a:pt x="18" y="32"/>
                  </a:lnTo>
                  <a:lnTo>
                    <a:pt x="20" y="32"/>
                  </a:lnTo>
                  <a:lnTo>
                    <a:pt x="20" y="34"/>
                  </a:lnTo>
                  <a:lnTo>
                    <a:pt x="21" y="34"/>
                  </a:lnTo>
                  <a:lnTo>
                    <a:pt x="23" y="34"/>
                  </a:lnTo>
                  <a:lnTo>
                    <a:pt x="20" y="32"/>
                  </a:lnTo>
                  <a:lnTo>
                    <a:pt x="18" y="31"/>
                  </a:lnTo>
                  <a:lnTo>
                    <a:pt x="16" y="29"/>
                  </a:lnTo>
                  <a:lnTo>
                    <a:pt x="16" y="28"/>
                  </a:lnTo>
                  <a:lnTo>
                    <a:pt x="16" y="26"/>
                  </a:lnTo>
                  <a:lnTo>
                    <a:pt x="15" y="26"/>
                  </a:lnTo>
                  <a:lnTo>
                    <a:pt x="16" y="24"/>
                  </a:lnTo>
                  <a:lnTo>
                    <a:pt x="16" y="23"/>
                  </a:lnTo>
                  <a:lnTo>
                    <a:pt x="18" y="23"/>
                  </a:lnTo>
                  <a:lnTo>
                    <a:pt x="20" y="24"/>
                  </a:lnTo>
                  <a:lnTo>
                    <a:pt x="20" y="26"/>
                  </a:lnTo>
                  <a:lnTo>
                    <a:pt x="21" y="26"/>
                  </a:lnTo>
                  <a:lnTo>
                    <a:pt x="23" y="26"/>
                  </a:lnTo>
                  <a:lnTo>
                    <a:pt x="24" y="24"/>
                  </a:lnTo>
                  <a:lnTo>
                    <a:pt x="26" y="24"/>
                  </a:lnTo>
                  <a:lnTo>
                    <a:pt x="28" y="24"/>
                  </a:lnTo>
                  <a:lnTo>
                    <a:pt x="29" y="23"/>
                  </a:lnTo>
                  <a:lnTo>
                    <a:pt x="31" y="23"/>
                  </a:lnTo>
                  <a:lnTo>
                    <a:pt x="31" y="24"/>
                  </a:lnTo>
                  <a:lnTo>
                    <a:pt x="31" y="26"/>
                  </a:lnTo>
                  <a:close/>
                  <a:moveTo>
                    <a:pt x="34" y="101"/>
                  </a:moveTo>
                  <a:lnTo>
                    <a:pt x="34" y="102"/>
                  </a:lnTo>
                  <a:lnTo>
                    <a:pt x="33" y="102"/>
                  </a:lnTo>
                  <a:lnTo>
                    <a:pt x="33" y="104"/>
                  </a:lnTo>
                  <a:lnTo>
                    <a:pt x="34" y="104"/>
                  </a:lnTo>
                  <a:lnTo>
                    <a:pt x="36" y="104"/>
                  </a:lnTo>
                  <a:lnTo>
                    <a:pt x="34" y="104"/>
                  </a:lnTo>
                  <a:lnTo>
                    <a:pt x="31" y="106"/>
                  </a:lnTo>
                  <a:lnTo>
                    <a:pt x="29" y="106"/>
                  </a:lnTo>
                  <a:lnTo>
                    <a:pt x="29" y="107"/>
                  </a:lnTo>
                  <a:lnTo>
                    <a:pt x="31" y="107"/>
                  </a:lnTo>
                  <a:lnTo>
                    <a:pt x="33" y="107"/>
                  </a:lnTo>
                  <a:lnTo>
                    <a:pt x="34" y="107"/>
                  </a:lnTo>
                  <a:lnTo>
                    <a:pt x="34" y="109"/>
                  </a:lnTo>
                  <a:lnTo>
                    <a:pt x="36" y="109"/>
                  </a:lnTo>
                  <a:lnTo>
                    <a:pt x="36" y="110"/>
                  </a:lnTo>
                  <a:lnTo>
                    <a:pt x="37" y="110"/>
                  </a:lnTo>
                  <a:lnTo>
                    <a:pt x="37" y="112"/>
                  </a:lnTo>
                  <a:lnTo>
                    <a:pt x="39" y="112"/>
                  </a:lnTo>
                  <a:lnTo>
                    <a:pt x="41" y="112"/>
                  </a:lnTo>
                  <a:lnTo>
                    <a:pt x="42" y="114"/>
                  </a:lnTo>
                  <a:lnTo>
                    <a:pt x="41" y="115"/>
                  </a:lnTo>
                  <a:lnTo>
                    <a:pt x="42" y="115"/>
                  </a:lnTo>
                  <a:lnTo>
                    <a:pt x="42" y="117"/>
                  </a:lnTo>
                  <a:lnTo>
                    <a:pt x="41" y="117"/>
                  </a:lnTo>
                  <a:lnTo>
                    <a:pt x="41" y="119"/>
                  </a:lnTo>
                  <a:lnTo>
                    <a:pt x="41" y="117"/>
                  </a:lnTo>
                  <a:lnTo>
                    <a:pt x="39" y="117"/>
                  </a:lnTo>
                  <a:lnTo>
                    <a:pt x="37" y="117"/>
                  </a:lnTo>
                  <a:lnTo>
                    <a:pt x="37" y="115"/>
                  </a:lnTo>
                  <a:lnTo>
                    <a:pt x="36" y="115"/>
                  </a:lnTo>
                  <a:lnTo>
                    <a:pt x="36" y="114"/>
                  </a:lnTo>
                  <a:lnTo>
                    <a:pt x="36" y="115"/>
                  </a:lnTo>
                  <a:lnTo>
                    <a:pt x="37" y="117"/>
                  </a:lnTo>
                  <a:lnTo>
                    <a:pt x="36" y="117"/>
                  </a:lnTo>
                  <a:lnTo>
                    <a:pt x="36" y="119"/>
                  </a:lnTo>
                  <a:lnTo>
                    <a:pt x="37" y="119"/>
                  </a:lnTo>
                  <a:lnTo>
                    <a:pt x="41" y="120"/>
                  </a:lnTo>
                  <a:lnTo>
                    <a:pt x="41" y="122"/>
                  </a:lnTo>
                  <a:lnTo>
                    <a:pt x="41" y="123"/>
                  </a:lnTo>
                  <a:lnTo>
                    <a:pt x="39" y="123"/>
                  </a:lnTo>
                  <a:lnTo>
                    <a:pt x="39" y="125"/>
                  </a:lnTo>
                  <a:lnTo>
                    <a:pt x="41" y="125"/>
                  </a:lnTo>
                  <a:lnTo>
                    <a:pt x="42" y="125"/>
                  </a:lnTo>
                  <a:lnTo>
                    <a:pt x="42" y="127"/>
                  </a:lnTo>
                  <a:lnTo>
                    <a:pt x="41" y="127"/>
                  </a:lnTo>
                  <a:lnTo>
                    <a:pt x="39" y="127"/>
                  </a:lnTo>
                  <a:lnTo>
                    <a:pt x="37" y="128"/>
                  </a:lnTo>
                  <a:lnTo>
                    <a:pt x="36" y="128"/>
                  </a:lnTo>
                  <a:lnTo>
                    <a:pt x="34" y="127"/>
                  </a:lnTo>
                  <a:lnTo>
                    <a:pt x="33" y="127"/>
                  </a:lnTo>
                  <a:lnTo>
                    <a:pt x="34" y="127"/>
                  </a:lnTo>
                  <a:lnTo>
                    <a:pt x="36" y="128"/>
                  </a:lnTo>
                  <a:lnTo>
                    <a:pt x="36" y="132"/>
                  </a:lnTo>
                  <a:lnTo>
                    <a:pt x="36" y="130"/>
                  </a:lnTo>
                  <a:lnTo>
                    <a:pt x="37" y="130"/>
                  </a:lnTo>
                  <a:lnTo>
                    <a:pt x="39" y="130"/>
                  </a:lnTo>
                  <a:lnTo>
                    <a:pt x="41" y="130"/>
                  </a:lnTo>
                  <a:lnTo>
                    <a:pt x="39" y="132"/>
                  </a:lnTo>
                  <a:lnTo>
                    <a:pt x="41" y="132"/>
                  </a:lnTo>
                  <a:lnTo>
                    <a:pt x="41" y="133"/>
                  </a:lnTo>
                  <a:lnTo>
                    <a:pt x="41" y="135"/>
                  </a:lnTo>
                  <a:lnTo>
                    <a:pt x="41" y="136"/>
                  </a:lnTo>
                  <a:lnTo>
                    <a:pt x="41" y="138"/>
                  </a:lnTo>
                  <a:lnTo>
                    <a:pt x="41" y="140"/>
                  </a:lnTo>
                  <a:lnTo>
                    <a:pt x="39" y="140"/>
                  </a:lnTo>
                  <a:lnTo>
                    <a:pt x="39" y="138"/>
                  </a:lnTo>
                  <a:lnTo>
                    <a:pt x="37" y="138"/>
                  </a:lnTo>
                  <a:lnTo>
                    <a:pt x="37" y="136"/>
                  </a:lnTo>
                  <a:lnTo>
                    <a:pt x="37" y="138"/>
                  </a:lnTo>
                  <a:lnTo>
                    <a:pt x="37" y="136"/>
                  </a:lnTo>
                  <a:lnTo>
                    <a:pt x="36" y="136"/>
                  </a:lnTo>
                  <a:lnTo>
                    <a:pt x="36" y="135"/>
                  </a:lnTo>
                  <a:lnTo>
                    <a:pt x="36" y="133"/>
                  </a:lnTo>
                  <a:lnTo>
                    <a:pt x="34" y="132"/>
                  </a:lnTo>
                  <a:lnTo>
                    <a:pt x="34" y="130"/>
                  </a:lnTo>
                  <a:lnTo>
                    <a:pt x="33" y="130"/>
                  </a:lnTo>
                  <a:lnTo>
                    <a:pt x="33" y="128"/>
                  </a:lnTo>
                  <a:lnTo>
                    <a:pt x="33" y="127"/>
                  </a:lnTo>
                  <a:lnTo>
                    <a:pt x="31" y="127"/>
                  </a:lnTo>
                  <a:lnTo>
                    <a:pt x="31" y="125"/>
                  </a:lnTo>
                  <a:lnTo>
                    <a:pt x="29" y="125"/>
                  </a:lnTo>
                  <a:lnTo>
                    <a:pt x="31" y="125"/>
                  </a:lnTo>
                  <a:lnTo>
                    <a:pt x="31" y="123"/>
                  </a:lnTo>
                  <a:lnTo>
                    <a:pt x="31" y="122"/>
                  </a:lnTo>
                  <a:lnTo>
                    <a:pt x="29" y="122"/>
                  </a:lnTo>
                  <a:lnTo>
                    <a:pt x="29" y="120"/>
                  </a:lnTo>
                  <a:lnTo>
                    <a:pt x="29" y="119"/>
                  </a:lnTo>
                  <a:lnTo>
                    <a:pt x="31" y="119"/>
                  </a:lnTo>
                  <a:lnTo>
                    <a:pt x="31" y="117"/>
                  </a:lnTo>
                  <a:lnTo>
                    <a:pt x="29" y="115"/>
                  </a:lnTo>
                  <a:lnTo>
                    <a:pt x="29" y="114"/>
                  </a:lnTo>
                  <a:lnTo>
                    <a:pt x="29" y="112"/>
                  </a:lnTo>
                  <a:lnTo>
                    <a:pt x="28" y="110"/>
                  </a:lnTo>
                  <a:lnTo>
                    <a:pt x="28" y="109"/>
                  </a:lnTo>
                  <a:lnTo>
                    <a:pt x="28" y="107"/>
                  </a:lnTo>
                  <a:lnTo>
                    <a:pt x="28" y="106"/>
                  </a:lnTo>
                  <a:lnTo>
                    <a:pt x="26" y="106"/>
                  </a:lnTo>
                  <a:lnTo>
                    <a:pt x="28" y="106"/>
                  </a:lnTo>
                  <a:lnTo>
                    <a:pt x="28" y="104"/>
                  </a:lnTo>
                  <a:lnTo>
                    <a:pt x="28" y="102"/>
                  </a:lnTo>
                  <a:lnTo>
                    <a:pt x="28" y="101"/>
                  </a:lnTo>
                  <a:lnTo>
                    <a:pt x="29" y="101"/>
                  </a:lnTo>
                  <a:lnTo>
                    <a:pt x="29" y="99"/>
                  </a:lnTo>
                  <a:lnTo>
                    <a:pt x="31" y="99"/>
                  </a:lnTo>
                  <a:lnTo>
                    <a:pt x="33" y="99"/>
                  </a:lnTo>
                  <a:lnTo>
                    <a:pt x="34" y="99"/>
                  </a:lnTo>
                  <a:lnTo>
                    <a:pt x="34" y="101"/>
                  </a:lnTo>
                  <a:close/>
                  <a:moveTo>
                    <a:pt x="46" y="67"/>
                  </a:moveTo>
                  <a:lnTo>
                    <a:pt x="47" y="67"/>
                  </a:lnTo>
                  <a:lnTo>
                    <a:pt x="49" y="67"/>
                  </a:lnTo>
                  <a:lnTo>
                    <a:pt x="50" y="68"/>
                  </a:lnTo>
                  <a:lnTo>
                    <a:pt x="50" y="70"/>
                  </a:lnTo>
                  <a:lnTo>
                    <a:pt x="52" y="71"/>
                  </a:lnTo>
                  <a:lnTo>
                    <a:pt x="54" y="71"/>
                  </a:lnTo>
                  <a:lnTo>
                    <a:pt x="54" y="73"/>
                  </a:lnTo>
                  <a:lnTo>
                    <a:pt x="55" y="73"/>
                  </a:lnTo>
                  <a:lnTo>
                    <a:pt x="55" y="75"/>
                  </a:lnTo>
                  <a:lnTo>
                    <a:pt x="57" y="75"/>
                  </a:lnTo>
                  <a:lnTo>
                    <a:pt x="57" y="76"/>
                  </a:lnTo>
                  <a:lnTo>
                    <a:pt x="57" y="78"/>
                  </a:lnTo>
                  <a:lnTo>
                    <a:pt x="59" y="78"/>
                  </a:lnTo>
                  <a:lnTo>
                    <a:pt x="59" y="80"/>
                  </a:lnTo>
                  <a:lnTo>
                    <a:pt x="57" y="81"/>
                  </a:lnTo>
                  <a:lnTo>
                    <a:pt x="55" y="81"/>
                  </a:lnTo>
                  <a:lnTo>
                    <a:pt x="55" y="83"/>
                  </a:lnTo>
                  <a:lnTo>
                    <a:pt x="55" y="84"/>
                  </a:lnTo>
                  <a:lnTo>
                    <a:pt x="55" y="86"/>
                  </a:lnTo>
                  <a:lnTo>
                    <a:pt x="54" y="86"/>
                  </a:lnTo>
                  <a:lnTo>
                    <a:pt x="55" y="86"/>
                  </a:lnTo>
                  <a:lnTo>
                    <a:pt x="55" y="88"/>
                  </a:lnTo>
                  <a:lnTo>
                    <a:pt x="54" y="88"/>
                  </a:lnTo>
                  <a:lnTo>
                    <a:pt x="54" y="89"/>
                  </a:lnTo>
                  <a:lnTo>
                    <a:pt x="52" y="89"/>
                  </a:lnTo>
                  <a:lnTo>
                    <a:pt x="52" y="88"/>
                  </a:lnTo>
                  <a:lnTo>
                    <a:pt x="52" y="86"/>
                  </a:lnTo>
                  <a:lnTo>
                    <a:pt x="50" y="86"/>
                  </a:lnTo>
                  <a:lnTo>
                    <a:pt x="50" y="84"/>
                  </a:lnTo>
                  <a:lnTo>
                    <a:pt x="50" y="83"/>
                  </a:lnTo>
                  <a:lnTo>
                    <a:pt x="50" y="81"/>
                  </a:lnTo>
                  <a:lnTo>
                    <a:pt x="50" y="80"/>
                  </a:lnTo>
                  <a:lnTo>
                    <a:pt x="50" y="78"/>
                  </a:lnTo>
                  <a:lnTo>
                    <a:pt x="49" y="78"/>
                  </a:lnTo>
                  <a:lnTo>
                    <a:pt x="49" y="76"/>
                  </a:lnTo>
                  <a:lnTo>
                    <a:pt x="47" y="76"/>
                  </a:lnTo>
                  <a:lnTo>
                    <a:pt x="47" y="78"/>
                  </a:lnTo>
                  <a:lnTo>
                    <a:pt x="47" y="76"/>
                  </a:lnTo>
                  <a:lnTo>
                    <a:pt x="46" y="76"/>
                  </a:lnTo>
                  <a:lnTo>
                    <a:pt x="46" y="75"/>
                  </a:lnTo>
                  <a:lnTo>
                    <a:pt x="44" y="76"/>
                  </a:lnTo>
                  <a:lnTo>
                    <a:pt x="42" y="76"/>
                  </a:lnTo>
                  <a:lnTo>
                    <a:pt x="41" y="73"/>
                  </a:lnTo>
                  <a:lnTo>
                    <a:pt x="42" y="73"/>
                  </a:lnTo>
                  <a:lnTo>
                    <a:pt x="42" y="71"/>
                  </a:lnTo>
                  <a:lnTo>
                    <a:pt x="42" y="70"/>
                  </a:lnTo>
                  <a:lnTo>
                    <a:pt x="42" y="68"/>
                  </a:lnTo>
                  <a:lnTo>
                    <a:pt x="42" y="67"/>
                  </a:lnTo>
                  <a:lnTo>
                    <a:pt x="41" y="63"/>
                  </a:lnTo>
                  <a:lnTo>
                    <a:pt x="41" y="62"/>
                  </a:lnTo>
                  <a:lnTo>
                    <a:pt x="42" y="63"/>
                  </a:lnTo>
                  <a:lnTo>
                    <a:pt x="46" y="65"/>
                  </a:lnTo>
                  <a:lnTo>
                    <a:pt x="46" y="67"/>
                  </a:lnTo>
                  <a:close/>
                  <a:moveTo>
                    <a:pt x="88" y="23"/>
                  </a:moveTo>
                  <a:lnTo>
                    <a:pt x="88" y="24"/>
                  </a:lnTo>
                  <a:lnTo>
                    <a:pt x="86" y="26"/>
                  </a:lnTo>
                  <a:lnTo>
                    <a:pt x="85" y="26"/>
                  </a:lnTo>
                  <a:lnTo>
                    <a:pt x="83" y="26"/>
                  </a:lnTo>
                  <a:lnTo>
                    <a:pt x="83" y="24"/>
                  </a:lnTo>
                  <a:lnTo>
                    <a:pt x="81" y="24"/>
                  </a:lnTo>
                  <a:lnTo>
                    <a:pt x="81" y="23"/>
                  </a:lnTo>
                  <a:lnTo>
                    <a:pt x="81" y="21"/>
                  </a:lnTo>
                  <a:lnTo>
                    <a:pt x="80" y="21"/>
                  </a:lnTo>
                  <a:lnTo>
                    <a:pt x="80" y="24"/>
                  </a:lnTo>
                  <a:lnTo>
                    <a:pt x="81" y="26"/>
                  </a:lnTo>
                  <a:lnTo>
                    <a:pt x="83" y="28"/>
                  </a:lnTo>
                  <a:lnTo>
                    <a:pt x="83" y="29"/>
                  </a:lnTo>
                  <a:lnTo>
                    <a:pt x="85" y="29"/>
                  </a:lnTo>
                  <a:lnTo>
                    <a:pt x="85" y="31"/>
                  </a:lnTo>
                  <a:lnTo>
                    <a:pt x="83" y="31"/>
                  </a:lnTo>
                  <a:lnTo>
                    <a:pt x="85" y="32"/>
                  </a:lnTo>
                  <a:lnTo>
                    <a:pt x="83" y="34"/>
                  </a:lnTo>
                  <a:lnTo>
                    <a:pt x="81" y="32"/>
                  </a:lnTo>
                  <a:lnTo>
                    <a:pt x="80" y="32"/>
                  </a:lnTo>
                  <a:lnTo>
                    <a:pt x="78" y="29"/>
                  </a:lnTo>
                  <a:lnTo>
                    <a:pt x="78" y="28"/>
                  </a:lnTo>
                  <a:lnTo>
                    <a:pt x="78" y="26"/>
                  </a:lnTo>
                  <a:lnTo>
                    <a:pt x="77" y="26"/>
                  </a:lnTo>
                  <a:lnTo>
                    <a:pt x="78" y="29"/>
                  </a:lnTo>
                  <a:lnTo>
                    <a:pt x="78" y="31"/>
                  </a:lnTo>
                  <a:lnTo>
                    <a:pt x="78" y="32"/>
                  </a:lnTo>
                  <a:lnTo>
                    <a:pt x="78" y="34"/>
                  </a:lnTo>
                  <a:lnTo>
                    <a:pt x="77" y="34"/>
                  </a:lnTo>
                  <a:lnTo>
                    <a:pt x="77" y="32"/>
                  </a:lnTo>
                  <a:lnTo>
                    <a:pt x="75" y="29"/>
                  </a:lnTo>
                  <a:lnTo>
                    <a:pt x="73" y="26"/>
                  </a:lnTo>
                  <a:lnTo>
                    <a:pt x="73" y="23"/>
                  </a:lnTo>
                  <a:lnTo>
                    <a:pt x="75" y="23"/>
                  </a:lnTo>
                  <a:lnTo>
                    <a:pt x="77" y="23"/>
                  </a:lnTo>
                  <a:lnTo>
                    <a:pt x="77" y="24"/>
                  </a:lnTo>
                  <a:lnTo>
                    <a:pt x="77" y="23"/>
                  </a:lnTo>
                  <a:lnTo>
                    <a:pt x="78" y="21"/>
                  </a:lnTo>
                  <a:lnTo>
                    <a:pt x="78" y="19"/>
                  </a:lnTo>
                  <a:lnTo>
                    <a:pt x="77" y="18"/>
                  </a:lnTo>
                  <a:lnTo>
                    <a:pt x="78" y="18"/>
                  </a:lnTo>
                  <a:lnTo>
                    <a:pt x="78" y="13"/>
                  </a:lnTo>
                  <a:lnTo>
                    <a:pt x="78" y="11"/>
                  </a:lnTo>
                  <a:lnTo>
                    <a:pt x="78" y="10"/>
                  </a:lnTo>
                  <a:lnTo>
                    <a:pt x="78" y="8"/>
                  </a:lnTo>
                  <a:lnTo>
                    <a:pt x="80" y="6"/>
                  </a:lnTo>
                  <a:lnTo>
                    <a:pt x="81" y="6"/>
                  </a:lnTo>
                  <a:lnTo>
                    <a:pt x="81" y="10"/>
                  </a:lnTo>
                  <a:lnTo>
                    <a:pt x="81" y="13"/>
                  </a:lnTo>
                  <a:lnTo>
                    <a:pt x="83" y="15"/>
                  </a:lnTo>
                  <a:lnTo>
                    <a:pt x="83" y="16"/>
                  </a:lnTo>
                  <a:lnTo>
                    <a:pt x="83" y="18"/>
                  </a:lnTo>
                  <a:lnTo>
                    <a:pt x="83" y="19"/>
                  </a:lnTo>
                  <a:lnTo>
                    <a:pt x="85" y="19"/>
                  </a:lnTo>
                  <a:lnTo>
                    <a:pt x="85" y="21"/>
                  </a:lnTo>
                  <a:lnTo>
                    <a:pt x="86" y="21"/>
                  </a:lnTo>
                  <a:lnTo>
                    <a:pt x="86" y="23"/>
                  </a:lnTo>
                  <a:lnTo>
                    <a:pt x="88" y="23"/>
                  </a:lnTo>
                  <a:close/>
                  <a:moveTo>
                    <a:pt x="85" y="1"/>
                  </a:moveTo>
                  <a:lnTo>
                    <a:pt x="86" y="3"/>
                  </a:lnTo>
                  <a:lnTo>
                    <a:pt x="86" y="5"/>
                  </a:lnTo>
                  <a:lnTo>
                    <a:pt x="86" y="6"/>
                  </a:lnTo>
                  <a:lnTo>
                    <a:pt x="86" y="8"/>
                  </a:lnTo>
                  <a:lnTo>
                    <a:pt x="86" y="10"/>
                  </a:lnTo>
                  <a:lnTo>
                    <a:pt x="86" y="11"/>
                  </a:lnTo>
                  <a:lnTo>
                    <a:pt x="86" y="13"/>
                  </a:lnTo>
                  <a:lnTo>
                    <a:pt x="86" y="15"/>
                  </a:lnTo>
                  <a:lnTo>
                    <a:pt x="86" y="16"/>
                  </a:lnTo>
                  <a:lnTo>
                    <a:pt x="88" y="16"/>
                  </a:lnTo>
                  <a:lnTo>
                    <a:pt x="88" y="15"/>
                  </a:lnTo>
                  <a:lnTo>
                    <a:pt x="90" y="15"/>
                  </a:lnTo>
                  <a:lnTo>
                    <a:pt x="90" y="16"/>
                  </a:lnTo>
                  <a:lnTo>
                    <a:pt x="91" y="16"/>
                  </a:lnTo>
                  <a:lnTo>
                    <a:pt x="91" y="18"/>
                  </a:lnTo>
                  <a:lnTo>
                    <a:pt x="88" y="19"/>
                  </a:lnTo>
                  <a:lnTo>
                    <a:pt x="83" y="18"/>
                  </a:lnTo>
                  <a:lnTo>
                    <a:pt x="83" y="16"/>
                  </a:lnTo>
                  <a:lnTo>
                    <a:pt x="83" y="13"/>
                  </a:lnTo>
                  <a:lnTo>
                    <a:pt x="83" y="11"/>
                  </a:lnTo>
                  <a:lnTo>
                    <a:pt x="83" y="10"/>
                  </a:lnTo>
                  <a:lnTo>
                    <a:pt x="83" y="8"/>
                  </a:lnTo>
                  <a:lnTo>
                    <a:pt x="83" y="6"/>
                  </a:lnTo>
                  <a:lnTo>
                    <a:pt x="85" y="6"/>
                  </a:lnTo>
                  <a:lnTo>
                    <a:pt x="83" y="5"/>
                  </a:lnTo>
                  <a:lnTo>
                    <a:pt x="81" y="3"/>
                  </a:lnTo>
                  <a:lnTo>
                    <a:pt x="81" y="1"/>
                  </a:lnTo>
                  <a:lnTo>
                    <a:pt x="83" y="1"/>
                  </a:lnTo>
                  <a:lnTo>
                    <a:pt x="85" y="1"/>
                  </a:lnTo>
                  <a:close/>
                  <a:moveTo>
                    <a:pt x="75" y="3"/>
                  </a:moveTo>
                  <a:lnTo>
                    <a:pt x="77" y="5"/>
                  </a:lnTo>
                  <a:lnTo>
                    <a:pt x="77" y="6"/>
                  </a:lnTo>
                  <a:lnTo>
                    <a:pt x="75" y="8"/>
                  </a:lnTo>
                  <a:lnTo>
                    <a:pt x="77" y="10"/>
                  </a:lnTo>
                  <a:lnTo>
                    <a:pt x="77" y="11"/>
                  </a:lnTo>
                  <a:lnTo>
                    <a:pt x="77" y="13"/>
                  </a:lnTo>
                  <a:lnTo>
                    <a:pt x="77" y="15"/>
                  </a:lnTo>
                  <a:lnTo>
                    <a:pt x="77" y="16"/>
                  </a:lnTo>
                  <a:lnTo>
                    <a:pt x="77" y="18"/>
                  </a:lnTo>
                  <a:lnTo>
                    <a:pt x="77" y="19"/>
                  </a:lnTo>
                  <a:lnTo>
                    <a:pt x="77" y="21"/>
                  </a:lnTo>
                  <a:lnTo>
                    <a:pt x="75" y="21"/>
                  </a:lnTo>
                  <a:lnTo>
                    <a:pt x="73" y="18"/>
                  </a:lnTo>
                  <a:lnTo>
                    <a:pt x="73" y="16"/>
                  </a:lnTo>
                  <a:lnTo>
                    <a:pt x="73" y="15"/>
                  </a:lnTo>
                  <a:lnTo>
                    <a:pt x="72" y="13"/>
                  </a:lnTo>
                  <a:lnTo>
                    <a:pt x="72" y="11"/>
                  </a:lnTo>
                  <a:lnTo>
                    <a:pt x="72" y="10"/>
                  </a:lnTo>
                  <a:lnTo>
                    <a:pt x="72" y="8"/>
                  </a:lnTo>
                  <a:lnTo>
                    <a:pt x="73" y="6"/>
                  </a:lnTo>
                  <a:lnTo>
                    <a:pt x="73" y="5"/>
                  </a:lnTo>
                  <a:lnTo>
                    <a:pt x="73" y="3"/>
                  </a:lnTo>
                  <a:lnTo>
                    <a:pt x="75" y="3"/>
                  </a:lnTo>
                  <a:close/>
                  <a:moveTo>
                    <a:pt x="72" y="24"/>
                  </a:moveTo>
                  <a:lnTo>
                    <a:pt x="70" y="24"/>
                  </a:lnTo>
                  <a:lnTo>
                    <a:pt x="70" y="23"/>
                  </a:lnTo>
                  <a:lnTo>
                    <a:pt x="68" y="23"/>
                  </a:lnTo>
                  <a:lnTo>
                    <a:pt x="68" y="21"/>
                  </a:lnTo>
                  <a:lnTo>
                    <a:pt x="68" y="19"/>
                  </a:lnTo>
                  <a:lnTo>
                    <a:pt x="68" y="18"/>
                  </a:lnTo>
                  <a:lnTo>
                    <a:pt x="70" y="18"/>
                  </a:lnTo>
                  <a:lnTo>
                    <a:pt x="68" y="15"/>
                  </a:lnTo>
                  <a:lnTo>
                    <a:pt x="68" y="13"/>
                  </a:lnTo>
                  <a:lnTo>
                    <a:pt x="67" y="11"/>
                  </a:lnTo>
                  <a:lnTo>
                    <a:pt x="67" y="8"/>
                  </a:lnTo>
                  <a:lnTo>
                    <a:pt x="67" y="6"/>
                  </a:lnTo>
                  <a:lnTo>
                    <a:pt x="67" y="5"/>
                  </a:lnTo>
                  <a:lnTo>
                    <a:pt x="67" y="3"/>
                  </a:lnTo>
                  <a:lnTo>
                    <a:pt x="67" y="1"/>
                  </a:lnTo>
                  <a:lnTo>
                    <a:pt x="67" y="0"/>
                  </a:lnTo>
                  <a:lnTo>
                    <a:pt x="67" y="1"/>
                  </a:lnTo>
                  <a:lnTo>
                    <a:pt x="68" y="3"/>
                  </a:lnTo>
                  <a:lnTo>
                    <a:pt x="68" y="5"/>
                  </a:lnTo>
                  <a:lnTo>
                    <a:pt x="68" y="6"/>
                  </a:lnTo>
                  <a:lnTo>
                    <a:pt x="68" y="10"/>
                  </a:lnTo>
                  <a:lnTo>
                    <a:pt x="70" y="10"/>
                  </a:lnTo>
                  <a:lnTo>
                    <a:pt x="70" y="11"/>
                  </a:lnTo>
                  <a:lnTo>
                    <a:pt x="70" y="13"/>
                  </a:lnTo>
                  <a:lnTo>
                    <a:pt x="70" y="16"/>
                  </a:lnTo>
                  <a:lnTo>
                    <a:pt x="70" y="18"/>
                  </a:lnTo>
                  <a:lnTo>
                    <a:pt x="72" y="19"/>
                  </a:lnTo>
                  <a:lnTo>
                    <a:pt x="72" y="21"/>
                  </a:lnTo>
                  <a:lnTo>
                    <a:pt x="72" y="23"/>
                  </a:lnTo>
                  <a:lnTo>
                    <a:pt x="72" y="24"/>
                  </a:lnTo>
                  <a:close/>
                  <a:moveTo>
                    <a:pt x="98" y="21"/>
                  </a:moveTo>
                  <a:lnTo>
                    <a:pt x="98" y="23"/>
                  </a:lnTo>
                  <a:lnTo>
                    <a:pt x="96" y="21"/>
                  </a:lnTo>
                  <a:lnTo>
                    <a:pt x="94" y="21"/>
                  </a:lnTo>
                  <a:lnTo>
                    <a:pt x="94" y="23"/>
                  </a:lnTo>
                  <a:lnTo>
                    <a:pt x="96" y="24"/>
                  </a:lnTo>
                  <a:lnTo>
                    <a:pt x="94" y="24"/>
                  </a:lnTo>
                  <a:lnTo>
                    <a:pt x="94" y="26"/>
                  </a:lnTo>
                  <a:lnTo>
                    <a:pt x="93" y="26"/>
                  </a:lnTo>
                  <a:lnTo>
                    <a:pt x="90" y="28"/>
                  </a:lnTo>
                  <a:lnTo>
                    <a:pt x="90" y="26"/>
                  </a:lnTo>
                  <a:lnTo>
                    <a:pt x="90" y="24"/>
                  </a:lnTo>
                  <a:lnTo>
                    <a:pt x="90" y="23"/>
                  </a:lnTo>
                  <a:lnTo>
                    <a:pt x="90" y="21"/>
                  </a:lnTo>
                  <a:lnTo>
                    <a:pt x="90" y="19"/>
                  </a:lnTo>
                  <a:lnTo>
                    <a:pt x="91" y="19"/>
                  </a:lnTo>
                  <a:lnTo>
                    <a:pt x="93" y="21"/>
                  </a:lnTo>
                  <a:lnTo>
                    <a:pt x="93" y="19"/>
                  </a:lnTo>
                  <a:lnTo>
                    <a:pt x="94" y="19"/>
                  </a:lnTo>
                  <a:lnTo>
                    <a:pt x="94" y="18"/>
                  </a:lnTo>
                  <a:lnTo>
                    <a:pt x="96" y="18"/>
                  </a:lnTo>
                  <a:lnTo>
                    <a:pt x="96" y="19"/>
                  </a:lnTo>
                  <a:lnTo>
                    <a:pt x="98" y="19"/>
                  </a:lnTo>
                  <a:lnTo>
                    <a:pt x="98" y="21"/>
                  </a:lnTo>
                  <a:close/>
                  <a:moveTo>
                    <a:pt x="99" y="13"/>
                  </a:moveTo>
                  <a:lnTo>
                    <a:pt x="101" y="13"/>
                  </a:lnTo>
                  <a:lnTo>
                    <a:pt x="103" y="13"/>
                  </a:lnTo>
                  <a:lnTo>
                    <a:pt x="101" y="15"/>
                  </a:lnTo>
                  <a:lnTo>
                    <a:pt x="101" y="16"/>
                  </a:lnTo>
                  <a:lnTo>
                    <a:pt x="101" y="15"/>
                  </a:lnTo>
                  <a:lnTo>
                    <a:pt x="99" y="16"/>
                  </a:lnTo>
                  <a:lnTo>
                    <a:pt x="98" y="16"/>
                  </a:lnTo>
                  <a:lnTo>
                    <a:pt x="96" y="16"/>
                  </a:lnTo>
                  <a:lnTo>
                    <a:pt x="96" y="15"/>
                  </a:lnTo>
                  <a:lnTo>
                    <a:pt x="98" y="11"/>
                  </a:lnTo>
                  <a:lnTo>
                    <a:pt x="99" y="11"/>
                  </a:lnTo>
                  <a:lnTo>
                    <a:pt x="99" y="13"/>
                  </a:lnTo>
                  <a:close/>
                  <a:moveTo>
                    <a:pt x="65" y="57"/>
                  </a:moveTo>
                  <a:lnTo>
                    <a:pt x="64" y="57"/>
                  </a:lnTo>
                  <a:lnTo>
                    <a:pt x="65" y="57"/>
                  </a:lnTo>
                  <a:lnTo>
                    <a:pt x="65" y="58"/>
                  </a:lnTo>
                  <a:lnTo>
                    <a:pt x="65" y="60"/>
                  </a:lnTo>
                  <a:lnTo>
                    <a:pt x="65" y="62"/>
                  </a:lnTo>
                  <a:lnTo>
                    <a:pt x="64" y="62"/>
                  </a:lnTo>
                  <a:lnTo>
                    <a:pt x="64" y="63"/>
                  </a:lnTo>
                  <a:lnTo>
                    <a:pt x="64" y="62"/>
                  </a:lnTo>
                  <a:lnTo>
                    <a:pt x="64" y="63"/>
                  </a:lnTo>
                  <a:lnTo>
                    <a:pt x="64" y="62"/>
                  </a:lnTo>
                  <a:lnTo>
                    <a:pt x="64" y="60"/>
                  </a:lnTo>
                  <a:lnTo>
                    <a:pt x="62" y="60"/>
                  </a:lnTo>
                  <a:lnTo>
                    <a:pt x="62" y="58"/>
                  </a:lnTo>
                  <a:lnTo>
                    <a:pt x="62" y="57"/>
                  </a:lnTo>
                  <a:lnTo>
                    <a:pt x="64" y="54"/>
                  </a:lnTo>
                  <a:lnTo>
                    <a:pt x="62" y="54"/>
                  </a:lnTo>
                  <a:lnTo>
                    <a:pt x="62" y="52"/>
                  </a:lnTo>
                  <a:lnTo>
                    <a:pt x="64" y="52"/>
                  </a:lnTo>
                  <a:lnTo>
                    <a:pt x="64" y="54"/>
                  </a:lnTo>
                  <a:lnTo>
                    <a:pt x="64" y="55"/>
                  </a:lnTo>
                  <a:lnTo>
                    <a:pt x="65" y="57"/>
                  </a:lnTo>
                  <a:close/>
                  <a:moveTo>
                    <a:pt x="44" y="88"/>
                  </a:moveTo>
                  <a:lnTo>
                    <a:pt x="42" y="88"/>
                  </a:lnTo>
                  <a:lnTo>
                    <a:pt x="42" y="86"/>
                  </a:lnTo>
                  <a:lnTo>
                    <a:pt x="42" y="84"/>
                  </a:lnTo>
                  <a:lnTo>
                    <a:pt x="42" y="83"/>
                  </a:lnTo>
                  <a:lnTo>
                    <a:pt x="42" y="81"/>
                  </a:lnTo>
                  <a:lnTo>
                    <a:pt x="42" y="83"/>
                  </a:lnTo>
                  <a:lnTo>
                    <a:pt x="44" y="83"/>
                  </a:lnTo>
                  <a:lnTo>
                    <a:pt x="46" y="83"/>
                  </a:lnTo>
                  <a:lnTo>
                    <a:pt x="46" y="84"/>
                  </a:lnTo>
                  <a:lnTo>
                    <a:pt x="46" y="88"/>
                  </a:lnTo>
                  <a:lnTo>
                    <a:pt x="44" y="88"/>
                  </a:lnTo>
                  <a:close/>
                  <a:moveTo>
                    <a:pt x="8" y="24"/>
                  </a:moveTo>
                  <a:lnTo>
                    <a:pt x="8" y="26"/>
                  </a:lnTo>
                  <a:lnTo>
                    <a:pt x="10" y="26"/>
                  </a:lnTo>
                  <a:lnTo>
                    <a:pt x="8" y="26"/>
                  </a:lnTo>
                  <a:lnTo>
                    <a:pt x="10" y="28"/>
                  </a:lnTo>
                  <a:lnTo>
                    <a:pt x="8" y="28"/>
                  </a:lnTo>
                  <a:lnTo>
                    <a:pt x="7" y="28"/>
                  </a:lnTo>
                  <a:lnTo>
                    <a:pt x="7" y="26"/>
                  </a:lnTo>
                  <a:lnTo>
                    <a:pt x="5" y="26"/>
                  </a:lnTo>
                  <a:lnTo>
                    <a:pt x="3" y="26"/>
                  </a:lnTo>
                  <a:lnTo>
                    <a:pt x="3" y="24"/>
                  </a:lnTo>
                  <a:lnTo>
                    <a:pt x="2" y="24"/>
                  </a:lnTo>
                  <a:lnTo>
                    <a:pt x="3" y="24"/>
                  </a:lnTo>
                  <a:lnTo>
                    <a:pt x="5" y="24"/>
                  </a:lnTo>
                  <a:lnTo>
                    <a:pt x="7" y="24"/>
                  </a:lnTo>
                  <a:lnTo>
                    <a:pt x="8" y="24"/>
                  </a:lnTo>
                  <a:close/>
                  <a:moveTo>
                    <a:pt x="47" y="62"/>
                  </a:moveTo>
                  <a:lnTo>
                    <a:pt x="46" y="60"/>
                  </a:lnTo>
                  <a:lnTo>
                    <a:pt x="46" y="58"/>
                  </a:lnTo>
                  <a:lnTo>
                    <a:pt x="46" y="57"/>
                  </a:lnTo>
                  <a:lnTo>
                    <a:pt x="44" y="57"/>
                  </a:lnTo>
                  <a:lnTo>
                    <a:pt x="46" y="57"/>
                  </a:lnTo>
                  <a:lnTo>
                    <a:pt x="44" y="57"/>
                  </a:lnTo>
                  <a:lnTo>
                    <a:pt x="44" y="55"/>
                  </a:lnTo>
                  <a:lnTo>
                    <a:pt x="46" y="55"/>
                  </a:lnTo>
                  <a:lnTo>
                    <a:pt x="47" y="55"/>
                  </a:lnTo>
                  <a:lnTo>
                    <a:pt x="47" y="57"/>
                  </a:lnTo>
                  <a:lnTo>
                    <a:pt x="47" y="58"/>
                  </a:lnTo>
                  <a:lnTo>
                    <a:pt x="47" y="60"/>
                  </a:lnTo>
                  <a:lnTo>
                    <a:pt x="47" y="62"/>
                  </a:lnTo>
                  <a:close/>
                  <a:moveTo>
                    <a:pt x="47" y="97"/>
                  </a:moveTo>
                  <a:lnTo>
                    <a:pt x="46" y="99"/>
                  </a:lnTo>
                  <a:lnTo>
                    <a:pt x="46" y="97"/>
                  </a:lnTo>
                  <a:lnTo>
                    <a:pt x="46" y="96"/>
                  </a:lnTo>
                  <a:lnTo>
                    <a:pt x="46" y="94"/>
                  </a:lnTo>
                  <a:lnTo>
                    <a:pt x="47" y="96"/>
                  </a:lnTo>
                  <a:lnTo>
                    <a:pt x="47" y="97"/>
                  </a:lnTo>
                  <a:close/>
                  <a:moveTo>
                    <a:pt x="42" y="54"/>
                  </a:moveTo>
                  <a:lnTo>
                    <a:pt x="42" y="52"/>
                  </a:lnTo>
                  <a:lnTo>
                    <a:pt x="41" y="52"/>
                  </a:lnTo>
                  <a:lnTo>
                    <a:pt x="41" y="50"/>
                  </a:lnTo>
                  <a:lnTo>
                    <a:pt x="41" y="49"/>
                  </a:lnTo>
                  <a:lnTo>
                    <a:pt x="42" y="50"/>
                  </a:lnTo>
                  <a:lnTo>
                    <a:pt x="42" y="52"/>
                  </a:lnTo>
                  <a:lnTo>
                    <a:pt x="42" y="54"/>
                  </a:lnTo>
                  <a:close/>
                  <a:moveTo>
                    <a:pt x="47" y="106"/>
                  </a:moveTo>
                  <a:lnTo>
                    <a:pt x="47" y="107"/>
                  </a:lnTo>
                  <a:lnTo>
                    <a:pt x="47" y="106"/>
                  </a:lnTo>
                  <a:lnTo>
                    <a:pt x="46" y="106"/>
                  </a:lnTo>
                  <a:lnTo>
                    <a:pt x="47" y="106"/>
                  </a:lnTo>
                  <a:close/>
                  <a:moveTo>
                    <a:pt x="15" y="31"/>
                  </a:moveTo>
                  <a:lnTo>
                    <a:pt x="16" y="31"/>
                  </a:lnTo>
                  <a:lnTo>
                    <a:pt x="16" y="32"/>
                  </a:lnTo>
                  <a:lnTo>
                    <a:pt x="15" y="32"/>
                  </a:lnTo>
                  <a:lnTo>
                    <a:pt x="15" y="31"/>
                  </a:lnTo>
                  <a:lnTo>
                    <a:pt x="15" y="32"/>
                  </a:lnTo>
                  <a:lnTo>
                    <a:pt x="15" y="31"/>
                  </a:lnTo>
                  <a:close/>
                  <a:moveTo>
                    <a:pt x="2" y="24"/>
                  </a:moveTo>
                  <a:lnTo>
                    <a:pt x="0" y="26"/>
                  </a:lnTo>
                  <a:lnTo>
                    <a:pt x="0" y="24"/>
                  </a:lnTo>
                  <a:lnTo>
                    <a:pt x="2" y="24"/>
                  </a:lnTo>
                  <a:close/>
                  <a:moveTo>
                    <a:pt x="15" y="31"/>
                  </a:moveTo>
                  <a:lnTo>
                    <a:pt x="13" y="31"/>
                  </a:lnTo>
                  <a:lnTo>
                    <a:pt x="15" y="31"/>
                  </a:lnTo>
                  <a:close/>
                </a:path>
              </a:pathLst>
            </a:custGeom>
            <a:solidFill>
              <a:srgbClr val="E5E5E5"/>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1177" name="Freeform 24">
              <a:extLst>
                <a:ext uri="{FF2B5EF4-FFF2-40B4-BE49-F238E27FC236}">
                  <a16:creationId xmlns:a16="http://schemas.microsoft.com/office/drawing/2014/main" id="{4A040392-0044-F44D-5417-1B1F781CA455}"/>
                </a:ext>
              </a:extLst>
            </p:cNvPr>
            <p:cNvSpPr>
              <a:spLocks noEditPoints="1"/>
            </p:cNvSpPr>
            <p:nvPr/>
          </p:nvSpPr>
          <p:spPr bwMode="auto">
            <a:xfrm>
              <a:off x="2773" y="3559"/>
              <a:ext cx="1386" cy="1430"/>
            </a:xfrm>
            <a:custGeom>
              <a:avLst/>
              <a:gdLst>
                <a:gd name="T0" fmla="*/ 1386 w 1386"/>
                <a:gd name="T1" fmla="*/ 1316 h 1430"/>
                <a:gd name="T2" fmla="*/ 1350 w 1386"/>
                <a:gd name="T3" fmla="*/ 1420 h 1430"/>
                <a:gd name="T4" fmla="*/ 1312 w 1386"/>
                <a:gd name="T5" fmla="*/ 1378 h 1430"/>
                <a:gd name="T6" fmla="*/ 1282 w 1386"/>
                <a:gd name="T7" fmla="*/ 1315 h 1430"/>
                <a:gd name="T8" fmla="*/ 1304 w 1386"/>
                <a:gd name="T9" fmla="*/ 1251 h 1430"/>
                <a:gd name="T10" fmla="*/ 1052 w 1386"/>
                <a:gd name="T11" fmla="*/ 1184 h 1430"/>
                <a:gd name="T12" fmla="*/ 1125 w 1386"/>
                <a:gd name="T13" fmla="*/ 1114 h 1430"/>
                <a:gd name="T14" fmla="*/ 314 w 1386"/>
                <a:gd name="T15" fmla="*/ 701 h 1430"/>
                <a:gd name="T16" fmla="*/ 218 w 1386"/>
                <a:gd name="T17" fmla="*/ 563 h 1430"/>
                <a:gd name="T18" fmla="*/ 179 w 1386"/>
                <a:gd name="T19" fmla="*/ 459 h 1430"/>
                <a:gd name="T20" fmla="*/ 197 w 1386"/>
                <a:gd name="T21" fmla="*/ 430 h 1430"/>
                <a:gd name="T22" fmla="*/ 15 w 1386"/>
                <a:gd name="T23" fmla="*/ 329 h 1430"/>
                <a:gd name="T24" fmla="*/ 54 w 1386"/>
                <a:gd name="T25" fmla="*/ 252 h 1430"/>
                <a:gd name="T26" fmla="*/ 179 w 1386"/>
                <a:gd name="T27" fmla="*/ 243 h 1430"/>
                <a:gd name="T28" fmla="*/ 322 w 1386"/>
                <a:gd name="T29" fmla="*/ 262 h 1430"/>
                <a:gd name="T30" fmla="*/ 683 w 1386"/>
                <a:gd name="T31" fmla="*/ 1232 h 1430"/>
                <a:gd name="T32" fmla="*/ 533 w 1386"/>
                <a:gd name="T33" fmla="*/ 1193 h 1430"/>
                <a:gd name="T34" fmla="*/ 389 w 1386"/>
                <a:gd name="T35" fmla="*/ 1167 h 1430"/>
                <a:gd name="T36" fmla="*/ 244 w 1386"/>
                <a:gd name="T37" fmla="*/ 1092 h 1430"/>
                <a:gd name="T38" fmla="*/ 237 w 1386"/>
                <a:gd name="T39" fmla="*/ 1022 h 1430"/>
                <a:gd name="T40" fmla="*/ 343 w 1386"/>
                <a:gd name="T41" fmla="*/ 778 h 1430"/>
                <a:gd name="T42" fmla="*/ 389 w 1386"/>
                <a:gd name="T43" fmla="*/ 849 h 1430"/>
                <a:gd name="T44" fmla="*/ 322 w 1386"/>
                <a:gd name="T45" fmla="*/ 732 h 1430"/>
                <a:gd name="T46" fmla="*/ 325 w 1386"/>
                <a:gd name="T47" fmla="*/ 659 h 1430"/>
                <a:gd name="T48" fmla="*/ 257 w 1386"/>
                <a:gd name="T49" fmla="*/ 571 h 1430"/>
                <a:gd name="T50" fmla="*/ 338 w 1386"/>
                <a:gd name="T51" fmla="*/ 490 h 1430"/>
                <a:gd name="T52" fmla="*/ 220 w 1386"/>
                <a:gd name="T53" fmla="*/ 474 h 1430"/>
                <a:gd name="T54" fmla="*/ 208 w 1386"/>
                <a:gd name="T55" fmla="*/ 444 h 1430"/>
                <a:gd name="T56" fmla="*/ 187 w 1386"/>
                <a:gd name="T57" fmla="*/ 428 h 1430"/>
                <a:gd name="T58" fmla="*/ 163 w 1386"/>
                <a:gd name="T59" fmla="*/ 420 h 1430"/>
                <a:gd name="T60" fmla="*/ 153 w 1386"/>
                <a:gd name="T61" fmla="*/ 397 h 1430"/>
                <a:gd name="T62" fmla="*/ 85 w 1386"/>
                <a:gd name="T63" fmla="*/ 370 h 1430"/>
                <a:gd name="T64" fmla="*/ 42 w 1386"/>
                <a:gd name="T65" fmla="*/ 340 h 1430"/>
                <a:gd name="T66" fmla="*/ 52 w 1386"/>
                <a:gd name="T67" fmla="*/ 295 h 1430"/>
                <a:gd name="T68" fmla="*/ 65 w 1386"/>
                <a:gd name="T69" fmla="*/ 296 h 1430"/>
                <a:gd name="T70" fmla="*/ 57 w 1386"/>
                <a:gd name="T71" fmla="*/ 261 h 1430"/>
                <a:gd name="T72" fmla="*/ 117 w 1386"/>
                <a:gd name="T73" fmla="*/ 249 h 1430"/>
                <a:gd name="T74" fmla="*/ 159 w 1386"/>
                <a:gd name="T75" fmla="*/ 243 h 1430"/>
                <a:gd name="T76" fmla="*/ 207 w 1386"/>
                <a:gd name="T77" fmla="*/ 259 h 1430"/>
                <a:gd name="T78" fmla="*/ 281 w 1386"/>
                <a:gd name="T79" fmla="*/ 296 h 1430"/>
                <a:gd name="T80" fmla="*/ 342 w 1386"/>
                <a:gd name="T81" fmla="*/ 300 h 1430"/>
                <a:gd name="T82" fmla="*/ 332 w 1386"/>
                <a:gd name="T83" fmla="*/ 178 h 1430"/>
                <a:gd name="T84" fmla="*/ 397 w 1386"/>
                <a:gd name="T85" fmla="*/ 204 h 1430"/>
                <a:gd name="T86" fmla="*/ 577 w 1386"/>
                <a:gd name="T87" fmla="*/ 218 h 1430"/>
                <a:gd name="T88" fmla="*/ 610 w 1386"/>
                <a:gd name="T89" fmla="*/ 152 h 1430"/>
                <a:gd name="T90" fmla="*/ 681 w 1386"/>
                <a:gd name="T91" fmla="*/ 18 h 1430"/>
                <a:gd name="T92" fmla="*/ 810 w 1386"/>
                <a:gd name="T93" fmla="*/ 49 h 1430"/>
                <a:gd name="T94" fmla="*/ 898 w 1386"/>
                <a:gd name="T95" fmla="*/ 155 h 1430"/>
                <a:gd name="T96" fmla="*/ 989 w 1386"/>
                <a:gd name="T97" fmla="*/ 222 h 1430"/>
                <a:gd name="T98" fmla="*/ 1111 w 1386"/>
                <a:gd name="T99" fmla="*/ 277 h 1430"/>
                <a:gd name="T100" fmla="*/ 1251 w 1386"/>
                <a:gd name="T101" fmla="*/ 332 h 1430"/>
                <a:gd name="T102" fmla="*/ 1190 w 1386"/>
                <a:gd name="T103" fmla="*/ 547 h 1430"/>
                <a:gd name="T104" fmla="*/ 1091 w 1386"/>
                <a:gd name="T105" fmla="*/ 617 h 1430"/>
                <a:gd name="T106" fmla="*/ 1112 w 1386"/>
                <a:gd name="T107" fmla="*/ 708 h 1430"/>
                <a:gd name="T108" fmla="*/ 1140 w 1386"/>
                <a:gd name="T109" fmla="*/ 854 h 1430"/>
                <a:gd name="T110" fmla="*/ 1119 w 1386"/>
                <a:gd name="T111" fmla="*/ 983 h 1430"/>
                <a:gd name="T112" fmla="*/ 1155 w 1386"/>
                <a:gd name="T113" fmla="*/ 1087 h 1430"/>
                <a:gd name="T114" fmla="*/ 1086 w 1386"/>
                <a:gd name="T115" fmla="*/ 1149 h 1430"/>
                <a:gd name="T116" fmla="*/ 1000 w 1386"/>
                <a:gd name="T117" fmla="*/ 1170 h 1430"/>
                <a:gd name="T118" fmla="*/ 916 w 1386"/>
                <a:gd name="T119" fmla="*/ 1129 h 1430"/>
                <a:gd name="T120" fmla="*/ 894 w 1386"/>
                <a:gd name="T121" fmla="*/ 1121 h 1430"/>
                <a:gd name="T122" fmla="*/ 881 w 1386"/>
                <a:gd name="T123" fmla="*/ 1113 h 1430"/>
                <a:gd name="T124" fmla="*/ 720 w 1386"/>
                <a:gd name="T125" fmla="*/ 1134 h 14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86" h="1430">
                  <a:moveTo>
                    <a:pt x="1352" y="1430"/>
                  </a:moveTo>
                  <a:lnTo>
                    <a:pt x="1353" y="1430"/>
                  </a:lnTo>
                  <a:lnTo>
                    <a:pt x="1352" y="1430"/>
                  </a:lnTo>
                  <a:lnTo>
                    <a:pt x="1352" y="1428"/>
                  </a:lnTo>
                  <a:lnTo>
                    <a:pt x="1353" y="1428"/>
                  </a:lnTo>
                  <a:lnTo>
                    <a:pt x="1352" y="1430"/>
                  </a:lnTo>
                  <a:close/>
                  <a:moveTo>
                    <a:pt x="1348" y="1425"/>
                  </a:moveTo>
                  <a:lnTo>
                    <a:pt x="1350" y="1425"/>
                  </a:lnTo>
                  <a:lnTo>
                    <a:pt x="1348" y="1425"/>
                  </a:lnTo>
                  <a:close/>
                  <a:moveTo>
                    <a:pt x="1352" y="1425"/>
                  </a:moveTo>
                  <a:lnTo>
                    <a:pt x="1353" y="1425"/>
                  </a:lnTo>
                  <a:lnTo>
                    <a:pt x="1355" y="1425"/>
                  </a:lnTo>
                  <a:lnTo>
                    <a:pt x="1355" y="1427"/>
                  </a:lnTo>
                  <a:lnTo>
                    <a:pt x="1353" y="1427"/>
                  </a:lnTo>
                  <a:lnTo>
                    <a:pt x="1352" y="1425"/>
                  </a:lnTo>
                  <a:lnTo>
                    <a:pt x="1352" y="1427"/>
                  </a:lnTo>
                  <a:lnTo>
                    <a:pt x="1352" y="1425"/>
                  </a:lnTo>
                  <a:close/>
                  <a:moveTo>
                    <a:pt x="1363" y="1401"/>
                  </a:moveTo>
                  <a:lnTo>
                    <a:pt x="1363" y="1402"/>
                  </a:lnTo>
                  <a:lnTo>
                    <a:pt x="1363" y="1401"/>
                  </a:lnTo>
                  <a:close/>
                  <a:moveTo>
                    <a:pt x="1365" y="1399"/>
                  </a:moveTo>
                  <a:lnTo>
                    <a:pt x="1365" y="1401"/>
                  </a:lnTo>
                  <a:lnTo>
                    <a:pt x="1363" y="1401"/>
                  </a:lnTo>
                  <a:lnTo>
                    <a:pt x="1363" y="1399"/>
                  </a:lnTo>
                  <a:lnTo>
                    <a:pt x="1365" y="1399"/>
                  </a:lnTo>
                  <a:close/>
                  <a:moveTo>
                    <a:pt x="1365" y="1397"/>
                  </a:moveTo>
                  <a:lnTo>
                    <a:pt x="1365" y="1399"/>
                  </a:lnTo>
                  <a:lnTo>
                    <a:pt x="1365" y="1397"/>
                  </a:lnTo>
                  <a:close/>
                  <a:moveTo>
                    <a:pt x="1282" y="1350"/>
                  </a:moveTo>
                  <a:lnTo>
                    <a:pt x="1283" y="1350"/>
                  </a:lnTo>
                  <a:lnTo>
                    <a:pt x="1282" y="1352"/>
                  </a:lnTo>
                  <a:lnTo>
                    <a:pt x="1282" y="1350"/>
                  </a:lnTo>
                  <a:close/>
                  <a:moveTo>
                    <a:pt x="696" y="1181"/>
                  </a:moveTo>
                  <a:lnTo>
                    <a:pt x="696" y="1180"/>
                  </a:lnTo>
                  <a:lnTo>
                    <a:pt x="696" y="1181"/>
                  </a:lnTo>
                  <a:close/>
                  <a:moveTo>
                    <a:pt x="1363" y="1197"/>
                  </a:moveTo>
                  <a:lnTo>
                    <a:pt x="1363" y="1199"/>
                  </a:lnTo>
                  <a:lnTo>
                    <a:pt x="1363" y="1197"/>
                  </a:lnTo>
                  <a:close/>
                  <a:moveTo>
                    <a:pt x="1376" y="1196"/>
                  </a:moveTo>
                  <a:lnTo>
                    <a:pt x="1378" y="1196"/>
                  </a:lnTo>
                  <a:lnTo>
                    <a:pt x="1376" y="1196"/>
                  </a:lnTo>
                  <a:close/>
                  <a:moveTo>
                    <a:pt x="1038" y="1183"/>
                  </a:moveTo>
                  <a:lnTo>
                    <a:pt x="1038" y="1184"/>
                  </a:lnTo>
                  <a:lnTo>
                    <a:pt x="1038" y="1183"/>
                  </a:lnTo>
                  <a:close/>
                  <a:moveTo>
                    <a:pt x="1371" y="1191"/>
                  </a:moveTo>
                  <a:lnTo>
                    <a:pt x="1373" y="1191"/>
                  </a:lnTo>
                  <a:lnTo>
                    <a:pt x="1373" y="1193"/>
                  </a:lnTo>
                  <a:lnTo>
                    <a:pt x="1374" y="1193"/>
                  </a:lnTo>
                  <a:lnTo>
                    <a:pt x="1374" y="1194"/>
                  </a:lnTo>
                  <a:lnTo>
                    <a:pt x="1376" y="1194"/>
                  </a:lnTo>
                  <a:lnTo>
                    <a:pt x="1376" y="1196"/>
                  </a:lnTo>
                  <a:lnTo>
                    <a:pt x="1374" y="1197"/>
                  </a:lnTo>
                  <a:lnTo>
                    <a:pt x="1376" y="1197"/>
                  </a:lnTo>
                  <a:lnTo>
                    <a:pt x="1374" y="1197"/>
                  </a:lnTo>
                  <a:lnTo>
                    <a:pt x="1374" y="1199"/>
                  </a:lnTo>
                  <a:lnTo>
                    <a:pt x="1376" y="1199"/>
                  </a:lnTo>
                  <a:lnTo>
                    <a:pt x="1376" y="1201"/>
                  </a:lnTo>
                  <a:lnTo>
                    <a:pt x="1378" y="1202"/>
                  </a:lnTo>
                  <a:lnTo>
                    <a:pt x="1376" y="1202"/>
                  </a:lnTo>
                  <a:lnTo>
                    <a:pt x="1376" y="1204"/>
                  </a:lnTo>
                  <a:lnTo>
                    <a:pt x="1378" y="1204"/>
                  </a:lnTo>
                  <a:lnTo>
                    <a:pt x="1378" y="1206"/>
                  </a:lnTo>
                  <a:lnTo>
                    <a:pt x="1376" y="1206"/>
                  </a:lnTo>
                  <a:lnTo>
                    <a:pt x="1376" y="1207"/>
                  </a:lnTo>
                  <a:lnTo>
                    <a:pt x="1378" y="1207"/>
                  </a:lnTo>
                  <a:lnTo>
                    <a:pt x="1378" y="1209"/>
                  </a:lnTo>
                  <a:lnTo>
                    <a:pt x="1378" y="1210"/>
                  </a:lnTo>
                  <a:lnTo>
                    <a:pt x="1378" y="1212"/>
                  </a:lnTo>
                  <a:lnTo>
                    <a:pt x="1378" y="1214"/>
                  </a:lnTo>
                  <a:lnTo>
                    <a:pt x="1379" y="1214"/>
                  </a:lnTo>
                  <a:lnTo>
                    <a:pt x="1378" y="1215"/>
                  </a:lnTo>
                  <a:lnTo>
                    <a:pt x="1378" y="1217"/>
                  </a:lnTo>
                  <a:lnTo>
                    <a:pt x="1379" y="1219"/>
                  </a:lnTo>
                  <a:lnTo>
                    <a:pt x="1379" y="1220"/>
                  </a:lnTo>
                  <a:lnTo>
                    <a:pt x="1379" y="1222"/>
                  </a:lnTo>
                  <a:lnTo>
                    <a:pt x="1379" y="1223"/>
                  </a:lnTo>
                  <a:lnTo>
                    <a:pt x="1378" y="1223"/>
                  </a:lnTo>
                  <a:lnTo>
                    <a:pt x="1378" y="1225"/>
                  </a:lnTo>
                  <a:lnTo>
                    <a:pt x="1378" y="1227"/>
                  </a:lnTo>
                  <a:lnTo>
                    <a:pt x="1376" y="1227"/>
                  </a:lnTo>
                  <a:lnTo>
                    <a:pt x="1376" y="1228"/>
                  </a:lnTo>
                  <a:lnTo>
                    <a:pt x="1376" y="1230"/>
                  </a:lnTo>
                  <a:lnTo>
                    <a:pt x="1376" y="1232"/>
                  </a:lnTo>
                  <a:lnTo>
                    <a:pt x="1374" y="1233"/>
                  </a:lnTo>
                  <a:lnTo>
                    <a:pt x="1376" y="1233"/>
                  </a:lnTo>
                  <a:lnTo>
                    <a:pt x="1374" y="1235"/>
                  </a:lnTo>
                  <a:lnTo>
                    <a:pt x="1376" y="1235"/>
                  </a:lnTo>
                  <a:lnTo>
                    <a:pt x="1374" y="1235"/>
                  </a:lnTo>
                  <a:lnTo>
                    <a:pt x="1376" y="1235"/>
                  </a:lnTo>
                  <a:lnTo>
                    <a:pt x="1376" y="1236"/>
                  </a:lnTo>
                  <a:lnTo>
                    <a:pt x="1376" y="1235"/>
                  </a:lnTo>
                  <a:lnTo>
                    <a:pt x="1374" y="1235"/>
                  </a:lnTo>
                  <a:lnTo>
                    <a:pt x="1374" y="1236"/>
                  </a:lnTo>
                  <a:lnTo>
                    <a:pt x="1374" y="1238"/>
                  </a:lnTo>
                  <a:lnTo>
                    <a:pt x="1374" y="1240"/>
                  </a:lnTo>
                  <a:lnTo>
                    <a:pt x="1374" y="1241"/>
                  </a:lnTo>
                  <a:lnTo>
                    <a:pt x="1376" y="1245"/>
                  </a:lnTo>
                  <a:lnTo>
                    <a:pt x="1378" y="1246"/>
                  </a:lnTo>
                  <a:lnTo>
                    <a:pt x="1379" y="1249"/>
                  </a:lnTo>
                  <a:lnTo>
                    <a:pt x="1381" y="1251"/>
                  </a:lnTo>
                  <a:lnTo>
                    <a:pt x="1382" y="1254"/>
                  </a:lnTo>
                  <a:lnTo>
                    <a:pt x="1382" y="1256"/>
                  </a:lnTo>
                  <a:lnTo>
                    <a:pt x="1382" y="1258"/>
                  </a:lnTo>
                  <a:lnTo>
                    <a:pt x="1382" y="1259"/>
                  </a:lnTo>
                  <a:lnTo>
                    <a:pt x="1382" y="1261"/>
                  </a:lnTo>
                  <a:lnTo>
                    <a:pt x="1384" y="1261"/>
                  </a:lnTo>
                  <a:lnTo>
                    <a:pt x="1382" y="1264"/>
                  </a:lnTo>
                  <a:lnTo>
                    <a:pt x="1382" y="1266"/>
                  </a:lnTo>
                  <a:lnTo>
                    <a:pt x="1382" y="1269"/>
                  </a:lnTo>
                  <a:lnTo>
                    <a:pt x="1384" y="1271"/>
                  </a:lnTo>
                  <a:lnTo>
                    <a:pt x="1384" y="1274"/>
                  </a:lnTo>
                  <a:lnTo>
                    <a:pt x="1384" y="1275"/>
                  </a:lnTo>
                  <a:lnTo>
                    <a:pt x="1384" y="1277"/>
                  </a:lnTo>
                  <a:lnTo>
                    <a:pt x="1382" y="1280"/>
                  </a:lnTo>
                  <a:lnTo>
                    <a:pt x="1382" y="1284"/>
                  </a:lnTo>
                  <a:lnTo>
                    <a:pt x="1384" y="1285"/>
                  </a:lnTo>
                  <a:lnTo>
                    <a:pt x="1384" y="1287"/>
                  </a:lnTo>
                  <a:lnTo>
                    <a:pt x="1384" y="1288"/>
                  </a:lnTo>
                  <a:lnTo>
                    <a:pt x="1384" y="1292"/>
                  </a:lnTo>
                  <a:lnTo>
                    <a:pt x="1386" y="1293"/>
                  </a:lnTo>
                  <a:lnTo>
                    <a:pt x="1386" y="1295"/>
                  </a:lnTo>
                  <a:lnTo>
                    <a:pt x="1386" y="1297"/>
                  </a:lnTo>
                  <a:lnTo>
                    <a:pt x="1386" y="1298"/>
                  </a:lnTo>
                  <a:lnTo>
                    <a:pt x="1386" y="1303"/>
                  </a:lnTo>
                  <a:lnTo>
                    <a:pt x="1386" y="1305"/>
                  </a:lnTo>
                  <a:lnTo>
                    <a:pt x="1386" y="1308"/>
                  </a:lnTo>
                  <a:lnTo>
                    <a:pt x="1386" y="1310"/>
                  </a:lnTo>
                  <a:lnTo>
                    <a:pt x="1386" y="1311"/>
                  </a:lnTo>
                  <a:lnTo>
                    <a:pt x="1386" y="1315"/>
                  </a:lnTo>
                  <a:lnTo>
                    <a:pt x="1386" y="1316"/>
                  </a:lnTo>
                  <a:lnTo>
                    <a:pt x="1386" y="1318"/>
                  </a:lnTo>
                  <a:lnTo>
                    <a:pt x="1384" y="1319"/>
                  </a:lnTo>
                  <a:lnTo>
                    <a:pt x="1384" y="1321"/>
                  </a:lnTo>
                  <a:lnTo>
                    <a:pt x="1382" y="1324"/>
                  </a:lnTo>
                  <a:lnTo>
                    <a:pt x="1376" y="1334"/>
                  </a:lnTo>
                  <a:lnTo>
                    <a:pt x="1374" y="1336"/>
                  </a:lnTo>
                  <a:lnTo>
                    <a:pt x="1374" y="1337"/>
                  </a:lnTo>
                  <a:lnTo>
                    <a:pt x="1373" y="1337"/>
                  </a:lnTo>
                  <a:lnTo>
                    <a:pt x="1373" y="1339"/>
                  </a:lnTo>
                  <a:lnTo>
                    <a:pt x="1371" y="1339"/>
                  </a:lnTo>
                  <a:lnTo>
                    <a:pt x="1371" y="1341"/>
                  </a:lnTo>
                  <a:lnTo>
                    <a:pt x="1369" y="1342"/>
                  </a:lnTo>
                  <a:lnTo>
                    <a:pt x="1369" y="1344"/>
                  </a:lnTo>
                  <a:lnTo>
                    <a:pt x="1369" y="1342"/>
                  </a:lnTo>
                  <a:lnTo>
                    <a:pt x="1368" y="1342"/>
                  </a:lnTo>
                  <a:lnTo>
                    <a:pt x="1369" y="1342"/>
                  </a:lnTo>
                  <a:lnTo>
                    <a:pt x="1369" y="1344"/>
                  </a:lnTo>
                  <a:lnTo>
                    <a:pt x="1368" y="1344"/>
                  </a:lnTo>
                  <a:lnTo>
                    <a:pt x="1369" y="1344"/>
                  </a:lnTo>
                  <a:lnTo>
                    <a:pt x="1369" y="1345"/>
                  </a:lnTo>
                  <a:lnTo>
                    <a:pt x="1369" y="1347"/>
                  </a:lnTo>
                  <a:lnTo>
                    <a:pt x="1369" y="1349"/>
                  </a:lnTo>
                  <a:lnTo>
                    <a:pt x="1369" y="1350"/>
                  </a:lnTo>
                  <a:lnTo>
                    <a:pt x="1368" y="1350"/>
                  </a:lnTo>
                  <a:lnTo>
                    <a:pt x="1368" y="1352"/>
                  </a:lnTo>
                  <a:lnTo>
                    <a:pt x="1368" y="1354"/>
                  </a:lnTo>
                  <a:lnTo>
                    <a:pt x="1368" y="1355"/>
                  </a:lnTo>
                  <a:lnTo>
                    <a:pt x="1369" y="1355"/>
                  </a:lnTo>
                  <a:lnTo>
                    <a:pt x="1369" y="1357"/>
                  </a:lnTo>
                  <a:lnTo>
                    <a:pt x="1368" y="1357"/>
                  </a:lnTo>
                  <a:lnTo>
                    <a:pt x="1369" y="1358"/>
                  </a:lnTo>
                  <a:lnTo>
                    <a:pt x="1368" y="1358"/>
                  </a:lnTo>
                  <a:lnTo>
                    <a:pt x="1369" y="1358"/>
                  </a:lnTo>
                  <a:lnTo>
                    <a:pt x="1369" y="1360"/>
                  </a:lnTo>
                  <a:lnTo>
                    <a:pt x="1369" y="1362"/>
                  </a:lnTo>
                  <a:lnTo>
                    <a:pt x="1368" y="1363"/>
                  </a:lnTo>
                  <a:lnTo>
                    <a:pt x="1368" y="1365"/>
                  </a:lnTo>
                  <a:lnTo>
                    <a:pt x="1368" y="1367"/>
                  </a:lnTo>
                  <a:lnTo>
                    <a:pt x="1368" y="1368"/>
                  </a:lnTo>
                  <a:lnTo>
                    <a:pt x="1369" y="1368"/>
                  </a:lnTo>
                  <a:lnTo>
                    <a:pt x="1369" y="1370"/>
                  </a:lnTo>
                  <a:lnTo>
                    <a:pt x="1369" y="1371"/>
                  </a:lnTo>
                  <a:lnTo>
                    <a:pt x="1368" y="1371"/>
                  </a:lnTo>
                  <a:lnTo>
                    <a:pt x="1369" y="1371"/>
                  </a:lnTo>
                  <a:lnTo>
                    <a:pt x="1369" y="1373"/>
                  </a:lnTo>
                  <a:lnTo>
                    <a:pt x="1368" y="1375"/>
                  </a:lnTo>
                  <a:lnTo>
                    <a:pt x="1369" y="1375"/>
                  </a:lnTo>
                  <a:lnTo>
                    <a:pt x="1369" y="1376"/>
                  </a:lnTo>
                  <a:lnTo>
                    <a:pt x="1368" y="1376"/>
                  </a:lnTo>
                  <a:lnTo>
                    <a:pt x="1369" y="1376"/>
                  </a:lnTo>
                  <a:lnTo>
                    <a:pt x="1368" y="1376"/>
                  </a:lnTo>
                  <a:lnTo>
                    <a:pt x="1369" y="1378"/>
                  </a:lnTo>
                  <a:lnTo>
                    <a:pt x="1368" y="1378"/>
                  </a:lnTo>
                  <a:lnTo>
                    <a:pt x="1368" y="1380"/>
                  </a:lnTo>
                  <a:lnTo>
                    <a:pt x="1366" y="1380"/>
                  </a:lnTo>
                  <a:lnTo>
                    <a:pt x="1365" y="1381"/>
                  </a:lnTo>
                  <a:lnTo>
                    <a:pt x="1365" y="1383"/>
                  </a:lnTo>
                  <a:lnTo>
                    <a:pt x="1366" y="1383"/>
                  </a:lnTo>
                  <a:lnTo>
                    <a:pt x="1368" y="1383"/>
                  </a:lnTo>
                  <a:lnTo>
                    <a:pt x="1366" y="1383"/>
                  </a:lnTo>
                  <a:lnTo>
                    <a:pt x="1366" y="1384"/>
                  </a:lnTo>
                  <a:lnTo>
                    <a:pt x="1366" y="1386"/>
                  </a:lnTo>
                  <a:lnTo>
                    <a:pt x="1365" y="1386"/>
                  </a:lnTo>
                  <a:lnTo>
                    <a:pt x="1365" y="1388"/>
                  </a:lnTo>
                  <a:lnTo>
                    <a:pt x="1363" y="1388"/>
                  </a:lnTo>
                  <a:lnTo>
                    <a:pt x="1363" y="1386"/>
                  </a:lnTo>
                  <a:lnTo>
                    <a:pt x="1365" y="1388"/>
                  </a:lnTo>
                  <a:lnTo>
                    <a:pt x="1365" y="1386"/>
                  </a:lnTo>
                  <a:lnTo>
                    <a:pt x="1363" y="1386"/>
                  </a:lnTo>
                  <a:lnTo>
                    <a:pt x="1363" y="1388"/>
                  </a:lnTo>
                  <a:lnTo>
                    <a:pt x="1363" y="1389"/>
                  </a:lnTo>
                  <a:lnTo>
                    <a:pt x="1363" y="1391"/>
                  </a:lnTo>
                  <a:lnTo>
                    <a:pt x="1361" y="1391"/>
                  </a:lnTo>
                  <a:lnTo>
                    <a:pt x="1361" y="1389"/>
                  </a:lnTo>
                  <a:lnTo>
                    <a:pt x="1360" y="1391"/>
                  </a:lnTo>
                  <a:lnTo>
                    <a:pt x="1360" y="1389"/>
                  </a:lnTo>
                  <a:lnTo>
                    <a:pt x="1358" y="1389"/>
                  </a:lnTo>
                  <a:lnTo>
                    <a:pt x="1358" y="1391"/>
                  </a:lnTo>
                  <a:lnTo>
                    <a:pt x="1356" y="1391"/>
                  </a:lnTo>
                  <a:lnTo>
                    <a:pt x="1356" y="1393"/>
                  </a:lnTo>
                  <a:lnTo>
                    <a:pt x="1355" y="1393"/>
                  </a:lnTo>
                  <a:lnTo>
                    <a:pt x="1355" y="1394"/>
                  </a:lnTo>
                  <a:lnTo>
                    <a:pt x="1356" y="1394"/>
                  </a:lnTo>
                  <a:lnTo>
                    <a:pt x="1356" y="1396"/>
                  </a:lnTo>
                  <a:lnTo>
                    <a:pt x="1356" y="1394"/>
                  </a:lnTo>
                  <a:lnTo>
                    <a:pt x="1356" y="1396"/>
                  </a:lnTo>
                  <a:lnTo>
                    <a:pt x="1358" y="1394"/>
                  </a:lnTo>
                  <a:lnTo>
                    <a:pt x="1358" y="1393"/>
                  </a:lnTo>
                  <a:lnTo>
                    <a:pt x="1360" y="1393"/>
                  </a:lnTo>
                  <a:lnTo>
                    <a:pt x="1361" y="1393"/>
                  </a:lnTo>
                  <a:lnTo>
                    <a:pt x="1361" y="1394"/>
                  </a:lnTo>
                  <a:lnTo>
                    <a:pt x="1363" y="1393"/>
                  </a:lnTo>
                  <a:lnTo>
                    <a:pt x="1363" y="1394"/>
                  </a:lnTo>
                  <a:lnTo>
                    <a:pt x="1363" y="1393"/>
                  </a:lnTo>
                  <a:lnTo>
                    <a:pt x="1365" y="1393"/>
                  </a:lnTo>
                  <a:lnTo>
                    <a:pt x="1365" y="1394"/>
                  </a:lnTo>
                  <a:lnTo>
                    <a:pt x="1363" y="1394"/>
                  </a:lnTo>
                  <a:lnTo>
                    <a:pt x="1363" y="1396"/>
                  </a:lnTo>
                  <a:lnTo>
                    <a:pt x="1363" y="1397"/>
                  </a:lnTo>
                  <a:lnTo>
                    <a:pt x="1361" y="1399"/>
                  </a:lnTo>
                  <a:lnTo>
                    <a:pt x="1360" y="1399"/>
                  </a:lnTo>
                  <a:lnTo>
                    <a:pt x="1358" y="1399"/>
                  </a:lnTo>
                  <a:lnTo>
                    <a:pt x="1358" y="1401"/>
                  </a:lnTo>
                  <a:lnTo>
                    <a:pt x="1356" y="1401"/>
                  </a:lnTo>
                  <a:lnTo>
                    <a:pt x="1356" y="1402"/>
                  </a:lnTo>
                  <a:lnTo>
                    <a:pt x="1355" y="1402"/>
                  </a:lnTo>
                  <a:lnTo>
                    <a:pt x="1355" y="1404"/>
                  </a:lnTo>
                  <a:lnTo>
                    <a:pt x="1355" y="1406"/>
                  </a:lnTo>
                  <a:lnTo>
                    <a:pt x="1353" y="1407"/>
                  </a:lnTo>
                  <a:lnTo>
                    <a:pt x="1355" y="1407"/>
                  </a:lnTo>
                  <a:lnTo>
                    <a:pt x="1356" y="1407"/>
                  </a:lnTo>
                  <a:lnTo>
                    <a:pt x="1356" y="1409"/>
                  </a:lnTo>
                  <a:lnTo>
                    <a:pt x="1355" y="1409"/>
                  </a:lnTo>
                  <a:lnTo>
                    <a:pt x="1356" y="1409"/>
                  </a:lnTo>
                  <a:lnTo>
                    <a:pt x="1355" y="1409"/>
                  </a:lnTo>
                  <a:lnTo>
                    <a:pt x="1355" y="1410"/>
                  </a:lnTo>
                  <a:lnTo>
                    <a:pt x="1353" y="1410"/>
                  </a:lnTo>
                  <a:lnTo>
                    <a:pt x="1355" y="1410"/>
                  </a:lnTo>
                  <a:lnTo>
                    <a:pt x="1353" y="1410"/>
                  </a:lnTo>
                  <a:lnTo>
                    <a:pt x="1353" y="1412"/>
                  </a:lnTo>
                  <a:lnTo>
                    <a:pt x="1355" y="1412"/>
                  </a:lnTo>
                  <a:lnTo>
                    <a:pt x="1353" y="1412"/>
                  </a:lnTo>
                  <a:lnTo>
                    <a:pt x="1353" y="1414"/>
                  </a:lnTo>
                  <a:lnTo>
                    <a:pt x="1352" y="1414"/>
                  </a:lnTo>
                  <a:lnTo>
                    <a:pt x="1348" y="1415"/>
                  </a:lnTo>
                  <a:lnTo>
                    <a:pt x="1348" y="1417"/>
                  </a:lnTo>
                  <a:lnTo>
                    <a:pt x="1350" y="1417"/>
                  </a:lnTo>
                  <a:lnTo>
                    <a:pt x="1348" y="1419"/>
                  </a:lnTo>
                  <a:lnTo>
                    <a:pt x="1348" y="1420"/>
                  </a:lnTo>
                  <a:lnTo>
                    <a:pt x="1350" y="1420"/>
                  </a:lnTo>
                  <a:lnTo>
                    <a:pt x="1352" y="1419"/>
                  </a:lnTo>
                  <a:lnTo>
                    <a:pt x="1352" y="1417"/>
                  </a:lnTo>
                  <a:lnTo>
                    <a:pt x="1353" y="1417"/>
                  </a:lnTo>
                  <a:lnTo>
                    <a:pt x="1353" y="1419"/>
                  </a:lnTo>
                  <a:lnTo>
                    <a:pt x="1352" y="1420"/>
                  </a:lnTo>
                  <a:lnTo>
                    <a:pt x="1352" y="1422"/>
                  </a:lnTo>
                  <a:lnTo>
                    <a:pt x="1350" y="1422"/>
                  </a:lnTo>
                  <a:lnTo>
                    <a:pt x="1350" y="1423"/>
                  </a:lnTo>
                  <a:lnTo>
                    <a:pt x="1348" y="1425"/>
                  </a:lnTo>
                  <a:lnTo>
                    <a:pt x="1348" y="1427"/>
                  </a:lnTo>
                  <a:lnTo>
                    <a:pt x="1348" y="1425"/>
                  </a:lnTo>
                  <a:lnTo>
                    <a:pt x="1347" y="1427"/>
                  </a:lnTo>
                  <a:lnTo>
                    <a:pt x="1347" y="1425"/>
                  </a:lnTo>
                  <a:lnTo>
                    <a:pt x="1345" y="1427"/>
                  </a:lnTo>
                  <a:lnTo>
                    <a:pt x="1345" y="1425"/>
                  </a:lnTo>
                  <a:lnTo>
                    <a:pt x="1345" y="1427"/>
                  </a:lnTo>
                  <a:lnTo>
                    <a:pt x="1343" y="1425"/>
                  </a:lnTo>
                  <a:lnTo>
                    <a:pt x="1343" y="1427"/>
                  </a:lnTo>
                  <a:lnTo>
                    <a:pt x="1343" y="1425"/>
                  </a:lnTo>
                  <a:lnTo>
                    <a:pt x="1343" y="1423"/>
                  </a:lnTo>
                  <a:lnTo>
                    <a:pt x="1342" y="1423"/>
                  </a:lnTo>
                  <a:lnTo>
                    <a:pt x="1340" y="1423"/>
                  </a:lnTo>
                  <a:lnTo>
                    <a:pt x="1342" y="1422"/>
                  </a:lnTo>
                  <a:lnTo>
                    <a:pt x="1342" y="1423"/>
                  </a:lnTo>
                  <a:lnTo>
                    <a:pt x="1342" y="1422"/>
                  </a:lnTo>
                  <a:lnTo>
                    <a:pt x="1340" y="1422"/>
                  </a:lnTo>
                  <a:lnTo>
                    <a:pt x="1340" y="1423"/>
                  </a:lnTo>
                  <a:lnTo>
                    <a:pt x="1338" y="1422"/>
                  </a:lnTo>
                  <a:lnTo>
                    <a:pt x="1337" y="1422"/>
                  </a:lnTo>
                  <a:lnTo>
                    <a:pt x="1335" y="1422"/>
                  </a:lnTo>
                  <a:lnTo>
                    <a:pt x="1334" y="1422"/>
                  </a:lnTo>
                  <a:lnTo>
                    <a:pt x="1334" y="1420"/>
                  </a:lnTo>
                  <a:lnTo>
                    <a:pt x="1335" y="1420"/>
                  </a:lnTo>
                  <a:lnTo>
                    <a:pt x="1335" y="1419"/>
                  </a:lnTo>
                  <a:lnTo>
                    <a:pt x="1337" y="1419"/>
                  </a:lnTo>
                  <a:lnTo>
                    <a:pt x="1335" y="1419"/>
                  </a:lnTo>
                  <a:lnTo>
                    <a:pt x="1335" y="1417"/>
                  </a:lnTo>
                  <a:lnTo>
                    <a:pt x="1337" y="1417"/>
                  </a:lnTo>
                  <a:lnTo>
                    <a:pt x="1337" y="1415"/>
                  </a:lnTo>
                  <a:lnTo>
                    <a:pt x="1338" y="1415"/>
                  </a:lnTo>
                  <a:lnTo>
                    <a:pt x="1337" y="1415"/>
                  </a:lnTo>
                  <a:lnTo>
                    <a:pt x="1335" y="1415"/>
                  </a:lnTo>
                  <a:lnTo>
                    <a:pt x="1335" y="1414"/>
                  </a:lnTo>
                  <a:lnTo>
                    <a:pt x="1334" y="1414"/>
                  </a:lnTo>
                  <a:lnTo>
                    <a:pt x="1334" y="1415"/>
                  </a:lnTo>
                  <a:lnTo>
                    <a:pt x="1332" y="1415"/>
                  </a:lnTo>
                  <a:lnTo>
                    <a:pt x="1332" y="1414"/>
                  </a:lnTo>
                  <a:lnTo>
                    <a:pt x="1332" y="1412"/>
                  </a:lnTo>
                  <a:lnTo>
                    <a:pt x="1332" y="1410"/>
                  </a:lnTo>
                  <a:lnTo>
                    <a:pt x="1334" y="1410"/>
                  </a:lnTo>
                  <a:lnTo>
                    <a:pt x="1332" y="1410"/>
                  </a:lnTo>
                  <a:lnTo>
                    <a:pt x="1330" y="1412"/>
                  </a:lnTo>
                  <a:lnTo>
                    <a:pt x="1329" y="1412"/>
                  </a:lnTo>
                  <a:lnTo>
                    <a:pt x="1329" y="1410"/>
                  </a:lnTo>
                  <a:lnTo>
                    <a:pt x="1327" y="1410"/>
                  </a:lnTo>
                  <a:lnTo>
                    <a:pt x="1327" y="1412"/>
                  </a:lnTo>
                  <a:lnTo>
                    <a:pt x="1327" y="1410"/>
                  </a:lnTo>
                  <a:lnTo>
                    <a:pt x="1325" y="1410"/>
                  </a:lnTo>
                  <a:lnTo>
                    <a:pt x="1327" y="1409"/>
                  </a:lnTo>
                  <a:lnTo>
                    <a:pt x="1325" y="1410"/>
                  </a:lnTo>
                  <a:lnTo>
                    <a:pt x="1324" y="1410"/>
                  </a:lnTo>
                  <a:lnTo>
                    <a:pt x="1324" y="1409"/>
                  </a:lnTo>
                  <a:lnTo>
                    <a:pt x="1322" y="1410"/>
                  </a:lnTo>
                  <a:lnTo>
                    <a:pt x="1322" y="1409"/>
                  </a:lnTo>
                  <a:lnTo>
                    <a:pt x="1321" y="1409"/>
                  </a:lnTo>
                  <a:lnTo>
                    <a:pt x="1321" y="1407"/>
                  </a:lnTo>
                  <a:lnTo>
                    <a:pt x="1319" y="1407"/>
                  </a:lnTo>
                  <a:lnTo>
                    <a:pt x="1319" y="1409"/>
                  </a:lnTo>
                  <a:lnTo>
                    <a:pt x="1317" y="1409"/>
                  </a:lnTo>
                  <a:lnTo>
                    <a:pt x="1317" y="1407"/>
                  </a:lnTo>
                  <a:lnTo>
                    <a:pt x="1317" y="1409"/>
                  </a:lnTo>
                  <a:lnTo>
                    <a:pt x="1316" y="1409"/>
                  </a:lnTo>
                  <a:lnTo>
                    <a:pt x="1316" y="1407"/>
                  </a:lnTo>
                  <a:lnTo>
                    <a:pt x="1316" y="1406"/>
                  </a:lnTo>
                  <a:lnTo>
                    <a:pt x="1314" y="1406"/>
                  </a:lnTo>
                  <a:lnTo>
                    <a:pt x="1312" y="1406"/>
                  </a:lnTo>
                  <a:lnTo>
                    <a:pt x="1312" y="1404"/>
                  </a:lnTo>
                  <a:lnTo>
                    <a:pt x="1311" y="1402"/>
                  </a:lnTo>
                  <a:lnTo>
                    <a:pt x="1311" y="1404"/>
                  </a:lnTo>
                  <a:lnTo>
                    <a:pt x="1309" y="1404"/>
                  </a:lnTo>
                  <a:lnTo>
                    <a:pt x="1308" y="1404"/>
                  </a:lnTo>
                  <a:lnTo>
                    <a:pt x="1308" y="1402"/>
                  </a:lnTo>
                  <a:lnTo>
                    <a:pt x="1309" y="1401"/>
                  </a:lnTo>
                  <a:lnTo>
                    <a:pt x="1309" y="1399"/>
                  </a:lnTo>
                  <a:lnTo>
                    <a:pt x="1308" y="1401"/>
                  </a:lnTo>
                  <a:lnTo>
                    <a:pt x="1308" y="1399"/>
                  </a:lnTo>
                  <a:lnTo>
                    <a:pt x="1308" y="1401"/>
                  </a:lnTo>
                  <a:lnTo>
                    <a:pt x="1306" y="1399"/>
                  </a:lnTo>
                  <a:lnTo>
                    <a:pt x="1306" y="1401"/>
                  </a:lnTo>
                  <a:lnTo>
                    <a:pt x="1306" y="1399"/>
                  </a:lnTo>
                  <a:lnTo>
                    <a:pt x="1306" y="1401"/>
                  </a:lnTo>
                  <a:lnTo>
                    <a:pt x="1304" y="1399"/>
                  </a:lnTo>
                  <a:lnTo>
                    <a:pt x="1304" y="1397"/>
                  </a:lnTo>
                  <a:lnTo>
                    <a:pt x="1304" y="1399"/>
                  </a:lnTo>
                  <a:lnTo>
                    <a:pt x="1303" y="1399"/>
                  </a:lnTo>
                  <a:lnTo>
                    <a:pt x="1303" y="1397"/>
                  </a:lnTo>
                  <a:lnTo>
                    <a:pt x="1303" y="1399"/>
                  </a:lnTo>
                  <a:lnTo>
                    <a:pt x="1303" y="1397"/>
                  </a:lnTo>
                  <a:lnTo>
                    <a:pt x="1301" y="1397"/>
                  </a:lnTo>
                  <a:lnTo>
                    <a:pt x="1303" y="1397"/>
                  </a:lnTo>
                  <a:lnTo>
                    <a:pt x="1303" y="1396"/>
                  </a:lnTo>
                  <a:lnTo>
                    <a:pt x="1304" y="1396"/>
                  </a:lnTo>
                  <a:lnTo>
                    <a:pt x="1303" y="1396"/>
                  </a:lnTo>
                  <a:lnTo>
                    <a:pt x="1303" y="1394"/>
                  </a:lnTo>
                  <a:lnTo>
                    <a:pt x="1301" y="1394"/>
                  </a:lnTo>
                  <a:lnTo>
                    <a:pt x="1301" y="1393"/>
                  </a:lnTo>
                  <a:lnTo>
                    <a:pt x="1301" y="1391"/>
                  </a:lnTo>
                  <a:lnTo>
                    <a:pt x="1303" y="1391"/>
                  </a:lnTo>
                  <a:lnTo>
                    <a:pt x="1303" y="1389"/>
                  </a:lnTo>
                  <a:lnTo>
                    <a:pt x="1301" y="1389"/>
                  </a:lnTo>
                  <a:lnTo>
                    <a:pt x="1303" y="1389"/>
                  </a:lnTo>
                  <a:lnTo>
                    <a:pt x="1303" y="1388"/>
                  </a:lnTo>
                  <a:lnTo>
                    <a:pt x="1304" y="1388"/>
                  </a:lnTo>
                  <a:lnTo>
                    <a:pt x="1304" y="1386"/>
                  </a:lnTo>
                  <a:lnTo>
                    <a:pt x="1304" y="1388"/>
                  </a:lnTo>
                  <a:lnTo>
                    <a:pt x="1306" y="1388"/>
                  </a:lnTo>
                  <a:lnTo>
                    <a:pt x="1306" y="1386"/>
                  </a:lnTo>
                  <a:lnTo>
                    <a:pt x="1308" y="1386"/>
                  </a:lnTo>
                  <a:lnTo>
                    <a:pt x="1309" y="1384"/>
                  </a:lnTo>
                  <a:lnTo>
                    <a:pt x="1309" y="1386"/>
                  </a:lnTo>
                  <a:lnTo>
                    <a:pt x="1311" y="1384"/>
                  </a:lnTo>
                  <a:lnTo>
                    <a:pt x="1311" y="1386"/>
                  </a:lnTo>
                  <a:lnTo>
                    <a:pt x="1312" y="1384"/>
                  </a:lnTo>
                  <a:lnTo>
                    <a:pt x="1312" y="1383"/>
                  </a:lnTo>
                  <a:lnTo>
                    <a:pt x="1312" y="1381"/>
                  </a:lnTo>
                  <a:lnTo>
                    <a:pt x="1314" y="1381"/>
                  </a:lnTo>
                  <a:lnTo>
                    <a:pt x="1316" y="1381"/>
                  </a:lnTo>
                  <a:lnTo>
                    <a:pt x="1316" y="1380"/>
                  </a:lnTo>
                  <a:lnTo>
                    <a:pt x="1312" y="1380"/>
                  </a:lnTo>
                  <a:lnTo>
                    <a:pt x="1312" y="1378"/>
                  </a:lnTo>
                  <a:lnTo>
                    <a:pt x="1311" y="1380"/>
                  </a:lnTo>
                  <a:lnTo>
                    <a:pt x="1311" y="1378"/>
                  </a:lnTo>
                  <a:lnTo>
                    <a:pt x="1309" y="1378"/>
                  </a:lnTo>
                  <a:lnTo>
                    <a:pt x="1308" y="1378"/>
                  </a:lnTo>
                  <a:lnTo>
                    <a:pt x="1306" y="1376"/>
                  </a:lnTo>
                  <a:lnTo>
                    <a:pt x="1304" y="1376"/>
                  </a:lnTo>
                  <a:lnTo>
                    <a:pt x="1303" y="1376"/>
                  </a:lnTo>
                  <a:lnTo>
                    <a:pt x="1303" y="1378"/>
                  </a:lnTo>
                  <a:lnTo>
                    <a:pt x="1301" y="1378"/>
                  </a:lnTo>
                  <a:lnTo>
                    <a:pt x="1303" y="1376"/>
                  </a:lnTo>
                  <a:lnTo>
                    <a:pt x="1301" y="1376"/>
                  </a:lnTo>
                  <a:lnTo>
                    <a:pt x="1301" y="1375"/>
                  </a:lnTo>
                  <a:lnTo>
                    <a:pt x="1301" y="1373"/>
                  </a:lnTo>
                  <a:lnTo>
                    <a:pt x="1301" y="1371"/>
                  </a:lnTo>
                  <a:lnTo>
                    <a:pt x="1299" y="1371"/>
                  </a:lnTo>
                  <a:lnTo>
                    <a:pt x="1298" y="1373"/>
                  </a:lnTo>
                  <a:lnTo>
                    <a:pt x="1296" y="1373"/>
                  </a:lnTo>
                  <a:lnTo>
                    <a:pt x="1295" y="1375"/>
                  </a:lnTo>
                  <a:lnTo>
                    <a:pt x="1293" y="1375"/>
                  </a:lnTo>
                  <a:lnTo>
                    <a:pt x="1293" y="1373"/>
                  </a:lnTo>
                  <a:lnTo>
                    <a:pt x="1293" y="1371"/>
                  </a:lnTo>
                  <a:lnTo>
                    <a:pt x="1291" y="1371"/>
                  </a:lnTo>
                  <a:lnTo>
                    <a:pt x="1290" y="1371"/>
                  </a:lnTo>
                  <a:lnTo>
                    <a:pt x="1288" y="1371"/>
                  </a:lnTo>
                  <a:lnTo>
                    <a:pt x="1288" y="1370"/>
                  </a:lnTo>
                  <a:lnTo>
                    <a:pt x="1290" y="1370"/>
                  </a:lnTo>
                  <a:lnTo>
                    <a:pt x="1291" y="1371"/>
                  </a:lnTo>
                  <a:lnTo>
                    <a:pt x="1291" y="1370"/>
                  </a:lnTo>
                  <a:lnTo>
                    <a:pt x="1293" y="1370"/>
                  </a:lnTo>
                  <a:lnTo>
                    <a:pt x="1295" y="1370"/>
                  </a:lnTo>
                  <a:lnTo>
                    <a:pt x="1295" y="1368"/>
                  </a:lnTo>
                  <a:lnTo>
                    <a:pt x="1296" y="1367"/>
                  </a:lnTo>
                  <a:lnTo>
                    <a:pt x="1296" y="1365"/>
                  </a:lnTo>
                  <a:lnTo>
                    <a:pt x="1295" y="1365"/>
                  </a:lnTo>
                  <a:lnTo>
                    <a:pt x="1295" y="1363"/>
                  </a:lnTo>
                  <a:lnTo>
                    <a:pt x="1296" y="1363"/>
                  </a:lnTo>
                  <a:lnTo>
                    <a:pt x="1298" y="1363"/>
                  </a:lnTo>
                  <a:lnTo>
                    <a:pt x="1298" y="1362"/>
                  </a:lnTo>
                  <a:lnTo>
                    <a:pt x="1299" y="1362"/>
                  </a:lnTo>
                  <a:lnTo>
                    <a:pt x="1301" y="1362"/>
                  </a:lnTo>
                  <a:lnTo>
                    <a:pt x="1301" y="1360"/>
                  </a:lnTo>
                  <a:lnTo>
                    <a:pt x="1301" y="1358"/>
                  </a:lnTo>
                  <a:lnTo>
                    <a:pt x="1303" y="1358"/>
                  </a:lnTo>
                  <a:lnTo>
                    <a:pt x="1301" y="1358"/>
                  </a:lnTo>
                  <a:lnTo>
                    <a:pt x="1299" y="1358"/>
                  </a:lnTo>
                  <a:lnTo>
                    <a:pt x="1301" y="1358"/>
                  </a:lnTo>
                  <a:lnTo>
                    <a:pt x="1299" y="1357"/>
                  </a:lnTo>
                  <a:lnTo>
                    <a:pt x="1299" y="1358"/>
                  </a:lnTo>
                  <a:lnTo>
                    <a:pt x="1298" y="1357"/>
                  </a:lnTo>
                  <a:lnTo>
                    <a:pt x="1299" y="1357"/>
                  </a:lnTo>
                  <a:lnTo>
                    <a:pt x="1301" y="1357"/>
                  </a:lnTo>
                  <a:lnTo>
                    <a:pt x="1303" y="1357"/>
                  </a:lnTo>
                  <a:lnTo>
                    <a:pt x="1303" y="1355"/>
                  </a:lnTo>
                  <a:lnTo>
                    <a:pt x="1303" y="1354"/>
                  </a:lnTo>
                  <a:lnTo>
                    <a:pt x="1301" y="1354"/>
                  </a:lnTo>
                  <a:lnTo>
                    <a:pt x="1303" y="1352"/>
                  </a:lnTo>
                  <a:lnTo>
                    <a:pt x="1301" y="1352"/>
                  </a:lnTo>
                  <a:lnTo>
                    <a:pt x="1303" y="1352"/>
                  </a:lnTo>
                  <a:lnTo>
                    <a:pt x="1304" y="1350"/>
                  </a:lnTo>
                  <a:lnTo>
                    <a:pt x="1304" y="1349"/>
                  </a:lnTo>
                  <a:lnTo>
                    <a:pt x="1303" y="1347"/>
                  </a:lnTo>
                  <a:lnTo>
                    <a:pt x="1303" y="1345"/>
                  </a:lnTo>
                  <a:lnTo>
                    <a:pt x="1301" y="1345"/>
                  </a:lnTo>
                  <a:lnTo>
                    <a:pt x="1299" y="1345"/>
                  </a:lnTo>
                  <a:lnTo>
                    <a:pt x="1299" y="1344"/>
                  </a:lnTo>
                  <a:lnTo>
                    <a:pt x="1298" y="1344"/>
                  </a:lnTo>
                  <a:lnTo>
                    <a:pt x="1298" y="1345"/>
                  </a:lnTo>
                  <a:lnTo>
                    <a:pt x="1298" y="1347"/>
                  </a:lnTo>
                  <a:lnTo>
                    <a:pt x="1296" y="1347"/>
                  </a:lnTo>
                  <a:lnTo>
                    <a:pt x="1296" y="1349"/>
                  </a:lnTo>
                  <a:lnTo>
                    <a:pt x="1295" y="1349"/>
                  </a:lnTo>
                  <a:lnTo>
                    <a:pt x="1293" y="1349"/>
                  </a:lnTo>
                  <a:lnTo>
                    <a:pt x="1293" y="1347"/>
                  </a:lnTo>
                  <a:lnTo>
                    <a:pt x="1291" y="1347"/>
                  </a:lnTo>
                  <a:lnTo>
                    <a:pt x="1291" y="1349"/>
                  </a:lnTo>
                  <a:lnTo>
                    <a:pt x="1290" y="1349"/>
                  </a:lnTo>
                  <a:lnTo>
                    <a:pt x="1286" y="1347"/>
                  </a:lnTo>
                  <a:lnTo>
                    <a:pt x="1286" y="1349"/>
                  </a:lnTo>
                  <a:lnTo>
                    <a:pt x="1285" y="1349"/>
                  </a:lnTo>
                  <a:lnTo>
                    <a:pt x="1283" y="1350"/>
                  </a:lnTo>
                  <a:lnTo>
                    <a:pt x="1283" y="1349"/>
                  </a:lnTo>
                  <a:lnTo>
                    <a:pt x="1283" y="1347"/>
                  </a:lnTo>
                  <a:lnTo>
                    <a:pt x="1285" y="1347"/>
                  </a:lnTo>
                  <a:lnTo>
                    <a:pt x="1285" y="1345"/>
                  </a:lnTo>
                  <a:lnTo>
                    <a:pt x="1285" y="1344"/>
                  </a:lnTo>
                  <a:lnTo>
                    <a:pt x="1283" y="1344"/>
                  </a:lnTo>
                  <a:lnTo>
                    <a:pt x="1283" y="1342"/>
                  </a:lnTo>
                  <a:lnTo>
                    <a:pt x="1282" y="1342"/>
                  </a:lnTo>
                  <a:lnTo>
                    <a:pt x="1283" y="1341"/>
                  </a:lnTo>
                  <a:lnTo>
                    <a:pt x="1282" y="1341"/>
                  </a:lnTo>
                  <a:lnTo>
                    <a:pt x="1282" y="1339"/>
                  </a:lnTo>
                  <a:lnTo>
                    <a:pt x="1283" y="1339"/>
                  </a:lnTo>
                  <a:lnTo>
                    <a:pt x="1285" y="1339"/>
                  </a:lnTo>
                  <a:lnTo>
                    <a:pt x="1286" y="1339"/>
                  </a:lnTo>
                  <a:lnTo>
                    <a:pt x="1288" y="1339"/>
                  </a:lnTo>
                  <a:lnTo>
                    <a:pt x="1290" y="1337"/>
                  </a:lnTo>
                  <a:lnTo>
                    <a:pt x="1291" y="1336"/>
                  </a:lnTo>
                  <a:lnTo>
                    <a:pt x="1290" y="1336"/>
                  </a:lnTo>
                  <a:lnTo>
                    <a:pt x="1288" y="1334"/>
                  </a:lnTo>
                  <a:lnTo>
                    <a:pt x="1290" y="1332"/>
                  </a:lnTo>
                  <a:lnTo>
                    <a:pt x="1291" y="1331"/>
                  </a:lnTo>
                  <a:lnTo>
                    <a:pt x="1293" y="1331"/>
                  </a:lnTo>
                  <a:lnTo>
                    <a:pt x="1295" y="1331"/>
                  </a:lnTo>
                  <a:lnTo>
                    <a:pt x="1296" y="1329"/>
                  </a:lnTo>
                  <a:lnTo>
                    <a:pt x="1298" y="1329"/>
                  </a:lnTo>
                  <a:lnTo>
                    <a:pt x="1298" y="1328"/>
                  </a:lnTo>
                  <a:lnTo>
                    <a:pt x="1298" y="1326"/>
                  </a:lnTo>
                  <a:lnTo>
                    <a:pt x="1296" y="1326"/>
                  </a:lnTo>
                  <a:lnTo>
                    <a:pt x="1295" y="1326"/>
                  </a:lnTo>
                  <a:lnTo>
                    <a:pt x="1296" y="1326"/>
                  </a:lnTo>
                  <a:lnTo>
                    <a:pt x="1296" y="1324"/>
                  </a:lnTo>
                  <a:lnTo>
                    <a:pt x="1295" y="1323"/>
                  </a:lnTo>
                  <a:lnTo>
                    <a:pt x="1293" y="1323"/>
                  </a:lnTo>
                  <a:lnTo>
                    <a:pt x="1295" y="1323"/>
                  </a:lnTo>
                  <a:lnTo>
                    <a:pt x="1295" y="1321"/>
                  </a:lnTo>
                  <a:lnTo>
                    <a:pt x="1295" y="1319"/>
                  </a:lnTo>
                  <a:lnTo>
                    <a:pt x="1293" y="1319"/>
                  </a:lnTo>
                  <a:lnTo>
                    <a:pt x="1293" y="1318"/>
                  </a:lnTo>
                  <a:lnTo>
                    <a:pt x="1293" y="1319"/>
                  </a:lnTo>
                  <a:lnTo>
                    <a:pt x="1291" y="1319"/>
                  </a:lnTo>
                  <a:lnTo>
                    <a:pt x="1290" y="1319"/>
                  </a:lnTo>
                  <a:lnTo>
                    <a:pt x="1290" y="1321"/>
                  </a:lnTo>
                  <a:lnTo>
                    <a:pt x="1290" y="1319"/>
                  </a:lnTo>
                  <a:lnTo>
                    <a:pt x="1288" y="1318"/>
                  </a:lnTo>
                  <a:lnTo>
                    <a:pt x="1286" y="1318"/>
                  </a:lnTo>
                  <a:lnTo>
                    <a:pt x="1285" y="1318"/>
                  </a:lnTo>
                  <a:lnTo>
                    <a:pt x="1285" y="1316"/>
                  </a:lnTo>
                  <a:lnTo>
                    <a:pt x="1283" y="1316"/>
                  </a:lnTo>
                  <a:lnTo>
                    <a:pt x="1280" y="1316"/>
                  </a:lnTo>
                  <a:lnTo>
                    <a:pt x="1282" y="1315"/>
                  </a:lnTo>
                  <a:lnTo>
                    <a:pt x="1282" y="1313"/>
                  </a:lnTo>
                  <a:lnTo>
                    <a:pt x="1280" y="1313"/>
                  </a:lnTo>
                  <a:lnTo>
                    <a:pt x="1278" y="1315"/>
                  </a:lnTo>
                  <a:lnTo>
                    <a:pt x="1278" y="1313"/>
                  </a:lnTo>
                  <a:lnTo>
                    <a:pt x="1280" y="1313"/>
                  </a:lnTo>
                  <a:lnTo>
                    <a:pt x="1280" y="1311"/>
                  </a:lnTo>
                  <a:lnTo>
                    <a:pt x="1282" y="1311"/>
                  </a:lnTo>
                  <a:lnTo>
                    <a:pt x="1282" y="1310"/>
                  </a:lnTo>
                  <a:lnTo>
                    <a:pt x="1280" y="1311"/>
                  </a:lnTo>
                  <a:lnTo>
                    <a:pt x="1278" y="1310"/>
                  </a:lnTo>
                  <a:lnTo>
                    <a:pt x="1280" y="1310"/>
                  </a:lnTo>
                  <a:lnTo>
                    <a:pt x="1282" y="1310"/>
                  </a:lnTo>
                  <a:lnTo>
                    <a:pt x="1282" y="1308"/>
                  </a:lnTo>
                  <a:lnTo>
                    <a:pt x="1280" y="1308"/>
                  </a:lnTo>
                  <a:lnTo>
                    <a:pt x="1282" y="1308"/>
                  </a:lnTo>
                  <a:lnTo>
                    <a:pt x="1280" y="1306"/>
                  </a:lnTo>
                  <a:lnTo>
                    <a:pt x="1282" y="1306"/>
                  </a:lnTo>
                  <a:lnTo>
                    <a:pt x="1282" y="1305"/>
                  </a:lnTo>
                  <a:lnTo>
                    <a:pt x="1280" y="1305"/>
                  </a:lnTo>
                  <a:lnTo>
                    <a:pt x="1280" y="1303"/>
                  </a:lnTo>
                  <a:lnTo>
                    <a:pt x="1280" y="1302"/>
                  </a:lnTo>
                  <a:lnTo>
                    <a:pt x="1278" y="1302"/>
                  </a:lnTo>
                  <a:lnTo>
                    <a:pt x="1277" y="1302"/>
                  </a:lnTo>
                  <a:lnTo>
                    <a:pt x="1277" y="1300"/>
                  </a:lnTo>
                  <a:lnTo>
                    <a:pt x="1278" y="1300"/>
                  </a:lnTo>
                  <a:lnTo>
                    <a:pt x="1278" y="1302"/>
                  </a:lnTo>
                  <a:lnTo>
                    <a:pt x="1280" y="1300"/>
                  </a:lnTo>
                  <a:lnTo>
                    <a:pt x="1282" y="1300"/>
                  </a:lnTo>
                  <a:lnTo>
                    <a:pt x="1283" y="1300"/>
                  </a:lnTo>
                  <a:lnTo>
                    <a:pt x="1285" y="1298"/>
                  </a:lnTo>
                  <a:lnTo>
                    <a:pt x="1286" y="1298"/>
                  </a:lnTo>
                  <a:lnTo>
                    <a:pt x="1288" y="1298"/>
                  </a:lnTo>
                  <a:lnTo>
                    <a:pt x="1290" y="1298"/>
                  </a:lnTo>
                  <a:lnTo>
                    <a:pt x="1291" y="1298"/>
                  </a:lnTo>
                  <a:lnTo>
                    <a:pt x="1291" y="1297"/>
                  </a:lnTo>
                  <a:lnTo>
                    <a:pt x="1293" y="1297"/>
                  </a:lnTo>
                  <a:lnTo>
                    <a:pt x="1293" y="1295"/>
                  </a:lnTo>
                  <a:lnTo>
                    <a:pt x="1291" y="1295"/>
                  </a:lnTo>
                  <a:lnTo>
                    <a:pt x="1291" y="1293"/>
                  </a:lnTo>
                  <a:lnTo>
                    <a:pt x="1291" y="1292"/>
                  </a:lnTo>
                  <a:lnTo>
                    <a:pt x="1290" y="1293"/>
                  </a:lnTo>
                  <a:lnTo>
                    <a:pt x="1290" y="1292"/>
                  </a:lnTo>
                  <a:lnTo>
                    <a:pt x="1288" y="1292"/>
                  </a:lnTo>
                  <a:lnTo>
                    <a:pt x="1286" y="1292"/>
                  </a:lnTo>
                  <a:lnTo>
                    <a:pt x="1286" y="1290"/>
                  </a:lnTo>
                  <a:lnTo>
                    <a:pt x="1285" y="1290"/>
                  </a:lnTo>
                  <a:lnTo>
                    <a:pt x="1285" y="1292"/>
                  </a:lnTo>
                  <a:lnTo>
                    <a:pt x="1283" y="1292"/>
                  </a:lnTo>
                  <a:lnTo>
                    <a:pt x="1283" y="1290"/>
                  </a:lnTo>
                  <a:lnTo>
                    <a:pt x="1283" y="1288"/>
                  </a:lnTo>
                  <a:lnTo>
                    <a:pt x="1285" y="1288"/>
                  </a:lnTo>
                  <a:lnTo>
                    <a:pt x="1286" y="1288"/>
                  </a:lnTo>
                  <a:lnTo>
                    <a:pt x="1286" y="1287"/>
                  </a:lnTo>
                  <a:lnTo>
                    <a:pt x="1285" y="1285"/>
                  </a:lnTo>
                  <a:lnTo>
                    <a:pt x="1283" y="1285"/>
                  </a:lnTo>
                  <a:lnTo>
                    <a:pt x="1283" y="1284"/>
                  </a:lnTo>
                  <a:lnTo>
                    <a:pt x="1282" y="1285"/>
                  </a:lnTo>
                  <a:lnTo>
                    <a:pt x="1280" y="1287"/>
                  </a:lnTo>
                  <a:lnTo>
                    <a:pt x="1278" y="1287"/>
                  </a:lnTo>
                  <a:lnTo>
                    <a:pt x="1278" y="1285"/>
                  </a:lnTo>
                  <a:lnTo>
                    <a:pt x="1280" y="1285"/>
                  </a:lnTo>
                  <a:lnTo>
                    <a:pt x="1278" y="1285"/>
                  </a:lnTo>
                  <a:lnTo>
                    <a:pt x="1278" y="1284"/>
                  </a:lnTo>
                  <a:lnTo>
                    <a:pt x="1278" y="1282"/>
                  </a:lnTo>
                  <a:lnTo>
                    <a:pt x="1277" y="1282"/>
                  </a:lnTo>
                  <a:lnTo>
                    <a:pt x="1278" y="1282"/>
                  </a:lnTo>
                  <a:lnTo>
                    <a:pt x="1278" y="1280"/>
                  </a:lnTo>
                  <a:lnTo>
                    <a:pt x="1278" y="1282"/>
                  </a:lnTo>
                  <a:lnTo>
                    <a:pt x="1280" y="1282"/>
                  </a:lnTo>
                  <a:lnTo>
                    <a:pt x="1280" y="1280"/>
                  </a:lnTo>
                  <a:lnTo>
                    <a:pt x="1282" y="1280"/>
                  </a:lnTo>
                  <a:lnTo>
                    <a:pt x="1280" y="1280"/>
                  </a:lnTo>
                  <a:lnTo>
                    <a:pt x="1282" y="1280"/>
                  </a:lnTo>
                  <a:lnTo>
                    <a:pt x="1282" y="1279"/>
                  </a:lnTo>
                  <a:lnTo>
                    <a:pt x="1283" y="1280"/>
                  </a:lnTo>
                  <a:lnTo>
                    <a:pt x="1283" y="1279"/>
                  </a:lnTo>
                  <a:lnTo>
                    <a:pt x="1285" y="1279"/>
                  </a:lnTo>
                  <a:lnTo>
                    <a:pt x="1283" y="1277"/>
                  </a:lnTo>
                  <a:lnTo>
                    <a:pt x="1285" y="1277"/>
                  </a:lnTo>
                  <a:lnTo>
                    <a:pt x="1283" y="1275"/>
                  </a:lnTo>
                  <a:lnTo>
                    <a:pt x="1285" y="1275"/>
                  </a:lnTo>
                  <a:lnTo>
                    <a:pt x="1286" y="1275"/>
                  </a:lnTo>
                  <a:lnTo>
                    <a:pt x="1286" y="1274"/>
                  </a:lnTo>
                  <a:lnTo>
                    <a:pt x="1288" y="1275"/>
                  </a:lnTo>
                  <a:lnTo>
                    <a:pt x="1290" y="1275"/>
                  </a:lnTo>
                  <a:lnTo>
                    <a:pt x="1290" y="1274"/>
                  </a:lnTo>
                  <a:lnTo>
                    <a:pt x="1290" y="1272"/>
                  </a:lnTo>
                  <a:lnTo>
                    <a:pt x="1288" y="1271"/>
                  </a:lnTo>
                  <a:lnTo>
                    <a:pt x="1290" y="1271"/>
                  </a:lnTo>
                  <a:lnTo>
                    <a:pt x="1291" y="1271"/>
                  </a:lnTo>
                  <a:lnTo>
                    <a:pt x="1291" y="1269"/>
                  </a:lnTo>
                  <a:lnTo>
                    <a:pt x="1291" y="1267"/>
                  </a:lnTo>
                  <a:lnTo>
                    <a:pt x="1293" y="1269"/>
                  </a:lnTo>
                  <a:lnTo>
                    <a:pt x="1293" y="1267"/>
                  </a:lnTo>
                  <a:lnTo>
                    <a:pt x="1291" y="1267"/>
                  </a:lnTo>
                  <a:lnTo>
                    <a:pt x="1290" y="1267"/>
                  </a:lnTo>
                  <a:lnTo>
                    <a:pt x="1290" y="1266"/>
                  </a:lnTo>
                  <a:lnTo>
                    <a:pt x="1290" y="1264"/>
                  </a:lnTo>
                  <a:lnTo>
                    <a:pt x="1291" y="1264"/>
                  </a:lnTo>
                  <a:lnTo>
                    <a:pt x="1291" y="1262"/>
                  </a:lnTo>
                  <a:lnTo>
                    <a:pt x="1291" y="1261"/>
                  </a:lnTo>
                  <a:lnTo>
                    <a:pt x="1293" y="1261"/>
                  </a:lnTo>
                  <a:lnTo>
                    <a:pt x="1295" y="1261"/>
                  </a:lnTo>
                  <a:lnTo>
                    <a:pt x="1295" y="1259"/>
                  </a:lnTo>
                  <a:lnTo>
                    <a:pt x="1296" y="1261"/>
                  </a:lnTo>
                  <a:lnTo>
                    <a:pt x="1296" y="1259"/>
                  </a:lnTo>
                  <a:lnTo>
                    <a:pt x="1296" y="1261"/>
                  </a:lnTo>
                  <a:lnTo>
                    <a:pt x="1296" y="1259"/>
                  </a:lnTo>
                  <a:lnTo>
                    <a:pt x="1296" y="1258"/>
                  </a:lnTo>
                  <a:lnTo>
                    <a:pt x="1296" y="1256"/>
                  </a:lnTo>
                  <a:lnTo>
                    <a:pt x="1298" y="1256"/>
                  </a:lnTo>
                  <a:lnTo>
                    <a:pt x="1296" y="1254"/>
                  </a:lnTo>
                  <a:lnTo>
                    <a:pt x="1296" y="1253"/>
                  </a:lnTo>
                  <a:lnTo>
                    <a:pt x="1296" y="1254"/>
                  </a:lnTo>
                  <a:lnTo>
                    <a:pt x="1295" y="1253"/>
                  </a:lnTo>
                  <a:lnTo>
                    <a:pt x="1296" y="1253"/>
                  </a:lnTo>
                  <a:lnTo>
                    <a:pt x="1298" y="1251"/>
                  </a:lnTo>
                  <a:lnTo>
                    <a:pt x="1298" y="1253"/>
                  </a:lnTo>
                  <a:lnTo>
                    <a:pt x="1298" y="1254"/>
                  </a:lnTo>
                  <a:lnTo>
                    <a:pt x="1299" y="1254"/>
                  </a:lnTo>
                  <a:lnTo>
                    <a:pt x="1301" y="1254"/>
                  </a:lnTo>
                  <a:lnTo>
                    <a:pt x="1301" y="1253"/>
                  </a:lnTo>
                  <a:lnTo>
                    <a:pt x="1301" y="1254"/>
                  </a:lnTo>
                  <a:lnTo>
                    <a:pt x="1301" y="1256"/>
                  </a:lnTo>
                  <a:lnTo>
                    <a:pt x="1303" y="1256"/>
                  </a:lnTo>
                  <a:lnTo>
                    <a:pt x="1304" y="1256"/>
                  </a:lnTo>
                  <a:lnTo>
                    <a:pt x="1304" y="1254"/>
                  </a:lnTo>
                  <a:lnTo>
                    <a:pt x="1306" y="1254"/>
                  </a:lnTo>
                  <a:lnTo>
                    <a:pt x="1306" y="1253"/>
                  </a:lnTo>
                  <a:lnTo>
                    <a:pt x="1304" y="1251"/>
                  </a:lnTo>
                  <a:lnTo>
                    <a:pt x="1306" y="1251"/>
                  </a:lnTo>
                  <a:lnTo>
                    <a:pt x="1306" y="1249"/>
                  </a:lnTo>
                  <a:lnTo>
                    <a:pt x="1304" y="1249"/>
                  </a:lnTo>
                  <a:lnTo>
                    <a:pt x="1306" y="1249"/>
                  </a:lnTo>
                  <a:lnTo>
                    <a:pt x="1308" y="1248"/>
                  </a:lnTo>
                  <a:lnTo>
                    <a:pt x="1308" y="1249"/>
                  </a:lnTo>
                  <a:lnTo>
                    <a:pt x="1308" y="1248"/>
                  </a:lnTo>
                  <a:lnTo>
                    <a:pt x="1309" y="1249"/>
                  </a:lnTo>
                  <a:lnTo>
                    <a:pt x="1309" y="1248"/>
                  </a:lnTo>
                  <a:lnTo>
                    <a:pt x="1311" y="1248"/>
                  </a:lnTo>
                  <a:lnTo>
                    <a:pt x="1312" y="1248"/>
                  </a:lnTo>
                  <a:lnTo>
                    <a:pt x="1314" y="1248"/>
                  </a:lnTo>
                  <a:lnTo>
                    <a:pt x="1312" y="1246"/>
                  </a:lnTo>
                  <a:lnTo>
                    <a:pt x="1314" y="1246"/>
                  </a:lnTo>
                  <a:lnTo>
                    <a:pt x="1314" y="1245"/>
                  </a:lnTo>
                  <a:lnTo>
                    <a:pt x="1314" y="1246"/>
                  </a:lnTo>
                  <a:lnTo>
                    <a:pt x="1314" y="1245"/>
                  </a:lnTo>
                  <a:lnTo>
                    <a:pt x="1316" y="1246"/>
                  </a:lnTo>
                  <a:lnTo>
                    <a:pt x="1316" y="1245"/>
                  </a:lnTo>
                  <a:lnTo>
                    <a:pt x="1316" y="1246"/>
                  </a:lnTo>
                  <a:lnTo>
                    <a:pt x="1317" y="1246"/>
                  </a:lnTo>
                  <a:lnTo>
                    <a:pt x="1317" y="1245"/>
                  </a:lnTo>
                  <a:lnTo>
                    <a:pt x="1319" y="1245"/>
                  </a:lnTo>
                  <a:lnTo>
                    <a:pt x="1319" y="1243"/>
                  </a:lnTo>
                  <a:lnTo>
                    <a:pt x="1321" y="1243"/>
                  </a:lnTo>
                  <a:lnTo>
                    <a:pt x="1319" y="1243"/>
                  </a:lnTo>
                  <a:lnTo>
                    <a:pt x="1321" y="1243"/>
                  </a:lnTo>
                  <a:lnTo>
                    <a:pt x="1319" y="1245"/>
                  </a:lnTo>
                  <a:lnTo>
                    <a:pt x="1321" y="1245"/>
                  </a:lnTo>
                  <a:lnTo>
                    <a:pt x="1322" y="1245"/>
                  </a:lnTo>
                  <a:lnTo>
                    <a:pt x="1324" y="1245"/>
                  </a:lnTo>
                  <a:lnTo>
                    <a:pt x="1325" y="1245"/>
                  </a:lnTo>
                  <a:lnTo>
                    <a:pt x="1325" y="1243"/>
                  </a:lnTo>
                  <a:lnTo>
                    <a:pt x="1325" y="1245"/>
                  </a:lnTo>
                  <a:lnTo>
                    <a:pt x="1325" y="1243"/>
                  </a:lnTo>
                  <a:lnTo>
                    <a:pt x="1325" y="1245"/>
                  </a:lnTo>
                  <a:lnTo>
                    <a:pt x="1327" y="1243"/>
                  </a:lnTo>
                  <a:lnTo>
                    <a:pt x="1327" y="1245"/>
                  </a:lnTo>
                  <a:lnTo>
                    <a:pt x="1329" y="1245"/>
                  </a:lnTo>
                  <a:lnTo>
                    <a:pt x="1329" y="1243"/>
                  </a:lnTo>
                  <a:lnTo>
                    <a:pt x="1330" y="1241"/>
                  </a:lnTo>
                  <a:lnTo>
                    <a:pt x="1330" y="1243"/>
                  </a:lnTo>
                  <a:lnTo>
                    <a:pt x="1334" y="1241"/>
                  </a:lnTo>
                  <a:lnTo>
                    <a:pt x="1334" y="1240"/>
                  </a:lnTo>
                  <a:lnTo>
                    <a:pt x="1332" y="1240"/>
                  </a:lnTo>
                  <a:lnTo>
                    <a:pt x="1334" y="1240"/>
                  </a:lnTo>
                  <a:lnTo>
                    <a:pt x="1332" y="1240"/>
                  </a:lnTo>
                  <a:lnTo>
                    <a:pt x="1332" y="1238"/>
                  </a:lnTo>
                  <a:lnTo>
                    <a:pt x="1334" y="1238"/>
                  </a:lnTo>
                  <a:lnTo>
                    <a:pt x="1332" y="1238"/>
                  </a:lnTo>
                  <a:lnTo>
                    <a:pt x="1334" y="1236"/>
                  </a:lnTo>
                  <a:lnTo>
                    <a:pt x="1335" y="1236"/>
                  </a:lnTo>
                  <a:lnTo>
                    <a:pt x="1335" y="1235"/>
                  </a:lnTo>
                  <a:lnTo>
                    <a:pt x="1335" y="1233"/>
                  </a:lnTo>
                  <a:lnTo>
                    <a:pt x="1337" y="1233"/>
                  </a:lnTo>
                  <a:lnTo>
                    <a:pt x="1338" y="1232"/>
                  </a:lnTo>
                  <a:lnTo>
                    <a:pt x="1340" y="1232"/>
                  </a:lnTo>
                  <a:lnTo>
                    <a:pt x="1342" y="1232"/>
                  </a:lnTo>
                  <a:lnTo>
                    <a:pt x="1343" y="1232"/>
                  </a:lnTo>
                  <a:lnTo>
                    <a:pt x="1343" y="1230"/>
                  </a:lnTo>
                  <a:lnTo>
                    <a:pt x="1345" y="1230"/>
                  </a:lnTo>
                  <a:lnTo>
                    <a:pt x="1345" y="1232"/>
                  </a:lnTo>
                  <a:lnTo>
                    <a:pt x="1347" y="1232"/>
                  </a:lnTo>
                  <a:lnTo>
                    <a:pt x="1348" y="1232"/>
                  </a:lnTo>
                  <a:lnTo>
                    <a:pt x="1350" y="1232"/>
                  </a:lnTo>
                  <a:lnTo>
                    <a:pt x="1350" y="1230"/>
                  </a:lnTo>
                  <a:lnTo>
                    <a:pt x="1352" y="1232"/>
                  </a:lnTo>
                  <a:lnTo>
                    <a:pt x="1352" y="1233"/>
                  </a:lnTo>
                  <a:lnTo>
                    <a:pt x="1353" y="1233"/>
                  </a:lnTo>
                  <a:lnTo>
                    <a:pt x="1355" y="1233"/>
                  </a:lnTo>
                  <a:lnTo>
                    <a:pt x="1353" y="1233"/>
                  </a:lnTo>
                  <a:lnTo>
                    <a:pt x="1353" y="1235"/>
                  </a:lnTo>
                  <a:lnTo>
                    <a:pt x="1355" y="1235"/>
                  </a:lnTo>
                  <a:lnTo>
                    <a:pt x="1355" y="1236"/>
                  </a:lnTo>
                  <a:lnTo>
                    <a:pt x="1355" y="1235"/>
                  </a:lnTo>
                  <a:lnTo>
                    <a:pt x="1355" y="1236"/>
                  </a:lnTo>
                  <a:lnTo>
                    <a:pt x="1356" y="1236"/>
                  </a:lnTo>
                  <a:lnTo>
                    <a:pt x="1356" y="1238"/>
                  </a:lnTo>
                  <a:lnTo>
                    <a:pt x="1356" y="1240"/>
                  </a:lnTo>
                  <a:lnTo>
                    <a:pt x="1358" y="1240"/>
                  </a:lnTo>
                  <a:lnTo>
                    <a:pt x="1358" y="1238"/>
                  </a:lnTo>
                  <a:lnTo>
                    <a:pt x="1360" y="1238"/>
                  </a:lnTo>
                  <a:lnTo>
                    <a:pt x="1361" y="1236"/>
                  </a:lnTo>
                  <a:lnTo>
                    <a:pt x="1361" y="1233"/>
                  </a:lnTo>
                  <a:lnTo>
                    <a:pt x="1363" y="1232"/>
                  </a:lnTo>
                  <a:lnTo>
                    <a:pt x="1363" y="1230"/>
                  </a:lnTo>
                  <a:lnTo>
                    <a:pt x="1363" y="1228"/>
                  </a:lnTo>
                  <a:lnTo>
                    <a:pt x="1363" y="1227"/>
                  </a:lnTo>
                  <a:lnTo>
                    <a:pt x="1363" y="1225"/>
                  </a:lnTo>
                  <a:lnTo>
                    <a:pt x="1363" y="1223"/>
                  </a:lnTo>
                  <a:lnTo>
                    <a:pt x="1363" y="1222"/>
                  </a:lnTo>
                  <a:lnTo>
                    <a:pt x="1363" y="1220"/>
                  </a:lnTo>
                  <a:lnTo>
                    <a:pt x="1361" y="1220"/>
                  </a:lnTo>
                  <a:lnTo>
                    <a:pt x="1361" y="1219"/>
                  </a:lnTo>
                  <a:lnTo>
                    <a:pt x="1360" y="1217"/>
                  </a:lnTo>
                  <a:lnTo>
                    <a:pt x="1360" y="1215"/>
                  </a:lnTo>
                  <a:lnTo>
                    <a:pt x="1361" y="1215"/>
                  </a:lnTo>
                  <a:lnTo>
                    <a:pt x="1361" y="1214"/>
                  </a:lnTo>
                  <a:lnTo>
                    <a:pt x="1363" y="1214"/>
                  </a:lnTo>
                  <a:lnTo>
                    <a:pt x="1363" y="1212"/>
                  </a:lnTo>
                  <a:lnTo>
                    <a:pt x="1361" y="1212"/>
                  </a:lnTo>
                  <a:lnTo>
                    <a:pt x="1361" y="1210"/>
                  </a:lnTo>
                  <a:lnTo>
                    <a:pt x="1361" y="1209"/>
                  </a:lnTo>
                  <a:lnTo>
                    <a:pt x="1361" y="1207"/>
                  </a:lnTo>
                  <a:lnTo>
                    <a:pt x="1365" y="1206"/>
                  </a:lnTo>
                  <a:lnTo>
                    <a:pt x="1365" y="1204"/>
                  </a:lnTo>
                  <a:lnTo>
                    <a:pt x="1365" y="1202"/>
                  </a:lnTo>
                  <a:lnTo>
                    <a:pt x="1365" y="1201"/>
                  </a:lnTo>
                  <a:lnTo>
                    <a:pt x="1365" y="1199"/>
                  </a:lnTo>
                  <a:lnTo>
                    <a:pt x="1365" y="1197"/>
                  </a:lnTo>
                  <a:lnTo>
                    <a:pt x="1363" y="1196"/>
                  </a:lnTo>
                  <a:lnTo>
                    <a:pt x="1363" y="1194"/>
                  </a:lnTo>
                  <a:lnTo>
                    <a:pt x="1363" y="1193"/>
                  </a:lnTo>
                  <a:lnTo>
                    <a:pt x="1365" y="1193"/>
                  </a:lnTo>
                  <a:lnTo>
                    <a:pt x="1366" y="1193"/>
                  </a:lnTo>
                  <a:lnTo>
                    <a:pt x="1368" y="1191"/>
                  </a:lnTo>
                  <a:lnTo>
                    <a:pt x="1368" y="1193"/>
                  </a:lnTo>
                  <a:lnTo>
                    <a:pt x="1369" y="1193"/>
                  </a:lnTo>
                  <a:lnTo>
                    <a:pt x="1371" y="1193"/>
                  </a:lnTo>
                  <a:lnTo>
                    <a:pt x="1371" y="1191"/>
                  </a:lnTo>
                  <a:close/>
                  <a:moveTo>
                    <a:pt x="1052" y="1183"/>
                  </a:moveTo>
                  <a:lnTo>
                    <a:pt x="1054" y="1181"/>
                  </a:lnTo>
                  <a:lnTo>
                    <a:pt x="1056" y="1181"/>
                  </a:lnTo>
                  <a:lnTo>
                    <a:pt x="1056" y="1183"/>
                  </a:lnTo>
                  <a:lnTo>
                    <a:pt x="1054" y="1183"/>
                  </a:lnTo>
                  <a:lnTo>
                    <a:pt x="1056" y="1183"/>
                  </a:lnTo>
                  <a:lnTo>
                    <a:pt x="1056" y="1184"/>
                  </a:lnTo>
                  <a:lnTo>
                    <a:pt x="1054" y="1184"/>
                  </a:lnTo>
                  <a:lnTo>
                    <a:pt x="1052" y="1186"/>
                  </a:lnTo>
                  <a:lnTo>
                    <a:pt x="1052" y="1184"/>
                  </a:lnTo>
                  <a:lnTo>
                    <a:pt x="1051" y="1184"/>
                  </a:lnTo>
                  <a:lnTo>
                    <a:pt x="1051" y="1183"/>
                  </a:lnTo>
                  <a:lnTo>
                    <a:pt x="1052" y="1183"/>
                  </a:lnTo>
                  <a:lnTo>
                    <a:pt x="1051" y="1183"/>
                  </a:lnTo>
                  <a:lnTo>
                    <a:pt x="1052" y="1183"/>
                  </a:lnTo>
                  <a:close/>
                  <a:moveTo>
                    <a:pt x="1049" y="1183"/>
                  </a:moveTo>
                  <a:lnTo>
                    <a:pt x="1049" y="1181"/>
                  </a:lnTo>
                  <a:lnTo>
                    <a:pt x="1051" y="1181"/>
                  </a:lnTo>
                  <a:lnTo>
                    <a:pt x="1049" y="1183"/>
                  </a:lnTo>
                  <a:close/>
                  <a:moveTo>
                    <a:pt x="1026" y="1180"/>
                  </a:moveTo>
                  <a:lnTo>
                    <a:pt x="1026" y="1181"/>
                  </a:lnTo>
                  <a:lnTo>
                    <a:pt x="1026" y="1180"/>
                  </a:lnTo>
                  <a:close/>
                  <a:moveTo>
                    <a:pt x="1036" y="1180"/>
                  </a:moveTo>
                  <a:lnTo>
                    <a:pt x="1038" y="1180"/>
                  </a:lnTo>
                  <a:lnTo>
                    <a:pt x="1038" y="1181"/>
                  </a:lnTo>
                  <a:lnTo>
                    <a:pt x="1038" y="1183"/>
                  </a:lnTo>
                  <a:lnTo>
                    <a:pt x="1038" y="1184"/>
                  </a:lnTo>
                  <a:lnTo>
                    <a:pt x="1036" y="1184"/>
                  </a:lnTo>
                  <a:lnTo>
                    <a:pt x="1034" y="1184"/>
                  </a:lnTo>
                  <a:lnTo>
                    <a:pt x="1033" y="1186"/>
                  </a:lnTo>
                  <a:lnTo>
                    <a:pt x="1031" y="1186"/>
                  </a:lnTo>
                  <a:lnTo>
                    <a:pt x="1031" y="1184"/>
                  </a:lnTo>
                  <a:lnTo>
                    <a:pt x="1029" y="1184"/>
                  </a:lnTo>
                  <a:lnTo>
                    <a:pt x="1029" y="1183"/>
                  </a:lnTo>
                  <a:lnTo>
                    <a:pt x="1028" y="1183"/>
                  </a:lnTo>
                  <a:lnTo>
                    <a:pt x="1029" y="1183"/>
                  </a:lnTo>
                  <a:lnTo>
                    <a:pt x="1029" y="1181"/>
                  </a:lnTo>
                  <a:lnTo>
                    <a:pt x="1029" y="1183"/>
                  </a:lnTo>
                  <a:lnTo>
                    <a:pt x="1029" y="1181"/>
                  </a:lnTo>
                  <a:lnTo>
                    <a:pt x="1031" y="1181"/>
                  </a:lnTo>
                  <a:lnTo>
                    <a:pt x="1031" y="1183"/>
                  </a:lnTo>
                  <a:lnTo>
                    <a:pt x="1033" y="1183"/>
                  </a:lnTo>
                  <a:lnTo>
                    <a:pt x="1034" y="1183"/>
                  </a:lnTo>
                  <a:lnTo>
                    <a:pt x="1034" y="1181"/>
                  </a:lnTo>
                  <a:lnTo>
                    <a:pt x="1036" y="1181"/>
                  </a:lnTo>
                  <a:lnTo>
                    <a:pt x="1036" y="1180"/>
                  </a:lnTo>
                  <a:close/>
                  <a:moveTo>
                    <a:pt x="1369" y="1189"/>
                  </a:moveTo>
                  <a:lnTo>
                    <a:pt x="1371" y="1189"/>
                  </a:lnTo>
                  <a:lnTo>
                    <a:pt x="1369" y="1189"/>
                  </a:lnTo>
                  <a:close/>
                  <a:moveTo>
                    <a:pt x="1065" y="1178"/>
                  </a:moveTo>
                  <a:lnTo>
                    <a:pt x="1064" y="1180"/>
                  </a:lnTo>
                  <a:lnTo>
                    <a:pt x="1064" y="1178"/>
                  </a:lnTo>
                  <a:lnTo>
                    <a:pt x="1064" y="1180"/>
                  </a:lnTo>
                  <a:lnTo>
                    <a:pt x="1064" y="1178"/>
                  </a:lnTo>
                  <a:lnTo>
                    <a:pt x="1064" y="1180"/>
                  </a:lnTo>
                  <a:lnTo>
                    <a:pt x="1062" y="1180"/>
                  </a:lnTo>
                  <a:lnTo>
                    <a:pt x="1062" y="1181"/>
                  </a:lnTo>
                  <a:lnTo>
                    <a:pt x="1060" y="1181"/>
                  </a:lnTo>
                  <a:lnTo>
                    <a:pt x="1060" y="1183"/>
                  </a:lnTo>
                  <a:lnTo>
                    <a:pt x="1059" y="1183"/>
                  </a:lnTo>
                  <a:lnTo>
                    <a:pt x="1057" y="1184"/>
                  </a:lnTo>
                  <a:lnTo>
                    <a:pt x="1057" y="1183"/>
                  </a:lnTo>
                  <a:lnTo>
                    <a:pt x="1057" y="1181"/>
                  </a:lnTo>
                  <a:lnTo>
                    <a:pt x="1059" y="1181"/>
                  </a:lnTo>
                  <a:lnTo>
                    <a:pt x="1060" y="1181"/>
                  </a:lnTo>
                  <a:lnTo>
                    <a:pt x="1060" y="1180"/>
                  </a:lnTo>
                  <a:lnTo>
                    <a:pt x="1060" y="1178"/>
                  </a:lnTo>
                  <a:lnTo>
                    <a:pt x="1062" y="1178"/>
                  </a:lnTo>
                  <a:lnTo>
                    <a:pt x="1064" y="1178"/>
                  </a:lnTo>
                  <a:lnTo>
                    <a:pt x="1065" y="1176"/>
                  </a:lnTo>
                  <a:lnTo>
                    <a:pt x="1065" y="1178"/>
                  </a:lnTo>
                  <a:close/>
                  <a:moveTo>
                    <a:pt x="696" y="1149"/>
                  </a:moveTo>
                  <a:lnTo>
                    <a:pt x="698" y="1149"/>
                  </a:lnTo>
                  <a:lnTo>
                    <a:pt x="698" y="1150"/>
                  </a:lnTo>
                  <a:lnTo>
                    <a:pt x="696" y="1150"/>
                  </a:lnTo>
                  <a:lnTo>
                    <a:pt x="696" y="1149"/>
                  </a:lnTo>
                  <a:close/>
                  <a:moveTo>
                    <a:pt x="990" y="1171"/>
                  </a:moveTo>
                  <a:lnTo>
                    <a:pt x="989" y="1171"/>
                  </a:lnTo>
                  <a:lnTo>
                    <a:pt x="989" y="1170"/>
                  </a:lnTo>
                  <a:lnTo>
                    <a:pt x="990" y="1170"/>
                  </a:lnTo>
                  <a:lnTo>
                    <a:pt x="990" y="1171"/>
                  </a:lnTo>
                  <a:close/>
                  <a:moveTo>
                    <a:pt x="989" y="1170"/>
                  </a:moveTo>
                  <a:lnTo>
                    <a:pt x="989" y="1171"/>
                  </a:lnTo>
                  <a:lnTo>
                    <a:pt x="989" y="1170"/>
                  </a:lnTo>
                  <a:lnTo>
                    <a:pt x="990" y="1170"/>
                  </a:lnTo>
                  <a:lnTo>
                    <a:pt x="989" y="1170"/>
                  </a:lnTo>
                  <a:close/>
                  <a:moveTo>
                    <a:pt x="696" y="1147"/>
                  </a:moveTo>
                  <a:lnTo>
                    <a:pt x="698" y="1147"/>
                  </a:lnTo>
                  <a:lnTo>
                    <a:pt x="696" y="1147"/>
                  </a:lnTo>
                  <a:close/>
                  <a:moveTo>
                    <a:pt x="986" y="1163"/>
                  </a:moveTo>
                  <a:lnTo>
                    <a:pt x="986" y="1162"/>
                  </a:lnTo>
                  <a:lnTo>
                    <a:pt x="986" y="1163"/>
                  </a:lnTo>
                  <a:close/>
                  <a:moveTo>
                    <a:pt x="948" y="1153"/>
                  </a:moveTo>
                  <a:lnTo>
                    <a:pt x="947" y="1153"/>
                  </a:lnTo>
                  <a:lnTo>
                    <a:pt x="948" y="1152"/>
                  </a:lnTo>
                  <a:lnTo>
                    <a:pt x="950" y="1153"/>
                  </a:lnTo>
                  <a:lnTo>
                    <a:pt x="948" y="1153"/>
                  </a:lnTo>
                  <a:close/>
                  <a:moveTo>
                    <a:pt x="945" y="1149"/>
                  </a:moveTo>
                  <a:lnTo>
                    <a:pt x="947" y="1150"/>
                  </a:lnTo>
                  <a:lnTo>
                    <a:pt x="945" y="1150"/>
                  </a:lnTo>
                  <a:lnTo>
                    <a:pt x="945" y="1149"/>
                  </a:lnTo>
                  <a:close/>
                  <a:moveTo>
                    <a:pt x="943" y="1149"/>
                  </a:moveTo>
                  <a:lnTo>
                    <a:pt x="942" y="1149"/>
                  </a:lnTo>
                  <a:lnTo>
                    <a:pt x="942" y="1147"/>
                  </a:lnTo>
                  <a:lnTo>
                    <a:pt x="943" y="1147"/>
                  </a:lnTo>
                  <a:lnTo>
                    <a:pt x="943" y="1149"/>
                  </a:lnTo>
                  <a:close/>
                  <a:moveTo>
                    <a:pt x="943" y="1139"/>
                  </a:moveTo>
                  <a:lnTo>
                    <a:pt x="942" y="1139"/>
                  </a:lnTo>
                  <a:lnTo>
                    <a:pt x="943" y="1137"/>
                  </a:lnTo>
                  <a:lnTo>
                    <a:pt x="943" y="1139"/>
                  </a:lnTo>
                  <a:close/>
                  <a:moveTo>
                    <a:pt x="940" y="1137"/>
                  </a:moveTo>
                  <a:lnTo>
                    <a:pt x="942" y="1137"/>
                  </a:lnTo>
                  <a:lnTo>
                    <a:pt x="943" y="1137"/>
                  </a:lnTo>
                  <a:lnTo>
                    <a:pt x="942" y="1137"/>
                  </a:lnTo>
                  <a:lnTo>
                    <a:pt x="942" y="1139"/>
                  </a:lnTo>
                  <a:lnTo>
                    <a:pt x="940" y="1139"/>
                  </a:lnTo>
                  <a:lnTo>
                    <a:pt x="942" y="1139"/>
                  </a:lnTo>
                  <a:lnTo>
                    <a:pt x="940" y="1139"/>
                  </a:lnTo>
                  <a:lnTo>
                    <a:pt x="938" y="1140"/>
                  </a:lnTo>
                  <a:lnTo>
                    <a:pt x="940" y="1139"/>
                  </a:lnTo>
                  <a:lnTo>
                    <a:pt x="940" y="1137"/>
                  </a:lnTo>
                  <a:lnTo>
                    <a:pt x="940" y="1139"/>
                  </a:lnTo>
                  <a:lnTo>
                    <a:pt x="938" y="1137"/>
                  </a:lnTo>
                  <a:lnTo>
                    <a:pt x="940" y="1137"/>
                  </a:lnTo>
                  <a:close/>
                  <a:moveTo>
                    <a:pt x="947" y="1134"/>
                  </a:moveTo>
                  <a:lnTo>
                    <a:pt x="947" y="1136"/>
                  </a:lnTo>
                  <a:lnTo>
                    <a:pt x="947" y="1134"/>
                  </a:lnTo>
                  <a:close/>
                  <a:moveTo>
                    <a:pt x="947" y="1134"/>
                  </a:moveTo>
                  <a:lnTo>
                    <a:pt x="945" y="1131"/>
                  </a:lnTo>
                  <a:lnTo>
                    <a:pt x="942" y="1129"/>
                  </a:lnTo>
                  <a:lnTo>
                    <a:pt x="942" y="1127"/>
                  </a:lnTo>
                  <a:lnTo>
                    <a:pt x="943" y="1129"/>
                  </a:lnTo>
                  <a:lnTo>
                    <a:pt x="945" y="1131"/>
                  </a:lnTo>
                  <a:lnTo>
                    <a:pt x="945" y="1132"/>
                  </a:lnTo>
                  <a:lnTo>
                    <a:pt x="947" y="1134"/>
                  </a:lnTo>
                  <a:close/>
                  <a:moveTo>
                    <a:pt x="943" y="1127"/>
                  </a:moveTo>
                  <a:lnTo>
                    <a:pt x="942" y="1127"/>
                  </a:lnTo>
                  <a:lnTo>
                    <a:pt x="943" y="1127"/>
                  </a:lnTo>
                  <a:close/>
                  <a:moveTo>
                    <a:pt x="1124" y="1114"/>
                  </a:moveTo>
                  <a:lnTo>
                    <a:pt x="1125" y="1114"/>
                  </a:lnTo>
                  <a:lnTo>
                    <a:pt x="1124" y="1114"/>
                  </a:lnTo>
                  <a:close/>
                  <a:moveTo>
                    <a:pt x="1127" y="1113"/>
                  </a:moveTo>
                  <a:lnTo>
                    <a:pt x="1127" y="1114"/>
                  </a:lnTo>
                  <a:lnTo>
                    <a:pt x="1127" y="1113"/>
                  </a:lnTo>
                  <a:close/>
                  <a:moveTo>
                    <a:pt x="1124" y="1113"/>
                  </a:moveTo>
                  <a:lnTo>
                    <a:pt x="1125" y="1113"/>
                  </a:lnTo>
                  <a:lnTo>
                    <a:pt x="1127" y="1113"/>
                  </a:lnTo>
                  <a:lnTo>
                    <a:pt x="1127" y="1114"/>
                  </a:lnTo>
                  <a:lnTo>
                    <a:pt x="1125" y="1113"/>
                  </a:lnTo>
                  <a:lnTo>
                    <a:pt x="1124" y="1113"/>
                  </a:lnTo>
                  <a:lnTo>
                    <a:pt x="1122" y="1113"/>
                  </a:lnTo>
                  <a:lnTo>
                    <a:pt x="1124" y="1113"/>
                  </a:lnTo>
                  <a:close/>
                  <a:moveTo>
                    <a:pt x="877" y="1058"/>
                  </a:moveTo>
                  <a:lnTo>
                    <a:pt x="877" y="1059"/>
                  </a:lnTo>
                  <a:lnTo>
                    <a:pt x="877" y="1061"/>
                  </a:lnTo>
                  <a:lnTo>
                    <a:pt x="877" y="1059"/>
                  </a:lnTo>
                  <a:lnTo>
                    <a:pt x="877" y="1058"/>
                  </a:lnTo>
                  <a:close/>
                  <a:moveTo>
                    <a:pt x="877" y="1058"/>
                  </a:moveTo>
                  <a:lnTo>
                    <a:pt x="877" y="1056"/>
                  </a:lnTo>
                  <a:lnTo>
                    <a:pt x="875" y="1056"/>
                  </a:lnTo>
                  <a:lnTo>
                    <a:pt x="875" y="1054"/>
                  </a:lnTo>
                  <a:lnTo>
                    <a:pt x="875" y="1053"/>
                  </a:lnTo>
                  <a:lnTo>
                    <a:pt x="877" y="1054"/>
                  </a:lnTo>
                  <a:lnTo>
                    <a:pt x="877" y="1056"/>
                  </a:lnTo>
                  <a:lnTo>
                    <a:pt x="877" y="1058"/>
                  </a:lnTo>
                  <a:close/>
                  <a:moveTo>
                    <a:pt x="293" y="864"/>
                  </a:moveTo>
                  <a:lnTo>
                    <a:pt x="294" y="864"/>
                  </a:lnTo>
                  <a:lnTo>
                    <a:pt x="294" y="866"/>
                  </a:lnTo>
                  <a:lnTo>
                    <a:pt x="293" y="866"/>
                  </a:lnTo>
                  <a:lnTo>
                    <a:pt x="294" y="866"/>
                  </a:lnTo>
                  <a:lnTo>
                    <a:pt x="293" y="866"/>
                  </a:lnTo>
                  <a:lnTo>
                    <a:pt x="293" y="864"/>
                  </a:lnTo>
                  <a:close/>
                  <a:moveTo>
                    <a:pt x="361" y="827"/>
                  </a:moveTo>
                  <a:lnTo>
                    <a:pt x="363" y="827"/>
                  </a:lnTo>
                  <a:lnTo>
                    <a:pt x="361" y="827"/>
                  </a:lnTo>
                  <a:close/>
                  <a:moveTo>
                    <a:pt x="353" y="823"/>
                  </a:moveTo>
                  <a:lnTo>
                    <a:pt x="355" y="823"/>
                  </a:lnTo>
                  <a:lnTo>
                    <a:pt x="353" y="823"/>
                  </a:lnTo>
                  <a:close/>
                  <a:moveTo>
                    <a:pt x="353" y="820"/>
                  </a:moveTo>
                  <a:lnTo>
                    <a:pt x="356" y="823"/>
                  </a:lnTo>
                  <a:lnTo>
                    <a:pt x="358" y="827"/>
                  </a:lnTo>
                  <a:lnTo>
                    <a:pt x="358" y="828"/>
                  </a:lnTo>
                  <a:lnTo>
                    <a:pt x="359" y="830"/>
                  </a:lnTo>
                  <a:lnTo>
                    <a:pt x="358" y="828"/>
                  </a:lnTo>
                  <a:lnTo>
                    <a:pt x="355" y="825"/>
                  </a:lnTo>
                  <a:lnTo>
                    <a:pt x="355" y="823"/>
                  </a:lnTo>
                  <a:lnTo>
                    <a:pt x="353" y="822"/>
                  </a:lnTo>
                  <a:lnTo>
                    <a:pt x="351" y="818"/>
                  </a:lnTo>
                  <a:lnTo>
                    <a:pt x="351" y="817"/>
                  </a:lnTo>
                  <a:lnTo>
                    <a:pt x="353" y="817"/>
                  </a:lnTo>
                  <a:lnTo>
                    <a:pt x="353" y="818"/>
                  </a:lnTo>
                  <a:lnTo>
                    <a:pt x="353" y="820"/>
                  </a:lnTo>
                  <a:close/>
                  <a:moveTo>
                    <a:pt x="351" y="814"/>
                  </a:moveTo>
                  <a:lnTo>
                    <a:pt x="353" y="814"/>
                  </a:lnTo>
                  <a:lnTo>
                    <a:pt x="351" y="814"/>
                  </a:lnTo>
                  <a:close/>
                  <a:moveTo>
                    <a:pt x="350" y="804"/>
                  </a:moveTo>
                  <a:lnTo>
                    <a:pt x="350" y="805"/>
                  </a:lnTo>
                  <a:lnTo>
                    <a:pt x="350" y="807"/>
                  </a:lnTo>
                  <a:lnTo>
                    <a:pt x="350" y="809"/>
                  </a:lnTo>
                  <a:lnTo>
                    <a:pt x="350" y="807"/>
                  </a:lnTo>
                  <a:lnTo>
                    <a:pt x="350" y="804"/>
                  </a:lnTo>
                  <a:close/>
                  <a:moveTo>
                    <a:pt x="351" y="804"/>
                  </a:moveTo>
                  <a:lnTo>
                    <a:pt x="351" y="805"/>
                  </a:lnTo>
                  <a:lnTo>
                    <a:pt x="353" y="809"/>
                  </a:lnTo>
                  <a:lnTo>
                    <a:pt x="353" y="812"/>
                  </a:lnTo>
                  <a:lnTo>
                    <a:pt x="351" y="812"/>
                  </a:lnTo>
                  <a:lnTo>
                    <a:pt x="351" y="807"/>
                  </a:lnTo>
                  <a:lnTo>
                    <a:pt x="351" y="805"/>
                  </a:lnTo>
                  <a:lnTo>
                    <a:pt x="351" y="804"/>
                  </a:lnTo>
                  <a:close/>
                  <a:moveTo>
                    <a:pt x="351" y="799"/>
                  </a:moveTo>
                  <a:lnTo>
                    <a:pt x="351" y="801"/>
                  </a:lnTo>
                  <a:lnTo>
                    <a:pt x="351" y="802"/>
                  </a:lnTo>
                  <a:lnTo>
                    <a:pt x="351" y="804"/>
                  </a:lnTo>
                  <a:lnTo>
                    <a:pt x="351" y="805"/>
                  </a:lnTo>
                  <a:lnTo>
                    <a:pt x="351" y="804"/>
                  </a:lnTo>
                  <a:lnTo>
                    <a:pt x="350" y="802"/>
                  </a:lnTo>
                  <a:lnTo>
                    <a:pt x="350" y="801"/>
                  </a:lnTo>
                  <a:lnTo>
                    <a:pt x="351" y="799"/>
                  </a:lnTo>
                  <a:close/>
                  <a:moveTo>
                    <a:pt x="317" y="703"/>
                  </a:moveTo>
                  <a:lnTo>
                    <a:pt x="319" y="703"/>
                  </a:lnTo>
                  <a:lnTo>
                    <a:pt x="317" y="703"/>
                  </a:lnTo>
                  <a:close/>
                  <a:moveTo>
                    <a:pt x="325" y="687"/>
                  </a:moveTo>
                  <a:lnTo>
                    <a:pt x="327" y="688"/>
                  </a:lnTo>
                  <a:lnTo>
                    <a:pt x="325" y="688"/>
                  </a:lnTo>
                  <a:lnTo>
                    <a:pt x="325" y="687"/>
                  </a:lnTo>
                  <a:close/>
                  <a:moveTo>
                    <a:pt x="324" y="685"/>
                  </a:moveTo>
                  <a:lnTo>
                    <a:pt x="324" y="687"/>
                  </a:lnTo>
                  <a:lnTo>
                    <a:pt x="324" y="685"/>
                  </a:lnTo>
                  <a:close/>
                  <a:moveTo>
                    <a:pt x="320" y="677"/>
                  </a:moveTo>
                  <a:lnTo>
                    <a:pt x="322" y="677"/>
                  </a:lnTo>
                  <a:lnTo>
                    <a:pt x="322" y="679"/>
                  </a:lnTo>
                  <a:lnTo>
                    <a:pt x="320" y="679"/>
                  </a:lnTo>
                  <a:lnTo>
                    <a:pt x="320" y="680"/>
                  </a:lnTo>
                  <a:lnTo>
                    <a:pt x="320" y="679"/>
                  </a:lnTo>
                  <a:lnTo>
                    <a:pt x="320" y="677"/>
                  </a:lnTo>
                  <a:close/>
                  <a:moveTo>
                    <a:pt x="298" y="670"/>
                  </a:moveTo>
                  <a:lnTo>
                    <a:pt x="299" y="670"/>
                  </a:lnTo>
                  <a:lnTo>
                    <a:pt x="299" y="672"/>
                  </a:lnTo>
                  <a:lnTo>
                    <a:pt x="302" y="672"/>
                  </a:lnTo>
                  <a:lnTo>
                    <a:pt x="301" y="672"/>
                  </a:lnTo>
                  <a:lnTo>
                    <a:pt x="301" y="674"/>
                  </a:lnTo>
                  <a:lnTo>
                    <a:pt x="302" y="674"/>
                  </a:lnTo>
                  <a:lnTo>
                    <a:pt x="302" y="675"/>
                  </a:lnTo>
                  <a:lnTo>
                    <a:pt x="304" y="675"/>
                  </a:lnTo>
                  <a:lnTo>
                    <a:pt x="304" y="677"/>
                  </a:lnTo>
                  <a:lnTo>
                    <a:pt x="306" y="677"/>
                  </a:lnTo>
                  <a:lnTo>
                    <a:pt x="306" y="679"/>
                  </a:lnTo>
                  <a:lnTo>
                    <a:pt x="306" y="680"/>
                  </a:lnTo>
                  <a:lnTo>
                    <a:pt x="307" y="680"/>
                  </a:lnTo>
                  <a:lnTo>
                    <a:pt x="309" y="680"/>
                  </a:lnTo>
                  <a:lnTo>
                    <a:pt x="312" y="680"/>
                  </a:lnTo>
                  <a:lnTo>
                    <a:pt x="314" y="682"/>
                  </a:lnTo>
                  <a:lnTo>
                    <a:pt x="314" y="683"/>
                  </a:lnTo>
                  <a:lnTo>
                    <a:pt x="314" y="685"/>
                  </a:lnTo>
                  <a:lnTo>
                    <a:pt x="312" y="685"/>
                  </a:lnTo>
                  <a:lnTo>
                    <a:pt x="312" y="687"/>
                  </a:lnTo>
                  <a:lnTo>
                    <a:pt x="314" y="688"/>
                  </a:lnTo>
                  <a:lnTo>
                    <a:pt x="314" y="690"/>
                  </a:lnTo>
                  <a:lnTo>
                    <a:pt x="314" y="692"/>
                  </a:lnTo>
                  <a:lnTo>
                    <a:pt x="316" y="693"/>
                  </a:lnTo>
                  <a:lnTo>
                    <a:pt x="316" y="695"/>
                  </a:lnTo>
                  <a:lnTo>
                    <a:pt x="316" y="693"/>
                  </a:lnTo>
                  <a:lnTo>
                    <a:pt x="317" y="693"/>
                  </a:lnTo>
                  <a:lnTo>
                    <a:pt x="316" y="695"/>
                  </a:lnTo>
                  <a:lnTo>
                    <a:pt x="317" y="696"/>
                  </a:lnTo>
                  <a:lnTo>
                    <a:pt x="316" y="696"/>
                  </a:lnTo>
                  <a:lnTo>
                    <a:pt x="316" y="698"/>
                  </a:lnTo>
                  <a:lnTo>
                    <a:pt x="316" y="700"/>
                  </a:lnTo>
                  <a:lnTo>
                    <a:pt x="314" y="700"/>
                  </a:lnTo>
                  <a:lnTo>
                    <a:pt x="314" y="701"/>
                  </a:lnTo>
                  <a:lnTo>
                    <a:pt x="314" y="703"/>
                  </a:lnTo>
                  <a:lnTo>
                    <a:pt x="314" y="705"/>
                  </a:lnTo>
                  <a:lnTo>
                    <a:pt x="312" y="706"/>
                  </a:lnTo>
                  <a:lnTo>
                    <a:pt x="311" y="708"/>
                  </a:lnTo>
                  <a:lnTo>
                    <a:pt x="309" y="706"/>
                  </a:lnTo>
                  <a:lnTo>
                    <a:pt x="309" y="701"/>
                  </a:lnTo>
                  <a:lnTo>
                    <a:pt x="309" y="698"/>
                  </a:lnTo>
                  <a:lnTo>
                    <a:pt x="309" y="696"/>
                  </a:lnTo>
                  <a:lnTo>
                    <a:pt x="307" y="696"/>
                  </a:lnTo>
                  <a:lnTo>
                    <a:pt x="307" y="695"/>
                  </a:lnTo>
                  <a:lnTo>
                    <a:pt x="306" y="693"/>
                  </a:lnTo>
                  <a:lnTo>
                    <a:pt x="304" y="692"/>
                  </a:lnTo>
                  <a:lnTo>
                    <a:pt x="302" y="690"/>
                  </a:lnTo>
                  <a:lnTo>
                    <a:pt x="301" y="688"/>
                  </a:lnTo>
                  <a:lnTo>
                    <a:pt x="299" y="687"/>
                  </a:lnTo>
                  <a:lnTo>
                    <a:pt x="299" y="685"/>
                  </a:lnTo>
                  <a:lnTo>
                    <a:pt x="298" y="685"/>
                  </a:lnTo>
                  <a:lnTo>
                    <a:pt x="299" y="685"/>
                  </a:lnTo>
                  <a:lnTo>
                    <a:pt x="298" y="685"/>
                  </a:lnTo>
                  <a:lnTo>
                    <a:pt x="298" y="683"/>
                  </a:lnTo>
                  <a:lnTo>
                    <a:pt x="299" y="682"/>
                  </a:lnTo>
                  <a:lnTo>
                    <a:pt x="298" y="682"/>
                  </a:lnTo>
                  <a:lnTo>
                    <a:pt x="298" y="680"/>
                  </a:lnTo>
                  <a:lnTo>
                    <a:pt x="299" y="680"/>
                  </a:lnTo>
                  <a:lnTo>
                    <a:pt x="299" y="679"/>
                  </a:lnTo>
                  <a:lnTo>
                    <a:pt x="299" y="677"/>
                  </a:lnTo>
                  <a:lnTo>
                    <a:pt x="299" y="675"/>
                  </a:lnTo>
                  <a:lnTo>
                    <a:pt x="298" y="675"/>
                  </a:lnTo>
                  <a:lnTo>
                    <a:pt x="298" y="674"/>
                  </a:lnTo>
                  <a:lnTo>
                    <a:pt x="298" y="672"/>
                  </a:lnTo>
                  <a:lnTo>
                    <a:pt x="298" y="670"/>
                  </a:lnTo>
                  <a:close/>
                  <a:moveTo>
                    <a:pt x="291" y="640"/>
                  </a:moveTo>
                  <a:lnTo>
                    <a:pt x="293" y="640"/>
                  </a:lnTo>
                  <a:lnTo>
                    <a:pt x="293" y="638"/>
                  </a:lnTo>
                  <a:lnTo>
                    <a:pt x="293" y="640"/>
                  </a:lnTo>
                  <a:lnTo>
                    <a:pt x="294" y="640"/>
                  </a:lnTo>
                  <a:lnTo>
                    <a:pt x="294" y="641"/>
                  </a:lnTo>
                  <a:lnTo>
                    <a:pt x="296" y="641"/>
                  </a:lnTo>
                  <a:lnTo>
                    <a:pt x="294" y="641"/>
                  </a:lnTo>
                  <a:lnTo>
                    <a:pt x="296" y="643"/>
                  </a:lnTo>
                  <a:lnTo>
                    <a:pt x="294" y="643"/>
                  </a:lnTo>
                  <a:lnTo>
                    <a:pt x="293" y="643"/>
                  </a:lnTo>
                  <a:lnTo>
                    <a:pt x="294" y="643"/>
                  </a:lnTo>
                  <a:lnTo>
                    <a:pt x="294" y="644"/>
                  </a:lnTo>
                  <a:lnTo>
                    <a:pt x="293" y="644"/>
                  </a:lnTo>
                  <a:lnTo>
                    <a:pt x="293" y="643"/>
                  </a:lnTo>
                  <a:lnTo>
                    <a:pt x="291" y="643"/>
                  </a:lnTo>
                  <a:lnTo>
                    <a:pt x="291" y="644"/>
                  </a:lnTo>
                  <a:lnTo>
                    <a:pt x="293" y="644"/>
                  </a:lnTo>
                  <a:lnTo>
                    <a:pt x="293" y="646"/>
                  </a:lnTo>
                  <a:lnTo>
                    <a:pt x="293" y="644"/>
                  </a:lnTo>
                  <a:lnTo>
                    <a:pt x="293" y="646"/>
                  </a:lnTo>
                  <a:lnTo>
                    <a:pt x="294" y="646"/>
                  </a:lnTo>
                  <a:lnTo>
                    <a:pt x="294" y="648"/>
                  </a:lnTo>
                  <a:lnTo>
                    <a:pt x="294" y="646"/>
                  </a:lnTo>
                  <a:lnTo>
                    <a:pt x="296" y="646"/>
                  </a:lnTo>
                  <a:lnTo>
                    <a:pt x="296" y="644"/>
                  </a:lnTo>
                  <a:lnTo>
                    <a:pt x="298" y="644"/>
                  </a:lnTo>
                  <a:lnTo>
                    <a:pt x="296" y="644"/>
                  </a:lnTo>
                  <a:lnTo>
                    <a:pt x="296" y="643"/>
                  </a:lnTo>
                  <a:lnTo>
                    <a:pt x="298" y="644"/>
                  </a:lnTo>
                  <a:lnTo>
                    <a:pt x="299" y="644"/>
                  </a:lnTo>
                  <a:lnTo>
                    <a:pt x="301" y="644"/>
                  </a:lnTo>
                  <a:lnTo>
                    <a:pt x="302" y="644"/>
                  </a:lnTo>
                  <a:lnTo>
                    <a:pt x="301" y="644"/>
                  </a:lnTo>
                  <a:lnTo>
                    <a:pt x="301" y="646"/>
                  </a:lnTo>
                  <a:lnTo>
                    <a:pt x="299" y="646"/>
                  </a:lnTo>
                  <a:lnTo>
                    <a:pt x="298" y="646"/>
                  </a:lnTo>
                  <a:lnTo>
                    <a:pt x="299" y="646"/>
                  </a:lnTo>
                  <a:lnTo>
                    <a:pt x="299" y="648"/>
                  </a:lnTo>
                  <a:lnTo>
                    <a:pt x="301" y="648"/>
                  </a:lnTo>
                  <a:lnTo>
                    <a:pt x="302" y="649"/>
                  </a:lnTo>
                  <a:lnTo>
                    <a:pt x="306" y="648"/>
                  </a:lnTo>
                  <a:lnTo>
                    <a:pt x="306" y="649"/>
                  </a:lnTo>
                  <a:lnTo>
                    <a:pt x="307" y="649"/>
                  </a:lnTo>
                  <a:lnTo>
                    <a:pt x="309" y="651"/>
                  </a:lnTo>
                  <a:lnTo>
                    <a:pt x="311" y="653"/>
                  </a:lnTo>
                  <a:lnTo>
                    <a:pt x="311" y="651"/>
                  </a:lnTo>
                  <a:lnTo>
                    <a:pt x="312" y="653"/>
                  </a:lnTo>
                  <a:lnTo>
                    <a:pt x="312" y="654"/>
                  </a:lnTo>
                  <a:lnTo>
                    <a:pt x="314" y="654"/>
                  </a:lnTo>
                  <a:lnTo>
                    <a:pt x="314" y="656"/>
                  </a:lnTo>
                  <a:lnTo>
                    <a:pt x="316" y="656"/>
                  </a:lnTo>
                  <a:lnTo>
                    <a:pt x="314" y="657"/>
                  </a:lnTo>
                  <a:lnTo>
                    <a:pt x="312" y="659"/>
                  </a:lnTo>
                  <a:lnTo>
                    <a:pt x="311" y="659"/>
                  </a:lnTo>
                  <a:lnTo>
                    <a:pt x="309" y="659"/>
                  </a:lnTo>
                  <a:lnTo>
                    <a:pt x="309" y="657"/>
                  </a:lnTo>
                  <a:lnTo>
                    <a:pt x="307" y="657"/>
                  </a:lnTo>
                  <a:lnTo>
                    <a:pt x="306" y="656"/>
                  </a:lnTo>
                  <a:lnTo>
                    <a:pt x="304" y="654"/>
                  </a:lnTo>
                  <a:lnTo>
                    <a:pt x="302" y="653"/>
                  </a:lnTo>
                  <a:lnTo>
                    <a:pt x="301" y="651"/>
                  </a:lnTo>
                  <a:lnTo>
                    <a:pt x="299" y="651"/>
                  </a:lnTo>
                  <a:lnTo>
                    <a:pt x="299" y="649"/>
                  </a:lnTo>
                  <a:lnTo>
                    <a:pt x="296" y="648"/>
                  </a:lnTo>
                  <a:lnTo>
                    <a:pt x="294" y="648"/>
                  </a:lnTo>
                  <a:lnTo>
                    <a:pt x="291" y="648"/>
                  </a:lnTo>
                  <a:lnTo>
                    <a:pt x="289" y="646"/>
                  </a:lnTo>
                  <a:lnTo>
                    <a:pt x="289" y="648"/>
                  </a:lnTo>
                  <a:lnTo>
                    <a:pt x="289" y="646"/>
                  </a:lnTo>
                  <a:lnTo>
                    <a:pt x="289" y="644"/>
                  </a:lnTo>
                  <a:lnTo>
                    <a:pt x="288" y="644"/>
                  </a:lnTo>
                  <a:lnTo>
                    <a:pt x="288" y="643"/>
                  </a:lnTo>
                  <a:lnTo>
                    <a:pt x="288" y="641"/>
                  </a:lnTo>
                  <a:lnTo>
                    <a:pt x="288" y="640"/>
                  </a:lnTo>
                  <a:lnTo>
                    <a:pt x="288" y="641"/>
                  </a:lnTo>
                  <a:lnTo>
                    <a:pt x="289" y="641"/>
                  </a:lnTo>
                  <a:lnTo>
                    <a:pt x="291" y="640"/>
                  </a:lnTo>
                  <a:close/>
                  <a:moveTo>
                    <a:pt x="215" y="558"/>
                  </a:moveTo>
                  <a:lnTo>
                    <a:pt x="216" y="558"/>
                  </a:lnTo>
                  <a:lnTo>
                    <a:pt x="215" y="558"/>
                  </a:lnTo>
                  <a:close/>
                  <a:moveTo>
                    <a:pt x="218" y="558"/>
                  </a:moveTo>
                  <a:lnTo>
                    <a:pt x="220" y="558"/>
                  </a:lnTo>
                  <a:lnTo>
                    <a:pt x="221" y="558"/>
                  </a:lnTo>
                  <a:lnTo>
                    <a:pt x="221" y="560"/>
                  </a:lnTo>
                  <a:lnTo>
                    <a:pt x="223" y="560"/>
                  </a:lnTo>
                  <a:lnTo>
                    <a:pt x="223" y="561"/>
                  </a:lnTo>
                  <a:lnTo>
                    <a:pt x="224" y="561"/>
                  </a:lnTo>
                  <a:lnTo>
                    <a:pt x="226" y="563"/>
                  </a:lnTo>
                  <a:lnTo>
                    <a:pt x="226" y="565"/>
                  </a:lnTo>
                  <a:lnTo>
                    <a:pt x="228" y="566"/>
                  </a:lnTo>
                  <a:lnTo>
                    <a:pt x="226" y="566"/>
                  </a:lnTo>
                  <a:lnTo>
                    <a:pt x="226" y="565"/>
                  </a:lnTo>
                  <a:lnTo>
                    <a:pt x="224" y="565"/>
                  </a:lnTo>
                  <a:lnTo>
                    <a:pt x="223" y="565"/>
                  </a:lnTo>
                  <a:lnTo>
                    <a:pt x="221" y="565"/>
                  </a:lnTo>
                  <a:lnTo>
                    <a:pt x="220" y="565"/>
                  </a:lnTo>
                  <a:lnTo>
                    <a:pt x="220" y="563"/>
                  </a:lnTo>
                  <a:lnTo>
                    <a:pt x="218" y="563"/>
                  </a:lnTo>
                  <a:lnTo>
                    <a:pt x="218" y="561"/>
                  </a:lnTo>
                  <a:lnTo>
                    <a:pt x="218" y="563"/>
                  </a:lnTo>
                  <a:lnTo>
                    <a:pt x="216" y="563"/>
                  </a:lnTo>
                  <a:lnTo>
                    <a:pt x="218" y="561"/>
                  </a:lnTo>
                  <a:lnTo>
                    <a:pt x="216" y="561"/>
                  </a:lnTo>
                  <a:lnTo>
                    <a:pt x="216" y="560"/>
                  </a:lnTo>
                  <a:lnTo>
                    <a:pt x="216" y="558"/>
                  </a:lnTo>
                  <a:lnTo>
                    <a:pt x="218" y="558"/>
                  </a:lnTo>
                  <a:lnTo>
                    <a:pt x="218" y="557"/>
                  </a:lnTo>
                  <a:lnTo>
                    <a:pt x="218" y="558"/>
                  </a:lnTo>
                  <a:close/>
                  <a:moveTo>
                    <a:pt x="234" y="518"/>
                  </a:moveTo>
                  <a:lnTo>
                    <a:pt x="236" y="518"/>
                  </a:lnTo>
                  <a:lnTo>
                    <a:pt x="237" y="518"/>
                  </a:lnTo>
                  <a:lnTo>
                    <a:pt x="237" y="519"/>
                  </a:lnTo>
                  <a:lnTo>
                    <a:pt x="239" y="519"/>
                  </a:lnTo>
                  <a:lnTo>
                    <a:pt x="239" y="521"/>
                  </a:lnTo>
                  <a:lnTo>
                    <a:pt x="241" y="521"/>
                  </a:lnTo>
                  <a:lnTo>
                    <a:pt x="239" y="522"/>
                  </a:lnTo>
                  <a:lnTo>
                    <a:pt x="239" y="524"/>
                  </a:lnTo>
                  <a:lnTo>
                    <a:pt x="239" y="522"/>
                  </a:lnTo>
                  <a:lnTo>
                    <a:pt x="237" y="522"/>
                  </a:lnTo>
                  <a:lnTo>
                    <a:pt x="237" y="524"/>
                  </a:lnTo>
                  <a:lnTo>
                    <a:pt x="239" y="524"/>
                  </a:lnTo>
                  <a:lnTo>
                    <a:pt x="237" y="524"/>
                  </a:lnTo>
                  <a:lnTo>
                    <a:pt x="237" y="526"/>
                  </a:lnTo>
                  <a:lnTo>
                    <a:pt x="239" y="526"/>
                  </a:lnTo>
                  <a:lnTo>
                    <a:pt x="241" y="527"/>
                  </a:lnTo>
                  <a:lnTo>
                    <a:pt x="242" y="529"/>
                  </a:lnTo>
                  <a:lnTo>
                    <a:pt x="244" y="529"/>
                  </a:lnTo>
                  <a:lnTo>
                    <a:pt x="244" y="531"/>
                  </a:lnTo>
                  <a:lnTo>
                    <a:pt x="246" y="531"/>
                  </a:lnTo>
                  <a:lnTo>
                    <a:pt x="246" y="532"/>
                  </a:lnTo>
                  <a:lnTo>
                    <a:pt x="246" y="534"/>
                  </a:lnTo>
                  <a:lnTo>
                    <a:pt x="244" y="535"/>
                  </a:lnTo>
                  <a:lnTo>
                    <a:pt x="246" y="535"/>
                  </a:lnTo>
                  <a:lnTo>
                    <a:pt x="244" y="537"/>
                  </a:lnTo>
                  <a:lnTo>
                    <a:pt x="244" y="539"/>
                  </a:lnTo>
                  <a:lnTo>
                    <a:pt x="244" y="537"/>
                  </a:lnTo>
                  <a:lnTo>
                    <a:pt x="242" y="535"/>
                  </a:lnTo>
                  <a:lnTo>
                    <a:pt x="242" y="534"/>
                  </a:lnTo>
                  <a:lnTo>
                    <a:pt x="242" y="532"/>
                  </a:lnTo>
                  <a:lnTo>
                    <a:pt x="242" y="531"/>
                  </a:lnTo>
                  <a:lnTo>
                    <a:pt x="241" y="531"/>
                  </a:lnTo>
                  <a:lnTo>
                    <a:pt x="241" y="529"/>
                  </a:lnTo>
                  <a:lnTo>
                    <a:pt x="239" y="527"/>
                  </a:lnTo>
                  <a:lnTo>
                    <a:pt x="237" y="527"/>
                  </a:lnTo>
                  <a:lnTo>
                    <a:pt x="236" y="527"/>
                  </a:lnTo>
                  <a:lnTo>
                    <a:pt x="234" y="527"/>
                  </a:lnTo>
                  <a:lnTo>
                    <a:pt x="234" y="524"/>
                  </a:lnTo>
                  <a:lnTo>
                    <a:pt x="231" y="522"/>
                  </a:lnTo>
                  <a:lnTo>
                    <a:pt x="233" y="522"/>
                  </a:lnTo>
                  <a:lnTo>
                    <a:pt x="233" y="519"/>
                  </a:lnTo>
                  <a:lnTo>
                    <a:pt x="233" y="518"/>
                  </a:lnTo>
                  <a:lnTo>
                    <a:pt x="234" y="518"/>
                  </a:lnTo>
                  <a:close/>
                  <a:moveTo>
                    <a:pt x="312" y="505"/>
                  </a:moveTo>
                  <a:lnTo>
                    <a:pt x="311" y="505"/>
                  </a:lnTo>
                  <a:lnTo>
                    <a:pt x="309" y="505"/>
                  </a:lnTo>
                  <a:lnTo>
                    <a:pt x="307" y="505"/>
                  </a:lnTo>
                  <a:lnTo>
                    <a:pt x="306" y="505"/>
                  </a:lnTo>
                  <a:lnTo>
                    <a:pt x="307" y="503"/>
                  </a:lnTo>
                  <a:lnTo>
                    <a:pt x="309" y="503"/>
                  </a:lnTo>
                  <a:lnTo>
                    <a:pt x="312" y="503"/>
                  </a:lnTo>
                  <a:lnTo>
                    <a:pt x="312" y="505"/>
                  </a:lnTo>
                  <a:close/>
                  <a:moveTo>
                    <a:pt x="316" y="503"/>
                  </a:moveTo>
                  <a:lnTo>
                    <a:pt x="312" y="503"/>
                  </a:lnTo>
                  <a:lnTo>
                    <a:pt x="314" y="503"/>
                  </a:lnTo>
                  <a:lnTo>
                    <a:pt x="316" y="503"/>
                  </a:lnTo>
                  <a:close/>
                  <a:moveTo>
                    <a:pt x="233" y="485"/>
                  </a:moveTo>
                  <a:lnTo>
                    <a:pt x="233" y="483"/>
                  </a:lnTo>
                  <a:lnTo>
                    <a:pt x="234" y="483"/>
                  </a:lnTo>
                  <a:lnTo>
                    <a:pt x="233" y="485"/>
                  </a:lnTo>
                  <a:close/>
                  <a:moveTo>
                    <a:pt x="320" y="500"/>
                  </a:moveTo>
                  <a:lnTo>
                    <a:pt x="319" y="500"/>
                  </a:lnTo>
                  <a:lnTo>
                    <a:pt x="320" y="498"/>
                  </a:lnTo>
                  <a:lnTo>
                    <a:pt x="322" y="498"/>
                  </a:lnTo>
                  <a:lnTo>
                    <a:pt x="320" y="500"/>
                  </a:lnTo>
                  <a:close/>
                  <a:moveTo>
                    <a:pt x="325" y="496"/>
                  </a:moveTo>
                  <a:lnTo>
                    <a:pt x="324" y="496"/>
                  </a:lnTo>
                  <a:lnTo>
                    <a:pt x="324" y="498"/>
                  </a:lnTo>
                  <a:lnTo>
                    <a:pt x="324" y="496"/>
                  </a:lnTo>
                  <a:lnTo>
                    <a:pt x="325" y="496"/>
                  </a:lnTo>
                  <a:lnTo>
                    <a:pt x="325" y="495"/>
                  </a:lnTo>
                  <a:lnTo>
                    <a:pt x="327" y="495"/>
                  </a:lnTo>
                  <a:lnTo>
                    <a:pt x="327" y="496"/>
                  </a:lnTo>
                  <a:lnTo>
                    <a:pt x="325" y="496"/>
                  </a:lnTo>
                  <a:close/>
                  <a:moveTo>
                    <a:pt x="224" y="479"/>
                  </a:moveTo>
                  <a:lnTo>
                    <a:pt x="226" y="479"/>
                  </a:lnTo>
                  <a:lnTo>
                    <a:pt x="224" y="479"/>
                  </a:lnTo>
                  <a:close/>
                  <a:moveTo>
                    <a:pt x="254" y="483"/>
                  </a:moveTo>
                  <a:lnTo>
                    <a:pt x="255" y="483"/>
                  </a:lnTo>
                  <a:lnTo>
                    <a:pt x="257" y="483"/>
                  </a:lnTo>
                  <a:lnTo>
                    <a:pt x="255" y="483"/>
                  </a:lnTo>
                  <a:lnTo>
                    <a:pt x="254" y="483"/>
                  </a:lnTo>
                  <a:close/>
                  <a:moveTo>
                    <a:pt x="220" y="475"/>
                  </a:moveTo>
                  <a:lnTo>
                    <a:pt x="221" y="475"/>
                  </a:lnTo>
                  <a:lnTo>
                    <a:pt x="220" y="475"/>
                  </a:lnTo>
                  <a:close/>
                  <a:moveTo>
                    <a:pt x="148" y="461"/>
                  </a:moveTo>
                  <a:lnTo>
                    <a:pt x="148" y="462"/>
                  </a:lnTo>
                  <a:lnTo>
                    <a:pt x="148" y="461"/>
                  </a:lnTo>
                  <a:close/>
                  <a:moveTo>
                    <a:pt x="221" y="474"/>
                  </a:moveTo>
                  <a:lnTo>
                    <a:pt x="223" y="474"/>
                  </a:lnTo>
                  <a:lnTo>
                    <a:pt x="221" y="474"/>
                  </a:lnTo>
                  <a:close/>
                  <a:moveTo>
                    <a:pt x="189" y="466"/>
                  </a:moveTo>
                  <a:lnTo>
                    <a:pt x="189" y="467"/>
                  </a:lnTo>
                  <a:lnTo>
                    <a:pt x="189" y="466"/>
                  </a:lnTo>
                  <a:close/>
                  <a:moveTo>
                    <a:pt x="185" y="464"/>
                  </a:moveTo>
                  <a:lnTo>
                    <a:pt x="184" y="466"/>
                  </a:lnTo>
                  <a:lnTo>
                    <a:pt x="184" y="464"/>
                  </a:lnTo>
                  <a:lnTo>
                    <a:pt x="184" y="466"/>
                  </a:lnTo>
                  <a:lnTo>
                    <a:pt x="184" y="464"/>
                  </a:lnTo>
                  <a:lnTo>
                    <a:pt x="184" y="462"/>
                  </a:lnTo>
                  <a:lnTo>
                    <a:pt x="185" y="464"/>
                  </a:lnTo>
                  <a:lnTo>
                    <a:pt x="185" y="462"/>
                  </a:lnTo>
                  <a:lnTo>
                    <a:pt x="185" y="464"/>
                  </a:lnTo>
                  <a:close/>
                  <a:moveTo>
                    <a:pt x="342" y="488"/>
                  </a:moveTo>
                  <a:lnTo>
                    <a:pt x="340" y="488"/>
                  </a:lnTo>
                  <a:lnTo>
                    <a:pt x="342" y="488"/>
                  </a:lnTo>
                  <a:lnTo>
                    <a:pt x="343" y="488"/>
                  </a:lnTo>
                  <a:lnTo>
                    <a:pt x="345" y="488"/>
                  </a:lnTo>
                  <a:lnTo>
                    <a:pt x="343" y="488"/>
                  </a:lnTo>
                  <a:lnTo>
                    <a:pt x="342" y="488"/>
                  </a:lnTo>
                  <a:close/>
                  <a:moveTo>
                    <a:pt x="176" y="461"/>
                  </a:moveTo>
                  <a:lnTo>
                    <a:pt x="177" y="461"/>
                  </a:lnTo>
                  <a:lnTo>
                    <a:pt x="176" y="461"/>
                  </a:lnTo>
                  <a:close/>
                  <a:moveTo>
                    <a:pt x="176" y="459"/>
                  </a:moveTo>
                  <a:lnTo>
                    <a:pt x="176" y="461"/>
                  </a:lnTo>
                  <a:lnTo>
                    <a:pt x="176" y="459"/>
                  </a:lnTo>
                  <a:close/>
                  <a:moveTo>
                    <a:pt x="179" y="459"/>
                  </a:moveTo>
                  <a:lnTo>
                    <a:pt x="179" y="457"/>
                  </a:lnTo>
                  <a:lnTo>
                    <a:pt x="179" y="459"/>
                  </a:lnTo>
                  <a:close/>
                  <a:moveTo>
                    <a:pt x="150" y="451"/>
                  </a:moveTo>
                  <a:lnTo>
                    <a:pt x="150" y="449"/>
                  </a:lnTo>
                  <a:lnTo>
                    <a:pt x="150" y="451"/>
                  </a:lnTo>
                  <a:lnTo>
                    <a:pt x="151" y="451"/>
                  </a:lnTo>
                  <a:lnTo>
                    <a:pt x="151" y="453"/>
                  </a:lnTo>
                  <a:lnTo>
                    <a:pt x="153" y="453"/>
                  </a:lnTo>
                  <a:lnTo>
                    <a:pt x="154" y="454"/>
                  </a:lnTo>
                  <a:lnTo>
                    <a:pt x="156" y="456"/>
                  </a:lnTo>
                  <a:lnTo>
                    <a:pt x="158" y="456"/>
                  </a:lnTo>
                  <a:lnTo>
                    <a:pt x="158" y="457"/>
                  </a:lnTo>
                  <a:lnTo>
                    <a:pt x="159" y="459"/>
                  </a:lnTo>
                  <a:lnTo>
                    <a:pt x="159" y="461"/>
                  </a:lnTo>
                  <a:lnTo>
                    <a:pt x="161" y="461"/>
                  </a:lnTo>
                  <a:lnTo>
                    <a:pt x="161" y="462"/>
                  </a:lnTo>
                  <a:lnTo>
                    <a:pt x="163" y="464"/>
                  </a:lnTo>
                  <a:lnTo>
                    <a:pt x="166" y="464"/>
                  </a:lnTo>
                  <a:lnTo>
                    <a:pt x="168" y="466"/>
                  </a:lnTo>
                  <a:lnTo>
                    <a:pt x="166" y="466"/>
                  </a:lnTo>
                  <a:lnTo>
                    <a:pt x="166" y="467"/>
                  </a:lnTo>
                  <a:lnTo>
                    <a:pt x="164" y="467"/>
                  </a:lnTo>
                  <a:lnTo>
                    <a:pt x="164" y="469"/>
                  </a:lnTo>
                  <a:lnTo>
                    <a:pt x="163" y="469"/>
                  </a:lnTo>
                  <a:lnTo>
                    <a:pt x="161" y="467"/>
                  </a:lnTo>
                  <a:lnTo>
                    <a:pt x="158" y="467"/>
                  </a:lnTo>
                  <a:lnTo>
                    <a:pt x="158" y="466"/>
                  </a:lnTo>
                  <a:lnTo>
                    <a:pt x="156" y="466"/>
                  </a:lnTo>
                  <a:lnTo>
                    <a:pt x="156" y="464"/>
                  </a:lnTo>
                  <a:lnTo>
                    <a:pt x="154" y="464"/>
                  </a:lnTo>
                  <a:lnTo>
                    <a:pt x="154" y="466"/>
                  </a:lnTo>
                  <a:lnTo>
                    <a:pt x="153" y="466"/>
                  </a:lnTo>
                  <a:lnTo>
                    <a:pt x="153" y="464"/>
                  </a:lnTo>
                  <a:lnTo>
                    <a:pt x="151" y="464"/>
                  </a:lnTo>
                  <a:lnTo>
                    <a:pt x="150" y="464"/>
                  </a:lnTo>
                  <a:lnTo>
                    <a:pt x="150" y="462"/>
                  </a:lnTo>
                  <a:lnTo>
                    <a:pt x="150" y="464"/>
                  </a:lnTo>
                  <a:lnTo>
                    <a:pt x="148" y="462"/>
                  </a:lnTo>
                  <a:lnTo>
                    <a:pt x="150" y="462"/>
                  </a:lnTo>
                  <a:lnTo>
                    <a:pt x="148" y="462"/>
                  </a:lnTo>
                  <a:lnTo>
                    <a:pt x="148" y="461"/>
                  </a:lnTo>
                  <a:lnTo>
                    <a:pt x="150" y="459"/>
                  </a:lnTo>
                  <a:lnTo>
                    <a:pt x="148" y="459"/>
                  </a:lnTo>
                  <a:lnTo>
                    <a:pt x="148" y="457"/>
                  </a:lnTo>
                  <a:lnTo>
                    <a:pt x="148" y="456"/>
                  </a:lnTo>
                  <a:lnTo>
                    <a:pt x="148" y="454"/>
                  </a:lnTo>
                  <a:lnTo>
                    <a:pt x="148" y="453"/>
                  </a:lnTo>
                  <a:lnTo>
                    <a:pt x="150" y="453"/>
                  </a:lnTo>
                  <a:lnTo>
                    <a:pt x="150" y="451"/>
                  </a:lnTo>
                  <a:close/>
                  <a:moveTo>
                    <a:pt x="174" y="453"/>
                  </a:moveTo>
                  <a:lnTo>
                    <a:pt x="174" y="454"/>
                  </a:lnTo>
                  <a:lnTo>
                    <a:pt x="174" y="453"/>
                  </a:lnTo>
                  <a:close/>
                  <a:moveTo>
                    <a:pt x="174" y="453"/>
                  </a:moveTo>
                  <a:lnTo>
                    <a:pt x="176" y="453"/>
                  </a:lnTo>
                  <a:lnTo>
                    <a:pt x="176" y="454"/>
                  </a:lnTo>
                  <a:lnTo>
                    <a:pt x="177" y="454"/>
                  </a:lnTo>
                  <a:lnTo>
                    <a:pt x="179" y="454"/>
                  </a:lnTo>
                  <a:lnTo>
                    <a:pt x="179" y="456"/>
                  </a:lnTo>
                  <a:lnTo>
                    <a:pt x="179" y="454"/>
                  </a:lnTo>
                  <a:lnTo>
                    <a:pt x="181" y="456"/>
                  </a:lnTo>
                  <a:lnTo>
                    <a:pt x="179" y="456"/>
                  </a:lnTo>
                  <a:lnTo>
                    <a:pt x="179" y="457"/>
                  </a:lnTo>
                  <a:lnTo>
                    <a:pt x="177" y="457"/>
                  </a:lnTo>
                  <a:lnTo>
                    <a:pt x="177" y="456"/>
                  </a:lnTo>
                  <a:lnTo>
                    <a:pt x="176" y="456"/>
                  </a:lnTo>
                  <a:lnTo>
                    <a:pt x="176" y="454"/>
                  </a:lnTo>
                  <a:lnTo>
                    <a:pt x="174" y="454"/>
                  </a:lnTo>
                  <a:lnTo>
                    <a:pt x="176" y="454"/>
                  </a:lnTo>
                  <a:lnTo>
                    <a:pt x="174" y="453"/>
                  </a:lnTo>
                  <a:lnTo>
                    <a:pt x="176" y="453"/>
                  </a:lnTo>
                  <a:lnTo>
                    <a:pt x="174" y="453"/>
                  </a:lnTo>
                  <a:close/>
                  <a:moveTo>
                    <a:pt x="172" y="451"/>
                  </a:moveTo>
                  <a:lnTo>
                    <a:pt x="174" y="451"/>
                  </a:lnTo>
                  <a:lnTo>
                    <a:pt x="172" y="451"/>
                  </a:lnTo>
                  <a:close/>
                  <a:moveTo>
                    <a:pt x="210" y="457"/>
                  </a:moveTo>
                  <a:lnTo>
                    <a:pt x="211" y="457"/>
                  </a:lnTo>
                  <a:lnTo>
                    <a:pt x="210" y="457"/>
                  </a:lnTo>
                  <a:close/>
                  <a:moveTo>
                    <a:pt x="200" y="438"/>
                  </a:moveTo>
                  <a:lnTo>
                    <a:pt x="200" y="436"/>
                  </a:lnTo>
                  <a:lnTo>
                    <a:pt x="200" y="438"/>
                  </a:lnTo>
                  <a:close/>
                  <a:moveTo>
                    <a:pt x="161" y="430"/>
                  </a:moveTo>
                  <a:lnTo>
                    <a:pt x="161" y="428"/>
                  </a:lnTo>
                  <a:lnTo>
                    <a:pt x="161" y="430"/>
                  </a:lnTo>
                  <a:close/>
                  <a:moveTo>
                    <a:pt x="194" y="433"/>
                  </a:moveTo>
                  <a:lnTo>
                    <a:pt x="195" y="433"/>
                  </a:lnTo>
                  <a:lnTo>
                    <a:pt x="194" y="433"/>
                  </a:lnTo>
                  <a:close/>
                  <a:moveTo>
                    <a:pt x="194" y="433"/>
                  </a:moveTo>
                  <a:lnTo>
                    <a:pt x="192" y="435"/>
                  </a:lnTo>
                  <a:lnTo>
                    <a:pt x="192" y="433"/>
                  </a:lnTo>
                  <a:lnTo>
                    <a:pt x="194" y="433"/>
                  </a:lnTo>
                  <a:close/>
                  <a:moveTo>
                    <a:pt x="192" y="433"/>
                  </a:moveTo>
                  <a:lnTo>
                    <a:pt x="194" y="433"/>
                  </a:lnTo>
                  <a:lnTo>
                    <a:pt x="192" y="433"/>
                  </a:lnTo>
                  <a:close/>
                  <a:moveTo>
                    <a:pt x="181" y="431"/>
                  </a:moveTo>
                  <a:lnTo>
                    <a:pt x="181" y="430"/>
                  </a:lnTo>
                  <a:lnTo>
                    <a:pt x="181" y="431"/>
                  </a:lnTo>
                  <a:close/>
                  <a:moveTo>
                    <a:pt x="189" y="430"/>
                  </a:moveTo>
                  <a:lnTo>
                    <a:pt x="189" y="431"/>
                  </a:lnTo>
                  <a:lnTo>
                    <a:pt x="189" y="430"/>
                  </a:lnTo>
                  <a:close/>
                  <a:moveTo>
                    <a:pt x="198" y="433"/>
                  </a:moveTo>
                  <a:lnTo>
                    <a:pt x="198" y="431"/>
                  </a:lnTo>
                  <a:lnTo>
                    <a:pt x="198" y="433"/>
                  </a:lnTo>
                  <a:close/>
                  <a:moveTo>
                    <a:pt x="187" y="430"/>
                  </a:moveTo>
                  <a:lnTo>
                    <a:pt x="187" y="431"/>
                  </a:lnTo>
                  <a:lnTo>
                    <a:pt x="187" y="430"/>
                  </a:lnTo>
                  <a:close/>
                  <a:moveTo>
                    <a:pt x="202" y="433"/>
                  </a:moveTo>
                  <a:lnTo>
                    <a:pt x="203" y="431"/>
                  </a:lnTo>
                  <a:lnTo>
                    <a:pt x="203" y="433"/>
                  </a:lnTo>
                  <a:lnTo>
                    <a:pt x="202" y="433"/>
                  </a:lnTo>
                  <a:close/>
                  <a:moveTo>
                    <a:pt x="190" y="430"/>
                  </a:moveTo>
                  <a:lnTo>
                    <a:pt x="192" y="430"/>
                  </a:lnTo>
                  <a:lnTo>
                    <a:pt x="190" y="430"/>
                  </a:lnTo>
                  <a:close/>
                  <a:moveTo>
                    <a:pt x="185" y="430"/>
                  </a:moveTo>
                  <a:lnTo>
                    <a:pt x="185" y="428"/>
                  </a:lnTo>
                  <a:lnTo>
                    <a:pt x="185" y="430"/>
                  </a:lnTo>
                  <a:close/>
                  <a:moveTo>
                    <a:pt x="189" y="430"/>
                  </a:moveTo>
                  <a:lnTo>
                    <a:pt x="190" y="430"/>
                  </a:lnTo>
                  <a:lnTo>
                    <a:pt x="189" y="430"/>
                  </a:lnTo>
                  <a:close/>
                  <a:moveTo>
                    <a:pt x="205" y="433"/>
                  </a:moveTo>
                  <a:lnTo>
                    <a:pt x="203" y="433"/>
                  </a:lnTo>
                  <a:lnTo>
                    <a:pt x="203" y="431"/>
                  </a:lnTo>
                  <a:lnTo>
                    <a:pt x="205" y="433"/>
                  </a:lnTo>
                  <a:close/>
                  <a:moveTo>
                    <a:pt x="195" y="428"/>
                  </a:moveTo>
                  <a:lnTo>
                    <a:pt x="197" y="428"/>
                  </a:lnTo>
                  <a:lnTo>
                    <a:pt x="195" y="428"/>
                  </a:lnTo>
                  <a:close/>
                  <a:moveTo>
                    <a:pt x="198" y="428"/>
                  </a:moveTo>
                  <a:lnTo>
                    <a:pt x="200" y="428"/>
                  </a:lnTo>
                  <a:lnTo>
                    <a:pt x="200" y="430"/>
                  </a:lnTo>
                  <a:lnTo>
                    <a:pt x="198" y="430"/>
                  </a:lnTo>
                  <a:lnTo>
                    <a:pt x="200" y="430"/>
                  </a:lnTo>
                  <a:lnTo>
                    <a:pt x="198" y="430"/>
                  </a:lnTo>
                  <a:lnTo>
                    <a:pt x="197" y="430"/>
                  </a:lnTo>
                  <a:lnTo>
                    <a:pt x="197" y="431"/>
                  </a:lnTo>
                  <a:lnTo>
                    <a:pt x="197" y="430"/>
                  </a:lnTo>
                  <a:lnTo>
                    <a:pt x="197" y="428"/>
                  </a:lnTo>
                  <a:lnTo>
                    <a:pt x="198" y="428"/>
                  </a:lnTo>
                  <a:close/>
                  <a:moveTo>
                    <a:pt x="195" y="426"/>
                  </a:moveTo>
                  <a:lnTo>
                    <a:pt x="194" y="428"/>
                  </a:lnTo>
                  <a:lnTo>
                    <a:pt x="195" y="428"/>
                  </a:lnTo>
                  <a:lnTo>
                    <a:pt x="195" y="430"/>
                  </a:lnTo>
                  <a:lnTo>
                    <a:pt x="194" y="430"/>
                  </a:lnTo>
                  <a:lnTo>
                    <a:pt x="194" y="428"/>
                  </a:lnTo>
                  <a:lnTo>
                    <a:pt x="194" y="430"/>
                  </a:lnTo>
                  <a:lnTo>
                    <a:pt x="192" y="431"/>
                  </a:lnTo>
                  <a:lnTo>
                    <a:pt x="194" y="431"/>
                  </a:lnTo>
                  <a:lnTo>
                    <a:pt x="192" y="433"/>
                  </a:lnTo>
                  <a:lnTo>
                    <a:pt x="192" y="431"/>
                  </a:lnTo>
                  <a:lnTo>
                    <a:pt x="192" y="433"/>
                  </a:lnTo>
                  <a:lnTo>
                    <a:pt x="192" y="431"/>
                  </a:lnTo>
                  <a:lnTo>
                    <a:pt x="192" y="430"/>
                  </a:lnTo>
                  <a:lnTo>
                    <a:pt x="192" y="428"/>
                  </a:lnTo>
                  <a:lnTo>
                    <a:pt x="194" y="428"/>
                  </a:lnTo>
                  <a:lnTo>
                    <a:pt x="194" y="426"/>
                  </a:lnTo>
                  <a:lnTo>
                    <a:pt x="194" y="428"/>
                  </a:lnTo>
                  <a:lnTo>
                    <a:pt x="194" y="426"/>
                  </a:lnTo>
                  <a:lnTo>
                    <a:pt x="195" y="426"/>
                  </a:lnTo>
                  <a:close/>
                  <a:moveTo>
                    <a:pt x="202" y="426"/>
                  </a:moveTo>
                  <a:lnTo>
                    <a:pt x="202" y="428"/>
                  </a:lnTo>
                  <a:lnTo>
                    <a:pt x="203" y="428"/>
                  </a:lnTo>
                  <a:lnTo>
                    <a:pt x="202" y="428"/>
                  </a:lnTo>
                  <a:lnTo>
                    <a:pt x="202" y="426"/>
                  </a:lnTo>
                  <a:close/>
                  <a:moveTo>
                    <a:pt x="194" y="426"/>
                  </a:moveTo>
                  <a:lnTo>
                    <a:pt x="194" y="425"/>
                  </a:lnTo>
                  <a:lnTo>
                    <a:pt x="194" y="426"/>
                  </a:lnTo>
                  <a:close/>
                  <a:moveTo>
                    <a:pt x="200" y="426"/>
                  </a:moveTo>
                  <a:lnTo>
                    <a:pt x="202" y="426"/>
                  </a:lnTo>
                  <a:lnTo>
                    <a:pt x="200" y="426"/>
                  </a:lnTo>
                  <a:close/>
                  <a:moveTo>
                    <a:pt x="132" y="409"/>
                  </a:moveTo>
                  <a:lnTo>
                    <a:pt x="133" y="409"/>
                  </a:lnTo>
                  <a:lnTo>
                    <a:pt x="135" y="409"/>
                  </a:lnTo>
                  <a:lnTo>
                    <a:pt x="135" y="410"/>
                  </a:lnTo>
                  <a:lnTo>
                    <a:pt x="137" y="410"/>
                  </a:lnTo>
                  <a:lnTo>
                    <a:pt x="138" y="410"/>
                  </a:lnTo>
                  <a:lnTo>
                    <a:pt x="138" y="412"/>
                  </a:lnTo>
                  <a:lnTo>
                    <a:pt x="140" y="412"/>
                  </a:lnTo>
                  <a:lnTo>
                    <a:pt x="140" y="413"/>
                  </a:lnTo>
                  <a:lnTo>
                    <a:pt x="140" y="415"/>
                  </a:lnTo>
                  <a:lnTo>
                    <a:pt x="138" y="413"/>
                  </a:lnTo>
                  <a:lnTo>
                    <a:pt x="137" y="413"/>
                  </a:lnTo>
                  <a:lnTo>
                    <a:pt x="135" y="413"/>
                  </a:lnTo>
                  <a:lnTo>
                    <a:pt x="133" y="412"/>
                  </a:lnTo>
                  <a:lnTo>
                    <a:pt x="132" y="410"/>
                  </a:lnTo>
                  <a:lnTo>
                    <a:pt x="132" y="409"/>
                  </a:lnTo>
                  <a:close/>
                  <a:moveTo>
                    <a:pt x="164" y="410"/>
                  </a:moveTo>
                  <a:lnTo>
                    <a:pt x="164" y="409"/>
                  </a:lnTo>
                  <a:lnTo>
                    <a:pt x="164" y="410"/>
                  </a:lnTo>
                  <a:close/>
                  <a:moveTo>
                    <a:pt x="164" y="409"/>
                  </a:moveTo>
                  <a:lnTo>
                    <a:pt x="164" y="410"/>
                  </a:lnTo>
                  <a:lnTo>
                    <a:pt x="164" y="409"/>
                  </a:lnTo>
                  <a:close/>
                  <a:moveTo>
                    <a:pt x="164" y="410"/>
                  </a:moveTo>
                  <a:lnTo>
                    <a:pt x="164" y="409"/>
                  </a:lnTo>
                  <a:lnTo>
                    <a:pt x="166" y="410"/>
                  </a:lnTo>
                  <a:lnTo>
                    <a:pt x="164" y="410"/>
                  </a:lnTo>
                  <a:close/>
                  <a:moveTo>
                    <a:pt x="164" y="410"/>
                  </a:moveTo>
                  <a:lnTo>
                    <a:pt x="164" y="409"/>
                  </a:lnTo>
                  <a:lnTo>
                    <a:pt x="164" y="410"/>
                  </a:lnTo>
                  <a:close/>
                  <a:moveTo>
                    <a:pt x="85" y="391"/>
                  </a:moveTo>
                  <a:lnTo>
                    <a:pt x="86" y="391"/>
                  </a:lnTo>
                  <a:lnTo>
                    <a:pt x="86" y="392"/>
                  </a:lnTo>
                  <a:lnTo>
                    <a:pt x="85" y="392"/>
                  </a:lnTo>
                  <a:lnTo>
                    <a:pt x="85" y="391"/>
                  </a:lnTo>
                  <a:close/>
                  <a:moveTo>
                    <a:pt x="86" y="392"/>
                  </a:moveTo>
                  <a:lnTo>
                    <a:pt x="86" y="391"/>
                  </a:lnTo>
                  <a:lnTo>
                    <a:pt x="88" y="392"/>
                  </a:lnTo>
                  <a:lnTo>
                    <a:pt x="86" y="392"/>
                  </a:lnTo>
                  <a:close/>
                  <a:moveTo>
                    <a:pt x="89" y="392"/>
                  </a:moveTo>
                  <a:lnTo>
                    <a:pt x="91" y="392"/>
                  </a:lnTo>
                  <a:lnTo>
                    <a:pt x="89" y="392"/>
                  </a:lnTo>
                  <a:close/>
                  <a:moveTo>
                    <a:pt x="91" y="392"/>
                  </a:moveTo>
                  <a:lnTo>
                    <a:pt x="91" y="391"/>
                  </a:lnTo>
                  <a:lnTo>
                    <a:pt x="91" y="392"/>
                  </a:lnTo>
                  <a:close/>
                  <a:moveTo>
                    <a:pt x="88" y="389"/>
                  </a:moveTo>
                  <a:lnTo>
                    <a:pt x="88" y="391"/>
                  </a:lnTo>
                  <a:lnTo>
                    <a:pt x="86" y="391"/>
                  </a:lnTo>
                  <a:lnTo>
                    <a:pt x="86" y="389"/>
                  </a:lnTo>
                  <a:lnTo>
                    <a:pt x="86" y="391"/>
                  </a:lnTo>
                  <a:lnTo>
                    <a:pt x="86" y="389"/>
                  </a:lnTo>
                  <a:lnTo>
                    <a:pt x="88" y="389"/>
                  </a:lnTo>
                  <a:close/>
                  <a:moveTo>
                    <a:pt x="88" y="391"/>
                  </a:moveTo>
                  <a:lnTo>
                    <a:pt x="88" y="389"/>
                  </a:lnTo>
                  <a:lnTo>
                    <a:pt x="88" y="391"/>
                  </a:lnTo>
                  <a:close/>
                  <a:moveTo>
                    <a:pt x="86" y="389"/>
                  </a:moveTo>
                  <a:lnTo>
                    <a:pt x="86" y="387"/>
                  </a:lnTo>
                  <a:lnTo>
                    <a:pt x="86" y="389"/>
                  </a:lnTo>
                  <a:close/>
                  <a:moveTo>
                    <a:pt x="85" y="389"/>
                  </a:moveTo>
                  <a:lnTo>
                    <a:pt x="85" y="387"/>
                  </a:lnTo>
                  <a:lnTo>
                    <a:pt x="86" y="389"/>
                  </a:lnTo>
                  <a:lnTo>
                    <a:pt x="85" y="389"/>
                  </a:lnTo>
                  <a:close/>
                  <a:moveTo>
                    <a:pt x="107" y="386"/>
                  </a:moveTo>
                  <a:lnTo>
                    <a:pt x="107" y="387"/>
                  </a:lnTo>
                  <a:lnTo>
                    <a:pt x="107" y="386"/>
                  </a:lnTo>
                  <a:close/>
                  <a:moveTo>
                    <a:pt x="55" y="376"/>
                  </a:moveTo>
                  <a:lnTo>
                    <a:pt x="57" y="376"/>
                  </a:lnTo>
                  <a:lnTo>
                    <a:pt x="55" y="376"/>
                  </a:lnTo>
                  <a:close/>
                  <a:moveTo>
                    <a:pt x="86" y="383"/>
                  </a:moveTo>
                  <a:lnTo>
                    <a:pt x="86" y="381"/>
                  </a:lnTo>
                  <a:lnTo>
                    <a:pt x="86" y="383"/>
                  </a:lnTo>
                  <a:close/>
                  <a:moveTo>
                    <a:pt x="107" y="384"/>
                  </a:moveTo>
                  <a:lnTo>
                    <a:pt x="107" y="386"/>
                  </a:lnTo>
                  <a:lnTo>
                    <a:pt x="107" y="384"/>
                  </a:lnTo>
                  <a:close/>
                  <a:moveTo>
                    <a:pt x="55" y="374"/>
                  </a:moveTo>
                  <a:lnTo>
                    <a:pt x="55" y="373"/>
                  </a:lnTo>
                  <a:lnTo>
                    <a:pt x="57" y="374"/>
                  </a:lnTo>
                  <a:lnTo>
                    <a:pt x="55" y="374"/>
                  </a:lnTo>
                  <a:close/>
                  <a:moveTo>
                    <a:pt x="59" y="374"/>
                  </a:moveTo>
                  <a:lnTo>
                    <a:pt x="59" y="373"/>
                  </a:lnTo>
                  <a:lnTo>
                    <a:pt x="59" y="374"/>
                  </a:lnTo>
                  <a:close/>
                  <a:moveTo>
                    <a:pt x="52" y="373"/>
                  </a:moveTo>
                  <a:lnTo>
                    <a:pt x="54" y="373"/>
                  </a:lnTo>
                  <a:lnTo>
                    <a:pt x="52" y="373"/>
                  </a:lnTo>
                  <a:close/>
                  <a:moveTo>
                    <a:pt x="15" y="329"/>
                  </a:moveTo>
                  <a:lnTo>
                    <a:pt x="16" y="329"/>
                  </a:lnTo>
                  <a:lnTo>
                    <a:pt x="15" y="331"/>
                  </a:lnTo>
                  <a:lnTo>
                    <a:pt x="16" y="331"/>
                  </a:lnTo>
                  <a:lnTo>
                    <a:pt x="15" y="331"/>
                  </a:lnTo>
                  <a:lnTo>
                    <a:pt x="15" y="329"/>
                  </a:lnTo>
                  <a:lnTo>
                    <a:pt x="13" y="329"/>
                  </a:lnTo>
                  <a:lnTo>
                    <a:pt x="13" y="327"/>
                  </a:lnTo>
                  <a:lnTo>
                    <a:pt x="13" y="329"/>
                  </a:lnTo>
                  <a:lnTo>
                    <a:pt x="15" y="329"/>
                  </a:lnTo>
                  <a:lnTo>
                    <a:pt x="15" y="327"/>
                  </a:lnTo>
                  <a:lnTo>
                    <a:pt x="15" y="329"/>
                  </a:lnTo>
                  <a:close/>
                  <a:moveTo>
                    <a:pt x="23" y="287"/>
                  </a:moveTo>
                  <a:lnTo>
                    <a:pt x="23" y="285"/>
                  </a:lnTo>
                  <a:lnTo>
                    <a:pt x="23" y="287"/>
                  </a:lnTo>
                  <a:lnTo>
                    <a:pt x="23" y="285"/>
                  </a:lnTo>
                  <a:lnTo>
                    <a:pt x="24" y="285"/>
                  </a:lnTo>
                  <a:lnTo>
                    <a:pt x="26" y="285"/>
                  </a:lnTo>
                  <a:lnTo>
                    <a:pt x="24" y="285"/>
                  </a:lnTo>
                  <a:lnTo>
                    <a:pt x="24" y="287"/>
                  </a:lnTo>
                  <a:lnTo>
                    <a:pt x="23" y="287"/>
                  </a:lnTo>
                  <a:close/>
                  <a:moveTo>
                    <a:pt x="21" y="282"/>
                  </a:moveTo>
                  <a:lnTo>
                    <a:pt x="23" y="282"/>
                  </a:lnTo>
                  <a:lnTo>
                    <a:pt x="21" y="282"/>
                  </a:lnTo>
                  <a:close/>
                  <a:moveTo>
                    <a:pt x="16" y="280"/>
                  </a:moveTo>
                  <a:lnTo>
                    <a:pt x="16" y="282"/>
                  </a:lnTo>
                  <a:lnTo>
                    <a:pt x="16" y="280"/>
                  </a:lnTo>
                  <a:lnTo>
                    <a:pt x="18" y="280"/>
                  </a:lnTo>
                  <a:lnTo>
                    <a:pt x="16" y="280"/>
                  </a:lnTo>
                  <a:close/>
                  <a:moveTo>
                    <a:pt x="20" y="280"/>
                  </a:moveTo>
                  <a:lnTo>
                    <a:pt x="20" y="282"/>
                  </a:lnTo>
                  <a:lnTo>
                    <a:pt x="21" y="280"/>
                  </a:lnTo>
                  <a:lnTo>
                    <a:pt x="21" y="282"/>
                  </a:lnTo>
                  <a:lnTo>
                    <a:pt x="20" y="282"/>
                  </a:lnTo>
                  <a:lnTo>
                    <a:pt x="20" y="280"/>
                  </a:lnTo>
                  <a:close/>
                  <a:moveTo>
                    <a:pt x="21" y="282"/>
                  </a:moveTo>
                  <a:lnTo>
                    <a:pt x="21" y="280"/>
                  </a:lnTo>
                  <a:lnTo>
                    <a:pt x="21" y="282"/>
                  </a:lnTo>
                  <a:close/>
                  <a:moveTo>
                    <a:pt x="20" y="280"/>
                  </a:moveTo>
                  <a:lnTo>
                    <a:pt x="21" y="278"/>
                  </a:lnTo>
                  <a:lnTo>
                    <a:pt x="21" y="280"/>
                  </a:lnTo>
                  <a:lnTo>
                    <a:pt x="20" y="280"/>
                  </a:lnTo>
                  <a:close/>
                  <a:moveTo>
                    <a:pt x="15" y="278"/>
                  </a:moveTo>
                  <a:lnTo>
                    <a:pt x="15" y="277"/>
                  </a:lnTo>
                  <a:lnTo>
                    <a:pt x="15" y="275"/>
                  </a:lnTo>
                  <a:lnTo>
                    <a:pt x="16" y="277"/>
                  </a:lnTo>
                  <a:lnTo>
                    <a:pt x="15" y="278"/>
                  </a:lnTo>
                  <a:close/>
                  <a:moveTo>
                    <a:pt x="16" y="275"/>
                  </a:moveTo>
                  <a:lnTo>
                    <a:pt x="18" y="275"/>
                  </a:lnTo>
                  <a:lnTo>
                    <a:pt x="16" y="277"/>
                  </a:lnTo>
                  <a:lnTo>
                    <a:pt x="16" y="275"/>
                  </a:lnTo>
                  <a:close/>
                  <a:moveTo>
                    <a:pt x="13" y="274"/>
                  </a:moveTo>
                  <a:lnTo>
                    <a:pt x="15" y="274"/>
                  </a:lnTo>
                  <a:lnTo>
                    <a:pt x="13" y="274"/>
                  </a:lnTo>
                  <a:close/>
                  <a:moveTo>
                    <a:pt x="11" y="272"/>
                  </a:moveTo>
                  <a:lnTo>
                    <a:pt x="10" y="272"/>
                  </a:lnTo>
                  <a:lnTo>
                    <a:pt x="11" y="272"/>
                  </a:lnTo>
                  <a:lnTo>
                    <a:pt x="11" y="270"/>
                  </a:lnTo>
                  <a:lnTo>
                    <a:pt x="11" y="272"/>
                  </a:lnTo>
                  <a:close/>
                  <a:moveTo>
                    <a:pt x="3" y="262"/>
                  </a:moveTo>
                  <a:lnTo>
                    <a:pt x="5" y="262"/>
                  </a:lnTo>
                  <a:lnTo>
                    <a:pt x="3" y="262"/>
                  </a:lnTo>
                  <a:close/>
                  <a:moveTo>
                    <a:pt x="6" y="262"/>
                  </a:moveTo>
                  <a:lnTo>
                    <a:pt x="8" y="262"/>
                  </a:lnTo>
                  <a:lnTo>
                    <a:pt x="6" y="262"/>
                  </a:lnTo>
                  <a:lnTo>
                    <a:pt x="8" y="262"/>
                  </a:lnTo>
                  <a:lnTo>
                    <a:pt x="8" y="264"/>
                  </a:lnTo>
                  <a:lnTo>
                    <a:pt x="10" y="264"/>
                  </a:lnTo>
                  <a:lnTo>
                    <a:pt x="8" y="264"/>
                  </a:lnTo>
                  <a:lnTo>
                    <a:pt x="8" y="265"/>
                  </a:lnTo>
                  <a:lnTo>
                    <a:pt x="10" y="265"/>
                  </a:lnTo>
                  <a:lnTo>
                    <a:pt x="10" y="267"/>
                  </a:lnTo>
                  <a:lnTo>
                    <a:pt x="8" y="265"/>
                  </a:lnTo>
                  <a:lnTo>
                    <a:pt x="8" y="267"/>
                  </a:lnTo>
                  <a:lnTo>
                    <a:pt x="6" y="267"/>
                  </a:lnTo>
                  <a:lnTo>
                    <a:pt x="5" y="267"/>
                  </a:lnTo>
                  <a:lnTo>
                    <a:pt x="5" y="269"/>
                  </a:lnTo>
                  <a:lnTo>
                    <a:pt x="3" y="269"/>
                  </a:lnTo>
                  <a:lnTo>
                    <a:pt x="2" y="269"/>
                  </a:lnTo>
                  <a:lnTo>
                    <a:pt x="2" y="267"/>
                  </a:lnTo>
                  <a:lnTo>
                    <a:pt x="3" y="267"/>
                  </a:lnTo>
                  <a:lnTo>
                    <a:pt x="5" y="267"/>
                  </a:lnTo>
                  <a:lnTo>
                    <a:pt x="3" y="265"/>
                  </a:lnTo>
                  <a:lnTo>
                    <a:pt x="2" y="265"/>
                  </a:lnTo>
                  <a:lnTo>
                    <a:pt x="0" y="265"/>
                  </a:lnTo>
                  <a:lnTo>
                    <a:pt x="2" y="264"/>
                  </a:lnTo>
                  <a:lnTo>
                    <a:pt x="3" y="264"/>
                  </a:lnTo>
                  <a:lnTo>
                    <a:pt x="5" y="262"/>
                  </a:lnTo>
                  <a:lnTo>
                    <a:pt x="5" y="264"/>
                  </a:lnTo>
                  <a:lnTo>
                    <a:pt x="5" y="262"/>
                  </a:lnTo>
                  <a:lnTo>
                    <a:pt x="5" y="264"/>
                  </a:lnTo>
                  <a:lnTo>
                    <a:pt x="6" y="264"/>
                  </a:lnTo>
                  <a:lnTo>
                    <a:pt x="6" y="262"/>
                  </a:lnTo>
                  <a:close/>
                  <a:moveTo>
                    <a:pt x="36" y="262"/>
                  </a:moveTo>
                  <a:lnTo>
                    <a:pt x="36" y="261"/>
                  </a:lnTo>
                  <a:lnTo>
                    <a:pt x="36" y="262"/>
                  </a:lnTo>
                  <a:close/>
                  <a:moveTo>
                    <a:pt x="41" y="257"/>
                  </a:moveTo>
                  <a:lnTo>
                    <a:pt x="42" y="257"/>
                  </a:lnTo>
                  <a:lnTo>
                    <a:pt x="41" y="257"/>
                  </a:lnTo>
                  <a:close/>
                  <a:moveTo>
                    <a:pt x="44" y="257"/>
                  </a:moveTo>
                  <a:lnTo>
                    <a:pt x="44" y="256"/>
                  </a:lnTo>
                  <a:lnTo>
                    <a:pt x="44" y="257"/>
                  </a:lnTo>
                  <a:close/>
                  <a:moveTo>
                    <a:pt x="47" y="256"/>
                  </a:moveTo>
                  <a:lnTo>
                    <a:pt x="47" y="257"/>
                  </a:lnTo>
                  <a:lnTo>
                    <a:pt x="47" y="256"/>
                  </a:lnTo>
                  <a:close/>
                  <a:moveTo>
                    <a:pt x="47" y="257"/>
                  </a:moveTo>
                  <a:lnTo>
                    <a:pt x="47" y="256"/>
                  </a:lnTo>
                  <a:lnTo>
                    <a:pt x="49" y="257"/>
                  </a:lnTo>
                  <a:lnTo>
                    <a:pt x="47" y="257"/>
                  </a:lnTo>
                  <a:close/>
                  <a:moveTo>
                    <a:pt x="46" y="256"/>
                  </a:moveTo>
                  <a:lnTo>
                    <a:pt x="47" y="256"/>
                  </a:lnTo>
                  <a:lnTo>
                    <a:pt x="46" y="256"/>
                  </a:lnTo>
                  <a:close/>
                  <a:moveTo>
                    <a:pt x="52" y="256"/>
                  </a:moveTo>
                  <a:lnTo>
                    <a:pt x="52" y="257"/>
                  </a:lnTo>
                  <a:lnTo>
                    <a:pt x="52" y="256"/>
                  </a:lnTo>
                  <a:close/>
                  <a:moveTo>
                    <a:pt x="52" y="256"/>
                  </a:moveTo>
                  <a:lnTo>
                    <a:pt x="54" y="256"/>
                  </a:lnTo>
                  <a:lnTo>
                    <a:pt x="52" y="256"/>
                  </a:lnTo>
                  <a:close/>
                  <a:moveTo>
                    <a:pt x="52" y="254"/>
                  </a:moveTo>
                  <a:lnTo>
                    <a:pt x="52" y="256"/>
                  </a:lnTo>
                  <a:lnTo>
                    <a:pt x="52" y="254"/>
                  </a:lnTo>
                  <a:close/>
                  <a:moveTo>
                    <a:pt x="54" y="254"/>
                  </a:moveTo>
                  <a:lnTo>
                    <a:pt x="54" y="256"/>
                  </a:lnTo>
                  <a:lnTo>
                    <a:pt x="54" y="254"/>
                  </a:lnTo>
                  <a:close/>
                  <a:moveTo>
                    <a:pt x="50" y="254"/>
                  </a:moveTo>
                  <a:lnTo>
                    <a:pt x="52" y="254"/>
                  </a:lnTo>
                  <a:lnTo>
                    <a:pt x="50" y="254"/>
                  </a:lnTo>
                  <a:close/>
                  <a:moveTo>
                    <a:pt x="55" y="256"/>
                  </a:moveTo>
                  <a:lnTo>
                    <a:pt x="57" y="254"/>
                  </a:lnTo>
                  <a:lnTo>
                    <a:pt x="57" y="256"/>
                  </a:lnTo>
                  <a:lnTo>
                    <a:pt x="55" y="256"/>
                  </a:lnTo>
                  <a:close/>
                  <a:moveTo>
                    <a:pt x="55" y="254"/>
                  </a:moveTo>
                  <a:lnTo>
                    <a:pt x="57" y="254"/>
                  </a:lnTo>
                  <a:lnTo>
                    <a:pt x="55" y="254"/>
                  </a:lnTo>
                  <a:close/>
                  <a:moveTo>
                    <a:pt x="54" y="252"/>
                  </a:moveTo>
                  <a:lnTo>
                    <a:pt x="54" y="254"/>
                  </a:lnTo>
                  <a:lnTo>
                    <a:pt x="54" y="252"/>
                  </a:lnTo>
                  <a:close/>
                  <a:moveTo>
                    <a:pt x="52" y="254"/>
                  </a:moveTo>
                  <a:lnTo>
                    <a:pt x="54" y="252"/>
                  </a:lnTo>
                  <a:lnTo>
                    <a:pt x="54" y="254"/>
                  </a:lnTo>
                  <a:lnTo>
                    <a:pt x="52" y="254"/>
                  </a:lnTo>
                  <a:close/>
                  <a:moveTo>
                    <a:pt x="54" y="252"/>
                  </a:moveTo>
                  <a:lnTo>
                    <a:pt x="55" y="252"/>
                  </a:lnTo>
                  <a:lnTo>
                    <a:pt x="54" y="252"/>
                  </a:lnTo>
                  <a:close/>
                  <a:moveTo>
                    <a:pt x="280" y="295"/>
                  </a:moveTo>
                  <a:lnTo>
                    <a:pt x="280" y="293"/>
                  </a:lnTo>
                  <a:lnTo>
                    <a:pt x="280" y="295"/>
                  </a:lnTo>
                  <a:close/>
                  <a:moveTo>
                    <a:pt x="55" y="252"/>
                  </a:moveTo>
                  <a:lnTo>
                    <a:pt x="55" y="251"/>
                  </a:lnTo>
                  <a:lnTo>
                    <a:pt x="55" y="252"/>
                  </a:lnTo>
                  <a:close/>
                  <a:moveTo>
                    <a:pt x="280" y="291"/>
                  </a:moveTo>
                  <a:lnTo>
                    <a:pt x="280" y="293"/>
                  </a:lnTo>
                  <a:lnTo>
                    <a:pt x="280" y="291"/>
                  </a:lnTo>
                  <a:close/>
                  <a:moveTo>
                    <a:pt x="280" y="291"/>
                  </a:moveTo>
                  <a:lnTo>
                    <a:pt x="281" y="291"/>
                  </a:lnTo>
                  <a:lnTo>
                    <a:pt x="281" y="293"/>
                  </a:lnTo>
                  <a:lnTo>
                    <a:pt x="280" y="293"/>
                  </a:lnTo>
                  <a:lnTo>
                    <a:pt x="280" y="291"/>
                  </a:lnTo>
                  <a:lnTo>
                    <a:pt x="280" y="293"/>
                  </a:lnTo>
                  <a:lnTo>
                    <a:pt x="280" y="291"/>
                  </a:lnTo>
                  <a:close/>
                  <a:moveTo>
                    <a:pt x="63" y="252"/>
                  </a:moveTo>
                  <a:lnTo>
                    <a:pt x="65" y="252"/>
                  </a:lnTo>
                  <a:lnTo>
                    <a:pt x="63" y="252"/>
                  </a:lnTo>
                  <a:close/>
                  <a:moveTo>
                    <a:pt x="59" y="249"/>
                  </a:moveTo>
                  <a:lnTo>
                    <a:pt x="59" y="251"/>
                  </a:lnTo>
                  <a:lnTo>
                    <a:pt x="59" y="249"/>
                  </a:lnTo>
                  <a:close/>
                  <a:moveTo>
                    <a:pt x="296" y="291"/>
                  </a:moveTo>
                  <a:lnTo>
                    <a:pt x="294" y="291"/>
                  </a:lnTo>
                  <a:lnTo>
                    <a:pt x="296" y="291"/>
                  </a:lnTo>
                  <a:close/>
                  <a:moveTo>
                    <a:pt x="291" y="290"/>
                  </a:moveTo>
                  <a:lnTo>
                    <a:pt x="293" y="291"/>
                  </a:lnTo>
                  <a:lnTo>
                    <a:pt x="291" y="291"/>
                  </a:lnTo>
                  <a:lnTo>
                    <a:pt x="291" y="290"/>
                  </a:lnTo>
                  <a:close/>
                  <a:moveTo>
                    <a:pt x="343" y="298"/>
                  </a:moveTo>
                  <a:lnTo>
                    <a:pt x="345" y="298"/>
                  </a:lnTo>
                  <a:lnTo>
                    <a:pt x="343" y="298"/>
                  </a:lnTo>
                  <a:close/>
                  <a:moveTo>
                    <a:pt x="293" y="288"/>
                  </a:moveTo>
                  <a:lnTo>
                    <a:pt x="291" y="288"/>
                  </a:lnTo>
                  <a:lnTo>
                    <a:pt x="293" y="287"/>
                  </a:lnTo>
                  <a:lnTo>
                    <a:pt x="293" y="288"/>
                  </a:lnTo>
                  <a:close/>
                  <a:moveTo>
                    <a:pt x="316" y="291"/>
                  </a:moveTo>
                  <a:lnTo>
                    <a:pt x="314" y="291"/>
                  </a:lnTo>
                  <a:lnTo>
                    <a:pt x="316" y="290"/>
                  </a:lnTo>
                  <a:lnTo>
                    <a:pt x="316" y="291"/>
                  </a:lnTo>
                  <a:close/>
                  <a:moveTo>
                    <a:pt x="78" y="248"/>
                  </a:moveTo>
                  <a:lnTo>
                    <a:pt x="80" y="248"/>
                  </a:lnTo>
                  <a:lnTo>
                    <a:pt x="80" y="249"/>
                  </a:lnTo>
                  <a:lnTo>
                    <a:pt x="78" y="248"/>
                  </a:lnTo>
                  <a:close/>
                  <a:moveTo>
                    <a:pt x="146" y="259"/>
                  </a:moveTo>
                  <a:lnTo>
                    <a:pt x="146" y="257"/>
                  </a:lnTo>
                  <a:lnTo>
                    <a:pt x="146" y="259"/>
                  </a:lnTo>
                  <a:close/>
                  <a:moveTo>
                    <a:pt x="128" y="252"/>
                  </a:moveTo>
                  <a:lnTo>
                    <a:pt x="128" y="254"/>
                  </a:lnTo>
                  <a:lnTo>
                    <a:pt x="128" y="252"/>
                  </a:lnTo>
                  <a:close/>
                  <a:moveTo>
                    <a:pt x="316" y="287"/>
                  </a:moveTo>
                  <a:lnTo>
                    <a:pt x="314" y="287"/>
                  </a:lnTo>
                  <a:lnTo>
                    <a:pt x="316" y="285"/>
                  </a:lnTo>
                  <a:lnTo>
                    <a:pt x="316" y="287"/>
                  </a:lnTo>
                  <a:close/>
                  <a:moveTo>
                    <a:pt x="111" y="248"/>
                  </a:moveTo>
                  <a:lnTo>
                    <a:pt x="111" y="249"/>
                  </a:lnTo>
                  <a:lnTo>
                    <a:pt x="111" y="248"/>
                  </a:lnTo>
                  <a:close/>
                  <a:moveTo>
                    <a:pt x="111" y="244"/>
                  </a:moveTo>
                  <a:lnTo>
                    <a:pt x="112" y="244"/>
                  </a:lnTo>
                  <a:lnTo>
                    <a:pt x="114" y="244"/>
                  </a:lnTo>
                  <a:lnTo>
                    <a:pt x="114" y="246"/>
                  </a:lnTo>
                  <a:lnTo>
                    <a:pt x="115" y="246"/>
                  </a:lnTo>
                  <a:lnTo>
                    <a:pt x="114" y="248"/>
                  </a:lnTo>
                  <a:lnTo>
                    <a:pt x="114" y="246"/>
                  </a:lnTo>
                  <a:lnTo>
                    <a:pt x="112" y="246"/>
                  </a:lnTo>
                  <a:lnTo>
                    <a:pt x="111" y="246"/>
                  </a:lnTo>
                  <a:lnTo>
                    <a:pt x="111" y="244"/>
                  </a:lnTo>
                  <a:close/>
                  <a:moveTo>
                    <a:pt x="151" y="249"/>
                  </a:moveTo>
                  <a:lnTo>
                    <a:pt x="153" y="249"/>
                  </a:lnTo>
                  <a:lnTo>
                    <a:pt x="151" y="249"/>
                  </a:lnTo>
                  <a:close/>
                  <a:moveTo>
                    <a:pt x="151" y="246"/>
                  </a:moveTo>
                  <a:lnTo>
                    <a:pt x="151" y="248"/>
                  </a:lnTo>
                  <a:lnTo>
                    <a:pt x="151" y="246"/>
                  </a:lnTo>
                  <a:close/>
                  <a:moveTo>
                    <a:pt x="207" y="256"/>
                  </a:moveTo>
                  <a:lnTo>
                    <a:pt x="208" y="256"/>
                  </a:lnTo>
                  <a:lnTo>
                    <a:pt x="207" y="256"/>
                  </a:lnTo>
                  <a:close/>
                  <a:moveTo>
                    <a:pt x="151" y="244"/>
                  </a:moveTo>
                  <a:lnTo>
                    <a:pt x="153" y="246"/>
                  </a:lnTo>
                  <a:lnTo>
                    <a:pt x="151" y="246"/>
                  </a:lnTo>
                  <a:lnTo>
                    <a:pt x="151" y="244"/>
                  </a:lnTo>
                  <a:close/>
                  <a:moveTo>
                    <a:pt x="210" y="256"/>
                  </a:moveTo>
                  <a:lnTo>
                    <a:pt x="211" y="256"/>
                  </a:lnTo>
                  <a:lnTo>
                    <a:pt x="210" y="256"/>
                  </a:lnTo>
                  <a:close/>
                  <a:moveTo>
                    <a:pt x="151" y="244"/>
                  </a:moveTo>
                  <a:lnTo>
                    <a:pt x="153" y="244"/>
                  </a:lnTo>
                  <a:lnTo>
                    <a:pt x="151" y="244"/>
                  </a:lnTo>
                  <a:close/>
                  <a:moveTo>
                    <a:pt x="153" y="244"/>
                  </a:moveTo>
                  <a:lnTo>
                    <a:pt x="153" y="246"/>
                  </a:lnTo>
                  <a:lnTo>
                    <a:pt x="153" y="244"/>
                  </a:lnTo>
                  <a:close/>
                  <a:moveTo>
                    <a:pt x="156" y="244"/>
                  </a:moveTo>
                  <a:lnTo>
                    <a:pt x="158" y="246"/>
                  </a:lnTo>
                  <a:lnTo>
                    <a:pt x="156" y="246"/>
                  </a:lnTo>
                  <a:lnTo>
                    <a:pt x="156" y="244"/>
                  </a:lnTo>
                  <a:close/>
                  <a:moveTo>
                    <a:pt x="154" y="243"/>
                  </a:moveTo>
                  <a:lnTo>
                    <a:pt x="156" y="243"/>
                  </a:lnTo>
                  <a:lnTo>
                    <a:pt x="156" y="244"/>
                  </a:lnTo>
                  <a:lnTo>
                    <a:pt x="154" y="244"/>
                  </a:lnTo>
                  <a:lnTo>
                    <a:pt x="154" y="243"/>
                  </a:lnTo>
                  <a:close/>
                  <a:moveTo>
                    <a:pt x="156" y="243"/>
                  </a:moveTo>
                  <a:lnTo>
                    <a:pt x="156" y="244"/>
                  </a:lnTo>
                  <a:lnTo>
                    <a:pt x="156" y="243"/>
                  </a:lnTo>
                  <a:close/>
                  <a:moveTo>
                    <a:pt x="174" y="244"/>
                  </a:moveTo>
                  <a:lnTo>
                    <a:pt x="174" y="246"/>
                  </a:lnTo>
                  <a:lnTo>
                    <a:pt x="174" y="244"/>
                  </a:lnTo>
                  <a:close/>
                  <a:moveTo>
                    <a:pt x="158" y="241"/>
                  </a:moveTo>
                  <a:lnTo>
                    <a:pt x="156" y="241"/>
                  </a:lnTo>
                  <a:lnTo>
                    <a:pt x="158" y="241"/>
                  </a:lnTo>
                  <a:close/>
                  <a:moveTo>
                    <a:pt x="174" y="244"/>
                  </a:moveTo>
                  <a:lnTo>
                    <a:pt x="174" y="246"/>
                  </a:lnTo>
                  <a:lnTo>
                    <a:pt x="174" y="244"/>
                  </a:lnTo>
                  <a:close/>
                  <a:moveTo>
                    <a:pt x="164" y="241"/>
                  </a:moveTo>
                  <a:lnTo>
                    <a:pt x="164" y="243"/>
                  </a:lnTo>
                  <a:lnTo>
                    <a:pt x="164" y="241"/>
                  </a:lnTo>
                  <a:close/>
                  <a:moveTo>
                    <a:pt x="205" y="249"/>
                  </a:moveTo>
                  <a:lnTo>
                    <a:pt x="207" y="249"/>
                  </a:lnTo>
                  <a:lnTo>
                    <a:pt x="205" y="249"/>
                  </a:lnTo>
                  <a:close/>
                  <a:moveTo>
                    <a:pt x="210" y="249"/>
                  </a:moveTo>
                  <a:lnTo>
                    <a:pt x="211" y="249"/>
                  </a:lnTo>
                  <a:lnTo>
                    <a:pt x="210" y="249"/>
                  </a:lnTo>
                  <a:close/>
                  <a:moveTo>
                    <a:pt x="207" y="248"/>
                  </a:moveTo>
                  <a:lnTo>
                    <a:pt x="207" y="249"/>
                  </a:lnTo>
                  <a:lnTo>
                    <a:pt x="207" y="248"/>
                  </a:lnTo>
                  <a:close/>
                  <a:moveTo>
                    <a:pt x="172" y="243"/>
                  </a:moveTo>
                  <a:lnTo>
                    <a:pt x="171" y="244"/>
                  </a:lnTo>
                  <a:lnTo>
                    <a:pt x="171" y="243"/>
                  </a:lnTo>
                  <a:lnTo>
                    <a:pt x="172" y="241"/>
                  </a:lnTo>
                  <a:lnTo>
                    <a:pt x="172" y="243"/>
                  </a:lnTo>
                  <a:close/>
                  <a:moveTo>
                    <a:pt x="179" y="243"/>
                  </a:moveTo>
                  <a:lnTo>
                    <a:pt x="181" y="244"/>
                  </a:lnTo>
                  <a:lnTo>
                    <a:pt x="179" y="244"/>
                  </a:lnTo>
                  <a:lnTo>
                    <a:pt x="179" y="243"/>
                  </a:lnTo>
                  <a:close/>
                  <a:moveTo>
                    <a:pt x="208" y="249"/>
                  </a:moveTo>
                  <a:lnTo>
                    <a:pt x="208" y="248"/>
                  </a:lnTo>
                  <a:lnTo>
                    <a:pt x="208" y="249"/>
                  </a:lnTo>
                  <a:close/>
                  <a:moveTo>
                    <a:pt x="181" y="243"/>
                  </a:moveTo>
                  <a:lnTo>
                    <a:pt x="179" y="243"/>
                  </a:lnTo>
                  <a:lnTo>
                    <a:pt x="181" y="243"/>
                  </a:lnTo>
                  <a:close/>
                  <a:moveTo>
                    <a:pt x="202" y="248"/>
                  </a:moveTo>
                  <a:lnTo>
                    <a:pt x="202" y="246"/>
                  </a:lnTo>
                  <a:lnTo>
                    <a:pt x="203" y="246"/>
                  </a:lnTo>
                  <a:lnTo>
                    <a:pt x="202" y="248"/>
                  </a:lnTo>
                  <a:close/>
                  <a:moveTo>
                    <a:pt x="210" y="249"/>
                  </a:moveTo>
                  <a:lnTo>
                    <a:pt x="211" y="249"/>
                  </a:lnTo>
                  <a:lnTo>
                    <a:pt x="211" y="248"/>
                  </a:lnTo>
                  <a:lnTo>
                    <a:pt x="211" y="249"/>
                  </a:lnTo>
                  <a:lnTo>
                    <a:pt x="211" y="248"/>
                  </a:lnTo>
                  <a:lnTo>
                    <a:pt x="211" y="249"/>
                  </a:lnTo>
                  <a:lnTo>
                    <a:pt x="210" y="249"/>
                  </a:lnTo>
                  <a:close/>
                  <a:moveTo>
                    <a:pt x="181" y="243"/>
                  </a:moveTo>
                  <a:lnTo>
                    <a:pt x="182" y="243"/>
                  </a:lnTo>
                  <a:lnTo>
                    <a:pt x="182" y="244"/>
                  </a:lnTo>
                  <a:lnTo>
                    <a:pt x="181" y="244"/>
                  </a:lnTo>
                  <a:lnTo>
                    <a:pt x="181" y="243"/>
                  </a:lnTo>
                  <a:close/>
                  <a:moveTo>
                    <a:pt x="190" y="244"/>
                  </a:moveTo>
                  <a:lnTo>
                    <a:pt x="192" y="244"/>
                  </a:lnTo>
                  <a:lnTo>
                    <a:pt x="190" y="244"/>
                  </a:lnTo>
                  <a:close/>
                  <a:moveTo>
                    <a:pt x="185" y="243"/>
                  </a:moveTo>
                  <a:lnTo>
                    <a:pt x="185" y="244"/>
                  </a:lnTo>
                  <a:lnTo>
                    <a:pt x="185" y="243"/>
                  </a:lnTo>
                  <a:close/>
                  <a:moveTo>
                    <a:pt x="185" y="243"/>
                  </a:moveTo>
                  <a:lnTo>
                    <a:pt x="187" y="243"/>
                  </a:lnTo>
                  <a:lnTo>
                    <a:pt x="185" y="243"/>
                  </a:lnTo>
                  <a:close/>
                  <a:moveTo>
                    <a:pt x="211" y="246"/>
                  </a:moveTo>
                  <a:lnTo>
                    <a:pt x="211" y="248"/>
                  </a:lnTo>
                  <a:lnTo>
                    <a:pt x="211" y="246"/>
                  </a:lnTo>
                  <a:close/>
                  <a:moveTo>
                    <a:pt x="184" y="243"/>
                  </a:moveTo>
                  <a:lnTo>
                    <a:pt x="184" y="241"/>
                  </a:lnTo>
                  <a:lnTo>
                    <a:pt x="184" y="243"/>
                  </a:lnTo>
                  <a:close/>
                  <a:moveTo>
                    <a:pt x="203" y="246"/>
                  </a:moveTo>
                  <a:lnTo>
                    <a:pt x="205" y="244"/>
                  </a:lnTo>
                  <a:lnTo>
                    <a:pt x="203" y="246"/>
                  </a:lnTo>
                  <a:close/>
                  <a:moveTo>
                    <a:pt x="207" y="246"/>
                  </a:moveTo>
                  <a:lnTo>
                    <a:pt x="205" y="246"/>
                  </a:lnTo>
                  <a:lnTo>
                    <a:pt x="207" y="246"/>
                  </a:lnTo>
                  <a:lnTo>
                    <a:pt x="205" y="246"/>
                  </a:lnTo>
                  <a:lnTo>
                    <a:pt x="207" y="246"/>
                  </a:lnTo>
                  <a:close/>
                  <a:moveTo>
                    <a:pt x="197" y="244"/>
                  </a:moveTo>
                  <a:lnTo>
                    <a:pt x="197" y="243"/>
                  </a:lnTo>
                  <a:lnTo>
                    <a:pt x="197" y="244"/>
                  </a:lnTo>
                  <a:close/>
                  <a:moveTo>
                    <a:pt x="210" y="246"/>
                  </a:moveTo>
                  <a:lnTo>
                    <a:pt x="211" y="246"/>
                  </a:lnTo>
                  <a:lnTo>
                    <a:pt x="211" y="248"/>
                  </a:lnTo>
                  <a:lnTo>
                    <a:pt x="210" y="246"/>
                  </a:lnTo>
                  <a:lnTo>
                    <a:pt x="210" y="248"/>
                  </a:lnTo>
                  <a:lnTo>
                    <a:pt x="211" y="248"/>
                  </a:lnTo>
                  <a:lnTo>
                    <a:pt x="210" y="248"/>
                  </a:lnTo>
                  <a:lnTo>
                    <a:pt x="211" y="248"/>
                  </a:lnTo>
                  <a:lnTo>
                    <a:pt x="210" y="248"/>
                  </a:lnTo>
                  <a:lnTo>
                    <a:pt x="210" y="249"/>
                  </a:lnTo>
                  <a:lnTo>
                    <a:pt x="208" y="249"/>
                  </a:lnTo>
                  <a:lnTo>
                    <a:pt x="208" y="248"/>
                  </a:lnTo>
                  <a:lnTo>
                    <a:pt x="208" y="249"/>
                  </a:lnTo>
                  <a:lnTo>
                    <a:pt x="208" y="248"/>
                  </a:lnTo>
                  <a:lnTo>
                    <a:pt x="210" y="248"/>
                  </a:lnTo>
                  <a:lnTo>
                    <a:pt x="208" y="248"/>
                  </a:lnTo>
                  <a:lnTo>
                    <a:pt x="208" y="246"/>
                  </a:lnTo>
                  <a:lnTo>
                    <a:pt x="210" y="246"/>
                  </a:lnTo>
                  <a:close/>
                  <a:moveTo>
                    <a:pt x="187" y="241"/>
                  </a:moveTo>
                  <a:lnTo>
                    <a:pt x="187" y="243"/>
                  </a:lnTo>
                  <a:lnTo>
                    <a:pt x="187" y="241"/>
                  </a:lnTo>
                  <a:close/>
                  <a:moveTo>
                    <a:pt x="320" y="264"/>
                  </a:moveTo>
                  <a:lnTo>
                    <a:pt x="322" y="264"/>
                  </a:lnTo>
                  <a:lnTo>
                    <a:pt x="320" y="264"/>
                  </a:lnTo>
                  <a:close/>
                  <a:moveTo>
                    <a:pt x="163" y="236"/>
                  </a:moveTo>
                  <a:lnTo>
                    <a:pt x="164" y="236"/>
                  </a:lnTo>
                  <a:lnTo>
                    <a:pt x="163" y="236"/>
                  </a:lnTo>
                  <a:close/>
                  <a:moveTo>
                    <a:pt x="322" y="262"/>
                  </a:moveTo>
                  <a:lnTo>
                    <a:pt x="322" y="264"/>
                  </a:lnTo>
                  <a:lnTo>
                    <a:pt x="322" y="262"/>
                  </a:lnTo>
                  <a:close/>
                  <a:moveTo>
                    <a:pt x="194" y="241"/>
                  </a:moveTo>
                  <a:lnTo>
                    <a:pt x="194" y="243"/>
                  </a:lnTo>
                  <a:lnTo>
                    <a:pt x="192" y="243"/>
                  </a:lnTo>
                  <a:lnTo>
                    <a:pt x="194" y="243"/>
                  </a:lnTo>
                  <a:lnTo>
                    <a:pt x="194" y="241"/>
                  </a:lnTo>
                  <a:lnTo>
                    <a:pt x="192" y="241"/>
                  </a:lnTo>
                  <a:lnTo>
                    <a:pt x="194" y="241"/>
                  </a:lnTo>
                  <a:close/>
                  <a:moveTo>
                    <a:pt x="317" y="262"/>
                  </a:moveTo>
                  <a:lnTo>
                    <a:pt x="319" y="262"/>
                  </a:lnTo>
                  <a:lnTo>
                    <a:pt x="319" y="264"/>
                  </a:lnTo>
                  <a:lnTo>
                    <a:pt x="320" y="264"/>
                  </a:lnTo>
                  <a:lnTo>
                    <a:pt x="319" y="264"/>
                  </a:lnTo>
                  <a:lnTo>
                    <a:pt x="319" y="262"/>
                  </a:lnTo>
                  <a:lnTo>
                    <a:pt x="317" y="262"/>
                  </a:lnTo>
                  <a:close/>
                  <a:moveTo>
                    <a:pt x="322" y="262"/>
                  </a:moveTo>
                  <a:lnTo>
                    <a:pt x="322" y="264"/>
                  </a:lnTo>
                  <a:lnTo>
                    <a:pt x="322" y="262"/>
                  </a:lnTo>
                  <a:close/>
                  <a:moveTo>
                    <a:pt x="322" y="262"/>
                  </a:moveTo>
                  <a:lnTo>
                    <a:pt x="324" y="262"/>
                  </a:lnTo>
                  <a:lnTo>
                    <a:pt x="322" y="262"/>
                  </a:lnTo>
                  <a:close/>
                  <a:moveTo>
                    <a:pt x="319" y="262"/>
                  </a:moveTo>
                  <a:lnTo>
                    <a:pt x="320" y="262"/>
                  </a:lnTo>
                  <a:lnTo>
                    <a:pt x="320" y="264"/>
                  </a:lnTo>
                  <a:lnTo>
                    <a:pt x="320" y="262"/>
                  </a:lnTo>
                  <a:lnTo>
                    <a:pt x="319" y="262"/>
                  </a:lnTo>
                  <a:close/>
                  <a:moveTo>
                    <a:pt x="164" y="235"/>
                  </a:moveTo>
                  <a:lnTo>
                    <a:pt x="166" y="235"/>
                  </a:lnTo>
                  <a:lnTo>
                    <a:pt x="166" y="236"/>
                  </a:lnTo>
                  <a:lnTo>
                    <a:pt x="166" y="235"/>
                  </a:lnTo>
                  <a:lnTo>
                    <a:pt x="166" y="236"/>
                  </a:lnTo>
                  <a:lnTo>
                    <a:pt x="164" y="236"/>
                  </a:lnTo>
                  <a:lnTo>
                    <a:pt x="164" y="235"/>
                  </a:lnTo>
                  <a:close/>
                  <a:moveTo>
                    <a:pt x="317" y="261"/>
                  </a:moveTo>
                  <a:lnTo>
                    <a:pt x="317" y="262"/>
                  </a:lnTo>
                  <a:lnTo>
                    <a:pt x="317" y="261"/>
                  </a:lnTo>
                  <a:close/>
                  <a:moveTo>
                    <a:pt x="316" y="261"/>
                  </a:moveTo>
                  <a:lnTo>
                    <a:pt x="316" y="262"/>
                  </a:lnTo>
                  <a:lnTo>
                    <a:pt x="317" y="261"/>
                  </a:lnTo>
                  <a:lnTo>
                    <a:pt x="317" y="262"/>
                  </a:lnTo>
                  <a:lnTo>
                    <a:pt x="316" y="262"/>
                  </a:lnTo>
                  <a:lnTo>
                    <a:pt x="316" y="261"/>
                  </a:lnTo>
                  <a:close/>
                  <a:moveTo>
                    <a:pt x="320" y="261"/>
                  </a:moveTo>
                  <a:lnTo>
                    <a:pt x="320" y="262"/>
                  </a:lnTo>
                  <a:lnTo>
                    <a:pt x="320" y="261"/>
                  </a:lnTo>
                  <a:close/>
                  <a:moveTo>
                    <a:pt x="322" y="262"/>
                  </a:moveTo>
                  <a:lnTo>
                    <a:pt x="322" y="261"/>
                  </a:lnTo>
                  <a:lnTo>
                    <a:pt x="322" y="262"/>
                  </a:lnTo>
                  <a:close/>
                  <a:moveTo>
                    <a:pt x="322" y="261"/>
                  </a:moveTo>
                  <a:lnTo>
                    <a:pt x="322" y="262"/>
                  </a:lnTo>
                  <a:lnTo>
                    <a:pt x="322" y="261"/>
                  </a:lnTo>
                  <a:close/>
                  <a:moveTo>
                    <a:pt x="207" y="239"/>
                  </a:moveTo>
                  <a:lnTo>
                    <a:pt x="207" y="241"/>
                  </a:lnTo>
                  <a:lnTo>
                    <a:pt x="207" y="239"/>
                  </a:lnTo>
                  <a:close/>
                  <a:moveTo>
                    <a:pt x="171" y="235"/>
                  </a:moveTo>
                  <a:lnTo>
                    <a:pt x="171" y="233"/>
                  </a:lnTo>
                  <a:lnTo>
                    <a:pt x="171" y="235"/>
                  </a:lnTo>
                  <a:close/>
                  <a:moveTo>
                    <a:pt x="348" y="244"/>
                  </a:moveTo>
                  <a:lnTo>
                    <a:pt x="350" y="244"/>
                  </a:lnTo>
                  <a:lnTo>
                    <a:pt x="348" y="244"/>
                  </a:lnTo>
                  <a:close/>
                  <a:moveTo>
                    <a:pt x="577" y="225"/>
                  </a:moveTo>
                  <a:lnTo>
                    <a:pt x="579" y="225"/>
                  </a:lnTo>
                  <a:lnTo>
                    <a:pt x="577" y="225"/>
                  </a:lnTo>
                  <a:close/>
                  <a:moveTo>
                    <a:pt x="387" y="171"/>
                  </a:moveTo>
                  <a:lnTo>
                    <a:pt x="385" y="173"/>
                  </a:lnTo>
                  <a:lnTo>
                    <a:pt x="385" y="171"/>
                  </a:lnTo>
                  <a:lnTo>
                    <a:pt x="387" y="171"/>
                  </a:lnTo>
                  <a:close/>
                  <a:moveTo>
                    <a:pt x="389" y="170"/>
                  </a:moveTo>
                  <a:lnTo>
                    <a:pt x="390" y="171"/>
                  </a:lnTo>
                  <a:lnTo>
                    <a:pt x="389" y="171"/>
                  </a:lnTo>
                  <a:lnTo>
                    <a:pt x="389" y="170"/>
                  </a:lnTo>
                  <a:close/>
                  <a:moveTo>
                    <a:pt x="699" y="1178"/>
                  </a:moveTo>
                  <a:lnTo>
                    <a:pt x="698" y="1180"/>
                  </a:lnTo>
                  <a:lnTo>
                    <a:pt x="698" y="1178"/>
                  </a:lnTo>
                  <a:lnTo>
                    <a:pt x="699" y="1176"/>
                  </a:lnTo>
                  <a:lnTo>
                    <a:pt x="699" y="1173"/>
                  </a:lnTo>
                  <a:lnTo>
                    <a:pt x="698" y="1175"/>
                  </a:lnTo>
                  <a:lnTo>
                    <a:pt x="696" y="1175"/>
                  </a:lnTo>
                  <a:lnTo>
                    <a:pt x="696" y="1173"/>
                  </a:lnTo>
                  <a:lnTo>
                    <a:pt x="696" y="1171"/>
                  </a:lnTo>
                  <a:lnTo>
                    <a:pt x="696" y="1170"/>
                  </a:lnTo>
                  <a:lnTo>
                    <a:pt x="696" y="1171"/>
                  </a:lnTo>
                  <a:lnTo>
                    <a:pt x="696" y="1173"/>
                  </a:lnTo>
                  <a:lnTo>
                    <a:pt x="694" y="1173"/>
                  </a:lnTo>
                  <a:lnTo>
                    <a:pt x="696" y="1173"/>
                  </a:lnTo>
                  <a:lnTo>
                    <a:pt x="694" y="1173"/>
                  </a:lnTo>
                  <a:lnTo>
                    <a:pt x="696" y="1173"/>
                  </a:lnTo>
                  <a:lnTo>
                    <a:pt x="694" y="1175"/>
                  </a:lnTo>
                  <a:lnTo>
                    <a:pt x="694" y="1176"/>
                  </a:lnTo>
                  <a:lnTo>
                    <a:pt x="693" y="1178"/>
                  </a:lnTo>
                  <a:lnTo>
                    <a:pt x="691" y="1178"/>
                  </a:lnTo>
                  <a:lnTo>
                    <a:pt x="691" y="1180"/>
                  </a:lnTo>
                  <a:lnTo>
                    <a:pt x="690" y="1180"/>
                  </a:lnTo>
                  <a:lnTo>
                    <a:pt x="690" y="1181"/>
                  </a:lnTo>
                  <a:lnTo>
                    <a:pt x="688" y="1183"/>
                  </a:lnTo>
                  <a:lnTo>
                    <a:pt x="690" y="1183"/>
                  </a:lnTo>
                  <a:lnTo>
                    <a:pt x="690" y="1181"/>
                  </a:lnTo>
                  <a:lnTo>
                    <a:pt x="690" y="1183"/>
                  </a:lnTo>
                  <a:lnTo>
                    <a:pt x="690" y="1184"/>
                  </a:lnTo>
                  <a:lnTo>
                    <a:pt x="691" y="1184"/>
                  </a:lnTo>
                  <a:lnTo>
                    <a:pt x="691" y="1186"/>
                  </a:lnTo>
                  <a:lnTo>
                    <a:pt x="691" y="1188"/>
                  </a:lnTo>
                  <a:lnTo>
                    <a:pt x="693" y="1188"/>
                  </a:lnTo>
                  <a:lnTo>
                    <a:pt x="694" y="1186"/>
                  </a:lnTo>
                  <a:lnTo>
                    <a:pt x="696" y="1188"/>
                  </a:lnTo>
                  <a:lnTo>
                    <a:pt x="696" y="1186"/>
                  </a:lnTo>
                  <a:lnTo>
                    <a:pt x="696" y="1184"/>
                  </a:lnTo>
                  <a:lnTo>
                    <a:pt x="696" y="1183"/>
                  </a:lnTo>
                  <a:lnTo>
                    <a:pt x="696" y="1181"/>
                  </a:lnTo>
                  <a:lnTo>
                    <a:pt x="698" y="1181"/>
                  </a:lnTo>
                  <a:lnTo>
                    <a:pt x="698" y="1180"/>
                  </a:lnTo>
                  <a:lnTo>
                    <a:pt x="698" y="1178"/>
                  </a:lnTo>
                  <a:lnTo>
                    <a:pt x="699" y="1178"/>
                  </a:lnTo>
                  <a:lnTo>
                    <a:pt x="699" y="1181"/>
                  </a:lnTo>
                  <a:lnTo>
                    <a:pt x="698" y="1181"/>
                  </a:lnTo>
                  <a:lnTo>
                    <a:pt x="698" y="1183"/>
                  </a:lnTo>
                  <a:lnTo>
                    <a:pt x="698" y="1184"/>
                  </a:lnTo>
                  <a:lnTo>
                    <a:pt x="698" y="1186"/>
                  </a:lnTo>
                  <a:lnTo>
                    <a:pt x="698" y="1191"/>
                  </a:lnTo>
                  <a:lnTo>
                    <a:pt x="696" y="1193"/>
                  </a:lnTo>
                  <a:lnTo>
                    <a:pt x="696" y="1194"/>
                  </a:lnTo>
                  <a:lnTo>
                    <a:pt x="696" y="1197"/>
                  </a:lnTo>
                  <a:lnTo>
                    <a:pt x="696" y="1199"/>
                  </a:lnTo>
                  <a:lnTo>
                    <a:pt x="696" y="1204"/>
                  </a:lnTo>
                  <a:lnTo>
                    <a:pt x="696" y="1206"/>
                  </a:lnTo>
                  <a:lnTo>
                    <a:pt x="696" y="1207"/>
                  </a:lnTo>
                  <a:lnTo>
                    <a:pt x="696" y="1209"/>
                  </a:lnTo>
                  <a:lnTo>
                    <a:pt x="694" y="1210"/>
                  </a:lnTo>
                  <a:lnTo>
                    <a:pt x="694" y="1212"/>
                  </a:lnTo>
                  <a:lnTo>
                    <a:pt x="696" y="1214"/>
                  </a:lnTo>
                  <a:lnTo>
                    <a:pt x="694" y="1215"/>
                  </a:lnTo>
                  <a:lnTo>
                    <a:pt x="696" y="1215"/>
                  </a:lnTo>
                  <a:lnTo>
                    <a:pt x="696" y="1217"/>
                  </a:lnTo>
                  <a:lnTo>
                    <a:pt x="696" y="1220"/>
                  </a:lnTo>
                  <a:lnTo>
                    <a:pt x="696" y="1223"/>
                  </a:lnTo>
                  <a:lnTo>
                    <a:pt x="696" y="1225"/>
                  </a:lnTo>
                  <a:lnTo>
                    <a:pt x="698" y="1225"/>
                  </a:lnTo>
                  <a:lnTo>
                    <a:pt x="699" y="1227"/>
                  </a:lnTo>
                  <a:lnTo>
                    <a:pt x="701" y="1228"/>
                  </a:lnTo>
                  <a:lnTo>
                    <a:pt x="701" y="1227"/>
                  </a:lnTo>
                  <a:lnTo>
                    <a:pt x="701" y="1228"/>
                  </a:lnTo>
                  <a:lnTo>
                    <a:pt x="701" y="1227"/>
                  </a:lnTo>
                  <a:lnTo>
                    <a:pt x="701" y="1228"/>
                  </a:lnTo>
                  <a:lnTo>
                    <a:pt x="703" y="1228"/>
                  </a:lnTo>
                  <a:lnTo>
                    <a:pt x="701" y="1228"/>
                  </a:lnTo>
                  <a:lnTo>
                    <a:pt x="703" y="1228"/>
                  </a:lnTo>
                  <a:lnTo>
                    <a:pt x="704" y="1228"/>
                  </a:lnTo>
                  <a:lnTo>
                    <a:pt x="704" y="1230"/>
                  </a:lnTo>
                  <a:lnTo>
                    <a:pt x="703" y="1230"/>
                  </a:lnTo>
                  <a:lnTo>
                    <a:pt x="703" y="1232"/>
                  </a:lnTo>
                  <a:lnTo>
                    <a:pt x="704" y="1232"/>
                  </a:lnTo>
                  <a:lnTo>
                    <a:pt x="704" y="1233"/>
                  </a:lnTo>
                  <a:lnTo>
                    <a:pt x="703" y="1233"/>
                  </a:lnTo>
                  <a:lnTo>
                    <a:pt x="704" y="1233"/>
                  </a:lnTo>
                  <a:lnTo>
                    <a:pt x="703" y="1233"/>
                  </a:lnTo>
                  <a:lnTo>
                    <a:pt x="704" y="1235"/>
                  </a:lnTo>
                  <a:lnTo>
                    <a:pt x="706" y="1235"/>
                  </a:lnTo>
                  <a:lnTo>
                    <a:pt x="706" y="1236"/>
                  </a:lnTo>
                  <a:lnTo>
                    <a:pt x="706" y="1238"/>
                  </a:lnTo>
                  <a:lnTo>
                    <a:pt x="707" y="1238"/>
                  </a:lnTo>
                  <a:lnTo>
                    <a:pt x="706" y="1238"/>
                  </a:lnTo>
                  <a:lnTo>
                    <a:pt x="707" y="1240"/>
                  </a:lnTo>
                  <a:lnTo>
                    <a:pt x="706" y="1240"/>
                  </a:lnTo>
                  <a:lnTo>
                    <a:pt x="707" y="1240"/>
                  </a:lnTo>
                  <a:lnTo>
                    <a:pt x="707" y="1241"/>
                  </a:lnTo>
                  <a:lnTo>
                    <a:pt x="704" y="1241"/>
                  </a:lnTo>
                  <a:lnTo>
                    <a:pt x="701" y="1240"/>
                  </a:lnTo>
                  <a:lnTo>
                    <a:pt x="699" y="1241"/>
                  </a:lnTo>
                  <a:lnTo>
                    <a:pt x="698" y="1241"/>
                  </a:lnTo>
                  <a:lnTo>
                    <a:pt x="694" y="1238"/>
                  </a:lnTo>
                  <a:lnTo>
                    <a:pt x="694" y="1236"/>
                  </a:lnTo>
                  <a:lnTo>
                    <a:pt x="694" y="1235"/>
                  </a:lnTo>
                  <a:lnTo>
                    <a:pt x="693" y="1235"/>
                  </a:lnTo>
                  <a:lnTo>
                    <a:pt x="691" y="1235"/>
                  </a:lnTo>
                  <a:lnTo>
                    <a:pt x="690" y="1235"/>
                  </a:lnTo>
                  <a:lnTo>
                    <a:pt x="688" y="1233"/>
                  </a:lnTo>
                  <a:lnTo>
                    <a:pt x="686" y="1235"/>
                  </a:lnTo>
                  <a:lnTo>
                    <a:pt x="685" y="1233"/>
                  </a:lnTo>
                  <a:lnTo>
                    <a:pt x="685" y="1232"/>
                  </a:lnTo>
                  <a:lnTo>
                    <a:pt x="683" y="1232"/>
                  </a:lnTo>
                  <a:lnTo>
                    <a:pt x="683" y="1233"/>
                  </a:lnTo>
                  <a:lnTo>
                    <a:pt x="681" y="1233"/>
                  </a:lnTo>
                  <a:lnTo>
                    <a:pt x="681" y="1235"/>
                  </a:lnTo>
                  <a:lnTo>
                    <a:pt x="680" y="1236"/>
                  </a:lnTo>
                  <a:lnTo>
                    <a:pt x="677" y="1235"/>
                  </a:lnTo>
                  <a:lnTo>
                    <a:pt x="677" y="1233"/>
                  </a:lnTo>
                  <a:lnTo>
                    <a:pt x="673" y="1235"/>
                  </a:lnTo>
                  <a:lnTo>
                    <a:pt x="672" y="1235"/>
                  </a:lnTo>
                  <a:lnTo>
                    <a:pt x="672" y="1236"/>
                  </a:lnTo>
                  <a:lnTo>
                    <a:pt x="670" y="1236"/>
                  </a:lnTo>
                  <a:lnTo>
                    <a:pt x="668" y="1238"/>
                  </a:lnTo>
                  <a:lnTo>
                    <a:pt x="667" y="1240"/>
                  </a:lnTo>
                  <a:lnTo>
                    <a:pt x="665" y="1240"/>
                  </a:lnTo>
                  <a:lnTo>
                    <a:pt x="664" y="1240"/>
                  </a:lnTo>
                  <a:lnTo>
                    <a:pt x="662" y="1238"/>
                  </a:lnTo>
                  <a:lnTo>
                    <a:pt x="660" y="1238"/>
                  </a:lnTo>
                  <a:lnTo>
                    <a:pt x="659" y="1238"/>
                  </a:lnTo>
                  <a:lnTo>
                    <a:pt x="657" y="1240"/>
                  </a:lnTo>
                  <a:lnTo>
                    <a:pt x="655" y="1240"/>
                  </a:lnTo>
                  <a:lnTo>
                    <a:pt x="654" y="1240"/>
                  </a:lnTo>
                  <a:lnTo>
                    <a:pt x="654" y="1243"/>
                  </a:lnTo>
                  <a:lnTo>
                    <a:pt x="652" y="1243"/>
                  </a:lnTo>
                  <a:lnTo>
                    <a:pt x="652" y="1245"/>
                  </a:lnTo>
                  <a:lnTo>
                    <a:pt x="652" y="1246"/>
                  </a:lnTo>
                  <a:lnTo>
                    <a:pt x="654" y="1248"/>
                  </a:lnTo>
                  <a:lnTo>
                    <a:pt x="654" y="1249"/>
                  </a:lnTo>
                  <a:lnTo>
                    <a:pt x="652" y="1249"/>
                  </a:lnTo>
                  <a:lnTo>
                    <a:pt x="651" y="1249"/>
                  </a:lnTo>
                  <a:lnTo>
                    <a:pt x="647" y="1248"/>
                  </a:lnTo>
                  <a:lnTo>
                    <a:pt x="646" y="1248"/>
                  </a:lnTo>
                  <a:lnTo>
                    <a:pt x="644" y="1248"/>
                  </a:lnTo>
                  <a:lnTo>
                    <a:pt x="642" y="1246"/>
                  </a:lnTo>
                  <a:lnTo>
                    <a:pt x="641" y="1246"/>
                  </a:lnTo>
                  <a:lnTo>
                    <a:pt x="641" y="1248"/>
                  </a:lnTo>
                  <a:lnTo>
                    <a:pt x="639" y="1248"/>
                  </a:lnTo>
                  <a:lnTo>
                    <a:pt x="639" y="1249"/>
                  </a:lnTo>
                  <a:lnTo>
                    <a:pt x="638" y="1249"/>
                  </a:lnTo>
                  <a:lnTo>
                    <a:pt x="638" y="1248"/>
                  </a:lnTo>
                  <a:lnTo>
                    <a:pt x="636" y="1248"/>
                  </a:lnTo>
                  <a:lnTo>
                    <a:pt x="633" y="1248"/>
                  </a:lnTo>
                  <a:lnTo>
                    <a:pt x="633" y="1246"/>
                  </a:lnTo>
                  <a:lnTo>
                    <a:pt x="631" y="1245"/>
                  </a:lnTo>
                  <a:lnTo>
                    <a:pt x="629" y="1243"/>
                  </a:lnTo>
                  <a:lnTo>
                    <a:pt x="628" y="1241"/>
                  </a:lnTo>
                  <a:lnTo>
                    <a:pt x="628" y="1240"/>
                  </a:lnTo>
                  <a:lnTo>
                    <a:pt x="626" y="1240"/>
                  </a:lnTo>
                  <a:lnTo>
                    <a:pt x="625" y="1240"/>
                  </a:lnTo>
                  <a:lnTo>
                    <a:pt x="623" y="1238"/>
                  </a:lnTo>
                  <a:lnTo>
                    <a:pt x="621" y="1236"/>
                  </a:lnTo>
                  <a:lnTo>
                    <a:pt x="620" y="1236"/>
                  </a:lnTo>
                  <a:lnTo>
                    <a:pt x="620" y="1235"/>
                  </a:lnTo>
                  <a:lnTo>
                    <a:pt x="618" y="1235"/>
                  </a:lnTo>
                  <a:lnTo>
                    <a:pt x="616" y="1233"/>
                  </a:lnTo>
                  <a:lnTo>
                    <a:pt x="615" y="1233"/>
                  </a:lnTo>
                  <a:lnTo>
                    <a:pt x="613" y="1233"/>
                  </a:lnTo>
                  <a:lnTo>
                    <a:pt x="612" y="1232"/>
                  </a:lnTo>
                  <a:lnTo>
                    <a:pt x="610" y="1232"/>
                  </a:lnTo>
                  <a:lnTo>
                    <a:pt x="608" y="1232"/>
                  </a:lnTo>
                  <a:lnTo>
                    <a:pt x="607" y="1233"/>
                  </a:lnTo>
                  <a:lnTo>
                    <a:pt x="605" y="1233"/>
                  </a:lnTo>
                  <a:lnTo>
                    <a:pt x="603" y="1233"/>
                  </a:lnTo>
                  <a:lnTo>
                    <a:pt x="600" y="1232"/>
                  </a:lnTo>
                  <a:lnTo>
                    <a:pt x="598" y="1233"/>
                  </a:lnTo>
                  <a:lnTo>
                    <a:pt x="597" y="1233"/>
                  </a:lnTo>
                  <a:lnTo>
                    <a:pt x="595" y="1235"/>
                  </a:lnTo>
                  <a:lnTo>
                    <a:pt x="595" y="1236"/>
                  </a:lnTo>
                  <a:lnTo>
                    <a:pt x="595" y="1238"/>
                  </a:lnTo>
                  <a:lnTo>
                    <a:pt x="592" y="1238"/>
                  </a:lnTo>
                  <a:lnTo>
                    <a:pt x="592" y="1240"/>
                  </a:lnTo>
                  <a:lnTo>
                    <a:pt x="590" y="1240"/>
                  </a:lnTo>
                  <a:lnTo>
                    <a:pt x="589" y="1240"/>
                  </a:lnTo>
                  <a:lnTo>
                    <a:pt x="587" y="1240"/>
                  </a:lnTo>
                  <a:lnTo>
                    <a:pt x="585" y="1240"/>
                  </a:lnTo>
                  <a:lnTo>
                    <a:pt x="584" y="1240"/>
                  </a:lnTo>
                  <a:lnTo>
                    <a:pt x="582" y="1240"/>
                  </a:lnTo>
                  <a:lnTo>
                    <a:pt x="581" y="1238"/>
                  </a:lnTo>
                  <a:lnTo>
                    <a:pt x="579" y="1236"/>
                  </a:lnTo>
                  <a:lnTo>
                    <a:pt x="579" y="1235"/>
                  </a:lnTo>
                  <a:lnTo>
                    <a:pt x="579" y="1230"/>
                  </a:lnTo>
                  <a:lnTo>
                    <a:pt x="577" y="1228"/>
                  </a:lnTo>
                  <a:lnTo>
                    <a:pt x="577" y="1227"/>
                  </a:lnTo>
                  <a:lnTo>
                    <a:pt x="577" y="1225"/>
                  </a:lnTo>
                  <a:lnTo>
                    <a:pt x="576" y="1225"/>
                  </a:lnTo>
                  <a:lnTo>
                    <a:pt x="574" y="1227"/>
                  </a:lnTo>
                  <a:lnTo>
                    <a:pt x="572" y="1225"/>
                  </a:lnTo>
                  <a:lnTo>
                    <a:pt x="571" y="1225"/>
                  </a:lnTo>
                  <a:lnTo>
                    <a:pt x="571" y="1223"/>
                  </a:lnTo>
                  <a:lnTo>
                    <a:pt x="569" y="1223"/>
                  </a:lnTo>
                  <a:lnTo>
                    <a:pt x="568" y="1222"/>
                  </a:lnTo>
                  <a:lnTo>
                    <a:pt x="566" y="1220"/>
                  </a:lnTo>
                  <a:lnTo>
                    <a:pt x="566" y="1219"/>
                  </a:lnTo>
                  <a:lnTo>
                    <a:pt x="564" y="1219"/>
                  </a:lnTo>
                  <a:lnTo>
                    <a:pt x="563" y="1219"/>
                  </a:lnTo>
                  <a:lnTo>
                    <a:pt x="561" y="1219"/>
                  </a:lnTo>
                  <a:lnTo>
                    <a:pt x="559" y="1219"/>
                  </a:lnTo>
                  <a:lnTo>
                    <a:pt x="558" y="1217"/>
                  </a:lnTo>
                  <a:lnTo>
                    <a:pt x="556" y="1217"/>
                  </a:lnTo>
                  <a:lnTo>
                    <a:pt x="555" y="1215"/>
                  </a:lnTo>
                  <a:lnTo>
                    <a:pt x="555" y="1214"/>
                  </a:lnTo>
                  <a:lnTo>
                    <a:pt x="556" y="1212"/>
                  </a:lnTo>
                  <a:lnTo>
                    <a:pt x="556" y="1210"/>
                  </a:lnTo>
                  <a:lnTo>
                    <a:pt x="556" y="1209"/>
                  </a:lnTo>
                  <a:lnTo>
                    <a:pt x="558" y="1209"/>
                  </a:lnTo>
                  <a:lnTo>
                    <a:pt x="558" y="1207"/>
                  </a:lnTo>
                  <a:lnTo>
                    <a:pt x="559" y="1207"/>
                  </a:lnTo>
                  <a:lnTo>
                    <a:pt x="561" y="1207"/>
                  </a:lnTo>
                  <a:lnTo>
                    <a:pt x="563" y="1207"/>
                  </a:lnTo>
                  <a:lnTo>
                    <a:pt x="563" y="1206"/>
                  </a:lnTo>
                  <a:lnTo>
                    <a:pt x="561" y="1206"/>
                  </a:lnTo>
                  <a:lnTo>
                    <a:pt x="559" y="1206"/>
                  </a:lnTo>
                  <a:lnTo>
                    <a:pt x="558" y="1204"/>
                  </a:lnTo>
                  <a:lnTo>
                    <a:pt x="556" y="1204"/>
                  </a:lnTo>
                  <a:lnTo>
                    <a:pt x="556" y="1202"/>
                  </a:lnTo>
                  <a:lnTo>
                    <a:pt x="558" y="1201"/>
                  </a:lnTo>
                  <a:lnTo>
                    <a:pt x="556" y="1201"/>
                  </a:lnTo>
                  <a:lnTo>
                    <a:pt x="555" y="1199"/>
                  </a:lnTo>
                  <a:lnTo>
                    <a:pt x="553" y="1199"/>
                  </a:lnTo>
                  <a:lnTo>
                    <a:pt x="551" y="1199"/>
                  </a:lnTo>
                  <a:lnTo>
                    <a:pt x="550" y="1199"/>
                  </a:lnTo>
                  <a:lnTo>
                    <a:pt x="550" y="1197"/>
                  </a:lnTo>
                  <a:lnTo>
                    <a:pt x="548" y="1197"/>
                  </a:lnTo>
                  <a:lnTo>
                    <a:pt x="546" y="1197"/>
                  </a:lnTo>
                  <a:lnTo>
                    <a:pt x="543" y="1197"/>
                  </a:lnTo>
                  <a:lnTo>
                    <a:pt x="543" y="1196"/>
                  </a:lnTo>
                  <a:lnTo>
                    <a:pt x="542" y="1196"/>
                  </a:lnTo>
                  <a:lnTo>
                    <a:pt x="542" y="1194"/>
                  </a:lnTo>
                  <a:lnTo>
                    <a:pt x="538" y="1193"/>
                  </a:lnTo>
                  <a:lnTo>
                    <a:pt x="537" y="1193"/>
                  </a:lnTo>
                  <a:lnTo>
                    <a:pt x="535" y="1193"/>
                  </a:lnTo>
                  <a:lnTo>
                    <a:pt x="533" y="1193"/>
                  </a:lnTo>
                  <a:lnTo>
                    <a:pt x="532" y="1193"/>
                  </a:lnTo>
                  <a:lnTo>
                    <a:pt x="530" y="1193"/>
                  </a:lnTo>
                  <a:lnTo>
                    <a:pt x="530" y="1194"/>
                  </a:lnTo>
                  <a:lnTo>
                    <a:pt x="530" y="1197"/>
                  </a:lnTo>
                  <a:lnTo>
                    <a:pt x="529" y="1197"/>
                  </a:lnTo>
                  <a:lnTo>
                    <a:pt x="529" y="1199"/>
                  </a:lnTo>
                  <a:lnTo>
                    <a:pt x="527" y="1199"/>
                  </a:lnTo>
                  <a:lnTo>
                    <a:pt x="527" y="1197"/>
                  </a:lnTo>
                  <a:lnTo>
                    <a:pt x="525" y="1197"/>
                  </a:lnTo>
                  <a:lnTo>
                    <a:pt x="525" y="1194"/>
                  </a:lnTo>
                  <a:lnTo>
                    <a:pt x="524" y="1194"/>
                  </a:lnTo>
                  <a:lnTo>
                    <a:pt x="525" y="1193"/>
                  </a:lnTo>
                  <a:lnTo>
                    <a:pt x="524" y="1191"/>
                  </a:lnTo>
                  <a:lnTo>
                    <a:pt x="524" y="1189"/>
                  </a:lnTo>
                  <a:lnTo>
                    <a:pt x="524" y="1188"/>
                  </a:lnTo>
                  <a:lnTo>
                    <a:pt x="522" y="1188"/>
                  </a:lnTo>
                  <a:lnTo>
                    <a:pt x="522" y="1186"/>
                  </a:lnTo>
                  <a:lnTo>
                    <a:pt x="522" y="1184"/>
                  </a:lnTo>
                  <a:lnTo>
                    <a:pt x="519" y="1183"/>
                  </a:lnTo>
                  <a:lnTo>
                    <a:pt x="519" y="1181"/>
                  </a:lnTo>
                  <a:lnTo>
                    <a:pt x="517" y="1181"/>
                  </a:lnTo>
                  <a:lnTo>
                    <a:pt x="517" y="1180"/>
                  </a:lnTo>
                  <a:lnTo>
                    <a:pt x="516" y="1180"/>
                  </a:lnTo>
                  <a:lnTo>
                    <a:pt x="516" y="1181"/>
                  </a:lnTo>
                  <a:lnTo>
                    <a:pt x="512" y="1180"/>
                  </a:lnTo>
                  <a:lnTo>
                    <a:pt x="511" y="1181"/>
                  </a:lnTo>
                  <a:lnTo>
                    <a:pt x="511" y="1180"/>
                  </a:lnTo>
                  <a:lnTo>
                    <a:pt x="509" y="1180"/>
                  </a:lnTo>
                  <a:lnTo>
                    <a:pt x="507" y="1180"/>
                  </a:lnTo>
                  <a:lnTo>
                    <a:pt x="506" y="1178"/>
                  </a:lnTo>
                  <a:lnTo>
                    <a:pt x="504" y="1180"/>
                  </a:lnTo>
                  <a:lnTo>
                    <a:pt x="503" y="1180"/>
                  </a:lnTo>
                  <a:lnTo>
                    <a:pt x="501" y="1180"/>
                  </a:lnTo>
                  <a:lnTo>
                    <a:pt x="499" y="1180"/>
                  </a:lnTo>
                  <a:lnTo>
                    <a:pt x="498" y="1178"/>
                  </a:lnTo>
                  <a:lnTo>
                    <a:pt x="496" y="1178"/>
                  </a:lnTo>
                  <a:lnTo>
                    <a:pt x="496" y="1176"/>
                  </a:lnTo>
                  <a:lnTo>
                    <a:pt x="496" y="1175"/>
                  </a:lnTo>
                  <a:lnTo>
                    <a:pt x="496" y="1173"/>
                  </a:lnTo>
                  <a:lnTo>
                    <a:pt x="496" y="1171"/>
                  </a:lnTo>
                  <a:lnTo>
                    <a:pt x="494" y="1171"/>
                  </a:lnTo>
                  <a:lnTo>
                    <a:pt x="493" y="1170"/>
                  </a:lnTo>
                  <a:lnTo>
                    <a:pt x="491" y="1168"/>
                  </a:lnTo>
                  <a:lnTo>
                    <a:pt x="490" y="1168"/>
                  </a:lnTo>
                  <a:lnTo>
                    <a:pt x="488" y="1168"/>
                  </a:lnTo>
                  <a:lnTo>
                    <a:pt x="486" y="1168"/>
                  </a:lnTo>
                  <a:lnTo>
                    <a:pt x="485" y="1167"/>
                  </a:lnTo>
                  <a:lnTo>
                    <a:pt x="483" y="1167"/>
                  </a:lnTo>
                  <a:lnTo>
                    <a:pt x="481" y="1167"/>
                  </a:lnTo>
                  <a:lnTo>
                    <a:pt x="480" y="1165"/>
                  </a:lnTo>
                  <a:lnTo>
                    <a:pt x="480" y="1163"/>
                  </a:lnTo>
                  <a:lnTo>
                    <a:pt x="478" y="1163"/>
                  </a:lnTo>
                  <a:lnTo>
                    <a:pt x="478" y="1165"/>
                  </a:lnTo>
                  <a:lnTo>
                    <a:pt x="477" y="1165"/>
                  </a:lnTo>
                  <a:lnTo>
                    <a:pt x="477" y="1167"/>
                  </a:lnTo>
                  <a:lnTo>
                    <a:pt x="475" y="1165"/>
                  </a:lnTo>
                  <a:lnTo>
                    <a:pt x="473" y="1163"/>
                  </a:lnTo>
                  <a:lnTo>
                    <a:pt x="472" y="1162"/>
                  </a:lnTo>
                  <a:lnTo>
                    <a:pt x="470" y="1162"/>
                  </a:lnTo>
                  <a:lnTo>
                    <a:pt x="470" y="1160"/>
                  </a:lnTo>
                  <a:lnTo>
                    <a:pt x="468" y="1160"/>
                  </a:lnTo>
                  <a:lnTo>
                    <a:pt x="465" y="1158"/>
                  </a:lnTo>
                  <a:lnTo>
                    <a:pt x="465" y="1157"/>
                  </a:lnTo>
                  <a:lnTo>
                    <a:pt x="464" y="1157"/>
                  </a:lnTo>
                  <a:lnTo>
                    <a:pt x="462" y="1157"/>
                  </a:lnTo>
                  <a:lnTo>
                    <a:pt x="460" y="1157"/>
                  </a:lnTo>
                  <a:lnTo>
                    <a:pt x="459" y="1155"/>
                  </a:lnTo>
                  <a:lnTo>
                    <a:pt x="457" y="1155"/>
                  </a:lnTo>
                  <a:lnTo>
                    <a:pt x="455" y="1153"/>
                  </a:lnTo>
                  <a:lnTo>
                    <a:pt x="454" y="1153"/>
                  </a:lnTo>
                  <a:lnTo>
                    <a:pt x="454" y="1152"/>
                  </a:lnTo>
                  <a:lnTo>
                    <a:pt x="452" y="1153"/>
                  </a:lnTo>
                  <a:lnTo>
                    <a:pt x="450" y="1153"/>
                  </a:lnTo>
                  <a:lnTo>
                    <a:pt x="449" y="1155"/>
                  </a:lnTo>
                  <a:lnTo>
                    <a:pt x="447" y="1155"/>
                  </a:lnTo>
                  <a:lnTo>
                    <a:pt x="449" y="1157"/>
                  </a:lnTo>
                  <a:lnTo>
                    <a:pt x="449" y="1158"/>
                  </a:lnTo>
                  <a:lnTo>
                    <a:pt x="449" y="1160"/>
                  </a:lnTo>
                  <a:lnTo>
                    <a:pt x="447" y="1162"/>
                  </a:lnTo>
                  <a:lnTo>
                    <a:pt x="446" y="1163"/>
                  </a:lnTo>
                  <a:lnTo>
                    <a:pt x="449" y="1165"/>
                  </a:lnTo>
                  <a:lnTo>
                    <a:pt x="447" y="1165"/>
                  </a:lnTo>
                  <a:lnTo>
                    <a:pt x="446" y="1167"/>
                  </a:lnTo>
                  <a:lnTo>
                    <a:pt x="444" y="1167"/>
                  </a:lnTo>
                  <a:lnTo>
                    <a:pt x="446" y="1167"/>
                  </a:lnTo>
                  <a:lnTo>
                    <a:pt x="447" y="1168"/>
                  </a:lnTo>
                  <a:lnTo>
                    <a:pt x="447" y="1170"/>
                  </a:lnTo>
                  <a:lnTo>
                    <a:pt x="449" y="1171"/>
                  </a:lnTo>
                  <a:lnTo>
                    <a:pt x="449" y="1173"/>
                  </a:lnTo>
                  <a:lnTo>
                    <a:pt x="449" y="1175"/>
                  </a:lnTo>
                  <a:lnTo>
                    <a:pt x="447" y="1175"/>
                  </a:lnTo>
                  <a:lnTo>
                    <a:pt x="447" y="1176"/>
                  </a:lnTo>
                  <a:lnTo>
                    <a:pt x="446" y="1176"/>
                  </a:lnTo>
                  <a:lnTo>
                    <a:pt x="442" y="1175"/>
                  </a:lnTo>
                  <a:lnTo>
                    <a:pt x="441" y="1175"/>
                  </a:lnTo>
                  <a:lnTo>
                    <a:pt x="439" y="1173"/>
                  </a:lnTo>
                  <a:lnTo>
                    <a:pt x="439" y="1175"/>
                  </a:lnTo>
                  <a:lnTo>
                    <a:pt x="434" y="1173"/>
                  </a:lnTo>
                  <a:lnTo>
                    <a:pt x="431" y="1173"/>
                  </a:lnTo>
                  <a:lnTo>
                    <a:pt x="431" y="1175"/>
                  </a:lnTo>
                  <a:lnTo>
                    <a:pt x="429" y="1175"/>
                  </a:lnTo>
                  <a:lnTo>
                    <a:pt x="428" y="1173"/>
                  </a:lnTo>
                  <a:lnTo>
                    <a:pt x="426" y="1173"/>
                  </a:lnTo>
                  <a:lnTo>
                    <a:pt x="424" y="1173"/>
                  </a:lnTo>
                  <a:lnTo>
                    <a:pt x="423" y="1173"/>
                  </a:lnTo>
                  <a:lnTo>
                    <a:pt x="421" y="1173"/>
                  </a:lnTo>
                  <a:lnTo>
                    <a:pt x="418" y="1171"/>
                  </a:lnTo>
                  <a:lnTo>
                    <a:pt x="418" y="1170"/>
                  </a:lnTo>
                  <a:lnTo>
                    <a:pt x="416" y="1170"/>
                  </a:lnTo>
                  <a:lnTo>
                    <a:pt x="415" y="1168"/>
                  </a:lnTo>
                  <a:lnTo>
                    <a:pt x="413" y="1170"/>
                  </a:lnTo>
                  <a:lnTo>
                    <a:pt x="411" y="1170"/>
                  </a:lnTo>
                  <a:lnTo>
                    <a:pt x="410" y="1171"/>
                  </a:lnTo>
                  <a:lnTo>
                    <a:pt x="410" y="1173"/>
                  </a:lnTo>
                  <a:lnTo>
                    <a:pt x="407" y="1173"/>
                  </a:lnTo>
                  <a:lnTo>
                    <a:pt x="405" y="1171"/>
                  </a:lnTo>
                  <a:lnTo>
                    <a:pt x="405" y="1170"/>
                  </a:lnTo>
                  <a:lnTo>
                    <a:pt x="405" y="1168"/>
                  </a:lnTo>
                  <a:lnTo>
                    <a:pt x="403" y="1167"/>
                  </a:lnTo>
                  <a:lnTo>
                    <a:pt x="402" y="1167"/>
                  </a:lnTo>
                  <a:lnTo>
                    <a:pt x="400" y="1165"/>
                  </a:lnTo>
                  <a:lnTo>
                    <a:pt x="398" y="1165"/>
                  </a:lnTo>
                  <a:lnTo>
                    <a:pt x="398" y="1163"/>
                  </a:lnTo>
                  <a:lnTo>
                    <a:pt x="395" y="1163"/>
                  </a:lnTo>
                  <a:lnTo>
                    <a:pt x="394" y="1165"/>
                  </a:lnTo>
                  <a:lnTo>
                    <a:pt x="395" y="1165"/>
                  </a:lnTo>
                  <a:lnTo>
                    <a:pt x="394" y="1165"/>
                  </a:lnTo>
                  <a:lnTo>
                    <a:pt x="392" y="1165"/>
                  </a:lnTo>
                  <a:lnTo>
                    <a:pt x="390" y="1165"/>
                  </a:lnTo>
                  <a:lnTo>
                    <a:pt x="389" y="1167"/>
                  </a:lnTo>
                  <a:lnTo>
                    <a:pt x="387" y="1165"/>
                  </a:lnTo>
                  <a:lnTo>
                    <a:pt x="385" y="1165"/>
                  </a:lnTo>
                  <a:lnTo>
                    <a:pt x="384" y="1167"/>
                  </a:lnTo>
                  <a:lnTo>
                    <a:pt x="382" y="1167"/>
                  </a:lnTo>
                  <a:lnTo>
                    <a:pt x="381" y="1167"/>
                  </a:lnTo>
                  <a:lnTo>
                    <a:pt x="379" y="1167"/>
                  </a:lnTo>
                  <a:lnTo>
                    <a:pt x="377" y="1167"/>
                  </a:lnTo>
                  <a:lnTo>
                    <a:pt x="377" y="1168"/>
                  </a:lnTo>
                  <a:lnTo>
                    <a:pt x="376" y="1168"/>
                  </a:lnTo>
                  <a:lnTo>
                    <a:pt x="374" y="1168"/>
                  </a:lnTo>
                  <a:lnTo>
                    <a:pt x="374" y="1167"/>
                  </a:lnTo>
                  <a:lnTo>
                    <a:pt x="371" y="1167"/>
                  </a:lnTo>
                  <a:lnTo>
                    <a:pt x="369" y="1165"/>
                  </a:lnTo>
                  <a:lnTo>
                    <a:pt x="371" y="1163"/>
                  </a:lnTo>
                  <a:lnTo>
                    <a:pt x="369" y="1162"/>
                  </a:lnTo>
                  <a:lnTo>
                    <a:pt x="368" y="1162"/>
                  </a:lnTo>
                  <a:lnTo>
                    <a:pt x="366" y="1162"/>
                  </a:lnTo>
                  <a:lnTo>
                    <a:pt x="366" y="1160"/>
                  </a:lnTo>
                  <a:lnTo>
                    <a:pt x="364" y="1158"/>
                  </a:lnTo>
                  <a:lnTo>
                    <a:pt x="364" y="1157"/>
                  </a:lnTo>
                  <a:lnTo>
                    <a:pt x="363" y="1153"/>
                  </a:lnTo>
                  <a:lnTo>
                    <a:pt x="363" y="1152"/>
                  </a:lnTo>
                  <a:lnTo>
                    <a:pt x="363" y="1150"/>
                  </a:lnTo>
                  <a:lnTo>
                    <a:pt x="361" y="1149"/>
                  </a:lnTo>
                  <a:lnTo>
                    <a:pt x="361" y="1150"/>
                  </a:lnTo>
                  <a:lnTo>
                    <a:pt x="359" y="1152"/>
                  </a:lnTo>
                  <a:lnTo>
                    <a:pt x="359" y="1150"/>
                  </a:lnTo>
                  <a:lnTo>
                    <a:pt x="358" y="1149"/>
                  </a:lnTo>
                  <a:lnTo>
                    <a:pt x="356" y="1149"/>
                  </a:lnTo>
                  <a:lnTo>
                    <a:pt x="355" y="1147"/>
                  </a:lnTo>
                  <a:lnTo>
                    <a:pt x="353" y="1145"/>
                  </a:lnTo>
                  <a:lnTo>
                    <a:pt x="351" y="1145"/>
                  </a:lnTo>
                  <a:lnTo>
                    <a:pt x="351" y="1144"/>
                  </a:lnTo>
                  <a:lnTo>
                    <a:pt x="350" y="1142"/>
                  </a:lnTo>
                  <a:lnTo>
                    <a:pt x="348" y="1142"/>
                  </a:lnTo>
                  <a:lnTo>
                    <a:pt x="346" y="1140"/>
                  </a:lnTo>
                  <a:lnTo>
                    <a:pt x="345" y="1142"/>
                  </a:lnTo>
                  <a:lnTo>
                    <a:pt x="343" y="1140"/>
                  </a:lnTo>
                  <a:lnTo>
                    <a:pt x="342" y="1142"/>
                  </a:lnTo>
                  <a:lnTo>
                    <a:pt x="340" y="1144"/>
                  </a:lnTo>
                  <a:lnTo>
                    <a:pt x="340" y="1145"/>
                  </a:lnTo>
                  <a:lnTo>
                    <a:pt x="338" y="1145"/>
                  </a:lnTo>
                  <a:lnTo>
                    <a:pt x="337" y="1145"/>
                  </a:lnTo>
                  <a:lnTo>
                    <a:pt x="337" y="1144"/>
                  </a:lnTo>
                  <a:lnTo>
                    <a:pt x="333" y="1145"/>
                  </a:lnTo>
                  <a:lnTo>
                    <a:pt x="332" y="1145"/>
                  </a:lnTo>
                  <a:lnTo>
                    <a:pt x="330" y="1144"/>
                  </a:lnTo>
                  <a:lnTo>
                    <a:pt x="329" y="1144"/>
                  </a:lnTo>
                  <a:lnTo>
                    <a:pt x="329" y="1142"/>
                  </a:lnTo>
                  <a:lnTo>
                    <a:pt x="327" y="1142"/>
                  </a:lnTo>
                  <a:lnTo>
                    <a:pt x="327" y="1140"/>
                  </a:lnTo>
                  <a:lnTo>
                    <a:pt x="325" y="1140"/>
                  </a:lnTo>
                  <a:lnTo>
                    <a:pt x="324" y="1142"/>
                  </a:lnTo>
                  <a:lnTo>
                    <a:pt x="324" y="1144"/>
                  </a:lnTo>
                  <a:lnTo>
                    <a:pt x="324" y="1145"/>
                  </a:lnTo>
                  <a:lnTo>
                    <a:pt x="322" y="1145"/>
                  </a:lnTo>
                  <a:lnTo>
                    <a:pt x="320" y="1145"/>
                  </a:lnTo>
                  <a:lnTo>
                    <a:pt x="319" y="1145"/>
                  </a:lnTo>
                  <a:lnTo>
                    <a:pt x="319" y="1144"/>
                  </a:lnTo>
                  <a:lnTo>
                    <a:pt x="319" y="1142"/>
                  </a:lnTo>
                  <a:lnTo>
                    <a:pt x="317" y="1142"/>
                  </a:lnTo>
                  <a:lnTo>
                    <a:pt x="316" y="1142"/>
                  </a:lnTo>
                  <a:lnTo>
                    <a:pt x="316" y="1139"/>
                  </a:lnTo>
                  <a:lnTo>
                    <a:pt x="316" y="1137"/>
                  </a:lnTo>
                  <a:lnTo>
                    <a:pt x="314" y="1137"/>
                  </a:lnTo>
                  <a:lnTo>
                    <a:pt x="312" y="1136"/>
                  </a:lnTo>
                  <a:lnTo>
                    <a:pt x="312" y="1134"/>
                  </a:lnTo>
                  <a:lnTo>
                    <a:pt x="311" y="1134"/>
                  </a:lnTo>
                  <a:lnTo>
                    <a:pt x="311" y="1131"/>
                  </a:lnTo>
                  <a:lnTo>
                    <a:pt x="309" y="1131"/>
                  </a:lnTo>
                  <a:lnTo>
                    <a:pt x="307" y="1131"/>
                  </a:lnTo>
                  <a:lnTo>
                    <a:pt x="306" y="1129"/>
                  </a:lnTo>
                  <a:lnTo>
                    <a:pt x="304" y="1129"/>
                  </a:lnTo>
                  <a:lnTo>
                    <a:pt x="304" y="1127"/>
                  </a:lnTo>
                  <a:lnTo>
                    <a:pt x="304" y="1126"/>
                  </a:lnTo>
                  <a:lnTo>
                    <a:pt x="304" y="1124"/>
                  </a:lnTo>
                  <a:lnTo>
                    <a:pt x="304" y="1123"/>
                  </a:lnTo>
                  <a:lnTo>
                    <a:pt x="304" y="1121"/>
                  </a:lnTo>
                  <a:lnTo>
                    <a:pt x="302" y="1119"/>
                  </a:lnTo>
                  <a:lnTo>
                    <a:pt x="302" y="1118"/>
                  </a:lnTo>
                  <a:lnTo>
                    <a:pt x="302" y="1116"/>
                  </a:lnTo>
                  <a:lnTo>
                    <a:pt x="301" y="1116"/>
                  </a:lnTo>
                  <a:lnTo>
                    <a:pt x="299" y="1116"/>
                  </a:lnTo>
                  <a:lnTo>
                    <a:pt x="298" y="1118"/>
                  </a:lnTo>
                  <a:lnTo>
                    <a:pt x="296" y="1118"/>
                  </a:lnTo>
                  <a:lnTo>
                    <a:pt x="294" y="1118"/>
                  </a:lnTo>
                  <a:lnTo>
                    <a:pt x="291" y="1118"/>
                  </a:lnTo>
                  <a:lnTo>
                    <a:pt x="291" y="1116"/>
                  </a:lnTo>
                  <a:lnTo>
                    <a:pt x="289" y="1116"/>
                  </a:lnTo>
                  <a:lnTo>
                    <a:pt x="288" y="1118"/>
                  </a:lnTo>
                  <a:lnTo>
                    <a:pt x="288" y="1116"/>
                  </a:lnTo>
                  <a:lnTo>
                    <a:pt x="286" y="1114"/>
                  </a:lnTo>
                  <a:lnTo>
                    <a:pt x="285" y="1116"/>
                  </a:lnTo>
                  <a:lnTo>
                    <a:pt x="283" y="1116"/>
                  </a:lnTo>
                  <a:lnTo>
                    <a:pt x="280" y="1114"/>
                  </a:lnTo>
                  <a:lnTo>
                    <a:pt x="280" y="1113"/>
                  </a:lnTo>
                  <a:lnTo>
                    <a:pt x="278" y="1113"/>
                  </a:lnTo>
                  <a:lnTo>
                    <a:pt x="278" y="1111"/>
                  </a:lnTo>
                  <a:lnTo>
                    <a:pt x="276" y="1110"/>
                  </a:lnTo>
                  <a:lnTo>
                    <a:pt x="273" y="1108"/>
                  </a:lnTo>
                  <a:lnTo>
                    <a:pt x="272" y="1108"/>
                  </a:lnTo>
                  <a:lnTo>
                    <a:pt x="270" y="1108"/>
                  </a:lnTo>
                  <a:lnTo>
                    <a:pt x="268" y="1106"/>
                  </a:lnTo>
                  <a:lnTo>
                    <a:pt x="267" y="1105"/>
                  </a:lnTo>
                  <a:lnTo>
                    <a:pt x="267" y="1103"/>
                  </a:lnTo>
                  <a:lnTo>
                    <a:pt x="263" y="1105"/>
                  </a:lnTo>
                  <a:lnTo>
                    <a:pt x="263" y="1103"/>
                  </a:lnTo>
                  <a:lnTo>
                    <a:pt x="262" y="1101"/>
                  </a:lnTo>
                  <a:lnTo>
                    <a:pt x="260" y="1101"/>
                  </a:lnTo>
                  <a:lnTo>
                    <a:pt x="259" y="1101"/>
                  </a:lnTo>
                  <a:lnTo>
                    <a:pt x="259" y="1100"/>
                  </a:lnTo>
                  <a:lnTo>
                    <a:pt x="257" y="1098"/>
                  </a:lnTo>
                  <a:lnTo>
                    <a:pt x="255" y="1098"/>
                  </a:lnTo>
                  <a:lnTo>
                    <a:pt x="255" y="1097"/>
                  </a:lnTo>
                  <a:lnTo>
                    <a:pt x="254" y="1098"/>
                  </a:lnTo>
                  <a:lnTo>
                    <a:pt x="252" y="1098"/>
                  </a:lnTo>
                  <a:lnTo>
                    <a:pt x="250" y="1098"/>
                  </a:lnTo>
                  <a:lnTo>
                    <a:pt x="249" y="1095"/>
                  </a:lnTo>
                  <a:lnTo>
                    <a:pt x="247" y="1095"/>
                  </a:lnTo>
                  <a:lnTo>
                    <a:pt x="247" y="1093"/>
                  </a:lnTo>
                  <a:lnTo>
                    <a:pt x="247" y="1092"/>
                  </a:lnTo>
                  <a:lnTo>
                    <a:pt x="249" y="1092"/>
                  </a:lnTo>
                  <a:lnTo>
                    <a:pt x="249" y="1090"/>
                  </a:lnTo>
                  <a:lnTo>
                    <a:pt x="252" y="1088"/>
                  </a:lnTo>
                  <a:lnTo>
                    <a:pt x="252" y="1087"/>
                  </a:lnTo>
                  <a:lnTo>
                    <a:pt x="249" y="1087"/>
                  </a:lnTo>
                  <a:lnTo>
                    <a:pt x="247" y="1087"/>
                  </a:lnTo>
                  <a:lnTo>
                    <a:pt x="246" y="1088"/>
                  </a:lnTo>
                  <a:lnTo>
                    <a:pt x="244" y="1090"/>
                  </a:lnTo>
                  <a:lnTo>
                    <a:pt x="244" y="1092"/>
                  </a:lnTo>
                  <a:lnTo>
                    <a:pt x="244" y="1093"/>
                  </a:lnTo>
                  <a:lnTo>
                    <a:pt x="242" y="1097"/>
                  </a:lnTo>
                  <a:lnTo>
                    <a:pt x="242" y="1098"/>
                  </a:lnTo>
                  <a:lnTo>
                    <a:pt x="241" y="1100"/>
                  </a:lnTo>
                  <a:lnTo>
                    <a:pt x="233" y="1095"/>
                  </a:lnTo>
                  <a:lnTo>
                    <a:pt x="231" y="1092"/>
                  </a:lnTo>
                  <a:lnTo>
                    <a:pt x="231" y="1088"/>
                  </a:lnTo>
                  <a:lnTo>
                    <a:pt x="236" y="1085"/>
                  </a:lnTo>
                  <a:lnTo>
                    <a:pt x="237" y="1084"/>
                  </a:lnTo>
                  <a:lnTo>
                    <a:pt x="237" y="1082"/>
                  </a:lnTo>
                  <a:lnTo>
                    <a:pt x="237" y="1080"/>
                  </a:lnTo>
                  <a:lnTo>
                    <a:pt x="239" y="1079"/>
                  </a:lnTo>
                  <a:lnTo>
                    <a:pt x="239" y="1077"/>
                  </a:lnTo>
                  <a:lnTo>
                    <a:pt x="241" y="1077"/>
                  </a:lnTo>
                  <a:lnTo>
                    <a:pt x="242" y="1075"/>
                  </a:lnTo>
                  <a:lnTo>
                    <a:pt x="242" y="1071"/>
                  </a:lnTo>
                  <a:lnTo>
                    <a:pt x="244" y="1069"/>
                  </a:lnTo>
                  <a:lnTo>
                    <a:pt x="244" y="1067"/>
                  </a:lnTo>
                  <a:lnTo>
                    <a:pt x="241" y="1062"/>
                  </a:lnTo>
                  <a:lnTo>
                    <a:pt x="237" y="1064"/>
                  </a:lnTo>
                  <a:lnTo>
                    <a:pt x="236" y="1064"/>
                  </a:lnTo>
                  <a:lnTo>
                    <a:pt x="234" y="1062"/>
                  </a:lnTo>
                  <a:lnTo>
                    <a:pt x="233" y="1061"/>
                  </a:lnTo>
                  <a:lnTo>
                    <a:pt x="231" y="1059"/>
                  </a:lnTo>
                  <a:lnTo>
                    <a:pt x="226" y="1059"/>
                  </a:lnTo>
                  <a:lnTo>
                    <a:pt x="226" y="1061"/>
                  </a:lnTo>
                  <a:lnTo>
                    <a:pt x="226" y="1062"/>
                  </a:lnTo>
                  <a:lnTo>
                    <a:pt x="224" y="1064"/>
                  </a:lnTo>
                  <a:lnTo>
                    <a:pt x="223" y="1064"/>
                  </a:lnTo>
                  <a:lnTo>
                    <a:pt x="220" y="1062"/>
                  </a:lnTo>
                  <a:lnTo>
                    <a:pt x="218" y="1059"/>
                  </a:lnTo>
                  <a:lnTo>
                    <a:pt x="218" y="1058"/>
                  </a:lnTo>
                  <a:lnTo>
                    <a:pt x="220" y="1056"/>
                  </a:lnTo>
                  <a:lnTo>
                    <a:pt x="218" y="1054"/>
                  </a:lnTo>
                  <a:lnTo>
                    <a:pt x="216" y="1054"/>
                  </a:lnTo>
                  <a:lnTo>
                    <a:pt x="215" y="1053"/>
                  </a:lnTo>
                  <a:lnTo>
                    <a:pt x="211" y="1053"/>
                  </a:lnTo>
                  <a:lnTo>
                    <a:pt x="211" y="1054"/>
                  </a:lnTo>
                  <a:lnTo>
                    <a:pt x="210" y="1054"/>
                  </a:lnTo>
                  <a:lnTo>
                    <a:pt x="208" y="1054"/>
                  </a:lnTo>
                  <a:lnTo>
                    <a:pt x="208" y="1053"/>
                  </a:lnTo>
                  <a:lnTo>
                    <a:pt x="207" y="1053"/>
                  </a:lnTo>
                  <a:lnTo>
                    <a:pt x="208" y="1053"/>
                  </a:lnTo>
                  <a:lnTo>
                    <a:pt x="208" y="1051"/>
                  </a:lnTo>
                  <a:lnTo>
                    <a:pt x="208" y="1049"/>
                  </a:lnTo>
                  <a:lnTo>
                    <a:pt x="207" y="1049"/>
                  </a:lnTo>
                  <a:lnTo>
                    <a:pt x="207" y="1048"/>
                  </a:lnTo>
                  <a:lnTo>
                    <a:pt x="205" y="1048"/>
                  </a:lnTo>
                  <a:lnTo>
                    <a:pt x="203" y="1048"/>
                  </a:lnTo>
                  <a:lnTo>
                    <a:pt x="203" y="1046"/>
                  </a:lnTo>
                  <a:lnTo>
                    <a:pt x="205" y="1046"/>
                  </a:lnTo>
                  <a:lnTo>
                    <a:pt x="205" y="1045"/>
                  </a:lnTo>
                  <a:lnTo>
                    <a:pt x="203" y="1045"/>
                  </a:lnTo>
                  <a:lnTo>
                    <a:pt x="203" y="1043"/>
                  </a:lnTo>
                  <a:lnTo>
                    <a:pt x="205" y="1043"/>
                  </a:lnTo>
                  <a:lnTo>
                    <a:pt x="207" y="1043"/>
                  </a:lnTo>
                  <a:lnTo>
                    <a:pt x="208" y="1043"/>
                  </a:lnTo>
                  <a:lnTo>
                    <a:pt x="210" y="1043"/>
                  </a:lnTo>
                  <a:lnTo>
                    <a:pt x="211" y="1043"/>
                  </a:lnTo>
                  <a:lnTo>
                    <a:pt x="215" y="1041"/>
                  </a:lnTo>
                  <a:lnTo>
                    <a:pt x="215" y="1043"/>
                  </a:lnTo>
                  <a:lnTo>
                    <a:pt x="216" y="1043"/>
                  </a:lnTo>
                  <a:lnTo>
                    <a:pt x="218" y="1043"/>
                  </a:lnTo>
                  <a:lnTo>
                    <a:pt x="218" y="1041"/>
                  </a:lnTo>
                  <a:lnTo>
                    <a:pt x="216" y="1041"/>
                  </a:lnTo>
                  <a:lnTo>
                    <a:pt x="218" y="1041"/>
                  </a:lnTo>
                  <a:lnTo>
                    <a:pt x="220" y="1041"/>
                  </a:lnTo>
                  <a:lnTo>
                    <a:pt x="220" y="1040"/>
                  </a:lnTo>
                  <a:lnTo>
                    <a:pt x="221" y="1040"/>
                  </a:lnTo>
                  <a:lnTo>
                    <a:pt x="223" y="1038"/>
                  </a:lnTo>
                  <a:lnTo>
                    <a:pt x="224" y="1038"/>
                  </a:lnTo>
                  <a:lnTo>
                    <a:pt x="224" y="1036"/>
                  </a:lnTo>
                  <a:lnTo>
                    <a:pt x="226" y="1036"/>
                  </a:lnTo>
                  <a:lnTo>
                    <a:pt x="226" y="1035"/>
                  </a:lnTo>
                  <a:lnTo>
                    <a:pt x="228" y="1032"/>
                  </a:lnTo>
                  <a:lnTo>
                    <a:pt x="229" y="1032"/>
                  </a:lnTo>
                  <a:lnTo>
                    <a:pt x="228" y="1032"/>
                  </a:lnTo>
                  <a:lnTo>
                    <a:pt x="229" y="1032"/>
                  </a:lnTo>
                  <a:lnTo>
                    <a:pt x="231" y="1030"/>
                  </a:lnTo>
                  <a:lnTo>
                    <a:pt x="234" y="1027"/>
                  </a:lnTo>
                  <a:lnTo>
                    <a:pt x="234" y="1025"/>
                  </a:lnTo>
                  <a:lnTo>
                    <a:pt x="237" y="1027"/>
                  </a:lnTo>
                  <a:lnTo>
                    <a:pt x="237" y="1028"/>
                  </a:lnTo>
                  <a:lnTo>
                    <a:pt x="236" y="1028"/>
                  </a:lnTo>
                  <a:lnTo>
                    <a:pt x="237" y="1030"/>
                  </a:lnTo>
                  <a:lnTo>
                    <a:pt x="239" y="1032"/>
                  </a:lnTo>
                  <a:lnTo>
                    <a:pt x="241" y="1033"/>
                  </a:lnTo>
                  <a:lnTo>
                    <a:pt x="242" y="1033"/>
                  </a:lnTo>
                  <a:lnTo>
                    <a:pt x="244" y="1032"/>
                  </a:lnTo>
                  <a:lnTo>
                    <a:pt x="247" y="1033"/>
                  </a:lnTo>
                  <a:lnTo>
                    <a:pt x="249" y="1033"/>
                  </a:lnTo>
                  <a:lnTo>
                    <a:pt x="250" y="1033"/>
                  </a:lnTo>
                  <a:lnTo>
                    <a:pt x="252" y="1032"/>
                  </a:lnTo>
                  <a:lnTo>
                    <a:pt x="255" y="1033"/>
                  </a:lnTo>
                  <a:lnTo>
                    <a:pt x="257" y="1033"/>
                  </a:lnTo>
                  <a:lnTo>
                    <a:pt x="259" y="1033"/>
                  </a:lnTo>
                  <a:lnTo>
                    <a:pt x="260" y="1032"/>
                  </a:lnTo>
                  <a:lnTo>
                    <a:pt x="263" y="1032"/>
                  </a:lnTo>
                  <a:lnTo>
                    <a:pt x="265" y="1032"/>
                  </a:lnTo>
                  <a:lnTo>
                    <a:pt x="267" y="1030"/>
                  </a:lnTo>
                  <a:lnTo>
                    <a:pt x="268" y="1028"/>
                  </a:lnTo>
                  <a:lnTo>
                    <a:pt x="265" y="1030"/>
                  </a:lnTo>
                  <a:lnTo>
                    <a:pt x="263" y="1032"/>
                  </a:lnTo>
                  <a:lnTo>
                    <a:pt x="262" y="1032"/>
                  </a:lnTo>
                  <a:lnTo>
                    <a:pt x="259" y="1033"/>
                  </a:lnTo>
                  <a:lnTo>
                    <a:pt x="257" y="1033"/>
                  </a:lnTo>
                  <a:lnTo>
                    <a:pt x="255" y="1033"/>
                  </a:lnTo>
                  <a:lnTo>
                    <a:pt x="255" y="1032"/>
                  </a:lnTo>
                  <a:lnTo>
                    <a:pt x="254" y="1033"/>
                  </a:lnTo>
                  <a:lnTo>
                    <a:pt x="254" y="1032"/>
                  </a:lnTo>
                  <a:lnTo>
                    <a:pt x="252" y="1032"/>
                  </a:lnTo>
                  <a:lnTo>
                    <a:pt x="250" y="1032"/>
                  </a:lnTo>
                  <a:lnTo>
                    <a:pt x="250" y="1033"/>
                  </a:lnTo>
                  <a:lnTo>
                    <a:pt x="249" y="1033"/>
                  </a:lnTo>
                  <a:lnTo>
                    <a:pt x="246" y="1032"/>
                  </a:lnTo>
                  <a:lnTo>
                    <a:pt x="244" y="1032"/>
                  </a:lnTo>
                  <a:lnTo>
                    <a:pt x="242" y="1032"/>
                  </a:lnTo>
                  <a:lnTo>
                    <a:pt x="242" y="1033"/>
                  </a:lnTo>
                  <a:lnTo>
                    <a:pt x="241" y="1033"/>
                  </a:lnTo>
                  <a:lnTo>
                    <a:pt x="239" y="1033"/>
                  </a:lnTo>
                  <a:lnTo>
                    <a:pt x="239" y="1032"/>
                  </a:lnTo>
                  <a:lnTo>
                    <a:pt x="237" y="1030"/>
                  </a:lnTo>
                  <a:lnTo>
                    <a:pt x="237" y="1028"/>
                  </a:lnTo>
                  <a:lnTo>
                    <a:pt x="237" y="1027"/>
                  </a:lnTo>
                  <a:lnTo>
                    <a:pt x="236" y="1027"/>
                  </a:lnTo>
                  <a:lnTo>
                    <a:pt x="234" y="1025"/>
                  </a:lnTo>
                  <a:lnTo>
                    <a:pt x="233" y="1025"/>
                  </a:lnTo>
                  <a:lnTo>
                    <a:pt x="234" y="1025"/>
                  </a:lnTo>
                  <a:lnTo>
                    <a:pt x="236" y="1022"/>
                  </a:lnTo>
                  <a:lnTo>
                    <a:pt x="237" y="1022"/>
                  </a:lnTo>
                  <a:lnTo>
                    <a:pt x="237" y="1020"/>
                  </a:lnTo>
                  <a:lnTo>
                    <a:pt x="242" y="1015"/>
                  </a:lnTo>
                  <a:lnTo>
                    <a:pt x="244" y="1010"/>
                  </a:lnTo>
                  <a:lnTo>
                    <a:pt x="246" y="1009"/>
                  </a:lnTo>
                  <a:lnTo>
                    <a:pt x="246" y="1005"/>
                  </a:lnTo>
                  <a:lnTo>
                    <a:pt x="246" y="1004"/>
                  </a:lnTo>
                  <a:lnTo>
                    <a:pt x="247" y="1002"/>
                  </a:lnTo>
                  <a:lnTo>
                    <a:pt x="250" y="992"/>
                  </a:lnTo>
                  <a:lnTo>
                    <a:pt x="254" y="983"/>
                  </a:lnTo>
                  <a:lnTo>
                    <a:pt x="254" y="981"/>
                  </a:lnTo>
                  <a:lnTo>
                    <a:pt x="259" y="971"/>
                  </a:lnTo>
                  <a:lnTo>
                    <a:pt x="259" y="970"/>
                  </a:lnTo>
                  <a:lnTo>
                    <a:pt x="260" y="966"/>
                  </a:lnTo>
                  <a:lnTo>
                    <a:pt x="262" y="962"/>
                  </a:lnTo>
                  <a:lnTo>
                    <a:pt x="267" y="945"/>
                  </a:lnTo>
                  <a:lnTo>
                    <a:pt x="270" y="939"/>
                  </a:lnTo>
                  <a:lnTo>
                    <a:pt x="278" y="908"/>
                  </a:lnTo>
                  <a:lnTo>
                    <a:pt x="281" y="897"/>
                  </a:lnTo>
                  <a:lnTo>
                    <a:pt x="281" y="893"/>
                  </a:lnTo>
                  <a:lnTo>
                    <a:pt x="281" y="892"/>
                  </a:lnTo>
                  <a:lnTo>
                    <a:pt x="281" y="890"/>
                  </a:lnTo>
                  <a:lnTo>
                    <a:pt x="281" y="888"/>
                  </a:lnTo>
                  <a:lnTo>
                    <a:pt x="281" y="887"/>
                  </a:lnTo>
                  <a:lnTo>
                    <a:pt x="283" y="885"/>
                  </a:lnTo>
                  <a:lnTo>
                    <a:pt x="285" y="884"/>
                  </a:lnTo>
                  <a:lnTo>
                    <a:pt x="286" y="882"/>
                  </a:lnTo>
                  <a:lnTo>
                    <a:pt x="288" y="879"/>
                  </a:lnTo>
                  <a:lnTo>
                    <a:pt x="289" y="877"/>
                  </a:lnTo>
                  <a:lnTo>
                    <a:pt x="289" y="872"/>
                  </a:lnTo>
                  <a:lnTo>
                    <a:pt x="291" y="872"/>
                  </a:lnTo>
                  <a:lnTo>
                    <a:pt x="291" y="871"/>
                  </a:lnTo>
                  <a:lnTo>
                    <a:pt x="293" y="871"/>
                  </a:lnTo>
                  <a:lnTo>
                    <a:pt x="294" y="871"/>
                  </a:lnTo>
                  <a:lnTo>
                    <a:pt x="296" y="871"/>
                  </a:lnTo>
                  <a:lnTo>
                    <a:pt x="296" y="872"/>
                  </a:lnTo>
                  <a:lnTo>
                    <a:pt x="304" y="874"/>
                  </a:lnTo>
                  <a:lnTo>
                    <a:pt x="306" y="874"/>
                  </a:lnTo>
                  <a:lnTo>
                    <a:pt x="307" y="874"/>
                  </a:lnTo>
                  <a:lnTo>
                    <a:pt x="307" y="875"/>
                  </a:lnTo>
                  <a:lnTo>
                    <a:pt x="307" y="874"/>
                  </a:lnTo>
                  <a:lnTo>
                    <a:pt x="307" y="872"/>
                  </a:lnTo>
                  <a:lnTo>
                    <a:pt x="309" y="872"/>
                  </a:lnTo>
                  <a:lnTo>
                    <a:pt x="309" y="871"/>
                  </a:lnTo>
                  <a:lnTo>
                    <a:pt x="307" y="871"/>
                  </a:lnTo>
                  <a:lnTo>
                    <a:pt x="306" y="869"/>
                  </a:lnTo>
                  <a:lnTo>
                    <a:pt x="307" y="869"/>
                  </a:lnTo>
                  <a:lnTo>
                    <a:pt x="306" y="869"/>
                  </a:lnTo>
                  <a:lnTo>
                    <a:pt x="304" y="867"/>
                  </a:lnTo>
                  <a:lnTo>
                    <a:pt x="306" y="867"/>
                  </a:lnTo>
                  <a:lnTo>
                    <a:pt x="307" y="867"/>
                  </a:lnTo>
                  <a:lnTo>
                    <a:pt x="306" y="866"/>
                  </a:lnTo>
                  <a:lnTo>
                    <a:pt x="304" y="864"/>
                  </a:lnTo>
                  <a:lnTo>
                    <a:pt x="304" y="862"/>
                  </a:lnTo>
                  <a:lnTo>
                    <a:pt x="302" y="862"/>
                  </a:lnTo>
                  <a:lnTo>
                    <a:pt x="302" y="861"/>
                  </a:lnTo>
                  <a:lnTo>
                    <a:pt x="301" y="861"/>
                  </a:lnTo>
                  <a:lnTo>
                    <a:pt x="301" y="859"/>
                  </a:lnTo>
                  <a:lnTo>
                    <a:pt x="299" y="859"/>
                  </a:lnTo>
                  <a:lnTo>
                    <a:pt x="298" y="857"/>
                  </a:lnTo>
                  <a:lnTo>
                    <a:pt x="298" y="856"/>
                  </a:lnTo>
                  <a:lnTo>
                    <a:pt x="296" y="856"/>
                  </a:lnTo>
                  <a:lnTo>
                    <a:pt x="294" y="856"/>
                  </a:lnTo>
                  <a:lnTo>
                    <a:pt x="294" y="857"/>
                  </a:lnTo>
                  <a:lnTo>
                    <a:pt x="294" y="859"/>
                  </a:lnTo>
                  <a:lnTo>
                    <a:pt x="293" y="859"/>
                  </a:lnTo>
                  <a:lnTo>
                    <a:pt x="293" y="861"/>
                  </a:lnTo>
                  <a:lnTo>
                    <a:pt x="291" y="862"/>
                  </a:lnTo>
                  <a:lnTo>
                    <a:pt x="289" y="862"/>
                  </a:lnTo>
                  <a:lnTo>
                    <a:pt x="289" y="864"/>
                  </a:lnTo>
                  <a:lnTo>
                    <a:pt x="288" y="864"/>
                  </a:lnTo>
                  <a:lnTo>
                    <a:pt x="288" y="866"/>
                  </a:lnTo>
                  <a:lnTo>
                    <a:pt x="286" y="867"/>
                  </a:lnTo>
                  <a:lnTo>
                    <a:pt x="286" y="869"/>
                  </a:lnTo>
                  <a:lnTo>
                    <a:pt x="286" y="871"/>
                  </a:lnTo>
                  <a:lnTo>
                    <a:pt x="285" y="874"/>
                  </a:lnTo>
                  <a:lnTo>
                    <a:pt x="286" y="872"/>
                  </a:lnTo>
                  <a:lnTo>
                    <a:pt x="285" y="874"/>
                  </a:lnTo>
                  <a:lnTo>
                    <a:pt x="285" y="875"/>
                  </a:lnTo>
                  <a:lnTo>
                    <a:pt x="283" y="874"/>
                  </a:lnTo>
                  <a:lnTo>
                    <a:pt x="285" y="871"/>
                  </a:lnTo>
                  <a:lnTo>
                    <a:pt x="286" y="864"/>
                  </a:lnTo>
                  <a:lnTo>
                    <a:pt x="293" y="841"/>
                  </a:lnTo>
                  <a:lnTo>
                    <a:pt x="296" y="823"/>
                  </a:lnTo>
                  <a:lnTo>
                    <a:pt x="301" y="807"/>
                  </a:lnTo>
                  <a:lnTo>
                    <a:pt x="307" y="781"/>
                  </a:lnTo>
                  <a:lnTo>
                    <a:pt x="309" y="773"/>
                  </a:lnTo>
                  <a:lnTo>
                    <a:pt x="309" y="770"/>
                  </a:lnTo>
                  <a:lnTo>
                    <a:pt x="309" y="765"/>
                  </a:lnTo>
                  <a:lnTo>
                    <a:pt x="311" y="760"/>
                  </a:lnTo>
                  <a:lnTo>
                    <a:pt x="311" y="758"/>
                  </a:lnTo>
                  <a:lnTo>
                    <a:pt x="311" y="757"/>
                  </a:lnTo>
                  <a:lnTo>
                    <a:pt x="312" y="753"/>
                  </a:lnTo>
                  <a:lnTo>
                    <a:pt x="314" y="752"/>
                  </a:lnTo>
                  <a:lnTo>
                    <a:pt x="314" y="750"/>
                  </a:lnTo>
                  <a:lnTo>
                    <a:pt x="316" y="749"/>
                  </a:lnTo>
                  <a:lnTo>
                    <a:pt x="317" y="749"/>
                  </a:lnTo>
                  <a:lnTo>
                    <a:pt x="317" y="747"/>
                  </a:lnTo>
                  <a:lnTo>
                    <a:pt x="319" y="747"/>
                  </a:lnTo>
                  <a:lnTo>
                    <a:pt x="319" y="745"/>
                  </a:lnTo>
                  <a:lnTo>
                    <a:pt x="319" y="744"/>
                  </a:lnTo>
                  <a:lnTo>
                    <a:pt x="320" y="744"/>
                  </a:lnTo>
                  <a:lnTo>
                    <a:pt x="322" y="744"/>
                  </a:lnTo>
                  <a:lnTo>
                    <a:pt x="324" y="744"/>
                  </a:lnTo>
                  <a:lnTo>
                    <a:pt x="322" y="744"/>
                  </a:lnTo>
                  <a:lnTo>
                    <a:pt x="322" y="745"/>
                  </a:lnTo>
                  <a:lnTo>
                    <a:pt x="324" y="747"/>
                  </a:lnTo>
                  <a:lnTo>
                    <a:pt x="324" y="749"/>
                  </a:lnTo>
                  <a:lnTo>
                    <a:pt x="322" y="749"/>
                  </a:lnTo>
                  <a:lnTo>
                    <a:pt x="324" y="749"/>
                  </a:lnTo>
                  <a:lnTo>
                    <a:pt x="324" y="750"/>
                  </a:lnTo>
                  <a:lnTo>
                    <a:pt x="322" y="750"/>
                  </a:lnTo>
                  <a:lnTo>
                    <a:pt x="320" y="750"/>
                  </a:lnTo>
                  <a:lnTo>
                    <a:pt x="320" y="752"/>
                  </a:lnTo>
                  <a:lnTo>
                    <a:pt x="322" y="753"/>
                  </a:lnTo>
                  <a:lnTo>
                    <a:pt x="325" y="755"/>
                  </a:lnTo>
                  <a:lnTo>
                    <a:pt x="325" y="757"/>
                  </a:lnTo>
                  <a:lnTo>
                    <a:pt x="327" y="758"/>
                  </a:lnTo>
                  <a:lnTo>
                    <a:pt x="327" y="760"/>
                  </a:lnTo>
                  <a:lnTo>
                    <a:pt x="327" y="758"/>
                  </a:lnTo>
                  <a:lnTo>
                    <a:pt x="329" y="760"/>
                  </a:lnTo>
                  <a:lnTo>
                    <a:pt x="330" y="762"/>
                  </a:lnTo>
                  <a:lnTo>
                    <a:pt x="333" y="763"/>
                  </a:lnTo>
                  <a:lnTo>
                    <a:pt x="333" y="765"/>
                  </a:lnTo>
                  <a:lnTo>
                    <a:pt x="333" y="766"/>
                  </a:lnTo>
                  <a:lnTo>
                    <a:pt x="335" y="766"/>
                  </a:lnTo>
                  <a:lnTo>
                    <a:pt x="335" y="768"/>
                  </a:lnTo>
                  <a:lnTo>
                    <a:pt x="338" y="770"/>
                  </a:lnTo>
                  <a:lnTo>
                    <a:pt x="338" y="771"/>
                  </a:lnTo>
                  <a:lnTo>
                    <a:pt x="340" y="773"/>
                  </a:lnTo>
                  <a:lnTo>
                    <a:pt x="343" y="778"/>
                  </a:lnTo>
                  <a:lnTo>
                    <a:pt x="345" y="779"/>
                  </a:lnTo>
                  <a:lnTo>
                    <a:pt x="346" y="788"/>
                  </a:lnTo>
                  <a:lnTo>
                    <a:pt x="346" y="789"/>
                  </a:lnTo>
                  <a:lnTo>
                    <a:pt x="348" y="796"/>
                  </a:lnTo>
                  <a:lnTo>
                    <a:pt x="346" y="799"/>
                  </a:lnTo>
                  <a:lnTo>
                    <a:pt x="346" y="801"/>
                  </a:lnTo>
                  <a:lnTo>
                    <a:pt x="348" y="804"/>
                  </a:lnTo>
                  <a:lnTo>
                    <a:pt x="348" y="807"/>
                  </a:lnTo>
                  <a:lnTo>
                    <a:pt x="348" y="809"/>
                  </a:lnTo>
                  <a:lnTo>
                    <a:pt x="350" y="812"/>
                  </a:lnTo>
                  <a:lnTo>
                    <a:pt x="350" y="814"/>
                  </a:lnTo>
                  <a:lnTo>
                    <a:pt x="350" y="817"/>
                  </a:lnTo>
                  <a:lnTo>
                    <a:pt x="351" y="818"/>
                  </a:lnTo>
                  <a:lnTo>
                    <a:pt x="353" y="820"/>
                  </a:lnTo>
                  <a:lnTo>
                    <a:pt x="353" y="822"/>
                  </a:lnTo>
                  <a:lnTo>
                    <a:pt x="353" y="823"/>
                  </a:lnTo>
                  <a:lnTo>
                    <a:pt x="355" y="825"/>
                  </a:lnTo>
                  <a:lnTo>
                    <a:pt x="355" y="827"/>
                  </a:lnTo>
                  <a:lnTo>
                    <a:pt x="358" y="828"/>
                  </a:lnTo>
                  <a:lnTo>
                    <a:pt x="359" y="830"/>
                  </a:lnTo>
                  <a:lnTo>
                    <a:pt x="361" y="831"/>
                  </a:lnTo>
                  <a:lnTo>
                    <a:pt x="363" y="833"/>
                  </a:lnTo>
                  <a:lnTo>
                    <a:pt x="363" y="835"/>
                  </a:lnTo>
                  <a:lnTo>
                    <a:pt x="363" y="836"/>
                  </a:lnTo>
                  <a:lnTo>
                    <a:pt x="363" y="838"/>
                  </a:lnTo>
                  <a:lnTo>
                    <a:pt x="361" y="841"/>
                  </a:lnTo>
                  <a:lnTo>
                    <a:pt x="361" y="843"/>
                  </a:lnTo>
                  <a:lnTo>
                    <a:pt x="361" y="848"/>
                  </a:lnTo>
                  <a:lnTo>
                    <a:pt x="361" y="849"/>
                  </a:lnTo>
                  <a:lnTo>
                    <a:pt x="361" y="851"/>
                  </a:lnTo>
                  <a:lnTo>
                    <a:pt x="358" y="853"/>
                  </a:lnTo>
                  <a:lnTo>
                    <a:pt x="358" y="854"/>
                  </a:lnTo>
                  <a:lnTo>
                    <a:pt x="359" y="857"/>
                  </a:lnTo>
                  <a:lnTo>
                    <a:pt x="361" y="859"/>
                  </a:lnTo>
                  <a:lnTo>
                    <a:pt x="361" y="861"/>
                  </a:lnTo>
                  <a:lnTo>
                    <a:pt x="361" y="862"/>
                  </a:lnTo>
                  <a:lnTo>
                    <a:pt x="363" y="864"/>
                  </a:lnTo>
                  <a:lnTo>
                    <a:pt x="361" y="867"/>
                  </a:lnTo>
                  <a:lnTo>
                    <a:pt x="361" y="869"/>
                  </a:lnTo>
                  <a:lnTo>
                    <a:pt x="363" y="869"/>
                  </a:lnTo>
                  <a:lnTo>
                    <a:pt x="364" y="871"/>
                  </a:lnTo>
                  <a:lnTo>
                    <a:pt x="368" y="872"/>
                  </a:lnTo>
                  <a:lnTo>
                    <a:pt x="368" y="874"/>
                  </a:lnTo>
                  <a:lnTo>
                    <a:pt x="369" y="875"/>
                  </a:lnTo>
                  <a:lnTo>
                    <a:pt x="371" y="875"/>
                  </a:lnTo>
                  <a:lnTo>
                    <a:pt x="372" y="875"/>
                  </a:lnTo>
                  <a:lnTo>
                    <a:pt x="372" y="877"/>
                  </a:lnTo>
                  <a:lnTo>
                    <a:pt x="371" y="877"/>
                  </a:lnTo>
                  <a:lnTo>
                    <a:pt x="371" y="879"/>
                  </a:lnTo>
                  <a:lnTo>
                    <a:pt x="372" y="879"/>
                  </a:lnTo>
                  <a:lnTo>
                    <a:pt x="374" y="879"/>
                  </a:lnTo>
                  <a:lnTo>
                    <a:pt x="374" y="880"/>
                  </a:lnTo>
                  <a:lnTo>
                    <a:pt x="376" y="882"/>
                  </a:lnTo>
                  <a:lnTo>
                    <a:pt x="376" y="884"/>
                  </a:lnTo>
                  <a:lnTo>
                    <a:pt x="377" y="884"/>
                  </a:lnTo>
                  <a:lnTo>
                    <a:pt x="377" y="885"/>
                  </a:lnTo>
                  <a:lnTo>
                    <a:pt x="377" y="884"/>
                  </a:lnTo>
                  <a:lnTo>
                    <a:pt x="376" y="884"/>
                  </a:lnTo>
                  <a:lnTo>
                    <a:pt x="376" y="882"/>
                  </a:lnTo>
                  <a:lnTo>
                    <a:pt x="374" y="880"/>
                  </a:lnTo>
                  <a:lnTo>
                    <a:pt x="374" y="879"/>
                  </a:lnTo>
                  <a:lnTo>
                    <a:pt x="372" y="879"/>
                  </a:lnTo>
                  <a:lnTo>
                    <a:pt x="371" y="879"/>
                  </a:lnTo>
                  <a:lnTo>
                    <a:pt x="371" y="877"/>
                  </a:lnTo>
                  <a:lnTo>
                    <a:pt x="372" y="877"/>
                  </a:lnTo>
                  <a:lnTo>
                    <a:pt x="372" y="875"/>
                  </a:lnTo>
                  <a:lnTo>
                    <a:pt x="371" y="875"/>
                  </a:lnTo>
                  <a:lnTo>
                    <a:pt x="369" y="875"/>
                  </a:lnTo>
                  <a:lnTo>
                    <a:pt x="368" y="874"/>
                  </a:lnTo>
                  <a:lnTo>
                    <a:pt x="368" y="872"/>
                  </a:lnTo>
                  <a:lnTo>
                    <a:pt x="366" y="872"/>
                  </a:lnTo>
                  <a:lnTo>
                    <a:pt x="366" y="871"/>
                  </a:lnTo>
                  <a:lnTo>
                    <a:pt x="364" y="871"/>
                  </a:lnTo>
                  <a:lnTo>
                    <a:pt x="363" y="869"/>
                  </a:lnTo>
                  <a:lnTo>
                    <a:pt x="363" y="867"/>
                  </a:lnTo>
                  <a:lnTo>
                    <a:pt x="363" y="866"/>
                  </a:lnTo>
                  <a:lnTo>
                    <a:pt x="363" y="864"/>
                  </a:lnTo>
                  <a:lnTo>
                    <a:pt x="363" y="862"/>
                  </a:lnTo>
                  <a:lnTo>
                    <a:pt x="363" y="861"/>
                  </a:lnTo>
                  <a:lnTo>
                    <a:pt x="361" y="859"/>
                  </a:lnTo>
                  <a:lnTo>
                    <a:pt x="361" y="857"/>
                  </a:lnTo>
                  <a:lnTo>
                    <a:pt x="361" y="856"/>
                  </a:lnTo>
                  <a:lnTo>
                    <a:pt x="359" y="856"/>
                  </a:lnTo>
                  <a:lnTo>
                    <a:pt x="358" y="854"/>
                  </a:lnTo>
                  <a:lnTo>
                    <a:pt x="358" y="853"/>
                  </a:lnTo>
                  <a:lnTo>
                    <a:pt x="359" y="853"/>
                  </a:lnTo>
                  <a:lnTo>
                    <a:pt x="361" y="851"/>
                  </a:lnTo>
                  <a:lnTo>
                    <a:pt x="363" y="849"/>
                  </a:lnTo>
                  <a:lnTo>
                    <a:pt x="363" y="848"/>
                  </a:lnTo>
                  <a:lnTo>
                    <a:pt x="363" y="846"/>
                  </a:lnTo>
                  <a:lnTo>
                    <a:pt x="363" y="844"/>
                  </a:lnTo>
                  <a:lnTo>
                    <a:pt x="361" y="844"/>
                  </a:lnTo>
                  <a:lnTo>
                    <a:pt x="361" y="843"/>
                  </a:lnTo>
                  <a:lnTo>
                    <a:pt x="361" y="841"/>
                  </a:lnTo>
                  <a:lnTo>
                    <a:pt x="363" y="838"/>
                  </a:lnTo>
                  <a:lnTo>
                    <a:pt x="364" y="836"/>
                  </a:lnTo>
                  <a:lnTo>
                    <a:pt x="364" y="835"/>
                  </a:lnTo>
                  <a:lnTo>
                    <a:pt x="363" y="833"/>
                  </a:lnTo>
                  <a:lnTo>
                    <a:pt x="363" y="831"/>
                  </a:lnTo>
                  <a:lnTo>
                    <a:pt x="361" y="831"/>
                  </a:lnTo>
                  <a:lnTo>
                    <a:pt x="361" y="830"/>
                  </a:lnTo>
                  <a:lnTo>
                    <a:pt x="359" y="828"/>
                  </a:lnTo>
                  <a:lnTo>
                    <a:pt x="359" y="827"/>
                  </a:lnTo>
                  <a:lnTo>
                    <a:pt x="358" y="825"/>
                  </a:lnTo>
                  <a:lnTo>
                    <a:pt x="359" y="827"/>
                  </a:lnTo>
                  <a:lnTo>
                    <a:pt x="364" y="828"/>
                  </a:lnTo>
                  <a:lnTo>
                    <a:pt x="366" y="831"/>
                  </a:lnTo>
                  <a:lnTo>
                    <a:pt x="368" y="831"/>
                  </a:lnTo>
                  <a:lnTo>
                    <a:pt x="368" y="833"/>
                  </a:lnTo>
                  <a:lnTo>
                    <a:pt x="369" y="833"/>
                  </a:lnTo>
                  <a:lnTo>
                    <a:pt x="369" y="836"/>
                  </a:lnTo>
                  <a:lnTo>
                    <a:pt x="371" y="840"/>
                  </a:lnTo>
                  <a:lnTo>
                    <a:pt x="371" y="841"/>
                  </a:lnTo>
                  <a:lnTo>
                    <a:pt x="372" y="843"/>
                  </a:lnTo>
                  <a:lnTo>
                    <a:pt x="374" y="843"/>
                  </a:lnTo>
                  <a:lnTo>
                    <a:pt x="376" y="841"/>
                  </a:lnTo>
                  <a:lnTo>
                    <a:pt x="377" y="841"/>
                  </a:lnTo>
                  <a:lnTo>
                    <a:pt x="377" y="843"/>
                  </a:lnTo>
                  <a:lnTo>
                    <a:pt x="379" y="843"/>
                  </a:lnTo>
                  <a:lnTo>
                    <a:pt x="381" y="843"/>
                  </a:lnTo>
                  <a:lnTo>
                    <a:pt x="381" y="844"/>
                  </a:lnTo>
                  <a:lnTo>
                    <a:pt x="382" y="844"/>
                  </a:lnTo>
                  <a:lnTo>
                    <a:pt x="384" y="844"/>
                  </a:lnTo>
                  <a:lnTo>
                    <a:pt x="384" y="846"/>
                  </a:lnTo>
                  <a:lnTo>
                    <a:pt x="384" y="848"/>
                  </a:lnTo>
                  <a:lnTo>
                    <a:pt x="385" y="849"/>
                  </a:lnTo>
                  <a:lnTo>
                    <a:pt x="385" y="851"/>
                  </a:lnTo>
                  <a:lnTo>
                    <a:pt x="387" y="851"/>
                  </a:lnTo>
                  <a:lnTo>
                    <a:pt x="389" y="851"/>
                  </a:lnTo>
                  <a:lnTo>
                    <a:pt x="389" y="849"/>
                  </a:lnTo>
                  <a:lnTo>
                    <a:pt x="387" y="848"/>
                  </a:lnTo>
                  <a:lnTo>
                    <a:pt x="389" y="848"/>
                  </a:lnTo>
                  <a:lnTo>
                    <a:pt x="390" y="848"/>
                  </a:lnTo>
                  <a:lnTo>
                    <a:pt x="392" y="848"/>
                  </a:lnTo>
                  <a:lnTo>
                    <a:pt x="390" y="849"/>
                  </a:lnTo>
                  <a:lnTo>
                    <a:pt x="392" y="849"/>
                  </a:lnTo>
                  <a:lnTo>
                    <a:pt x="390" y="851"/>
                  </a:lnTo>
                  <a:lnTo>
                    <a:pt x="389" y="853"/>
                  </a:lnTo>
                  <a:lnTo>
                    <a:pt x="389" y="854"/>
                  </a:lnTo>
                  <a:lnTo>
                    <a:pt x="390" y="854"/>
                  </a:lnTo>
                  <a:lnTo>
                    <a:pt x="392" y="854"/>
                  </a:lnTo>
                  <a:lnTo>
                    <a:pt x="392" y="853"/>
                  </a:lnTo>
                  <a:lnTo>
                    <a:pt x="392" y="851"/>
                  </a:lnTo>
                  <a:lnTo>
                    <a:pt x="394" y="851"/>
                  </a:lnTo>
                  <a:lnTo>
                    <a:pt x="395" y="851"/>
                  </a:lnTo>
                  <a:lnTo>
                    <a:pt x="395" y="853"/>
                  </a:lnTo>
                  <a:lnTo>
                    <a:pt x="395" y="854"/>
                  </a:lnTo>
                  <a:lnTo>
                    <a:pt x="394" y="856"/>
                  </a:lnTo>
                  <a:lnTo>
                    <a:pt x="394" y="857"/>
                  </a:lnTo>
                  <a:lnTo>
                    <a:pt x="395" y="861"/>
                  </a:lnTo>
                  <a:lnTo>
                    <a:pt x="397" y="861"/>
                  </a:lnTo>
                  <a:lnTo>
                    <a:pt x="398" y="859"/>
                  </a:lnTo>
                  <a:lnTo>
                    <a:pt x="400" y="859"/>
                  </a:lnTo>
                  <a:lnTo>
                    <a:pt x="400" y="861"/>
                  </a:lnTo>
                  <a:lnTo>
                    <a:pt x="398" y="861"/>
                  </a:lnTo>
                  <a:lnTo>
                    <a:pt x="398" y="862"/>
                  </a:lnTo>
                  <a:lnTo>
                    <a:pt x="400" y="862"/>
                  </a:lnTo>
                  <a:lnTo>
                    <a:pt x="398" y="861"/>
                  </a:lnTo>
                  <a:lnTo>
                    <a:pt x="400" y="861"/>
                  </a:lnTo>
                  <a:lnTo>
                    <a:pt x="400" y="859"/>
                  </a:lnTo>
                  <a:lnTo>
                    <a:pt x="398" y="859"/>
                  </a:lnTo>
                  <a:lnTo>
                    <a:pt x="397" y="859"/>
                  </a:lnTo>
                  <a:lnTo>
                    <a:pt x="397" y="861"/>
                  </a:lnTo>
                  <a:lnTo>
                    <a:pt x="395" y="861"/>
                  </a:lnTo>
                  <a:lnTo>
                    <a:pt x="395" y="859"/>
                  </a:lnTo>
                  <a:lnTo>
                    <a:pt x="394" y="857"/>
                  </a:lnTo>
                  <a:lnTo>
                    <a:pt x="394" y="856"/>
                  </a:lnTo>
                  <a:lnTo>
                    <a:pt x="395" y="854"/>
                  </a:lnTo>
                  <a:lnTo>
                    <a:pt x="395" y="853"/>
                  </a:lnTo>
                  <a:lnTo>
                    <a:pt x="395" y="851"/>
                  </a:lnTo>
                  <a:lnTo>
                    <a:pt x="394" y="851"/>
                  </a:lnTo>
                  <a:lnTo>
                    <a:pt x="392" y="851"/>
                  </a:lnTo>
                  <a:lnTo>
                    <a:pt x="392" y="853"/>
                  </a:lnTo>
                  <a:lnTo>
                    <a:pt x="392" y="854"/>
                  </a:lnTo>
                  <a:lnTo>
                    <a:pt x="390" y="854"/>
                  </a:lnTo>
                  <a:lnTo>
                    <a:pt x="390" y="853"/>
                  </a:lnTo>
                  <a:lnTo>
                    <a:pt x="390" y="851"/>
                  </a:lnTo>
                  <a:lnTo>
                    <a:pt x="392" y="849"/>
                  </a:lnTo>
                  <a:lnTo>
                    <a:pt x="392" y="848"/>
                  </a:lnTo>
                  <a:lnTo>
                    <a:pt x="390" y="848"/>
                  </a:lnTo>
                  <a:lnTo>
                    <a:pt x="389" y="848"/>
                  </a:lnTo>
                  <a:lnTo>
                    <a:pt x="389" y="846"/>
                  </a:lnTo>
                  <a:lnTo>
                    <a:pt x="387" y="846"/>
                  </a:lnTo>
                  <a:lnTo>
                    <a:pt x="387" y="848"/>
                  </a:lnTo>
                  <a:lnTo>
                    <a:pt x="387" y="849"/>
                  </a:lnTo>
                  <a:lnTo>
                    <a:pt x="387" y="851"/>
                  </a:lnTo>
                  <a:lnTo>
                    <a:pt x="385" y="851"/>
                  </a:lnTo>
                  <a:lnTo>
                    <a:pt x="385" y="849"/>
                  </a:lnTo>
                  <a:lnTo>
                    <a:pt x="385" y="848"/>
                  </a:lnTo>
                  <a:lnTo>
                    <a:pt x="385" y="846"/>
                  </a:lnTo>
                  <a:lnTo>
                    <a:pt x="384" y="844"/>
                  </a:lnTo>
                  <a:lnTo>
                    <a:pt x="382" y="844"/>
                  </a:lnTo>
                  <a:lnTo>
                    <a:pt x="382" y="843"/>
                  </a:lnTo>
                  <a:lnTo>
                    <a:pt x="381" y="843"/>
                  </a:lnTo>
                  <a:lnTo>
                    <a:pt x="379" y="843"/>
                  </a:lnTo>
                  <a:lnTo>
                    <a:pt x="377" y="841"/>
                  </a:lnTo>
                  <a:lnTo>
                    <a:pt x="376" y="841"/>
                  </a:lnTo>
                  <a:lnTo>
                    <a:pt x="374" y="841"/>
                  </a:lnTo>
                  <a:lnTo>
                    <a:pt x="372" y="843"/>
                  </a:lnTo>
                  <a:lnTo>
                    <a:pt x="371" y="838"/>
                  </a:lnTo>
                  <a:lnTo>
                    <a:pt x="371" y="836"/>
                  </a:lnTo>
                  <a:lnTo>
                    <a:pt x="371" y="835"/>
                  </a:lnTo>
                  <a:lnTo>
                    <a:pt x="371" y="833"/>
                  </a:lnTo>
                  <a:lnTo>
                    <a:pt x="369" y="831"/>
                  </a:lnTo>
                  <a:lnTo>
                    <a:pt x="368" y="831"/>
                  </a:lnTo>
                  <a:lnTo>
                    <a:pt x="368" y="830"/>
                  </a:lnTo>
                  <a:lnTo>
                    <a:pt x="366" y="828"/>
                  </a:lnTo>
                  <a:lnTo>
                    <a:pt x="364" y="827"/>
                  </a:lnTo>
                  <a:lnTo>
                    <a:pt x="363" y="827"/>
                  </a:lnTo>
                  <a:lnTo>
                    <a:pt x="359" y="825"/>
                  </a:lnTo>
                  <a:lnTo>
                    <a:pt x="358" y="823"/>
                  </a:lnTo>
                  <a:lnTo>
                    <a:pt x="355" y="820"/>
                  </a:lnTo>
                  <a:lnTo>
                    <a:pt x="355" y="815"/>
                  </a:lnTo>
                  <a:lnTo>
                    <a:pt x="355" y="814"/>
                  </a:lnTo>
                  <a:lnTo>
                    <a:pt x="353" y="814"/>
                  </a:lnTo>
                  <a:lnTo>
                    <a:pt x="353" y="812"/>
                  </a:lnTo>
                  <a:lnTo>
                    <a:pt x="355" y="807"/>
                  </a:lnTo>
                  <a:lnTo>
                    <a:pt x="353" y="797"/>
                  </a:lnTo>
                  <a:lnTo>
                    <a:pt x="353" y="796"/>
                  </a:lnTo>
                  <a:lnTo>
                    <a:pt x="353" y="792"/>
                  </a:lnTo>
                  <a:lnTo>
                    <a:pt x="353" y="789"/>
                  </a:lnTo>
                  <a:lnTo>
                    <a:pt x="353" y="784"/>
                  </a:lnTo>
                  <a:lnTo>
                    <a:pt x="353" y="783"/>
                  </a:lnTo>
                  <a:lnTo>
                    <a:pt x="351" y="779"/>
                  </a:lnTo>
                  <a:lnTo>
                    <a:pt x="351" y="778"/>
                  </a:lnTo>
                  <a:lnTo>
                    <a:pt x="351" y="776"/>
                  </a:lnTo>
                  <a:lnTo>
                    <a:pt x="351" y="773"/>
                  </a:lnTo>
                  <a:lnTo>
                    <a:pt x="350" y="770"/>
                  </a:lnTo>
                  <a:lnTo>
                    <a:pt x="348" y="765"/>
                  </a:lnTo>
                  <a:lnTo>
                    <a:pt x="346" y="762"/>
                  </a:lnTo>
                  <a:lnTo>
                    <a:pt x="345" y="760"/>
                  </a:lnTo>
                  <a:lnTo>
                    <a:pt x="345" y="758"/>
                  </a:lnTo>
                  <a:lnTo>
                    <a:pt x="343" y="757"/>
                  </a:lnTo>
                  <a:lnTo>
                    <a:pt x="342" y="755"/>
                  </a:lnTo>
                  <a:lnTo>
                    <a:pt x="340" y="753"/>
                  </a:lnTo>
                  <a:lnTo>
                    <a:pt x="340" y="752"/>
                  </a:lnTo>
                  <a:lnTo>
                    <a:pt x="338" y="752"/>
                  </a:lnTo>
                  <a:lnTo>
                    <a:pt x="338" y="750"/>
                  </a:lnTo>
                  <a:lnTo>
                    <a:pt x="337" y="750"/>
                  </a:lnTo>
                  <a:lnTo>
                    <a:pt x="338" y="750"/>
                  </a:lnTo>
                  <a:lnTo>
                    <a:pt x="337" y="749"/>
                  </a:lnTo>
                  <a:lnTo>
                    <a:pt x="337" y="747"/>
                  </a:lnTo>
                  <a:lnTo>
                    <a:pt x="335" y="747"/>
                  </a:lnTo>
                  <a:lnTo>
                    <a:pt x="333" y="749"/>
                  </a:lnTo>
                  <a:lnTo>
                    <a:pt x="332" y="747"/>
                  </a:lnTo>
                  <a:lnTo>
                    <a:pt x="332" y="745"/>
                  </a:lnTo>
                  <a:lnTo>
                    <a:pt x="330" y="745"/>
                  </a:lnTo>
                  <a:lnTo>
                    <a:pt x="330" y="744"/>
                  </a:lnTo>
                  <a:lnTo>
                    <a:pt x="330" y="742"/>
                  </a:lnTo>
                  <a:lnTo>
                    <a:pt x="330" y="740"/>
                  </a:lnTo>
                  <a:lnTo>
                    <a:pt x="329" y="740"/>
                  </a:lnTo>
                  <a:lnTo>
                    <a:pt x="329" y="739"/>
                  </a:lnTo>
                  <a:lnTo>
                    <a:pt x="329" y="737"/>
                  </a:lnTo>
                  <a:lnTo>
                    <a:pt x="327" y="737"/>
                  </a:lnTo>
                  <a:lnTo>
                    <a:pt x="325" y="737"/>
                  </a:lnTo>
                  <a:lnTo>
                    <a:pt x="325" y="736"/>
                  </a:lnTo>
                  <a:lnTo>
                    <a:pt x="324" y="736"/>
                  </a:lnTo>
                  <a:lnTo>
                    <a:pt x="324" y="734"/>
                  </a:lnTo>
                  <a:lnTo>
                    <a:pt x="322" y="734"/>
                  </a:lnTo>
                  <a:lnTo>
                    <a:pt x="322" y="732"/>
                  </a:lnTo>
                  <a:lnTo>
                    <a:pt x="320" y="734"/>
                  </a:lnTo>
                  <a:lnTo>
                    <a:pt x="320" y="732"/>
                  </a:lnTo>
                  <a:lnTo>
                    <a:pt x="319" y="732"/>
                  </a:lnTo>
                  <a:lnTo>
                    <a:pt x="319" y="731"/>
                  </a:lnTo>
                  <a:lnTo>
                    <a:pt x="317" y="731"/>
                  </a:lnTo>
                  <a:lnTo>
                    <a:pt x="316" y="727"/>
                  </a:lnTo>
                  <a:lnTo>
                    <a:pt x="314" y="727"/>
                  </a:lnTo>
                  <a:lnTo>
                    <a:pt x="312" y="726"/>
                  </a:lnTo>
                  <a:lnTo>
                    <a:pt x="312" y="724"/>
                  </a:lnTo>
                  <a:lnTo>
                    <a:pt x="311" y="724"/>
                  </a:lnTo>
                  <a:lnTo>
                    <a:pt x="311" y="722"/>
                  </a:lnTo>
                  <a:lnTo>
                    <a:pt x="309" y="724"/>
                  </a:lnTo>
                  <a:lnTo>
                    <a:pt x="309" y="726"/>
                  </a:lnTo>
                  <a:lnTo>
                    <a:pt x="311" y="726"/>
                  </a:lnTo>
                  <a:lnTo>
                    <a:pt x="312" y="726"/>
                  </a:lnTo>
                  <a:lnTo>
                    <a:pt x="314" y="726"/>
                  </a:lnTo>
                  <a:lnTo>
                    <a:pt x="314" y="727"/>
                  </a:lnTo>
                  <a:lnTo>
                    <a:pt x="312" y="726"/>
                  </a:lnTo>
                  <a:lnTo>
                    <a:pt x="311" y="727"/>
                  </a:lnTo>
                  <a:lnTo>
                    <a:pt x="309" y="726"/>
                  </a:lnTo>
                  <a:lnTo>
                    <a:pt x="307" y="724"/>
                  </a:lnTo>
                  <a:lnTo>
                    <a:pt x="307" y="722"/>
                  </a:lnTo>
                  <a:lnTo>
                    <a:pt x="307" y="721"/>
                  </a:lnTo>
                  <a:lnTo>
                    <a:pt x="309" y="718"/>
                  </a:lnTo>
                  <a:lnTo>
                    <a:pt x="309" y="713"/>
                  </a:lnTo>
                  <a:lnTo>
                    <a:pt x="309" y="711"/>
                  </a:lnTo>
                  <a:lnTo>
                    <a:pt x="309" y="709"/>
                  </a:lnTo>
                  <a:lnTo>
                    <a:pt x="312" y="709"/>
                  </a:lnTo>
                  <a:lnTo>
                    <a:pt x="314" y="709"/>
                  </a:lnTo>
                  <a:lnTo>
                    <a:pt x="316" y="709"/>
                  </a:lnTo>
                  <a:lnTo>
                    <a:pt x="317" y="709"/>
                  </a:lnTo>
                  <a:lnTo>
                    <a:pt x="319" y="709"/>
                  </a:lnTo>
                  <a:lnTo>
                    <a:pt x="320" y="711"/>
                  </a:lnTo>
                  <a:lnTo>
                    <a:pt x="322" y="713"/>
                  </a:lnTo>
                  <a:lnTo>
                    <a:pt x="324" y="714"/>
                  </a:lnTo>
                  <a:lnTo>
                    <a:pt x="324" y="716"/>
                  </a:lnTo>
                  <a:lnTo>
                    <a:pt x="325" y="716"/>
                  </a:lnTo>
                  <a:lnTo>
                    <a:pt x="325" y="718"/>
                  </a:lnTo>
                  <a:lnTo>
                    <a:pt x="327" y="719"/>
                  </a:lnTo>
                  <a:lnTo>
                    <a:pt x="327" y="721"/>
                  </a:lnTo>
                  <a:lnTo>
                    <a:pt x="329" y="721"/>
                  </a:lnTo>
                  <a:lnTo>
                    <a:pt x="329" y="722"/>
                  </a:lnTo>
                  <a:lnTo>
                    <a:pt x="330" y="722"/>
                  </a:lnTo>
                  <a:lnTo>
                    <a:pt x="332" y="724"/>
                  </a:lnTo>
                  <a:lnTo>
                    <a:pt x="332" y="722"/>
                  </a:lnTo>
                  <a:lnTo>
                    <a:pt x="329" y="721"/>
                  </a:lnTo>
                  <a:lnTo>
                    <a:pt x="327" y="719"/>
                  </a:lnTo>
                  <a:lnTo>
                    <a:pt x="327" y="718"/>
                  </a:lnTo>
                  <a:lnTo>
                    <a:pt x="325" y="716"/>
                  </a:lnTo>
                  <a:lnTo>
                    <a:pt x="324" y="716"/>
                  </a:lnTo>
                  <a:lnTo>
                    <a:pt x="324" y="714"/>
                  </a:lnTo>
                  <a:lnTo>
                    <a:pt x="320" y="711"/>
                  </a:lnTo>
                  <a:lnTo>
                    <a:pt x="320" y="709"/>
                  </a:lnTo>
                  <a:lnTo>
                    <a:pt x="320" y="708"/>
                  </a:lnTo>
                  <a:lnTo>
                    <a:pt x="320" y="706"/>
                  </a:lnTo>
                  <a:lnTo>
                    <a:pt x="319" y="706"/>
                  </a:lnTo>
                  <a:lnTo>
                    <a:pt x="319" y="705"/>
                  </a:lnTo>
                  <a:lnTo>
                    <a:pt x="319" y="703"/>
                  </a:lnTo>
                  <a:lnTo>
                    <a:pt x="317" y="703"/>
                  </a:lnTo>
                  <a:lnTo>
                    <a:pt x="317" y="701"/>
                  </a:lnTo>
                  <a:lnTo>
                    <a:pt x="319" y="701"/>
                  </a:lnTo>
                  <a:lnTo>
                    <a:pt x="317" y="701"/>
                  </a:lnTo>
                  <a:lnTo>
                    <a:pt x="319" y="701"/>
                  </a:lnTo>
                  <a:lnTo>
                    <a:pt x="320" y="701"/>
                  </a:lnTo>
                  <a:lnTo>
                    <a:pt x="319" y="701"/>
                  </a:lnTo>
                  <a:lnTo>
                    <a:pt x="319" y="700"/>
                  </a:lnTo>
                  <a:lnTo>
                    <a:pt x="320" y="701"/>
                  </a:lnTo>
                  <a:lnTo>
                    <a:pt x="322" y="701"/>
                  </a:lnTo>
                  <a:lnTo>
                    <a:pt x="324" y="701"/>
                  </a:lnTo>
                  <a:lnTo>
                    <a:pt x="324" y="700"/>
                  </a:lnTo>
                  <a:lnTo>
                    <a:pt x="325" y="700"/>
                  </a:lnTo>
                  <a:lnTo>
                    <a:pt x="325" y="698"/>
                  </a:lnTo>
                  <a:lnTo>
                    <a:pt x="327" y="696"/>
                  </a:lnTo>
                  <a:lnTo>
                    <a:pt x="329" y="693"/>
                  </a:lnTo>
                  <a:lnTo>
                    <a:pt x="329" y="692"/>
                  </a:lnTo>
                  <a:lnTo>
                    <a:pt x="329" y="690"/>
                  </a:lnTo>
                  <a:lnTo>
                    <a:pt x="327" y="690"/>
                  </a:lnTo>
                  <a:lnTo>
                    <a:pt x="327" y="688"/>
                  </a:lnTo>
                  <a:lnTo>
                    <a:pt x="330" y="690"/>
                  </a:lnTo>
                  <a:lnTo>
                    <a:pt x="332" y="690"/>
                  </a:lnTo>
                  <a:lnTo>
                    <a:pt x="332" y="688"/>
                  </a:lnTo>
                  <a:lnTo>
                    <a:pt x="333" y="688"/>
                  </a:lnTo>
                  <a:lnTo>
                    <a:pt x="335" y="688"/>
                  </a:lnTo>
                  <a:lnTo>
                    <a:pt x="337" y="687"/>
                  </a:lnTo>
                  <a:lnTo>
                    <a:pt x="337" y="688"/>
                  </a:lnTo>
                  <a:lnTo>
                    <a:pt x="337" y="690"/>
                  </a:lnTo>
                  <a:lnTo>
                    <a:pt x="337" y="692"/>
                  </a:lnTo>
                  <a:lnTo>
                    <a:pt x="337" y="690"/>
                  </a:lnTo>
                  <a:lnTo>
                    <a:pt x="338" y="688"/>
                  </a:lnTo>
                  <a:lnTo>
                    <a:pt x="337" y="687"/>
                  </a:lnTo>
                  <a:lnTo>
                    <a:pt x="335" y="687"/>
                  </a:lnTo>
                  <a:lnTo>
                    <a:pt x="335" y="688"/>
                  </a:lnTo>
                  <a:lnTo>
                    <a:pt x="333" y="688"/>
                  </a:lnTo>
                  <a:lnTo>
                    <a:pt x="332" y="688"/>
                  </a:lnTo>
                  <a:lnTo>
                    <a:pt x="330" y="688"/>
                  </a:lnTo>
                  <a:lnTo>
                    <a:pt x="329" y="688"/>
                  </a:lnTo>
                  <a:lnTo>
                    <a:pt x="329" y="687"/>
                  </a:lnTo>
                  <a:lnTo>
                    <a:pt x="329" y="685"/>
                  </a:lnTo>
                  <a:lnTo>
                    <a:pt x="329" y="683"/>
                  </a:lnTo>
                  <a:lnTo>
                    <a:pt x="327" y="683"/>
                  </a:lnTo>
                  <a:lnTo>
                    <a:pt x="327" y="682"/>
                  </a:lnTo>
                  <a:lnTo>
                    <a:pt x="325" y="682"/>
                  </a:lnTo>
                  <a:lnTo>
                    <a:pt x="325" y="680"/>
                  </a:lnTo>
                  <a:lnTo>
                    <a:pt x="327" y="682"/>
                  </a:lnTo>
                  <a:lnTo>
                    <a:pt x="329" y="683"/>
                  </a:lnTo>
                  <a:lnTo>
                    <a:pt x="330" y="682"/>
                  </a:lnTo>
                  <a:lnTo>
                    <a:pt x="330" y="683"/>
                  </a:lnTo>
                  <a:lnTo>
                    <a:pt x="332" y="683"/>
                  </a:lnTo>
                  <a:lnTo>
                    <a:pt x="332" y="682"/>
                  </a:lnTo>
                  <a:lnTo>
                    <a:pt x="332" y="680"/>
                  </a:lnTo>
                  <a:lnTo>
                    <a:pt x="332" y="679"/>
                  </a:lnTo>
                  <a:lnTo>
                    <a:pt x="333" y="677"/>
                  </a:lnTo>
                  <a:lnTo>
                    <a:pt x="332" y="675"/>
                  </a:lnTo>
                  <a:lnTo>
                    <a:pt x="330" y="674"/>
                  </a:lnTo>
                  <a:lnTo>
                    <a:pt x="329" y="674"/>
                  </a:lnTo>
                  <a:lnTo>
                    <a:pt x="330" y="672"/>
                  </a:lnTo>
                  <a:lnTo>
                    <a:pt x="330" y="670"/>
                  </a:lnTo>
                  <a:lnTo>
                    <a:pt x="330" y="669"/>
                  </a:lnTo>
                  <a:lnTo>
                    <a:pt x="329" y="667"/>
                  </a:lnTo>
                  <a:lnTo>
                    <a:pt x="327" y="667"/>
                  </a:lnTo>
                  <a:lnTo>
                    <a:pt x="327" y="666"/>
                  </a:lnTo>
                  <a:lnTo>
                    <a:pt x="325" y="667"/>
                  </a:lnTo>
                  <a:lnTo>
                    <a:pt x="325" y="666"/>
                  </a:lnTo>
                  <a:lnTo>
                    <a:pt x="327" y="666"/>
                  </a:lnTo>
                  <a:lnTo>
                    <a:pt x="327" y="664"/>
                  </a:lnTo>
                  <a:lnTo>
                    <a:pt x="325" y="664"/>
                  </a:lnTo>
                  <a:lnTo>
                    <a:pt x="325" y="662"/>
                  </a:lnTo>
                  <a:lnTo>
                    <a:pt x="325" y="661"/>
                  </a:lnTo>
                  <a:lnTo>
                    <a:pt x="324" y="661"/>
                  </a:lnTo>
                  <a:lnTo>
                    <a:pt x="325" y="659"/>
                  </a:lnTo>
                  <a:lnTo>
                    <a:pt x="324" y="659"/>
                  </a:lnTo>
                  <a:lnTo>
                    <a:pt x="320" y="659"/>
                  </a:lnTo>
                  <a:lnTo>
                    <a:pt x="319" y="659"/>
                  </a:lnTo>
                  <a:lnTo>
                    <a:pt x="317" y="659"/>
                  </a:lnTo>
                  <a:lnTo>
                    <a:pt x="317" y="657"/>
                  </a:lnTo>
                  <a:lnTo>
                    <a:pt x="319" y="657"/>
                  </a:lnTo>
                  <a:lnTo>
                    <a:pt x="319" y="656"/>
                  </a:lnTo>
                  <a:lnTo>
                    <a:pt x="317" y="656"/>
                  </a:lnTo>
                  <a:lnTo>
                    <a:pt x="317" y="657"/>
                  </a:lnTo>
                  <a:lnTo>
                    <a:pt x="317" y="656"/>
                  </a:lnTo>
                  <a:lnTo>
                    <a:pt x="319" y="656"/>
                  </a:lnTo>
                  <a:lnTo>
                    <a:pt x="319" y="654"/>
                  </a:lnTo>
                  <a:lnTo>
                    <a:pt x="320" y="654"/>
                  </a:lnTo>
                  <a:lnTo>
                    <a:pt x="322" y="654"/>
                  </a:lnTo>
                  <a:lnTo>
                    <a:pt x="322" y="653"/>
                  </a:lnTo>
                  <a:lnTo>
                    <a:pt x="322" y="651"/>
                  </a:lnTo>
                  <a:lnTo>
                    <a:pt x="322" y="649"/>
                  </a:lnTo>
                  <a:lnTo>
                    <a:pt x="324" y="649"/>
                  </a:lnTo>
                  <a:lnTo>
                    <a:pt x="325" y="649"/>
                  </a:lnTo>
                  <a:lnTo>
                    <a:pt x="327" y="648"/>
                  </a:lnTo>
                  <a:lnTo>
                    <a:pt x="329" y="646"/>
                  </a:lnTo>
                  <a:lnTo>
                    <a:pt x="329" y="644"/>
                  </a:lnTo>
                  <a:lnTo>
                    <a:pt x="330" y="644"/>
                  </a:lnTo>
                  <a:lnTo>
                    <a:pt x="330" y="643"/>
                  </a:lnTo>
                  <a:lnTo>
                    <a:pt x="330" y="640"/>
                  </a:lnTo>
                  <a:lnTo>
                    <a:pt x="330" y="638"/>
                  </a:lnTo>
                  <a:lnTo>
                    <a:pt x="332" y="638"/>
                  </a:lnTo>
                  <a:lnTo>
                    <a:pt x="332" y="636"/>
                  </a:lnTo>
                  <a:lnTo>
                    <a:pt x="333" y="636"/>
                  </a:lnTo>
                  <a:lnTo>
                    <a:pt x="333" y="638"/>
                  </a:lnTo>
                  <a:lnTo>
                    <a:pt x="333" y="636"/>
                  </a:lnTo>
                  <a:lnTo>
                    <a:pt x="333" y="638"/>
                  </a:lnTo>
                  <a:lnTo>
                    <a:pt x="335" y="638"/>
                  </a:lnTo>
                  <a:lnTo>
                    <a:pt x="335" y="636"/>
                  </a:lnTo>
                  <a:lnTo>
                    <a:pt x="335" y="638"/>
                  </a:lnTo>
                  <a:lnTo>
                    <a:pt x="333" y="638"/>
                  </a:lnTo>
                  <a:lnTo>
                    <a:pt x="333" y="636"/>
                  </a:lnTo>
                  <a:lnTo>
                    <a:pt x="332" y="635"/>
                  </a:lnTo>
                  <a:lnTo>
                    <a:pt x="332" y="636"/>
                  </a:lnTo>
                  <a:lnTo>
                    <a:pt x="330" y="638"/>
                  </a:lnTo>
                  <a:lnTo>
                    <a:pt x="330" y="636"/>
                  </a:lnTo>
                  <a:lnTo>
                    <a:pt x="329" y="636"/>
                  </a:lnTo>
                  <a:lnTo>
                    <a:pt x="327" y="636"/>
                  </a:lnTo>
                  <a:lnTo>
                    <a:pt x="325" y="636"/>
                  </a:lnTo>
                  <a:lnTo>
                    <a:pt x="325" y="638"/>
                  </a:lnTo>
                  <a:lnTo>
                    <a:pt x="324" y="638"/>
                  </a:lnTo>
                  <a:lnTo>
                    <a:pt x="324" y="640"/>
                  </a:lnTo>
                  <a:lnTo>
                    <a:pt x="322" y="640"/>
                  </a:lnTo>
                  <a:lnTo>
                    <a:pt x="322" y="641"/>
                  </a:lnTo>
                  <a:lnTo>
                    <a:pt x="324" y="643"/>
                  </a:lnTo>
                  <a:lnTo>
                    <a:pt x="322" y="643"/>
                  </a:lnTo>
                  <a:lnTo>
                    <a:pt x="322" y="641"/>
                  </a:lnTo>
                  <a:lnTo>
                    <a:pt x="320" y="640"/>
                  </a:lnTo>
                  <a:lnTo>
                    <a:pt x="319" y="638"/>
                  </a:lnTo>
                  <a:lnTo>
                    <a:pt x="317" y="636"/>
                  </a:lnTo>
                  <a:lnTo>
                    <a:pt x="317" y="635"/>
                  </a:lnTo>
                  <a:lnTo>
                    <a:pt x="316" y="635"/>
                  </a:lnTo>
                  <a:lnTo>
                    <a:pt x="314" y="633"/>
                  </a:lnTo>
                  <a:lnTo>
                    <a:pt x="314" y="631"/>
                  </a:lnTo>
                  <a:lnTo>
                    <a:pt x="314" y="633"/>
                  </a:lnTo>
                  <a:lnTo>
                    <a:pt x="314" y="635"/>
                  </a:lnTo>
                  <a:lnTo>
                    <a:pt x="316" y="636"/>
                  </a:lnTo>
                  <a:lnTo>
                    <a:pt x="314" y="636"/>
                  </a:lnTo>
                  <a:lnTo>
                    <a:pt x="316" y="636"/>
                  </a:lnTo>
                  <a:lnTo>
                    <a:pt x="316" y="638"/>
                  </a:lnTo>
                  <a:lnTo>
                    <a:pt x="317" y="638"/>
                  </a:lnTo>
                  <a:lnTo>
                    <a:pt x="316" y="638"/>
                  </a:lnTo>
                  <a:lnTo>
                    <a:pt x="314" y="638"/>
                  </a:lnTo>
                  <a:lnTo>
                    <a:pt x="314" y="636"/>
                  </a:lnTo>
                  <a:lnTo>
                    <a:pt x="314" y="635"/>
                  </a:lnTo>
                  <a:lnTo>
                    <a:pt x="312" y="633"/>
                  </a:lnTo>
                  <a:lnTo>
                    <a:pt x="312" y="631"/>
                  </a:lnTo>
                  <a:lnTo>
                    <a:pt x="311" y="630"/>
                  </a:lnTo>
                  <a:lnTo>
                    <a:pt x="309" y="628"/>
                  </a:lnTo>
                  <a:lnTo>
                    <a:pt x="306" y="630"/>
                  </a:lnTo>
                  <a:lnTo>
                    <a:pt x="306" y="628"/>
                  </a:lnTo>
                  <a:lnTo>
                    <a:pt x="304" y="628"/>
                  </a:lnTo>
                  <a:lnTo>
                    <a:pt x="302" y="628"/>
                  </a:lnTo>
                  <a:lnTo>
                    <a:pt x="301" y="628"/>
                  </a:lnTo>
                  <a:lnTo>
                    <a:pt x="299" y="628"/>
                  </a:lnTo>
                  <a:lnTo>
                    <a:pt x="298" y="627"/>
                  </a:lnTo>
                  <a:lnTo>
                    <a:pt x="298" y="625"/>
                  </a:lnTo>
                  <a:lnTo>
                    <a:pt x="298" y="622"/>
                  </a:lnTo>
                  <a:lnTo>
                    <a:pt x="298" y="620"/>
                  </a:lnTo>
                  <a:lnTo>
                    <a:pt x="296" y="618"/>
                  </a:lnTo>
                  <a:lnTo>
                    <a:pt x="294" y="618"/>
                  </a:lnTo>
                  <a:lnTo>
                    <a:pt x="294" y="617"/>
                  </a:lnTo>
                  <a:lnTo>
                    <a:pt x="293" y="617"/>
                  </a:lnTo>
                  <a:lnTo>
                    <a:pt x="291" y="618"/>
                  </a:lnTo>
                  <a:lnTo>
                    <a:pt x="291" y="617"/>
                  </a:lnTo>
                  <a:lnTo>
                    <a:pt x="289" y="617"/>
                  </a:lnTo>
                  <a:lnTo>
                    <a:pt x="288" y="617"/>
                  </a:lnTo>
                  <a:lnTo>
                    <a:pt x="289" y="617"/>
                  </a:lnTo>
                  <a:lnTo>
                    <a:pt x="286" y="615"/>
                  </a:lnTo>
                  <a:lnTo>
                    <a:pt x="285" y="615"/>
                  </a:lnTo>
                  <a:lnTo>
                    <a:pt x="281" y="614"/>
                  </a:lnTo>
                  <a:lnTo>
                    <a:pt x="283" y="614"/>
                  </a:lnTo>
                  <a:lnTo>
                    <a:pt x="283" y="612"/>
                  </a:lnTo>
                  <a:lnTo>
                    <a:pt x="281" y="612"/>
                  </a:lnTo>
                  <a:lnTo>
                    <a:pt x="280" y="610"/>
                  </a:lnTo>
                  <a:lnTo>
                    <a:pt x="278" y="609"/>
                  </a:lnTo>
                  <a:lnTo>
                    <a:pt x="276" y="609"/>
                  </a:lnTo>
                  <a:lnTo>
                    <a:pt x="276" y="607"/>
                  </a:lnTo>
                  <a:lnTo>
                    <a:pt x="275" y="607"/>
                  </a:lnTo>
                  <a:lnTo>
                    <a:pt x="275" y="605"/>
                  </a:lnTo>
                  <a:lnTo>
                    <a:pt x="273" y="604"/>
                  </a:lnTo>
                  <a:lnTo>
                    <a:pt x="272" y="602"/>
                  </a:lnTo>
                  <a:lnTo>
                    <a:pt x="272" y="601"/>
                  </a:lnTo>
                  <a:lnTo>
                    <a:pt x="270" y="601"/>
                  </a:lnTo>
                  <a:lnTo>
                    <a:pt x="270" y="602"/>
                  </a:lnTo>
                  <a:lnTo>
                    <a:pt x="268" y="602"/>
                  </a:lnTo>
                  <a:lnTo>
                    <a:pt x="268" y="601"/>
                  </a:lnTo>
                  <a:lnTo>
                    <a:pt x="268" y="599"/>
                  </a:lnTo>
                  <a:lnTo>
                    <a:pt x="268" y="597"/>
                  </a:lnTo>
                  <a:lnTo>
                    <a:pt x="268" y="594"/>
                  </a:lnTo>
                  <a:lnTo>
                    <a:pt x="267" y="588"/>
                  </a:lnTo>
                  <a:lnTo>
                    <a:pt x="267" y="584"/>
                  </a:lnTo>
                  <a:lnTo>
                    <a:pt x="265" y="583"/>
                  </a:lnTo>
                  <a:lnTo>
                    <a:pt x="265" y="581"/>
                  </a:lnTo>
                  <a:lnTo>
                    <a:pt x="263" y="579"/>
                  </a:lnTo>
                  <a:lnTo>
                    <a:pt x="263" y="578"/>
                  </a:lnTo>
                  <a:lnTo>
                    <a:pt x="262" y="578"/>
                  </a:lnTo>
                  <a:lnTo>
                    <a:pt x="262" y="576"/>
                  </a:lnTo>
                  <a:lnTo>
                    <a:pt x="262" y="574"/>
                  </a:lnTo>
                  <a:lnTo>
                    <a:pt x="260" y="571"/>
                  </a:lnTo>
                  <a:lnTo>
                    <a:pt x="259" y="570"/>
                  </a:lnTo>
                  <a:lnTo>
                    <a:pt x="260" y="570"/>
                  </a:lnTo>
                  <a:lnTo>
                    <a:pt x="259" y="570"/>
                  </a:lnTo>
                  <a:lnTo>
                    <a:pt x="259" y="571"/>
                  </a:lnTo>
                  <a:lnTo>
                    <a:pt x="257" y="571"/>
                  </a:lnTo>
                  <a:lnTo>
                    <a:pt x="257" y="570"/>
                  </a:lnTo>
                  <a:lnTo>
                    <a:pt x="257" y="568"/>
                  </a:lnTo>
                  <a:lnTo>
                    <a:pt x="257" y="566"/>
                  </a:lnTo>
                  <a:lnTo>
                    <a:pt x="254" y="561"/>
                  </a:lnTo>
                  <a:lnTo>
                    <a:pt x="252" y="560"/>
                  </a:lnTo>
                  <a:lnTo>
                    <a:pt x="252" y="558"/>
                  </a:lnTo>
                  <a:lnTo>
                    <a:pt x="250" y="557"/>
                  </a:lnTo>
                  <a:lnTo>
                    <a:pt x="247" y="555"/>
                  </a:lnTo>
                  <a:lnTo>
                    <a:pt x="246" y="553"/>
                  </a:lnTo>
                  <a:lnTo>
                    <a:pt x="246" y="552"/>
                  </a:lnTo>
                  <a:lnTo>
                    <a:pt x="244" y="550"/>
                  </a:lnTo>
                  <a:lnTo>
                    <a:pt x="244" y="547"/>
                  </a:lnTo>
                  <a:lnTo>
                    <a:pt x="244" y="544"/>
                  </a:lnTo>
                  <a:lnTo>
                    <a:pt x="244" y="540"/>
                  </a:lnTo>
                  <a:lnTo>
                    <a:pt x="244" y="539"/>
                  </a:lnTo>
                  <a:lnTo>
                    <a:pt x="246" y="539"/>
                  </a:lnTo>
                  <a:lnTo>
                    <a:pt x="247" y="539"/>
                  </a:lnTo>
                  <a:lnTo>
                    <a:pt x="247" y="537"/>
                  </a:lnTo>
                  <a:lnTo>
                    <a:pt x="249" y="535"/>
                  </a:lnTo>
                  <a:lnTo>
                    <a:pt x="250" y="535"/>
                  </a:lnTo>
                  <a:lnTo>
                    <a:pt x="250" y="534"/>
                  </a:lnTo>
                  <a:lnTo>
                    <a:pt x="252" y="534"/>
                  </a:lnTo>
                  <a:lnTo>
                    <a:pt x="254" y="532"/>
                  </a:lnTo>
                  <a:lnTo>
                    <a:pt x="255" y="531"/>
                  </a:lnTo>
                  <a:lnTo>
                    <a:pt x="255" y="529"/>
                  </a:lnTo>
                  <a:lnTo>
                    <a:pt x="257" y="527"/>
                  </a:lnTo>
                  <a:lnTo>
                    <a:pt x="257" y="526"/>
                  </a:lnTo>
                  <a:lnTo>
                    <a:pt x="259" y="526"/>
                  </a:lnTo>
                  <a:lnTo>
                    <a:pt x="259" y="524"/>
                  </a:lnTo>
                  <a:lnTo>
                    <a:pt x="260" y="524"/>
                  </a:lnTo>
                  <a:lnTo>
                    <a:pt x="262" y="524"/>
                  </a:lnTo>
                  <a:lnTo>
                    <a:pt x="263" y="522"/>
                  </a:lnTo>
                  <a:lnTo>
                    <a:pt x="263" y="521"/>
                  </a:lnTo>
                  <a:lnTo>
                    <a:pt x="262" y="518"/>
                  </a:lnTo>
                  <a:lnTo>
                    <a:pt x="260" y="516"/>
                  </a:lnTo>
                  <a:lnTo>
                    <a:pt x="259" y="514"/>
                  </a:lnTo>
                  <a:lnTo>
                    <a:pt x="259" y="513"/>
                  </a:lnTo>
                  <a:lnTo>
                    <a:pt x="257" y="511"/>
                  </a:lnTo>
                  <a:lnTo>
                    <a:pt x="255" y="511"/>
                  </a:lnTo>
                  <a:lnTo>
                    <a:pt x="254" y="509"/>
                  </a:lnTo>
                  <a:lnTo>
                    <a:pt x="252" y="509"/>
                  </a:lnTo>
                  <a:lnTo>
                    <a:pt x="252" y="508"/>
                  </a:lnTo>
                  <a:lnTo>
                    <a:pt x="250" y="508"/>
                  </a:lnTo>
                  <a:lnTo>
                    <a:pt x="249" y="508"/>
                  </a:lnTo>
                  <a:lnTo>
                    <a:pt x="247" y="506"/>
                  </a:lnTo>
                  <a:lnTo>
                    <a:pt x="246" y="506"/>
                  </a:lnTo>
                  <a:lnTo>
                    <a:pt x="244" y="505"/>
                  </a:lnTo>
                  <a:lnTo>
                    <a:pt x="244" y="506"/>
                  </a:lnTo>
                  <a:lnTo>
                    <a:pt x="244" y="505"/>
                  </a:lnTo>
                  <a:lnTo>
                    <a:pt x="242" y="505"/>
                  </a:lnTo>
                  <a:lnTo>
                    <a:pt x="241" y="505"/>
                  </a:lnTo>
                  <a:lnTo>
                    <a:pt x="241" y="503"/>
                  </a:lnTo>
                  <a:lnTo>
                    <a:pt x="241" y="505"/>
                  </a:lnTo>
                  <a:lnTo>
                    <a:pt x="241" y="503"/>
                  </a:lnTo>
                  <a:lnTo>
                    <a:pt x="242" y="503"/>
                  </a:lnTo>
                  <a:lnTo>
                    <a:pt x="242" y="501"/>
                  </a:lnTo>
                  <a:lnTo>
                    <a:pt x="244" y="501"/>
                  </a:lnTo>
                  <a:lnTo>
                    <a:pt x="244" y="500"/>
                  </a:lnTo>
                  <a:lnTo>
                    <a:pt x="244" y="501"/>
                  </a:lnTo>
                  <a:lnTo>
                    <a:pt x="244" y="500"/>
                  </a:lnTo>
                  <a:lnTo>
                    <a:pt x="246" y="501"/>
                  </a:lnTo>
                  <a:lnTo>
                    <a:pt x="246" y="500"/>
                  </a:lnTo>
                  <a:lnTo>
                    <a:pt x="246" y="501"/>
                  </a:lnTo>
                  <a:lnTo>
                    <a:pt x="247" y="501"/>
                  </a:lnTo>
                  <a:lnTo>
                    <a:pt x="249" y="500"/>
                  </a:lnTo>
                  <a:lnTo>
                    <a:pt x="250" y="496"/>
                  </a:lnTo>
                  <a:lnTo>
                    <a:pt x="250" y="495"/>
                  </a:lnTo>
                  <a:lnTo>
                    <a:pt x="250" y="493"/>
                  </a:lnTo>
                  <a:lnTo>
                    <a:pt x="249" y="490"/>
                  </a:lnTo>
                  <a:lnTo>
                    <a:pt x="250" y="490"/>
                  </a:lnTo>
                  <a:lnTo>
                    <a:pt x="250" y="488"/>
                  </a:lnTo>
                  <a:lnTo>
                    <a:pt x="250" y="487"/>
                  </a:lnTo>
                  <a:lnTo>
                    <a:pt x="250" y="485"/>
                  </a:lnTo>
                  <a:lnTo>
                    <a:pt x="252" y="485"/>
                  </a:lnTo>
                  <a:lnTo>
                    <a:pt x="254" y="485"/>
                  </a:lnTo>
                  <a:lnTo>
                    <a:pt x="255" y="485"/>
                  </a:lnTo>
                  <a:lnTo>
                    <a:pt x="257" y="485"/>
                  </a:lnTo>
                  <a:lnTo>
                    <a:pt x="259" y="485"/>
                  </a:lnTo>
                  <a:lnTo>
                    <a:pt x="262" y="485"/>
                  </a:lnTo>
                  <a:lnTo>
                    <a:pt x="263" y="485"/>
                  </a:lnTo>
                  <a:lnTo>
                    <a:pt x="263" y="483"/>
                  </a:lnTo>
                  <a:lnTo>
                    <a:pt x="263" y="485"/>
                  </a:lnTo>
                  <a:lnTo>
                    <a:pt x="265" y="485"/>
                  </a:lnTo>
                  <a:lnTo>
                    <a:pt x="267" y="485"/>
                  </a:lnTo>
                  <a:lnTo>
                    <a:pt x="268" y="485"/>
                  </a:lnTo>
                  <a:lnTo>
                    <a:pt x="272" y="487"/>
                  </a:lnTo>
                  <a:lnTo>
                    <a:pt x="275" y="488"/>
                  </a:lnTo>
                  <a:lnTo>
                    <a:pt x="276" y="488"/>
                  </a:lnTo>
                  <a:lnTo>
                    <a:pt x="278" y="490"/>
                  </a:lnTo>
                  <a:lnTo>
                    <a:pt x="280" y="490"/>
                  </a:lnTo>
                  <a:lnTo>
                    <a:pt x="280" y="492"/>
                  </a:lnTo>
                  <a:lnTo>
                    <a:pt x="281" y="493"/>
                  </a:lnTo>
                  <a:lnTo>
                    <a:pt x="281" y="495"/>
                  </a:lnTo>
                  <a:lnTo>
                    <a:pt x="281" y="496"/>
                  </a:lnTo>
                  <a:lnTo>
                    <a:pt x="283" y="496"/>
                  </a:lnTo>
                  <a:lnTo>
                    <a:pt x="283" y="498"/>
                  </a:lnTo>
                  <a:lnTo>
                    <a:pt x="285" y="500"/>
                  </a:lnTo>
                  <a:lnTo>
                    <a:pt x="286" y="500"/>
                  </a:lnTo>
                  <a:lnTo>
                    <a:pt x="289" y="501"/>
                  </a:lnTo>
                  <a:lnTo>
                    <a:pt x="291" y="501"/>
                  </a:lnTo>
                  <a:lnTo>
                    <a:pt x="294" y="501"/>
                  </a:lnTo>
                  <a:lnTo>
                    <a:pt x="298" y="505"/>
                  </a:lnTo>
                  <a:lnTo>
                    <a:pt x="299" y="505"/>
                  </a:lnTo>
                  <a:lnTo>
                    <a:pt x="301" y="505"/>
                  </a:lnTo>
                  <a:lnTo>
                    <a:pt x="304" y="505"/>
                  </a:lnTo>
                  <a:lnTo>
                    <a:pt x="306" y="505"/>
                  </a:lnTo>
                  <a:lnTo>
                    <a:pt x="309" y="505"/>
                  </a:lnTo>
                  <a:lnTo>
                    <a:pt x="312" y="505"/>
                  </a:lnTo>
                  <a:lnTo>
                    <a:pt x="312" y="503"/>
                  </a:lnTo>
                  <a:lnTo>
                    <a:pt x="314" y="503"/>
                  </a:lnTo>
                  <a:lnTo>
                    <a:pt x="316" y="503"/>
                  </a:lnTo>
                  <a:lnTo>
                    <a:pt x="317" y="503"/>
                  </a:lnTo>
                  <a:lnTo>
                    <a:pt x="319" y="501"/>
                  </a:lnTo>
                  <a:lnTo>
                    <a:pt x="319" y="500"/>
                  </a:lnTo>
                  <a:lnTo>
                    <a:pt x="320" y="500"/>
                  </a:lnTo>
                  <a:lnTo>
                    <a:pt x="322" y="500"/>
                  </a:lnTo>
                  <a:lnTo>
                    <a:pt x="322" y="498"/>
                  </a:lnTo>
                  <a:lnTo>
                    <a:pt x="324" y="496"/>
                  </a:lnTo>
                  <a:lnTo>
                    <a:pt x="325" y="496"/>
                  </a:lnTo>
                  <a:lnTo>
                    <a:pt x="327" y="495"/>
                  </a:lnTo>
                  <a:lnTo>
                    <a:pt x="329" y="493"/>
                  </a:lnTo>
                  <a:lnTo>
                    <a:pt x="330" y="493"/>
                  </a:lnTo>
                  <a:lnTo>
                    <a:pt x="332" y="492"/>
                  </a:lnTo>
                  <a:lnTo>
                    <a:pt x="333" y="490"/>
                  </a:lnTo>
                  <a:lnTo>
                    <a:pt x="335" y="490"/>
                  </a:lnTo>
                  <a:lnTo>
                    <a:pt x="335" y="488"/>
                  </a:lnTo>
                  <a:lnTo>
                    <a:pt x="337" y="488"/>
                  </a:lnTo>
                  <a:lnTo>
                    <a:pt x="337" y="490"/>
                  </a:lnTo>
                  <a:lnTo>
                    <a:pt x="338" y="488"/>
                  </a:lnTo>
                  <a:lnTo>
                    <a:pt x="338" y="490"/>
                  </a:lnTo>
                  <a:lnTo>
                    <a:pt x="338" y="488"/>
                  </a:lnTo>
                  <a:lnTo>
                    <a:pt x="340" y="490"/>
                  </a:lnTo>
                  <a:lnTo>
                    <a:pt x="343" y="488"/>
                  </a:lnTo>
                  <a:lnTo>
                    <a:pt x="345" y="488"/>
                  </a:lnTo>
                  <a:lnTo>
                    <a:pt x="343" y="488"/>
                  </a:lnTo>
                  <a:lnTo>
                    <a:pt x="340" y="488"/>
                  </a:lnTo>
                  <a:lnTo>
                    <a:pt x="338" y="488"/>
                  </a:lnTo>
                  <a:lnTo>
                    <a:pt x="337" y="488"/>
                  </a:lnTo>
                  <a:lnTo>
                    <a:pt x="335" y="488"/>
                  </a:lnTo>
                  <a:lnTo>
                    <a:pt x="335" y="490"/>
                  </a:lnTo>
                  <a:lnTo>
                    <a:pt x="333" y="490"/>
                  </a:lnTo>
                  <a:lnTo>
                    <a:pt x="330" y="493"/>
                  </a:lnTo>
                  <a:lnTo>
                    <a:pt x="329" y="493"/>
                  </a:lnTo>
                  <a:lnTo>
                    <a:pt x="325" y="495"/>
                  </a:lnTo>
                  <a:lnTo>
                    <a:pt x="324" y="495"/>
                  </a:lnTo>
                  <a:lnTo>
                    <a:pt x="324" y="496"/>
                  </a:lnTo>
                  <a:lnTo>
                    <a:pt x="322" y="498"/>
                  </a:lnTo>
                  <a:lnTo>
                    <a:pt x="320" y="498"/>
                  </a:lnTo>
                  <a:lnTo>
                    <a:pt x="319" y="500"/>
                  </a:lnTo>
                  <a:lnTo>
                    <a:pt x="317" y="500"/>
                  </a:lnTo>
                  <a:lnTo>
                    <a:pt x="317" y="501"/>
                  </a:lnTo>
                  <a:lnTo>
                    <a:pt x="316" y="501"/>
                  </a:lnTo>
                  <a:lnTo>
                    <a:pt x="312" y="503"/>
                  </a:lnTo>
                  <a:lnTo>
                    <a:pt x="311" y="503"/>
                  </a:lnTo>
                  <a:lnTo>
                    <a:pt x="309" y="503"/>
                  </a:lnTo>
                  <a:lnTo>
                    <a:pt x="307" y="503"/>
                  </a:lnTo>
                  <a:lnTo>
                    <a:pt x="306" y="505"/>
                  </a:lnTo>
                  <a:lnTo>
                    <a:pt x="304" y="505"/>
                  </a:lnTo>
                  <a:lnTo>
                    <a:pt x="301" y="505"/>
                  </a:lnTo>
                  <a:lnTo>
                    <a:pt x="299" y="505"/>
                  </a:lnTo>
                  <a:lnTo>
                    <a:pt x="298" y="505"/>
                  </a:lnTo>
                  <a:lnTo>
                    <a:pt x="296" y="501"/>
                  </a:lnTo>
                  <a:lnTo>
                    <a:pt x="294" y="501"/>
                  </a:lnTo>
                  <a:lnTo>
                    <a:pt x="291" y="501"/>
                  </a:lnTo>
                  <a:lnTo>
                    <a:pt x="289" y="501"/>
                  </a:lnTo>
                  <a:lnTo>
                    <a:pt x="285" y="500"/>
                  </a:lnTo>
                  <a:lnTo>
                    <a:pt x="283" y="496"/>
                  </a:lnTo>
                  <a:lnTo>
                    <a:pt x="283" y="495"/>
                  </a:lnTo>
                  <a:lnTo>
                    <a:pt x="281" y="492"/>
                  </a:lnTo>
                  <a:lnTo>
                    <a:pt x="280" y="490"/>
                  </a:lnTo>
                  <a:lnTo>
                    <a:pt x="278" y="488"/>
                  </a:lnTo>
                  <a:lnTo>
                    <a:pt x="276" y="488"/>
                  </a:lnTo>
                  <a:lnTo>
                    <a:pt x="276" y="487"/>
                  </a:lnTo>
                  <a:lnTo>
                    <a:pt x="275" y="487"/>
                  </a:lnTo>
                  <a:lnTo>
                    <a:pt x="273" y="487"/>
                  </a:lnTo>
                  <a:lnTo>
                    <a:pt x="272" y="485"/>
                  </a:lnTo>
                  <a:lnTo>
                    <a:pt x="270" y="485"/>
                  </a:lnTo>
                  <a:lnTo>
                    <a:pt x="267" y="483"/>
                  </a:lnTo>
                  <a:lnTo>
                    <a:pt x="265" y="483"/>
                  </a:lnTo>
                  <a:lnTo>
                    <a:pt x="263" y="483"/>
                  </a:lnTo>
                  <a:lnTo>
                    <a:pt x="262" y="482"/>
                  </a:lnTo>
                  <a:lnTo>
                    <a:pt x="260" y="482"/>
                  </a:lnTo>
                  <a:lnTo>
                    <a:pt x="259" y="482"/>
                  </a:lnTo>
                  <a:lnTo>
                    <a:pt x="257" y="482"/>
                  </a:lnTo>
                  <a:lnTo>
                    <a:pt x="255" y="482"/>
                  </a:lnTo>
                  <a:lnTo>
                    <a:pt x="254" y="482"/>
                  </a:lnTo>
                  <a:lnTo>
                    <a:pt x="252" y="482"/>
                  </a:lnTo>
                  <a:lnTo>
                    <a:pt x="250" y="483"/>
                  </a:lnTo>
                  <a:lnTo>
                    <a:pt x="250" y="482"/>
                  </a:lnTo>
                  <a:lnTo>
                    <a:pt x="250" y="483"/>
                  </a:lnTo>
                  <a:lnTo>
                    <a:pt x="249" y="483"/>
                  </a:lnTo>
                  <a:lnTo>
                    <a:pt x="249" y="485"/>
                  </a:lnTo>
                  <a:lnTo>
                    <a:pt x="247" y="485"/>
                  </a:lnTo>
                  <a:lnTo>
                    <a:pt x="246" y="485"/>
                  </a:lnTo>
                  <a:lnTo>
                    <a:pt x="246" y="487"/>
                  </a:lnTo>
                  <a:lnTo>
                    <a:pt x="242" y="487"/>
                  </a:lnTo>
                  <a:lnTo>
                    <a:pt x="241" y="488"/>
                  </a:lnTo>
                  <a:lnTo>
                    <a:pt x="239" y="488"/>
                  </a:lnTo>
                  <a:lnTo>
                    <a:pt x="237" y="488"/>
                  </a:lnTo>
                  <a:lnTo>
                    <a:pt x="236" y="487"/>
                  </a:lnTo>
                  <a:lnTo>
                    <a:pt x="234" y="485"/>
                  </a:lnTo>
                  <a:lnTo>
                    <a:pt x="234" y="483"/>
                  </a:lnTo>
                  <a:lnTo>
                    <a:pt x="233" y="482"/>
                  </a:lnTo>
                  <a:lnTo>
                    <a:pt x="231" y="480"/>
                  </a:lnTo>
                  <a:lnTo>
                    <a:pt x="229" y="480"/>
                  </a:lnTo>
                  <a:lnTo>
                    <a:pt x="228" y="480"/>
                  </a:lnTo>
                  <a:lnTo>
                    <a:pt x="226" y="480"/>
                  </a:lnTo>
                  <a:lnTo>
                    <a:pt x="226" y="482"/>
                  </a:lnTo>
                  <a:lnTo>
                    <a:pt x="228" y="482"/>
                  </a:lnTo>
                  <a:lnTo>
                    <a:pt x="226" y="483"/>
                  </a:lnTo>
                  <a:lnTo>
                    <a:pt x="226" y="482"/>
                  </a:lnTo>
                  <a:lnTo>
                    <a:pt x="226" y="483"/>
                  </a:lnTo>
                  <a:lnTo>
                    <a:pt x="226" y="482"/>
                  </a:lnTo>
                  <a:lnTo>
                    <a:pt x="226" y="483"/>
                  </a:lnTo>
                  <a:lnTo>
                    <a:pt x="224" y="482"/>
                  </a:lnTo>
                  <a:lnTo>
                    <a:pt x="223" y="482"/>
                  </a:lnTo>
                  <a:lnTo>
                    <a:pt x="223" y="480"/>
                  </a:lnTo>
                  <a:lnTo>
                    <a:pt x="221" y="480"/>
                  </a:lnTo>
                  <a:lnTo>
                    <a:pt x="220" y="479"/>
                  </a:lnTo>
                  <a:lnTo>
                    <a:pt x="218" y="479"/>
                  </a:lnTo>
                  <a:lnTo>
                    <a:pt x="218" y="477"/>
                  </a:lnTo>
                  <a:lnTo>
                    <a:pt x="216" y="477"/>
                  </a:lnTo>
                  <a:lnTo>
                    <a:pt x="215" y="477"/>
                  </a:lnTo>
                  <a:lnTo>
                    <a:pt x="215" y="475"/>
                  </a:lnTo>
                  <a:lnTo>
                    <a:pt x="216" y="475"/>
                  </a:lnTo>
                  <a:lnTo>
                    <a:pt x="218" y="475"/>
                  </a:lnTo>
                  <a:lnTo>
                    <a:pt x="218" y="477"/>
                  </a:lnTo>
                  <a:lnTo>
                    <a:pt x="220" y="477"/>
                  </a:lnTo>
                  <a:lnTo>
                    <a:pt x="220" y="479"/>
                  </a:lnTo>
                  <a:lnTo>
                    <a:pt x="221" y="479"/>
                  </a:lnTo>
                  <a:lnTo>
                    <a:pt x="223" y="479"/>
                  </a:lnTo>
                  <a:lnTo>
                    <a:pt x="224" y="479"/>
                  </a:lnTo>
                  <a:lnTo>
                    <a:pt x="224" y="480"/>
                  </a:lnTo>
                  <a:lnTo>
                    <a:pt x="224" y="479"/>
                  </a:lnTo>
                  <a:lnTo>
                    <a:pt x="224" y="480"/>
                  </a:lnTo>
                  <a:lnTo>
                    <a:pt x="226" y="480"/>
                  </a:lnTo>
                  <a:lnTo>
                    <a:pt x="226" y="479"/>
                  </a:lnTo>
                  <a:lnTo>
                    <a:pt x="228" y="479"/>
                  </a:lnTo>
                  <a:lnTo>
                    <a:pt x="229" y="479"/>
                  </a:lnTo>
                  <a:lnTo>
                    <a:pt x="228" y="479"/>
                  </a:lnTo>
                  <a:lnTo>
                    <a:pt x="228" y="477"/>
                  </a:lnTo>
                  <a:lnTo>
                    <a:pt x="226" y="479"/>
                  </a:lnTo>
                  <a:lnTo>
                    <a:pt x="226" y="477"/>
                  </a:lnTo>
                  <a:lnTo>
                    <a:pt x="224" y="477"/>
                  </a:lnTo>
                  <a:lnTo>
                    <a:pt x="226" y="477"/>
                  </a:lnTo>
                  <a:lnTo>
                    <a:pt x="226" y="475"/>
                  </a:lnTo>
                  <a:lnTo>
                    <a:pt x="226" y="477"/>
                  </a:lnTo>
                  <a:lnTo>
                    <a:pt x="224" y="475"/>
                  </a:lnTo>
                  <a:lnTo>
                    <a:pt x="224" y="474"/>
                  </a:lnTo>
                  <a:lnTo>
                    <a:pt x="224" y="472"/>
                  </a:lnTo>
                  <a:lnTo>
                    <a:pt x="223" y="472"/>
                  </a:lnTo>
                  <a:lnTo>
                    <a:pt x="221" y="474"/>
                  </a:lnTo>
                  <a:lnTo>
                    <a:pt x="221" y="472"/>
                  </a:lnTo>
                  <a:lnTo>
                    <a:pt x="221" y="470"/>
                  </a:lnTo>
                  <a:lnTo>
                    <a:pt x="221" y="472"/>
                  </a:lnTo>
                  <a:lnTo>
                    <a:pt x="221" y="474"/>
                  </a:lnTo>
                  <a:lnTo>
                    <a:pt x="220" y="474"/>
                  </a:lnTo>
                  <a:lnTo>
                    <a:pt x="220" y="475"/>
                  </a:lnTo>
                  <a:lnTo>
                    <a:pt x="218" y="475"/>
                  </a:lnTo>
                  <a:lnTo>
                    <a:pt x="220" y="474"/>
                  </a:lnTo>
                  <a:lnTo>
                    <a:pt x="220" y="472"/>
                  </a:lnTo>
                  <a:lnTo>
                    <a:pt x="220" y="470"/>
                  </a:lnTo>
                  <a:lnTo>
                    <a:pt x="220" y="469"/>
                  </a:lnTo>
                  <a:lnTo>
                    <a:pt x="220" y="467"/>
                  </a:lnTo>
                  <a:lnTo>
                    <a:pt x="218" y="467"/>
                  </a:lnTo>
                  <a:lnTo>
                    <a:pt x="218" y="466"/>
                  </a:lnTo>
                  <a:lnTo>
                    <a:pt x="216" y="466"/>
                  </a:lnTo>
                  <a:lnTo>
                    <a:pt x="216" y="464"/>
                  </a:lnTo>
                  <a:lnTo>
                    <a:pt x="218" y="462"/>
                  </a:lnTo>
                  <a:lnTo>
                    <a:pt x="218" y="464"/>
                  </a:lnTo>
                  <a:lnTo>
                    <a:pt x="220" y="462"/>
                  </a:lnTo>
                  <a:lnTo>
                    <a:pt x="221" y="462"/>
                  </a:lnTo>
                  <a:lnTo>
                    <a:pt x="221" y="461"/>
                  </a:lnTo>
                  <a:lnTo>
                    <a:pt x="223" y="461"/>
                  </a:lnTo>
                  <a:lnTo>
                    <a:pt x="224" y="461"/>
                  </a:lnTo>
                  <a:lnTo>
                    <a:pt x="224" y="459"/>
                  </a:lnTo>
                  <a:lnTo>
                    <a:pt x="224" y="461"/>
                  </a:lnTo>
                  <a:lnTo>
                    <a:pt x="224" y="459"/>
                  </a:lnTo>
                  <a:lnTo>
                    <a:pt x="226" y="459"/>
                  </a:lnTo>
                  <a:lnTo>
                    <a:pt x="226" y="461"/>
                  </a:lnTo>
                  <a:lnTo>
                    <a:pt x="228" y="461"/>
                  </a:lnTo>
                  <a:lnTo>
                    <a:pt x="229" y="461"/>
                  </a:lnTo>
                  <a:lnTo>
                    <a:pt x="228" y="459"/>
                  </a:lnTo>
                  <a:lnTo>
                    <a:pt x="226" y="459"/>
                  </a:lnTo>
                  <a:lnTo>
                    <a:pt x="228" y="457"/>
                  </a:lnTo>
                  <a:lnTo>
                    <a:pt x="228" y="456"/>
                  </a:lnTo>
                  <a:lnTo>
                    <a:pt x="228" y="454"/>
                  </a:lnTo>
                  <a:lnTo>
                    <a:pt x="228" y="456"/>
                  </a:lnTo>
                  <a:lnTo>
                    <a:pt x="226" y="454"/>
                  </a:lnTo>
                  <a:lnTo>
                    <a:pt x="226" y="456"/>
                  </a:lnTo>
                  <a:lnTo>
                    <a:pt x="224" y="456"/>
                  </a:lnTo>
                  <a:lnTo>
                    <a:pt x="224" y="454"/>
                  </a:lnTo>
                  <a:lnTo>
                    <a:pt x="223" y="453"/>
                  </a:lnTo>
                  <a:lnTo>
                    <a:pt x="224" y="453"/>
                  </a:lnTo>
                  <a:lnTo>
                    <a:pt x="224" y="451"/>
                  </a:lnTo>
                  <a:lnTo>
                    <a:pt x="224" y="449"/>
                  </a:lnTo>
                  <a:lnTo>
                    <a:pt x="224" y="448"/>
                  </a:lnTo>
                  <a:lnTo>
                    <a:pt x="226" y="448"/>
                  </a:lnTo>
                  <a:lnTo>
                    <a:pt x="228" y="449"/>
                  </a:lnTo>
                  <a:lnTo>
                    <a:pt x="229" y="449"/>
                  </a:lnTo>
                  <a:lnTo>
                    <a:pt x="231" y="449"/>
                  </a:lnTo>
                  <a:lnTo>
                    <a:pt x="233" y="449"/>
                  </a:lnTo>
                  <a:lnTo>
                    <a:pt x="234" y="449"/>
                  </a:lnTo>
                  <a:lnTo>
                    <a:pt x="236" y="449"/>
                  </a:lnTo>
                  <a:lnTo>
                    <a:pt x="237" y="449"/>
                  </a:lnTo>
                  <a:lnTo>
                    <a:pt x="239" y="448"/>
                  </a:lnTo>
                  <a:lnTo>
                    <a:pt x="241" y="449"/>
                  </a:lnTo>
                  <a:lnTo>
                    <a:pt x="242" y="448"/>
                  </a:lnTo>
                  <a:lnTo>
                    <a:pt x="244" y="448"/>
                  </a:lnTo>
                  <a:lnTo>
                    <a:pt x="244" y="446"/>
                  </a:lnTo>
                  <a:lnTo>
                    <a:pt x="244" y="444"/>
                  </a:lnTo>
                  <a:lnTo>
                    <a:pt x="246" y="443"/>
                  </a:lnTo>
                  <a:lnTo>
                    <a:pt x="247" y="443"/>
                  </a:lnTo>
                  <a:lnTo>
                    <a:pt x="247" y="441"/>
                  </a:lnTo>
                  <a:lnTo>
                    <a:pt x="247" y="440"/>
                  </a:lnTo>
                  <a:lnTo>
                    <a:pt x="249" y="440"/>
                  </a:lnTo>
                  <a:lnTo>
                    <a:pt x="250" y="441"/>
                  </a:lnTo>
                  <a:lnTo>
                    <a:pt x="252" y="441"/>
                  </a:lnTo>
                  <a:lnTo>
                    <a:pt x="252" y="440"/>
                  </a:lnTo>
                  <a:lnTo>
                    <a:pt x="250" y="441"/>
                  </a:lnTo>
                  <a:lnTo>
                    <a:pt x="249" y="440"/>
                  </a:lnTo>
                  <a:lnTo>
                    <a:pt x="247" y="440"/>
                  </a:lnTo>
                  <a:lnTo>
                    <a:pt x="247" y="441"/>
                  </a:lnTo>
                  <a:lnTo>
                    <a:pt x="247" y="443"/>
                  </a:lnTo>
                  <a:lnTo>
                    <a:pt x="246" y="443"/>
                  </a:lnTo>
                  <a:lnTo>
                    <a:pt x="244" y="443"/>
                  </a:lnTo>
                  <a:lnTo>
                    <a:pt x="244" y="444"/>
                  </a:lnTo>
                  <a:lnTo>
                    <a:pt x="244" y="446"/>
                  </a:lnTo>
                  <a:lnTo>
                    <a:pt x="244" y="448"/>
                  </a:lnTo>
                  <a:lnTo>
                    <a:pt x="242" y="448"/>
                  </a:lnTo>
                  <a:lnTo>
                    <a:pt x="241" y="449"/>
                  </a:lnTo>
                  <a:lnTo>
                    <a:pt x="241" y="448"/>
                  </a:lnTo>
                  <a:lnTo>
                    <a:pt x="239" y="448"/>
                  </a:lnTo>
                  <a:lnTo>
                    <a:pt x="237" y="448"/>
                  </a:lnTo>
                  <a:lnTo>
                    <a:pt x="237" y="449"/>
                  </a:lnTo>
                  <a:lnTo>
                    <a:pt x="236" y="449"/>
                  </a:lnTo>
                  <a:lnTo>
                    <a:pt x="236" y="448"/>
                  </a:lnTo>
                  <a:lnTo>
                    <a:pt x="234" y="448"/>
                  </a:lnTo>
                  <a:lnTo>
                    <a:pt x="234" y="449"/>
                  </a:lnTo>
                  <a:lnTo>
                    <a:pt x="233" y="449"/>
                  </a:lnTo>
                  <a:lnTo>
                    <a:pt x="231" y="449"/>
                  </a:lnTo>
                  <a:lnTo>
                    <a:pt x="229" y="448"/>
                  </a:lnTo>
                  <a:lnTo>
                    <a:pt x="228" y="446"/>
                  </a:lnTo>
                  <a:lnTo>
                    <a:pt x="226" y="446"/>
                  </a:lnTo>
                  <a:lnTo>
                    <a:pt x="226" y="444"/>
                  </a:lnTo>
                  <a:lnTo>
                    <a:pt x="224" y="444"/>
                  </a:lnTo>
                  <a:lnTo>
                    <a:pt x="224" y="446"/>
                  </a:lnTo>
                  <a:lnTo>
                    <a:pt x="224" y="444"/>
                  </a:lnTo>
                  <a:lnTo>
                    <a:pt x="224" y="443"/>
                  </a:lnTo>
                  <a:lnTo>
                    <a:pt x="223" y="443"/>
                  </a:lnTo>
                  <a:lnTo>
                    <a:pt x="221" y="443"/>
                  </a:lnTo>
                  <a:lnTo>
                    <a:pt x="221" y="444"/>
                  </a:lnTo>
                  <a:lnTo>
                    <a:pt x="220" y="444"/>
                  </a:lnTo>
                  <a:lnTo>
                    <a:pt x="218" y="444"/>
                  </a:lnTo>
                  <a:lnTo>
                    <a:pt x="216" y="443"/>
                  </a:lnTo>
                  <a:lnTo>
                    <a:pt x="215" y="443"/>
                  </a:lnTo>
                  <a:lnTo>
                    <a:pt x="215" y="444"/>
                  </a:lnTo>
                  <a:lnTo>
                    <a:pt x="213" y="444"/>
                  </a:lnTo>
                  <a:lnTo>
                    <a:pt x="211" y="444"/>
                  </a:lnTo>
                  <a:lnTo>
                    <a:pt x="213" y="443"/>
                  </a:lnTo>
                  <a:lnTo>
                    <a:pt x="215" y="443"/>
                  </a:lnTo>
                  <a:lnTo>
                    <a:pt x="215" y="444"/>
                  </a:lnTo>
                  <a:lnTo>
                    <a:pt x="215" y="443"/>
                  </a:lnTo>
                  <a:lnTo>
                    <a:pt x="215" y="441"/>
                  </a:lnTo>
                  <a:lnTo>
                    <a:pt x="216" y="441"/>
                  </a:lnTo>
                  <a:lnTo>
                    <a:pt x="218" y="441"/>
                  </a:lnTo>
                  <a:lnTo>
                    <a:pt x="218" y="440"/>
                  </a:lnTo>
                  <a:lnTo>
                    <a:pt x="218" y="441"/>
                  </a:lnTo>
                  <a:lnTo>
                    <a:pt x="215" y="441"/>
                  </a:lnTo>
                  <a:lnTo>
                    <a:pt x="215" y="440"/>
                  </a:lnTo>
                  <a:lnTo>
                    <a:pt x="215" y="441"/>
                  </a:lnTo>
                  <a:lnTo>
                    <a:pt x="213" y="441"/>
                  </a:lnTo>
                  <a:lnTo>
                    <a:pt x="213" y="440"/>
                  </a:lnTo>
                  <a:lnTo>
                    <a:pt x="211" y="440"/>
                  </a:lnTo>
                  <a:lnTo>
                    <a:pt x="211" y="441"/>
                  </a:lnTo>
                  <a:lnTo>
                    <a:pt x="211" y="440"/>
                  </a:lnTo>
                  <a:lnTo>
                    <a:pt x="211" y="441"/>
                  </a:lnTo>
                  <a:lnTo>
                    <a:pt x="213" y="441"/>
                  </a:lnTo>
                  <a:lnTo>
                    <a:pt x="213" y="443"/>
                  </a:lnTo>
                  <a:lnTo>
                    <a:pt x="211" y="443"/>
                  </a:lnTo>
                  <a:lnTo>
                    <a:pt x="210" y="443"/>
                  </a:lnTo>
                  <a:lnTo>
                    <a:pt x="210" y="441"/>
                  </a:lnTo>
                  <a:lnTo>
                    <a:pt x="208" y="441"/>
                  </a:lnTo>
                  <a:lnTo>
                    <a:pt x="210" y="441"/>
                  </a:lnTo>
                  <a:lnTo>
                    <a:pt x="210" y="443"/>
                  </a:lnTo>
                  <a:lnTo>
                    <a:pt x="208" y="443"/>
                  </a:lnTo>
                  <a:lnTo>
                    <a:pt x="210" y="443"/>
                  </a:lnTo>
                  <a:lnTo>
                    <a:pt x="208" y="444"/>
                  </a:lnTo>
                  <a:lnTo>
                    <a:pt x="207" y="444"/>
                  </a:lnTo>
                  <a:lnTo>
                    <a:pt x="208" y="444"/>
                  </a:lnTo>
                  <a:lnTo>
                    <a:pt x="208" y="446"/>
                  </a:lnTo>
                  <a:lnTo>
                    <a:pt x="207" y="446"/>
                  </a:lnTo>
                  <a:lnTo>
                    <a:pt x="207" y="444"/>
                  </a:lnTo>
                  <a:lnTo>
                    <a:pt x="203" y="443"/>
                  </a:lnTo>
                  <a:lnTo>
                    <a:pt x="202" y="443"/>
                  </a:lnTo>
                  <a:lnTo>
                    <a:pt x="200" y="443"/>
                  </a:lnTo>
                  <a:lnTo>
                    <a:pt x="198" y="443"/>
                  </a:lnTo>
                  <a:lnTo>
                    <a:pt x="197" y="443"/>
                  </a:lnTo>
                  <a:lnTo>
                    <a:pt x="197" y="444"/>
                  </a:lnTo>
                  <a:lnTo>
                    <a:pt x="195" y="444"/>
                  </a:lnTo>
                  <a:lnTo>
                    <a:pt x="194" y="444"/>
                  </a:lnTo>
                  <a:lnTo>
                    <a:pt x="194" y="443"/>
                  </a:lnTo>
                  <a:lnTo>
                    <a:pt x="192" y="443"/>
                  </a:lnTo>
                  <a:lnTo>
                    <a:pt x="190" y="441"/>
                  </a:lnTo>
                  <a:lnTo>
                    <a:pt x="192" y="440"/>
                  </a:lnTo>
                  <a:lnTo>
                    <a:pt x="190" y="440"/>
                  </a:lnTo>
                  <a:lnTo>
                    <a:pt x="190" y="438"/>
                  </a:lnTo>
                  <a:lnTo>
                    <a:pt x="189" y="436"/>
                  </a:lnTo>
                  <a:lnTo>
                    <a:pt x="189" y="435"/>
                  </a:lnTo>
                  <a:lnTo>
                    <a:pt x="187" y="435"/>
                  </a:lnTo>
                  <a:lnTo>
                    <a:pt x="187" y="436"/>
                  </a:lnTo>
                  <a:lnTo>
                    <a:pt x="187" y="435"/>
                  </a:lnTo>
                  <a:lnTo>
                    <a:pt x="185" y="435"/>
                  </a:lnTo>
                  <a:lnTo>
                    <a:pt x="185" y="433"/>
                  </a:lnTo>
                  <a:lnTo>
                    <a:pt x="187" y="433"/>
                  </a:lnTo>
                  <a:lnTo>
                    <a:pt x="185" y="433"/>
                  </a:lnTo>
                  <a:lnTo>
                    <a:pt x="187" y="433"/>
                  </a:lnTo>
                  <a:lnTo>
                    <a:pt x="187" y="431"/>
                  </a:lnTo>
                  <a:lnTo>
                    <a:pt x="187" y="433"/>
                  </a:lnTo>
                  <a:lnTo>
                    <a:pt x="189" y="431"/>
                  </a:lnTo>
                  <a:lnTo>
                    <a:pt x="189" y="433"/>
                  </a:lnTo>
                  <a:lnTo>
                    <a:pt x="189" y="431"/>
                  </a:lnTo>
                  <a:lnTo>
                    <a:pt x="189" y="433"/>
                  </a:lnTo>
                  <a:lnTo>
                    <a:pt x="189" y="431"/>
                  </a:lnTo>
                  <a:lnTo>
                    <a:pt x="190" y="431"/>
                  </a:lnTo>
                  <a:lnTo>
                    <a:pt x="190" y="433"/>
                  </a:lnTo>
                  <a:lnTo>
                    <a:pt x="190" y="435"/>
                  </a:lnTo>
                  <a:lnTo>
                    <a:pt x="190" y="433"/>
                  </a:lnTo>
                  <a:lnTo>
                    <a:pt x="192" y="435"/>
                  </a:lnTo>
                  <a:lnTo>
                    <a:pt x="190" y="436"/>
                  </a:lnTo>
                  <a:lnTo>
                    <a:pt x="192" y="436"/>
                  </a:lnTo>
                  <a:lnTo>
                    <a:pt x="192" y="435"/>
                  </a:lnTo>
                  <a:lnTo>
                    <a:pt x="194" y="435"/>
                  </a:lnTo>
                  <a:lnTo>
                    <a:pt x="194" y="436"/>
                  </a:lnTo>
                  <a:lnTo>
                    <a:pt x="194" y="435"/>
                  </a:lnTo>
                  <a:lnTo>
                    <a:pt x="195" y="435"/>
                  </a:lnTo>
                  <a:lnTo>
                    <a:pt x="194" y="435"/>
                  </a:lnTo>
                  <a:lnTo>
                    <a:pt x="194" y="436"/>
                  </a:lnTo>
                  <a:lnTo>
                    <a:pt x="195" y="436"/>
                  </a:lnTo>
                  <a:lnTo>
                    <a:pt x="195" y="435"/>
                  </a:lnTo>
                  <a:lnTo>
                    <a:pt x="197" y="435"/>
                  </a:lnTo>
                  <a:lnTo>
                    <a:pt x="197" y="436"/>
                  </a:lnTo>
                  <a:lnTo>
                    <a:pt x="198" y="435"/>
                  </a:lnTo>
                  <a:lnTo>
                    <a:pt x="198" y="436"/>
                  </a:lnTo>
                  <a:lnTo>
                    <a:pt x="198" y="438"/>
                  </a:lnTo>
                  <a:lnTo>
                    <a:pt x="200" y="438"/>
                  </a:lnTo>
                  <a:lnTo>
                    <a:pt x="202" y="438"/>
                  </a:lnTo>
                  <a:lnTo>
                    <a:pt x="203" y="438"/>
                  </a:lnTo>
                  <a:lnTo>
                    <a:pt x="203" y="436"/>
                  </a:lnTo>
                  <a:lnTo>
                    <a:pt x="203" y="435"/>
                  </a:lnTo>
                  <a:lnTo>
                    <a:pt x="205" y="435"/>
                  </a:lnTo>
                  <a:lnTo>
                    <a:pt x="205" y="433"/>
                  </a:lnTo>
                  <a:lnTo>
                    <a:pt x="207" y="433"/>
                  </a:lnTo>
                  <a:lnTo>
                    <a:pt x="207" y="431"/>
                  </a:lnTo>
                  <a:lnTo>
                    <a:pt x="205" y="431"/>
                  </a:lnTo>
                  <a:lnTo>
                    <a:pt x="207" y="431"/>
                  </a:lnTo>
                  <a:lnTo>
                    <a:pt x="207" y="433"/>
                  </a:lnTo>
                  <a:lnTo>
                    <a:pt x="208" y="433"/>
                  </a:lnTo>
                  <a:lnTo>
                    <a:pt x="207" y="433"/>
                  </a:lnTo>
                  <a:lnTo>
                    <a:pt x="207" y="431"/>
                  </a:lnTo>
                  <a:lnTo>
                    <a:pt x="208" y="431"/>
                  </a:lnTo>
                  <a:lnTo>
                    <a:pt x="208" y="430"/>
                  </a:lnTo>
                  <a:lnTo>
                    <a:pt x="208" y="428"/>
                  </a:lnTo>
                  <a:lnTo>
                    <a:pt x="208" y="430"/>
                  </a:lnTo>
                  <a:lnTo>
                    <a:pt x="210" y="430"/>
                  </a:lnTo>
                  <a:lnTo>
                    <a:pt x="210" y="428"/>
                  </a:lnTo>
                  <a:lnTo>
                    <a:pt x="208" y="428"/>
                  </a:lnTo>
                  <a:lnTo>
                    <a:pt x="210" y="428"/>
                  </a:lnTo>
                  <a:lnTo>
                    <a:pt x="208" y="426"/>
                  </a:lnTo>
                  <a:lnTo>
                    <a:pt x="208" y="428"/>
                  </a:lnTo>
                  <a:lnTo>
                    <a:pt x="208" y="430"/>
                  </a:lnTo>
                  <a:lnTo>
                    <a:pt x="208" y="428"/>
                  </a:lnTo>
                  <a:lnTo>
                    <a:pt x="208" y="430"/>
                  </a:lnTo>
                  <a:lnTo>
                    <a:pt x="207" y="430"/>
                  </a:lnTo>
                  <a:lnTo>
                    <a:pt x="207" y="431"/>
                  </a:lnTo>
                  <a:lnTo>
                    <a:pt x="205" y="431"/>
                  </a:lnTo>
                  <a:lnTo>
                    <a:pt x="205" y="430"/>
                  </a:lnTo>
                  <a:lnTo>
                    <a:pt x="207" y="430"/>
                  </a:lnTo>
                  <a:lnTo>
                    <a:pt x="205" y="430"/>
                  </a:lnTo>
                  <a:lnTo>
                    <a:pt x="203" y="428"/>
                  </a:lnTo>
                  <a:lnTo>
                    <a:pt x="202" y="426"/>
                  </a:lnTo>
                  <a:lnTo>
                    <a:pt x="200" y="426"/>
                  </a:lnTo>
                  <a:lnTo>
                    <a:pt x="200" y="425"/>
                  </a:lnTo>
                  <a:lnTo>
                    <a:pt x="202" y="425"/>
                  </a:lnTo>
                  <a:lnTo>
                    <a:pt x="203" y="426"/>
                  </a:lnTo>
                  <a:lnTo>
                    <a:pt x="205" y="426"/>
                  </a:lnTo>
                  <a:lnTo>
                    <a:pt x="203" y="426"/>
                  </a:lnTo>
                  <a:lnTo>
                    <a:pt x="205" y="425"/>
                  </a:lnTo>
                  <a:lnTo>
                    <a:pt x="203" y="426"/>
                  </a:lnTo>
                  <a:lnTo>
                    <a:pt x="203" y="425"/>
                  </a:lnTo>
                  <a:lnTo>
                    <a:pt x="203" y="423"/>
                  </a:lnTo>
                  <a:lnTo>
                    <a:pt x="203" y="425"/>
                  </a:lnTo>
                  <a:lnTo>
                    <a:pt x="202" y="425"/>
                  </a:lnTo>
                  <a:lnTo>
                    <a:pt x="200" y="423"/>
                  </a:lnTo>
                  <a:lnTo>
                    <a:pt x="200" y="425"/>
                  </a:lnTo>
                  <a:lnTo>
                    <a:pt x="202" y="425"/>
                  </a:lnTo>
                  <a:lnTo>
                    <a:pt x="200" y="425"/>
                  </a:lnTo>
                  <a:lnTo>
                    <a:pt x="198" y="425"/>
                  </a:lnTo>
                  <a:lnTo>
                    <a:pt x="197" y="425"/>
                  </a:lnTo>
                  <a:lnTo>
                    <a:pt x="195" y="425"/>
                  </a:lnTo>
                  <a:lnTo>
                    <a:pt x="195" y="426"/>
                  </a:lnTo>
                  <a:lnTo>
                    <a:pt x="195" y="425"/>
                  </a:lnTo>
                  <a:lnTo>
                    <a:pt x="194" y="425"/>
                  </a:lnTo>
                  <a:lnTo>
                    <a:pt x="194" y="423"/>
                  </a:lnTo>
                  <a:lnTo>
                    <a:pt x="192" y="423"/>
                  </a:lnTo>
                  <a:lnTo>
                    <a:pt x="192" y="425"/>
                  </a:lnTo>
                  <a:lnTo>
                    <a:pt x="194" y="425"/>
                  </a:lnTo>
                  <a:lnTo>
                    <a:pt x="192" y="425"/>
                  </a:lnTo>
                  <a:lnTo>
                    <a:pt x="192" y="426"/>
                  </a:lnTo>
                  <a:lnTo>
                    <a:pt x="192" y="428"/>
                  </a:lnTo>
                  <a:lnTo>
                    <a:pt x="192" y="426"/>
                  </a:lnTo>
                  <a:lnTo>
                    <a:pt x="190" y="426"/>
                  </a:lnTo>
                  <a:lnTo>
                    <a:pt x="189" y="426"/>
                  </a:lnTo>
                  <a:lnTo>
                    <a:pt x="190" y="428"/>
                  </a:lnTo>
                  <a:lnTo>
                    <a:pt x="189" y="430"/>
                  </a:lnTo>
                  <a:lnTo>
                    <a:pt x="189" y="428"/>
                  </a:lnTo>
                  <a:lnTo>
                    <a:pt x="189" y="430"/>
                  </a:lnTo>
                  <a:lnTo>
                    <a:pt x="187" y="428"/>
                  </a:lnTo>
                  <a:lnTo>
                    <a:pt x="189" y="428"/>
                  </a:lnTo>
                  <a:lnTo>
                    <a:pt x="187" y="428"/>
                  </a:lnTo>
                  <a:lnTo>
                    <a:pt x="185" y="428"/>
                  </a:lnTo>
                  <a:lnTo>
                    <a:pt x="185" y="426"/>
                  </a:lnTo>
                  <a:lnTo>
                    <a:pt x="185" y="425"/>
                  </a:lnTo>
                  <a:lnTo>
                    <a:pt x="185" y="426"/>
                  </a:lnTo>
                  <a:lnTo>
                    <a:pt x="185" y="428"/>
                  </a:lnTo>
                  <a:lnTo>
                    <a:pt x="185" y="426"/>
                  </a:lnTo>
                  <a:lnTo>
                    <a:pt x="184" y="425"/>
                  </a:lnTo>
                  <a:lnTo>
                    <a:pt x="184" y="423"/>
                  </a:lnTo>
                  <a:lnTo>
                    <a:pt x="185" y="422"/>
                  </a:lnTo>
                  <a:lnTo>
                    <a:pt x="184" y="422"/>
                  </a:lnTo>
                  <a:lnTo>
                    <a:pt x="184" y="420"/>
                  </a:lnTo>
                  <a:lnTo>
                    <a:pt x="185" y="420"/>
                  </a:lnTo>
                  <a:lnTo>
                    <a:pt x="185" y="418"/>
                  </a:lnTo>
                  <a:lnTo>
                    <a:pt x="187" y="418"/>
                  </a:lnTo>
                  <a:lnTo>
                    <a:pt x="189" y="417"/>
                  </a:lnTo>
                  <a:lnTo>
                    <a:pt x="187" y="417"/>
                  </a:lnTo>
                  <a:lnTo>
                    <a:pt x="187" y="418"/>
                  </a:lnTo>
                  <a:lnTo>
                    <a:pt x="185" y="418"/>
                  </a:lnTo>
                  <a:lnTo>
                    <a:pt x="185" y="420"/>
                  </a:lnTo>
                  <a:lnTo>
                    <a:pt x="184" y="420"/>
                  </a:lnTo>
                  <a:lnTo>
                    <a:pt x="184" y="418"/>
                  </a:lnTo>
                  <a:lnTo>
                    <a:pt x="182" y="418"/>
                  </a:lnTo>
                  <a:lnTo>
                    <a:pt x="182" y="417"/>
                  </a:lnTo>
                  <a:lnTo>
                    <a:pt x="182" y="418"/>
                  </a:lnTo>
                  <a:lnTo>
                    <a:pt x="184" y="418"/>
                  </a:lnTo>
                  <a:lnTo>
                    <a:pt x="182" y="420"/>
                  </a:lnTo>
                  <a:lnTo>
                    <a:pt x="184" y="420"/>
                  </a:lnTo>
                  <a:lnTo>
                    <a:pt x="184" y="422"/>
                  </a:lnTo>
                  <a:lnTo>
                    <a:pt x="184" y="423"/>
                  </a:lnTo>
                  <a:lnTo>
                    <a:pt x="182" y="423"/>
                  </a:lnTo>
                  <a:lnTo>
                    <a:pt x="182" y="425"/>
                  </a:lnTo>
                  <a:lnTo>
                    <a:pt x="184" y="425"/>
                  </a:lnTo>
                  <a:lnTo>
                    <a:pt x="184" y="426"/>
                  </a:lnTo>
                  <a:lnTo>
                    <a:pt x="182" y="426"/>
                  </a:lnTo>
                  <a:lnTo>
                    <a:pt x="182" y="428"/>
                  </a:lnTo>
                  <a:lnTo>
                    <a:pt x="184" y="428"/>
                  </a:lnTo>
                  <a:lnTo>
                    <a:pt x="184" y="430"/>
                  </a:lnTo>
                  <a:lnTo>
                    <a:pt x="184" y="431"/>
                  </a:lnTo>
                  <a:lnTo>
                    <a:pt x="185" y="431"/>
                  </a:lnTo>
                  <a:lnTo>
                    <a:pt x="185" y="433"/>
                  </a:lnTo>
                  <a:lnTo>
                    <a:pt x="184" y="433"/>
                  </a:lnTo>
                  <a:lnTo>
                    <a:pt x="184" y="431"/>
                  </a:lnTo>
                  <a:lnTo>
                    <a:pt x="182" y="431"/>
                  </a:lnTo>
                  <a:lnTo>
                    <a:pt x="182" y="430"/>
                  </a:lnTo>
                  <a:lnTo>
                    <a:pt x="182" y="431"/>
                  </a:lnTo>
                  <a:lnTo>
                    <a:pt x="181" y="431"/>
                  </a:lnTo>
                  <a:lnTo>
                    <a:pt x="181" y="430"/>
                  </a:lnTo>
                  <a:lnTo>
                    <a:pt x="181" y="428"/>
                  </a:lnTo>
                  <a:lnTo>
                    <a:pt x="181" y="430"/>
                  </a:lnTo>
                  <a:lnTo>
                    <a:pt x="181" y="428"/>
                  </a:lnTo>
                  <a:lnTo>
                    <a:pt x="179" y="428"/>
                  </a:lnTo>
                  <a:lnTo>
                    <a:pt x="179" y="426"/>
                  </a:lnTo>
                  <a:lnTo>
                    <a:pt x="179" y="428"/>
                  </a:lnTo>
                  <a:lnTo>
                    <a:pt x="179" y="430"/>
                  </a:lnTo>
                  <a:lnTo>
                    <a:pt x="179" y="428"/>
                  </a:lnTo>
                  <a:lnTo>
                    <a:pt x="179" y="430"/>
                  </a:lnTo>
                  <a:lnTo>
                    <a:pt x="177" y="430"/>
                  </a:lnTo>
                  <a:lnTo>
                    <a:pt x="177" y="428"/>
                  </a:lnTo>
                  <a:lnTo>
                    <a:pt x="177" y="426"/>
                  </a:lnTo>
                  <a:lnTo>
                    <a:pt x="177" y="425"/>
                  </a:lnTo>
                  <a:lnTo>
                    <a:pt x="177" y="426"/>
                  </a:lnTo>
                  <a:lnTo>
                    <a:pt x="177" y="425"/>
                  </a:lnTo>
                  <a:lnTo>
                    <a:pt x="177" y="423"/>
                  </a:lnTo>
                  <a:lnTo>
                    <a:pt x="176" y="425"/>
                  </a:lnTo>
                  <a:lnTo>
                    <a:pt x="177" y="425"/>
                  </a:lnTo>
                  <a:lnTo>
                    <a:pt x="177" y="426"/>
                  </a:lnTo>
                  <a:lnTo>
                    <a:pt x="176" y="426"/>
                  </a:lnTo>
                  <a:lnTo>
                    <a:pt x="177" y="428"/>
                  </a:lnTo>
                  <a:lnTo>
                    <a:pt x="176" y="428"/>
                  </a:lnTo>
                  <a:lnTo>
                    <a:pt x="177" y="428"/>
                  </a:lnTo>
                  <a:lnTo>
                    <a:pt x="176" y="428"/>
                  </a:lnTo>
                  <a:lnTo>
                    <a:pt x="177" y="428"/>
                  </a:lnTo>
                  <a:lnTo>
                    <a:pt x="177" y="430"/>
                  </a:lnTo>
                  <a:lnTo>
                    <a:pt x="176" y="430"/>
                  </a:lnTo>
                  <a:lnTo>
                    <a:pt x="176" y="428"/>
                  </a:lnTo>
                  <a:lnTo>
                    <a:pt x="174" y="428"/>
                  </a:lnTo>
                  <a:lnTo>
                    <a:pt x="176" y="426"/>
                  </a:lnTo>
                  <a:lnTo>
                    <a:pt x="174" y="426"/>
                  </a:lnTo>
                  <a:lnTo>
                    <a:pt x="174" y="428"/>
                  </a:lnTo>
                  <a:lnTo>
                    <a:pt x="174" y="426"/>
                  </a:lnTo>
                  <a:lnTo>
                    <a:pt x="174" y="428"/>
                  </a:lnTo>
                  <a:lnTo>
                    <a:pt x="172" y="428"/>
                  </a:lnTo>
                  <a:lnTo>
                    <a:pt x="171" y="428"/>
                  </a:lnTo>
                  <a:lnTo>
                    <a:pt x="169" y="428"/>
                  </a:lnTo>
                  <a:lnTo>
                    <a:pt x="169" y="426"/>
                  </a:lnTo>
                  <a:lnTo>
                    <a:pt x="169" y="425"/>
                  </a:lnTo>
                  <a:lnTo>
                    <a:pt x="168" y="425"/>
                  </a:lnTo>
                  <a:lnTo>
                    <a:pt x="168" y="423"/>
                  </a:lnTo>
                  <a:lnTo>
                    <a:pt x="166" y="423"/>
                  </a:lnTo>
                  <a:lnTo>
                    <a:pt x="168" y="423"/>
                  </a:lnTo>
                  <a:lnTo>
                    <a:pt x="166" y="423"/>
                  </a:lnTo>
                  <a:lnTo>
                    <a:pt x="166" y="425"/>
                  </a:lnTo>
                  <a:lnTo>
                    <a:pt x="166" y="426"/>
                  </a:lnTo>
                  <a:lnTo>
                    <a:pt x="168" y="426"/>
                  </a:lnTo>
                  <a:lnTo>
                    <a:pt x="166" y="428"/>
                  </a:lnTo>
                  <a:lnTo>
                    <a:pt x="166" y="430"/>
                  </a:lnTo>
                  <a:lnTo>
                    <a:pt x="164" y="430"/>
                  </a:lnTo>
                  <a:lnTo>
                    <a:pt x="166" y="431"/>
                  </a:lnTo>
                  <a:lnTo>
                    <a:pt x="164" y="433"/>
                  </a:lnTo>
                  <a:lnTo>
                    <a:pt x="166" y="435"/>
                  </a:lnTo>
                  <a:lnTo>
                    <a:pt x="164" y="435"/>
                  </a:lnTo>
                  <a:lnTo>
                    <a:pt x="166" y="436"/>
                  </a:lnTo>
                  <a:lnTo>
                    <a:pt x="166" y="438"/>
                  </a:lnTo>
                  <a:lnTo>
                    <a:pt x="166" y="440"/>
                  </a:lnTo>
                  <a:lnTo>
                    <a:pt x="166" y="438"/>
                  </a:lnTo>
                  <a:lnTo>
                    <a:pt x="168" y="440"/>
                  </a:lnTo>
                  <a:lnTo>
                    <a:pt x="168" y="441"/>
                  </a:lnTo>
                  <a:lnTo>
                    <a:pt x="169" y="443"/>
                  </a:lnTo>
                  <a:lnTo>
                    <a:pt x="168" y="441"/>
                  </a:lnTo>
                  <a:lnTo>
                    <a:pt x="166" y="441"/>
                  </a:lnTo>
                  <a:lnTo>
                    <a:pt x="166" y="440"/>
                  </a:lnTo>
                  <a:lnTo>
                    <a:pt x="164" y="440"/>
                  </a:lnTo>
                  <a:lnTo>
                    <a:pt x="164" y="441"/>
                  </a:lnTo>
                  <a:lnTo>
                    <a:pt x="163" y="441"/>
                  </a:lnTo>
                  <a:lnTo>
                    <a:pt x="163" y="440"/>
                  </a:lnTo>
                  <a:lnTo>
                    <a:pt x="163" y="438"/>
                  </a:lnTo>
                  <a:lnTo>
                    <a:pt x="163" y="436"/>
                  </a:lnTo>
                  <a:lnTo>
                    <a:pt x="163" y="435"/>
                  </a:lnTo>
                  <a:lnTo>
                    <a:pt x="163" y="433"/>
                  </a:lnTo>
                  <a:lnTo>
                    <a:pt x="163" y="431"/>
                  </a:lnTo>
                  <a:lnTo>
                    <a:pt x="163" y="433"/>
                  </a:lnTo>
                  <a:lnTo>
                    <a:pt x="163" y="431"/>
                  </a:lnTo>
                  <a:lnTo>
                    <a:pt x="164" y="431"/>
                  </a:lnTo>
                  <a:lnTo>
                    <a:pt x="164" y="430"/>
                  </a:lnTo>
                  <a:lnTo>
                    <a:pt x="164" y="428"/>
                  </a:lnTo>
                  <a:lnTo>
                    <a:pt x="166" y="426"/>
                  </a:lnTo>
                  <a:lnTo>
                    <a:pt x="166" y="425"/>
                  </a:lnTo>
                  <a:lnTo>
                    <a:pt x="164" y="423"/>
                  </a:lnTo>
                  <a:lnTo>
                    <a:pt x="164" y="422"/>
                  </a:lnTo>
                  <a:lnTo>
                    <a:pt x="163" y="420"/>
                  </a:lnTo>
                  <a:lnTo>
                    <a:pt x="161" y="418"/>
                  </a:lnTo>
                  <a:lnTo>
                    <a:pt x="161" y="417"/>
                  </a:lnTo>
                  <a:lnTo>
                    <a:pt x="159" y="415"/>
                  </a:lnTo>
                  <a:lnTo>
                    <a:pt x="161" y="415"/>
                  </a:lnTo>
                  <a:lnTo>
                    <a:pt x="161" y="413"/>
                  </a:lnTo>
                  <a:lnTo>
                    <a:pt x="161" y="412"/>
                  </a:lnTo>
                  <a:lnTo>
                    <a:pt x="163" y="412"/>
                  </a:lnTo>
                  <a:lnTo>
                    <a:pt x="163" y="410"/>
                  </a:lnTo>
                  <a:lnTo>
                    <a:pt x="164" y="410"/>
                  </a:lnTo>
                  <a:lnTo>
                    <a:pt x="166" y="410"/>
                  </a:lnTo>
                  <a:lnTo>
                    <a:pt x="168" y="410"/>
                  </a:lnTo>
                  <a:lnTo>
                    <a:pt x="168" y="409"/>
                  </a:lnTo>
                  <a:lnTo>
                    <a:pt x="169" y="409"/>
                  </a:lnTo>
                  <a:lnTo>
                    <a:pt x="171" y="409"/>
                  </a:lnTo>
                  <a:lnTo>
                    <a:pt x="169" y="409"/>
                  </a:lnTo>
                  <a:lnTo>
                    <a:pt x="168" y="409"/>
                  </a:lnTo>
                  <a:lnTo>
                    <a:pt x="166" y="409"/>
                  </a:lnTo>
                  <a:lnTo>
                    <a:pt x="168" y="409"/>
                  </a:lnTo>
                  <a:lnTo>
                    <a:pt x="166" y="409"/>
                  </a:lnTo>
                  <a:lnTo>
                    <a:pt x="168" y="409"/>
                  </a:lnTo>
                  <a:lnTo>
                    <a:pt x="168" y="407"/>
                  </a:lnTo>
                  <a:lnTo>
                    <a:pt x="168" y="405"/>
                  </a:lnTo>
                  <a:lnTo>
                    <a:pt x="169" y="405"/>
                  </a:lnTo>
                  <a:lnTo>
                    <a:pt x="169" y="407"/>
                  </a:lnTo>
                  <a:lnTo>
                    <a:pt x="168" y="407"/>
                  </a:lnTo>
                  <a:lnTo>
                    <a:pt x="169" y="407"/>
                  </a:lnTo>
                  <a:lnTo>
                    <a:pt x="169" y="409"/>
                  </a:lnTo>
                  <a:lnTo>
                    <a:pt x="169" y="407"/>
                  </a:lnTo>
                  <a:lnTo>
                    <a:pt x="171" y="405"/>
                  </a:lnTo>
                  <a:lnTo>
                    <a:pt x="172" y="405"/>
                  </a:lnTo>
                  <a:lnTo>
                    <a:pt x="171" y="405"/>
                  </a:lnTo>
                  <a:lnTo>
                    <a:pt x="172" y="405"/>
                  </a:lnTo>
                  <a:lnTo>
                    <a:pt x="171" y="405"/>
                  </a:lnTo>
                  <a:lnTo>
                    <a:pt x="169" y="405"/>
                  </a:lnTo>
                  <a:lnTo>
                    <a:pt x="168" y="405"/>
                  </a:lnTo>
                  <a:lnTo>
                    <a:pt x="168" y="407"/>
                  </a:lnTo>
                  <a:lnTo>
                    <a:pt x="166" y="407"/>
                  </a:lnTo>
                  <a:lnTo>
                    <a:pt x="166" y="405"/>
                  </a:lnTo>
                  <a:lnTo>
                    <a:pt x="168" y="405"/>
                  </a:lnTo>
                  <a:lnTo>
                    <a:pt x="168" y="404"/>
                  </a:lnTo>
                  <a:lnTo>
                    <a:pt x="169" y="404"/>
                  </a:lnTo>
                  <a:lnTo>
                    <a:pt x="168" y="404"/>
                  </a:lnTo>
                  <a:lnTo>
                    <a:pt x="168" y="402"/>
                  </a:lnTo>
                  <a:lnTo>
                    <a:pt x="169" y="402"/>
                  </a:lnTo>
                  <a:lnTo>
                    <a:pt x="169" y="400"/>
                  </a:lnTo>
                  <a:lnTo>
                    <a:pt x="169" y="402"/>
                  </a:lnTo>
                  <a:lnTo>
                    <a:pt x="168" y="402"/>
                  </a:lnTo>
                  <a:lnTo>
                    <a:pt x="168" y="404"/>
                  </a:lnTo>
                  <a:lnTo>
                    <a:pt x="166" y="404"/>
                  </a:lnTo>
                  <a:lnTo>
                    <a:pt x="166" y="402"/>
                  </a:lnTo>
                  <a:lnTo>
                    <a:pt x="164" y="402"/>
                  </a:lnTo>
                  <a:lnTo>
                    <a:pt x="164" y="400"/>
                  </a:lnTo>
                  <a:lnTo>
                    <a:pt x="164" y="402"/>
                  </a:lnTo>
                  <a:lnTo>
                    <a:pt x="166" y="402"/>
                  </a:lnTo>
                  <a:lnTo>
                    <a:pt x="166" y="404"/>
                  </a:lnTo>
                  <a:lnTo>
                    <a:pt x="166" y="405"/>
                  </a:lnTo>
                  <a:lnTo>
                    <a:pt x="166" y="407"/>
                  </a:lnTo>
                  <a:lnTo>
                    <a:pt x="164" y="407"/>
                  </a:lnTo>
                  <a:lnTo>
                    <a:pt x="163" y="407"/>
                  </a:lnTo>
                  <a:lnTo>
                    <a:pt x="163" y="409"/>
                  </a:lnTo>
                  <a:lnTo>
                    <a:pt x="164" y="409"/>
                  </a:lnTo>
                  <a:lnTo>
                    <a:pt x="163" y="409"/>
                  </a:lnTo>
                  <a:lnTo>
                    <a:pt x="161" y="409"/>
                  </a:lnTo>
                  <a:lnTo>
                    <a:pt x="161" y="407"/>
                  </a:lnTo>
                  <a:lnTo>
                    <a:pt x="161" y="409"/>
                  </a:lnTo>
                  <a:lnTo>
                    <a:pt x="163" y="410"/>
                  </a:lnTo>
                  <a:lnTo>
                    <a:pt x="161" y="410"/>
                  </a:lnTo>
                  <a:lnTo>
                    <a:pt x="161" y="412"/>
                  </a:lnTo>
                  <a:lnTo>
                    <a:pt x="161" y="410"/>
                  </a:lnTo>
                  <a:lnTo>
                    <a:pt x="161" y="412"/>
                  </a:lnTo>
                  <a:lnTo>
                    <a:pt x="159" y="412"/>
                  </a:lnTo>
                  <a:lnTo>
                    <a:pt x="161" y="412"/>
                  </a:lnTo>
                  <a:lnTo>
                    <a:pt x="161" y="413"/>
                  </a:lnTo>
                  <a:lnTo>
                    <a:pt x="159" y="415"/>
                  </a:lnTo>
                  <a:lnTo>
                    <a:pt x="159" y="413"/>
                  </a:lnTo>
                  <a:lnTo>
                    <a:pt x="158" y="412"/>
                  </a:lnTo>
                  <a:lnTo>
                    <a:pt x="156" y="412"/>
                  </a:lnTo>
                  <a:lnTo>
                    <a:pt x="156" y="410"/>
                  </a:lnTo>
                  <a:lnTo>
                    <a:pt x="156" y="409"/>
                  </a:lnTo>
                  <a:lnTo>
                    <a:pt x="154" y="407"/>
                  </a:lnTo>
                  <a:lnTo>
                    <a:pt x="153" y="407"/>
                  </a:lnTo>
                  <a:lnTo>
                    <a:pt x="151" y="407"/>
                  </a:lnTo>
                  <a:lnTo>
                    <a:pt x="151" y="405"/>
                  </a:lnTo>
                  <a:lnTo>
                    <a:pt x="150" y="405"/>
                  </a:lnTo>
                  <a:lnTo>
                    <a:pt x="148" y="405"/>
                  </a:lnTo>
                  <a:lnTo>
                    <a:pt x="148" y="407"/>
                  </a:lnTo>
                  <a:lnTo>
                    <a:pt x="146" y="407"/>
                  </a:lnTo>
                  <a:lnTo>
                    <a:pt x="146" y="405"/>
                  </a:lnTo>
                  <a:lnTo>
                    <a:pt x="148" y="405"/>
                  </a:lnTo>
                  <a:lnTo>
                    <a:pt x="148" y="404"/>
                  </a:lnTo>
                  <a:lnTo>
                    <a:pt x="148" y="405"/>
                  </a:lnTo>
                  <a:lnTo>
                    <a:pt x="150" y="405"/>
                  </a:lnTo>
                  <a:lnTo>
                    <a:pt x="151" y="405"/>
                  </a:lnTo>
                  <a:lnTo>
                    <a:pt x="153" y="407"/>
                  </a:lnTo>
                  <a:lnTo>
                    <a:pt x="154" y="407"/>
                  </a:lnTo>
                  <a:lnTo>
                    <a:pt x="154" y="405"/>
                  </a:lnTo>
                  <a:lnTo>
                    <a:pt x="153" y="405"/>
                  </a:lnTo>
                  <a:lnTo>
                    <a:pt x="151" y="405"/>
                  </a:lnTo>
                  <a:lnTo>
                    <a:pt x="151" y="404"/>
                  </a:lnTo>
                  <a:lnTo>
                    <a:pt x="153" y="405"/>
                  </a:lnTo>
                  <a:lnTo>
                    <a:pt x="153" y="404"/>
                  </a:lnTo>
                  <a:lnTo>
                    <a:pt x="151" y="404"/>
                  </a:lnTo>
                  <a:lnTo>
                    <a:pt x="151" y="405"/>
                  </a:lnTo>
                  <a:lnTo>
                    <a:pt x="151" y="404"/>
                  </a:lnTo>
                  <a:lnTo>
                    <a:pt x="150" y="404"/>
                  </a:lnTo>
                  <a:lnTo>
                    <a:pt x="148" y="404"/>
                  </a:lnTo>
                  <a:lnTo>
                    <a:pt x="146" y="402"/>
                  </a:lnTo>
                  <a:lnTo>
                    <a:pt x="148" y="402"/>
                  </a:lnTo>
                  <a:lnTo>
                    <a:pt x="148" y="404"/>
                  </a:lnTo>
                  <a:lnTo>
                    <a:pt x="148" y="402"/>
                  </a:lnTo>
                  <a:lnTo>
                    <a:pt x="148" y="404"/>
                  </a:lnTo>
                  <a:lnTo>
                    <a:pt x="148" y="402"/>
                  </a:lnTo>
                  <a:lnTo>
                    <a:pt x="150" y="402"/>
                  </a:lnTo>
                  <a:lnTo>
                    <a:pt x="148" y="400"/>
                  </a:lnTo>
                  <a:lnTo>
                    <a:pt x="150" y="400"/>
                  </a:lnTo>
                  <a:lnTo>
                    <a:pt x="150" y="399"/>
                  </a:lnTo>
                  <a:lnTo>
                    <a:pt x="150" y="400"/>
                  </a:lnTo>
                  <a:lnTo>
                    <a:pt x="151" y="400"/>
                  </a:lnTo>
                  <a:lnTo>
                    <a:pt x="153" y="400"/>
                  </a:lnTo>
                  <a:lnTo>
                    <a:pt x="153" y="399"/>
                  </a:lnTo>
                  <a:lnTo>
                    <a:pt x="154" y="399"/>
                  </a:lnTo>
                  <a:lnTo>
                    <a:pt x="154" y="397"/>
                  </a:lnTo>
                  <a:lnTo>
                    <a:pt x="154" y="396"/>
                  </a:lnTo>
                  <a:lnTo>
                    <a:pt x="156" y="396"/>
                  </a:lnTo>
                  <a:lnTo>
                    <a:pt x="156" y="394"/>
                  </a:lnTo>
                  <a:lnTo>
                    <a:pt x="156" y="392"/>
                  </a:lnTo>
                  <a:lnTo>
                    <a:pt x="156" y="394"/>
                  </a:lnTo>
                  <a:lnTo>
                    <a:pt x="156" y="396"/>
                  </a:lnTo>
                  <a:lnTo>
                    <a:pt x="154" y="396"/>
                  </a:lnTo>
                  <a:lnTo>
                    <a:pt x="153" y="397"/>
                  </a:lnTo>
                  <a:lnTo>
                    <a:pt x="151" y="399"/>
                  </a:lnTo>
                  <a:lnTo>
                    <a:pt x="150" y="399"/>
                  </a:lnTo>
                  <a:lnTo>
                    <a:pt x="150" y="397"/>
                  </a:lnTo>
                  <a:lnTo>
                    <a:pt x="150" y="396"/>
                  </a:lnTo>
                  <a:lnTo>
                    <a:pt x="148" y="396"/>
                  </a:lnTo>
                  <a:lnTo>
                    <a:pt x="148" y="394"/>
                  </a:lnTo>
                  <a:lnTo>
                    <a:pt x="148" y="392"/>
                  </a:lnTo>
                  <a:lnTo>
                    <a:pt x="148" y="391"/>
                  </a:lnTo>
                  <a:lnTo>
                    <a:pt x="148" y="392"/>
                  </a:lnTo>
                  <a:lnTo>
                    <a:pt x="148" y="394"/>
                  </a:lnTo>
                  <a:lnTo>
                    <a:pt x="148" y="396"/>
                  </a:lnTo>
                  <a:lnTo>
                    <a:pt x="150" y="396"/>
                  </a:lnTo>
                  <a:lnTo>
                    <a:pt x="150" y="397"/>
                  </a:lnTo>
                  <a:lnTo>
                    <a:pt x="150" y="399"/>
                  </a:lnTo>
                  <a:lnTo>
                    <a:pt x="148" y="400"/>
                  </a:lnTo>
                  <a:lnTo>
                    <a:pt x="146" y="400"/>
                  </a:lnTo>
                  <a:lnTo>
                    <a:pt x="146" y="399"/>
                  </a:lnTo>
                  <a:lnTo>
                    <a:pt x="146" y="400"/>
                  </a:lnTo>
                  <a:lnTo>
                    <a:pt x="145" y="399"/>
                  </a:lnTo>
                  <a:lnTo>
                    <a:pt x="145" y="400"/>
                  </a:lnTo>
                  <a:lnTo>
                    <a:pt x="146" y="400"/>
                  </a:lnTo>
                  <a:lnTo>
                    <a:pt x="146" y="402"/>
                  </a:lnTo>
                  <a:lnTo>
                    <a:pt x="146" y="400"/>
                  </a:lnTo>
                  <a:lnTo>
                    <a:pt x="148" y="402"/>
                  </a:lnTo>
                  <a:lnTo>
                    <a:pt x="146" y="402"/>
                  </a:lnTo>
                  <a:lnTo>
                    <a:pt x="146" y="404"/>
                  </a:lnTo>
                  <a:lnTo>
                    <a:pt x="145" y="404"/>
                  </a:lnTo>
                  <a:lnTo>
                    <a:pt x="146" y="404"/>
                  </a:lnTo>
                  <a:lnTo>
                    <a:pt x="145" y="404"/>
                  </a:lnTo>
                  <a:lnTo>
                    <a:pt x="143" y="404"/>
                  </a:lnTo>
                  <a:lnTo>
                    <a:pt x="141" y="404"/>
                  </a:lnTo>
                  <a:lnTo>
                    <a:pt x="141" y="402"/>
                  </a:lnTo>
                  <a:lnTo>
                    <a:pt x="140" y="404"/>
                  </a:lnTo>
                  <a:lnTo>
                    <a:pt x="138" y="404"/>
                  </a:lnTo>
                  <a:lnTo>
                    <a:pt x="138" y="402"/>
                  </a:lnTo>
                  <a:lnTo>
                    <a:pt x="137" y="402"/>
                  </a:lnTo>
                  <a:lnTo>
                    <a:pt x="137" y="400"/>
                  </a:lnTo>
                  <a:lnTo>
                    <a:pt x="137" y="399"/>
                  </a:lnTo>
                  <a:lnTo>
                    <a:pt x="135" y="399"/>
                  </a:lnTo>
                  <a:lnTo>
                    <a:pt x="135" y="397"/>
                  </a:lnTo>
                  <a:lnTo>
                    <a:pt x="135" y="396"/>
                  </a:lnTo>
                  <a:lnTo>
                    <a:pt x="133" y="394"/>
                  </a:lnTo>
                  <a:lnTo>
                    <a:pt x="135" y="394"/>
                  </a:lnTo>
                  <a:lnTo>
                    <a:pt x="133" y="394"/>
                  </a:lnTo>
                  <a:lnTo>
                    <a:pt x="133" y="392"/>
                  </a:lnTo>
                  <a:lnTo>
                    <a:pt x="133" y="391"/>
                  </a:lnTo>
                  <a:lnTo>
                    <a:pt x="133" y="389"/>
                  </a:lnTo>
                  <a:lnTo>
                    <a:pt x="133" y="391"/>
                  </a:lnTo>
                  <a:lnTo>
                    <a:pt x="133" y="392"/>
                  </a:lnTo>
                  <a:lnTo>
                    <a:pt x="132" y="392"/>
                  </a:lnTo>
                  <a:lnTo>
                    <a:pt x="130" y="392"/>
                  </a:lnTo>
                  <a:lnTo>
                    <a:pt x="130" y="391"/>
                  </a:lnTo>
                  <a:lnTo>
                    <a:pt x="128" y="391"/>
                  </a:lnTo>
                  <a:lnTo>
                    <a:pt x="127" y="391"/>
                  </a:lnTo>
                  <a:lnTo>
                    <a:pt x="125" y="391"/>
                  </a:lnTo>
                  <a:lnTo>
                    <a:pt x="124" y="389"/>
                  </a:lnTo>
                  <a:lnTo>
                    <a:pt x="124" y="391"/>
                  </a:lnTo>
                  <a:lnTo>
                    <a:pt x="124" y="389"/>
                  </a:lnTo>
                  <a:lnTo>
                    <a:pt x="122" y="389"/>
                  </a:lnTo>
                  <a:lnTo>
                    <a:pt x="122" y="387"/>
                  </a:lnTo>
                  <a:lnTo>
                    <a:pt x="120" y="387"/>
                  </a:lnTo>
                  <a:lnTo>
                    <a:pt x="119" y="387"/>
                  </a:lnTo>
                  <a:lnTo>
                    <a:pt x="117" y="386"/>
                  </a:lnTo>
                  <a:lnTo>
                    <a:pt x="115" y="384"/>
                  </a:lnTo>
                  <a:lnTo>
                    <a:pt x="115" y="383"/>
                  </a:lnTo>
                  <a:lnTo>
                    <a:pt x="117" y="383"/>
                  </a:lnTo>
                  <a:lnTo>
                    <a:pt x="119" y="383"/>
                  </a:lnTo>
                  <a:lnTo>
                    <a:pt x="119" y="381"/>
                  </a:lnTo>
                  <a:lnTo>
                    <a:pt x="119" y="383"/>
                  </a:lnTo>
                  <a:lnTo>
                    <a:pt x="120" y="381"/>
                  </a:lnTo>
                  <a:lnTo>
                    <a:pt x="119" y="381"/>
                  </a:lnTo>
                  <a:lnTo>
                    <a:pt x="119" y="379"/>
                  </a:lnTo>
                  <a:lnTo>
                    <a:pt x="119" y="381"/>
                  </a:lnTo>
                  <a:lnTo>
                    <a:pt x="117" y="383"/>
                  </a:lnTo>
                  <a:lnTo>
                    <a:pt x="115" y="383"/>
                  </a:lnTo>
                  <a:lnTo>
                    <a:pt x="114" y="384"/>
                  </a:lnTo>
                  <a:lnTo>
                    <a:pt x="114" y="383"/>
                  </a:lnTo>
                  <a:lnTo>
                    <a:pt x="114" y="381"/>
                  </a:lnTo>
                  <a:lnTo>
                    <a:pt x="114" y="379"/>
                  </a:lnTo>
                  <a:lnTo>
                    <a:pt x="114" y="378"/>
                  </a:lnTo>
                  <a:lnTo>
                    <a:pt x="114" y="379"/>
                  </a:lnTo>
                  <a:lnTo>
                    <a:pt x="114" y="381"/>
                  </a:lnTo>
                  <a:lnTo>
                    <a:pt x="112" y="381"/>
                  </a:lnTo>
                  <a:lnTo>
                    <a:pt x="114" y="381"/>
                  </a:lnTo>
                  <a:lnTo>
                    <a:pt x="114" y="383"/>
                  </a:lnTo>
                  <a:lnTo>
                    <a:pt x="114" y="384"/>
                  </a:lnTo>
                  <a:lnTo>
                    <a:pt x="112" y="384"/>
                  </a:lnTo>
                  <a:lnTo>
                    <a:pt x="111" y="384"/>
                  </a:lnTo>
                  <a:lnTo>
                    <a:pt x="109" y="384"/>
                  </a:lnTo>
                  <a:lnTo>
                    <a:pt x="107" y="384"/>
                  </a:lnTo>
                  <a:lnTo>
                    <a:pt x="107" y="383"/>
                  </a:lnTo>
                  <a:lnTo>
                    <a:pt x="106" y="383"/>
                  </a:lnTo>
                  <a:lnTo>
                    <a:pt x="104" y="383"/>
                  </a:lnTo>
                  <a:lnTo>
                    <a:pt x="102" y="383"/>
                  </a:lnTo>
                  <a:lnTo>
                    <a:pt x="104" y="383"/>
                  </a:lnTo>
                  <a:lnTo>
                    <a:pt x="102" y="381"/>
                  </a:lnTo>
                  <a:lnTo>
                    <a:pt x="102" y="379"/>
                  </a:lnTo>
                  <a:lnTo>
                    <a:pt x="101" y="378"/>
                  </a:lnTo>
                  <a:lnTo>
                    <a:pt x="101" y="376"/>
                  </a:lnTo>
                  <a:lnTo>
                    <a:pt x="99" y="376"/>
                  </a:lnTo>
                  <a:lnTo>
                    <a:pt x="99" y="374"/>
                  </a:lnTo>
                  <a:lnTo>
                    <a:pt x="101" y="374"/>
                  </a:lnTo>
                  <a:lnTo>
                    <a:pt x="99" y="374"/>
                  </a:lnTo>
                  <a:lnTo>
                    <a:pt x="99" y="373"/>
                  </a:lnTo>
                  <a:lnTo>
                    <a:pt x="99" y="374"/>
                  </a:lnTo>
                  <a:lnTo>
                    <a:pt x="99" y="373"/>
                  </a:lnTo>
                  <a:lnTo>
                    <a:pt x="98" y="373"/>
                  </a:lnTo>
                  <a:lnTo>
                    <a:pt x="99" y="373"/>
                  </a:lnTo>
                  <a:lnTo>
                    <a:pt x="99" y="371"/>
                  </a:lnTo>
                  <a:lnTo>
                    <a:pt x="98" y="370"/>
                  </a:lnTo>
                  <a:lnTo>
                    <a:pt x="98" y="368"/>
                  </a:lnTo>
                  <a:lnTo>
                    <a:pt x="96" y="368"/>
                  </a:lnTo>
                  <a:lnTo>
                    <a:pt x="96" y="366"/>
                  </a:lnTo>
                  <a:lnTo>
                    <a:pt x="94" y="366"/>
                  </a:lnTo>
                  <a:lnTo>
                    <a:pt x="94" y="365"/>
                  </a:lnTo>
                  <a:lnTo>
                    <a:pt x="94" y="366"/>
                  </a:lnTo>
                  <a:lnTo>
                    <a:pt x="93" y="366"/>
                  </a:lnTo>
                  <a:lnTo>
                    <a:pt x="93" y="365"/>
                  </a:lnTo>
                  <a:lnTo>
                    <a:pt x="93" y="366"/>
                  </a:lnTo>
                  <a:lnTo>
                    <a:pt x="94" y="366"/>
                  </a:lnTo>
                  <a:lnTo>
                    <a:pt x="93" y="366"/>
                  </a:lnTo>
                  <a:lnTo>
                    <a:pt x="93" y="368"/>
                  </a:lnTo>
                  <a:lnTo>
                    <a:pt x="93" y="370"/>
                  </a:lnTo>
                  <a:lnTo>
                    <a:pt x="93" y="371"/>
                  </a:lnTo>
                  <a:lnTo>
                    <a:pt x="91" y="371"/>
                  </a:lnTo>
                  <a:lnTo>
                    <a:pt x="88" y="371"/>
                  </a:lnTo>
                  <a:lnTo>
                    <a:pt x="86" y="373"/>
                  </a:lnTo>
                  <a:lnTo>
                    <a:pt x="86" y="371"/>
                  </a:lnTo>
                  <a:lnTo>
                    <a:pt x="86" y="370"/>
                  </a:lnTo>
                  <a:lnTo>
                    <a:pt x="85" y="370"/>
                  </a:lnTo>
                  <a:lnTo>
                    <a:pt x="83" y="370"/>
                  </a:lnTo>
                  <a:lnTo>
                    <a:pt x="85" y="370"/>
                  </a:lnTo>
                  <a:lnTo>
                    <a:pt x="83" y="368"/>
                  </a:lnTo>
                  <a:lnTo>
                    <a:pt x="85" y="368"/>
                  </a:lnTo>
                  <a:lnTo>
                    <a:pt x="83" y="368"/>
                  </a:lnTo>
                  <a:lnTo>
                    <a:pt x="83" y="370"/>
                  </a:lnTo>
                  <a:lnTo>
                    <a:pt x="81" y="368"/>
                  </a:lnTo>
                  <a:lnTo>
                    <a:pt x="81" y="366"/>
                  </a:lnTo>
                  <a:lnTo>
                    <a:pt x="80" y="366"/>
                  </a:lnTo>
                  <a:lnTo>
                    <a:pt x="80" y="365"/>
                  </a:lnTo>
                  <a:lnTo>
                    <a:pt x="81" y="365"/>
                  </a:lnTo>
                  <a:lnTo>
                    <a:pt x="80" y="365"/>
                  </a:lnTo>
                  <a:lnTo>
                    <a:pt x="80" y="363"/>
                  </a:lnTo>
                  <a:lnTo>
                    <a:pt x="78" y="363"/>
                  </a:lnTo>
                  <a:lnTo>
                    <a:pt x="78" y="361"/>
                  </a:lnTo>
                  <a:lnTo>
                    <a:pt x="78" y="360"/>
                  </a:lnTo>
                  <a:lnTo>
                    <a:pt x="80" y="360"/>
                  </a:lnTo>
                  <a:lnTo>
                    <a:pt x="80" y="358"/>
                  </a:lnTo>
                  <a:lnTo>
                    <a:pt x="81" y="358"/>
                  </a:lnTo>
                  <a:lnTo>
                    <a:pt x="83" y="358"/>
                  </a:lnTo>
                  <a:lnTo>
                    <a:pt x="83" y="357"/>
                  </a:lnTo>
                  <a:lnTo>
                    <a:pt x="83" y="355"/>
                  </a:lnTo>
                  <a:lnTo>
                    <a:pt x="85" y="355"/>
                  </a:lnTo>
                  <a:lnTo>
                    <a:pt x="85" y="353"/>
                  </a:lnTo>
                  <a:lnTo>
                    <a:pt x="83" y="352"/>
                  </a:lnTo>
                  <a:lnTo>
                    <a:pt x="83" y="350"/>
                  </a:lnTo>
                  <a:lnTo>
                    <a:pt x="83" y="352"/>
                  </a:lnTo>
                  <a:lnTo>
                    <a:pt x="83" y="353"/>
                  </a:lnTo>
                  <a:lnTo>
                    <a:pt x="85" y="353"/>
                  </a:lnTo>
                  <a:lnTo>
                    <a:pt x="83" y="353"/>
                  </a:lnTo>
                  <a:lnTo>
                    <a:pt x="83" y="355"/>
                  </a:lnTo>
                  <a:lnTo>
                    <a:pt x="81" y="355"/>
                  </a:lnTo>
                  <a:lnTo>
                    <a:pt x="83" y="355"/>
                  </a:lnTo>
                  <a:lnTo>
                    <a:pt x="83" y="357"/>
                  </a:lnTo>
                  <a:lnTo>
                    <a:pt x="83" y="358"/>
                  </a:lnTo>
                  <a:lnTo>
                    <a:pt x="81" y="358"/>
                  </a:lnTo>
                  <a:lnTo>
                    <a:pt x="80" y="358"/>
                  </a:lnTo>
                  <a:lnTo>
                    <a:pt x="80" y="360"/>
                  </a:lnTo>
                  <a:lnTo>
                    <a:pt x="78" y="360"/>
                  </a:lnTo>
                  <a:lnTo>
                    <a:pt x="78" y="361"/>
                  </a:lnTo>
                  <a:lnTo>
                    <a:pt x="78" y="363"/>
                  </a:lnTo>
                  <a:lnTo>
                    <a:pt x="76" y="363"/>
                  </a:lnTo>
                  <a:lnTo>
                    <a:pt x="75" y="361"/>
                  </a:lnTo>
                  <a:lnTo>
                    <a:pt x="76" y="363"/>
                  </a:lnTo>
                  <a:lnTo>
                    <a:pt x="78" y="363"/>
                  </a:lnTo>
                  <a:lnTo>
                    <a:pt x="80" y="363"/>
                  </a:lnTo>
                  <a:lnTo>
                    <a:pt x="80" y="365"/>
                  </a:lnTo>
                  <a:lnTo>
                    <a:pt x="80" y="366"/>
                  </a:lnTo>
                  <a:lnTo>
                    <a:pt x="80" y="368"/>
                  </a:lnTo>
                  <a:lnTo>
                    <a:pt x="76" y="368"/>
                  </a:lnTo>
                  <a:lnTo>
                    <a:pt x="75" y="370"/>
                  </a:lnTo>
                  <a:lnTo>
                    <a:pt x="75" y="371"/>
                  </a:lnTo>
                  <a:lnTo>
                    <a:pt x="75" y="370"/>
                  </a:lnTo>
                  <a:lnTo>
                    <a:pt x="75" y="368"/>
                  </a:lnTo>
                  <a:lnTo>
                    <a:pt x="76" y="368"/>
                  </a:lnTo>
                  <a:lnTo>
                    <a:pt x="75" y="368"/>
                  </a:lnTo>
                  <a:lnTo>
                    <a:pt x="75" y="366"/>
                  </a:lnTo>
                  <a:lnTo>
                    <a:pt x="75" y="365"/>
                  </a:lnTo>
                  <a:lnTo>
                    <a:pt x="73" y="365"/>
                  </a:lnTo>
                  <a:lnTo>
                    <a:pt x="73" y="366"/>
                  </a:lnTo>
                  <a:lnTo>
                    <a:pt x="75" y="368"/>
                  </a:lnTo>
                  <a:lnTo>
                    <a:pt x="73" y="368"/>
                  </a:lnTo>
                  <a:lnTo>
                    <a:pt x="73" y="366"/>
                  </a:lnTo>
                  <a:lnTo>
                    <a:pt x="72" y="368"/>
                  </a:lnTo>
                  <a:lnTo>
                    <a:pt x="73" y="368"/>
                  </a:lnTo>
                  <a:lnTo>
                    <a:pt x="73" y="370"/>
                  </a:lnTo>
                  <a:lnTo>
                    <a:pt x="73" y="371"/>
                  </a:lnTo>
                  <a:lnTo>
                    <a:pt x="73" y="370"/>
                  </a:lnTo>
                  <a:lnTo>
                    <a:pt x="73" y="371"/>
                  </a:lnTo>
                  <a:lnTo>
                    <a:pt x="75" y="371"/>
                  </a:lnTo>
                  <a:lnTo>
                    <a:pt x="75" y="373"/>
                  </a:lnTo>
                  <a:lnTo>
                    <a:pt x="75" y="374"/>
                  </a:lnTo>
                  <a:lnTo>
                    <a:pt x="73" y="374"/>
                  </a:lnTo>
                  <a:lnTo>
                    <a:pt x="72" y="376"/>
                  </a:lnTo>
                  <a:lnTo>
                    <a:pt x="70" y="376"/>
                  </a:lnTo>
                  <a:lnTo>
                    <a:pt x="70" y="374"/>
                  </a:lnTo>
                  <a:lnTo>
                    <a:pt x="68" y="376"/>
                  </a:lnTo>
                  <a:lnTo>
                    <a:pt x="70" y="376"/>
                  </a:lnTo>
                  <a:lnTo>
                    <a:pt x="68" y="376"/>
                  </a:lnTo>
                  <a:lnTo>
                    <a:pt x="67" y="376"/>
                  </a:lnTo>
                  <a:lnTo>
                    <a:pt x="65" y="376"/>
                  </a:lnTo>
                  <a:lnTo>
                    <a:pt x="63" y="376"/>
                  </a:lnTo>
                  <a:lnTo>
                    <a:pt x="62" y="374"/>
                  </a:lnTo>
                  <a:lnTo>
                    <a:pt x="62" y="373"/>
                  </a:lnTo>
                  <a:lnTo>
                    <a:pt x="60" y="373"/>
                  </a:lnTo>
                  <a:lnTo>
                    <a:pt x="59" y="373"/>
                  </a:lnTo>
                  <a:lnTo>
                    <a:pt x="57" y="373"/>
                  </a:lnTo>
                  <a:lnTo>
                    <a:pt x="55" y="373"/>
                  </a:lnTo>
                  <a:lnTo>
                    <a:pt x="54" y="374"/>
                  </a:lnTo>
                  <a:lnTo>
                    <a:pt x="54" y="373"/>
                  </a:lnTo>
                  <a:lnTo>
                    <a:pt x="54" y="371"/>
                  </a:lnTo>
                  <a:lnTo>
                    <a:pt x="54" y="370"/>
                  </a:lnTo>
                  <a:lnTo>
                    <a:pt x="54" y="371"/>
                  </a:lnTo>
                  <a:lnTo>
                    <a:pt x="52" y="371"/>
                  </a:lnTo>
                  <a:lnTo>
                    <a:pt x="52" y="370"/>
                  </a:lnTo>
                  <a:lnTo>
                    <a:pt x="54" y="370"/>
                  </a:lnTo>
                  <a:lnTo>
                    <a:pt x="55" y="368"/>
                  </a:lnTo>
                  <a:lnTo>
                    <a:pt x="57" y="368"/>
                  </a:lnTo>
                  <a:lnTo>
                    <a:pt x="57" y="366"/>
                  </a:lnTo>
                  <a:lnTo>
                    <a:pt x="57" y="365"/>
                  </a:lnTo>
                  <a:lnTo>
                    <a:pt x="57" y="363"/>
                  </a:lnTo>
                  <a:lnTo>
                    <a:pt x="57" y="360"/>
                  </a:lnTo>
                  <a:lnTo>
                    <a:pt x="57" y="358"/>
                  </a:lnTo>
                  <a:lnTo>
                    <a:pt x="55" y="353"/>
                  </a:lnTo>
                  <a:lnTo>
                    <a:pt x="55" y="352"/>
                  </a:lnTo>
                  <a:lnTo>
                    <a:pt x="54" y="352"/>
                  </a:lnTo>
                  <a:lnTo>
                    <a:pt x="54" y="350"/>
                  </a:lnTo>
                  <a:lnTo>
                    <a:pt x="54" y="348"/>
                  </a:lnTo>
                  <a:lnTo>
                    <a:pt x="52" y="347"/>
                  </a:lnTo>
                  <a:lnTo>
                    <a:pt x="52" y="345"/>
                  </a:lnTo>
                  <a:lnTo>
                    <a:pt x="50" y="345"/>
                  </a:lnTo>
                  <a:lnTo>
                    <a:pt x="50" y="344"/>
                  </a:lnTo>
                  <a:lnTo>
                    <a:pt x="49" y="344"/>
                  </a:lnTo>
                  <a:lnTo>
                    <a:pt x="47" y="342"/>
                  </a:lnTo>
                  <a:lnTo>
                    <a:pt x="47" y="340"/>
                  </a:lnTo>
                  <a:lnTo>
                    <a:pt x="46" y="340"/>
                  </a:lnTo>
                  <a:lnTo>
                    <a:pt x="44" y="340"/>
                  </a:lnTo>
                  <a:lnTo>
                    <a:pt x="44" y="339"/>
                  </a:lnTo>
                  <a:lnTo>
                    <a:pt x="46" y="339"/>
                  </a:lnTo>
                  <a:lnTo>
                    <a:pt x="46" y="337"/>
                  </a:lnTo>
                  <a:lnTo>
                    <a:pt x="46" y="335"/>
                  </a:lnTo>
                  <a:lnTo>
                    <a:pt x="47" y="337"/>
                  </a:lnTo>
                  <a:lnTo>
                    <a:pt x="49" y="335"/>
                  </a:lnTo>
                  <a:lnTo>
                    <a:pt x="47" y="335"/>
                  </a:lnTo>
                  <a:lnTo>
                    <a:pt x="46" y="335"/>
                  </a:lnTo>
                  <a:lnTo>
                    <a:pt x="46" y="337"/>
                  </a:lnTo>
                  <a:lnTo>
                    <a:pt x="44" y="337"/>
                  </a:lnTo>
                  <a:lnTo>
                    <a:pt x="44" y="339"/>
                  </a:lnTo>
                  <a:lnTo>
                    <a:pt x="42" y="339"/>
                  </a:lnTo>
                  <a:lnTo>
                    <a:pt x="42" y="340"/>
                  </a:lnTo>
                  <a:lnTo>
                    <a:pt x="41" y="340"/>
                  </a:lnTo>
                  <a:lnTo>
                    <a:pt x="41" y="339"/>
                  </a:lnTo>
                  <a:lnTo>
                    <a:pt x="39" y="339"/>
                  </a:lnTo>
                  <a:lnTo>
                    <a:pt x="39" y="337"/>
                  </a:lnTo>
                  <a:lnTo>
                    <a:pt x="37" y="337"/>
                  </a:lnTo>
                  <a:lnTo>
                    <a:pt x="36" y="337"/>
                  </a:lnTo>
                  <a:lnTo>
                    <a:pt x="36" y="335"/>
                  </a:lnTo>
                  <a:lnTo>
                    <a:pt x="34" y="335"/>
                  </a:lnTo>
                  <a:lnTo>
                    <a:pt x="33" y="335"/>
                  </a:lnTo>
                  <a:lnTo>
                    <a:pt x="31" y="334"/>
                  </a:lnTo>
                  <a:lnTo>
                    <a:pt x="29" y="334"/>
                  </a:lnTo>
                  <a:lnTo>
                    <a:pt x="28" y="332"/>
                  </a:lnTo>
                  <a:lnTo>
                    <a:pt x="26" y="332"/>
                  </a:lnTo>
                  <a:lnTo>
                    <a:pt x="26" y="331"/>
                  </a:lnTo>
                  <a:lnTo>
                    <a:pt x="28" y="332"/>
                  </a:lnTo>
                  <a:lnTo>
                    <a:pt x="29" y="331"/>
                  </a:lnTo>
                  <a:lnTo>
                    <a:pt x="29" y="329"/>
                  </a:lnTo>
                  <a:lnTo>
                    <a:pt x="31" y="329"/>
                  </a:lnTo>
                  <a:lnTo>
                    <a:pt x="33" y="329"/>
                  </a:lnTo>
                  <a:lnTo>
                    <a:pt x="34" y="327"/>
                  </a:lnTo>
                  <a:lnTo>
                    <a:pt x="34" y="329"/>
                  </a:lnTo>
                  <a:lnTo>
                    <a:pt x="36" y="329"/>
                  </a:lnTo>
                  <a:lnTo>
                    <a:pt x="37" y="329"/>
                  </a:lnTo>
                  <a:lnTo>
                    <a:pt x="39" y="329"/>
                  </a:lnTo>
                  <a:lnTo>
                    <a:pt x="41" y="329"/>
                  </a:lnTo>
                  <a:lnTo>
                    <a:pt x="42" y="329"/>
                  </a:lnTo>
                  <a:lnTo>
                    <a:pt x="44" y="329"/>
                  </a:lnTo>
                  <a:lnTo>
                    <a:pt x="46" y="329"/>
                  </a:lnTo>
                  <a:lnTo>
                    <a:pt x="47" y="327"/>
                  </a:lnTo>
                  <a:lnTo>
                    <a:pt x="47" y="329"/>
                  </a:lnTo>
                  <a:lnTo>
                    <a:pt x="49" y="329"/>
                  </a:lnTo>
                  <a:lnTo>
                    <a:pt x="50" y="329"/>
                  </a:lnTo>
                  <a:lnTo>
                    <a:pt x="52" y="329"/>
                  </a:lnTo>
                  <a:lnTo>
                    <a:pt x="54" y="329"/>
                  </a:lnTo>
                  <a:lnTo>
                    <a:pt x="54" y="327"/>
                  </a:lnTo>
                  <a:lnTo>
                    <a:pt x="54" y="329"/>
                  </a:lnTo>
                  <a:lnTo>
                    <a:pt x="55" y="329"/>
                  </a:lnTo>
                  <a:lnTo>
                    <a:pt x="57" y="329"/>
                  </a:lnTo>
                  <a:lnTo>
                    <a:pt x="59" y="327"/>
                  </a:lnTo>
                  <a:lnTo>
                    <a:pt x="59" y="329"/>
                  </a:lnTo>
                  <a:lnTo>
                    <a:pt x="60" y="329"/>
                  </a:lnTo>
                  <a:lnTo>
                    <a:pt x="62" y="329"/>
                  </a:lnTo>
                  <a:lnTo>
                    <a:pt x="63" y="329"/>
                  </a:lnTo>
                  <a:lnTo>
                    <a:pt x="65" y="329"/>
                  </a:lnTo>
                  <a:lnTo>
                    <a:pt x="65" y="331"/>
                  </a:lnTo>
                  <a:lnTo>
                    <a:pt x="67" y="331"/>
                  </a:lnTo>
                  <a:lnTo>
                    <a:pt x="67" y="332"/>
                  </a:lnTo>
                  <a:lnTo>
                    <a:pt x="68" y="332"/>
                  </a:lnTo>
                  <a:lnTo>
                    <a:pt x="70" y="331"/>
                  </a:lnTo>
                  <a:lnTo>
                    <a:pt x="72" y="329"/>
                  </a:lnTo>
                  <a:lnTo>
                    <a:pt x="72" y="327"/>
                  </a:lnTo>
                  <a:lnTo>
                    <a:pt x="73" y="327"/>
                  </a:lnTo>
                  <a:lnTo>
                    <a:pt x="73" y="326"/>
                  </a:lnTo>
                  <a:lnTo>
                    <a:pt x="73" y="324"/>
                  </a:lnTo>
                  <a:lnTo>
                    <a:pt x="72" y="324"/>
                  </a:lnTo>
                  <a:lnTo>
                    <a:pt x="72" y="322"/>
                  </a:lnTo>
                  <a:lnTo>
                    <a:pt x="72" y="321"/>
                  </a:lnTo>
                  <a:lnTo>
                    <a:pt x="72" y="319"/>
                  </a:lnTo>
                  <a:lnTo>
                    <a:pt x="72" y="318"/>
                  </a:lnTo>
                  <a:lnTo>
                    <a:pt x="70" y="318"/>
                  </a:lnTo>
                  <a:lnTo>
                    <a:pt x="70" y="316"/>
                  </a:lnTo>
                  <a:lnTo>
                    <a:pt x="68" y="316"/>
                  </a:lnTo>
                  <a:lnTo>
                    <a:pt x="67" y="316"/>
                  </a:lnTo>
                  <a:lnTo>
                    <a:pt x="67" y="314"/>
                  </a:lnTo>
                  <a:lnTo>
                    <a:pt x="65" y="314"/>
                  </a:lnTo>
                  <a:lnTo>
                    <a:pt x="65" y="313"/>
                  </a:lnTo>
                  <a:lnTo>
                    <a:pt x="63" y="313"/>
                  </a:lnTo>
                  <a:lnTo>
                    <a:pt x="62" y="311"/>
                  </a:lnTo>
                  <a:lnTo>
                    <a:pt x="60" y="311"/>
                  </a:lnTo>
                  <a:lnTo>
                    <a:pt x="59" y="311"/>
                  </a:lnTo>
                  <a:lnTo>
                    <a:pt x="60" y="311"/>
                  </a:lnTo>
                  <a:lnTo>
                    <a:pt x="60" y="309"/>
                  </a:lnTo>
                  <a:lnTo>
                    <a:pt x="59" y="309"/>
                  </a:lnTo>
                  <a:lnTo>
                    <a:pt x="57" y="309"/>
                  </a:lnTo>
                  <a:lnTo>
                    <a:pt x="57" y="308"/>
                  </a:lnTo>
                  <a:lnTo>
                    <a:pt x="57" y="309"/>
                  </a:lnTo>
                  <a:lnTo>
                    <a:pt x="55" y="308"/>
                  </a:lnTo>
                  <a:lnTo>
                    <a:pt x="55" y="309"/>
                  </a:lnTo>
                  <a:lnTo>
                    <a:pt x="55" y="308"/>
                  </a:lnTo>
                  <a:lnTo>
                    <a:pt x="54" y="309"/>
                  </a:lnTo>
                  <a:lnTo>
                    <a:pt x="54" y="311"/>
                  </a:lnTo>
                  <a:lnTo>
                    <a:pt x="52" y="311"/>
                  </a:lnTo>
                  <a:lnTo>
                    <a:pt x="52" y="313"/>
                  </a:lnTo>
                  <a:lnTo>
                    <a:pt x="50" y="313"/>
                  </a:lnTo>
                  <a:lnTo>
                    <a:pt x="50" y="314"/>
                  </a:lnTo>
                  <a:lnTo>
                    <a:pt x="49" y="316"/>
                  </a:lnTo>
                  <a:lnTo>
                    <a:pt x="49" y="318"/>
                  </a:lnTo>
                  <a:lnTo>
                    <a:pt x="47" y="318"/>
                  </a:lnTo>
                  <a:lnTo>
                    <a:pt x="47" y="316"/>
                  </a:lnTo>
                  <a:lnTo>
                    <a:pt x="46" y="316"/>
                  </a:lnTo>
                  <a:lnTo>
                    <a:pt x="47" y="316"/>
                  </a:lnTo>
                  <a:lnTo>
                    <a:pt x="47" y="314"/>
                  </a:lnTo>
                  <a:lnTo>
                    <a:pt x="49" y="313"/>
                  </a:lnTo>
                  <a:lnTo>
                    <a:pt x="47" y="313"/>
                  </a:lnTo>
                  <a:lnTo>
                    <a:pt x="49" y="311"/>
                  </a:lnTo>
                  <a:lnTo>
                    <a:pt x="47" y="311"/>
                  </a:lnTo>
                  <a:lnTo>
                    <a:pt x="47" y="309"/>
                  </a:lnTo>
                  <a:lnTo>
                    <a:pt x="49" y="309"/>
                  </a:lnTo>
                  <a:lnTo>
                    <a:pt x="47" y="308"/>
                  </a:lnTo>
                  <a:lnTo>
                    <a:pt x="47" y="306"/>
                  </a:lnTo>
                  <a:lnTo>
                    <a:pt x="49" y="308"/>
                  </a:lnTo>
                  <a:lnTo>
                    <a:pt x="49" y="306"/>
                  </a:lnTo>
                  <a:lnTo>
                    <a:pt x="50" y="306"/>
                  </a:lnTo>
                  <a:lnTo>
                    <a:pt x="50" y="305"/>
                  </a:lnTo>
                  <a:lnTo>
                    <a:pt x="49" y="305"/>
                  </a:lnTo>
                  <a:lnTo>
                    <a:pt x="47" y="305"/>
                  </a:lnTo>
                  <a:lnTo>
                    <a:pt x="46" y="305"/>
                  </a:lnTo>
                  <a:lnTo>
                    <a:pt x="46" y="303"/>
                  </a:lnTo>
                  <a:lnTo>
                    <a:pt x="44" y="303"/>
                  </a:lnTo>
                  <a:lnTo>
                    <a:pt x="42" y="303"/>
                  </a:lnTo>
                  <a:lnTo>
                    <a:pt x="44" y="301"/>
                  </a:lnTo>
                  <a:lnTo>
                    <a:pt x="44" y="300"/>
                  </a:lnTo>
                  <a:lnTo>
                    <a:pt x="42" y="300"/>
                  </a:lnTo>
                  <a:lnTo>
                    <a:pt x="44" y="300"/>
                  </a:lnTo>
                  <a:lnTo>
                    <a:pt x="46" y="300"/>
                  </a:lnTo>
                  <a:lnTo>
                    <a:pt x="44" y="300"/>
                  </a:lnTo>
                  <a:lnTo>
                    <a:pt x="46" y="300"/>
                  </a:lnTo>
                  <a:lnTo>
                    <a:pt x="47" y="300"/>
                  </a:lnTo>
                  <a:lnTo>
                    <a:pt x="46" y="300"/>
                  </a:lnTo>
                  <a:lnTo>
                    <a:pt x="46" y="301"/>
                  </a:lnTo>
                  <a:lnTo>
                    <a:pt x="47" y="301"/>
                  </a:lnTo>
                  <a:lnTo>
                    <a:pt x="49" y="300"/>
                  </a:lnTo>
                  <a:lnTo>
                    <a:pt x="49" y="298"/>
                  </a:lnTo>
                  <a:lnTo>
                    <a:pt x="49" y="296"/>
                  </a:lnTo>
                  <a:lnTo>
                    <a:pt x="49" y="295"/>
                  </a:lnTo>
                  <a:lnTo>
                    <a:pt x="50" y="295"/>
                  </a:lnTo>
                  <a:lnTo>
                    <a:pt x="50" y="293"/>
                  </a:lnTo>
                  <a:lnTo>
                    <a:pt x="52" y="293"/>
                  </a:lnTo>
                  <a:lnTo>
                    <a:pt x="54" y="293"/>
                  </a:lnTo>
                  <a:lnTo>
                    <a:pt x="52" y="295"/>
                  </a:lnTo>
                  <a:lnTo>
                    <a:pt x="52" y="296"/>
                  </a:lnTo>
                  <a:lnTo>
                    <a:pt x="50" y="296"/>
                  </a:lnTo>
                  <a:lnTo>
                    <a:pt x="50" y="298"/>
                  </a:lnTo>
                  <a:lnTo>
                    <a:pt x="50" y="300"/>
                  </a:lnTo>
                  <a:lnTo>
                    <a:pt x="52" y="300"/>
                  </a:lnTo>
                  <a:lnTo>
                    <a:pt x="52" y="301"/>
                  </a:lnTo>
                  <a:lnTo>
                    <a:pt x="54" y="300"/>
                  </a:lnTo>
                  <a:lnTo>
                    <a:pt x="55" y="298"/>
                  </a:lnTo>
                  <a:lnTo>
                    <a:pt x="57" y="298"/>
                  </a:lnTo>
                  <a:lnTo>
                    <a:pt x="55" y="298"/>
                  </a:lnTo>
                  <a:lnTo>
                    <a:pt x="54" y="300"/>
                  </a:lnTo>
                  <a:lnTo>
                    <a:pt x="55" y="301"/>
                  </a:lnTo>
                  <a:lnTo>
                    <a:pt x="54" y="301"/>
                  </a:lnTo>
                  <a:lnTo>
                    <a:pt x="55" y="301"/>
                  </a:lnTo>
                  <a:lnTo>
                    <a:pt x="59" y="301"/>
                  </a:lnTo>
                  <a:lnTo>
                    <a:pt x="60" y="301"/>
                  </a:lnTo>
                  <a:lnTo>
                    <a:pt x="60" y="300"/>
                  </a:lnTo>
                  <a:lnTo>
                    <a:pt x="60" y="301"/>
                  </a:lnTo>
                  <a:lnTo>
                    <a:pt x="62" y="301"/>
                  </a:lnTo>
                  <a:lnTo>
                    <a:pt x="63" y="301"/>
                  </a:lnTo>
                  <a:lnTo>
                    <a:pt x="63" y="303"/>
                  </a:lnTo>
                  <a:lnTo>
                    <a:pt x="63" y="305"/>
                  </a:lnTo>
                  <a:lnTo>
                    <a:pt x="65" y="305"/>
                  </a:lnTo>
                  <a:lnTo>
                    <a:pt x="67" y="305"/>
                  </a:lnTo>
                  <a:lnTo>
                    <a:pt x="68" y="305"/>
                  </a:lnTo>
                  <a:lnTo>
                    <a:pt x="70" y="305"/>
                  </a:lnTo>
                  <a:lnTo>
                    <a:pt x="72" y="303"/>
                  </a:lnTo>
                  <a:lnTo>
                    <a:pt x="73" y="303"/>
                  </a:lnTo>
                  <a:lnTo>
                    <a:pt x="75" y="303"/>
                  </a:lnTo>
                  <a:lnTo>
                    <a:pt x="76" y="303"/>
                  </a:lnTo>
                  <a:lnTo>
                    <a:pt x="76" y="305"/>
                  </a:lnTo>
                  <a:lnTo>
                    <a:pt x="78" y="305"/>
                  </a:lnTo>
                  <a:lnTo>
                    <a:pt x="76" y="306"/>
                  </a:lnTo>
                  <a:lnTo>
                    <a:pt x="76" y="305"/>
                  </a:lnTo>
                  <a:lnTo>
                    <a:pt x="75" y="305"/>
                  </a:lnTo>
                  <a:lnTo>
                    <a:pt x="75" y="306"/>
                  </a:lnTo>
                  <a:lnTo>
                    <a:pt x="76" y="308"/>
                  </a:lnTo>
                  <a:lnTo>
                    <a:pt x="78" y="309"/>
                  </a:lnTo>
                  <a:lnTo>
                    <a:pt x="78" y="311"/>
                  </a:lnTo>
                  <a:lnTo>
                    <a:pt x="80" y="311"/>
                  </a:lnTo>
                  <a:lnTo>
                    <a:pt x="81" y="309"/>
                  </a:lnTo>
                  <a:lnTo>
                    <a:pt x="81" y="311"/>
                  </a:lnTo>
                  <a:lnTo>
                    <a:pt x="81" y="313"/>
                  </a:lnTo>
                  <a:lnTo>
                    <a:pt x="83" y="313"/>
                  </a:lnTo>
                  <a:lnTo>
                    <a:pt x="86" y="313"/>
                  </a:lnTo>
                  <a:lnTo>
                    <a:pt x="86" y="314"/>
                  </a:lnTo>
                  <a:lnTo>
                    <a:pt x="88" y="314"/>
                  </a:lnTo>
                  <a:lnTo>
                    <a:pt x="86" y="313"/>
                  </a:lnTo>
                  <a:lnTo>
                    <a:pt x="83" y="311"/>
                  </a:lnTo>
                  <a:lnTo>
                    <a:pt x="83" y="313"/>
                  </a:lnTo>
                  <a:lnTo>
                    <a:pt x="81" y="311"/>
                  </a:lnTo>
                  <a:lnTo>
                    <a:pt x="81" y="309"/>
                  </a:lnTo>
                  <a:lnTo>
                    <a:pt x="80" y="309"/>
                  </a:lnTo>
                  <a:lnTo>
                    <a:pt x="80" y="311"/>
                  </a:lnTo>
                  <a:lnTo>
                    <a:pt x="78" y="311"/>
                  </a:lnTo>
                  <a:lnTo>
                    <a:pt x="78" y="309"/>
                  </a:lnTo>
                  <a:lnTo>
                    <a:pt x="78" y="308"/>
                  </a:lnTo>
                  <a:lnTo>
                    <a:pt x="76" y="308"/>
                  </a:lnTo>
                  <a:lnTo>
                    <a:pt x="76" y="306"/>
                  </a:lnTo>
                  <a:lnTo>
                    <a:pt x="75" y="306"/>
                  </a:lnTo>
                  <a:lnTo>
                    <a:pt x="76" y="306"/>
                  </a:lnTo>
                  <a:lnTo>
                    <a:pt x="75" y="306"/>
                  </a:lnTo>
                  <a:lnTo>
                    <a:pt x="76" y="305"/>
                  </a:lnTo>
                  <a:lnTo>
                    <a:pt x="76" y="306"/>
                  </a:lnTo>
                  <a:lnTo>
                    <a:pt x="78" y="306"/>
                  </a:lnTo>
                  <a:lnTo>
                    <a:pt x="80" y="306"/>
                  </a:lnTo>
                  <a:lnTo>
                    <a:pt x="80" y="305"/>
                  </a:lnTo>
                  <a:lnTo>
                    <a:pt x="81" y="305"/>
                  </a:lnTo>
                  <a:lnTo>
                    <a:pt x="81" y="306"/>
                  </a:lnTo>
                  <a:lnTo>
                    <a:pt x="85" y="306"/>
                  </a:lnTo>
                  <a:lnTo>
                    <a:pt x="85" y="305"/>
                  </a:lnTo>
                  <a:lnTo>
                    <a:pt x="83" y="305"/>
                  </a:lnTo>
                  <a:lnTo>
                    <a:pt x="81" y="305"/>
                  </a:lnTo>
                  <a:lnTo>
                    <a:pt x="80" y="305"/>
                  </a:lnTo>
                  <a:lnTo>
                    <a:pt x="80" y="303"/>
                  </a:lnTo>
                  <a:lnTo>
                    <a:pt x="80" y="305"/>
                  </a:lnTo>
                  <a:lnTo>
                    <a:pt x="80" y="303"/>
                  </a:lnTo>
                  <a:lnTo>
                    <a:pt x="78" y="303"/>
                  </a:lnTo>
                  <a:lnTo>
                    <a:pt x="76" y="303"/>
                  </a:lnTo>
                  <a:lnTo>
                    <a:pt x="76" y="301"/>
                  </a:lnTo>
                  <a:lnTo>
                    <a:pt x="78" y="301"/>
                  </a:lnTo>
                  <a:lnTo>
                    <a:pt x="78" y="300"/>
                  </a:lnTo>
                  <a:lnTo>
                    <a:pt x="80" y="300"/>
                  </a:lnTo>
                  <a:lnTo>
                    <a:pt x="78" y="300"/>
                  </a:lnTo>
                  <a:lnTo>
                    <a:pt x="78" y="301"/>
                  </a:lnTo>
                  <a:lnTo>
                    <a:pt x="76" y="300"/>
                  </a:lnTo>
                  <a:lnTo>
                    <a:pt x="76" y="301"/>
                  </a:lnTo>
                  <a:lnTo>
                    <a:pt x="75" y="301"/>
                  </a:lnTo>
                  <a:lnTo>
                    <a:pt x="73" y="301"/>
                  </a:lnTo>
                  <a:lnTo>
                    <a:pt x="73" y="300"/>
                  </a:lnTo>
                  <a:lnTo>
                    <a:pt x="73" y="301"/>
                  </a:lnTo>
                  <a:lnTo>
                    <a:pt x="72" y="300"/>
                  </a:lnTo>
                  <a:lnTo>
                    <a:pt x="72" y="301"/>
                  </a:lnTo>
                  <a:lnTo>
                    <a:pt x="72" y="300"/>
                  </a:lnTo>
                  <a:lnTo>
                    <a:pt x="73" y="300"/>
                  </a:lnTo>
                  <a:lnTo>
                    <a:pt x="73" y="298"/>
                  </a:lnTo>
                  <a:lnTo>
                    <a:pt x="75" y="298"/>
                  </a:lnTo>
                  <a:lnTo>
                    <a:pt x="73" y="298"/>
                  </a:lnTo>
                  <a:lnTo>
                    <a:pt x="75" y="298"/>
                  </a:lnTo>
                  <a:lnTo>
                    <a:pt x="76" y="296"/>
                  </a:lnTo>
                  <a:lnTo>
                    <a:pt x="78" y="296"/>
                  </a:lnTo>
                  <a:lnTo>
                    <a:pt x="80" y="295"/>
                  </a:lnTo>
                  <a:lnTo>
                    <a:pt x="78" y="295"/>
                  </a:lnTo>
                  <a:lnTo>
                    <a:pt x="78" y="296"/>
                  </a:lnTo>
                  <a:lnTo>
                    <a:pt x="78" y="295"/>
                  </a:lnTo>
                  <a:lnTo>
                    <a:pt x="76" y="296"/>
                  </a:lnTo>
                  <a:lnTo>
                    <a:pt x="76" y="295"/>
                  </a:lnTo>
                  <a:lnTo>
                    <a:pt x="75" y="295"/>
                  </a:lnTo>
                  <a:lnTo>
                    <a:pt x="75" y="296"/>
                  </a:lnTo>
                  <a:lnTo>
                    <a:pt x="76" y="296"/>
                  </a:lnTo>
                  <a:lnTo>
                    <a:pt x="75" y="296"/>
                  </a:lnTo>
                  <a:lnTo>
                    <a:pt x="73" y="296"/>
                  </a:lnTo>
                  <a:lnTo>
                    <a:pt x="73" y="295"/>
                  </a:lnTo>
                  <a:lnTo>
                    <a:pt x="72" y="295"/>
                  </a:lnTo>
                  <a:lnTo>
                    <a:pt x="72" y="296"/>
                  </a:lnTo>
                  <a:lnTo>
                    <a:pt x="70" y="296"/>
                  </a:lnTo>
                  <a:lnTo>
                    <a:pt x="70" y="295"/>
                  </a:lnTo>
                  <a:lnTo>
                    <a:pt x="72" y="295"/>
                  </a:lnTo>
                  <a:lnTo>
                    <a:pt x="70" y="295"/>
                  </a:lnTo>
                  <a:lnTo>
                    <a:pt x="68" y="296"/>
                  </a:lnTo>
                  <a:lnTo>
                    <a:pt x="70" y="296"/>
                  </a:lnTo>
                  <a:lnTo>
                    <a:pt x="68" y="296"/>
                  </a:lnTo>
                  <a:lnTo>
                    <a:pt x="68" y="298"/>
                  </a:lnTo>
                  <a:lnTo>
                    <a:pt x="65" y="298"/>
                  </a:lnTo>
                  <a:lnTo>
                    <a:pt x="63" y="298"/>
                  </a:lnTo>
                  <a:lnTo>
                    <a:pt x="63" y="296"/>
                  </a:lnTo>
                  <a:lnTo>
                    <a:pt x="65" y="296"/>
                  </a:lnTo>
                  <a:lnTo>
                    <a:pt x="67" y="295"/>
                  </a:lnTo>
                  <a:lnTo>
                    <a:pt x="65" y="295"/>
                  </a:lnTo>
                  <a:lnTo>
                    <a:pt x="65" y="296"/>
                  </a:lnTo>
                  <a:lnTo>
                    <a:pt x="63" y="296"/>
                  </a:lnTo>
                  <a:lnTo>
                    <a:pt x="62" y="296"/>
                  </a:lnTo>
                  <a:lnTo>
                    <a:pt x="60" y="296"/>
                  </a:lnTo>
                  <a:lnTo>
                    <a:pt x="62" y="296"/>
                  </a:lnTo>
                  <a:lnTo>
                    <a:pt x="62" y="295"/>
                  </a:lnTo>
                  <a:lnTo>
                    <a:pt x="62" y="293"/>
                  </a:lnTo>
                  <a:lnTo>
                    <a:pt x="63" y="293"/>
                  </a:lnTo>
                  <a:lnTo>
                    <a:pt x="63" y="291"/>
                  </a:lnTo>
                  <a:lnTo>
                    <a:pt x="65" y="291"/>
                  </a:lnTo>
                  <a:lnTo>
                    <a:pt x="67" y="290"/>
                  </a:lnTo>
                  <a:lnTo>
                    <a:pt x="68" y="288"/>
                  </a:lnTo>
                  <a:lnTo>
                    <a:pt x="70" y="288"/>
                  </a:lnTo>
                  <a:lnTo>
                    <a:pt x="72" y="287"/>
                  </a:lnTo>
                  <a:lnTo>
                    <a:pt x="73" y="288"/>
                  </a:lnTo>
                  <a:lnTo>
                    <a:pt x="73" y="287"/>
                  </a:lnTo>
                  <a:lnTo>
                    <a:pt x="75" y="287"/>
                  </a:lnTo>
                  <a:lnTo>
                    <a:pt x="76" y="287"/>
                  </a:lnTo>
                  <a:lnTo>
                    <a:pt x="76" y="285"/>
                  </a:lnTo>
                  <a:lnTo>
                    <a:pt x="78" y="285"/>
                  </a:lnTo>
                  <a:lnTo>
                    <a:pt x="78" y="283"/>
                  </a:lnTo>
                  <a:lnTo>
                    <a:pt x="78" y="285"/>
                  </a:lnTo>
                  <a:lnTo>
                    <a:pt x="76" y="285"/>
                  </a:lnTo>
                  <a:lnTo>
                    <a:pt x="75" y="285"/>
                  </a:lnTo>
                  <a:lnTo>
                    <a:pt x="75" y="287"/>
                  </a:lnTo>
                  <a:lnTo>
                    <a:pt x="75" y="285"/>
                  </a:lnTo>
                  <a:lnTo>
                    <a:pt x="75" y="287"/>
                  </a:lnTo>
                  <a:lnTo>
                    <a:pt x="73" y="287"/>
                  </a:lnTo>
                  <a:lnTo>
                    <a:pt x="72" y="287"/>
                  </a:lnTo>
                  <a:lnTo>
                    <a:pt x="70" y="287"/>
                  </a:lnTo>
                  <a:lnTo>
                    <a:pt x="70" y="288"/>
                  </a:lnTo>
                  <a:lnTo>
                    <a:pt x="68" y="288"/>
                  </a:lnTo>
                  <a:lnTo>
                    <a:pt x="68" y="287"/>
                  </a:lnTo>
                  <a:lnTo>
                    <a:pt x="67" y="288"/>
                  </a:lnTo>
                  <a:lnTo>
                    <a:pt x="65" y="287"/>
                  </a:lnTo>
                  <a:lnTo>
                    <a:pt x="65" y="288"/>
                  </a:lnTo>
                  <a:lnTo>
                    <a:pt x="63" y="288"/>
                  </a:lnTo>
                  <a:lnTo>
                    <a:pt x="62" y="288"/>
                  </a:lnTo>
                  <a:lnTo>
                    <a:pt x="60" y="288"/>
                  </a:lnTo>
                  <a:lnTo>
                    <a:pt x="59" y="288"/>
                  </a:lnTo>
                  <a:lnTo>
                    <a:pt x="57" y="288"/>
                  </a:lnTo>
                  <a:lnTo>
                    <a:pt x="55" y="290"/>
                  </a:lnTo>
                  <a:lnTo>
                    <a:pt x="54" y="290"/>
                  </a:lnTo>
                  <a:lnTo>
                    <a:pt x="52" y="290"/>
                  </a:lnTo>
                  <a:lnTo>
                    <a:pt x="50" y="290"/>
                  </a:lnTo>
                  <a:lnTo>
                    <a:pt x="50" y="291"/>
                  </a:lnTo>
                  <a:lnTo>
                    <a:pt x="49" y="291"/>
                  </a:lnTo>
                  <a:lnTo>
                    <a:pt x="47" y="291"/>
                  </a:lnTo>
                  <a:lnTo>
                    <a:pt x="46" y="291"/>
                  </a:lnTo>
                  <a:lnTo>
                    <a:pt x="44" y="291"/>
                  </a:lnTo>
                  <a:lnTo>
                    <a:pt x="44" y="290"/>
                  </a:lnTo>
                  <a:lnTo>
                    <a:pt x="42" y="290"/>
                  </a:lnTo>
                  <a:lnTo>
                    <a:pt x="41" y="288"/>
                  </a:lnTo>
                  <a:lnTo>
                    <a:pt x="39" y="288"/>
                  </a:lnTo>
                  <a:lnTo>
                    <a:pt x="37" y="288"/>
                  </a:lnTo>
                  <a:lnTo>
                    <a:pt x="37" y="290"/>
                  </a:lnTo>
                  <a:lnTo>
                    <a:pt x="37" y="291"/>
                  </a:lnTo>
                  <a:lnTo>
                    <a:pt x="36" y="291"/>
                  </a:lnTo>
                  <a:lnTo>
                    <a:pt x="34" y="290"/>
                  </a:lnTo>
                  <a:lnTo>
                    <a:pt x="33" y="290"/>
                  </a:lnTo>
                  <a:lnTo>
                    <a:pt x="31" y="290"/>
                  </a:lnTo>
                  <a:lnTo>
                    <a:pt x="31" y="288"/>
                  </a:lnTo>
                  <a:lnTo>
                    <a:pt x="31" y="287"/>
                  </a:lnTo>
                  <a:lnTo>
                    <a:pt x="31" y="285"/>
                  </a:lnTo>
                  <a:lnTo>
                    <a:pt x="33" y="285"/>
                  </a:lnTo>
                  <a:lnTo>
                    <a:pt x="31" y="285"/>
                  </a:lnTo>
                  <a:lnTo>
                    <a:pt x="31" y="283"/>
                  </a:lnTo>
                  <a:lnTo>
                    <a:pt x="31" y="285"/>
                  </a:lnTo>
                  <a:lnTo>
                    <a:pt x="33" y="285"/>
                  </a:lnTo>
                  <a:lnTo>
                    <a:pt x="33" y="283"/>
                  </a:lnTo>
                  <a:lnTo>
                    <a:pt x="33" y="282"/>
                  </a:lnTo>
                  <a:lnTo>
                    <a:pt x="33" y="280"/>
                  </a:lnTo>
                  <a:lnTo>
                    <a:pt x="33" y="278"/>
                  </a:lnTo>
                  <a:lnTo>
                    <a:pt x="31" y="278"/>
                  </a:lnTo>
                  <a:lnTo>
                    <a:pt x="31" y="277"/>
                  </a:lnTo>
                  <a:lnTo>
                    <a:pt x="33" y="277"/>
                  </a:lnTo>
                  <a:lnTo>
                    <a:pt x="33" y="275"/>
                  </a:lnTo>
                  <a:lnTo>
                    <a:pt x="33" y="274"/>
                  </a:lnTo>
                  <a:lnTo>
                    <a:pt x="34" y="274"/>
                  </a:lnTo>
                  <a:lnTo>
                    <a:pt x="33" y="274"/>
                  </a:lnTo>
                  <a:lnTo>
                    <a:pt x="34" y="274"/>
                  </a:lnTo>
                  <a:lnTo>
                    <a:pt x="34" y="272"/>
                  </a:lnTo>
                  <a:lnTo>
                    <a:pt x="34" y="270"/>
                  </a:lnTo>
                  <a:lnTo>
                    <a:pt x="36" y="270"/>
                  </a:lnTo>
                  <a:lnTo>
                    <a:pt x="37" y="270"/>
                  </a:lnTo>
                  <a:lnTo>
                    <a:pt x="36" y="270"/>
                  </a:lnTo>
                  <a:lnTo>
                    <a:pt x="36" y="269"/>
                  </a:lnTo>
                  <a:lnTo>
                    <a:pt x="34" y="269"/>
                  </a:lnTo>
                  <a:lnTo>
                    <a:pt x="34" y="267"/>
                  </a:lnTo>
                  <a:lnTo>
                    <a:pt x="36" y="267"/>
                  </a:lnTo>
                  <a:lnTo>
                    <a:pt x="34" y="267"/>
                  </a:lnTo>
                  <a:lnTo>
                    <a:pt x="36" y="267"/>
                  </a:lnTo>
                  <a:lnTo>
                    <a:pt x="34" y="267"/>
                  </a:lnTo>
                  <a:lnTo>
                    <a:pt x="34" y="265"/>
                  </a:lnTo>
                  <a:lnTo>
                    <a:pt x="36" y="265"/>
                  </a:lnTo>
                  <a:lnTo>
                    <a:pt x="36" y="264"/>
                  </a:lnTo>
                  <a:lnTo>
                    <a:pt x="36" y="262"/>
                  </a:lnTo>
                  <a:lnTo>
                    <a:pt x="36" y="264"/>
                  </a:lnTo>
                  <a:lnTo>
                    <a:pt x="37" y="264"/>
                  </a:lnTo>
                  <a:lnTo>
                    <a:pt x="36" y="262"/>
                  </a:lnTo>
                  <a:lnTo>
                    <a:pt x="37" y="262"/>
                  </a:lnTo>
                  <a:lnTo>
                    <a:pt x="37" y="264"/>
                  </a:lnTo>
                  <a:lnTo>
                    <a:pt x="37" y="262"/>
                  </a:lnTo>
                  <a:lnTo>
                    <a:pt x="37" y="261"/>
                  </a:lnTo>
                  <a:lnTo>
                    <a:pt x="37" y="262"/>
                  </a:lnTo>
                  <a:lnTo>
                    <a:pt x="37" y="261"/>
                  </a:lnTo>
                  <a:lnTo>
                    <a:pt x="39" y="262"/>
                  </a:lnTo>
                  <a:lnTo>
                    <a:pt x="39" y="261"/>
                  </a:lnTo>
                  <a:lnTo>
                    <a:pt x="41" y="259"/>
                  </a:lnTo>
                  <a:lnTo>
                    <a:pt x="42" y="259"/>
                  </a:lnTo>
                  <a:lnTo>
                    <a:pt x="44" y="259"/>
                  </a:lnTo>
                  <a:lnTo>
                    <a:pt x="44" y="257"/>
                  </a:lnTo>
                  <a:lnTo>
                    <a:pt x="46" y="257"/>
                  </a:lnTo>
                  <a:lnTo>
                    <a:pt x="46" y="256"/>
                  </a:lnTo>
                  <a:lnTo>
                    <a:pt x="46" y="257"/>
                  </a:lnTo>
                  <a:lnTo>
                    <a:pt x="47" y="257"/>
                  </a:lnTo>
                  <a:lnTo>
                    <a:pt x="49" y="257"/>
                  </a:lnTo>
                  <a:lnTo>
                    <a:pt x="50" y="257"/>
                  </a:lnTo>
                  <a:lnTo>
                    <a:pt x="52" y="257"/>
                  </a:lnTo>
                  <a:lnTo>
                    <a:pt x="52" y="259"/>
                  </a:lnTo>
                  <a:lnTo>
                    <a:pt x="54" y="259"/>
                  </a:lnTo>
                  <a:lnTo>
                    <a:pt x="54" y="261"/>
                  </a:lnTo>
                  <a:lnTo>
                    <a:pt x="54" y="262"/>
                  </a:lnTo>
                  <a:lnTo>
                    <a:pt x="55" y="261"/>
                  </a:lnTo>
                  <a:lnTo>
                    <a:pt x="55" y="262"/>
                  </a:lnTo>
                  <a:lnTo>
                    <a:pt x="55" y="261"/>
                  </a:lnTo>
                  <a:lnTo>
                    <a:pt x="57" y="262"/>
                  </a:lnTo>
                  <a:lnTo>
                    <a:pt x="59" y="262"/>
                  </a:lnTo>
                  <a:lnTo>
                    <a:pt x="60" y="262"/>
                  </a:lnTo>
                  <a:lnTo>
                    <a:pt x="59" y="262"/>
                  </a:lnTo>
                  <a:lnTo>
                    <a:pt x="57" y="261"/>
                  </a:lnTo>
                  <a:lnTo>
                    <a:pt x="55" y="261"/>
                  </a:lnTo>
                  <a:lnTo>
                    <a:pt x="55" y="259"/>
                  </a:lnTo>
                  <a:lnTo>
                    <a:pt x="54" y="259"/>
                  </a:lnTo>
                  <a:lnTo>
                    <a:pt x="52" y="257"/>
                  </a:lnTo>
                  <a:lnTo>
                    <a:pt x="54" y="257"/>
                  </a:lnTo>
                  <a:lnTo>
                    <a:pt x="54" y="256"/>
                  </a:lnTo>
                  <a:lnTo>
                    <a:pt x="54" y="254"/>
                  </a:lnTo>
                  <a:lnTo>
                    <a:pt x="55" y="254"/>
                  </a:lnTo>
                  <a:lnTo>
                    <a:pt x="55" y="256"/>
                  </a:lnTo>
                  <a:lnTo>
                    <a:pt x="57" y="256"/>
                  </a:lnTo>
                  <a:lnTo>
                    <a:pt x="59" y="256"/>
                  </a:lnTo>
                  <a:lnTo>
                    <a:pt x="60" y="256"/>
                  </a:lnTo>
                  <a:lnTo>
                    <a:pt x="60" y="257"/>
                  </a:lnTo>
                  <a:lnTo>
                    <a:pt x="62" y="257"/>
                  </a:lnTo>
                  <a:lnTo>
                    <a:pt x="62" y="259"/>
                  </a:lnTo>
                  <a:lnTo>
                    <a:pt x="63" y="259"/>
                  </a:lnTo>
                  <a:lnTo>
                    <a:pt x="63" y="261"/>
                  </a:lnTo>
                  <a:lnTo>
                    <a:pt x="65" y="261"/>
                  </a:lnTo>
                  <a:lnTo>
                    <a:pt x="63" y="259"/>
                  </a:lnTo>
                  <a:lnTo>
                    <a:pt x="62" y="257"/>
                  </a:lnTo>
                  <a:lnTo>
                    <a:pt x="60" y="256"/>
                  </a:lnTo>
                  <a:lnTo>
                    <a:pt x="59" y="256"/>
                  </a:lnTo>
                  <a:lnTo>
                    <a:pt x="59" y="254"/>
                  </a:lnTo>
                  <a:lnTo>
                    <a:pt x="57" y="254"/>
                  </a:lnTo>
                  <a:lnTo>
                    <a:pt x="59" y="254"/>
                  </a:lnTo>
                  <a:lnTo>
                    <a:pt x="57" y="252"/>
                  </a:lnTo>
                  <a:lnTo>
                    <a:pt x="57" y="254"/>
                  </a:lnTo>
                  <a:lnTo>
                    <a:pt x="57" y="252"/>
                  </a:lnTo>
                  <a:lnTo>
                    <a:pt x="59" y="252"/>
                  </a:lnTo>
                  <a:lnTo>
                    <a:pt x="57" y="252"/>
                  </a:lnTo>
                  <a:lnTo>
                    <a:pt x="59" y="252"/>
                  </a:lnTo>
                  <a:lnTo>
                    <a:pt x="60" y="252"/>
                  </a:lnTo>
                  <a:lnTo>
                    <a:pt x="59" y="252"/>
                  </a:lnTo>
                  <a:lnTo>
                    <a:pt x="59" y="251"/>
                  </a:lnTo>
                  <a:lnTo>
                    <a:pt x="60" y="251"/>
                  </a:lnTo>
                  <a:lnTo>
                    <a:pt x="60" y="252"/>
                  </a:lnTo>
                  <a:lnTo>
                    <a:pt x="60" y="251"/>
                  </a:lnTo>
                  <a:lnTo>
                    <a:pt x="62" y="251"/>
                  </a:lnTo>
                  <a:lnTo>
                    <a:pt x="62" y="252"/>
                  </a:lnTo>
                  <a:lnTo>
                    <a:pt x="62" y="251"/>
                  </a:lnTo>
                  <a:lnTo>
                    <a:pt x="62" y="252"/>
                  </a:lnTo>
                  <a:lnTo>
                    <a:pt x="63" y="251"/>
                  </a:lnTo>
                  <a:lnTo>
                    <a:pt x="63" y="252"/>
                  </a:lnTo>
                  <a:lnTo>
                    <a:pt x="63" y="254"/>
                  </a:lnTo>
                  <a:lnTo>
                    <a:pt x="65" y="254"/>
                  </a:lnTo>
                  <a:lnTo>
                    <a:pt x="65" y="252"/>
                  </a:lnTo>
                  <a:lnTo>
                    <a:pt x="67" y="254"/>
                  </a:lnTo>
                  <a:lnTo>
                    <a:pt x="68" y="254"/>
                  </a:lnTo>
                  <a:lnTo>
                    <a:pt x="68" y="252"/>
                  </a:lnTo>
                  <a:lnTo>
                    <a:pt x="70" y="252"/>
                  </a:lnTo>
                  <a:lnTo>
                    <a:pt x="70" y="251"/>
                  </a:lnTo>
                  <a:lnTo>
                    <a:pt x="70" y="252"/>
                  </a:lnTo>
                  <a:lnTo>
                    <a:pt x="70" y="254"/>
                  </a:lnTo>
                  <a:lnTo>
                    <a:pt x="72" y="254"/>
                  </a:lnTo>
                  <a:lnTo>
                    <a:pt x="72" y="252"/>
                  </a:lnTo>
                  <a:lnTo>
                    <a:pt x="73" y="252"/>
                  </a:lnTo>
                  <a:lnTo>
                    <a:pt x="72" y="252"/>
                  </a:lnTo>
                  <a:lnTo>
                    <a:pt x="72" y="251"/>
                  </a:lnTo>
                  <a:lnTo>
                    <a:pt x="72" y="249"/>
                  </a:lnTo>
                  <a:lnTo>
                    <a:pt x="72" y="251"/>
                  </a:lnTo>
                  <a:lnTo>
                    <a:pt x="73" y="251"/>
                  </a:lnTo>
                  <a:lnTo>
                    <a:pt x="75" y="251"/>
                  </a:lnTo>
                  <a:lnTo>
                    <a:pt x="76" y="251"/>
                  </a:lnTo>
                  <a:lnTo>
                    <a:pt x="76" y="249"/>
                  </a:lnTo>
                  <a:lnTo>
                    <a:pt x="76" y="251"/>
                  </a:lnTo>
                  <a:lnTo>
                    <a:pt x="78" y="249"/>
                  </a:lnTo>
                  <a:lnTo>
                    <a:pt x="80" y="249"/>
                  </a:lnTo>
                  <a:lnTo>
                    <a:pt x="81" y="249"/>
                  </a:lnTo>
                  <a:lnTo>
                    <a:pt x="83" y="249"/>
                  </a:lnTo>
                  <a:lnTo>
                    <a:pt x="81" y="249"/>
                  </a:lnTo>
                  <a:lnTo>
                    <a:pt x="81" y="251"/>
                  </a:lnTo>
                  <a:lnTo>
                    <a:pt x="83" y="251"/>
                  </a:lnTo>
                  <a:lnTo>
                    <a:pt x="83" y="249"/>
                  </a:lnTo>
                  <a:lnTo>
                    <a:pt x="83" y="251"/>
                  </a:lnTo>
                  <a:lnTo>
                    <a:pt x="83" y="249"/>
                  </a:lnTo>
                  <a:lnTo>
                    <a:pt x="83" y="251"/>
                  </a:lnTo>
                  <a:lnTo>
                    <a:pt x="85" y="251"/>
                  </a:lnTo>
                  <a:lnTo>
                    <a:pt x="85" y="252"/>
                  </a:lnTo>
                  <a:lnTo>
                    <a:pt x="83" y="252"/>
                  </a:lnTo>
                  <a:lnTo>
                    <a:pt x="83" y="254"/>
                  </a:lnTo>
                  <a:lnTo>
                    <a:pt x="83" y="256"/>
                  </a:lnTo>
                  <a:lnTo>
                    <a:pt x="83" y="254"/>
                  </a:lnTo>
                  <a:lnTo>
                    <a:pt x="85" y="254"/>
                  </a:lnTo>
                  <a:lnTo>
                    <a:pt x="86" y="254"/>
                  </a:lnTo>
                  <a:lnTo>
                    <a:pt x="88" y="254"/>
                  </a:lnTo>
                  <a:lnTo>
                    <a:pt x="89" y="254"/>
                  </a:lnTo>
                  <a:lnTo>
                    <a:pt x="91" y="254"/>
                  </a:lnTo>
                  <a:lnTo>
                    <a:pt x="91" y="256"/>
                  </a:lnTo>
                  <a:lnTo>
                    <a:pt x="93" y="256"/>
                  </a:lnTo>
                  <a:lnTo>
                    <a:pt x="93" y="254"/>
                  </a:lnTo>
                  <a:lnTo>
                    <a:pt x="91" y="254"/>
                  </a:lnTo>
                  <a:lnTo>
                    <a:pt x="93" y="252"/>
                  </a:lnTo>
                  <a:lnTo>
                    <a:pt x="94" y="251"/>
                  </a:lnTo>
                  <a:lnTo>
                    <a:pt x="96" y="251"/>
                  </a:lnTo>
                  <a:lnTo>
                    <a:pt x="98" y="251"/>
                  </a:lnTo>
                  <a:lnTo>
                    <a:pt x="98" y="249"/>
                  </a:lnTo>
                  <a:lnTo>
                    <a:pt x="98" y="251"/>
                  </a:lnTo>
                  <a:lnTo>
                    <a:pt x="99" y="249"/>
                  </a:lnTo>
                  <a:lnTo>
                    <a:pt x="99" y="251"/>
                  </a:lnTo>
                  <a:lnTo>
                    <a:pt x="101" y="251"/>
                  </a:lnTo>
                  <a:lnTo>
                    <a:pt x="101" y="249"/>
                  </a:lnTo>
                  <a:lnTo>
                    <a:pt x="101" y="251"/>
                  </a:lnTo>
                  <a:lnTo>
                    <a:pt x="102" y="251"/>
                  </a:lnTo>
                  <a:lnTo>
                    <a:pt x="104" y="251"/>
                  </a:lnTo>
                  <a:lnTo>
                    <a:pt x="106" y="251"/>
                  </a:lnTo>
                  <a:lnTo>
                    <a:pt x="106" y="252"/>
                  </a:lnTo>
                  <a:lnTo>
                    <a:pt x="107" y="252"/>
                  </a:lnTo>
                  <a:lnTo>
                    <a:pt x="107" y="251"/>
                  </a:lnTo>
                  <a:lnTo>
                    <a:pt x="107" y="249"/>
                  </a:lnTo>
                  <a:lnTo>
                    <a:pt x="106" y="249"/>
                  </a:lnTo>
                  <a:lnTo>
                    <a:pt x="107" y="249"/>
                  </a:lnTo>
                  <a:lnTo>
                    <a:pt x="107" y="251"/>
                  </a:lnTo>
                  <a:lnTo>
                    <a:pt x="109" y="249"/>
                  </a:lnTo>
                  <a:lnTo>
                    <a:pt x="109" y="251"/>
                  </a:lnTo>
                  <a:lnTo>
                    <a:pt x="111" y="251"/>
                  </a:lnTo>
                  <a:lnTo>
                    <a:pt x="111" y="249"/>
                  </a:lnTo>
                  <a:lnTo>
                    <a:pt x="109" y="249"/>
                  </a:lnTo>
                  <a:lnTo>
                    <a:pt x="111" y="249"/>
                  </a:lnTo>
                  <a:lnTo>
                    <a:pt x="112" y="249"/>
                  </a:lnTo>
                  <a:lnTo>
                    <a:pt x="112" y="248"/>
                  </a:lnTo>
                  <a:lnTo>
                    <a:pt x="114" y="248"/>
                  </a:lnTo>
                  <a:lnTo>
                    <a:pt x="112" y="249"/>
                  </a:lnTo>
                  <a:lnTo>
                    <a:pt x="114" y="249"/>
                  </a:lnTo>
                  <a:lnTo>
                    <a:pt x="112" y="249"/>
                  </a:lnTo>
                  <a:lnTo>
                    <a:pt x="114" y="251"/>
                  </a:lnTo>
                  <a:lnTo>
                    <a:pt x="114" y="249"/>
                  </a:lnTo>
                  <a:lnTo>
                    <a:pt x="114" y="248"/>
                  </a:lnTo>
                  <a:lnTo>
                    <a:pt x="115" y="248"/>
                  </a:lnTo>
                  <a:lnTo>
                    <a:pt x="115" y="249"/>
                  </a:lnTo>
                  <a:lnTo>
                    <a:pt x="117" y="249"/>
                  </a:lnTo>
                  <a:lnTo>
                    <a:pt x="117" y="251"/>
                  </a:lnTo>
                  <a:lnTo>
                    <a:pt x="115" y="251"/>
                  </a:lnTo>
                  <a:lnTo>
                    <a:pt x="115" y="252"/>
                  </a:lnTo>
                  <a:lnTo>
                    <a:pt x="115" y="254"/>
                  </a:lnTo>
                  <a:lnTo>
                    <a:pt x="117" y="254"/>
                  </a:lnTo>
                  <a:lnTo>
                    <a:pt x="115" y="254"/>
                  </a:lnTo>
                  <a:lnTo>
                    <a:pt x="115" y="256"/>
                  </a:lnTo>
                  <a:lnTo>
                    <a:pt x="117" y="256"/>
                  </a:lnTo>
                  <a:lnTo>
                    <a:pt x="117" y="257"/>
                  </a:lnTo>
                  <a:lnTo>
                    <a:pt x="117" y="259"/>
                  </a:lnTo>
                  <a:lnTo>
                    <a:pt x="115" y="259"/>
                  </a:lnTo>
                  <a:lnTo>
                    <a:pt x="115" y="261"/>
                  </a:lnTo>
                  <a:lnTo>
                    <a:pt x="115" y="262"/>
                  </a:lnTo>
                  <a:lnTo>
                    <a:pt x="115" y="261"/>
                  </a:lnTo>
                  <a:lnTo>
                    <a:pt x="117" y="259"/>
                  </a:lnTo>
                  <a:lnTo>
                    <a:pt x="119" y="259"/>
                  </a:lnTo>
                  <a:lnTo>
                    <a:pt x="119" y="257"/>
                  </a:lnTo>
                  <a:lnTo>
                    <a:pt x="119" y="256"/>
                  </a:lnTo>
                  <a:lnTo>
                    <a:pt x="120" y="256"/>
                  </a:lnTo>
                  <a:lnTo>
                    <a:pt x="119" y="256"/>
                  </a:lnTo>
                  <a:lnTo>
                    <a:pt x="120" y="254"/>
                  </a:lnTo>
                  <a:lnTo>
                    <a:pt x="119" y="254"/>
                  </a:lnTo>
                  <a:lnTo>
                    <a:pt x="120" y="254"/>
                  </a:lnTo>
                  <a:lnTo>
                    <a:pt x="120" y="252"/>
                  </a:lnTo>
                  <a:lnTo>
                    <a:pt x="120" y="254"/>
                  </a:lnTo>
                  <a:lnTo>
                    <a:pt x="120" y="256"/>
                  </a:lnTo>
                  <a:lnTo>
                    <a:pt x="119" y="256"/>
                  </a:lnTo>
                  <a:lnTo>
                    <a:pt x="119" y="257"/>
                  </a:lnTo>
                  <a:lnTo>
                    <a:pt x="120" y="257"/>
                  </a:lnTo>
                  <a:lnTo>
                    <a:pt x="122" y="257"/>
                  </a:lnTo>
                  <a:lnTo>
                    <a:pt x="122" y="259"/>
                  </a:lnTo>
                  <a:lnTo>
                    <a:pt x="120" y="259"/>
                  </a:lnTo>
                  <a:lnTo>
                    <a:pt x="120" y="261"/>
                  </a:lnTo>
                  <a:lnTo>
                    <a:pt x="122" y="262"/>
                  </a:lnTo>
                  <a:lnTo>
                    <a:pt x="124" y="262"/>
                  </a:lnTo>
                  <a:lnTo>
                    <a:pt x="124" y="264"/>
                  </a:lnTo>
                  <a:lnTo>
                    <a:pt x="125" y="265"/>
                  </a:lnTo>
                  <a:lnTo>
                    <a:pt x="124" y="265"/>
                  </a:lnTo>
                  <a:lnTo>
                    <a:pt x="125" y="265"/>
                  </a:lnTo>
                  <a:lnTo>
                    <a:pt x="125" y="264"/>
                  </a:lnTo>
                  <a:lnTo>
                    <a:pt x="125" y="262"/>
                  </a:lnTo>
                  <a:lnTo>
                    <a:pt x="125" y="259"/>
                  </a:lnTo>
                  <a:lnTo>
                    <a:pt x="125" y="257"/>
                  </a:lnTo>
                  <a:lnTo>
                    <a:pt x="125" y="259"/>
                  </a:lnTo>
                  <a:lnTo>
                    <a:pt x="125" y="261"/>
                  </a:lnTo>
                  <a:lnTo>
                    <a:pt x="127" y="261"/>
                  </a:lnTo>
                  <a:lnTo>
                    <a:pt x="127" y="259"/>
                  </a:lnTo>
                  <a:lnTo>
                    <a:pt x="127" y="257"/>
                  </a:lnTo>
                  <a:lnTo>
                    <a:pt x="125" y="257"/>
                  </a:lnTo>
                  <a:lnTo>
                    <a:pt x="127" y="257"/>
                  </a:lnTo>
                  <a:lnTo>
                    <a:pt x="125" y="257"/>
                  </a:lnTo>
                  <a:lnTo>
                    <a:pt x="125" y="256"/>
                  </a:lnTo>
                  <a:lnTo>
                    <a:pt x="127" y="256"/>
                  </a:lnTo>
                  <a:lnTo>
                    <a:pt x="125" y="256"/>
                  </a:lnTo>
                  <a:lnTo>
                    <a:pt x="127" y="256"/>
                  </a:lnTo>
                  <a:lnTo>
                    <a:pt x="128" y="254"/>
                  </a:lnTo>
                  <a:lnTo>
                    <a:pt x="128" y="252"/>
                  </a:lnTo>
                  <a:lnTo>
                    <a:pt x="130" y="252"/>
                  </a:lnTo>
                  <a:lnTo>
                    <a:pt x="128" y="252"/>
                  </a:lnTo>
                  <a:lnTo>
                    <a:pt x="128" y="254"/>
                  </a:lnTo>
                  <a:lnTo>
                    <a:pt x="130" y="254"/>
                  </a:lnTo>
                  <a:lnTo>
                    <a:pt x="128" y="254"/>
                  </a:lnTo>
                  <a:lnTo>
                    <a:pt x="130" y="254"/>
                  </a:lnTo>
                  <a:lnTo>
                    <a:pt x="130" y="252"/>
                  </a:lnTo>
                  <a:lnTo>
                    <a:pt x="132" y="252"/>
                  </a:lnTo>
                  <a:lnTo>
                    <a:pt x="130" y="252"/>
                  </a:lnTo>
                  <a:lnTo>
                    <a:pt x="132" y="254"/>
                  </a:lnTo>
                  <a:lnTo>
                    <a:pt x="132" y="252"/>
                  </a:lnTo>
                  <a:lnTo>
                    <a:pt x="132" y="254"/>
                  </a:lnTo>
                  <a:lnTo>
                    <a:pt x="133" y="256"/>
                  </a:lnTo>
                  <a:lnTo>
                    <a:pt x="135" y="254"/>
                  </a:lnTo>
                  <a:lnTo>
                    <a:pt x="137" y="254"/>
                  </a:lnTo>
                  <a:lnTo>
                    <a:pt x="137" y="256"/>
                  </a:lnTo>
                  <a:lnTo>
                    <a:pt x="138" y="256"/>
                  </a:lnTo>
                  <a:lnTo>
                    <a:pt x="140" y="256"/>
                  </a:lnTo>
                  <a:lnTo>
                    <a:pt x="140" y="257"/>
                  </a:lnTo>
                  <a:lnTo>
                    <a:pt x="140" y="259"/>
                  </a:lnTo>
                  <a:lnTo>
                    <a:pt x="141" y="259"/>
                  </a:lnTo>
                  <a:lnTo>
                    <a:pt x="143" y="259"/>
                  </a:lnTo>
                  <a:lnTo>
                    <a:pt x="145" y="259"/>
                  </a:lnTo>
                  <a:lnTo>
                    <a:pt x="146" y="259"/>
                  </a:lnTo>
                  <a:lnTo>
                    <a:pt x="145" y="261"/>
                  </a:lnTo>
                  <a:lnTo>
                    <a:pt x="146" y="261"/>
                  </a:lnTo>
                  <a:lnTo>
                    <a:pt x="145" y="262"/>
                  </a:lnTo>
                  <a:lnTo>
                    <a:pt x="146" y="262"/>
                  </a:lnTo>
                  <a:lnTo>
                    <a:pt x="145" y="262"/>
                  </a:lnTo>
                  <a:lnTo>
                    <a:pt x="146" y="262"/>
                  </a:lnTo>
                  <a:lnTo>
                    <a:pt x="146" y="261"/>
                  </a:lnTo>
                  <a:lnTo>
                    <a:pt x="148" y="261"/>
                  </a:lnTo>
                  <a:lnTo>
                    <a:pt x="148" y="262"/>
                  </a:lnTo>
                  <a:lnTo>
                    <a:pt x="150" y="264"/>
                  </a:lnTo>
                  <a:lnTo>
                    <a:pt x="151" y="264"/>
                  </a:lnTo>
                  <a:lnTo>
                    <a:pt x="153" y="262"/>
                  </a:lnTo>
                  <a:lnTo>
                    <a:pt x="153" y="261"/>
                  </a:lnTo>
                  <a:lnTo>
                    <a:pt x="151" y="261"/>
                  </a:lnTo>
                  <a:lnTo>
                    <a:pt x="151" y="259"/>
                  </a:lnTo>
                  <a:lnTo>
                    <a:pt x="151" y="257"/>
                  </a:lnTo>
                  <a:lnTo>
                    <a:pt x="153" y="257"/>
                  </a:lnTo>
                  <a:lnTo>
                    <a:pt x="151" y="257"/>
                  </a:lnTo>
                  <a:lnTo>
                    <a:pt x="153" y="256"/>
                  </a:lnTo>
                  <a:lnTo>
                    <a:pt x="151" y="256"/>
                  </a:lnTo>
                  <a:lnTo>
                    <a:pt x="153" y="256"/>
                  </a:lnTo>
                  <a:lnTo>
                    <a:pt x="154" y="256"/>
                  </a:lnTo>
                  <a:lnTo>
                    <a:pt x="156" y="256"/>
                  </a:lnTo>
                  <a:lnTo>
                    <a:pt x="158" y="256"/>
                  </a:lnTo>
                  <a:lnTo>
                    <a:pt x="156" y="256"/>
                  </a:lnTo>
                  <a:lnTo>
                    <a:pt x="156" y="254"/>
                  </a:lnTo>
                  <a:lnTo>
                    <a:pt x="156" y="252"/>
                  </a:lnTo>
                  <a:lnTo>
                    <a:pt x="154" y="251"/>
                  </a:lnTo>
                  <a:lnTo>
                    <a:pt x="153" y="251"/>
                  </a:lnTo>
                  <a:lnTo>
                    <a:pt x="154" y="251"/>
                  </a:lnTo>
                  <a:lnTo>
                    <a:pt x="153" y="249"/>
                  </a:lnTo>
                  <a:lnTo>
                    <a:pt x="153" y="248"/>
                  </a:lnTo>
                  <a:lnTo>
                    <a:pt x="154" y="248"/>
                  </a:lnTo>
                  <a:lnTo>
                    <a:pt x="154" y="246"/>
                  </a:lnTo>
                  <a:lnTo>
                    <a:pt x="156" y="246"/>
                  </a:lnTo>
                  <a:lnTo>
                    <a:pt x="154" y="246"/>
                  </a:lnTo>
                  <a:lnTo>
                    <a:pt x="154" y="244"/>
                  </a:lnTo>
                  <a:lnTo>
                    <a:pt x="153" y="244"/>
                  </a:lnTo>
                  <a:lnTo>
                    <a:pt x="154" y="244"/>
                  </a:lnTo>
                  <a:lnTo>
                    <a:pt x="156" y="244"/>
                  </a:lnTo>
                  <a:lnTo>
                    <a:pt x="156" y="246"/>
                  </a:lnTo>
                  <a:lnTo>
                    <a:pt x="158" y="246"/>
                  </a:lnTo>
                  <a:lnTo>
                    <a:pt x="158" y="244"/>
                  </a:lnTo>
                  <a:lnTo>
                    <a:pt x="159" y="246"/>
                  </a:lnTo>
                  <a:lnTo>
                    <a:pt x="159" y="244"/>
                  </a:lnTo>
                  <a:lnTo>
                    <a:pt x="158" y="244"/>
                  </a:lnTo>
                  <a:lnTo>
                    <a:pt x="158" y="243"/>
                  </a:lnTo>
                  <a:lnTo>
                    <a:pt x="158" y="244"/>
                  </a:lnTo>
                  <a:lnTo>
                    <a:pt x="159" y="243"/>
                  </a:lnTo>
                  <a:lnTo>
                    <a:pt x="158" y="243"/>
                  </a:lnTo>
                  <a:lnTo>
                    <a:pt x="159" y="243"/>
                  </a:lnTo>
                  <a:lnTo>
                    <a:pt x="161" y="243"/>
                  </a:lnTo>
                  <a:lnTo>
                    <a:pt x="161" y="241"/>
                  </a:lnTo>
                  <a:lnTo>
                    <a:pt x="163" y="241"/>
                  </a:lnTo>
                  <a:lnTo>
                    <a:pt x="163" y="243"/>
                  </a:lnTo>
                  <a:lnTo>
                    <a:pt x="164" y="243"/>
                  </a:lnTo>
                  <a:lnTo>
                    <a:pt x="164" y="241"/>
                  </a:lnTo>
                  <a:lnTo>
                    <a:pt x="166" y="241"/>
                  </a:lnTo>
                  <a:lnTo>
                    <a:pt x="166" y="243"/>
                  </a:lnTo>
                  <a:lnTo>
                    <a:pt x="166" y="244"/>
                  </a:lnTo>
                  <a:lnTo>
                    <a:pt x="168" y="244"/>
                  </a:lnTo>
                  <a:lnTo>
                    <a:pt x="169" y="244"/>
                  </a:lnTo>
                  <a:lnTo>
                    <a:pt x="169" y="246"/>
                  </a:lnTo>
                  <a:lnTo>
                    <a:pt x="168" y="246"/>
                  </a:lnTo>
                  <a:lnTo>
                    <a:pt x="168" y="248"/>
                  </a:lnTo>
                  <a:lnTo>
                    <a:pt x="169" y="248"/>
                  </a:lnTo>
                  <a:lnTo>
                    <a:pt x="171" y="248"/>
                  </a:lnTo>
                  <a:lnTo>
                    <a:pt x="172" y="248"/>
                  </a:lnTo>
                  <a:lnTo>
                    <a:pt x="172" y="246"/>
                  </a:lnTo>
                  <a:lnTo>
                    <a:pt x="174" y="246"/>
                  </a:lnTo>
                  <a:lnTo>
                    <a:pt x="176" y="246"/>
                  </a:lnTo>
                  <a:lnTo>
                    <a:pt x="177" y="246"/>
                  </a:lnTo>
                  <a:lnTo>
                    <a:pt x="177" y="244"/>
                  </a:lnTo>
                  <a:lnTo>
                    <a:pt x="177" y="246"/>
                  </a:lnTo>
                  <a:lnTo>
                    <a:pt x="179" y="246"/>
                  </a:lnTo>
                  <a:lnTo>
                    <a:pt x="179" y="244"/>
                  </a:lnTo>
                  <a:lnTo>
                    <a:pt x="181" y="244"/>
                  </a:lnTo>
                  <a:lnTo>
                    <a:pt x="182" y="246"/>
                  </a:lnTo>
                  <a:lnTo>
                    <a:pt x="182" y="244"/>
                  </a:lnTo>
                  <a:lnTo>
                    <a:pt x="184" y="244"/>
                  </a:lnTo>
                  <a:lnTo>
                    <a:pt x="182" y="244"/>
                  </a:lnTo>
                  <a:lnTo>
                    <a:pt x="182" y="243"/>
                  </a:lnTo>
                  <a:lnTo>
                    <a:pt x="182" y="244"/>
                  </a:lnTo>
                  <a:lnTo>
                    <a:pt x="182" y="243"/>
                  </a:lnTo>
                  <a:lnTo>
                    <a:pt x="184" y="243"/>
                  </a:lnTo>
                  <a:lnTo>
                    <a:pt x="184" y="244"/>
                  </a:lnTo>
                  <a:lnTo>
                    <a:pt x="184" y="243"/>
                  </a:lnTo>
                  <a:lnTo>
                    <a:pt x="184" y="244"/>
                  </a:lnTo>
                  <a:lnTo>
                    <a:pt x="184" y="246"/>
                  </a:lnTo>
                  <a:lnTo>
                    <a:pt x="185" y="246"/>
                  </a:lnTo>
                  <a:lnTo>
                    <a:pt x="185" y="244"/>
                  </a:lnTo>
                  <a:lnTo>
                    <a:pt x="187" y="244"/>
                  </a:lnTo>
                  <a:lnTo>
                    <a:pt x="187" y="243"/>
                  </a:lnTo>
                  <a:lnTo>
                    <a:pt x="189" y="243"/>
                  </a:lnTo>
                  <a:lnTo>
                    <a:pt x="189" y="241"/>
                  </a:lnTo>
                  <a:lnTo>
                    <a:pt x="190" y="241"/>
                  </a:lnTo>
                  <a:lnTo>
                    <a:pt x="190" y="243"/>
                  </a:lnTo>
                  <a:lnTo>
                    <a:pt x="190" y="244"/>
                  </a:lnTo>
                  <a:lnTo>
                    <a:pt x="190" y="246"/>
                  </a:lnTo>
                  <a:lnTo>
                    <a:pt x="189" y="246"/>
                  </a:lnTo>
                  <a:lnTo>
                    <a:pt x="190" y="246"/>
                  </a:lnTo>
                  <a:lnTo>
                    <a:pt x="190" y="248"/>
                  </a:lnTo>
                  <a:lnTo>
                    <a:pt x="190" y="249"/>
                  </a:lnTo>
                  <a:lnTo>
                    <a:pt x="189" y="249"/>
                  </a:lnTo>
                  <a:lnTo>
                    <a:pt x="189" y="251"/>
                  </a:lnTo>
                  <a:lnTo>
                    <a:pt x="187" y="251"/>
                  </a:lnTo>
                  <a:lnTo>
                    <a:pt x="187" y="252"/>
                  </a:lnTo>
                  <a:lnTo>
                    <a:pt x="187" y="254"/>
                  </a:lnTo>
                  <a:lnTo>
                    <a:pt x="187" y="256"/>
                  </a:lnTo>
                  <a:lnTo>
                    <a:pt x="185" y="256"/>
                  </a:lnTo>
                  <a:lnTo>
                    <a:pt x="185" y="257"/>
                  </a:lnTo>
                  <a:lnTo>
                    <a:pt x="184" y="257"/>
                  </a:lnTo>
                  <a:lnTo>
                    <a:pt x="185" y="257"/>
                  </a:lnTo>
                  <a:lnTo>
                    <a:pt x="185" y="256"/>
                  </a:lnTo>
                  <a:lnTo>
                    <a:pt x="187" y="256"/>
                  </a:lnTo>
                  <a:lnTo>
                    <a:pt x="187" y="254"/>
                  </a:lnTo>
                  <a:lnTo>
                    <a:pt x="187" y="252"/>
                  </a:lnTo>
                  <a:lnTo>
                    <a:pt x="189" y="251"/>
                  </a:lnTo>
                  <a:lnTo>
                    <a:pt x="190" y="249"/>
                  </a:lnTo>
                  <a:lnTo>
                    <a:pt x="190" y="248"/>
                  </a:lnTo>
                  <a:lnTo>
                    <a:pt x="192" y="246"/>
                  </a:lnTo>
                  <a:lnTo>
                    <a:pt x="194" y="246"/>
                  </a:lnTo>
                  <a:lnTo>
                    <a:pt x="194" y="244"/>
                  </a:lnTo>
                  <a:lnTo>
                    <a:pt x="195" y="244"/>
                  </a:lnTo>
                  <a:lnTo>
                    <a:pt x="197" y="244"/>
                  </a:lnTo>
                  <a:lnTo>
                    <a:pt x="198" y="244"/>
                  </a:lnTo>
                  <a:lnTo>
                    <a:pt x="200" y="244"/>
                  </a:lnTo>
                  <a:lnTo>
                    <a:pt x="202" y="243"/>
                  </a:lnTo>
                  <a:lnTo>
                    <a:pt x="203" y="243"/>
                  </a:lnTo>
                  <a:lnTo>
                    <a:pt x="203" y="241"/>
                  </a:lnTo>
                  <a:lnTo>
                    <a:pt x="203" y="243"/>
                  </a:lnTo>
                  <a:lnTo>
                    <a:pt x="202" y="243"/>
                  </a:lnTo>
                  <a:lnTo>
                    <a:pt x="202" y="244"/>
                  </a:lnTo>
                  <a:lnTo>
                    <a:pt x="203" y="244"/>
                  </a:lnTo>
                  <a:lnTo>
                    <a:pt x="203" y="246"/>
                  </a:lnTo>
                  <a:lnTo>
                    <a:pt x="202" y="246"/>
                  </a:lnTo>
                  <a:lnTo>
                    <a:pt x="202" y="248"/>
                  </a:lnTo>
                  <a:lnTo>
                    <a:pt x="200" y="249"/>
                  </a:lnTo>
                  <a:lnTo>
                    <a:pt x="202" y="249"/>
                  </a:lnTo>
                  <a:lnTo>
                    <a:pt x="203" y="249"/>
                  </a:lnTo>
                  <a:lnTo>
                    <a:pt x="202" y="249"/>
                  </a:lnTo>
                  <a:lnTo>
                    <a:pt x="202" y="251"/>
                  </a:lnTo>
                  <a:lnTo>
                    <a:pt x="200" y="251"/>
                  </a:lnTo>
                  <a:lnTo>
                    <a:pt x="200" y="252"/>
                  </a:lnTo>
                  <a:lnTo>
                    <a:pt x="200" y="254"/>
                  </a:lnTo>
                  <a:lnTo>
                    <a:pt x="198" y="254"/>
                  </a:lnTo>
                  <a:lnTo>
                    <a:pt x="198" y="256"/>
                  </a:lnTo>
                  <a:lnTo>
                    <a:pt x="197" y="257"/>
                  </a:lnTo>
                  <a:lnTo>
                    <a:pt x="197" y="259"/>
                  </a:lnTo>
                  <a:lnTo>
                    <a:pt x="195" y="259"/>
                  </a:lnTo>
                  <a:lnTo>
                    <a:pt x="194" y="261"/>
                  </a:lnTo>
                  <a:lnTo>
                    <a:pt x="195" y="259"/>
                  </a:lnTo>
                  <a:lnTo>
                    <a:pt x="197" y="259"/>
                  </a:lnTo>
                  <a:lnTo>
                    <a:pt x="197" y="257"/>
                  </a:lnTo>
                  <a:lnTo>
                    <a:pt x="198" y="257"/>
                  </a:lnTo>
                  <a:lnTo>
                    <a:pt x="198" y="256"/>
                  </a:lnTo>
                  <a:lnTo>
                    <a:pt x="200" y="256"/>
                  </a:lnTo>
                  <a:lnTo>
                    <a:pt x="200" y="254"/>
                  </a:lnTo>
                  <a:lnTo>
                    <a:pt x="200" y="252"/>
                  </a:lnTo>
                  <a:lnTo>
                    <a:pt x="202" y="252"/>
                  </a:lnTo>
                  <a:lnTo>
                    <a:pt x="202" y="251"/>
                  </a:lnTo>
                  <a:lnTo>
                    <a:pt x="203" y="251"/>
                  </a:lnTo>
                  <a:lnTo>
                    <a:pt x="205" y="251"/>
                  </a:lnTo>
                  <a:lnTo>
                    <a:pt x="203" y="251"/>
                  </a:lnTo>
                  <a:lnTo>
                    <a:pt x="203" y="252"/>
                  </a:lnTo>
                  <a:lnTo>
                    <a:pt x="205" y="252"/>
                  </a:lnTo>
                  <a:lnTo>
                    <a:pt x="205" y="251"/>
                  </a:lnTo>
                  <a:lnTo>
                    <a:pt x="207" y="251"/>
                  </a:lnTo>
                  <a:lnTo>
                    <a:pt x="208" y="252"/>
                  </a:lnTo>
                  <a:lnTo>
                    <a:pt x="207" y="252"/>
                  </a:lnTo>
                  <a:lnTo>
                    <a:pt x="208" y="254"/>
                  </a:lnTo>
                  <a:lnTo>
                    <a:pt x="208" y="256"/>
                  </a:lnTo>
                  <a:lnTo>
                    <a:pt x="207" y="256"/>
                  </a:lnTo>
                  <a:lnTo>
                    <a:pt x="205" y="256"/>
                  </a:lnTo>
                  <a:lnTo>
                    <a:pt x="205" y="257"/>
                  </a:lnTo>
                  <a:lnTo>
                    <a:pt x="207" y="257"/>
                  </a:lnTo>
                  <a:lnTo>
                    <a:pt x="205" y="257"/>
                  </a:lnTo>
                  <a:lnTo>
                    <a:pt x="205" y="259"/>
                  </a:lnTo>
                  <a:lnTo>
                    <a:pt x="207" y="259"/>
                  </a:lnTo>
                  <a:lnTo>
                    <a:pt x="208" y="261"/>
                  </a:lnTo>
                  <a:lnTo>
                    <a:pt x="210" y="261"/>
                  </a:lnTo>
                  <a:lnTo>
                    <a:pt x="211" y="261"/>
                  </a:lnTo>
                  <a:lnTo>
                    <a:pt x="213" y="259"/>
                  </a:lnTo>
                  <a:lnTo>
                    <a:pt x="213" y="261"/>
                  </a:lnTo>
                  <a:lnTo>
                    <a:pt x="211" y="261"/>
                  </a:lnTo>
                  <a:lnTo>
                    <a:pt x="213" y="261"/>
                  </a:lnTo>
                  <a:lnTo>
                    <a:pt x="213" y="262"/>
                  </a:lnTo>
                  <a:lnTo>
                    <a:pt x="215" y="262"/>
                  </a:lnTo>
                  <a:lnTo>
                    <a:pt x="213" y="262"/>
                  </a:lnTo>
                  <a:lnTo>
                    <a:pt x="213" y="264"/>
                  </a:lnTo>
                  <a:lnTo>
                    <a:pt x="213" y="265"/>
                  </a:lnTo>
                  <a:lnTo>
                    <a:pt x="211" y="265"/>
                  </a:lnTo>
                  <a:lnTo>
                    <a:pt x="211" y="267"/>
                  </a:lnTo>
                  <a:lnTo>
                    <a:pt x="213" y="267"/>
                  </a:lnTo>
                  <a:lnTo>
                    <a:pt x="213" y="269"/>
                  </a:lnTo>
                  <a:lnTo>
                    <a:pt x="215" y="270"/>
                  </a:lnTo>
                  <a:lnTo>
                    <a:pt x="216" y="270"/>
                  </a:lnTo>
                  <a:lnTo>
                    <a:pt x="216" y="272"/>
                  </a:lnTo>
                  <a:lnTo>
                    <a:pt x="216" y="274"/>
                  </a:lnTo>
                  <a:lnTo>
                    <a:pt x="216" y="275"/>
                  </a:lnTo>
                  <a:lnTo>
                    <a:pt x="218" y="275"/>
                  </a:lnTo>
                  <a:lnTo>
                    <a:pt x="220" y="275"/>
                  </a:lnTo>
                  <a:lnTo>
                    <a:pt x="220" y="277"/>
                  </a:lnTo>
                  <a:lnTo>
                    <a:pt x="220" y="278"/>
                  </a:lnTo>
                  <a:lnTo>
                    <a:pt x="221" y="278"/>
                  </a:lnTo>
                  <a:lnTo>
                    <a:pt x="221" y="280"/>
                  </a:lnTo>
                  <a:lnTo>
                    <a:pt x="221" y="282"/>
                  </a:lnTo>
                  <a:lnTo>
                    <a:pt x="221" y="283"/>
                  </a:lnTo>
                  <a:lnTo>
                    <a:pt x="221" y="285"/>
                  </a:lnTo>
                  <a:lnTo>
                    <a:pt x="221" y="287"/>
                  </a:lnTo>
                  <a:lnTo>
                    <a:pt x="220" y="287"/>
                  </a:lnTo>
                  <a:lnTo>
                    <a:pt x="221" y="287"/>
                  </a:lnTo>
                  <a:lnTo>
                    <a:pt x="221" y="288"/>
                  </a:lnTo>
                  <a:lnTo>
                    <a:pt x="223" y="288"/>
                  </a:lnTo>
                  <a:lnTo>
                    <a:pt x="224" y="290"/>
                  </a:lnTo>
                  <a:lnTo>
                    <a:pt x="224" y="291"/>
                  </a:lnTo>
                  <a:lnTo>
                    <a:pt x="226" y="293"/>
                  </a:lnTo>
                  <a:lnTo>
                    <a:pt x="228" y="293"/>
                  </a:lnTo>
                  <a:lnTo>
                    <a:pt x="229" y="295"/>
                  </a:lnTo>
                  <a:lnTo>
                    <a:pt x="228" y="295"/>
                  </a:lnTo>
                  <a:lnTo>
                    <a:pt x="229" y="296"/>
                  </a:lnTo>
                  <a:lnTo>
                    <a:pt x="228" y="296"/>
                  </a:lnTo>
                  <a:lnTo>
                    <a:pt x="228" y="298"/>
                  </a:lnTo>
                  <a:lnTo>
                    <a:pt x="229" y="298"/>
                  </a:lnTo>
                  <a:lnTo>
                    <a:pt x="228" y="298"/>
                  </a:lnTo>
                  <a:lnTo>
                    <a:pt x="229" y="300"/>
                  </a:lnTo>
                  <a:lnTo>
                    <a:pt x="229" y="301"/>
                  </a:lnTo>
                  <a:lnTo>
                    <a:pt x="231" y="301"/>
                  </a:lnTo>
                  <a:lnTo>
                    <a:pt x="231" y="303"/>
                  </a:lnTo>
                  <a:lnTo>
                    <a:pt x="231" y="301"/>
                  </a:lnTo>
                  <a:lnTo>
                    <a:pt x="233" y="301"/>
                  </a:lnTo>
                  <a:lnTo>
                    <a:pt x="233" y="300"/>
                  </a:lnTo>
                  <a:lnTo>
                    <a:pt x="231" y="298"/>
                  </a:lnTo>
                  <a:lnTo>
                    <a:pt x="233" y="298"/>
                  </a:lnTo>
                  <a:lnTo>
                    <a:pt x="234" y="298"/>
                  </a:lnTo>
                  <a:lnTo>
                    <a:pt x="234" y="300"/>
                  </a:lnTo>
                  <a:lnTo>
                    <a:pt x="236" y="300"/>
                  </a:lnTo>
                  <a:lnTo>
                    <a:pt x="236" y="298"/>
                  </a:lnTo>
                  <a:lnTo>
                    <a:pt x="237" y="298"/>
                  </a:lnTo>
                  <a:lnTo>
                    <a:pt x="239" y="296"/>
                  </a:lnTo>
                  <a:lnTo>
                    <a:pt x="241" y="296"/>
                  </a:lnTo>
                  <a:lnTo>
                    <a:pt x="241" y="295"/>
                  </a:lnTo>
                  <a:lnTo>
                    <a:pt x="242" y="295"/>
                  </a:lnTo>
                  <a:lnTo>
                    <a:pt x="242" y="293"/>
                  </a:lnTo>
                  <a:lnTo>
                    <a:pt x="244" y="293"/>
                  </a:lnTo>
                  <a:lnTo>
                    <a:pt x="246" y="291"/>
                  </a:lnTo>
                  <a:lnTo>
                    <a:pt x="246" y="290"/>
                  </a:lnTo>
                  <a:lnTo>
                    <a:pt x="247" y="291"/>
                  </a:lnTo>
                  <a:lnTo>
                    <a:pt x="250" y="290"/>
                  </a:lnTo>
                  <a:lnTo>
                    <a:pt x="252" y="290"/>
                  </a:lnTo>
                  <a:lnTo>
                    <a:pt x="254" y="288"/>
                  </a:lnTo>
                  <a:lnTo>
                    <a:pt x="254" y="287"/>
                  </a:lnTo>
                  <a:lnTo>
                    <a:pt x="252" y="287"/>
                  </a:lnTo>
                  <a:lnTo>
                    <a:pt x="252" y="285"/>
                  </a:lnTo>
                  <a:lnTo>
                    <a:pt x="254" y="285"/>
                  </a:lnTo>
                  <a:lnTo>
                    <a:pt x="255" y="285"/>
                  </a:lnTo>
                  <a:lnTo>
                    <a:pt x="257" y="285"/>
                  </a:lnTo>
                  <a:lnTo>
                    <a:pt x="259" y="285"/>
                  </a:lnTo>
                  <a:lnTo>
                    <a:pt x="259" y="287"/>
                  </a:lnTo>
                  <a:lnTo>
                    <a:pt x="260" y="287"/>
                  </a:lnTo>
                  <a:lnTo>
                    <a:pt x="262" y="287"/>
                  </a:lnTo>
                  <a:lnTo>
                    <a:pt x="262" y="285"/>
                  </a:lnTo>
                  <a:lnTo>
                    <a:pt x="263" y="287"/>
                  </a:lnTo>
                  <a:lnTo>
                    <a:pt x="263" y="285"/>
                  </a:lnTo>
                  <a:lnTo>
                    <a:pt x="265" y="285"/>
                  </a:lnTo>
                  <a:lnTo>
                    <a:pt x="265" y="287"/>
                  </a:lnTo>
                  <a:lnTo>
                    <a:pt x="265" y="285"/>
                  </a:lnTo>
                  <a:lnTo>
                    <a:pt x="267" y="285"/>
                  </a:lnTo>
                  <a:lnTo>
                    <a:pt x="268" y="283"/>
                  </a:lnTo>
                  <a:lnTo>
                    <a:pt x="268" y="282"/>
                  </a:lnTo>
                  <a:lnTo>
                    <a:pt x="270" y="282"/>
                  </a:lnTo>
                  <a:lnTo>
                    <a:pt x="270" y="283"/>
                  </a:lnTo>
                  <a:lnTo>
                    <a:pt x="270" y="285"/>
                  </a:lnTo>
                  <a:lnTo>
                    <a:pt x="272" y="285"/>
                  </a:lnTo>
                  <a:lnTo>
                    <a:pt x="272" y="287"/>
                  </a:lnTo>
                  <a:lnTo>
                    <a:pt x="270" y="287"/>
                  </a:lnTo>
                  <a:lnTo>
                    <a:pt x="270" y="288"/>
                  </a:lnTo>
                  <a:lnTo>
                    <a:pt x="268" y="290"/>
                  </a:lnTo>
                  <a:lnTo>
                    <a:pt x="267" y="290"/>
                  </a:lnTo>
                  <a:lnTo>
                    <a:pt x="267" y="291"/>
                  </a:lnTo>
                  <a:lnTo>
                    <a:pt x="268" y="293"/>
                  </a:lnTo>
                  <a:lnTo>
                    <a:pt x="270" y="291"/>
                  </a:lnTo>
                  <a:lnTo>
                    <a:pt x="272" y="291"/>
                  </a:lnTo>
                  <a:lnTo>
                    <a:pt x="272" y="290"/>
                  </a:lnTo>
                  <a:lnTo>
                    <a:pt x="273" y="290"/>
                  </a:lnTo>
                  <a:lnTo>
                    <a:pt x="273" y="288"/>
                  </a:lnTo>
                  <a:lnTo>
                    <a:pt x="275" y="290"/>
                  </a:lnTo>
                  <a:lnTo>
                    <a:pt x="275" y="288"/>
                  </a:lnTo>
                  <a:lnTo>
                    <a:pt x="275" y="290"/>
                  </a:lnTo>
                  <a:lnTo>
                    <a:pt x="275" y="291"/>
                  </a:lnTo>
                  <a:lnTo>
                    <a:pt x="275" y="293"/>
                  </a:lnTo>
                  <a:lnTo>
                    <a:pt x="275" y="295"/>
                  </a:lnTo>
                  <a:lnTo>
                    <a:pt x="276" y="295"/>
                  </a:lnTo>
                  <a:lnTo>
                    <a:pt x="276" y="296"/>
                  </a:lnTo>
                  <a:lnTo>
                    <a:pt x="276" y="298"/>
                  </a:lnTo>
                  <a:lnTo>
                    <a:pt x="276" y="300"/>
                  </a:lnTo>
                  <a:lnTo>
                    <a:pt x="278" y="300"/>
                  </a:lnTo>
                  <a:lnTo>
                    <a:pt x="278" y="298"/>
                  </a:lnTo>
                  <a:lnTo>
                    <a:pt x="280" y="298"/>
                  </a:lnTo>
                  <a:lnTo>
                    <a:pt x="280" y="296"/>
                  </a:lnTo>
                  <a:lnTo>
                    <a:pt x="278" y="296"/>
                  </a:lnTo>
                  <a:lnTo>
                    <a:pt x="280" y="296"/>
                  </a:lnTo>
                  <a:lnTo>
                    <a:pt x="280" y="295"/>
                  </a:lnTo>
                  <a:lnTo>
                    <a:pt x="280" y="296"/>
                  </a:lnTo>
                  <a:lnTo>
                    <a:pt x="280" y="298"/>
                  </a:lnTo>
                  <a:lnTo>
                    <a:pt x="280" y="300"/>
                  </a:lnTo>
                  <a:lnTo>
                    <a:pt x="281" y="300"/>
                  </a:lnTo>
                  <a:lnTo>
                    <a:pt x="281" y="298"/>
                  </a:lnTo>
                  <a:lnTo>
                    <a:pt x="281" y="296"/>
                  </a:lnTo>
                  <a:lnTo>
                    <a:pt x="283" y="296"/>
                  </a:lnTo>
                  <a:lnTo>
                    <a:pt x="283" y="295"/>
                  </a:lnTo>
                  <a:lnTo>
                    <a:pt x="285" y="295"/>
                  </a:lnTo>
                  <a:lnTo>
                    <a:pt x="285" y="296"/>
                  </a:lnTo>
                  <a:lnTo>
                    <a:pt x="286" y="296"/>
                  </a:lnTo>
                  <a:lnTo>
                    <a:pt x="285" y="296"/>
                  </a:lnTo>
                  <a:lnTo>
                    <a:pt x="285" y="295"/>
                  </a:lnTo>
                  <a:lnTo>
                    <a:pt x="285" y="293"/>
                  </a:lnTo>
                  <a:lnTo>
                    <a:pt x="285" y="295"/>
                  </a:lnTo>
                  <a:lnTo>
                    <a:pt x="285" y="293"/>
                  </a:lnTo>
                  <a:lnTo>
                    <a:pt x="283" y="293"/>
                  </a:lnTo>
                  <a:lnTo>
                    <a:pt x="283" y="291"/>
                  </a:lnTo>
                  <a:lnTo>
                    <a:pt x="285" y="291"/>
                  </a:lnTo>
                  <a:lnTo>
                    <a:pt x="285" y="293"/>
                  </a:lnTo>
                  <a:lnTo>
                    <a:pt x="285" y="291"/>
                  </a:lnTo>
                  <a:lnTo>
                    <a:pt x="286" y="291"/>
                  </a:lnTo>
                  <a:lnTo>
                    <a:pt x="286" y="293"/>
                  </a:lnTo>
                  <a:lnTo>
                    <a:pt x="286" y="291"/>
                  </a:lnTo>
                  <a:lnTo>
                    <a:pt x="288" y="291"/>
                  </a:lnTo>
                  <a:lnTo>
                    <a:pt x="289" y="293"/>
                  </a:lnTo>
                  <a:lnTo>
                    <a:pt x="291" y="293"/>
                  </a:lnTo>
                  <a:lnTo>
                    <a:pt x="291" y="291"/>
                  </a:lnTo>
                  <a:lnTo>
                    <a:pt x="291" y="293"/>
                  </a:lnTo>
                  <a:lnTo>
                    <a:pt x="293" y="293"/>
                  </a:lnTo>
                  <a:lnTo>
                    <a:pt x="294" y="293"/>
                  </a:lnTo>
                  <a:lnTo>
                    <a:pt x="293" y="295"/>
                  </a:lnTo>
                  <a:lnTo>
                    <a:pt x="294" y="295"/>
                  </a:lnTo>
                  <a:lnTo>
                    <a:pt x="294" y="296"/>
                  </a:lnTo>
                  <a:lnTo>
                    <a:pt x="294" y="298"/>
                  </a:lnTo>
                  <a:lnTo>
                    <a:pt x="296" y="298"/>
                  </a:lnTo>
                  <a:lnTo>
                    <a:pt x="294" y="298"/>
                  </a:lnTo>
                  <a:lnTo>
                    <a:pt x="294" y="300"/>
                  </a:lnTo>
                  <a:lnTo>
                    <a:pt x="296" y="300"/>
                  </a:lnTo>
                  <a:lnTo>
                    <a:pt x="296" y="301"/>
                  </a:lnTo>
                  <a:lnTo>
                    <a:pt x="298" y="301"/>
                  </a:lnTo>
                  <a:lnTo>
                    <a:pt x="298" y="303"/>
                  </a:lnTo>
                  <a:lnTo>
                    <a:pt x="296" y="303"/>
                  </a:lnTo>
                  <a:lnTo>
                    <a:pt x="296" y="305"/>
                  </a:lnTo>
                  <a:lnTo>
                    <a:pt x="296" y="303"/>
                  </a:lnTo>
                  <a:lnTo>
                    <a:pt x="296" y="305"/>
                  </a:lnTo>
                  <a:lnTo>
                    <a:pt x="298" y="305"/>
                  </a:lnTo>
                  <a:lnTo>
                    <a:pt x="298" y="306"/>
                  </a:lnTo>
                  <a:lnTo>
                    <a:pt x="298" y="308"/>
                  </a:lnTo>
                  <a:lnTo>
                    <a:pt x="298" y="309"/>
                  </a:lnTo>
                  <a:lnTo>
                    <a:pt x="299" y="309"/>
                  </a:lnTo>
                  <a:lnTo>
                    <a:pt x="299" y="308"/>
                  </a:lnTo>
                  <a:lnTo>
                    <a:pt x="299" y="306"/>
                  </a:lnTo>
                  <a:lnTo>
                    <a:pt x="298" y="306"/>
                  </a:lnTo>
                  <a:lnTo>
                    <a:pt x="299" y="305"/>
                  </a:lnTo>
                  <a:lnTo>
                    <a:pt x="298" y="305"/>
                  </a:lnTo>
                  <a:lnTo>
                    <a:pt x="298" y="301"/>
                  </a:lnTo>
                  <a:lnTo>
                    <a:pt x="299" y="301"/>
                  </a:lnTo>
                  <a:lnTo>
                    <a:pt x="299" y="303"/>
                  </a:lnTo>
                  <a:lnTo>
                    <a:pt x="301" y="303"/>
                  </a:lnTo>
                  <a:lnTo>
                    <a:pt x="299" y="303"/>
                  </a:lnTo>
                  <a:lnTo>
                    <a:pt x="301" y="301"/>
                  </a:lnTo>
                  <a:lnTo>
                    <a:pt x="299" y="301"/>
                  </a:lnTo>
                  <a:lnTo>
                    <a:pt x="298" y="300"/>
                  </a:lnTo>
                  <a:lnTo>
                    <a:pt x="298" y="301"/>
                  </a:lnTo>
                  <a:lnTo>
                    <a:pt x="298" y="300"/>
                  </a:lnTo>
                  <a:lnTo>
                    <a:pt x="296" y="300"/>
                  </a:lnTo>
                  <a:lnTo>
                    <a:pt x="296" y="298"/>
                  </a:lnTo>
                  <a:lnTo>
                    <a:pt x="298" y="298"/>
                  </a:lnTo>
                  <a:lnTo>
                    <a:pt x="296" y="298"/>
                  </a:lnTo>
                  <a:lnTo>
                    <a:pt x="296" y="296"/>
                  </a:lnTo>
                  <a:lnTo>
                    <a:pt x="296" y="295"/>
                  </a:lnTo>
                  <a:lnTo>
                    <a:pt x="294" y="295"/>
                  </a:lnTo>
                  <a:lnTo>
                    <a:pt x="294" y="293"/>
                  </a:lnTo>
                  <a:lnTo>
                    <a:pt x="296" y="293"/>
                  </a:lnTo>
                  <a:lnTo>
                    <a:pt x="296" y="291"/>
                  </a:lnTo>
                  <a:lnTo>
                    <a:pt x="298" y="291"/>
                  </a:lnTo>
                  <a:lnTo>
                    <a:pt x="299" y="291"/>
                  </a:lnTo>
                  <a:lnTo>
                    <a:pt x="299" y="290"/>
                  </a:lnTo>
                  <a:lnTo>
                    <a:pt x="301" y="290"/>
                  </a:lnTo>
                  <a:lnTo>
                    <a:pt x="301" y="288"/>
                  </a:lnTo>
                  <a:lnTo>
                    <a:pt x="299" y="288"/>
                  </a:lnTo>
                  <a:lnTo>
                    <a:pt x="301" y="288"/>
                  </a:lnTo>
                  <a:lnTo>
                    <a:pt x="302" y="288"/>
                  </a:lnTo>
                  <a:lnTo>
                    <a:pt x="304" y="288"/>
                  </a:lnTo>
                  <a:lnTo>
                    <a:pt x="302" y="288"/>
                  </a:lnTo>
                  <a:lnTo>
                    <a:pt x="302" y="287"/>
                  </a:lnTo>
                  <a:lnTo>
                    <a:pt x="304" y="287"/>
                  </a:lnTo>
                  <a:lnTo>
                    <a:pt x="306" y="287"/>
                  </a:lnTo>
                  <a:lnTo>
                    <a:pt x="306" y="285"/>
                  </a:lnTo>
                  <a:lnTo>
                    <a:pt x="306" y="287"/>
                  </a:lnTo>
                  <a:lnTo>
                    <a:pt x="306" y="288"/>
                  </a:lnTo>
                  <a:lnTo>
                    <a:pt x="307" y="287"/>
                  </a:lnTo>
                  <a:lnTo>
                    <a:pt x="307" y="288"/>
                  </a:lnTo>
                  <a:lnTo>
                    <a:pt x="309" y="288"/>
                  </a:lnTo>
                  <a:lnTo>
                    <a:pt x="309" y="287"/>
                  </a:lnTo>
                  <a:lnTo>
                    <a:pt x="311" y="287"/>
                  </a:lnTo>
                  <a:lnTo>
                    <a:pt x="311" y="288"/>
                  </a:lnTo>
                  <a:lnTo>
                    <a:pt x="312" y="287"/>
                  </a:lnTo>
                  <a:lnTo>
                    <a:pt x="314" y="287"/>
                  </a:lnTo>
                  <a:lnTo>
                    <a:pt x="314" y="285"/>
                  </a:lnTo>
                  <a:lnTo>
                    <a:pt x="314" y="287"/>
                  </a:lnTo>
                  <a:lnTo>
                    <a:pt x="314" y="288"/>
                  </a:lnTo>
                  <a:lnTo>
                    <a:pt x="314" y="290"/>
                  </a:lnTo>
                  <a:lnTo>
                    <a:pt x="314" y="291"/>
                  </a:lnTo>
                  <a:lnTo>
                    <a:pt x="312" y="291"/>
                  </a:lnTo>
                  <a:lnTo>
                    <a:pt x="311" y="293"/>
                  </a:lnTo>
                  <a:lnTo>
                    <a:pt x="311" y="295"/>
                  </a:lnTo>
                  <a:lnTo>
                    <a:pt x="312" y="298"/>
                  </a:lnTo>
                  <a:lnTo>
                    <a:pt x="312" y="300"/>
                  </a:lnTo>
                  <a:lnTo>
                    <a:pt x="314" y="300"/>
                  </a:lnTo>
                  <a:lnTo>
                    <a:pt x="314" y="301"/>
                  </a:lnTo>
                  <a:lnTo>
                    <a:pt x="316" y="301"/>
                  </a:lnTo>
                  <a:lnTo>
                    <a:pt x="317" y="301"/>
                  </a:lnTo>
                  <a:lnTo>
                    <a:pt x="319" y="301"/>
                  </a:lnTo>
                  <a:lnTo>
                    <a:pt x="319" y="303"/>
                  </a:lnTo>
                  <a:lnTo>
                    <a:pt x="319" y="301"/>
                  </a:lnTo>
                  <a:lnTo>
                    <a:pt x="320" y="301"/>
                  </a:lnTo>
                  <a:lnTo>
                    <a:pt x="322" y="303"/>
                  </a:lnTo>
                  <a:lnTo>
                    <a:pt x="324" y="303"/>
                  </a:lnTo>
                  <a:lnTo>
                    <a:pt x="325" y="303"/>
                  </a:lnTo>
                  <a:lnTo>
                    <a:pt x="327" y="303"/>
                  </a:lnTo>
                  <a:lnTo>
                    <a:pt x="329" y="303"/>
                  </a:lnTo>
                  <a:lnTo>
                    <a:pt x="330" y="303"/>
                  </a:lnTo>
                  <a:lnTo>
                    <a:pt x="332" y="303"/>
                  </a:lnTo>
                  <a:lnTo>
                    <a:pt x="332" y="301"/>
                  </a:lnTo>
                  <a:lnTo>
                    <a:pt x="333" y="301"/>
                  </a:lnTo>
                  <a:lnTo>
                    <a:pt x="335" y="300"/>
                  </a:lnTo>
                  <a:lnTo>
                    <a:pt x="337" y="300"/>
                  </a:lnTo>
                  <a:lnTo>
                    <a:pt x="338" y="300"/>
                  </a:lnTo>
                  <a:lnTo>
                    <a:pt x="338" y="301"/>
                  </a:lnTo>
                  <a:lnTo>
                    <a:pt x="338" y="300"/>
                  </a:lnTo>
                  <a:lnTo>
                    <a:pt x="340" y="300"/>
                  </a:lnTo>
                  <a:lnTo>
                    <a:pt x="342" y="300"/>
                  </a:lnTo>
                  <a:lnTo>
                    <a:pt x="342" y="301"/>
                  </a:lnTo>
                  <a:lnTo>
                    <a:pt x="342" y="300"/>
                  </a:lnTo>
                  <a:lnTo>
                    <a:pt x="342" y="301"/>
                  </a:lnTo>
                  <a:lnTo>
                    <a:pt x="343" y="301"/>
                  </a:lnTo>
                  <a:lnTo>
                    <a:pt x="343" y="303"/>
                  </a:lnTo>
                  <a:lnTo>
                    <a:pt x="343" y="301"/>
                  </a:lnTo>
                  <a:lnTo>
                    <a:pt x="345" y="303"/>
                  </a:lnTo>
                  <a:lnTo>
                    <a:pt x="346" y="301"/>
                  </a:lnTo>
                  <a:lnTo>
                    <a:pt x="348" y="301"/>
                  </a:lnTo>
                  <a:lnTo>
                    <a:pt x="350" y="301"/>
                  </a:lnTo>
                  <a:lnTo>
                    <a:pt x="350" y="303"/>
                  </a:lnTo>
                  <a:lnTo>
                    <a:pt x="350" y="301"/>
                  </a:lnTo>
                  <a:lnTo>
                    <a:pt x="351" y="303"/>
                  </a:lnTo>
                  <a:lnTo>
                    <a:pt x="351" y="301"/>
                  </a:lnTo>
                  <a:lnTo>
                    <a:pt x="353" y="301"/>
                  </a:lnTo>
                  <a:lnTo>
                    <a:pt x="353" y="303"/>
                  </a:lnTo>
                  <a:lnTo>
                    <a:pt x="355" y="303"/>
                  </a:lnTo>
                  <a:lnTo>
                    <a:pt x="355" y="301"/>
                  </a:lnTo>
                  <a:lnTo>
                    <a:pt x="356" y="301"/>
                  </a:lnTo>
                  <a:lnTo>
                    <a:pt x="356" y="303"/>
                  </a:lnTo>
                  <a:lnTo>
                    <a:pt x="358" y="303"/>
                  </a:lnTo>
                  <a:lnTo>
                    <a:pt x="358" y="305"/>
                  </a:lnTo>
                  <a:lnTo>
                    <a:pt x="358" y="303"/>
                  </a:lnTo>
                  <a:lnTo>
                    <a:pt x="356" y="303"/>
                  </a:lnTo>
                  <a:lnTo>
                    <a:pt x="356" y="301"/>
                  </a:lnTo>
                  <a:lnTo>
                    <a:pt x="355" y="301"/>
                  </a:lnTo>
                  <a:lnTo>
                    <a:pt x="353" y="301"/>
                  </a:lnTo>
                  <a:lnTo>
                    <a:pt x="355" y="300"/>
                  </a:lnTo>
                  <a:lnTo>
                    <a:pt x="355" y="298"/>
                  </a:lnTo>
                  <a:lnTo>
                    <a:pt x="353" y="300"/>
                  </a:lnTo>
                  <a:lnTo>
                    <a:pt x="353" y="301"/>
                  </a:lnTo>
                  <a:lnTo>
                    <a:pt x="351" y="301"/>
                  </a:lnTo>
                  <a:lnTo>
                    <a:pt x="351" y="300"/>
                  </a:lnTo>
                  <a:lnTo>
                    <a:pt x="350" y="300"/>
                  </a:lnTo>
                  <a:lnTo>
                    <a:pt x="350" y="298"/>
                  </a:lnTo>
                  <a:lnTo>
                    <a:pt x="350" y="296"/>
                  </a:lnTo>
                  <a:lnTo>
                    <a:pt x="346" y="296"/>
                  </a:lnTo>
                  <a:lnTo>
                    <a:pt x="346" y="295"/>
                  </a:lnTo>
                  <a:lnTo>
                    <a:pt x="345" y="295"/>
                  </a:lnTo>
                  <a:lnTo>
                    <a:pt x="345" y="293"/>
                  </a:lnTo>
                  <a:lnTo>
                    <a:pt x="345" y="291"/>
                  </a:lnTo>
                  <a:lnTo>
                    <a:pt x="345" y="290"/>
                  </a:lnTo>
                  <a:lnTo>
                    <a:pt x="343" y="288"/>
                  </a:lnTo>
                  <a:lnTo>
                    <a:pt x="342" y="287"/>
                  </a:lnTo>
                  <a:lnTo>
                    <a:pt x="340" y="285"/>
                  </a:lnTo>
                  <a:lnTo>
                    <a:pt x="340" y="283"/>
                  </a:lnTo>
                  <a:lnTo>
                    <a:pt x="342" y="283"/>
                  </a:lnTo>
                  <a:lnTo>
                    <a:pt x="342" y="282"/>
                  </a:lnTo>
                  <a:lnTo>
                    <a:pt x="342" y="278"/>
                  </a:lnTo>
                  <a:lnTo>
                    <a:pt x="342" y="277"/>
                  </a:lnTo>
                  <a:lnTo>
                    <a:pt x="342" y="275"/>
                  </a:lnTo>
                  <a:lnTo>
                    <a:pt x="342" y="274"/>
                  </a:lnTo>
                  <a:lnTo>
                    <a:pt x="340" y="274"/>
                  </a:lnTo>
                  <a:lnTo>
                    <a:pt x="340" y="272"/>
                  </a:lnTo>
                  <a:lnTo>
                    <a:pt x="338" y="272"/>
                  </a:lnTo>
                  <a:lnTo>
                    <a:pt x="340" y="272"/>
                  </a:lnTo>
                  <a:lnTo>
                    <a:pt x="342" y="270"/>
                  </a:lnTo>
                  <a:lnTo>
                    <a:pt x="343" y="265"/>
                  </a:lnTo>
                  <a:lnTo>
                    <a:pt x="345" y="264"/>
                  </a:lnTo>
                  <a:lnTo>
                    <a:pt x="345" y="261"/>
                  </a:lnTo>
                  <a:lnTo>
                    <a:pt x="345" y="259"/>
                  </a:lnTo>
                  <a:lnTo>
                    <a:pt x="346" y="259"/>
                  </a:lnTo>
                  <a:lnTo>
                    <a:pt x="346" y="261"/>
                  </a:lnTo>
                  <a:lnTo>
                    <a:pt x="346" y="259"/>
                  </a:lnTo>
                  <a:lnTo>
                    <a:pt x="348" y="259"/>
                  </a:lnTo>
                  <a:lnTo>
                    <a:pt x="346" y="257"/>
                  </a:lnTo>
                  <a:lnTo>
                    <a:pt x="346" y="254"/>
                  </a:lnTo>
                  <a:lnTo>
                    <a:pt x="346" y="252"/>
                  </a:lnTo>
                  <a:lnTo>
                    <a:pt x="346" y="251"/>
                  </a:lnTo>
                  <a:lnTo>
                    <a:pt x="346" y="249"/>
                  </a:lnTo>
                  <a:lnTo>
                    <a:pt x="348" y="248"/>
                  </a:lnTo>
                  <a:lnTo>
                    <a:pt x="348" y="246"/>
                  </a:lnTo>
                  <a:lnTo>
                    <a:pt x="350" y="244"/>
                  </a:lnTo>
                  <a:lnTo>
                    <a:pt x="351" y="246"/>
                  </a:lnTo>
                  <a:lnTo>
                    <a:pt x="353" y="246"/>
                  </a:lnTo>
                  <a:lnTo>
                    <a:pt x="351" y="246"/>
                  </a:lnTo>
                  <a:lnTo>
                    <a:pt x="350" y="244"/>
                  </a:lnTo>
                  <a:lnTo>
                    <a:pt x="348" y="244"/>
                  </a:lnTo>
                  <a:lnTo>
                    <a:pt x="348" y="246"/>
                  </a:lnTo>
                  <a:lnTo>
                    <a:pt x="346" y="249"/>
                  </a:lnTo>
                  <a:lnTo>
                    <a:pt x="345" y="249"/>
                  </a:lnTo>
                  <a:lnTo>
                    <a:pt x="345" y="248"/>
                  </a:lnTo>
                  <a:lnTo>
                    <a:pt x="345" y="246"/>
                  </a:lnTo>
                  <a:lnTo>
                    <a:pt x="345" y="244"/>
                  </a:lnTo>
                  <a:lnTo>
                    <a:pt x="345" y="239"/>
                  </a:lnTo>
                  <a:lnTo>
                    <a:pt x="345" y="238"/>
                  </a:lnTo>
                  <a:lnTo>
                    <a:pt x="345" y="235"/>
                  </a:lnTo>
                  <a:lnTo>
                    <a:pt x="346" y="230"/>
                  </a:lnTo>
                  <a:lnTo>
                    <a:pt x="346" y="228"/>
                  </a:lnTo>
                  <a:lnTo>
                    <a:pt x="348" y="225"/>
                  </a:lnTo>
                  <a:lnTo>
                    <a:pt x="346" y="222"/>
                  </a:lnTo>
                  <a:lnTo>
                    <a:pt x="348" y="220"/>
                  </a:lnTo>
                  <a:lnTo>
                    <a:pt x="348" y="218"/>
                  </a:lnTo>
                  <a:lnTo>
                    <a:pt x="346" y="218"/>
                  </a:lnTo>
                  <a:lnTo>
                    <a:pt x="346" y="217"/>
                  </a:lnTo>
                  <a:lnTo>
                    <a:pt x="348" y="217"/>
                  </a:lnTo>
                  <a:lnTo>
                    <a:pt x="350" y="217"/>
                  </a:lnTo>
                  <a:lnTo>
                    <a:pt x="348" y="217"/>
                  </a:lnTo>
                  <a:lnTo>
                    <a:pt x="346" y="217"/>
                  </a:lnTo>
                  <a:lnTo>
                    <a:pt x="346" y="218"/>
                  </a:lnTo>
                  <a:lnTo>
                    <a:pt x="345" y="218"/>
                  </a:lnTo>
                  <a:lnTo>
                    <a:pt x="345" y="217"/>
                  </a:lnTo>
                  <a:lnTo>
                    <a:pt x="343" y="215"/>
                  </a:lnTo>
                  <a:lnTo>
                    <a:pt x="343" y="210"/>
                  </a:lnTo>
                  <a:lnTo>
                    <a:pt x="343" y="207"/>
                  </a:lnTo>
                  <a:lnTo>
                    <a:pt x="343" y="209"/>
                  </a:lnTo>
                  <a:lnTo>
                    <a:pt x="343" y="207"/>
                  </a:lnTo>
                  <a:lnTo>
                    <a:pt x="342" y="207"/>
                  </a:lnTo>
                  <a:lnTo>
                    <a:pt x="340" y="202"/>
                  </a:lnTo>
                  <a:lnTo>
                    <a:pt x="340" y="200"/>
                  </a:lnTo>
                  <a:lnTo>
                    <a:pt x="342" y="202"/>
                  </a:lnTo>
                  <a:lnTo>
                    <a:pt x="342" y="200"/>
                  </a:lnTo>
                  <a:lnTo>
                    <a:pt x="342" y="199"/>
                  </a:lnTo>
                  <a:lnTo>
                    <a:pt x="342" y="200"/>
                  </a:lnTo>
                  <a:lnTo>
                    <a:pt x="340" y="200"/>
                  </a:lnTo>
                  <a:lnTo>
                    <a:pt x="338" y="200"/>
                  </a:lnTo>
                  <a:lnTo>
                    <a:pt x="338" y="199"/>
                  </a:lnTo>
                  <a:lnTo>
                    <a:pt x="337" y="196"/>
                  </a:lnTo>
                  <a:lnTo>
                    <a:pt x="337" y="194"/>
                  </a:lnTo>
                  <a:lnTo>
                    <a:pt x="335" y="194"/>
                  </a:lnTo>
                  <a:lnTo>
                    <a:pt x="335" y="192"/>
                  </a:lnTo>
                  <a:lnTo>
                    <a:pt x="337" y="194"/>
                  </a:lnTo>
                  <a:lnTo>
                    <a:pt x="335" y="192"/>
                  </a:lnTo>
                  <a:lnTo>
                    <a:pt x="333" y="194"/>
                  </a:lnTo>
                  <a:lnTo>
                    <a:pt x="332" y="192"/>
                  </a:lnTo>
                  <a:lnTo>
                    <a:pt x="332" y="191"/>
                  </a:lnTo>
                  <a:lnTo>
                    <a:pt x="332" y="189"/>
                  </a:lnTo>
                  <a:lnTo>
                    <a:pt x="332" y="184"/>
                  </a:lnTo>
                  <a:lnTo>
                    <a:pt x="333" y="181"/>
                  </a:lnTo>
                  <a:lnTo>
                    <a:pt x="332" y="181"/>
                  </a:lnTo>
                  <a:lnTo>
                    <a:pt x="332" y="179"/>
                  </a:lnTo>
                  <a:lnTo>
                    <a:pt x="332" y="178"/>
                  </a:lnTo>
                  <a:lnTo>
                    <a:pt x="332" y="174"/>
                  </a:lnTo>
                  <a:lnTo>
                    <a:pt x="332" y="173"/>
                  </a:lnTo>
                  <a:lnTo>
                    <a:pt x="330" y="173"/>
                  </a:lnTo>
                  <a:lnTo>
                    <a:pt x="330" y="171"/>
                  </a:lnTo>
                  <a:lnTo>
                    <a:pt x="329" y="171"/>
                  </a:lnTo>
                  <a:lnTo>
                    <a:pt x="329" y="170"/>
                  </a:lnTo>
                  <a:lnTo>
                    <a:pt x="329" y="168"/>
                  </a:lnTo>
                  <a:lnTo>
                    <a:pt x="330" y="168"/>
                  </a:lnTo>
                  <a:lnTo>
                    <a:pt x="332" y="166"/>
                  </a:lnTo>
                  <a:lnTo>
                    <a:pt x="333" y="165"/>
                  </a:lnTo>
                  <a:lnTo>
                    <a:pt x="333" y="163"/>
                  </a:lnTo>
                  <a:lnTo>
                    <a:pt x="335" y="158"/>
                  </a:lnTo>
                  <a:lnTo>
                    <a:pt x="335" y="157"/>
                  </a:lnTo>
                  <a:lnTo>
                    <a:pt x="333" y="153"/>
                  </a:lnTo>
                  <a:lnTo>
                    <a:pt x="333" y="152"/>
                  </a:lnTo>
                  <a:lnTo>
                    <a:pt x="332" y="152"/>
                  </a:lnTo>
                  <a:lnTo>
                    <a:pt x="332" y="150"/>
                  </a:lnTo>
                  <a:lnTo>
                    <a:pt x="330" y="150"/>
                  </a:lnTo>
                  <a:lnTo>
                    <a:pt x="329" y="148"/>
                  </a:lnTo>
                  <a:lnTo>
                    <a:pt x="327" y="148"/>
                  </a:lnTo>
                  <a:lnTo>
                    <a:pt x="327" y="147"/>
                  </a:lnTo>
                  <a:lnTo>
                    <a:pt x="329" y="147"/>
                  </a:lnTo>
                  <a:lnTo>
                    <a:pt x="329" y="145"/>
                  </a:lnTo>
                  <a:lnTo>
                    <a:pt x="327" y="145"/>
                  </a:lnTo>
                  <a:lnTo>
                    <a:pt x="327" y="143"/>
                  </a:lnTo>
                  <a:lnTo>
                    <a:pt x="329" y="142"/>
                  </a:lnTo>
                  <a:lnTo>
                    <a:pt x="327" y="142"/>
                  </a:lnTo>
                  <a:lnTo>
                    <a:pt x="329" y="142"/>
                  </a:lnTo>
                  <a:lnTo>
                    <a:pt x="329" y="140"/>
                  </a:lnTo>
                  <a:lnTo>
                    <a:pt x="330" y="140"/>
                  </a:lnTo>
                  <a:lnTo>
                    <a:pt x="330" y="142"/>
                  </a:lnTo>
                  <a:lnTo>
                    <a:pt x="332" y="142"/>
                  </a:lnTo>
                  <a:lnTo>
                    <a:pt x="330" y="142"/>
                  </a:lnTo>
                  <a:lnTo>
                    <a:pt x="332" y="142"/>
                  </a:lnTo>
                  <a:lnTo>
                    <a:pt x="332" y="143"/>
                  </a:lnTo>
                  <a:lnTo>
                    <a:pt x="333" y="143"/>
                  </a:lnTo>
                  <a:lnTo>
                    <a:pt x="333" y="145"/>
                  </a:lnTo>
                  <a:lnTo>
                    <a:pt x="333" y="143"/>
                  </a:lnTo>
                  <a:lnTo>
                    <a:pt x="335" y="143"/>
                  </a:lnTo>
                  <a:lnTo>
                    <a:pt x="337" y="143"/>
                  </a:lnTo>
                  <a:lnTo>
                    <a:pt x="338" y="145"/>
                  </a:lnTo>
                  <a:lnTo>
                    <a:pt x="338" y="147"/>
                  </a:lnTo>
                  <a:lnTo>
                    <a:pt x="340" y="148"/>
                  </a:lnTo>
                  <a:lnTo>
                    <a:pt x="342" y="148"/>
                  </a:lnTo>
                  <a:lnTo>
                    <a:pt x="343" y="150"/>
                  </a:lnTo>
                  <a:lnTo>
                    <a:pt x="345" y="150"/>
                  </a:lnTo>
                  <a:lnTo>
                    <a:pt x="346" y="150"/>
                  </a:lnTo>
                  <a:lnTo>
                    <a:pt x="348" y="150"/>
                  </a:lnTo>
                  <a:lnTo>
                    <a:pt x="348" y="152"/>
                  </a:lnTo>
                  <a:lnTo>
                    <a:pt x="350" y="152"/>
                  </a:lnTo>
                  <a:lnTo>
                    <a:pt x="351" y="152"/>
                  </a:lnTo>
                  <a:lnTo>
                    <a:pt x="351" y="153"/>
                  </a:lnTo>
                  <a:lnTo>
                    <a:pt x="351" y="155"/>
                  </a:lnTo>
                  <a:lnTo>
                    <a:pt x="353" y="155"/>
                  </a:lnTo>
                  <a:lnTo>
                    <a:pt x="355" y="155"/>
                  </a:lnTo>
                  <a:lnTo>
                    <a:pt x="356" y="157"/>
                  </a:lnTo>
                  <a:lnTo>
                    <a:pt x="356" y="158"/>
                  </a:lnTo>
                  <a:lnTo>
                    <a:pt x="356" y="157"/>
                  </a:lnTo>
                  <a:lnTo>
                    <a:pt x="358" y="157"/>
                  </a:lnTo>
                  <a:lnTo>
                    <a:pt x="358" y="155"/>
                  </a:lnTo>
                  <a:lnTo>
                    <a:pt x="358" y="157"/>
                  </a:lnTo>
                  <a:lnTo>
                    <a:pt x="359" y="157"/>
                  </a:lnTo>
                  <a:lnTo>
                    <a:pt x="361" y="157"/>
                  </a:lnTo>
                  <a:lnTo>
                    <a:pt x="363" y="157"/>
                  </a:lnTo>
                  <a:lnTo>
                    <a:pt x="364" y="157"/>
                  </a:lnTo>
                  <a:lnTo>
                    <a:pt x="366" y="157"/>
                  </a:lnTo>
                  <a:lnTo>
                    <a:pt x="368" y="155"/>
                  </a:lnTo>
                  <a:lnTo>
                    <a:pt x="369" y="155"/>
                  </a:lnTo>
                  <a:lnTo>
                    <a:pt x="369" y="153"/>
                  </a:lnTo>
                  <a:lnTo>
                    <a:pt x="371" y="153"/>
                  </a:lnTo>
                  <a:lnTo>
                    <a:pt x="369" y="153"/>
                  </a:lnTo>
                  <a:lnTo>
                    <a:pt x="371" y="152"/>
                  </a:lnTo>
                  <a:lnTo>
                    <a:pt x="372" y="153"/>
                  </a:lnTo>
                  <a:lnTo>
                    <a:pt x="374" y="152"/>
                  </a:lnTo>
                  <a:lnTo>
                    <a:pt x="376" y="152"/>
                  </a:lnTo>
                  <a:lnTo>
                    <a:pt x="377" y="152"/>
                  </a:lnTo>
                  <a:lnTo>
                    <a:pt x="379" y="152"/>
                  </a:lnTo>
                  <a:lnTo>
                    <a:pt x="381" y="152"/>
                  </a:lnTo>
                  <a:lnTo>
                    <a:pt x="381" y="153"/>
                  </a:lnTo>
                  <a:lnTo>
                    <a:pt x="381" y="152"/>
                  </a:lnTo>
                  <a:lnTo>
                    <a:pt x="382" y="153"/>
                  </a:lnTo>
                  <a:lnTo>
                    <a:pt x="384" y="153"/>
                  </a:lnTo>
                  <a:lnTo>
                    <a:pt x="385" y="153"/>
                  </a:lnTo>
                  <a:lnTo>
                    <a:pt x="385" y="155"/>
                  </a:lnTo>
                  <a:lnTo>
                    <a:pt x="387" y="155"/>
                  </a:lnTo>
                  <a:lnTo>
                    <a:pt x="389" y="155"/>
                  </a:lnTo>
                  <a:lnTo>
                    <a:pt x="390" y="155"/>
                  </a:lnTo>
                  <a:lnTo>
                    <a:pt x="389" y="157"/>
                  </a:lnTo>
                  <a:lnTo>
                    <a:pt x="389" y="158"/>
                  </a:lnTo>
                  <a:lnTo>
                    <a:pt x="390" y="158"/>
                  </a:lnTo>
                  <a:lnTo>
                    <a:pt x="389" y="158"/>
                  </a:lnTo>
                  <a:lnTo>
                    <a:pt x="390" y="158"/>
                  </a:lnTo>
                  <a:lnTo>
                    <a:pt x="390" y="160"/>
                  </a:lnTo>
                  <a:lnTo>
                    <a:pt x="390" y="161"/>
                  </a:lnTo>
                  <a:lnTo>
                    <a:pt x="390" y="163"/>
                  </a:lnTo>
                  <a:lnTo>
                    <a:pt x="390" y="165"/>
                  </a:lnTo>
                  <a:lnTo>
                    <a:pt x="392" y="166"/>
                  </a:lnTo>
                  <a:lnTo>
                    <a:pt x="390" y="168"/>
                  </a:lnTo>
                  <a:lnTo>
                    <a:pt x="389" y="168"/>
                  </a:lnTo>
                  <a:lnTo>
                    <a:pt x="389" y="166"/>
                  </a:lnTo>
                  <a:lnTo>
                    <a:pt x="387" y="170"/>
                  </a:lnTo>
                  <a:lnTo>
                    <a:pt x="387" y="171"/>
                  </a:lnTo>
                  <a:lnTo>
                    <a:pt x="385" y="170"/>
                  </a:lnTo>
                  <a:lnTo>
                    <a:pt x="384" y="170"/>
                  </a:lnTo>
                  <a:lnTo>
                    <a:pt x="384" y="171"/>
                  </a:lnTo>
                  <a:lnTo>
                    <a:pt x="382" y="173"/>
                  </a:lnTo>
                  <a:lnTo>
                    <a:pt x="382" y="174"/>
                  </a:lnTo>
                  <a:lnTo>
                    <a:pt x="382" y="176"/>
                  </a:lnTo>
                  <a:lnTo>
                    <a:pt x="382" y="178"/>
                  </a:lnTo>
                  <a:lnTo>
                    <a:pt x="384" y="179"/>
                  </a:lnTo>
                  <a:lnTo>
                    <a:pt x="385" y="183"/>
                  </a:lnTo>
                  <a:lnTo>
                    <a:pt x="385" y="184"/>
                  </a:lnTo>
                  <a:lnTo>
                    <a:pt x="389" y="189"/>
                  </a:lnTo>
                  <a:lnTo>
                    <a:pt x="390" y="194"/>
                  </a:lnTo>
                  <a:lnTo>
                    <a:pt x="392" y="196"/>
                  </a:lnTo>
                  <a:lnTo>
                    <a:pt x="392" y="197"/>
                  </a:lnTo>
                  <a:lnTo>
                    <a:pt x="394" y="199"/>
                  </a:lnTo>
                  <a:lnTo>
                    <a:pt x="392" y="200"/>
                  </a:lnTo>
                  <a:lnTo>
                    <a:pt x="392" y="202"/>
                  </a:lnTo>
                  <a:lnTo>
                    <a:pt x="390" y="202"/>
                  </a:lnTo>
                  <a:lnTo>
                    <a:pt x="390" y="204"/>
                  </a:lnTo>
                  <a:lnTo>
                    <a:pt x="392" y="204"/>
                  </a:lnTo>
                  <a:lnTo>
                    <a:pt x="394" y="204"/>
                  </a:lnTo>
                  <a:lnTo>
                    <a:pt x="395" y="204"/>
                  </a:lnTo>
                  <a:lnTo>
                    <a:pt x="394" y="205"/>
                  </a:lnTo>
                  <a:lnTo>
                    <a:pt x="395" y="205"/>
                  </a:lnTo>
                  <a:lnTo>
                    <a:pt x="395" y="207"/>
                  </a:lnTo>
                  <a:lnTo>
                    <a:pt x="397" y="205"/>
                  </a:lnTo>
                  <a:lnTo>
                    <a:pt x="395" y="205"/>
                  </a:lnTo>
                  <a:lnTo>
                    <a:pt x="397" y="204"/>
                  </a:lnTo>
                  <a:lnTo>
                    <a:pt x="398" y="202"/>
                  </a:lnTo>
                  <a:lnTo>
                    <a:pt x="400" y="200"/>
                  </a:lnTo>
                  <a:lnTo>
                    <a:pt x="402" y="200"/>
                  </a:lnTo>
                  <a:lnTo>
                    <a:pt x="403" y="202"/>
                  </a:lnTo>
                  <a:lnTo>
                    <a:pt x="405" y="202"/>
                  </a:lnTo>
                  <a:lnTo>
                    <a:pt x="407" y="200"/>
                  </a:lnTo>
                  <a:lnTo>
                    <a:pt x="408" y="200"/>
                  </a:lnTo>
                  <a:lnTo>
                    <a:pt x="408" y="202"/>
                  </a:lnTo>
                  <a:lnTo>
                    <a:pt x="408" y="200"/>
                  </a:lnTo>
                  <a:lnTo>
                    <a:pt x="410" y="202"/>
                  </a:lnTo>
                  <a:lnTo>
                    <a:pt x="413" y="202"/>
                  </a:lnTo>
                  <a:lnTo>
                    <a:pt x="415" y="202"/>
                  </a:lnTo>
                  <a:lnTo>
                    <a:pt x="415" y="204"/>
                  </a:lnTo>
                  <a:lnTo>
                    <a:pt x="416" y="204"/>
                  </a:lnTo>
                  <a:lnTo>
                    <a:pt x="416" y="205"/>
                  </a:lnTo>
                  <a:lnTo>
                    <a:pt x="418" y="205"/>
                  </a:lnTo>
                  <a:lnTo>
                    <a:pt x="418" y="207"/>
                  </a:lnTo>
                  <a:lnTo>
                    <a:pt x="420" y="207"/>
                  </a:lnTo>
                  <a:lnTo>
                    <a:pt x="421" y="209"/>
                  </a:lnTo>
                  <a:lnTo>
                    <a:pt x="424" y="209"/>
                  </a:lnTo>
                  <a:lnTo>
                    <a:pt x="429" y="212"/>
                  </a:lnTo>
                  <a:lnTo>
                    <a:pt x="433" y="212"/>
                  </a:lnTo>
                  <a:lnTo>
                    <a:pt x="434" y="212"/>
                  </a:lnTo>
                  <a:lnTo>
                    <a:pt x="436" y="212"/>
                  </a:lnTo>
                  <a:lnTo>
                    <a:pt x="437" y="213"/>
                  </a:lnTo>
                  <a:lnTo>
                    <a:pt x="439" y="213"/>
                  </a:lnTo>
                  <a:lnTo>
                    <a:pt x="441" y="213"/>
                  </a:lnTo>
                  <a:lnTo>
                    <a:pt x="442" y="215"/>
                  </a:lnTo>
                  <a:lnTo>
                    <a:pt x="444" y="215"/>
                  </a:lnTo>
                  <a:lnTo>
                    <a:pt x="446" y="215"/>
                  </a:lnTo>
                  <a:lnTo>
                    <a:pt x="447" y="213"/>
                  </a:lnTo>
                  <a:lnTo>
                    <a:pt x="450" y="215"/>
                  </a:lnTo>
                  <a:lnTo>
                    <a:pt x="452" y="215"/>
                  </a:lnTo>
                  <a:lnTo>
                    <a:pt x="454" y="215"/>
                  </a:lnTo>
                  <a:lnTo>
                    <a:pt x="455" y="217"/>
                  </a:lnTo>
                  <a:lnTo>
                    <a:pt x="457" y="217"/>
                  </a:lnTo>
                  <a:lnTo>
                    <a:pt x="460" y="218"/>
                  </a:lnTo>
                  <a:lnTo>
                    <a:pt x="462" y="218"/>
                  </a:lnTo>
                  <a:lnTo>
                    <a:pt x="465" y="220"/>
                  </a:lnTo>
                  <a:lnTo>
                    <a:pt x="467" y="222"/>
                  </a:lnTo>
                  <a:lnTo>
                    <a:pt x="468" y="223"/>
                  </a:lnTo>
                  <a:lnTo>
                    <a:pt x="470" y="223"/>
                  </a:lnTo>
                  <a:lnTo>
                    <a:pt x="470" y="225"/>
                  </a:lnTo>
                  <a:lnTo>
                    <a:pt x="472" y="225"/>
                  </a:lnTo>
                  <a:lnTo>
                    <a:pt x="473" y="226"/>
                  </a:lnTo>
                  <a:lnTo>
                    <a:pt x="475" y="226"/>
                  </a:lnTo>
                  <a:lnTo>
                    <a:pt x="475" y="228"/>
                  </a:lnTo>
                  <a:lnTo>
                    <a:pt x="475" y="226"/>
                  </a:lnTo>
                  <a:lnTo>
                    <a:pt x="475" y="228"/>
                  </a:lnTo>
                  <a:lnTo>
                    <a:pt x="477" y="228"/>
                  </a:lnTo>
                  <a:lnTo>
                    <a:pt x="477" y="230"/>
                  </a:lnTo>
                  <a:lnTo>
                    <a:pt x="475" y="230"/>
                  </a:lnTo>
                  <a:lnTo>
                    <a:pt x="477" y="230"/>
                  </a:lnTo>
                  <a:lnTo>
                    <a:pt x="477" y="228"/>
                  </a:lnTo>
                  <a:lnTo>
                    <a:pt x="478" y="228"/>
                  </a:lnTo>
                  <a:lnTo>
                    <a:pt x="481" y="228"/>
                  </a:lnTo>
                  <a:lnTo>
                    <a:pt x="483" y="228"/>
                  </a:lnTo>
                  <a:lnTo>
                    <a:pt x="486" y="228"/>
                  </a:lnTo>
                  <a:lnTo>
                    <a:pt x="490" y="226"/>
                  </a:lnTo>
                  <a:lnTo>
                    <a:pt x="490" y="228"/>
                  </a:lnTo>
                  <a:lnTo>
                    <a:pt x="491" y="226"/>
                  </a:lnTo>
                  <a:lnTo>
                    <a:pt x="494" y="226"/>
                  </a:lnTo>
                  <a:lnTo>
                    <a:pt x="494" y="225"/>
                  </a:lnTo>
                  <a:lnTo>
                    <a:pt x="496" y="225"/>
                  </a:lnTo>
                  <a:lnTo>
                    <a:pt x="499" y="225"/>
                  </a:lnTo>
                  <a:lnTo>
                    <a:pt x="501" y="223"/>
                  </a:lnTo>
                  <a:lnTo>
                    <a:pt x="503" y="222"/>
                  </a:lnTo>
                  <a:lnTo>
                    <a:pt x="504" y="222"/>
                  </a:lnTo>
                  <a:lnTo>
                    <a:pt x="506" y="220"/>
                  </a:lnTo>
                  <a:lnTo>
                    <a:pt x="507" y="218"/>
                  </a:lnTo>
                  <a:lnTo>
                    <a:pt x="509" y="217"/>
                  </a:lnTo>
                  <a:lnTo>
                    <a:pt x="511" y="217"/>
                  </a:lnTo>
                  <a:lnTo>
                    <a:pt x="512" y="215"/>
                  </a:lnTo>
                  <a:lnTo>
                    <a:pt x="514" y="215"/>
                  </a:lnTo>
                  <a:lnTo>
                    <a:pt x="516" y="215"/>
                  </a:lnTo>
                  <a:lnTo>
                    <a:pt x="520" y="213"/>
                  </a:lnTo>
                  <a:lnTo>
                    <a:pt x="522" y="213"/>
                  </a:lnTo>
                  <a:lnTo>
                    <a:pt x="525" y="213"/>
                  </a:lnTo>
                  <a:lnTo>
                    <a:pt x="527" y="213"/>
                  </a:lnTo>
                  <a:lnTo>
                    <a:pt x="529" y="213"/>
                  </a:lnTo>
                  <a:lnTo>
                    <a:pt x="530" y="213"/>
                  </a:lnTo>
                  <a:lnTo>
                    <a:pt x="535" y="213"/>
                  </a:lnTo>
                  <a:lnTo>
                    <a:pt x="538" y="212"/>
                  </a:lnTo>
                  <a:lnTo>
                    <a:pt x="540" y="212"/>
                  </a:lnTo>
                  <a:lnTo>
                    <a:pt x="542" y="210"/>
                  </a:lnTo>
                  <a:lnTo>
                    <a:pt x="543" y="210"/>
                  </a:lnTo>
                  <a:lnTo>
                    <a:pt x="546" y="209"/>
                  </a:lnTo>
                  <a:lnTo>
                    <a:pt x="548" y="209"/>
                  </a:lnTo>
                  <a:lnTo>
                    <a:pt x="550" y="209"/>
                  </a:lnTo>
                  <a:lnTo>
                    <a:pt x="550" y="210"/>
                  </a:lnTo>
                  <a:lnTo>
                    <a:pt x="551" y="210"/>
                  </a:lnTo>
                  <a:lnTo>
                    <a:pt x="551" y="212"/>
                  </a:lnTo>
                  <a:lnTo>
                    <a:pt x="551" y="213"/>
                  </a:lnTo>
                  <a:lnTo>
                    <a:pt x="555" y="215"/>
                  </a:lnTo>
                  <a:lnTo>
                    <a:pt x="555" y="217"/>
                  </a:lnTo>
                  <a:lnTo>
                    <a:pt x="556" y="217"/>
                  </a:lnTo>
                  <a:lnTo>
                    <a:pt x="556" y="218"/>
                  </a:lnTo>
                  <a:lnTo>
                    <a:pt x="558" y="218"/>
                  </a:lnTo>
                  <a:lnTo>
                    <a:pt x="559" y="217"/>
                  </a:lnTo>
                  <a:lnTo>
                    <a:pt x="561" y="215"/>
                  </a:lnTo>
                  <a:lnTo>
                    <a:pt x="563" y="213"/>
                  </a:lnTo>
                  <a:lnTo>
                    <a:pt x="563" y="212"/>
                  </a:lnTo>
                  <a:lnTo>
                    <a:pt x="564" y="209"/>
                  </a:lnTo>
                  <a:lnTo>
                    <a:pt x="564" y="207"/>
                  </a:lnTo>
                  <a:lnTo>
                    <a:pt x="566" y="205"/>
                  </a:lnTo>
                  <a:lnTo>
                    <a:pt x="568" y="205"/>
                  </a:lnTo>
                  <a:lnTo>
                    <a:pt x="569" y="205"/>
                  </a:lnTo>
                  <a:lnTo>
                    <a:pt x="571" y="205"/>
                  </a:lnTo>
                  <a:lnTo>
                    <a:pt x="572" y="207"/>
                  </a:lnTo>
                  <a:lnTo>
                    <a:pt x="574" y="209"/>
                  </a:lnTo>
                  <a:lnTo>
                    <a:pt x="572" y="210"/>
                  </a:lnTo>
                  <a:lnTo>
                    <a:pt x="574" y="212"/>
                  </a:lnTo>
                  <a:lnTo>
                    <a:pt x="576" y="213"/>
                  </a:lnTo>
                  <a:lnTo>
                    <a:pt x="577" y="215"/>
                  </a:lnTo>
                  <a:lnTo>
                    <a:pt x="577" y="217"/>
                  </a:lnTo>
                  <a:lnTo>
                    <a:pt x="576" y="218"/>
                  </a:lnTo>
                  <a:lnTo>
                    <a:pt x="576" y="220"/>
                  </a:lnTo>
                  <a:lnTo>
                    <a:pt x="576" y="222"/>
                  </a:lnTo>
                  <a:lnTo>
                    <a:pt x="576" y="223"/>
                  </a:lnTo>
                  <a:lnTo>
                    <a:pt x="576" y="225"/>
                  </a:lnTo>
                  <a:lnTo>
                    <a:pt x="577" y="225"/>
                  </a:lnTo>
                  <a:lnTo>
                    <a:pt x="579" y="225"/>
                  </a:lnTo>
                  <a:lnTo>
                    <a:pt x="581" y="225"/>
                  </a:lnTo>
                  <a:lnTo>
                    <a:pt x="579" y="225"/>
                  </a:lnTo>
                  <a:lnTo>
                    <a:pt x="577" y="225"/>
                  </a:lnTo>
                  <a:lnTo>
                    <a:pt x="576" y="225"/>
                  </a:lnTo>
                  <a:lnTo>
                    <a:pt x="576" y="223"/>
                  </a:lnTo>
                  <a:lnTo>
                    <a:pt x="576" y="220"/>
                  </a:lnTo>
                  <a:lnTo>
                    <a:pt x="576" y="218"/>
                  </a:lnTo>
                  <a:lnTo>
                    <a:pt x="577" y="218"/>
                  </a:lnTo>
                  <a:lnTo>
                    <a:pt x="577" y="217"/>
                  </a:lnTo>
                  <a:lnTo>
                    <a:pt x="577" y="215"/>
                  </a:lnTo>
                  <a:lnTo>
                    <a:pt x="577" y="213"/>
                  </a:lnTo>
                  <a:lnTo>
                    <a:pt x="576" y="213"/>
                  </a:lnTo>
                  <a:lnTo>
                    <a:pt x="576" y="212"/>
                  </a:lnTo>
                  <a:lnTo>
                    <a:pt x="574" y="212"/>
                  </a:lnTo>
                  <a:lnTo>
                    <a:pt x="574" y="210"/>
                  </a:lnTo>
                  <a:lnTo>
                    <a:pt x="574" y="209"/>
                  </a:lnTo>
                  <a:lnTo>
                    <a:pt x="574" y="207"/>
                  </a:lnTo>
                  <a:lnTo>
                    <a:pt x="572" y="207"/>
                  </a:lnTo>
                  <a:lnTo>
                    <a:pt x="572" y="205"/>
                  </a:lnTo>
                  <a:lnTo>
                    <a:pt x="571" y="205"/>
                  </a:lnTo>
                  <a:lnTo>
                    <a:pt x="569" y="205"/>
                  </a:lnTo>
                  <a:lnTo>
                    <a:pt x="568" y="205"/>
                  </a:lnTo>
                  <a:lnTo>
                    <a:pt x="566" y="205"/>
                  </a:lnTo>
                  <a:lnTo>
                    <a:pt x="564" y="205"/>
                  </a:lnTo>
                  <a:lnTo>
                    <a:pt x="564" y="207"/>
                  </a:lnTo>
                  <a:lnTo>
                    <a:pt x="563" y="209"/>
                  </a:lnTo>
                  <a:lnTo>
                    <a:pt x="563" y="212"/>
                  </a:lnTo>
                  <a:lnTo>
                    <a:pt x="563" y="213"/>
                  </a:lnTo>
                  <a:lnTo>
                    <a:pt x="563" y="215"/>
                  </a:lnTo>
                  <a:lnTo>
                    <a:pt x="561" y="215"/>
                  </a:lnTo>
                  <a:lnTo>
                    <a:pt x="558" y="217"/>
                  </a:lnTo>
                  <a:lnTo>
                    <a:pt x="556" y="217"/>
                  </a:lnTo>
                  <a:lnTo>
                    <a:pt x="555" y="217"/>
                  </a:lnTo>
                  <a:lnTo>
                    <a:pt x="555" y="215"/>
                  </a:lnTo>
                  <a:lnTo>
                    <a:pt x="553" y="213"/>
                  </a:lnTo>
                  <a:lnTo>
                    <a:pt x="553" y="212"/>
                  </a:lnTo>
                  <a:lnTo>
                    <a:pt x="551" y="212"/>
                  </a:lnTo>
                  <a:lnTo>
                    <a:pt x="550" y="209"/>
                  </a:lnTo>
                  <a:lnTo>
                    <a:pt x="548" y="207"/>
                  </a:lnTo>
                  <a:lnTo>
                    <a:pt x="546" y="207"/>
                  </a:lnTo>
                  <a:lnTo>
                    <a:pt x="546" y="209"/>
                  </a:lnTo>
                  <a:lnTo>
                    <a:pt x="545" y="209"/>
                  </a:lnTo>
                  <a:lnTo>
                    <a:pt x="543" y="210"/>
                  </a:lnTo>
                  <a:lnTo>
                    <a:pt x="538" y="212"/>
                  </a:lnTo>
                  <a:lnTo>
                    <a:pt x="535" y="212"/>
                  </a:lnTo>
                  <a:lnTo>
                    <a:pt x="533" y="212"/>
                  </a:lnTo>
                  <a:lnTo>
                    <a:pt x="532" y="212"/>
                  </a:lnTo>
                  <a:lnTo>
                    <a:pt x="529" y="212"/>
                  </a:lnTo>
                  <a:lnTo>
                    <a:pt x="527" y="212"/>
                  </a:lnTo>
                  <a:lnTo>
                    <a:pt x="525" y="210"/>
                  </a:lnTo>
                  <a:lnTo>
                    <a:pt x="524" y="210"/>
                  </a:lnTo>
                  <a:lnTo>
                    <a:pt x="522" y="210"/>
                  </a:lnTo>
                  <a:lnTo>
                    <a:pt x="520" y="209"/>
                  </a:lnTo>
                  <a:lnTo>
                    <a:pt x="519" y="209"/>
                  </a:lnTo>
                  <a:lnTo>
                    <a:pt x="517" y="209"/>
                  </a:lnTo>
                  <a:lnTo>
                    <a:pt x="516" y="209"/>
                  </a:lnTo>
                  <a:lnTo>
                    <a:pt x="516" y="207"/>
                  </a:lnTo>
                  <a:lnTo>
                    <a:pt x="512" y="205"/>
                  </a:lnTo>
                  <a:lnTo>
                    <a:pt x="511" y="204"/>
                  </a:lnTo>
                  <a:lnTo>
                    <a:pt x="512" y="205"/>
                  </a:lnTo>
                  <a:lnTo>
                    <a:pt x="514" y="205"/>
                  </a:lnTo>
                  <a:lnTo>
                    <a:pt x="516" y="207"/>
                  </a:lnTo>
                  <a:lnTo>
                    <a:pt x="517" y="205"/>
                  </a:lnTo>
                  <a:lnTo>
                    <a:pt x="517" y="207"/>
                  </a:lnTo>
                  <a:lnTo>
                    <a:pt x="517" y="205"/>
                  </a:lnTo>
                  <a:lnTo>
                    <a:pt x="516" y="205"/>
                  </a:lnTo>
                  <a:lnTo>
                    <a:pt x="514" y="205"/>
                  </a:lnTo>
                  <a:lnTo>
                    <a:pt x="512" y="204"/>
                  </a:lnTo>
                  <a:lnTo>
                    <a:pt x="511" y="204"/>
                  </a:lnTo>
                  <a:lnTo>
                    <a:pt x="511" y="202"/>
                  </a:lnTo>
                  <a:lnTo>
                    <a:pt x="511" y="200"/>
                  </a:lnTo>
                  <a:lnTo>
                    <a:pt x="509" y="200"/>
                  </a:lnTo>
                  <a:lnTo>
                    <a:pt x="509" y="199"/>
                  </a:lnTo>
                  <a:lnTo>
                    <a:pt x="509" y="196"/>
                  </a:lnTo>
                  <a:lnTo>
                    <a:pt x="512" y="191"/>
                  </a:lnTo>
                  <a:lnTo>
                    <a:pt x="514" y="189"/>
                  </a:lnTo>
                  <a:lnTo>
                    <a:pt x="516" y="186"/>
                  </a:lnTo>
                  <a:lnTo>
                    <a:pt x="517" y="184"/>
                  </a:lnTo>
                  <a:lnTo>
                    <a:pt x="519" y="181"/>
                  </a:lnTo>
                  <a:lnTo>
                    <a:pt x="519" y="179"/>
                  </a:lnTo>
                  <a:lnTo>
                    <a:pt x="519" y="178"/>
                  </a:lnTo>
                  <a:lnTo>
                    <a:pt x="517" y="178"/>
                  </a:lnTo>
                  <a:lnTo>
                    <a:pt x="516" y="178"/>
                  </a:lnTo>
                  <a:lnTo>
                    <a:pt x="517" y="178"/>
                  </a:lnTo>
                  <a:lnTo>
                    <a:pt x="519" y="178"/>
                  </a:lnTo>
                  <a:lnTo>
                    <a:pt x="520" y="179"/>
                  </a:lnTo>
                  <a:lnTo>
                    <a:pt x="520" y="178"/>
                  </a:lnTo>
                  <a:lnTo>
                    <a:pt x="520" y="174"/>
                  </a:lnTo>
                  <a:lnTo>
                    <a:pt x="522" y="174"/>
                  </a:lnTo>
                  <a:lnTo>
                    <a:pt x="522" y="173"/>
                  </a:lnTo>
                  <a:lnTo>
                    <a:pt x="524" y="173"/>
                  </a:lnTo>
                  <a:lnTo>
                    <a:pt x="525" y="173"/>
                  </a:lnTo>
                  <a:lnTo>
                    <a:pt x="525" y="171"/>
                  </a:lnTo>
                  <a:lnTo>
                    <a:pt x="527" y="171"/>
                  </a:lnTo>
                  <a:lnTo>
                    <a:pt x="529" y="171"/>
                  </a:lnTo>
                  <a:lnTo>
                    <a:pt x="530" y="171"/>
                  </a:lnTo>
                  <a:lnTo>
                    <a:pt x="532" y="170"/>
                  </a:lnTo>
                  <a:lnTo>
                    <a:pt x="533" y="170"/>
                  </a:lnTo>
                  <a:lnTo>
                    <a:pt x="535" y="170"/>
                  </a:lnTo>
                  <a:lnTo>
                    <a:pt x="537" y="170"/>
                  </a:lnTo>
                  <a:lnTo>
                    <a:pt x="538" y="170"/>
                  </a:lnTo>
                  <a:lnTo>
                    <a:pt x="540" y="168"/>
                  </a:lnTo>
                  <a:lnTo>
                    <a:pt x="540" y="166"/>
                  </a:lnTo>
                  <a:lnTo>
                    <a:pt x="542" y="166"/>
                  </a:lnTo>
                  <a:lnTo>
                    <a:pt x="545" y="165"/>
                  </a:lnTo>
                  <a:lnTo>
                    <a:pt x="548" y="165"/>
                  </a:lnTo>
                  <a:lnTo>
                    <a:pt x="548" y="163"/>
                  </a:lnTo>
                  <a:lnTo>
                    <a:pt x="551" y="161"/>
                  </a:lnTo>
                  <a:lnTo>
                    <a:pt x="553" y="161"/>
                  </a:lnTo>
                  <a:lnTo>
                    <a:pt x="555" y="160"/>
                  </a:lnTo>
                  <a:lnTo>
                    <a:pt x="556" y="160"/>
                  </a:lnTo>
                  <a:lnTo>
                    <a:pt x="558" y="158"/>
                  </a:lnTo>
                  <a:lnTo>
                    <a:pt x="561" y="157"/>
                  </a:lnTo>
                  <a:lnTo>
                    <a:pt x="563" y="157"/>
                  </a:lnTo>
                  <a:lnTo>
                    <a:pt x="564" y="157"/>
                  </a:lnTo>
                  <a:lnTo>
                    <a:pt x="566" y="157"/>
                  </a:lnTo>
                  <a:lnTo>
                    <a:pt x="568" y="155"/>
                  </a:lnTo>
                  <a:lnTo>
                    <a:pt x="569" y="155"/>
                  </a:lnTo>
                  <a:lnTo>
                    <a:pt x="571" y="155"/>
                  </a:lnTo>
                  <a:lnTo>
                    <a:pt x="572" y="155"/>
                  </a:lnTo>
                  <a:lnTo>
                    <a:pt x="574" y="155"/>
                  </a:lnTo>
                  <a:lnTo>
                    <a:pt x="576" y="157"/>
                  </a:lnTo>
                  <a:lnTo>
                    <a:pt x="579" y="157"/>
                  </a:lnTo>
                  <a:lnTo>
                    <a:pt x="582" y="157"/>
                  </a:lnTo>
                  <a:lnTo>
                    <a:pt x="582" y="155"/>
                  </a:lnTo>
                  <a:lnTo>
                    <a:pt x="585" y="155"/>
                  </a:lnTo>
                  <a:lnTo>
                    <a:pt x="587" y="155"/>
                  </a:lnTo>
                  <a:lnTo>
                    <a:pt x="589" y="153"/>
                  </a:lnTo>
                  <a:lnTo>
                    <a:pt x="590" y="153"/>
                  </a:lnTo>
                  <a:lnTo>
                    <a:pt x="592" y="153"/>
                  </a:lnTo>
                  <a:lnTo>
                    <a:pt x="595" y="153"/>
                  </a:lnTo>
                  <a:lnTo>
                    <a:pt x="597" y="152"/>
                  </a:lnTo>
                  <a:lnTo>
                    <a:pt x="598" y="152"/>
                  </a:lnTo>
                  <a:lnTo>
                    <a:pt x="602" y="152"/>
                  </a:lnTo>
                  <a:lnTo>
                    <a:pt x="603" y="153"/>
                  </a:lnTo>
                  <a:lnTo>
                    <a:pt x="607" y="152"/>
                  </a:lnTo>
                  <a:lnTo>
                    <a:pt x="608" y="152"/>
                  </a:lnTo>
                  <a:lnTo>
                    <a:pt x="610" y="152"/>
                  </a:lnTo>
                  <a:lnTo>
                    <a:pt x="610" y="150"/>
                  </a:lnTo>
                  <a:lnTo>
                    <a:pt x="612" y="150"/>
                  </a:lnTo>
                  <a:lnTo>
                    <a:pt x="613" y="150"/>
                  </a:lnTo>
                  <a:lnTo>
                    <a:pt x="618" y="148"/>
                  </a:lnTo>
                  <a:lnTo>
                    <a:pt x="620" y="147"/>
                  </a:lnTo>
                  <a:lnTo>
                    <a:pt x="621" y="147"/>
                  </a:lnTo>
                  <a:lnTo>
                    <a:pt x="621" y="145"/>
                  </a:lnTo>
                  <a:lnTo>
                    <a:pt x="623" y="145"/>
                  </a:lnTo>
                  <a:lnTo>
                    <a:pt x="625" y="145"/>
                  </a:lnTo>
                  <a:lnTo>
                    <a:pt x="625" y="143"/>
                  </a:lnTo>
                  <a:lnTo>
                    <a:pt x="626" y="143"/>
                  </a:lnTo>
                  <a:lnTo>
                    <a:pt x="631" y="140"/>
                  </a:lnTo>
                  <a:lnTo>
                    <a:pt x="633" y="139"/>
                  </a:lnTo>
                  <a:lnTo>
                    <a:pt x="634" y="137"/>
                  </a:lnTo>
                  <a:lnTo>
                    <a:pt x="636" y="137"/>
                  </a:lnTo>
                  <a:lnTo>
                    <a:pt x="638" y="135"/>
                  </a:lnTo>
                  <a:lnTo>
                    <a:pt x="639" y="135"/>
                  </a:lnTo>
                  <a:lnTo>
                    <a:pt x="641" y="134"/>
                  </a:lnTo>
                  <a:lnTo>
                    <a:pt x="642" y="134"/>
                  </a:lnTo>
                  <a:lnTo>
                    <a:pt x="642" y="132"/>
                  </a:lnTo>
                  <a:lnTo>
                    <a:pt x="644" y="132"/>
                  </a:lnTo>
                  <a:lnTo>
                    <a:pt x="646" y="132"/>
                  </a:lnTo>
                  <a:lnTo>
                    <a:pt x="646" y="130"/>
                  </a:lnTo>
                  <a:lnTo>
                    <a:pt x="647" y="130"/>
                  </a:lnTo>
                  <a:lnTo>
                    <a:pt x="651" y="122"/>
                  </a:lnTo>
                  <a:lnTo>
                    <a:pt x="651" y="121"/>
                  </a:lnTo>
                  <a:lnTo>
                    <a:pt x="652" y="117"/>
                  </a:lnTo>
                  <a:lnTo>
                    <a:pt x="654" y="117"/>
                  </a:lnTo>
                  <a:lnTo>
                    <a:pt x="655" y="116"/>
                  </a:lnTo>
                  <a:lnTo>
                    <a:pt x="657" y="116"/>
                  </a:lnTo>
                  <a:lnTo>
                    <a:pt x="659" y="116"/>
                  </a:lnTo>
                  <a:lnTo>
                    <a:pt x="659" y="117"/>
                  </a:lnTo>
                  <a:lnTo>
                    <a:pt x="660" y="117"/>
                  </a:lnTo>
                  <a:lnTo>
                    <a:pt x="662" y="119"/>
                  </a:lnTo>
                  <a:lnTo>
                    <a:pt x="665" y="121"/>
                  </a:lnTo>
                  <a:lnTo>
                    <a:pt x="667" y="122"/>
                  </a:lnTo>
                  <a:lnTo>
                    <a:pt x="665" y="121"/>
                  </a:lnTo>
                  <a:lnTo>
                    <a:pt x="667" y="121"/>
                  </a:lnTo>
                  <a:lnTo>
                    <a:pt x="665" y="121"/>
                  </a:lnTo>
                  <a:lnTo>
                    <a:pt x="664" y="121"/>
                  </a:lnTo>
                  <a:lnTo>
                    <a:pt x="664" y="119"/>
                  </a:lnTo>
                  <a:lnTo>
                    <a:pt x="665" y="119"/>
                  </a:lnTo>
                  <a:lnTo>
                    <a:pt x="664" y="119"/>
                  </a:lnTo>
                  <a:lnTo>
                    <a:pt x="664" y="117"/>
                  </a:lnTo>
                  <a:lnTo>
                    <a:pt x="664" y="119"/>
                  </a:lnTo>
                  <a:lnTo>
                    <a:pt x="664" y="117"/>
                  </a:lnTo>
                  <a:lnTo>
                    <a:pt x="665" y="117"/>
                  </a:lnTo>
                  <a:lnTo>
                    <a:pt x="667" y="117"/>
                  </a:lnTo>
                  <a:lnTo>
                    <a:pt x="665" y="117"/>
                  </a:lnTo>
                  <a:lnTo>
                    <a:pt x="667" y="117"/>
                  </a:lnTo>
                  <a:lnTo>
                    <a:pt x="665" y="116"/>
                  </a:lnTo>
                  <a:lnTo>
                    <a:pt x="664" y="117"/>
                  </a:lnTo>
                  <a:lnTo>
                    <a:pt x="664" y="116"/>
                  </a:lnTo>
                  <a:lnTo>
                    <a:pt x="662" y="113"/>
                  </a:lnTo>
                  <a:lnTo>
                    <a:pt x="662" y="111"/>
                  </a:lnTo>
                  <a:lnTo>
                    <a:pt x="660" y="111"/>
                  </a:lnTo>
                  <a:lnTo>
                    <a:pt x="662" y="111"/>
                  </a:lnTo>
                  <a:lnTo>
                    <a:pt x="660" y="109"/>
                  </a:lnTo>
                  <a:lnTo>
                    <a:pt x="659" y="109"/>
                  </a:lnTo>
                  <a:lnTo>
                    <a:pt x="657" y="109"/>
                  </a:lnTo>
                  <a:lnTo>
                    <a:pt x="657" y="108"/>
                  </a:lnTo>
                  <a:lnTo>
                    <a:pt x="657" y="106"/>
                  </a:lnTo>
                  <a:lnTo>
                    <a:pt x="657" y="104"/>
                  </a:lnTo>
                  <a:lnTo>
                    <a:pt x="659" y="100"/>
                  </a:lnTo>
                  <a:lnTo>
                    <a:pt x="659" y="98"/>
                  </a:lnTo>
                  <a:lnTo>
                    <a:pt x="659" y="96"/>
                  </a:lnTo>
                  <a:lnTo>
                    <a:pt x="660" y="95"/>
                  </a:lnTo>
                  <a:lnTo>
                    <a:pt x="662" y="95"/>
                  </a:lnTo>
                  <a:lnTo>
                    <a:pt x="664" y="95"/>
                  </a:lnTo>
                  <a:lnTo>
                    <a:pt x="665" y="95"/>
                  </a:lnTo>
                  <a:lnTo>
                    <a:pt x="664" y="93"/>
                  </a:lnTo>
                  <a:lnTo>
                    <a:pt x="662" y="91"/>
                  </a:lnTo>
                  <a:lnTo>
                    <a:pt x="662" y="90"/>
                  </a:lnTo>
                  <a:lnTo>
                    <a:pt x="660" y="90"/>
                  </a:lnTo>
                  <a:lnTo>
                    <a:pt x="660" y="88"/>
                  </a:lnTo>
                  <a:lnTo>
                    <a:pt x="662" y="88"/>
                  </a:lnTo>
                  <a:lnTo>
                    <a:pt x="662" y="87"/>
                  </a:lnTo>
                  <a:lnTo>
                    <a:pt x="662" y="85"/>
                  </a:lnTo>
                  <a:lnTo>
                    <a:pt x="664" y="83"/>
                  </a:lnTo>
                  <a:lnTo>
                    <a:pt x="664" y="80"/>
                  </a:lnTo>
                  <a:lnTo>
                    <a:pt x="664" y="78"/>
                  </a:lnTo>
                  <a:lnTo>
                    <a:pt x="665" y="74"/>
                  </a:lnTo>
                  <a:lnTo>
                    <a:pt x="665" y="72"/>
                  </a:lnTo>
                  <a:lnTo>
                    <a:pt x="665" y="70"/>
                  </a:lnTo>
                  <a:lnTo>
                    <a:pt x="667" y="70"/>
                  </a:lnTo>
                  <a:lnTo>
                    <a:pt x="668" y="72"/>
                  </a:lnTo>
                  <a:lnTo>
                    <a:pt x="668" y="74"/>
                  </a:lnTo>
                  <a:lnTo>
                    <a:pt x="668" y="72"/>
                  </a:lnTo>
                  <a:lnTo>
                    <a:pt x="667" y="70"/>
                  </a:lnTo>
                  <a:lnTo>
                    <a:pt x="667" y="69"/>
                  </a:lnTo>
                  <a:lnTo>
                    <a:pt x="667" y="67"/>
                  </a:lnTo>
                  <a:lnTo>
                    <a:pt x="665" y="67"/>
                  </a:lnTo>
                  <a:lnTo>
                    <a:pt x="665" y="65"/>
                  </a:lnTo>
                  <a:lnTo>
                    <a:pt x="665" y="64"/>
                  </a:lnTo>
                  <a:lnTo>
                    <a:pt x="667" y="57"/>
                  </a:lnTo>
                  <a:lnTo>
                    <a:pt x="667" y="56"/>
                  </a:lnTo>
                  <a:lnTo>
                    <a:pt x="667" y="52"/>
                  </a:lnTo>
                  <a:lnTo>
                    <a:pt x="665" y="49"/>
                  </a:lnTo>
                  <a:lnTo>
                    <a:pt x="667" y="48"/>
                  </a:lnTo>
                  <a:lnTo>
                    <a:pt x="665" y="48"/>
                  </a:lnTo>
                  <a:lnTo>
                    <a:pt x="667" y="46"/>
                  </a:lnTo>
                  <a:lnTo>
                    <a:pt x="667" y="44"/>
                  </a:lnTo>
                  <a:lnTo>
                    <a:pt x="667" y="43"/>
                  </a:lnTo>
                  <a:lnTo>
                    <a:pt x="667" y="44"/>
                  </a:lnTo>
                  <a:lnTo>
                    <a:pt x="667" y="43"/>
                  </a:lnTo>
                  <a:lnTo>
                    <a:pt x="668" y="43"/>
                  </a:lnTo>
                  <a:lnTo>
                    <a:pt x="667" y="44"/>
                  </a:lnTo>
                  <a:lnTo>
                    <a:pt x="668" y="44"/>
                  </a:lnTo>
                  <a:lnTo>
                    <a:pt x="667" y="44"/>
                  </a:lnTo>
                  <a:lnTo>
                    <a:pt x="668" y="44"/>
                  </a:lnTo>
                  <a:lnTo>
                    <a:pt x="668" y="43"/>
                  </a:lnTo>
                  <a:lnTo>
                    <a:pt x="670" y="43"/>
                  </a:lnTo>
                  <a:lnTo>
                    <a:pt x="670" y="39"/>
                  </a:lnTo>
                  <a:lnTo>
                    <a:pt x="672" y="38"/>
                  </a:lnTo>
                  <a:lnTo>
                    <a:pt x="672" y="36"/>
                  </a:lnTo>
                  <a:lnTo>
                    <a:pt x="672" y="35"/>
                  </a:lnTo>
                  <a:lnTo>
                    <a:pt x="672" y="33"/>
                  </a:lnTo>
                  <a:lnTo>
                    <a:pt x="672" y="30"/>
                  </a:lnTo>
                  <a:lnTo>
                    <a:pt x="670" y="30"/>
                  </a:lnTo>
                  <a:lnTo>
                    <a:pt x="670" y="28"/>
                  </a:lnTo>
                  <a:lnTo>
                    <a:pt x="670" y="26"/>
                  </a:lnTo>
                  <a:lnTo>
                    <a:pt x="670" y="25"/>
                  </a:lnTo>
                  <a:lnTo>
                    <a:pt x="670" y="23"/>
                  </a:lnTo>
                  <a:lnTo>
                    <a:pt x="672" y="23"/>
                  </a:lnTo>
                  <a:lnTo>
                    <a:pt x="673" y="23"/>
                  </a:lnTo>
                  <a:lnTo>
                    <a:pt x="675" y="23"/>
                  </a:lnTo>
                  <a:lnTo>
                    <a:pt x="677" y="22"/>
                  </a:lnTo>
                  <a:lnTo>
                    <a:pt x="678" y="20"/>
                  </a:lnTo>
                  <a:lnTo>
                    <a:pt x="680" y="20"/>
                  </a:lnTo>
                  <a:lnTo>
                    <a:pt x="681" y="18"/>
                  </a:lnTo>
                  <a:lnTo>
                    <a:pt x="683" y="17"/>
                  </a:lnTo>
                  <a:lnTo>
                    <a:pt x="683" y="15"/>
                  </a:lnTo>
                  <a:lnTo>
                    <a:pt x="685" y="15"/>
                  </a:lnTo>
                  <a:lnTo>
                    <a:pt x="688" y="13"/>
                  </a:lnTo>
                  <a:lnTo>
                    <a:pt x="690" y="13"/>
                  </a:lnTo>
                  <a:lnTo>
                    <a:pt x="691" y="12"/>
                  </a:lnTo>
                  <a:lnTo>
                    <a:pt x="693" y="12"/>
                  </a:lnTo>
                  <a:lnTo>
                    <a:pt x="694" y="12"/>
                  </a:lnTo>
                  <a:lnTo>
                    <a:pt x="696" y="12"/>
                  </a:lnTo>
                  <a:lnTo>
                    <a:pt x="698" y="12"/>
                  </a:lnTo>
                  <a:lnTo>
                    <a:pt x="696" y="12"/>
                  </a:lnTo>
                  <a:lnTo>
                    <a:pt x="696" y="10"/>
                  </a:lnTo>
                  <a:lnTo>
                    <a:pt x="698" y="12"/>
                  </a:lnTo>
                  <a:lnTo>
                    <a:pt x="699" y="10"/>
                  </a:lnTo>
                  <a:lnTo>
                    <a:pt x="701" y="10"/>
                  </a:lnTo>
                  <a:lnTo>
                    <a:pt x="703" y="10"/>
                  </a:lnTo>
                  <a:lnTo>
                    <a:pt x="704" y="8"/>
                  </a:lnTo>
                  <a:lnTo>
                    <a:pt x="706" y="8"/>
                  </a:lnTo>
                  <a:lnTo>
                    <a:pt x="707" y="8"/>
                  </a:lnTo>
                  <a:lnTo>
                    <a:pt x="709" y="8"/>
                  </a:lnTo>
                  <a:lnTo>
                    <a:pt x="711" y="8"/>
                  </a:lnTo>
                  <a:lnTo>
                    <a:pt x="717" y="8"/>
                  </a:lnTo>
                  <a:lnTo>
                    <a:pt x="719" y="8"/>
                  </a:lnTo>
                  <a:lnTo>
                    <a:pt x="719" y="7"/>
                  </a:lnTo>
                  <a:lnTo>
                    <a:pt x="720" y="7"/>
                  </a:lnTo>
                  <a:lnTo>
                    <a:pt x="722" y="7"/>
                  </a:lnTo>
                  <a:lnTo>
                    <a:pt x="724" y="7"/>
                  </a:lnTo>
                  <a:lnTo>
                    <a:pt x="724" y="5"/>
                  </a:lnTo>
                  <a:lnTo>
                    <a:pt x="725" y="5"/>
                  </a:lnTo>
                  <a:lnTo>
                    <a:pt x="724" y="5"/>
                  </a:lnTo>
                  <a:lnTo>
                    <a:pt x="725" y="5"/>
                  </a:lnTo>
                  <a:lnTo>
                    <a:pt x="724" y="5"/>
                  </a:lnTo>
                  <a:lnTo>
                    <a:pt x="724" y="7"/>
                  </a:lnTo>
                  <a:lnTo>
                    <a:pt x="725" y="7"/>
                  </a:lnTo>
                  <a:lnTo>
                    <a:pt x="725" y="8"/>
                  </a:lnTo>
                  <a:lnTo>
                    <a:pt x="727" y="8"/>
                  </a:lnTo>
                  <a:lnTo>
                    <a:pt x="727" y="10"/>
                  </a:lnTo>
                  <a:lnTo>
                    <a:pt x="727" y="8"/>
                  </a:lnTo>
                  <a:lnTo>
                    <a:pt x="729" y="7"/>
                  </a:lnTo>
                  <a:lnTo>
                    <a:pt x="727" y="7"/>
                  </a:lnTo>
                  <a:lnTo>
                    <a:pt x="729" y="7"/>
                  </a:lnTo>
                  <a:lnTo>
                    <a:pt x="729" y="5"/>
                  </a:lnTo>
                  <a:lnTo>
                    <a:pt x="727" y="5"/>
                  </a:lnTo>
                  <a:lnTo>
                    <a:pt x="727" y="4"/>
                  </a:lnTo>
                  <a:lnTo>
                    <a:pt x="725" y="4"/>
                  </a:lnTo>
                  <a:lnTo>
                    <a:pt x="727" y="4"/>
                  </a:lnTo>
                  <a:lnTo>
                    <a:pt x="727" y="5"/>
                  </a:lnTo>
                  <a:lnTo>
                    <a:pt x="729" y="5"/>
                  </a:lnTo>
                  <a:lnTo>
                    <a:pt x="730" y="5"/>
                  </a:lnTo>
                  <a:lnTo>
                    <a:pt x="732" y="5"/>
                  </a:lnTo>
                  <a:lnTo>
                    <a:pt x="733" y="5"/>
                  </a:lnTo>
                  <a:lnTo>
                    <a:pt x="733" y="7"/>
                  </a:lnTo>
                  <a:lnTo>
                    <a:pt x="735" y="5"/>
                  </a:lnTo>
                  <a:lnTo>
                    <a:pt x="735" y="7"/>
                  </a:lnTo>
                  <a:lnTo>
                    <a:pt x="735" y="5"/>
                  </a:lnTo>
                  <a:lnTo>
                    <a:pt x="735" y="7"/>
                  </a:lnTo>
                  <a:lnTo>
                    <a:pt x="735" y="5"/>
                  </a:lnTo>
                  <a:lnTo>
                    <a:pt x="737" y="5"/>
                  </a:lnTo>
                  <a:lnTo>
                    <a:pt x="740" y="4"/>
                  </a:lnTo>
                  <a:lnTo>
                    <a:pt x="742" y="5"/>
                  </a:lnTo>
                  <a:lnTo>
                    <a:pt x="743" y="5"/>
                  </a:lnTo>
                  <a:lnTo>
                    <a:pt x="743" y="7"/>
                  </a:lnTo>
                  <a:lnTo>
                    <a:pt x="743" y="5"/>
                  </a:lnTo>
                  <a:lnTo>
                    <a:pt x="743" y="7"/>
                  </a:lnTo>
                  <a:lnTo>
                    <a:pt x="745" y="7"/>
                  </a:lnTo>
                  <a:lnTo>
                    <a:pt x="745" y="5"/>
                  </a:lnTo>
                  <a:lnTo>
                    <a:pt x="743" y="5"/>
                  </a:lnTo>
                  <a:lnTo>
                    <a:pt x="743" y="4"/>
                  </a:lnTo>
                  <a:lnTo>
                    <a:pt x="745" y="5"/>
                  </a:lnTo>
                  <a:lnTo>
                    <a:pt x="748" y="5"/>
                  </a:lnTo>
                  <a:lnTo>
                    <a:pt x="753" y="4"/>
                  </a:lnTo>
                  <a:lnTo>
                    <a:pt x="756" y="2"/>
                  </a:lnTo>
                  <a:lnTo>
                    <a:pt x="760" y="2"/>
                  </a:lnTo>
                  <a:lnTo>
                    <a:pt x="761" y="0"/>
                  </a:lnTo>
                  <a:lnTo>
                    <a:pt x="761" y="4"/>
                  </a:lnTo>
                  <a:lnTo>
                    <a:pt x="763" y="5"/>
                  </a:lnTo>
                  <a:lnTo>
                    <a:pt x="761" y="7"/>
                  </a:lnTo>
                  <a:lnTo>
                    <a:pt x="763" y="10"/>
                  </a:lnTo>
                  <a:lnTo>
                    <a:pt x="763" y="12"/>
                  </a:lnTo>
                  <a:lnTo>
                    <a:pt x="763" y="13"/>
                  </a:lnTo>
                  <a:lnTo>
                    <a:pt x="763" y="15"/>
                  </a:lnTo>
                  <a:lnTo>
                    <a:pt x="764" y="15"/>
                  </a:lnTo>
                  <a:lnTo>
                    <a:pt x="764" y="17"/>
                  </a:lnTo>
                  <a:lnTo>
                    <a:pt x="764" y="18"/>
                  </a:lnTo>
                  <a:lnTo>
                    <a:pt x="766" y="20"/>
                  </a:lnTo>
                  <a:lnTo>
                    <a:pt x="766" y="22"/>
                  </a:lnTo>
                  <a:lnTo>
                    <a:pt x="761" y="25"/>
                  </a:lnTo>
                  <a:lnTo>
                    <a:pt x="761" y="26"/>
                  </a:lnTo>
                  <a:lnTo>
                    <a:pt x="763" y="26"/>
                  </a:lnTo>
                  <a:lnTo>
                    <a:pt x="763" y="28"/>
                  </a:lnTo>
                  <a:lnTo>
                    <a:pt x="763" y="30"/>
                  </a:lnTo>
                  <a:lnTo>
                    <a:pt x="763" y="33"/>
                  </a:lnTo>
                  <a:lnTo>
                    <a:pt x="763" y="35"/>
                  </a:lnTo>
                  <a:lnTo>
                    <a:pt x="763" y="36"/>
                  </a:lnTo>
                  <a:lnTo>
                    <a:pt x="764" y="36"/>
                  </a:lnTo>
                  <a:lnTo>
                    <a:pt x="764" y="39"/>
                  </a:lnTo>
                  <a:lnTo>
                    <a:pt x="766" y="41"/>
                  </a:lnTo>
                  <a:lnTo>
                    <a:pt x="768" y="39"/>
                  </a:lnTo>
                  <a:lnTo>
                    <a:pt x="769" y="41"/>
                  </a:lnTo>
                  <a:lnTo>
                    <a:pt x="773" y="41"/>
                  </a:lnTo>
                  <a:lnTo>
                    <a:pt x="773" y="43"/>
                  </a:lnTo>
                  <a:lnTo>
                    <a:pt x="773" y="44"/>
                  </a:lnTo>
                  <a:lnTo>
                    <a:pt x="774" y="46"/>
                  </a:lnTo>
                  <a:lnTo>
                    <a:pt x="776" y="48"/>
                  </a:lnTo>
                  <a:lnTo>
                    <a:pt x="776" y="49"/>
                  </a:lnTo>
                  <a:lnTo>
                    <a:pt x="776" y="51"/>
                  </a:lnTo>
                  <a:lnTo>
                    <a:pt x="777" y="51"/>
                  </a:lnTo>
                  <a:lnTo>
                    <a:pt x="777" y="52"/>
                  </a:lnTo>
                  <a:lnTo>
                    <a:pt x="777" y="54"/>
                  </a:lnTo>
                  <a:lnTo>
                    <a:pt x="781" y="56"/>
                  </a:lnTo>
                  <a:lnTo>
                    <a:pt x="782" y="56"/>
                  </a:lnTo>
                  <a:lnTo>
                    <a:pt x="784" y="57"/>
                  </a:lnTo>
                  <a:lnTo>
                    <a:pt x="784" y="59"/>
                  </a:lnTo>
                  <a:lnTo>
                    <a:pt x="787" y="61"/>
                  </a:lnTo>
                  <a:lnTo>
                    <a:pt x="789" y="61"/>
                  </a:lnTo>
                  <a:lnTo>
                    <a:pt x="789" y="59"/>
                  </a:lnTo>
                  <a:lnTo>
                    <a:pt x="790" y="59"/>
                  </a:lnTo>
                  <a:lnTo>
                    <a:pt x="790" y="57"/>
                  </a:lnTo>
                  <a:lnTo>
                    <a:pt x="790" y="56"/>
                  </a:lnTo>
                  <a:lnTo>
                    <a:pt x="792" y="56"/>
                  </a:lnTo>
                  <a:lnTo>
                    <a:pt x="792" y="54"/>
                  </a:lnTo>
                  <a:lnTo>
                    <a:pt x="792" y="52"/>
                  </a:lnTo>
                  <a:lnTo>
                    <a:pt x="795" y="52"/>
                  </a:lnTo>
                  <a:lnTo>
                    <a:pt x="797" y="51"/>
                  </a:lnTo>
                  <a:lnTo>
                    <a:pt x="799" y="51"/>
                  </a:lnTo>
                  <a:lnTo>
                    <a:pt x="800" y="51"/>
                  </a:lnTo>
                  <a:lnTo>
                    <a:pt x="803" y="49"/>
                  </a:lnTo>
                  <a:lnTo>
                    <a:pt x="805" y="51"/>
                  </a:lnTo>
                  <a:lnTo>
                    <a:pt x="808" y="49"/>
                  </a:lnTo>
                  <a:lnTo>
                    <a:pt x="810" y="49"/>
                  </a:lnTo>
                  <a:lnTo>
                    <a:pt x="812" y="49"/>
                  </a:lnTo>
                  <a:lnTo>
                    <a:pt x="812" y="51"/>
                  </a:lnTo>
                  <a:lnTo>
                    <a:pt x="813" y="54"/>
                  </a:lnTo>
                  <a:lnTo>
                    <a:pt x="813" y="57"/>
                  </a:lnTo>
                  <a:lnTo>
                    <a:pt x="815" y="61"/>
                  </a:lnTo>
                  <a:lnTo>
                    <a:pt x="816" y="61"/>
                  </a:lnTo>
                  <a:lnTo>
                    <a:pt x="818" y="61"/>
                  </a:lnTo>
                  <a:lnTo>
                    <a:pt x="820" y="62"/>
                  </a:lnTo>
                  <a:lnTo>
                    <a:pt x="820" y="64"/>
                  </a:lnTo>
                  <a:lnTo>
                    <a:pt x="820" y="65"/>
                  </a:lnTo>
                  <a:lnTo>
                    <a:pt x="818" y="67"/>
                  </a:lnTo>
                  <a:lnTo>
                    <a:pt x="818" y="70"/>
                  </a:lnTo>
                  <a:lnTo>
                    <a:pt x="818" y="72"/>
                  </a:lnTo>
                  <a:lnTo>
                    <a:pt x="818" y="74"/>
                  </a:lnTo>
                  <a:lnTo>
                    <a:pt x="820" y="75"/>
                  </a:lnTo>
                  <a:lnTo>
                    <a:pt x="820" y="77"/>
                  </a:lnTo>
                  <a:lnTo>
                    <a:pt x="820" y="80"/>
                  </a:lnTo>
                  <a:lnTo>
                    <a:pt x="820" y="83"/>
                  </a:lnTo>
                  <a:lnTo>
                    <a:pt x="820" y="85"/>
                  </a:lnTo>
                  <a:lnTo>
                    <a:pt x="820" y="87"/>
                  </a:lnTo>
                  <a:lnTo>
                    <a:pt x="820" y="88"/>
                  </a:lnTo>
                  <a:lnTo>
                    <a:pt x="821" y="90"/>
                  </a:lnTo>
                  <a:lnTo>
                    <a:pt x="823" y="90"/>
                  </a:lnTo>
                  <a:lnTo>
                    <a:pt x="825" y="91"/>
                  </a:lnTo>
                  <a:lnTo>
                    <a:pt x="826" y="91"/>
                  </a:lnTo>
                  <a:lnTo>
                    <a:pt x="828" y="93"/>
                  </a:lnTo>
                  <a:lnTo>
                    <a:pt x="829" y="93"/>
                  </a:lnTo>
                  <a:lnTo>
                    <a:pt x="833" y="91"/>
                  </a:lnTo>
                  <a:lnTo>
                    <a:pt x="834" y="91"/>
                  </a:lnTo>
                  <a:lnTo>
                    <a:pt x="836" y="88"/>
                  </a:lnTo>
                  <a:lnTo>
                    <a:pt x="838" y="88"/>
                  </a:lnTo>
                  <a:lnTo>
                    <a:pt x="839" y="88"/>
                  </a:lnTo>
                  <a:lnTo>
                    <a:pt x="841" y="90"/>
                  </a:lnTo>
                  <a:lnTo>
                    <a:pt x="841" y="91"/>
                  </a:lnTo>
                  <a:lnTo>
                    <a:pt x="838" y="93"/>
                  </a:lnTo>
                  <a:lnTo>
                    <a:pt x="839" y="95"/>
                  </a:lnTo>
                  <a:lnTo>
                    <a:pt x="841" y="95"/>
                  </a:lnTo>
                  <a:lnTo>
                    <a:pt x="842" y="95"/>
                  </a:lnTo>
                  <a:lnTo>
                    <a:pt x="844" y="95"/>
                  </a:lnTo>
                  <a:lnTo>
                    <a:pt x="846" y="93"/>
                  </a:lnTo>
                  <a:lnTo>
                    <a:pt x="846" y="95"/>
                  </a:lnTo>
                  <a:lnTo>
                    <a:pt x="847" y="96"/>
                  </a:lnTo>
                  <a:lnTo>
                    <a:pt x="849" y="95"/>
                  </a:lnTo>
                  <a:lnTo>
                    <a:pt x="851" y="98"/>
                  </a:lnTo>
                  <a:lnTo>
                    <a:pt x="851" y="100"/>
                  </a:lnTo>
                  <a:lnTo>
                    <a:pt x="852" y="100"/>
                  </a:lnTo>
                  <a:lnTo>
                    <a:pt x="852" y="101"/>
                  </a:lnTo>
                  <a:lnTo>
                    <a:pt x="852" y="103"/>
                  </a:lnTo>
                  <a:lnTo>
                    <a:pt x="854" y="103"/>
                  </a:lnTo>
                  <a:lnTo>
                    <a:pt x="854" y="104"/>
                  </a:lnTo>
                  <a:lnTo>
                    <a:pt x="852" y="106"/>
                  </a:lnTo>
                  <a:lnTo>
                    <a:pt x="852" y="108"/>
                  </a:lnTo>
                  <a:lnTo>
                    <a:pt x="854" y="111"/>
                  </a:lnTo>
                  <a:lnTo>
                    <a:pt x="852" y="111"/>
                  </a:lnTo>
                  <a:lnTo>
                    <a:pt x="852" y="113"/>
                  </a:lnTo>
                  <a:lnTo>
                    <a:pt x="852" y="114"/>
                  </a:lnTo>
                  <a:lnTo>
                    <a:pt x="852" y="116"/>
                  </a:lnTo>
                  <a:lnTo>
                    <a:pt x="852" y="117"/>
                  </a:lnTo>
                  <a:lnTo>
                    <a:pt x="852" y="119"/>
                  </a:lnTo>
                  <a:lnTo>
                    <a:pt x="854" y="119"/>
                  </a:lnTo>
                  <a:lnTo>
                    <a:pt x="855" y="119"/>
                  </a:lnTo>
                  <a:lnTo>
                    <a:pt x="855" y="121"/>
                  </a:lnTo>
                  <a:lnTo>
                    <a:pt x="854" y="121"/>
                  </a:lnTo>
                  <a:lnTo>
                    <a:pt x="855" y="122"/>
                  </a:lnTo>
                  <a:lnTo>
                    <a:pt x="855" y="121"/>
                  </a:lnTo>
                  <a:lnTo>
                    <a:pt x="857" y="121"/>
                  </a:lnTo>
                  <a:lnTo>
                    <a:pt x="857" y="122"/>
                  </a:lnTo>
                  <a:lnTo>
                    <a:pt x="857" y="121"/>
                  </a:lnTo>
                  <a:lnTo>
                    <a:pt x="859" y="119"/>
                  </a:lnTo>
                  <a:lnTo>
                    <a:pt x="859" y="117"/>
                  </a:lnTo>
                  <a:lnTo>
                    <a:pt x="860" y="117"/>
                  </a:lnTo>
                  <a:lnTo>
                    <a:pt x="865" y="117"/>
                  </a:lnTo>
                  <a:lnTo>
                    <a:pt x="865" y="116"/>
                  </a:lnTo>
                  <a:lnTo>
                    <a:pt x="865" y="117"/>
                  </a:lnTo>
                  <a:lnTo>
                    <a:pt x="867" y="117"/>
                  </a:lnTo>
                  <a:lnTo>
                    <a:pt x="868" y="117"/>
                  </a:lnTo>
                  <a:lnTo>
                    <a:pt x="870" y="117"/>
                  </a:lnTo>
                  <a:lnTo>
                    <a:pt x="870" y="119"/>
                  </a:lnTo>
                  <a:lnTo>
                    <a:pt x="872" y="119"/>
                  </a:lnTo>
                  <a:lnTo>
                    <a:pt x="872" y="121"/>
                  </a:lnTo>
                  <a:lnTo>
                    <a:pt x="873" y="121"/>
                  </a:lnTo>
                  <a:lnTo>
                    <a:pt x="875" y="121"/>
                  </a:lnTo>
                  <a:lnTo>
                    <a:pt x="880" y="119"/>
                  </a:lnTo>
                  <a:lnTo>
                    <a:pt x="881" y="119"/>
                  </a:lnTo>
                  <a:lnTo>
                    <a:pt x="883" y="119"/>
                  </a:lnTo>
                  <a:lnTo>
                    <a:pt x="885" y="119"/>
                  </a:lnTo>
                  <a:lnTo>
                    <a:pt x="885" y="117"/>
                  </a:lnTo>
                  <a:lnTo>
                    <a:pt x="886" y="117"/>
                  </a:lnTo>
                  <a:lnTo>
                    <a:pt x="886" y="119"/>
                  </a:lnTo>
                  <a:lnTo>
                    <a:pt x="888" y="121"/>
                  </a:lnTo>
                  <a:lnTo>
                    <a:pt x="888" y="122"/>
                  </a:lnTo>
                  <a:lnTo>
                    <a:pt x="890" y="122"/>
                  </a:lnTo>
                  <a:lnTo>
                    <a:pt x="890" y="124"/>
                  </a:lnTo>
                  <a:lnTo>
                    <a:pt x="890" y="126"/>
                  </a:lnTo>
                  <a:lnTo>
                    <a:pt x="891" y="124"/>
                  </a:lnTo>
                  <a:lnTo>
                    <a:pt x="893" y="126"/>
                  </a:lnTo>
                  <a:lnTo>
                    <a:pt x="894" y="127"/>
                  </a:lnTo>
                  <a:lnTo>
                    <a:pt x="893" y="130"/>
                  </a:lnTo>
                  <a:lnTo>
                    <a:pt x="894" y="130"/>
                  </a:lnTo>
                  <a:lnTo>
                    <a:pt x="894" y="132"/>
                  </a:lnTo>
                  <a:lnTo>
                    <a:pt x="896" y="132"/>
                  </a:lnTo>
                  <a:lnTo>
                    <a:pt x="898" y="132"/>
                  </a:lnTo>
                  <a:lnTo>
                    <a:pt x="898" y="130"/>
                  </a:lnTo>
                  <a:lnTo>
                    <a:pt x="896" y="130"/>
                  </a:lnTo>
                  <a:lnTo>
                    <a:pt x="896" y="129"/>
                  </a:lnTo>
                  <a:lnTo>
                    <a:pt x="898" y="129"/>
                  </a:lnTo>
                  <a:lnTo>
                    <a:pt x="898" y="130"/>
                  </a:lnTo>
                  <a:lnTo>
                    <a:pt x="899" y="130"/>
                  </a:lnTo>
                  <a:lnTo>
                    <a:pt x="901" y="132"/>
                  </a:lnTo>
                  <a:lnTo>
                    <a:pt x="903" y="134"/>
                  </a:lnTo>
                  <a:lnTo>
                    <a:pt x="901" y="135"/>
                  </a:lnTo>
                  <a:lnTo>
                    <a:pt x="898" y="137"/>
                  </a:lnTo>
                  <a:lnTo>
                    <a:pt x="898" y="139"/>
                  </a:lnTo>
                  <a:lnTo>
                    <a:pt x="896" y="139"/>
                  </a:lnTo>
                  <a:lnTo>
                    <a:pt x="896" y="140"/>
                  </a:lnTo>
                  <a:lnTo>
                    <a:pt x="896" y="142"/>
                  </a:lnTo>
                  <a:lnTo>
                    <a:pt x="894" y="145"/>
                  </a:lnTo>
                  <a:lnTo>
                    <a:pt x="894" y="147"/>
                  </a:lnTo>
                  <a:lnTo>
                    <a:pt x="893" y="147"/>
                  </a:lnTo>
                  <a:lnTo>
                    <a:pt x="893" y="148"/>
                  </a:lnTo>
                  <a:lnTo>
                    <a:pt x="893" y="150"/>
                  </a:lnTo>
                  <a:lnTo>
                    <a:pt x="891" y="152"/>
                  </a:lnTo>
                  <a:lnTo>
                    <a:pt x="893" y="152"/>
                  </a:lnTo>
                  <a:lnTo>
                    <a:pt x="894" y="152"/>
                  </a:lnTo>
                  <a:lnTo>
                    <a:pt x="894" y="150"/>
                  </a:lnTo>
                  <a:lnTo>
                    <a:pt x="896" y="152"/>
                  </a:lnTo>
                  <a:lnTo>
                    <a:pt x="898" y="152"/>
                  </a:lnTo>
                  <a:lnTo>
                    <a:pt x="899" y="152"/>
                  </a:lnTo>
                  <a:lnTo>
                    <a:pt x="899" y="153"/>
                  </a:lnTo>
                  <a:lnTo>
                    <a:pt x="898" y="155"/>
                  </a:lnTo>
                  <a:lnTo>
                    <a:pt x="899" y="155"/>
                  </a:lnTo>
                  <a:lnTo>
                    <a:pt x="899" y="157"/>
                  </a:lnTo>
                  <a:lnTo>
                    <a:pt x="899" y="158"/>
                  </a:lnTo>
                  <a:lnTo>
                    <a:pt x="901" y="158"/>
                  </a:lnTo>
                  <a:lnTo>
                    <a:pt x="901" y="160"/>
                  </a:lnTo>
                  <a:lnTo>
                    <a:pt x="899" y="161"/>
                  </a:lnTo>
                  <a:lnTo>
                    <a:pt x="898" y="161"/>
                  </a:lnTo>
                  <a:lnTo>
                    <a:pt x="898" y="163"/>
                  </a:lnTo>
                  <a:lnTo>
                    <a:pt x="896" y="163"/>
                  </a:lnTo>
                  <a:lnTo>
                    <a:pt x="894" y="163"/>
                  </a:lnTo>
                  <a:lnTo>
                    <a:pt x="893" y="165"/>
                  </a:lnTo>
                  <a:lnTo>
                    <a:pt x="893" y="166"/>
                  </a:lnTo>
                  <a:lnTo>
                    <a:pt x="891" y="166"/>
                  </a:lnTo>
                  <a:lnTo>
                    <a:pt x="891" y="168"/>
                  </a:lnTo>
                  <a:lnTo>
                    <a:pt x="891" y="170"/>
                  </a:lnTo>
                  <a:lnTo>
                    <a:pt x="893" y="170"/>
                  </a:lnTo>
                  <a:lnTo>
                    <a:pt x="894" y="170"/>
                  </a:lnTo>
                  <a:lnTo>
                    <a:pt x="893" y="171"/>
                  </a:lnTo>
                  <a:lnTo>
                    <a:pt x="891" y="173"/>
                  </a:lnTo>
                  <a:lnTo>
                    <a:pt x="893" y="173"/>
                  </a:lnTo>
                  <a:lnTo>
                    <a:pt x="894" y="174"/>
                  </a:lnTo>
                  <a:lnTo>
                    <a:pt x="896" y="174"/>
                  </a:lnTo>
                  <a:lnTo>
                    <a:pt x="896" y="176"/>
                  </a:lnTo>
                  <a:lnTo>
                    <a:pt x="898" y="176"/>
                  </a:lnTo>
                  <a:lnTo>
                    <a:pt x="899" y="176"/>
                  </a:lnTo>
                  <a:lnTo>
                    <a:pt x="901" y="176"/>
                  </a:lnTo>
                  <a:lnTo>
                    <a:pt x="903" y="176"/>
                  </a:lnTo>
                  <a:lnTo>
                    <a:pt x="904" y="176"/>
                  </a:lnTo>
                  <a:lnTo>
                    <a:pt x="906" y="176"/>
                  </a:lnTo>
                  <a:lnTo>
                    <a:pt x="908" y="176"/>
                  </a:lnTo>
                  <a:lnTo>
                    <a:pt x="909" y="176"/>
                  </a:lnTo>
                  <a:lnTo>
                    <a:pt x="911" y="178"/>
                  </a:lnTo>
                  <a:lnTo>
                    <a:pt x="912" y="178"/>
                  </a:lnTo>
                  <a:lnTo>
                    <a:pt x="914" y="178"/>
                  </a:lnTo>
                  <a:lnTo>
                    <a:pt x="914" y="179"/>
                  </a:lnTo>
                  <a:lnTo>
                    <a:pt x="917" y="179"/>
                  </a:lnTo>
                  <a:lnTo>
                    <a:pt x="919" y="181"/>
                  </a:lnTo>
                  <a:lnTo>
                    <a:pt x="921" y="181"/>
                  </a:lnTo>
                  <a:lnTo>
                    <a:pt x="922" y="179"/>
                  </a:lnTo>
                  <a:lnTo>
                    <a:pt x="925" y="179"/>
                  </a:lnTo>
                  <a:lnTo>
                    <a:pt x="929" y="178"/>
                  </a:lnTo>
                  <a:lnTo>
                    <a:pt x="930" y="178"/>
                  </a:lnTo>
                  <a:lnTo>
                    <a:pt x="930" y="176"/>
                  </a:lnTo>
                  <a:lnTo>
                    <a:pt x="932" y="176"/>
                  </a:lnTo>
                  <a:lnTo>
                    <a:pt x="934" y="174"/>
                  </a:lnTo>
                  <a:lnTo>
                    <a:pt x="937" y="174"/>
                  </a:lnTo>
                  <a:lnTo>
                    <a:pt x="940" y="174"/>
                  </a:lnTo>
                  <a:lnTo>
                    <a:pt x="942" y="174"/>
                  </a:lnTo>
                  <a:lnTo>
                    <a:pt x="942" y="173"/>
                  </a:lnTo>
                  <a:lnTo>
                    <a:pt x="942" y="171"/>
                  </a:lnTo>
                  <a:lnTo>
                    <a:pt x="943" y="170"/>
                  </a:lnTo>
                  <a:lnTo>
                    <a:pt x="943" y="168"/>
                  </a:lnTo>
                  <a:lnTo>
                    <a:pt x="943" y="166"/>
                  </a:lnTo>
                  <a:lnTo>
                    <a:pt x="943" y="163"/>
                  </a:lnTo>
                  <a:lnTo>
                    <a:pt x="943" y="161"/>
                  </a:lnTo>
                  <a:lnTo>
                    <a:pt x="945" y="160"/>
                  </a:lnTo>
                  <a:lnTo>
                    <a:pt x="947" y="160"/>
                  </a:lnTo>
                  <a:lnTo>
                    <a:pt x="948" y="158"/>
                  </a:lnTo>
                  <a:lnTo>
                    <a:pt x="950" y="157"/>
                  </a:lnTo>
                  <a:lnTo>
                    <a:pt x="950" y="155"/>
                  </a:lnTo>
                  <a:lnTo>
                    <a:pt x="951" y="155"/>
                  </a:lnTo>
                  <a:lnTo>
                    <a:pt x="956" y="152"/>
                  </a:lnTo>
                  <a:lnTo>
                    <a:pt x="958" y="153"/>
                  </a:lnTo>
                  <a:lnTo>
                    <a:pt x="961" y="153"/>
                  </a:lnTo>
                  <a:lnTo>
                    <a:pt x="963" y="155"/>
                  </a:lnTo>
                  <a:lnTo>
                    <a:pt x="963" y="157"/>
                  </a:lnTo>
                  <a:lnTo>
                    <a:pt x="961" y="157"/>
                  </a:lnTo>
                  <a:lnTo>
                    <a:pt x="960" y="157"/>
                  </a:lnTo>
                  <a:lnTo>
                    <a:pt x="960" y="158"/>
                  </a:lnTo>
                  <a:lnTo>
                    <a:pt x="960" y="160"/>
                  </a:lnTo>
                  <a:lnTo>
                    <a:pt x="960" y="161"/>
                  </a:lnTo>
                  <a:lnTo>
                    <a:pt x="961" y="161"/>
                  </a:lnTo>
                  <a:lnTo>
                    <a:pt x="960" y="161"/>
                  </a:lnTo>
                  <a:lnTo>
                    <a:pt x="958" y="160"/>
                  </a:lnTo>
                  <a:lnTo>
                    <a:pt x="956" y="161"/>
                  </a:lnTo>
                  <a:lnTo>
                    <a:pt x="958" y="163"/>
                  </a:lnTo>
                  <a:lnTo>
                    <a:pt x="956" y="163"/>
                  </a:lnTo>
                  <a:lnTo>
                    <a:pt x="956" y="165"/>
                  </a:lnTo>
                  <a:lnTo>
                    <a:pt x="955" y="166"/>
                  </a:lnTo>
                  <a:lnTo>
                    <a:pt x="956" y="168"/>
                  </a:lnTo>
                  <a:lnTo>
                    <a:pt x="956" y="170"/>
                  </a:lnTo>
                  <a:lnTo>
                    <a:pt x="956" y="171"/>
                  </a:lnTo>
                  <a:lnTo>
                    <a:pt x="955" y="171"/>
                  </a:lnTo>
                  <a:lnTo>
                    <a:pt x="955" y="174"/>
                  </a:lnTo>
                  <a:lnTo>
                    <a:pt x="953" y="176"/>
                  </a:lnTo>
                  <a:lnTo>
                    <a:pt x="951" y="176"/>
                  </a:lnTo>
                  <a:lnTo>
                    <a:pt x="951" y="178"/>
                  </a:lnTo>
                  <a:lnTo>
                    <a:pt x="951" y="181"/>
                  </a:lnTo>
                  <a:lnTo>
                    <a:pt x="953" y="181"/>
                  </a:lnTo>
                  <a:lnTo>
                    <a:pt x="955" y="181"/>
                  </a:lnTo>
                  <a:lnTo>
                    <a:pt x="956" y="181"/>
                  </a:lnTo>
                  <a:lnTo>
                    <a:pt x="958" y="184"/>
                  </a:lnTo>
                  <a:lnTo>
                    <a:pt x="958" y="186"/>
                  </a:lnTo>
                  <a:lnTo>
                    <a:pt x="960" y="186"/>
                  </a:lnTo>
                  <a:lnTo>
                    <a:pt x="960" y="187"/>
                  </a:lnTo>
                  <a:lnTo>
                    <a:pt x="960" y="189"/>
                  </a:lnTo>
                  <a:lnTo>
                    <a:pt x="958" y="191"/>
                  </a:lnTo>
                  <a:lnTo>
                    <a:pt x="956" y="192"/>
                  </a:lnTo>
                  <a:lnTo>
                    <a:pt x="956" y="194"/>
                  </a:lnTo>
                  <a:lnTo>
                    <a:pt x="956" y="196"/>
                  </a:lnTo>
                  <a:lnTo>
                    <a:pt x="956" y="197"/>
                  </a:lnTo>
                  <a:lnTo>
                    <a:pt x="958" y="199"/>
                  </a:lnTo>
                  <a:lnTo>
                    <a:pt x="958" y="200"/>
                  </a:lnTo>
                  <a:lnTo>
                    <a:pt x="956" y="204"/>
                  </a:lnTo>
                  <a:lnTo>
                    <a:pt x="958" y="204"/>
                  </a:lnTo>
                  <a:lnTo>
                    <a:pt x="960" y="205"/>
                  </a:lnTo>
                  <a:lnTo>
                    <a:pt x="961" y="205"/>
                  </a:lnTo>
                  <a:lnTo>
                    <a:pt x="963" y="205"/>
                  </a:lnTo>
                  <a:lnTo>
                    <a:pt x="964" y="205"/>
                  </a:lnTo>
                  <a:lnTo>
                    <a:pt x="964" y="204"/>
                  </a:lnTo>
                  <a:lnTo>
                    <a:pt x="966" y="204"/>
                  </a:lnTo>
                  <a:lnTo>
                    <a:pt x="969" y="204"/>
                  </a:lnTo>
                  <a:lnTo>
                    <a:pt x="969" y="205"/>
                  </a:lnTo>
                  <a:lnTo>
                    <a:pt x="969" y="207"/>
                  </a:lnTo>
                  <a:lnTo>
                    <a:pt x="974" y="209"/>
                  </a:lnTo>
                  <a:lnTo>
                    <a:pt x="974" y="210"/>
                  </a:lnTo>
                  <a:lnTo>
                    <a:pt x="976" y="210"/>
                  </a:lnTo>
                  <a:lnTo>
                    <a:pt x="977" y="210"/>
                  </a:lnTo>
                  <a:lnTo>
                    <a:pt x="979" y="213"/>
                  </a:lnTo>
                  <a:lnTo>
                    <a:pt x="979" y="217"/>
                  </a:lnTo>
                  <a:lnTo>
                    <a:pt x="981" y="217"/>
                  </a:lnTo>
                  <a:lnTo>
                    <a:pt x="982" y="218"/>
                  </a:lnTo>
                  <a:lnTo>
                    <a:pt x="982" y="217"/>
                  </a:lnTo>
                  <a:lnTo>
                    <a:pt x="984" y="217"/>
                  </a:lnTo>
                  <a:lnTo>
                    <a:pt x="984" y="218"/>
                  </a:lnTo>
                  <a:lnTo>
                    <a:pt x="982" y="218"/>
                  </a:lnTo>
                  <a:lnTo>
                    <a:pt x="982" y="220"/>
                  </a:lnTo>
                  <a:lnTo>
                    <a:pt x="986" y="220"/>
                  </a:lnTo>
                  <a:lnTo>
                    <a:pt x="987" y="220"/>
                  </a:lnTo>
                  <a:lnTo>
                    <a:pt x="989" y="222"/>
                  </a:lnTo>
                  <a:lnTo>
                    <a:pt x="990" y="222"/>
                  </a:lnTo>
                  <a:lnTo>
                    <a:pt x="992" y="220"/>
                  </a:lnTo>
                  <a:lnTo>
                    <a:pt x="994" y="222"/>
                  </a:lnTo>
                  <a:lnTo>
                    <a:pt x="994" y="223"/>
                  </a:lnTo>
                  <a:lnTo>
                    <a:pt x="995" y="223"/>
                  </a:lnTo>
                  <a:lnTo>
                    <a:pt x="997" y="225"/>
                  </a:lnTo>
                  <a:lnTo>
                    <a:pt x="999" y="226"/>
                  </a:lnTo>
                  <a:lnTo>
                    <a:pt x="997" y="228"/>
                  </a:lnTo>
                  <a:lnTo>
                    <a:pt x="997" y="230"/>
                  </a:lnTo>
                  <a:lnTo>
                    <a:pt x="995" y="230"/>
                  </a:lnTo>
                  <a:lnTo>
                    <a:pt x="997" y="233"/>
                  </a:lnTo>
                  <a:lnTo>
                    <a:pt x="999" y="233"/>
                  </a:lnTo>
                  <a:lnTo>
                    <a:pt x="999" y="231"/>
                  </a:lnTo>
                  <a:lnTo>
                    <a:pt x="1000" y="230"/>
                  </a:lnTo>
                  <a:lnTo>
                    <a:pt x="1003" y="231"/>
                  </a:lnTo>
                  <a:lnTo>
                    <a:pt x="1003" y="233"/>
                  </a:lnTo>
                  <a:lnTo>
                    <a:pt x="1007" y="235"/>
                  </a:lnTo>
                  <a:lnTo>
                    <a:pt x="1007" y="236"/>
                  </a:lnTo>
                  <a:lnTo>
                    <a:pt x="1007" y="238"/>
                  </a:lnTo>
                  <a:lnTo>
                    <a:pt x="1007" y="239"/>
                  </a:lnTo>
                  <a:lnTo>
                    <a:pt x="1008" y="239"/>
                  </a:lnTo>
                  <a:lnTo>
                    <a:pt x="1008" y="241"/>
                  </a:lnTo>
                  <a:lnTo>
                    <a:pt x="1008" y="243"/>
                  </a:lnTo>
                  <a:lnTo>
                    <a:pt x="1010" y="244"/>
                  </a:lnTo>
                  <a:lnTo>
                    <a:pt x="1010" y="246"/>
                  </a:lnTo>
                  <a:lnTo>
                    <a:pt x="1008" y="248"/>
                  </a:lnTo>
                  <a:lnTo>
                    <a:pt x="1010" y="249"/>
                  </a:lnTo>
                  <a:lnTo>
                    <a:pt x="1012" y="249"/>
                  </a:lnTo>
                  <a:lnTo>
                    <a:pt x="1013" y="249"/>
                  </a:lnTo>
                  <a:lnTo>
                    <a:pt x="1016" y="248"/>
                  </a:lnTo>
                  <a:lnTo>
                    <a:pt x="1018" y="246"/>
                  </a:lnTo>
                  <a:lnTo>
                    <a:pt x="1020" y="246"/>
                  </a:lnTo>
                  <a:lnTo>
                    <a:pt x="1021" y="248"/>
                  </a:lnTo>
                  <a:lnTo>
                    <a:pt x="1023" y="248"/>
                  </a:lnTo>
                  <a:lnTo>
                    <a:pt x="1023" y="249"/>
                  </a:lnTo>
                  <a:lnTo>
                    <a:pt x="1025" y="249"/>
                  </a:lnTo>
                  <a:lnTo>
                    <a:pt x="1025" y="248"/>
                  </a:lnTo>
                  <a:lnTo>
                    <a:pt x="1025" y="246"/>
                  </a:lnTo>
                  <a:lnTo>
                    <a:pt x="1026" y="244"/>
                  </a:lnTo>
                  <a:lnTo>
                    <a:pt x="1028" y="244"/>
                  </a:lnTo>
                  <a:lnTo>
                    <a:pt x="1029" y="244"/>
                  </a:lnTo>
                  <a:lnTo>
                    <a:pt x="1031" y="244"/>
                  </a:lnTo>
                  <a:lnTo>
                    <a:pt x="1031" y="246"/>
                  </a:lnTo>
                  <a:lnTo>
                    <a:pt x="1033" y="244"/>
                  </a:lnTo>
                  <a:lnTo>
                    <a:pt x="1034" y="246"/>
                  </a:lnTo>
                  <a:lnTo>
                    <a:pt x="1036" y="246"/>
                  </a:lnTo>
                  <a:lnTo>
                    <a:pt x="1038" y="246"/>
                  </a:lnTo>
                  <a:lnTo>
                    <a:pt x="1038" y="244"/>
                  </a:lnTo>
                  <a:lnTo>
                    <a:pt x="1038" y="243"/>
                  </a:lnTo>
                  <a:lnTo>
                    <a:pt x="1039" y="243"/>
                  </a:lnTo>
                  <a:lnTo>
                    <a:pt x="1039" y="244"/>
                  </a:lnTo>
                  <a:lnTo>
                    <a:pt x="1041" y="244"/>
                  </a:lnTo>
                  <a:lnTo>
                    <a:pt x="1042" y="244"/>
                  </a:lnTo>
                  <a:lnTo>
                    <a:pt x="1042" y="246"/>
                  </a:lnTo>
                  <a:lnTo>
                    <a:pt x="1042" y="248"/>
                  </a:lnTo>
                  <a:lnTo>
                    <a:pt x="1044" y="246"/>
                  </a:lnTo>
                  <a:lnTo>
                    <a:pt x="1044" y="248"/>
                  </a:lnTo>
                  <a:lnTo>
                    <a:pt x="1046" y="248"/>
                  </a:lnTo>
                  <a:lnTo>
                    <a:pt x="1044" y="248"/>
                  </a:lnTo>
                  <a:lnTo>
                    <a:pt x="1044" y="249"/>
                  </a:lnTo>
                  <a:lnTo>
                    <a:pt x="1046" y="249"/>
                  </a:lnTo>
                  <a:lnTo>
                    <a:pt x="1046" y="251"/>
                  </a:lnTo>
                  <a:lnTo>
                    <a:pt x="1047" y="252"/>
                  </a:lnTo>
                  <a:lnTo>
                    <a:pt x="1049" y="252"/>
                  </a:lnTo>
                  <a:lnTo>
                    <a:pt x="1051" y="252"/>
                  </a:lnTo>
                  <a:lnTo>
                    <a:pt x="1052" y="252"/>
                  </a:lnTo>
                  <a:lnTo>
                    <a:pt x="1054" y="252"/>
                  </a:lnTo>
                  <a:lnTo>
                    <a:pt x="1056" y="254"/>
                  </a:lnTo>
                  <a:lnTo>
                    <a:pt x="1057" y="254"/>
                  </a:lnTo>
                  <a:lnTo>
                    <a:pt x="1057" y="256"/>
                  </a:lnTo>
                  <a:lnTo>
                    <a:pt x="1057" y="257"/>
                  </a:lnTo>
                  <a:lnTo>
                    <a:pt x="1057" y="259"/>
                  </a:lnTo>
                  <a:lnTo>
                    <a:pt x="1057" y="257"/>
                  </a:lnTo>
                  <a:lnTo>
                    <a:pt x="1059" y="259"/>
                  </a:lnTo>
                  <a:lnTo>
                    <a:pt x="1057" y="259"/>
                  </a:lnTo>
                  <a:lnTo>
                    <a:pt x="1059" y="259"/>
                  </a:lnTo>
                  <a:lnTo>
                    <a:pt x="1060" y="261"/>
                  </a:lnTo>
                  <a:lnTo>
                    <a:pt x="1060" y="259"/>
                  </a:lnTo>
                  <a:lnTo>
                    <a:pt x="1062" y="261"/>
                  </a:lnTo>
                  <a:lnTo>
                    <a:pt x="1064" y="259"/>
                  </a:lnTo>
                  <a:lnTo>
                    <a:pt x="1065" y="259"/>
                  </a:lnTo>
                  <a:lnTo>
                    <a:pt x="1067" y="259"/>
                  </a:lnTo>
                  <a:lnTo>
                    <a:pt x="1069" y="261"/>
                  </a:lnTo>
                  <a:lnTo>
                    <a:pt x="1069" y="259"/>
                  </a:lnTo>
                  <a:lnTo>
                    <a:pt x="1069" y="257"/>
                  </a:lnTo>
                  <a:lnTo>
                    <a:pt x="1070" y="257"/>
                  </a:lnTo>
                  <a:lnTo>
                    <a:pt x="1072" y="254"/>
                  </a:lnTo>
                  <a:lnTo>
                    <a:pt x="1072" y="256"/>
                  </a:lnTo>
                  <a:lnTo>
                    <a:pt x="1073" y="256"/>
                  </a:lnTo>
                  <a:lnTo>
                    <a:pt x="1073" y="254"/>
                  </a:lnTo>
                  <a:lnTo>
                    <a:pt x="1075" y="252"/>
                  </a:lnTo>
                  <a:lnTo>
                    <a:pt x="1077" y="252"/>
                  </a:lnTo>
                  <a:lnTo>
                    <a:pt x="1078" y="252"/>
                  </a:lnTo>
                  <a:lnTo>
                    <a:pt x="1080" y="252"/>
                  </a:lnTo>
                  <a:lnTo>
                    <a:pt x="1082" y="252"/>
                  </a:lnTo>
                  <a:lnTo>
                    <a:pt x="1083" y="252"/>
                  </a:lnTo>
                  <a:lnTo>
                    <a:pt x="1085" y="254"/>
                  </a:lnTo>
                  <a:lnTo>
                    <a:pt x="1085" y="256"/>
                  </a:lnTo>
                  <a:lnTo>
                    <a:pt x="1086" y="256"/>
                  </a:lnTo>
                  <a:lnTo>
                    <a:pt x="1086" y="257"/>
                  </a:lnTo>
                  <a:lnTo>
                    <a:pt x="1088" y="257"/>
                  </a:lnTo>
                  <a:lnTo>
                    <a:pt x="1090" y="259"/>
                  </a:lnTo>
                  <a:lnTo>
                    <a:pt x="1091" y="259"/>
                  </a:lnTo>
                  <a:lnTo>
                    <a:pt x="1093" y="261"/>
                  </a:lnTo>
                  <a:lnTo>
                    <a:pt x="1095" y="261"/>
                  </a:lnTo>
                  <a:lnTo>
                    <a:pt x="1096" y="261"/>
                  </a:lnTo>
                  <a:lnTo>
                    <a:pt x="1098" y="259"/>
                  </a:lnTo>
                  <a:lnTo>
                    <a:pt x="1099" y="259"/>
                  </a:lnTo>
                  <a:lnTo>
                    <a:pt x="1101" y="261"/>
                  </a:lnTo>
                  <a:lnTo>
                    <a:pt x="1103" y="261"/>
                  </a:lnTo>
                  <a:lnTo>
                    <a:pt x="1104" y="261"/>
                  </a:lnTo>
                  <a:lnTo>
                    <a:pt x="1104" y="262"/>
                  </a:lnTo>
                  <a:lnTo>
                    <a:pt x="1106" y="262"/>
                  </a:lnTo>
                  <a:lnTo>
                    <a:pt x="1109" y="265"/>
                  </a:lnTo>
                  <a:lnTo>
                    <a:pt x="1111" y="267"/>
                  </a:lnTo>
                  <a:lnTo>
                    <a:pt x="1109" y="269"/>
                  </a:lnTo>
                  <a:lnTo>
                    <a:pt x="1109" y="270"/>
                  </a:lnTo>
                  <a:lnTo>
                    <a:pt x="1109" y="272"/>
                  </a:lnTo>
                  <a:lnTo>
                    <a:pt x="1111" y="272"/>
                  </a:lnTo>
                  <a:lnTo>
                    <a:pt x="1112" y="272"/>
                  </a:lnTo>
                  <a:lnTo>
                    <a:pt x="1112" y="274"/>
                  </a:lnTo>
                  <a:lnTo>
                    <a:pt x="1114" y="274"/>
                  </a:lnTo>
                  <a:lnTo>
                    <a:pt x="1114" y="275"/>
                  </a:lnTo>
                  <a:lnTo>
                    <a:pt x="1112" y="275"/>
                  </a:lnTo>
                  <a:lnTo>
                    <a:pt x="1112" y="277"/>
                  </a:lnTo>
                  <a:lnTo>
                    <a:pt x="1112" y="275"/>
                  </a:lnTo>
                  <a:lnTo>
                    <a:pt x="1111" y="275"/>
                  </a:lnTo>
                  <a:lnTo>
                    <a:pt x="1109" y="275"/>
                  </a:lnTo>
                  <a:lnTo>
                    <a:pt x="1109" y="277"/>
                  </a:lnTo>
                  <a:lnTo>
                    <a:pt x="1111" y="277"/>
                  </a:lnTo>
                  <a:lnTo>
                    <a:pt x="1111" y="278"/>
                  </a:lnTo>
                  <a:lnTo>
                    <a:pt x="1114" y="280"/>
                  </a:lnTo>
                  <a:lnTo>
                    <a:pt x="1114" y="282"/>
                  </a:lnTo>
                  <a:lnTo>
                    <a:pt x="1116" y="283"/>
                  </a:lnTo>
                  <a:lnTo>
                    <a:pt x="1116" y="285"/>
                  </a:lnTo>
                  <a:lnTo>
                    <a:pt x="1117" y="285"/>
                  </a:lnTo>
                  <a:lnTo>
                    <a:pt x="1121" y="287"/>
                  </a:lnTo>
                  <a:lnTo>
                    <a:pt x="1121" y="288"/>
                  </a:lnTo>
                  <a:lnTo>
                    <a:pt x="1119" y="290"/>
                  </a:lnTo>
                  <a:lnTo>
                    <a:pt x="1119" y="291"/>
                  </a:lnTo>
                  <a:lnTo>
                    <a:pt x="1122" y="291"/>
                  </a:lnTo>
                  <a:lnTo>
                    <a:pt x="1122" y="293"/>
                  </a:lnTo>
                  <a:lnTo>
                    <a:pt x="1122" y="295"/>
                  </a:lnTo>
                  <a:lnTo>
                    <a:pt x="1122" y="296"/>
                  </a:lnTo>
                  <a:lnTo>
                    <a:pt x="1125" y="296"/>
                  </a:lnTo>
                  <a:lnTo>
                    <a:pt x="1125" y="298"/>
                  </a:lnTo>
                  <a:lnTo>
                    <a:pt x="1124" y="300"/>
                  </a:lnTo>
                  <a:lnTo>
                    <a:pt x="1124" y="301"/>
                  </a:lnTo>
                  <a:lnTo>
                    <a:pt x="1124" y="303"/>
                  </a:lnTo>
                  <a:lnTo>
                    <a:pt x="1125" y="305"/>
                  </a:lnTo>
                  <a:lnTo>
                    <a:pt x="1127" y="305"/>
                  </a:lnTo>
                  <a:lnTo>
                    <a:pt x="1129" y="305"/>
                  </a:lnTo>
                  <a:lnTo>
                    <a:pt x="1130" y="305"/>
                  </a:lnTo>
                  <a:lnTo>
                    <a:pt x="1132" y="305"/>
                  </a:lnTo>
                  <a:lnTo>
                    <a:pt x="1134" y="306"/>
                  </a:lnTo>
                  <a:lnTo>
                    <a:pt x="1135" y="306"/>
                  </a:lnTo>
                  <a:lnTo>
                    <a:pt x="1135" y="305"/>
                  </a:lnTo>
                  <a:lnTo>
                    <a:pt x="1137" y="303"/>
                  </a:lnTo>
                  <a:lnTo>
                    <a:pt x="1137" y="300"/>
                  </a:lnTo>
                  <a:lnTo>
                    <a:pt x="1135" y="298"/>
                  </a:lnTo>
                  <a:lnTo>
                    <a:pt x="1137" y="298"/>
                  </a:lnTo>
                  <a:lnTo>
                    <a:pt x="1138" y="296"/>
                  </a:lnTo>
                  <a:lnTo>
                    <a:pt x="1142" y="298"/>
                  </a:lnTo>
                  <a:lnTo>
                    <a:pt x="1143" y="298"/>
                  </a:lnTo>
                  <a:lnTo>
                    <a:pt x="1143" y="296"/>
                  </a:lnTo>
                  <a:lnTo>
                    <a:pt x="1147" y="298"/>
                  </a:lnTo>
                  <a:lnTo>
                    <a:pt x="1147" y="296"/>
                  </a:lnTo>
                  <a:lnTo>
                    <a:pt x="1148" y="296"/>
                  </a:lnTo>
                  <a:lnTo>
                    <a:pt x="1150" y="296"/>
                  </a:lnTo>
                  <a:lnTo>
                    <a:pt x="1151" y="296"/>
                  </a:lnTo>
                  <a:lnTo>
                    <a:pt x="1153" y="298"/>
                  </a:lnTo>
                  <a:lnTo>
                    <a:pt x="1153" y="300"/>
                  </a:lnTo>
                  <a:lnTo>
                    <a:pt x="1155" y="301"/>
                  </a:lnTo>
                  <a:lnTo>
                    <a:pt x="1155" y="303"/>
                  </a:lnTo>
                  <a:lnTo>
                    <a:pt x="1153" y="305"/>
                  </a:lnTo>
                  <a:lnTo>
                    <a:pt x="1153" y="306"/>
                  </a:lnTo>
                  <a:lnTo>
                    <a:pt x="1155" y="308"/>
                  </a:lnTo>
                  <a:lnTo>
                    <a:pt x="1155" y="309"/>
                  </a:lnTo>
                  <a:lnTo>
                    <a:pt x="1155" y="313"/>
                  </a:lnTo>
                  <a:lnTo>
                    <a:pt x="1156" y="313"/>
                  </a:lnTo>
                  <a:lnTo>
                    <a:pt x="1158" y="311"/>
                  </a:lnTo>
                  <a:lnTo>
                    <a:pt x="1160" y="311"/>
                  </a:lnTo>
                  <a:lnTo>
                    <a:pt x="1160" y="309"/>
                  </a:lnTo>
                  <a:lnTo>
                    <a:pt x="1158" y="309"/>
                  </a:lnTo>
                  <a:lnTo>
                    <a:pt x="1158" y="308"/>
                  </a:lnTo>
                  <a:lnTo>
                    <a:pt x="1160" y="308"/>
                  </a:lnTo>
                  <a:lnTo>
                    <a:pt x="1161" y="308"/>
                  </a:lnTo>
                  <a:lnTo>
                    <a:pt x="1160" y="309"/>
                  </a:lnTo>
                  <a:lnTo>
                    <a:pt x="1163" y="309"/>
                  </a:lnTo>
                  <a:lnTo>
                    <a:pt x="1163" y="311"/>
                  </a:lnTo>
                  <a:lnTo>
                    <a:pt x="1164" y="311"/>
                  </a:lnTo>
                  <a:lnTo>
                    <a:pt x="1166" y="311"/>
                  </a:lnTo>
                  <a:lnTo>
                    <a:pt x="1168" y="311"/>
                  </a:lnTo>
                  <a:lnTo>
                    <a:pt x="1169" y="313"/>
                  </a:lnTo>
                  <a:lnTo>
                    <a:pt x="1173" y="311"/>
                  </a:lnTo>
                  <a:lnTo>
                    <a:pt x="1174" y="311"/>
                  </a:lnTo>
                  <a:lnTo>
                    <a:pt x="1177" y="313"/>
                  </a:lnTo>
                  <a:lnTo>
                    <a:pt x="1181" y="311"/>
                  </a:lnTo>
                  <a:lnTo>
                    <a:pt x="1181" y="309"/>
                  </a:lnTo>
                  <a:lnTo>
                    <a:pt x="1182" y="309"/>
                  </a:lnTo>
                  <a:lnTo>
                    <a:pt x="1184" y="309"/>
                  </a:lnTo>
                  <a:lnTo>
                    <a:pt x="1184" y="308"/>
                  </a:lnTo>
                  <a:lnTo>
                    <a:pt x="1186" y="308"/>
                  </a:lnTo>
                  <a:lnTo>
                    <a:pt x="1186" y="306"/>
                  </a:lnTo>
                  <a:lnTo>
                    <a:pt x="1186" y="305"/>
                  </a:lnTo>
                  <a:lnTo>
                    <a:pt x="1186" y="303"/>
                  </a:lnTo>
                  <a:lnTo>
                    <a:pt x="1186" y="305"/>
                  </a:lnTo>
                  <a:lnTo>
                    <a:pt x="1187" y="305"/>
                  </a:lnTo>
                  <a:lnTo>
                    <a:pt x="1189" y="305"/>
                  </a:lnTo>
                  <a:lnTo>
                    <a:pt x="1192" y="303"/>
                  </a:lnTo>
                  <a:lnTo>
                    <a:pt x="1192" y="305"/>
                  </a:lnTo>
                  <a:lnTo>
                    <a:pt x="1192" y="306"/>
                  </a:lnTo>
                  <a:lnTo>
                    <a:pt x="1190" y="306"/>
                  </a:lnTo>
                  <a:lnTo>
                    <a:pt x="1192" y="308"/>
                  </a:lnTo>
                  <a:lnTo>
                    <a:pt x="1192" y="306"/>
                  </a:lnTo>
                  <a:lnTo>
                    <a:pt x="1194" y="306"/>
                  </a:lnTo>
                  <a:lnTo>
                    <a:pt x="1194" y="308"/>
                  </a:lnTo>
                  <a:lnTo>
                    <a:pt x="1197" y="306"/>
                  </a:lnTo>
                  <a:lnTo>
                    <a:pt x="1197" y="308"/>
                  </a:lnTo>
                  <a:lnTo>
                    <a:pt x="1199" y="308"/>
                  </a:lnTo>
                  <a:lnTo>
                    <a:pt x="1197" y="311"/>
                  </a:lnTo>
                  <a:lnTo>
                    <a:pt x="1200" y="314"/>
                  </a:lnTo>
                  <a:lnTo>
                    <a:pt x="1200" y="316"/>
                  </a:lnTo>
                  <a:lnTo>
                    <a:pt x="1202" y="318"/>
                  </a:lnTo>
                  <a:lnTo>
                    <a:pt x="1202" y="319"/>
                  </a:lnTo>
                  <a:lnTo>
                    <a:pt x="1204" y="319"/>
                  </a:lnTo>
                  <a:lnTo>
                    <a:pt x="1208" y="319"/>
                  </a:lnTo>
                  <a:lnTo>
                    <a:pt x="1210" y="321"/>
                  </a:lnTo>
                  <a:lnTo>
                    <a:pt x="1210" y="322"/>
                  </a:lnTo>
                  <a:lnTo>
                    <a:pt x="1210" y="324"/>
                  </a:lnTo>
                  <a:lnTo>
                    <a:pt x="1213" y="324"/>
                  </a:lnTo>
                  <a:lnTo>
                    <a:pt x="1215" y="324"/>
                  </a:lnTo>
                  <a:lnTo>
                    <a:pt x="1215" y="322"/>
                  </a:lnTo>
                  <a:lnTo>
                    <a:pt x="1218" y="324"/>
                  </a:lnTo>
                  <a:lnTo>
                    <a:pt x="1220" y="326"/>
                  </a:lnTo>
                  <a:lnTo>
                    <a:pt x="1223" y="326"/>
                  </a:lnTo>
                  <a:lnTo>
                    <a:pt x="1223" y="322"/>
                  </a:lnTo>
                  <a:lnTo>
                    <a:pt x="1225" y="324"/>
                  </a:lnTo>
                  <a:lnTo>
                    <a:pt x="1225" y="322"/>
                  </a:lnTo>
                  <a:lnTo>
                    <a:pt x="1228" y="324"/>
                  </a:lnTo>
                  <a:lnTo>
                    <a:pt x="1230" y="324"/>
                  </a:lnTo>
                  <a:lnTo>
                    <a:pt x="1230" y="326"/>
                  </a:lnTo>
                  <a:lnTo>
                    <a:pt x="1231" y="326"/>
                  </a:lnTo>
                  <a:lnTo>
                    <a:pt x="1231" y="327"/>
                  </a:lnTo>
                  <a:lnTo>
                    <a:pt x="1233" y="327"/>
                  </a:lnTo>
                  <a:lnTo>
                    <a:pt x="1233" y="326"/>
                  </a:lnTo>
                  <a:lnTo>
                    <a:pt x="1236" y="326"/>
                  </a:lnTo>
                  <a:lnTo>
                    <a:pt x="1238" y="326"/>
                  </a:lnTo>
                  <a:lnTo>
                    <a:pt x="1238" y="324"/>
                  </a:lnTo>
                  <a:lnTo>
                    <a:pt x="1239" y="324"/>
                  </a:lnTo>
                  <a:lnTo>
                    <a:pt x="1239" y="326"/>
                  </a:lnTo>
                  <a:lnTo>
                    <a:pt x="1241" y="326"/>
                  </a:lnTo>
                  <a:lnTo>
                    <a:pt x="1243" y="326"/>
                  </a:lnTo>
                  <a:lnTo>
                    <a:pt x="1243" y="329"/>
                  </a:lnTo>
                  <a:lnTo>
                    <a:pt x="1244" y="329"/>
                  </a:lnTo>
                  <a:lnTo>
                    <a:pt x="1246" y="329"/>
                  </a:lnTo>
                  <a:lnTo>
                    <a:pt x="1247" y="331"/>
                  </a:lnTo>
                  <a:lnTo>
                    <a:pt x="1249" y="331"/>
                  </a:lnTo>
                  <a:lnTo>
                    <a:pt x="1249" y="332"/>
                  </a:lnTo>
                  <a:lnTo>
                    <a:pt x="1251" y="332"/>
                  </a:lnTo>
                  <a:lnTo>
                    <a:pt x="1251" y="334"/>
                  </a:lnTo>
                  <a:lnTo>
                    <a:pt x="1252" y="334"/>
                  </a:lnTo>
                  <a:lnTo>
                    <a:pt x="1254" y="334"/>
                  </a:lnTo>
                  <a:lnTo>
                    <a:pt x="1257" y="335"/>
                  </a:lnTo>
                  <a:lnTo>
                    <a:pt x="1259" y="335"/>
                  </a:lnTo>
                  <a:lnTo>
                    <a:pt x="1262" y="337"/>
                  </a:lnTo>
                  <a:lnTo>
                    <a:pt x="1264" y="337"/>
                  </a:lnTo>
                  <a:lnTo>
                    <a:pt x="1265" y="337"/>
                  </a:lnTo>
                  <a:lnTo>
                    <a:pt x="1262" y="339"/>
                  </a:lnTo>
                  <a:lnTo>
                    <a:pt x="1260" y="342"/>
                  </a:lnTo>
                  <a:lnTo>
                    <a:pt x="1257" y="345"/>
                  </a:lnTo>
                  <a:lnTo>
                    <a:pt x="1257" y="347"/>
                  </a:lnTo>
                  <a:lnTo>
                    <a:pt x="1256" y="350"/>
                  </a:lnTo>
                  <a:lnTo>
                    <a:pt x="1254" y="355"/>
                  </a:lnTo>
                  <a:lnTo>
                    <a:pt x="1254" y="357"/>
                  </a:lnTo>
                  <a:lnTo>
                    <a:pt x="1254" y="358"/>
                  </a:lnTo>
                  <a:lnTo>
                    <a:pt x="1252" y="360"/>
                  </a:lnTo>
                  <a:lnTo>
                    <a:pt x="1251" y="361"/>
                  </a:lnTo>
                  <a:lnTo>
                    <a:pt x="1249" y="363"/>
                  </a:lnTo>
                  <a:lnTo>
                    <a:pt x="1247" y="363"/>
                  </a:lnTo>
                  <a:lnTo>
                    <a:pt x="1246" y="363"/>
                  </a:lnTo>
                  <a:lnTo>
                    <a:pt x="1246" y="365"/>
                  </a:lnTo>
                  <a:lnTo>
                    <a:pt x="1244" y="366"/>
                  </a:lnTo>
                  <a:lnTo>
                    <a:pt x="1243" y="366"/>
                  </a:lnTo>
                  <a:lnTo>
                    <a:pt x="1241" y="366"/>
                  </a:lnTo>
                  <a:lnTo>
                    <a:pt x="1239" y="368"/>
                  </a:lnTo>
                  <a:lnTo>
                    <a:pt x="1239" y="371"/>
                  </a:lnTo>
                  <a:lnTo>
                    <a:pt x="1236" y="376"/>
                  </a:lnTo>
                  <a:lnTo>
                    <a:pt x="1236" y="378"/>
                  </a:lnTo>
                  <a:lnTo>
                    <a:pt x="1234" y="378"/>
                  </a:lnTo>
                  <a:lnTo>
                    <a:pt x="1233" y="379"/>
                  </a:lnTo>
                  <a:lnTo>
                    <a:pt x="1233" y="381"/>
                  </a:lnTo>
                  <a:lnTo>
                    <a:pt x="1231" y="381"/>
                  </a:lnTo>
                  <a:lnTo>
                    <a:pt x="1228" y="383"/>
                  </a:lnTo>
                  <a:lnTo>
                    <a:pt x="1226" y="387"/>
                  </a:lnTo>
                  <a:lnTo>
                    <a:pt x="1225" y="389"/>
                  </a:lnTo>
                  <a:lnTo>
                    <a:pt x="1223" y="391"/>
                  </a:lnTo>
                  <a:lnTo>
                    <a:pt x="1223" y="392"/>
                  </a:lnTo>
                  <a:lnTo>
                    <a:pt x="1223" y="394"/>
                  </a:lnTo>
                  <a:lnTo>
                    <a:pt x="1223" y="396"/>
                  </a:lnTo>
                  <a:lnTo>
                    <a:pt x="1223" y="399"/>
                  </a:lnTo>
                  <a:lnTo>
                    <a:pt x="1223" y="400"/>
                  </a:lnTo>
                  <a:lnTo>
                    <a:pt x="1223" y="402"/>
                  </a:lnTo>
                  <a:lnTo>
                    <a:pt x="1223" y="404"/>
                  </a:lnTo>
                  <a:lnTo>
                    <a:pt x="1221" y="404"/>
                  </a:lnTo>
                  <a:lnTo>
                    <a:pt x="1220" y="404"/>
                  </a:lnTo>
                  <a:lnTo>
                    <a:pt x="1220" y="405"/>
                  </a:lnTo>
                  <a:lnTo>
                    <a:pt x="1220" y="409"/>
                  </a:lnTo>
                  <a:lnTo>
                    <a:pt x="1218" y="413"/>
                  </a:lnTo>
                  <a:lnTo>
                    <a:pt x="1217" y="415"/>
                  </a:lnTo>
                  <a:lnTo>
                    <a:pt x="1217" y="418"/>
                  </a:lnTo>
                  <a:lnTo>
                    <a:pt x="1217" y="422"/>
                  </a:lnTo>
                  <a:lnTo>
                    <a:pt x="1217" y="423"/>
                  </a:lnTo>
                  <a:lnTo>
                    <a:pt x="1217" y="425"/>
                  </a:lnTo>
                  <a:lnTo>
                    <a:pt x="1217" y="426"/>
                  </a:lnTo>
                  <a:lnTo>
                    <a:pt x="1217" y="428"/>
                  </a:lnTo>
                  <a:lnTo>
                    <a:pt x="1217" y="430"/>
                  </a:lnTo>
                  <a:lnTo>
                    <a:pt x="1213" y="431"/>
                  </a:lnTo>
                  <a:lnTo>
                    <a:pt x="1212" y="431"/>
                  </a:lnTo>
                  <a:lnTo>
                    <a:pt x="1212" y="433"/>
                  </a:lnTo>
                  <a:lnTo>
                    <a:pt x="1212" y="435"/>
                  </a:lnTo>
                  <a:lnTo>
                    <a:pt x="1212" y="436"/>
                  </a:lnTo>
                  <a:lnTo>
                    <a:pt x="1210" y="441"/>
                  </a:lnTo>
                  <a:lnTo>
                    <a:pt x="1210" y="443"/>
                  </a:lnTo>
                  <a:lnTo>
                    <a:pt x="1208" y="443"/>
                  </a:lnTo>
                  <a:lnTo>
                    <a:pt x="1207" y="444"/>
                  </a:lnTo>
                  <a:lnTo>
                    <a:pt x="1205" y="448"/>
                  </a:lnTo>
                  <a:lnTo>
                    <a:pt x="1205" y="449"/>
                  </a:lnTo>
                  <a:lnTo>
                    <a:pt x="1204" y="451"/>
                  </a:lnTo>
                  <a:lnTo>
                    <a:pt x="1202" y="451"/>
                  </a:lnTo>
                  <a:lnTo>
                    <a:pt x="1200" y="453"/>
                  </a:lnTo>
                  <a:lnTo>
                    <a:pt x="1200" y="456"/>
                  </a:lnTo>
                  <a:lnTo>
                    <a:pt x="1199" y="457"/>
                  </a:lnTo>
                  <a:lnTo>
                    <a:pt x="1200" y="459"/>
                  </a:lnTo>
                  <a:lnTo>
                    <a:pt x="1200" y="461"/>
                  </a:lnTo>
                  <a:lnTo>
                    <a:pt x="1199" y="462"/>
                  </a:lnTo>
                  <a:lnTo>
                    <a:pt x="1199" y="464"/>
                  </a:lnTo>
                  <a:lnTo>
                    <a:pt x="1200" y="467"/>
                  </a:lnTo>
                  <a:lnTo>
                    <a:pt x="1199" y="467"/>
                  </a:lnTo>
                  <a:lnTo>
                    <a:pt x="1199" y="469"/>
                  </a:lnTo>
                  <a:lnTo>
                    <a:pt x="1199" y="470"/>
                  </a:lnTo>
                  <a:lnTo>
                    <a:pt x="1202" y="474"/>
                  </a:lnTo>
                  <a:lnTo>
                    <a:pt x="1204" y="475"/>
                  </a:lnTo>
                  <a:lnTo>
                    <a:pt x="1204" y="477"/>
                  </a:lnTo>
                  <a:lnTo>
                    <a:pt x="1204" y="479"/>
                  </a:lnTo>
                  <a:lnTo>
                    <a:pt x="1202" y="482"/>
                  </a:lnTo>
                  <a:lnTo>
                    <a:pt x="1200" y="483"/>
                  </a:lnTo>
                  <a:lnTo>
                    <a:pt x="1200" y="485"/>
                  </a:lnTo>
                  <a:lnTo>
                    <a:pt x="1199" y="485"/>
                  </a:lnTo>
                  <a:lnTo>
                    <a:pt x="1200" y="488"/>
                  </a:lnTo>
                  <a:lnTo>
                    <a:pt x="1199" y="488"/>
                  </a:lnTo>
                  <a:lnTo>
                    <a:pt x="1199" y="490"/>
                  </a:lnTo>
                  <a:lnTo>
                    <a:pt x="1197" y="490"/>
                  </a:lnTo>
                  <a:lnTo>
                    <a:pt x="1197" y="492"/>
                  </a:lnTo>
                  <a:lnTo>
                    <a:pt x="1197" y="493"/>
                  </a:lnTo>
                  <a:lnTo>
                    <a:pt x="1197" y="495"/>
                  </a:lnTo>
                  <a:lnTo>
                    <a:pt x="1197" y="496"/>
                  </a:lnTo>
                  <a:lnTo>
                    <a:pt x="1195" y="500"/>
                  </a:lnTo>
                  <a:lnTo>
                    <a:pt x="1195" y="501"/>
                  </a:lnTo>
                  <a:lnTo>
                    <a:pt x="1194" y="505"/>
                  </a:lnTo>
                  <a:lnTo>
                    <a:pt x="1194" y="506"/>
                  </a:lnTo>
                  <a:lnTo>
                    <a:pt x="1194" y="508"/>
                  </a:lnTo>
                  <a:lnTo>
                    <a:pt x="1195" y="511"/>
                  </a:lnTo>
                  <a:lnTo>
                    <a:pt x="1195" y="513"/>
                  </a:lnTo>
                  <a:lnTo>
                    <a:pt x="1195" y="514"/>
                  </a:lnTo>
                  <a:lnTo>
                    <a:pt x="1194" y="514"/>
                  </a:lnTo>
                  <a:lnTo>
                    <a:pt x="1192" y="516"/>
                  </a:lnTo>
                  <a:lnTo>
                    <a:pt x="1192" y="518"/>
                  </a:lnTo>
                  <a:lnTo>
                    <a:pt x="1192" y="519"/>
                  </a:lnTo>
                  <a:lnTo>
                    <a:pt x="1192" y="521"/>
                  </a:lnTo>
                  <a:lnTo>
                    <a:pt x="1192" y="522"/>
                  </a:lnTo>
                  <a:lnTo>
                    <a:pt x="1194" y="524"/>
                  </a:lnTo>
                  <a:lnTo>
                    <a:pt x="1195" y="526"/>
                  </a:lnTo>
                  <a:lnTo>
                    <a:pt x="1197" y="527"/>
                  </a:lnTo>
                  <a:lnTo>
                    <a:pt x="1197" y="529"/>
                  </a:lnTo>
                  <a:lnTo>
                    <a:pt x="1199" y="531"/>
                  </a:lnTo>
                  <a:lnTo>
                    <a:pt x="1199" y="532"/>
                  </a:lnTo>
                  <a:lnTo>
                    <a:pt x="1199" y="534"/>
                  </a:lnTo>
                  <a:lnTo>
                    <a:pt x="1195" y="535"/>
                  </a:lnTo>
                  <a:lnTo>
                    <a:pt x="1194" y="537"/>
                  </a:lnTo>
                  <a:lnTo>
                    <a:pt x="1190" y="539"/>
                  </a:lnTo>
                  <a:lnTo>
                    <a:pt x="1190" y="540"/>
                  </a:lnTo>
                  <a:lnTo>
                    <a:pt x="1190" y="542"/>
                  </a:lnTo>
                  <a:lnTo>
                    <a:pt x="1190" y="540"/>
                  </a:lnTo>
                  <a:lnTo>
                    <a:pt x="1192" y="540"/>
                  </a:lnTo>
                  <a:lnTo>
                    <a:pt x="1192" y="542"/>
                  </a:lnTo>
                  <a:lnTo>
                    <a:pt x="1192" y="544"/>
                  </a:lnTo>
                  <a:lnTo>
                    <a:pt x="1190" y="544"/>
                  </a:lnTo>
                  <a:lnTo>
                    <a:pt x="1190" y="545"/>
                  </a:lnTo>
                  <a:lnTo>
                    <a:pt x="1190" y="547"/>
                  </a:lnTo>
                  <a:lnTo>
                    <a:pt x="1189" y="547"/>
                  </a:lnTo>
                  <a:lnTo>
                    <a:pt x="1189" y="548"/>
                  </a:lnTo>
                  <a:lnTo>
                    <a:pt x="1187" y="548"/>
                  </a:lnTo>
                  <a:lnTo>
                    <a:pt x="1184" y="547"/>
                  </a:lnTo>
                  <a:lnTo>
                    <a:pt x="1184" y="545"/>
                  </a:lnTo>
                  <a:lnTo>
                    <a:pt x="1182" y="547"/>
                  </a:lnTo>
                  <a:lnTo>
                    <a:pt x="1182" y="548"/>
                  </a:lnTo>
                  <a:lnTo>
                    <a:pt x="1184" y="548"/>
                  </a:lnTo>
                  <a:lnTo>
                    <a:pt x="1186" y="548"/>
                  </a:lnTo>
                  <a:lnTo>
                    <a:pt x="1186" y="550"/>
                  </a:lnTo>
                  <a:lnTo>
                    <a:pt x="1184" y="550"/>
                  </a:lnTo>
                  <a:lnTo>
                    <a:pt x="1184" y="552"/>
                  </a:lnTo>
                  <a:lnTo>
                    <a:pt x="1182" y="553"/>
                  </a:lnTo>
                  <a:lnTo>
                    <a:pt x="1181" y="553"/>
                  </a:lnTo>
                  <a:lnTo>
                    <a:pt x="1179" y="555"/>
                  </a:lnTo>
                  <a:lnTo>
                    <a:pt x="1176" y="555"/>
                  </a:lnTo>
                  <a:lnTo>
                    <a:pt x="1174" y="555"/>
                  </a:lnTo>
                  <a:lnTo>
                    <a:pt x="1173" y="553"/>
                  </a:lnTo>
                  <a:lnTo>
                    <a:pt x="1171" y="553"/>
                  </a:lnTo>
                  <a:lnTo>
                    <a:pt x="1169" y="553"/>
                  </a:lnTo>
                  <a:lnTo>
                    <a:pt x="1169" y="555"/>
                  </a:lnTo>
                  <a:lnTo>
                    <a:pt x="1168" y="555"/>
                  </a:lnTo>
                  <a:lnTo>
                    <a:pt x="1166" y="555"/>
                  </a:lnTo>
                  <a:lnTo>
                    <a:pt x="1164" y="555"/>
                  </a:lnTo>
                  <a:lnTo>
                    <a:pt x="1163" y="553"/>
                  </a:lnTo>
                  <a:lnTo>
                    <a:pt x="1161" y="553"/>
                  </a:lnTo>
                  <a:lnTo>
                    <a:pt x="1158" y="552"/>
                  </a:lnTo>
                  <a:lnTo>
                    <a:pt x="1160" y="547"/>
                  </a:lnTo>
                  <a:lnTo>
                    <a:pt x="1161" y="547"/>
                  </a:lnTo>
                  <a:lnTo>
                    <a:pt x="1161" y="545"/>
                  </a:lnTo>
                  <a:lnTo>
                    <a:pt x="1160" y="545"/>
                  </a:lnTo>
                  <a:lnTo>
                    <a:pt x="1158" y="545"/>
                  </a:lnTo>
                  <a:lnTo>
                    <a:pt x="1156" y="545"/>
                  </a:lnTo>
                  <a:lnTo>
                    <a:pt x="1155" y="544"/>
                  </a:lnTo>
                  <a:lnTo>
                    <a:pt x="1153" y="544"/>
                  </a:lnTo>
                  <a:lnTo>
                    <a:pt x="1153" y="545"/>
                  </a:lnTo>
                  <a:lnTo>
                    <a:pt x="1150" y="545"/>
                  </a:lnTo>
                  <a:lnTo>
                    <a:pt x="1148" y="545"/>
                  </a:lnTo>
                  <a:lnTo>
                    <a:pt x="1147" y="545"/>
                  </a:lnTo>
                  <a:lnTo>
                    <a:pt x="1145" y="544"/>
                  </a:lnTo>
                  <a:lnTo>
                    <a:pt x="1143" y="544"/>
                  </a:lnTo>
                  <a:lnTo>
                    <a:pt x="1142" y="544"/>
                  </a:lnTo>
                  <a:lnTo>
                    <a:pt x="1140" y="544"/>
                  </a:lnTo>
                  <a:lnTo>
                    <a:pt x="1140" y="545"/>
                  </a:lnTo>
                  <a:lnTo>
                    <a:pt x="1140" y="547"/>
                  </a:lnTo>
                  <a:lnTo>
                    <a:pt x="1140" y="548"/>
                  </a:lnTo>
                  <a:lnTo>
                    <a:pt x="1142" y="548"/>
                  </a:lnTo>
                  <a:lnTo>
                    <a:pt x="1140" y="550"/>
                  </a:lnTo>
                  <a:lnTo>
                    <a:pt x="1138" y="552"/>
                  </a:lnTo>
                  <a:lnTo>
                    <a:pt x="1137" y="553"/>
                  </a:lnTo>
                  <a:lnTo>
                    <a:pt x="1135" y="553"/>
                  </a:lnTo>
                  <a:lnTo>
                    <a:pt x="1135" y="557"/>
                  </a:lnTo>
                  <a:lnTo>
                    <a:pt x="1134" y="557"/>
                  </a:lnTo>
                  <a:lnTo>
                    <a:pt x="1132" y="557"/>
                  </a:lnTo>
                  <a:lnTo>
                    <a:pt x="1132" y="558"/>
                  </a:lnTo>
                  <a:lnTo>
                    <a:pt x="1132" y="560"/>
                  </a:lnTo>
                  <a:lnTo>
                    <a:pt x="1130" y="560"/>
                  </a:lnTo>
                  <a:lnTo>
                    <a:pt x="1129" y="561"/>
                  </a:lnTo>
                  <a:lnTo>
                    <a:pt x="1129" y="565"/>
                  </a:lnTo>
                  <a:lnTo>
                    <a:pt x="1130" y="563"/>
                  </a:lnTo>
                  <a:lnTo>
                    <a:pt x="1132" y="563"/>
                  </a:lnTo>
                  <a:lnTo>
                    <a:pt x="1134" y="565"/>
                  </a:lnTo>
                  <a:lnTo>
                    <a:pt x="1135" y="563"/>
                  </a:lnTo>
                  <a:lnTo>
                    <a:pt x="1137" y="563"/>
                  </a:lnTo>
                  <a:lnTo>
                    <a:pt x="1138" y="563"/>
                  </a:lnTo>
                  <a:lnTo>
                    <a:pt x="1140" y="563"/>
                  </a:lnTo>
                  <a:lnTo>
                    <a:pt x="1142" y="563"/>
                  </a:lnTo>
                  <a:lnTo>
                    <a:pt x="1143" y="563"/>
                  </a:lnTo>
                  <a:lnTo>
                    <a:pt x="1145" y="563"/>
                  </a:lnTo>
                  <a:lnTo>
                    <a:pt x="1147" y="566"/>
                  </a:lnTo>
                  <a:lnTo>
                    <a:pt x="1145" y="566"/>
                  </a:lnTo>
                  <a:lnTo>
                    <a:pt x="1145" y="568"/>
                  </a:lnTo>
                  <a:lnTo>
                    <a:pt x="1145" y="570"/>
                  </a:lnTo>
                  <a:lnTo>
                    <a:pt x="1143" y="570"/>
                  </a:lnTo>
                  <a:lnTo>
                    <a:pt x="1142" y="570"/>
                  </a:lnTo>
                  <a:lnTo>
                    <a:pt x="1142" y="571"/>
                  </a:lnTo>
                  <a:lnTo>
                    <a:pt x="1142" y="573"/>
                  </a:lnTo>
                  <a:lnTo>
                    <a:pt x="1140" y="573"/>
                  </a:lnTo>
                  <a:lnTo>
                    <a:pt x="1138" y="573"/>
                  </a:lnTo>
                  <a:lnTo>
                    <a:pt x="1137" y="573"/>
                  </a:lnTo>
                  <a:lnTo>
                    <a:pt x="1135" y="573"/>
                  </a:lnTo>
                  <a:lnTo>
                    <a:pt x="1134" y="574"/>
                  </a:lnTo>
                  <a:lnTo>
                    <a:pt x="1135" y="574"/>
                  </a:lnTo>
                  <a:lnTo>
                    <a:pt x="1135" y="576"/>
                  </a:lnTo>
                  <a:lnTo>
                    <a:pt x="1135" y="578"/>
                  </a:lnTo>
                  <a:lnTo>
                    <a:pt x="1135" y="579"/>
                  </a:lnTo>
                  <a:lnTo>
                    <a:pt x="1135" y="581"/>
                  </a:lnTo>
                  <a:lnTo>
                    <a:pt x="1134" y="581"/>
                  </a:lnTo>
                  <a:lnTo>
                    <a:pt x="1134" y="583"/>
                  </a:lnTo>
                  <a:lnTo>
                    <a:pt x="1132" y="583"/>
                  </a:lnTo>
                  <a:lnTo>
                    <a:pt x="1130" y="584"/>
                  </a:lnTo>
                  <a:lnTo>
                    <a:pt x="1127" y="586"/>
                  </a:lnTo>
                  <a:lnTo>
                    <a:pt x="1127" y="588"/>
                  </a:lnTo>
                  <a:lnTo>
                    <a:pt x="1127" y="589"/>
                  </a:lnTo>
                  <a:lnTo>
                    <a:pt x="1127" y="588"/>
                  </a:lnTo>
                  <a:lnTo>
                    <a:pt x="1125" y="589"/>
                  </a:lnTo>
                  <a:lnTo>
                    <a:pt x="1124" y="591"/>
                  </a:lnTo>
                  <a:lnTo>
                    <a:pt x="1125" y="591"/>
                  </a:lnTo>
                  <a:lnTo>
                    <a:pt x="1125" y="592"/>
                  </a:lnTo>
                  <a:lnTo>
                    <a:pt x="1124" y="592"/>
                  </a:lnTo>
                  <a:lnTo>
                    <a:pt x="1122" y="594"/>
                  </a:lnTo>
                  <a:lnTo>
                    <a:pt x="1121" y="596"/>
                  </a:lnTo>
                  <a:lnTo>
                    <a:pt x="1119" y="596"/>
                  </a:lnTo>
                  <a:lnTo>
                    <a:pt x="1117" y="596"/>
                  </a:lnTo>
                  <a:lnTo>
                    <a:pt x="1117" y="597"/>
                  </a:lnTo>
                  <a:lnTo>
                    <a:pt x="1116" y="597"/>
                  </a:lnTo>
                  <a:lnTo>
                    <a:pt x="1114" y="597"/>
                  </a:lnTo>
                  <a:lnTo>
                    <a:pt x="1114" y="599"/>
                  </a:lnTo>
                  <a:lnTo>
                    <a:pt x="1114" y="601"/>
                  </a:lnTo>
                  <a:lnTo>
                    <a:pt x="1112" y="602"/>
                  </a:lnTo>
                  <a:lnTo>
                    <a:pt x="1112" y="601"/>
                  </a:lnTo>
                  <a:lnTo>
                    <a:pt x="1112" y="602"/>
                  </a:lnTo>
                  <a:lnTo>
                    <a:pt x="1111" y="602"/>
                  </a:lnTo>
                  <a:lnTo>
                    <a:pt x="1109" y="602"/>
                  </a:lnTo>
                  <a:lnTo>
                    <a:pt x="1111" y="602"/>
                  </a:lnTo>
                  <a:lnTo>
                    <a:pt x="1111" y="604"/>
                  </a:lnTo>
                  <a:lnTo>
                    <a:pt x="1109" y="604"/>
                  </a:lnTo>
                  <a:lnTo>
                    <a:pt x="1109" y="605"/>
                  </a:lnTo>
                  <a:lnTo>
                    <a:pt x="1111" y="607"/>
                  </a:lnTo>
                  <a:lnTo>
                    <a:pt x="1109" y="609"/>
                  </a:lnTo>
                  <a:lnTo>
                    <a:pt x="1108" y="609"/>
                  </a:lnTo>
                  <a:lnTo>
                    <a:pt x="1106" y="610"/>
                  </a:lnTo>
                  <a:lnTo>
                    <a:pt x="1104" y="610"/>
                  </a:lnTo>
                  <a:lnTo>
                    <a:pt x="1103" y="614"/>
                  </a:lnTo>
                  <a:lnTo>
                    <a:pt x="1103" y="615"/>
                  </a:lnTo>
                  <a:lnTo>
                    <a:pt x="1101" y="615"/>
                  </a:lnTo>
                  <a:lnTo>
                    <a:pt x="1099" y="615"/>
                  </a:lnTo>
                  <a:lnTo>
                    <a:pt x="1098" y="615"/>
                  </a:lnTo>
                  <a:lnTo>
                    <a:pt x="1096" y="617"/>
                  </a:lnTo>
                  <a:lnTo>
                    <a:pt x="1091" y="617"/>
                  </a:lnTo>
                  <a:lnTo>
                    <a:pt x="1090" y="618"/>
                  </a:lnTo>
                  <a:lnTo>
                    <a:pt x="1090" y="617"/>
                  </a:lnTo>
                  <a:lnTo>
                    <a:pt x="1088" y="617"/>
                  </a:lnTo>
                  <a:lnTo>
                    <a:pt x="1086" y="618"/>
                  </a:lnTo>
                  <a:lnTo>
                    <a:pt x="1085" y="622"/>
                  </a:lnTo>
                  <a:lnTo>
                    <a:pt x="1083" y="623"/>
                  </a:lnTo>
                  <a:lnTo>
                    <a:pt x="1082" y="623"/>
                  </a:lnTo>
                  <a:lnTo>
                    <a:pt x="1083" y="623"/>
                  </a:lnTo>
                  <a:lnTo>
                    <a:pt x="1085" y="628"/>
                  </a:lnTo>
                  <a:lnTo>
                    <a:pt x="1085" y="630"/>
                  </a:lnTo>
                  <a:lnTo>
                    <a:pt x="1085" y="633"/>
                  </a:lnTo>
                  <a:lnTo>
                    <a:pt x="1085" y="635"/>
                  </a:lnTo>
                  <a:lnTo>
                    <a:pt x="1083" y="636"/>
                  </a:lnTo>
                  <a:lnTo>
                    <a:pt x="1082" y="640"/>
                  </a:lnTo>
                  <a:lnTo>
                    <a:pt x="1082" y="641"/>
                  </a:lnTo>
                  <a:lnTo>
                    <a:pt x="1083" y="643"/>
                  </a:lnTo>
                  <a:lnTo>
                    <a:pt x="1085" y="643"/>
                  </a:lnTo>
                  <a:lnTo>
                    <a:pt x="1083" y="644"/>
                  </a:lnTo>
                  <a:lnTo>
                    <a:pt x="1082" y="648"/>
                  </a:lnTo>
                  <a:lnTo>
                    <a:pt x="1080" y="648"/>
                  </a:lnTo>
                  <a:lnTo>
                    <a:pt x="1077" y="649"/>
                  </a:lnTo>
                  <a:lnTo>
                    <a:pt x="1077" y="651"/>
                  </a:lnTo>
                  <a:lnTo>
                    <a:pt x="1075" y="651"/>
                  </a:lnTo>
                  <a:lnTo>
                    <a:pt x="1075" y="653"/>
                  </a:lnTo>
                  <a:lnTo>
                    <a:pt x="1073" y="653"/>
                  </a:lnTo>
                  <a:lnTo>
                    <a:pt x="1072" y="654"/>
                  </a:lnTo>
                  <a:lnTo>
                    <a:pt x="1070" y="654"/>
                  </a:lnTo>
                  <a:lnTo>
                    <a:pt x="1065" y="657"/>
                  </a:lnTo>
                  <a:lnTo>
                    <a:pt x="1064" y="659"/>
                  </a:lnTo>
                  <a:lnTo>
                    <a:pt x="1059" y="662"/>
                  </a:lnTo>
                  <a:lnTo>
                    <a:pt x="1057" y="664"/>
                  </a:lnTo>
                  <a:lnTo>
                    <a:pt x="1057" y="666"/>
                  </a:lnTo>
                  <a:lnTo>
                    <a:pt x="1056" y="666"/>
                  </a:lnTo>
                  <a:lnTo>
                    <a:pt x="1054" y="667"/>
                  </a:lnTo>
                  <a:lnTo>
                    <a:pt x="1049" y="670"/>
                  </a:lnTo>
                  <a:lnTo>
                    <a:pt x="1049" y="672"/>
                  </a:lnTo>
                  <a:lnTo>
                    <a:pt x="1051" y="675"/>
                  </a:lnTo>
                  <a:lnTo>
                    <a:pt x="1052" y="677"/>
                  </a:lnTo>
                  <a:lnTo>
                    <a:pt x="1051" y="679"/>
                  </a:lnTo>
                  <a:lnTo>
                    <a:pt x="1049" y="682"/>
                  </a:lnTo>
                  <a:lnTo>
                    <a:pt x="1047" y="683"/>
                  </a:lnTo>
                  <a:lnTo>
                    <a:pt x="1046" y="685"/>
                  </a:lnTo>
                  <a:lnTo>
                    <a:pt x="1046" y="687"/>
                  </a:lnTo>
                  <a:lnTo>
                    <a:pt x="1044" y="687"/>
                  </a:lnTo>
                  <a:lnTo>
                    <a:pt x="1044" y="688"/>
                  </a:lnTo>
                  <a:lnTo>
                    <a:pt x="1046" y="690"/>
                  </a:lnTo>
                  <a:lnTo>
                    <a:pt x="1046" y="692"/>
                  </a:lnTo>
                  <a:lnTo>
                    <a:pt x="1042" y="693"/>
                  </a:lnTo>
                  <a:lnTo>
                    <a:pt x="1042" y="695"/>
                  </a:lnTo>
                  <a:lnTo>
                    <a:pt x="1046" y="696"/>
                  </a:lnTo>
                  <a:lnTo>
                    <a:pt x="1047" y="698"/>
                  </a:lnTo>
                  <a:lnTo>
                    <a:pt x="1049" y="698"/>
                  </a:lnTo>
                  <a:lnTo>
                    <a:pt x="1049" y="700"/>
                  </a:lnTo>
                  <a:lnTo>
                    <a:pt x="1051" y="700"/>
                  </a:lnTo>
                  <a:lnTo>
                    <a:pt x="1052" y="701"/>
                  </a:lnTo>
                  <a:lnTo>
                    <a:pt x="1052" y="703"/>
                  </a:lnTo>
                  <a:lnTo>
                    <a:pt x="1051" y="705"/>
                  </a:lnTo>
                  <a:lnTo>
                    <a:pt x="1049" y="706"/>
                  </a:lnTo>
                  <a:lnTo>
                    <a:pt x="1049" y="708"/>
                  </a:lnTo>
                  <a:lnTo>
                    <a:pt x="1047" y="709"/>
                  </a:lnTo>
                  <a:lnTo>
                    <a:pt x="1046" y="714"/>
                  </a:lnTo>
                  <a:lnTo>
                    <a:pt x="1047" y="718"/>
                  </a:lnTo>
                  <a:lnTo>
                    <a:pt x="1047" y="719"/>
                  </a:lnTo>
                  <a:lnTo>
                    <a:pt x="1046" y="719"/>
                  </a:lnTo>
                  <a:lnTo>
                    <a:pt x="1044" y="719"/>
                  </a:lnTo>
                  <a:lnTo>
                    <a:pt x="1042" y="719"/>
                  </a:lnTo>
                  <a:lnTo>
                    <a:pt x="1041" y="719"/>
                  </a:lnTo>
                  <a:lnTo>
                    <a:pt x="1039" y="721"/>
                  </a:lnTo>
                  <a:lnTo>
                    <a:pt x="1038" y="721"/>
                  </a:lnTo>
                  <a:lnTo>
                    <a:pt x="1036" y="721"/>
                  </a:lnTo>
                  <a:lnTo>
                    <a:pt x="1034" y="722"/>
                  </a:lnTo>
                  <a:lnTo>
                    <a:pt x="1033" y="722"/>
                  </a:lnTo>
                  <a:lnTo>
                    <a:pt x="1033" y="724"/>
                  </a:lnTo>
                  <a:lnTo>
                    <a:pt x="1031" y="724"/>
                  </a:lnTo>
                  <a:lnTo>
                    <a:pt x="1031" y="726"/>
                  </a:lnTo>
                  <a:lnTo>
                    <a:pt x="1033" y="727"/>
                  </a:lnTo>
                  <a:lnTo>
                    <a:pt x="1033" y="729"/>
                  </a:lnTo>
                  <a:lnTo>
                    <a:pt x="1033" y="731"/>
                  </a:lnTo>
                  <a:lnTo>
                    <a:pt x="1031" y="732"/>
                  </a:lnTo>
                  <a:lnTo>
                    <a:pt x="1031" y="734"/>
                  </a:lnTo>
                  <a:lnTo>
                    <a:pt x="1029" y="736"/>
                  </a:lnTo>
                  <a:lnTo>
                    <a:pt x="1031" y="736"/>
                  </a:lnTo>
                  <a:lnTo>
                    <a:pt x="1031" y="734"/>
                  </a:lnTo>
                  <a:lnTo>
                    <a:pt x="1033" y="734"/>
                  </a:lnTo>
                  <a:lnTo>
                    <a:pt x="1036" y="734"/>
                  </a:lnTo>
                  <a:lnTo>
                    <a:pt x="1038" y="734"/>
                  </a:lnTo>
                  <a:lnTo>
                    <a:pt x="1039" y="734"/>
                  </a:lnTo>
                  <a:lnTo>
                    <a:pt x="1041" y="732"/>
                  </a:lnTo>
                  <a:lnTo>
                    <a:pt x="1042" y="732"/>
                  </a:lnTo>
                  <a:lnTo>
                    <a:pt x="1044" y="734"/>
                  </a:lnTo>
                  <a:lnTo>
                    <a:pt x="1046" y="734"/>
                  </a:lnTo>
                  <a:lnTo>
                    <a:pt x="1047" y="734"/>
                  </a:lnTo>
                  <a:lnTo>
                    <a:pt x="1049" y="732"/>
                  </a:lnTo>
                  <a:lnTo>
                    <a:pt x="1051" y="731"/>
                  </a:lnTo>
                  <a:lnTo>
                    <a:pt x="1052" y="731"/>
                  </a:lnTo>
                  <a:lnTo>
                    <a:pt x="1052" y="727"/>
                  </a:lnTo>
                  <a:lnTo>
                    <a:pt x="1057" y="726"/>
                  </a:lnTo>
                  <a:lnTo>
                    <a:pt x="1060" y="724"/>
                  </a:lnTo>
                  <a:lnTo>
                    <a:pt x="1062" y="724"/>
                  </a:lnTo>
                  <a:lnTo>
                    <a:pt x="1064" y="722"/>
                  </a:lnTo>
                  <a:lnTo>
                    <a:pt x="1065" y="721"/>
                  </a:lnTo>
                  <a:lnTo>
                    <a:pt x="1065" y="719"/>
                  </a:lnTo>
                  <a:lnTo>
                    <a:pt x="1064" y="719"/>
                  </a:lnTo>
                  <a:lnTo>
                    <a:pt x="1064" y="718"/>
                  </a:lnTo>
                  <a:lnTo>
                    <a:pt x="1062" y="719"/>
                  </a:lnTo>
                  <a:lnTo>
                    <a:pt x="1060" y="719"/>
                  </a:lnTo>
                  <a:lnTo>
                    <a:pt x="1059" y="718"/>
                  </a:lnTo>
                  <a:lnTo>
                    <a:pt x="1059" y="716"/>
                  </a:lnTo>
                  <a:lnTo>
                    <a:pt x="1057" y="714"/>
                  </a:lnTo>
                  <a:lnTo>
                    <a:pt x="1059" y="714"/>
                  </a:lnTo>
                  <a:lnTo>
                    <a:pt x="1059" y="713"/>
                  </a:lnTo>
                  <a:lnTo>
                    <a:pt x="1059" y="711"/>
                  </a:lnTo>
                  <a:lnTo>
                    <a:pt x="1057" y="709"/>
                  </a:lnTo>
                  <a:lnTo>
                    <a:pt x="1059" y="708"/>
                  </a:lnTo>
                  <a:lnTo>
                    <a:pt x="1060" y="706"/>
                  </a:lnTo>
                  <a:lnTo>
                    <a:pt x="1060" y="705"/>
                  </a:lnTo>
                  <a:lnTo>
                    <a:pt x="1067" y="700"/>
                  </a:lnTo>
                  <a:lnTo>
                    <a:pt x="1070" y="698"/>
                  </a:lnTo>
                  <a:lnTo>
                    <a:pt x="1072" y="698"/>
                  </a:lnTo>
                  <a:lnTo>
                    <a:pt x="1082" y="695"/>
                  </a:lnTo>
                  <a:lnTo>
                    <a:pt x="1088" y="692"/>
                  </a:lnTo>
                  <a:lnTo>
                    <a:pt x="1104" y="692"/>
                  </a:lnTo>
                  <a:lnTo>
                    <a:pt x="1116" y="696"/>
                  </a:lnTo>
                  <a:lnTo>
                    <a:pt x="1117" y="696"/>
                  </a:lnTo>
                  <a:lnTo>
                    <a:pt x="1116" y="701"/>
                  </a:lnTo>
                  <a:lnTo>
                    <a:pt x="1116" y="703"/>
                  </a:lnTo>
                  <a:lnTo>
                    <a:pt x="1114" y="705"/>
                  </a:lnTo>
                  <a:lnTo>
                    <a:pt x="1114" y="706"/>
                  </a:lnTo>
                  <a:lnTo>
                    <a:pt x="1112" y="706"/>
                  </a:lnTo>
                  <a:lnTo>
                    <a:pt x="1112" y="708"/>
                  </a:lnTo>
                  <a:lnTo>
                    <a:pt x="1114" y="709"/>
                  </a:lnTo>
                  <a:lnTo>
                    <a:pt x="1114" y="711"/>
                  </a:lnTo>
                  <a:lnTo>
                    <a:pt x="1116" y="711"/>
                  </a:lnTo>
                  <a:lnTo>
                    <a:pt x="1117" y="713"/>
                  </a:lnTo>
                  <a:lnTo>
                    <a:pt x="1117" y="714"/>
                  </a:lnTo>
                  <a:lnTo>
                    <a:pt x="1119" y="716"/>
                  </a:lnTo>
                  <a:lnTo>
                    <a:pt x="1121" y="716"/>
                  </a:lnTo>
                  <a:lnTo>
                    <a:pt x="1121" y="718"/>
                  </a:lnTo>
                  <a:lnTo>
                    <a:pt x="1121" y="719"/>
                  </a:lnTo>
                  <a:lnTo>
                    <a:pt x="1121" y="721"/>
                  </a:lnTo>
                  <a:lnTo>
                    <a:pt x="1119" y="721"/>
                  </a:lnTo>
                  <a:lnTo>
                    <a:pt x="1119" y="722"/>
                  </a:lnTo>
                  <a:lnTo>
                    <a:pt x="1117" y="724"/>
                  </a:lnTo>
                  <a:lnTo>
                    <a:pt x="1116" y="724"/>
                  </a:lnTo>
                  <a:lnTo>
                    <a:pt x="1116" y="726"/>
                  </a:lnTo>
                  <a:lnTo>
                    <a:pt x="1114" y="729"/>
                  </a:lnTo>
                  <a:lnTo>
                    <a:pt x="1116" y="731"/>
                  </a:lnTo>
                  <a:lnTo>
                    <a:pt x="1116" y="732"/>
                  </a:lnTo>
                  <a:lnTo>
                    <a:pt x="1114" y="732"/>
                  </a:lnTo>
                  <a:lnTo>
                    <a:pt x="1112" y="734"/>
                  </a:lnTo>
                  <a:lnTo>
                    <a:pt x="1112" y="736"/>
                  </a:lnTo>
                  <a:lnTo>
                    <a:pt x="1112" y="737"/>
                  </a:lnTo>
                  <a:lnTo>
                    <a:pt x="1114" y="737"/>
                  </a:lnTo>
                  <a:lnTo>
                    <a:pt x="1114" y="739"/>
                  </a:lnTo>
                  <a:lnTo>
                    <a:pt x="1116" y="739"/>
                  </a:lnTo>
                  <a:lnTo>
                    <a:pt x="1117" y="739"/>
                  </a:lnTo>
                  <a:lnTo>
                    <a:pt x="1119" y="739"/>
                  </a:lnTo>
                  <a:lnTo>
                    <a:pt x="1119" y="740"/>
                  </a:lnTo>
                  <a:lnTo>
                    <a:pt x="1124" y="740"/>
                  </a:lnTo>
                  <a:lnTo>
                    <a:pt x="1122" y="744"/>
                  </a:lnTo>
                  <a:lnTo>
                    <a:pt x="1122" y="745"/>
                  </a:lnTo>
                  <a:lnTo>
                    <a:pt x="1122" y="747"/>
                  </a:lnTo>
                  <a:lnTo>
                    <a:pt x="1121" y="749"/>
                  </a:lnTo>
                  <a:lnTo>
                    <a:pt x="1121" y="750"/>
                  </a:lnTo>
                  <a:lnTo>
                    <a:pt x="1121" y="752"/>
                  </a:lnTo>
                  <a:lnTo>
                    <a:pt x="1122" y="752"/>
                  </a:lnTo>
                  <a:lnTo>
                    <a:pt x="1124" y="750"/>
                  </a:lnTo>
                  <a:lnTo>
                    <a:pt x="1125" y="749"/>
                  </a:lnTo>
                  <a:lnTo>
                    <a:pt x="1127" y="749"/>
                  </a:lnTo>
                  <a:lnTo>
                    <a:pt x="1127" y="750"/>
                  </a:lnTo>
                  <a:lnTo>
                    <a:pt x="1129" y="752"/>
                  </a:lnTo>
                  <a:lnTo>
                    <a:pt x="1129" y="753"/>
                  </a:lnTo>
                  <a:lnTo>
                    <a:pt x="1130" y="753"/>
                  </a:lnTo>
                  <a:lnTo>
                    <a:pt x="1130" y="755"/>
                  </a:lnTo>
                  <a:lnTo>
                    <a:pt x="1132" y="757"/>
                  </a:lnTo>
                  <a:lnTo>
                    <a:pt x="1132" y="758"/>
                  </a:lnTo>
                  <a:lnTo>
                    <a:pt x="1134" y="758"/>
                  </a:lnTo>
                  <a:lnTo>
                    <a:pt x="1134" y="760"/>
                  </a:lnTo>
                  <a:lnTo>
                    <a:pt x="1135" y="760"/>
                  </a:lnTo>
                  <a:lnTo>
                    <a:pt x="1135" y="762"/>
                  </a:lnTo>
                  <a:lnTo>
                    <a:pt x="1134" y="763"/>
                  </a:lnTo>
                  <a:lnTo>
                    <a:pt x="1137" y="765"/>
                  </a:lnTo>
                  <a:lnTo>
                    <a:pt x="1137" y="768"/>
                  </a:lnTo>
                  <a:lnTo>
                    <a:pt x="1137" y="770"/>
                  </a:lnTo>
                  <a:lnTo>
                    <a:pt x="1135" y="770"/>
                  </a:lnTo>
                  <a:lnTo>
                    <a:pt x="1134" y="771"/>
                  </a:lnTo>
                  <a:lnTo>
                    <a:pt x="1132" y="773"/>
                  </a:lnTo>
                  <a:lnTo>
                    <a:pt x="1132" y="775"/>
                  </a:lnTo>
                  <a:lnTo>
                    <a:pt x="1132" y="776"/>
                  </a:lnTo>
                  <a:lnTo>
                    <a:pt x="1132" y="778"/>
                  </a:lnTo>
                  <a:lnTo>
                    <a:pt x="1129" y="778"/>
                  </a:lnTo>
                  <a:lnTo>
                    <a:pt x="1127" y="778"/>
                  </a:lnTo>
                  <a:lnTo>
                    <a:pt x="1125" y="779"/>
                  </a:lnTo>
                  <a:lnTo>
                    <a:pt x="1124" y="779"/>
                  </a:lnTo>
                  <a:lnTo>
                    <a:pt x="1124" y="781"/>
                  </a:lnTo>
                  <a:lnTo>
                    <a:pt x="1122" y="781"/>
                  </a:lnTo>
                  <a:lnTo>
                    <a:pt x="1121" y="779"/>
                  </a:lnTo>
                  <a:lnTo>
                    <a:pt x="1119" y="779"/>
                  </a:lnTo>
                  <a:lnTo>
                    <a:pt x="1119" y="781"/>
                  </a:lnTo>
                  <a:lnTo>
                    <a:pt x="1117" y="781"/>
                  </a:lnTo>
                  <a:lnTo>
                    <a:pt x="1116" y="781"/>
                  </a:lnTo>
                  <a:lnTo>
                    <a:pt x="1114" y="781"/>
                  </a:lnTo>
                  <a:lnTo>
                    <a:pt x="1112" y="784"/>
                  </a:lnTo>
                  <a:lnTo>
                    <a:pt x="1112" y="786"/>
                  </a:lnTo>
                  <a:lnTo>
                    <a:pt x="1112" y="788"/>
                  </a:lnTo>
                  <a:lnTo>
                    <a:pt x="1112" y="789"/>
                  </a:lnTo>
                  <a:lnTo>
                    <a:pt x="1112" y="792"/>
                  </a:lnTo>
                  <a:lnTo>
                    <a:pt x="1112" y="796"/>
                  </a:lnTo>
                  <a:lnTo>
                    <a:pt x="1112" y="797"/>
                  </a:lnTo>
                  <a:lnTo>
                    <a:pt x="1114" y="801"/>
                  </a:lnTo>
                  <a:lnTo>
                    <a:pt x="1116" y="801"/>
                  </a:lnTo>
                  <a:lnTo>
                    <a:pt x="1116" y="802"/>
                  </a:lnTo>
                  <a:lnTo>
                    <a:pt x="1117" y="804"/>
                  </a:lnTo>
                  <a:lnTo>
                    <a:pt x="1119" y="804"/>
                  </a:lnTo>
                  <a:lnTo>
                    <a:pt x="1121" y="804"/>
                  </a:lnTo>
                  <a:lnTo>
                    <a:pt x="1122" y="804"/>
                  </a:lnTo>
                  <a:lnTo>
                    <a:pt x="1122" y="805"/>
                  </a:lnTo>
                  <a:lnTo>
                    <a:pt x="1122" y="807"/>
                  </a:lnTo>
                  <a:lnTo>
                    <a:pt x="1124" y="809"/>
                  </a:lnTo>
                  <a:lnTo>
                    <a:pt x="1125" y="809"/>
                  </a:lnTo>
                  <a:lnTo>
                    <a:pt x="1127" y="807"/>
                  </a:lnTo>
                  <a:lnTo>
                    <a:pt x="1129" y="809"/>
                  </a:lnTo>
                  <a:lnTo>
                    <a:pt x="1130" y="809"/>
                  </a:lnTo>
                  <a:lnTo>
                    <a:pt x="1130" y="810"/>
                  </a:lnTo>
                  <a:lnTo>
                    <a:pt x="1130" y="812"/>
                  </a:lnTo>
                  <a:lnTo>
                    <a:pt x="1129" y="814"/>
                  </a:lnTo>
                  <a:lnTo>
                    <a:pt x="1129" y="815"/>
                  </a:lnTo>
                  <a:lnTo>
                    <a:pt x="1129" y="817"/>
                  </a:lnTo>
                  <a:lnTo>
                    <a:pt x="1129" y="818"/>
                  </a:lnTo>
                  <a:lnTo>
                    <a:pt x="1130" y="818"/>
                  </a:lnTo>
                  <a:lnTo>
                    <a:pt x="1130" y="820"/>
                  </a:lnTo>
                  <a:lnTo>
                    <a:pt x="1129" y="822"/>
                  </a:lnTo>
                  <a:lnTo>
                    <a:pt x="1130" y="823"/>
                  </a:lnTo>
                  <a:lnTo>
                    <a:pt x="1129" y="825"/>
                  </a:lnTo>
                  <a:lnTo>
                    <a:pt x="1130" y="827"/>
                  </a:lnTo>
                  <a:lnTo>
                    <a:pt x="1130" y="828"/>
                  </a:lnTo>
                  <a:lnTo>
                    <a:pt x="1130" y="830"/>
                  </a:lnTo>
                  <a:lnTo>
                    <a:pt x="1132" y="830"/>
                  </a:lnTo>
                  <a:lnTo>
                    <a:pt x="1135" y="830"/>
                  </a:lnTo>
                  <a:lnTo>
                    <a:pt x="1135" y="831"/>
                  </a:lnTo>
                  <a:lnTo>
                    <a:pt x="1135" y="833"/>
                  </a:lnTo>
                  <a:lnTo>
                    <a:pt x="1135" y="835"/>
                  </a:lnTo>
                  <a:lnTo>
                    <a:pt x="1137" y="833"/>
                  </a:lnTo>
                  <a:lnTo>
                    <a:pt x="1138" y="835"/>
                  </a:lnTo>
                  <a:lnTo>
                    <a:pt x="1140" y="835"/>
                  </a:lnTo>
                  <a:lnTo>
                    <a:pt x="1140" y="836"/>
                  </a:lnTo>
                  <a:lnTo>
                    <a:pt x="1140" y="838"/>
                  </a:lnTo>
                  <a:lnTo>
                    <a:pt x="1142" y="840"/>
                  </a:lnTo>
                  <a:lnTo>
                    <a:pt x="1143" y="841"/>
                  </a:lnTo>
                  <a:lnTo>
                    <a:pt x="1145" y="841"/>
                  </a:lnTo>
                  <a:lnTo>
                    <a:pt x="1145" y="843"/>
                  </a:lnTo>
                  <a:lnTo>
                    <a:pt x="1148" y="844"/>
                  </a:lnTo>
                  <a:lnTo>
                    <a:pt x="1148" y="846"/>
                  </a:lnTo>
                  <a:lnTo>
                    <a:pt x="1147" y="848"/>
                  </a:lnTo>
                  <a:lnTo>
                    <a:pt x="1145" y="849"/>
                  </a:lnTo>
                  <a:lnTo>
                    <a:pt x="1145" y="851"/>
                  </a:lnTo>
                  <a:lnTo>
                    <a:pt x="1143" y="853"/>
                  </a:lnTo>
                  <a:lnTo>
                    <a:pt x="1143" y="854"/>
                  </a:lnTo>
                  <a:lnTo>
                    <a:pt x="1142" y="854"/>
                  </a:lnTo>
                  <a:lnTo>
                    <a:pt x="1140" y="854"/>
                  </a:lnTo>
                  <a:lnTo>
                    <a:pt x="1140" y="856"/>
                  </a:lnTo>
                  <a:lnTo>
                    <a:pt x="1140" y="857"/>
                  </a:lnTo>
                  <a:lnTo>
                    <a:pt x="1142" y="861"/>
                  </a:lnTo>
                  <a:lnTo>
                    <a:pt x="1142" y="862"/>
                  </a:lnTo>
                  <a:lnTo>
                    <a:pt x="1142" y="864"/>
                  </a:lnTo>
                  <a:lnTo>
                    <a:pt x="1143" y="866"/>
                  </a:lnTo>
                  <a:lnTo>
                    <a:pt x="1142" y="867"/>
                  </a:lnTo>
                  <a:lnTo>
                    <a:pt x="1140" y="867"/>
                  </a:lnTo>
                  <a:lnTo>
                    <a:pt x="1138" y="867"/>
                  </a:lnTo>
                  <a:lnTo>
                    <a:pt x="1137" y="869"/>
                  </a:lnTo>
                  <a:lnTo>
                    <a:pt x="1137" y="871"/>
                  </a:lnTo>
                  <a:lnTo>
                    <a:pt x="1135" y="871"/>
                  </a:lnTo>
                  <a:lnTo>
                    <a:pt x="1134" y="869"/>
                  </a:lnTo>
                  <a:lnTo>
                    <a:pt x="1132" y="871"/>
                  </a:lnTo>
                  <a:lnTo>
                    <a:pt x="1130" y="871"/>
                  </a:lnTo>
                  <a:lnTo>
                    <a:pt x="1129" y="871"/>
                  </a:lnTo>
                  <a:lnTo>
                    <a:pt x="1127" y="871"/>
                  </a:lnTo>
                  <a:lnTo>
                    <a:pt x="1125" y="871"/>
                  </a:lnTo>
                  <a:lnTo>
                    <a:pt x="1124" y="872"/>
                  </a:lnTo>
                  <a:lnTo>
                    <a:pt x="1125" y="872"/>
                  </a:lnTo>
                  <a:lnTo>
                    <a:pt x="1124" y="874"/>
                  </a:lnTo>
                  <a:lnTo>
                    <a:pt x="1124" y="875"/>
                  </a:lnTo>
                  <a:lnTo>
                    <a:pt x="1122" y="875"/>
                  </a:lnTo>
                  <a:lnTo>
                    <a:pt x="1122" y="877"/>
                  </a:lnTo>
                  <a:lnTo>
                    <a:pt x="1119" y="877"/>
                  </a:lnTo>
                  <a:lnTo>
                    <a:pt x="1117" y="877"/>
                  </a:lnTo>
                  <a:lnTo>
                    <a:pt x="1117" y="879"/>
                  </a:lnTo>
                  <a:lnTo>
                    <a:pt x="1117" y="880"/>
                  </a:lnTo>
                  <a:lnTo>
                    <a:pt x="1117" y="882"/>
                  </a:lnTo>
                  <a:lnTo>
                    <a:pt x="1114" y="882"/>
                  </a:lnTo>
                  <a:lnTo>
                    <a:pt x="1112" y="882"/>
                  </a:lnTo>
                  <a:lnTo>
                    <a:pt x="1109" y="879"/>
                  </a:lnTo>
                  <a:lnTo>
                    <a:pt x="1108" y="879"/>
                  </a:lnTo>
                  <a:lnTo>
                    <a:pt x="1106" y="879"/>
                  </a:lnTo>
                  <a:lnTo>
                    <a:pt x="1106" y="877"/>
                  </a:lnTo>
                  <a:lnTo>
                    <a:pt x="1104" y="877"/>
                  </a:lnTo>
                  <a:lnTo>
                    <a:pt x="1104" y="879"/>
                  </a:lnTo>
                  <a:lnTo>
                    <a:pt x="1103" y="880"/>
                  </a:lnTo>
                  <a:lnTo>
                    <a:pt x="1101" y="880"/>
                  </a:lnTo>
                  <a:lnTo>
                    <a:pt x="1099" y="880"/>
                  </a:lnTo>
                  <a:lnTo>
                    <a:pt x="1095" y="880"/>
                  </a:lnTo>
                  <a:lnTo>
                    <a:pt x="1095" y="882"/>
                  </a:lnTo>
                  <a:lnTo>
                    <a:pt x="1093" y="882"/>
                  </a:lnTo>
                  <a:lnTo>
                    <a:pt x="1091" y="884"/>
                  </a:lnTo>
                  <a:lnTo>
                    <a:pt x="1090" y="884"/>
                  </a:lnTo>
                  <a:lnTo>
                    <a:pt x="1090" y="885"/>
                  </a:lnTo>
                  <a:lnTo>
                    <a:pt x="1091" y="887"/>
                  </a:lnTo>
                  <a:lnTo>
                    <a:pt x="1091" y="888"/>
                  </a:lnTo>
                  <a:lnTo>
                    <a:pt x="1093" y="890"/>
                  </a:lnTo>
                  <a:lnTo>
                    <a:pt x="1093" y="892"/>
                  </a:lnTo>
                  <a:lnTo>
                    <a:pt x="1093" y="893"/>
                  </a:lnTo>
                  <a:lnTo>
                    <a:pt x="1093" y="895"/>
                  </a:lnTo>
                  <a:lnTo>
                    <a:pt x="1095" y="897"/>
                  </a:lnTo>
                  <a:lnTo>
                    <a:pt x="1099" y="897"/>
                  </a:lnTo>
                  <a:lnTo>
                    <a:pt x="1101" y="898"/>
                  </a:lnTo>
                  <a:lnTo>
                    <a:pt x="1101" y="900"/>
                  </a:lnTo>
                  <a:lnTo>
                    <a:pt x="1103" y="900"/>
                  </a:lnTo>
                  <a:lnTo>
                    <a:pt x="1101" y="901"/>
                  </a:lnTo>
                  <a:lnTo>
                    <a:pt x="1101" y="903"/>
                  </a:lnTo>
                  <a:lnTo>
                    <a:pt x="1103" y="905"/>
                  </a:lnTo>
                  <a:lnTo>
                    <a:pt x="1103" y="906"/>
                  </a:lnTo>
                  <a:lnTo>
                    <a:pt x="1101" y="908"/>
                  </a:lnTo>
                  <a:lnTo>
                    <a:pt x="1103" y="910"/>
                  </a:lnTo>
                  <a:lnTo>
                    <a:pt x="1101" y="911"/>
                  </a:lnTo>
                  <a:lnTo>
                    <a:pt x="1101" y="913"/>
                  </a:lnTo>
                  <a:lnTo>
                    <a:pt x="1101" y="914"/>
                  </a:lnTo>
                  <a:lnTo>
                    <a:pt x="1104" y="914"/>
                  </a:lnTo>
                  <a:lnTo>
                    <a:pt x="1104" y="916"/>
                  </a:lnTo>
                  <a:lnTo>
                    <a:pt x="1106" y="916"/>
                  </a:lnTo>
                  <a:lnTo>
                    <a:pt x="1106" y="918"/>
                  </a:lnTo>
                  <a:lnTo>
                    <a:pt x="1108" y="919"/>
                  </a:lnTo>
                  <a:lnTo>
                    <a:pt x="1109" y="919"/>
                  </a:lnTo>
                  <a:lnTo>
                    <a:pt x="1109" y="921"/>
                  </a:lnTo>
                  <a:lnTo>
                    <a:pt x="1111" y="921"/>
                  </a:lnTo>
                  <a:lnTo>
                    <a:pt x="1112" y="921"/>
                  </a:lnTo>
                  <a:lnTo>
                    <a:pt x="1112" y="923"/>
                  </a:lnTo>
                  <a:lnTo>
                    <a:pt x="1117" y="923"/>
                  </a:lnTo>
                  <a:lnTo>
                    <a:pt x="1119" y="923"/>
                  </a:lnTo>
                  <a:lnTo>
                    <a:pt x="1119" y="921"/>
                  </a:lnTo>
                  <a:lnTo>
                    <a:pt x="1122" y="923"/>
                  </a:lnTo>
                  <a:lnTo>
                    <a:pt x="1124" y="923"/>
                  </a:lnTo>
                  <a:lnTo>
                    <a:pt x="1125" y="924"/>
                  </a:lnTo>
                  <a:lnTo>
                    <a:pt x="1127" y="924"/>
                  </a:lnTo>
                  <a:lnTo>
                    <a:pt x="1127" y="926"/>
                  </a:lnTo>
                  <a:lnTo>
                    <a:pt x="1129" y="927"/>
                  </a:lnTo>
                  <a:lnTo>
                    <a:pt x="1129" y="929"/>
                  </a:lnTo>
                  <a:lnTo>
                    <a:pt x="1127" y="931"/>
                  </a:lnTo>
                  <a:lnTo>
                    <a:pt x="1127" y="932"/>
                  </a:lnTo>
                  <a:lnTo>
                    <a:pt x="1129" y="934"/>
                  </a:lnTo>
                  <a:lnTo>
                    <a:pt x="1129" y="937"/>
                  </a:lnTo>
                  <a:lnTo>
                    <a:pt x="1129" y="939"/>
                  </a:lnTo>
                  <a:lnTo>
                    <a:pt x="1129" y="940"/>
                  </a:lnTo>
                  <a:lnTo>
                    <a:pt x="1130" y="942"/>
                  </a:lnTo>
                  <a:lnTo>
                    <a:pt x="1132" y="942"/>
                  </a:lnTo>
                  <a:lnTo>
                    <a:pt x="1132" y="944"/>
                  </a:lnTo>
                  <a:lnTo>
                    <a:pt x="1134" y="945"/>
                  </a:lnTo>
                  <a:lnTo>
                    <a:pt x="1134" y="947"/>
                  </a:lnTo>
                  <a:lnTo>
                    <a:pt x="1132" y="947"/>
                  </a:lnTo>
                  <a:lnTo>
                    <a:pt x="1130" y="947"/>
                  </a:lnTo>
                  <a:lnTo>
                    <a:pt x="1129" y="945"/>
                  </a:lnTo>
                  <a:lnTo>
                    <a:pt x="1127" y="945"/>
                  </a:lnTo>
                  <a:lnTo>
                    <a:pt x="1125" y="945"/>
                  </a:lnTo>
                  <a:lnTo>
                    <a:pt x="1124" y="945"/>
                  </a:lnTo>
                  <a:lnTo>
                    <a:pt x="1122" y="947"/>
                  </a:lnTo>
                  <a:lnTo>
                    <a:pt x="1121" y="949"/>
                  </a:lnTo>
                  <a:lnTo>
                    <a:pt x="1121" y="950"/>
                  </a:lnTo>
                  <a:lnTo>
                    <a:pt x="1121" y="953"/>
                  </a:lnTo>
                  <a:lnTo>
                    <a:pt x="1122" y="955"/>
                  </a:lnTo>
                  <a:lnTo>
                    <a:pt x="1121" y="955"/>
                  </a:lnTo>
                  <a:lnTo>
                    <a:pt x="1121" y="957"/>
                  </a:lnTo>
                  <a:lnTo>
                    <a:pt x="1119" y="958"/>
                  </a:lnTo>
                  <a:lnTo>
                    <a:pt x="1117" y="960"/>
                  </a:lnTo>
                  <a:lnTo>
                    <a:pt x="1119" y="960"/>
                  </a:lnTo>
                  <a:lnTo>
                    <a:pt x="1117" y="962"/>
                  </a:lnTo>
                  <a:lnTo>
                    <a:pt x="1116" y="963"/>
                  </a:lnTo>
                  <a:lnTo>
                    <a:pt x="1114" y="965"/>
                  </a:lnTo>
                  <a:lnTo>
                    <a:pt x="1112" y="965"/>
                  </a:lnTo>
                  <a:lnTo>
                    <a:pt x="1111" y="966"/>
                  </a:lnTo>
                  <a:lnTo>
                    <a:pt x="1111" y="968"/>
                  </a:lnTo>
                  <a:lnTo>
                    <a:pt x="1109" y="968"/>
                  </a:lnTo>
                  <a:lnTo>
                    <a:pt x="1109" y="970"/>
                  </a:lnTo>
                  <a:lnTo>
                    <a:pt x="1111" y="971"/>
                  </a:lnTo>
                  <a:lnTo>
                    <a:pt x="1111" y="973"/>
                  </a:lnTo>
                  <a:lnTo>
                    <a:pt x="1112" y="975"/>
                  </a:lnTo>
                  <a:lnTo>
                    <a:pt x="1112" y="976"/>
                  </a:lnTo>
                  <a:lnTo>
                    <a:pt x="1114" y="978"/>
                  </a:lnTo>
                  <a:lnTo>
                    <a:pt x="1116" y="978"/>
                  </a:lnTo>
                  <a:lnTo>
                    <a:pt x="1116" y="979"/>
                  </a:lnTo>
                  <a:lnTo>
                    <a:pt x="1117" y="981"/>
                  </a:lnTo>
                  <a:lnTo>
                    <a:pt x="1119" y="983"/>
                  </a:lnTo>
                  <a:lnTo>
                    <a:pt x="1117" y="983"/>
                  </a:lnTo>
                  <a:lnTo>
                    <a:pt x="1116" y="983"/>
                  </a:lnTo>
                  <a:lnTo>
                    <a:pt x="1114" y="983"/>
                  </a:lnTo>
                  <a:lnTo>
                    <a:pt x="1114" y="984"/>
                  </a:lnTo>
                  <a:lnTo>
                    <a:pt x="1114" y="986"/>
                  </a:lnTo>
                  <a:lnTo>
                    <a:pt x="1114" y="989"/>
                  </a:lnTo>
                  <a:lnTo>
                    <a:pt x="1112" y="992"/>
                  </a:lnTo>
                  <a:lnTo>
                    <a:pt x="1114" y="992"/>
                  </a:lnTo>
                  <a:lnTo>
                    <a:pt x="1116" y="994"/>
                  </a:lnTo>
                  <a:lnTo>
                    <a:pt x="1116" y="996"/>
                  </a:lnTo>
                  <a:lnTo>
                    <a:pt x="1117" y="997"/>
                  </a:lnTo>
                  <a:lnTo>
                    <a:pt x="1119" y="999"/>
                  </a:lnTo>
                  <a:lnTo>
                    <a:pt x="1119" y="1001"/>
                  </a:lnTo>
                  <a:lnTo>
                    <a:pt x="1119" y="1002"/>
                  </a:lnTo>
                  <a:lnTo>
                    <a:pt x="1121" y="1002"/>
                  </a:lnTo>
                  <a:lnTo>
                    <a:pt x="1121" y="1004"/>
                  </a:lnTo>
                  <a:lnTo>
                    <a:pt x="1122" y="1004"/>
                  </a:lnTo>
                  <a:lnTo>
                    <a:pt x="1122" y="1007"/>
                  </a:lnTo>
                  <a:lnTo>
                    <a:pt x="1122" y="1009"/>
                  </a:lnTo>
                  <a:lnTo>
                    <a:pt x="1124" y="1010"/>
                  </a:lnTo>
                  <a:lnTo>
                    <a:pt x="1125" y="1010"/>
                  </a:lnTo>
                  <a:lnTo>
                    <a:pt x="1125" y="1012"/>
                  </a:lnTo>
                  <a:lnTo>
                    <a:pt x="1127" y="1012"/>
                  </a:lnTo>
                  <a:lnTo>
                    <a:pt x="1129" y="1012"/>
                  </a:lnTo>
                  <a:lnTo>
                    <a:pt x="1130" y="1012"/>
                  </a:lnTo>
                  <a:lnTo>
                    <a:pt x="1132" y="1012"/>
                  </a:lnTo>
                  <a:lnTo>
                    <a:pt x="1134" y="1014"/>
                  </a:lnTo>
                  <a:lnTo>
                    <a:pt x="1135" y="1014"/>
                  </a:lnTo>
                  <a:lnTo>
                    <a:pt x="1138" y="1015"/>
                  </a:lnTo>
                  <a:lnTo>
                    <a:pt x="1140" y="1015"/>
                  </a:lnTo>
                  <a:lnTo>
                    <a:pt x="1142" y="1017"/>
                  </a:lnTo>
                  <a:lnTo>
                    <a:pt x="1143" y="1019"/>
                  </a:lnTo>
                  <a:lnTo>
                    <a:pt x="1145" y="1020"/>
                  </a:lnTo>
                  <a:lnTo>
                    <a:pt x="1145" y="1022"/>
                  </a:lnTo>
                  <a:lnTo>
                    <a:pt x="1147" y="1022"/>
                  </a:lnTo>
                  <a:lnTo>
                    <a:pt x="1147" y="1020"/>
                  </a:lnTo>
                  <a:lnTo>
                    <a:pt x="1148" y="1020"/>
                  </a:lnTo>
                  <a:lnTo>
                    <a:pt x="1148" y="1022"/>
                  </a:lnTo>
                  <a:lnTo>
                    <a:pt x="1150" y="1023"/>
                  </a:lnTo>
                  <a:lnTo>
                    <a:pt x="1151" y="1025"/>
                  </a:lnTo>
                  <a:lnTo>
                    <a:pt x="1153" y="1025"/>
                  </a:lnTo>
                  <a:lnTo>
                    <a:pt x="1155" y="1025"/>
                  </a:lnTo>
                  <a:lnTo>
                    <a:pt x="1156" y="1025"/>
                  </a:lnTo>
                  <a:lnTo>
                    <a:pt x="1158" y="1025"/>
                  </a:lnTo>
                  <a:lnTo>
                    <a:pt x="1160" y="1028"/>
                  </a:lnTo>
                  <a:lnTo>
                    <a:pt x="1161" y="1028"/>
                  </a:lnTo>
                  <a:lnTo>
                    <a:pt x="1163" y="1028"/>
                  </a:lnTo>
                  <a:lnTo>
                    <a:pt x="1164" y="1028"/>
                  </a:lnTo>
                  <a:lnTo>
                    <a:pt x="1166" y="1030"/>
                  </a:lnTo>
                  <a:lnTo>
                    <a:pt x="1166" y="1028"/>
                  </a:lnTo>
                  <a:lnTo>
                    <a:pt x="1168" y="1027"/>
                  </a:lnTo>
                  <a:lnTo>
                    <a:pt x="1169" y="1028"/>
                  </a:lnTo>
                  <a:lnTo>
                    <a:pt x="1171" y="1027"/>
                  </a:lnTo>
                  <a:lnTo>
                    <a:pt x="1173" y="1027"/>
                  </a:lnTo>
                  <a:lnTo>
                    <a:pt x="1174" y="1027"/>
                  </a:lnTo>
                  <a:lnTo>
                    <a:pt x="1174" y="1025"/>
                  </a:lnTo>
                  <a:lnTo>
                    <a:pt x="1176" y="1027"/>
                  </a:lnTo>
                  <a:lnTo>
                    <a:pt x="1177" y="1027"/>
                  </a:lnTo>
                  <a:lnTo>
                    <a:pt x="1181" y="1025"/>
                  </a:lnTo>
                  <a:lnTo>
                    <a:pt x="1182" y="1025"/>
                  </a:lnTo>
                  <a:lnTo>
                    <a:pt x="1184" y="1025"/>
                  </a:lnTo>
                  <a:lnTo>
                    <a:pt x="1187" y="1025"/>
                  </a:lnTo>
                  <a:lnTo>
                    <a:pt x="1189" y="1022"/>
                  </a:lnTo>
                  <a:lnTo>
                    <a:pt x="1192" y="1022"/>
                  </a:lnTo>
                  <a:lnTo>
                    <a:pt x="1194" y="1022"/>
                  </a:lnTo>
                  <a:lnTo>
                    <a:pt x="1192" y="1023"/>
                  </a:lnTo>
                  <a:lnTo>
                    <a:pt x="1192" y="1025"/>
                  </a:lnTo>
                  <a:lnTo>
                    <a:pt x="1192" y="1027"/>
                  </a:lnTo>
                  <a:lnTo>
                    <a:pt x="1192" y="1028"/>
                  </a:lnTo>
                  <a:lnTo>
                    <a:pt x="1192" y="1030"/>
                  </a:lnTo>
                  <a:lnTo>
                    <a:pt x="1194" y="1030"/>
                  </a:lnTo>
                  <a:lnTo>
                    <a:pt x="1195" y="1033"/>
                  </a:lnTo>
                  <a:lnTo>
                    <a:pt x="1195" y="1035"/>
                  </a:lnTo>
                  <a:lnTo>
                    <a:pt x="1197" y="1035"/>
                  </a:lnTo>
                  <a:lnTo>
                    <a:pt x="1195" y="1036"/>
                  </a:lnTo>
                  <a:lnTo>
                    <a:pt x="1195" y="1038"/>
                  </a:lnTo>
                  <a:lnTo>
                    <a:pt x="1195" y="1040"/>
                  </a:lnTo>
                  <a:lnTo>
                    <a:pt x="1195" y="1041"/>
                  </a:lnTo>
                  <a:lnTo>
                    <a:pt x="1194" y="1041"/>
                  </a:lnTo>
                  <a:lnTo>
                    <a:pt x="1190" y="1043"/>
                  </a:lnTo>
                  <a:lnTo>
                    <a:pt x="1190" y="1045"/>
                  </a:lnTo>
                  <a:lnTo>
                    <a:pt x="1190" y="1046"/>
                  </a:lnTo>
                  <a:lnTo>
                    <a:pt x="1190" y="1048"/>
                  </a:lnTo>
                  <a:lnTo>
                    <a:pt x="1189" y="1049"/>
                  </a:lnTo>
                  <a:lnTo>
                    <a:pt x="1189" y="1051"/>
                  </a:lnTo>
                  <a:lnTo>
                    <a:pt x="1187" y="1051"/>
                  </a:lnTo>
                  <a:lnTo>
                    <a:pt x="1186" y="1053"/>
                  </a:lnTo>
                  <a:lnTo>
                    <a:pt x="1184" y="1053"/>
                  </a:lnTo>
                  <a:lnTo>
                    <a:pt x="1182" y="1053"/>
                  </a:lnTo>
                  <a:lnTo>
                    <a:pt x="1182" y="1054"/>
                  </a:lnTo>
                  <a:lnTo>
                    <a:pt x="1181" y="1054"/>
                  </a:lnTo>
                  <a:lnTo>
                    <a:pt x="1181" y="1056"/>
                  </a:lnTo>
                  <a:lnTo>
                    <a:pt x="1179" y="1058"/>
                  </a:lnTo>
                  <a:lnTo>
                    <a:pt x="1179" y="1059"/>
                  </a:lnTo>
                  <a:lnTo>
                    <a:pt x="1179" y="1061"/>
                  </a:lnTo>
                  <a:lnTo>
                    <a:pt x="1177" y="1062"/>
                  </a:lnTo>
                  <a:lnTo>
                    <a:pt x="1176" y="1062"/>
                  </a:lnTo>
                  <a:lnTo>
                    <a:pt x="1174" y="1062"/>
                  </a:lnTo>
                  <a:lnTo>
                    <a:pt x="1173" y="1064"/>
                  </a:lnTo>
                  <a:lnTo>
                    <a:pt x="1173" y="1066"/>
                  </a:lnTo>
                  <a:lnTo>
                    <a:pt x="1173" y="1067"/>
                  </a:lnTo>
                  <a:lnTo>
                    <a:pt x="1174" y="1069"/>
                  </a:lnTo>
                  <a:lnTo>
                    <a:pt x="1174" y="1072"/>
                  </a:lnTo>
                  <a:lnTo>
                    <a:pt x="1174" y="1074"/>
                  </a:lnTo>
                  <a:lnTo>
                    <a:pt x="1176" y="1075"/>
                  </a:lnTo>
                  <a:lnTo>
                    <a:pt x="1176" y="1077"/>
                  </a:lnTo>
                  <a:lnTo>
                    <a:pt x="1174" y="1077"/>
                  </a:lnTo>
                  <a:lnTo>
                    <a:pt x="1174" y="1079"/>
                  </a:lnTo>
                  <a:lnTo>
                    <a:pt x="1173" y="1079"/>
                  </a:lnTo>
                  <a:lnTo>
                    <a:pt x="1171" y="1079"/>
                  </a:lnTo>
                  <a:lnTo>
                    <a:pt x="1171" y="1080"/>
                  </a:lnTo>
                  <a:lnTo>
                    <a:pt x="1171" y="1082"/>
                  </a:lnTo>
                  <a:lnTo>
                    <a:pt x="1169" y="1082"/>
                  </a:lnTo>
                  <a:lnTo>
                    <a:pt x="1169" y="1080"/>
                  </a:lnTo>
                  <a:lnTo>
                    <a:pt x="1168" y="1080"/>
                  </a:lnTo>
                  <a:lnTo>
                    <a:pt x="1168" y="1082"/>
                  </a:lnTo>
                  <a:lnTo>
                    <a:pt x="1166" y="1082"/>
                  </a:lnTo>
                  <a:lnTo>
                    <a:pt x="1166" y="1080"/>
                  </a:lnTo>
                  <a:lnTo>
                    <a:pt x="1166" y="1082"/>
                  </a:lnTo>
                  <a:lnTo>
                    <a:pt x="1164" y="1082"/>
                  </a:lnTo>
                  <a:lnTo>
                    <a:pt x="1163" y="1084"/>
                  </a:lnTo>
                  <a:lnTo>
                    <a:pt x="1164" y="1085"/>
                  </a:lnTo>
                  <a:lnTo>
                    <a:pt x="1163" y="1085"/>
                  </a:lnTo>
                  <a:lnTo>
                    <a:pt x="1161" y="1085"/>
                  </a:lnTo>
                  <a:lnTo>
                    <a:pt x="1160" y="1085"/>
                  </a:lnTo>
                  <a:lnTo>
                    <a:pt x="1160" y="1087"/>
                  </a:lnTo>
                  <a:lnTo>
                    <a:pt x="1158" y="1085"/>
                  </a:lnTo>
                  <a:lnTo>
                    <a:pt x="1156" y="1085"/>
                  </a:lnTo>
                  <a:lnTo>
                    <a:pt x="1156" y="1087"/>
                  </a:lnTo>
                  <a:lnTo>
                    <a:pt x="1155" y="1087"/>
                  </a:lnTo>
                  <a:lnTo>
                    <a:pt x="1155" y="1088"/>
                  </a:lnTo>
                  <a:lnTo>
                    <a:pt x="1155" y="1090"/>
                  </a:lnTo>
                  <a:lnTo>
                    <a:pt x="1156" y="1090"/>
                  </a:lnTo>
                  <a:lnTo>
                    <a:pt x="1155" y="1090"/>
                  </a:lnTo>
                  <a:lnTo>
                    <a:pt x="1155" y="1092"/>
                  </a:lnTo>
                  <a:lnTo>
                    <a:pt x="1153" y="1092"/>
                  </a:lnTo>
                  <a:lnTo>
                    <a:pt x="1153" y="1090"/>
                  </a:lnTo>
                  <a:lnTo>
                    <a:pt x="1155" y="1088"/>
                  </a:lnTo>
                  <a:lnTo>
                    <a:pt x="1153" y="1088"/>
                  </a:lnTo>
                  <a:lnTo>
                    <a:pt x="1153" y="1087"/>
                  </a:lnTo>
                  <a:lnTo>
                    <a:pt x="1153" y="1088"/>
                  </a:lnTo>
                  <a:lnTo>
                    <a:pt x="1153" y="1090"/>
                  </a:lnTo>
                  <a:lnTo>
                    <a:pt x="1151" y="1090"/>
                  </a:lnTo>
                  <a:lnTo>
                    <a:pt x="1150" y="1090"/>
                  </a:lnTo>
                  <a:lnTo>
                    <a:pt x="1150" y="1088"/>
                  </a:lnTo>
                  <a:lnTo>
                    <a:pt x="1150" y="1090"/>
                  </a:lnTo>
                  <a:lnTo>
                    <a:pt x="1150" y="1088"/>
                  </a:lnTo>
                  <a:lnTo>
                    <a:pt x="1147" y="1088"/>
                  </a:lnTo>
                  <a:lnTo>
                    <a:pt x="1147" y="1090"/>
                  </a:lnTo>
                  <a:lnTo>
                    <a:pt x="1145" y="1090"/>
                  </a:lnTo>
                  <a:lnTo>
                    <a:pt x="1145" y="1092"/>
                  </a:lnTo>
                  <a:lnTo>
                    <a:pt x="1143" y="1092"/>
                  </a:lnTo>
                  <a:lnTo>
                    <a:pt x="1145" y="1093"/>
                  </a:lnTo>
                  <a:lnTo>
                    <a:pt x="1143" y="1093"/>
                  </a:lnTo>
                  <a:lnTo>
                    <a:pt x="1142" y="1095"/>
                  </a:lnTo>
                  <a:lnTo>
                    <a:pt x="1140" y="1095"/>
                  </a:lnTo>
                  <a:lnTo>
                    <a:pt x="1142" y="1095"/>
                  </a:lnTo>
                  <a:lnTo>
                    <a:pt x="1140" y="1095"/>
                  </a:lnTo>
                  <a:lnTo>
                    <a:pt x="1140" y="1093"/>
                  </a:lnTo>
                  <a:lnTo>
                    <a:pt x="1140" y="1095"/>
                  </a:lnTo>
                  <a:lnTo>
                    <a:pt x="1138" y="1095"/>
                  </a:lnTo>
                  <a:lnTo>
                    <a:pt x="1138" y="1093"/>
                  </a:lnTo>
                  <a:lnTo>
                    <a:pt x="1138" y="1095"/>
                  </a:lnTo>
                  <a:lnTo>
                    <a:pt x="1138" y="1093"/>
                  </a:lnTo>
                  <a:lnTo>
                    <a:pt x="1137" y="1093"/>
                  </a:lnTo>
                  <a:lnTo>
                    <a:pt x="1137" y="1095"/>
                  </a:lnTo>
                  <a:lnTo>
                    <a:pt x="1135" y="1095"/>
                  </a:lnTo>
                  <a:lnTo>
                    <a:pt x="1135" y="1097"/>
                  </a:lnTo>
                  <a:lnTo>
                    <a:pt x="1134" y="1097"/>
                  </a:lnTo>
                  <a:lnTo>
                    <a:pt x="1134" y="1098"/>
                  </a:lnTo>
                  <a:lnTo>
                    <a:pt x="1134" y="1100"/>
                  </a:lnTo>
                  <a:lnTo>
                    <a:pt x="1134" y="1103"/>
                  </a:lnTo>
                  <a:lnTo>
                    <a:pt x="1134" y="1106"/>
                  </a:lnTo>
                  <a:lnTo>
                    <a:pt x="1134" y="1108"/>
                  </a:lnTo>
                  <a:lnTo>
                    <a:pt x="1135" y="1108"/>
                  </a:lnTo>
                  <a:lnTo>
                    <a:pt x="1134" y="1110"/>
                  </a:lnTo>
                  <a:lnTo>
                    <a:pt x="1132" y="1110"/>
                  </a:lnTo>
                  <a:lnTo>
                    <a:pt x="1132" y="1108"/>
                  </a:lnTo>
                  <a:lnTo>
                    <a:pt x="1132" y="1106"/>
                  </a:lnTo>
                  <a:lnTo>
                    <a:pt x="1130" y="1106"/>
                  </a:lnTo>
                  <a:lnTo>
                    <a:pt x="1129" y="1106"/>
                  </a:lnTo>
                  <a:lnTo>
                    <a:pt x="1127" y="1106"/>
                  </a:lnTo>
                  <a:lnTo>
                    <a:pt x="1125" y="1110"/>
                  </a:lnTo>
                  <a:lnTo>
                    <a:pt x="1124" y="1110"/>
                  </a:lnTo>
                  <a:lnTo>
                    <a:pt x="1124" y="1111"/>
                  </a:lnTo>
                  <a:lnTo>
                    <a:pt x="1122" y="1111"/>
                  </a:lnTo>
                  <a:lnTo>
                    <a:pt x="1124" y="1110"/>
                  </a:lnTo>
                  <a:lnTo>
                    <a:pt x="1122" y="1110"/>
                  </a:lnTo>
                  <a:lnTo>
                    <a:pt x="1122" y="1108"/>
                  </a:lnTo>
                  <a:lnTo>
                    <a:pt x="1121" y="1110"/>
                  </a:lnTo>
                  <a:lnTo>
                    <a:pt x="1119" y="1108"/>
                  </a:lnTo>
                  <a:lnTo>
                    <a:pt x="1117" y="1110"/>
                  </a:lnTo>
                  <a:lnTo>
                    <a:pt x="1116" y="1110"/>
                  </a:lnTo>
                  <a:lnTo>
                    <a:pt x="1114" y="1110"/>
                  </a:lnTo>
                  <a:lnTo>
                    <a:pt x="1114" y="1111"/>
                  </a:lnTo>
                  <a:lnTo>
                    <a:pt x="1114" y="1113"/>
                  </a:lnTo>
                  <a:lnTo>
                    <a:pt x="1112" y="1113"/>
                  </a:lnTo>
                  <a:lnTo>
                    <a:pt x="1112" y="1114"/>
                  </a:lnTo>
                  <a:lnTo>
                    <a:pt x="1114" y="1114"/>
                  </a:lnTo>
                  <a:lnTo>
                    <a:pt x="1114" y="1116"/>
                  </a:lnTo>
                  <a:lnTo>
                    <a:pt x="1114" y="1118"/>
                  </a:lnTo>
                  <a:lnTo>
                    <a:pt x="1112" y="1118"/>
                  </a:lnTo>
                  <a:lnTo>
                    <a:pt x="1112" y="1119"/>
                  </a:lnTo>
                  <a:lnTo>
                    <a:pt x="1111" y="1119"/>
                  </a:lnTo>
                  <a:lnTo>
                    <a:pt x="1111" y="1121"/>
                  </a:lnTo>
                  <a:lnTo>
                    <a:pt x="1111" y="1123"/>
                  </a:lnTo>
                  <a:lnTo>
                    <a:pt x="1109" y="1123"/>
                  </a:lnTo>
                  <a:lnTo>
                    <a:pt x="1109" y="1124"/>
                  </a:lnTo>
                  <a:lnTo>
                    <a:pt x="1108" y="1124"/>
                  </a:lnTo>
                  <a:lnTo>
                    <a:pt x="1108" y="1126"/>
                  </a:lnTo>
                  <a:lnTo>
                    <a:pt x="1106" y="1126"/>
                  </a:lnTo>
                  <a:lnTo>
                    <a:pt x="1104" y="1126"/>
                  </a:lnTo>
                  <a:lnTo>
                    <a:pt x="1104" y="1124"/>
                  </a:lnTo>
                  <a:lnTo>
                    <a:pt x="1104" y="1126"/>
                  </a:lnTo>
                  <a:lnTo>
                    <a:pt x="1104" y="1127"/>
                  </a:lnTo>
                  <a:lnTo>
                    <a:pt x="1103" y="1127"/>
                  </a:lnTo>
                  <a:lnTo>
                    <a:pt x="1101" y="1127"/>
                  </a:lnTo>
                  <a:lnTo>
                    <a:pt x="1101" y="1126"/>
                  </a:lnTo>
                  <a:lnTo>
                    <a:pt x="1101" y="1127"/>
                  </a:lnTo>
                  <a:lnTo>
                    <a:pt x="1099" y="1126"/>
                  </a:lnTo>
                  <a:lnTo>
                    <a:pt x="1099" y="1127"/>
                  </a:lnTo>
                  <a:lnTo>
                    <a:pt x="1098" y="1127"/>
                  </a:lnTo>
                  <a:lnTo>
                    <a:pt x="1096" y="1127"/>
                  </a:lnTo>
                  <a:lnTo>
                    <a:pt x="1095" y="1127"/>
                  </a:lnTo>
                  <a:lnTo>
                    <a:pt x="1095" y="1126"/>
                  </a:lnTo>
                  <a:lnTo>
                    <a:pt x="1093" y="1126"/>
                  </a:lnTo>
                  <a:lnTo>
                    <a:pt x="1091" y="1126"/>
                  </a:lnTo>
                  <a:lnTo>
                    <a:pt x="1091" y="1127"/>
                  </a:lnTo>
                  <a:lnTo>
                    <a:pt x="1090" y="1129"/>
                  </a:lnTo>
                  <a:lnTo>
                    <a:pt x="1090" y="1127"/>
                  </a:lnTo>
                  <a:lnTo>
                    <a:pt x="1090" y="1129"/>
                  </a:lnTo>
                  <a:lnTo>
                    <a:pt x="1091" y="1131"/>
                  </a:lnTo>
                  <a:lnTo>
                    <a:pt x="1090" y="1131"/>
                  </a:lnTo>
                  <a:lnTo>
                    <a:pt x="1090" y="1132"/>
                  </a:lnTo>
                  <a:lnTo>
                    <a:pt x="1088" y="1132"/>
                  </a:lnTo>
                  <a:lnTo>
                    <a:pt x="1088" y="1134"/>
                  </a:lnTo>
                  <a:lnTo>
                    <a:pt x="1090" y="1134"/>
                  </a:lnTo>
                  <a:lnTo>
                    <a:pt x="1090" y="1136"/>
                  </a:lnTo>
                  <a:lnTo>
                    <a:pt x="1088" y="1136"/>
                  </a:lnTo>
                  <a:lnTo>
                    <a:pt x="1088" y="1137"/>
                  </a:lnTo>
                  <a:lnTo>
                    <a:pt x="1086" y="1137"/>
                  </a:lnTo>
                  <a:lnTo>
                    <a:pt x="1085" y="1137"/>
                  </a:lnTo>
                  <a:lnTo>
                    <a:pt x="1083" y="1137"/>
                  </a:lnTo>
                  <a:lnTo>
                    <a:pt x="1083" y="1139"/>
                  </a:lnTo>
                  <a:lnTo>
                    <a:pt x="1083" y="1140"/>
                  </a:lnTo>
                  <a:lnTo>
                    <a:pt x="1080" y="1142"/>
                  </a:lnTo>
                  <a:lnTo>
                    <a:pt x="1078" y="1144"/>
                  </a:lnTo>
                  <a:lnTo>
                    <a:pt x="1077" y="1144"/>
                  </a:lnTo>
                  <a:lnTo>
                    <a:pt x="1075" y="1145"/>
                  </a:lnTo>
                  <a:lnTo>
                    <a:pt x="1075" y="1147"/>
                  </a:lnTo>
                  <a:lnTo>
                    <a:pt x="1077" y="1147"/>
                  </a:lnTo>
                  <a:lnTo>
                    <a:pt x="1078" y="1147"/>
                  </a:lnTo>
                  <a:lnTo>
                    <a:pt x="1080" y="1147"/>
                  </a:lnTo>
                  <a:lnTo>
                    <a:pt x="1082" y="1147"/>
                  </a:lnTo>
                  <a:lnTo>
                    <a:pt x="1083" y="1147"/>
                  </a:lnTo>
                  <a:lnTo>
                    <a:pt x="1083" y="1145"/>
                  </a:lnTo>
                  <a:lnTo>
                    <a:pt x="1085" y="1145"/>
                  </a:lnTo>
                  <a:lnTo>
                    <a:pt x="1085" y="1147"/>
                  </a:lnTo>
                  <a:lnTo>
                    <a:pt x="1086" y="1147"/>
                  </a:lnTo>
                  <a:lnTo>
                    <a:pt x="1086" y="1149"/>
                  </a:lnTo>
                  <a:lnTo>
                    <a:pt x="1085" y="1150"/>
                  </a:lnTo>
                  <a:lnTo>
                    <a:pt x="1083" y="1150"/>
                  </a:lnTo>
                  <a:lnTo>
                    <a:pt x="1083" y="1152"/>
                  </a:lnTo>
                  <a:lnTo>
                    <a:pt x="1082" y="1153"/>
                  </a:lnTo>
                  <a:lnTo>
                    <a:pt x="1082" y="1155"/>
                  </a:lnTo>
                  <a:lnTo>
                    <a:pt x="1083" y="1155"/>
                  </a:lnTo>
                  <a:lnTo>
                    <a:pt x="1083" y="1157"/>
                  </a:lnTo>
                  <a:lnTo>
                    <a:pt x="1085" y="1157"/>
                  </a:lnTo>
                  <a:lnTo>
                    <a:pt x="1083" y="1157"/>
                  </a:lnTo>
                  <a:lnTo>
                    <a:pt x="1083" y="1158"/>
                  </a:lnTo>
                  <a:lnTo>
                    <a:pt x="1083" y="1157"/>
                  </a:lnTo>
                  <a:lnTo>
                    <a:pt x="1083" y="1158"/>
                  </a:lnTo>
                  <a:lnTo>
                    <a:pt x="1082" y="1158"/>
                  </a:lnTo>
                  <a:lnTo>
                    <a:pt x="1082" y="1157"/>
                  </a:lnTo>
                  <a:lnTo>
                    <a:pt x="1082" y="1158"/>
                  </a:lnTo>
                  <a:lnTo>
                    <a:pt x="1080" y="1158"/>
                  </a:lnTo>
                  <a:lnTo>
                    <a:pt x="1080" y="1160"/>
                  </a:lnTo>
                  <a:lnTo>
                    <a:pt x="1080" y="1162"/>
                  </a:lnTo>
                  <a:lnTo>
                    <a:pt x="1078" y="1160"/>
                  </a:lnTo>
                  <a:lnTo>
                    <a:pt x="1078" y="1162"/>
                  </a:lnTo>
                  <a:lnTo>
                    <a:pt x="1078" y="1163"/>
                  </a:lnTo>
                  <a:lnTo>
                    <a:pt x="1077" y="1163"/>
                  </a:lnTo>
                  <a:lnTo>
                    <a:pt x="1077" y="1162"/>
                  </a:lnTo>
                  <a:lnTo>
                    <a:pt x="1077" y="1160"/>
                  </a:lnTo>
                  <a:lnTo>
                    <a:pt x="1075" y="1160"/>
                  </a:lnTo>
                  <a:lnTo>
                    <a:pt x="1075" y="1158"/>
                  </a:lnTo>
                  <a:lnTo>
                    <a:pt x="1073" y="1158"/>
                  </a:lnTo>
                  <a:lnTo>
                    <a:pt x="1072" y="1158"/>
                  </a:lnTo>
                  <a:lnTo>
                    <a:pt x="1070" y="1158"/>
                  </a:lnTo>
                  <a:lnTo>
                    <a:pt x="1069" y="1158"/>
                  </a:lnTo>
                  <a:lnTo>
                    <a:pt x="1069" y="1160"/>
                  </a:lnTo>
                  <a:lnTo>
                    <a:pt x="1069" y="1162"/>
                  </a:lnTo>
                  <a:lnTo>
                    <a:pt x="1067" y="1162"/>
                  </a:lnTo>
                  <a:lnTo>
                    <a:pt x="1065" y="1162"/>
                  </a:lnTo>
                  <a:lnTo>
                    <a:pt x="1065" y="1163"/>
                  </a:lnTo>
                  <a:lnTo>
                    <a:pt x="1064" y="1163"/>
                  </a:lnTo>
                  <a:lnTo>
                    <a:pt x="1062" y="1162"/>
                  </a:lnTo>
                  <a:lnTo>
                    <a:pt x="1062" y="1163"/>
                  </a:lnTo>
                  <a:lnTo>
                    <a:pt x="1062" y="1162"/>
                  </a:lnTo>
                  <a:lnTo>
                    <a:pt x="1060" y="1162"/>
                  </a:lnTo>
                  <a:lnTo>
                    <a:pt x="1059" y="1163"/>
                  </a:lnTo>
                  <a:lnTo>
                    <a:pt x="1057" y="1163"/>
                  </a:lnTo>
                  <a:lnTo>
                    <a:pt x="1056" y="1163"/>
                  </a:lnTo>
                  <a:lnTo>
                    <a:pt x="1054" y="1163"/>
                  </a:lnTo>
                  <a:lnTo>
                    <a:pt x="1052" y="1163"/>
                  </a:lnTo>
                  <a:lnTo>
                    <a:pt x="1052" y="1165"/>
                  </a:lnTo>
                  <a:lnTo>
                    <a:pt x="1051" y="1165"/>
                  </a:lnTo>
                  <a:lnTo>
                    <a:pt x="1051" y="1167"/>
                  </a:lnTo>
                  <a:lnTo>
                    <a:pt x="1049" y="1168"/>
                  </a:lnTo>
                  <a:lnTo>
                    <a:pt x="1051" y="1168"/>
                  </a:lnTo>
                  <a:lnTo>
                    <a:pt x="1049" y="1168"/>
                  </a:lnTo>
                  <a:lnTo>
                    <a:pt x="1051" y="1170"/>
                  </a:lnTo>
                  <a:lnTo>
                    <a:pt x="1051" y="1171"/>
                  </a:lnTo>
                  <a:lnTo>
                    <a:pt x="1049" y="1171"/>
                  </a:lnTo>
                  <a:lnTo>
                    <a:pt x="1047" y="1171"/>
                  </a:lnTo>
                  <a:lnTo>
                    <a:pt x="1046" y="1170"/>
                  </a:lnTo>
                  <a:lnTo>
                    <a:pt x="1046" y="1171"/>
                  </a:lnTo>
                  <a:lnTo>
                    <a:pt x="1046" y="1170"/>
                  </a:lnTo>
                  <a:lnTo>
                    <a:pt x="1046" y="1171"/>
                  </a:lnTo>
                  <a:lnTo>
                    <a:pt x="1046" y="1170"/>
                  </a:lnTo>
                  <a:lnTo>
                    <a:pt x="1046" y="1168"/>
                  </a:lnTo>
                  <a:lnTo>
                    <a:pt x="1044" y="1168"/>
                  </a:lnTo>
                  <a:lnTo>
                    <a:pt x="1042" y="1168"/>
                  </a:lnTo>
                  <a:lnTo>
                    <a:pt x="1042" y="1167"/>
                  </a:lnTo>
                  <a:lnTo>
                    <a:pt x="1041" y="1167"/>
                  </a:lnTo>
                  <a:lnTo>
                    <a:pt x="1039" y="1167"/>
                  </a:lnTo>
                  <a:lnTo>
                    <a:pt x="1038" y="1167"/>
                  </a:lnTo>
                  <a:lnTo>
                    <a:pt x="1036" y="1167"/>
                  </a:lnTo>
                  <a:lnTo>
                    <a:pt x="1034" y="1167"/>
                  </a:lnTo>
                  <a:lnTo>
                    <a:pt x="1033" y="1167"/>
                  </a:lnTo>
                  <a:lnTo>
                    <a:pt x="1033" y="1168"/>
                  </a:lnTo>
                  <a:lnTo>
                    <a:pt x="1031" y="1168"/>
                  </a:lnTo>
                  <a:lnTo>
                    <a:pt x="1029" y="1168"/>
                  </a:lnTo>
                  <a:lnTo>
                    <a:pt x="1029" y="1170"/>
                  </a:lnTo>
                  <a:lnTo>
                    <a:pt x="1029" y="1171"/>
                  </a:lnTo>
                  <a:lnTo>
                    <a:pt x="1028" y="1171"/>
                  </a:lnTo>
                  <a:lnTo>
                    <a:pt x="1028" y="1173"/>
                  </a:lnTo>
                  <a:lnTo>
                    <a:pt x="1028" y="1175"/>
                  </a:lnTo>
                  <a:lnTo>
                    <a:pt x="1028" y="1176"/>
                  </a:lnTo>
                  <a:lnTo>
                    <a:pt x="1028" y="1178"/>
                  </a:lnTo>
                  <a:lnTo>
                    <a:pt x="1029" y="1178"/>
                  </a:lnTo>
                  <a:lnTo>
                    <a:pt x="1028" y="1180"/>
                  </a:lnTo>
                  <a:lnTo>
                    <a:pt x="1026" y="1180"/>
                  </a:lnTo>
                  <a:lnTo>
                    <a:pt x="1026" y="1178"/>
                  </a:lnTo>
                  <a:lnTo>
                    <a:pt x="1025" y="1178"/>
                  </a:lnTo>
                  <a:lnTo>
                    <a:pt x="1023" y="1178"/>
                  </a:lnTo>
                  <a:lnTo>
                    <a:pt x="1023" y="1180"/>
                  </a:lnTo>
                  <a:lnTo>
                    <a:pt x="1021" y="1180"/>
                  </a:lnTo>
                  <a:lnTo>
                    <a:pt x="1021" y="1178"/>
                  </a:lnTo>
                  <a:lnTo>
                    <a:pt x="1021" y="1176"/>
                  </a:lnTo>
                  <a:lnTo>
                    <a:pt x="1023" y="1176"/>
                  </a:lnTo>
                  <a:lnTo>
                    <a:pt x="1025" y="1178"/>
                  </a:lnTo>
                  <a:lnTo>
                    <a:pt x="1025" y="1176"/>
                  </a:lnTo>
                  <a:lnTo>
                    <a:pt x="1026" y="1176"/>
                  </a:lnTo>
                  <a:lnTo>
                    <a:pt x="1026" y="1175"/>
                  </a:lnTo>
                  <a:lnTo>
                    <a:pt x="1025" y="1173"/>
                  </a:lnTo>
                  <a:lnTo>
                    <a:pt x="1025" y="1171"/>
                  </a:lnTo>
                  <a:lnTo>
                    <a:pt x="1023" y="1171"/>
                  </a:lnTo>
                  <a:lnTo>
                    <a:pt x="1021" y="1170"/>
                  </a:lnTo>
                  <a:lnTo>
                    <a:pt x="1020" y="1170"/>
                  </a:lnTo>
                  <a:lnTo>
                    <a:pt x="1020" y="1171"/>
                  </a:lnTo>
                  <a:lnTo>
                    <a:pt x="1018" y="1170"/>
                  </a:lnTo>
                  <a:lnTo>
                    <a:pt x="1018" y="1171"/>
                  </a:lnTo>
                  <a:lnTo>
                    <a:pt x="1016" y="1171"/>
                  </a:lnTo>
                  <a:lnTo>
                    <a:pt x="1015" y="1171"/>
                  </a:lnTo>
                  <a:lnTo>
                    <a:pt x="1013" y="1170"/>
                  </a:lnTo>
                  <a:lnTo>
                    <a:pt x="1015" y="1170"/>
                  </a:lnTo>
                  <a:lnTo>
                    <a:pt x="1015" y="1168"/>
                  </a:lnTo>
                  <a:lnTo>
                    <a:pt x="1013" y="1168"/>
                  </a:lnTo>
                  <a:lnTo>
                    <a:pt x="1013" y="1167"/>
                  </a:lnTo>
                  <a:lnTo>
                    <a:pt x="1012" y="1167"/>
                  </a:lnTo>
                  <a:lnTo>
                    <a:pt x="1012" y="1168"/>
                  </a:lnTo>
                  <a:lnTo>
                    <a:pt x="1010" y="1167"/>
                  </a:lnTo>
                  <a:lnTo>
                    <a:pt x="1008" y="1167"/>
                  </a:lnTo>
                  <a:lnTo>
                    <a:pt x="1007" y="1167"/>
                  </a:lnTo>
                  <a:lnTo>
                    <a:pt x="1005" y="1167"/>
                  </a:lnTo>
                  <a:lnTo>
                    <a:pt x="1003" y="1167"/>
                  </a:lnTo>
                  <a:lnTo>
                    <a:pt x="1005" y="1167"/>
                  </a:lnTo>
                  <a:lnTo>
                    <a:pt x="1005" y="1165"/>
                  </a:lnTo>
                  <a:lnTo>
                    <a:pt x="1003" y="1165"/>
                  </a:lnTo>
                  <a:lnTo>
                    <a:pt x="1005" y="1165"/>
                  </a:lnTo>
                  <a:lnTo>
                    <a:pt x="1003" y="1165"/>
                  </a:lnTo>
                  <a:lnTo>
                    <a:pt x="1002" y="1165"/>
                  </a:lnTo>
                  <a:lnTo>
                    <a:pt x="1003" y="1165"/>
                  </a:lnTo>
                  <a:lnTo>
                    <a:pt x="1002" y="1165"/>
                  </a:lnTo>
                  <a:lnTo>
                    <a:pt x="1000" y="1165"/>
                  </a:lnTo>
                  <a:lnTo>
                    <a:pt x="1000" y="1167"/>
                  </a:lnTo>
                  <a:lnTo>
                    <a:pt x="1002" y="1167"/>
                  </a:lnTo>
                  <a:lnTo>
                    <a:pt x="1002" y="1168"/>
                  </a:lnTo>
                  <a:lnTo>
                    <a:pt x="1000" y="1170"/>
                  </a:lnTo>
                  <a:lnTo>
                    <a:pt x="1002" y="1170"/>
                  </a:lnTo>
                  <a:lnTo>
                    <a:pt x="1003" y="1170"/>
                  </a:lnTo>
                  <a:lnTo>
                    <a:pt x="1005" y="1170"/>
                  </a:lnTo>
                  <a:lnTo>
                    <a:pt x="1007" y="1170"/>
                  </a:lnTo>
                  <a:lnTo>
                    <a:pt x="1007" y="1171"/>
                  </a:lnTo>
                  <a:lnTo>
                    <a:pt x="1005" y="1173"/>
                  </a:lnTo>
                  <a:lnTo>
                    <a:pt x="1005" y="1171"/>
                  </a:lnTo>
                  <a:lnTo>
                    <a:pt x="1003" y="1171"/>
                  </a:lnTo>
                  <a:lnTo>
                    <a:pt x="1002" y="1173"/>
                  </a:lnTo>
                  <a:lnTo>
                    <a:pt x="1002" y="1171"/>
                  </a:lnTo>
                  <a:lnTo>
                    <a:pt x="1002" y="1170"/>
                  </a:lnTo>
                  <a:lnTo>
                    <a:pt x="1000" y="1170"/>
                  </a:lnTo>
                  <a:lnTo>
                    <a:pt x="1000" y="1171"/>
                  </a:lnTo>
                  <a:lnTo>
                    <a:pt x="999" y="1171"/>
                  </a:lnTo>
                  <a:lnTo>
                    <a:pt x="997" y="1173"/>
                  </a:lnTo>
                  <a:lnTo>
                    <a:pt x="997" y="1175"/>
                  </a:lnTo>
                  <a:lnTo>
                    <a:pt x="995" y="1175"/>
                  </a:lnTo>
                  <a:lnTo>
                    <a:pt x="994" y="1175"/>
                  </a:lnTo>
                  <a:lnTo>
                    <a:pt x="994" y="1173"/>
                  </a:lnTo>
                  <a:lnTo>
                    <a:pt x="992" y="1173"/>
                  </a:lnTo>
                  <a:lnTo>
                    <a:pt x="992" y="1171"/>
                  </a:lnTo>
                  <a:lnTo>
                    <a:pt x="990" y="1171"/>
                  </a:lnTo>
                  <a:lnTo>
                    <a:pt x="990" y="1170"/>
                  </a:lnTo>
                  <a:lnTo>
                    <a:pt x="992" y="1170"/>
                  </a:lnTo>
                  <a:lnTo>
                    <a:pt x="992" y="1168"/>
                  </a:lnTo>
                  <a:lnTo>
                    <a:pt x="992" y="1167"/>
                  </a:lnTo>
                  <a:lnTo>
                    <a:pt x="992" y="1165"/>
                  </a:lnTo>
                  <a:lnTo>
                    <a:pt x="990" y="1165"/>
                  </a:lnTo>
                  <a:lnTo>
                    <a:pt x="987" y="1165"/>
                  </a:lnTo>
                  <a:lnTo>
                    <a:pt x="989" y="1163"/>
                  </a:lnTo>
                  <a:lnTo>
                    <a:pt x="989" y="1162"/>
                  </a:lnTo>
                  <a:lnTo>
                    <a:pt x="987" y="1162"/>
                  </a:lnTo>
                  <a:lnTo>
                    <a:pt x="986" y="1162"/>
                  </a:lnTo>
                  <a:lnTo>
                    <a:pt x="984" y="1162"/>
                  </a:lnTo>
                  <a:lnTo>
                    <a:pt x="982" y="1160"/>
                  </a:lnTo>
                  <a:lnTo>
                    <a:pt x="981" y="1160"/>
                  </a:lnTo>
                  <a:lnTo>
                    <a:pt x="981" y="1158"/>
                  </a:lnTo>
                  <a:lnTo>
                    <a:pt x="979" y="1158"/>
                  </a:lnTo>
                  <a:lnTo>
                    <a:pt x="979" y="1157"/>
                  </a:lnTo>
                  <a:lnTo>
                    <a:pt x="981" y="1157"/>
                  </a:lnTo>
                  <a:lnTo>
                    <a:pt x="981" y="1155"/>
                  </a:lnTo>
                  <a:lnTo>
                    <a:pt x="979" y="1155"/>
                  </a:lnTo>
                  <a:lnTo>
                    <a:pt x="977" y="1153"/>
                  </a:lnTo>
                  <a:lnTo>
                    <a:pt x="976" y="1153"/>
                  </a:lnTo>
                  <a:lnTo>
                    <a:pt x="974" y="1153"/>
                  </a:lnTo>
                  <a:lnTo>
                    <a:pt x="973" y="1153"/>
                  </a:lnTo>
                  <a:lnTo>
                    <a:pt x="973" y="1155"/>
                  </a:lnTo>
                  <a:lnTo>
                    <a:pt x="973" y="1157"/>
                  </a:lnTo>
                  <a:lnTo>
                    <a:pt x="971" y="1157"/>
                  </a:lnTo>
                  <a:lnTo>
                    <a:pt x="969" y="1157"/>
                  </a:lnTo>
                  <a:lnTo>
                    <a:pt x="969" y="1155"/>
                  </a:lnTo>
                  <a:lnTo>
                    <a:pt x="968" y="1155"/>
                  </a:lnTo>
                  <a:lnTo>
                    <a:pt x="966" y="1152"/>
                  </a:lnTo>
                  <a:lnTo>
                    <a:pt x="964" y="1150"/>
                  </a:lnTo>
                  <a:lnTo>
                    <a:pt x="966" y="1150"/>
                  </a:lnTo>
                  <a:lnTo>
                    <a:pt x="964" y="1150"/>
                  </a:lnTo>
                  <a:lnTo>
                    <a:pt x="964" y="1149"/>
                  </a:lnTo>
                  <a:lnTo>
                    <a:pt x="963" y="1150"/>
                  </a:lnTo>
                  <a:lnTo>
                    <a:pt x="961" y="1150"/>
                  </a:lnTo>
                  <a:lnTo>
                    <a:pt x="960" y="1152"/>
                  </a:lnTo>
                  <a:lnTo>
                    <a:pt x="960" y="1150"/>
                  </a:lnTo>
                  <a:lnTo>
                    <a:pt x="958" y="1150"/>
                  </a:lnTo>
                  <a:lnTo>
                    <a:pt x="956" y="1149"/>
                  </a:lnTo>
                  <a:lnTo>
                    <a:pt x="955" y="1149"/>
                  </a:lnTo>
                  <a:lnTo>
                    <a:pt x="956" y="1150"/>
                  </a:lnTo>
                  <a:lnTo>
                    <a:pt x="955" y="1150"/>
                  </a:lnTo>
                  <a:lnTo>
                    <a:pt x="955" y="1149"/>
                  </a:lnTo>
                  <a:lnTo>
                    <a:pt x="953" y="1149"/>
                  </a:lnTo>
                  <a:lnTo>
                    <a:pt x="951" y="1149"/>
                  </a:lnTo>
                  <a:lnTo>
                    <a:pt x="953" y="1150"/>
                  </a:lnTo>
                  <a:lnTo>
                    <a:pt x="950" y="1149"/>
                  </a:lnTo>
                  <a:lnTo>
                    <a:pt x="948" y="1149"/>
                  </a:lnTo>
                  <a:lnTo>
                    <a:pt x="947" y="1149"/>
                  </a:lnTo>
                  <a:lnTo>
                    <a:pt x="945" y="1149"/>
                  </a:lnTo>
                  <a:lnTo>
                    <a:pt x="943" y="1149"/>
                  </a:lnTo>
                  <a:lnTo>
                    <a:pt x="943" y="1147"/>
                  </a:lnTo>
                  <a:lnTo>
                    <a:pt x="945" y="1147"/>
                  </a:lnTo>
                  <a:lnTo>
                    <a:pt x="945" y="1145"/>
                  </a:lnTo>
                  <a:lnTo>
                    <a:pt x="947" y="1144"/>
                  </a:lnTo>
                  <a:lnTo>
                    <a:pt x="948" y="1142"/>
                  </a:lnTo>
                  <a:lnTo>
                    <a:pt x="947" y="1142"/>
                  </a:lnTo>
                  <a:lnTo>
                    <a:pt x="948" y="1142"/>
                  </a:lnTo>
                  <a:lnTo>
                    <a:pt x="947" y="1142"/>
                  </a:lnTo>
                  <a:lnTo>
                    <a:pt x="948" y="1142"/>
                  </a:lnTo>
                  <a:lnTo>
                    <a:pt x="948" y="1140"/>
                  </a:lnTo>
                  <a:lnTo>
                    <a:pt x="948" y="1142"/>
                  </a:lnTo>
                  <a:lnTo>
                    <a:pt x="947" y="1140"/>
                  </a:lnTo>
                  <a:lnTo>
                    <a:pt x="947" y="1139"/>
                  </a:lnTo>
                  <a:lnTo>
                    <a:pt x="945" y="1139"/>
                  </a:lnTo>
                  <a:lnTo>
                    <a:pt x="945" y="1137"/>
                  </a:lnTo>
                  <a:lnTo>
                    <a:pt x="947" y="1137"/>
                  </a:lnTo>
                  <a:lnTo>
                    <a:pt x="945" y="1137"/>
                  </a:lnTo>
                  <a:lnTo>
                    <a:pt x="947" y="1136"/>
                  </a:lnTo>
                  <a:lnTo>
                    <a:pt x="947" y="1137"/>
                  </a:lnTo>
                  <a:lnTo>
                    <a:pt x="948" y="1136"/>
                  </a:lnTo>
                  <a:lnTo>
                    <a:pt x="947" y="1136"/>
                  </a:lnTo>
                  <a:lnTo>
                    <a:pt x="947" y="1134"/>
                  </a:lnTo>
                  <a:lnTo>
                    <a:pt x="947" y="1132"/>
                  </a:lnTo>
                  <a:lnTo>
                    <a:pt x="945" y="1131"/>
                  </a:lnTo>
                  <a:lnTo>
                    <a:pt x="945" y="1129"/>
                  </a:lnTo>
                  <a:lnTo>
                    <a:pt x="943" y="1129"/>
                  </a:lnTo>
                  <a:lnTo>
                    <a:pt x="945" y="1129"/>
                  </a:lnTo>
                  <a:lnTo>
                    <a:pt x="943" y="1127"/>
                  </a:lnTo>
                  <a:lnTo>
                    <a:pt x="942" y="1126"/>
                  </a:lnTo>
                  <a:lnTo>
                    <a:pt x="940" y="1126"/>
                  </a:lnTo>
                  <a:lnTo>
                    <a:pt x="940" y="1127"/>
                  </a:lnTo>
                  <a:lnTo>
                    <a:pt x="938" y="1127"/>
                  </a:lnTo>
                  <a:lnTo>
                    <a:pt x="937" y="1129"/>
                  </a:lnTo>
                  <a:lnTo>
                    <a:pt x="935" y="1129"/>
                  </a:lnTo>
                  <a:lnTo>
                    <a:pt x="935" y="1131"/>
                  </a:lnTo>
                  <a:lnTo>
                    <a:pt x="934" y="1131"/>
                  </a:lnTo>
                  <a:lnTo>
                    <a:pt x="932" y="1131"/>
                  </a:lnTo>
                  <a:lnTo>
                    <a:pt x="930" y="1131"/>
                  </a:lnTo>
                  <a:lnTo>
                    <a:pt x="930" y="1129"/>
                  </a:lnTo>
                  <a:lnTo>
                    <a:pt x="930" y="1131"/>
                  </a:lnTo>
                  <a:lnTo>
                    <a:pt x="929" y="1131"/>
                  </a:lnTo>
                  <a:lnTo>
                    <a:pt x="929" y="1129"/>
                  </a:lnTo>
                  <a:lnTo>
                    <a:pt x="927" y="1129"/>
                  </a:lnTo>
                  <a:lnTo>
                    <a:pt x="927" y="1131"/>
                  </a:lnTo>
                  <a:lnTo>
                    <a:pt x="925" y="1131"/>
                  </a:lnTo>
                  <a:lnTo>
                    <a:pt x="924" y="1131"/>
                  </a:lnTo>
                  <a:lnTo>
                    <a:pt x="924" y="1129"/>
                  </a:lnTo>
                  <a:lnTo>
                    <a:pt x="924" y="1131"/>
                  </a:lnTo>
                  <a:lnTo>
                    <a:pt x="924" y="1129"/>
                  </a:lnTo>
                  <a:lnTo>
                    <a:pt x="922" y="1131"/>
                  </a:lnTo>
                  <a:lnTo>
                    <a:pt x="922" y="1129"/>
                  </a:lnTo>
                  <a:lnTo>
                    <a:pt x="921" y="1129"/>
                  </a:lnTo>
                  <a:lnTo>
                    <a:pt x="919" y="1129"/>
                  </a:lnTo>
                  <a:lnTo>
                    <a:pt x="917" y="1129"/>
                  </a:lnTo>
                  <a:lnTo>
                    <a:pt x="916" y="1129"/>
                  </a:lnTo>
                  <a:lnTo>
                    <a:pt x="914" y="1129"/>
                  </a:lnTo>
                  <a:lnTo>
                    <a:pt x="914" y="1131"/>
                  </a:lnTo>
                  <a:lnTo>
                    <a:pt x="914" y="1129"/>
                  </a:lnTo>
                  <a:lnTo>
                    <a:pt x="912" y="1129"/>
                  </a:lnTo>
                  <a:lnTo>
                    <a:pt x="912" y="1127"/>
                  </a:lnTo>
                  <a:lnTo>
                    <a:pt x="911" y="1127"/>
                  </a:lnTo>
                  <a:lnTo>
                    <a:pt x="911" y="1126"/>
                  </a:lnTo>
                  <a:lnTo>
                    <a:pt x="912" y="1126"/>
                  </a:lnTo>
                  <a:lnTo>
                    <a:pt x="911" y="1126"/>
                  </a:lnTo>
                  <a:lnTo>
                    <a:pt x="912" y="1126"/>
                  </a:lnTo>
                  <a:lnTo>
                    <a:pt x="911" y="1126"/>
                  </a:lnTo>
                  <a:lnTo>
                    <a:pt x="911" y="1124"/>
                  </a:lnTo>
                  <a:lnTo>
                    <a:pt x="911" y="1126"/>
                  </a:lnTo>
                  <a:lnTo>
                    <a:pt x="911" y="1124"/>
                  </a:lnTo>
                  <a:lnTo>
                    <a:pt x="911" y="1123"/>
                  </a:lnTo>
                  <a:lnTo>
                    <a:pt x="909" y="1123"/>
                  </a:lnTo>
                  <a:lnTo>
                    <a:pt x="909" y="1121"/>
                  </a:lnTo>
                  <a:lnTo>
                    <a:pt x="908" y="1119"/>
                  </a:lnTo>
                  <a:lnTo>
                    <a:pt x="909" y="1119"/>
                  </a:lnTo>
                  <a:lnTo>
                    <a:pt x="909" y="1118"/>
                  </a:lnTo>
                  <a:lnTo>
                    <a:pt x="912" y="1119"/>
                  </a:lnTo>
                  <a:lnTo>
                    <a:pt x="914" y="1119"/>
                  </a:lnTo>
                  <a:lnTo>
                    <a:pt x="916" y="1119"/>
                  </a:lnTo>
                  <a:lnTo>
                    <a:pt x="917" y="1119"/>
                  </a:lnTo>
                  <a:lnTo>
                    <a:pt x="919" y="1119"/>
                  </a:lnTo>
                  <a:lnTo>
                    <a:pt x="922" y="1119"/>
                  </a:lnTo>
                  <a:lnTo>
                    <a:pt x="924" y="1119"/>
                  </a:lnTo>
                  <a:lnTo>
                    <a:pt x="925" y="1119"/>
                  </a:lnTo>
                  <a:lnTo>
                    <a:pt x="927" y="1118"/>
                  </a:lnTo>
                  <a:lnTo>
                    <a:pt x="929" y="1118"/>
                  </a:lnTo>
                  <a:lnTo>
                    <a:pt x="929" y="1116"/>
                  </a:lnTo>
                  <a:lnTo>
                    <a:pt x="930" y="1114"/>
                  </a:lnTo>
                  <a:lnTo>
                    <a:pt x="932" y="1114"/>
                  </a:lnTo>
                  <a:lnTo>
                    <a:pt x="930" y="1113"/>
                  </a:lnTo>
                  <a:lnTo>
                    <a:pt x="932" y="1114"/>
                  </a:lnTo>
                  <a:lnTo>
                    <a:pt x="934" y="1113"/>
                  </a:lnTo>
                  <a:lnTo>
                    <a:pt x="934" y="1111"/>
                  </a:lnTo>
                  <a:lnTo>
                    <a:pt x="934" y="1110"/>
                  </a:lnTo>
                  <a:lnTo>
                    <a:pt x="934" y="1108"/>
                  </a:lnTo>
                  <a:lnTo>
                    <a:pt x="932" y="1108"/>
                  </a:lnTo>
                  <a:lnTo>
                    <a:pt x="932" y="1106"/>
                  </a:lnTo>
                  <a:lnTo>
                    <a:pt x="932" y="1108"/>
                  </a:lnTo>
                  <a:lnTo>
                    <a:pt x="930" y="1108"/>
                  </a:lnTo>
                  <a:lnTo>
                    <a:pt x="929" y="1110"/>
                  </a:lnTo>
                  <a:lnTo>
                    <a:pt x="927" y="1110"/>
                  </a:lnTo>
                  <a:lnTo>
                    <a:pt x="927" y="1111"/>
                  </a:lnTo>
                  <a:lnTo>
                    <a:pt x="925" y="1111"/>
                  </a:lnTo>
                  <a:lnTo>
                    <a:pt x="927" y="1111"/>
                  </a:lnTo>
                  <a:lnTo>
                    <a:pt x="925" y="1111"/>
                  </a:lnTo>
                  <a:lnTo>
                    <a:pt x="924" y="1110"/>
                  </a:lnTo>
                  <a:lnTo>
                    <a:pt x="924" y="1108"/>
                  </a:lnTo>
                  <a:lnTo>
                    <a:pt x="924" y="1106"/>
                  </a:lnTo>
                  <a:lnTo>
                    <a:pt x="922" y="1105"/>
                  </a:lnTo>
                  <a:lnTo>
                    <a:pt x="922" y="1103"/>
                  </a:lnTo>
                  <a:lnTo>
                    <a:pt x="924" y="1103"/>
                  </a:lnTo>
                  <a:lnTo>
                    <a:pt x="922" y="1103"/>
                  </a:lnTo>
                  <a:lnTo>
                    <a:pt x="922" y="1101"/>
                  </a:lnTo>
                  <a:lnTo>
                    <a:pt x="921" y="1101"/>
                  </a:lnTo>
                  <a:lnTo>
                    <a:pt x="919" y="1101"/>
                  </a:lnTo>
                  <a:lnTo>
                    <a:pt x="917" y="1101"/>
                  </a:lnTo>
                  <a:lnTo>
                    <a:pt x="916" y="1101"/>
                  </a:lnTo>
                  <a:lnTo>
                    <a:pt x="916" y="1100"/>
                  </a:lnTo>
                  <a:lnTo>
                    <a:pt x="914" y="1100"/>
                  </a:lnTo>
                  <a:lnTo>
                    <a:pt x="914" y="1098"/>
                  </a:lnTo>
                  <a:lnTo>
                    <a:pt x="914" y="1097"/>
                  </a:lnTo>
                  <a:lnTo>
                    <a:pt x="912" y="1097"/>
                  </a:lnTo>
                  <a:lnTo>
                    <a:pt x="912" y="1098"/>
                  </a:lnTo>
                  <a:lnTo>
                    <a:pt x="912" y="1100"/>
                  </a:lnTo>
                  <a:lnTo>
                    <a:pt x="912" y="1101"/>
                  </a:lnTo>
                  <a:lnTo>
                    <a:pt x="911" y="1101"/>
                  </a:lnTo>
                  <a:lnTo>
                    <a:pt x="911" y="1103"/>
                  </a:lnTo>
                  <a:lnTo>
                    <a:pt x="911" y="1105"/>
                  </a:lnTo>
                  <a:lnTo>
                    <a:pt x="911" y="1106"/>
                  </a:lnTo>
                  <a:lnTo>
                    <a:pt x="911" y="1108"/>
                  </a:lnTo>
                  <a:lnTo>
                    <a:pt x="912" y="1108"/>
                  </a:lnTo>
                  <a:lnTo>
                    <a:pt x="912" y="1110"/>
                  </a:lnTo>
                  <a:lnTo>
                    <a:pt x="914" y="1110"/>
                  </a:lnTo>
                  <a:lnTo>
                    <a:pt x="916" y="1110"/>
                  </a:lnTo>
                  <a:lnTo>
                    <a:pt x="916" y="1111"/>
                  </a:lnTo>
                  <a:lnTo>
                    <a:pt x="916" y="1113"/>
                  </a:lnTo>
                  <a:lnTo>
                    <a:pt x="916" y="1116"/>
                  </a:lnTo>
                  <a:lnTo>
                    <a:pt x="916" y="1118"/>
                  </a:lnTo>
                  <a:lnTo>
                    <a:pt x="914" y="1119"/>
                  </a:lnTo>
                  <a:lnTo>
                    <a:pt x="911" y="1118"/>
                  </a:lnTo>
                  <a:lnTo>
                    <a:pt x="909" y="1118"/>
                  </a:lnTo>
                  <a:lnTo>
                    <a:pt x="908" y="1118"/>
                  </a:lnTo>
                  <a:lnTo>
                    <a:pt x="908" y="1119"/>
                  </a:lnTo>
                  <a:lnTo>
                    <a:pt x="908" y="1118"/>
                  </a:lnTo>
                  <a:lnTo>
                    <a:pt x="908" y="1116"/>
                  </a:lnTo>
                  <a:lnTo>
                    <a:pt x="906" y="1114"/>
                  </a:lnTo>
                  <a:lnTo>
                    <a:pt x="904" y="1114"/>
                  </a:lnTo>
                  <a:lnTo>
                    <a:pt x="903" y="1113"/>
                  </a:lnTo>
                  <a:lnTo>
                    <a:pt x="901" y="1114"/>
                  </a:lnTo>
                  <a:lnTo>
                    <a:pt x="899" y="1114"/>
                  </a:lnTo>
                  <a:lnTo>
                    <a:pt x="899" y="1116"/>
                  </a:lnTo>
                  <a:lnTo>
                    <a:pt x="898" y="1116"/>
                  </a:lnTo>
                  <a:lnTo>
                    <a:pt x="898" y="1118"/>
                  </a:lnTo>
                  <a:lnTo>
                    <a:pt x="898" y="1116"/>
                  </a:lnTo>
                  <a:lnTo>
                    <a:pt x="898" y="1114"/>
                  </a:lnTo>
                  <a:lnTo>
                    <a:pt x="899" y="1114"/>
                  </a:lnTo>
                  <a:lnTo>
                    <a:pt x="898" y="1114"/>
                  </a:lnTo>
                  <a:lnTo>
                    <a:pt x="896" y="1114"/>
                  </a:lnTo>
                  <a:lnTo>
                    <a:pt x="896" y="1113"/>
                  </a:lnTo>
                  <a:lnTo>
                    <a:pt x="896" y="1111"/>
                  </a:lnTo>
                  <a:lnTo>
                    <a:pt x="896" y="1110"/>
                  </a:lnTo>
                  <a:lnTo>
                    <a:pt x="894" y="1110"/>
                  </a:lnTo>
                  <a:lnTo>
                    <a:pt x="894" y="1111"/>
                  </a:lnTo>
                  <a:lnTo>
                    <a:pt x="896" y="1113"/>
                  </a:lnTo>
                  <a:lnTo>
                    <a:pt x="896" y="1114"/>
                  </a:lnTo>
                  <a:lnTo>
                    <a:pt x="896" y="1116"/>
                  </a:lnTo>
                  <a:lnTo>
                    <a:pt x="896" y="1118"/>
                  </a:lnTo>
                  <a:lnTo>
                    <a:pt x="894" y="1116"/>
                  </a:lnTo>
                  <a:lnTo>
                    <a:pt x="893" y="1114"/>
                  </a:lnTo>
                  <a:lnTo>
                    <a:pt x="893" y="1113"/>
                  </a:lnTo>
                  <a:lnTo>
                    <a:pt x="891" y="1114"/>
                  </a:lnTo>
                  <a:lnTo>
                    <a:pt x="893" y="1114"/>
                  </a:lnTo>
                  <a:lnTo>
                    <a:pt x="893" y="1116"/>
                  </a:lnTo>
                  <a:lnTo>
                    <a:pt x="894" y="1118"/>
                  </a:lnTo>
                  <a:lnTo>
                    <a:pt x="893" y="1116"/>
                  </a:lnTo>
                  <a:lnTo>
                    <a:pt x="893" y="1118"/>
                  </a:lnTo>
                  <a:lnTo>
                    <a:pt x="893" y="1119"/>
                  </a:lnTo>
                  <a:lnTo>
                    <a:pt x="894" y="1119"/>
                  </a:lnTo>
                  <a:lnTo>
                    <a:pt x="896" y="1119"/>
                  </a:lnTo>
                  <a:lnTo>
                    <a:pt x="894" y="1119"/>
                  </a:lnTo>
                  <a:lnTo>
                    <a:pt x="893" y="1121"/>
                  </a:lnTo>
                  <a:lnTo>
                    <a:pt x="894" y="1121"/>
                  </a:lnTo>
                  <a:lnTo>
                    <a:pt x="893" y="1121"/>
                  </a:lnTo>
                  <a:lnTo>
                    <a:pt x="891" y="1121"/>
                  </a:lnTo>
                  <a:lnTo>
                    <a:pt x="893" y="1121"/>
                  </a:lnTo>
                  <a:lnTo>
                    <a:pt x="894" y="1121"/>
                  </a:lnTo>
                  <a:lnTo>
                    <a:pt x="894" y="1123"/>
                  </a:lnTo>
                  <a:lnTo>
                    <a:pt x="896" y="1123"/>
                  </a:lnTo>
                  <a:lnTo>
                    <a:pt x="896" y="1124"/>
                  </a:lnTo>
                  <a:lnTo>
                    <a:pt x="898" y="1124"/>
                  </a:lnTo>
                  <a:lnTo>
                    <a:pt x="898" y="1123"/>
                  </a:lnTo>
                  <a:lnTo>
                    <a:pt x="898" y="1124"/>
                  </a:lnTo>
                  <a:lnTo>
                    <a:pt x="898" y="1123"/>
                  </a:lnTo>
                  <a:lnTo>
                    <a:pt x="899" y="1123"/>
                  </a:lnTo>
                  <a:lnTo>
                    <a:pt x="901" y="1121"/>
                  </a:lnTo>
                  <a:lnTo>
                    <a:pt x="899" y="1123"/>
                  </a:lnTo>
                  <a:lnTo>
                    <a:pt x="898" y="1124"/>
                  </a:lnTo>
                  <a:lnTo>
                    <a:pt x="896" y="1124"/>
                  </a:lnTo>
                  <a:lnTo>
                    <a:pt x="894" y="1124"/>
                  </a:lnTo>
                  <a:lnTo>
                    <a:pt x="896" y="1124"/>
                  </a:lnTo>
                  <a:lnTo>
                    <a:pt x="896" y="1126"/>
                  </a:lnTo>
                  <a:lnTo>
                    <a:pt x="894" y="1127"/>
                  </a:lnTo>
                  <a:lnTo>
                    <a:pt x="893" y="1127"/>
                  </a:lnTo>
                  <a:lnTo>
                    <a:pt x="893" y="1126"/>
                  </a:lnTo>
                  <a:lnTo>
                    <a:pt x="893" y="1124"/>
                  </a:lnTo>
                  <a:lnTo>
                    <a:pt x="893" y="1123"/>
                  </a:lnTo>
                  <a:lnTo>
                    <a:pt x="891" y="1121"/>
                  </a:lnTo>
                  <a:lnTo>
                    <a:pt x="890" y="1121"/>
                  </a:lnTo>
                  <a:lnTo>
                    <a:pt x="890" y="1119"/>
                  </a:lnTo>
                  <a:lnTo>
                    <a:pt x="888" y="1119"/>
                  </a:lnTo>
                  <a:lnTo>
                    <a:pt x="886" y="1118"/>
                  </a:lnTo>
                  <a:lnTo>
                    <a:pt x="885" y="1116"/>
                  </a:lnTo>
                  <a:lnTo>
                    <a:pt x="883" y="1114"/>
                  </a:lnTo>
                  <a:lnTo>
                    <a:pt x="885" y="1114"/>
                  </a:lnTo>
                  <a:lnTo>
                    <a:pt x="885" y="1113"/>
                  </a:lnTo>
                  <a:lnTo>
                    <a:pt x="885" y="1114"/>
                  </a:lnTo>
                  <a:lnTo>
                    <a:pt x="883" y="1114"/>
                  </a:lnTo>
                  <a:lnTo>
                    <a:pt x="883" y="1113"/>
                  </a:lnTo>
                  <a:lnTo>
                    <a:pt x="883" y="1111"/>
                  </a:lnTo>
                  <a:lnTo>
                    <a:pt x="883" y="1110"/>
                  </a:lnTo>
                  <a:lnTo>
                    <a:pt x="885" y="1108"/>
                  </a:lnTo>
                  <a:lnTo>
                    <a:pt x="885" y="1106"/>
                  </a:lnTo>
                  <a:lnTo>
                    <a:pt x="883" y="1103"/>
                  </a:lnTo>
                  <a:lnTo>
                    <a:pt x="883" y="1101"/>
                  </a:lnTo>
                  <a:lnTo>
                    <a:pt x="883" y="1100"/>
                  </a:lnTo>
                  <a:lnTo>
                    <a:pt x="881" y="1098"/>
                  </a:lnTo>
                  <a:lnTo>
                    <a:pt x="881" y="1095"/>
                  </a:lnTo>
                  <a:lnTo>
                    <a:pt x="880" y="1093"/>
                  </a:lnTo>
                  <a:lnTo>
                    <a:pt x="877" y="1090"/>
                  </a:lnTo>
                  <a:lnTo>
                    <a:pt x="877" y="1088"/>
                  </a:lnTo>
                  <a:lnTo>
                    <a:pt x="877" y="1087"/>
                  </a:lnTo>
                  <a:lnTo>
                    <a:pt x="875" y="1085"/>
                  </a:lnTo>
                  <a:lnTo>
                    <a:pt x="875" y="1084"/>
                  </a:lnTo>
                  <a:lnTo>
                    <a:pt x="872" y="1084"/>
                  </a:lnTo>
                  <a:lnTo>
                    <a:pt x="872" y="1082"/>
                  </a:lnTo>
                  <a:lnTo>
                    <a:pt x="870" y="1082"/>
                  </a:lnTo>
                  <a:lnTo>
                    <a:pt x="870" y="1080"/>
                  </a:lnTo>
                  <a:lnTo>
                    <a:pt x="870" y="1079"/>
                  </a:lnTo>
                  <a:lnTo>
                    <a:pt x="872" y="1079"/>
                  </a:lnTo>
                  <a:lnTo>
                    <a:pt x="872" y="1077"/>
                  </a:lnTo>
                  <a:lnTo>
                    <a:pt x="873" y="1075"/>
                  </a:lnTo>
                  <a:lnTo>
                    <a:pt x="873" y="1074"/>
                  </a:lnTo>
                  <a:lnTo>
                    <a:pt x="873" y="1072"/>
                  </a:lnTo>
                  <a:lnTo>
                    <a:pt x="873" y="1071"/>
                  </a:lnTo>
                  <a:lnTo>
                    <a:pt x="872" y="1071"/>
                  </a:lnTo>
                  <a:lnTo>
                    <a:pt x="872" y="1069"/>
                  </a:lnTo>
                  <a:lnTo>
                    <a:pt x="873" y="1069"/>
                  </a:lnTo>
                  <a:lnTo>
                    <a:pt x="873" y="1067"/>
                  </a:lnTo>
                  <a:lnTo>
                    <a:pt x="875" y="1064"/>
                  </a:lnTo>
                  <a:lnTo>
                    <a:pt x="877" y="1062"/>
                  </a:lnTo>
                  <a:lnTo>
                    <a:pt x="877" y="1061"/>
                  </a:lnTo>
                  <a:lnTo>
                    <a:pt x="878" y="1058"/>
                  </a:lnTo>
                  <a:lnTo>
                    <a:pt x="877" y="1058"/>
                  </a:lnTo>
                  <a:lnTo>
                    <a:pt x="877" y="1056"/>
                  </a:lnTo>
                  <a:lnTo>
                    <a:pt x="875" y="1054"/>
                  </a:lnTo>
                  <a:lnTo>
                    <a:pt x="875" y="1053"/>
                  </a:lnTo>
                  <a:lnTo>
                    <a:pt x="875" y="1051"/>
                  </a:lnTo>
                  <a:lnTo>
                    <a:pt x="875" y="1049"/>
                  </a:lnTo>
                  <a:lnTo>
                    <a:pt x="877" y="1049"/>
                  </a:lnTo>
                  <a:lnTo>
                    <a:pt x="880" y="1048"/>
                  </a:lnTo>
                  <a:lnTo>
                    <a:pt x="881" y="1048"/>
                  </a:lnTo>
                  <a:lnTo>
                    <a:pt x="883" y="1046"/>
                  </a:lnTo>
                  <a:lnTo>
                    <a:pt x="886" y="1045"/>
                  </a:lnTo>
                  <a:lnTo>
                    <a:pt x="888" y="1043"/>
                  </a:lnTo>
                  <a:lnTo>
                    <a:pt x="886" y="1043"/>
                  </a:lnTo>
                  <a:lnTo>
                    <a:pt x="886" y="1045"/>
                  </a:lnTo>
                  <a:lnTo>
                    <a:pt x="885" y="1045"/>
                  </a:lnTo>
                  <a:lnTo>
                    <a:pt x="883" y="1046"/>
                  </a:lnTo>
                  <a:lnTo>
                    <a:pt x="881" y="1048"/>
                  </a:lnTo>
                  <a:lnTo>
                    <a:pt x="880" y="1048"/>
                  </a:lnTo>
                  <a:lnTo>
                    <a:pt x="877" y="1049"/>
                  </a:lnTo>
                  <a:lnTo>
                    <a:pt x="875" y="1049"/>
                  </a:lnTo>
                  <a:lnTo>
                    <a:pt x="875" y="1051"/>
                  </a:lnTo>
                  <a:lnTo>
                    <a:pt x="873" y="1051"/>
                  </a:lnTo>
                  <a:lnTo>
                    <a:pt x="875" y="1053"/>
                  </a:lnTo>
                  <a:lnTo>
                    <a:pt x="873" y="1053"/>
                  </a:lnTo>
                  <a:lnTo>
                    <a:pt x="873" y="1051"/>
                  </a:lnTo>
                  <a:lnTo>
                    <a:pt x="873" y="1053"/>
                  </a:lnTo>
                  <a:lnTo>
                    <a:pt x="875" y="1053"/>
                  </a:lnTo>
                  <a:lnTo>
                    <a:pt x="875" y="1054"/>
                  </a:lnTo>
                  <a:lnTo>
                    <a:pt x="875" y="1056"/>
                  </a:lnTo>
                  <a:lnTo>
                    <a:pt x="877" y="1056"/>
                  </a:lnTo>
                  <a:lnTo>
                    <a:pt x="877" y="1058"/>
                  </a:lnTo>
                  <a:lnTo>
                    <a:pt x="877" y="1059"/>
                  </a:lnTo>
                  <a:lnTo>
                    <a:pt x="877" y="1061"/>
                  </a:lnTo>
                  <a:lnTo>
                    <a:pt x="877" y="1062"/>
                  </a:lnTo>
                  <a:lnTo>
                    <a:pt x="875" y="1064"/>
                  </a:lnTo>
                  <a:lnTo>
                    <a:pt x="873" y="1066"/>
                  </a:lnTo>
                  <a:lnTo>
                    <a:pt x="872" y="1069"/>
                  </a:lnTo>
                  <a:lnTo>
                    <a:pt x="872" y="1071"/>
                  </a:lnTo>
                  <a:lnTo>
                    <a:pt x="872" y="1072"/>
                  </a:lnTo>
                  <a:lnTo>
                    <a:pt x="873" y="1074"/>
                  </a:lnTo>
                  <a:lnTo>
                    <a:pt x="873" y="1075"/>
                  </a:lnTo>
                  <a:lnTo>
                    <a:pt x="872" y="1077"/>
                  </a:lnTo>
                  <a:lnTo>
                    <a:pt x="870" y="1077"/>
                  </a:lnTo>
                  <a:lnTo>
                    <a:pt x="870" y="1079"/>
                  </a:lnTo>
                  <a:lnTo>
                    <a:pt x="870" y="1080"/>
                  </a:lnTo>
                  <a:lnTo>
                    <a:pt x="870" y="1082"/>
                  </a:lnTo>
                  <a:lnTo>
                    <a:pt x="872" y="1082"/>
                  </a:lnTo>
                  <a:lnTo>
                    <a:pt x="872" y="1084"/>
                  </a:lnTo>
                  <a:lnTo>
                    <a:pt x="873" y="1084"/>
                  </a:lnTo>
                  <a:lnTo>
                    <a:pt x="875" y="1085"/>
                  </a:lnTo>
                  <a:lnTo>
                    <a:pt x="875" y="1087"/>
                  </a:lnTo>
                  <a:lnTo>
                    <a:pt x="875" y="1088"/>
                  </a:lnTo>
                  <a:lnTo>
                    <a:pt x="877" y="1092"/>
                  </a:lnTo>
                  <a:lnTo>
                    <a:pt x="880" y="1093"/>
                  </a:lnTo>
                  <a:lnTo>
                    <a:pt x="881" y="1097"/>
                  </a:lnTo>
                  <a:lnTo>
                    <a:pt x="881" y="1098"/>
                  </a:lnTo>
                  <a:lnTo>
                    <a:pt x="883" y="1100"/>
                  </a:lnTo>
                  <a:lnTo>
                    <a:pt x="883" y="1103"/>
                  </a:lnTo>
                  <a:lnTo>
                    <a:pt x="883" y="1105"/>
                  </a:lnTo>
                  <a:lnTo>
                    <a:pt x="885" y="1106"/>
                  </a:lnTo>
                  <a:lnTo>
                    <a:pt x="885" y="1108"/>
                  </a:lnTo>
                  <a:lnTo>
                    <a:pt x="883" y="1110"/>
                  </a:lnTo>
                  <a:lnTo>
                    <a:pt x="883" y="1111"/>
                  </a:lnTo>
                  <a:lnTo>
                    <a:pt x="881" y="1113"/>
                  </a:lnTo>
                  <a:lnTo>
                    <a:pt x="883" y="1113"/>
                  </a:lnTo>
                  <a:lnTo>
                    <a:pt x="883" y="1114"/>
                  </a:lnTo>
                  <a:lnTo>
                    <a:pt x="883" y="1116"/>
                  </a:lnTo>
                  <a:lnTo>
                    <a:pt x="885" y="1116"/>
                  </a:lnTo>
                  <a:lnTo>
                    <a:pt x="886" y="1118"/>
                  </a:lnTo>
                  <a:lnTo>
                    <a:pt x="888" y="1119"/>
                  </a:lnTo>
                  <a:lnTo>
                    <a:pt x="890" y="1121"/>
                  </a:lnTo>
                  <a:lnTo>
                    <a:pt x="891" y="1123"/>
                  </a:lnTo>
                  <a:lnTo>
                    <a:pt x="891" y="1124"/>
                  </a:lnTo>
                  <a:lnTo>
                    <a:pt x="891" y="1126"/>
                  </a:lnTo>
                  <a:lnTo>
                    <a:pt x="891" y="1127"/>
                  </a:lnTo>
                  <a:lnTo>
                    <a:pt x="893" y="1127"/>
                  </a:lnTo>
                  <a:lnTo>
                    <a:pt x="891" y="1127"/>
                  </a:lnTo>
                  <a:lnTo>
                    <a:pt x="890" y="1126"/>
                  </a:lnTo>
                  <a:lnTo>
                    <a:pt x="886" y="1124"/>
                  </a:lnTo>
                  <a:lnTo>
                    <a:pt x="883" y="1124"/>
                  </a:lnTo>
                  <a:lnTo>
                    <a:pt x="880" y="1124"/>
                  </a:lnTo>
                  <a:lnTo>
                    <a:pt x="878" y="1124"/>
                  </a:lnTo>
                  <a:lnTo>
                    <a:pt x="877" y="1124"/>
                  </a:lnTo>
                  <a:lnTo>
                    <a:pt x="875" y="1124"/>
                  </a:lnTo>
                  <a:lnTo>
                    <a:pt x="873" y="1124"/>
                  </a:lnTo>
                  <a:lnTo>
                    <a:pt x="872" y="1123"/>
                  </a:lnTo>
                  <a:lnTo>
                    <a:pt x="867" y="1123"/>
                  </a:lnTo>
                  <a:lnTo>
                    <a:pt x="865" y="1121"/>
                  </a:lnTo>
                  <a:lnTo>
                    <a:pt x="864" y="1119"/>
                  </a:lnTo>
                  <a:lnTo>
                    <a:pt x="864" y="1118"/>
                  </a:lnTo>
                  <a:lnTo>
                    <a:pt x="864" y="1116"/>
                  </a:lnTo>
                  <a:lnTo>
                    <a:pt x="865" y="1116"/>
                  </a:lnTo>
                  <a:lnTo>
                    <a:pt x="867" y="1116"/>
                  </a:lnTo>
                  <a:lnTo>
                    <a:pt x="867" y="1114"/>
                  </a:lnTo>
                  <a:lnTo>
                    <a:pt x="867" y="1113"/>
                  </a:lnTo>
                  <a:lnTo>
                    <a:pt x="867" y="1111"/>
                  </a:lnTo>
                  <a:lnTo>
                    <a:pt x="865" y="1111"/>
                  </a:lnTo>
                  <a:lnTo>
                    <a:pt x="865" y="1110"/>
                  </a:lnTo>
                  <a:lnTo>
                    <a:pt x="864" y="1110"/>
                  </a:lnTo>
                  <a:lnTo>
                    <a:pt x="862" y="1108"/>
                  </a:lnTo>
                  <a:lnTo>
                    <a:pt x="857" y="1106"/>
                  </a:lnTo>
                  <a:lnTo>
                    <a:pt x="852" y="1106"/>
                  </a:lnTo>
                  <a:lnTo>
                    <a:pt x="851" y="1108"/>
                  </a:lnTo>
                  <a:lnTo>
                    <a:pt x="849" y="1108"/>
                  </a:lnTo>
                  <a:lnTo>
                    <a:pt x="847" y="1108"/>
                  </a:lnTo>
                  <a:lnTo>
                    <a:pt x="847" y="1106"/>
                  </a:lnTo>
                  <a:lnTo>
                    <a:pt x="846" y="1106"/>
                  </a:lnTo>
                  <a:lnTo>
                    <a:pt x="841" y="1106"/>
                  </a:lnTo>
                  <a:lnTo>
                    <a:pt x="836" y="1105"/>
                  </a:lnTo>
                  <a:lnTo>
                    <a:pt x="831" y="1105"/>
                  </a:lnTo>
                  <a:lnTo>
                    <a:pt x="829" y="1105"/>
                  </a:lnTo>
                  <a:lnTo>
                    <a:pt x="825" y="1103"/>
                  </a:lnTo>
                  <a:lnTo>
                    <a:pt x="820" y="1100"/>
                  </a:lnTo>
                  <a:lnTo>
                    <a:pt x="818" y="1098"/>
                  </a:lnTo>
                  <a:lnTo>
                    <a:pt x="818" y="1097"/>
                  </a:lnTo>
                  <a:lnTo>
                    <a:pt x="820" y="1097"/>
                  </a:lnTo>
                  <a:lnTo>
                    <a:pt x="820" y="1095"/>
                  </a:lnTo>
                  <a:lnTo>
                    <a:pt x="821" y="1095"/>
                  </a:lnTo>
                  <a:lnTo>
                    <a:pt x="821" y="1093"/>
                  </a:lnTo>
                  <a:lnTo>
                    <a:pt x="820" y="1092"/>
                  </a:lnTo>
                  <a:lnTo>
                    <a:pt x="820" y="1090"/>
                  </a:lnTo>
                  <a:lnTo>
                    <a:pt x="818" y="1090"/>
                  </a:lnTo>
                  <a:lnTo>
                    <a:pt x="816" y="1090"/>
                  </a:lnTo>
                  <a:lnTo>
                    <a:pt x="815" y="1090"/>
                  </a:lnTo>
                  <a:lnTo>
                    <a:pt x="813" y="1088"/>
                  </a:lnTo>
                  <a:lnTo>
                    <a:pt x="810" y="1088"/>
                  </a:lnTo>
                  <a:lnTo>
                    <a:pt x="808" y="1090"/>
                  </a:lnTo>
                  <a:lnTo>
                    <a:pt x="807" y="1090"/>
                  </a:lnTo>
                  <a:lnTo>
                    <a:pt x="805" y="1090"/>
                  </a:lnTo>
                  <a:lnTo>
                    <a:pt x="803" y="1090"/>
                  </a:lnTo>
                  <a:lnTo>
                    <a:pt x="802" y="1092"/>
                  </a:lnTo>
                  <a:lnTo>
                    <a:pt x="800" y="1092"/>
                  </a:lnTo>
                  <a:lnTo>
                    <a:pt x="800" y="1093"/>
                  </a:lnTo>
                  <a:lnTo>
                    <a:pt x="799" y="1093"/>
                  </a:lnTo>
                  <a:lnTo>
                    <a:pt x="797" y="1093"/>
                  </a:lnTo>
                  <a:lnTo>
                    <a:pt x="792" y="1097"/>
                  </a:lnTo>
                  <a:lnTo>
                    <a:pt x="789" y="1100"/>
                  </a:lnTo>
                  <a:lnTo>
                    <a:pt x="787" y="1101"/>
                  </a:lnTo>
                  <a:lnTo>
                    <a:pt x="784" y="1103"/>
                  </a:lnTo>
                  <a:lnTo>
                    <a:pt x="782" y="1105"/>
                  </a:lnTo>
                  <a:lnTo>
                    <a:pt x="779" y="1105"/>
                  </a:lnTo>
                  <a:lnTo>
                    <a:pt x="779" y="1106"/>
                  </a:lnTo>
                  <a:lnTo>
                    <a:pt x="777" y="1106"/>
                  </a:lnTo>
                  <a:lnTo>
                    <a:pt x="777" y="1108"/>
                  </a:lnTo>
                  <a:lnTo>
                    <a:pt x="776" y="1108"/>
                  </a:lnTo>
                  <a:lnTo>
                    <a:pt x="776" y="1110"/>
                  </a:lnTo>
                  <a:lnTo>
                    <a:pt x="774" y="1108"/>
                  </a:lnTo>
                  <a:lnTo>
                    <a:pt x="774" y="1110"/>
                  </a:lnTo>
                  <a:lnTo>
                    <a:pt x="774" y="1108"/>
                  </a:lnTo>
                  <a:lnTo>
                    <a:pt x="774" y="1110"/>
                  </a:lnTo>
                  <a:lnTo>
                    <a:pt x="773" y="1110"/>
                  </a:lnTo>
                  <a:lnTo>
                    <a:pt x="771" y="1110"/>
                  </a:lnTo>
                  <a:lnTo>
                    <a:pt x="769" y="1110"/>
                  </a:lnTo>
                  <a:lnTo>
                    <a:pt x="766" y="1111"/>
                  </a:lnTo>
                  <a:lnTo>
                    <a:pt x="764" y="1113"/>
                  </a:lnTo>
                  <a:lnTo>
                    <a:pt x="763" y="1113"/>
                  </a:lnTo>
                  <a:lnTo>
                    <a:pt x="760" y="1118"/>
                  </a:lnTo>
                  <a:lnTo>
                    <a:pt x="758" y="1119"/>
                  </a:lnTo>
                  <a:lnTo>
                    <a:pt x="756" y="1121"/>
                  </a:lnTo>
                  <a:lnTo>
                    <a:pt x="755" y="1123"/>
                  </a:lnTo>
                  <a:lnTo>
                    <a:pt x="755" y="1124"/>
                  </a:lnTo>
                  <a:lnTo>
                    <a:pt x="753" y="1124"/>
                  </a:lnTo>
                  <a:lnTo>
                    <a:pt x="753" y="1126"/>
                  </a:lnTo>
                  <a:lnTo>
                    <a:pt x="753" y="1124"/>
                  </a:lnTo>
                  <a:lnTo>
                    <a:pt x="753" y="1123"/>
                  </a:lnTo>
                  <a:lnTo>
                    <a:pt x="753" y="1124"/>
                  </a:lnTo>
                  <a:lnTo>
                    <a:pt x="751" y="1124"/>
                  </a:lnTo>
                  <a:lnTo>
                    <a:pt x="750" y="1124"/>
                  </a:lnTo>
                  <a:lnTo>
                    <a:pt x="748" y="1124"/>
                  </a:lnTo>
                  <a:lnTo>
                    <a:pt x="746" y="1123"/>
                  </a:lnTo>
                  <a:lnTo>
                    <a:pt x="746" y="1124"/>
                  </a:lnTo>
                  <a:lnTo>
                    <a:pt x="745" y="1123"/>
                  </a:lnTo>
                  <a:lnTo>
                    <a:pt x="745" y="1121"/>
                  </a:lnTo>
                  <a:lnTo>
                    <a:pt x="745" y="1123"/>
                  </a:lnTo>
                  <a:lnTo>
                    <a:pt x="745" y="1121"/>
                  </a:lnTo>
                  <a:lnTo>
                    <a:pt x="743" y="1123"/>
                  </a:lnTo>
                  <a:lnTo>
                    <a:pt x="743" y="1121"/>
                  </a:lnTo>
                  <a:lnTo>
                    <a:pt x="742" y="1123"/>
                  </a:lnTo>
                  <a:lnTo>
                    <a:pt x="738" y="1123"/>
                  </a:lnTo>
                  <a:lnTo>
                    <a:pt x="735" y="1124"/>
                  </a:lnTo>
                  <a:lnTo>
                    <a:pt x="735" y="1123"/>
                  </a:lnTo>
                  <a:lnTo>
                    <a:pt x="735" y="1124"/>
                  </a:lnTo>
                  <a:lnTo>
                    <a:pt x="732" y="1126"/>
                  </a:lnTo>
                  <a:lnTo>
                    <a:pt x="729" y="1127"/>
                  </a:lnTo>
                  <a:lnTo>
                    <a:pt x="727" y="1129"/>
                  </a:lnTo>
                  <a:lnTo>
                    <a:pt x="724" y="1131"/>
                  </a:lnTo>
                  <a:lnTo>
                    <a:pt x="720" y="1134"/>
                  </a:lnTo>
                  <a:lnTo>
                    <a:pt x="720" y="1132"/>
                  </a:lnTo>
                  <a:lnTo>
                    <a:pt x="719" y="1132"/>
                  </a:lnTo>
                  <a:lnTo>
                    <a:pt x="719" y="1131"/>
                  </a:lnTo>
                  <a:lnTo>
                    <a:pt x="719" y="1132"/>
                  </a:lnTo>
                  <a:lnTo>
                    <a:pt x="720" y="1132"/>
                  </a:lnTo>
                  <a:lnTo>
                    <a:pt x="719" y="1132"/>
                  </a:lnTo>
                  <a:lnTo>
                    <a:pt x="720" y="1134"/>
                  </a:lnTo>
                  <a:lnTo>
                    <a:pt x="719" y="1134"/>
                  </a:lnTo>
                  <a:lnTo>
                    <a:pt x="719" y="1136"/>
                  </a:lnTo>
                  <a:lnTo>
                    <a:pt x="717" y="1136"/>
                  </a:lnTo>
                  <a:lnTo>
                    <a:pt x="717" y="1137"/>
                  </a:lnTo>
                  <a:lnTo>
                    <a:pt x="716" y="1139"/>
                  </a:lnTo>
                  <a:lnTo>
                    <a:pt x="714" y="1139"/>
                  </a:lnTo>
                  <a:lnTo>
                    <a:pt x="714" y="1140"/>
                  </a:lnTo>
                  <a:lnTo>
                    <a:pt x="712" y="1140"/>
                  </a:lnTo>
                  <a:lnTo>
                    <a:pt x="712" y="1142"/>
                  </a:lnTo>
                  <a:lnTo>
                    <a:pt x="711" y="1144"/>
                  </a:lnTo>
                  <a:lnTo>
                    <a:pt x="711" y="1145"/>
                  </a:lnTo>
                  <a:lnTo>
                    <a:pt x="709" y="1145"/>
                  </a:lnTo>
                  <a:lnTo>
                    <a:pt x="709" y="1147"/>
                  </a:lnTo>
                  <a:lnTo>
                    <a:pt x="706" y="1150"/>
                  </a:lnTo>
                  <a:lnTo>
                    <a:pt x="706" y="1152"/>
                  </a:lnTo>
                  <a:lnTo>
                    <a:pt x="706" y="1150"/>
                  </a:lnTo>
                  <a:lnTo>
                    <a:pt x="706" y="1149"/>
                  </a:lnTo>
                  <a:lnTo>
                    <a:pt x="704" y="1149"/>
                  </a:lnTo>
                  <a:lnTo>
                    <a:pt x="704" y="1147"/>
                  </a:lnTo>
                  <a:lnTo>
                    <a:pt x="703" y="1147"/>
                  </a:lnTo>
                  <a:lnTo>
                    <a:pt x="703" y="1145"/>
                  </a:lnTo>
                  <a:lnTo>
                    <a:pt x="701" y="1147"/>
                  </a:lnTo>
                  <a:lnTo>
                    <a:pt x="701" y="1145"/>
                  </a:lnTo>
                  <a:lnTo>
                    <a:pt x="701" y="1147"/>
                  </a:lnTo>
                  <a:lnTo>
                    <a:pt x="699" y="1149"/>
                  </a:lnTo>
                  <a:lnTo>
                    <a:pt x="699" y="1150"/>
                  </a:lnTo>
                  <a:lnTo>
                    <a:pt x="699" y="1149"/>
                  </a:lnTo>
                  <a:lnTo>
                    <a:pt x="699" y="1147"/>
                  </a:lnTo>
                  <a:lnTo>
                    <a:pt x="699" y="1149"/>
                  </a:lnTo>
                  <a:lnTo>
                    <a:pt x="699" y="1150"/>
                  </a:lnTo>
                  <a:lnTo>
                    <a:pt x="698" y="1150"/>
                  </a:lnTo>
                  <a:lnTo>
                    <a:pt x="699" y="1145"/>
                  </a:lnTo>
                  <a:lnTo>
                    <a:pt x="699" y="1144"/>
                  </a:lnTo>
                  <a:lnTo>
                    <a:pt x="698" y="1144"/>
                  </a:lnTo>
                  <a:lnTo>
                    <a:pt x="698" y="1142"/>
                  </a:lnTo>
                  <a:lnTo>
                    <a:pt x="699" y="1140"/>
                  </a:lnTo>
                  <a:lnTo>
                    <a:pt x="699" y="1139"/>
                  </a:lnTo>
                  <a:lnTo>
                    <a:pt x="698" y="1139"/>
                  </a:lnTo>
                  <a:lnTo>
                    <a:pt x="698" y="1137"/>
                  </a:lnTo>
                  <a:lnTo>
                    <a:pt x="696" y="1137"/>
                  </a:lnTo>
                  <a:lnTo>
                    <a:pt x="696" y="1139"/>
                  </a:lnTo>
                  <a:lnTo>
                    <a:pt x="696" y="1140"/>
                  </a:lnTo>
                  <a:lnTo>
                    <a:pt x="698" y="1140"/>
                  </a:lnTo>
                  <a:lnTo>
                    <a:pt x="698" y="1142"/>
                  </a:lnTo>
                  <a:lnTo>
                    <a:pt x="696" y="1142"/>
                  </a:lnTo>
                  <a:lnTo>
                    <a:pt x="696" y="1144"/>
                  </a:lnTo>
                  <a:lnTo>
                    <a:pt x="694" y="1144"/>
                  </a:lnTo>
                  <a:lnTo>
                    <a:pt x="694" y="1142"/>
                  </a:lnTo>
                  <a:lnTo>
                    <a:pt x="694" y="1144"/>
                  </a:lnTo>
                  <a:lnTo>
                    <a:pt x="693" y="1144"/>
                  </a:lnTo>
                  <a:lnTo>
                    <a:pt x="694" y="1144"/>
                  </a:lnTo>
                  <a:lnTo>
                    <a:pt x="693" y="1144"/>
                  </a:lnTo>
                  <a:lnTo>
                    <a:pt x="694" y="1144"/>
                  </a:lnTo>
                  <a:lnTo>
                    <a:pt x="696" y="1145"/>
                  </a:lnTo>
                  <a:lnTo>
                    <a:pt x="696" y="1147"/>
                  </a:lnTo>
                  <a:lnTo>
                    <a:pt x="694" y="1147"/>
                  </a:lnTo>
                  <a:lnTo>
                    <a:pt x="694" y="1145"/>
                  </a:lnTo>
                  <a:lnTo>
                    <a:pt x="693" y="1145"/>
                  </a:lnTo>
                  <a:lnTo>
                    <a:pt x="694" y="1147"/>
                  </a:lnTo>
                  <a:lnTo>
                    <a:pt x="694" y="1145"/>
                  </a:lnTo>
                  <a:lnTo>
                    <a:pt x="693" y="1145"/>
                  </a:lnTo>
                  <a:lnTo>
                    <a:pt x="693" y="1147"/>
                  </a:lnTo>
                  <a:lnTo>
                    <a:pt x="693" y="1149"/>
                  </a:lnTo>
                  <a:lnTo>
                    <a:pt x="694" y="1149"/>
                  </a:lnTo>
                  <a:lnTo>
                    <a:pt x="694" y="1150"/>
                  </a:lnTo>
                  <a:lnTo>
                    <a:pt x="696" y="1150"/>
                  </a:lnTo>
                  <a:lnTo>
                    <a:pt x="694" y="1150"/>
                  </a:lnTo>
                  <a:lnTo>
                    <a:pt x="696" y="1152"/>
                  </a:lnTo>
                  <a:lnTo>
                    <a:pt x="696" y="1150"/>
                  </a:lnTo>
                  <a:lnTo>
                    <a:pt x="698" y="1150"/>
                  </a:lnTo>
                  <a:lnTo>
                    <a:pt x="698" y="1152"/>
                  </a:lnTo>
                  <a:lnTo>
                    <a:pt x="698" y="1153"/>
                  </a:lnTo>
                  <a:lnTo>
                    <a:pt x="699" y="1153"/>
                  </a:lnTo>
                  <a:lnTo>
                    <a:pt x="698" y="1153"/>
                  </a:lnTo>
                  <a:lnTo>
                    <a:pt x="698" y="1155"/>
                  </a:lnTo>
                  <a:lnTo>
                    <a:pt x="698" y="1153"/>
                  </a:lnTo>
                  <a:lnTo>
                    <a:pt x="698" y="1155"/>
                  </a:lnTo>
                  <a:lnTo>
                    <a:pt x="699" y="1155"/>
                  </a:lnTo>
                  <a:lnTo>
                    <a:pt x="701" y="1155"/>
                  </a:lnTo>
                  <a:lnTo>
                    <a:pt x="701" y="1153"/>
                  </a:lnTo>
                  <a:lnTo>
                    <a:pt x="701" y="1152"/>
                  </a:lnTo>
                  <a:lnTo>
                    <a:pt x="699" y="1150"/>
                  </a:lnTo>
                  <a:lnTo>
                    <a:pt x="701" y="1150"/>
                  </a:lnTo>
                  <a:lnTo>
                    <a:pt x="701" y="1152"/>
                  </a:lnTo>
                  <a:lnTo>
                    <a:pt x="703" y="1152"/>
                  </a:lnTo>
                  <a:lnTo>
                    <a:pt x="704" y="1152"/>
                  </a:lnTo>
                  <a:lnTo>
                    <a:pt x="706" y="1152"/>
                  </a:lnTo>
                  <a:lnTo>
                    <a:pt x="704" y="1152"/>
                  </a:lnTo>
                  <a:lnTo>
                    <a:pt x="704" y="1153"/>
                  </a:lnTo>
                  <a:lnTo>
                    <a:pt x="704" y="1155"/>
                  </a:lnTo>
                  <a:lnTo>
                    <a:pt x="703" y="1155"/>
                  </a:lnTo>
                  <a:lnTo>
                    <a:pt x="703" y="1157"/>
                  </a:lnTo>
                  <a:lnTo>
                    <a:pt x="703" y="1158"/>
                  </a:lnTo>
                  <a:lnTo>
                    <a:pt x="703" y="1157"/>
                  </a:lnTo>
                  <a:lnTo>
                    <a:pt x="704" y="1158"/>
                  </a:lnTo>
                  <a:lnTo>
                    <a:pt x="703" y="1158"/>
                  </a:lnTo>
                  <a:lnTo>
                    <a:pt x="701" y="1158"/>
                  </a:lnTo>
                  <a:lnTo>
                    <a:pt x="701" y="1162"/>
                  </a:lnTo>
                  <a:lnTo>
                    <a:pt x="699" y="1162"/>
                  </a:lnTo>
                  <a:lnTo>
                    <a:pt x="699" y="1165"/>
                  </a:lnTo>
                  <a:lnTo>
                    <a:pt x="699" y="1163"/>
                  </a:lnTo>
                  <a:lnTo>
                    <a:pt x="699" y="1167"/>
                  </a:lnTo>
                  <a:lnTo>
                    <a:pt x="699" y="1168"/>
                  </a:lnTo>
                  <a:lnTo>
                    <a:pt x="699" y="1170"/>
                  </a:lnTo>
                  <a:lnTo>
                    <a:pt x="701" y="1170"/>
                  </a:lnTo>
                  <a:lnTo>
                    <a:pt x="701" y="1171"/>
                  </a:lnTo>
                  <a:lnTo>
                    <a:pt x="701" y="1173"/>
                  </a:lnTo>
                  <a:lnTo>
                    <a:pt x="701" y="1175"/>
                  </a:lnTo>
                  <a:lnTo>
                    <a:pt x="699" y="1176"/>
                  </a:lnTo>
                  <a:lnTo>
                    <a:pt x="699" y="1178"/>
                  </a:lnTo>
                  <a:close/>
                  <a:moveTo>
                    <a:pt x="135" y="387"/>
                  </a:moveTo>
                  <a:lnTo>
                    <a:pt x="133" y="387"/>
                  </a:lnTo>
                  <a:lnTo>
                    <a:pt x="133" y="389"/>
                  </a:lnTo>
                  <a:lnTo>
                    <a:pt x="133" y="387"/>
                  </a:lnTo>
                  <a:lnTo>
                    <a:pt x="135" y="387"/>
                  </a:lnTo>
                  <a:close/>
                  <a:moveTo>
                    <a:pt x="582" y="1220"/>
                  </a:moveTo>
                  <a:lnTo>
                    <a:pt x="581" y="1222"/>
                  </a:lnTo>
                  <a:lnTo>
                    <a:pt x="579" y="1225"/>
                  </a:lnTo>
                  <a:lnTo>
                    <a:pt x="581" y="1227"/>
                  </a:lnTo>
                  <a:lnTo>
                    <a:pt x="582" y="1227"/>
                  </a:lnTo>
                  <a:lnTo>
                    <a:pt x="584" y="1227"/>
                  </a:lnTo>
                  <a:lnTo>
                    <a:pt x="584" y="1225"/>
                  </a:lnTo>
                  <a:lnTo>
                    <a:pt x="582" y="1223"/>
                  </a:lnTo>
                  <a:lnTo>
                    <a:pt x="584" y="1220"/>
                  </a:lnTo>
                  <a:lnTo>
                    <a:pt x="582" y="1220"/>
                  </a:lnTo>
                  <a:close/>
                </a:path>
              </a:pathLst>
            </a:custGeom>
            <a:solidFill>
              <a:srgbClr val="FFC0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1179" name="Freeform 25">
              <a:extLst>
                <a:ext uri="{FF2B5EF4-FFF2-40B4-BE49-F238E27FC236}">
                  <a16:creationId xmlns:a16="http://schemas.microsoft.com/office/drawing/2014/main" id="{493166B5-A0EA-C40E-973A-B1360C0E5E3D}"/>
                </a:ext>
              </a:extLst>
            </p:cNvPr>
            <p:cNvSpPr>
              <a:spLocks noEditPoints="1"/>
            </p:cNvSpPr>
            <p:nvPr/>
          </p:nvSpPr>
          <p:spPr bwMode="auto">
            <a:xfrm>
              <a:off x="2698" y="2135"/>
              <a:ext cx="789" cy="1476"/>
            </a:xfrm>
            <a:custGeom>
              <a:avLst/>
              <a:gdLst>
                <a:gd name="T0" fmla="*/ 231 w 789"/>
                <a:gd name="T1" fmla="*/ 1338 h 1476"/>
                <a:gd name="T2" fmla="*/ 361 w 789"/>
                <a:gd name="T3" fmla="*/ 1294 h 1476"/>
                <a:gd name="T4" fmla="*/ 210 w 789"/>
                <a:gd name="T5" fmla="*/ 1241 h 1476"/>
                <a:gd name="T6" fmla="*/ 205 w 789"/>
                <a:gd name="T7" fmla="*/ 1192 h 1476"/>
                <a:gd name="T8" fmla="*/ 257 w 789"/>
                <a:gd name="T9" fmla="*/ 1068 h 1476"/>
                <a:gd name="T10" fmla="*/ 405 w 789"/>
                <a:gd name="T11" fmla="*/ 992 h 1476"/>
                <a:gd name="T12" fmla="*/ 382 w 789"/>
                <a:gd name="T13" fmla="*/ 853 h 1476"/>
                <a:gd name="T14" fmla="*/ 324 w 789"/>
                <a:gd name="T15" fmla="*/ 813 h 1476"/>
                <a:gd name="T16" fmla="*/ 314 w 789"/>
                <a:gd name="T17" fmla="*/ 658 h 1476"/>
                <a:gd name="T18" fmla="*/ 286 w 789"/>
                <a:gd name="T19" fmla="*/ 621 h 1476"/>
                <a:gd name="T20" fmla="*/ 256 w 789"/>
                <a:gd name="T21" fmla="*/ 649 h 1476"/>
                <a:gd name="T22" fmla="*/ 319 w 789"/>
                <a:gd name="T23" fmla="*/ 553 h 1476"/>
                <a:gd name="T24" fmla="*/ 264 w 789"/>
                <a:gd name="T25" fmla="*/ 522 h 1476"/>
                <a:gd name="T26" fmla="*/ 301 w 789"/>
                <a:gd name="T27" fmla="*/ 463 h 1476"/>
                <a:gd name="T28" fmla="*/ 304 w 789"/>
                <a:gd name="T29" fmla="*/ 390 h 1476"/>
                <a:gd name="T30" fmla="*/ 353 w 789"/>
                <a:gd name="T31" fmla="*/ 315 h 1476"/>
                <a:gd name="T32" fmla="*/ 430 w 789"/>
                <a:gd name="T33" fmla="*/ 278 h 1476"/>
                <a:gd name="T34" fmla="*/ 434 w 789"/>
                <a:gd name="T35" fmla="*/ 382 h 1476"/>
                <a:gd name="T36" fmla="*/ 467 w 789"/>
                <a:gd name="T37" fmla="*/ 418 h 1476"/>
                <a:gd name="T38" fmla="*/ 516 w 789"/>
                <a:gd name="T39" fmla="*/ 588 h 1476"/>
                <a:gd name="T40" fmla="*/ 465 w 789"/>
                <a:gd name="T41" fmla="*/ 666 h 1476"/>
                <a:gd name="T42" fmla="*/ 576 w 789"/>
                <a:gd name="T43" fmla="*/ 860 h 1476"/>
                <a:gd name="T44" fmla="*/ 599 w 789"/>
                <a:gd name="T45" fmla="*/ 1031 h 1476"/>
                <a:gd name="T46" fmla="*/ 786 w 789"/>
                <a:gd name="T47" fmla="*/ 1184 h 1476"/>
                <a:gd name="T48" fmla="*/ 698 w 789"/>
                <a:gd name="T49" fmla="*/ 1311 h 1476"/>
                <a:gd name="T50" fmla="*/ 644 w 789"/>
                <a:gd name="T51" fmla="*/ 1350 h 1476"/>
                <a:gd name="T52" fmla="*/ 565 w 789"/>
                <a:gd name="T53" fmla="*/ 1432 h 1476"/>
                <a:gd name="T54" fmla="*/ 421 w 789"/>
                <a:gd name="T55" fmla="*/ 1429 h 1476"/>
                <a:gd name="T56" fmla="*/ 252 w 789"/>
                <a:gd name="T57" fmla="*/ 1460 h 1476"/>
                <a:gd name="T58" fmla="*/ 147 w 789"/>
                <a:gd name="T59" fmla="*/ 1447 h 1476"/>
                <a:gd name="T60" fmla="*/ 200 w 789"/>
                <a:gd name="T61" fmla="*/ 754 h 1476"/>
                <a:gd name="T62" fmla="*/ 212 w 789"/>
                <a:gd name="T63" fmla="*/ 837 h 1476"/>
                <a:gd name="T64" fmla="*/ 62 w 789"/>
                <a:gd name="T65" fmla="*/ 850 h 1476"/>
                <a:gd name="T66" fmla="*/ 228 w 789"/>
                <a:gd name="T67" fmla="*/ 281 h 1476"/>
                <a:gd name="T68" fmla="*/ 254 w 789"/>
                <a:gd name="T69" fmla="*/ 309 h 1476"/>
                <a:gd name="T70" fmla="*/ 212 w 789"/>
                <a:gd name="T71" fmla="*/ 338 h 1476"/>
                <a:gd name="T72" fmla="*/ 260 w 789"/>
                <a:gd name="T73" fmla="*/ 450 h 1476"/>
                <a:gd name="T74" fmla="*/ 265 w 789"/>
                <a:gd name="T75" fmla="*/ 369 h 1476"/>
                <a:gd name="T76" fmla="*/ 706 w 789"/>
                <a:gd name="T77" fmla="*/ 66 h 1476"/>
                <a:gd name="T78" fmla="*/ 721 w 789"/>
                <a:gd name="T79" fmla="*/ 73 h 1476"/>
                <a:gd name="T80" fmla="*/ 256 w 789"/>
                <a:gd name="T81" fmla="*/ 566 h 1476"/>
                <a:gd name="T82" fmla="*/ 303 w 789"/>
                <a:gd name="T83" fmla="*/ 1023 h 1476"/>
                <a:gd name="T84" fmla="*/ 543 w 789"/>
                <a:gd name="T85" fmla="*/ 268 h 1476"/>
                <a:gd name="T86" fmla="*/ 186 w 789"/>
                <a:gd name="T87" fmla="*/ 640 h 1476"/>
                <a:gd name="T88" fmla="*/ 203 w 789"/>
                <a:gd name="T89" fmla="*/ 364 h 1476"/>
                <a:gd name="T90" fmla="*/ 186 w 789"/>
                <a:gd name="T91" fmla="*/ 401 h 1476"/>
                <a:gd name="T92" fmla="*/ 527 w 789"/>
                <a:gd name="T93" fmla="*/ 248 h 1476"/>
                <a:gd name="T94" fmla="*/ 182 w 789"/>
                <a:gd name="T95" fmla="*/ 380 h 1476"/>
                <a:gd name="T96" fmla="*/ 277 w 789"/>
                <a:gd name="T97" fmla="*/ 406 h 1476"/>
                <a:gd name="T98" fmla="*/ 745 w 789"/>
                <a:gd name="T99" fmla="*/ 34 h 1476"/>
                <a:gd name="T100" fmla="*/ 714 w 789"/>
                <a:gd name="T101" fmla="*/ 99 h 1476"/>
                <a:gd name="T102" fmla="*/ 267 w 789"/>
                <a:gd name="T103" fmla="*/ 585 h 1476"/>
                <a:gd name="T104" fmla="*/ 288 w 789"/>
                <a:gd name="T105" fmla="*/ 390 h 1476"/>
                <a:gd name="T106" fmla="*/ 132 w 789"/>
                <a:gd name="T107" fmla="*/ 470 h 1476"/>
                <a:gd name="T108" fmla="*/ 182 w 789"/>
                <a:gd name="T109" fmla="*/ 354 h 1476"/>
                <a:gd name="T110" fmla="*/ 229 w 789"/>
                <a:gd name="T111" fmla="*/ 1089 h 1476"/>
                <a:gd name="T112" fmla="*/ 340 w 789"/>
                <a:gd name="T113" fmla="*/ 338 h 1476"/>
                <a:gd name="T114" fmla="*/ 565 w 789"/>
                <a:gd name="T115" fmla="*/ 221 h 1476"/>
                <a:gd name="T116" fmla="*/ 747 w 789"/>
                <a:gd name="T117" fmla="*/ 63 h 1476"/>
                <a:gd name="T118" fmla="*/ 256 w 789"/>
                <a:gd name="T119" fmla="*/ 653 h 1476"/>
                <a:gd name="T120" fmla="*/ 717 w 789"/>
                <a:gd name="T121" fmla="*/ 58 h 1476"/>
                <a:gd name="T122" fmla="*/ 379 w 789"/>
                <a:gd name="T123" fmla="*/ 278 h 1476"/>
                <a:gd name="T124" fmla="*/ 212 w 789"/>
                <a:gd name="T125" fmla="*/ 344 h 14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789" h="1476">
                  <a:moveTo>
                    <a:pt x="96" y="1452"/>
                  </a:moveTo>
                  <a:lnTo>
                    <a:pt x="96" y="1450"/>
                  </a:lnTo>
                  <a:lnTo>
                    <a:pt x="95" y="1450"/>
                  </a:lnTo>
                  <a:lnTo>
                    <a:pt x="95" y="1449"/>
                  </a:lnTo>
                  <a:lnTo>
                    <a:pt x="95" y="1447"/>
                  </a:lnTo>
                  <a:lnTo>
                    <a:pt x="93" y="1447"/>
                  </a:lnTo>
                  <a:lnTo>
                    <a:pt x="91" y="1447"/>
                  </a:lnTo>
                  <a:lnTo>
                    <a:pt x="90" y="1447"/>
                  </a:lnTo>
                  <a:lnTo>
                    <a:pt x="88" y="1447"/>
                  </a:lnTo>
                  <a:lnTo>
                    <a:pt x="86" y="1447"/>
                  </a:lnTo>
                  <a:lnTo>
                    <a:pt x="86" y="1449"/>
                  </a:lnTo>
                  <a:lnTo>
                    <a:pt x="86" y="1450"/>
                  </a:lnTo>
                  <a:lnTo>
                    <a:pt x="86" y="1452"/>
                  </a:lnTo>
                  <a:lnTo>
                    <a:pt x="86" y="1454"/>
                  </a:lnTo>
                  <a:lnTo>
                    <a:pt x="85" y="1454"/>
                  </a:lnTo>
                  <a:lnTo>
                    <a:pt x="85" y="1455"/>
                  </a:lnTo>
                  <a:lnTo>
                    <a:pt x="83" y="1455"/>
                  </a:lnTo>
                  <a:lnTo>
                    <a:pt x="81" y="1455"/>
                  </a:lnTo>
                  <a:lnTo>
                    <a:pt x="80" y="1455"/>
                  </a:lnTo>
                  <a:lnTo>
                    <a:pt x="78" y="1455"/>
                  </a:lnTo>
                  <a:lnTo>
                    <a:pt x="77" y="1455"/>
                  </a:lnTo>
                  <a:lnTo>
                    <a:pt x="77" y="1457"/>
                  </a:lnTo>
                  <a:lnTo>
                    <a:pt x="77" y="1455"/>
                  </a:lnTo>
                  <a:lnTo>
                    <a:pt x="75" y="1455"/>
                  </a:lnTo>
                  <a:lnTo>
                    <a:pt x="75" y="1457"/>
                  </a:lnTo>
                  <a:lnTo>
                    <a:pt x="73" y="1455"/>
                  </a:lnTo>
                  <a:lnTo>
                    <a:pt x="73" y="1457"/>
                  </a:lnTo>
                  <a:lnTo>
                    <a:pt x="73" y="1455"/>
                  </a:lnTo>
                  <a:lnTo>
                    <a:pt x="73" y="1457"/>
                  </a:lnTo>
                  <a:lnTo>
                    <a:pt x="72" y="1457"/>
                  </a:lnTo>
                  <a:lnTo>
                    <a:pt x="72" y="1455"/>
                  </a:lnTo>
                  <a:lnTo>
                    <a:pt x="72" y="1454"/>
                  </a:lnTo>
                  <a:lnTo>
                    <a:pt x="70" y="1454"/>
                  </a:lnTo>
                  <a:lnTo>
                    <a:pt x="70" y="1452"/>
                  </a:lnTo>
                  <a:lnTo>
                    <a:pt x="70" y="1450"/>
                  </a:lnTo>
                  <a:lnTo>
                    <a:pt x="70" y="1449"/>
                  </a:lnTo>
                  <a:lnTo>
                    <a:pt x="72" y="1450"/>
                  </a:lnTo>
                  <a:lnTo>
                    <a:pt x="72" y="1449"/>
                  </a:lnTo>
                  <a:lnTo>
                    <a:pt x="73" y="1449"/>
                  </a:lnTo>
                  <a:lnTo>
                    <a:pt x="73" y="1447"/>
                  </a:lnTo>
                  <a:lnTo>
                    <a:pt x="72" y="1447"/>
                  </a:lnTo>
                  <a:lnTo>
                    <a:pt x="73" y="1446"/>
                  </a:lnTo>
                  <a:lnTo>
                    <a:pt x="72" y="1446"/>
                  </a:lnTo>
                  <a:lnTo>
                    <a:pt x="73" y="1444"/>
                  </a:lnTo>
                  <a:lnTo>
                    <a:pt x="72" y="1444"/>
                  </a:lnTo>
                  <a:lnTo>
                    <a:pt x="72" y="1442"/>
                  </a:lnTo>
                  <a:lnTo>
                    <a:pt x="73" y="1442"/>
                  </a:lnTo>
                  <a:lnTo>
                    <a:pt x="73" y="1441"/>
                  </a:lnTo>
                  <a:lnTo>
                    <a:pt x="75" y="1441"/>
                  </a:lnTo>
                  <a:lnTo>
                    <a:pt x="73" y="1441"/>
                  </a:lnTo>
                  <a:lnTo>
                    <a:pt x="75" y="1439"/>
                  </a:lnTo>
                  <a:lnTo>
                    <a:pt x="77" y="1439"/>
                  </a:lnTo>
                  <a:lnTo>
                    <a:pt x="77" y="1437"/>
                  </a:lnTo>
                  <a:lnTo>
                    <a:pt x="78" y="1439"/>
                  </a:lnTo>
                  <a:lnTo>
                    <a:pt x="78" y="1437"/>
                  </a:lnTo>
                  <a:lnTo>
                    <a:pt x="80" y="1437"/>
                  </a:lnTo>
                  <a:lnTo>
                    <a:pt x="80" y="1439"/>
                  </a:lnTo>
                  <a:lnTo>
                    <a:pt x="81" y="1437"/>
                  </a:lnTo>
                  <a:lnTo>
                    <a:pt x="83" y="1437"/>
                  </a:lnTo>
                  <a:lnTo>
                    <a:pt x="83" y="1436"/>
                  </a:lnTo>
                  <a:lnTo>
                    <a:pt x="85" y="1436"/>
                  </a:lnTo>
                  <a:lnTo>
                    <a:pt x="86" y="1436"/>
                  </a:lnTo>
                  <a:lnTo>
                    <a:pt x="86" y="1434"/>
                  </a:lnTo>
                  <a:lnTo>
                    <a:pt x="86" y="1436"/>
                  </a:lnTo>
                  <a:lnTo>
                    <a:pt x="88" y="1436"/>
                  </a:lnTo>
                  <a:lnTo>
                    <a:pt x="88" y="1434"/>
                  </a:lnTo>
                  <a:lnTo>
                    <a:pt x="90" y="1434"/>
                  </a:lnTo>
                  <a:lnTo>
                    <a:pt x="91" y="1434"/>
                  </a:lnTo>
                  <a:lnTo>
                    <a:pt x="93" y="1434"/>
                  </a:lnTo>
                  <a:lnTo>
                    <a:pt x="95" y="1434"/>
                  </a:lnTo>
                  <a:lnTo>
                    <a:pt x="96" y="1434"/>
                  </a:lnTo>
                  <a:lnTo>
                    <a:pt x="96" y="1436"/>
                  </a:lnTo>
                  <a:lnTo>
                    <a:pt x="96" y="1437"/>
                  </a:lnTo>
                  <a:lnTo>
                    <a:pt x="98" y="1437"/>
                  </a:lnTo>
                  <a:lnTo>
                    <a:pt x="99" y="1439"/>
                  </a:lnTo>
                  <a:lnTo>
                    <a:pt x="98" y="1441"/>
                  </a:lnTo>
                  <a:lnTo>
                    <a:pt x="99" y="1441"/>
                  </a:lnTo>
                  <a:lnTo>
                    <a:pt x="99" y="1439"/>
                  </a:lnTo>
                  <a:lnTo>
                    <a:pt x="99" y="1437"/>
                  </a:lnTo>
                  <a:lnTo>
                    <a:pt x="101" y="1437"/>
                  </a:lnTo>
                  <a:lnTo>
                    <a:pt x="103" y="1436"/>
                  </a:lnTo>
                  <a:lnTo>
                    <a:pt x="104" y="1434"/>
                  </a:lnTo>
                  <a:lnTo>
                    <a:pt x="104" y="1432"/>
                  </a:lnTo>
                  <a:lnTo>
                    <a:pt x="106" y="1432"/>
                  </a:lnTo>
                  <a:lnTo>
                    <a:pt x="106" y="1434"/>
                  </a:lnTo>
                  <a:lnTo>
                    <a:pt x="108" y="1434"/>
                  </a:lnTo>
                  <a:lnTo>
                    <a:pt x="109" y="1434"/>
                  </a:lnTo>
                  <a:lnTo>
                    <a:pt x="111" y="1434"/>
                  </a:lnTo>
                  <a:lnTo>
                    <a:pt x="111" y="1432"/>
                  </a:lnTo>
                  <a:lnTo>
                    <a:pt x="112" y="1432"/>
                  </a:lnTo>
                  <a:lnTo>
                    <a:pt x="111" y="1432"/>
                  </a:lnTo>
                  <a:lnTo>
                    <a:pt x="112" y="1432"/>
                  </a:lnTo>
                  <a:lnTo>
                    <a:pt x="112" y="1431"/>
                  </a:lnTo>
                  <a:lnTo>
                    <a:pt x="114" y="1431"/>
                  </a:lnTo>
                  <a:lnTo>
                    <a:pt x="116" y="1431"/>
                  </a:lnTo>
                  <a:lnTo>
                    <a:pt x="117" y="1431"/>
                  </a:lnTo>
                  <a:lnTo>
                    <a:pt x="117" y="1429"/>
                  </a:lnTo>
                  <a:lnTo>
                    <a:pt x="119" y="1429"/>
                  </a:lnTo>
                  <a:lnTo>
                    <a:pt x="119" y="1428"/>
                  </a:lnTo>
                  <a:lnTo>
                    <a:pt x="121" y="1428"/>
                  </a:lnTo>
                  <a:lnTo>
                    <a:pt x="121" y="1426"/>
                  </a:lnTo>
                  <a:lnTo>
                    <a:pt x="121" y="1424"/>
                  </a:lnTo>
                  <a:lnTo>
                    <a:pt x="122" y="1424"/>
                  </a:lnTo>
                  <a:lnTo>
                    <a:pt x="124" y="1424"/>
                  </a:lnTo>
                  <a:lnTo>
                    <a:pt x="125" y="1424"/>
                  </a:lnTo>
                  <a:lnTo>
                    <a:pt x="125" y="1423"/>
                  </a:lnTo>
                  <a:lnTo>
                    <a:pt x="127" y="1423"/>
                  </a:lnTo>
                  <a:lnTo>
                    <a:pt x="129" y="1423"/>
                  </a:lnTo>
                  <a:lnTo>
                    <a:pt x="129" y="1421"/>
                  </a:lnTo>
                  <a:lnTo>
                    <a:pt x="130" y="1419"/>
                  </a:lnTo>
                  <a:lnTo>
                    <a:pt x="130" y="1418"/>
                  </a:lnTo>
                  <a:lnTo>
                    <a:pt x="129" y="1418"/>
                  </a:lnTo>
                  <a:lnTo>
                    <a:pt x="130" y="1418"/>
                  </a:lnTo>
                  <a:lnTo>
                    <a:pt x="129" y="1416"/>
                  </a:lnTo>
                  <a:lnTo>
                    <a:pt x="130" y="1416"/>
                  </a:lnTo>
                  <a:lnTo>
                    <a:pt x="130" y="1415"/>
                  </a:lnTo>
                  <a:lnTo>
                    <a:pt x="132" y="1415"/>
                  </a:lnTo>
                  <a:lnTo>
                    <a:pt x="134" y="1415"/>
                  </a:lnTo>
                  <a:lnTo>
                    <a:pt x="134" y="1413"/>
                  </a:lnTo>
                  <a:lnTo>
                    <a:pt x="134" y="1415"/>
                  </a:lnTo>
                  <a:lnTo>
                    <a:pt x="134" y="1413"/>
                  </a:lnTo>
                  <a:lnTo>
                    <a:pt x="135" y="1415"/>
                  </a:lnTo>
                  <a:lnTo>
                    <a:pt x="135" y="1413"/>
                  </a:lnTo>
                  <a:lnTo>
                    <a:pt x="137" y="1413"/>
                  </a:lnTo>
                  <a:lnTo>
                    <a:pt x="137" y="1415"/>
                  </a:lnTo>
                  <a:lnTo>
                    <a:pt x="138" y="1413"/>
                  </a:lnTo>
                  <a:lnTo>
                    <a:pt x="140" y="1413"/>
                  </a:lnTo>
                  <a:lnTo>
                    <a:pt x="140" y="1411"/>
                  </a:lnTo>
                  <a:lnTo>
                    <a:pt x="142" y="1411"/>
                  </a:lnTo>
                  <a:lnTo>
                    <a:pt x="142" y="1410"/>
                  </a:lnTo>
                  <a:lnTo>
                    <a:pt x="142" y="1408"/>
                  </a:lnTo>
                  <a:lnTo>
                    <a:pt x="143" y="1408"/>
                  </a:lnTo>
                  <a:lnTo>
                    <a:pt x="143" y="1406"/>
                  </a:lnTo>
                  <a:lnTo>
                    <a:pt x="142" y="1406"/>
                  </a:lnTo>
                  <a:lnTo>
                    <a:pt x="143" y="1406"/>
                  </a:lnTo>
                  <a:lnTo>
                    <a:pt x="143" y="1405"/>
                  </a:lnTo>
                  <a:lnTo>
                    <a:pt x="143" y="1403"/>
                  </a:lnTo>
                  <a:lnTo>
                    <a:pt x="143" y="1402"/>
                  </a:lnTo>
                  <a:lnTo>
                    <a:pt x="145" y="1402"/>
                  </a:lnTo>
                  <a:lnTo>
                    <a:pt x="145" y="1400"/>
                  </a:lnTo>
                  <a:lnTo>
                    <a:pt x="145" y="1398"/>
                  </a:lnTo>
                  <a:lnTo>
                    <a:pt x="145" y="1397"/>
                  </a:lnTo>
                  <a:lnTo>
                    <a:pt x="147" y="1395"/>
                  </a:lnTo>
                  <a:lnTo>
                    <a:pt x="147" y="1397"/>
                  </a:lnTo>
                  <a:lnTo>
                    <a:pt x="148" y="1397"/>
                  </a:lnTo>
                  <a:lnTo>
                    <a:pt x="148" y="1398"/>
                  </a:lnTo>
                  <a:lnTo>
                    <a:pt x="150" y="1398"/>
                  </a:lnTo>
                  <a:lnTo>
                    <a:pt x="150" y="1397"/>
                  </a:lnTo>
                  <a:lnTo>
                    <a:pt x="151" y="1397"/>
                  </a:lnTo>
                  <a:lnTo>
                    <a:pt x="153" y="1395"/>
                  </a:lnTo>
                  <a:lnTo>
                    <a:pt x="153" y="1397"/>
                  </a:lnTo>
                  <a:lnTo>
                    <a:pt x="155" y="1398"/>
                  </a:lnTo>
                  <a:lnTo>
                    <a:pt x="153" y="1398"/>
                  </a:lnTo>
                  <a:lnTo>
                    <a:pt x="153" y="1400"/>
                  </a:lnTo>
                  <a:lnTo>
                    <a:pt x="153" y="1402"/>
                  </a:lnTo>
                  <a:lnTo>
                    <a:pt x="155" y="1400"/>
                  </a:lnTo>
                  <a:lnTo>
                    <a:pt x="156" y="1402"/>
                  </a:lnTo>
                  <a:lnTo>
                    <a:pt x="158" y="1402"/>
                  </a:lnTo>
                  <a:lnTo>
                    <a:pt x="160" y="1402"/>
                  </a:lnTo>
                  <a:lnTo>
                    <a:pt x="161" y="1402"/>
                  </a:lnTo>
                  <a:lnTo>
                    <a:pt x="161" y="1403"/>
                  </a:lnTo>
                  <a:lnTo>
                    <a:pt x="161" y="1402"/>
                  </a:lnTo>
                  <a:lnTo>
                    <a:pt x="160" y="1402"/>
                  </a:lnTo>
                  <a:lnTo>
                    <a:pt x="158" y="1402"/>
                  </a:lnTo>
                  <a:lnTo>
                    <a:pt x="158" y="1400"/>
                  </a:lnTo>
                  <a:lnTo>
                    <a:pt x="158" y="1402"/>
                  </a:lnTo>
                  <a:lnTo>
                    <a:pt x="156" y="1402"/>
                  </a:lnTo>
                  <a:lnTo>
                    <a:pt x="156" y="1400"/>
                  </a:lnTo>
                  <a:lnTo>
                    <a:pt x="155" y="1400"/>
                  </a:lnTo>
                  <a:lnTo>
                    <a:pt x="156" y="1400"/>
                  </a:lnTo>
                  <a:lnTo>
                    <a:pt x="155" y="1398"/>
                  </a:lnTo>
                  <a:lnTo>
                    <a:pt x="155" y="1397"/>
                  </a:lnTo>
                  <a:lnTo>
                    <a:pt x="155" y="1395"/>
                  </a:lnTo>
                  <a:lnTo>
                    <a:pt x="156" y="1395"/>
                  </a:lnTo>
                  <a:lnTo>
                    <a:pt x="156" y="1393"/>
                  </a:lnTo>
                  <a:lnTo>
                    <a:pt x="155" y="1393"/>
                  </a:lnTo>
                  <a:lnTo>
                    <a:pt x="155" y="1392"/>
                  </a:lnTo>
                  <a:lnTo>
                    <a:pt x="156" y="1392"/>
                  </a:lnTo>
                  <a:lnTo>
                    <a:pt x="156" y="1393"/>
                  </a:lnTo>
                  <a:lnTo>
                    <a:pt x="158" y="1393"/>
                  </a:lnTo>
                  <a:lnTo>
                    <a:pt x="160" y="1393"/>
                  </a:lnTo>
                  <a:lnTo>
                    <a:pt x="161" y="1393"/>
                  </a:lnTo>
                  <a:lnTo>
                    <a:pt x="161" y="1392"/>
                  </a:lnTo>
                  <a:lnTo>
                    <a:pt x="161" y="1393"/>
                  </a:lnTo>
                  <a:lnTo>
                    <a:pt x="163" y="1393"/>
                  </a:lnTo>
                  <a:lnTo>
                    <a:pt x="163" y="1392"/>
                  </a:lnTo>
                  <a:lnTo>
                    <a:pt x="164" y="1393"/>
                  </a:lnTo>
                  <a:lnTo>
                    <a:pt x="166" y="1393"/>
                  </a:lnTo>
                  <a:lnTo>
                    <a:pt x="168" y="1393"/>
                  </a:lnTo>
                  <a:lnTo>
                    <a:pt x="169" y="1392"/>
                  </a:lnTo>
                  <a:lnTo>
                    <a:pt x="171" y="1390"/>
                  </a:lnTo>
                  <a:lnTo>
                    <a:pt x="171" y="1389"/>
                  </a:lnTo>
                  <a:lnTo>
                    <a:pt x="173" y="1387"/>
                  </a:lnTo>
                  <a:lnTo>
                    <a:pt x="173" y="1385"/>
                  </a:lnTo>
                  <a:lnTo>
                    <a:pt x="173" y="1384"/>
                  </a:lnTo>
                  <a:lnTo>
                    <a:pt x="174" y="1384"/>
                  </a:lnTo>
                  <a:lnTo>
                    <a:pt x="176" y="1384"/>
                  </a:lnTo>
                  <a:lnTo>
                    <a:pt x="174" y="1384"/>
                  </a:lnTo>
                  <a:lnTo>
                    <a:pt x="176" y="1384"/>
                  </a:lnTo>
                  <a:lnTo>
                    <a:pt x="177" y="1382"/>
                  </a:lnTo>
                  <a:lnTo>
                    <a:pt x="177" y="1384"/>
                  </a:lnTo>
                  <a:lnTo>
                    <a:pt x="177" y="1382"/>
                  </a:lnTo>
                  <a:lnTo>
                    <a:pt x="179" y="1382"/>
                  </a:lnTo>
                  <a:lnTo>
                    <a:pt x="181" y="1382"/>
                  </a:lnTo>
                  <a:lnTo>
                    <a:pt x="181" y="1380"/>
                  </a:lnTo>
                  <a:lnTo>
                    <a:pt x="182" y="1380"/>
                  </a:lnTo>
                  <a:lnTo>
                    <a:pt x="184" y="1379"/>
                  </a:lnTo>
                  <a:lnTo>
                    <a:pt x="184" y="1377"/>
                  </a:lnTo>
                  <a:lnTo>
                    <a:pt x="184" y="1376"/>
                  </a:lnTo>
                  <a:lnTo>
                    <a:pt x="186" y="1377"/>
                  </a:lnTo>
                  <a:lnTo>
                    <a:pt x="186" y="1376"/>
                  </a:lnTo>
                  <a:lnTo>
                    <a:pt x="187" y="1376"/>
                  </a:lnTo>
                  <a:lnTo>
                    <a:pt x="189" y="1374"/>
                  </a:lnTo>
                  <a:lnTo>
                    <a:pt x="190" y="1374"/>
                  </a:lnTo>
                  <a:lnTo>
                    <a:pt x="192" y="1372"/>
                  </a:lnTo>
                  <a:lnTo>
                    <a:pt x="194" y="1372"/>
                  </a:lnTo>
                  <a:lnTo>
                    <a:pt x="194" y="1371"/>
                  </a:lnTo>
                  <a:lnTo>
                    <a:pt x="195" y="1371"/>
                  </a:lnTo>
                  <a:lnTo>
                    <a:pt x="194" y="1371"/>
                  </a:lnTo>
                  <a:lnTo>
                    <a:pt x="195" y="1369"/>
                  </a:lnTo>
                  <a:lnTo>
                    <a:pt x="194" y="1369"/>
                  </a:lnTo>
                  <a:lnTo>
                    <a:pt x="195" y="1369"/>
                  </a:lnTo>
                  <a:lnTo>
                    <a:pt x="195" y="1367"/>
                  </a:lnTo>
                  <a:lnTo>
                    <a:pt x="195" y="1366"/>
                  </a:lnTo>
                  <a:lnTo>
                    <a:pt x="195" y="1364"/>
                  </a:lnTo>
                  <a:lnTo>
                    <a:pt x="197" y="1363"/>
                  </a:lnTo>
                  <a:lnTo>
                    <a:pt x="197" y="1361"/>
                  </a:lnTo>
                  <a:lnTo>
                    <a:pt x="197" y="1359"/>
                  </a:lnTo>
                  <a:lnTo>
                    <a:pt x="197" y="1358"/>
                  </a:lnTo>
                  <a:lnTo>
                    <a:pt x="197" y="1356"/>
                  </a:lnTo>
                  <a:lnTo>
                    <a:pt x="197" y="1354"/>
                  </a:lnTo>
                  <a:lnTo>
                    <a:pt x="197" y="1353"/>
                  </a:lnTo>
                  <a:lnTo>
                    <a:pt x="199" y="1353"/>
                  </a:lnTo>
                  <a:lnTo>
                    <a:pt x="199" y="1351"/>
                  </a:lnTo>
                  <a:lnTo>
                    <a:pt x="200" y="1351"/>
                  </a:lnTo>
                  <a:lnTo>
                    <a:pt x="199" y="1351"/>
                  </a:lnTo>
                  <a:lnTo>
                    <a:pt x="200" y="1351"/>
                  </a:lnTo>
                  <a:lnTo>
                    <a:pt x="200" y="1350"/>
                  </a:lnTo>
                  <a:lnTo>
                    <a:pt x="200" y="1348"/>
                  </a:lnTo>
                  <a:lnTo>
                    <a:pt x="202" y="1346"/>
                  </a:lnTo>
                  <a:lnTo>
                    <a:pt x="202" y="1345"/>
                  </a:lnTo>
                  <a:lnTo>
                    <a:pt x="202" y="1343"/>
                  </a:lnTo>
                  <a:lnTo>
                    <a:pt x="202" y="1341"/>
                  </a:lnTo>
                  <a:lnTo>
                    <a:pt x="203" y="1341"/>
                  </a:lnTo>
                  <a:lnTo>
                    <a:pt x="202" y="1340"/>
                  </a:lnTo>
                  <a:lnTo>
                    <a:pt x="203" y="1340"/>
                  </a:lnTo>
                  <a:lnTo>
                    <a:pt x="203" y="1338"/>
                  </a:lnTo>
                  <a:lnTo>
                    <a:pt x="205" y="1338"/>
                  </a:lnTo>
                  <a:lnTo>
                    <a:pt x="205" y="1340"/>
                  </a:lnTo>
                  <a:lnTo>
                    <a:pt x="207" y="1340"/>
                  </a:lnTo>
                  <a:lnTo>
                    <a:pt x="208" y="1340"/>
                  </a:lnTo>
                  <a:lnTo>
                    <a:pt x="210" y="1340"/>
                  </a:lnTo>
                  <a:lnTo>
                    <a:pt x="210" y="1341"/>
                  </a:lnTo>
                  <a:lnTo>
                    <a:pt x="212" y="1341"/>
                  </a:lnTo>
                  <a:lnTo>
                    <a:pt x="213" y="1341"/>
                  </a:lnTo>
                  <a:lnTo>
                    <a:pt x="213" y="1343"/>
                  </a:lnTo>
                  <a:lnTo>
                    <a:pt x="215" y="1343"/>
                  </a:lnTo>
                  <a:lnTo>
                    <a:pt x="215" y="1345"/>
                  </a:lnTo>
                  <a:lnTo>
                    <a:pt x="216" y="1346"/>
                  </a:lnTo>
                  <a:lnTo>
                    <a:pt x="218" y="1346"/>
                  </a:lnTo>
                  <a:lnTo>
                    <a:pt x="220" y="1346"/>
                  </a:lnTo>
                  <a:lnTo>
                    <a:pt x="221" y="1346"/>
                  </a:lnTo>
                  <a:lnTo>
                    <a:pt x="223" y="1346"/>
                  </a:lnTo>
                  <a:lnTo>
                    <a:pt x="225" y="1345"/>
                  </a:lnTo>
                  <a:lnTo>
                    <a:pt x="226" y="1343"/>
                  </a:lnTo>
                  <a:lnTo>
                    <a:pt x="226" y="1341"/>
                  </a:lnTo>
                  <a:lnTo>
                    <a:pt x="228" y="1341"/>
                  </a:lnTo>
                  <a:lnTo>
                    <a:pt x="229" y="1341"/>
                  </a:lnTo>
                  <a:lnTo>
                    <a:pt x="231" y="1338"/>
                  </a:lnTo>
                  <a:lnTo>
                    <a:pt x="233" y="1338"/>
                  </a:lnTo>
                  <a:lnTo>
                    <a:pt x="233" y="1340"/>
                  </a:lnTo>
                  <a:lnTo>
                    <a:pt x="234" y="1340"/>
                  </a:lnTo>
                  <a:lnTo>
                    <a:pt x="234" y="1341"/>
                  </a:lnTo>
                  <a:lnTo>
                    <a:pt x="233" y="1343"/>
                  </a:lnTo>
                  <a:lnTo>
                    <a:pt x="233" y="1345"/>
                  </a:lnTo>
                  <a:lnTo>
                    <a:pt x="233" y="1343"/>
                  </a:lnTo>
                  <a:lnTo>
                    <a:pt x="234" y="1343"/>
                  </a:lnTo>
                  <a:lnTo>
                    <a:pt x="234" y="1341"/>
                  </a:lnTo>
                  <a:lnTo>
                    <a:pt x="236" y="1340"/>
                  </a:lnTo>
                  <a:lnTo>
                    <a:pt x="236" y="1338"/>
                  </a:lnTo>
                  <a:lnTo>
                    <a:pt x="238" y="1338"/>
                  </a:lnTo>
                  <a:lnTo>
                    <a:pt x="238" y="1337"/>
                  </a:lnTo>
                  <a:lnTo>
                    <a:pt x="241" y="1338"/>
                  </a:lnTo>
                  <a:lnTo>
                    <a:pt x="243" y="1337"/>
                  </a:lnTo>
                  <a:lnTo>
                    <a:pt x="244" y="1338"/>
                  </a:lnTo>
                  <a:lnTo>
                    <a:pt x="246" y="1338"/>
                  </a:lnTo>
                  <a:lnTo>
                    <a:pt x="244" y="1338"/>
                  </a:lnTo>
                  <a:lnTo>
                    <a:pt x="244" y="1337"/>
                  </a:lnTo>
                  <a:lnTo>
                    <a:pt x="243" y="1337"/>
                  </a:lnTo>
                  <a:lnTo>
                    <a:pt x="243" y="1335"/>
                  </a:lnTo>
                  <a:lnTo>
                    <a:pt x="241" y="1335"/>
                  </a:lnTo>
                  <a:lnTo>
                    <a:pt x="241" y="1337"/>
                  </a:lnTo>
                  <a:lnTo>
                    <a:pt x="239" y="1337"/>
                  </a:lnTo>
                  <a:lnTo>
                    <a:pt x="238" y="1337"/>
                  </a:lnTo>
                  <a:lnTo>
                    <a:pt x="236" y="1337"/>
                  </a:lnTo>
                  <a:lnTo>
                    <a:pt x="234" y="1338"/>
                  </a:lnTo>
                  <a:lnTo>
                    <a:pt x="233" y="1338"/>
                  </a:lnTo>
                  <a:lnTo>
                    <a:pt x="233" y="1337"/>
                  </a:lnTo>
                  <a:lnTo>
                    <a:pt x="233" y="1335"/>
                  </a:lnTo>
                  <a:lnTo>
                    <a:pt x="233" y="1330"/>
                  </a:lnTo>
                  <a:lnTo>
                    <a:pt x="231" y="1330"/>
                  </a:lnTo>
                  <a:lnTo>
                    <a:pt x="231" y="1328"/>
                  </a:lnTo>
                  <a:lnTo>
                    <a:pt x="233" y="1328"/>
                  </a:lnTo>
                  <a:lnTo>
                    <a:pt x="231" y="1328"/>
                  </a:lnTo>
                  <a:lnTo>
                    <a:pt x="231" y="1327"/>
                  </a:lnTo>
                  <a:lnTo>
                    <a:pt x="231" y="1325"/>
                  </a:lnTo>
                  <a:lnTo>
                    <a:pt x="233" y="1327"/>
                  </a:lnTo>
                  <a:lnTo>
                    <a:pt x="234" y="1327"/>
                  </a:lnTo>
                  <a:lnTo>
                    <a:pt x="234" y="1325"/>
                  </a:lnTo>
                  <a:lnTo>
                    <a:pt x="236" y="1325"/>
                  </a:lnTo>
                  <a:lnTo>
                    <a:pt x="236" y="1324"/>
                  </a:lnTo>
                  <a:lnTo>
                    <a:pt x="236" y="1322"/>
                  </a:lnTo>
                  <a:lnTo>
                    <a:pt x="234" y="1320"/>
                  </a:lnTo>
                  <a:lnTo>
                    <a:pt x="236" y="1320"/>
                  </a:lnTo>
                  <a:lnTo>
                    <a:pt x="238" y="1320"/>
                  </a:lnTo>
                  <a:lnTo>
                    <a:pt x="238" y="1319"/>
                  </a:lnTo>
                  <a:lnTo>
                    <a:pt x="239" y="1320"/>
                  </a:lnTo>
                  <a:lnTo>
                    <a:pt x="241" y="1320"/>
                  </a:lnTo>
                  <a:lnTo>
                    <a:pt x="243" y="1320"/>
                  </a:lnTo>
                  <a:lnTo>
                    <a:pt x="243" y="1319"/>
                  </a:lnTo>
                  <a:lnTo>
                    <a:pt x="244" y="1319"/>
                  </a:lnTo>
                  <a:lnTo>
                    <a:pt x="246" y="1319"/>
                  </a:lnTo>
                  <a:lnTo>
                    <a:pt x="246" y="1320"/>
                  </a:lnTo>
                  <a:lnTo>
                    <a:pt x="247" y="1319"/>
                  </a:lnTo>
                  <a:lnTo>
                    <a:pt x="249" y="1319"/>
                  </a:lnTo>
                  <a:lnTo>
                    <a:pt x="251" y="1320"/>
                  </a:lnTo>
                  <a:lnTo>
                    <a:pt x="252" y="1320"/>
                  </a:lnTo>
                  <a:lnTo>
                    <a:pt x="254" y="1320"/>
                  </a:lnTo>
                  <a:lnTo>
                    <a:pt x="256" y="1320"/>
                  </a:lnTo>
                  <a:lnTo>
                    <a:pt x="257" y="1320"/>
                  </a:lnTo>
                  <a:lnTo>
                    <a:pt x="259" y="1320"/>
                  </a:lnTo>
                  <a:lnTo>
                    <a:pt x="260" y="1320"/>
                  </a:lnTo>
                  <a:lnTo>
                    <a:pt x="262" y="1320"/>
                  </a:lnTo>
                  <a:lnTo>
                    <a:pt x="264" y="1320"/>
                  </a:lnTo>
                  <a:lnTo>
                    <a:pt x="265" y="1320"/>
                  </a:lnTo>
                  <a:lnTo>
                    <a:pt x="265" y="1322"/>
                  </a:lnTo>
                  <a:lnTo>
                    <a:pt x="265" y="1320"/>
                  </a:lnTo>
                  <a:lnTo>
                    <a:pt x="267" y="1320"/>
                  </a:lnTo>
                  <a:lnTo>
                    <a:pt x="269" y="1320"/>
                  </a:lnTo>
                  <a:lnTo>
                    <a:pt x="270" y="1320"/>
                  </a:lnTo>
                  <a:lnTo>
                    <a:pt x="272" y="1322"/>
                  </a:lnTo>
                  <a:lnTo>
                    <a:pt x="273" y="1322"/>
                  </a:lnTo>
                  <a:lnTo>
                    <a:pt x="273" y="1320"/>
                  </a:lnTo>
                  <a:lnTo>
                    <a:pt x="275" y="1320"/>
                  </a:lnTo>
                  <a:lnTo>
                    <a:pt x="277" y="1320"/>
                  </a:lnTo>
                  <a:lnTo>
                    <a:pt x="277" y="1322"/>
                  </a:lnTo>
                  <a:lnTo>
                    <a:pt x="278" y="1322"/>
                  </a:lnTo>
                  <a:lnTo>
                    <a:pt x="280" y="1322"/>
                  </a:lnTo>
                  <a:lnTo>
                    <a:pt x="282" y="1324"/>
                  </a:lnTo>
                  <a:lnTo>
                    <a:pt x="283" y="1324"/>
                  </a:lnTo>
                  <a:lnTo>
                    <a:pt x="288" y="1325"/>
                  </a:lnTo>
                  <a:lnTo>
                    <a:pt x="290" y="1327"/>
                  </a:lnTo>
                  <a:lnTo>
                    <a:pt x="291" y="1327"/>
                  </a:lnTo>
                  <a:lnTo>
                    <a:pt x="293" y="1325"/>
                  </a:lnTo>
                  <a:lnTo>
                    <a:pt x="296" y="1325"/>
                  </a:lnTo>
                  <a:lnTo>
                    <a:pt x="299" y="1327"/>
                  </a:lnTo>
                  <a:lnTo>
                    <a:pt x="299" y="1328"/>
                  </a:lnTo>
                  <a:lnTo>
                    <a:pt x="301" y="1328"/>
                  </a:lnTo>
                  <a:lnTo>
                    <a:pt x="303" y="1330"/>
                  </a:lnTo>
                  <a:lnTo>
                    <a:pt x="304" y="1330"/>
                  </a:lnTo>
                  <a:lnTo>
                    <a:pt x="304" y="1332"/>
                  </a:lnTo>
                  <a:lnTo>
                    <a:pt x="306" y="1333"/>
                  </a:lnTo>
                  <a:lnTo>
                    <a:pt x="308" y="1335"/>
                  </a:lnTo>
                  <a:lnTo>
                    <a:pt x="309" y="1335"/>
                  </a:lnTo>
                  <a:lnTo>
                    <a:pt x="311" y="1335"/>
                  </a:lnTo>
                  <a:lnTo>
                    <a:pt x="312" y="1337"/>
                  </a:lnTo>
                  <a:lnTo>
                    <a:pt x="314" y="1337"/>
                  </a:lnTo>
                  <a:lnTo>
                    <a:pt x="316" y="1337"/>
                  </a:lnTo>
                  <a:lnTo>
                    <a:pt x="317" y="1337"/>
                  </a:lnTo>
                  <a:lnTo>
                    <a:pt x="319" y="1338"/>
                  </a:lnTo>
                  <a:lnTo>
                    <a:pt x="321" y="1337"/>
                  </a:lnTo>
                  <a:lnTo>
                    <a:pt x="324" y="1337"/>
                  </a:lnTo>
                  <a:lnTo>
                    <a:pt x="325" y="1337"/>
                  </a:lnTo>
                  <a:lnTo>
                    <a:pt x="327" y="1337"/>
                  </a:lnTo>
                  <a:lnTo>
                    <a:pt x="329" y="1337"/>
                  </a:lnTo>
                  <a:lnTo>
                    <a:pt x="330" y="1337"/>
                  </a:lnTo>
                  <a:lnTo>
                    <a:pt x="330" y="1335"/>
                  </a:lnTo>
                  <a:lnTo>
                    <a:pt x="332" y="1337"/>
                  </a:lnTo>
                  <a:lnTo>
                    <a:pt x="332" y="1335"/>
                  </a:lnTo>
                  <a:lnTo>
                    <a:pt x="332" y="1337"/>
                  </a:lnTo>
                  <a:lnTo>
                    <a:pt x="334" y="1337"/>
                  </a:lnTo>
                  <a:lnTo>
                    <a:pt x="335" y="1337"/>
                  </a:lnTo>
                  <a:lnTo>
                    <a:pt x="337" y="1338"/>
                  </a:lnTo>
                  <a:lnTo>
                    <a:pt x="338" y="1338"/>
                  </a:lnTo>
                  <a:lnTo>
                    <a:pt x="340" y="1337"/>
                  </a:lnTo>
                  <a:lnTo>
                    <a:pt x="342" y="1337"/>
                  </a:lnTo>
                  <a:lnTo>
                    <a:pt x="342" y="1338"/>
                  </a:lnTo>
                  <a:lnTo>
                    <a:pt x="340" y="1340"/>
                  </a:lnTo>
                  <a:lnTo>
                    <a:pt x="338" y="1340"/>
                  </a:lnTo>
                  <a:lnTo>
                    <a:pt x="338" y="1341"/>
                  </a:lnTo>
                  <a:lnTo>
                    <a:pt x="338" y="1343"/>
                  </a:lnTo>
                  <a:lnTo>
                    <a:pt x="338" y="1341"/>
                  </a:lnTo>
                  <a:lnTo>
                    <a:pt x="338" y="1340"/>
                  </a:lnTo>
                  <a:lnTo>
                    <a:pt x="340" y="1340"/>
                  </a:lnTo>
                  <a:lnTo>
                    <a:pt x="342" y="1340"/>
                  </a:lnTo>
                  <a:lnTo>
                    <a:pt x="342" y="1338"/>
                  </a:lnTo>
                  <a:lnTo>
                    <a:pt x="343" y="1337"/>
                  </a:lnTo>
                  <a:lnTo>
                    <a:pt x="343" y="1335"/>
                  </a:lnTo>
                  <a:lnTo>
                    <a:pt x="345" y="1335"/>
                  </a:lnTo>
                  <a:lnTo>
                    <a:pt x="345" y="1333"/>
                  </a:lnTo>
                  <a:lnTo>
                    <a:pt x="343" y="1330"/>
                  </a:lnTo>
                  <a:lnTo>
                    <a:pt x="343" y="1327"/>
                  </a:lnTo>
                  <a:lnTo>
                    <a:pt x="345" y="1327"/>
                  </a:lnTo>
                  <a:lnTo>
                    <a:pt x="345" y="1325"/>
                  </a:lnTo>
                  <a:lnTo>
                    <a:pt x="345" y="1322"/>
                  </a:lnTo>
                  <a:lnTo>
                    <a:pt x="343" y="1320"/>
                  </a:lnTo>
                  <a:lnTo>
                    <a:pt x="345" y="1320"/>
                  </a:lnTo>
                  <a:lnTo>
                    <a:pt x="347" y="1322"/>
                  </a:lnTo>
                  <a:lnTo>
                    <a:pt x="348" y="1322"/>
                  </a:lnTo>
                  <a:lnTo>
                    <a:pt x="348" y="1320"/>
                  </a:lnTo>
                  <a:lnTo>
                    <a:pt x="348" y="1319"/>
                  </a:lnTo>
                  <a:lnTo>
                    <a:pt x="348" y="1317"/>
                  </a:lnTo>
                  <a:lnTo>
                    <a:pt x="350" y="1317"/>
                  </a:lnTo>
                  <a:lnTo>
                    <a:pt x="351" y="1317"/>
                  </a:lnTo>
                  <a:lnTo>
                    <a:pt x="351" y="1315"/>
                  </a:lnTo>
                  <a:lnTo>
                    <a:pt x="351" y="1314"/>
                  </a:lnTo>
                  <a:lnTo>
                    <a:pt x="350" y="1314"/>
                  </a:lnTo>
                  <a:lnTo>
                    <a:pt x="351" y="1312"/>
                  </a:lnTo>
                  <a:lnTo>
                    <a:pt x="353" y="1312"/>
                  </a:lnTo>
                  <a:lnTo>
                    <a:pt x="355" y="1312"/>
                  </a:lnTo>
                  <a:lnTo>
                    <a:pt x="356" y="1312"/>
                  </a:lnTo>
                  <a:lnTo>
                    <a:pt x="358" y="1312"/>
                  </a:lnTo>
                  <a:lnTo>
                    <a:pt x="358" y="1311"/>
                  </a:lnTo>
                  <a:lnTo>
                    <a:pt x="360" y="1311"/>
                  </a:lnTo>
                  <a:lnTo>
                    <a:pt x="360" y="1309"/>
                  </a:lnTo>
                  <a:lnTo>
                    <a:pt x="361" y="1307"/>
                  </a:lnTo>
                  <a:lnTo>
                    <a:pt x="363" y="1306"/>
                  </a:lnTo>
                  <a:lnTo>
                    <a:pt x="364" y="1304"/>
                  </a:lnTo>
                  <a:lnTo>
                    <a:pt x="366" y="1304"/>
                  </a:lnTo>
                  <a:lnTo>
                    <a:pt x="368" y="1302"/>
                  </a:lnTo>
                  <a:lnTo>
                    <a:pt x="369" y="1302"/>
                  </a:lnTo>
                  <a:lnTo>
                    <a:pt x="371" y="1301"/>
                  </a:lnTo>
                  <a:lnTo>
                    <a:pt x="373" y="1301"/>
                  </a:lnTo>
                  <a:lnTo>
                    <a:pt x="373" y="1302"/>
                  </a:lnTo>
                  <a:lnTo>
                    <a:pt x="374" y="1302"/>
                  </a:lnTo>
                  <a:lnTo>
                    <a:pt x="376" y="1301"/>
                  </a:lnTo>
                  <a:lnTo>
                    <a:pt x="376" y="1302"/>
                  </a:lnTo>
                  <a:lnTo>
                    <a:pt x="376" y="1301"/>
                  </a:lnTo>
                  <a:lnTo>
                    <a:pt x="377" y="1299"/>
                  </a:lnTo>
                  <a:lnTo>
                    <a:pt x="379" y="1298"/>
                  </a:lnTo>
                  <a:lnTo>
                    <a:pt x="381" y="1296"/>
                  </a:lnTo>
                  <a:lnTo>
                    <a:pt x="382" y="1294"/>
                  </a:lnTo>
                  <a:lnTo>
                    <a:pt x="382" y="1293"/>
                  </a:lnTo>
                  <a:lnTo>
                    <a:pt x="382" y="1291"/>
                  </a:lnTo>
                  <a:lnTo>
                    <a:pt x="384" y="1291"/>
                  </a:lnTo>
                  <a:lnTo>
                    <a:pt x="386" y="1289"/>
                  </a:lnTo>
                  <a:lnTo>
                    <a:pt x="386" y="1288"/>
                  </a:lnTo>
                  <a:lnTo>
                    <a:pt x="387" y="1288"/>
                  </a:lnTo>
                  <a:lnTo>
                    <a:pt x="389" y="1288"/>
                  </a:lnTo>
                  <a:lnTo>
                    <a:pt x="389" y="1286"/>
                  </a:lnTo>
                  <a:lnTo>
                    <a:pt x="391" y="1284"/>
                  </a:lnTo>
                  <a:lnTo>
                    <a:pt x="392" y="1284"/>
                  </a:lnTo>
                  <a:lnTo>
                    <a:pt x="392" y="1283"/>
                  </a:lnTo>
                  <a:lnTo>
                    <a:pt x="394" y="1281"/>
                  </a:lnTo>
                  <a:lnTo>
                    <a:pt x="394" y="1280"/>
                  </a:lnTo>
                  <a:lnTo>
                    <a:pt x="395" y="1278"/>
                  </a:lnTo>
                  <a:lnTo>
                    <a:pt x="397" y="1280"/>
                  </a:lnTo>
                  <a:lnTo>
                    <a:pt x="397" y="1278"/>
                  </a:lnTo>
                  <a:lnTo>
                    <a:pt x="399" y="1278"/>
                  </a:lnTo>
                  <a:lnTo>
                    <a:pt x="400" y="1278"/>
                  </a:lnTo>
                  <a:lnTo>
                    <a:pt x="400" y="1276"/>
                  </a:lnTo>
                  <a:lnTo>
                    <a:pt x="402" y="1275"/>
                  </a:lnTo>
                  <a:lnTo>
                    <a:pt x="402" y="1273"/>
                  </a:lnTo>
                  <a:lnTo>
                    <a:pt x="404" y="1273"/>
                  </a:lnTo>
                  <a:lnTo>
                    <a:pt x="404" y="1271"/>
                  </a:lnTo>
                  <a:lnTo>
                    <a:pt x="405" y="1271"/>
                  </a:lnTo>
                  <a:lnTo>
                    <a:pt x="407" y="1271"/>
                  </a:lnTo>
                  <a:lnTo>
                    <a:pt x="408" y="1271"/>
                  </a:lnTo>
                  <a:lnTo>
                    <a:pt x="410" y="1270"/>
                  </a:lnTo>
                  <a:lnTo>
                    <a:pt x="412" y="1270"/>
                  </a:lnTo>
                  <a:lnTo>
                    <a:pt x="412" y="1268"/>
                  </a:lnTo>
                  <a:lnTo>
                    <a:pt x="412" y="1267"/>
                  </a:lnTo>
                  <a:lnTo>
                    <a:pt x="410" y="1267"/>
                  </a:lnTo>
                  <a:lnTo>
                    <a:pt x="410" y="1265"/>
                  </a:lnTo>
                  <a:lnTo>
                    <a:pt x="407" y="1265"/>
                  </a:lnTo>
                  <a:lnTo>
                    <a:pt x="407" y="1263"/>
                  </a:lnTo>
                  <a:lnTo>
                    <a:pt x="408" y="1262"/>
                  </a:lnTo>
                  <a:lnTo>
                    <a:pt x="410" y="1262"/>
                  </a:lnTo>
                  <a:lnTo>
                    <a:pt x="410" y="1263"/>
                  </a:lnTo>
                  <a:lnTo>
                    <a:pt x="412" y="1263"/>
                  </a:lnTo>
                  <a:lnTo>
                    <a:pt x="413" y="1265"/>
                  </a:lnTo>
                  <a:lnTo>
                    <a:pt x="415" y="1265"/>
                  </a:lnTo>
                  <a:lnTo>
                    <a:pt x="417" y="1265"/>
                  </a:lnTo>
                  <a:lnTo>
                    <a:pt x="417" y="1263"/>
                  </a:lnTo>
                  <a:lnTo>
                    <a:pt x="415" y="1263"/>
                  </a:lnTo>
                  <a:lnTo>
                    <a:pt x="417" y="1263"/>
                  </a:lnTo>
                  <a:lnTo>
                    <a:pt x="417" y="1265"/>
                  </a:lnTo>
                  <a:lnTo>
                    <a:pt x="415" y="1265"/>
                  </a:lnTo>
                  <a:lnTo>
                    <a:pt x="413" y="1265"/>
                  </a:lnTo>
                  <a:lnTo>
                    <a:pt x="413" y="1263"/>
                  </a:lnTo>
                  <a:lnTo>
                    <a:pt x="412" y="1263"/>
                  </a:lnTo>
                  <a:lnTo>
                    <a:pt x="410" y="1262"/>
                  </a:lnTo>
                  <a:lnTo>
                    <a:pt x="410" y="1260"/>
                  </a:lnTo>
                  <a:lnTo>
                    <a:pt x="408" y="1260"/>
                  </a:lnTo>
                  <a:lnTo>
                    <a:pt x="408" y="1262"/>
                  </a:lnTo>
                  <a:lnTo>
                    <a:pt x="407" y="1262"/>
                  </a:lnTo>
                  <a:lnTo>
                    <a:pt x="407" y="1263"/>
                  </a:lnTo>
                  <a:lnTo>
                    <a:pt x="407" y="1265"/>
                  </a:lnTo>
                  <a:lnTo>
                    <a:pt x="407" y="1267"/>
                  </a:lnTo>
                  <a:lnTo>
                    <a:pt x="408" y="1267"/>
                  </a:lnTo>
                  <a:lnTo>
                    <a:pt x="410" y="1267"/>
                  </a:lnTo>
                  <a:lnTo>
                    <a:pt x="410" y="1268"/>
                  </a:lnTo>
                  <a:lnTo>
                    <a:pt x="408" y="1268"/>
                  </a:lnTo>
                  <a:lnTo>
                    <a:pt x="407" y="1270"/>
                  </a:lnTo>
                  <a:lnTo>
                    <a:pt x="405" y="1270"/>
                  </a:lnTo>
                  <a:lnTo>
                    <a:pt x="404" y="1271"/>
                  </a:lnTo>
                  <a:lnTo>
                    <a:pt x="402" y="1271"/>
                  </a:lnTo>
                  <a:lnTo>
                    <a:pt x="400" y="1273"/>
                  </a:lnTo>
                  <a:lnTo>
                    <a:pt x="400" y="1275"/>
                  </a:lnTo>
                  <a:lnTo>
                    <a:pt x="399" y="1275"/>
                  </a:lnTo>
                  <a:lnTo>
                    <a:pt x="397" y="1276"/>
                  </a:lnTo>
                  <a:lnTo>
                    <a:pt x="395" y="1276"/>
                  </a:lnTo>
                  <a:lnTo>
                    <a:pt x="394" y="1276"/>
                  </a:lnTo>
                  <a:lnTo>
                    <a:pt x="392" y="1278"/>
                  </a:lnTo>
                  <a:lnTo>
                    <a:pt x="391" y="1278"/>
                  </a:lnTo>
                  <a:lnTo>
                    <a:pt x="389" y="1280"/>
                  </a:lnTo>
                  <a:lnTo>
                    <a:pt x="387" y="1280"/>
                  </a:lnTo>
                  <a:lnTo>
                    <a:pt x="387" y="1281"/>
                  </a:lnTo>
                  <a:lnTo>
                    <a:pt x="387" y="1283"/>
                  </a:lnTo>
                  <a:lnTo>
                    <a:pt x="386" y="1283"/>
                  </a:lnTo>
                  <a:lnTo>
                    <a:pt x="386" y="1284"/>
                  </a:lnTo>
                  <a:lnTo>
                    <a:pt x="386" y="1286"/>
                  </a:lnTo>
                  <a:lnTo>
                    <a:pt x="384" y="1288"/>
                  </a:lnTo>
                  <a:lnTo>
                    <a:pt x="384" y="1286"/>
                  </a:lnTo>
                  <a:lnTo>
                    <a:pt x="382" y="1286"/>
                  </a:lnTo>
                  <a:lnTo>
                    <a:pt x="382" y="1288"/>
                  </a:lnTo>
                  <a:lnTo>
                    <a:pt x="381" y="1288"/>
                  </a:lnTo>
                  <a:lnTo>
                    <a:pt x="379" y="1288"/>
                  </a:lnTo>
                  <a:lnTo>
                    <a:pt x="379" y="1289"/>
                  </a:lnTo>
                  <a:lnTo>
                    <a:pt x="377" y="1289"/>
                  </a:lnTo>
                  <a:lnTo>
                    <a:pt x="376" y="1289"/>
                  </a:lnTo>
                  <a:lnTo>
                    <a:pt x="374" y="1289"/>
                  </a:lnTo>
                  <a:lnTo>
                    <a:pt x="371" y="1291"/>
                  </a:lnTo>
                  <a:lnTo>
                    <a:pt x="369" y="1291"/>
                  </a:lnTo>
                  <a:lnTo>
                    <a:pt x="368" y="1293"/>
                  </a:lnTo>
                  <a:lnTo>
                    <a:pt x="366" y="1293"/>
                  </a:lnTo>
                  <a:lnTo>
                    <a:pt x="363" y="1293"/>
                  </a:lnTo>
                  <a:lnTo>
                    <a:pt x="361" y="1294"/>
                  </a:lnTo>
                  <a:lnTo>
                    <a:pt x="358" y="1293"/>
                  </a:lnTo>
                  <a:lnTo>
                    <a:pt x="356" y="1293"/>
                  </a:lnTo>
                  <a:lnTo>
                    <a:pt x="355" y="1293"/>
                  </a:lnTo>
                  <a:lnTo>
                    <a:pt x="353" y="1291"/>
                  </a:lnTo>
                  <a:lnTo>
                    <a:pt x="355" y="1291"/>
                  </a:lnTo>
                  <a:lnTo>
                    <a:pt x="355" y="1289"/>
                  </a:lnTo>
                  <a:lnTo>
                    <a:pt x="356" y="1289"/>
                  </a:lnTo>
                  <a:lnTo>
                    <a:pt x="355" y="1289"/>
                  </a:lnTo>
                  <a:lnTo>
                    <a:pt x="355" y="1288"/>
                  </a:lnTo>
                  <a:lnTo>
                    <a:pt x="355" y="1289"/>
                  </a:lnTo>
                  <a:lnTo>
                    <a:pt x="353" y="1289"/>
                  </a:lnTo>
                  <a:lnTo>
                    <a:pt x="353" y="1291"/>
                  </a:lnTo>
                  <a:lnTo>
                    <a:pt x="353" y="1293"/>
                  </a:lnTo>
                  <a:lnTo>
                    <a:pt x="351" y="1293"/>
                  </a:lnTo>
                  <a:lnTo>
                    <a:pt x="350" y="1293"/>
                  </a:lnTo>
                  <a:lnTo>
                    <a:pt x="348" y="1294"/>
                  </a:lnTo>
                  <a:lnTo>
                    <a:pt x="347" y="1294"/>
                  </a:lnTo>
                  <a:lnTo>
                    <a:pt x="345" y="1296"/>
                  </a:lnTo>
                  <a:lnTo>
                    <a:pt x="343" y="1296"/>
                  </a:lnTo>
                  <a:lnTo>
                    <a:pt x="342" y="1296"/>
                  </a:lnTo>
                  <a:lnTo>
                    <a:pt x="340" y="1296"/>
                  </a:lnTo>
                  <a:lnTo>
                    <a:pt x="340" y="1298"/>
                  </a:lnTo>
                  <a:lnTo>
                    <a:pt x="338" y="1298"/>
                  </a:lnTo>
                  <a:lnTo>
                    <a:pt x="338" y="1299"/>
                  </a:lnTo>
                  <a:lnTo>
                    <a:pt x="337" y="1301"/>
                  </a:lnTo>
                  <a:lnTo>
                    <a:pt x="335" y="1301"/>
                  </a:lnTo>
                  <a:lnTo>
                    <a:pt x="335" y="1299"/>
                  </a:lnTo>
                  <a:lnTo>
                    <a:pt x="335" y="1301"/>
                  </a:lnTo>
                  <a:lnTo>
                    <a:pt x="335" y="1299"/>
                  </a:lnTo>
                  <a:lnTo>
                    <a:pt x="334" y="1299"/>
                  </a:lnTo>
                  <a:lnTo>
                    <a:pt x="334" y="1301"/>
                  </a:lnTo>
                  <a:lnTo>
                    <a:pt x="335" y="1301"/>
                  </a:lnTo>
                  <a:lnTo>
                    <a:pt x="335" y="1302"/>
                  </a:lnTo>
                  <a:lnTo>
                    <a:pt x="334" y="1304"/>
                  </a:lnTo>
                  <a:lnTo>
                    <a:pt x="334" y="1307"/>
                  </a:lnTo>
                  <a:lnTo>
                    <a:pt x="332" y="1307"/>
                  </a:lnTo>
                  <a:lnTo>
                    <a:pt x="332" y="1309"/>
                  </a:lnTo>
                  <a:lnTo>
                    <a:pt x="330" y="1307"/>
                  </a:lnTo>
                  <a:lnTo>
                    <a:pt x="329" y="1307"/>
                  </a:lnTo>
                  <a:lnTo>
                    <a:pt x="327" y="1307"/>
                  </a:lnTo>
                  <a:lnTo>
                    <a:pt x="325" y="1307"/>
                  </a:lnTo>
                  <a:lnTo>
                    <a:pt x="325" y="1309"/>
                  </a:lnTo>
                  <a:lnTo>
                    <a:pt x="324" y="1309"/>
                  </a:lnTo>
                  <a:lnTo>
                    <a:pt x="324" y="1307"/>
                  </a:lnTo>
                  <a:lnTo>
                    <a:pt x="322" y="1307"/>
                  </a:lnTo>
                  <a:lnTo>
                    <a:pt x="322" y="1309"/>
                  </a:lnTo>
                  <a:lnTo>
                    <a:pt x="322" y="1307"/>
                  </a:lnTo>
                  <a:lnTo>
                    <a:pt x="321" y="1307"/>
                  </a:lnTo>
                  <a:lnTo>
                    <a:pt x="317" y="1309"/>
                  </a:lnTo>
                  <a:lnTo>
                    <a:pt x="317" y="1307"/>
                  </a:lnTo>
                  <a:lnTo>
                    <a:pt x="316" y="1307"/>
                  </a:lnTo>
                  <a:lnTo>
                    <a:pt x="312" y="1307"/>
                  </a:lnTo>
                  <a:lnTo>
                    <a:pt x="312" y="1306"/>
                  </a:lnTo>
                  <a:lnTo>
                    <a:pt x="311" y="1306"/>
                  </a:lnTo>
                  <a:lnTo>
                    <a:pt x="309" y="1306"/>
                  </a:lnTo>
                  <a:lnTo>
                    <a:pt x="308" y="1306"/>
                  </a:lnTo>
                  <a:lnTo>
                    <a:pt x="308" y="1304"/>
                  </a:lnTo>
                  <a:lnTo>
                    <a:pt x="306" y="1304"/>
                  </a:lnTo>
                  <a:lnTo>
                    <a:pt x="304" y="1304"/>
                  </a:lnTo>
                  <a:lnTo>
                    <a:pt x="303" y="1302"/>
                  </a:lnTo>
                  <a:lnTo>
                    <a:pt x="301" y="1302"/>
                  </a:lnTo>
                  <a:lnTo>
                    <a:pt x="299" y="1302"/>
                  </a:lnTo>
                  <a:lnTo>
                    <a:pt x="299" y="1301"/>
                  </a:lnTo>
                  <a:lnTo>
                    <a:pt x="298" y="1299"/>
                  </a:lnTo>
                  <a:lnTo>
                    <a:pt x="298" y="1298"/>
                  </a:lnTo>
                  <a:lnTo>
                    <a:pt x="298" y="1296"/>
                  </a:lnTo>
                  <a:lnTo>
                    <a:pt x="296" y="1296"/>
                  </a:lnTo>
                  <a:lnTo>
                    <a:pt x="296" y="1294"/>
                  </a:lnTo>
                  <a:lnTo>
                    <a:pt x="295" y="1293"/>
                  </a:lnTo>
                  <a:lnTo>
                    <a:pt x="295" y="1291"/>
                  </a:lnTo>
                  <a:lnTo>
                    <a:pt x="293" y="1289"/>
                  </a:lnTo>
                  <a:lnTo>
                    <a:pt x="291" y="1289"/>
                  </a:lnTo>
                  <a:lnTo>
                    <a:pt x="290" y="1289"/>
                  </a:lnTo>
                  <a:lnTo>
                    <a:pt x="288" y="1289"/>
                  </a:lnTo>
                  <a:lnTo>
                    <a:pt x="288" y="1288"/>
                  </a:lnTo>
                  <a:lnTo>
                    <a:pt x="286" y="1288"/>
                  </a:lnTo>
                  <a:lnTo>
                    <a:pt x="286" y="1286"/>
                  </a:lnTo>
                  <a:lnTo>
                    <a:pt x="286" y="1284"/>
                  </a:lnTo>
                  <a:lnTo>
                    <a:pt x="285" y="1284"/>
                  </a:lnTo>
                  <a:lnTo>
                    <a:pt x="286" y="1284"/>
                  </a:lnTo>
                  <a:lnTo>
                    <a:pt x="285" y="1283"/>
                  </a:lnTo>
                  <a:lnTo>
                    <a:pt x="285" y="1281"/>
                  </a:lnTo>
                  <a:lnTo>
                    <a:pt x="285" y="1280"/>
                  </a:lnTo>
                  <a:lnTo>
                    <a:pt x="285" y="1278"/>
                  </a:lnTo>
                  <a:lnTo>
                    <a:pt x="285" y="1275"/>
                  </a:lnTo>
                  <a:lnTo>
                    <a:pt x="283" y="1275"/>
                  </a:lnTo>
                  <a:lnTo>
                    <a:pt x="282" y="1273"/>
                  </a:lnTo>
                  <a:lnTo>
                    <a:pt x="283" y="1275"/>
                  </a:lnTo>
                  <a:lnTo>
                    <a:pt x="283" y="1273"/>
                  </a:lnTo>
                  <a:lnTo>
                    <a:pt x="282" y="1271"/>
                  </a:lnTo>
                  <a:lnTo>
                    <a:pt x="282" y="1273"/>
                  </a:lnTo>
                  <a:lnTo>
                    <a:pt x="282" y="1271"/>
                  </a:lnTo>
                  <a:lnTo>
                    <a:pt x="283" y="1271"/>
                  </a:lnTo>
                  <a:lnTo>
                    <a:pt x="282" y="1270"/>
                  </a:lnTo>
                  <a:lnTo>
                    <a:pt x="280" y="1268"/>
                  </a:lnTo>
                  <a:lnTo>
                    <a:pt x="280" y="1267"/>
                  </a:lnTo>
                  <a:lnTo>
                    <a:pt x="282" y="1267"/>
                  </a:lnTo>
                  <a:lnTo>
                    <a:pt x="282" y="1265"/>
                  </a:lnTo>
                  <a:lnTo>
                    <a:pt x="280" y="1267"/>
                  </a:lnTo>
                  <a:lnTo>
                    <a:pt x="278" y="1267"/>
                  </a:lnTo>
                  <a:lnTo>
                    <a:pt x="277" y="1267"/>
                  </a:lnTo>
                  <a:lnTo>
                    <a:pt x="277" y="1265"/>
                  </a:lnTo>
                  <a:lnTo>
                    <a:pt x="275" y="1267"/>
                  </a:lnTo>
                  <a:lnTo>
                    <a:pt x="273" y="1267"/>
                  </a:lnTo>
                  <a:lnTo>
                    <a:pt x="272" y="1265"/>
                  </a:lnTo>
                  <a:lnTo>
                    <a:pt x="270" y="1265"/>
                  </a:lnTo>
                  <a:lnTo>
                    <a:pt x="269" y="1267"/>
                  </a:lnTo>
                  <a:lnTo>
                    <a:pt x="267" y="1267"/>
                  </a:lnTo>
                  <a:lnTo>
                    <a:pt x="267" y="1268"/>
                  </a:lnTo>
                  <a:lnTo>
                    <a:pt x="265" y="1268"/>
                  </a:lnTo>
                  <a:lnTo>
                    <a:pt x="265" y="1270"/>
                  </a:lnTo>
                  <a:lnTo>
                    <a:pt x="267" y="1271"/>
                  </a:lnTo>
                  <a:lnTo>
                    <a:pt x="269" y="1271"/>
                  </a:lnTo>
                  <a:lnTo>
                    <a:pt x="267" y="1271"/>
                  </a:lnTo>
                  <a:lnTo>
                    <a:pt x="265" y="1271"/>
                  </a:lnTo>
                  <a:lnTo>
                    <a:pt x="264" y="1271"/>
                  </a:lnTo>
                  <a:lnTo>
                    <a:pt x="262" y="1270"/>
                  </a:lnTo>
                  <a:lnTo>
                    <a:pt x="260" y="1270"/>
                  </a:lnTo>
                  <a:lnTo>
                    <a:pt x="260" y="1271"/>
                  </a:lnTo>
                  <a:lnTo>
                    <a:pt x="259" y="1271"/>
                  </a:lnTo>
                  <a:lnTo>
                    <a:pt x="259" y="1270"/>
                  </a:lnTo>
                  <a:lnTo>
                    <a:pt x="257" y="1270"/>
                  </a:lnTo>
                  <a:lnTo>
                    <a:pt x="256" y="1270"/>
                  </a:lnTo>
                  <a:lnTo>
                    <a:pt x="256" y="1268"/>
                  </a:lnTo>
                  <a:lnTo>
                    <a:pt x="254" y="1268"/>
                  </a:lnTo>
                  <a:lnTo>
                    <a:pt x="252" y="1268"/>
                  </a:lnTo>
                  <a:lnTo>
                    <a:pt x="251" y="1270"/>
                  </a:lnTo>
                  <a:lnTo>
                    <a:pt x="252" y="1271"/>
                  </a:lnTo>
                  <a:lnTo>
                    <a:pt x="251" y="1271"/>
                  </a:lnTo>
                  <a:lnTo>
                    <a:pt x="249" y="1271"/>
                  </a:lnTo>
                  <a:lnTo>
                    <a:pt x="249" y="1270"/>
                  </a:lnTo>
                  <a:lnTo>
                    <a:pt x="247" y="1270"/>
                  </a:lnTo>
                  <a:lnTo>
                    <a:pt x="246" y="1270"/>
                  </a:lnTo>
                  <a:lnTo>
                    <a:pt x="246" y="1271"/>
                  </a:lnTo>
                  <a:lnTo>
                    <a:pt x="247" y="1271"/>
                  </a:lnTo>
                  <a:lnTo>
                    <a:pt x="246" y="1271"/>
                  </a:lnTo>
                  <a:lnTo>
                    <a:pt x="244" y="1270"/>
                  </a:lnTo>
                  <a:lnTo>
                    <a:pt x="243" y="1270"/>
                  </a:lnTo>
                  <a:lnTo>
                    <a:pt x="243" y="1268"/>
                  </a:lnTo>
                  <a:lnTo>
                    <a:pt x="241" y="1267"/>
                  </a:lnTo>
                  <a:lnTo>
                    <a:pt x="239" y="1267"/>
                  </a:lnTo>
                  <a:lnTo>
                    <a:pt x="238" y="1267"/>
                  </a:lnTo>
                  <a:lnTo>
                    <a:pt x="239" y="1265"/>
                  </a:lnTo>
                  <a:lnTo>
                    <a:pt x="241" y="1263"/>
                  </a:lnTo>
                  <a:lnTo>
                    <a:pt x="241" y="1262"/>
                  </a:lnTo>
                  <a:lnTo>
                    <a:pt x="239" y="1260"/>
                  </a:lnTo>
                  <a:lnTo>
                    <a:pt x="239" y="1258"/>
                  </a:lnTo>
                  <a:lnTo>
                    <a:pt x="241" y="1258"/>
                  </a:lnTo>
                  <a:lnTo>
                    <a:pt x="241" y="1260"/>
                  </a:lnTo>
                  <a:lnTo>
                    <a:pt x="243" y="1260"/>
                  </a:lnTo>
                  <a:lnTo>
                    <a:pt x="243" y="1258"/>
                  </a:lnTo>
                  <a:lnTo>
                    <a:pt x="244" y="1258"/>
                  </a:lnTo>
                  <a:lnTo>
                    <a:pt x="244" y="1257"/>
                  </a:lnTo>
                  <a:lnTo>
                    <a:pt x="246" y="1255"/>
                  </a:lnTo>
                  <a:lnTo>
                    <a:pt x="246" y="1257"/>
                  </a:lnTo>
                  <a:lnTo>
                    <a:pt x="247" y="1257"/>
                  </a:lnTo>
                  <a:lnTo>
                    <a:pt x="246" y="1257"/>
                  </a:lnTo>
                  <a:lnTo>
                    <a:pt x="247" y="1257"/>
                  </a:lnTo>
                  <a:lnTo>
                    <a:pt x="246" y="1258"/>
                  </a:lnTo>
                  <a:lnTo>
                    <a:pt x="247" y="1258"/>
                  </a:lnTo>
                  <a:lnTo>
                    <a:pt x="249" y="1258"/>
                  </a:lnTo>
                  <a:lnTo>
                    <a:pt x="251" y="1260"/>
                  </a:lnTo>
                  <a:lnTo>
                    <a:pt x="251" y="1258"/>
                  </a:lnTo>
                  <a:lnTo>
                    <a:pt x="252" y="1258"/>
                  </a:lnTo>
                  <a:lnTo>
                    <a:pt x="252" y="1260"/>
                  </a:lnTo>
                  <a:lnTo>
                    <a:pt x="252" y="1258"/>
                  </a:lnTo>
                  <a:lnTo>
                    <a:pt x="254" y="1258"/>
                  </a:lnTo>
                  <a:lnTo>
                    <a:pt x="256" y="1258"/>
                  </a:lnTo>
                  <a:lnTo>
                    <a:pt x="257" y="1258"/>
                  </a:lnTo>
                  <a:lnTo>
                    <a:pt x="257" y="1257"/>
                  </a:lnTo>
                  <a:lnTo>
                    <a:pt x="259" y="1257"/>
                  </a:lnTo>
                  <a:lnTo>
                    <a:pt x="260" y="1257"/>
                  </a:lnTo>
                  <a:lnTo>
                    <a:pt x="262" y="1255"/>
                  </a:lnTo>
                  <a:lnTo>
                    <a:pt x="262" y="1254"/>
                  </a:lnTo>
                  <a:lnTo>
                    <a:pt x="264" y="1252"/>
                  </a:lnTo>
                  <a:lnTo>
                    <a:pt x="265" y="1250"/>
                  </a:lnTo>
                  <a:lnTo>
                    <a:pt x="264" y="1250"/>
                  </a:lnTo>
                  <a:lnTo>
                    <a:pt x="264" y="1252"/>
                  </a:lnTo>
                  <a:lnTo>
                    <a:pt x="262" y="1252"/>
                  </a:lnTo>
                  <a:lnTo>
                    <a:pt x="262" y="1254"/>
                  </a:lnTo>
                  <a:lnTo>
                    <a:pt x="260" y="1255"/>
                  </a:lnTo>
                  <a:lnTo>
                    <a:pt x="260" y="1257"/>
                  </a:lnTo>
                  <a:lnTo>
                    <a:pt x="260" y="1255"/>
                  </a:lnTo>
                  <a:lnTo>
                    <a:pt x="259" y="1255"/>
                  </a:lnTo>
                  <a:lnTo>
                    <a:pt x="259" y="1257"/>
                  </a:lnTo>
                  <a:lnTo>
                    <a:pt x="257" y="1257"/>
                  </a:lnTo>
                  <a:lnTo>
                    <a:pt x="256" y="1255"/>
                  </a:lnTo>
                  <a:lnTo>
                    <a:pt x="256" y="1257"/>
                  </a:lnTo>
                  <a:lnTo>
                    <a:pt x="254" y="1257"/>
                  </a:lnTo>
                  <a:lnTo>
                    <a:pt x="254" y="1255"/>
                  </a:lnTo>
                  <a:lnTo>
                    <a:pt x="254" y="1254"/>
                  </a:lnTo>
                  <a:lnTo>
                    <a:pt x="252" y="1254"/>
                  </a:lnTo>
                  <a:lnTo>
                    <a:pt x="252" y="1252"/>
                  </a:lnTo>
                  <a:lnTo>
                    <a:pt x="251" y="1250"/>
                  </a:lnTo>
                  <a:lnTo>
                    <a:pt x="249" y="1250"/>
                  </a:lnTo>
                  <a:lnTo>
                    <a:pt x="249" y="1252"/>
                  </a:lnTo>
                  <a:lnTo>
                    <a:pt x="247" y="1252"/>
                  </a:lnTo>
                  <a:lnTo>
                    <a:pt x="246" y="1250"/>
                  </a:lnTo>
                  <a:lnTo>
                    <a:pt x="244" y="1250"/>
                  </a:lnTo>
                  <a:lnTo>
                    <a:pt x="246" y="1250"/>
                  </a:lnTo>
                  <a:lnTo>
                    <a:pt x="246" y="1252"/>
                  </a:lnTo>
                  <a:lnTo>
                    <a:pt x="244" y="1252"/>
                  </a:lnTo>
                  <a:lnTo>
                    <a:pt x="243" y="1252"/>
                  </a:lnTo>
                  <a:lnTo>
                    <a:pt x="241" y="1252"/>
                  </a:lnTo>
                  <a:lnTo>
                    <a:pt x="241" y="1250"/>
                  </a:lnTo>
                  <a:lnTo>
                    <a:pt x="241" y="1249"/>
                  </a:lnTo>
                  <a:lnTo>
                    <a:pt x="239" y="1249"/>
                  </a:lnTo>
                  <a:lnTo>
                    <a:pt x="239" y="1247"/>
                  </a:lnTo>
                  <a:lnTo>
                    <a:pt x="238" y="1245"/>
                  </a:lnTo>
                  <a:lnTo>
                    <a:pt x="238" y="1244"/>
                  </a:lnTo>
                  <a:lnTo>
                    <a:pt x="236" y="1242"/>
                  </a:lnTo>
                  <a:lnTo>
                    <a:pt x="236" y="1241"/>
                  </a:lnTo>
                  <a:lnTo>
                    <a:pt x="238" y="1241"/>
                  </a:lnTo>
                  <a:lnTo>
                    <a:pt x="238" y="1242"/>
                  </a:lnTo>
                  <a:lnTo>
                    <a:pt x="239" y="1242"/>
                  </a:lnTo>
                  <a:lnTo>
                    <a:pt x="241" y="1242"/>
                  </a:lnTo>
                  <a:lnTo>
                    <a:pt x="243" y="1244"/>
                  </a:lnTo>
                  <a:lnTo>
                    <a:pt x="241" y="1242"/>
                  </a:lnTo>
                  <a:lnTo>
                    <a:pt x="241" y="1241"/>
                  </a:lnTo>
                  <a:lnTo>
                    <a:pt x="239" y="1241"/>
                  </a:lnTo>
                  <a:lnTo>
                    <a:pt x="238" y="1241"/>
                  </a:lnTo>
                  <a:lnTo>
                    <a:pt x="238" y="1239"/>
                  </a:lnTo>
                  <a:lnTo>
                    <a:pt x="238" y="1237"/>
                  </a:lnTo>
                  <a:lnTo>
                    <a:pt x="239" y="1236"/>
                  </a:lnTo>
                  <a:lnTo>
                    <a:pt x="239" y="1234"/>
                  </a:lnTo>
                  <a:lnTo>
                    <a:pt x="241" y="1232"/>
                  </a:lnTo>
                  <a:lnTo>
                    <a:pt x="243" y="1232"/>
                  </a:lnTo>
                  <a:lnTo>
                    <a:pt x="244" y="1232"/>
                  </a:lnTo>
                  <a:lnTo>
                    <a:pt x="244" y="1231"/>
                  </a:lnTo>
                  <a:lnTo>
                    <a:pt x="243" y="1232"/>
                  </a:lnTo>
                  <a:lnTo>
                    <a:pt x="239" y="1232"/>
                  </a:lnTo>
                  <a:lnTo>
                    <a:pt x="239" y="1234"/>
                  </a:lnTo>
                  <a:lnTo>
                    <a:pt x="238" y="1234"/>
                  </a:lnTo>
                  <a:lnTo>
                    <a:pt x="238" y="1236"/>
                  </a:lnTo>
                  <a:lnTo>
                    <a:pt x="236" y="1236"/>
                  </a:lnTo>
                  <a:lnTo>
                    <a:pt x="236" y="1237"/>
                  </a:lnTo>
                  <a:lnTo>
                    <a:pt x="236" y="1236"/>
                  </a:lnTo>
                  <a:lnTo>
                    <a:pt x="236" y="1237"/>
                  </a:lnTo>
                  <a:lnTo>
                    <a:pt x="234" y="1237"/>
                  </a:lnTo>
                  <a:lnTo>
                    <a:pt x="234" y="1236"/>
                  </a:lnTo>
                  <a:lnTo>
                    <a:pt x="233" y="1236"/>
                  </a:lnTo>
                  <a:lnTo>
                    <a:pt x="231" y="1234"/>
                  </a:lnTo>
                  <a:lnTo>
                    <a:pt x="233" y="1234"/>
                  </a:lnTo>
                  <a:lnTo>
                    <a:pt x="233" y="1232"/>
                  </a:lnTo>
                  <a:lnTo>
                    <a:pt x="231" y="1232"/>
                  </a:lnTo>
                  <a:lnTo>
                    <a:pt x="231" y="1231"/>
                  </a:lnTo>
                  <a:lnTo>
                    <a:pt x="231" y="1232"/>
                  </a:lnTo>
                  <a:lnTo>
                    <a:pt x="233" y="1232"/>
                  </a:lnTo>
                  <a:lnTo>
                    <a:pt x="231" y="1234"/>
                  </a:lnTo>
                  <a:lnTo>
                    <a:pt x="231" y="1236"/>
                  </a:lnTo>
                  <a:lnTo>
                    <a:pt x="233" y="1237"/>
                  </a:lnTo>
                  <a:lnTo>
                    <a:pt x="233" y="1239"/>
                  </a:lnTo>
                  <a:lnTo>
                    <a:pt x="231" y="1239"/>
                  </a:lnTo>
                  <a:lnTo>
                    <a:pt x="228" y="1239"/>
                  </a:lnTo>
                  <a:lnTo>
                    <a:pt x="226" y="1239"/>
                  </a:lnTo>
                  <a:lnTo>
                    <a:pt x="225" y="1237"/>
                  </a:lnTo>
                  <a:lnTo>
                    <a:pt x="221" y="1237"/>
                  </a:lnTo>
                  <a:lnTo>
                    <a:pt x="220" y="1237"/>
                  </a:lnTo>
                  <a:lnTo>
                    <a:pt x="218" y="1237"/>
                  </a:lnTo>
                  <a:lnTo>
                    <a:pt x="216" y="1236"/>
                  </a:lnTo>
                  <a:lnTo>
                    <a:pt x="215" y="1237"/>
                  </a:lnTo>
                  <a:lnTo>
                    <a:pt x="215" y="1236"/>
                  </a:lnTo>
                  <a:lnTo>
                    <a:pt x="213" y="1236"/>
                  </a:lnTo>
                  <a:lnTo>
                    <a:pt x="212" y="1236"/>
                  </a:lnTo>
                  <a:lnTo>
                    <a:pt x="210" y="1237"/>
                  </a:lnTo>
                  <a:lnTo>
                    <a:pt x="208" y="1237"/>
                  </a:lnTo>
                  <a:lnTo>
                    <a:pt x="208" y="1239"/>
                  </a:lnTo>
                  <a:lnTo>
                    <a:pt x="208" y="1241"/>
                  </a:lnTo>
                  <a:lnTo>
                    <a:pt x="210" y="1241"/>
                  </a:lnTo>
                  <a:lnTo>
                    <a:pt x="208" y="1242"/>
                  </a:lnTo>
                  <a:lnTo>
                    <a:pt x="207" y="1244"/>
                  </a:lnTo>
                  <a:lnTo>
                    <a:pt x="208" y="1244"/>
                  </a:lnTo>
                  <a:lnTo>
                    <a:pt x="207" y="1245"/>
                  </a:lnTo>
                  <a:lnTo>
                    <a:pt x="205" y="1245"/>
                  </a:lnTo>
                  <a:lnTo>
                    <a:pt x="205" y="1247"/>
                  </a:lnTo>
                  <a:lnTo>
                    <a:pt x="203" y="1245"/>
                  </a:lnTo>
                  <a:lnTo>
                    <a:pt x="202" y="1245"/>
                  </a:lnTo>
                  <a:lnTo>
                    <a:pt x="202" y="1247"/>
                  </a:lnTo>
                  <a:lnTo>
                    <a:pt x="200" y="1247"/>
                  </a:lnTo>
                  <a:lnTo>
                    <a:pt x="199" y="1247"/>
                  </a:lnTo>
                  <a:lnTo>
                    <a:pt x="197" y="1247"/>
                  </a:lnTo>
                  <a:lnTo>
                    <a:pt x="197" y="1245"/>
                  </a:lnTo>
                  <a:lnTo>
                    <a:pt x="195" y="1245"/>
                  </a:lnTo>
                  <a:lnTo>
                    <a:pt x="194" y="1245"/>
                  </a:lnTo>
                  <a:lnTo>
                    <a:pt x="192" y="1244"/>
                  </a:lnTo>
                  <a:lnTo>
                    <a:pt x="192" y="1245"/>
                  </a:lnTo>
                  <a:lnTo>
                    <a:pt x="190" y="1245"/>
                  </a:lnTo>
                  <a:lnTo>
                    <a:pt x="190" y="1247"/>
                  </a:lnTo>
                  <a:lnTo>
                    <a:pt x="189" y="1247"/>
                  </a:lnTo>
                  <a:lnTo>
                    <a:pt x="187" y="1247"/>
                  </a:lnTo>
                  <a:lnTo>
                    <a:pt x="187" y="1249"/>
                  </a:lnTo>
                  <a:lnTo>
                    <a:pt x="189" y="1249"/>
                  </a:lnTo>
                  <a:lnTo>
                    <a:pt x="187" y="1249"/>
                  </a:lnTo>
                  <a:lnTo>
                    <a:pt x="189" y="1249"/>
                  </a:lnTo>
                  <a:lnTo>
                    <a:pt x="187" y="1249"/>
                  </a:lnTo>
                  <a:lnTo>
                    <a:pt x="186" y="1249"/>
                  </a:lnTo>
                  <a:lnTo>
                    <a:pt x="186" y="1250"/>
                  </a:lnTo>
                  <a:lnTo>
                    <a:pt x="184" y="1250"/>
                  </a:lnTo>
                  <a:lnTo>
                    <a:pt x="182" y="1249"/>
                  </a:lnTo>
                  <a:lnTo>
                    <a:pt x="181" y="1249"/>
                  </a:lnTo>
                  <a:lnTo>
                    <a:pt x="181" y="1247"/>
                  </a:lnTo>
                  <a:lnTo>
                    <a:pt x="177" y="1247"/>
                  </a:lnTo>
                  <a:lnTo>
                    <a:pt x="177" y="1245"/>
                  </a:lnTo>
                  <a:lnTo>
                    <a:pt x="176" y="1245"/>
                  </a:lnTo>
                  <a:lnTo>
                    <a:pt x="174" y="1245"/>
                  </a:lnTo>
                  <a:lnTo>
                    <a:pt x="174" y="1244"/>
                  </a:lnTo>
                  <a:lnTo>
                    <a:pt x="176" y="1242"/>
                  </a:lnTo>
                  <a:lnTo>
                    <a:pt x="176" y="1241"/>
                  </a:lnTo>
                  <a:lnTo>
                    <a:pt x="176" y="1239"/>
                  </a:lnTo>
                  <a:lnTo>
                    <a:pt x="174" y="1239"/>
                  </a:lnTo>
                  <a:lnTo>
                    <a:pt x="174" y="1237"/>
                  </a:lnTo>
                  <a:lnTo>
                    <a:pt x="173" y="1237"/>
                  </a:lnTo>
                  <a:lnTo>
                    <a:pt x="171" y="1237"/>
                  </a:lnTo>
                  <a:lnTo>
                    <a:pt x="171" y="1236"/>
                  </a:lnTo>
                  <a:lnTo>
                    <a:pt x="171" y="1234"/>
                  </a:lnTo>
                  <a:lnTo>
                    <a:pt x="173" y="1234"/>
                  </a:lnTo>
                  <a:lnTo>
                    <a:pt x="171" y="1234"/>
                  </a:lnTo>
                  <a:lnTo>
                    <a:pt x="173" y="1234"/>
                  </a:lnTo>
                  <a:lnTo>
                    <a:pt x="171" y="1234"/>
                  </a:lnTo>
                  <a:lnTo>
                    <a:pt x="173" y="1234"/>
                  </a:lnTo>
                  <a:lnTo>
                    <a:pt x="174" y="1234"/>
                  </a:lnTo>
                  <a:lnTo>
                    <a:pt x="174" y="1236"/>
                  </a:lnTo>
                  <a:lnTo>
                    <a:pt x="176" y="1237"/>
                  </a:lnTo>
                  <a:lnTo>
                    <a:pt x="176" y="1236"/>
                  </a:lnTo>
                  <a:lnTo>
                    <a:pt x="176" y="1237"/>
                  </a:lnTo>
                  <a:lnTo>
                    <a:pt x="177" y="1237"/>
                  </a:lnTo>
                  <a:lnTo>
                    <a:pt x="177" y="1236"/>
                  </a:lnTo>
                  <a:lnTo>
                    <a:pt x="176" y="1236"/>
                  </a:lnTo>
                  <a:lnTo>
                    <a:pt x="177" y="1236"/>
                  </a:lnTo>
                  <a:lnTo>
                    <a:pt x="177" y="1234"/>
                  </a:lnTo>
                  <a:lnTo>
                    <a:pt x="179" y="1234"/>
                  </a:lnTo>
                  <a:lnTo>
                    <a:pt x="177" y="1234"/>
                  </a:lnTo>
                  <a:lnTo>
                    <a:pt x="179" y="1234"/>
                  </a:lnTo>
                  <a:lnTo>
                    <a:pt x="179" y="1236"/>
                  </a:lnTo>
                  <a:lnTo>
                    <a:pt x="181" y="1236"/>
                  </a:lnTo>
                  <a:lnTo>
                    <a:pt x="182" y="1236"/>
                  </a:lnTo>
                  <a:lnTo>
                    <a:pt x="184" y="1237"/>
                  </a:lnTo>
                  <a:lnTo>
                    <a:pt x="182" y="1237"/>
                  </a:lnTo>
                  <a:lnTo>
                    <a:pt x="184" y="1237"/>
                  </a:lnTo>
                  <a:lnTo>
                    <a:pt x="182" y="1239"/>
                  </a:lnTo>
                  <a:lnTo>
                    <a:pt x="184" y="1239"/>
                  </a:lnTo>
                  <a:lnTo>
                    <a:pt x="186" y="1239"/>
                  </a:lnTo>
                  <a:lnTo>
                    <a:pt x="187" y="1239"/>
                  </a:lnTo>
                  <a:lnTo>
                    <a:pt x="186" y="1239"/>
                  </a:lnTo>
                  <a:lnTo>
                    <a:pt x="184" y="1237"/>
                  </a:lnTo>
                  <a:lnTo>
                    <a:pt x="186" y="1236"/>
                  </a:lnTo>
                  <a:lnTo>
                    <a:pt x="187" y="1236"/>
                  </a:lnTo>
                  <a:lnTo>
                    <a:pt x="189" y="1236"/>
                  </a:lnTo>
                  <a:lnTo>
                    <a:pt x="189" y="1237"/>
                  </a:lnTo>
                  <a:lnTo>
                    <a:pt x="190" y="1237"/>
                  </a:lnTo>
                  <a:lnTo>
                    <a:pt x="189" y="1237"/>
                  </a:lnTo>
                  <a:lnTo>
                    <a:pt x="189" y="1236"/>
                  </a:lnTo>
                  <a:lnTo>
                    <a:pt x="190" y="1236"/>
                  </a:lnTo>
                  <a:lnTo>
                    <a:pt x="192" y="1236"/>
                  </a:lnTo>
                  <a:lnTo>
                    <a:pt x="192" y="1234"/>
                  </a:lnTo>
                  <a:lnTo>
                    <a:pt x="194" y="1234"/>
                  </a:lnTo>
                  <a:lnTo>
                    <a:pt x="194" y="1236"/>
                  </a:lnTo>
                  <a:lnTo>
                    <a:pt x="195" y="1236"/>
                  </a:lnTo>
                  <a:lnTo>
                    <a:pt x="195" y="1237"/>
                  </a:lnTo>
                  <a:lnTo>
                    <a:pt x="195" y="1236"/>
                  </a:lnTo>
                  <a:lnTo>
                    <a:pt x="194" y="1234"/>
                  </a:lnTo>
                  <a:lnTo>
                    <a:pt x="195" y="1234"/>
                  </a:lnTo>
                  <a:lnTo>
                    <a:pt x="197" y="1234"/>
                  </a:lnTo>
                  <a:lnTo>
                    <a:pt x="195" y="1234"/>
                  </a:lnTo>
                  <a:lnTo>
                    <a:pt x="194" y="1234"/>
                  </a:lnTo>
                  <a:lnTo>
                    <a:pt x="192" y="1234"/>
                  </a:lnTo>
                  <a:lnTo>
                    <a:pt x="192" y="1232"/>
                  </a:lnTo>
                  <a:lnTo>
                    <a:pt x="194" y="1232"/>
                  </a:lnTo>
                  <a:lnTo>
                    <a:pt x="192" y="1232"/>
                  </a:lnTo>
                  <a:lnTo>
                    <a:pt x="192" y="1231"/>
                  </a:lnTo>
                  <a:lnTo>
                    <a:pt x="192" y="1229"/>
                  </a:lnTo>
                  <a:lnTo>
                    <a:pt x="194" y="1228"/>
                  </a:lnTo>
                  <a:lnTo>
                    <a:pt x="195" y="1226"/>
                  </a:lnTo>
                  <a:lnTo>
                    <a:pt x="197" y="1224"/>
                  </a:lnTo>
                  <a:lnTo>
                    <a:pt x="199" y="1224"/>
                  </a:lnTo>
                  <a:lnTo>
                    <a:pt x="197" y="1224"/>
                  </a:lnTo>
                  <a:lnTo>
                    <a:pt x="195" y="1226"/>
                  </a:lnTo>
                  <a:lnTo>
                    <a:pt x="194" y="1226"/>
                  </a:lnTo>
                  <a:lnTo>
                    <a:pt x="192" y="1228"/>
                  </a:lnTo>
                  <a:lnTo>
                    <a:pt x="192" y="1226"/>
                  </a:lnTo>
                  <a:lnTo>
                    <a:pt x="190" y="1226"/>
                  </a:lnTo>
                  <a:lnTo>
                    <a:pt x="189" y="1226"/>
                  </a:lnTo>
                  <a:lnTo>
                    <a:pt x="189" y="1224"/>
                  </a:lnTo>
                  <a:lnTo>
                    <a:pt x="190" y="1224"/>
                  </a:lnTo>
                  <a:lnTo>
                    <a:pt x="189" y="1224"/>
                  </a:lnTo>
                  <a:lnTo>
                    <a:pt x="189" y="1226"/>
                  </a:lnTo>
                  <a:lnTo>
                    <a:pt x="190" y="1226"/>
                  </a:lnTo>
                  <a:lnTo>
                    <a:pt x="192" y="1228"/>
                  </a:lnTo>
                  <a:lnTo>
                    <a:pt x="192" y="1229"/>
                  </a:lnTo>
                  <a:lnTo>
                    <a:pt x="192" y="1231"/>
                  </a:lnTo>
                  <a:lnTo>
                    <a:pt x="192" y="1232"/>
                  </a:lnTo>
                  <a:lnTo>
                    <a:pt x="192" y="1234"/>
                  </a:lnTo>
                  <a:lnTo>
                    <a:pt x="192" y="1236"/>
                  </a:lnTo>
                  <a:lnTo>
                    <a:pt x="190" y="1236"/>
                  </a:lnTo>
                  <a:lnTo>
                    <a:pt x="190" y="1234"/>
                  </a:lnTo>
                  <a:lnTo>
                    <a:pt x="189" y="1236"/>
                  </a:lnTo>
                  <a:lnTo>
                    <a:pt x="189" y="1234"/>
                  </a:lnTo>
                  <a:lnTo>
                    <a:pt x="187" y="1234"/>
                  </a:lnTo>
                  <a:lnTo>
                    <a:pt x="187" y="1236"/>
                  </a:lnTo>
                  <a:lnTo>
                    <a:pt x="186" y="1234"/>
                  </a:lnTo>
                  <a:lnTo>
                    <a:pt x="184" y="1234"/>
                  </a:lnTo>
                  <a:lnTo>
                    <a:pt x="184" y="1236"/>
                  </a:lnTo>
                  <a:lnTo>
                    <a:pt x="182" y="1236"/>
                  </a:lnTo>
                  <a:lnTo>
                    <a:pt x="181" y="1234"/>
                  </a:lnTo>
                  <a:lnTo>
                    <a:pt x="181" y="1232"/>
                  </a:lnTo>
                  <a:lnTo>
                    <a:pt x="179" y="1232"/>
                  </a:lnTo>
                  <a:lnTo>
                    <a:pt x="177" y="1232"/>
                  </a:lnTo>
                  <a:lnTo>
                    <a:pt x="176" y="1232"/>
                  </a:lnTo>
                  <a:lnTo>
                    <a:pt x="177" y="1234"/>
                  </a:lnTo>
                  <a:lnTo>
                    <a:pt x="176" y="1234"/>
                  </a:lnTo>
                  <a:lnTo>
                    <a:pt x="176" y="1232"/>
                  </a:lnTo>
                  <a:lnTo>
                    <a:pt x="174" y="1232"/>
                  </a:lnTo>
                  <a:lnTo>
                    <a:pt x="174" y="1234"/>
                  </a:lnTo>
                  <a:lnTo>
                    <a:pt x="176" y="1234"/>
                  </a:lnTo>
                  <a:lnTo>
                    <a:pt x="174" y="1232"/>
                  </a:lnTo>
                  <a:lnTo>
                    <a:pt x="176" y="1232"/>
                  </a:lnTo>
                  <a:lnTo>
                    <a:pt x="174" y="1232"/>
                  </a:lnTo>
                  <a:lnTo>
                    <a:pt x="174" y="1231"/>
                  </a:lnTo>
                  <a:lnTo>
                    <a:pt x="174" y="1229"/>
                  </a:lnTo>
                  <a:lnTo>
                    <a:pt x="173" y="1229"/>
                  </a:lnTo>
                  <a:lnTo>
                    <a:pt x="173" y="1231"/>
                  </a:lnTo>
                  <a:lnTo>
                    <a:pt x="171" y="1229"/>
                  </a:lnTo>
                  <a:lnTo>
                    <a:pt x="171" y="1231"/>
                  </a:lnTo>
                  <a:lnTo>
                    <a:pt x="169" y="1231"/>
                  </a:lnTo>
                  <a:lnTo>
                    <a:pt x="168" y="1229"/>
                  </a:lnTo>
                  <a:lnTo>
                    <a:pt x="168" y="1231"/>
                  </a:lnTo>
                  <a:lnTo>
                    <a:pt x="169" y="1231"/>
                  </a:lnTo>
                  <a:lnTo>
                    <a:pt x="168" y="1231"/>
                  </a:lnTo>
                  <a:lnTo>
                    <a:pt x="168" y="1232"/>
                  </a:lnTo>
                  <a:lnTo>
                    <a:pt x="168" y="1234"/>
                  </a:lnTo>
                  <a:lnTo>
                    <a:pt x="166" y="1234"/>
                  </a:lnTo>
                  <a:lnTo>
                    <a:pt x="166" y="1232"/>
                  </a:lnTo>
                  <a:lnTo>
                    <a:pt x="164" y="1232"/>
                  </a:lnTo>
                  <a:lnTo>
                    <a:pt x="166" y="1232"/>
                  </a:lnTo>
                  <a:lnTo>
                    <a:pt x="164" y="1231"/>
                  </a:lnTo>
                  <a:lnTo>
                    <a:pt x="166" y="1231"/>
                  </a:lnTo>
                  <a:lnTo>
                    <a:pt x="166" y="1229"/>
                  </a:lnTo>
                  <a:lnTo>
                    <a:pt x="164" y="1229"/>
                  </a:lnTo>
                  <a:lnTo>
                    <a:pt x="164" y="1228"/>
                  </a:lnTo>
                  <a:lnTo>
                    <a:pt x="163" y="1228"/>
                  </a:lnTo>
                  <a:lnTo>
                    <a:pt x="161" y="1228"/>
                  </a:lnTo>
                  <a:lnTo>
                    <a:pt x="163" y="1228"/>
                  </a:lnTo>
                  <a:lnTo>
                    <a:pt x="161" y="1226"/>
                  </a:lnTo>
                  <a:lnTo>
                    <a:pt x="161" y="1224"/>
                  </a:lnTo>
                  <a:lnTo>
                    <a:pt x="163" y="1226"/>
                  </a:lnTo>
                  <a:lnTo>
                    <a:pt x="164" y="1226"/>
                  </a:lnTo>
                  <a:lnTo>
                    <a:pt x="166" y="1224"/>
                  </a:lnTo>
                  <a:lnTo>
                    <a:pt x="166" y="1223"/>
                  </a:lnTo>
                  <a:lnTo>
                    <a:pt x="168" y="1223"/>
                  </a:lnTo>
                  <a:lnTo>
                    <a:pt x="169" y="1221"/>
                  </a:lnTo>
                  <a:lnTo>
                    <a:pt x="171" y="1221"/>
                  </a:lnTo>
                  <a:lnTo>
                    <a:pt x="171" y="1223"/>
                  </a:lnTo>
                  <a:lnTo>
                    <a:pt x="173" y="1221"/>
                  </a:lnTo>
                  <a:lnTo>
                    <a:pt x="173" y="1223"/>
                  </a:lnTo>
                  <a:lnTo>
                    <a:pt x="174" y="1223"/>
                  </a:lnTo>
                  <a:lnTo>
                    <a:pt x="176" y="1221"/>
                  </a:lnTo>
                  <a:lnTo>
                    <a:pt x="176" y="1219"/>
                  </a:lnTo>
                  <a:lnTo>
                    <a:pt x="176" y="1218"/>
                  </a:lnTo>
                  <a:lnTo>
                    <a:pt x="176" y="1216"/>
                  </a:lnTo>
                  <a:lnTo>
                    <a:pt x="176" y="1215"/>
                  </a:lnTo>
                  <a:lnTo>
                    <a:pt x="176" y="1213"/>
                  </a:lnTo>
                  <a:lnTo>
                    <a:pt x="176" y="1211"/>
                  </a:lnTo>
                  <a:lnTo>
                    <a:pt x="176" y="1210"/>
                  </a:lnTo>
                  <a:lnTo>
                    <a:pt x="174" y="1210"/>
                  </a:lnTo>
                  <a:lnTo>
                    <a:pt x="173" y="1210"/>
                  </a:lnTo>
                  <a:lnTo>
                    <a:pt x="173" y="1208"/>
                  </a:lnTo>
                  <a:lnTo>
                    <a:pt x="171" y="1208"/>
                  </a:lnTo>
                  <a:lnTo>
                    <a:pt x="169" y="1208"/>
                  </a:lnTo>
                  <a:lnTo>
                    <a:pt x="169" y="1206"/>
                  </a:lnTo>
                  <a:lnTo>
                    <a:pt x="168" y="1206"/>
                  </a:lnTo>
                  <a:lnTo>
                    <a:pt x="166" y="1206"/>
                  </a:lnTo>
                  <a:lnTo>
                    <a:pt x="164" y="1206"/>
                  </a:lnTo>
                  <a:lnTo>
                    <a:pt x="164" y="1205"/>
                  </a:lnTo>
                  <a:lnTo>
                    <a:pt x="163" y="1206"/>
                  </a:lnTo>
                  <a:lnTo>
                    <a:pt x="161" y="1206"/>
                  </a:lnTo>
                  <a:lnTo>
                    <a:pt x="160" y="1206"/>
                  </a:lnTo>
                  <a:lnTo>
                    <a:pt x="160" y="1205"/>
                  </a:lnTo>
                  <a:lnTo>
                    <a:pt x="160" y="1203"/>
                  </a:lnTo>
                  <a:lnTo>
                    <a:pt x="161" y="1203"/>
                  </a:lnTo>
                  <a:lnTo>
                    <a:pt x="161" y="1202"/>
                  </a:lnTo>
                  <a:lnTo>
                    <a:pt x="161" y="1200"/>
                  </a:lnTo>
                  <a:lnTo>
                    <a:pt x="163" y="1198"/>
                  </a:lnTo>
                  <a:lnTo>
                    <a:pt x="163" y="1200"/>
                  </a:lnTo>
                  <a:lnTo>
                    <a:pt x="164" y="1200"/>
                  </a:lnTo>
                  <a:lnTo>
                    <a:pt x="166" y="1200"/>
                  </a:lnTo>
                  <a:lnTo>
                    <a:pt x="166" y="1198"/>
                  </a:lnTo>
                  <a:lnTo>
                    <a:pt x="168" y="1198"/>
                  </a:lnTo>
                  <a:lnTo>
                    <a:pt x="171" y="1198"/>
                  </a:lnTo>
                  <a:lnTo>
                    <a:pt x="171" y="1197"/>
                  </a:lnTo>
                  <a:lnTo>
                    <a:pt x="173" y="1197"/>
                  </a:lnTo>
                  <a:lnTo>
                    <a:pt x="171" y="1197"/>
                  </a:lnTo>
                  <a:lnTo>
                    <a:pt x="173" y="1197"/>
                  </a:lnTo>
                  <a:lnTo>
                    <a:pt x="173" y="1195"/>
                  </a:lnTo>
                  <a:lnTo>
                    <a:pt x="174" y="1197"/>
                  </a:lnTo>
                  <a:lnTo>
                    <a:pt x="176" y="1197"/>
                  </a:lnTo>
                  <a:lnTo>
                    <a:pt x="177" y="1197"/>
                  </a:lnTo>
                  <a:lnTo>
                    <a:pt x="177" y="1195"/>
                  </a:lnTo>
                  <a:lnTo>
                    <a:pt x="176" y="1195"/>
                  </a:lnTo>
                  <a:lnTo>
                    <a:pt x="177" y="1195"/>
                  </a:lnTo>
                  <a:lnTo>
                    <a:pt x="179" y="1195"/>
                  </a:lnTo>
                  <a:lnTo>
                    <a:pt x="181" y="1195"/>
                  </a:lnTo>
                  <a:lnTo>
                    <a:pt x="182" y="1195"/>
                  </a:lnTo>
                  <a:lnTo>
                    <a:pt x="182" y="1193"/>
                  </a:lnTo>
                  <a:lnTo>
                    <a:pt x="182" y="1192"/>
                  </a:lnTo>
                  <a:lnTo>
                    <a:pt x="184" y="1190"/>
                  </a:lnTo>
                  <a:lnTo>
                    <a:pt x="184" y="1189"/>
                  </a:lnTo>
                  <a:lnTo>
                    <a:pt x="182" y="1189"/>
                  </a:lnTo>
                  <a:lnTo>
                    <a:pt x="184" y="1187"/>
                  </a:lnTo>
                  <a:lnTo>
                    <a:pt x="186" y="1187"/>
                  </a:lnTo>
                  <a:lnTo>
                    <a:pt x="184" y="1187"/>
                  </a:lnTo>
                  <a:lnTo>
                    <a:pt x="186" y="1187"/>
                  </a:lnTo>
                  <a:lnTo>
                    <a:pt x="187" y="1187"/>
                  </a:lnTo>
                  <a:lnTo>
                    <a:pt x="189" y="1189"/>
                  </a:lnTo>
                  <a:lnTo>
                    <a:pt x="190" y="1189"/>
                  </a:lnTo>
                  <a:lnTo>
                    <a:pt x="192" y="1189"/>
                  </a:lnTo>
                  <a:lnTo>
                    <a:pt x="192" y="1190"/>
                  </a:lnTo>
                  <a:lnTo>
                    <a:pt x="194" y="1192"/>
                  </a:lnTo>
                  <a:lnTo>
                    <a:pt x="192" y="1190"/>
                  </a:lnTo>
                  <a:lnTo>
                    <a:pt x="192" y="1192"/>
                  </a:lnTo>
                  <a:lnTo>
                    <a:pt x="192" y="1193"/>
                  </a:lnTo>
                  <a:lnTo>
                    <a:pt x="192" y="1192"/>
                  </a:lnTo>
                  <a:lnTo>
                    <a:pt x="192" y="1193"/>
                  </a:lnTo>
                  <a:lnTo>
                    <a:pt x="192" y="1192"/>
                  </a:lnTo>
                  <a:lnTo>
                    <a:pt x="192" y="1193"/>
                  </a:lnTo>
                  <a:lnTo>
                    <a:pt x="194" y="1193"/>
                  </a:lnTo>
                  <a:lnTo>
                    <a:pt x="194" y="1192"/>
                  </a:lnTo>
                  <a:lnTo>
                    <a:pt x="194" y="1193"/>
                  </a:lnTo>
                  <a:lnTo>
                    <a:pt x="195" y="1193"/>
                  </a:lnTo>
                  <a:lnTo>
                    <a:pt x="195" y="1192"/>
                  </a:lnTo>
                  <a:lnTo>
                    <a:pt x="197" y="1192"/>
                  </a:lnTo>
                  <a:lnTo>
                    <a:pt x="199" y="1192"/>
                  </a:lnTo>
                  <a:lnTo>
                    <a:pt x="199" y="1190"/>
                  </a:lnTo>
                  <a:lnTo>
                    <a:pt x="199" y="1189"/>
                  </a:lnTo>
                  <a:lnTo>
                    <a:pt x="200" y="1189"/>
                  </a:lnTo>
                  <a:lnTo>
                    <a:pt x="200" y="1190"/>
                  </a:lnTo>
                  <a:lnTo>
                    <a:pt x="202" y="1192"/>
                  </a:lnTo>
                  <a:lnTo>
                    <a:pt x="203" y="1192"/>
                  </a:lnTo>
                  <a:lnTo>
                    <a:pt x="205" y="1192"/>
                  </a:lnTo>
                  <a:lnTo>
                    <a:pt x="207" y="1193"/>
                  </a:lnTo>
                  <a:lnTo>
                    <a:pt x="207" y="1192"/>
                  </a:lnTo>
                  <a:lnTo>
                    <a:pt x="205" y="1192"/>
                  </a:lnTo>
                  <a:lnTo>
                    <a:pt x="205" y="1190"/>
                  </a:lnTo>
                  <a:lnTo>
                    <a:pt x="205" y="1189"/>
                  </a:lnTo>
                  <a:lnTo>
                    <a:pt x="207" y="1189"/>
                  </a:lnTo>
                  <a:lnTo>
                    <a:pt x="208" y="1187"/>
                  </a:lnTo>
                  <a:lnTo>
                    <a:pt x="210" y="1189"/>
                  </a:lnTo>
                  <a:lnTo>
                    <a:pt x="212" y="1187"/>
                  </a:lnTo>
                  <a:lnTo>
                    <a:pt x="213" y="1185"/>
                  </a:lnTo>
                  <a:lnTo>
                    <a:pt x="215" y="1184"/>
                  </a:lnTo>
                  <a:lnTo>
                    <a:pt x="215" y="1182"/>
                  </a:lnTo>
                  <a:lnTo>
                    <a:pt x="216" y="1182"/>
                  </a:lnTo>
                  <a:lnTo>
                    <a:pt x="216" y="1180"/>
                  </a:lnTo>
                  <a:lnTo>
                    <a:pt x="218" y="1180"/>
                  </a:lnTo>
                  <a:lnTo>
                    <a:pt x="218" y="1182"/>
                  </a:lnTo>
                  <a:lnTo>
                    <a:pt x="220" y="1182"/>
                  </a:lnTo>
                  <a:lnTo>
                    <a:pt x="220" y="1184"/>
                  </a:lnTo>
                  <a:lnTo>
                    <a:pt x="221" y="1185"/>
                  </a:lnTo>
                  <a:lnTo>
                    <a:pt x="221" y="1184"/>
                  </a:lnTo>
                  <a:lnTo>
                    <a:pt x="220" y="1184"/>
                  </a:lnTo>
                  <a:lnTo>
                    <a:pt x="221" y="1182"/>
                  </a:lnTo>
                  <a:lnTo>
                    <a:pt x="221" y="1180"/>
                  </a:lnTo>
                  <a:lnTo>
                    <a:pt x="223" y="1180"/>
                  </a:lnTo>
                  <a:lnTo>
                    <a:pt x="225" y="1179"/>
                  </a:lnTo>
                  <a:lnTo>
                    <a:pt x="225" y="1180"/>
                  </a:lnTo>
                  <a:lnTo>
                    <a:pt x="225" y="1179"/>
                  </a:lnTo>
                  <a:lnTo>
                    <a:pt x="228" y="1180"/>
                  </a:lnTo>
                  <a:lnTo>
                    <a:pt x="229" y="1179"/>
                  </a:lnTo>
                  <a:lnTo>
                    <a:pt x="229" y="1180"/>
                  </a:lnTo>
                  <a:lnTo>
                    <a:pt x="231" y="1180"/>
                  </a:lnTo>
                  <a:lnTo>
                    <a:pt x="233" y="1180"/>
                  </a:lnTo>
                  <a:lnTo>
                    <a:pt x="234" y="1182"/>
                  </a:lnTo>
                  <a:lnTo>
                    <a:pt x="236" y="1182"/>
                  </a:lnTo>
                  <a:lnTo>
                    <a:pt x="238" y="1182"/>
                  </a:lnTo>
                  <a:lnTo>
                    <a:pt x="238" y="1180"/>
                  </a:lnTo>
                  <a:lnTo>
                    <a:pt x="239" y="1180"/>
                  </a:lnTo>
                  <a:lnTo>
                    <a:pt x="241" y="1179"/>
                  </a:lnTo>
                  <a:lnTo>
                    <a:pt x="241" y="1177"/>
                  </a:lnTo>
                  <a:lnTo>
                    <a:pt x="243" y="1177"/>
                  </a:lnTo>
                  <a:lnTo>
                    <a:pt x="243" y="1179"/>
                  </a:lnTo>
                  <a:lnTo>
                    <a:pt x="244" y="1177"/>
                  </a:lnTo>
                  <a:lnTo>
                    <a:pt x="246" y="1177"/>
                  </a:lnTo>
                  <a:lnTo>
                    <a:pt x="246" y="1176"/>
                  </a:lnTo>
                  <a:lnTo>
                    <a:pt x="247" y="1176"/>
                  </a:lnTo>
                  <a:lnTo>
                    <a:pt x="249" y="1174"/>
                  </a:lnTo>
                  <a:lnTo>
                    <a:pt x="251" y="1174"/>
                  </a:lnTo>
                  <a:lnTo>
                    <a:pt x="251" y="1172"/>
                  </a:lnTo>
                  <a:lnTo>
                    <a:pt x="252" y="1172"/>
                  </a:lnTo>
                  <a:lnTo>
                    <a:pt x="252" y="1174"/>
                  </a:lnTo>
                  <a:lnTo>
                    <a:pt x="254" y="1174"/>
                  </a:lnTo>
                  <a:lnTo>
                    <a:pt x="256" y="1174"/>
                  </a:lnTo>
                  <a:lnTo>
                    <a:pt x="257" y="1174"/>
                  </a:lnTo>
                  <a:lnTo>
                    <a:pt x="259" y="1172"/>
                  </a:lnTo>
                  <a:lnTo>
                    <a:pt x="260" y="1172"/>
                  </a:lnTo>
                  <a:lnTo>
                    <a:pt x="260" y="1171"/>
                  </a:lnTo>
                  <a:lnTo>
                    <a:pt x="262" y="1171"/>
                  </a:lnTo>
                  <a:lnTo>
                    <a:pt x="264" y="1171"/>
                  </a:lnTo>
                  <a:lnTo>
                    <a:pt x="265" y="1169"/>
                  </a:lnTo>
                  <a:lnTo>
                    <a:pt x="267" y="1169"/>
                  </a:lnTo>
                  <a:lnTo>
                    <a:pt x="267" y="1167"/>
                  </a:lnTo>
                  <a:lnTo>
                    <a:pt x="269" y="1167"/>
                  </a:lnTo>
                  <a:lnTo>
                    <a:pt x="269" y="1166"/>
                  </a:lnTo>
                  <a:lnTo>
                    <a:pt x="270" y="1166"/>
                  </a:lnTo>
                  <a:lnTo>
                    <a:pt x="272" y="1164"/>
                  </a:lnTo>
                  <a:lnTo>
                    <a:pt x="273" y="1163"/>
                  </a:lnTo>
                  <a:lnTo>
                    <a:pt x="273" y="1161"/>
                  </a:lnTo>
                  <a:lnTo>
                    <a:pt x="275" y="1161"/>
                  </a:lnTo>
                  <a:lnTo>
                    <a:pt x="275" y="1159"/>
                  </a:lnTo>
                  <a:lnTo>
                    <a:pt x="277" y="1158"/>
                  </a:lnTo>
                  <a:lnTo>
                    <a:pt x="277" y="1156"/>
                  </a:lnTo>
                  <a:lnTo>
                    <a:pt x="278" y="1156"/>
                  </a:lnTo>
                  <a:lnTo>
                    <a:pt x="278" y="1154"/>
                  </a:lnTo>
                  <a:lnTo>
                    <a:pt x="280" y="1153"/>
                  </a:lnTo>
                  <a:lnTo>
                    <a:pt x="280" y="1151"/>
                  </a:lnTo>
                  <a:lnTo>
                    <a:pt x="280" y="1150"/>
                  </a:lnTo>
                  <a:lnTo>
                    <a:pt x="282" y="1150"/>
                  </a:lnTo>
                  <a:lnTo>
                    <a:pt x="282" y="1148"/>
                  </a:lnTo>
                  <a:lnTo>
                    <a:pt x="282" y="1146"/>
                  </a:lnTo>
                  <a:lnTo>
                    <a:pt x="283" y="1145"/>
                  </a:lnTo>
                  <a:lnTo>
                    <a:pt x="283" y="1143"/>
                  </a:lnTo>
                  <a:lnTo>
                    <a:pt x="285" y="1141"/>
                  </a:lnTo>
                  <a:lnTo>
                    <a:pt x="286" y="1141"/>
                  </a:lnTo>
                  <a:lnTo>
                    <a:pt x="286" y="1138"/>
                  </a:lnTo>
                  <a:lnTo>
                    <a:pt x="286" y="1135"/>
                  </a:lnTo>
                  <a:lnTo>
                    <a:pt x="286" y="1133"/>
                  </a:lnTo>
                  <a:lnTo>
                    <a:pt x="288" y="1133"/>
                  </a:lnTo>
                  <a:lnTo>
                    <a:pt x="288" y="1135"/>
                  </a:lnTo>
                  <a:lnTo>
                    <a:pt x="290" y="1135"/>
                  </a:lnTo>
                  <a:lnTo>
                    <a:pt x="291" y="1135"/>
                  </a:lnTo>
                  <a:lnTo>
                    <a:pt x="293" y="1135"/>
                  </a:lnTo>
                  <a:lnTo>
                    <a:pt x="293" y="1133"/>
                  </a:lnTo>
                  <a:lnTo>
                    <a:pt x="295" y="1133"/>
                  </a:lnTo>
                  <a:lnTo>
                    <a:pt x="296" y="1132"/>
                  </a:lnTo>
                  <a:lnTo>
                    <a:pt x="298" y="1132"/>
                  </a:lnTo>
                  <a:lnTo>
                    <a:pt x="298" y="1133"/>
                  </a:lnTo>
                  <a:lnTo>
                    <a:pt x="299" y="1133"/>
                  </a:lnTo>
                  <a:lnTo>
                    <a:pt x="299" y="1132"/>
                  </a:lnTo>
                  <a:lnTo>
                    <a:pt x="298" y="1133"/>
                  </a:lnTo>
                  <a:lnTo>
                    <a:pt x="298" y="1132"/>
                  </a:lnTo>
                  <a:lnTo>
                    <a:pt x="296" y="1132"/>
                  </a:lnTo>
                  <a:lnTo>
                    <a:pt x="295" y="1132"/>
                  </a:lnTo>
                  <a:lnTo>
                    <a:pt x="293" y="1132"/>
                  </a:lnTo>
                  <a:lnTo>
                    <a:pt x="291" y="1132"/>
                  </a:lnTo>
                  <a:lnTo>
                    <a:pt x="290" y="1132"/>
                  </a:lnTo>
                  <a:lnTo>
                    <a:pt x="288" y="1133"/>
                  </a:lnTo>
                  <a:lnTo>
                    <a:pt x="286" y="1132"/>
                  </a:lnTo>
                  <a:lnTo>
                    <a:pt x="286" y="1130"/>
                  </a:lnTo>
                  <a:lnTo>
                    <a:pt x="285" y="1130"/>
                  </a:lnTo>
                  <a:lnTo>
                    <a:pt x="285" y="1128"/>
                  </a:lnTo>
                  <a:lnTo>
                    <a:pt x="285" y="1127"/>
                  </a:lnTo>
                  <a:lnTo>
                    <a:pt x="285" y="1125"/>
                  </a:lnTo>
                  <a:lnTo>
                    <a:pt x="285" y="1123"/>
                  </a:lnTo>
                  <a:lnTo>
                    <a:pt x="283" y="1123"/>
                  </a:lnTo>
                  <a:lnTo>
                    <a:pt x="283" y="1122"/>
                  </a:lnTo>
                  <a:lnTo>
                    <a:pt x="283" y="1120"/>
                  </a:lnTo>
                  <a:lnTo>
                    <a:pt x="283" y="1119"/>
                  </a:lnTo>
                  <a:lnTo>
                    <a:pt x="285" y="1119"/>
                  </a:lnTo>
                  <a:lnTo>
                    <a:pt x="285" y="1117"/>
                  </a:lnTo>
                  <a:lnTo>
                    <a:pt x="286" y="1115"/>
                  </a:lnTo>
                  <a:lnTo>
                    <a:pt x="286" y="1114"/>
                  </a:lnTo>
                  <a:lnTo>
                    <a:pt x="288" y="1114"/>
                  </a:lnTo>
                  <a:lnTo>
                    <a:pt x="290" y="1112"/>
                  </a:lnTo>
                  <a:lnTo>
                    <a:pt x="291" y="1112"/>
                  </a:lnTo>
                  <a:lnTo>
                    <a:pt x="291" y="1110"/>
                  </a:lnTo>
                  <a:lnTo>
                    <a:pt x="291" y="1109"/>
                  </a:lnTo>
                  <a:lnTo>
                    <a:pt x="293" y="1109"/>
                  </a:lnTo>
                  <a:lnTo>
                    <a:pt x="295" y="1109"/>
                  </a:lnTo>
                  <a:lnTo>
                    <a:pt x="296" y="1107"/>
                  </a:lnTo>
                  <a:lnTo>
                    <a:pt x="296" y="1109"/>
                  </a:lnTo>
                  <a:lnTo>
                    <a:pt x="296" y="1107"/>
                  </a:lnTo>
                  <a:lnTo>
                    <a:pt x="298" y="1107"/>
                  </a:lnTo>
                  <a:lnTo>
                    <a:pt x="298" y="1106"/>
                  </a:lnTo>
                  <a:lnTo>
                    <a:pt x="299" y="1106"/>
                  </a:lnTo>
                  <a:lnTo>
                    <a:pt x="301" y="1106"/>
                  </a:lnTo>
                  <a:lnTo>
                    <a:pt x="303" y="1104"/>
                  </a:lnTo>
                  <a:lnTo>
                    <a:pt x="303" y="1106"/>
                  </a:lnTo>
                  <a:lnTo>
                    <a:pt x="304" y="1106"/>
                  </a:lnTo>
                  <a:lnTo>
                    <a:pt x="304" y="1104"/>
                  </a:lnTo>
                  <a:lnTo>
                    <a:pt x="303" y="1106"/>
                  </a:lnTo>
                  <a:lnTo>
                    <a:pt x="303" y="1104"/>
                  </a:lnTo>
                  <a:lnTo>
                    <a:pt x="301" y="1104"/>
                  </a:lnTo>
                  <a:lnTo>
                    <a:pt x="299" y="1106"/>
                  </a:lnTo>
                  <a:lnTo>
                    <a:pt x="298" y="1106"/>
                  </a:lnTo>
                  <a:lnTo>
                    <a:pt x="296" y="1106"/>
                  </a:lnTo>
                  <a:lnTo>
                    <a:pt x="295" y="1106"/>
                  </a:lnTo>
                  <a:lnTo>
                    <a:pt x="295" y="1107"/>
                  </a:lnTo>
                  <a:lnTo>
                    <a:pt x="293" y="1107"/>
                  </a:lnTo>
                  <a:lnTo>
                    <a:pt x="291" y="1107"/>
                  </a:lnTo>
                  <a:lnTo>
                    <a:pt x="291" y="1106"/>
                  </a:lnTo>
                  <a:lnTo>
                    <a:pt x="291" y="1104"/>
                  </a:lnTo>
                  <a:lnTo>
                    <a:pt x="291" y="1102"/>
                  </a:lnTo>
                  <a:lnTo>
                    <a:pt x="290" y="1101"/>
                  </a:lnTo>
                  <a:lnTo>
                    <a:pt x="288" y="1099"/>
                  </a:lnTo>
                  <a:lnTo>
                    <a:pt x="288" y="1097"/>
                  </a:lnTo>
                  <a:lnTo>
                    <a:pt x="286" y="1094"/>
                  </a:lnTo>
                  <a:lnTo>
                    <a:pt x="286" y="1093"/>
                  </a:lnTo>
                  <a:lnTo>
                    <a:pt x="286" y="1091"/>
                  </a:lnTo>
                  <a:lnTo>
                    <a:pt x="290" y="1091"/>
                  </a:lnTo>
                  <a:lnTo>
                    <a:pt x="288" y="1091"/>
                  </a:lnTo>
                  <a:lnTo>
                    <a:pt x="290" y="1091"/>
                  </a:lnTo>
                  <a:lnTo>
                    <a:pt x="288" y="1091"/>
                  </a:lnTo>
                  <a:lnTo>
                    <a:pt x="290" y="1091"/>
                  </a:lnTo>
                  <a:lnTo>
                    <a:pt x="290" y="1089"/>
                  </a:lnTo>
                  <a:lnTo>
                    <a:pt x="290" y="1088"/>
                  </a:lnTo>
                  <a:lnTo>
                    <a:pt x="290" y="1086"/>
                  </a:lnTo>
                  <a:lnTo>
                    <a:pt x="290" y="1083"/>
                  </a:lnTo>
                  <a:lnTo>
                    <a:pt x="290" y="1081"/>
                  </a:lnTo>
                  <a:lnTo>
                    <a:pt x="291" y="1081"/>
                  </a:lnTo>
                  <a:lnTo>
                    <a:pt x="293" y="1081"/>
                  </a:lnTo>
                  <a:lnTo>
                    <a:pt x="295" y="1081"/>
                  </a:lnTo>
                  <a:lnTo>
                    <a:pt x="296" y="1081"/>
                  </a:lnTo>
                  <a:lnTo>
                    <a:pt x="296" y="1080"/>
                  </a:lnTo>
                  <a:lnTo>
                    <a:pt x="298" y="1080"/>
                  </a:lnTo>
                  <a:lnTo>
                    <a:pt x="298" y="1078"/>
                  </a:lnTo>
                  <a:lnTo>
                    <a:pt x="299" y="1078"/>
                  </a:lnTo>
                  <a:lnTo>
                    <a:pt x="301" y="1078"/>
                  </a:lnTo>
                  <a:lnTo>
                    <a:pt x="301" y="1076"/>
                  </a:lnTo>
                  <a:lnTo>
                    <a:pt x="299" y="1076"/>
                  </a:lnTo>
                  <a:lnTo>
                    <a:pt x="299" y="1078"/>
                  </a:lnTo>
                  <a:lnTo>
                    <a:pt x="298" y="1078"/>
                  </a:lnTo>
                  <a:lnTo>
                    <a:pt x="296" y="1078"/>
                  </a:lnTo>
                  <a:lnTo>
                    <a:pt x="295" y="1078"/>
                  </a:lnTo>
                  <a:lnTo>
                    <a:pt x="295" y="1080"/>
                  </a:lnTo>
                  <a:lnTo>
                    <a:pt x="293" y="1080"/>
                  </a:lnTo>
                  <a:lnTo>
                    <a:pt x="293" y="1078"/>
                  </a:lnTo>
                  <a:lnTo>
                    <a:pt x="291" y="1078"/>
                  </a:lnTo>
                  <a:lnTo>
                    <a:pt x="290" y="1080"/>
                  </a:lnTo>
                  <a:lnTo>
                    <a:pt x="288" y="1080"/>
                  </a:lnTo>
                  <a:lnTo>
                    <a:pt x="286" y="1078"/>
                  </a:lnTo>
                  <a:lnTo>
                    <a:pt x="285" y="1078"/>
                  </a:lnTo>
                  <a:lnTo>
                    <a:pt x="285" y="1076"/>
                  </a:lnTo>
                  <a:lnTo>
                    <a:pt x="283" y="1076"/>
                  </a:lnTo>
                  <a:lnTo>
                    <a:pt x="280" y="1076"/>
                  </a:lnTo>
                  <a:lnTo>
                    <a:pt x="278" y="1076"/>
                  </a:lnTo>
                  <a:lnTo>
                    <a:pt x="277" y="1076"/>
                  </a:lnTo>
                  <a:lnTo>
                    <a:pt x="275" y="1076"/>
                  </a:lnTo>
                  <a:lnTo>
                    <a:pt x="275" y="1078"/>
                  </a:lnTo>
                  <a:lnTo>
                    <a:pt x="273" y="1078"/>
                  </a:lnTo>
                  <a:lnTo>
                    <a:pt x="272" y="1078"/>
                  </a:lnTo>
                  <a:lnTo>
                    <a:pt x="270" y="1078"/>
                  </a:lnTo>
                  <a:lnTo>
                    <a:pt x="270" y="1076"/>
                  </a:lnTo>
                  <a:lnTo>
                    <a:pt x="269" y="1076"/>
                  </a:lnTo>
                  <a:lnTo>
                    <a:pt x="267" y="1078"/>
                  </a:lnTo>
                  <a:lnTo>
                    <a:pt x="265" y="1078"/>
                  </a:lnTo>
                  <a:lnTo>
                    <a:pt x="267" y="1078"/>
                  </a:lnTo>
                  <a:lnTo>
                    <a:pt x="269" y="1078"/>
                  </a:lnTo>
                  <a:lnTo>
                    <a:pt x="267" y="1078"/>
                  </a:lnTo>
                  <a:lnTo>
                    <a:pt x="264" y="1078"/>
                  </a:lnTo>
                  <a:lnTo>
                    <a:pt x="262" y="1080"/>
                  </a:lnTo>
                  <a:lnTo>
                    <a:pt x="260" y="1080"/>
                  </a:lnTo>
                  <a:lnTo>
                    <a:pt x="260" y="1081"/>
                  </a:lnTo>
                  <a:lnTo>
                    <a:pt x="260" y="1083"/>
                  </a:lnTo>
                  <a:lnTo>
                    <a:pt x="259" y="1083"/>
                  </a:lnTo>
                  <a:lnTo>
                    <a:pt x="257" y="1084"/>
                  </a:lnTo>
                  <a:lnTo>
                    <a:pt x="257" y="1086"/>
                  </a:lnTo>
                  <a:lnTo>
                    <a:pt x="257" y="1088"/>
                  </a:lnTo>
                  <a:lnTo>
                    <a:pt x="259" y="1088"/>
                  </a:lnTo>
                  <a:lnTo>
                    <a:pt x="257" y="1089"/>
                  </a:lnTo>
                  <a:lnTo>
                    <a:pt x="256" y="1089"/>
                  </a:lnTo>
                  <a:lnTo>
                    <a:pt x="254" y="1091"/>
                  </a:lnTo>
                  <a:lnTo>
                    <a:pt x="252" y="1089"/>
                  </a:lnTo>
                  <a:lnTo>
                    <a:pt x="254" y="1088"/>
                  </a:lnTo>
                  <a:lnTo>
                    <a:pt x="252" y="1086"/>
                  </a:lnTo>
                  <a:lnTo>
                    <a:pt x="251" y="1084"/>
                  </a:lnTo>
                  <a:lnTo>
                    <a:pt x="249" y="1083"/>
                  </a:lnTo>
                  <a:lnTo>
                    <a:pt x="247" y="1083"/>
                  </a:lnTo>
                  <a:lnTo>
                    <a:pt x="246" y="1084"/>
                  </a:lnTo>
                  <a:lnTo>
                    <a:pt x="246" y="1086"/>
                  </a:lnTo>
                  <a:lnTo>
                    <a:pt x="244" y="1086"/>
                  </a:lnTo>
                  <a:lnTo>
                    <a:pt x="243" y="1084"/>
                  </a:lnTo>
                  <a:lnTo>
                    <a:pt x="243" y="1086"/>
                  </a:lnTo>
                  <a:lnTo>
                    <a:pt x="241" y="1086"/>
                  </a:lnTo>
                  <a:lnTo>
                    <a:pt x="241" y="1084"/>
                  </a:lnTo>
                  <a:lnTo>
                    <a:pt x="239" y="1084"/>
                  </a:lnTo>
                  <a:lnTo>
                    <a:pt x="238" y="1084"/>
                  </a:lnTo>
                  <a:lnTo>
                    <a:pt x="238" y="1086"/>
                  </a:lnTo>
                  <a:lnTo>
                    <a:pt x="236" y="1086"/>
                  </a:lnTo>
                  <a:lnTo>
                    <a:pt x="236" y="1088"/>
                  </a:lnTo>
                  <a:lnTo>
                    <a:pt x="236" y="1086"/>
                  </a:lnTo>
                  <a:lnTo>
                    <a:pt x="234" y="1086"/>
                  </a:lnTo>
                  <a:lnTo>
                    <a:pt x="236" y="1086"/>
                  </a:lnTo>
                  <a:lnTo>
                    <a:pt x="234" y="1086"/>
                  </a:lnTo>
                  <a:lnTo>
                    <a:pt x="234" y="1084"/>
                  </a:lnTo>
                  <a:lnTo>
                    <a:pt x="234" y="1083"/>
                  </a:lnTo>
                  <a:lnTo>
                    <a:pt x="236" y="1083"/>
                  </a:lnTo>
                  <a:lnTo>
                    <a:pt x="236" y="1081"/>
                  </a:lnTo>
                  <a:lnTo>
                    <a:pt x="238" y="1081"/>
                  </a:lnTo>
                  <a:lnTo>
                    <a:pt x="238" y="1080"/>
                  </a:lnTo>
                  <a:lnTo>
                    <a:pt x="239" y="1080"/>
                  </a:lnTo>
                  <a:lnTo>
                    <a:pt x="239" y="1078"/>
                  </a:lnTo>
                  <a:lnTo>
                    <a:pt x="239" y="1076"/>
                  </a:lnTo>
                  <a:lnTo>
                    <a:pt x="241" y="1076"/>
                  </a:lnTo>
                  <a:lnTo>
                    <a:pt x="243" y="1076"/>
                  </a:lnTo>
                  <a:lnTo>
                    <a:pt x="243" y="1075"/>
                  </a:lnTo>
                  <a:lnTo>
                    <a:pt x="244" y="1075"/>
                  </a:lnTo>
                  <a:lnTo>
                    <a:pt x="246" y="1073"/>
                  </a:lnTo>
                  <a:lnTo>
                    <a:pt x="246" y="1071"/>
                  </a:lnTo>
                  <a:lnTo>
                    <a:pt x="247" y="1071"/>
                  </a:lnTo>
                  <a:lnTo>
                    <a:pt x="249" y="1071"/>
                  </a:lnTo>
                  <a:lnTo>
                    <a:pt x="249" y="1070"/>
                  </a:lnTo>
                  <a:lnTo>
                    <a:pt x="251" y="1070"/>
                  </a:lnTo>
                  <a:lnTo>
                    <a:pt x="251" y="1068"/>
                  </a:lnTo>
                  <a:lnTo>
                    <a:pt x="252" y="1070"/>
                  </a:lnTo>
                  <a:lnTo>
                    <a:pt x="252" y="1068"/>
                  </a:lnTo>
                  <a:lnTo>
                    <a:pt x="254" y="1068"/>
                  </a:lnTo>
                  <a:lnTo>
                    <a:pt x="256" y="1067"/>
                  </a:lnTo>
                  <a:lnTo>
                    <a:pt x="256" y="1068"/>
                  </a:lnTo>
                  <a:lnTo>
                    <a:pt x="257" y="1068"/>
                  </a:lnTo>
                  <a:lnTo>
                    <a:pt x="259" y="1068"/>
                  </a:lnTo>
                  <a:lnTo>
                    <a:pt x="260" y="1068"/>
                  </a:lnTo>
                  <a:lnTo>
                    <a:pt x="260" y="1067"/>
                  </a:lnTo>
                  <a:lnTo>
                    <a:pt x="262" y="1067"/>
                  </a:lnTo>
                  <a:lnTo>
                    <a:pt x="262" y="1065"/>
                  </a:lnTo>
                  <a:lnTo>
                    <a:pt x="264" y="1065"/>
                  </a:lnTo>
                  <a:lnTo>
                    <a:pt x="265" y="1063"/>
                  </a:lnTo>
                  <a:lnTo>
                    <a:pt x="267" y="1063"/>
                  </a:lnTo>
                  <a:lnTo>
                    <a:pt x="267" y="1062"/>
                  </a:lnTo>
                  <a:lnTo>
                    <a:pt x="269" y="1062"/>
                  </a:lnTo>
                  <a:lnTo>
                    <a:pt x="270" y="1062"/>
                  </a:lnTo>
                  <a:lnTo>
                    <a:pt x="272" y="1060"/>
                  </a:lnTo>
                  <a:lnTo>
                    <a:pt x="273" y="1060"/>
                  </a:lnTo>
                  <a:lnTo>
                    <a:pt x="273" y="1058"/>
                  </a:lnTo>
                  <a:lnTo>
                    <a:pt x="275" y="1058"/>
                  </a:lnTo>
                  <a:lnTo>
                    <a:pt x="277" y="1058"/>
                  </a:lnTo>
                  <a:lnTo>
                    <a:pt x="277" y="1057"/>
                  </a:lnTo>
                  <a:lnTo>
                    <a:pt x="277" y="1055"/>
                  </a:lnTo>
                  <a:lnTo>
                    <a:pt x="278" y="1052"/>
                  </a:lnTo>
                  <a:lnTo>
                    <a:pt x="278" y="1050"/>
                  </a:lnTo>
                  <a:lnTo>
                    <a:pt x="278" y="1049"/>
                  </a:lnTo>
                  <a:lnTo>
                    <a:pt x="278" y="1047"/>
                  </a:lnTo>
                  <a:lnTo>
                    <a:pt x="278" y="1045"/>
                  </a:lnTo>
                  <a:lnTo>
                    <a:pt x="280" y="1045"/>
                  </a:lnTo>
                  <a:lnTo>
                    <a:pt x="282" y="1045"/>
                  </a:lnTo>
                  <a:lnTo>
                    <a:pt x="280" y="1047"/>
                  </a:lnTo>
                  <a:lnTo>
                    <a:pt x="280" y="1049"/>
                  </a:lnTo>
                  <a:lnTo>
                    <a:pt x="280" y="1050"/>
                  </a:lnTo>
                  <a:lnTo>
                    <a:pt x="282" y="1049"/>
                  </a:lnTo>
                  <a:lnTo>
                    <a:pt x="282" y="1047"/>
                  </a:lnTo>
                  <a:lnTo>
                    <a:pt x="282" y="1045"/>
                  </a:lnTo>
                  <a:lnTo>
                    <a:pt x="285" y="1044"/>
                  </a:lnTo>
                  <a:lnTo>
                    <a:pt x="286" y="1044"/>
                  </a:lnTo>
                  <a:lnTo>
                    <a:pt x="288" y="1042"/>
                  </a:lnTo>
                  <a:lnTo>
                    <a:pt x="288" y="1041"/>
                  </a:lnTo>
                  <a:lnTo>
                    <a:pt x="290" y="1041"/>
                  </a:lnTo>
                  <a:lnTo>
                    <a:pt x="291" y="1041"/>
                  </a:lnTo>
                  <a:lnTo>
                    <a:pt x="291" y="1039"/>
                  </a:lnTo>
                  <a:lnTo>
                    <a:pt x="293" y="1039"/>
                  </a:lnTo>
                  <a:lnTo>
                    <a:pt x="293" y="1037"/>
                  </a:lnTo>
                  <a:lnTo>
                    <a:pt x="293" y="1036"/>
                  </a:lnTo>
                  <a:lnTo>
                    <a:pt x="295" y="1036"/>
                  </a:lnTo>
                  <a:lnTo>
                    <a:pt x="296" y="1036"/>
                  </a:lnTo>
                  <a:lnTo>
                    <a:pt x="298" y="1036"/>
                  </a:lnTo>
                  <a:lnTo>
                    <a:pt x="298" y="1034"/>
                  </a:lnTo>
                  <a:lnTo>
                    <a:pt x="299" y="1034"/>
                  </a:lnTo>
                  <a:lnTo>
                    <a:pt x="301" y="1032"/>
                  </a:lnTo>
                  <a:lnTo>
                    <a:pt x="301" y="1034"/>
                  </a:lnTo>
                  <a:lnTo>
                    <a:pt x="303" y="1034"/>
                  </a:lnTo>
                  <a:lnTo>
                    <a:pt x="304" y="1034"/>
                  </a:lnTo>
                  <a:lnTo>
                    <a:pt x="304" y="1036"/>
                  </a:lnTo>
                  <a:lnTo>
                    <a:pt x="306" y="1034"/>
                  </a:lnTo>
                  <a:lnTo>
                    <a:pt x="308" y="1036"/>
                  </a:lnTo>
                  <a:lnTo>
                    <a:pt x="309" y="1034"/>
                  </a:lnTo>
                  <a:lnTo>
                    <a:pt x="311" y="1034"/>
                  </a:lnTo>
                  <a:lnTo>
                    <a:pt x="312" y="1032"/>
                  </a:lnTo>
                  <a:lnTo>
                    <a:pt x="314" y="1032"/>
                  </a:lnTo>
                  <a:lnTo>
                    <a:pt x="316" y="1032"/>
                  </a:lnTo>
                  <a:lnTo>
                    <a:pt x="317" y="1032"/>
                  </a:lnTo>
                  <a:lnTo>
                    <a:pt x="319" y="1031"/>
                  </a:lnTo>
                  <a:lnTo>
                    <a:pt x="321" y="1031"/>
                  </a:lnTo>
                  <a:lnTo>
                    <a:pt x="322" y="1031"/>
                  </a:lnTo>
                  <a:lnTo>
                    <a:pt x="322" y="1029"/>
                  </a:lnTo>
                  <a:lnTo>
                    <a:pt x="324" y="1029"/>
                  </a:lnTo>
                  <a:lnTo>
                    <a:pt x="324" y="1031"/>
                  </a:lnTo>
                  <a:lnTo>
                    <a:pt x="325" y="1029"/>
                  </a:lnTo>
                  <a:lnTo>
                    <a:pt x="327" y="1031"/>
                  </a:lnTo>
                  <a:lnTo>
                    <a:pt x="327" y="1032"/>
                  </a:lnTo>
                  <a:lnTo>
                    <a:pt x="329" y="1032"/>
                  </a:lnTo>
                  <a:lnTo>
                    <a:pt x="327" y="1034"/>
                  </a:lnTo>
                  <a:lnTo>
                    <a:pt x="329" y="1034"/>
                  </a:lnTo>
                  <a:lnTo>
                    <a:pt x="327" y="1034"/>
                  </a:lnTo>
                  <a:lnTo>
                    <a:pt x="329" y="1036"/>
                  </a:lnTo>
                  <a:lnTo>
                    <a:pt x="329" y="1034"/>
                  </a:lnTo>
                  <a:lnTo>
                    <a:pt x="329" y="1032"/>
                  </a:lnTo>
                  <a:lnTo>
                    <a:pt x="327" y="1032"/>
                  </a:lnTo>
                  <a:lnTo>
                    <a:pt x="327" y="1031"/>
                  </a:lnTo>
                  <a:lnTo>
                    <a:pt x="327" y="1029"/>
                  </a:lnTo>
                  <a:lnTo>
                    <a:pt x="327" y="1028"/>
                  </a:lnTo>
                  <a:lnTo>
                    <a:pt x="327" y="1026"/>
                  </a:lnTo>
                  <a:lnTo>
                    <a:pt x="325" y="1026"/>
                  </a:lnTo>
                  <a:lnTo>
                    <a:pt x="325" y="1024"/>
                  </a:lnTo>
                  <a:lnTo>
                    <a:pt x="324" y="1024"/>
                  </a:lnTo>
                  <a:lnTo>
                    <a:pt x="324" y="1023"/>
                  </a:lnTo>
                  <a:lnTo>
                    <a:pt x="325" y="1023"/>
                  </a:lnTo>
                  <a:lnTo>
                    <a:pt x="327" y="1023"/>
                  </a:lnTo>
                  <a:lnTo>
                    <a:pt x="327" y="1024"/>
                  </a:lnTo>
                  <a:lnTo>
                    <a:pt x="329" y="1024"/>
                  </a:lnTo>
                  <a:lnTo>
                    <a:pt x="329" y="1026"/>
                  </a:lnTo>
                  <a:lnTo>
                    <a:pt x="330" y="1026"/>
                  </a:lnTo>
                  <a:lnTo>
                    <a:pt x="332" y="1026"/>
                  </a:lnTo>
                  <a:lnTo>
                    <a:pt x="334" y="1026"/>
                  </a:lnTo>
                  <a:lnTo>
                    <a:pt x="334" y="1028"/>
                  </a:lnTo>
                  <a:lnTo>
                    <a:pt x="335" y="1029"/>
                  </a:lnTo>
                  <a:lnTo>
                    <a:pt x="335" y="1031"/>
                  </a:lnTo>
                  <a:lnTo>
                    <a:pt x="337" y="1031"/>
                  </a:lnTo>
                  <a:lnTo>
                    <a:pt x="337" y="1032"/>
                  </a:lnTo>
                  <a:lnTo>
                    <a:pt x="338" y="1032"/>
                  </a:lnTo>
                  <a:lnTo>
                    <a:pt x="340" y="1032"/>
                  </a:lnTo>
                  <a:lnTo>
                    <a:pt x="342" y="1032"/>
                  </a:lnTo>
                  <a:lnTo>
                    <a:pt x="343" y="1032"/>
                  </a:lnTo>
                  <a:lnTo>
                    <a:pt x="345" y="1034"/>
                  </a:lnTo>
                  <a:lnTo>
                    <a:pt x="347" y="1034"/>
                  </a:lnTo>
                  <a:lnTo>
                    <a:pt x="348" y="1034"/>
                  </a:lnTo>
                  <a:lnTo>
                    <a:pt x="351" y="1032"/>
                  </a:lnTo>
                  <a:lnTo>
                    <a:pt x="353" y="1032"/>
                  </a:lnTo>
                  <a:lnTo>
                    <a:pt x="355" y="1032"/>
                  </a:lnTo>
                  <a:lnTo>
                    <a:pt x="355" y="1034"/>
                  </a:lnTo>
                  <a:lnTo>
                    <a:pt x="356" y="1036"/>
                  </a:lnTo>
                  <a:lnTo>
                    <a:pt x="356" y="1034"/>
                  </a:lnTo>
                  <a:lnTo>
                    <a:pt x="355" y="1032"/>
                  </a:lnTo>
                  <a:lnTo>
                    <a:pt x="356" y="1031"/>
                  </a:lnTo>
                  <a:lnTo>
                    <a:pt x="358" y="1031"/>
                  </a:lnTo>
                  <a:lnTo>
                    <a:pt x="360" y="1031"/>
                  </a:lnTo>
                  <a:lnTo>
                    <a:pt x="361" y="1031"/>
                  </a:lnTo>
                  <a:lnTo>
                    <a:pt x="363" y="1031"/>
                  </a:lnTo>
                  <a:lnTo>
                    <a:pt x="366" y="1029"/>
                  </a:lnTo>
                  <a:lnTo>
                    <a:pt x="368" y="1029"/>
                  </a:lnTo>
                  <a:lnTo>
                    <a:pt x="369" y="1029"/>
                  </a:lnTo>
                  <a:lnTo>
                    <a:pt x="371" y="1029"/>
                  </a:lnTo>
                  <a:lnTo>
                    <a:pt x="373" y="1029"/>
                  </a:lnTo>
                  <a:lnTo>
                    <a:pt x="373" y="1031"/>
                  </a:lnTo>
                  <a:lnTo>
                    <a:pt x="373" y="1032"/>
                  </a:lnTo>
                  <a:lnTo>
                    <a:pt x="374" y="1034"/>
                  </a:lnTo>
                  <a:lnTo>
                    <a:pt x="374" y="1036"/>
                  </a:lnTo>
                  <a:lnTo>
                    <a:pt x="376" y="1036"/>
                  </a:lnTo>
                  <a:lnTo>
                    <a:pt x="376" y="1034"/>
                  </a:lnTo>
                  <a:lnTo>
                    <a:pt x="376" y="1036"/>
                  </a:lnTo>
                  <a:lnTo>
                    <a:pt x="377" y="1037"/>
                  </a:lnTo>
                  <a:lnTo>
                    <a:pt x="379" y="1041"/>
                  </a:lnTo>
                  <a:lnTo>
                    <a:pt x="381" y="1041"/>
                  </a:lnTo>
                  <a:lnTo>
                    <a:pt x="381" y="1042"/>
                  </a:lnTo>
                  <a:lnTo>
                    <a:pt x="382" y="1044"/>
                  </a:lnTo>
                  <a:lnTo>
                    <a:pt x="384" y="1045"/>
                  </a:lnTo>
                  <a:lnTo>
                    <a:pt x="386" y="1045"/>
                  </a:lnTo>
                  <a:lnTo>
                    <a:pt x="386" y="1047"/>
                  </a:lnTo>
                  <a:lnTo>
                    <a:pt x="386" y="1049"/>
                  </a:lnTo>
                  <a:lnTo>
                    <a:pt x="387" y="1049"/>
                  </a:lnTo>
                  <a:lnTo>
                    <a:pt x="389" y="1050"/>
                  </a:lnTo>
                  <a:lnTo>
                    <a:pt x="389" y="1052"/>
                  </a:lnTo>
                  <a:lnTo>
                    <a:pt x="391" y="1052"/>
                  </a:lnTo>
                  <a:lnTo>
                    <a:pt x="392" y="1054"/>
                  </a:lnTo>
                  <a:lnTo>
                    <a:pt x="392" y="1052"/>
                  </a:lnTo>
                  <a:lnTo>
                    <a:pt x="391" y="1052"/>
                  </a:lnTo>
                  <a:lnTo>
                    <a:pt x="389" y="1049"/>
                  </a:lnTo>
                  <a:lnTo>
                    <a:pt x="389" y="1050"/>
                  </a:lnTo>
                  <a:lnTo>
                    <a:pt x="389" y="1049"/>
                  </a:lnTo>
                  <a:lnTo>
                    <a:pt x="391" y="1049"/>
                  </a:lnTo>
                  <a:lnTo>
                    <a:pt x="389" y="1049"/>
                  </a:lnTo>
                  <a:lnTo>
                    <a:pt x="387" y="1049"/>
                  </a:lnTo>
                  <a:lnTo>
                    <a:pt x="387" y="1047"/>
                  </a:lnTo>
                  <a:lnTo>
                    <a:pt x="389" y="1047"/>
                  </a:lnTo>
                  <a:lnTo>
                    <a:pt x="387" y="1045"/>
                  </a:lnTo>
                  <a:lnTo>
                    <a:pt x="389" y="1045"/>
                  </a:lnTo>
                  <a:lnTo>
                    <a:pt x="387" y="1044"/>
                  </a:lnTo>
                  <a:lnTo>
                    <a:pt x="389" y="1044"/>
                  </a:lnTo>
                  <a:lnTo>
                    <a:pt x="391" y="1044"/>
                  </a:lnTo>
                  <a:lnTo>
                    <a:pt x="389" y="1044"/>
                  </a:lnTo>
                  <a:lnTo>
                    <a:pt x="387" y="1044"/>
                  </a:lnTo>
                  <a:lnTo>
                    <a:pt x="387" y="1042"/>
                  </a:lnTo>
                  <a:lnTo>
                    <a:pt x="389" y="1042"/>
                  </a:lnTo>
                  <a:lnTo>
                    <a:pt x="387" y="1042"/>
                  </a:lnTo>
                  <a:lnTo>
                    <a:pt x="389" y="1042"/>
                  </a:lnTo>
                  <a:lnTo>
                    <a:pt x="387" y="1041"/>
                  </a:lnTo>
                  <a:lnTo>
                    <a:pt x="387" y="1039"/>
                  </a:lnTo>
                  <a:lnTo>
                    <a:pt x="387" y="1037"/>
                  </a:lnTo>
                  <a:lnTo>
                    <a:pt x="387" y="1036"/>
                  </a:lnTo>
                  <a:lnTo>
                    <a:pt x="387" y="1037"/>
                  </a:lnTo>
                  <a:lnTo>
                    <a:pt x="387" y="1036"/>
                  </a:lnTo>
                  <a:lnTo>
                    <a:pt x="386" y="1034"/>
                  </a:lnTo>
                  <a:lnTo>
                    <a:pt x="384" y="1032"/>
                  </a:lnTo>
                  <a:lnTo>
                    <a:pt x="384" y="1031"/>
                  </a:lnTo>
                  <a:lnTo>
                    <a:pt x="384" y="1029"/>
                  </a:lnTo>
                  <a:lnTo>
                    <a:pt x="382" y="1028"/>
                  </a:lnTo>
                  <a:lnTo>
                    <a:pt x="384" y="1026"/>
                  </a:lnTo>
                  <a:lnTo>
                    <a:pt x="387" y="1024"/>
                  </a:lnTo>
                  <a:lnTo>
                    <a:pt x="392" y="1024"/>
                  </a:lnTo>
                  <a:lnTo>
                    <a:pt x="394" y="1023"/>
                  </a:lnTo>
                  <a:lnTo>
                    <a:pt x="395" y="1023"/>
                  </a:lnTo>
                  <a:lnTo>
                    <a:pt x="395" y="1021"/>
                  </a:lnTo>
                  <a:lnTo>
                    <a:pt x="397" y="1021"/>
                  </a:lnTo>
                  <a:lnTo>
                    <a:pt x="399" y="1023"/>
                  </a:lnTo>
                  <a:lnTo>
                    <a:pt x="399" y="1024"/>
                  </a:lnTo>
                  <a:lnTo>
                    <a:pt x="399" y="1026"/>
                  </a:lnTo>
                  <a:lnTo>
                    <a:pt x="399" y="1028"/>
                  </a:lnTo>
                  <a:lnTo>
                    <a:pt x="397" y="1028"/>
                  </a:lnTo>
                  <a:lnTo>
                    <a:pt x="395" y="1026"/>
                  </a:lnTo>
                  <a:lnTo>
                    <a:pt x="397" y="1028"/>
                  </a:lnTo>
                  <a:lnTo>
                    <a:pt x="399" y="1028"/>
                  </a:lnTo>
                  <a:lnTo>
                    <a:pt x="399" y="1029"/>
                  </a:lnTo>
                  <a:lnTo>
                    <a:pt x="399" y="1031"/>
                  </a:lnTo>
                  <a:lnTo>
                    <a:pt x="400" y="1031"/>
                  </a:lnTo>
                  <a:lnTo>
                    <a:pt x="399" y="1032"/>
                  </a:lnTo>
                  <a:lnTo>
                    <a:pt x="400" y="1034"/>
                  </a:lnTo>
                  <a:lnTo>
                    <a:pt x="402" y="1036"/>
                  </a:lnTo>
                  <a:lnTo>
                    <a:pt x="402" y="1037"/>
                  </a:lnTo>
                  <a:lnTo>
                    <a:pt x="402" y="1039"/>
                  </a:lnTo>
                  <a:lnTo>
                    <a:pt x="402" y="1041"/>
                  </a:lnTo>
                  <a:lnTo>
                    <a:pt x="404" y="1041"/>
                  </a:lnTo>
                  <a:lnTo>
                    <a:pt x="404" y="1042"/>
                  </a:lnTo>
                  <a:lnTo>
                    <a:pt x="405" y="1042"/>
                  </a:lnTo>
                  <a:lnTo>
                    <a:pt x="405" y="1044"/>
                  </a:lnTo>
                  <a:lnTo>
                    <a:pt x="407" y="1044"/>
                  </a:lnTo>
                  <a:lnTo>
                    <a:pt x="407" y="1045"/>
                  </a:lnTo>
                  <a:lnTo>
                    <a:pt x="408" y="1045"/>
                  </a:lnTo>
                  <a:lnTo>
                    <a:pt x="410" y="1045"/>
                  </a:lnTo>
                  <a:lnTo>
                    <a:pt x="412" y="1045"/>
                  </a:lnTo>
                  <a:lnTo>
                    <a:pt x="413" y="1044"/>
                  </a:lnTo>
                  <a:lnTo>
                    <a:pt x="415" y="1045"/>
                  </a:lnTo>
                  <a:lnTo>
                    <a:pt x="417" y="1045"/>
                  </a:lnTo>
                  <a:lnTo>
                    <a:pt x="418" y="1044"/>
                  </a:lnTo>
                  <a:lnTo>
                    <a:pt x="420" y="1045"/>
                  </a:lnTo>
                  <a:lnTo>
                    <a:pt x="420" y="1044"/>
                  </a:lnTo>
                  <a:lnTo>
                    <a:pt x="418" y="1044"/>
                  </a:lnTo>
                  <a:lnTo>
                    <a:pt x="418" y="1042"/>
                  </a:lnTo>
                  <a:lnTo>
                    <a:pt x="418" y="1041"/>
                  </a:lnTo>
                  <a:lnTo>
                    <a:pt x="420" y="1041"/>
                  </a:lnTo>
                  <a:lnTo>
                    <a:pt x="420" y="1039"/>
                  </a:lnTo>
                  <a:lnTo>
                    <a:pt x="421" y="1041"/>
                  </a:lnTo>
                  <a:lnTo>
                    <a:pt x="423" y="1041"/>
                  </a:lnTo>
                  <a:lnTo>
                    <a:pt x="423" y="1039"/>
                  </a:lnTo>
                  <a:lnTo>
                    <a:pt x="425" y="1039"/>
                  </a:lnTo>
                  <a:lnTo>
                    <a:pt x="426" y="1039"/>
                  </a:lnTo>
                  <a:lnTo>
                    <a:pt x="428" y="1037"/>
                  </a:lnTo>
                  <a:lnTo>
                    <a:pt x="430" y="1037"/>
                  </a:lnTo>
                  <a:lnTo>
                    <a:pt x="428" y="1037"/>
                  </a:lnTo>
                  <a:lnTo>
                    <a:pt x="426" y="1039"/>
                  </a:lnTo>
                  <a:lnTo>
                    <a:pt x="425" y="1039"/>
                  </a:lnTo>
                  <a:lnTo>
                    <a:pt x="423" y="1037"/>
                  </a:lnTo>
                  <a:lnTo>
                    <a:pt x="423" y="1039"/>
                  </a:lnTo>
                  <a:lnTo>
                    <a:pt x="421" y="1039"/>
                  </a:lnTo>
                  <a:lnTo>
                    <a:pt x="420" y="1039"/>
                  </a:lnTo>
                  <a:lnTo>
                    <a:pt x="418" y="1039"/>
                  </a:lnTo>
                  <a:lnTo>
                    <a:pt x="417" y="1041"/>
                  </a:lnTo>
                  <a:lnTo>
                    <a:pt x="417" y="1042"/>
                  </a:lnTo>
                  <a:lnTo>
                    <a:pt x="415" y="1042"/>
                  </a:lnTo>
                  <a:lnTo>
                    <a:pt x="413" y="1041"/>
                  </a:lnTo>
                  <a:lnTo>
                    <a:pt x="412" y="1041"/>
                  </a:lnTo>
                  <a:lnTo>
                    <a:pt x="410" y="1041"/>
                  </a:lnTo>
                  <a:lnTo>
                    <a:pt x="408" y="1039"/>
                  </a:lnTo>
                  <a:lnTo>
                    <a:pt x="407" y="1037"/>
                  </a:lnTo>
                  <a:lnTo>
                    <a:pt x="405" y="1036"/>
                  </a:lnTo>
                  <a:lnTo>
                    <a:pt x="402" y="1032"/>
                  </a:lnTo>
                  <a:lnTo>
                    <a:pt x="400" y="1031"/>
                  </a:lnTo>
                  <a:lnTo>
                    <a:pt x="400" y="1029"/>
                  </a:lnTo>
                  <a:lnTo>
                    <a:pt x="400" y="1028"/>
                  </a:lnTo>
                  <a:lnTo>
                    <a:pt x="400" y="1026"/>
                  </a:lnTo>
                  <a:lnTo>
                    <a:pt x="400" y="1024"/>
                  </a:lnTo>
                  <a:lnTo>
                    <a:pt x="400" y="1023"/>
                  </a:lnTo>
                  <a:lnTo>
                    <a:pt x="400" y="1021"/>
                  </a:lnTo>
                  <a:lnTo>
                    <a:pt x="400" y="1019"/>
                  </a:lnTo>
                  <a:lnTo>
                    <a:pt x="399" y="1019"/>
                  </a:lnTo>
                  <a:lnTo>
                    <a:pt x="399" y="1018"/>
                  </a:lnTo>
                  <a:lnTo>
                    <a:pt x="397" y="1015"/>
                  </a:lnTo>
                  <a:lnTo>
                    <a:pt x="397" y="1013"/>
                  </a:lnTo>
                  <a:lnTo>
                    <a:pt x="397" y="1011"/>
                  </a:lnTo>
                  <a:lnTo>
                    <a:pt x="397" y="1010"/>
                  </a:lnTo>
                  <a:lnTo>
                    <a:pt x="397" y="1008"/>
                  </a:lnTo>
                  <a:lnTo>
                    <a:pt x="395" y="1008"/>
                  </a:lnTo>
                  <a:lnTo>
                    <a:pt x="395" y="1006"/>
                  </a:lnTo>
                  <a:lnTo>
                    <a:pt x="395" y="1005"/>
                  </a:lnTo>
                  <a:lnTo>
                    <a:pt x="397" y="1001"/>
                  </a:lnTo>
                  <a:lnTo>
                    <a:pt x="399" y="1000"/>
                  </a:lnTo>
                  <a:lnTo>
                    <a:pt x="400" y="998"/>
                  </a:lnTo>
                  <a:lnTo>
                    <a:pt x="400" y="997"/>
                  </a:lnTo>
                  <a:lnTo>
                    <a:pt x="402" y="995"/>
                  </a:lnTo>
                  <a:lnTo>
                    <a:pt x="404" y="993"/>
                  </a:lnTo>
                  <a:lnTo>
                    <a:pt x="405" y="993"/>
                  </a:lnTo>
                  <a:lnTo>
                    <a:pt x="405" y="992"/>
                  </a:lnTo>
                  <a:lnTo>
                    <a:pt x="407" y="990"/>
                  </a:lnTo>
                  <a:lnTo>
                    <a:pt x="408" y="990"/>
                  </a:lnTo>
                  <a:lnTo>
                    <a:pt x="407" y="988"/>
                  </a:lnTo>
                  <a:lnTo>
                    <a:pt x="408" y="988"/>
                  </a:lnTo>
                  <a:lnTo>
                    <a:pt x="410" y="987"/>
                  </a:lnTo>
                  <a:lnTo>
                    <a:pt x="412" y="987"/>
                  </a:lnTo>
                  <a:lnTo>
                    <a:pt x="412" y="985"/>
                  </a:lnTo>
                  <a:lnTo>
                    <a:pt x="412" y="984"/>
                  </a:lnTo>
                  <a:lnTo>
                    <a:pt x="413" y="984"/>
                  </a:lnTo>
                  <a:lnTo>
                    <a:pt x="415" y="984"/>
                  </a:lnTo>
                  <a:lnTo>
                    <a:pt x="417" y="984"/>
                  </a:lnTo>
                  <a:lnTo>
                    <a:pt x="420" y="984"/>
                  </a:lnTo>
                  <a:lnTo>
                    <a:pt x="421" y="984"/>
                  </a:lnTo>
                  <a:lnTo>
                    <a:pt x="421" y="982"/>
                  </a:lnTo>
                  <a:lnTo>
                    <a:pt x="426" y="982"/>
                  </a:lnTo>
                  <a:lnTo>
                    <a:pt x="428" y="982"/>
                  </a:lnTo>
                  <a:lnTo>
                    <a:pt x="426" y="982"/>
                  </a:lnTo>
                  <a:lnTo>
                    <a:pt x="425" y="982"/>
                  </a:lnTo>
                  <a:lnTo>
                    <a:pt x="420" y="982"/>
                  </a:lnTo>
                  <a:lnTo>
                    <a:pt x="418" y="982"/>
                  </a:lnTo>
                  <a:lnTo>
                    <a:pt x="417" y="982"/>
                  </a:lnTo>
                  <a:lnTo>
                    <a:pt x="415" y="982"/>
                  </a:lnTo>
                  <a:lnTo>
                    <a:pt x="413" y="982"/>
                  </a:lnTo>
                  <a:lnTo>
                    <a:pt x="410" y="982"/>
                  </a:lnTo>
                  <a:lnTo>
                    <a:pt x="408" y="980"/>
                  </a:lnTo>
                  <a:lnTo>
                    <a:pt x="407" y="980"/>
                  </a:lnTo>
                  <a:lnTo>
                    <a:pt x="407" y="979"/>
                  </a:lnTo>
                  <a:lnTo>
                    <a:pt x="405" y="977"/>
                  </a:lnTo>
                  <a:lnTo>
                    <a:pt x="405" y="975"/>
                  </a:lnTo>
                  <a:lnTo>
                    <a:pt x="405" y="974"/>
                  </a:lnTo>
                  <a:lnTo>
                    <a:pt x="405" y="972"/>
                  </a:lnTo>
                  <a:lnTo>
                    <a:pt x="405" y="971"/>
                  </a:lnTo>
                  <a:lnTo>
                    <a:pt x="405" y="967"/>
                  </a:lnTo>
                  <a:lnTo>
                    <a:pt x="407" y="966"/>
                  </a:lnTo>
                  <a:lnTo>
                    <a:pt x="407" y="964"/>
                  </a:lnTo>
                  <a:lnTo>
                    <a:pt x="408" y="961"/>
                  </a:lnTo>
                  <a:lnTo>
                    <a:pt x="408" y="959"/>
                  </a:lnTo>
                  <a:lnTo>
                    <a:pt x="408" y="958"/>
                  </a:lnTo>
                  <a:lnTo>
                    <a:pt x="408" y="956"/>
                  </a:lnTo>
                  <a:lnTo>
                    <a:pt x="408" y="954"/>
                  </a:lnTo>
                  <a:lnTo>
                    <a:pt x="410" y="953"/>
                  </a:lnTo>
                  <a:lnTo>
                    <a:pt x="412" y="953"/>
                  </a:lnTo>
                  <a:lnTo>
                    <a:pt x="413" y="953"/>
                  </a:lnTo>
                  <a:lnTo>
                    <a:pt x="413" y="954"/>
                  </a:lnTo>
                  <a:lnTo>
                    <a:pt x="413" y="956"/>
                  </a:lnTo>
                  <a:lnTo>
                    <a:pt x="412" y="958"/>
                  </a:lnTo>
                  <a:lnTo>
                    <a:pt x="413" y="958"/>
                  </a:lnTo>
                  <a:lnTo>
                    <a:pt x="413" y="959"/>
                  </a:lnTo>
                  <a:lnTo>
                    <a:pt x="415" y="961"/>
                  </a:lnTo>
                  <a:lnTo>
                    <a:pt x="415" y="962"/>
                  </a:lnTo>
                  <a:lnTo>
                    <a:pt x="413" y="962"/>
                  </a:lnTo>
                  <a:lnTo>
                    <a:pt x="415" y="964"/>
                  </a:lnTo>
                  <a:lnTo>
                    <a:pt x="417" y="966"/>
                  </a:lnTo>
                  <a:lnTo>
                    <a:pt x="417" y="964"/>
                  </a:lnTo>
                  <a:lnTo>
                    <a:pt x="415" y="964"/>
                  </a:lnTo>
                  <a:lnTo>
                    <a:pt x="415" y="962"/>
                  </a:lnTo>
                  <a:lnTo>
                    <a:pt x="415" y="961"/>
                  </a:lnTo>
                  <a:lnTo>
                    <a:pt x="413" y="959"/>
                  </a:lnTo>
                  <a:lnTo>
                    <a:pt x="413" y="958"/>
                  </a:lnTo>
                  <a:lnTo>
                    <a:pt x="413" y="956"/>
                  </a:lnTo>
                  <a:lnTo>
                    <a:pt x="413" y="954"/>
                  </a:lnTo>
                  <a:lnTo>
                    <a:pt x="413" y="953"/>
                  </a:lnTo>
                  <a:lnTo>
                    <a:pt x="415" y="953"/>
                  </a:lnTo>
                  <a:lnTo>
                    <a:pt x="418" y="953"/>
                  </a:lnTo>
                  <a:lnTo>
                    <a:pt x="420" y="953"/>
                  </a:lnTo>
                  <a:lnTo>
                    <a:pt x="421" y="953"/>
                  </a:lnTo>
                  <a:lnTo>
                    <a:pt x="423" y="953"/>
                  </a:lnTo>
                  <a:lnTo>
                    <a:pt x="425" y="953"/>
                  </a:lnTo>
                  <a:lnTo>
                    <a:pt x="425" y="951"/>
                  </a:lnTo>
                  <a:lnTo>
                    <a:pt x="426" y="951"/>
                  </a:lnTo>
                  <a:lnTo>
                    <a:pt x="426" y="949"/>
                  </a:lnTo>
                  <a:lnTo>
                    <a:pt x="425" y="949"/>
                  </a:lnTo>
                  <a:lnTo>
                    <a:pt x="425" y="948"/>
                  </a:lnTo>
                  <a:lnTo>
                    <a:pt x="426" y="948"/>
                  </a:lnTo>
                  <a:lnTo>
                    <a:pt x="426" y="946"/>
                  </a:lnTo>
                  <a:lnTo>
                    <a:pt x="428" y="946"/>
                  </a:lnTo>
                  <a:lnTo>
                    <a:pt x="430" y="946"/>
                  </a:lnTo>
                  <a:lnTo>
                    <a:pt x="430" y="945"/>
                  </a:lnTo>
                  <a:lnTo>
                    <a:pt x="430" y="943"/>
                  </a:lnTo>
                  <a:lnTo>
                    <a:pt x="430" y="941"/>
                  </a:lnTo>
                  <a:lnTo>
                    <a:pt x="431" y="941"/>
                  </a:lnTo>
                  <a:lnTo>
                    <a:pt x="430" y="941"/>
                  </a:lnTo>
                  <a:lnTo>
                    <a:pt x="430" y="940"/>
                  </a:lnTo>
                  <a:lnTo>
                    <a:pt x="430" y="941"/>
                  </a:lnTo>
                  <a:lnTo>
                    <a:pt x="430" y="943"/>
                  </a:lnTo>
                  <a:lnTo>
                    <a:pt x="430" y="945"/>
                  </a:lnTo>
                  <a:lnTo>
                    <a:pt x="428" y="945"/>
                  </a:lnTo>
                  <a:lnTo>
                    <a:pt x="426" y="945"/>
                  </a:lnTo>
                  <a:lnTo>
                    <a:pt x="425" y="946"/>
                  </a:lnTo>
                  <a:lnTo>
                    <a:pt x="425" y="945"/>
                  </a:lnTo>
                  <a:lnTo>
                    <a:pt x="425" y="943"/>
                  </a:lnTo>
                  <a:lnTo>
                    <a:pt x="425" y="941"/>
                  </a:lnTo>
                  <a:lnTo>
                    <a:pt x="423" y="941"/>
                  </a:lnTo>
                  <a:lnTo>
                    <a:pt x="423" y="940"/>
                  </a:lnTo>
                  <a:lnTo>
                    <a:pt x="425" y="940"/>
                  </a:lnTo>
                  <a:lnTo>
                    <a:pt x="425" y="938"/>
                  </a:lnTo>
                  <a:lnTo>
                    <a:pt x="426" y="936"/>
                  </a:lnTo>
                  <a:lnTo>
                    <a:pt x="428" y="935"/>
                  </a:lnTo>
                  <a:lnTo>
                    <a:pt x="430" y="935"/>
                  </a:lnTo>
                  <a:lnTo>
                    <a:pt x="431" y="935"/>
                  </a:lnTo>
                  <a:lnTo>
                    <a:pt x="431" y="933"/>
                  </a:lnTo>
                  <a:lnTo>
                    <a:pt x="433" y="933"/>
                  </a:lnTo>
                  <a:lnTo>
                    <a:pt x="433" y="932"/>
                  </a:lnTo>
                  <a:lnTo>
                    <a:pt x="434" y="932"/>
                  </a:lnTo>
                  <a:lnTo>
                    <a:pt x="434" y="930"/>
                  </a:lnTo>
                  <a:lnTo>
                    <a:pt x="436" y="928"/>
                  </a:lnTo>
                  <a:lnTo>
                    <a:pt x="434" y="928"/>
                  </a:lnTo>
                  <a:lnTo>
                    <a:pt x="434" y="927"/>
                  </a:lnTo>
                  <a:lnTo>
                    <a:pt x="434" y="925"/>
                  </a:lnTo>
                  <a:lnTo>
                    <a:pt x="434" y="923"/>
                  </a:lnTo>
                  <a:lnTo>
                    <a:pt x="433" y="923"/>
                  </a:lnTo>
                  <a:lnTo>
                    <a:pt x="433" y="922"/>
                  </a:lnTo>
                  <a:lnTo>
                    <a:pt x="433" y="920"/>
                  </a:lnTo>
                  <a:lnTo>
                    <a:pt x="431" y="920"/>
                  </a:lnTo>
                  <a:lnTo>
                    <a:pt x="431" y="919"/>
                  </a:lnTo>
                  <a:lnTo>
                    <a:pt x="433" y="919"/>
                  </a:lnTo>
                  <a:lnTo>
                    <a:pt x="433" y="917"/>
                  </a:lnTo>
                  <a:lnTo>
                    <a:pt x="434" y="917"/>
                  </a:lnTo>
                  <a:lnTo>
                    <a:pt x="436" y="917"/>
                  </a:lnTo>
                  <a:lnTo>
                    <a:pt x="436" y="915"/>
                  </a:lnTo>
                  <a:lnTo>
                    <a:pt x="438" y="915"/>
                  </a:lnTo>
                  <a:lnTo>
                    <a:pt x="439" y="914"/>
                  </a:lnTo>
                  <a:lnTo>
                    <a:pt x="438" y="914"/>
                  </a:lnTo>
                  <a:lnTo>
                    <a:pt x="438" y="912"/>
                  </a:lnTo>
                  <a:lnTo>
                    <a:pt x="438" y="910"/>
                  </a:lnTo>
                  <a:lnTo>
                    <a:pt x="438" y="912"/>
                  </a:lnTo>
                  <a:lnTo>
                    <a:pt x="438" y="914"/>
                  </a:lnTo>
                  <a:lnTo>
                    <a:pt x="436" y="914"/>
                  </a:lnTo>
                  <a:lnTo>
                    <a:pt x="436" y="915"/>
                  </a:lnTo>
                  <a:lnTo>
                    <a:pt x="434" y="915"/>
                  </a:lnTo>
                  <a:lnTo>
                    <a:pt x="434" y="917"/>
                  </a:lnTo>
                  <a:lnTo>
                    <a:pt x="433" y="917"/>
                  </a:lnTo>
                  <a:lnTo>
                    <a:pt x="431" y="917"/>
                  </a:lnTo>
                  <a:lnTo>
                    <a:pt x="430" y="917"/>
                  </a:lnTo>
                  <a:lnTo>
                    <a:pt x="428" y="917"/>
                  </a:lnTo>
                  <a:lnTo>
                    <a:pt x="428" y="919"/>
                  </a:lnTo>
                  <a:lnTo>
                    <a:pt x="426" y="920"/>
                  </a:lnTo>
                  <a:lnTo>
                    <a:pt x="426" y="922"/>
                  </a:lnTo>
                  <a:lnTo>
                    <a:pt x="425" y="923"/>
                  </a:lnTo>
                  <a:lnTo>
                    <a:pt x="425" y="922"/>
                  </a:lnTo>
                  <a:lnTo>
                    <a:pt x="423" y="922"/>
                  </a:lnTo>
                  <a:lnTo>
                    <a:pt x="421" y="922"/>
                  </a:lnTo>
                  <a:lnTo>
                    <a:pt x="420" y="922"/>
                  </a:lnTo>
                  <a:lnTo>
                    <a:pt x="420" y="920"/>
                  </a:lnTo>
                  <a:lnTo>
                    <a:pt x="420" y="919"/>
                  </a:lnTo>
                  <a:lnTo>
                    <a:pt x="418" y="915"/>
                  </a:lnTo>
                  <a:lnTo>
                    <a:pt x="420" y="915"/>
                  </a:lnTo>
                  <a:lnTo>
                    <a:pt x="420" y="914"/>
                  </a:lnTo>
                  <a:lnTo>
                    <a:pt x="420" y="912"/>
                  </a:lnTo>
                  <a:lnTo>
                    <a:pt x="418" y="912"/>
                  </a:lnTo>
                  <a:lnTo>
                    <a:pt x="418" y="910"/>
                  </a:lnTo>
                  <a:lnTo>
                    <a:pt x="418" y="909"/>
                  </a:lnTo>
                  <a:lnTo>
                    <a:pt x="420" y="909"/>
                  </a:lnTo>
                  <a:lnTo>
                    <a:pt x="418" y="909"/>
                  </a:lnTo>
                  <a:lnTo>
                    <a:pt x="417" y="910"/>
                  </a:lnTo>
                  <a:lnTo>
                    <a:pt x="417" y="912"/>
                  </a:lnTo>
                  <a:lnTo>
                    <a:pt x="418" y="912"/>
                  </a:lnTo>
                  <a:lnTo>
                    <a:pt x="418" y="914"/>
                  </a:lnTo>
                  <a:lnTo>
                    <a:pt x="417" y="914"/>
                  </a:lnTo>
                  <a:lnTo>
                    <a:pt x="417" y="915"/>
                  </a:lnTo>
                  <a:lnTo>
                    <a:pt x="415" y="917"/>
                  </a:lnTo>
                  <a:lnTo>
                    <a:pt x="415" y="919"/>
                  </a:lnTo>
                  <a:lnTo>
                    <a:pt x="415" y="920"/>
                  </a:lnTo>
                  <a:lnTo>
                    <a:pt x="413" y="920"/>
                  </a:lnTo>
                  <a:lnTo>
                    <a:pt x="413" y="922"/>
                  </a:lnTo>
                  <a:lnTo>
                    <a:pt x="412" y="922"/>
                  </a:lnTo>
                  <a:lnTo>
                    <a:pt x="412" y="923"/>
                  </a:lnTo>
                  <a:lnTo>
                    <a:pt x="410" y="923"/>
                  </a:lnTo>
                  <a:lnTo>
                    <a:pt x="410" y="925"/>
                  </a:lnTo>
                  <a:lnTo>
                    <a:pt x="408" y="925"/>
                  </a:lnTo>
                  <a:lnTo>
                    <a:pt x="407" y="927"/>
                  </a:lnTo>
                  <a:lnTo>
                    <a:pt x="405" y="928"/>
                  </a:lnTo>
                  <a:lnTo>
                    <a:pt x="404" y="928"/>
                  </a:lnTo>
                  <a:lnTo>
                    <a:pt x="404" y="930"/>
                  </a:lnTo>
                  <a:lnTo>
                    <a:pt x="405" y="932"/>
                  </a:lnTo>
                  <a:lnTo>
                    <a:pt x="404" y="932"/>
                  </a:lnTo>
                  <a:lnTo>
                    <a:pt x="404" y="930"/>
                  </a:lnTo>
                  <a:lnTo>
                    <a:pt x="402" y="930"/>
                  </a:lnTo>
                  <a:lnTo>
                    <a:pt x="404" y="930"/>
                  </a:lnTo>
                  <a:lnTo>
                    <a:pt x="404" y="928"/>
                  </a:lnTo>
                  <a:lnTo>
                    <a:pt x="402" y="928"/>
                  </a:lnTo>
                  <a:lnTo>
                    <a:pt x="402" y="927"/>
                  </a:lnTo>
                  <a:lnTo>
                    <a:pt x="402" y="925"/>
                  </a:lnTo>
                  <a:lnTo>
                    <a:pt x="400" y="925"/>
                  </a:lnTo>
                  <a:lnTo>
                    <a:pt x="400" y="927"/>
                  </a:lnTo>
                  <a:lnTo>
                    <a:pt x="399" y="927"/>
                  </a:lnTo>
                  <a:lnTo>
                    <a:pt x="399" y="925"/>
                  </a:lnTo>
                  <a:lnTo>
                    <a:pt x="399" y="923"/>
                  </a:lnTo>
                  <a:lnTo>
                    <a:pt x="399" y="922"/>
                  </a:lnTo>
                  <a:lnTo>
                    <a:pt x="399" y="920"/>
                  </a:lnTo>
                  <a:lnTo>
                    <a:pt x="399" y="919"/>
                  </a:lnTo>
                  <a:lnTo>
                    <a:pt x="400" y="919"/>
                  </a:lnTo>
                  <a:lnTo>
                    <a:pt x="400" y="917"/>
                  </a:lnTo>
                  <a:lnTo>
                    <a:pt x="399" y="917"/>
                  </a:lnTo>
                  <a:lnTo>
                    <a:pt x="399" y="915"/>
                  </a:lnTo>
                  <a:lnTo>
                    <a:pt x="400" y="915"/>
                  </a:lnTo>
                  <a:lnTo>
                    <a:pt x="402" y="915"/>
                  </a:lnTo>
                  <a:lnTo>
                    <a:pt x="402" y="914"/>
                  </a:lnTo>
                  <a:lnTo>
                    <a:pt x="404" y="912"/>
                  </a:lnTo>
                  <a:lnTo>
                    <a:pt x="404" y="910"/>
                  </a:lnTo>
                  <a:lnTo>
                    <a:pt x="405" y="909"/>
                  </a:lnTo>
                  <a:lnTo>
                    <a:pt x="407" y="907"/>
                  </a:lnTo>
                  <a:lnTo>
                    <a:pt x="405" y="907"/>
                  </a:lnTo>
                  <a:lnTo>
                    <a:pt x="405" y="906"/>
                  </a:lnTo>
                  <a:lnTo>
                    <a:pt x="404" y="906"/>
                  </a:lnTo>
                  <a:lnTo>
                    <a:pt x="405" y="904"/>
                  </a:lnTo>
                  <a:lnTo>
                    <a:pt x="404" y="904"/>
                  </a:lnTo>
                  <a:lnTo>
                    <a:pt x="404" y="902"/>
                  </a:lnTo>
                  <a:lnTo>
                    <a:pt x="404" y="904"/>
                  </a:lnTo>
                  <a:lnTo>
                    <a:pt x="404" y="906"/>
                  </a:lnTo>
                  <a:lnTo>
                    <a:pt x="402" y="907"/>
                  </a:lnTo>
                  <a:lnTo>
                    <a:pt x="400" y="909"/>
                  </a:lnTo>
                  <a:lnTo>
                    <a:pt x="400" y="910"/>
                  </a:lnTo>
                  <a:lnTo>
                    <a:pt x="400" y="912"/>
                  </a:lnTo>
                  <a:lnTo>
                    <a:pt x="399" y="912"/>
                  </a:lnTo>
                  <a:lnTo>
                    <a:pt x="397" y="912"/>
                  </a:lnTo>
                  <a:lnTo>
                    <a:pt x="397" y="910"/>
                  </a:lnTo>
                  <a:lnTo>
                    <a:pt x="397" y="912"/>
                  </a:lnTo>
                  <a:lnTo>
                    <a:pt x="395" y="912"/>
                  </a:lnTo>
                  <a:lnTo>
                    <a:pt x="394" y="912"/>
                  </a:lnTo>
                  <a:lnTo>
                    <a:pt x="394" y="910"/>
                  </a:lnTo>
                  <a:lnTo>
                    <a:pt x="392" y="909"/>
                  </a:lnTo>
                  <a:lnTo>
                    <a:pt x="391" y="904"/>
                  </a:lnTo>
                  <a:lnTo>
                    <a:pt x="391" y="902"/>
                  </a:lnTo>
                  <a:lnTo>
                    <a:pt x="389" y="901"/>
                  </a:lnTo>
                  <a:lnTo>
                    <a:pt x="389" y="899"/>
                  </a:lnTo>
                  <a:lnTo>
                    <a:pt x="389" y="897"/>
                  </a:lnTo>
                  <a:lnTo>
                    <a:pt x="389" y="896"/>
                  </a:lnTo>
                  <a:lnTo>
                    <a:pt x="389" y="894"/>
                  </a:lnTo>
                  <a:lnTo>
                    <a:pt x="389" y="893"/>
                  </a:lnTo>
                  <a:lnTo>
                    <a:pt x="389" y="891"/>
                  </a:lnTo>
                  <a:lnTo>
                    <a:pt x="389" y="889"/>
                  </a:lnTo>
                  <a:lnTo>
                    <a:pt x="391" y="888"/>
                  </a:lnTo>
                  <a:lnTo>
                    <a:pt x="391" y="889"/>
                  </a:lnTo>
                  <a:lnTo>
                    <a:pt x="392" y="889"/>
                  </a:lnTo>
                  <a:lnTo>
                    <a:pt x="391" y="889"/>
                  </a:lnTo>
                  <a:lnTo>
                    <a:pt x="391" y="888"/>
                  </a:lnTo>
                  <a:lnTo>
                    <a:pt x="391" y="886"/>
                  </a:lnTo>
                  <a:lnTo>
                    <a:pt x="392" y="886"/>
                  </a:lnTo>
                  <a:lnTo>
                    <a:pt x="391" y="886"/>
                  </a:lnTo>
                  <a:lnTo>
                    <a:pt x="389" y="886"/>
                  </a:lnTo>
                  <a:lnTo>
                    <a:pt x="389" y="884"/>
                  </a:lnTo>
                  <a:lnTo>
                    <a:pt x="389" y="886"/>
                  </a:lnTo>
                  <a:lnTo>
                    <a:pt x="391" y="888"/>
                  </a:lnTo>
                  <a:lnTo>
                    <a:pt x="389" y="888"/>
                  </a:lnTo>
                  <a:lnTo>
                    <a:pt x="387" y="886"/>
                  </a:lnTo>
                  <a:lnTo>
                    <a:pt x="387" y="884"/>
                  </a:lnTo>
                  <a:lnTo>
                    <a:pt x="387" y="883"/>
                  </a:lnTo>
                  <a:lnTo>
                    <a:pt x="387" y="881"/>
                  </a:lnTo>
                  <a:lnTo>
                    <a:pt x="386" y="881"/>
                  </a:lnTo>
                  <a:lnTo>
                    <a:pt x="386" y="880"/>
                  </a:lnTo>
                  <a:lnTo>
                    <a:pt x="384" y="878"/>
                  </a:lnTo>
                  <a:lnTo>
                    <a:pt x="384" y="876"/>
                  </a:lnTo>
                  <a:lnTo>
                    <a:pt x="382" y="873"/>
                  </a:lnTo>
                  <a:lnTo>
                    <a:pt x="381" y="871"/>
                  </a:lnTo>
                  <a:lnTo>
                    <a:pt x="381" y="870"/>
                  </a:lnTo>
                  <a:lnTo>
                    <a:pt x="381" y="868"/>
                  </a:lnTo>
                  <a:lnTo>
                    <a:pt x="379" y="867"/>
                  </a:lnTo>
                  <a:lnTo>
                    <a:pt x="379" y="865"/>
                  </a:lnTo>
                  <a:lnTo>
                    <a:pt x="377" y="865"/>
                  </a:lnTo>
                  <a:lnTo>
                    <a:pt x="377" y="863"/>
                  </a:lnTo>
                  <a:lnTo>
                    <a:pt x="376" y="862"/>
                  </a:lnTo>
                  <a:lnTo>
                    <a:pt x="376" y="860"/>
                  </a:lnTo>
                  <a:lnTo>
                    <a:pt x="377" y="860"/>
                  </a:lnTo>
                  <a:lnTo>
                    <a:pt x="379" y="860"/>
                  </a:lnTo>
                  <a:lnTo>
                    <a:pt x="379" y="858"/>
                  </a:lnTo>
                  <a:lnTo>
                    <a:pt x="381" y="857"/>
                  </a:lnTo>
                  <a:lnTo>
                    <a:pt x="382" y="855"/>
                  </a:lnTo>
                  <a:lnTo>
                    <a:pt x="382" y="853"/>
                  </a:lnTo>
                  <a:lnTo>
                    <a:pt x="382" y="852"/>
                  </a:lnTo>
                  <a:lnTo>
                    <a:pt x="384" y="850"/>
                  </a:lnTo>
                  <a:lnTo>
                    <a:pt x="384" y="849"/>
                  </a:lnTo>
                  <a:lnTo>
                    <a:pt x="386" y="847"/>
                  </a:lnTo>
                  <a:lnTo>
                    <a:pt x="386" y="845"/>
                  </a:lnTo>
                  <a:lnTo>
                    <a:pt x="386" y="844"/>
                  </a:lnTo>
                  <a:lnTo>
                    <a:pt x="386" y="842"/>
                  </a:lnTo>
                  <a:lnTo>
                    <a:pt x="387" y="842"/>
                  </a:lnTo>
                  <a:lnTo>
                    <a:pt x="387" y="840"/>
                  </a:lnTo>
                  <a:lnTo>
                    <a:pt x="389" y="839"/>
                  </a:lnTo>
                  <a:lnTo>
                    <a:pt x="391" y="839"/>
                  </a:lnTo>
                  <a:lnTo>
                    <a:pt x="391" y="837"/>
                  </a:lnTo>
                  <a:lnTo>
                    <a:pt x="392" y="836"/>
                  </a:lnTo>
                  <a:lnTo>
                    <a:pt x="392" y="834"/>
                  </a:lnTo>
                  <a:lnTo>
                    <a:pt x="394" y="834"/>
                  </a:lnTo>
                  <a:lnTo>
                    <a:pt x="394" y="832"/>
                  </a:lnTo>
                  <a:lnTo>
                    <a:pt x="395" y="832"/>
                  </a:lnTo>
                  <a:lnTo>
                    <a:pt x="397" y="832"/>
                  </a:lnTo>
                  <a:lnTo>
                    <a:pt x="399" y="831"/>
                  </a:lnTo>
                  <a:lnTo>
                    <a:pt x="399" y="829"/>
                  </a:lnTo>
                  <a:lnTo>
                    <a:pt x="400" y="829"/>
                  </a:lnTo>
                  <a:lnTo>
                    <a:pt x="400" y="827"/>
                  </a:lnTo>
                  <a:lnTo>
                    <a:pt x="400" y="826"/>
                  </a:lnTo>
                  <a:lnTo>
                    <a:pt x="400" y="824"/>
                  </a:lnTo>
                  <a:lnTo>
                    <a:pt x="400" y="823"/>
                  </a:lnTo>
                  <a:lnTo>
                    <a:pt x="402" y="823"/>
                  </a:lnTo>
                  <a:lnTo>
                    <a:pt x="404" y="818"/>
                  </a:lnTo>
                  <a:lnTo>
                    <a:pt x="405" y="816"/>
                  </a:lnTo>
                  <a:lnTo>
                    <a:pt x="405" y="814"/>
                  </a:lnTo>
                  <a:lnTo>
                    <a:pt x="407" y="814"/>
                  </a:lnTo>
                  <a:lnTo>
                    <a:pt x="408" y="811"/>
                  </a:lnTo>
                  <a:lnTo>
                    <a:pt x="410" y="811"/>
                  </a:lnTo>
                  <a:lnTo>
                    <a:pt x="412" y="811"/>
                  </a:lnTo>
                  <a:lnTo>
                    <a:pt x="412" y="813"/>
                  </a:lnTo>
                  <a:lnTo>
                    <a:pt x="413" y="813"/>
                  </a:lnTo>
                  <a:lnTo>
                    <a:pt x="415" y="814"/>
                  </a:lnTo>
                  <a:lnTo>
                    <a:pt x="415" y="816"/>
                  </a:lnTo>
                  <a:lnTo>
                    <a:pt x="417" y="814"/>
                  </a:lnTo>
                  <a:lnTo>
                    <a:pt x="415" y="814"/>
                  </a:lnTo>
                  <a:lnTo>
                    <a:pt x="415" y="813"/>
                  </a:lnTo>
                  <a:lnTo>
                    <a:pt x="417" y="813"/>
                  </a:lnTo>
                  <a:lnTo>
                    <a:pt x="418" y="813"/>
                  </a:lnTo>
                  <a:lnTo>
                    <a:pt x="418" y="811"/>
                  </a:lnTo>
                  <a:lnTo>
                    <a:pt x="420" y="811"/>
                  </a:lnTo>
                  <a:lnTo>
                    <a:pt x="421" y="813"/>
                  </a:lnTo>
                  <a:lnTo>
                    <a:pt x="421" y="811"/>
                  </a:lnTo>
                  <a:lnTo>
                    <a:pt x="420" y="811"/>
                  </a:lnTo>
                  <a:lnTo>
                    <a:pt x="420" y="810"/>
                  </a:lnTo>
                  <a:lnTo>
                    <a:pt x="418" y="811"/>
                  </a:lnTo>
                  <a:lnTo>
                    <a:pt x="417" y="811"/>
                  </a:lnTo>
                  <a:lnTo>
                    <a:pt x="415" y="811"/>
                  </a:lnTo>
                  <a:lnTo>
                    <a:pt x="415" y="810"/>
                  </a:lnTo>
                  <a:lnTo>
                    <a:pt x="415" y="808"/>
                  </a:lnTo>
                  <a:lnTo>
                    <a:pt x="417" y="806"/>
                  </a:lnTo>
                  <a:lnTo>
                    <a:pt x="418" y="806"/>
                  </a:lnTo>
                  <a:lnTo>
                    <a:pt x="420" y="806"/>
                  </a:lnTo>
                  <a:lnTo>
                    <a:pt x="421" y="805"/>
                  </a:lnTo>
                  <a:lnTo>
                    <a:pt x="423" y="805"/>
                  </a:lnTo>
                  <a:lnTo>
                    <a:pt x="425" y="805"/>
                  </a:lnTo>
                  <a:lnTo>
                    <a:pt x="425" y="806"/>
                  </a:lnTo>
                  <a:lnTo>
                    <a:pt x="426" y="808"/>
                  </a:lnTo>
                  <a:lnTo>
                    <a:pt x="428" y="808"/>
                  </a:lnTo>
                  <a:lnTo>
                    <a:pt x="428" y="810"/>
                  </a:lnTo>
                  <a:lnTo>
                    <a:pt x="430" y="810"/>
                  </a:lnTo>
                  <a:lnTo>
                    <a:pt x="431" y="811"/>
                  </a:lnTo>
                  <a:lnTo>
                    <a:pt x="431" y="810"/>
                  </a:lnTo>
                  <a:lnTo>
                    <a:pt x="433" y="810"/>
                  </a:lnTo>
                  <a:lnTo>
                    <a:pt x="434" y="810"/>
                  </a:lnTo>
                  <a:lnTo>
                    <a:pt x="434" y="808"/>
                  </a:lnTo>
                  <a:lnTo>
                    <a:pt x="436" y="808"/>
                  </a:lnTo>
                  <a:lnTo>
                    <a:pt x="438" y="810"/>
                  </a:lnTo>
                  <a:lnTo>
                    <a:pt x="439" y="810"/>
                  </a:lnTo>
                  <a:lnTo>
                    <a:pt x="438" y="810"/>
                  </a:lnTo>
                  <a:lnTo>
                    <a:pt x="436" y="808"/>
                  </a:lnTo>
                  <a:lnTo>
                    <a:pt x="434" y="808"/>
                  </a:lnTo>
                  <a:lnTo>
                    <a:pt x="433" y="808"/>
                  </a:lnTo>
                  <a:lnTo>
                    <a:pt x="433" y="806"/>
                  </a:lnTo>
                  <a:lnTo>
                    <a:pt x="434" y="806"/>
                  </a:lnTo>
                  <a:lnTo>
                    <a:pt x="434" y="805"/>
                  </a:lnTo>
                  <a:lnTo>
                    <a:pt x="436" y="805"/>
                  </a:lnTo>
                  <a:lnTo>
                    <a:pt x="436" y="803"/>
                  </a:lnTo>
                  <a:lnTo>
                    <a:pt x="438" y="803"/>
                  </a:lnTo>
                  <a:lnTo>
                    <a:pt x="438" y="805"/>
                  </a:lnTo>
                  <a:lnTo>
                    <a:pt x="438" y="806"/>
                  </a:lnTo>
                  <a:lnTo>
                    <a:pt x="439" y="806"/>
                  </a:lnTo>
                  <a:lnTo>
                    <a:pt x="438" y="806"/>
                  </a:lnTo>
                  <a:lnTo>
                    <a:pt x="438" y="805"/>
                  </a:lnTo>
                  <a:lnTo>
                    <a:pt x="438" y="803"/>
                  </a:lnTo>
                  <a:lnTo>
                    <a:pt x="436" y="803"/>
                  </a:lnTo>
                  <a:lnTo>
                    <a:pt x="434" y="803"/>
                  </a:lnTo>
                  <a:lnTo>
                    <a:pt x="433" y="805"/>
                  </a:lnTo>
                  <a:lnTo>
                    <a:pt x="433" y="803"/>
                  </a:lnTo>
                  <a:lnTo>
                    <a:pt x="431" y="803"/>
                  </a:lnTo>
                  <a:lnTo>
                    <a:pt x="431" y="805"/>
                  </a:lnTo>
                  <a:lnTo>
                    <a:pt x="430" y="805"/>
                  </a:lnTo>
                  <a:lnTo>
                    <a:pt x="428" y="805"/>
                  </a:lnTo>
                  <a:lnTo>
                    <a:pt x="428" y="803"/>
                  </a:lnTo>
                  <a:lnTo>
                    <a:pt x="426" y="803"/>
                  </a:lnTo>
                  <a:lnTo>
                    <a:pt x="425" y="801"/>
                  </a:lnTo>
                  <a:lnTo>
                    <a:pt x="421" y="803"/>
                  </a:lnTo>
                  <a:lnTo>
                    <a:pt x="421" y="801"/>
                  </a:lnTo>
                  <a:lnTo>
                    <a:pt x="420" y="801"/>
                  </a:lnTo>
                  <a:lnTo>
                    <a:pt x="420" y="803"/>
                  </a:lnTo>
                  <a:lnTo>
                    <a:pt x="418" y="803"/>
                  </a:lnTo>
                  <a:lnTo>
                    <a:pt x="417" y="801"/>
                  </a:lnTo>
                  <a:lnTo>
                    <a:pt x="415" y="800"/>
                  </a:lnTo>
                  <a:lnTo>
                    <a:pt x="413" y="800"/>
                  </a:lnTo>
                  <a:lnTo>
                    <a:pt x="412" y="800"/>
                  </a:lnTo>
                  <a:lnTo>
                    <a:pt x="410" y="800"/>
                  </a:lnTo>
                  <a:lnTo>
                    <a:pt x="408" y="800"/>
                  </a:lnTo>
                  <a:lnTo>
                    <a:pt x="407" y="797"/>
                  </a:lnTo>
                  <a:lnTo>
                    <a:pt x="405" y="797"/>
                  </a:lnTo>
                  <a:lnTo>
                    <a:pt x="405" y="798"/>
                  </a:lnTo>
                  <a:lnTo>
                    <a:pt x="404" y="798"/>
                  </a:lnTo>
                  <a:lnTo>
                    <a:pt x="404" y="800"/>
                  </a:lnTo>
                  <a:lnTo>
                    <a:pt x="402" y="800"/>
                  </a:lnTo>
                  <a:lnTo>
                    <a:pt x="400" y="798"/>
                  </a:lnTo>
                  <a:lnTo>
                    <a:pt x="399" y="798"/>
                  </a:lnTo>
                  <a:lnTo>
                    <a:pt x="397" y="798"/>
                  </a:lnTo>
                  <a:lnTo>
                    <a:pt x="395" y="797"/>
                  </a:lnTo>
                  <a:lnTo>
                    <a:pt x="395" y="795"/>
                  </a:lnTo>
                  <a:lnTo>
                    <a:pt x="395" y="793"/>
                  </a:lnTo>
                  <a:lnTo>
                    <a:pt x="395" y="795"/>
                  </a:lnTo>
                  <a:lnTo>
                    <a:pt x="394" y="797"/>
                  </a:lnTo>
                  <a:lnTo>
                    <a:pt x="394" y="798"/>
                  </a:lnTo>
                  <a:lnTo>
                    <a:pt x="394" y="800"/>
                  </a:lnTo>
                  <a:lnTo>
                    <a:pt x="392" y="800"/>
                  </a:lnTo>
                  <a:lnTo>
                    <a:pt x="394" y="801"/>
                  </a:lnTo>
                  <a:lnTo>
                    <a:pt x="392" y="801"/>
                  </a:lnTo>
                  <a:lnTo>
                    <a:pt x="392" y="803"/>
                  </a:lnTo>
                  <a:lnTo>
                    <a:pt x="394" y="805"/>
                  </a:lnTo>
                  <a:lnTo>
                    <a:pt x="394" y="806"/>
                  </a:lnTo>
                  <a:lnTo>
                    <a:pt x="392" y="808"/>
                  </a:lnTo>
                  <a:lnTo>
                    <a:pt x="391" y="810"/>
                  </a:lnTo>
                  <a:lnTo>
                    <a:pt x="391" y="811"/>
                  </a:lnTo>
                  <a:lnTo>
                    <a:pt x="389" y="811"/>
                  </a:lnTo>
                  <a:lnTo>
                    <a:pt x="389" y="810"/>
                  </a:lnTo>
                  <a:lnTo>
                    <a:pt x="387" y="810"/>
                  </a:lnTo>
                  <a:lnTo>
                    <a:pt x="382" y="808"/>
                  </a:lnTo>
                  <a:lnTo>
                    <a:pt x="381" y="808"/>
                  </a:lnTo>
                  <a:lnTo>
                    <a:pt x="382" y="808"/>
                  </a:lnTo>
                  <a:lnTo>
                    <a:pt x="381" y="808"/>
                  </a:lnTo>
                  <a:lnTo>
                    <a:pt x="379" y="808"/>
                  </a:lnTo>
                  <a:lnTo>
                    <a:pt x="377" y="810"/>
                  </a:lnTo>
                  <a:lnTo>
                    <a:pt x="376" y="811"/>
                  </a:lnTo>
                  <a:lnTo>
                    <a:pt x="374" y="811"/>
                  </a:lnTo>
                  <a:lnTo>
                    <a:pt x="374" y="810"/>
                  </a:lnTo>
                  <a:lnTo>
                    <a:pt x="373" y="808"/>
                  </a:lnTo>
                  <a:lnTo>
                    <a:pt x="373" y="806"/>
                  </a:lnTo>
                  <a:lnTo>
                    <a:pt x="373" y="805"/>
                  </a:lnTo>
                  <a:lnTo>
                    <a:pt x="373" y="806"/>
                  </a:lnTo>
                  <a:lnTo>
                    <a:pt x="371" y="806"/>
                  </a:lnTo>
                  <a:lnTo>
                    <a:pt x="373" y="806"/>
                  </a:lnTo>
                  <a:lnTo>
                    <a:pt x="373" y="808"/>
                  </a:lnTo>
                  <a:lnTo>
                    <a:pt x="371" y="808"/>
                  </a:lnTo>
                  <a:lnTo>
                    <a:pt x="371" y="806"/>
                  </a:lnTo>
                  <a:lnTo>
                    <a:pt x="371" y="808"/>
                  </a:lnTo>
                  <a:lnTo>
                    <a:pt x="371" y="810"/>
                  </a:lnTo>
                  <a:lnTo>
                    <a:pt x="373" y="810"/>
                  </a:lnTo>
                  <a:lnTo>
                    <a:pt x="373" y="811"/>
                  </a:lnTo>
                  <a:lnTo>
                    <a:pt x="371" y="811"/>
                  </a:lnTo>
                  <a:lnTo>
                    <a:pt x="371" y="810"/>
                  </a:lnTo>
                  <a:lnTo>
                    <a:pt x="369" y="808"/>
                  </a:lnTo>
                  <a:lnTo>
                    <a:pt x="369" y="810"/>
                  </a:lnTo>
                  <a:lnTo>
                    <a:pt x="369" y="811"/>
                  </a:lnTo>
                  <a:lnTo>
                    <a:pt x="368" y="810"/>
                  </a:lnTo>
                  <a:lnTo>
                    <a:pt x="368" y="811"/>
                  </a:lnTo>
                  <a:lnTo>
                    <a:pt x="369" y="813"/>
                  </a:lnTo>
                  <a:lnTo>
                    <a:pt x="369" y="814"/>
                  </a:lnTo>
                  <a:lnTo>
                    <a:pt x="368" y="814"/>
                  </a:lnTo>
                  <a:lnTo>
                    <a:pt x="366" y="814"/>
                  </a:lnTo>
                  <a:lnTo>
                    <a:pt x="366" y="816"/>
                  </a:lnTo>
                  <a:lnTo>
                    <a:pt x="364" y="816"/>
                  </a:lnTo>
                  <a:lnTo>
                    <a:pt x="363" y="816"/>
                  </a:lnTo>
                  <a:lnTo>
                    <a:pt x="363" y="818"/>
                  </a:lnTo>
                  <a:lnTo>
                    <a:pt x="360" y="818"/>
                  </a:lnTo>
                  <a:lnTo>
                    <a:pt x="358" y="818"/>
                  </a:lnTo>
                  <a:lnTo>
                    <a:pt x="358" y="819"/>
                  </a:lnTo>
                  <a:lnTo>
                    <a:pt x="356" y="819"/>
                  </a:lnTo>
                  <a:lnTo>
                    <a:pt x="355" y="819"/>
                  </a:lnTo>
                  <a:lnTo>
                    <a:pt x="353" y="819"/>
                  </a:lnTo>
                  <a:lnTo>
                    <a:pt x="351" y="818"/>
                  </a:lnTo>
                  <a:lnTo>
                    <a:pt x="350" y="818"/>
                  </a:lnTo>
                  <a:lnTo>
                    <a:pt x="350" y="816"/>
                  </a:lnTo>
                  <a:lnTo>
                    <a:pt x="350" y="814"/>
                  </a:lnTo>
                  <a:lnTo>
                    <a:pt x="351" y="813"/>
                  </a:lnTo>
                  <a:lnTo>
                    <a:pt x="351" y="811"/>
                  </a:lnTo>
                  <a:lnTo>
                    <a:pt x="351" y="810"/>
                  </a:lnTo>
                  <a:lnTo>
                    <a:pt x="351" y="811"/>
                  </a:lnTo>
                  <a:lnTo>
                    <a:pt x="350" y="811"/>
                  </a:lnTo>
                  <a:lnTo>
                    <a:pt x="350" y="813"/>
                  </a:lnTo>
                  <a:lnTo>
                    <a:pt x="350" y="811"/>
                  </a:lnTo>
                  <a:lnTo>
                    <a:pt x="351" y="810"/>
                  </a:lnTo>
                  <a:lnTo>
                    <a:pt x="351" y="808"/>
                  </a:lnTo>
                  <a:lnTo>
                    <a:pt x="353" y="808"/>
                  </a:lnTo>
                  <a:lnTo>
                    <a:pt x="353" y="806"/>
                  </a:lnTo>
                  <a:lnTo>
                    <a:pt x="353" y="808"/>
                  </a:lnTo>
                  <a:lnTo>
                    <a:pt x="351" y="808"/>
                  </a:lnTo>
                  <a:lnTo>
                    <a:pt x="350" y="810"/>
                  </a:lnTo>
                  <a:lnTo>
                    <a:pt x="350" y="811"/>
                  </a:lnTo>
                  <a:lnTo>
                    <a:pt x="348" y="811"/>
                  </a:lnTo>
                  <a:lnTo>
                    <a:pt x="348" y="813"/>
                  </a:lnTo>
                  <a:lnTo>
                    <a:pt x="347" y="814"/>
                  </a:lnTo>
                  <a:lnTo>
                    <a:pt x="347" y="816"/>
                  </a:lnTo>
                  <a:lnTo>
                    <a:pt x="347" y="818"/>
                  </a:lnTo>
                  <a:lnTo>
                    <a:pt x="345" y="818"/>
                  </a:lnTo>
                  <a:lnTo>
                    <a:pt x="345" y="816"/>
                  </a:lnTo>
                  <a:lnTo>
                    <a:pt x="345" y="814"/>
                  </a:lnTo>
                  <a:lnTo>
                    <a:pt x="343" y="816"/>
                  </a:lnTo>
                  <a:lnTo>
                    <a:pt x="342" y="816"/>
                  </a:lnTo>
                  <a:lnTo>
                    <a:pt x="342" y="814"/>
                  </a:lnTo>
                  <a:lnTo>
                    <a:pt x="340" y="814"/>
                  </a:lnTo>
                  <a:lnTo>
                    <a:pt x="340" y="813"/>
                  </a:lnTo>
                  <a:lnTo>
                    <a:pt x="340" y="811"/>
                  </a:lnTo>
                  <a:lnTo>
                    <a:pt x="340" y="810"/>
                  </a:lnTo>
                  <a:lnTo>
                    <a:pt x="340" y="811"/>
                  </a:lnTo>
                  <a:lnTo>
                    <a:pt x="338" y="810"/>
                  </a:lnTo>
                  <a:lnTo>
                    <a:pt x="338" y="808"/>
                  </a:lnTo>
                  <a:lnTo>
                    <a:pt x="338" y="806"/>
                  </a:lnTo>
                  <a:lnTo>
                    <a:pt x="338" y="805"/>
                  </a:lnTo>
                  <a:lnTo>
                    <a:pt x="338" y="803"/>
                  </a:lnTo>
                  <a:lnTo>
                    <a:pt x="340" y="803"/>
                  </a:lnTo>
                  <a:lnTo>
                    <a:pt x="340" y="801"/>
                  </a:lnTo>
                  <a:lnTo>
                    <a:pt x="338" y="801"/>
                  </a:lnTo>
                  <a:lnTo>
                    <a:pt x="338" y="803"/>
                  </a:lnTo>
                  <a:lnTo>
                    <a:pt x="337" y="803"/>
                  </a:lnTo>
                  <a:lnTo>
                    <a:pt x="337" y="805"/>
                  </a:lnTo>
                  <a:lnTo>
                    <a:pt x="335" y="805"/>
                  </a:lnTo>
                  <a:lnTo>
                    <a:pt x="335" y="806"/>
                  </a:lnTo>
                  <a:lnTo>
                    <a:pt x="335" y="805"/>
                  </a:lnTo>
                  <a:lnTo>
                    <a:pt x="334" y="805"/>
                  </a:lnTo>
                  <a:lnTo>
                    <a:pt x="332" y="803"/>
                  </a:lnTo>
                  <a:lnTo>
                    <a:pt x="330" y="801"/>
                  </a:lnTo>
                  <a:lnTo>
                    <a:pt x="327" y="800"/>
                  </a:lnTo>
                  <a:lnTo>
                    <a:pt x="327" y="798"/>
                  </a:lnTo>
                  <a:lnTo>
                    <a:pt x="327" y="797"/>
                  </a:lnTo>
                  <a:lnTo>
                    <a:pt x="327" y="795"/>
                  </a:lnTo>
                  <a:lnTo>
                    <a:pt x="325" y="793"/>
                  </a:lnTo>
                  <a:lnTo>
                    <a:pt x="327" y="792"/>
                  </a:lnTo>
                  <a:lnTo>
                    <a:pt x="325" y="792"/>
                  </a:lnTo>
                  <a:lnTo>
                    <a:pt x="325" y="790"/>
                  </a:lnTo>
                  <a:lnTo>
                    <a:pt x="325" y="788"/>
                  </a:lnTo>
                  <a:lnTo>
                    <a:pt x="324" y="788"/>
                  </a:lnTo>
                  <a:lnTo>
                    <a:pt x="322" y="788"/>
                  </a:lnTo>
                  <a:lnTo>
                    <a:pt x="324" y="788"/>
                  </a:lnTo>
                  <a:lnTo>
                    <a:pt x="322" y="788"/>
                  </a:lnTo>
                  <a:lnTo>
                    <a:pt x="324" y="788"/>
                  </a:lnTo>
                  <a:lnTo>
                    <a:pt x="324" y="790"/>
                  </a:lnTo>
                  <a:lnTo>
                    <a:pt x="325" y="792"/>
                  </a:lnTo>
                  <a:lnTo>
                    <a:pt x="325" y="793"/>
                  </a:lnTo>
                  <a:lnTo>
                    <a:pt x="325" y="795"/>
                  </a:lnTo>
                  <a:lnTo>
                    <a:pt x="324" y="795"/>
                  </a:lnTo>
                  <a:lnTo>
                    <a:pt x="324" y="797"/>
                  </a:lnTo>
                  <a:lnTo>
                    <a:pt x="322" y="798"/>
                  </a:lnTo>
                  <a:lnTo>
                    <a:pt x="324" y="798"/>
                  </a:lnTo>
                  <a:lnTo>
                    <a:pt x="322" y="798"/>
                  </a:lnTo>
                  <a:lnTo>
                    <a:pt x="322" y="800"/>
                  </a:lnTo>
                  <a:lnTo>
                    <a:pt x="322" y="801"/>
                  </a:lnTo>
                  <a:lnTo>
                    <a:pt x="322" y="803"/>
                  </a:lnTo>
                  <a:lnTo>
                    <a:pt x="322" y="805"/>
                  </a:lnTo>
                  <a:lnTo>
                    <a:pt x="324" y="805"/>
                  </a:lnTo>
                  <a:lnTo>
                    <a:pt x="325" y="806"/>
                  </a:lnTo>
                  <a:lnTo>
                    <a:pt x="327" y="806"/>
                  </a:lnTo>
                  <a:lnTo>
                    <a:pt x="327" y="808"/>
                  </a:lnTo>
                  <a:lnTo>
                    <a:pt x="327" y="810"/>
                  </a:lnTo>
                  <a:lnTo>
                    <a:pt x="327" y="811"/>
                  </a:lnTo>
                  <a:lnTo>
                    <a:pt x="325" y="810"/>
                  </a:lnTo>
                  <a:lnTo>
                    <a:pt x="325" y="811"/>
                  </a:lnTo>
                  <a:lnTo>
                    <a:pt x="324" y="813"/>
                  </a:lnTo>
                  <a:lnTo>
                    <a:pt x="325" y="813"/>
                  </a:lnTo>
                  <a:lnTo>
                    <a:pt x="325" y="814"/>
                  </a:lnTo>
                  <a:lnTo>
                    <a:pt x="325" y="816"/>
                  </a:lnTo>
                  <a:lnTo>
                    <a:pt x="324" y="816"/>
                  </a:lnTo>
                  <a:lnTo>
                    <a:pt x="324" y="818"/>
                  </a:lnTo>
                  <a:lnTo>
                    <a:pt x="324" y="819"/>
                  </a:lnTo>
                  <a:lnTo>
                    <a:pt x="324" y="821"/>
                  </a:lnTo>
                  <a:lnTo>
                    <a:pt x="324" y="823"/>
                  </a:lnTo>
                  <a:lnTo>
                    <a:pt x="322" y="823"/>
                  </a:lnTo>
                  <a:lnTo>
                    <a:pt x="322" y="824"/>
                  </a:lnTo>
                  <a:lnTo>
                    <a:pt x="322" y="823"/>
                  </a:lnTo>
                  <a:lnTo>
                    <a:pt x="322" y="824"/>
                  </a:lnTo>
                  <a:lnTo>
                    <a:pt x="321" y="824"/>
                  </a:lnTo>
                  <a:lnTo>
                    <a:pt x="321" y="826"/>
                  </a:lnTo>
                  <a:lnTo>
                    <a:pt x="319" y="826"/>
                  </a:lnTo>
                  <a:lnTo>
                    <a:pt x="316" y="823"/>
                  </a:lnTo>
                  <a:lnTo>
                    <a:pt x="314" y="823"/>
                  </a:lnTo>
                  <a:lnTo>
                    <a:pt x="312" y="821"/>
                  </a:lnTo>
                  <a:lnTo>
                    <a:pt x="311" y="819"/>
                  </a:lnTo>
                  <a:lnTo>
                    <a:pt x="311" y="818"/>
                  </a:lnTo>
                  <a:lnTo>
                    <a:pt x="309" y="818"/>
                  </a:lnTo>
                  <a:lnTo>
                    <a:pt x="309" y="816"/>
                  </a:lnTo>
                  <a:lnTo>
                    <a:pt x="309" y="814"/>
                  </a:lnTo>
                  <a:lnTo>
                    <a:pt x="308" y="814"/>
                  </a:lnTo>
                  <a:lnTo>
                    <a:pt x="306" y="813"/>
                  </a:lnTo>
                  <a:lnTo>
                    <a:pt x="308" y="813"/>
                  </a:lnTo>
                  <a:lnTo>
                    <a:pt x="306" y="811"/>
                  </a:lnTo>
                  <a:lnTo>
                    <a:pt x="306" y="810"/>
                  </a:lnTo>
                  <a:lnTo>
                    <a:pt x="306" y="808"/>
                  </a:lnTo>
                  <a:lnTo>
                    <a:pt x="304" y="808"/>
                  </a:lnTo>
                  <a:lnTo>
                    <a:pt x="304" y="806"/>
                  </a:lnTo>
                  <a:lnTo>
                    <a:pt x="303" y="805"/>
                  </a:lnTo>
                  <a:lnTo>
                    <a:pt x="301" y="803"/>
                  </a:lnTo>
                  <a:lnTo>
                    <a:pt x="299" y="803"/>
                  </a:lnTo>
                  <a:lnTo>
                    <a:pt x="299" y="801"/>
                  </a:lnTo>
                  <a:lnTo>
                    <a:pt x="298" y="800"/>
                  </a:lnTo>
                  <a:lnTo>
                    <a:pt x="296" y="798"/>
                  </a:lnTo>
                  <a:lnTo>
                    <a:pt x="295" y="798"/>
                  </a:lnTo>
                  <a:lnTo>
                    <a:pt x="293" y="798"/>
                  </a:lnTo>
                  <a:lnTo>
                    <a:pt x="293" y="797"/>
                  </a:lnTo>
                  <a:lnTo>
                    <a:pt x="293" y="795"/>
                  </a:lnTo>
                  <a:lnTo>
                    <a:pt x="291" y="795"/>
                  </a:lnTo>
                  <a:lnTo>
                    <a:pt x="291" y="793"/>
                  </a:lnTo>
                  <a:lnTo>
                    <a:pt x="291" y="792"/>
                  </a:lnTo>
                  <a:lnTo>
                    <a:pt x="290" y="792"/>
                  </a:lnTo>
                  <a:lnTo>
                    <a:pt x="288" y="792"/>
                  </a:lnTo>
                  <a:lnTo>
                    <a:pt x="288" y="793"/>
                  </a:lnTo>
                  <a:lnTo>
                    <a:pt x="286" y="793"/>
                  </a:lnTo>
                  <a:lnTo>
                    <a:pt x="285" y="793"/>
                  </a:lnTo>
                  <a:lnTo>
                    <a:pt x="283" y="793"/>
                  </a:lnTo>
                  <a:lnTo>
                    <a:pt x="282" y="795"/>
                  </a:lnTo>
                  <a:lnTo>
                    <a:pt x="280" y="795"/>
                  </a:lnTo>
                  <a:lnTo>
                    <a:pt x="280" y="797"/>
                  </a:lnTo>
                  <a:lnTo>
                    <a:pt x="278" y="797"/>
                  </a:lnTo>
                  <a:lnTo>
                    <a:pt x="277" y="798"/>
                  </a:lnTo>
                  <a:lnTo>
                    <a:pt x="278" y="798"/>
                  </a:lnTo>
                  <a:lnTo>
                    <a:pt x="278" y="800"/>
                  </a:lnTo>
                  <a:lnTo>
                    <a:pt x="278" y="801"/>
                  </a:lnTo>
                  <a:lnTo>
                    <a:pt x="278" y="803"/>
                  </a:lnTo>
                  <a:lnTo>
                    <a:pt x="278" y="805"/>
                  </a:lnTo>
                  <a:lnTo>
                    <a:pt x="278" y="806"/>
                  </a:lnTo>
                  <a:lnTo>
                    <a:pt x="280" y="808"/>
                  </a:lnTo>
                  <a:lnTo>
                    <a:pt x="278" y="808"/>
                  </a:lnTo>
                  <a:lnTo>
                    <a:pt x="280" y="808"/>
                  </a:lnTo>
                  <a:lnTo>
                    <a:pt x="278" y="810"/>
                  </a:lnTo>
                  <a:lnTo>
                    <a:pt x="280" y="810"/>
                  </a:lnTo>
                  <a:lnTo>
                    <a:pt x="278" y="811"/>
                  </a:lnTo>
                  <a:lnTo>
                    <a:pt x="280" y="813"/>
                  </a:lnTo>
                  <a:lnTo>
                    <a:pt x="278" y="813"/>
                  </a:lnTo>
                  <a:lnTo>
                    <a:pt x="280" y="814"/>
                  </a:lnTo>
                  <a:lnTo>
                    <a:pt x="280" y="816"/>
                  </a:lnTo>
                  <a:lnTo>
                    <a:pt x="282" y="816"/>
                  </a:lnTo>
                  <a:lnTo>
                    <a:pt x="282" y="818"/>
                  </a:lnTo>
                  <a:lnTo>
                    <a:pt x="280" y="818"/>
                  </a:lnTo>
                  <a:lnTo>
                    <a:pt x="280" y="819"/>
                  </a:lnTo>
                  <a:lnTo>
                    <a:pt x="280" y="821"/>
                  </a:lnTo>
                  <a:lnTo>
                    <a:pt x="280" y="823"/>
                  </a:lnTo>
                  <a:lnTo>
                    <a:pt x="282" y="823"/>
                  </a:lnTo>
                  <a:lnTo>
                    <a:pt x="282" y="824"/>
                  </a:lnTo>
                  <a:lnTo>
                    <a:pt x="280" y="824"/>
                  </a:lnTo>
                  <a:lnTo>
                    <a:pt x="278" y="823"/>
                  </a:lnTo>
                  <a:lnTo>
                    <a:pt x="277" y="823"/>
                  </a:lnTo>
                  <a:lnTo>
                    <a:pt x="277" y="821"/>
                  </a:lnTo>
                  <a:lnTo>
                    <a:pt x="275" y="821"/>
                  </a:lnTo>
                  <a:lnTo>
                    <a:pt x="273" y="818"/>
                  </a:lnTo>
                  <a:lnTo>
                    <a:pt x="273" y="816"/>
                  </a:lnTo>
                  <a:lnTo>
                    <a:pt x="273" y="814"/>
                  </a:lnTo>
                  <a:lnTo>
                    <a:pt x="275" y="813"/>
                  </a:lnTo>
                  <a:lnTo>
                    <a:pt x="275" y="811"/>
                  </a:lnTo>
                  <a:lnTo>
                    <a:pt x="275" y="810"/>
                  </a:lnTo>
                  <a:lnTo>
                    <a:pt x="275" y="808"/>
                  </a:lnTo>
                  <a:lnTo>
                    <a:pt x="273" y="808"/>
                  </a:lnTo>
                  <a:lnTo>
                    <a:pt x="273" y="806"/>
                  </a:lnTo>
                  <a:lnTo>
                    <a:pt x="273" y="805"/>
                  </a:lnTo>
                  <a:lnTo>
                    <a:pt x="272" y="805"/>
                  </a:lnTo>
                  <a:lnTo>
                    <a:pt x="272" y="803"/>
                  </a:lnTo>
                  <a:lnTo>
                    <a:pt x="273" y="803"/>
                  </a:lnTo>
                  <a:lnTo>
                    <a:pt x="273" y="801"/>
                  </a:lnTo>
                  <a:lnTo>
                    <a:pt x="272" y="801"/>
                  </a:lnTo>
                  <a:lnTo>
                    <a:pt x="273" y="800"/>
                  </a:lnTo>
                  <a:lnTo>
                    <a:pt x="272" y="800"/>
                  </a:lnTo>
                  <a:lnTo>
                    <a:pt x="272" y="798"/>
                  </a:lnTo>
                  <a:lnTo>
                    <a:pt x="270" y="798"/>
                  </a:lnTo>
                  <a:lnTo>
                    <a:pt x="270" y="797"/>
                  </a:lnTo>
                  <a:lnTo>
                    <a:pt x="269" y="795"/>
                  </a:lnTo>
                  <a:lnTo>
                    <a:pt x="269" y="793"/>
                  </a:lnTo>
                  <a:lnTo>
                    <a:pt x="267" y="792"/>
                  </a:lnTo>
                  <a:lnTo>
                    <a:pt x="265" y="790"/>
                  </a:lnTo>
                  <a:lnTo>
                    <a:pt x="265" y="788"/>
                  </a:lnTo>
                  <a:lnTo>
                    <a:pt x="264" y="788"/>
                  </a:lnTo>
                  <a:lnTo>
                    <a:pt x="264" y="787"/>
                  </a:lnTo>
                  <a:lnTo>
                    <a:pt x="265" y="785"/>
                  </a:lnTo>
                  <a:lnTo>
                    <a:pt x="264" y="785"/>
                  </a:lnTo>
                  <a:lnTo>
                    <a:pt x="264" y="784"/>
                  </a:lnTo>
                  <a:lnTo>
                    <a:pt x="264" y="782"/>
                  </a:lnTo>
                  <a:lnTo>
                    <a:pt x="264" y="780"/>
                  </a:lnTo>
                  <a:lnTo>
                    <a:pt x="262" y="780"/>
                  </a:lnTo>
                  <a:lnTo>
                    <a:pt x="262" y="779"/>
                  </a:lnTo>
                  <a:lnTo>
                    <a:pt x="262" y="777"/>
                  </a:lnTo>
                  <a:lnTo>
                    <a:pt x="264" y="777"/>
                  </a:lnTo>
                  <a:lnTo>
                    <a:pt x="264" y="775"/>
                  </a:lnTo>
                  <a:lnTo>
                    <a:pt x="264" y="774"/>
                  </a:lnTo>
                  <a:lnTo>
                    <a:pt x="265" y="772"/>
                  </a:lnTo>
                  <a:lnTo>
                    <a:pt x="265" y="771"/>
                  </a:lnTo>
                  <a:lnTo>
                    <a:pt x="264" y="771"/>
                  </a:lnTo>
                  <a:lnTo>
                    <a:pt x="265" y="769"/>
                  </a:lnTo>
                  <a:lnTo>
                    <a:pt x="267" y="767"/>
                  </a:lnTo>
                  <a:lnTo>
                    <a:pt x="267" y="766"/>
                  </a:lnTo>
                  <a:lnTo>
                    <a:pt x="269" y="766"/>
                  </a:lnTo>
                  <a:lnTo>
                    <a:pt x="269" y="767"/>
                  </a:lnTo>
                  <a:lnTo>
                    <a:pt x="270" y="766"/>
                  </a:lnTo>
                  <a:lnTo>
                    <a:pt x="272" y="766"/>
                  </a:lnTo>
                  <a:lnTo>
                    <a:pt x="273" y="766"/>
                  </a:lnTo>
                  <a:lnTo>
                    <a:pt x="273" y="767"/>
                  </a:lnTo>
                  <a:lnTo>
                    <a:pt x="273" y="769"/>
                  </a:lnTo>
                  <a:lnTo>
                    <a:pt x="273" y="771"/>
                  </a:lnTo>
                  <a:lnTo>
                    <a:pt x="275" y="771"/>
                  </a:lnTo>
                  <a:lnTo>
                    <a:pt x="273" y="772"/>
                  </a:lnTo>
                  <a:lnTo>
                    <a:pt x="275" y="774"/>
                  </a:lnTo>
                  <a:lnTo>
                    <a:pt x="273" y="774"/>
                  </a:lnTo>
                  <a:lnTo>
                    <a:pt x="273" y="775"/>
                  </a:lnTo>
                  <a:lnTo>
                    <a:pt x="273" y="777"/>
                  </a:lnTo>
                  <a:lnTo>
                    <a:pt x="273" y="779"/>
                  </a:lnTo>
                  <a:lnTo>
                    <a:pt x="273" y="780"/>
                  </a:lnTo>
                  <a:lnTo>
                    <a:pt x="275" y="782"/>
                  </a:lnTo>
                  <a:lnTo>
                    <a:pt x="277" y="784"/>
                  </a:lnTo>
                  <a:lnTo>
                    <a:pt x="278" y="782"/>
                  </a:lnTo>
                  <a:lnTo>
                    <a:pt x="278" y="779"/>
                  </a:lnTo>
                  <a:lnTo>
                    <a:pt x="278" y="777"/>
                  </a:lnTo>
                  <a:lnTo>
                    <a:pt x="278" y="775"/>
                  </a:lnTo>
                  <a:lnTo>
                    <a:pt x="278" y="774"/>
                  </a:lnTo>
                  <a:lnTo>
                    <a:pt x="277" y="774"/>
                  </a:lnTo>
                  <a:lnTo>
                    <a:pt x="277" y="772"/>
                  </a:lnTo>
                  <a:lnTo>
                    <a:pt x="277" y="771"/>
                  </a:lnTo>
                  <a:lnTo>
                    <a:pt x="277" y="769"/>
                  </a:lnTo>
                  <a:lnTo>
                    <a:pt x="277" y="767"/>
                  </a:lnTo>
                  <a:lnTo>
                    <a:pt x="277" y="766"/>
                  </a:lnTo>
                  <a:lnTo>
                    <a:pt x="277" y="762"/>
                  </a:lnTo>
                  <a:lnTo>
                    <a:pt x="278" y="761"/>
                  </a:lnTo>
                  <a:lnTo>
                    <a:pt x="280" y="759"/>
                  </a:lnTo>
                  <a:lnTo>
                    <a:pt x="280" y="758"/>
                  </a:lnTo>
                  <a:lnTo>
                    <a:pt x="282" y="758"/>
                  </a:lnTo>
                  <a:lnTo>
                    <a:pt x="283" y="756"/>
                  </a:lnTo>
                  <a:lnTo>
                    <a:pt x="283" y="754"/>
                  </a:lnTo>
                  <a:lnTo>
                    <a:pt x="283" y="753"/>
                  </a:lnTo>
                  <a:lnTo>
                    <a:pt x="285" y="753"/>
                  </a:lnTo>
                  <a:lnTo>
                    <a:pt x="285" y="751"/>
                  </a:lnTo>
                  <a:lnTo>
                    <a:pt x="285" y="749"/>
                  </a:lnTo>
                  <a:lnTo>
                    <a:pt x="286" y="749"/>
                  </a:lnTo>
                  <a:lnTo>
                    <a:pt x="288" y="748"/>
                  </a:lnTo>
                  <a:lnTo>
                    <a:pt x="290" y="748"/>
                  </a:lnTo>
                  <a:lnTo>
                    <a:pt x="291" y="746"/>
                  </a:lnTo>
                  <a:lnTo>
                    <a:pt x="293" y="745"/>
                  </a:lnTo>
                  <a:lnTo>
                    <a:pt x="293" y="743"/>
                  </a:lnTo>
                  <a:lnTo>
                    <a:pt x="295" y="743"/>
                  </a:lnTo>
                  <a:lnTo>
                    <a:pt x="296" y="741"/>
                  </a:lnTo>
                  <a:lnTo>
                    <a:pt x="298" y="741"/>
                  </a:lnTo>
                  <a:lnTo>
                    <a:pt x="298" y="740"/>
                  </a:lnTo>
                  <a:lnTo>
                    <a:pt x="298" y="738"/>
                  </a:lnTo>
                  <a:lnTo>
                    <a:pt x="299" y="736"/>
                  </a:lnTo>
                  <a:lnTo>
                    <a:pt x="301" y="735"/>
                  </a:lnTo>
                  <a:lnTo>
                    <a:pt x="301" y="733"/>
                  </a:lnTo>
                  <a:lnTo>
                    <a:pt x="303" y="732"/>
                  </a:lnTo>
                  <a:lnTo>
                    <a:pt x="303" y="730"/>
                  </a:lnTo>
                  <a:lnTo>
                    <a:pt x="303" y="728"/>
                  </a:lnTo>
                  <a:lnTo>
                    <a:pt x="303" y="727"/>
                  </a:lnTo>
                  <a:lnTo>
                    <a:pt x="304" y="725"/>
                  </a:lnTo>
                  <a:lnTo>
                    <a:pt x="304" y="727"/>
                  </a:lnTo>
                  <a:lnTo>
                    <a:pt x="306" y="725"/>
                  </a:lnTo>
                  <a:lnTo>
                    <a:pt x="306" y="723"/>
                  </a:lnTo>
                  <a:lnTo>
                    <a:pt x="308" y="723"/>
                  </a:lnTo>
                  <a:lnTo>
                    <a:pt x="309" y="723"/>
                  </a:lnTo>
                  <a:lnTo>
                    <a:pt x="309" y="722"/>
                  </a:lnTo>
                  <a:lnTo>
                    <a:pt x="309" y="719"/>
                  </a:lnTo>
                  <a:lnTo>
                    <a:pt x="311" y="719"/>
                  </a:lnTo>
                  <a:lnTo>
                    <a:pt x="311" y="717"/>
                  </a:lnTo>
                  <a:lnTo>
                    <a:pt x="312" y="715"/>
                  </a:lnTo>
                  <a:lnTo>
                    <a:pt x="314" y="715"/>
                  </a:lnTo>
                  <a:lnTo>
                    <a:pt x="316" y="714"/>
                  </a:lnTo>
                  <a:lnTo>
                    <a:pt x="317" y="714"/>
                  </a:lnTo>
                  <a:lnTo>
                    <a:pt x="319" y="714"/>
                  </a:lnTo>
                  <a:lnTo>
                    <a:pt x="321" y="714"/>
                  </a:lnTo>
                  <a:lnTo>
                    <a:pt x="322" y="714"/>
                  </a:lnTo>
                  <a:lnTo>
                    <a:pt x="322" y="712"/>
                  </a:lnTo>
                  <a:lnTo>
                    <a:pt x="322" y="710"/>
                  </a:lnTo>
                  <a:lnTo>
                    <a:pt x="324" y="709"/>
                  </a:lnTo>
                  <a:lnTo>
                    <a:pt x="325" y="707"/>
                  </a:lnTo>
                  <a:lnTo>
                    <a:pt x="325" y="705"/>
                  </a:lnTo>
                  <a:lnTo>
                    <a:pt x="325" y="704"/>
                  </a:lnTo>
                  <a:lnTo>
                    <a:pt x="325" y="702"/>
                  </a:lnTo>
                  <a:lnTo>
                    <a:pt x="324" y="702"/>
                  </a:lnTo>
                  <a:lnTo>
                    <a:pt x="324" y="699"/>
                  </a:lnTo>
                  <a:lnTo>
                    <a:pt x="322" y="699"/>
                  </a:lnTo>
                  <a:lnTo>
                    <a:pt x="322" y="697"/>
                  </a:lnTo>
                  <a:lnTo>
                    <a:pt x="322" y="699"/>
                  </a:lnTo>
                  <a:lnTo>
                    <a:pt x="322" y="697"/>
                  </a:lnTo>
                  <a:lnTo>
                    <a:pt x="322" y="699"/>
                  </a:lnTo>
                  <a:lnTo>
                    <a:pt x="324" y="699"/>
                  </a:lnTo>
                  <a:lnTo>
                    <a:pt x="324" y="696"/>
                  </a:lnTo>
                  <a:lnTo>
                    <a:pt x="325" y="696"/>
                  </a:lnTo>
                  <a:lnTo>
                    <a:pt x="325" y="694"/>
                  </a:lnTo>
                  <a:lnTo>
                    <a:pt x="324" y="694"/>
                  </a:lnTo>
                  <a:lnTo>
                    <a:pt x="324" y="692"/>
                  </a:lnTo>
                  <a:lnTo>
                    <a:pt x="324" y="691"/>
                  </a:lnTo>
                  <a:lnTo>
                    <a:pt x="322" y="689"/>
                  </a:lnTo>
                  <a:lnTo>
                    <a:pt x="324" y="689"/>
                  </a:lnTo>
                  <a:lnTo>
                    <a:pt x="322" y="688"/>
                  </a:lnTo>
                  <a:lnTo>
                    <a:pt x="322" y="686"/>
                  </a:lnTo>
                  <a:lnTo>
                    <a:pt x="322" y="688"/>
                  </a:lnTo>
                  <a:lnTo>
                    <a:pt x="324" y="689"/>
                  </a:lnTo>
                  <a:lnTo>
                    <a:pt x="322" y="689"/>
                  </a:lnTo>
                  <a:lnTo>
                    <a:pt x="322" y="688"/>
                  </a:lnTo>
                  <a:lnTo>
                    <a:pt x="321" y="686"/>
                  </a:lnTo>
                  <a:lnTo>
                    <a:pt x="319" y="686"/>
                  </a:lnTo>
                  <a:lnTo>
                    <a:pt x="317" y="684"/>
                  </a:lnTo>
                  <a:lnTo>
                    <a:pt x="316" y="684"/>
                  </a:lnTo>
                  <a:lnTo>
                    <a:pt x="316" y="683"/>
                  </a:lnTo>
                  <a:lnTo>
                    <a:pt x="314" y="683"/>
                  </a:lnTo>
                  <a:lnTo>
                    <a:pt x="314" y="684"/>
                  </a:lnTo>
                  <a:lnTo>
                    <a:pt x="314" y="683"/>
                  </a:lnTo>
                  <a:lnTo>
                    <a:pt x="314" y="681"/>
                  </a:lnTo>
                  <a:lnTo>
                    <a:pt x="314" y="679"/>
                  </a:lnTo>
                  <a:lnTo>
                    <a:pt x="312" y="678"/>
                  </a:lnTo>
                  <a:lnTo>
                    <a:pt x="312" y="676"/>
                  </a:lnTo>
                  <a:lnTo>
                    <a:pt x="311" y="676"/>
                  </a:lnTo>
                  <a:lnTo>
                    <a:pt x="311" y="675"/>
                  </a:lnTo>
                  <a:lnTo>
                    <a:pt x="309" y="675"/>
                  </a:lnTo>
                  <a:lnTo>
                    <a:pt x="309" y="673"/>
                  </a:lnTo>
                  <a:lnTo>
                    <a:pt x="309" y="671"/>
                  </a:lnTo>
                  <a:lnTo>
                    <a:pt x="309" y="670"/>
                  </a:lnTo>
                  <a:lnTo>
                    <a:pt x="311" y="670"/>
                  </a:lnTo>
                  <a:lnTo>
                    <a:pt x="309" y="668"/>
                  </a:lnTo>
                  <a:lnTo>
                    <a:pt x="311" y="668"/>
                  </a:lnTo>
                  <a:lnTo>
                    <a:pt x="311" y="670"/>
                  </a:lnTo>
                  <a:lnTo>
                    <a:pt x="312" y="670"/>
                  </a:lnTo>
                  <a:lnTo>
                    <a:pt x="312" y="668"/>
                  </a:lnTo>
                  <a:lnTo>
                    <a:pt x="312" y="666"/>
                  </a:lnTo>
                  <a:lnTo>
                    <a:pt x="314" y="666"/>
                  </a:lnTo>
                  <a:lnTo>
                    <a:pt x="312" y="666"/>
                  </a:lnTo>
                  <a:lnTo>
                    <a:pt x="314" y="668"/>
                  </a:lnTo>
                  <a:lnTo>
                    <a:pt x="314" y="666"/>
                  </a:lnTo>
                  <a:lnTo>
                    <a:pt x="314" y="665"/>
                  </a:lnTo>
                  <a:lnTo>
                    <a:pt x="316" y="665"/>
                  </a:lnTo>
                  <a:lnTo>
                    <a:pt x="316" y="663"/>
                  </a:lnTo>
                  <a:lnTo>
                    <a:pt x="314" y="663"/>
                  </a:lnTo>
                  <a:lnTo>
                    <a:pt x="316" y="663"/>
                  </a:lnTo>
                  <a:lnTo>
                    <a:pt x="314" y="662"/>
                  </a:lnTo>
                  <a:lnTo>
                    <a:pt x="314" y="660"/>
                  </a:lnTo>
                  <a:lnTo>
                    <a:pt x="314" y="658"/>
                  </a:lnTo>
                  <a:lnTo>
                    <a:pt x="314" y="657"/>
                  </a:lnTo>
                  <a:lnTo>
                    <a:pt x="314" y="653"/>
                  </a:lnTo>
                  <a:lnTo>
                    <a:pt x="316" y="650"/>
                  </a:lnTo>
                  <a:lnTo>
                    <a:pt x="316" y="649"/>
                  </a:lnTo>
                  <a:lnTo>
                    <a:pt x="316" y="647"/>
                  </a:lnTo>
                  <a:lnTo>
                    <a:pt x="316" y="645"/>
                  </a:lnTo>
                  <a:lnTo>
                    <a:pt x="317" y="645"/>
                  </a:lnTo>
                  <a:lnTo>
                    <a:pt x="317" y="644"/>
                  </a:lnTo>
                  <a:lnTo>
                    <a:pt x="317" y="642"/>
                  </a:lnTo>
                  <a:lnTo>
                    <a:pt x="319" y="640"/>
                  </a:lnTo>
                  <a:lnTo>
                    <a:pt x="317" y="640"/>
                  </a:lnTo>
                  <a:lnTo>
                    <a:pt x="319" y="639"/>
                  </a:lnTo>
                  <a:lnTo>
                    <a:pt x="321" y="639"/>
                  </a:lnTo>
                  <a:lnTo>
                    <a:pt x="322" y="639"/>
                  </a:lnTo>
                  <a:lnTo>
                    <a:pt x="324" y="637"/>
                  </a:lnTo>
                  <a:lnTo>
                    <a:pt x="324" y="639"/>
                  </a:lnTo>
                  <a:lnTo>
                    <a:pt x="325" y="639"/>
                  </a:lnTo>
                  <a:lnTo>
                    <a:pt x="325" y="637"/>
                  </a:lnTo>
                  <a:lnTo>
                    <a:pt x="327" y="639"/>
                  </a:lnTo>
                  <a:lnTo>
                    <a:pt x="329" y="639"/>
                  </a:lnTo>
                  <a:lnTo>
                    <a:pt x="329" y="640"/>
                  </a:lnTo>
                  <a:lnTo>
                    <a:pt x="329" y="642"/>
                  </a:lnTo>
                  <a:lnTo>
                    <a:pt x="330" y="640"/>
                  </a:lnTo>
                  <a:lnTo>
                    <a:pt x="330" y="642"/>
                  </a:lnTo>
                  <a:lnTo>
                    <a:pt x="330" y="640"/>
                  </a:lnTo>
                  <a:lnTo>
                    <a:pt x="330" y="642"/>
                  </a:lnTo>
                  <a:lnTo>
                    <a:pt x="332" y="642"/>
                  </a:lnTo>
                  <a:lnTo>
                    <a:pt x="330" y="642"/>
                  </a:lnTo>
                  <a:lnTo>
                    <a:pt x="332" y="642"/>
                  </a:lnTo>
                  <a:lnTo>
                    <a:pt x="334" y="644"/>
                  </a:lnTo>
                  <a:lnTo>
                    <a:pt x="335" y="644"/>
                  </a:lnTo>
                  <a:lnTo>
                    <a:pt x="337" y="644"/>
                  </a:lnTo>
                  <a:lnTo>
                    <a:pt x="337" y="645"/>
                  </a:lnTo>
                  <a:lnTo>
                    <a:pt x="338" y="645"/>
                  </a:lnTo>
                  <a:lnTo>
                    <a:pt x="340" y="645"/>
                  </a:lnTo>
                  <a:lnTo>
                    <a:pt x="340" y="647"/>
                  </a:lnTo>
                  <a:lnTo>
                    <a:pt x="342" y="647"/>
                  </a:lnTo>
                  <a:lnTo>
                    <a:pt x="343" y="647"/>
                  </a:lnTo>
                  <a:lnTo>
                    <a:pt x="345" y="649"/>
                  </a:lnTo>
                  <a:lnTo>
                    <a:pt x="347" y="649"/>
                  </a:lnTo>
                  <a:lnTo>
                    <a:pt x="347" y="647"/>
                  </a:lnTo>
                  <a:lnTo>
                    <a:pt x="347" y="649"/>
                  </a:lnTo>
                  <a:lnTo>
                    <a:pt x="348" y="649"/>
                  </a:lnTo>
                  <a:lnTo>
                    <a:pt x="350" y="649"/>
                  </a:lnTo>
                  <a:lnTo>
                    <a:pt x="350" y="650"/>
                  </a:lnTo>
                  <a:lnTo>
                    <a:pt x="351" y="650"/>
                  </a:lnTo>
                  <a:lnTo>
                    <a:pt x="350" y="649"/>
                  </a:lnTo>
                  <a:lnTo>
                    <a:pt x="348" y="647"/>
                  </a:lnTo>
                  <a:lnTo>
                    <a:pt x="347" y="647"/>
                  </a:lnTo>
                  <a:lnTo>
                    <a:pt x="345" y="647"/>
                  </a:lnTo>
                  <a:lnTo>
                    <a:pt x="345" y="645"/>
                  </a:lnTo>
                  <a:lnTo>
                    <a:pt x="343" y="645"/>
                  </a:lnTo>
                  <a:lnTo>
                    <a:pt x="342" y="645"/>
                  </a:lnTo>
                  <a:lnTo>
                    <a:pt x="340" y="644"/>
                  </a:lnTo>
                  <a:lnTo>
                    <a:pt x="338" y="642"/>
                  </a:lnTo>
                  <a:lnTo>
                    <a:pt x="337" y="642"/>
                  </a:lnTo>
                  <a:lnTo>
                    <a:pt x="337" y="640"/>
                  </a:lnTo>
                  <a:lnTo>
                    <a:pt x="335" y="640"/>
                  </a:lnTo>
                  <a:lnTo>
                    <a:pt x="335" y="639"/>
                  </a:lnTo>
                  <a:lnTo>
                    <a:pt x="334" y="639"/>
                  </a:lnTo>
                  <a:lnTo>
                    <a:pt x="334" y="637"/>
                  </a:lnTo>
                  <a:lnTo>
                    <a:pt x="334" y="639"/>
                  </a:lnTo>
                  <a:lnTo>
                    <a:pt x="335" y="637"/>
                  </a:lnTo>
                  <a:lnTo>
                    <a:pt x="334" y="637"/>
                  </a:lnTo>
                  <a:lnTo>
                    <a:pt x="334" y="636"/>
                  </a:lnTo>
                  <a:lnTo>
                    <a:pt x="332" y="634"/>
                  </a:lnTo>
                  <a:lnTo>
                    <a:pt x="330" y="632"/>
                  </a:lnTo>
                  <a:lnTo>
                    <a:pt x="329" y="632"/>
                  </a:lnTo>
                  <a:lnTo>
                    <a:pt x="330" y="632"/>
                  </a:lnTo>
                  <a:lnTo>
                    <a:pt x="329" y="631"/>
                  </a:lnTo>
                  <a:lnTo>
                    <a:pt x="329" y="632"/>
                  </a:lnTo>
                  <a:lnTo>
                    <a:pt x="329" y="631"/>
                  </a:lnTo>
                  <a:lnTo>
                    <a:pt x="327" y="631"/>
                  </a:lnTo>
                  <a:lnTo>
                    <a:pt x="329" y="631"/>
                  </a:lnTo>
                  <a:lnTo>
                    <a:pt x="329" y="629"/>
                  </a:lnTo>
                  <a:lnTo>
                    <a:pt x="327" y="627"/>
                  </a:lnTo>
                  <a:lnTo>
                    <a:pt x="327" y="626"/>
                  </a:lnTo>
                  <a:lnTo>
                    <a:pt x="325" y="624"/>
                  </a:lnTo>
                  <a:lnTo>
                    <a:pt x="327" y="624"/>
                  </a:lnTo>
                  <a:lnTo>
                    <a:pt x="327" y="623"/>
                  </a:lnTo>
                  <a:lnTo>
                    <a:pt x="325" y="623"/>
                  </a:lnTo>
                  <a:lnTo>
                    <a:pt x="327" y="621"/>
                  </a:lnTo>
                  <a:lnTo>
                    <a:pt x="325" y="621"/>
                  </a:lnTo>
                  <a:lnTo>
                    <a:pt x="325" y="624"/>
                  </a:lnTo>
                  <a:lnTo>
                    <a:pt x="325" y="627"/>
                  </a:lnTo>
                  <a:lnTo>
                    <a:pt x="325" y="629"/>
                  </a:lnTo>
                  <a:lnTo>
                    <a:pt x="325" y="631"/>
                  </a:lnTo>
                  <a:lnTo>
                    <a:pt x="327" y="631"/>
                  </a:lnTo>
                  <a:lnTo>
                    <a:pt x="327" y="632"/>
                  </a:lnTo>
                  <a:lnTo>
                    <a:pt x="329" y="632"/>
                  </a:lnTo>
                  <a:lnTo>
                    <a:pt x="329" y="634"/>
                  </a:lnTo>
                  <a:lnTo>
                    <a:pt x="329" y="636"/>
                  </a:lnTo>
                  <a:lnTo>
                    <a:pt x="327" y="634"/>
                  </a:lnTo>
                  <a:lnTo>
                    <a:pt x="327" y="636"/>
                  </a:lnTo>
                  <a:lnTo>
                    <a:pt x="325" y="636"/>
                  </a:lnTo>
                  <a:lnTo>
                    <a:pt x="324" y="634"/>
                  </a:lnTo>
                  <a:lnTo>
                    <a:pt x="322" y="634"/>
                  </a:lnTo>
                  <a:lnTo>
                    <a:pt x="322" y="632"/>
                  </a:lnTo>
                  <a:lnTo>
                    <a:pt x="322" y="631"/>
                  </a:lnTo>
                  <a:lnTo>
                    <a:pt x="321" y="629"/>
                  </a:lnTo>
                  <a:lnTo>
                    <a:pt x="322" y="627"/>
                  </a:lnTo>
                  <a:lnTo>
                    <a:pt x="322" y="626"/>
                  </a:lnTo>
                  <a:lnTo>
                    <a:pt x="322" y="624"/>
                  </a:lnTo>
                  <a:lnTo>
                    <a:pt x="322" y="623"/>
                  </a:lnTo>
                  <a:lnTo>
                    <a:pt x="322" y="621"/>
                  </a:lnTo>
                  <a:lnTo>
                    <a:pt x="325" y="619"/>
                  </a:lnTo>
                  <a:lnTo>
                    <a:pt x="325" y="618"/>
                  </a:lnTo>
                  <a:lnTo>
                    <a:pt x="327" y="616"/>
                  </a:lnTo>
                  <a:lnTo>
                    <a:pt x="329" y="614"/>
                  </a:lnTo>
                  <a:lnTo>
                    <a:pt x="329" y="613"/>
                  </a:lnTo>
                  <a:lnTo>
                    <a:pt x="330" y="611"/>
                  </a:lnTo>
                  <a:lnTo>
                    <a:pt x="332" y="611"/>
                  </a:lnTo>
                  <a:lnTo>
                    <a:pt x="334" y="610"/>
                  </a:lnTo>
                  <a:lnTo>
                    <a:pt x="334" y="608"/>
                  </a:lnTo>
                  <a:lnTo>
                    <a:pt x="334" y="606"/>
                  </a:lnTo>
                  <a:lnTo>
                    <a:pt x="335" y="606"/>
                  </a:lnTo>
                  <a:lnTo>
                    <a:pt x="337" y="606"/>
                  </a:lnTo>
                  <a:lnTo>
                    <a:pt x="337" y="605"/>
                  </a:lnTo>
                  <a:lnTo>
                    <a:pt x="335" y="606"/>
                  </a:lnTo>
                  <a:lnTo>
                    <a:pt x="334" y="606"/>
                  </a:lnTo>
                  <a:lnTo>
                    <a:pt x="332" y="608"/>
                  </a:lnTo>
                  <a:lnTo>
                    <a:pt x="330" y="610"/>
                  </a:lnTo>
                  <a:lnTo>
                    <a:pt x="330" y="611"/>
                  </a:lnTo>
                  <a:lnTo>
                    <a:pt x="329" y="611"/>
                  </a:lnTo>
                  <a:lnTo>
                    <a:pt x="329" y="613"/>
                  </a:lnTo>
                  <a:lnTo>
                    <a:pt x="329" y="614"/>
                  </a:lnTo>
                  <a:lnTo>
                    <a:pt x="327" y="614"/>
                  </a:lnTo>
                  <a:lnTo>
                    <a:pt x="325" y="616"/>
                  </a:lnTo>
                  <a:lnTo>
                    <a:pt x="325" y="618"/>
                  </a:lnTo>
                  <a:lnTo>
                    <a:pt x="324" y="618"/>
                  </a:lnTo>
                  <a:lnTo>
                    <a:pt x="324" y="616"/>
                  </a:lnTo>
                  <a:lnTo>
                    <a:pt x="322" y="616"/>
                  </a:lnTo>
                  <a:lnTo>
                    <a:pt x="322" y="614"/>
                  </a:lnTo>
                  <a:lnTo>
                    <a:pt x="322" y="613"/>
                  </a:lnTo>
                  <a:lnTo>
                    <a:pt x="324" y="613"/>
                  </a:lnTo>
                  <a:lnTo>
                    <a:pt x="324" y="611"/>
                  </a:lnTo>
                  <a:lnTo>
                    <a:pt x="324" y="610"/>
                  </a:lnTo>
                  <a:lnTo>
                    <a:pt x="324" y="608"/>
                  </a:lnTo>
                  <a:lnTo>
                    <a:pt x="324" y="606"/>
                  </a:lnTo>
                  <a:lnTo>
                    <a:pt x="322" y="606"/>
                  </a:lnTo>
                  <a:lnTo>
                    <a:pt x="322" y="608"/>
                  </a:lnTo>
                  <a:lnTo>
                    <a:pt x="322" y="610"/>
                  </a:lnTo>
                  <a:lnTo>
                    <a:pt x="322" y="613"/>
                  </a:lnTo>
                  <a:lnTo>
                    <a:pt x="321" y="614"/>
                  </a:lnTo>
                  <a:lnTo>
                    <a:pt x="322" y="614"/>
                  </a:lnTo>
                  <a:lnTo>
                    <a:pt x="321" y="614"/>
                  </a:lnTo>
                  <a:lnTo>
                    <a:pt x="322" y="616"/>
                  </a:lnTo>
                  <a:lnTo>
                    <a:pt x="322" y="618"/>
                  </a:lnTo>
                  <a:lnTo>
                    <a:pt x="324" y="618"/>
                  </a:lnTo>
                  <a:lnTo>
                    <a:pt x="324" y="619"/>
                  </a:lnTo>
                  <a:lnTo>
                    <a:pt x="322" y="619"/>
                  </a:lnTo>
                  <a:lnTo>
                    <a:pt x="322" y="621"/>
                  </a:lnTo>
                  <a:lnTo>
                    <a:pt x="321" y="623"/>
                  </a:lnTo>
                  <a:lnTo>
                    <a:pt x="319" y="623"/>
                  </a:lnTo>
                  <a:lnTo>
                    <a:pt x="319" y="624"/>
                  </a:lnTo>
                  <a:lnTo>
                    <a:pt x="319" y="626"/>
                  </a:lnTo>
                  <a:lnTo>
                    <a:pt x="319" y="627"/>
                  </a:lnTo>
                  <a:lnTo>
                    <a:pt x="319" y="629"/>
                  </a:lnTo>
                  <a:lnTo>
                    <a:pt x="319" y="631"/>
                  </a:lnTo>
                  <a:lnTo>
                    <a:pt x="319" y="632"/>
                  </a:lnTo>
                  <a:lnTo>
                    <a:pt x="319" y="634"/>
                  </a:lnTo>
                  <a:lnTo>
                    <a:pt x="317" y="634"/>
                  </a:lnTo>
                  <a:lnTo>
                    <a:pt x="316" y="632"/>
                  </a:lnTo>
                  <a:lnTo>
                    <a:pt x="316" y="631"/>
                  </a:lnTo>
                  <a:lnTo>
                    <a:pt x="314" y="631"/>
                  </a:lnTo>
                  <a:lnTo>
                    <a:pt x="314" y="632"/>
                  </a:lnTo>
                  <a:lnTo>
                    <a:pt x="316" y="632"/>
                  </a:lnTo>
                  <a:lnTo>
                    <a:pt x="316" y="634"/>
                  </a:lnTo>
                  <a:lnTo>
                    <a:pt x="317" y="634"/>
                  </a:lnTo>
                  <a:lnTo>
                    <a:pt x="317" y="636"/>
                  </a:lnTo>
                  <a:lnTo>
                    <a:pt x="317" y="637"/>
                  </a:lnTo>
                  <a:lnTo>
                    <a:pt x="316" y="637"/>
                  </a:lnTo>
                  <a:lnTo>
                    <a:pt x="316" y="639"/>
                  </a:lnTo>
                  <a:lnTo>
                    <a:pt x="314" y="639"/>
                  </a:lnTo>
                  <a:lnTo>
                    <a:pt x="314" y="640"/>
                  </a:lnTo>
                  <a:lnTo>
                    <a:pt x="312" y="642"/>
                  </a:lnTo>
                  <a:lnTo>
                    <a:pt x="312" y="644"/>
                  </a:lnTo>
                  <a:lnTo>
                    <a:pt x="311" y="644"/>
                  </a:lnTo>
                  <a:lnTo>
                    <a:pt x="311" y="645"/>
                  </a:lnTo>
                  <a:lnTo>
                    <a:pt x="309" y="645"/>
                  </a:lnTo>
                  <a:lnTo>
                    <a:pt x="309" y="647"/>
                  </a:lnTo>
                  <a:lnTo>
                    <a:pt x="308" y="649"/>
                  </a:lnTo>
                  <a:lnTo>
                    <a:pt x="306" y="649"/>
                  </a:lnTo>
                  <a:lnTo>
                    <a:pt x="304" y="649"/>
                  </a:lnTo>
                  <a:lnTo>
                    <a:pt x="304" y="647"/>
                  </a:lnTo>
                  <a:lnTo>
                    <a:pt x="303" y="647"/>
                  </a:lnTo>
                  <a:lnTo>
                    <a:pt x="304" y="647"/>
                  </a:lnTo>
                  <a:lnTo>
                    <a:pt x="303" y="647"/>
                  </a:lnTo>
                  <a:lnTo>
                    <a:pt x="304" y="645"/>
                  </a:lnTo>
                  <a:lnTo>
                    <a:pt x="304" y="644"/>
                  </a:lnTo>
                  <a:lnTo>
                    <a:pt x="304" y="642"/>
                  </a:lnTo>
                  <a:lnTo>
                    <a:pt x="304" y="639"/>
                  </a:lnTo>
                  <a:lnTo>
                    <a:pt x="304" y="637"/>
                  </a:lnTo>
                  <a:lnTo>
                    <a:pt x="304" y="636"/>
                  </a:lnTo>
                  <a:lnTo>
                    <a:pt x="303" y="634"/>
                  </a:lnTo>
                  <a:lnTo>
                    <a:pt x="303" y="632"/>
                  </a:lnTo>
                  <a:lnTo>
                    <a:pt x="301" y="632"/>
                  </a:lnTo>
                  <a:lnTo>
                    <a:pt x="301" y="629"/>
                  </a:lnTo>
                  <a:lnTo>
                    <a:pt x="301" y="627"/>
                  </a:lnTo>
                  <a:lnTo>
                    <a:pt x="301" y="626"/>
                  </a:lnTo>
                  <a:lnTo>
                    <a:pt x="301" y="627"/>
                  </a:lnTo>
                  <a:lnTo>
                    <a:pt x="301" y="629"/>
                  </a:lnTo>
                  <a:lnTo>
                    <a:pt x="301" y="631"/>
                  </a:lnTo>
                  <a:lnTo>
                    <a:pt x="301" y="632"/>
                  </a:lnTo>
                  <a:lnTo>
                    <a:pt x="301" y="634"/>
                  </a:lnTo>
                  <a:lnTo>
                    <a:pt x="303" y="634"/>
                  </a:lnTo>
                  <a:lnTo>
                    <a:pt x="303" y="636"/>
                  </a:lnTo>
                  <a:lnTo>
                    <a:pt x="303" y="637"/>
                  </a:lnTo>
                  <a:lnTo>
                    <a:pt x="303" y="642"/>
                  </a:lnTo>
                  <a:lnTo>
                    <a:pt x="301" y="642"/>
                  </a:lnTo>
                  <a:lnTo>
                    <a:pt x="299" y="642"/>
                  </a:lnTo>
                  <a:lnTo>
                    <a:pt x="299" y="640"/>
                  </a:lnTo>
                  <a:lnTo>
                    <a:pt x="298" y="639"/>
                  </a:lnTo>
                  <a:lnTo>
                    <a:pt x="296" y="639"/>
                  </a:lnTo>
                  <a:lnTo>
                    <a:pt x="296" y="637"/>
                  </a:lnTo>
                  <a:lnTo>
                    <a:pt x="296" y="636"/>
                  </a:lnTo>
                  <a:lnTo>
                    <a:pt x="295" y="636"/>
                  </a:lnTo>
                  <a:lnTo>
                    <a:pt x="295" y="634"/>
                  </a:lnTo>
                  <a:lnTo>
                    <a:pt x="295" y="632"/>
                  </a:lnTo>
                  <a:lnTo>
                    <a:pt x="295" y="631"/>
                  </a:lnTo>
                  <a:lnTo>
                    <a:pt x="296" y="631"/>
                  </a:lnTo>
                  <a:lnTo>
                    <a:pt x="295" y="629"/>
                  </a:lnTo>
                  <a:lnTo>
                    <a:pt x="295" y="631"/>
                  </a:lnTo>
                  <a:lnTo>
                    <a:pt x="295" y="632"/>
                  </a:lnTo>
                  <a:lnTo>
                    <a:pt x="293" y="632"/>
                  </a:lnTo>
                  <a:lnTo>
                    <a:pt x="293" y="634"/>
                  </a:lnTo>
                  <a:lnTo>
                    <a:pt x="293" y="636"/>
                  </a:lnTo>
                  <a:lnTo>
                    <a:pt x="291" y="637"/>
                  </a:lnTo>
                  <a:lnTo>
                    <a:pt x="290" y="639"/>
                  </a:lnTo>
                  <a:lnTo>
                    <a:pt x="288" y="639"/>
                  </a:lnTo>
                  <a:lnTo>
                    <a:pt x="288" y="640"/>
                  </a:lnTo>
                  <a:lnTo>
                    <a:pt x="290" y="642"/>
                  </a:lnTo>
                  <a:lnTo>
                    <a:pt x="290" y="644"/>
                  </a:lnTo>
                  <a:lnTo>
                    <a:pt x="290" y="645"/>
                  </a:lnTo>
                  <a:lnTo>
                    <a:pt x="290" y="647"/>
                  </a:lnTo>
                  <a:lnTo>
                    <a:pt x="290" y="649"/>
                  </a:lnTo>
                  <a:lnTo>
                    <a:pt x="290" y="650"/>
                  </a:lnTo>
                  <a:lnTo>
                    <a:pt x="288" y="650"/>
                  </a:lnTo>
                  <a:lnTo>
                    <a:pt x="288" y="649"/>
                  </a:lnTo>
                  <a:lnTo>
                    <a:pt x="286" y="649"/>
                  </a:lnTo>
                  <a:lnTo>
                    <a:pt x="286" y="647"/>
                  </a:lnTo>
                  <a:lnTo>
                    <a:pt x="286" y="645"/>
                  </a:lnTo>
                  <a:lnTo>
                    <a:pt x="285" y="645"/>
                  </a:lnTo>
                  <a:lnTo>
                    <a:pt x="285" y="647"/>
                  </a:lnTo>
                  <a:lnTo>
                    <a:pt x="285" y="645"/>
                  </a:lnTo>
                  <a:lnTo>
                    <a:pt x="283" y="645"/>
                  </a:lnTo>
                  <a:lnTo>
                    <a:pt x="282" y="645"/>
                  </a:lnTo>
                  <a:lnTo>
                    <a:pt x="282" y="644"/>
                  </a:lnTo>
                  <a:lnTo>
                    <a:pt x="282" y="642"/>
                  </a:lnTo>
                  <a:lnTo>
                    <a:pt x="282" y="640"/>
                  </a:lnTo>
                  <a:lnTo>
                    <a:pt x="280" y="640"/>
                  </a:lnTo>
                  <a:lnTo>
                    <a:pt x="282" y="639"/>
                  </a:lnTo>
                  <a:lnTo>
                    <a:pt x="280" y="639"/>
                  </a:lnTo>
                  <a:lnTo>
                    <a:pt x="280" y="637"/>
                  </a:lnTo>
                  <a:lnTo>
                    <a:pt x="280" y="639"/>
                  </a:lnTo>
                  <a:lnTo>
                    <a:pt x="280" y="637"/>
                  </a:lnTo>
                  <a:lnTo>
                    <a:pt x="280" y="636"/>
                  </a:lnTo>
                  <a:lnTo>
                    <a:pt x="282" y="636"/>
                  </a:lnTo>
                  <a:lnTo>
                    <a:pt x="282" y="634"/>
                  </a:lnTo>
                  <a:lnTo>
                    <a:pt x="282" y="632"/>
                  </a:lnTo>
                  <a:lnTo>
                    <a:pt x="283" y="631"/>
                  </a:lnTo>
                  <a:lnTo>
                    <a:pt x="283" y="629"/>
                  </a:lnTo>
                  <a:lnTo>
                    <a:pt x="283" y="627"/>
                  </a:lnTo>
                  <a:lnTo>
                    <a:pt x="283" y="626"/>
                  </a:lnTo>
                  <a:lnTo>
                    <a:pt x="283" y="624"/>
                  </a:lnTo>
                  <a:lnTo>
                    <a:pt x="285" y="624"/>
                  </a:lnTo>
                  <a:lnTo>
                    <a:pt x="285" y="623"/>
                  </a:lnTo>
                  <a:lnTo>
                    <a:pt x="286" y="623"/>
                  </a:lnTo>
                  <a:lnTo>
                    <a:pt x="286" y="621"/>
                  </a:lnTo>
                  <a:lnTo>
                    <a:pt x="288" y="621"/>
                  </a:lnTo>
                  <a:lnTo>
                    <a:pt x="290" y="619"/>
                  </a:lnTo>
                  <a:lnTo>
                    <a:pt x="290" y="618"/>
                  </a:lnTo>
                  <a:lnTo>
                    <a:pt x="291" y="616"/>
                  </a:lnTo>
                  <a:lnTo>
                    <a:pt x="291" y="614"/>
                  </a:lnTo>
                  <a:lnTo>
                    <a:pt x="295" y="614"/>
                  </a:lnTo>
                  <a:lnTo>
                    <a:pt x="295" y="613"/>
                  </a:lnTo>
                  <a:lnTo>
                    <a:pt x="296" y="613"/>
                  </a:lnTo>
                  <a:lnTo>
                    <a:pt x="296" y="611"/>
                  </a:lnTo>
                  <a:lnTo>
                    <a:pt x="298" y="611"/>
                  </a:lnTo>
                  <a:lnTo>
                    <a:pt x="298" y="610"/>
                  </a:lnTo>
                  <a:lnTo>
                    <a:pt x="299" y="608"/>
                  </a:lnTo>
                  <a:lnTo>
                    <a:pt x="301" y="608"/>
                  </a:lnTo>
                  <a:lnTo>
                    <a:pt x="303" y="606"/>
                  </a:lnTo>
                  <a:lnTo>
                    <a:pt x="303" y="608"/>
                  </a:lnTo>
                  <a:lnTo>
                    <a:pt x="304" y="606"/>
                  </a:lnTo>
                  <a:lnTo>
                    <a:pt x="306" y="606"/>
                  </a:lnTo>
                  <a:lnTo>
                    <a:pt x="308" y="606"/>
                  </a:lnTo>
                  <a:lnTo>
                    <a:pt x="308" y="605"/>
                  </a:lnTo>
                  <a:lnTo>
                    <a:pt x="309" y="605"/>
                  </a:lnTo>
                  <a:lnTo>
                    <a:pt x="309" y="603"/>
                  </a:lnTo>
                  <a:lnTo>
                    <a:pt x="311" y="600"/>
                  </a:lnTo>
                  <a:lnTo>
                    <a:pt x="312" y="600"/>
                  </a:lnTo>
                  <a:lnTo>
                    <a:pt x="314" y="598"/>
                  </a:lnTo>
                  <a:lnTo>
                    <a:pt x="316" y="597"/>
                  </a:lnTo>
                  <a:lnTo>
                    <a:pt x="317" y="597"/>
                  </a:lnTo>
                  <a:lnTo>
                    <a:pt x="319" y="597"/>
                  </a:lnTo>
                  <a:lnTo>
                    <a:pt x="321" y="597"/>
                  </a:lnTo>
                  <a:lnTo>
                    <a:pt x="321" y="595"/>
                  </a:lnTo>
                  <a:lnTo>
                    <a:pt x="322" y="595"/>
                  </a:lnTo>
                  <a:lnTo>
                    <a:pt x="324" y="593"/>
                  </a:lnTo>
                  <a:lnTo>
                    <a:pt x="322" y="593"/>
                  </a:lnTo>
                  <a:lnTo>
                    <a:pt x="321" y="595"/>
                  </a:lnTo>
                  <a:lnTo>
                    <a:pt x="319" y="595"/>
                  </a:lnTo>
                  <a:lnTo>
                    <a:pt x="317" y="595"/>
                  </a:lnTo>
                  <a:lnTo>
                    <a:pt x="316" y="595"/>
                  </a:lnTo>
                  <a:lnTo>
                    <a:pt x="314" y="597"/>
                  </a:lnTo>
                  <a:lnTo>
                    <a:pt x="314" y="595"/>
                  </a:lnTo>
                  <a:lnTo>
                    <a:pt x="314" y="593"/>
                  </a:lnTo>
                  <a:lnTo>
                    <a:pt x="314" y="595"/>
                  </a:lnTo>
                  <a:lnTo>
                    <a:pt x="312" y="595"/>
                  </a:lnTo>
                  <a:lnTo>
                    <a:pt x="312" y="597"/>
                  </a:lnTo>
                  <a:lnTo>
                    <a:pt x="311" y="597"/>
                  </a:lnTo>
                  <a:lnTo>
                    <a:pt x="309" y="598"/>
                  </a:lnTo>
                  <a:lnTo>
                    <a:pt x="309" y="600"/>
                  </a:lnTo>
                  <a:lnTo>
                    <a:pt x="308" y="600"/>
                  </a:lnTo>
                  <a:lnTo>
                    <a:pt x="308" y="601"/>
                  </a:lnTo>
                  <a:lnTo>
                    <a:pt x="306" y="603"/>
                  </a:lnTo>
                  <a:lnTo>
                    <a:pt x="306" y="605"/>
                  </a:lnTo>
                  <a:lnTo>
                    <a:pt x="304" y="605"/>
                  </a:lnTo>
                  <a:lnTo>
                    <a:pt x="303" y="605"/>
                  </a:lnTo>
                  <a:lnTo>
                    <a:pt x="301" y="605"/>
                  </a:lnTo>
                  <a:lnTo>
                    <a:pt x="299" y="605"/>
                  </a:lnTo>
                  <a:lnTo>
                    <a:pt x="299" y="606"/>
                  </a:lnTo>
                  <a:lnTo>
                    <a:pt x="298" y="606"/>
                  </a:lnTo>
                  <a:lnTo>
                    <a:pt x="296" y="608"/>
                  </a:lnTo>
                  <a:lnTo>
                    <a:pt x="295" y="608"/>
                  </a:lnTo>
                  <a:lnTo>
                    <a:pt x="295" y="610"/>
                  </a:lnTo>
                  <a:lnTo>
                    <a:pt x="295" y="611"/>
                  </a:lnTo>
                  <a:lnTo>
                    <a:pt x="293" y="611"/>
                  </a:lnTo>
                  <a:lnTo>
                    <a:pt x="291" y="611"/>
                  </a:lnTo>
                  <a:lnTo>
                    <a:pt x="291" y="613"/>
                  </a:lnTo>
                  <a:lnTo>
                    <a:pt x="290" y="613"/>
                  </a:lnTo>
                  <a:lnTo>
                    <a:pt x="290" y="614"/>
                  </a:lnTo>
                  <a:lnTo>
                    <a:pt x="288" y="616"/>
                  </a:lnTo>
                  <a:lnTo>
                    <a:pt x="286" y="616"/>
                  </a:lnTo>
                  <a:lnTo>
                    <a:pt x="288" y="614"/>
                  </a:lnTo>
                  <a:lnTo>
                    <a:pt x="286" y="614"/>
                  </a:lnTo>
                  <a:lnTo>
                    <a:pt x="286" y="616"/>
                  </a:lnTo>
                  <a:lnTo>
                    <a:pt x="285" y="616"/>
                  </a:lnTo>
                  <a:lnTo>
                    <a:pt x="285" y="618"/>
                  </a:lnTo>
                  <a:lnTo>
                    <a:pt x="285" y="619"/>
                  </a:lnTo>
                  <a:lnTo>
                    <a:pt x="285" y="621"/>
                  </a:lnTo>
                  <a:lnTo>
                    <a:pt x="283" y="621"/>
                  </a:lnTo>
                  <a:lnTo>
                    <a:pt x="283" y="619"/>
                  </a:lnTo>
                  <a:lnTo>
                    <a:pt x="283" y="621"/>
                  </a:lnTo>
                  <a:lnTo>
                    <a:pt x="282" y="621"/>
                  </a:lnTo>
                  <a:lnTo>
                    <a:pt x="282" y="623"/>
                  </a:lnTo>
                  <a:lnTo>
                    <a:pt x="280" y="623"/>
                  </a:lnTo>
                  <a:lnTo>
                    <a:pt x="280" y="621"/>
                  </a:lnTo>
                  <a:lnTo>
                    <a:pt x="280" y="623"/>
                  </a:lnTo>
                  <a:lnTo>
                    <a:pt x="278" y="623"/>
                  </a:lnTo>
                  <a:lnTo>
                    <a:pt x="278" y="621"/>
                  </a:lnTo>
                  <a:lnTo>
                    <a:pt x="277" y="621"/>
                  </a:lnTo>
                  <a:lnTo>
                    <a:pt x="278" y="621"/>
                  </a:lnTo>
                  <a:lnTo>
                    <a:pt x="277" y="619"/>
                  </a:lnTo>
                  <a:lnTo>
                    <a:pt x="278" y="619"/>
                  </a:lnTo>
                  <a:lnTo>
                    <a:pt x="278" y="618"/>
                  </a:lnTo>
                  <a:lnTo>
                    <a:pt x="278" y="616"/>
                  </a:lnTo>
                  <a:lnTo>
                    <a:pt x="277" y="618"/>
                  </a:lnTo>
                  <a:lnTo>
                    <a:pt x="277" y="619"/>
                  </a:lnTo>
                  <a:lnTo>
                    <a:pt x="275" y="621"/>
                  </a:lnTo>
                  <a:lnTo>
                    <a:pt x="275" y="623"/>
                  </a:lnTo>
                  <a:lnTo>
                    <a:pt x="275" y="624"/>
                  </a:lnTo>
                  <a:lnTo>
                    <a:pt x="275" y="626"/>
                  </a:lnTo>
                  <a:lnTo>
                    <a:pt x="275" y="627"/>
                  </a:lnTo>
                  <a:lnTo>
                    <a:pt x="275" y="629"/>
                  </a:lnTo>
                  <a:lnTo>
                    <a:pt x="275" y="631"/>
                  </a:lnTo>
                  <a:lnTo>
                    <a:pt x="275" y="632"/>
                  </a:lnTo>
                  <a:lnTo>
                    <a:pt x="275" y="634"/>
                  </a:lnTo>
                  <a:lnTo>
                    <a:pt x="275" y="636"/>
                  </a:lnTo>
                  <a:lnTo>
                    <a:pt x="275" y="637"/>
                  </a:lnTo>
                  <a:lnTo>
                    <a:pt x="275" y="639"/>
                  </a:lnTo>
                  <a:lnTo>
                    <a:pt x="275" y="640"/>
                  </a:lnTo>
                  <a:lnTo>
                    <a:pt x="273" y="642"/>
                  </a:lnTo>
                  <a:lnTo>
                    <a:pt x="275" y="640"/>
                  </a:lnTo>
                  <a:lnTo>
                    <a:pt x="277" y="642"/>
                  </a:lnTo>
                  <a:lnTo>
                    <a:pt x="277" y="644"/>
                  </a:lnTo>
                  <a:lnTo>
                    <a:pt x="277" y="645"/>
                  </a:lnTo>
                  <a:lnTo>
                    <a:pt x="278" y="647"/>
                  </a:lnTo>
                  <a:lnTo>
                    <a:pt x="278" y="649"/>
                  </a:lnTo>
                  <a:lnTo>
                    <a:pt x="278" y="650"/>
                  </a:lnTo>
                  <a:lnTo>
                    <a:pt x="280" y="650"/>
                  </a:lnTo>
                  <a:lnTo>
                    <a:pt x="280" y="652"/>
                  </a:lnTo>
                  <a:lnTo>
                    <a:pt x="280" y="653"/>
                  </a:lnTo>
                  <a:lnTo>
                    <a:pt x="280" y="655"/>
                  </a:lnTo>
                  <a:lnTo>
                    <a:pt x="278" y="655"/>
                  </a:lnTo>
                  <a:lnTo>
                    <a:pt x="278" y="657"/>
                  </a:lnTo>
                  <a:lnTo>
                    <a:pt x="277" y="657"/>
                  </a:lnTo>
                  <a:lnTo>
                    <a:pt x="275" y="657"/>
                  </a:lnTo>
                  <a:lnTo>
                    <a:pt x="273" y="657"/>
                  </a:lnTo>
                  <a:lnTo>
                    <a:pt x="272" y="658"/>
                  </a:lnTo>
                  <a:lnTo>
                    <a:pt x="270" y="658"/>
                  </a:lnTo>
                  <a:lnTo>
                    <a:pt x="270" y="660"/>
                  </a:lnTo>
                  <a:lnTo>
                    <a:pt x="269" y="660"/>
                  </a:lnTo>
                  <a:lnTo>
                    <a:pt x="269" y="662"/>
                  </a:lnTo>
                  <a:lnTo>
                    <a:pt x="267" y="662"/>
                  </a:lnTo>
                  <a:lnTo>
                    <a:pt x="267" y="663"/>
                  </a:lnTo>
                  <a:lnTo>
                    <a:pt x="265" y="665"/>
                  </a:lnTo>
                  <a:lnTo>
                    <a:pt x="265" y="666"/>
                  </a:lnTo>
                  <a:lnTo>
                    <a:pt x="264" y="668"/>
                  </a:lnTo>
                  <a:lnTo>
                    <a:pt x="264" y="670"/>
                  </a:lnTo>
                  <a:lnTo>
                    <a:pt x="262" y="671"/>
                  </a:lnTo>
                  <a:lnTo>
                    <a:pt x="262" y="673"/>
                  </a:lnTo>
                  <a:lnTo>
                    <a:pt x="262" y="675"/>
                  </a:lnTo>
                  <a:lnTo>
                    <a:pt x="260" y="675"/>
                  </a:lnTo>
                  <a:lnTo>
                    <a:pt x="262" y="675"/>
                  </a:lnTo>
                  <a:lnTo>
                    <a:pt x="260" y="676"/>
                  </a:lnTo>
                  <a:lnTo>
                    <a:pt x="260" y="678"/>
                  </a:lnTo>
                  <a:lnTo>
                    <a:pt x="262" y="679"/>
                  </a:lnTo>
                  <a:lnTo>
                    <a:pt x="260" y="679"/>
                  </a:lnTo>
                  <a:lnTo>
                    <a:pt x="262" y="679"/>
                  </a:lnTo>
                  <a:lnTo>
                    <a:pt x="262" y="681"/>
                  </a:lnTo>
                  <a:lnTo>
                    <a:pt x="260" y="681"/>
                  </a:lnTo>
                  <a:lnTo>
                    <a:pt x="260" y="679"/>
                  </a:lnTo>
                  <a:lnTo>
                    <a:pt x="259" y="679"/>
                  </a:lnTo>
                  <a:lnTo>
                    <a:pt x="259" y="681"/>
                  </a:lnTo>
                  <a:lnTo>
                    <a:pt x="259" y="683"/>
                  </a:lnTo>
                  <a:lnTo>
                    <a:pt x="259" y="684"/>
                  </a:lnTo>
                  <a:lnTo>
                    <a:pt x="257" y="684"/>
                  </a:lnTo>
                  <a:lnTo>
                    <a:pt x="257" y="686"/>
                  </a:lnTo>
                  <a:lnTo>
                    <a:pt x="257" y="688"/>
                  </a:lnTo>
                  <a:lnTo>
                    <a:pt x="256" y="689"/>
                  </a:lnTo>
                  <a:lnTo>
                    <a:pt x="256" y="691"/>
                  </a:lnTo>
                  <a:lnTo>
                    <a:pt x="254" y="691"/>
                  </a:lnTo>
                  <a:lnTo>
                    <a:pt x="254" y="692"/>
                  </a:lnTo>
                  <a:lnTo>
                    <a:pt x="254" y="694"/>
                  </a:lnTo>
                  <a:lnTo>
                    <a:pt x="252" y="694"/>
                  </a:lnTo>
                  <a:lnTo>
                    <a:pt x="251" y="694"/>
                  </a:lnTo>
                  <a:lnTo>
                    <a:pt x="251" y="696"/>
                  </a:lnTo>
                  <a:lnTo>
                    <a:pt x="251" y="697"/>
                  </a:lnTo>
                  <a:lnTo>
                    <a:pt x="249" y="699"/>
                  </a:lnTo>
                  <a:lnTo>
                    <a:pt x="247" y="701"/>
                  </a:lnTo>
                  <a:lnTo>
                    <a:pt x="246" y="699"/>
                  </a:lnTo>
                  <a:lnTo>
                    <a:pt x="246" y="701"/>
                  </a:lnTo>
                  <a:lnTo>
                    <a:pt x="246" y="702"/>
                  </a:lnTo>
                  <a:lnTo>
                    <a:pt x="247" y="702"/>
                  </a:lnTo>
                  <a:lnTo>
                    <a:pt x="249" y="701"/>
                  </a:lnTo>
                  <a:lnTo>
                    <a:pt x="249" y="702"/>
                  </a:lnTo>
                  <a:lnTo>
                    <a:pt x="249" y="704"/>
                  </a:lnTo>
                  <a:lnTo>
                    <a:pt x="251" y="705"/>
                  </a:lnTo>
                  <a:lnTo>
                    <a:pt x="251" y="709"/>
                  </a:lnTo>
                  <a:lnTo>
                    <a:pt x="249" y="710"/>
                  </a:lnTo>
                  <a:lnTo>
                    <a:pt x="246" y="714"/>
                  </a:lnTo>
                  <a:lnTo>
                    <a:pt x="246" y="715"/>
                  </a:lnTo>
                  <a:lnTo>
                    <a:pt x="244" y="715"/>
                  </a:lnTo>
                  <a:lnTo>
                    <a:pt x="243" y="715"/>
                  </a:lnTo>
                  <a:lnTo>
                    <a:pt x="241" y="717"/>
                  </a:lnTo>
                  <a:lnTo>
                    <a:pt x="239" y="715"/>
                  </a:lnTo>
                  <a:lnTo>
                    <a:pt x="238" y="715"/>
                  </a:lnTo>
                  <a:lnTo>
                    <a:pt x="236" y="715"/>
                  </a:lnTo>
                  <a:lnTo>
                    <a:pt x="234" y="715"/>
                  </a:lnTo>
                  <a:lnTo>
                    <a:pt x="233" y="715"/>
                  </a:lnTo>
                  <a:lnTo>
                    <a:pt x="231" y="717"/>
                  </a:lnTo>
                  <a:lnTo>
                    <a:pt x="229" y="717"/>
                  </a:lnTo>
                  <a:lnTo>
                    <a:pt x="228" y="715"/>
                  </a:lnTo>
                  <a:lnTo>
                    <a:pt x="226" y="714"/>
                  </a:lnTo>
                  <a:lnTo>
                    <a:pt x="226" y="712"/>
                  </a:lnTo>
                  <a:lnTo>
                    <a:pt x="226" y="710"/>
                  </a:lnTo>
                  <a:lnTo>
                    <a:pt x="226" y="709"/>
                  </a:lnTo>
                  <a:lnTo>
                    <a:pt x="226" y="707"/>
                  </a:lnTo>
                  <a:lnTo>
                    <a:pt x="228" y="705"/>
                  </a:lnTo>
                  <a:lnTo>
                    <a:pt x="228" y="704"/>
                  </a:lnTo>
                  <a:lnTo>
                    <a:pt x="228" y="702"/>
                  </a:lnTo>
                  <a:lnTo>
                    <a:pt x="228" y="701"/>
                  </a:lnTo>
                  <a:lnTo>
                    <a:pt x="229" y="701"/>
                  </a:lnTo>
                  <a:lnTo>
                    <a:pt x="231" y="699"/>
                  </a:lnTo>
                  <a:lnTo>
                    <a:pt x="233" y="699"/>
                  </a:lnTo>
                  <a:lnTo>
                    <a:pt x="233" y="697"/>
                  </a:lnTo>
                  <a:lnTo>
                    <a:pt x="234" y="697"/>
                  </a:lnTo>
                  <a:lnTo>
                    <a:pt x="236" y="697"/>
                  </a:lnTo>
                  <a:lnTo>
                    <a:pt x="238" y="694"/>
                  </a:lnTo>
                  <a:lnTo>
                    <a:pt x="238" y="692"/>
                  </a:lnTo>
                  <a:lnTo>
                    <a:pt x="238" y="689"/>
                  </a:lnTo>
                  <a:lnTo>
                    <a:pt x="239" y="688"/>
                  </a:lnTo>
                  <a:lnTo>
                    <a:pt x="239" y="686"/>
                  </a:lnTo>
                  <a:lnTo>
                    <a:pt x="239" y="684"/>
                  </a:lnTo>
                  <a:lnTo>
                    <a:pt x="239" y="683"/>
                  </a:lnTo>
                  <a:lnTo>
                    <a:pt x="241" y="683"/>
                  </a:lnTo>
                  <a:lnTo>
                    <a:pt x="241" y="681"/>
                  </a:lnTo>
                  <a:lnTo>
                    <a:pt x="241" y="679"/>
                  </a:lnTo>
                  <a:lnTo>
                    <a:pt x="241" y="678"/>
                  </a:lnTo>
                  <a:lnTo>
                    <a:pt x="241" y="676"/>
                  </a:lnTo>
                  <a:lnTo>
                    <a:pt x="243" y="675"/>
                  </a:lnTo>
                  <a:lnTo>
                    <a:pt x="244" y="675"/>
                  </a:lnTo>
                  <a:lnTo>
                    <a:pt x="244" y="673"/>
                  </a:lnTo>
                  <a:lnTo>
                    <a:pt x="244" y="671"/>
                  </a:lnTo>
                  <a:lnTo>
                    <a:pt x="246" y="671"/>
                  </a:lnTo>
                  <a:lnTo>
                    <a:pt x="246" y="670"/>
                  </a:lnTo>
                  <a:lnTo>
                    <a:pt x="246" y="668"/>
                  </a:lnTo>
                  <a:lnTo>
                    <a:pt x="247" y="668"/>
                  </a:lnTo>
                  <a:lnTo>
                    <a:pt x="246" y="668"/>
                  </a:lnTo>
                  <a:lnTo>
                    <a:pt x="247" y="666"/>
                  </a:lnTo>
                  <a:lnTo>
                    <a:pt x="247" y="665"/>
                  </a:lnTo>
                  <a:lnTo>
                    <a:pt x="247" y="663"/>
                  </a:lnTo>
                  <a:lnTo>
                    <a:pt x="247" y="662"/>
                  </a:lnTo>
                  <a:lnTo>
                    <a:pt x="249" y="662"/>
                  </a:lnTo>
                  <a:lnTo>
                    <a:pt x="251" y="662"/>
                  </a:lnTo>
                  <a:lnTo>
                    <a:pt x="252" y="660"/>
                  </a:lnTo>
                  <a:lnTo>
                    <a:pt x="254" y="658"/>
                  </a:lnTo>
                  <a:lnTo>
                    <a:pt x="254" y="657"/>
                  </a:lnTo>
                  <a:lnTo>
                    <a:pt x="256" y="657"/>
                  </a:lnTo>
                  <a:lnTo>
                    <a:pt x="256" y="655"/>
                  </a:lnTo>
                  <a:lnTo>
                    <a:pt x="257" y="655"/>
                  </a:lnTo>
                  <a:lnTo>
                    <a:pt x="257" y="653"/>
                  </a:lnTo>
                  <a:lnTo>
                    <a:pt x="259" y="653"/>
                  </a:lnTo>
                  <a:lnTo>
                    <a:pt x="259" y="652"/>
                  </a:lnTo>
                  <a:lnTo>
                    <a:pt x="260" y="652"/>
                  </a:lnTo>
                  <a:lnTo>
                    <a:pt x="262" y="652"/>
                  </a:lnTo>
                  <a:lnTo>
                    <a:pt x="264" y="650"/>
                  </a:lnTo>
                  <a:lnTo>
                    <a:pt x="265" y="650"/>
                  </a:lnTo>
                  <a:lnTo>
                    <a:pt x="265" y="649"/>
                  </a:lnTo>
                  <a:lnTo>
                    <a:pt x="267" y="649"/>
                  </a:lnTo>
                  <a:lnTo>
                    <a:pt x="269" y="647"/>
                  </a:lnTo>
                  <a:lnTo>
                    <a:pt x="269" y="645"/>
                  </a:lnTo>
                  <a:lnTo>
                    <a:pt x="270" y="645"/>
                  </a:lnTo>
                  <a:lnTo>
                    <a:pt x="270" y="644"/>
                  </a:lnTo>
                  <a:lnTo>
                    <a:pt x="270" y="642"/>
                  </a:lnTo>
                  <a:lnTo>
                    <a:pt x="272" y="642"/>
                  </a:lnTo>
                  <a:lnTo>
                    <a:pt x="270" y="642"/>
                  </a:lnTo>
                  <a:lnTo>
                    <a:pt x="270" y="644"/>
                  </a:lnTo>
                  <a:lnTo>
                    <a:pt x="269" y="644"/>
                  </a:lnTo>
                  <a:lnTo>
                    <a:pt x="269" y="645"/>
                  </a:lnTo>
                  <a:lnTo>
                    <a:pt x="269" y="644"/>
                  </a:lnTo>
                  <a:lnTo>
                    <a:pt x="269" y="645"/>
                  </a:lnTo>
                  <a:lnTo>
                    <a:pt x="267" y="647"/>
                  </a:lnTo>
                  <a:lnTo>
                    <a:pt x="265" y="647"/>
                  </a:lnTo>
                  <a:lnTo>
                    <a:pt x="264" y="649"/>
                  </a:lnTo>
                  <a:lnTo>
                    <a:pt x="262" y="649"/>
                  </a:lnTo>
                  <a:lnTo>
                    <a:pt x="262" y="650"/>
                  </a:lnTo>
                  <a:lnTo>
                    <a:pt x="260" y="650"/>
                  </a:lnTo>
                  <a:lnTo>
                    <a:pt x="259" y="652"/>
                  </a:lnTo>
                  <a:lnTo>
                    <a:pt x="259" y="650"/>
                  </a:lnTo>
                  <a:lnTo>
                    <a:pt x="257" y="652"/>
                  </a:lnTo>
                  <a:lnTo>
                    <a:pt x="256" y="652"/>
                  </a:lnTo>
                  <a:lnTo>
                    <a:pt x="256" y="650"/>
                  </a:lnTo>
                  <a:lnTo>
                    <a:pt x="257" y="650"/>
                  </a:lnTo>
                  <a:lnTo>
                    <a:pt x="256" y="650"/>
                  </a:lnTo>
                  <a:lnTo>
                    <a:pt x="256" y="649"/>
                  </a:lnTo>
                  <a:lnTo>
                    <a:pt x="257" y="649"/>
                  </a:lnTo>
                  <a:lnTo>
                    <a:pt x="256" y="649"/>
                  </a:lnTo>
                  <a:lnTo>
                    <a:pt x="254" y="649"/>
                  </a:lnTo>
                  <a:lnTo>
                    <a:pt x="254" y="647"/>
                  </a:lnTo>
                  <a:lnTo>
                    <a:pt x="252" y="647"/>
                  </a:lnTo>
                  <a:lnTo>
                    <a:pt x="252" y="645"/>
                  </a:lnTo>
                  <a:lnTo>
                    <a:pt x="252" y="644"/>
                  </a:lnTo>
                  <a:lnTo>
                    <a:pt x="252" y="642"/>
                  </a:lnTo>
                  <a:lnTo>
                    <a:pt x="254" y="642"/>
                  </a:lnTo>
                  <a:lnTo>
                    <a:pt x="254" y="640"/>
                  </a:lnTo>
                  <a:lnTo>
                    <a:pt x="254" y="639"/>
                  </a:lnTo>
                  <a:lnTo>
                    <a:pt x="256" y="637"/>
                  </a:lnTo>
                  <a:lnTo>
                    <a:pt x="257" y="636"/>
                  </a:lnTo>
                  <a:lnTo>
                    <a:pt x="259" y="634"/>
                  </a:lnTo>
                  <a:lnTo>
                    <a:pt x="257" y="634"/>
                  </a:lnTo>
                  <a:lnTo>
                    <a:pt x="259" y="634"/>
                  </a:lnTo>
                  <a:lnTo>
                    <a:pt x="259" y="632"/>
                  </a:lnTo>
                  <a:lnTo>
                    <a:pt x="260" y="632"/>
                  </a:lnTo>
                  <a:lnTo>
                    <a:pt x="260" y="631"/>
                  </a:lnTo>
                  <a:lnTo>
                    <a:pt x="262" y="631"/>
                  </a:lnTo>
                  <a:lnTo>
                    <a:pt x="262" y="629"/>
                  </a:lnTo>
                  <a:lnTo>
                    <a:pt x="264" y="629"/>
                  </a:lnTo>
                  <a:lnTo>
                    <a:pt x="264" y="627"/>
                  </a:lnTo>
                  <a:lnTo>
                    <a:pt x="262" y="629"/>
                  </a:lnTo>
                  <a:lnTo>
                    <a:pt x="260" y="629"/>
                  </a:lnTo>
                  <a:lnTo>
                    <a:pt x="259" y="629"/>
                  </a:lnTo>
                  <a:lnTo>
                    <a:pt x="259" y="631"/>
                  </a:lnTo>
                  <a:lnTo>
                    <a:pt x="257" y="631"/>
                  </a:lnTo>
                  <a:lnTo>
                    <a:pt x="259" y="631"/>
                  </a:lnTo>
                  <a:lnTo>
                    <a:pt x="257" y="631"/>
                  </a:lnTo>
                  <a:lnTo>
                    <a:pt x="257" y="632"/>
                  </a:lnTo>
                  <a:lnTo>
                    <a:pt x="256" y="632"/>
                  </a:lnTo>
                  <a:lnTo>
                    <a:pt x="254" y="632"/>
                  </a:lnTo>
                  <a:lnTo>
                    <a:pt x="254" y="634"/>
                  </a:lnTo>
                  <a:lnTo>
                    <a:pt x="254" y="632"/>
                  </a:lnTo>
                  <a:lnTo>
                    <a:pt x="254" y="631"/>
                  </a:lnTo>
                  <a:lnTo>
                    <a:pt x="254" y="629"/>
                  </a:lnTo>
                  <a:lnTo>
                    <a:pt x="256" y="629"/>
                  </a:lnTo>
                  <a:lnTo>
                    <a:pt x="256" y="627"/>
                  </a:lnTo>
                  <a:lnTo>
                    <a:pt x="256" y="626"/>
                  </a:lnTo>
                  <a:lnTo>
                    <a:pt x="257" y="626"/>
                  </a:lnTo>
                  <a:lnTo>
                    <a:pt x="257" y="624"/>
                  </a:lnTo>
                  <a:lnTo>
                    <a:pt x="259" y="624"/>
                  </a:lnTo>
                  <a:lnTo>
                    <a:pt x="259" y="623"/>
                  </a:lnTo>
                  <a:lnTo>
                    <a:pt x="260" y="623"/>
                  </a:lnTo>
                  <a:lnTo>
                    <a:pt x="260" y="621"/>
                  </a:lnTo>
                  <a:lnTo>
                    <a:pt x="262" y="619"/>
                  </a:lnTo>
                  <a:lnTo>
                    <a:pt x="264" y="618"/>
                  </a:lnTo>
                  <a:lnTo>
                    <a:pt x="265" y="618"/>
                  </a:lnTo>
                  <a:lnTo>
                    <a:pt x="267" y="618"/>
                  </a:lnTo>
                  <a:lnTo>
                    <a:pt x="267" y="616"/>
                  </a:lnTo>
                  <a:lnTo>
                    <a:pt x="265" y="616"/>
                  </a:lnTo>
                  <a:lnTo>
                    <a:pt x="265" y="618"/>
                  </a:lnTo>
                  <a:lnTo>
                    <a:pt x="265" y="616"/>
                  </a:lnTo>
                  <a:lnTo>
                    <a:pt x="265" y="618"/>
                  </a:lnTo>
                  <a:lnTo>
                    <a:pt x="264" y="616"/>
                  </a:lnTo>
                  <a:lnTo>
                    <a:pt x="265" y="616"/>
                  </a:lnTo>
                  <a:lnTo>
                    <a:pt x="267" y="614"/>
                  </a:lnTo>
                  <a:lnTo>
                    <a:pt x="265" y="614"/>
                  </a:lnTo>
                  <a:lnTo>
                    <a:pt x="267" y="614"/>
                  </a:lnTo>
                  <a:lnTo>
                    <a:pt x="265" y="614"/>
                  </a:lnTo>
                  <a:lnTo>
                    <a:pt x="265" y="616"/>
                  </a:lnTo>
                  <a:lnTo>
                    <a:pt x="264" y="616"/>
                  </a:lnTo>
                  <a:lnTo>
                    <a:pt x="264" y="614"/>
                  </a:lnTo>
                  <a:lnTo>
                    <a:pt x="264" y="616"/>
                  </a:lnTo>
                  <a:lnTo>
                    <a:pt x="262" y="614"/>
                  </a:lnTo>
                  <a:lnTo>
                    <a:pt x="262" y="616"/>
                  </a:lnTo>
                  <a:lnTo>
                    <a:pt x="264" y="616"/>
                  </a:lnTo>
                  <a:lnTo>
                    <a:pt x="264" y="618"/>
                  </a:lnTo>
                  <a:lnTo>
                    <a:pt x="262" y="618"/>
                  </a:lnTo>
                  <a:lnTo>
                    <a:pt x="260" y="619"/>
                  </a:lnTo>
                  <a:lnTo>
                    <a:pt x="259" y="621"/>
                  </a:lnTo>
                  <a:lnTo>
                    <a:pt x="259" y="619"/>
                  </a:lnTo>
                  <a:lnTo>
                    <a:pt x="260" y="618"/>
                  </a:lnTo>
                  <a:lnTo>
                    <a:pt x="262" y="616"/>
                  </a:lnTo>
                  <a:lnTo>
                    <a:pt x="260" y="618"/>
                  </a:lnTo>
                  <a:lnTo>
                    <a:pt x="259" y="619"/>
                  </a:lnTo>
                  <a:lnTo>
                    <a:pt x="259" y="621"/>
                  </a:lnTo>
                  <a:lnTo>
                    <a:pt x="257" y="621"/>
                  </a:lnTo>
                  <a:lnTo>
                    <a:pt x="259" y="621"/>
                  </a:lnTo>
                  <a:lnTo>
                    <a:pt x="257" y="623"/>
                  </a:lnTo>
                  <a:lnTo>
                    <a:pt x="256" y="624"/>
                  </a:lnTo>
                  <a:lnTo>
                    <a:pt x="257" y="623"/>
                  </a:lnTo>
                  <a:lnTo>
                    <a:pt x="257" y="624"/>
                  </a:lnTo>
                  <a:lnTo>
                    <a:pt x="256" y="626"/>
                  </a:lnTo>
                  <a:lnTo>
                    <a:pt x="254" y="627"/>
                  </a:lnTo>
                  <a:lnTo>
                    <a:pt x="254" y="626"/>
                  </a:lnTo>
                  <a:lnTo>
                    <a:pt x="252" y="626"/>
                  </a:lnTo>
                  <a:lnTo>
                    <a:pt x="254" y="626"/>
                  </a:lnTo>
                  <a:lnTo>
                    <a:pt x="254" y="624"/>
                  </a:lnTo>
                  <a:lnTo>
                    <a:pt x="256" y="624"/>
                  </a:lnTo>
                  <a:lnTo>
                    <a:pt x="256" y="623"/>
                  </a:lnTo>
                  <a:lnTo>
                    <a:pt x="254" y="623"/>
                  </a:lnTo>
                  <a:lnTo>
                    <a:pt x="252" y="624"/>
                  </a:lnTo>
                  <a:lnTo>
                    <a:pt x="254" y="624"/>
                  </a:lnTo>
                  <a:lnTo>
                    <a:pt x="254" y="623"/>
                  </a:lnTo>
                  <a:lnTo>
                    <a:pt x="256" y="621"/>
                  </a:lnTo>
                  <a:lnTo>
                    <a:pt x="257" y="619"/>
                  </a:lnTo>
                  <a:lnTo>
                    <a:pt x="256" y="619"/>
                  </a:lnTo>
                  <a:lnTo>
                    <a:pt x="257" y="619"/>
                  </a:lnTo>
                  <a:lnTo>
                    <a:pt x="259" y="618"/>
                  </a:lnTo>
                  <a:lnTo>
                    <a:pt x="259" y="616"/>
                  </a:lnTo>
                  <a:lnTo>
                    <a:pt x="260" y="616"/>
                  </a:lnTo>
                  <a:lnTo>
                    <a:pt x="260" y="614"/>
                  </a:lnTo>
                  <a:lnTo>
                    <a:pt x="259" y="614"/>
                  </a:lnTo>
                  <a:lnTo>
                    <a:pt x="260" y="614"/>
                  </a:lnTo>
                  <a:lnTo>
                    <a:pt x="262" y="614"/>
                  </a:lnTo>
                  <a:lnTo>
                    <a:pt x="262" y="613"/>
                  </a:lnTo>
                  <a:lnTo>
                    <a:pt x="262" y="611"/>
                  </a:lnTo>
                  <a:lnTo>
                    <a:pt x="264" y="611"/>
                  </a:lnTo>
                  <a:lnTo>
                    <a:pt x="264" y="610"/>
                  </a:lnTo>
                  <a:lnTo>
                    <a:pt x="265" y="610"/>
                  </a:lnTo>
                  <a:lnTo>
                    <a:pt x="265" y="608"/>
                  </a:lnTo>
                  <a:lnTo>
                    <a:pt x="267" y="608"/>
                  </a:lnTo>
                  <a:lnTo>
                    <a:pt x="267" y="606"/>
                  </a:lnTo>
                  <a:lnTo>
                    <a:pt x="269" y="606"/>
                  </a:lnTo>
                  <a:lnTo>
                    <a:pt x="269" y="608"/>
                  </a:lnTo>
                  <a:lnTo>
                    <a:pt x="270" y="606"/>
                  </a:lnTo>
                  <a:lnTo>
                    <a:pt x="270" y="608"/>
                  </a:lnTo>
                  <a:lnTo>
                    <a:pt x="270" y="610"/>
                  </a:lnTo>
                  <a:lnTo>
                    <a:pt x="272" y="610"/>
                  </a:lnTo>
                  <a:lnTo>
                    <a:pt x="272" y="608"/>
                  </a:lnTo>
                  <a:lnTo>
                    <a:pt x="270" y="608"/>
                  </a:lnTo>
                  <a:lnTo>
                    <a:pt x="272" y="606"/>
                  </a:lnTo>
                  <a:lnTo>
                    <a:pt x="270" y="606"/>
                  </a:lnTo>
                  <a:lnTo>
                    <a:pt x="272" y="605"/>
                  </a:lnTo>
                  <a:lnTo>
                    <a:pt x="270" y="605"/>
                  </a:lnTo>
                  <a:lnTo>
                    <a:pt x="270" y="603"/>
                  </a:lnTo>
                  <a:lnTo>
                    <a:pt x="270" y="601"/>
                  </a:lnTo>
                  <a:lnTo>
                    <a:pt x="272" y="601"/>
                  </a:lnTo>
                  <a:lnTo>
                    <a:pt x="272" y="600"/>
                  </a:lnTo>
                  <a:lnTo>
                    <a:pt x="273" y="600"/>
                  </a:lnTo>
                  <a:lnTo>
                    <a:pt x="273" y="598"/>
                  </a:lnTo>
                  <a:lnTo>
                    <a:pt x="275" y="598"/>
                  </a:lnTo>
                  <a:lnTo>
                    <a:pt x="275" y="597"/>
                  </a:lnTo>
                  <a:lnTo>
                    <a:pt x="277" y="595"/>
                  </a:lnTo>
                  <a:lnTo>
                    <a:pt x="277" y="593"/>
                  </a:lnTo>
                  <a:lnTo>
                    <a:pt x="275" y="593"/>
                  </a:lnTo>
                  <a:lnTo>
                    <a:pt x="275" y="595"/>
                  </a:lnTo>
                  <a:lnTo>
                    <a:pt x="273" y="595"/>
                  </a:lnTo>
                  <a:lnTo>
                    <a:pt x="273" y="597"/>
                  </a:lnTo>
                  <a:lnTo>
                    <a:pt x="272" y="597"/>
                  </a:lnTo>
                  <a:lnTo>
                    <a:pt x="270" y="598"/>
                  </a:lnTo>
                  <a:lnTo>
                    <a:pt x="269" y="600"/>
                  </a:lnTo>
                  <a:lnTo>
                    <a:pt x="267" y="601"/>
                  </a:lnTo>
                  <a:lnTo>
                    <a:pt x="267" y="600"/>
                  </a:lnTo>
                  <a:lnTo>
                    <a:pt x="269" y="598"/>
                  </a:lnTo>
                  <a:lnTo>
                    <a:pt x="270" y="598"/>
                  </a:lnTo>
                  <a:lnTo>
                    <a:pt x="269" y="598"/>
                  </a:lnTo>
                  <a:lnTo>
                    <a:pt x="269" y="597"/>
                  </a:lnTo>
                  <a:lnTo>
                    <a:pt x="270" y="595"/>
                  </a:lnTo>
                  <a:lnTo>
                    <a:pt x="270" y="593"/>
                  </a:lnTo>
                  <a:lnTo>
                    <a:pt x="272" y="593"/>
                  </a:lnTo>
                  <a:lnTo>
                    <a:pt x="272" y="592"/>
                  </a:lnTo>
                  <a:lnTo>
                    <a:pt x="273" y="592"/>
                  </a:lnTo>
                  <a:lnTo>
                    <a:pt x="273" y="590"/>
                  </a:lnTo>
                  <a:lnTo>
                    <a:pt x="275" y="590"/>
                  </a:lnTo>
                  <a:lnTo>
                    <a:pt x="275" y="588"/>
                  </a:lnTo>
                  <a:lnTo>
                    <a:pt x="275" y="587"/>
                  </a:lnTo>
                  <a:lnTo>
                    <a:pt x="273" y="587"/>
                  </a:lnTo>
                  <a:lnTo>
                    <a:pt x="275" y="587"/>
                  </a:lnTo>
                  <a:lnTo>
                    <a:pt x="277" y="585"/>
                  </a:lnTo>
                  <a:lnTo>
                    <a:pt x="277" y="587"/>
                  </a:lnTo>
                  <a:lnTo>
                    <a:pt x="277" y="585"/>
                  </a:lnTo>
                  <a:lnTo>
                    <a:pt x="278" y="585"/>
                  </a:lnTo>
                  <a:lnTo>
                    <a:pt x="280" y="585"/>
                  </a:lnTo>
                  <a:lnTo>
                    <a:pt x="282" y="585"/>
                  </a:lnTo>
                  <a:lnTo>
                    <a:pt x="280" y="584"/>
                  </a:lnTo>
                  <a:lnTo>
                    <a:pt x="278" y="584"/>
                  </a:lnTo>
                  <a:lnTo>
                    <a:pt x="277" y="584"/>
                  </a:lnTo>
                  <a:lnTo>
                    <a:pt x="275" y="584"/>
                  </a:lnTo>
                  <a:lnTo>
                    <a:pt x="273" y="584"/>
                  </a:lnTo>
                  <a:lnTo>
                    <a:pt x="273" y="585"/>
                  </a:lnTo>
                  <a:lnTo>
                    <a:pt x="273" y="584"/>
                  </a:lnTo>
                  <a:lnTo>
                    <a:pt x="273" y="585"/>
                  </a:lnTo>
                  <a:lnTo>
                    <a:pt x="272" y="584"/>
                  </a:lnTo>
                  <a:lnTo>
                    <a:pt x="272" y="582"/>
                  </a:lnTo>
                  <a:lnTo>
                    <a:pt x="273" y="582"/>
                  </a:lnTo>
                  <a:lnTo>
                    <a:pt x="273" y="580"/>
                  </a:lnTo>
                  <a:lnTo>
                    <a:pt x="273" y="579"/>
                  </a:lnTo>
                  <a:lnTo>
                    <a:pt x="273" y="580"/>
                  </a:lnTo>
                  <a:lnTo>
                    <a:pt x="273" y="577"/>
                  </a:lnTo>
                  <a:lnTo>
                    <a:pt x="275" y="577"/>
                  </a:lnTo>
                  <a:lnTo>
                    <a:pt x="275" y="575"/>
                  </a:lnTo>
                  <a:lnTo>
                    <a:pt x="273" y="577"/>
                  </a:lnTo>
                  <a:lnTo>
                    <a:pt x="272" y="577"/>
                  </a:lnTo>
                  <a:lnTo>
                    <a:pt x="272" y="579"/>
                  </a:lnTo>
                  <a:lnTo>
                    <a:pt x="273" y="579"/>
                  </a:lnTo>
                  <a:lnTo>
                    <a:pt x="273" y="580"/>
                  </a:lnTo>
                  <a:lnTo>
                    <a:pt x="272" y="580"/>
                  </a:lnTo>
                  <a:lnTo>
                    <a:pt x="270" y="582"/>
                  </a:lnTo>
                  <a:lnTo>
                    <a:pt x="270" y="580"/>
                  </a:lnTo>
                  <a:lnTo>
                    <a:pt x="270" y="579"/>
                  </a:lnTo>
                  <a:lnTo>
                    <a:pt x="270" y="577"/>
                  </a:lnTo>
                  <a:lnTo>
                    <a:pt x="269" y="577"/>
                  </a:lnTo>
                  <a:lnTo>
                    <a:pt x="270" y="575"/>
                  </a:lnTo>
                  <a:lnTo>
                    <a:pt x="272" y="574"/>
                  </a:lnTo>
                  <a:lnTo>
                    <a:pt x="273" y="574"/>
                  </a:lnTo>
                  <a:lnTo>
                    <a:pt x="272" y="575"/>
                  </a:lnTo>
                  <a:lnTo>
                    <a:pt x="273" y="575"/>
                  </a:lnTo>
                  <a:lnTo>
                    <a:pt x="273" y="574"/>
                  </a:lnTo>
                  <a:lnTo>
                    <a:pt x="275" y="574"/>
                  </a:lnTo>
                  <a:lnTo>
                    <a:pt x="277" y="572"/>
                  </a:lnTo>
                  <a:lnTo>
                    <a:pt x="278" y="570"/>
                  </a:lnTo>
                  <a:lnTo>
                    <a:pt x="278" y="572"/>
                  </a:lnTo>
                  <a:lnTo>
                    <a:pt x="280" y="570"/>
                  </a:lnTo>
                  <a:lnTo>
                    <a:pt x="280" y="572"/>
                  </a:lnTo>
                  <a:lnTo>
                    <a:pt x="282" y="572"/>
                  </a:lnTo>
                  <a:lnTo>
                    <a:pt x="283" y="572"/>
                  </a:lnTo>
                  <a:lnTo>
                    <a:pt x="285" y="572"/>
                  </a:lnTo>
                  <a:lnTo>
                    <a:pt x="286" y="570"/>
                  </a:lnTo>
                  <a:lnTo>
                    <a:pt x="288" y="570"/>
                  </a:lnTo>
                  <a:lnTo>
                    <a:pt x="286" y="570"/>
                  </a:lnTo>
                  <a:lnTo>
                    <a:pt x="285" y="570"/>
                  </a:lnTo>
                  <a:lnTo>
                    <a:pt x="283" y="570"/>
                  </a:lnTo>
                  <a:lnTo>
                    <a:pt x="282" y="570"/>
                  </a:lnTo>
                  <a:lnTo>
                    <a:pt x="282" y="572"/>
                  </a:lnTo>
                  <a:lnTo>
                    <a:pt x="280" y="572"/>
                  </a:lnTo>
                  <a:lnTo>
                    <a:pt x="280" y="570"/>
                  </a:lnTo>
                  <a:lnTo>
                    <a:pt x="280" y="569"/>
                  </a:lnTo>
                  <a:lnTo>
                    <a:pt x="282" y="569"/>
                  </a:lnTo>
                  <a:lnTo>
                    <a:pt x="280" y="569"/>
                  </a:lnTo>
                  <a:lnTo>
                    <a:pt x="280" y="567"/>
                  </a:lnTo>
                  <a:lnTo>
                    <a:pt x="282" y="567"/>
                  </a:lnTo>
                  <a:lnTo>
                    <a:pt x="282" y="566"/>
                  </a:lnTo>
                  <a:lnTo>
                    <a:pt x="283" y="566"/>
                  </a:lnTo>
                  <a:lnTo>
                    <a:pt x="283" y="564"/>
                  </a:lnTo>
                  <a:lnTo>
                    <a:pt x="285" y="564"/>
                  </a:lnTo>
                  <a:lnTo>
                    <a:pt x="286" y="562"/>
                  </a:lnTo>
                  <a:lnTo>
                    <a:pt x="286" y="564"/>
                  </a:lnTo>
                  <a:lnTo>
                    <a:pt x="286" y="562"/>
                  </a:lnTo>
                  <a:lnTo>
                    <a:pt x="286" y="561"/>
                  </a:lnTo>
                  <a:lnTo>
                    <a:pt x="286" y="559"/>
                  </a:lnTo>
                  <a:lnTo>
                    <a:pt x="286" y="561"/>
                  </a:lnTo>
                  <a:lnTo>
                    <a:pt x="288" y="559"/>
                  </a:lnTo>
                  <a:lnTo>
                    <a:pt x="290" y="559"/>
                  </a:lnTo>
                  <a:lnTo>
                    <a:pt x="290" y="557"/>
                  </a:lnTo>
                  <a:lnTo>
                    <a:pt x="290" y="559"/>
                  </a:lnTo>
                  <a:lnTo>
                    <a:pt x="290" y="557"/>
                  </a:lnTo>
                  <a:lnTo>
                    <a:pt x="291" y="557"/>
                  </a:lnTo>
                  <a:lnTo>
                    <a:pt x="290" y="559"/>
                  </a:lnTo>
                  <a:lnTo>
                    <a:pt x="291" y="559"/>
                  </a:lnTo>
                  <a:lnTo>
                    <a:pt x="293" y="559"/>
                  </a:lnTo>
                  <a:lnTo>
                    <a:pt x="295" y="559"/>
                  </a:lnTo>
                  <a:lnTo>
                    <a:pt x="296" y="559"/>
                  </a:lnTo>
                  <a:lnTo>
                    <a:pt x="298" y="559"/>
                  </a:lnTo>
                  <a:lnTo>
                    <a:pt x="298" y="561"/>
                  </a:lnTo>
                  <a:lnTo>
                    <a:pt x="299" y="561"/>
                  </a:lnTo>
                  <a:lnTo>
                    <a:pt x="299" y="559"/>
                  </a:lnTo>
                  <a:lnTo>
                    <a:pt x="301" y="561"/>
                  </a:lnTo>
                  <a:lnTo>
                    <a:pt x="303" y="561"/>
                  </a:lnTo>
                  <a:lnTo>
                    <a:pt x="304" y="561"/>
                  </a:lnTo>
                  <a:lnTo>
                    <a:pt x="304" y="562"/>
                  </a:lnTo>
                  <a:lnTo>
                    <a:pt x="304" y="564"/>
                  </a:lnTo>
                  <a:lnTo>
                    <a:pt x="306" y="564"/>
                  </a:lnTo>
                  <a:lnTo>
                    <a:pt x="306" y="562"/>
                  </a:lnTo>
                  <a:lnTo>
                    <a:pt x="308" y="564"/>
                  </a:lnTo>
                  <a:lnTo>
                    <a:pt x="309" y="562"/>
                  </a:lnTo>
                  <a:lnTo>
                    <a:pt x="311" y="562"/>
                  </a:lnTo>
                  <a:lnTo>
                    <a:pt x="312" y="562"/>
                  </a:lnTo>
                  <a:lnTo>
                    <a:pt x="312" y="561"/>
                  </a:lnTo>
                  <a:lnTo>
                    <a:pt x="314" y="561"/>
                  </a:lnTo>
                  <a:lnTo>
                    <a:pt x="314" y="559"/>
                  </a:lnTo>
                  <a:lnTo>
                    <a:pt x="316" y="557"/>
                  </a:lnTo>
                  <a:lnTo>
                    <a:pt x="317" y="557"/>
                  </a:lnTo>
                  <a:lnTo>
                    <a:pt x="317" y="556"/>
                  </a:lnTo>
                  <a:lnTo>
                    <a:pt x="319" y="556"/>
                  </a:lnTo>
                  <a:lnTo>
                    <a:pt x="319" y="554"/>
                  </a:lnTo>
                  <a:lnTo>
                    <a:pt x="319" y="553"/>
                  </a:lnTo>
                  <a:lnTo>
                    <a:pt x="321" y="553"/>
                  </a:lnTo>
                  <a:lnTo>
                    <a:pt x="321" y="551"/>
                  </a:lnTo>
                  <a:lnTo>
                    <a:pt x="322" y="551"/>
                  </a:lnTo>
                  <a:lnTo>
                    <a:pt x="322" y="549"/>
                  </a:lnTo>
                  <a:lnTo>
                    <a:pt x="321" y="551"/>
                  </a:lnTo>
                  <a:lnTo>
                    <a:pt x="319" y="553"/>
                  </a:lnTo>
                  <a:lnTo>
                    <a:pt x="319" y="554"/>
                  </a:lnTo>
                  <a:lnTo>
                    <a:pt x="317" y="554"/>
                  </a:lnTo>
                  <a:lnTo>
                    <a:pt x="317" y="556"/>
                  </a:lnTo>
                  <a:lnTo>
                    <a:pt x="316" y="556"/>
                  </a:lnTo>
                  <a:lnTo>
                    <a:pt x="314" y="556"/>
                  </a:lnTo>
                  <a:lnTo>
                    <a:pt x="314" y="557"/>
                  </a:lnTo>
                  <a:lnTo>
                    <a:pt x="312" y="557"/>
                  </a:lnTo>
                  <a:lnTo>
                    <a:pt x="312" y="559"/>
                  </a:lnTo>
                  <a:lnTo>
                    <a:pt x="311" y="561"/>
                  </a:lnTo>
                  <a:lnTo>
                    <a:pt x="309" y="562"/>
                  </a:lnTo>
                  <a:lnTo>
                    <a:pt x="308" y="562"/>
                  </a:lnTo>
                  <a:lnTo>
                    <a:pt x="306" y="562"/>
                  </a:lnTo>
                  <a:lnTo>
                    <a:pt x="306" y="561"/>
                  </a:lnTo>
                  <a:lnTo>
                    <a:pt x="304" y="561"/>
                  </a:lnTo>
                  <a:lnTo>
                    <a:pt x="304" y="559"/>
                  </a:lnTo>
                  <a:lnTo>
                    <a:pt x="303" y="559"/>
                  </a:lnTo>
                  <a:lnTo>
                    <a:pt x="301" y="559"/>
                  </a:lnTo>
                  <a:lnTo>
                    <a:pt x="299" y="559"/>
                  </a:lnTo>
                  <a:lnTo>
                    <a:pt x="299" y="557"/>
                  </a:lnTo>
                  <a:lnTo>
                    <a:pt x="298" y="557"/>
                  </a:lnTo>
                  <a:lnTo>
                    <a:pt x="296" y="557"/>
                  </a:lnTo>
                  <a:lnTo>
                    <a:pt x="296" y="559"/>
                  </a:lnTo>
                  <a:lnTo>
                    <a:pt x="295" y="557"/>
                  </a:lnTo>
                  <a:lnTo>
                    <a:pt x="295" y="559"/>
                  </a:lnTo>
                  <a:lnTo>
                    <a:pt x="293" y="557"/>
                  </a:lnTo>
                  <a:lnTo>
                    <a:pt x="295" y="557"/>
                  </a:lnTo>
                  <a:lnTo>
                    <a:pt x="295" y="556"/>
                  </a:lnTo>
                  <a:lnTo>
                    <a:pt x="295" y="554"/>
                  </a:lnTo>
                  <a:lnTo>
                    <a:pt x="293" y="553"/>
                  </a:lnTo>
                  <a:lnTo>
                    <a:pt x="293" y="551"/>
                  </a:lnTo>
                  <a:lnTo>
                    <a:pt x="293" y="553"/>
                  </a:lnTo>
                  <a:lnTo>
                    <a:pt x="291" y="554"/>
                  </a:lnTo>
                  <a:lnTo>
                    <a:pt x="290" y="554"/>
                  </a:lnTo>
                  <a:lnTo>
                    <a:pt x="291" y="554"/>
                  </a:lnTo>
                  <a:lnTo>
                    <a:pt x="291" y="553"/>
                  </a:lnTo>
                  <a:lnTo>
                    <a:pt x="290" y="553"/>
                  </a:lnTo>
                  <a:lnTo>
                    <a:pt x="290" y="554"/>
                  </a:lnTo>
                  <a:lnTo>
                    <a:pt x="288" y="554"/>
                  </a:lnTo>
                  <a:lnTo>
                    <a:pt x="290" y="553"/>
                  </a:lnTo>
                  <a:lnTo>
                    <a:pt x="291" y="553"/>
                  </a:lnTo>
                  <a:lnTo>
                    <a:pt x="291" y="551"/>
                  </a:lnTo>
                  <a:lnTo>
                    <a:pt x="291" y="549"/>
                  </a:lnTo>
                  <a:lnTo>
                    <a:pt x="293" y="549"/>
                  </a:lnTo>
                  <a:lnTo>
                    <a:pt x="295" y="549"/>
                  </a:lnTo>
                  <a:lnTo>
                    <a:pt x="295" y="548"/>
                  </a:lnTo>
                  <a:lnTo>
                    <a:pt x="295" y="549"/>
                  </a:lnTo>
                  <a:lnTo>
                    <a:pt x="296" y="549"/>
                  </a:lnTo>
                  <a:lnTo>
                    <a:pt x="296" y="551"/>
                  </a:lnTo>
                  <a:lnTo>
                    <a:pt x="298" y="551"/>
                  </a:lnTo>
                  <a:lnTo>
                    <a:pt x="299" y="551"/>
                  </a:lnTo>
                  <a:lnTo>
                    <a:pt x="301" y="551"/>
                  </a:lnTo>
                  <a:lnTo>
                    <a:pt x="301" y="549"/>
                  </a:lnTo>
                  <a:lnTo>
                    <a:pt x="303" y="549"/>
                  </a:lnTo>
                  <a:lnTo>
                    <a:pt x="304" y="548"/>
                  </a:lnTo>
                  <a:lnTo>
                    <a:pt x="306" y="548"/>
                  </a:lnTo>
                  <a:lnTo>
                    <a:pt x="308" y="548"/>
                  </a:lnTo>
                  <a:lnTo>
                    <a:pt x="309" y="548"/>
                  </a:lnTo>
                  <a:lnTo>
                    <a:pt x="309" y="546"/>
                  </a:lnTo>
                  <a:lnTo>
                    <a:pt x="306" y="548"/>
                  </a:lnTo>
                  <a:lnTo>
                    <a:pt x="304" y="548"/>
                  </a:lnTo>
                  <a:lnTo>
                    <a:pt x="304" y="546"/>
                  </a:lnTo>
                  <a:lnTo>
                    <a:pt x="303" y="546"/>
                  </a:lnTo>
                  <a:lnTo>
                    <a:pt x="303" y="548"/>
                  </a:lnTo>
                  <a:lnTo>
                    <a:pt x="301" y="548"/>
                  </a:lnTo>
                  <a:lnTo>
                    <a:pt x="299" y="549"/>
                  </a:lnTo>
                  <a:lnTo>
                    <a:pt x="298" y="549"/>
                  </a:lnTo>
                  <a:lnTo>
                    <a:pt x="296" y="549"/>
                  </a:lnTo>
                  <a:lnTo>
                    <a:pt x="298" y="548"/>
                  </a:lnTo>
                  <a:lnTo>
                    <a:pt x="296" y="548"/>
                  </a:lnTo>
                  <a:lnTo>
                    <a:pt x="296" y="546"/>
                  </a:lnTo>
                  <a:lnTo>
                    <a:pt x="295" y="546"/>
                  </a:lnTo>
                  <a:lnTo>
                    <a:pt x="296" y="544"/>
                  </a:lnTo>
                  <a:lnTo>
                    <a:pt x="295" y="546"/>
                  </a:lnTo>
                  <a:lnTo>
                    <a:pt x="296" y="544"/>
                  </a:lnTo>
                  <a:lnTo>
                    <a:pt x="296" y="543"/>
                  </a:lnTo>
                  <a:lnTo>
                    <a:pt x="298" y="543"/>
                  </a:lnTo>
                  <a:lnTo>
                    <a:pt x="298" y="544"/>
                  </a:lnTo>
                  <a:lnTo>
                    <a:pt x="298" y="543"/>
                  </a:lnTo>
                  <a:lnTo>
                    <a:pt x="299" y="543"/>
                  </a:lnTo>
                  <a:lnTo>
                    <a:pt x="299" y="541"/>
                  </a:lnTo>
                  <a:lnTo>
                    <a:pt x="298" y="541"/>
                  </a:lnTo>
                  <a:lnTo>
                    <a:pt x="299" y="541"/>
                  </a:lnTo>
                  <a:lnTo>
                    <a:pt x="299" y="540"/>
                  </a:lnTo>
                  <a:lnTo>
                    <a:pt x="301" y="540"/>
                  </a:lnTo>
                  <a:lnTo>
                    <a:pt x="301" y="538"/>
                  </a:lnTo>
                  <a:lnTo>
                    <a:pt x="303" y="536"/>
                  </a:lnTo>
                  <a:lnTo>
                    <a:pt x="304" y="536"/>
                  </a:lnTo>
                  <a:lnTo>
                    <a:pt x="306" y="536"/>
                  </a:lnTo>
                  <a:lnTo>
                    <a:pt x="308" y="535"/>
                  </a:lnTo>
                  <a:lnTo>
                    <a:pt x="308" y="533"/>
                  </a:lnTo>
                  <a:lnTo>
                    <a:pt x="306" y="533"/>
                  </a:lnTo>
                  <a:lnTo>
                    <a:pt x="306" y="531"/>
                  </a:lnTo>
                  <a:lnTo>
                    <a:pt x="308" y="531"/>
                  </a:lnTo>
                  <a:lnTo>
                    <a:pt x="309" y="531"/>
                  </a:lnTo>
                  <a:lnTo>
                    <a:pt x="309" y="530"/>
                  </a:lnTo>
                  <a:lnTo>
                    <a:pt x="311" y="530"/>
                  </a:lnTo>
                  <a:lnTo>
                    <a:pt x="311" y="531"/>
                  </a:lnTo>
                  <a:lnTo>
                    <a:pt x="311" y="530"/>
                  </a:lnTo>
                  <a:lnTo>
                    <a:pt x="311" y="531"/>
                  </a:lnTo>
                  <a:lnTo>
                    <a:pt x="312" y="531"/>
                  </a:lnTo>
                  <a:lnTo>
                    <a:pt x="312" y="530"/>
                  </a:lnTo>
                  <a:lnTo>
                    <a:pt x="314" y="530"/>
                  </a:lnTo>
                  <a:lnTo>
                    <a:pt x="316" y="530"/>
                  </a:lnTo>
                  <a:lnTo>
                    <a:pt x="317" y="530"/>
                  </a:lnTo>
                  <a:lnTo>
                    <a:pt x="319" y="530"/>
                  </a:lnTo>
                  <a:lnTo>
                    <a:pt x="319" y="531"/>
                  </a:lnTo>
                  <a:lnTo>
                    <a:pt x="321" y="531"/>
                  </a:lnTo>
                  <a:lnTo>
                    <a:pt x="322" y="531"/>
                  </a:lnTo>
                  <a:lnTo>
                    <a:pt x="324" y="531"/>
                  </a:lnTo>
                  <a:lnTo>
                    <a:pt x="324" y="530"/>
                  </a:lnTo>
                  <a:lnTo>
                    <a:pt x="325" y="530"/>
                  </a:lnTo>
                  <a:lnTo>
                    <a:pt x="327" y="530"/>
                  </a:lnTo>
                  <a:lnTo>
                    <a:pt x="329" y="530"/>
                  </a:lnTo>
                  <a:lnTo>
                    <a:pt x="327" y="530"/>
                  </a:lnTo>
                  <a:lnTo>
                    <a:pt x="325" y="530"/>
                  </a:lnTo>
                  <a:lnTo>
                    <a:pt x="324" y="530"/>
                  </a:lnTo>
                  <a:lnTo>
                    <a:pt x="322" y="530"/>
                  </a:lnTo>
                  <a:lnTo>
                    <a:pt x="321" y="530"/>
                  </a:lnTo>
                  <a:lnTo>
                    <a:pt x="319" y="530"/>
                  </a:lnTo>
                  <a:lnTo>
                    <a:pt x="317" y="530"/>
                  </a:lnTo>
                  <a:lnTo>
                    <a:pt x="317" y="528"/>
                  </a:lnTo>
                  <a:lnTo>
                    <a:pt x="316" y="527"/>
                  </a:lnTo>
                  <a:lnTo>
                    <a:pt x="314" y="527"/>
                  </a:lnTo>
                  <a:lnTo>
                    <a:pt x="314" y="525"/>
                  </a:lnTo>
                  <a:lnTo>
                    <a:pt x="316" y="523"/>
                  </a:lnTo>
                  <a:lnTo>
                    <a:pt x="316" y="522"/>
                  </a:lnTo>
                  <a:lnTo>
                    <a:pt x="317" y="522"/>
                  </a:lnTo>
                  <a:lnTo>
                    <a:pt x="319" y="520"/>
                  </a:lnTo>
                  <a:lnTo>
                    <a:pt x="321" y="518"/>
                  </a:lnTo>
                  <a:lnTo>
                    <a:pt x="322" y="517"/>
                  </a:lnTo>
                  <a:lnTo>
                    <a:pt x="324" y="515"/>
                  </a:lnTo>
                  <a:lnTo>
                    <a:pt x="325" y="514"/>
                  </a:lnTo>
                  <a:lnTo>
                    <a:pt x="327" y="512"/>
                  </a:lnTo>
                  <a:lnTo>
                    <a:pt x="329" y="512"/>
                  </a:lnTo>
                  <a:lnTo>
                    <a:pt x="329" y="510"/>
                  </a:lnTo>
                  <a:lnTo>
                    <a:pt x="327" y="509"/>
                  </a:lnTo>
                  <a:lnTo>
                    <a:pt x="325" y="509"/>
                  </a:lnTo>
                  <a:lnTo>
                    <a:pt x="324" y="509"/>
                  </a:lnTo>
                  <a:lnTo>
                    <a:pt x="324" y="507"/>
                  </a:lnTo>
                  <a:lnTo>
                    <a:pt x="322" y="505"/>
                  </a:lnTo>
                  <a:lnTo>
                    <a:pt x="319" y="505"/>
                  </a:lnTo>
                  <a:lnTo>
                    <a:pt x="317" y="505"/>
                  </a:lnTo>
                  <a:lnTo>
                    <a:pt x="316" y="504"/>
                  </a:lnTo>
                  <a:lnTo>
                    <a:pt x="316" y="505"/>
                  </a:lnTo>
                  <a:lnTo>
                    <a:pt x="316" y="504"/>
                  </a:lnTo>
                  <a:lnTo>
                    <a:pt x="314" y="504"/>
                  </a:lnTo>
                  <a:lnTo>
                    <a:pt x="312" y="504"/>
                  </a:lnTo>
                  <a:lnTo>
                    <a:pt x="311" y="504"/>
                  </a:lnTo>
                  <a:lnTo>
                    <a:pt x="312" y="504"/>
                  </a:lnTo>
                  <a:lnTo>
                    <a:pt x="312" y="505"/>
                  </a:lnTo>
                  <a:lnTo>
                    <a:pt x="314" y="505"/>
                  </a:lnTo>
                  <a:lnTo>
                    <a:pt x="316" y="505"/>
                  </a:lnTo>
                  <a:lnTo>
                    <a:pt x="317" y="505"/>
                  </a:lnTo>
                  <a:lnTo>
                    <a:pt x="317" y="507"/>
                  </a:lnTo>
                  <a:lnTo>
                    <a:pt x="319" y="507"/>
                  </a:lnTo>
                  <a:lnTo>
                    <a:pt x="321" y="507"/>
                  </a:lnTo>
                  <a:lnTo>
                    <a:pt x="322" y="507"/>
                  </a:lnTo>
                  <a:lnTo>
                    <a:pt x="324" y="507"/>
                  </a:lnTo>
                  <a:lnTo>
                    <a:pt x="324" y="509"/>
                  </a:lnTo>
                  <a:lnTo>
                    <a:pt x="325" y="509"/>
                  </a:lnTo>
                  <a:lnTo>
                    <a:pt x="327" y="510"/>
                  </a:lnTo>
                  <a:lnTo>
                    <a:pt x="325" y="512"/>
                  </a:lnTo>
                  <a:lnTo>
                    <a:pt x="324" y="514"/>
                  </a:lnTo>
                  <a:lnTo>
                    <a:pt x="322" y="514"/>
                  </a:lnTo>
                  <a:lnTo>
                    <a:pt x="322" y="515"/>
                  </a:lnTo>
                  <a:lnTo>
                    <a:pt x="321" y="515"/>
                  </a:lnTo>
                  <a:lnTo>
                    <a:pt x="319" y="517"/>
                  </a:lnTo>
                  <a:lnTo>
                    <a:pt x="317" y="518"/>
                  </a:lnTo>
                  <a:lnTo>
                    <a:pt x="316" y="518"/>
                  </a:lnTo>
                  <a:lnTo>
                    <a:pt x="316" y="520"/>
                  </a:lnTo>
                  <a:lnTo>
                    <a:pt x="314" y="520"/>
                  </a:lnTo>
                  <a:lnTo>
                    <a:pt x="314" y="522"/>
                  </a:lnTo>
                  <a:lnTo>
                    <a:pt x="314" y="523"/>
                  </a:lnTo>
                  <a:lnTo>
                    <a:pt x="312" y="525"/>
                  </a:lnTo>
                  <a:lnTo>
                    <a:pt x="311" y="525"/>
                  </a:lnTo>
                  <a:lnTo>
                    <a:pt x="311" y="527"/>
                  </a:lnTo>
                  <a:lnTo>
                    <a:pt x="311" y="525"/>
                  </a:lnTo>
                  <a:lnTo>
                    <a:pt x="309" y="525"/>
                  </a:lnTo>
                  <a:lnTo>
                    <a:pt x="308" y="525"/>
                  </a:lnTo>
                  <a:lnTo>
                    <a:pt x="308" y="527"/>
                  </a:lnTo>
                  <a:lnTo>
                    <a:pt x="306" y="527"/>
                  </a:lnTo>
                  <a:lnTo>
                    <a:pt x="304" y="527"/>
                  </a:lnTo>
                  <a:lnTo>
                    <a:pt x="304" y="528"/>
                  </a:lnTo>
                  <a:lnTo>
                    <a:pt x="303" y="530"/>
                  </a:lnTo>
                  <a:lnTo>
                    <a:pt x="301" y="530"/>
                  </a:lnTo>
                  <a:lnTo>
                    <a:pt x="299" y="531"/>
                  </a:lnTo>
                  <a:lnTo>
                    <a:pt x="298" y="531"/>
                  </a:lnTo>
                  <a:lnTo>
                    <a:pt x="296" y="531"/>
                  </a:lnTo>
                  <a:lnTo>
                    <a:pt x="296" y="533"/>
                  </a:lnTo>
                  <a:lnTo>
                    <a:pt x="295" y="533"/>
                  </a:lnTo>
                  <a:lnTo>
                    <a:pt x="295" y="535"/>
                  </a:lnTo>
                  <a:lnTo>
                    <a:pt x="293" y="535"/>
                  </a:lnTo>
                  <a:lnTo>
                    <a:pt x="291" y="535"/>
                  </a:lnTo>
                  <a:lnTo>
                    <a:pt x="290" y="533"/>
                  </a:lnTo>
                  <a:lnTo>
                    <a:pt x="290" y="535"/>
                  </a:lnTo>
                  <a:lnTo>
                    <a:pt x="291" y="536"/>
                  </a:lnTo>
                  <a:lnTo>
                    <a:pt x="290" y="538"/>
                  </a:lnTo>
                  <a:lnTo>
                    <a:pt x="288" y="538"/>
                  </a:lnTo>
                  <a:lnTo>
                    <a:pt x="288" y="540"/>
                  </a:lnTo>
                  <a:lnTo>
                    <a:pt x="286" y="541"/>
                  </a:lnTo>
                  <a:lnTo>
                    <a:pt x="285" y="543"/>
                  </a:lnTo>
                  <a:lnTo>
                    <a:pt x="283" y="544"/>
                  </a:lnTo>
                  <a:lnTo>
                    <a:pt x="282" y="544"/>
                  </a:lnTo>
                  <a:lnTo>
                    <a:pt x="280" y="546"/>
                  </a:lnTo>
                  <a:lnTo>
                    <a:pt x="278" y="546"/>
                  </a:lnTo>
                  <a:lnTo>
                    <a:pt x="277" y="546"/>
                  </a:lnTo>
                  <a:lnTo>
                    <a:pt x="273" y="548"/>
                  </a:lnTo>
                  <a:lnTo>
                    <a:pt x="272" y="548"/>
                  </a:lnTo>
                  <a:lnTo>
                    <a:pt x="273" y="546"/>
                  </a:lnTo>
                  <a:lnTo>
                    <a:pt x="272" y="544"/>
                  </a:lnTo>
                  <a:lnTo>
                    <a:pt x="270" y="544"/>
                  </a:lnTo>
                  <a:lnTo>
                    <a:pt x="269" y="543"/>
                  </a:lnTo>
                  <a:lnTo>
                    <a:pt x="269" y="541"/>
                  </a:lnTo>
                  <a:lnTo>
                    <a:pt x="267" y="541"/>
                  </a:lnTo>
                  <a:lnTo>
                    <a:pt x="269" y="541"/>
                  </a:lnTo>
                  <a:lnTo>
                    <a:pt x="269" y="540"/>
                  </a:lnTo>
                  <a:lnTo>
                    <a:pt x="270" y="538"/>
                  </a:lnTo>
                  <a:lnTo>
                    <a:pt x="269" y="538"/>
                  </a:lnTo>
                  <a:lnTo>
                    <a:pt x="269" y="540"/>
                  </a:lnTo>
                  <a:lnTo>
                    <a:pt x="267" y="540"/>
                  </a:lnTo>
                  <a:lnTo>
                    <a:pt x="267" y="541"/>
                  </a:lnTo>
                  <a:lnTo>
                    <a:pt x="265" y="541"/>
                  </a:lnTo>
                  <a:lnTo>
                    <a:pt x="264" y="540"/>
                  </a:lnTo>
                  <a:lnTo>
                    <a:pt x="262" y="538"/>
                  </a:lnTo>
                  <a:lnTo>
                    <a:pt x="260" y="538"/>
                  </a:lnTo>
                  <a:lnTo>
                    <a:pt x="259" y="536"/>
                  </a:lnTo>
                  <a:lnTo>
                    <a:pt x="257" y="536"/>
                  </a:lnTo>
                  <a:lnTo>
                    <a:pt x="257" y="535"/>
                  </a:lnTo>
                  <a:lnTo>
                    <a:pt x="256" y="533"/>
                  </a:lnTo>
                  <a:lnTo>
                    <a:pt x="256" y="531"/>
                  </a:lnTo>
                  <a:lnTo>
                    <a:pt x="254" y="531"/>
                  </a:lnTo>
                  <a:lnTo>
                    <a:pt x="254" y="530"/>
                  </a:lnTo>
                  <a:lnTo>
                    <a:pt x="254" y="528"/>
                  </a:lnTo>
                  <a:lnTo>
                    <a:pt x="254" y="527"/>
                  </a:lnTo>
                  <a:lnTo>
                    <a:pt x="252" y="525"/>
                  </a:lnTo>
                  <a:lnTo>
                    <a:pt x="252" y="523"/>
                  </a:lnTo>
                  <a:lnTo>
                    <a:pt x="252" y="522"/>
                  </a:lnTo>
                  <a:lnTo>
                    <a:pt x="254" y="522"/>
                  </a:lnTo>
                  <a:lnTo>
                    <a:pt x="254" y="520"/>
                  </a:lnTo>
                  <a:lnTo>
                    <a:pt x="254" y="522"/>
                  </a:lnTo>
                  <a:lnTo>
                    <a:pt x="256" y="522"/>
                  </a:lnTo>
                  <a:lnTo>
                    <a:pt x="257" y="522"/>
                  </a:lnTo>
                  <a:lnTo>
                    <a:pt x="259" y="522"/>
                  </a:lnTo>
                  <a:lnTo>
                    <a:pt x="260" y="522"/>
                  </a:lnTo>
                  <a:lnTo>
                    <a:pt x="259" y="522"/>
                  </a:lnTo>
                  <a:lnTo>
                    <a:pt x="257" y="520"/>
                  </a:lnTo>
                  <a:lnTo>
                    <a:pt x="259" y="520"/>
                  </a:lnTo>
                  <a:lnTo>
                    <a:pt x="259" y="518"/>
                  </a:lnTo>
                  <a:lnTo>
                    <a:pt x="259" y="520"/>
                  </a:lnTo>
                  <a:lnTo>
                    <a:pt x="260" y="520"/>
                  </a:lnTo>
                  <a:lnTo>
                    <a:pt x="260" y="522"/>
                  </a:lnTo>
                  <a:lnTo>
                    <a:pt x="262" y="522"/>
                  </a:lnTo>
                  <a:lnTo>
                    <a:pt x="264" y="520"/>
                  </a:lnTo>
                  <a:lnTo>
                    <a:pt x="264" y="522"/>
                  </a:lnTo>
                  <a:lnTo>
                    <a:pt x="262" y="523"/>
                  </a:lnTo>
                  <a:lnTo>
                    <a:pt x="264" y="525"/>
                  </a:lnTo>
                  <a:lnTo>
                    <a:pt x="265" y="527"/>
                  </a:lnTo>
                  <a:lnTo>
                    <a:pt x="265" y="528"/>
                  </a:lnTo>
                  <a:lnTo>
                    <a:pt x="265" y="527"/>
                  </a:lnTo>
                  <a:lnTo>
                    <a:pt x="265" y="525"/>
                  </a:lnTo>
                  <a:lnTo>
                    <a:pt x="264" y="525"/>
                  </a:lnTo>
                  <a:lnTo>
                    <a:pt x="264" y="523"/>
                  </a:lnTo>
                  <a:lnTo>
                    <a:pt x="264" y="522"/>
                  </a:lnTo>
                  <a:lnTo>
                    <a:pt x="265" y="522"/>
                  </a:lnTo>
                  <a:lnTo>
                    <a:pt x="267" y="522"/>
                  </a:lnTo>
                  <a:lnTo>
                    <a:pt x="269" y="520"/>
                  </a:lnTo>
                  <a:lnTo>
                    <a:pt x="270" y="520"/>
                  </a:lnTo>
                  <a:lnTo>
                    <a:pt x="272" y="518"/>
                  </a:lnTo>
                  <a:lnTo>
                    <a:pt x="273" y="518"/>
                  </a:lnTo>
                  <a:lnTo>
                    <a:pt x="275" y="518"/>
                  </a:lnTo>
                  <a:lnTo>
                    <a:pt x="277" y="518"/>
                  </a:lnTo>
                  <a:lnTo>
                    <a:pt x="277" y="520"/>
                  </a:lnTo>
                  <a:lnTo>
                    <a:pt x="277" y="522"/>
                  </a:lnTo>
                  <a:lnTo>
                    <a:pt x="278" y="522"/>
                  </a:lnTo>
                  <a:lnTo>
                    <a:pt x="280" y="522"/>
                  </a:lnTo>
                  <a:lnTo>
                    <a:pt x="280" y="523"/>
                  </a:lnTo>
                  <a:lnTo>
                    <a:pt x="282" y="523"/>
                  </a:lnTo>
                  <a:lnTo>
                    <a:pt x="283" y="523"/>
                  </a:lnTo>
                  <a:lnTo>
                    <a:pt x="285" y="523"/>
                  </a:lnTo>
                  <a:lnTo>
                    <a:pt x="288" y="523"/>
                  </a:lnTo>
                  <a:lnTo>
                    <a:pt x="290" y="523"/>
                  </a:lnTo>
                  <a:lnTo>
                    <a:pt x="288" y="523"/>
                  </a:lnTo>
                  <a:lnTo>
                    <a:pt x="288" y="522"/>
                  </a:lnTo>
                  <a:lnTo>
                    <a:pt x="288" y="523"/>
                  </a:lnTo>
                  <a:lnTo>
                    <a:pt x="286" y="522"/>
                  </a:lnTo>
                  <a:lnTo>
                    <a:pt x="286" y="523"/>
                  </a:lnTo>
                  <a:lnTo>
                    <a:pt x="286" y="522"/>
                  </a:lnTo>
                  <a:lnTo>
                    <a:pt x="285" y="522"/>
                  </a:lnTo>
                  <a:lnTo>
                    <a:pt x="283" y="522"/>
                  </a:lnTo>
                  <a:lnTo>
                    <a:pt x="282" y="522"/>
                  </a:lnTo>
                  <a:lnTo>
                    <a:pt x="282" y="523"/>
                  </a:lnTo>
                  <a:lnTo>
                    <a:pt x="280" y="522"/>
                  </a:lnTo>
                  <a:lnTo>
                    <a:pt x="280" y="520"/>
                  </a:lnTo>
                  <a:lnTo>
                    <a:pt x="278" y="520"/>
                  </a:lnTo>
                  <a:lnTo>
                    <a:pt x="278" y="518"/>
                  </a:lnTo>
                  <a:lnTo>
                    <a:pt x="277" y="518"/>
                  </a:lnTo>
                  <a:lnTo>
                    <a:pt x="277" y="517"/>
                  </a:lnTo>
                  <a:lnTo>
                    <a:pt x="275" y="517"/>
                  </a:lnTo>
                  <a:lnTo>
                    <a:pt x="273" y="517"/>
                  </a:lnTo>
                  <a:lnTo>
                    <a:pt x="273" y="515"/>
                  </a:lnTo>
                  <a:lnTo>
                    <a:pt x="272" y="517"/>
                  </a:lnTo>
                  <a:lnTo>
                    <a:pt x="270" y="518"/>
                  </a:lnTo>
                  <a:lnTo>
                    <a:pt x="269" y="518"/>
                  </a:lnTo>
                  <a:lnTo>
                    <a:pt x="269" y="520"/>
                  </a:lnTo>
                  <a:lnTo>
                    <a:pt x="267" y="520"/>
                  </a:lnTo>
                  <a:lnTo>
                    <a:pt x="265" y="520"/>
                  </a:lnTo>
                  <a:lnTo>
                    <a:pt x="265" y="518"/>
                  </a:lnTo>
                  <a:lnTo>
                    <a:pt x="264" y="520"/>
                  </a:lnTo>
                  <a:lnTo>
                    <a:pt x="264" y="518"/>
                  </a:lnTo>
                  <a:lnTo>
                    <a:pt x="262" y="520"/>
                  </a:lnTo>
                  <a:lnTo>
                    <a:pt x="262" y="518"/>
                  </a:lnTo>
                  <a:lnTo>
                    <a:pt x="262" y="520"/>
                  </a:lnTo>
                  <a:lnTo>
                    <a:pt x="262" y="518"/>
                  </a:lnTo>
                  <a:lnTo>
                    <a:pt x="260" y="518"/>
                  </a:lnTo>
                  <a:lnTo>
                    <a:pt x="260" y="517"/>
                  </a:lnTo>
                  <a:lnTo>
                    <a:pt x="259" y="517"/>
                  </a:lnTo>
                  <a:lnTo>
                    <a:pt x="259" y="518"/>
                  </a:lnTo>
                  <a:lnTo>
                    <a:pt x="259" y="517"/>
                  </a:lnTo>
                  <a:lnTo>
                    <a:pt x="257" y="517"/>
                  </a:lnTo>
                  <a:lnTo>
                    <a:pt x="257" y="518"/>
                  </a:lnTo>
                  <a:lnTo>
                    <a:pt x="256" y="518"/>
                  </a:lnTo>
                  <a:lnTo>
                    <a:pt x="256" y="517"/>
                  </a:lnTo>
                  <a:lnTo>
                    <a:pt x="254" y="517"/>
                  </a:lnTo>
                  <a:lnTo>
                    <a:pt x="252" y="517"/>
                  </a:lnTo>
                  <a:lnTo>
                    <a:pt x="252" y="515"/>
                  </a:lnTo>
                  <a:lnTo>
                    <a:pt x="251" y="514"/>
                  </a:lnTo>
                  <a:lnTo>
                    <a:pt x="249" y="514"/>
                  </a:lnTo>
                  <a:lnTo>
                    <a:pt x="247" y="514"/>
                  </a:lnTo>
                  <a:lnTo>
                    <a:pt x="246" y="514"/>
                  </a:lnTo>
                  <a:lnTo>
                    <a:pt x="247" y="512"/>
                  </a:lnTo>
                  <a:lnTo>
                    <a:pt x="246" y="512"/>
                  </a:lnTo>
                  <a:lnTo>
                    <a:pt x="244" y="514"/>
                  </a:lnTo>
                  <a:lnTo>
                    <a:pt x="243" y="514"/>
                  </a:lnTo>
                  <a:lnTo>
                    <a:pt x="241" y="512"/>
                  </a:lnTo>
                  <a:lnTo>
                    <a:pt x="239" y="510"/>
                  </a:lnTo>
                  <a:lnTo>
                    <a:pt x="238" y="507"/>
                  </a:lnTo>
                  <a:lnTo>
                    <a:pt x="239" y="507"/>
                  </a:lnTo>
                  <a:lnTo>
                    <a:pt x="239" y="505"/>
                  </a:lnTo>
                  <a:lnTo>
                    <a:pt x="241" y="505"/>
                  </a:lnTo>
                  <a:lnTo>
                    <a:pt x="239" y="505"/>
                  </a:lnTo>
                  <a:lnTo>
                    <a:pt x="241" y="505"/>
                  </a:lnTo>
                  <a:lnTo>
                    <a:pt x="243" y="505"/>
                  </a:lnTo>
                  <a:lnTo>
                    <a:pt x="243" y="504"/>
                  </a:lnTo>
                  <a:lnTo>
                    <a:pt x="243" y="502"/>
                  </a:lnTo>
                  <a:lnTo>
                    <a:pt x="244" y="502"/>
                  </a:lnTo>
                  <a:lnTo>
                    <a:pt x="244" y="504"/>
                  </a:lnTo>
                  <a:lnTo>
                    <a:pt x="246" y="504"/>
                  </a:lnTo>
                  <a:lnTo>
                    <a:pt x="246" y="502"/>
                  </a:lnTo>
                  <a:lnTo>
                    <a:pt x="247" y="502"/>
                  </a:lnTo>
                  <a:lnTo>
                    <a:pt x="249" y="502"/>
                  </a:lnTo>
                  <a:lnTo>
                    <a:pt x="251" y="504"/>
                  </a:lnTo>
                  <a:lnTo>
                    <a:pt x="252" y="504"/>
                  </a:lnTo>
                  <a:lnTo>
                    <a:pt x="254" y="504"/>
                  </a:lnTo>
                  <a:lnTo>
                    <a:pt x="256" y="504"/>
                  </a:lnTo>
                  <a:lnTo>
                    <a:pt x="257" y="504"/>
                  </a:lnTo>
                  <a:lnTo>
                    <a:pt x="259" y="504"/>
                  </a:lnTo>
                  <a:lnTo>
                    <a:pt x="260" y="504"/>
                  </a:lnTo>
                  <a:lnTo>
                    <a:pt x="260" y="502"/>
                  </a:lnTo>
                  <a:lnTo>
                    <a:pt x="262" y="504"/>
                  </a:lnTo>
                  <a:lnTo>
                    <a:pt x="262" y="505"/>
                  </a:lnTo>
                  <a:lnTo>
                    <a:pt x="264" y="507"/>
                  </a:lnTo>
                  <a:lnTo>
                    <a:pt x="264" y="509"/>
                  </a:lnTo>
                  <a:lnTo>
                    <a:pt x="265" y="509"/>
                  </a:lnTo>
                  <a:lnTo>
                    <a:pt x="265" y="507"/>
                  </a:lnTo>
                  <a:lnTo>
                    <a:pt x="267" y="507"/>
                  </a:lnTo>
                  <a:lnTo>
                    <a:pt x="267" y="509"/>
                  </a:lnTo>
                  <a:lnTo>
                    <a:pt x="267" y="510"/>
                  </a:lnTo>
                  <a:lnTo>
                    <a:pt x="269" y="510"/>
                  </a:lnTo>
                  <a:lnTo>
                    <a:pt x="269" y="509"/>
                  </a:lnTo>
                  <a:lnTo>
                    <a:pt x="269" y="507"/>
                  </a:lnTo>
                  <a:lnTo>
                    <a:pt x="269" y="509"/>
                  </a:lnTo>
                  <a:lnTo>
                    <a:pt x="267" y="507"/>
                  </a:lnTo>
                  <a:lnTo>
                    <a:pt x="265" y="507"/>
                  </a:lnTo>
                  <a:lnTo>
                    <a:pt x="267" y="507"/>
                  </a:lnTo>
                  <a:lnTo>
                    <a:pt x="267" y="505"/>
                  </a:lnTo>
                  <a:lnTo>
                    <a:pt x="265" y="505"/>
                  </a:lnTo>
                  <a:lnTo>
                    <a:pt x="267" y="504"/>
                  </a:lnTo>
                  <a:lnTo>
                    <a:pt x="269" y="504"/>
                  </a:lnTo>
                  <a:lnTo>
                    <a:pt x="269" y="505"/>
                  </a:lnTo>
                  <a:lnTo>
                    <a:pt x="270" y="505"/>
                  </a:lnTo>
                  <a:lnTo>
                    <a:pt x="270" y="507"/>
                  </a:lnTo>
                  <a:lnTo>
                    <a:pt x="270" y="505"/>
                  </a:lnTo>
                  <a:lnTo>
                    <a:pt x="272" y="505"/>
                  </a:lnTo>
                  <a:lnTo>
                    <a:pt x="273" y="505"/>
                  </a:lnTo>
                  <a:lnTo>
                    <a:pt x="273" y="504"/>
                  </a:lnTo>
                  <a:lnTo>
                    <a:pt x="275" y="505"/>
                  </a:lnTo>
                  <a:lnTo>
                    <a:pt x="277" y="507"/>
                  </a:lnTo>
                  <a:lnTo>
                    <a:pt x="277" y="505"/>
                  </a:lnTo>
                  <a:lnTo>
                    <a:pt x="275" y="505"/>
                  </a:lnTo>
                  <a:lnTo>
                    <a:pt x="273" y="504"/>
                  </a:lnTo>
                  <a:lnTo>
                    <a:pt x="272" y="502"/>
                  </a:lnTo>
                  <a:lnTo>
                    <a:pt x="270" y="502"/>
                  </a:lnTo>
                  <a:lnTo>
                    <a:pt x="270" y="501"/>
                  </a:lnTo>
                  <a:lnTo>
                    <a:pt x="269" y="501"/>
                  </a:lnTo>
                  <a:lnTo>
                    <a:pt x="270" y="501"/>
                  </a:lnTo>
                  <a:lnTo>
                    <a:pt x="270" y="499"/>
                  </a:lnTo>
                  <a:lnTo>
                    <a:pt x="270" y="497"/>
                  </a:lnTo>
                  <a:lnTo>
                    <a:pt x="272" y="497"/>
                  </a:lnTo>
                  <a:lnTo>
                    <a:pt x="272" y="499"/>
                  </a:lnTo>
                  <a:lnTo>
                    <a:pt x="273" y="497"/>
                  </a:lnTo>
                  <a:lnTo>
                    <a:pt x="273" y="499"/>
                  </a:lnTo>
                  <a:lnTo>
                    <a:pt x="275" y="497"/>
                  </a:lnTo>
                  <a:lnTo>
                    <a:pt x="275" y="499"/>
                  </a:lnTo>
                  <a:lnTo>
                    <a:pt x="277" y="499"/>
                  </a:lnTo>
                  <a:lnTo>
                    <a:pt x="277" y="497"/>
                  </a:lnTo>
                  <a:lnTo>
                    <a:pt x="278" y="497"/>
                  </a:lnTo>
                  <a:lnTo>
                    <a:pt x="280" y="497"/>
                  </a:lnTo>
                  <a:lnTo>
                    <a:pt x="280" y="499"/>
                  </a:lnTo>
                  <a:lnTo>
                    <a:pt x="282" y="499"/>
                  </a:lnTo>
                  <a:lnTo>
                    <a:pt x="282" y="497"/>
                  </a:lnTo>
                  <a:lnTo>
                    <a:pt x="283" y="497"/>
                  </a:lnTo>
                  <a:lnTo>
                    <a:pt x="283" y="496"/>
                  </a:lnTo>
                  <a:lnTo>
                    <a:pt x="285" y="496"/>
                  </a:lnTo>
                  <a:lnTo>
                    <a:pt x="286" y="496"/>
                  </a:lnTo>
                  <a:lnTo>
                    <a:pt x="286" y="494"/>
                  </a:lnTo>
                  <a:lnTo>
                    <a:pt x="285" y="494"/>
                  </a:lnTo>
                  <a:lnTo>
                    <a:pt x="283" y="494"/>
                  </a:lnTo>
                  <a:lnTo>
                    <a:pt x="283" y="496"/>
                  </a:lnTo>
                  <a:lnTo>
                    <a:pt x="282" y="497"/>
                  </a:lnTo>
                  <a:lnTo>
                    <a:pt x="280" y="497"/>
                  </a:lnTo>
                  <a:lnTo>
                    <a:pt x="278" y="496"/>
                  </a:lnTo>
                  <a:lnTo>
                    <a:pt x="277" y="496"/>
                  </a:lnTo>
                  <a:lnTo>
                    <a:pt x="277" y="494"/>
                  </a:lnTo>
                  <a:lnTo>
                    <a:pt x="278" y="494"/>
                  </a:lnTo>
                  <a:lnTo>
                    <a:pt x="280" y="492"/>
                  </a:lnTo>
                  <a:lnTo>
                    <a:pt x="282" y="492"/>
                  </a:lnTo>
                  <a:lnTo>
                    <a:pt x="283" y="492"/>
                  </a:lnTo>
                  <a:lnTo>
                    <a:pt x="282" y="492"/>
                  </a:lnTo>
                  <a:lnTo>
                    <a:pt x="282" y="491"/>
                  </a:lnTo>
                  <a:lnTo>
                    <a:pt x="280" y="491"/>
                  </a:lnTo>
                  <a:lnTo>
                    <a:pt x="278" y="491"/>
                  </a:lnTo>
                  <a:lnTo>
                    <a:pt x="277" y="491"/>
                  </a:lnTo>
                  <a:lnTo>
                    <a:pt x="275" y="491"/>
                  </a:lnTo>
                  <a:lnTo>
                    <a:pt x="275" y="492"/>
                  </a:lnTo>
                  <a:lnTo>
                    <a:pt x="275" y="491"/>
                  </a:lnTo>
                  <a:lnTo>
                    <a:pt x="273" y="491"/>
                  </a:lnTo>
                  <a:lnTo>
                    <a:pt x="272" y="491"/>
                  </a:lnTo>
                  <a:lnTo>
                    <a:pt x="270" y="491"/>
                  </a:lnTo>
                  <a:lnTo>
                    <a:pt x="269" y="491"/>
                  </a:lnTo>
                  <a:lnTo>
                    <a:pt x="269" y="489"/>
                  </a:lnTo>
                  <a:lnTo>
                    <a:pt x="269" y="491"/>
                  </a:lnTo>
                  <a:lnTo>
                    <a:pt x="267" y="489"/>
                  </a:lnTo>
                  <a:lnTo>
                    <a:pt x="267" y="488"/>
                  </a:lnTo>
                  <a:lnTo>
                    <a:pt x="269" y="488"/>
                  </a:lnTo>
                  <a:lnTo>
                    <a:pt x="270" y="488"/>
                  </a:lnTo>
                  <a:lnTo>
                    <a:pt x="272" y="488"/>
                  </a:lnTo>
                  <a:lnTo>
                    <a:pt x="272" y="489"/>
                  </a:lnTo>
                  <a:lnTo>
                    <a:pt x="273" y="489"/>
                  </a:lnTo>
                  <a:lnTo>
                    <a:pt x="273" y="488"/>
                  </a:lnTo>
                  <a:lnTo>
                    <a:pt x="273" y="489"/>
                  </a:lnTo>
                  <a:lnTo>
                    <a:pt x="273" y="488"/>
                  </a:lnTo>
                  <a:lnTo>
                    <a:pt x="272" y="488"/>
                  </a:lnTo>
                  <a:lnTo>
                    <a:pt x="272" y="486"/>
                  </a:lnTo>
                  <a:lnTo>
                    <a:pt x="272" y="484"/>
                  </a:lnTo>
                  <a:lnTo>
                    <a:pt x="273" y="484"/>
                  </a:lnTo>
                  <a:lnTo>
                    <a:pt x="273" y="483"/>
                  </a:lnTo>
                  <a:lnTo>
                    <a:pt x="275" y="483"/>
                  </a:lnTo>
                  <a:lnTo>
                    <a:pt x="273" y="481"/>
                  </a:lnTo>
                  <a:lnTo>
                    <a:pt x="275" y="481"/>
                  </a:lnTo>
                  <a:lnTo>
                    <a:pt x="275" y="479"/>
                  </a:lnTo>
                  <a:lnTo>
                    <a:pt x="277" y="479"/>
                  </a:lnTo>
                  <a:lnTo>
                    <a:pt x="277" y="481"/>
                  </a:lnTo>
                  <a:lnTo>
                    <a:pt x="278" y="481"/>
                  </a:lnTo>
                  <a:lnTo>
                    <a:pt x="277" y="479"/>
                  </a:lnTo>
                  <a:lnTo>
                    <a:pt x="277" y="478"/>
                  </a:lnTo>
                  <a:lnTo>
                    <a:pt x="277" y="479"/>
                  </a:lnTo>
                  <a:lnTo>
                    <a:pt x="277" y="478"/>
                  </a:lnTo>
                  <a:lnTo>
                    <a:pt x="277" y="476"/>
                  </a:lnTo>
                  <a:lnTo>
                    <a:pt x="278" y="476"/>
                  </a:lnTo>
                  <a:lnTo>
                    <a:pt x="278" y="475"/>
                  </a:lnTo>
                  <a:lnTo>
                    <a:pt x="278" y="473"/>
                  </a:lnTo>
                  <a:lnTo>
                    <a:pt x="278" y="475"/>
                  </a:lnTo>
                  <a:lnTo>
                    <a:pt x="278" y="473"/>
                  </a:lnTo>
                  <a:lnTo>
                    <a:pt x="280" y="473"/>
                  </a:lnTo>
                  <a:lnTo>
                    <a:pt x="282" y="473"/>
                  </a:lnTo>
                  <a:lnTo>
                    <a:pt x="283" y="473"/>
                  </a:lnTo>
                  <a:lnTo>
                    <a:pt x="283" y="475"/>
                  </a:lnTo>
                  <a:lnTo>
                    <a:pt x="285" y="475"/>
                  </a:lnTo>
                  <a:lnTo>
                    <a:pt x="285" y="473"/>
                  </a:lnTo>
                  <a:lnTo>
                    <a:pt x="285" y="475"/>
                  </a:lnTo>
                  <a:lnTo>
                    <a:pt x="285" y="473"/>
                  </a:lnTo>
                  <a:lnTo>
                    <a:pt x="286" y="475"/>
                  </a:lnTo>
                  <a:lnTo>
                    <a:pt x="286" y="476"/>
                  </a:lnTo>
                  <a:lnTo>
                    <a:pt x="286" y="478"/>
                  </a:lnTo>
                  <a:lnTo>
                    <a:pt x="288" y="478"/>
                  </a:lnTo>
                  <a:lnTo>
                    <a:pt x="288" y="479"/>
                  </a:lnTo>
                  <a:lnTo>
                    <a:pt x="290" y="481"/>
                  </a:lnTo>
                  <a:lnTo>
                    <a:pt x="291" y="481"/>
                  </a:lnTo>
                  <a:lnTo>
                    <a:pt x="291" y="483"/>
                  </a:lnTo>
                  <a:lnTo>
                    <a:pt x="293" y="481"/>
                  </a:lnTo>
                  <a:lnTo>
                    <a:pt x="295" y="481"/>
                  </a:lnTo>
                  <a:lnTo>
                    <a:pt x="296" y="481"/>
                  </a:lnTo>
                  <a:lnTo>
                    <a:pt x="299" y="481"/>
                  </a:lnTo>
                  <a:lnTo>
                    <a:pt x="301" y="481"/>
                  </a:lnTo>
                  <a:lnTo>
                    <a:pt x="303" y="481"/>
                  </a:lnTo>
                  <a:lnTo>
                    <a:pt x="301" y="479"/>
                  </a:lnTo>
                  <a:lnTo>
                    <a:pt x="299" y="479"/>
                  </a:lnTo>
                  <a:lnTo>
                    <a:pt x="298" y="479"/>
                  </a:lnTo>
                  <a:lnTo>
                    <a:pt x="296" y="479"/>
                  </a:lnTo>
                  <a:lnTo>
                    <a:pt x="295" y="481"/>
                  </a:lnTo>
                  <a:lnTo>
                    <a:pt x="293" y="481"/>
                  </a:lnTo>
                  <a:lnTo>
                    <a:pt x="293" y="479"/>
                  </a:lnTo>
                  <a:lnTo>
                    <a:pt x="291" y="479"/>
                  </a:lnTo>
                  <a:lnTo>
                    <a:pt x="291" y="478"/>
                  </a:lnTo>
                  <a:lnTo>
                    <a:pt x="290" y="476"/>
                  </a:lnTo>
                  <a:lnTo>
                    <a:pt x="290" y="475"/>
                  </a:lnTo>
                  <a:lnTo>
                    <a:pt x="290" y="473"/>
                  </a:lnTo>
                  <a:lnTo>
                    <a:pt x="291" y="473"/>
                  </a:lnTo>
                  <a:lnTo>
                    <a:pt x="290" y="471"/>
                  </a:lnTo>
                  <a:lnTo>
                    <a:pt x="288" y="471"/>
                  </a:lnTo>
                  <a:lnTo>
                    <a:pt x="286" y="471"/>
                  </a:lnTo>
                  <a:lnTo>
                    <a:pt x="286" y="473"/>
                  </a:lnTo>
                  <a:lnTo>
                    <a:pt x="285" y="471"/>
                  </a:lnTo>
                  <a:lnTo>
                    <a:pt x="285" y="470"/>
                  </a:lnTo>
                  <a:lnTo>
                    <a:pt x="283" y="470"/>
                  </a:lnTo>
                  <a:lnTo>
                    <a:pt x="283" y="468"/>
                  </a:lnTo>
                  <a:lnTo>
                    <a:pt x="283" y="466"/>
                  </a:lnTo>
                  <a:lnTo>
                    <a:pt x="283" y="465"/>
                  </a:lnTo>
                  <a:lnTo>
                    <a:pt x="285" y="465"/>
                  </a:lnTo>
                  <a:lnTo>
                    <a:pt x="286" y="465"/>
                  </a:lnTo>
                  <a:lnTo>
                    <a:pt x="286" y="463"/>
                  </a:lnTo>
                  <a:lnTo>
                    <a:pt x="288" y="463"/>
                  </a:lnTo>
                  <a:lnTo>
                    <a:pt x="290" y="462"/>
                  </a:lnTo>
                  <a:lnTo>
                    <a:pt x="290" y="460"/>
                  </a:lnTo>
                  <a:lnTo>
                    <a:pt x="291" y="460"/>
                  </a:lnTo>
                  <a:lnTo>
                    <a:pt x="293" y="460"/>
                  </a:lnTo>
                  <a:lnTo>
                    <a:pt x="295" y="460"/>
                  </a:lnTo>
                  <a:lnTo>
                    <a:pt x="296" y="460"/>
                  </a:lnTo>
                  <a:lnTo>
                    <a:pt x="296" y="462"/>
                  </a:lnTo>
                  <a:lnTo>
                    <a:pt x="298" y="462"/>
                  </a:lnTo>
                  <a:lnTo>
                    <a:pt x="299" y="462"/>
                  </a:lnTo>
                  <a:lnTo>
                    <a:pt x="301" y="463"/>
                  </a:lnTo>
                  <a:lnTo>
                    <a:pt x="301" y="465"/>
                  </a:lnTo>
                  <a:lnTo>
                    <a:pt x="301" y="466"/>
                  </a:lnTo>
                  <a:lnTo>
                    <a:pt x="301" y="465"/>
                  </a:lnTo>
                  <a:lnTo>
                    <a:pt x="303" y="465"/>
                  </a:lnTo>
                  <a:lnTo>
                    <a:pt x="303" y="466"/>
                  </a:lnTo>
                  <a:lnTo>
                    <a:pt x="304" y="468"/>
                  </a:lnTo>
                  <a:lnTo>
                    <a:pt x="304" y="466"/>
                  </a:lnTo>
                  <a:lnTo>
                    <a:pt x="306" y="466"/>
                  </a:lnTo>
                  <a:lnTo>
                    <a:pt x="308" y="466"/>
                  </a:lnTo>
                  <a:lnTo>
                    <a:pt x="309" y="466"/>
                  </a:lnTo>
                  <a:lnTo>
                    <a:pt x="311" y="466"/>
                  </a:lnTo>
                  <a:lnTo>
                    <a:pt x="312" y="466"/>
                  </a:lnTo>
                  <a:lnTo>
                    <a:pt x="314" y="466"/>
                  </a:lnTo>
                  <a:lnTo>
                    <a:pt x="316" y="466"/>
                  </a:lnTo>
                  <a:lnTo>
                    <a:pt x="314" y="466"/>
                  </a:lnTo>
                  <a:lnTo>
                    <a:pt x="312" y="466"/>
                  </a:lnTo>
                  <a:lnTo>
                    <a:pt x="312" y="465"/>
                  </a:lnTo>
                  <a:lnTo>
                    <a:pt x="311" y="466"/>
                  </a:lnTo>
                  <a:lnTo>
                    <a:pt x="309" y="466"/>
                  </a:lnTo>
                  <a:lnTo>
                    <a:pt x="308" y="466"/>
                  </a:lnTo>
                  <a:lnTo>
                    <a:pt x="306" y="465"/>
                  </a:lnTo>
                  <a:lnTo>
                    <a:pt x="306" y="466"/>
                  </a:lnTo>
                  <a:lnTo>
                    <a:pt x="304" y="466"/>
                  </a:lnTo>
                  <a:lnTo>
                    <a:pt x="304" y="465"/>
                  </a:lnTo>
                  <a:lnTo>
                    <a:pt x="303" y="465"/>
                  </a:lnTo>
                  <a:lnTo>
                    <a:pt x="303" y="463"/>
                  </a:lnTo>
                  <a:lnTo>
                    <a:pt x="303" y="462"/>
                  </a:lnTo>
                  <a:lnTo>
                    <a:pt x="303" y="460"/>
                  </a:lnTo>
                  <a:lnTo>
                    <a:pt x="301" y="460"/>
                  </a:lnTo>
                  <a:lnTo>
                    <a:pt x="301" y="458"/>
                  </a:lnTo>
                  <a:lnTo>
                    <a:pt x="299" y="458"/>
                  </a:lnTo>
                  <a:lnTo>
                    <a:pt x="298" y="458"/>
                  </a:lnTo>
                  <a:lnTo>
                    <a:pt x="296" y="458"/>
                  </a:lnTo>
                  <a:lnTo>
                    <a:pt x="296" y="457"/>
                  </a:lnTo>
                  <a:lnTo>
                    <a:pt x="295" y="457"/>
                  </a:lnTo>
                  <a:lnTo>
                    <a:pt x="295" y="455"/>
                  </a:lnTo>
                  <a:lnTo>
                    <a:pt x="293" y="455"/>
                  </a:lnTo>
                  <a:lnTo>
                    <a:pt x="295" y="453"/>
                  </a:lnTo>
                  <a:lnTo>
                    <a:pt x="293" y="453"/>
                  </a:lnTo>
                  <a:lnTo>
                    <a:pt x="295" y="453"/>
                  </a:lnTo>
                  <a:lnTo>
                    <a:pt x="295" y="452"/>
                  </a:lnTo>
                  <a:lnTo>
                    <a:pt x="296" y="452"/>
                  </a:lnTo>
                  <a:lnTo>
                    <a:pt x="298" y="450"/>
                  </a:lnTo>
                  <a:lnTo>
                    <a:pt x="299" y="450"/>
                  </a:lnTo>
                  <a:lnTo>
                    <a:pt x="299" y="449"/>
                  </a:lnTo>
                  <a:lnTo>
                    <a:pt x="301" y="449"/>
                  </a:lnTo>
                  <a:lnTo>
                    <a:pt x="299" y="447"/>
                  </a:lnTo>
                  <a:lnTo>
                    <a:pt x="301" y="447"/>
                  </a:lnTo>
                  <a:lnTo>
                    <a:pt x="299" y="447"/>
                  </a:lnTo>
                  <a:lnTo>
                    <a:pt x="299" y="445"/>
                  </a:lnTo>
                  <a:lnTo>
                    <a:pt x="299" y="444"/>
                  </a:lnTo>
                  <a:lnTo>
                    <a:pt x="301" y="444"/>
                  </a:lnTo>
                  <a:lnTo>
                    <a:pt x="303" y="444"/>
                  </a:lnTo>
                  <a:lnTo>
                    <a:pt x="304" y="442"/>
                  </a:lnTo>
                  <a:lnTo>
                    <a:pt x="306" y="444"/>
                  </a:lnTo>
                  <a:lnTo>
                    <a:pt x="306" y="442"/>
                  </a:lnTo>
                  <a:lnTo>
                    <a:pt x="308" y="442"/>
                  </a:lnTo>
                  <a:lnTo>
                    <a:pt x="309" y="442"/>
                  </a:lnTo>
                  <a:lnTo>
                    <a:pt x="311" y="442"/>
                  </a:lnTo>
                  <a:lnTo>
                    <a:pt x="311" y="445"/>
                  </a:lnTo>
                  <a:lnTo>
                    <a:pt x="312" y="447"/>
                  </a:lnTo>
                  <a:lnTo>
                    <a:pt x="312" y="449"/>
                  </a:lnTo>
                  <a:lnTo>
                    <a:pt x="314" y="450"/>
                  </a:lnTo>
                  <a:lnTo>
                    <a:pt x="316" y="452"/>
                  </a:lnTo>
                  <a:lnTo>
                    <a:pt x="316" y="450"/>
                  </a:lnTo>
                  <a:lnTo>
                    <a:pt x="316" y="452"/>
                  </a:lnTo>
                  <a:lnTo>
                    <a:pt x="317" y="450"/>
                  </a:lnTo>
                  <a:lnTo>
                    <a:pt x="319" y="450"/>
                  </a:lnTo>
                  <a:lnTo>
                    <a:pt x="319" y="449"/>
                  </a:lnTo>
                  <a:lnTo>
                    <a:pt x="317" y="449"/>
                  </a:lnTo>
                  <a:lnTo>
                    <a:pt x="317" y="450"/>
                  </a:lnTo>
                  <a:lnTo>
                    <a:pt x="317" y="449"/>
                  </a:lnTo>
                  <a:lnTo>
                    <a:pt x="316" y="449"/>
                  </a:lnTo>
                  <a:lnTo>
                    <a:pt x="314" y="447"/>
                  </a:lnTo>
                  <a:lnTo>
                    <a:pt x="312" y="445"/>
                  </a:lnTo>
                  <a:lnTo>
                    <a:pt x="312" y="444"/>
                  </a:lnTo>
                  <a:lnTo>
                    <a:pt x="311" y="444"/>
                  </a:lnTo>
                  <a:lnTo>
                    <a:pt x="311" y="442"/>
                  </a:lnTo>
                  <a:lnTo>
                    <a:pt x="311" y="440"/>
                  </a:lnTo>
                  <a:lnTo>
                    <a:pt x="312" y="440"/>
                  </a:lnTo>
                  <a:lnTo>
                    <a:pt x="312" y="439"/>
                  </a:lnTo>
                  <a:lnTo>
                    <a:pt x="314" y="439"/>
                  </a:lnTo>
                  <a:lnTo>
                    <a:pt x="314" y="437"/>
                  </a:lnTo>
                  <a:lnTo>
                    <a:pt x="316" y="437"/>
                  </a:lnTo>
                  <a:lnTo>
                    <a:pt x="317" y="437"/>
                  </a:lnTo>
                  <a:lnTo>
                    <a:pt x="316" y="437"/>
                  </a:lnTo>
                  <a:lnTo>
                    <a:pt x="314" y="437"/>
                  </a:lnTo>
                  <a:lnTo>
                    <a:pt x="314" y="439"/>
                  </a:lnTo>
                  <a:lnTo>
                    <a:pt x="312" y="439"/>
                  </a:lnTo>
                  <a:lnTo>
                    <a:pt x="311" y="439"/>
                  </a:lnTo>
                  <a:lnTo>
                    <a:pt x="311" y="440"/>
                  </a:lnTo>
                  <a:lnTo>
                    <a:pt x="311" y="442"/>
                  </a:lnTo>
                  <a:lnTo>
                    <a:pt x="311" y="440"/>
                  </a:lnTo>
                  <a:lnTo>
                    <a:pt x="309" y="440"/>
                  </a:lnTo>
                  <a:lnTo>
                    <a:pt x="308" y="440"/>
                  </a:lnTo>
                  <a:lnTo>
                    <a:pt x="306" y="440"/>
                  </a:lnTo>
                  <a:lnTo>
                    <a:pt x="304" y="440"/>
                  </a:lnTo>
                  <a:lnTo>
                    <a:pt x="304" y="439"/>
                  </a:lnTo>
                  <a:lnTo>
                    <a:pt x="303" y="440"/>
                  </a:lnTo>
                  <a:lnTo>
                    <a:pt x="303" y="439"/>
                  </a:lnTo>
                  <a:lnTo>
                    <a:pt x="301" y="439"/>
                  </a:lnTo>
                  <a:lnTo>
                    <a:pt x="301" y="437"/>
                  </a:lnTo>
                  <a:lnTo>
                    <a:pt x="299" y="439"/>
                  </a:lnTo>
                  <a:lnTo>
                    <a:pt x="298" y="437"/>
                  </a:lnTo>
                  <a:lnTo>
                    <a:pt x="296" y="437"/>
                  </a:lnTo>
                  <a:lnTo>
                    <a:pt x="295" y="437"/>
                  </a:lnTo>
                  <a:lnTo>
                    <a:pt x="293" y="437"/>
                  </a:lnTo>
                  <a:lnTo>
                    <a:pt x="295" y="437"/>
                  </a:lnTo>
                  <a:lnTo>
                    <a:pt x="296" y="437"/>
                  </a:lnTo>
                  <a:lnTo>
                    <a:pt x="296" y="436"/>
                  </a:lnTo>
                  <a:lnTo>
                    <a:pt x="295" y="436"/>
                  </a:lnTo>
                  <a:lnTo>
                    <a:pt x="296" y="436"/>
                  </a:lnTo>
                  <a:lnTo>
                    <a:pt x="296" y="434"/>
                  </a:lnTo>
                  <a:lnTo>
                    <a:pt x="296" y="432"/>
                  </a:lnTo>
                  <a:lnTo>
                    <a:pt x="298" y="432"/>
                  </a:lnTo>
                  <a:lnTo>
                    <a:pt x="298" y="431"/>
                  </a:lnTo>
                  <a:lnTo>
                    <a:pt x="299" y="431"/>
                  </a:lnTo>
                  <a:lnTo>
                    <a:pt x="299" y="432"/>
                  </a:lnTo>
                  <a:lnTo>
                    <a:pt x="299" y="431"/>
                  </a:lnTo>
                  <a:lnTo>
                    <a:pt x="301" y="431"/>
                  </a:lnTo>
                  <a:lnTo>
                    <a:pt x="299" y="431"/>
                  </a:lnTo>
                  <a:lnTo>
                    <a:pt x="299" y="429"/>
                  </a:lnTo>
                  <a:lnTo>
                    <a:pt x="301" y="429"/>
                  </a:lnTo>
                  <a:lnTo>
                    <a:pt x="303" y="429"/>
                  </a:lnTo>
                  <a:lnTo>
                    <a:pt x="303" y="431"/>
                  </a:lnTo>
                  <a:lnTo>
                    <a:pt x="304" y="431"/>
                  </a:lnTo>
                  <a:lnTo>
                    <a:pt x="306" y="431"/>
                  </a:lnTo>
                  <a:lnTo>
                    <a:pt x="308" y="431"/>
                  </a:lnTo>
                  <a:lnTo>
                    <a:pt x="308" y="429"/>
                  </a:lnTo>
                  <a:lnTo>
                    <a:pt x="309" y="429"/>
                  </a:lnTo>
                  <a:lnTo>
                    <a:pt x="311" y="431"/>
                  </a:lnTo>
                  <a:lnTo>
                    <a:pt x="312" y="431"/>
                  </a:lnTo>
                  <a:lnTo>
                    <a:pt x="312" y="429"/>
                  </a:lnTo>
                  <a:lnTo>
                    <a:pt x="314" y="429"/>
                  </a:lnTo>
                  <a:lnTo>
                    <a:pt x="316" y="429"/>
                  </a:lnTo>
                  <a:lnTo>
                    <a:pt x="317" y="427"/>
                  </a:lnTo>
                  <a:lnTo>
                    <a:pt x="319" y="426"/>
                  </a:lnTo>
                  <a:lnTo>
                    <a:pt x="319" y="424"/>
                  </a:lnTo>
                  <a:lnTo>
                    <a:pt x="321" y="424"/>
                  </a:lnTo>
                  <a:lnTo>
                    <a:pt x="321" y="422"/>
                  </a:lnTo>
                  <a:lnTo>
                    <a:pt x="319" y="422"/>
                  </a:lnTo>
                  <a:lnTo>
                    <a:pt x="317" y="424"/>
                  </a:lnTo>
                  <a:lnTo>
                    <a:pt x="316" y="424"/>
                  </a:lnTo>
                  <a:lnTo>
                    <a:pt x="316" y="426"/>
                  </a:lnTo>
                  <a:lnTo>
                    <a:pt x="314" y="426"/>
                  </a:lnTo>
                  <a:lnTo>
                    <a:pt x="314" y="427"/>
                  </a:lnTo>
                  <a:lnTo>
                    <a:pt x="312" y="427"/>
                  </a:lnTo>
                  <a:lnTo>
                    <a:pt x="311" y="429"/>
                  </a:lnTo>
                  <a:lnTo>
                    <a:pt x="309" y="429"/>
                  </a:lnTo>
                  <a:lnTo>
                    <a:pt x="308" y="429"/>
                  </a:lnTo>
                  <a:lnTo>
                    <a:pt x="306" y="427"/>
                  </a:lnTo>
                  <a:lnTo>
                    <a:pt x="308" y="427"/>
                  </a:lnTo>
                  <a:lnTo>
                    <a:pt x="306" y="427"/>
                  </a:lnTo>
                  <a:lnTo>
                    <a:pt x="304" y="427"/>
                  </a:lnTo>
                  <a:lnTo>
                    <a:pt x="304" y="426"/>
                  </a:lnTo>
                  <a:lnTo>
                    <a:pt x="306" y="424"/>
                  </a:lnTo>
                  <a:lnTo>
                    <a:pt x="308" y="424"/>
                  </a:lnTo>
                  <a:lnTo>
                    <a:pt x="309" y="424"/>
                  </a:lnTo>
                  <a:lnTo>
                    <a:pt x="309" y="422"/>
                  </a:lnTo>
                  <a:lnTo>
                    <a:pt x="308" y="422"/>
                  </a:lnTo>
                  <a:lnTo>
                    <a:pt x="308" y="421"/>
                  </a:lnTo>
                  <a:lnTo>
                    <a:pt x="306" y="422"/>
                  </a:lnTo>
                  <a:lnTo>
                    <a:pt x="303" y="422"/>
                  </a:lnTo>
                  <a:lnTo>
                    <a:pt x="303" y="424"/>
                  </a:lnTo>
                  <a:lnTo>
                    <a:pt x="301" y="424"/>
                  </a:lnTo>
                  <a:lnTo>
                    <a:pt x="299" y="426"/>
                  </a:lnTo>
                  <a:lnTo>
                    <a:pt x="298" y="426"/>
                  </a:lnTo>
                  <a:lnTo>
                    <a:pt x="298" y="427"/>
                  </a:lnTo>
                  <a:lnTo>
                    <a:pt x="296" y="427"/>
                  </a:lnTo>
                  <a:lnTo>
                    <a:pt x="295" y="427"/>
                  </a:lnTo>
                  <a:lnTo>
                    <a:pt x="293" y="427"/>
                  </a:lnTo>
                  <a:lnTo>
                    <a:pt x="293" y="426"/>
                  </a:lnTo>
                  <a:lnTo>
                    <a:pt x="291" y="426"/>
                  </a:lnTo>
                  <a:lnTo>
                    <a:pt x="291" y="422"/>
                  </a:lnTo>
                  <a:lnTo>
                    <a:pt x="291" y="424"/>
                  </a:lnTo>
                  <a:lnTo>
                    <a:pt x="291" y="422"/>
                  </a:lnTo>
                  <a:lnTo>
                    <a:pt x="291" y="421"/>
                  </a:lnTo>
                  <a:lnTo>
                    <a:pt x="291" y="419"/>
                  </a:lnTo>
                  <a:lnTo>
                    <a:pt x="291" y="421"/>
                  </a:lnTo>
                  <a:lnTo>
                    <a:pt x="291" y="419"/>
                  </a:lnTo>
                  <a:lnTo>
                    <a:pt x="293" y="419"/>
                  </a:lnTo>
                  <a:lnTo>
                    <a:pt x="293" y="418"/>
                  </a:lnTo>
                  <a:lnTo>
                    <a:pt x="291" y="418"/>
                  </a:lnTo>
                  <a:lnTo>
                    <a:pt x="293" y="416"/>
                  </a:lnTo>
                  <a:lnTo>
                    <a:pt x="293" y="414"/>
                  </a:lnTo>
                  <a:lnTo>
                    <a:pt x="295" y="414"/>
                  </a:lnTo>
                  <a:lnTo>
                    <a:pt x="295" y="413"/>
                  </a:lnTo>
                  <a:lnTo>
                    <a:pt x="293" y="413"/>
                  </a:lnTo>
                  <a:lnTo>
                    <a:pt x="291" y="413"/>
                  </a:lnTo>
                  <a:lnTo>
                    <a:pt x="290" y="411"/>
                  </a:lnTo>
                  <a:lnTo>
                    <a:pt x="291" y="409"/>
                  </a:lnTo>
                  <a:lnTo>
                    <a:pt x="291" y="408"/>
                  </a:lnTo>
                  <a:lnTo>
                    <a:pt x="290" y="408"/>
                  </a:lnTo>
                  <a:lnTo>
                    <a:pt x="291" y="406"/>
                  </a:lnTo>
                  <a:lnTo>
                    <a:pt x="291" y="405"/>
                  </a:lnTo>
                  <a:lnTo>
                    <a:pt x="291" y="403"/>
                  </a:lnTo>
                  <a:lnTo>
                    <a:pt x="293" y="403"/>
                  </a:lnTo>
                  <a:lnTo>
                    <a:pt x="293" y="401"/>
                  </a:lnTo>
                  <a:lnTo>
                    <a:pt x="293" y="400"/>
                  </a:lnTo>
                  <a:lnTo>
                    <a:pt x="295" y="396"/>
                  </a:lnTo>
                  <a:lnTo>
                    <a:pt x="295" y="395"/>
                  </a:lnTo>
                  <a:lnTo>
                    <a:pt x="296" y="396"/>
                  </a:lnTo>
                  <a:lnTo>
                    <a:pt x="296" y="395"/>
                  </a:lnTo>
                  <a:lnTo>
                    <a:pt x="296" y="393"/>
                  </a:lnTo>
                  <a:lnTo>
                    <a:pt x="298" y="393"/>
                  </a:lnTo>
                  <a:lnTo>
                    <a:pt x="299" y="393"/>
                  </a:lnTo>
                  <a:lnTo>
                    <a:pt x="299" y="395"/>
                  </a:lnTo>
                  <a:lnTo>
                    <a:pt x="301" y="395"/>
                  </a:lnTo>
                  <a:lnTo>
                    <a:pt x="301" y="396"/>
                  </a:lnTo>
                  <a:lnTo>
                    <a:pt x="301" y="398"/>
                  </a:lnTo>
                  <a:lnTo>
                    <a:pt x="301" y="396"/>
                  </a:lnTo>
                  <a:lnTo>
                    <a:pt x="301" y="398"/>
                  </a:lnTo>
                  <a:lnTo>
                    <a:pt x="303" y="398"/>
                  </a:lnTo>
                  <a:lnTo>
                    <a:pt x="301" y="398"/>
                  </a:lnTo>
                  <a:lnTo>
                    <a:pt x="303" y="398"/>
                  </a:lnTo>
                  <a:lnTo>
                    <a:pt x="303" y="400"/>
                  </a:lnTo>
                  <a:lnTo>
                    <a:pt x="303" y="398"/>
                  </a:lnTo>
                  <a:lnTo>
                    <a:pt x="303" y="400"/>
                  </a:lnTo>
                  <a:lnTo>
                    <a:pt x="304" y="400"/>
                  </a:lnTo>
                  <a:lnTo>
                    <a:pt x="304" y="398"/>
                  </a:lnTo>
                  <a:lnTo>
                    <a:pt x="306" y="398"/>
                  </a:lnTo>
                  <a:lnTo>
                    <a:pt x="306" y="400"/>
                  </a:lnTo>
                  <a:lnTo>
                    <a:pt x="306" y="401"/>
                  </a:lnTo>
                  <a:lnTo>
                    <a:pt x="306" y="403"/>
                  </a:lnTo>
                  <a:lnTo>
                    <a:pt x="308" y="403"/>
                  </a:lnTo>
                  <a:lnTo>
                    <a:pt x="308" y="405"/>
                  </a:lnTo>
                  <a:lnTo>
                    <a:pt x="308" y="406"/>
                  </a:lnTo>
                  <a:lnTo>
                    <a:pt x="309" y="406"/>
                  </a:lnTo>
                  <a:lnTo>
                    <a:pt x="309" y="405"/>
                  </a:lnTo>
                  <a:lnTo>
                    <a:pt x="309" y="403"/>
                  </a:lnTo>
                  <a:lnTo>
                    <a:pt x="309" y="401"/>
                  </a:lnTo>
                  <a:lnTo>
                    <a:pt x="309" y="403"/>
                  </a:lnTo>
                  <a:lnTo>
                    <a:pt x="311" y="403"/>
                  </a:lnTo>
                  <a:lnTo>
                    <a:pt x="311" y="405"/>
                  </a:lnTo>
                  <a:lnTo>
                    <a:pt x="311" y="403"/>
                  </a:lnTo>
                  <a:lnTo>
                    <a:pt x="311" y="405"/>
                  </a:lnTo>
                  <a:lnTo>
                    <a:pt x="312" y="403"/>
                  </a:lnTo>
                  <a:lnTo>
                    <a:pt x="312" y="405"/>
                  </a:lnTo>
                  <a:lnTo>
                    <a:pt x="314" y="405"/>
                  </a:lnTo>
                  <a:lnTo>
                    <a:pt x="316" y="405"/>
                  </a:lnTo>
                  <a:lnTo>
                    <a:pt x="317" y="405"/>
                  </a:lnTo>
                  <a:lnTo>
                    <a:pt x="317" y="406"/>
                  </a:lnTo>
                  <a:lnTo>
                    <a:pt x="317" y="405"/>
                  </a:lnTo>
                  <a:lnTo>
                    <a:pt x="319" y="406"/>
                  </a:lnTo>
                  <a:lnTo>
                    <a:pt x="319" y="405"/>
                  </a:lnTo>
                  <a:lnTo>
                    <a:pt x="319" y="403"/>
                  </a:lnTo>
                  <a:lnTo>
                    <a:pt x="317" y="401"/>
                  </a:lnTo>
                  <a:lnTo>
                    <a:pt x="316" y="401"/>
                  </a:lnTo>
                  <a:lnTo>
                    <a:pt x="314" y="401"/>
                  </a:lnTo>
                  <a:lnTo>
                    <a:pt x="312" y="401"/>
                  </a:lnTo>
                  <a:lnTo>
                    <a:pt x="311" y="401"/>
                  </a:lnTo>
                  <a:lnTo>
                    <a:pt x="311" y="400"/>
                  </a:lnTo>
                  <a:lnTo>
                    <a:pt x="311" y="401"/>
                  </a:lnTo>
                  <a:lnTo>
                    <a:pt x="309" y="401"/>
                  </a:lnTo>
                  <a:lnTo>
                    <a:pt x="309" y="400"/>
                  </a:lnTo>
                  <a:lnTo>
                    <a:pt x="309" y="401"/>
                  </a:lnTo>
                  <a:lnTo>
                    <a:pt x="308" y="401"/>
                  </a:lnTo>
                  <a:lnTo>
                    <a:pt x="308" y="400"/>
                  </a:lnTo>
                  <a:lnTo>
                    <a:pt x="308" y="398"/>
                  </a:lnTo>
                  <a:lnTo>
                    <a:pt x="306" y="398"/>
                  </a:lnTo>
                  <a:lnTo>
                    <a:pt x="306" y="396"/>
                  </a:lnTo>
                  <a:lnTo>
                    <a:pt x="308" y="396"/>
                  </a:lnTo>
                  <a:lnTo>
                    <a:pt x="308" y="398"/>
                  </a:lnTo>
                  <a:lnTo>
                    <a:pt x="308" y="396"/>
                  </a:lnTo>
                  <a:lnTo>
                    <a:pt x="306" y="396"/>
                  </a:lnTo>
                  <a:lnTo>
                    <a:pt x="304" y="395"/>
                  </a:lnTo>
                  <a:lnTo>
                    <a:pt x="304" y="393"/>
                  </a:lnTo>
                  <a:lnTo>
                    <a:pt x="304" y="392"/>
                  </a:lnTo>
                  <a:lnTo>
                    <a:pt x="304" y="390"/>
                  </a:lnTo>
                  <a:lnTo>
                    <a:pt x="304" y="388"/>
                  </a:lnTo>
                  <a:lnTo>
                    <a:pt x="303" y="387"/>
                  </a:lnTo>
                  <a:lnTo>
                    <a:pt x="301" y="385"/>
                  </a:lnTo>
                  <a:lnTo>
                    <a:pt x="299" y="385"/>
                  </a:lnTo>
                  <a:lnTo>
                    <a:pt x="299" y="383"/>
                  </a:lnTo>
                  <a:lnTo>
                    <a:pt x="301" y="383"/>
                  </a:lnTo>
                  <a:lnTo>
                    <a:pt x="301" y="382"/>
                  </a:lnTo>
                  <a:lnTo>
                    <a:pt x="304" y="380"/>
                  </a:lnTo>
                  <a:lnTo>
                    <a:pt x="303" y="379"/>
                  </a:lnTo>
                  <a:lnTo>
                    <a:pt x="304" y="377"/>
                  </a:lnTo>
                  <a:lnTo>
                    <a:pt x="306" y="379"/>
                  </a:lnTo>
                  <a:lnTo>
                    <a:pt x="306" y="377"/>
                  </a:lnTo>
                  <a:lnTo>
                    <a:pt x="308" y="377"/>
                  </a:lnTo>
                  <a:lnTo>
                    <a:pt x="309" y="377"/>
                  </a:lnTo>
                  <a:lnTo>
                    <a:pt x="309" y="379"/>
                  </a:lnTo>
                  <a:lnTo>
                    <a:pt x="309" y="377"/>
                  </a:lnTo>
                  <a:lnTo>
                    <a:pt x="311" y="377"/>
                  </a:lnTo>
                  <a:lnTo>
                    <a:pt x="311" y="379"/>
                  </a:lnTo>
                  <a:lnTo>
                    <a:pt x="309" y="379"/>
                  </a:lnTo>
                  <a:lnTo>
                    <a:pt x="311" y="379"/>
                  </a:lnTo>
                  <a:lnTo>
                    <a:pt x="311" y="380"/>
                  </a:lnTo>
                  <a:lnTo>
                    <a:pt x="311" y="379"/>
                  </a:lnTo>
                  <a:lnTo>
                    <a:pt x="311" y="380"/>
                  </a:lnTo>
                  <a:lnTo>
                    <a:pt x="312" y="380"/>
                  </a:lnTo>
                  <a:lnTo>
                    <a:pt x="311" y="380"/>
                  </a:lnTo>
                  <a:lnTo>
                    <a:pt x="311" y="379"/>
                  </a:lnTo>
                  <a:lnTo>
                    <a:pt x="312" y="379"/>
                  </a:lnTo>
                  <a:lnTo>
                    <a:pt x="312" y="377"/>
                  </a:lnTo>
                  <a:lnTo>
                    <a:pt x="311" y="377"/>
                  </a:lnTo>
                  <a:lnTo>
                    <a:pt x="312" y="377"/>
                  </a:lnTo>
                  <a:lnTo>
                    <a:pt x="312" y="375"/>
                  </a:lnTo>
                  <a:lnTo>
                    <a:pt x="311" y="374"/>
                  </a:lnTo>
                  <a:lnTo>
                    <a:pt x="309" y="374"/>
                  </a:lnTo>
                  <a:lnTo>
                    <a:pt x="308" y="374"/>
                  </a:lnTo>
                  <a:lnTo>
                    <a:pt x="306" y="372"/>
                  </a:lnTo>
                  <a:lnTo>
                    <a:pt x="304" y="370"/>
                  </a:lnTo>
                  <a:lnTo>
                    <a:pt x="304" y="369"/>
                  </a:lnTo>
                  <a:lnTo>
                    <a:pt x="304" y="367"/>
                  </a:lnTo>
                  <a:lnTo>
                    <a:pt x="306" y="366"/>
                  </a:lnTo>
                  <a:lnTo>
                    <a:pt x="306" y="364"/>
                  </a:lnTo>
                  <a:lnTo>
                    <a:pt x="306" y="362"/>
                  </a:lnTo>
                  <a:lnTo>
                    <a:pt x="306" y="361"/>
                  </a:lnTo>
                  <a:lnTo>
                    <a:pt x="306" y="359"/>
                  </a:lnTo>
                  <a:lnTo>
                    <a:pt x="308" y="357"/>
                  </a:lnTo>
                  <a:lnTo>
                    <a:pt x="308" y="356"/>
                  </a:lnTo>
                  <a:lnTo>
                    <a:pt x="308" y="354"/>
                  </a:lnTo>
                  <a:lnTo>
                    <a:pt x="309" y="354"/>
                  </a:lnTo>
                  <a:lnTo>
                    <a:pt x="309" y="356"/>
                  </a:lnTo>
                  <a:lnTo>
                    <a:pt x="311" y="354"/>
                  </a:lnTo>
                  <a:lnTo>
                    <a:pt x="312" y="354"/>
                  </a:lnTo>
                  <a:lnTo>
                    <a:pt x="314" y="354"/>
                  </a:lnTo>
                  <a:lnTo>
                    <a:pt x="314" y="356"/>
                  </a:lnTo>
                  <a:lnTo>
                    <a:pt x="314" y="354"/>
                  </a:lnTo>
                  <a:lnTo>
                    <a:pt x="316" y="354"/>
                  </a:lnTo>
                  <a:lnTo>
                    <a:pt x="317" y="354"/>
                  </a:lnTo>
                  <a:lnTo>
                    <a:pt x="316" y="354"/>
                  </a:lnTo>
                  <a:lnTo>
                    <a:pt x="316" y="356"/>
                  </a:lnTo>
                  <a:lnTo>
                    <a:pt x="317" y="356"/>
                  </a:lnTo>
                  <a:lnTo>
                    <a:pt x="317" y="357"/>
                  </a:lnTo>
                  <a:lnTo>
                    <a:pt x="316" y="357"/>
                  </a:lnTo>
                  <a:lnTo>
                    <a:pt x="317" y="357"/>
                  </a:lnTo>
                  <a:lnTo>
                    <a:pt x="316" y="357"/>
                  </a:lnTo>
                  <a:lnTo>
                    <a:pt x="316" y="359"/>
                  </a:lnTo>
                  <a:lnTo>
                    <a:pt x="317" y="359"/>
                  </a:lnTo>
                  <a:lnTo>
                    <a:pt x="316" y="361"/>
                  </a:lnTo>
                  <a:lnTo>
                    <a:pt x="317" y="361"/>
                  </a:lnTo>
                  <a:lnTo>
                    <a:pt x="317" y="362"/>
                  </a:lnTo>
                  <a:lnTo>
                    <a:pt x="317" y="364"/>
                  </a:lnTo>
                  <a:lnTo>
                    <a:pt x="316" y="366"/>
                  </a:lnTo>
                  <a:lnTo>
                    <a:pt x="317" y="367"/>
                  </a:lnTo>
                  <a:lnTo>
                    <a:pt x="317" y="369"/>
                  </a:lnTo>
                  <a:lnTo>
                    <a:pt x="319" y="369"/>
                  </a:lnTo>
                  <a:lnTo>
                    <a:pt x="319" y="370"/>
                  </a:lnTo>
                  <a:lnTo>
                    <a:pt x="321" y="370"/>
                  </a:lnTo>
                  <a:lnTo>
                    <a:pt x="321" y="369"/>
                  </a:lnTo>
                  <a:lnTo>
                    <a:pt x="319" y="367"/>
                  </a:lnTo>
                  <a:lnTo>
                    <a:pt x="321" y="367"/>
                  </a:lnTo>
                  <a:lnTo>
                    <a:pt x="321" y="369"/>
                  </a:lnTo>
                  <a:lnTo>
                    <a:pt x="322" y="369"/>
                  </a:lnTo>
                  <a:lnTo>
                    <a:pt x="322" y="367"/>
                  </a:lnTo>
                  <a:lnTo>
                    <a:pt x="322" y="366"/>
                  </a:lnTo>
                  <a:lnTo>
                    <a:pt x="322" y="364"/>
                  </a:lnTo>
                  <a:lnTo>
                    <a:pt x="324" y="362"/>
                  </a:lnTo>
                  <a:lnTo>
                    <a:pt x="324" y="361"/>
                  </a:lnTo>
                  <a:lnTo>
                    <a:pt x="322" y="361"/>
                  </a:lnTo>
                  <a:lnTo>
                    <a:pt x="322" y="359"/>
                  </a:lnTo>
                  <a:lnTo>
                    <a:pt x="321" y="357"/>
                  </a:lnTo>
                  <a:lnTo>
                    <a:pt x="321" y="359"/>
                  </a:lnTo>
                  <a:lnTo>
                    <a:pt x="321" y="357"/>
                  </a:lnTo>
                  <a:lnTo>
                    <a:pt x="321" y="356"/>
                  </a:lnTo>
                  <a:lnTo>
                    <a:pt x="319" y="354"/>
                  </a:lnTo>
                  <a:lnTo>
                    <a:pt x="321" y="354"/>
                  </a:lnTo>
                  <a:lnTo>
                    <a:pt x="321" y="353"/>
                  </a:lnTo>
                  <a:lnTo>
                    <a:pt x="321" y="351"/>
                  </a:lnTo>
                  <a:lnTo>
                    <a:pt x="322" y="351"/>
                  </a:lnTo>
                  <a:lnTo>
                    <a:pt x="322" y="349"/>
                  </a:lnTo>
                  <a:lnTo>
                    <a:pt x="324" y="349"/>
                  </a:lnTo>
                  <a:lnTo>
                    <a:pt x="325" y="349"/>
                  </a:lnTo>
                  <a:lnTo>
                    <a:pt x="327" y="349"/>
                  </a:lnTo>
                  <a:lnTo>
                    <a:pt x="327" y="351"/>
                  </a:lnTo>
                  <a:lnTo>
                    <a:pt x="329" y="351"/>
                  </a:lnTo>
                  <a:lnTo>
                    <a:pt x="329" y="353"/>
                  </a:lnTo>
                  <a:lnTo>
                    <a:pt x="327" y="353"/>
                  </a:lnTo>
                  <a:lnTo>
                    <a:pt x="329" y="353"/>
                  </a:lnTo>
                  <a:lnTo>
                    <a:pt x="329" y="354"/>
                  </a:lnTo>
                  <a:lnTo>
                    <a:pt x="327" y="354"/>
                  </a:lnTo>
                  <a:lnTo>
                    <a:pt x="329" y="354"/>
                  </a:lnTo>
                  <a:lnTo>
                    <a:pt x="327" y="356"/>
                  </a:lnTo>
                  <a:lnTo>
                    <a:pt x="329" y="357"/>
                  </a:lnTo>
                  <a:lnTo>
                    <a:pt x="329" y="359"/>
                  </a:lnTo>
                  <a:lnTo>
                    <a:pt x="330" y="359"/>
                  </a:lnTo>
                  <a:lnTo>
                    <a:pt x="332" y="359"/>
                  </a:lnTo>
                  <a:lnTo>
                    <a:pt x="332" y="361"/>
                  </a:lnTo>
                  <a:lnTo>
                    <a:pt x="334" y="361"/>
                  </a:lnTo>
                  <a:lnTo>
                    <a:pt x="334" y="362"/>
                  </a:lnTo>
                  <a:lnTo>
                    <a:pt x="334" y="361"/>
                  </a:lnTo>
                  <a:lnTo>
                    <a:pt x="335" y="361"/>
                  </a:lnTo>
                  <a:lnTo>
                    <a:pt x="334" y="361"/>
                  </a:lnTo>
                  <a:lnTo>
                    <a:pt x="335" y="359"/>
                  </a:lnTo>
                  <a:lnTo>
                    <a:pt x="335" y="357"/>
                  </a:lnTo>
                  <a:lnTo>
                    <a:pt x="337" y="357"/>
                  </a:lnTo>
                  <a:lnTo>
                    <a:pt x="337" y="356"/>
                  </a:lnTo>
                  <a:lnTo>
                    <a:pt x="337" y="354"/>
                  </a:lnTo>
                  <a:lnTo>
                    <a:pt x="338" y="354"/>
                  </a:lnTo>
                  <a:lnTo>
                    <a:pt x="340" y="356"/>
                  </a:lnTo>
                  <a:lnTo>
                    <a:pt x="342" y="357"/>
                  </a:lnTo>
                  <a:lnTo>
                    <a:pt x="343" y="359"/>
                  </a:lnTo>
                  <a:lnTo>
                    <a:pt x="343" y="361"/>
                  </a:lnTo>
                  <a:lnTo>
                    <a:pt x="343" y="362"/>
                  </a:lnTo>
                  <a:lnTo>
                    <a:pt x="345" y="362"/>
                  </a:lnTo>
                  <a:lnTo>
                    <a:pt x="347" y="364"/>
                  </a:lnTo>
                  <a:lnTo>
                    <a:pt x="348" y="364"/>
                  </a:lnTo>
                  <a:lnTo>
                    <a:pt x="348" y="366"/>
                  </a:lnTo>
                  <a:lnTo>
                    <a:pt x="350" y="366"/>
                  </a:lnTo>
                  <a:lnTo>
                    <a:pt x="351" y="367"/>
                  </a:lnTo>
                  <a:lnTo>
                    <a:pt x="351" y="366"/>
                  </a:lnTo>
                  <a:lnTo>
                    <a:pt x="350" y="364"/>
                  </a:lnTo>
                  <a:lnTo>
                    <a:pt x="350" y="362"/>
                  </a:lnTo>
                  <a:lnTo>
                    <a:pt x="348" y="362"/>
                  </a:lnTo>
                  <a:lnTo>
                    <a:pt x="347" y="361"/>
                  </a:lnTo>
                  <a:lnTo>
                    <a:pt x="345" y="361"/>
                  </a:lnTo>
                  <a:lnTo>
                    <a:pt x="345" y="359"/>
                  </a:lnTo>
                  <a:lnTo>
                    <a:pt x="345" y="357"/>
                  </a:lnTo>
                  <a:lnTo>
                    <a:pt x="345" y="356"/>
                  </a:lnTo>
                  <a:lnTo>
                    <a:pt x="343" y="356"/>
                  </a:lnTo>
                  <a:lnTo>
                    <a:pt x="342" y="354"/>
                  </a:lnTo>
                  <a:lnTo>
                    <a:pt x="340" y="354"/>
                  </a:lnTo>
                  <a:lnTo>
                    <a:pt x="340" y="353"/>
                  </a:lnTo>
                  <a:lnTo>
                    <a:pt x="340" y="351"/>
                  </a:lnTo>
                  <a:lnTo>
                    <a:pt x="342" y="351"/>
                  </a:lnTo>
                  <a:lnTo>
                    <a:pt x="342" y="353"/>
                  </a:lnTo>
                  <a:lnTo>
                    <a:pt x="343" y="351"/>
                  </a:lnTo>
                  <a:lnTo>
                    <a:pt x="345" y="351"/>
                  </a:lnTo>
                  <a:lnTo>
                    <a:pt x="345" y="353"/>
                  </a:lnTo>
                  <a:lnTo>
                    <a:pt x="343" y="353"/>
                  </a:lnTo>
                  <a:lnTo>
                    <a:pt x="345" y="354"/>
                  </a:lnTo>
                  <a:lnTo>
                    <a:pt x="347" y="356"/>
                  </a:lnTo>
                  <a:lnTo>
                    <a:pt x="348" y="356"/>
                  </a:lnTo>
                  <a:lnTo>
                    <a:pt x="350" y="356"/>
                  </a:lnTo>
                  <a:lnTo>
                    <a:pt x="351" y="356"/>
                  </a:lnTo>
                  <a:lnTo>
                    <a:pt x="353" y="357"/>
                  </a:lnTo>
                  <a:lnTo>
                    <a:pt x="355" y="359"/>
                  </a:lnTo>
                  <a:lnTo>
                    <a:pt x="355" y="361"/>
                  </a:lnTo>
                  <a:lnTo>
                    <a:pt x="356" y="361"/>
                  </a:lnTo>
                  <a:lnTo>
                    <a:pt x="356" y="362"/>
                  </a:lnTo>
                  <a:lnTo>
                    <a:pt x="358" y="364"/>
                  </a:lnTo>
                  <a:lnTo>
                    <a:pt x="360" y="364"/>
                  </a:lnTo>
                  <a:lnTo>
                    <a:pt x="360" y="369"/>
                  </a:lnTo>
                  <a:lnTo>
                    <a:pt x="361" y="370"/>
                  </a:lnTo>
                  <a:lnTo>
                    <a:pt x="361" y="372"/>
                  </a:lnTo>
                  <a:lnTo>
                    <a:pt x="363" y="372"/>
                  </a:lnTo>
                  <a:lnTo>
                    <a:pt x="361" y="370"/>
                  </a:lnTo>
                  <a:lnTo>
                    <a:pt x="361" y="369"/>
                  </a:lnTo>
                  <a:lnTo>
                    <a:pt x="361" y="367"/>
                  </a:lnTo>
                  <a:lnTo>
                    <a:pt x="361" y="366"/>
                  </a:lnTo>
                  <a:lnTo>
                    <a:pt x="361" y="364"/>
                  </a:lnTo>
                  <a:lnTo>
                    <a:pt x="360" y="364"/>
                  </a:lnTo>
                  <a:lnTo>
                    <a:pt x="360" y="362"/>
                  </a:lnTo>
                  <a:lnTo>
                    <a:pt x="358" y="362"/>
                  </a:lnTo>
                  <a:lnTo>
                    <a:pt x="358" y="361"/>
                  </a:lnTo>
                  <a:lnTo>
                    <a:pt x="356" y="361"/>
                  </a:lnTo>
                  <a:lnTo>
                    <a:pt x="356" y="359"/>
                  </a:lnTo>
                  <a:lnTo>
                    <a:pt x="356" y="357"/>
                  </a:lnTo>
                  <a:lnTo>
                    <a:pt x="355" y="357"/>
                  </a:lnTo>
                  <a:lnTo>
                    <a:pt x="355" y="356"/>
                  </a:lnTo>
                  <a:lnTo>
                    <a:pt x="353" y="356"/>
                  </a:lnTo>
                  <a:lnTo>
                    <a:pt x="353" y="354"/>
                  </a:lnTo>
                  <a:lnTo>
                    <a:pt x="355" y="354"/>
                  </a:lnTo>
                  <a:lnTo>
                    <a:pt x="356" y="354"/>
                  </a:lnTo>
                  <a:lnTo>
                    <a:pt x="358" y="354"/>
                  </a:lnTo>
                  <a:lnTo>
                    <a:pt x="358" y="353"/>
                  </a:lnTo>
                  <a:lnTo>
                    <a:pt x="356" y="353"/>
                  </a:lnTo>
                  <a:lnTo>
                    <a:pt x="356" y="351"/>
                  </a:lnTo>
                  <a:lnTo>
                    <a:pt x="355" y="351"/>
                  </a:lnTo>
                  <a:lnTo>
                    <a:pt x="355" y="349"/>
                  </a:lnTo>
                  <a:lnTo>
                    <a:pt x="353" y="349"/>
                  </a:lnTo>
                  <a:lnTo>
                    <a:pt x="353" y="348"/>
                  </a:lnTo>
                  <a:lnTo>
                    <a:pt x="351" y="348"/>
                  </a:lnTo>
                  <a:lnTo>
                    <a:pt x="350" y="348"/>
                  </a:lnTo>
                  <a:lnTo>
                    <a:pt x="350" y="346"/>
                  </a:lnTo>
                  <a:lnTo>
                    <a:pt x="348" y="346"/>
                  </a:lnTo>
                  <a:lnTo>
                    <a:pt x="350" y="346"/>
                  </a:lnTo>
                  <a:lnTo>
                    <a:pt x="350" y="344"/>
                  </a:lnTo>
                  <a:lnTo>
                    <a:pt x="348" y="344"/>
                  </a:lnTo>
                  <a:lnTo>
                    <a:pt x="348" y="343"/>
                  </a:lnTo>
                  <a:lnTo>
                    <a:pt x="348" y="341"/>
                  </a:lnTo>
                  <a:lnTo>
                    <a:pt x="347" y="341"/>
                  </a:lnTo>
                  <a:lnTo>
                    <a:pt x="347" y="340"/>
                  </a:lnTo>
                  <a:lnTo>
                    <a:pt x="347" y="338"/>
                  </a:lnTo>
                  <a:lnTo>
                    <a:pt x="345" y="338"/>
                  </a:lnTo>
                  <a:lnTo>
                    <a:pt x="343" y="338"/>
                  </a:lnTo>
                  <a:lnTo>
                    <a:pt x="343" y="336"/>
                  </a:lnTo>
                  <a:lnTo>
                    <a:pt x="342" y="336"/>
                  </a:lnTo>
                  <a:lnTo>
                    <a:pt x="342" y="335"/>
                  </a:lnTo>
                  <a:lnTo>
                    <a:pt x="343" y="335"/>
                  </a:lnTo>
                  <a:lnTo>
                    <a:pt x="343" y="333"/>
                  </a:lnTo>
                  <a:lnTo>
                    <a:pt x="342" y="333"/>
                  </a:lnTo>
                  <a:lnTo>
                    <a:pt x="342" y="331"/>
                  </a:lnTo>
                  <a:lnTo>
                    <a:pt x="340" y="331"/>
                  </a:lnTo>
                  <a:lnTo>
                    <a:pt x="342" y="330"/>
                  </a:lnTo>
                  <a:lnTo>
                    <a:pt x="340" y="330"/>
                  </a:lnTo>
                  <a:lnTo>
                    <a:pt x="342" y="330"/>
                  </a:lnTo>
                  <a:lnTo>
                    <a:pt x="342" y="328"/>
                  </a:lnTo>
                  <a:lnTo>
                    <a:pt x="342" y="327"/>
                  </a:lnTo>
                  <a:lnTo>
                    <a:pt x="343" y="328"/>
                  </a:lnTo>
                  <a:lnTo>
                    <a:pt x="343" y="327"/>
                  </a:lnTo>
                  <a:lnTo>
                    <a:pt x="345" y="327"/>
                  </a:lnTo>
                  <a:lnTo>
                    <a:pt x="345" y="328"/>
                  </a:lnTo>
                  <a:lnTo>
                    <a:pt x="347" y="328"/>
                  </a:lnTo>
                  <a:lnTo>
                    <a:pt x="347" y="330"/>
                  </a:lnTo>
                  <a:lnTo>
                    <a:pt x="347" y="331"/>
                  </a:lnTo>
                  <a:lnTo>
                    <a:pt x="348" y="331"/>
                  </a:lnTo>
                  <a:lnTo>
                    <a:pt x="348" y="333"/>
                  </a:lnTo>
                  <a:lnTo>
                    <a:pt x="348" y="335"/>
                  </a:lnTo>
                  <a:lnTo>
                    <a:pt x="348" y="333"/>
                  </a:lnTo>
                  <a:lnTo>
                    <a:pt x="348" y="331"/>
                  </a:lnTo>
                  <a:lnTo>
                    <a:pt x="350" y="331"/>
                  </a:lnTo>
                  <a:lnTo>
                    <a:pt x="350" y="333"/>
                  </a:lnTo>
                  <a:lnTo>
                    <a:pt x="351" y="333"/>
                  </a:lnTo>
                  <a:lnTo>
                    <a:pt x="351" y="335"/>
                  </a:lnTo>
                  <a:lnTo>
                    <a:pt x="353" y="333"/>
                  </a:lnTo>
                  <a:lnTo>
                    <a:pt x="353" y="331"/>
                  </a:lnTo>
                  <a:lnTo>
                    <a:pt x="355" y="331"/>
                  </a:lnTo>
                  <a:lnTo>
                    <a:pt x="355" y="330"/>
                  </a:lnTo>
                  <a:lnTo>
                    <a:pt x="356" y="330"/>
                  </a:lnTo>
                  <a:lnTo>
                    <a:pt x="356" y="328"/>
                  </a:lnTo>
                  <a:lnTo>
                    <a:pt x="355" y="328"/>
                  </a:lnTo>
                  <a:lnTo>
                    <a:pt x="353" y="327"/>
                  </a:lnTo>
                  <a:lnTo>
                    <a:pt x="355" y="327"/>
                  </a:lnTo>
                  <a:lnTo>
                    <a:pt x="356" y="327"/>
                  </a:lnTo>
                  <a:lnTo>
                    <a:pt x="355" y="327"/>
                  </a:lnTo>
                  <a:lnTo>
                    <a:pt x="355" y="325"/>
                  </a:lnTo>
                  <a:lnTo>
                    <a:pt x="355" y="323"/>
                  </a:lnTo>
                  <a:lnTo>
                    <a:pt x="356" y="323"/>
                  </a:lnTo>
                  <a:lnTo>
                    <a:pt x="356" y="325"/>
                  </a:lnTo>
                  <a:lnTo>
                    <a:pt x="358" y="325"/>
                  </a:lnTo>
                  <a:lnTo>
                    <a:pt x="358" y="323"/>
                  </a:lnTo>
                  <a:lnTo>
                    <a:pt x="360" y="323"/>
                  </a:lnTo>
                  <a:lnTo>
                    <a:pt x="358" y="323"/>
                  </a:lnTo>
                  <a:lnTo>
                    <a:pt x="356" y="323"/>
                  </a:lnTo>
                  <a:lnTo>
                    <a:pt x="356" y="322"/>
                  </a:lnTo>
                  <a:lnTo>
                    <a:pt x="355" y="322"/>
                  </a:lnTo>
                  <a:lnTo>
                    <a:pt x="355" y="320"/>
                  </a:lnTo>
                  <a:lnTo>
                    <a:pt x="355" y="318"/>
                  </a:lnTo>
                  <a:lnTo>
                    <a:pt x="355" y="320"/>
                  </a:lnTo>
                  <a:lnTo>
                    <a:pt x="355" y="318"/>
                  </a:lnTo>
                  <a:lnTo>
                    <a:pt x="355" y="317"/>
                  </a:lnTo>
                  <a:lnTo>
                    <a:pt x="353" y="317"/>
                  </a:lnTo>
                  <a:lnTo>
                    <a:pt x="353" y="315"/>
                  </a:lnTo>
                  <a:lnTo>
                    <a:pt x="353" y="314"/>
                  </a:lnTo>
                  <a:lnTo>
                    <a:pt x="351" y="314"/>
                  </a:lnTo>
                  <a:lnTo>
                    <a:pt x="351" y="312"/>
                  </a:lnTo>
                  <a:lnTo>
                    <a:pt x="353" y="312"/>
                  </a:lnTo>
                  <a:lnTo>
                    <a:pt x="351" y="312"/>
                  </a:lnTo>
                  <a:lnTo>
                    <a:pt x="351" y="310"/>
                  </a:lnTo>
                  <a:lnTo>
                    <a:pt x="350" y="309"/>
                  </a:lnTo>
                  <a:lnTo>
                    <a:pt x="350" y="307"/>
                  </a:lnTo>
                  <a:lnTo>
                    <a:pt x="351" y="307"/>
                  </a:lnTo>
                  <a:lnTo>
                    <a:pt x="351" y="305"/>
                  </a:lnTo>
                  <a:lnTo>
                    <a:pt x="353" y="305"/>
                  </a:lnTo>
                  <a:lnTo>
                    <a:pt x="353" y="307"/>
                  </a:lnTo>
                  <a:lnTo>
                    <a:pt x="355" y="307"/>
                  </a:lnTo>
                  <a:lnTo>
                    <a:pt x="356" y="307"/>
                  </a:lnTo>
                  <a:lnTo>
                    <a:pt x="355" y="309"/>
                  </a:lnTo>
                  <a:lnTo>
                    <a:pt x="356" y="309"/>
                  </a:lnTo>
                  <a:lnTo>
                    <a:pt x="356" y="310"/>
                  </a:lnTo>
                  <a:lnTo>
                    <a:pt x="356" y="312"/>
                  </a:lnTo>
                  <a:lnTo>
                    <a:pt x="358" y="310"/>
                  </a:lnTo>
                  <a:lnTo>
                    <a:pt x="358" y="312"/>
                  </a:lnTo>
                  <a:lnTo>
                    <a:pt x="358" y="310"/>
                  </a:lnTo>
                  <a:lnTo>
                    <a:pt x="360" y="310"/>
                  </a:lnTo>
                  <a:lnTo>
                    <a:pt x="361" y="310"/>
                  </a:lnTo>
                  <a:lnTo>
                    <a:pt x="361" y="309"/>
                  </a:lnTo>
                  <a:lnTo>
                    <a:pt x="360" y="309"/>
                  </a:lnTo>
                  <a:lnTo>
                    <a:pt x="360" y="307"/>
                  </a:lnTo>
                  <a:lnTo>
                    <a:pt x="361" y="307"/>
                  </a:lnTo>
                  <a:lnTo>
                    <a:pt x="361" y="305"/>
                  </a:lnTo>
                  <a:lnTo>
                    <a:pt x="361" y="307"/>
                  </a:lnTo>
                  <a:lnTo>
                    <a:pt x="363" y="307"/>
                  </a:lnTo>
                  <a:lnTo>
                    <a:pt x="363" y="309"/>
                  </a:lnTo>
                  <a:lnTo>
                    <a:pt x="364" y="309"/>
                  </a:lnTo>
                  <a:lnTo>
                    <a:pt x="363" y="309"/>
                  </a:lnTo>
                  <a:lnTo>
                    <a:pt x="364" y="309"/>
                  </a:lnTo>
                  <a:lnTo>
                    <a:pt x="364" y="310"/>
                  </a:lnTo>
                  <a:lnTo>
                    <a:pt x="366" y="310"/>
                  </a:lnTo>
                  <a:lnTo>
                    <a:pt x="364" y="309"/>
                  </a:lnTo>
                  <a:lnTo>
                    <a:pt x="366" y="309"/>
                  </a:lnTo>
                  <a:lnTo>
                    <a:pt x="366" y="310"/>
                  </a:lnTo>
                  <a:lnTo>
                    <a:pt x="368" y="310"/>
                  </a:lnTo>
                  <a:lnTo>
                    <a:pt x="368" y="312"/>
                  </a:lnTo>
                  <a:lnTo>
                    <a:pt x="368" y="310"/>
                  </a:lnTo>
                  <a:lnTo>
                    <a:pt x="368" y="309"/>
                  </a:lnTo>
                  <a:lnTo>
                    <a:pt x="369" y="309"/>
                  </a:lnTo>
                  <a:lnTo>
                    <a:pt x="369" y="310"/>
                  </a:lnTo>
                  <a:lnTo>
                    <a:pt x="369" y="309"/>
                  </a:lnTo>
                  <a:lnTo>
                    <a:pt x="371" y="309"/>
                  </a:lnTo>
                  <a:lnTo>
                    <a:pt x="373" y="309"/>
                  </a:lnTo>
                  <a:lnTo>
                    <a:pt x="373" y="310"/>
                  </a:lnTo>
                  <a:lnTo>
                    <a:pt x="374" y="310"/>
                  </a:lnTo>
                  <a:lnTo>
                    <a:pt x="374" y="312"/>
                  </a:lnTo>
                  <a:lnTo>
                    <a:pt x="376" y="312"/>
                  </a:lnTo>
                  <a:lnTo>
                    <a:pt x="377" y="312"/>
                  </a:lnTo>
                  <a:lnTo>
                    <a:pt x="377" y="314"/>
                  </a:lnTo>
                  <a:lnTo>
                    <a:pt x="377" y="312"/>
                  </a:lnTo>
                  <a:lnTo>
                    <a:pt x="379" y="312"/>
                  </a:lnTo>
                  <a:lnTo>
                    <a:pt x="377" y="312"/>
                  </a:lnTo>
                  <a:lnTo>
                    <a:pt x="379" y="312"/>
                  </a:lnTo>
                  <a:lnTo>
                    <a:pt x="377" y="312"/>
                  </a:lnTo>
                  <a:lnTo>
                    <a:pt x="377" y="310"/>
                  </a:lnTo>
                  <a:lnTo>
                    <a:pt x="376" y="312"/>
                  </a:lnTo>
                  <a:lnTo>
                    <a:pt x="376" y="310"/>
                  </a:lnTo>
                  <a:lnTo>
                    <a:pt x="374" y="310"/>
                  </a:lnTo>
                  <a:lnTo>
                    <a:pt x="374" y="309"/>
                  </a:lnTo>
                  <a:lnTo>
                    <a:pt x="373" y="309"/>
                  </a:lnTo>
                  <a:lnTo>
                    <a:pt x="373" y="307"/>
                  </a:lnTo>
                  <a:lnTo>
                    <a:pt x="371" y="307"/>
                  </a:lnTo>
                  <a:lnTo>
                    <a:pt x="371" y="305"/>
                  </a:lnTo>
                  <a:lnTo>
                    <a:pt x="373" y="305"/>
                  </a:lnTo>
                  <a:lnTo>
                    <a:pt x="373" y="307"/>
                  </a:lnTo>
                  <a:lnTo>
                    <a:pt x="373" y="305"/>
                  </a:lnTo>
                  <a:lnTo>
                    <a:pt x="371" y="305"/>
                  </a:lnTo>
                  <a:lnTo>
                    <a:pt x="371" y="304"/>
                  </a:lnTo>
                  <a:lnTo>
                    <a:pt x="371" y="302"/>
                  </a:lnTo>
                  <a:lnTo>
                    <a:pt x="373" y="302"/>
                  </a:lnTo>
                  <a:lnTo>
                    <a:pt x="371" y="302"/>
                  </a:lnTo>
                  <a:lnTo>
                    <a:pt x="371" y="301"/>
                  </a:lnTo>
                  <a:lnTo>
                    <a:pt x="373" y="301"/>
                  </a:lnTo>
                  <a:lnTo>
                    <a:pt x="371" y="301"/>
                  </a:lnTo>
                  <a:lnTo>
                    <a:pt x="373" y="301"/>
                  </a:lnTo>
                  <a:lnTo>
                    <a:pt x="371" y="301"/>
                  </a:lnTo>
                  <a:lnTo>
                    <a:pt x="369" y="301"/>
                  </a:lnTo>
                  <a:lnTo>
                    <a:pt x="369" y="302"/>
                  </a:lnTo>
                  <a:lnTo>
                    <a:pt x="369" y="301"/>
                  </a:lnTo>
                  <a:lnTo>
                    <a:pt x="371" y="301"/>
                  </a:lnTo>
                  <a:lnTo>
                    <a:pt x="369" y="301"/>
                  </a:lnTo>
                  <a:lnTo>
                    <a:pt x="371" y="299"/>
                  </a:lnTo>
                  <a:lnTo>
                    <a:pt x="371" y="297"/>
                  </a:lnTo>
                  <a:lnTo>
                    <a:pt x="369" y="297"/>
                  </a:lnTo>
                  <a:lnTo>
                    <a:pt x="371" y="297"/>
                  </a:lnTo>
                  <a:lnTo>
                    <a:pt x="369" y="297"/>
                  </a:lnTo>
                  <a:lnTo>
                    <a:pt x="369" y="296"/>
                  </a:lnTo>
                  <a:lnTo>
                    <a:pt x="371" y="296"/>
                  </a:lnTo>
                  <a:lnTo>
                    <a:pt x="371" y="294"/>
                  </a:lnTo>
                  <a:lnTo>
                    <a:pt x="373" y="292"/>
                  </a:lnTo>
                  <a:lnTo>
                    <a:pt x="374" y="291"/>
                  </a:lnTo>
                  <a:lnTo>
                    <a:pt x="373" y="291"/>
                  </a:lnTo>
                  <a:lnTo>
                    <a:pt x="374" y="291"/>
                  </a:lnTo>
                  <a:lnTo>
                    <a:pt x="374" y="289"/>
                  </a:lnTo>
                  <a:lnTo>
                    <a:pt x="374" y="287"/>
                  </a:lnTo>
                  <a:lnTo>
                    <a:pt x="376" y="287"/>
                  </a:lnTo>
                  <a:lnTo>
                    <a:pt x="376" y="289"/>
                  </a:lnTo>
                  <a:lnTo>
                    <a:pt x="376" y="291"/>
                  </a:lnTo>
                  <a:lnTo>
                    <a:pt x="377" y="291"/>
                  </a:lnTo>
                  <a:lnTo>
                    <a:pt x="379" y="291"/>
                  </a:lnTo>
                  <a:lnTo>
                    <a:pt x="377" y="291"/>
                  </a:lnTo>
                  <a:lnTo>
                    <a:pt x="377" y="292"/>
                  </a:lnTo>
                  <a:lnTo>
                    <a:pt x="379" y="292"/>
                  </a:lnTo>
                  <a:lnTo>
                    <a:pt x="379" y="291"/>
                  </a:lnTo>
                  <a:lnTo>
                    <a:pt x="381" y="292"/>
                  </a:lnTo>
                  <a:lnTo>
                    <a:pt x="379" y="292"/>
                  </a:lnTo>
                  <a:lnTo>
                    <a:pt x="381" y="292"/>
                  </a:lnTo>
                  <a:lnTo>
                    <a:pt x="381" y="294"/>
                  </a:lnTo>
                  <a:lnTo>
                    <a:pt x="382" y="294"/>
                  </a:lnTo>
                  <a:lnTo>
                    <a:pt x="381" y="292"/>
                  </a:lnTo>
                  <a:lnTo>
                    <a:pt x="382" y="292"/>
                  </a:lnTo>
                  <a:lnTo>
                    <a:pt x="381" y="292"/>
                  </a:lnTo>
                  <a:lnTo>
                    <a:pt x="381" y="291"/>
                  </a:lnTo>
                  <a:lnTo>
                    <a:pt x="379" y="291"/>
                  </a:lnTo>
                  <a:lnTo>
                    <a:pt x="381" y="291"/>
                  </a:lnTo>
                  <a:lnTo>
                    <a:pt x="381" y="289"/>
                  </a:lnTo>
                  <a:lnTo>
                    <a:pt x="382" y="289"/>
                  </a:lnTo>
                  <a:lnTo>
                    <a:pt x="381" y="289"/>
                  </a:lnTo>
                  <a:lnTo>
                    <a:pt x="379" y="289"/>
                  </a:lnTo>
                  <a:lnTo>
                    <a:pt x="379" y="291"/>
                  </a:lnTo>
                  <a:lnTo>
                    <a:pt x="379" y="289"/>
                  </a:lnTo>
                  <a:lnTo>
                    <a:pt x="377" y="289"/>
                  </a:lnTo>
                  <a:lnTo>
                    <a:pt x="377" y="287"/>
                  </a:lnTo>
                  <a:lnTo>
                    <a:pt x="379" y="289"/>
                  </a:lnTo>
                  <a:lnTo>
                    <a:pt x="379" y="287"/>
                  </a:lnTo>
                  <a:lnTo>
                    <a:pt x="377" y="287"/>
                  </a:lnTo>
                  <a:lnTo>
                    <a:pt x="377" y="286"/>
                  </a:lnTo>
                  <a:lnTo>
                    <a:pt x="376" y="286"/>
                  </a:lnTo>
                  <a:lnTo>
                    <a:pt x="377" y="286"/>
                  </a:lnTo>
                  <a:lnTo>
                    <a:pt x="379" y="284"/>
                  </a:lnTo>
                  <a:lnTo>
                    <a:pt x="381" y="284"/>
                  </a:lnTo>
                  <a:lnTo>
                    <a:pt x="382" y="284"/>
                  </a:lnTo>
                  <a:lnTo>
                    <a:pt x="384" y="284"/>
                  </a:lnTo>
                  <a:lnTo>
                    <a:pt x="384" y="286"/>
                  </a:lnTo>
                  <a:lnTo>
                    <a:pt x="386" y="286"/>
                  </a:lnTo>
                  <a:lnTo>
                    <a:pt x="386" y="287"/>
                  </a:lnTo>
                  <a:lnTo>
                    <a:pt x="386" y="289"/>
                  </a:lnTo>
                  <a:lnTo>
                    <a:pt x="386" y="287"/>
                  </a:lnTo>
                  <a:lnTo>
                    <a:pt x="387" y="287"/>
                  </a:lnTo>
                  <a:lnTo>
                    <a:pt x="387" y="286"/>
                  </a:lnTo>
                  <a:lnTo>
                    <a:pt x="386" y="286"/>
                  </a:lnTo>
                  <a:lnTo>
                    <a:pt x="386" y="284"/>
                  </a:lnTo>
                  <a:lnTo>
                    <a:pt x="384" y="284"/>
                  </a:lnTo>
                  <a:lnTo>
                    <a:pt x="382" y="284"/>
                  </a:lnTo>
                  <a:lnTo>
                    <a:pt x="382" y="283"/>
                  </a:lnTo>
                  <a:lnTo>
                    <a:pt x="381" y="283"/>
                  </a:lnTo>
                  <a:lnTo>
                    <a:pt x="382" y="283"/>
                  </a:lnTo>
                  <a:lnTo>
                    <a:pt x="381" y="281"/>
                  </a:lnTo>
                  <a:lnTo>
                    <a:pt x="381" y="279"/>
                  </a:lnTo>
                  <a:lnTo>
                    <a:pt x="379" y="279"/>
                  </a:lnTo>
                  <a:lnTo>
                    <a:pt x="381" y="279"/>
                  </a:lnTo>
                  <a:lnTo>
                    <a:pt x="379" y="279"/>
                  </a:lnTo>
                  <a:lnTo>
                    <a:pt x="377" y="279"/>
                  </a:lnTo>
                  <a:lnTo>
                    <a:pt x="379" y="279"/>
                  </a:lnTo>
                  <a:lnTo>
                    <a:pt x="379" y="278"/>
                  </a:lnTo>
                  <a:lnTo>
                    <a:pt x="379" y="276"/>
                  </a:lnTo>
                  <a:lnTo>
                    <a:pt x="379" y="274"/>
                  </a:lnTo>
                  <a:lnTo>
                    <a:pt x="381" y="273"/>
                  </a:lnTo>
                  <a:lnTo>
                    <a:pt x="381" y="271"/>
                  </a:lnTo>
                  <a:lnTo>
                    <a:pt x="382" y="273"/>
                  </a:lnTo>
                  <a:lnTo>
                    <a:pt x="382" y="271"/>
                  </a:lnTo>
                  <a:lnTo>
                    <a:pt x="384" y="271"/>
                  </a:lnTo>
                  <a:lnTo>
                    <a:pt x="386" y="271"/>
                  </a:lnTo>
                  <a:lnTo>
                    <a:pt x="386" y="270"/>
                  </a:lnTo>
                  <a:lnTo>
                    <a:pt x="387" y="270"/>
                  </a:lnTo>
                  <a:lnTo>
                    <a:pt x="387" y="268"/>
                  </a:lnTo>
                  <a:lnTo>
                    <a:pt x="389" y="268"/>
                  </a:lnTo>
                  <a:lnTo>
                    <a:pt x="389" y="266"/>
                  </a:lnTo>
                  <a:lnTo>
                    <a:pt x="389" y="265"/>
                  </a:lnTo>
                  <a:lnTo>
                    <a:pt x="391" y="265"/>
                  </a:lnTo>
                  <a:lnTo>
                    <a:pt x="391" y="263"/>
                  </a:lnTo>
                  <a:lnTo>
                    <a:pt x="391" y="261"/>
                  </a:lnTo>
                  <a:lnTo>
                    <a:pt x="391" y="260"/>
                  </a:lnTo>
                  <a:lnTo>
                    <a:pt x="392" y="260"/>
                  </a:lnTo>
                  <a:lnTo>
                    <a:pt x="392" y="261"/>
                  </a:lnTo>
                  <a:lnTo>
                    <a:pt x="394" y="261"/>
                  </a:lnTo>
                  <a:lnTo>
                    <a:pt x="395" y="263"/>
                  </a:lnTo>
                  <a:lnTo>
                    <a:pt x="397" y="263"/>
                  </a:lnTo>
                  <a:lnTo>
                    <a:pt x="400" y="263"/>
                  </a:lnTo>
                  <a:lnTo>
                    <a:pt x="400" y="265"/>
                  </a:lnTo>
                  <a:lnTo>
                    <a:pt x="402" y="265"/>
                  </a:lnTo>
                  <a:lnTo>
                    <a:pt x="402" y="266"/>
                  </a:lnTo>
                  <a:lnTo>
                    <a:pt x="404" y="266"/>
                  </a:lnTo>
                  <a:lnTo>
                    <a:pt x="404" y="268"/>
                  </a:lnTo>
                  <a:lnTo>
                    <a:pt x="405" y="268"/>
                  </a:lnTo>
                  <a:lnTo>
                    <a:pt x="404" y="270"/>
                  </a:lnTo>
                  <a:lnTo>
                    <a:pt x="404" y="271"/>
                  </a:lnTo>
                  <a:lnTo>
                    <a:pt x="404" y="273"/>
                  </a:lnTo>
                  <a:lnTo>
                    <a:pt x="405" y="274"/>
                  </a:lnTo>
                  <a:lnTo>
                    <a:pt x="405" y="276"/>
                  </a:lnTo>
                  <a:lnTo>
                    <a:pt x="404" y="276"/>
                  </a:lnTo>
                  <a:lnTo>
                    <a:pt x="402" y="276"/>
                  </a:lnTo>
                  <a:lnTo>
                    <a:pt x="402" y="278"/>
                  </a:lnTo>
                  <a:lnTo>
                    <a:pt x="404" y="278"/>
                  </a:lnTo>
                  <a:lnTo>
                    <a:pt x="402" y="278"/>
                  </a:lnTo>
                  <a:lnTo>
                    <a:pt x="404" y="278"/>
                  </a:lnTo>
                  <a:lnTo>
                    <a:pt x="404" y="276"/>
                  </a:lnTo>
                  <a:lnTo>
                    <a:pt x="405" y="276"/>
                  </a:lnTo>
                  <a:lnTo>
                    <a:pt x="405" y="274"/>
                  </a:lnTo>
                  <a:lnTo>
                    <a:pt x="405" y="273"/>
                  </a:lnTo>
                  <a:lnTo>
                    <a:pt x="404" y="273"/>
                  </a:lnTo>
                  <a:lnTo>
                    <a:pt x="405" y="271"/>
                  </a:lnTo>
                  <a:lnTo>
                    <a:pt x="405" y="270"/>
                  </a:lnTo>
                  <a:lnTo>
                    <a:pt x="407" y="271"/>
                  </a:lnTo>
                  <a:lnTo>
                    <a:pt x="408" y="270"/>
                  </a:lnTo>
                  <a:lnTo>
                    <a:pt x="407" y="268"/>
                  </a:lnTo>
                  <a:lnTo>
                    <a:pt x="407" y="266"/>
                  </a:lnTo>
                  <a:lnTo>
                    <a:pt x="408" y="266"/>
                  </a:lnTo>
                  <a:lnTo>
                    <a:pt x="408" y="268"/>
                  </a:lnTo>
                  <a:lnTo>
                    <a:pt x="408" y="270"/>
                  </a:lnTo>
                  <a:lnTo>
                    <a:pt x="410" y="270"/>
                  </a:lnTo>
                  <a:lnTo>
                    <a:pt x="410" y="271"/>
                  </a:lnTo>
                  <a:lnTo>
                    <a:pt x="410" y="273"/>
                  </a:lnTo>
                  <a:lnTo>
                    <a:pt x="412" y="273"/>
                  </a:lnTo>
                  <a:lnTo>
                    <a:pt x="412" y="274"/>
                  </a:lnTo>
                  <a:lnTo>
                    <a:pt x="413" y="274"/>
                  </a:lnTo>
                  <a:lnTo>
                    <a:pt x="413" y="276"/>
                  </a:lnTo>
                  <a:lnTo>
                    <a:pt x="415" y="276"/>
                  </a:lnTo>
                  <a:lnTo>
                    <a:pt x="415" y="278"/>
                  </a:lnTo>
                  <a:lnTo>
                    <a:pt x="415" y="279"/>
                  </a:lnTo>
                  <a:lnTo>
                    <a:pt x="413" y="279"/>
                  </a:lnTo>
                  <a:lnTo>
                    <a:pt x="412" y="279"/>
                  </a:lnTo>
                  <a:lnTo>
                    <a:pt x="413" y="281"/>
                  </a:lnTo>
                  <a:lnTo>
                    <a:pt x="412" y="281"/>
                  </a:lnTo>
                  <a:lnTo>
                    <a:pt x="410" y="283"/>
                  </a:lnTo>
                  <a:lnTo>
                    <a:pt x="408" y="283"/>
                  </a:lnTo>
                  <a:lnTo>
                    <a:pt x="408" y="284"/>
                  </a:lnTo>
                  <a:lnTo>
                    <a:pt x="407" y="286"/>
                  </a:lnTo>
                  <a:lnTo>
                    <a:pt x="405" y="287"/>
                  </a:lnTo>
                  <a:lnTo>
                    <a:pt x="405" y="289"/>
                  </a:lnTo>
                  <a:lnTo>
                    <a:pt x="407" y="289"/>
                  </a:lnTo>
                  <a:lnTo>
                    <a:pt x="407" y="287"/>
                  </a:lnTo>
                  <a:lnTo>
                    <a:pt x="408" y="287"/>
                  </a:lnTo>
                  <a:lnTo>
                    <a:pt x="410" y="287"/>
                  </a:lnTo>
                  <a:lnTo>
                    <a:pt x="410" y="286"/>
                  </a:lnTo>
                  <a:lnTo>
                    <a:pt x="412" y="286"/>
                  </a:lnTo>
                  <a:lnTo>
                    <a:pt x="412" y="284"/>
                  </a:lnTo>
                  <a:lnTo>
                    <a:pt x="413" y="284"/>
                  </a:lnTo>
                  <a:lnTo>
                    <a:pt x="412" y="284"/>
                  </a:lnTo>
                  <a:lnTo>
                    <a:pt x="412" y="283"/>
                  </a:lnTo>
                  <a:lnTo>
                    <a:pt x="413" y="283"/>
                  </a:lnTo>
                  <a:lnTo>
                    <a:pt x="415" y="281"/>
                  </a:lnTo>
                  <a:lnTo>
                    <a:pt x="417" y="281"/>
                  </a:lnTo>
                  <a:lnTo>
                    <a:pt x="418" y="281"/>
                  </a:lnTo>
                  <a:lnTo>
                    <a:pt x="418" y="279"/>
                  </a:lnTo>
                  <a:lnTo>
                    <a:pt x="420" y="278"/>
                  </a:lnTo>
                  <a:lnTo>
                    <a:pt x="418" y="278"/>
                  </a:lnTo>
                  <a:lnTo>
                    <a:pt x="418" y="276"/>
                  </a:lnTo>
                  <a:lnTo>
                    <a:pt x="420" y="276"/>
                  </a:lnTo>
                  <a:lnTo>
                    <a:pt x="420" y="274"/>
                  </a:lnTo>
                  <a:lnTo>
                    <a:pt x="421" y="273"/>
                  </a:lnTo>
                  <a:lnTo>
                    <a:pt x="421" y="274"/>
                  </a:lnTo>
                  <a:lnTo>
                    <a:pt x="423" y="273"/>
                  </a:lnTo>
                  <a:lnTo>
                    <a:pt x="423" y="274"/>
                  </a:lnTo>
                  <a:lnTo>
                    <a:pt x="423" y="273"/>
                  </a:lnTo>
                  <a:lnTo>
                    <a:pt x="423" y="274"/>
                  </a:lnTo>
                  <a:lnTo>
                    <a:pt x="425" y="273"/>
                  </a:lnTo>
                  <a:lnTo>
                    <a:pt x="425" y="274"/>
                  </a:lnTo>
                  <a:lnTo>
                    <a:pt x="425" y="273"/>
                  </a:lnTo>
                  <a:lnTo>
                    <a:pt x="425" y="274"/>
                  </a:lnTo>
                  <a:lnTo>
                    <a:pt x="426" y="274"/>
                  </a:lnTo>
                  <a:lnTo>
                    <a:pt x="428" y="274"/>
                  </a:lnTo>
                  <a:lnTo>
                    <a:pt x="428" y="276"/>
                  </a:lnTo>
                  <a:lnTo>
                    <a:pt x="430" y="278"/>
                  </a:lnTo>
                  <a:lnTo>
                    <a:pt x="430" y="279"/>
                  </a:lnTo>
                  <a:lnTo>
                    <a:pt x="431" y="279"/>
                  </a:lnTo>
                  <a:lnTo>
                    <a:pt x="433" y="279"/>
                  </a:lnTo>
                  <a:lnTo>
                    <a:pt x="431" y="279"/>
                  </a:lnTo>
                  <a:lnTo>
                    <a:pt x="431" y="281"/>
                  </a:lnTo>
                  <a:lnTo>
                    <a:pt x="431" y="283"/>
                  </a:lnTo>
                  <a:lnTo>
                    <a:pt x="433" y="283"/>
                  </a:lnTo>
                  <a:lnTo>
                    <a:pt x="433" y="284"/>
                  </a:lnTo>
                  <a:lnTo>
                    <a:pt x="431" y="284"/>
                  </a:lnTo>
                  <a:lnTo>
                    <a:pt x="431" y="286"/>
                  </a:lnTo>
                  <a:lnTo>
                    <a:pt x="431" y="284"/>
                  </a:lnTo>
                  <a:lnTo>
                    <a:pt x="431" y="286"/>
                  </a:lnTo>
                  <a:lnTo>
                    <a:pt x="430" y="286"/>
                  </a:lnTo>
                  <a:lnTo>
                    <a:pt x="428" y="287"/>
                  </a:lnTo>
                  <a:lnTo>
                    <a:pt x="428" y="289"/>
                  </a:lnTo>
                  <a:lnTo>
                    <a:pt x="426" y="291"/>
                  </a:lnTo>
                  <a:lnTo>
                    <a:pt x="426" y="292"/>
                  </a:lnTo>
                  <a:lnTo>
                    <a:pt x="425" y="292"/>
                  </a:lnTo>
                  <a:lnTo>
                    <a:pt x="425" y="294"/>
                  </a:lnTo>
                  <a:lnTo>
                    <a:pt x="426" y="292"/>
                  </a:lnTo>
                  <a:lnTo>
                    <a:pt x="428" y="291"/>
                  </a:lnTo>
                  <a:lnTo>
                    <a:pt x="430" y="289"/>
                  </a:lnTo>
                  <a:lnTo>
                    <a:pt x="430" y="287"/>
                  </a:lnTo>
                  <a:lnTo>
                    <a:pt x="431" y="287"/>
                  </a:lnTo>
                  <a:lnTo>
                    <a:pt x="433" y="286"/>
                  </a:lnTo>
                  <a:lnTo>
                    <a:pt x="434" y="286"/>
                  </a:lnTo>
                  <a:lnTo>
                    <a:pt x="434" y="284"/>
                  </a:lnTo>
                  <a:lnTo>
                    <a:pt x="436" y="284"/>
                  </a:lnTo>
                  <a:lnTo>
                    <a:pt x="436" y="283"/>
                  </a:lnTo>
                  <a:lnTo>
                    <a:pt x="438" y="283"/>
                  </a:lnTo>
                  <a:lnTo>
                    <a:pt x="439" y="283"/>
                  </a:lnTo>
                  <a:lnTo>
                    <a:pt x="441" y="283"/>
                  </a:lnTo>
                  <a:lnTo>
                    <a:pt x="443" y="283"/>
                  </a:lnTo>
                  <a:lnTo>
                    <a:pt x="443" y="284"/>
                  </a:lnTo>
                  <a:lnTo>
                    <a:pt x="443" y="286"/>
                  </a:lnTo>
                  <a:lnTo>
                    <a:pt x="444" y="286"/>
                  </a:lnTo>
                  <a:lnTo>
                    <a:pt x="446" y="287"/>
                  </a:lnTo>
                  <a:lnTo>
                    <a:pt x="446" y="286"/>
                  </a:lnTo>
                  <a:lnTo>
                    <a:pt x="444" y="286"/>
                  </a:lnTo>
                  <a:lnTo>
                    <a:pt x="444" y="284"/>
                  </a:lnTo>
                  <a:lnTo>
                    <a:pt x="446" y="284"/>
                  </a:lnTo>
                  <a:lnTo>
                    <a:pt x="446" y="286"/>
                  </a:lnTo>
                  <a:lnTo>
                    <a:pt x="447" y="286"/>
                  </a:lnTo>
                  <a:lnTo>
                    <a:pt x="447" y="284"/>
                  </a:lnTo>
                  <a:lnTo>
                    <a:pt x="446" y="284"/>
                  </a:lnTo>
                  <a:lnTo>
                    <a:pt x="447" y="284"/>
                  </a:lnTo>
                  <a:lnTo>
                    <a:pt x="447" y="283"/>
                  </a:lnTo>
                  <a:lnTo>
                    <a:pt x="449" y="283"/>
                  </a:lnTo>
                  <a:lnTo>
                    <a:pt x="449" y="284"/>
                  </a:lnTo>
                  <a:lnTo>
                    <a:pt x="451" y="284"/>
                  </a:lnTo>
                  <a:lnTo>
                    <a:pt x="452" y="283"/>
                  </a:lnTo>
                  <a:lnTo>
                    <a:pt x="452" y="281"/>
                  </a:lnTo>
                  <a:lnTo>
                    <a:pt x="454" y="283"/>
                  </a:lnTo>
                  <a:lnTo>
                    <a:pt x="454" y="281"/>
                  </a:lnTo>
                  <a:lnTo>
                    <a:pt x="456" y="281"/>
                  </a:lnTo>
                  <a:lnTo>
                    <a:pt x="456" y="283"/>
                  </a:lnTo>
                  <a:lnTo>
                    <a:pt x="457" y="284"/>
                  </a:lnTo>
                  <a:lnTo>
                    <a:pt x="457" y="283"/>
                  </a:lnTo>
                  <a:lnTo>
                    <a:pt x="457" y="284"/>
                  </a:lnTo>
                  <a:lnTo>
                    <a:pt x="459" y="283"/>
                  </a:lnTo>
                  <a:lnTo>
                    <a:pt x="460" y="283"/>
                  </a:lnTo>
                  <a:lnTo>
                    <a:pt x="460" y="281"/>
                  </a:lnTo>
                  <a:lnTo>
                    <a:pt x="460" y="279"/>
                  </a:lnTo>
                  <a:lnTo>
                    <a:pt x="462" y="279"/>
                  </a:lnTo>
                  <a:lnTo>
                    <a:pt x="464" y="279"/>
                  </a:lnTo>
                  <a:lnTo>
                    <a:pt x="462" y="279"/>
                  </a:lnTo>
                  <a:lnTo>
                    <a:pt x="464" y="279"/>
                  </a:lnTo>
                  <a:lnTo>
                    <a:pt x="464" y="281"/>
                  </a:lnTo>
                  <a:lnTo>
                    <a:pt x="464" y="283"/>
                  </a:lnTo>
                  <a:lnTo>
                    <a:pt x="464" y="284"/>
                  </a:lnTo>
                  <a:lnTo>
                    <a:pt x="465" y="283"/>
                  </a:lnTo>
                  <a:lnTo>
                    <a:pt x="465" y="284"/>
                  </a:lnTo>
                  <a:lnTo>
                    <a:pt x="467" y="284"/>
                  </a:lnTo>
                  <a:lnTo>
                    <a:pt x="467" y="283"/>
                  </a:lnTo>
                  <a:lnTo>
                    <a:pt x="467" y="284"/>
                  </a:lnTo>
                  <a:lnTo>
                    <a:pt x="469" y="284"/>
                  </a:lnTo>
                  <a:lnTo>
                    <a:pt x="469" y="286"/>
                  </a:lnTo>
                  <a:lnTo>
                    <a:pt x="470" y="286"/>
                  </a:lnTo>
                  <a:lnTo>
                    <a:pt x="472" y="284"/>
                  </a:lnTo>
                  <a:lnTo>
                    <a:pt x="473" y="286"/>
                  </a:lnTo>
                  <a:lnTo>
                    <a:pt x="475" y="286"/>
                  </a:lnTo>
                  <a:lnTo>
                    <a:pt x="477" y="286"/>
                  </a:lnTo>
                  <a:lnTo>
                    <a:pt x="478" y="286"/>
                  </a:lnTo>
                  <a:lnTo>
                    <a:pt x="478" y="287"/>
                  </a:lnTo>
                  <a:lnTo>
                    <a:pt x="480" y="287"/>
                  </a:lnTo>
                  <a:lnTo>
                    <a:pt x="480" y="286"/>
                  </a:lnTo>
                  <a:lnTo>
                    <a:pt x="482" y="286"/>
                  </a:lnTo>
                  <a:lnTo>
                    <a:pt x="483" y="286"/>
                  </a:lnTo>
                  <a:lnTo>
                    <a:pt x="485" y="284"/>
                  </a:lnTo>
                  <a:lnTo>
                    <a:pt x="486" y="283"/>
                  </a:lnTo>
                  <a:lnTo>
                    <a:pt x="488" y="283"/>
                  </a:lnTo>
                  <a:lnTo>
                    <a:pt x="490" y="281"/>
                  </a:lnTo>
                  <a:lnTo>
                    <a:pt x="491" y="281"/>
                  </a:lnTo>
                  <a:lnTo>
                    <a:pt x="491" y="283"/>
                  </a:lnTo>
                  <a:lnTo>
                    <a:pt x="495" y="283"/>
                  </a:lnTo>
                  <a:lnTo>
                    <a:pt x="496" y="283"/>
                  </a:lnTo>
                  <a:lnTo>
                    <a:pt x="498" y="283"/>
                  </a:lnTo>
                  <a:lnTo>
                    <a:pt x="499" y="283"/>
                  </a:lnTo>
                  <a:lnTo>
                    <a:pt x="499" y="284"/>
                  </a:lnTo>
                  <a:lnTo>
                    <a:pt x="498" y="284"/>
                  </a:lnTo>
                  <a:lnTo>
                    <a:pt x="499" y="286"/>
                  </a:lnTo>
                  <a:lnTo>
                    <a:pt x="501" y="286"/>
                  </a:lnTo>
                  <a:lnTo>
                    <a:pt x="503" y="286"/>
                  </a:lnTo>
                  <a:lnTo>
                    <a:pt x="504" y="286"/>
                  </a:lnTo>
                  <a:lnTo>
                    <a:pt x="506" y="286"/>
                  </a:lnTo>
                  <a:lnTo>
                    <a:pt x="506" y="287"/>
                  </a:lnTo>
                  <a:lnTo>
                    <a:pt x="508" y="286"/>
                  </a:lnTo>
                  <a:lnTo>
                    <a:pt x="508" y="287"/>
                  </a:lnTo>
                  <a:lnTo>
                    <a:pt x="509" y="287"/>
                  </a:lnTo>
                  <a:lnTo>
                    <a:pt x="511" y="289"/>
                  </a:lnTo>
                  <a:lnTo>
                    <a:pt x="512" y="287"/>
                  </a:lnTo>
                  <a:lnTo>
                    <a:pt x="512" y="286"/>
                  </a:lnTo>
                  <a:lnTo>
                    <a:pt x="511" y="286"/>
                  </a:lnTo>
                  <a:lnTo>
                    <a:pt x="511" y="284"/>
                  </a:lnTo>
                  <a:lnTo>
                    <a:pt x="509" y="284"/>
                  </a:lnTo>
                  <a:lnTo>
                    <a:pt x="509" y="283"/>
                  </a:lnTo>
                  <a:lnTo>
                    <a:pt x="509" y="281"/>
                  </a:lnTo>
                  <a:lnTo>
                    <a:pt x="509" y="279"/>
                  </a:lnTo>
                  <a:lnTo>
                    <a:pt x="511" y="278"/>
                  </a:lnTo>
                  <a:lnTo>
                    <a:pt x="512" y="278"/>
                  </a:lnTo>
                  <a:lnTo>
                    <a:pt x="514" y="279"/>
                  </a:lnTo>
                  <a:lnTo>
                    <a:pt x="514" y="281"/>
                  </a:lnTo>
                  <a:lnTo>
                    <a:pt x="516" y="283"/>
                  </a:lnTo>
                  <a:lnTo>
                    <a:pt x="517" y="283"/>
                  </a:lnTo>
                  <a:lnTo>
                    <a:pt x="516" y="283"/>
                  </a:lnTo>
                  <a:lnTo>
                    <a:pt x="517" y="283"/>
                  </a:lnTo>
                  <a:lnTo>
                    <a:pt x="519" y="283"/>
                  </a:lnTo>
                  <a:lnTo>
                    <a:pt x="519" y="281"/>
                  </a:lnTo>
                  <a:lnTo>
                    <a:pt x="521" y="283"/>
                  </a:lnTo>
                  <a:lnTo>
                    <a:pt x="522" y="283"/>
                  </a:lnTo>
                  <a:lnTo>
                    <a:pt x="524" y="283"/>
                  </a:lnTo>
                  <a:lnTo>
                    <a:pt x="525" y="283"/>
                  </a:lnTo>
                  <a:lnTo>
                    <a:pt x="525" y="284"/>
                  </a:lnTo>
                  <a:lnTo>
                    <a:pt x="527" y="284"/>
                  </a:lnTo>
                  <a:lnTo>
                    <a:pt x="527" y="283"/>
                  </a:lnTo>
                  <a:lnTo>
                    <a:pt x="527" y="284"/>
                  </a:lnTo>
                  <a:lnTo>
                    <a:pt x="527" y="286"/>
                  </a:lnTo>
                  <a:lnTo>
                    <a:pt x="529" y="286"/>
                  </a:lnTo>
                  <a:lnTo>
                    <a:pt x="530" y="286"/>
                  </a:lnTo>
                  <a:lnTo>
                    <a:pt x="532" y="286"/>
                  </a:lnTo>
                  <a:lnTo>
                    <a:pt x="534" y="286"/>
                  </a:lnTo>
                  <a:lnTo>
                    <a:pt x="535" y="286"/>
                  </a:lnTo>
                  <a:lnTo>
                    <a:pt x="537" y="286"/>
                  </a:lnTo>
                  <a:lnTo>
                    <a:pt x="537" y="287"/>
                  </a:lnTo>
                  <a:lnTo>
                    <a:pt x="535" y="289"/>
                  </a:lnTo>
                  <a:lnTo>
                    <a:pt x="535" y="291"/>
                  </a:lnTo>
                  <a:lnTo>
                    <a:pt x="535" y="292"/>
                  </a:lnTo>
                  <a:lnTo>
                    <a:pt x="532" y="294"/>
                  </a:lnTo>
                  <a:lnTo>
                    <a:pt x="534" y="296"/>
                  </a:lnTo>
                  <a:lnTo>
                    <a:pt x="532" y="297"/>
                  </a:lnTo>
                  <a:lnTo>
                    <a:pt x="530" y="299"/>
                  </a:lnTo>
                  <a:lnTo>
                    <a:pt x="530" y="301"/>
                  </a:lnTo>
                  <a:lnTo>
                    <a:pt x="529" y="301"/>
                  </a:lnTo>
                  <a:lnTo>
                    <a:pt x="527" y="301"/>
                  </a:lnTo>
                  <a:lnTo>
                    <a:pt x="527" y="302"/>
                  </a:lnTo>
                  <a:lnTo>
                    <a:pt x="525" y="302"/>
                  </a:lnTo>
                  <a:lnTo>
                    <a:pt x="525" y="304"/>
                  </a:lnTo>
                  <a:lnTo>
                    <a:pt x="525" y="305"/>
                  </a:lnTo>
                  <a:lnTo>
                    <a:pt x="525" y="307"/>
                  </a:lnTo>
                  <a:lnTo>
                    <a:pt x="525" y="309"/>
                  </a:lnTo>
                  <a:lnTo>
                    <a:pt x="527" y="310"/>
                  </a:lnTo>
                  <a:lnTo>
                    <a:pt x="529" y="310"/>
                  </a:lnTo>
                  <a:lnTo>
                    <a:pt x="530" y="309"/>
                  </a:lnTo>
                  <a:lnTo>
                    <a:pt x="530" y="310"/>
                  </a:lnTo>
                  <a:lnTo>
                    <a:pt x="530" y="312"/>
                  </a:lnTo>
                  <a:lnTo>
                    <a:pt x="530" y="314"/>
                  </a:lnTo>
                  <a:lnTo>
                    <a:pt x="529" y="314"/>
                  </a:lnTo>
                  <a:lnTo>
                    <a:pt x="529" y="315"/>
                  </a:lnTo>
                  <a:lnTo>
                    <a:pt x="527" y="315"/>
                  </a:lnTo>
                  <a:lnTo>
                    <a:pt x="529" y="315"/>
                  </a:lnTo>
                  <a:lnTo>
                    <a:pt x="529" y="317"/>
                  </a:lnTo>
                  <a:lnTo>
                    <a:pt x="527" y="318"/>
                  </a:lnTo>
                  <a:lnTo>
                    <a:pt x="525" y="320"/>
                  </a:lnTo>
                  <a:lnTo>
                    <a:pt x="525" y="322"/>
                  </a:lnTo>
                  <a:lnTo>
                    <a:pt x="524" y="323"/>
                  </a:lnTo>
                  <a:lnTo>
                    <a:pt x="522" y="325"/>
                  </a:lnTo>
                  <a:lnTo>
                    <a:pt x="521" y="327"/>
                  </a:lnTo>
                  <a:lnTo>
                    <a:pt x="519" y="327"/>
                  </a:lnTo>
                  <a:lnTo>
                    <a:pt x="519" y="328"/>
                  </a:lnTo>
                  <a:lnTo>
                    <a:pt x="517" y="328"/>
                  </a:lnTo>
                  <a:lnTo>
                    <a:pt x="516" y="330"/>
                  </a:lnTo>
                  <a:lnTo>
                    <a:pt x="514" y="331"/>
                  </a:lnTo>
                  <a:lnTo>
                    <a:pt x="512" y="331"/>
                  </a:lnTo>
                  <a:lnTo>
                    <a:pt x="511" y="333"/>
                  </a:lnTo>
                  <a:lnTo>
                    <a:pt x="511" y="331"/>
                  </a:lnTo>
                  <a:lnTo>
                    <a:pt x="509" y="331"/>
                  </a:lnTo>
                  <a:lnTo>
                    <a:pt x="509" y="333"/>
                  </a:lnTo>
                  <a:lnTo>
                    <a:pt x="508" y="333"/>
                  </a:lnTo>
                  <a:lnTo>
                    <a:pt x="506" y="333"/>
                  </a:lnTo>
                  <a:lnTo>
                    <a:pt x="504" y="333"/>
                  </a:lnTo>
                  <a:lnTo>
                    <a:pt x="501" y="335"/>
                  </a:lnTo>
                  <a:lnTo>
                    <a:pt x="499" y="335"/>
                  </a:lnTo>
                  <a:lnTo>
                    <a:pt x="499" y="336"/>
                  </a:lnTo>
                  <a:lnTo>
                    <a:pt x="498" y="336"/>
                  </a:lnTo>
                  <a:lnTo>
                    <a:pt x="498" y="338"/>
                  </a:lnTo>
                  <a:lnTo>
                    <a:pt x="496" y="338"/>
                  </a:lnTo>
                  <a:lnTo>
                    <a:pt x="496" y="340"/>
                  </a:lnTo>
                  <a:lnTo>
                    <a:pt x="495" y="340"/>
                  </a:lnTo>
                  <a:lnTo>
                    <a:pt x="495" y="341"/>
                  </a:lnTo>
                  <a:lnTo>
                    <a:pt x="493" y="341"/>
                  </a:lnTo>
                  <a:lnTo>
                    <a:pt x="493" y="343"/>
                  </a:lnTo>
                  <a:lnTo>
                    <a:pt x="491" y="343"/>
                  </a:lnTo>
                  <a:lnTo>
                    <a:pt x="491" y="344"/>
                  </a:lnTo>
                  <a:lnTo>
                    <a:pt x="490" y="344"/>
                  </a:lnTo>
                  <a:lnTo>
                    <a:pt x="490" y="346"/>
                  </a:lnTo>
                  <a:lnTo>
                    <a:pt x="488" y="346"/>
                  </a:lnTo>
                  <a:lnTo>
                    <a:pt x="488" y="348"/>
                  </a:lnTo>
                  <a:lnTo>
                    <a:pt x="486" y="348"/>
                  </a:lnTo>
                  <a:lnTo>
                    <a:pt x="485" y="348"/>
                  </a:lnTo>
                  <a:lnTo>
                    <a:pt x="483" y="349"/>
                  </a:lnTo>
                  <a:lnTo>
                    <a:pt x="482" y="349"/>
                  </a:lnTo>
                  <a:lnTo>
                    <a:pt x="480" y="351"/>
                  </a:lnTo>
                  <a:lnTo>
                    <a:pt x="478" y="351"/>
                  </a:lnTo>
                  <a:lnTo>
                    <a:pt x="478" y="353"/>
                  </a:lnTo>
                  <a:lnTo>
                    <a:pt x="477" y="353"/>
                  </a:lnTo>
                  <a:lnTo>
                    <a:pt x="475" y="353"/>
                  </a:lnTo>
                  <a:lnTo>
                    <a:pt x="475" y="354"/>
                  </a:lnTo>
                  <a:lnTo>
                    <a:pt x="473" y="356"/>
                  </a:lnTo>
                  <a:lnTo>
                    <a:pt x="472" y="356"/>
                  </a:lnTo>
                  <a:lnTo>
                    <a:pt x="470" y="356"/>
                  </a:lnTo>
                  <a:lnTo>
                    <a:pt x="469" y="356"/>
                  </a:lnTo>
                  <a:lnTo>
                    <a:pt x="469" y="357"/>
                  </a:lnTo>
                  <a:lnTo>
                    <a:pt x="467" y="357"/>
                  </a:lnTo>
                  <a:lnTo>
                    <a:pt x="467" y="359"/>
                  </a:lnTo>
                  <a:lnTo>
                    <a:pt x="465" y="357"/>
                  </a:lnTo>
                  <a:lnTo>
                    <a:pt x="464" y="359"/>
                  </a:lnTo>
                  <a:lnTo>
                    <a:pt x="462" y="361"/>
                  </a:lnTo>
                  <a:lnTo>
                    <a:pt x="460" y="361"/>
                  </a:lnTo>
                  <a:lnTo>
                    <a:pt x="459" y="364"/>
                  </a:lnTo>
                  <a:lnTo>
                    <a:pt x="459" y="366"/>
                  </a:lnTo>
                  <a:lnTo>
                    <a:pt x="457" y="366"/>
                  </a:lnTo>
                  <a:lnTo>
                    <a:pt x="456" y="366"/>
                  </a:lnTo>
                  <a:lnTo>
                    <a:pt x="456" y="367"/>
                  </a:lnTo>
                  <a:lnTo>
                    <a:pt x="454" y="367"/>
                  </a:lnTo>
                  <a:lnTo>
                    <a:pt x="452" y="367"/>
                  </a:lnTo>
                  <a:lnTo>
                    <a:pt x="451" y="367"/>
                  </a:lnTo>
                  <a:lnTo>
                    <a:pt x="449" y="367"/>
                  </a:lnTo>
                  <a:lnTo>
                    <a:pt x="447" y="367"/>
                  </a:lnTo>
                  <a:lnTo>
                    <a:pt x="447" y="369"/>
                  </a:lnTo>
                  <a:lnTo>
                    <a:pt x="446" y="370"/>
                  </a:lnTo>
                  <a:lnTo>
                    <a:pt x="446" y="372"/>
                  </a:lnTo>
                  <a:lnTo>
                    <a:pt x="444" y="372"/>
                  </a:lnTo>
                  <a:lnTo>
                    <a:pt x="443" y="372"/>
                  </a:lnTo>
                  <a:lnTo>
                    <a:pt x="444" y="372"/>
                  </a:lnTo>
                  <a:lnTo>
                    <a:pt x="444" y="370"/>
                  </a:lnTo>
                  <a:lnTo>
                    <a:pt x="443" y="370"/>
                  </a:lnTo>
                  <a:lnTo>
                    <a:pt x="441" y="369"/>
                  </a:lnTo>
                  <a:lnTo>
                    <a:pt x="439" y="369"/>
                  </a:lnTo>
                  <a:lnTo>
                    <a:pt x="439" y="370"/>
                  </a:lnTo>
                  <a:lnTo>
                    <a:pt x="439" y="372"/>
                  </a:lnTo>
                  <a:lnTo>
                    <a:pt x="441" y="372"/>
                  </a:lnTo>
                  <a:lnTo>
                    <a:pt x="443" y="372"/>
                  </a:lnTo>
                  <a:lnTo>
                    <a:pt x="443" y="374"/>
                  </a:lnTo>
                  <a:lnTo>
                    <a:pt x="444" y="374"/>
                  </a:lnTo>
                  <a:lnTo>
                    <a:pt x="444" y="375"/>
                  </a:lnTo>
                  <a:lnTo>
                    <a:pt x="444" y="377"/>
                  </a:lnTo>
                  <a:lnTo>
                    <a:pt x="444" y="379"/>
                  </a:lnTo>
                  <a:lnTo>
                    <a:pt x="443" y="379"/>
                  </a:lnTo>
                  <a:lnTo>
                    <a:pt x="443" y="380"/>
                  </a:lnTo>
                  <a:lnTo>
                    <a:pt x="443" y="382"/>
                  </a:lnTo>
                  <a:lnTo>
                    <a:pt x="443" y="383"/>
                  </a:lnTo>
                  <a:lnTo>
                    <a:pt x="441" y="383"/>
                  </a:lnTo>
                  <a:lnTo>
                    <a:pt x="443" y="383"/>
                  </a:lnTo>
                  <a:lnTo>
                    <a:pt x="441" y="383"/>
                  </a:lnTo>
                  <a:lnTo>
                    <a:pt x="441" y="382"/>
                  </a:lnTo>
                  <a:lnTo>
                    <a:pt x="439" y="382"/>
                  </a:lnTo>
                  <a:lnTo>
                    <a:pt x="438" y="382"/>
                  </a:lnTo>
                  <a:lnTo>
                    <a:pt x="436" y="382"/>
                  </a:lnTo>
                  <a:lnTo>
                    <a:pt x="434" y="382"/>
                  </a:lnTo>
                  <a:lnTo>
                    <a:pt x="434" y="383"/>
                  </a:lnTo>
                  <a:lnTo>
                    <a:pt x="434" y="382"/>
                  </a:lnTo>
                  <a:lnTo>
                    <a:pt x="433" y="382"/>
                  </a:lnTo>
                  <a:lnTo>
                    <a:pt x="431" y="382"/>
                  </a:lnTo>
                  <a:lnTo>
                    <a:pt x="430" y="380"/>
                  </a:lnTo>
                  <a:lnTo>
                    <a:pt x="428" y="379"/>
                  </a:lnTo>
                  <a:lnTo>
                    <a:pt x="426" y="379"/>
                  </a:lnTo>
                  <a:lnTo>
                    <a:pt x="423" y="379"/>
                  </a:lnTo>
                  <a:lnTo>
                    <a:pt x="421" y="379"/>
                  </a:lnTo>
                  <a:lnTo>
                    <a:pt x="420" y="377"/>
                  </a:lnTo>
                  <a:lnTo>
                    <a:pt x="418" y="375"/>
                  </a:lnTo>
                  <a:lnTo>
                    <a:pt x="418" y="374"/>
                  </a:lnTo>
                  <a:lnTo>
                    <a:pt x="417" y="370"/>
                  </a:lnTo>
                  <a:lnTo>
                    <a:pt x="415" y="370"/>
                  </a:lnTo>
                  <a:lnTo>
                    <a:pt x="415" y="369"/>
                  </a:lnTo>
                  <a:lnTo>
                    <a:pt x="415" y="370"/>
                  </a:lnTo>
                  <a:lnTo>
                    <a:pt x="415" y="372"/>
                  </a:lnTo>
                  <a:lnTo>
                    <a:pt x="417" y="372"/>
                  </a:lnTo>
                  <a:lnTo>
                    <a:pt x="418" y="372"/>
                  </a:lnTo>
                  <a:lnTo>
                    <a:pt x="418" y="374"/>
                  </a:lnTo>
                  <a:lnTo>
                    <a:pt x="417" y="374"/>
                  </a:lnTo>
                  <a:lnTo>
                    <a:pt x="417" y="375"/>
                  </a:lnTo>
                  <a:lnTo>
                    <a:pt x="417" y="377"/>
                  </a:lnTo>
                  <a:lnTo>
                    <a:pt x="418" y="377"/>
                  </a:lnTo>
                  <a:lnTo>
                    <a:pt x="418" y="379"/>
                  </a:lnTo>
                  <a:lnTo>
                    <a:pt x="420" y="379"/>
                  </a:lnTo>
                  <a:lnTo>
                    <a:pt x="420" y="380"/>
                  </a:lnTo>
                  <a:lnTo>
                    <a:pt x="421" y="380"/>
                  </a:lnTo>
                  <a:lnTo>
                    <a:pt x="423" y="380"/>
                  </a:lnTo>
                  <a:lnTo>
                    <a:pt x="425" y="380"/>
                  </a:lnTo>
                  <a:lnTo>
                    <a:pt x="426" y="380"/>
                  </a:lnTo>
                  <a:lnTo>
                    <a:pt x="428" y="380"/>
                  </a:lnTo>
                  <a:lnTo>
                    <a:pt x="428" y="382"/>
                  </a:lnTo>
                  <a:lnTo>
                    <a:pt x="430" y="382"/>
                  </a:lnTo>
                  <a:lnTo>
                    <a:pt x="430" y="383"/>
                  </a:lnTo>
                  <a:lnTo>
                    <a:pt x="430" y="385"/>
                  </a:lnTo>
                  <a:lnTo>
                    <a:pt x="431" y="385"/>
                  </a:lnTo>
                  <a:lnTo>
                    <a:pt x="433" y="385"/>
                  </a:lnTo>
                  <a:lnTo>
                    <a:pt x="433" y="383"/>
                  </a:lnTo>
                  <a:lnTo>
                    <a:pt x="431" y="383"/>
                  </a:lnTo>
                  <a:lnTo>
                    <a:pt x="433" y="383"/>
                  </a:lnTo>
                  <a:lnTo>
                    <a:pt x="433" y="385"/>
                  </a:lnTo>
                  <a:lnTo>
                    <a:pt x="434" y="385"/>
                  </a:lnTo>
                  <a:lnTo>
                    <a:pt x="436" y="387"/>
                  </a:lnTo>
                  <a:lnTo>
                    <a:pt x="438" y="388"/>
                  </a:lnTo>
                  <a:lnTo>
                    <a:pt x="439" y="388"/>
                  </a:lnTo>
                  <a:lnTo>
                    <a:pt x="441" y="388"/>
                  </a:lnTo>
                  <a:lnTo>
                    <a:pt x="441" y="387"/>
                  </a:lnTo>
                  <a:lnTo>
                    <a:pt x="443" y="387"/>
                  </a:lnTo>
                  <a:lnTo>
                    <a:pt x="446" y="385"/>
                  </a:lnTo>
                  <a:lnTo>
                    <a:pt x="447" y="387"/>
                  </a:lnTo>
                  <a:lnTo>
                    <a:pt x="447" y="388"/>
                  </a:lnTo>
                  <a:lnTo>
                    <a:pt x="449" y="388"/>
                  </a:lnTo>
                  <a:lnTo>
                    <a:pt x="449" y="390"/>
                  </a:lnTo>
                  <a:lnTo>
                    <a:pt x="449" y="388"/>
                  </a:lnTo>
                  <a:lnTo>
                    <a:pt x="447" y="390"/>
                  </a:lnTo>
                  <a:lnTo>
                    <a:pt x="446" y="390"/>
                  </a:lnTo>
                  <a:lnTo>
                    <a:pt x="444" y="390"/>
                  </a:lnTo>
                  <a:lnTo>
                    <a:pt x="446" y="390"/>
                  </a:lnTo>
                  <a:lnTo>
                    <a:pt x="446" y="392"/>
                  </a:lnTo>
                  <a:lnTo>
                    <a:pt x="446" y="390"/>
                  </a:lnTo>
                  <a:lnTo>
                    <a:pt x="447" y="390"/>
                  </a:lnTo>
                  <a:lnTo>
                    <a:pt x="449" y="390"/>
                  </a:lnTo>
                  <a:lnTo>
                    <a:pt x="451" y="390"/>
                  </a:lnTo>
                  <a:lnTo>
                    <a:pt x="452" y="390"/>
                  </a:lnTo>
                  <a:lnTo>
                    <a:pt x="454" y="390"/>
                  </a:lnTo>
                  <a:lnTo>
                    <a:pt x="456" y="390"/>
                  </a:lnTo>
                  <a:lnTo>
                    <a:pt x="456" y="388"/>
                  </a:lnTo>
                  <a:lnTo>
                    <a:pt x="457" y="387"/>
                  </a:lnTo>
                  <a:lnTo>
                    <a:pt x="459" y="385"/>
                  </a:lnTo>
                  <a:lnTo>
                    <a:pt x="460" y="385"/>
                  </a:lnTo>
                  <a:lnTo>
                    <a:pt x="460" y="387"/>
                  </a:lnTo>
                  <a:lnTo>
                    <a:pt x="459" y="387"/>
                  </a:lnTo>
                  <a:lnTo>
                    <a:pt x="459" y="388"/>
                  </a:lnTo>
                  <a:lnTo>
                    <a:pt x="457" y="390"/>
                  </a:lnTo>
                  <a:lnTo>
                    <a:pt x="457" y="392"/>
                  </a:lnTo>
                  <a:lnTo>
                    <a:pt x="456" y="392"/>
                  </a:lnTo>
                  <a:lnTo>
                    <a:pt x="454" y="393"/>
                  </a:lnTo>
                  <a:lnTo>
                    <a:pt x="452" y="395"/>
                  </a:lnTo>
                  <a:lnTo>
                    <a:pt x="451" y="396"/>
                  </a:lnTo>
                  <a:lnTo>
                    <a:pt x="449" y="398"/>
                  </a:lnTo>
                  <a:lnTo>
                    <a:pt x="447" y="398"/>
                  </a:lnTo>
                  <a:lnTo>
                    <a:pt x="447" y="400"/>
                  </a:lnTo>
                  <a:lnTo>
                    <a:pt x="446" y="400"/>
                  </a:lnTo>
                  <a:lnTo>
                    <a:pt x="446" y="401"/>
                  </a:lnTo>
                  <a:lnTo>
                    <a:pt x="444" y="401"/>
                  </a:lnTo>
                  <a:lnTo>
                    <a:pt x="444" y="403"/>
                  </a:lnTo>
                  <a:lnTo>
                    <a:pt x="441" y="406"/>
                  </a:lnTo>
                  <a:lnTo>
                    <a:pt x="439" y="408"/>
                  </a:lnTo>
                  <a:lnTo>
                    <a:pt x="438" y="408"/>
                  </a:lnTo>
                  <a:lnTo>
                    <a:pt x="438" y="406"/>
                  </a:lnTo>
                  <a:lnTo>
                    <a:pt x="436" y="406"/>
                  </a:lnTo>
                  <a:lnTo>
                    <a:pt x="436" y="405"/>
                  </a:lnTo>
                  <a:lnTo>
                    <a:pt x="436" y="403"/>
                  </a:lnTo>
                  <a:lnTo>
                    <a:pt x="438" y="403"/>
                  </a:lnTo>
                  <a:lnTo>
                    <a:pt x="438" y="401"/>
                  </a:lnTo>
                  <a:lnTo>
                    <a:pt x="438" y="400"/>
                  </a:lnTo>
                  <a:lnTo>
                    <a:pt x="438" y="401"/>
                  </a:lnTo>
                  <a:lnTo>
                    <a:pt x="438" y="400"/>
                  </a:lnTo>
                  <a:lnTo>
                    <a:pt x="436" y="400"/>
                  </a:lnTo>
                  <a:lnTo>
                    <a:pt x="436" y="401"/>
                  </a:lnTo>
                  <a:lnTo>
                    <a:pt x="434" y="401"/>
                  </a:lnTo>
                  <a:lnTo>
                    <a:pt x="434" y="400"/>
                  </a:lnTo>
                  <a:lnTo>
                    <a:pt x="433" y="400"/>
                  </a:lnTo>
                  <a:lnTo>
                    <a:pt x="433" y="401"/>
                  </a:lnTo>
                  <a:lnTo>
                    <a:pt x="431" y="401"/>
                  </a:lnTo>
                  <a:lnTo>
                    <a:pt x="430" y="403"/>
                  </a:lnTo>
                  <a:lnTo>
                    <a:pt x="428" y="403"/>
                  </a:lnTo>
                  <a:lnTo>
                    <a:pt x="426" y="405"/>
                  </a:lnTo>
                  <a:lnTo>
                    <a:pt x="425" y="405"/>
                  </a:lnTo>
                  <a:lnTo>
                    <a:pt x="423" y="405"/>
                  </a:lnTo>
                  <a:lnTo>
                    <a:pt x="421" y="405"/>
                  </a:lnTo>
                  <a:lnTo>
                    <a:pt x="421" y="403"/>
                  </a:lnTo>
                  <a:lnTo>
                    <a:pt x="420" y="405"/>
                  </a:lnTo>
                  <a:lnTo>
                    <a:pt x="418" y="405"/>
                  </a:lnTo>
                  <a:lnTo>
                    <a:pt x="417" y="405"/>
                  </a:lnTo>
                  <a:lnTo>
                    <a:pt x="415" y="405"/>
                  </a:lnTo>
                  <a:lnTo>
                    <a:pt x="415" y="406"/>
                  </a:lnTo>
                  <a:lnTo>
                    <a:pt x="413" y="408"/>
                  </a:lnTo>
                  <a:lnTo>
                    <a:pt x="412" y="408"/>
                  </a:lnTo>
                  <a:lnTo>
                    <a:pt x="410" y="409"/>
                  </a:lnTo>
                  <a:lnTo>
                    <a:pt x="408" y="409"/>
                  </a:lnTo>
                  <a:lnTo>
                    <a:pt x="408" y="411"/>
                  </a:lnTo>
                  <a:lnTo>
                    <a:pt x="407" y="411"/>
                  </a:lnTo>
                  <a:lnTo>
                    <a:pt x="404" y="413"/>
                  </a:lnTo>
                  <a:lnTo>
                    <a:pt x="404" y="414"/>
                  </a:lnTo>
                  <a:lnTo>
                    <a:pt x="405" y="414"/>
                  </a:lnTo>
                  <a:lnTo>
                    <a:pt x="404" y="414"/>
                  </a:lnTo>
                  <a:lnTo>
                    <a:pt x="404" y="416"/>
                  </a:lnTo>
                  <a:lnTo>
                    <a:pt x="405" y="416"/>
                  </a:lnTo>
                  <a:lnTo>
                    <a:pt x="407" y="414"/>
                  </a:lnTo>
                  <a:lnTo>
                    <a:pt x="408" y="414"/>
                  </a:lnTo>
                  <a:lnTo>
                    <a:pt x="408" y="413"/>
                  </a:lnTo>
                  <a:lnTo>
                    <a:pt x="410" y="413"/>
                  </a:lnTo>
                  <a:lnTo>
                    <a:pt x="412" y="411"/>
                  </a:lnTo>
                  <a:lnTo>
                    <a:pt x="413" y="409"/>
                  </a:lnTo>
                  <a:lnTo>
                    <a:pt x="415" y="409"/>
                  </a:lnTo>
                  <a:lnTo>
                    <a:pt x="417" y="408"/>
                  </a:lnTo>
                  <a:lnTo>
                    <a:pt x="418" y="406"/>
                  </a:lnTo>
                  <a:lnTo>
                    <a:pt x="421" y="406"/>
                  </a:lnTo>
                  <a:lnTo>
                    <a:pt x="423" y="406"/>
                  </a:lnTo>
                  <a:lnTo>
                    <a:pt x="425" y="406"/>
                  </a:lnTo>
                  <a:lnTo>
                    <a:pt x="425" y="408"/>
                  </a:lnTo>
                  <a:lnTo>
                    <a:pt x="425" y="409"/>
                  </a:lnTo>
                  <a:lnTo>
                    <a:pt x="426" y="409"/>
                  </a:lnTo>
                  <a:lnTo>
                    <a:pt x="428" y="409"/>
                  </a:lnTo>
                  <a:lnTo>
                    <a:pt x="430" y="409"/>
                  </a:lnTo>
                  <a:lnTo>
                    <a:pt x="431" y="409"/>
                  </a:lnTo>
                  <a:lnTo>
                    <a:pt x="433" y="408"/>
                  </a:lnTo>
                  <a:lnTo>
                    <a:pt x="434" y="408"/>
                  </a:lnTo>
                  <a:lnTo>
                    <a:pt x="436" y="408"/>
                  </a:lnTo>
                  <a:lnTo>
                    <a:pt x="438" y="408"/>
                  </a:lnTo>
                  <a:lnTo>
                    <a:pt x="438" y="409"/>
                  </a:lnTo>
                  <a:lnTo>
                    <a:pt x="436" y="411"/>
                  </a:lnTo>
                  <a:lnTo>
                    <a:pt x="434" y="411"/>
                  </a:lnTo>
                  <a:lnTo>
                    <a:pt x="434" y="413"/>
                  </a:lnTo>
                  <a:lnTo>
                    <a:pt x="433" y="413"/>
                  </a:lnTo>
                  <a:lnTo>
                    <a:pt x="431" y="414"/>
                  </a:lnTo>
                  <a:lnTo>
                    <a:pt x="428" y="418"/>
                  </a:lnTo>
                  <a:lnTo>
                    <a:pt x="428" y="419"/>
                  </a:lnTo>
                  <a:lnTo>
                    <a:pt x="426" y="419"/>
                  </a:lnTo>
                  <a:lnTo>
                    <a:pt x="426" y="421"/>
                  </a:lnTo>
                  <a:lnTo>
                    <a:pt x="428" y="422"/>
                  </a:lnTo>
                  <a:lnTo>
                    <a:pt x="426" y="421"/>
                  </a:lnTo>
                  <a:lnTo>
                    <a:pt x="425" y="421"/>
                  </a:lnTo>
                  <a:lnTo>
                    <a:pt x="423" y="421"/>
                  </a:lnTo>
                  <a:lnTo>
                    <a:pt x="421" y="422"/>
                  </a:lnTo>
                  <a:lnTo>
                    <a:pt x="421" y="424"/>
                  </a:lnTo>
                  <a:lnTo>
                    <a:pt x="420" y="424"/>
                  </a:lnTo>
                  <a:lnTo>
                    <a:pt x="418" y="424"/>
                  </a:lnTo>
                  <a:lnTo>
                    <a:pt x="417" y="424"/>
                  </a:lnTo>
                  <a:lnTo>
                    <a:pt x="415" y="422"/>
                  </a:lnTo>
                  <a:lnTo>
                    <a:pt x="415" y="424"/>
                  </a:lnTo>
                  <a:lnTo>
                    <a:pt x="417" y="424"/>
                  </a:lnTo>
                  <a:lnTo>
                    <a:pt x="418" y="424"/>
                  </a:lnTo>
                  <a:lnTo>
                    <a:pt x="418" y="426"/>
                  </a:lnTo>
                  <a:lnTo>
                    <a:pt x="418" y="427"/>
                  </a:lnTo>
                  <a:lnTo>
                    <a:pt x="417" y="427"/>
                  </a:lnTo>
                  <a:lnTo>
                    <a:pt x="417" y="429"/>
                  </a:lnTo>
                  <a:lnTo>
                    <a:pt x="415" y="429"/>
                  </a:lnTo>
                  <a:lnTo>
                    <a:pt x="415" y="431"/>
                  </a:lnTo>
                  <a:lnTo>
                    <a:pt x="413" y="431"/>
                  </a:lnTo>
                  <a:lnTo>
                    <a:pt x="412" y="429"/>
                  </a:lnTo>
                  <a:lnTo>
                    <a:pt x="408" y="429"/>
                  </a:lnTo>
                  <a:lnTo>
                    <a:pt x="407" y="429"/>
                  </a:lnTo>
                  <a:lnTo>
                    <a:pt x="407" y="427"/>
                  </a:lnTo>
                  <a:lnTo>
                    <a:pt x="405" y="427"/>
                  </a:lnTo>
                  <a:lnTo>
                    <a:pt x="404" y="427"/>
                  </a:lnTo>
                  <a:lnTo>
                    <a:pt x="402" y="427"/>
                  </a:lnTo>
                  <a:lnTo>
                    <a:pt x="400" y="427"/>
                  </a:lnTo>
                  <a:lnTo>
                    <a:pt x="399" y="429"/>
                  </a:lnTo>
                  <a:lnTo>
                    <a:pt x="400" y="429"/>
                  </a:lnTo>
                  <a:lnTo>
                    <a:pt x="400" y="427"/>
                  </a:lnTo>
                  <a:lnTo>
                    <a:pt x="402" y="427"/>
                  </a:lnTo>
                  <a:lnTo>
                    <a:pt x="402" y="429"/>
                  </a:lnTo>
                  <a:lnTo>
                    <a:pt x="404" y="431"/>
                  </a:lnTo>
                  <a:lnTo>
                    <a:pt x="405" y="431"/>
                  </a:lnTo>
                  <a:lnTo>
                    <a:pt x="407" y="431"/>
                  </a:lnTo>
                  <a:lnTo>
                    <a:pt x="408" y="432"/>
                  </a:lnTo>
                  <a:lnTo>
                    <a:pt x="410" y="432"/>
                  </a:lnTo>
                  <a:lnTo>
                    <a:pt x="412" y="432"/>
                  </a:lnTo>
                  <a:lnTo>
                    <a:pt x="412" y="431"/>
                  </a:lnTo>
                  <a:lnTo>
                    <a:pt x="413" y="432"/>
                  </a:lnTo>
                  <a:lnTo>
                    <a:pt x="413" y="431"/>
                  </a:lnTo>
                  <a:lnTo>
                    <a:pt x="415" y="431"/>
                  </a:lnTo>
                  <a:lnTo>
                    <a:pt x="417" y="431"/>
                  </a:lnTo>
                  <a:lnTo>
                    <a:pt x="417" y="432"/>
                  </a:lnTo>
                  <a:lnTo>
                    <a:pt x="418" y="432"/>
                  </a:lnTo>
                  <a:lnTo>
                    <a:pt x="418" y="434"/>
                  </a:lnTo>
                  <a:lnTo>
                    <a:pt x="420" y="432"/>
                  </a:lnTo>
                  <a:lnTo>
                    <a:pt x="421" y="432"/>
                  </a:lnTo>
                  <a:lnTo>
                    <a:pt x="421" y="431"/>
                  </a:lnTo>
                  <a:lnTo>
                    <a:pt x="421" y="429"/>
                  </a:lnTo>
                  <a:lnTo>
                    <a:pt x="423" y="431"/>
                  </a:lnTo>
                  <a:lnTo>
                    <a:pt x="425" y="431"/>
                  </a:lnTo>
                  <a:lnTo>
                    <a:pt x="425" y="429"/>
                  </a:lnTo>
                  <a:lnTo>
                    <a:pt x="425" y="427"/>
                  </a:lnTo>
                  <a:lnTo>
                    <a:pt x="426" y="427"/>
                  </a:lnTo>
                  <a:lnTo>
                    <a:pt x="430" y="426"/>
                  </a:lnTo>
                  <a:lnTo>
                    <a:pt x="431" y="426"/>
                  </a:lnTo>
                  <a:lnTo>
                    <a:pt x="431" y="424"/>
                  </a:lnTo>
                  <a:lnTo>
                    <a:pt x="431" y="422"/>
                  </a:lnTo>
                  <a:lnTo>
                    <a:pt x="430" y="421"/>
                  </a:lnTo>
                  <a:lnTo>
                    <a:pt x="431" y="421"/>
                  </a:lnTo>
                  <a:lnTo>
                    <a:pt x="433" y="421"/>
                  </a:lnTo>
                  <a:lnTo>
                    <a:pt x="434" y="421"/>
                  </a:lnTo>
                  <a:lnTo>
                    <a:pt x="434" y="419"/>
                  </a:lnTo>
                  <a:lnTo>
                    <a:pt x="436" y="421"/>
                  </a:lnTo>
                  <a:lnTo>
                    <a:pt x="434" y="419"/>
                  </a:lnTo>
                  <a:lnTo>
                    <a:pt x="438" y="422"/>
                  </a:lnTo>
                  <a:lnTo>
                    <a:pt x="439" y="422"/>
                  </a:lnTo>
                  <a:lnTo>
                    <a:pt x="441" y="422"/>
                  </a:lnTo>
                  <a:lnTo>
                    <a:pt x="443" y="424"/>
                  </a:lnTo>
                  <a:lnTo>
                    <a:pt x="443" y="422"/>
                  </a:lnTo>
                  <a:lnTo>
                    <a:pt x="444" y="422"/>
                  </a:lnTo>
                  <a:lnTo>
                    <a:pt x="444" y="424"/>
                  </a:lnTo>
                  <a:lnTo>
                    <a:pt x="446" y="422"/>
                  </a:lnTo>
                  <a:lnTo>
                    <a:pt x="449" y="422"/>
                  </a:lnTo>
                  <a:lnTo>
                    <a:pt x="451" y="421"/>
                  </a:lnTo>
                  <a:lnTo>
                    <a:pt x="452" y="421"/>
                  </a:lnTo>
                  <a:lnTo>
                    <a:pt x="452" y="419"/>
                  </a:lnTo>
                  <a:lnTo>
                    <a:pt x="451" y="419"/>
                  </a:lnTo>
                  <a:lnTo>
                    <a:pt x="449" y="421"/>
                  </a:lnTo>
                  <a:lnTo>
                    <a:pt x="451" y="419"/>
                  </a:lnTo>
                  <a:lnTo>
                    <a:pt x="452" y="419"/>
                  </a:lnTo>
                  <a:lnTo>
                    <a:pt x="454" y="419"/>
                  </a:lnTo>
                  <a:lnTo>
                    <a:pt x="456" y="419"/>
                  </a:lnTo>
                  <a:lnTo>
                    <a:pt x="457" y="418"/>
                  </a:lnTo>
                  <a:lnTo>
                    <a:pt x="456" y="418"/>
                  </a:lnTo>
                  <a:lnTo>
                    <a:pt x="456" y="419"/>
                  </a:lnTo>
                  <a:lnTo>
                    <a:pt x="459" y="418"/>
                  </a:lnTo>
                  <a:lnTo>
                    <a:pt x="459" y="416"/>
                  </a:lnTo>
                  <a:lnTo>
                    <a:pt x="460" y="416"/>
                  </a:lnTo>
                  <a:lnTo>
                    <a:pt x="459" y="416"/>
                  </a:lnTo>
                  <a:lnTo>
                    <a:pt x="457" y="416"/>
                  </a:lnTo>
                  <a:lnTo>
                    <a:pt x="459" y="416"/>
                  </a:lnTo>
                  <a:lnTo>
                    <a:pt x="462" y="416"/>
                  </a:lnTo>
                  <a:lnTo>
                    <a:pt x="464" y="416"/>
                  </a:lnTo>
                  <a:lnTo>
                    <a:pt x="465" y="416"/>
                  </a:lnTo>
                  <a:lnTo>
                    <a:pt x="465" y="418"/>
                  </a:lnTo>
                  <a:lnTo>
                    <a:pt x="465" y="419"/>
                  </a:lnTo>
                  <a:lnTo>
                    <a:pt x="464" y="419"/>
                  </a:lnTo>
                  <a:lnTo>
                    <a:pt x="465" y="419"/>
                  </a:lnTo>
                  <a:lnTo>
                    <a:pt x="465" y="421"/>
                  </a:lnTo>
                  <a:lnTo>
                    <a:pt x="467" y="421"/>
                  </a:lnTo>
                  <a:lnTo>
                    <a:pt x="469" y="421"/>
                  </a:lnTo>
                  <a:lnTo>
                    <a:pt x="469" y="419"/>
                  </a:lnTo>
                  <a:lnTo>
                    <a:pt x="467" y="419"/>
                  </a:lnTo>
                  <a:lnTo>
                    <a:pt x="467" y="418"/>
                  </a:lnTo>
                  <a:lnTo>
                    <a:pt x="465" y="418"/>
                  </a:lnTo>
                  <a:lnTo>
                    <a:pt x="465" y="416"/>
                  </a:lnTo>
                  <a:lnTo>
                    <a:pt x="469" y="418"/>
                  </a:lnTo>
                  <a:lnTo>
                    <a:pt x="470" y="418"/>
                  </a:lnTo>
                  <a:lnTo>
                    <a:pt x="472" y="418"/>
                  </a:lnTo>
                  <a:lnTo>
                    <a:pt x="473" y="418"/>
                  </a:lnTo>
                  <a:lnTo>
                    <a:pt x="475" y="418"/>
                  </a:lnTo>
                  <a:lnTo>
                    <a:pt x="475" y="416"/>
                  </a:lnTo>
                  <a:lnTo>
                    <a:pt x="477" y="414"/>
                  </a:lnTo>
                  <a:lnTo>
                    <a:pt x="477" y="413"/>
                  </a:lnTo>
                  <a:lnTo>
                    <a:pt x="478" y="413"/>
                  </a:lnTo>
                  <a:lnTo>
                    <a:pt x="480" y="413"/>
                  </a:lnTo>
                  <a:lnTo>
                    <a:pt x="482" y="413"/>
                  </a:lnTo>
                  <a:lnTo>
                    <a:pt x="483" y="413"/>
                  </a:lnTo>
                  <a:lnTo>
                    <a:pt x="485" y="413"/>
                  </a:lnTo>
                  <a:lnTo>
                    <a:pt x="486" y="413"/>
                  </a:lnTo>
                  <a:lnTo>
                    <a:pt x="488" y="411"/>
                  </a:lnTo>
                  <a:lnTo>
                    <a:pt x="490" y="413"/>
                  </a:lnTo>
                  <a:lnTo>
                    <a:pt x="491" y="413"/>
                  </a:lnTo>
                  <a:lnTo>
                    <a:pt x="493" y="413"/>
                  </a:lnTo>
                  <a:lnTo>
                    <a:pt x="493" y="414"/>
                  </a:lnTo>
                  <a:lnTo>
                    <a:pt x="495" y="416"/>
                  </a:lnTo>
                  <a:lnTo>
                    <a:pt x="501" y="419"/>
                  </a:lnTo>
                  <a:lnTo>
                    <a:pt x="503" y="421"/>
                  </a:lnTo>
                  <a:lnTo>
                    <a:pt x="504" y="422"/>
                  </a:lnTo>
                  <a:lnTo>
                    <a:pt x="506" y="422"/>
                  </a:lnTo>
                  <a:lnTo>
                    <a:pt x="508" y="424"/>
                  </a:lnTo>
                  <a:lnTo>
                    <a:pt x="509" y="424"/>
                  </a:lnTo>
                  <a:lnTo>
                    <a:pt x="511" y="424"/>
                  </a:lnTo>
                  <a:lnTo>
                    <a:pt x="511" y="426"/>
                  </a:lnTo>
                  <a:lnTo>
                    <a:pt x="511" y="424"/>
                  </a:lnTo>
                  <a:lnTo>
                    <a:pt x="512" y="424"/>
                  </a:lnTo>
                  <a:lnTo>
                    <a:pt x="514" y="424"/>
                  </a:lnTo>
                  <a:lnTo>
                    <a:pt x="516" y="424"/>
                  </a:lnTo>
                  <a:lnTo>
                    <a:pt x="517" y="422"/>
                  </a:lnTo>
                  <a:lnTo>
                    <a:pt x="519" y="422"/>
                  </a:lnTo>
                  <a:lnTo>
                    <a:pt x="521" y="422"/>
                  </a:lnTo>
                  <a:lnTo>
                    <a:pt x="521" y="421"/>
                  </a:lnTo>
                  <a:lnTo>
                    <a:pt x="522" y="421"/>
                  </a:lnTo>
                  <a:lnTo>
                    <a:pt x="524" y="421"/>
                  </a:lnTo>
                  <a:lnTo>
                    <a:pt x="525" y="421"/>
                  </a:lnTo>
                  <a:lnTo>
                    <a:pt x="525" y="422"/>
                  </a:lnTo>
                  <a:lnTo>
                    <a:pt x="525" y="424"/>
                  </a:lnTo>
                  <a:lnTo>
                    <a:pt x="527" y="424"/>
                  </a:lnTo>
                  <a:lnTo>
                    <a:pt x="529" y="424"/>
                  </a:lnTo>
                  <a:lnTo>
                    <a:pt x="529" y="422"/>
                  </a:lnTo>
                  <a:lnTo>
                    <a:pt x="530" y="422"/>
                  </a:lnTo>
                  <a:lnTo>
                    <a:pt x="530" y="424"/>
                  </a:lnTo>
                  <a:lnTo>
                    <a:pt x="532" y="424"/>
                  </a:lnTo>
                  <a:lnTo>
                    <a:pt x="532" y="426"/>
                  </a:lnTo>
                  <a:lnTo>
                    <a:pt x="532" y="427"/>
                  </a:lnTo>
                  <a:lnTo>
                    <a:pt x="534" y="426"/>
                  </a:lnTo>
                  <a:lnTo>
                    <a:pt x="535" y="426"/>
                  </a:lnTo>
                  <a:lnTo>
                    <a:pt x="537" y="426"/>
                  </a:lnTo>
                  <a:lnTo>
                    <a:pt x="537" y="427"/>
                  </a:lnTo>
                  <a:lnTo>
                    <a:pt x="539" y="426"/>
                  </a:lnTo>
                  <a:lnTo>
                    <a:pt x="539" y="427"/>
                  </a:lnTo>
                  <a:lnTo>
                    <a:pt x="540" y="427"/>
                  </a:lnTo>
                  <a:lnTo>
                    <a:pt x="542" y="427"/>
                  </a:lnTo>
                  <a:lnTo>
                    <a:pt x="542" y="429"/>
                  </a:lnTo>
                  <a:lnTo>
                    <a:pt x="543" y="429"/>
                  </a:lnTo>
                  <a:lnTo>
                    <a:pt x="545" y="429"/>
                  </a:lnTo>
                  <a:lnTo>
                    <a:pt x="547" y="431"/>
                  </a:lnTo>
                  <a:lnTo>
                    <a:pt x="548" y="431"/>
                  </a:lnTo>
                  <a:lnTo>
                    <a:pt x="548" y="432"/>
                  </a:lnTo>
                  <a:lnTo>
                    <a:pt x="550" y="432"/>
                  </a:lnTo>
                  <a:lnTo>
                    <a:pt x="550" y="431"/>
                  </a:lnTo>
                  <a:lnTo>
                    <a:pt x="552" y="431"/>
                  </a:lnTo>
                  <a:lnTo>
                    <a:pt x="553" y="431"/>
                  </a:lnTo>
                  <a:lnTo>
                    <a:pt x="553" y="432"/>
                  </a:lnTo>
                  <a:lnTo>
                    <a:pt x="553" y="431"/>
                  </a:lnTo>
                  <a:lnTo>
                    <a:pt x="553" y="432"/>
                  </a:lnTo>
                  <a:lnTo>
                    <a:pt x="555" y="432"/>
                  </a:lnTo>
                  <a:lnTo>
                    <a:pt x="556" y="432"/>
                  </a:lnTo>
                  <a:lnTo>
                    <a:pt x="558" y="432"/>
                  </a:lnTo>
                  <a:lnTo>
                    <a:pt x="560" y="432"/>
                  </a:lnTo>
                  <a:lnTo>
                    <a:pt x="561" y="432"/>
                  </a:lnTo>
                  <a:lnTo>
                    <a:pt x="561" y="434"/>
                  </a:lnTo>
                  <a:lnTo>
                    <a:pt x="563" y="434"/>
                  </a:lnTo>
                  <a:lnTo>
                    <a:pt x="563" y="432"/>
                  </a:lnTo>
                  <a:lnTo>
                    <a:pt x="565" y="432"/>
                  </a:lnTo>
                  <a:lnTo>
                    <a:pt x="565" y="431"/>
                  </a:lnTo>
                  <a:lnTo>
                    <a:pt x="566" y="431"/>
                  </a:lnTo>
                  <a:lnTo>
                    <a:pt x="568" y="431"/>
                  </a:lnTo>
                  <a:lnTo>
                    <a:pt x="566" y="431"/>
                  </a:lnTo>
                  <a:lnTo>
                    <a:pt x="568" y="432"/>
                  </a:lnTo>
                  <a:lnTo>
                    <a:pt x="569" y="432"/>
                  </a:lnTo>
                  <a:lnTo>
                    <a:pt x="569" y="434"/>
                  </a:lnTo>
                  <a:lnTo>
                    <a:pt x="569" y="432"/>
                  </a:lnTo>
                  <a:lnTo>
                    <a:pt x="571" y="434"/>
                  </a:lnTo>
                  <a:lnTo>
                    <a:pt x="573" y="434"/>
                  </a:lnTo>
                  <a:lnTo>
                    <a:pt x="574" y="436"/>
                  </a:lnTo>
                  <a:lnTo>
                    <a:pt x="576" y="436"/>
                  </a:lnTo>
                  <a:lnTo>
                    <a:pt x="576" y="434"/>
                  </a:lnTo>
                  <a:lnTo>
                    <a:pt x="578" y="434"/>
                  </a:lnTo>
                  <a:lnTo>
                    <a:pt x="579" y="432"/>
                  </a:lnTo>
                  <a:lnTo>
                    <a:pt x="581" y="432"/>
                  </a:lnTo>
                  <a:lnTo>
                    <a:pt x="584" y="432"/>
                  </a:lnTo>
                  <a:lnTo>
                    <a:pt x="584" y="434"/>
                  </a:lnTo>
                  <a:lnTo>
                    <a:pt x="586" y="434"/>
                  </a:lnTo>
                  <a:lnTo>
                    <a:pt x="587" y="434"/>
                  </a:lnTo>
                  <a:lnTo>
                    <a:pt x="589" y="434"/>
                  </a:lnTo>
                  <a:lnTo>
                    <a:pt x="589" y="436"/>
                  </a:lnTo>
                  <a:lnTo>
                    <a:pt x="589" y="437"/>
                  </a:lnTo>
                  <a:lnTo>
                    <a:pt x="591" y="437"/>
                  </a:lnTo>
                  <a:lnTo>
                    <a:pt x="592" y="437"/>
                  </a:lnTo>
                  <a:lnTo>
                    <a:pt x="594" y="437"/>
                  </a:lnTo>
                  <a:lnTo>
                    <a:pt x="595" y="439"/>
                  </a:lnTo>
                  <a:lnTo>
                    <a:pt x="595" y="440"/>
                  </a:lnTo>
                  <a:lnTo>
                    <a:pt x="595" y="442"/>
                  </a:lnTo>
                  <a:lnTo>
                    <a:pt x="597" y="444"/>
                  </a:lnTo>
                  <a:lnTo>
                    <a:pt x="597" y="445"/>
                  </a:lnTo>
                  <a:lnTo>
                    <a:pt x="597" y="447"/>
                  </a:lnTo>
                  <a:lnTo>
                    <a:pt x="599" y="447"/>
                  </a:lnTo>
                  <a:lnTo>
                    <a:pt x="600" y="449"/>
                  </a:lnTo>
                  <a:lnTo>
                    <a:pt x="600" y="450"/>
                  </a:lnTo>
                  <a:lnTo>
                    <a:pt x="599" y="453"/>
                  </a:lnTo>
                  <a:lnTo>
                    <a:pt x="599" y="455"/>
                  </a:lnTo>
                  <a:lnTo>
                    <a:pt x="600" y="455"/>
                  </a:lnTo>
                  <a:lnTo>
                    <a:pt x="600" y="457"/>
                  </a:lnTo>
                  <a:lnTo>
                    <a:pt x="600" y="458"/>
                  </a:lnTo>
                  <a:lnTo>
                    <a:pt x="600" y="460"/>
                  </a:lnTo>
                  <a:lnTo>
                    <a:pt x="600" y="462"/>
                  </a:lnTo>
                  <a:lnTo>
                    <a:pt x="600" y="463"/>
                  </a:lnTo>
                  <a:lnTo>
                    <a:pt x="602" y="463"/>
                  </a:lnTo>
                  <a:lnTo>
                    <a:pt x="602" y="465"/>
                  </a:lnTo>
                  <a:lnTo>
                    <a:pt x="600" y="465"/>
                  </a:lnTo>
                  <a:lnTo>
                    <a:pt x="600" y="466"/>
                  </a:lnTo>
                  <a:lnTo>
                    <a:pt x="600" y="465"/>
                  </a:lnTo>
                  <a:lnTo>
                    <a:pt x="600" y="466"/>
                  </a:lnTo>
                  <a:lnTo>
                    <a:pt x="599" y="466"/>
                  </a:lnTo>
                  <a:lnTo>
                    <a:pt x="600" y="466"/>
                  </a:lnTo>
                  <a:lnTo>
                    <a:pt x="600" y="468"/>
                  </a:lnTo>
                  <a:lnTo>
                    <a:pt x="600" y="470"/>
                  </a:lnTo>
                  <a:lnTo>
                    <a:pt x="600" y="471"/>
                  </a:lnTo>
                  <a:lnTo>
                    <a:pt x="599" y="471"/>
                  </a:lnTo>
                  <a:lnTo>
                    <a:pt x="599" y="473"/>
                  </a:lnTo>
                  <a:lnTo>
                    <a:pt x="597" y="473"/>
                  </a:lnTo>
                  <a:lnTo>
                    <a:pt x="597" y="475"/>
                  </a:lnTo>
                  <a:lnTo>
                    <a:pt x="595" y="475"/>
                  </a:lnTo>
                  <a:lnTo>
                    <a:pt x="595" y="476"/>
                  </a:lnTo>
                  <a:lnTo>
                    <a:pt x="594" y="476"/>
                  </a:lnTo>
                  <a:lnTo>
                    <a:pt x="592" y="476"/>
                  </a:lnTo>
                  <a:lnTo>
                    <a:pt x="592" y="478"/>
                  </a:lnTo>
                  <a:lnTo>
                    <a:pt x="592" y="479"/>
                  </a:lnTo>
                  <a:lnTo>
                    <a:pt x="591" y="481"/>
                  </a:lnTo>
                  <a:lnTo>
                    <a:pt x="589" y="481"/>
                  </a:lnTo>
                  <a:lnTo>
                    <a:pt x="589" y="483"/>
                  </a:lnTo>
                  <a:lnTo>
                    <a:pt x="587" y="483"/>
                  </a:lnTo>
                  <a:lnTo>
                    <a:pt x="586" y="484"/>
                  </a:lnTo>
                  <a:lnTo>
                    <a:pt x="584" y="486"/>
                  </a:lnTo>
                  <a:lnTo>
                    <a:pt x="582" y="488"/>
                  </a:lnTo>
                  <a:lnTo>
                    <a:pt x="581" y="489"/>
                  </a:lnTo>
                  <a:lnTo>
                    <a:pt x="581" y="488"/>
                  </a:lnTo>
                  <a:lnTo>
                    <a:pt x="581" y="486"/>
                  </a:lnTo>
                  <a:lnTo>
                    <a:pt x="581" y="484"/>
                  </a:lnTo>
                  <a:lnTo>
                    <a:pt x="579" y="483"/>
                  </a:lnTo>
                  <a:lnTo>
                    <a:pt x="581" y="484"/>
                  </a:lnTo>
                  <a:lnTo>
                    <a:pt x="579" y="484"/>
                  </a:lnTo>
                  <a:lnTo>
                    <a:pt x="581" y="486"/>
                  </a:lnTo>
                  <a:lnTo>
                    <a:pt x="579" y="486"/>
                  </a:lnTo>
                  <a:lnTo>
                    <a:pt x="581" y="488"/>
                  </a:lnTo>
                  <a:lnTo>
                    <a:pt x="579" y="488"/>
                  </a:lnTo>
                  <a:lnTo>
                    <a:pt x="581" y="488"/>
                  </a:lnTo>
                  <a:lnTo>
                    <a:pt x="579" y="489"/>
                  </a:lnTo>
                  <a:lnTo>
                    <a:pt x="581" y="489"/>
                  </a:lnTo>
                  <a:lnTo>
                    <a:pt x="579" y="491"/>
                  </a:lnTo>
                  <a:lnTo>
                    <a:pt x="574" y="497"/>
                  </a:lnTo>
                  <a:lnTo>
                    <a:pt x="574" y="499"/>
                  </a:lnTo>
                  <a:lnTo>
                    <a:pt x="573" y="501"/>
                  </a:lnTo>
                  <a:lnTo>
                    <a:pt x="573" y="502"/>
                  </a:lnTo>
                  <a:lnTo>
                    <a:pt x="571" y="504"/>
                  </a:lnTo>
                  <a:lnTo>
                    <a:pt x="571" y="505"/>
                  </a:lnTo>
                  <a:lnTo>
                    <a:pt x="569" y="509"/>
                  </a:lnTo>
                  <a:lnTo>
                    <a:pt x="569" y="510"/>
                  </a:lnTo>
                  <a:lnTo>
                    <a:pt x="569" y="512"/>
                  </a:lnTo>
                  <a:lnTo>
                    <a:pt x="571" y="512"/>
                  </a:lnTo>
                  <a:lnTo>
                    <a:pt x="571" y="514"/>
                  </a:lnTo>
                  <a:lnTo>
                    <a:pt x="569" y="517"/>
                  </a:lnTo>
                  <a:lnTo>
                    <a:pt x="569" y="518"/>
                  </a:lnTo>
                  <a:lnTo>
                    <a:pt x="568" y="518"/>
                  </a:lnTo>
                  <a:lnTo>
                    <a:pt x="568" y="520"/>
                  </a:lnTo>
                  <a:lnTo>
                    <a:pt x="566" y="520"/>
                  </a:lnTo>
                  <a:lnTo>
                    <a:pt x="566" y="522"/>
                  </a:lnTo>
                  <a:lnTo>
                    <a:pt x="565" y="523"/>
                  </a:lnTo>
                  <a:lnTo>
                    <a:pt x="563" y="525"/>
                  </a:lnTo>
                  <a:lnTo>
                    <a:pt x="565" y="525"/>
                  </a:lnTo>
                  <a:lnTo>
                    <a:pt x="563" y="525"/>
                  </a:lnTo>
                  <a:lnTo>
                    <a:pt x="563" y="527"/>
                  </a:lnTo>
                  <a:lnTo>
                    <a:pt x="561" y="527"/>
                  </a:lnTo>
                  <a:lnTo>
                    <a:pt x="561" y="528"/>
                  </a:lnTo>
                  <a:lnTo>
                    <a:pt x="560" y="528"/>
                  </a:lnTo>
                  <a:lnTo>
                    <a:pt x="560" y="530"/>
                  </a:lnTo>
                  <a:lnTo>
                    <a:pt x="558" y="531"/>
                  </a:lnTo>
                  <a:lnTo>
                    <a:pt x="558" y="533"/>
                  </a:lnTo>
                  <a:lnTo>
                    <a:pt x="556" y="533"/>
                  </a:lnTo>
                  <a:lnTo>
                    <a:pt x="556" y="535"/>
                  </a:lnTo>
                  <a:lnTo>
                    <a:pt x="555" y="535"/>
                  </a:lnTo>
                  <a:lnTo>
                    <a:pt x="555" y="536"/>
                  </a:lnTo>
                  <a:lnTo>
                    <a:pt x="556" y="536"/>
                  </a:lnTo>
                  <a:lnTo>
                    <a:pt x="555" y="536"/>
                  </a:lnTo>
                  <a:lnTo>
                    <a:pt x="556" y="536"/>
                  </a:lnTo>
                  <a:lnTo>
                    <a:pt x="556" y="538"/>
                  </a:lnTo>
                  <a:lnTo>
                    <a:pt x="555" y="538"/>
                  </a:lnTo>
                  <a:lnTo>
                    <a:pt x="555" y="540"/>
                  </a:lnTo>
                  <a:lnTo>
                    <a:pt x="555" y="541"/>
                  </a:lnTo>
                  <a:lnTo>
                    <a:pt x="555" y="543"/>
                  </a:lnTo>
                  <a:lnTo>
                    <a:pt x="553" y="543"/>
                  </a:lnTo>
                  <a:lnTo>
                    <a:pt x="553" y="544"/>
                  </a:lnTo>
                  <a:lnTo>
                    <a:pt x="553" y="546"/>
                  </a:lnTo>
                  <a:lnTo>
                    <a:pt x="552" y="546"/>
                  </a:lnTo>
                  <a:lnTo>
                    <a:pt x="553" y="546"/>
                  </a:lnTo>
                  <a:lnTo>
                    <a:pt x="552" y="548"/>
                  </a:lnTo>
                  <a:lnTo>
                    <a:pt x="550" y="549"/>
                  </a:lnTo>
                  <a:lnTo>
                    <a:pt x="548" y="549"/>
                  </a:lnTo>
                  <a:lnTo>
                    <a:pt x="548" y="551"/>
                  </a:lnTo>
                  <a:lnTo>
                    <a:pt x="547" y="551"/>
                  </a:lnTo>
                  <a:lnTo>
                    <a:pt x="547" y="553"/>
                  </a:lnTo>
                  <a:lnTo>
                    <a:pt x="545" y="554"/>
                  </a:lnTo>
                  <a:lnTo>
                    <a:pt x="543" y="554"/>
                  </a:lnTo>
                  <a:lnTo>
                    <a:pt x="543" y="556"/>
                  </a:lnTo>
                  <a:lnTo>
                    <a:pt x="542" y="557"/>
                  </a:lnTo>
                  <a:lnTo>
                    <a:pt x="540" y="557"/>
                  </a:lnTo>
                  <a:lnTo>
                    <a:pt x="539" y="557"/>
                  </a:lnTo>
                  <a:lnTo>
                    <a:pt x="539" y="559"/>
                  </a:lnTo>
                  <a:lnTo>
                    <a:pt x="537" y="559"/>
                  </a:lnTo>
                  <a:lnTo>
                    <a:pt x="535" y="559"/>
                  </a:lnTo>
                  <a:lnTo>
                    <a:pt x="534" y="561"/>
                  </a:lnTo>
                  <a:lnTo>
                    <a:pt x="532" y="562"/>
                  </a:lnTo>
                  <a:lnTo>
                    <a:pt x="532" y="564"/>
                  </a:lnTo>
                  <a:lnTo>
                    <a:pt x="530" y="566"/>
                  </a:lnTo>
                  <a:lnTo>
                    <a:pt x="530" y="567"/>
                  </a:lnTo>
                  <a:lnTo>
                    <a:pt x="530" y="569"/>
                  </a:lnTo>
                  <a:lnTo>
                    <a:pt x="529" y="569"/>
                  </a:lnTo>
                  <a:lnTo>
                    <a:pt x="527" y="567"/>
                  </a:lnTo>
                  <a:lnTo>
                    <a:pt x="529" y="567"/>
                  </a:lnTo>
                  <a:lnTo>
                    <a:pt x="527" y="566"/>
                  </a:lnTo>
                  <a:lnTo>
                    <a:pt x="529" y="566"/>
                  </a:lnTo>
                  <a:lnTo>
                    <a:pt x="527" y="566"/>
                  </a:lnTo>
                  <a:lnTo>
                    <a:pt x="525" y="566"/>
                  </a:lnTo>
                  <a:lnTo>
                    <a:pt x="524" y="567"/>
                  </a:lnTo>
                  <a:lnTo>
                    <a:pt x="524" y="569"/>
                  </a:lnTo>
                  <a:lnTo>
                    <a:pt x="525" y="569"/>
                  </a:lnTo>
                  <a:lnTo>
                    <a:pt x="527" y="569"/>
                  </a:lnTo>
                  <a:lnTo>
                    <a:pt x="529" y="569"/>
                  </a:lnTo>
                  <a:lnTo>
                    <a:pt x="530" y="569"/>
                  </a:lnTo>
                  <a:lnTo>
                    <a:pt x="530" y="570"/>
                  </a:lnTo>
                  <a:lnTo>
                    <a:pt x="529" y="572"/>
                  </a:lnTo>
                  <a:lnTo>
                    <a:pt x="527" y="572"/>
                  </a:lnTo>
                  <a:lnTo>
                    <a:pt x="527" y="574"/>
                  </a:lnTo>
                  <a:lnTo>
                    <a:pt x="527" y="572"/>
                  </a:lnTo>
                  <a:lnTo>
                    <a:pt x="525" y="574"/>
                  </a:lnTo>
                  <a:lnTo>
                    <a:pt x="524" y="574"/>
                  </a:lnTo>
                  <a:lnTo>
                    <a:pt x="524" y="575"/>
                  </a:lnTo>
                  <a:lnTo>
                    <a:pt x="524" y="579"/>
                  </a:lnTo>
                  <a:lnTo>
                    <a:pt x="525" y="579"/>
                  </a:lnTo>
                  <a:lnTo>
                    <a:pt x="525" y="580"/>
                  </a:lnTo>
                  <a:lnTo>
                    <a:pt x="524" y="580"/>
                  </a:lnTo>
                  <a:lnTo>
                    <a:pt x="524" y="582"/>
                  </a:lnTo>
                  <a:lnTo>
                    <a:pt x="522" y="582"/>
                  </a:lnTo>
                  <a:lnTo>
                    <a:pt x="522" y="584"/>
                  </a:lnTo>
                  <a:lnTo>
                    <a:pt x="521" y="584"/>
                  </a:lnTo>
                  <a:lnTo>
                    <a:pt x="521" y="585"/>
                  </a:lnTo>
                  <a:lnTo>
                    <a:pt x="519" y="585"/>
                  </a:lnTo>
                  <a:lnTo>
                    <a:pt x="519" y="587"/>
                  </a:lnTo>
                  <a:lnTo>
                    <a:pt x="517" y="587"/>
                  </a:lnTo>
                  <a:lnTo>
                    <a:pt x="517" y="588"/>
                  </a:lnTo>
                  <a:lnTo>
                    <a:pt x="516" y="587"/>
                  </a:lnTo>
                  <a:lnTo>
                    <a:pt x="516" y="588"/>
                  </a:lnTo>
                  <a:lnTo>
                    <a:pt x="514" y="588"/>
                  </a:lnTo>
                  <a:lnTo>
                    <a:pt x="512" y="588"/>
                  </a:lnTo>
                  <a:lnTo>
                    <a:pt x="511" y="590"/>
                  </a:lnTo>
                  <a:lnTo>
                    <a:pt x="511" y="592"/>
                  </a:lnTo>
                  <a:lnTo>
                    <a:pt x="509" y="592"/>
                  </a:lnTo>
                  <a:lnTo>
                    <a:pt x="508" y="592"/>
                  </a:lnTo>
                  <a:lnTo>
                    <a:pt x="508" y="593"/>
                  </a:lnTo>
                  <a:lnTo>
                    <a:pt x="506" y="593"/>
                  </a:lnTo>
                  <a:lnTo>
                    <a:pt x="504" y="595"/>
                  </a:lnTo>
                  <a:lnTo>
                    <a:pt x="503" y="597"/>
                  </a:lnTo>
                  <a:lnTo>
                    <a:pt x="501" y="598"/>
                  </a:lnTo>
                  <a:lnTo>
                    <a:pt x="499" y="598"/>
                  </a:lnTo>
                  <a:lnTo>
                    <a:pt x="498" y="597"/>
                  </a:lnTo>
                  <a:lnTo>
                    <a:pt x="496" y="595"/>
                  </a:lnTo>
                  <a:lnTo>
                    <a:pt x="495" y="595"/>
                  </a:lnTo>
                  <a:lnTo>
                    <a:pt x="495" y="597"/>
                  </a:lnTo>
                  <a:lnTo>
                    <a:pt x="495" y="595"/>
                  </a:lnTo>
                  <a:lnTo>
                    <a:pt x="493" y="597"/>
                  </a:lnTo>
                  <a:lnTo>
                    <a:pt x="491" y="597"/>
                  </a:lnTo>
                  <a:lnTo>
                    <a:pt x="490" y="597"/>
                  </a:lnTo>
                  <a:lnTo>
                    <a:pt x="488" y="595"/>
                  </a:lnTo>
                  <a:lnTo>
                    <a:pt x="486" y="595"/>
                  </a:lnTo>
                  <a:lnTo>
                    <a:pt x="486" y="597"/>
                  </a:lnTo>
                  <a:lnTo>
                    <a:pt x="486" y="595"/>
                  </a:lnTo>
                  <a:lnTo>
                    <a:pt x="485" y="597"/>
                  </a:lnTo>
                  <a:lnTo>
                    <a:pt x="482" y="597"/>
                  </a:lnTo>
                  <a:lnTo>
                    <a:pt x="477" y="597"/>
                  </a:lnTo>
                  <a:lnTo>
                    <a:pt x="477" y="595"/>
                  </a:lnTo>
                  <a:lnTo>
                    <a:pt x="475" y="595"/>
                  </a:lnTo>
                  <a:lnTo>
                    <a:pt x="475" y="597"/>
                  </a:lnTo>
                  <a:lnTo>
                    <a:pt x="473" y="595"/>
                  </a:lnTo>
                  <a:lnTo>
                    <a:pt x="473" y="597"/>
                  </a:lnTo>
                  <a:lnTo>
                    <a:pt x="472" y="597"/>
                  </a:lnTo>
                  <a:lnTo>
                    <a:pt x="470" y="598"/>
                  </a:lnTo>
                  <a:lnTo>
                    <a:pt x="469" y="598"/>
                  </a:lnTo>
                  <a:lnTo>
                    <a:pt x="469" y="600"/>
                  </a:lnTo>
                  <a:lnTo>
                    <a:pt x="467" y="600"/>
                  </a:lnTo>
                  <a:lnTo>
                    <a:pt x="467" y="601"/>
                  </a:lnTo>
                  <a:lnTo>
                    <a:pt x="465" y="601"/>
                  </a:lnTo>
                  <a:lnTo>
                    <a:pt x="465" y="603"/>
                  </a:lnTo>
                  <a:lnTo>
                    <a:pt x="464" y="603"/>
                  </a:lnTo>
                  <a:lnTo>
                    <a:pt x="462" y="605"/>
                  </a:lnTo>
                  <a:lnTo>
                    <a:pt x="460" y="605"/>
                  </a:lnTo>
                  <a:lnTo>
                    <a:pt x="459" y="605"/>
                  </a:lnTo>
                  <a:lnTo>
                    <a:pt x="457" y="605"/>
                  </a:lnTo>
                  <a:lnTo>
                    <a:pt x="456" y="606"/>
                  </a:lnTo>
                  <a:lnTo>
                    <a:pt x="454" y="606"/>
                  </a:lnTo>
                  <a:lnTo>
                    <a:pt x="454" y="605"/>
                  </a:lnTo>
                  <a:lnTo>
                    <a:pt x="452" y="605"/>
                  </a:lnTo>
                  <a:lnTo>
                    <a:pt x="452" y="603"/>
                  </a:lnTo>
                  <a:lnTo>
                    <a:pt x="451" y="603"/>
                  </a:lnTo>
                  <a:lnTo>
                    <a:pt x="451" y="601"/>
                  </a:lnTo>
                  <a:lnTo>
                    <a:pt x="449" y="601"/>
                  </a:lnTo>
                  <a:lnTo>
                    <a:pt x="451" y="603"/>
                  </a:lnTo>
                  <a:lnTo>
                    <a:pt x="452" y="605"/>
                  </a:lnTo>
                  <a:lnTo>
                    <a:pt x="454" y="606"/>
                  </a:lnTo>
                  <a:lnTo>
                    <a:pt x="456" y="606"/>
                  </a:lnTo>
                  <a:lnTo>
                    <a:pt x="457" y="606"/>
                  </a:lnTo>
                  <a:lnTo>
                    <a:pt x="459" y="606"/>
                  </a:lnTo>
                  <a:lnTo>
                    <a:pt x="460" y="606"/>
                  </a:lnTo>
                  <a:lnTo>
                    <a:pt x="462" y="606"/>
                  </a:lnTo>
                  <a:lnTo>
                    <a:pt x="464" y="605"/>
                  </a:lnTo>
                  <a:lnTo>
                    <a:pt x="467" y="605"/>
                  </a:lnTo>
                  <a:lnTo>
                    <a:pt x="469" y="603"/>
                  </a:lnTo>
                  <a:lnTo>
                    <a:pt x="472" y="603"/>
                  </a:lnTo>
                  <a:lnTo>
                    <a:pt x="473" y="603"/>
                  </a:lnTo>
                  <a:lnTo>
                    <a:pt x="475" y="601"/>
                  </a:lnTo>
                  <a:lnTo>
                    <a:pt x="477" y="601"/>
                  </a:lnTo>
                  <a:lnTo>
                    <a:pt x="478" y="601"/>
                  </a:lnTo>
                  <a:lnTo>
                    <a:pt x="480" y="601"/>
                  </a:lnTo>
                  <a:lnTo>
                    <a:pt x="482" y="600"/>
                  </a:lnTo>
                  <a:lnTo>
                    <a:pt x="483" y="600"/>
                  </a:lnTo>
                  <a:lnTo>
                    <a:pt x="485" y="598"/>
                  </a:lnTo>
                  <a:lnTo>
                    <a:pt x="486" y="598"/>
                  </a:lnTo>
                  <a:lnTo>
                    <a:pt x="488" y="598"/>
                  </a:lnTo>
                  <a:lnTo>
                    <a:pt x="490" y="598"/>
                  </a:lnTo>
                  <a:lnTo>
                    <a:pt x="490" y="600"/>
                  </a:lnTo>
                  <a:lnTo>
                    <a:pt x="491" y="600"/>
                  </a:lnTo>
                  <a:lnTo>
                    <a:pt x="490" y="600"/>
                  </a:lnTo>
                  <a:lnTo>
                    <a:pt x="491" y="600"/>
                  </a:lnTo>
                  <a:lnTo>
                    <a:pt x="490" y="600"/>
                  </a:lnTo>
                  <a:lnTo>
                    <a:pt x="491" y="600"/>
                  </a:lnTo>
                  <a:lnTo>
                    <a:pt x="493" y="600"/>
                  </a:lnTo>
                  <a:lnTo>
                    <a:pt x="495" y="600"/>
                  </a:lnTo>
                  <a:lnTo>
                    <a:pt x="495" y="601"/>
                  </a:lnTo>
                  <a:lnTo>
                    <a:pt x="495" y="600"/>
                  </a:lnTo>
                  <a:lnTo>
                    <a:pt x="495" y="601"/>
                  </a:lnTo>
                  <a:lnTo>
                    <a:pt x="495" y="603"/>
                  </a:lnTo>
                  <a:lnTo>
                    <a:pt x="495" y="605"/>
                  </a:lnTo>
                  <a:lnTo>
                    <a:pt x="493" y="608"/>
                  </a:lnTo>
                  <a:lnTo>
                    <a:pt x="491" y="610"/>
                  </a:lnTo>
                  <a:lnTo>
                    <a:pt x="490" y="610"/>
                  </a:lnTo>
                  <a:lnTo>
                    <a:pt x="490" y="611"/>
                  </a:lnTo>
                  <a:lnTo>
                    <a:pt x="490" y="610"/>
                  </a:lnTo>
                  <a:lnTo>
                    <a:pt x="488" y="610"/>
                  </a:lnTo>
                  <a:lnTo>
                    <a:pt x="488" y="611"/>
                  </a:lnTo>
                  <a:lnTo>
                    <a:pt x="486" y="610"/>
                  </a:lnTo>
                  <a:lnTo>
                    <a:pt x="486" y="611"/>
                  </a:lnTo>
                  <a:lnTo>
                    <a:pt x="488" y="611"/>
                  </a:lnTo>
                  <a:lnTo>
                    <a:pt x="490" y="613"/>
                  </a:lnTo>
                  <a:lnTo>
                    <a:pt x="491" y="613"/>
                  </a:lnTo>
                  <a:lnTo>
                    <a:pt x="491" y="611"/>
                  </a:lnTo>
                  <a:lnTo>
                    <a:pt x="493" y="611"/>
                  </a:lnTo>
                  <a:lnTo>
                    <a:pt x="493" y="613"/>
                  </a:lnTo>
                  <a:lnTo>
                    <a:pt x="493" y="614"/>
                  </a:lnTo>
                  <a:lnTo>
                    <a:pt x="495" y="616"/>
                  </a:lnTo>
                  <a:lnTo>
                    <a:pt x="496" y="618"/>
                  </a:lnTo>
                  <a:lnTo>
                    <a:pt x="498" y="618"/>
                  </a:lnTo>
                  <a:lnTo>
                    <a:pt x="499" y="618"/>
                  </a:lnTo>
                  <a:lnTo>
                    <a:pt x="499" y="619"/>
                  </a:lnTo>
                  <a:lnTo>
                    <a:pt x="501" y="619"/>
                  </a:lnTo>
                  <a:lnTo>
                    <a:pt x="503" y="619"/>
                  </a:lnTo>
                  <a:lnTo>
                    <a:pt x="503" y="621"/>
                  </a:lnTo>
                  <a:lnTo>
                    <a:pt x="504" y="623"/>
                  </a:lnTo>
                  <a:lnTo>
                    <a:pt x="504" y="624"/>
                  </a:lnTo>
                  <a:lnTo>
                    <a:pt x="506" y="624"/>
                  </a:lnTo>
                  <a:lnTo>
                    <a:pt x="506" y="626"/>
                  </a:lnTo>
                  <a:lnTo>
                    <a:pt x="508" y="626"/>
                  </a:lnTo>
                  <a:lnTo>
                    <a:pt x="508" y="627"/>
                  </a:lnTo>
                  <a:lnTo>
                    <a:pt x="506" y="629"/>
                  </a:lnTo>
                  <a:lnTo>
                    <a:pt x="504" y="629"/>
                  </a:lnTo>
                  <a:lnTo>
                    <a:pt x="504" y="631"/>
                  </a:lnTo>
                  <a:lnTo>
                    <a:pt x="503" y="631"/>
                  </a:lnTo>
                  <a:lnTo>
                    <a:pt x="501" y="632"/>
                  </a:lnTo>
                  <a:lnTo>
                    <a:pt x="499" y="632"/>
                  </a:lnTo>
                  <a:lnTo>
                    <a:pt x="499" y="634"/>
                  </a:lnTo>
                  <a:lnTo>
                    <a:pt x="498" y="634"/>
                  </a:lnTo>
                  <a:lnTo>
                    <a:pt x="496" y="634"/>
                  </a:lnTo>
                  <a:lnTo>
                    <a:pt x="495" y="634"/>
                  </a:lnTo>
                  <a:lnTo>
                    <a:pt x="493" y="636"/>
                  </a:lnTo>
                  <a:lnTo>
                    <a:pt x="491" y="636"/>
                  </a:lnTo>
                  <a:lnTo>
                    <a:pt x="490" y="636"/>
                  </a:lnTo>
                  <a:lnTo>
                    <a:pt x="488" y="637"/>
                  </a:lnTo>
                  <a:lnTo>
                    <a:pt x="486" y="637"/>
                  </a:lnTo>
                  <a:lnTo>
                    <a:pt x="488" y="637"/>
                  </a:lnTo>
                  <a:lnTo>
                    <a:pt x="486" y="636"/>
                  </a:lnTo>
                  <a:lnTo>
                    <a:pt x="486" y="637"/>
                  </a:lnTo>
                  <a:lnTo>
                    <a:pt x="485" y="637"/>
                  </a:lnTo>
                  <a:lnTo>
                    <a:pt x="485" y="636"/>
                  </a:lnTo>
                  <a:lnTo>
                    <a:pt x="483" y="636"/>
                  </a:lnTo>
                  <a:lnTo>
                    <a:pt x="483" y="634"/>
                  </a:lnTo>
                  <a:lnTo>
                    <a:pt x="482" y="632"/>
                  </a:lnTo>
                  <a:lnTo>
                    <a:pt x="480" y="632"/>
                  </a:lnTo>
                  <a:lnTo>
                    <a:pt x="478" y="631"/>
                  </a:lnTo>
                  <a:lnTo>
                    <a:pt x="477" y="631"/>
                  </a:lnTo>
                  <a:lnTo>
                    <a:pt x="475" y="632"/>
                  </a:lnTo>
                  <a:lnTo>
                    <a:pt x="473" y="634"/>
                  </a:lnTo>
                  <a:lnTo>
                    <a:pt x="472" y="636"/>
                  </a:lnTo>
                  <a:lnTo>
                    <a:pt x="470" y="636"/>
                  </a:lnTo>
                  <a:lnTo>
                    <a:pt x="470" y="637"/>
                  </a:lnTo>
                  <a:lnTo>
                    <a:pt x="469" y="636"/>
                  </a:lnTo>
                  <a:lnTo>
                    <a:pt x="467" y="637"/>
                  </a:lnTo>
                  <a:lnTo>
                    <a:pt x="465" y="639"/>
                  </a:lnTo>
                  <a:lnTo>
                    <a:pt x="464" y="639"/>
                  </a:lnTo>
                  <a:lnTo>
                    <a:pt x="464" y="640"/>
                  </a:lnTo>
                  <a:lnTo>
                    <a:pt x="462" y="640"/>
                  </a:lnTo>
                  <a:lnTo>
                    <a:pt x="462" y="642"/>
                  </a:lnTo>
                  <a:lnTo>
                    <a:pt x="460" y="642"/>
                  </a:lnTo>
                  <a:lnTo>
                    <a:pt x="459" y="642"/>
                  </a:lnTo>
                  <a:lnTo>
                    <a:pt x="459" y="644"/>
                  </a:lnTo>
                  <a:lnTo>
                    <a:pt x="457" y="645"/>
                  </a:lnTo>
                  <a:lnTo>
                    <a:pt x="457" y="647"/>
                  </a:lnTo>
                  <a:lnTo>
                    <a:pt x="457" y="649"/>
                  </a:lnTo>
                  <a:lnTo>
                    <a:pt x="456" y="649"/>
                  </a:lnTo>
                  <a:lnTo>
                    <a:pt x="452" y="649"/>
                  </a:lnTo>
                  <a:lnTo>
                    <a:pt x="451" y="650"/>
                  </a:lnTo>
                  <a:lnTo>
                    <a:pt x="451" y="649"/>
                  </a:lnTo>
                  <a:lnTo>
                    <a:pt x="449" y="649"/>
                  </a:lnTo>
                  <a:lnTo>
                    <a:pt x="447" y="649"/>
                  </a:lnTo>
                  <a:lnTo>
                    <a:pt x="446" y="649"/>
                  </a:lnTo>
                  <a:lnTo>
                    <a:pt x="446" y="650"/>
                  </a:lnTo>
                  <a:lnTo>
                    <a:pt x="444" y="650"/>
                  </a:lnTo>
                  <a:lnTo>
                    <a:pt x="443" y="650"/>
                  </a:lnTo>
                  <a:lnTo>
                    <a:pt x="441" y="652"/>
                  </a:lnTo>
                  <a:lnTo>
                    <a:pt x="439" y="650"/>
                  </a:lnTo>
                  <a:lnTo>
                    <a:pt x="438" y="652"/>
                  </a:lnTo>
                  <a:lnTo>
                    <a:pt x="438" y="650"/>
                  </a:lnTo>
                  <a:lnTo>
                    <a:pt x="438" y="652"/>
                  </a:lnTo>
                  <a:lnTo>
                    <a:pt x="438" y="653"/>
                  </a:lnTo>
                  <a:lnTo>
                    <a:pt x="436" y="653"/>
                  </a:lnTo>
                  <a:lnTo>
                    <a:pt x="436" y="652"/>
                  </a:lnTo>
                  <a:lnTo>
                    <a:pt x="434" y="650"/>
                  </a:lnTo>
                  <a:lnTo>
                    <a:pt x="433" y="650"/>
                  </a:lnTo>
                  <a:lnTo>
                    <a:pt x="433" y="652"/>
                  </a:lnTo>
                  <a:lnTo>
                    <a:pt x="433" y="650"/>
                  </a:lnTo>
                  <a:lnTo>
                    <a:pt x="431" y="649"/>
                  </a:lnTo>
                  <a:lnTo>
                    <a:pt x="430" y="649"/>
                  </a:lnTo>
                  <a:lnTo>
                    <a:pt x="428" y="647"/>
                  </a:lnTo>
                  <a:lnTo>
                    <a:pt x="426" y="647"/>
                  </a:lnTo>
                  <a:lnTo>
                    <a:pt x="426" y="645"/>
                  </a:lnTo>
                  <a:lnTo>
                    <a:pt x="425" y="645"/>
                  </a:lnTo>
                  <a:lnTo>
                    <a:pt x="425" y="644"/>
                  </a:lnTo>
                  <a:lnTo>
                    <a:pt x="423" y="644"/>
                  </a:lnTo>
                  <a:lnTo>
                    <a:pt x="423" y="645"/>
                  </a:lnTo>
                  <a:lnTo>
                    <a:pt x="421" y="645"/>
                  </a:lnTo>
                  <a:lnTo>
                    <a:pt x="421" y="644"/>
                  </a:lnTo>
                  <a:lnTo>
                    <a:pt x="420" y="644"/>
                  </a:lnTo>
                  <a:lnTo>
                    <a:pt x="418" y="644"/>
                  </a:lnTo>
                  <a:lnTo>
                    <a:pt x="417" y="644"/>
                  </a:lnTo>
                  <a:lnTo>
                    <a:pt x="415" y="644"/>
                  </a:lnTo>
                  <a:lnTo>
                    <a:pt x="415" y="642"/>
                  </a:lnTo>
                  <a:lnTo>
                    <a:pt x="413" y="640"/>
                  </a:lnTo>
                  <a:lnTo>
                    <a:pt x="412" y="639"/>
                  </a:lnTo>
                  <a:lnTo>
                    <a:pt x="410" y="637"/>
                  </a:lnTo>
                  <a:lnTo>
                    <a:pt x="408" y="634"/>
                  </a:lnTo>
                  <a:lnTo>
                    <a:pt x="407" y="632"/>
                  </a:lnTo>
                  <a:lnTo>
                    <a:pt x="405" y="634"/>
                  </a:lnTo>
                  <a:lnTo>
                    <a:pt x="405" y="632"/>
                  </a:lnTo>
                  <a:lnTo>
                    <a:pt x="405" y="631"/>
                  </a:lnTo>
                  <a:lnTo>
                    <a:pt x="404" y="631"/>
                  </a:lnTo>
                  <a:lnTo>
                    <a:pt x="404" y="632"/>
                  </a:lnTo>
                  <a:lnTo>
                    <a:pt x="404" y="631"/>
                  </a:lnTo>
                  <a:lnTo>
                    <a:pt x="405" y="631"/>
                  </a:lnTo>
                  <a:lnTo>
                    <a:pt x="405" y="632"/>
                  </a:lnTo>
                  <a:lnTo>
                    <a:pt x="405" y="634"/>
                  </a:lnTo>
                  <a:lnTo>
                    <a:pt x="407" y="634"/>
                  </a:lnTo>
                  <a:lnTo>
                    <a:pt x="408" y="634"/>
                  </a:lnTo>
                  <a:lnTo>
                    <a:pt x="408" y="636"/>
                  </a:lnTo>
                  <a:lnTo>
                    <a:pt x="408" y="637"/>
                  </a:lnTo>
                  <a:lnTo>
                    <a:pt x="410" y="639"/>
                  </a:lnTo>
                  <a:lnTo>
                    <a:pt x="412" y="640"/>
                  </a:lnTo>
                  <a:lnTo>
                    <a:pt x="412" y="642"/>
                  </a:lnTo>
                  <a:lnTo>
                    <a:pt x="412" y="644"/>
                  </a:lnTo>
                  <a:lnTo>
                    <a:pt x="412" y="645"/>
                  </a:lnTo>
                  <a:lnTo>
                    <a:pt x="413" y="647"/>
                  </a:lnTo>
                  <a:lnTo>
                    <a:pt x="413" y="645"/>
                  </a:lnTo>
                  <a:lnTo>
                    <a:pt x="415" y="645"/>
                  </a:lnTo>
                  <a:lnTo>
                    <a:pt x="415" y="647"/>
                  </a:lnTo>
                  <a:lnTo>
                    <a:pt x="415" y="649"/>
                  </a:lnTo>
                  <a:lnTo>
                    <a:pt x="417" y="649"/>
                  </a:lnTo>
                  <a:lnTo>
                    <a:pt x="418" y="649"/>
                  </a:lnTo>
                  <a:lnTo>
                    <a:pt x="420" y="649"/>
                  </a:lnTo>
                  <a:lnTo>
                    <a:pt x="421" y="649"/>
                  </a:lnTo>
                  <a:lnTo>
                    <a:pt x="423" y="649"/>
                  </a:lnTo>
                  <a:lnTo>
                    <a:pt x="423" y="650"/>
                  </a:lnTo>
                  <a:lnTo>
                    <a:pt x="425" y="650"/>
                  </a:lnTo>
                  <a:lnTo>
                    <a:pt x="426" y="652"/>
                  </a:lnTo>
                  <a:lnTo>
                    <a:pt x="428" y="652"/>
                  </a:lnTo>
                  <a:lnTo>
                    <a:pt x="428" y="653"/>
                  </a:lnTo>
                  <a:lnTo>
                    <a:pt x="430" y="653"/>
                  </a:lnTo>
                  <a:lnTo>
                    <a:pt x="431" y="653"/>
                  </a:lnTo>
                  <a:lnTo>
                    <a:pt x="434" y="655"/>
                  </a:lnTo>
                  <a:lnTo>
                    <a:pt x="436" y="655"/>
                  </a:lnTo>
                  <a:lnTo>
                    <a:pt x="438" y="657"/>
                  </a:lnTo>
                  <a:lnTo>
                    <a:pt x="439" y="655"/>
                  </a:lnTo>
                  <a:lnTo>
                    <a:pt x="441" y="655"/>
                  </a:lnTo>
                  <a:lnTo>
                    <a:pt x="441" y="657"/>
                  </a:lnTo>
                  <a:lnTo>
                    <a:pt x="443" y="658"/>
                  </a:lnTo>
                  <a:lnTo>
                    <a:pt x="444" y="658"/>
                  </a:lnTo>
                  <a:lnTo>
                    <a:pt x="446" y="658"/>
                  </a:lnTo>
                  <a:lnTo>
                    <a:pt x="446" y="660"/>
                  </a:lnTo>
                  <a:lnTo>
                    <a:pt x="447" y="660"/>
                  </a:lnTo>
                  <a:lnTo>
                    <a:pt x="447" y="658"/>
                  </a:lnTo>
                  <a:lnTo>
                    <a:pt x="449" y="660"/>
                  </a:lnTo>
                  <a:lnTo>
                    <a:pt x="449" y="658"/>
                  </a:lnTo>
                  <a:lnTo>
                    <a:pt x="451" y="660"/>
                  </a:lnTo>
                  <a:lnTo>
                    <a:pt x="452" y="660"/>
                  </a:lnTo>
                  <a:lnTo>
                    <a:pt x="454" y="660"/>
                  </a:lnTo>
                  <a:lnTo>
                    <a:pt x="452" y="660"/>
                  </a:lnTo>
                  <a:lnTo>
                    <a:pt x="454" y="660"/>
                  </a:lnTo>
                  <a:lnTo>
                    <a:pt x="456" y="660"/>
                  </a:lnTo>
                  <a:lnTo>
                    <a:pt x="456" y="662"/>
                  </a:lnTo>
                  <a:lnTo>
                    <a:pt x="456" y="663"/>
                  </a:lnTo>
                  <a:lnTo>
                    <a:pt x="457" y="665"/>
                  </a:lnTo>
                  <a:lnTo>
                    <a:pt x="459" y="666"/>
                  </a:lnTo>
                  <a:lnTo>
                    <a:pt x="460" y="666"/>
                  </a:lnTo>
                  <a:lnTo>
                    <a:pt x="462" y="666"/>
                  </a:lnTo>
                  <a:lnTo>
                    <a:pt x="464" y="666"/>
                  </a:lnTo>
                  <a:lnTo>
                    <a:pt x="465" y="666"/>
                  </a:lnTo>
                  <a:lnTo>
                    <a:pt x="467" y="666"/>
                  </a:lnTo>
                  <a:lnTo>
                    <a:pt x="469" y="666"/>
                  </a:lnTo>
                  <a:lnTo>
                    <a:pt x="469" y="665"/>
                  </a:lnTo>
                  <a:lnTo>
                    <a:pt x="470" y="665"/>
                  </a:lnTo>
                  <a:lnTo>
                    <a:pt x="472" y="665"/>
                  </a:lnTo>
                  <a:lnTo>
                    <a:pt x="473" y="665"/>
                  </a:lnTo>
                  <a:lnTo>
                    <a:pt x="475" y="665"/>
                  </a:lnTo>
                  <a:lnTo>
                    <a:pt x="475" y="663"/>
                  </a:lnTo>
                  <a:lnTo>
                    <a:pt x="477" y="663"/>
                  </a:lnTo>
                  <a:lnTo>
                    <a:pt x="477" y="662"/>
                  </a:lnTo>
                  <a:lnTo>
                    <a:pt x="477" y="660"/>
                  </a:lnTo>
                  <a:lnTo>
                    <a:pt x="478" y="660"/>
                  </a:lnTo>
                  <a:lnTo>
                    <a:pt x="478" y="662"/>
                  </a:lnTo>
                  <a:lnTo>
                    <a:pt x="480" y="660"/>
                  </a:lnTo>
                  <a:lnTo>
                    <a:pt x="478" y="658"/>
                  </a:lnTo>
                  <a:lnTo>
                    <a:pt x="480" y="658"/>
                  </a:lnTo>
                  <a:lnTo>
                    <a:pt x="480" y="657"/>
                  </a:lnTo>
                  <a:lnTo>
                    <a:pt x="482" y="657"/>
                  </a:lnTo>
                  <a:lnTo>
                    <a:pt x="483" y="655"/>
                  </a:lnTo>
                  <a:lnTo>
                    <a:pt x="485" y="653"/>
                  </a:lnTo>
                  <a:lnTo>
                    <a:pt x="485" y="655"/>
                  </a:lnTo>
                  <a:lnTo>
                    <a:pt x="486" y="653"/>
                  </a:lnTo>
                  <a:lnTo>
                    <a:pt x="486" y="655"/>
                  </a:lnTo>
                  <a:lnTo>
                    <a:pt x="486" y="653"/>
                  </a:lnTo>
                  <a:lnTo>
                    <a:pt x="486" y="655"/>
                  </a:lnTo>
                  <a:lnTo>
                    <a:pt x="488" y="653"/>
                  </a:lnTo>
                  <a:lnTo>
                    <a:pt x="488" y="655"/>
                  </a:lnTo>
                  <a:lnTo>
                    <a:pt x="490" y="655"/>
                  </a:lnTo>
                  <a:lnTo>
                    <a:pt x="491" y="655"/>
                  </a:lnTo>
                  <a:lnTo>
                    <a:pt x="491" y="657"/>
                  </a:lnTo>
                  <a:lnTo>
                    <a:pt x="491" y="655"/>
                  </a:lnTo>
                  <a:lnTo>
                    <a:pt x="493" y="657"/>
                  </a:lnTo>
                  <a:lnTo>
                    <a:pt x="495" y="657"/>
                  </a:lnTo>
                  <a:lnTo>
                    <a:pt x="495" y="655"/>
                  </a:lnTo>
                  <a:lnTo>
                    <a:pt x="495" y="657"/>
                  </a:lnTo>
                  <a:lnTo>
                    <a:pt x="496" y="657"/>
                  </a:lnTo>
                  <a:lnTo>
                    <a:pt x="498" y="658"/>
                  </a:lnTo>
                  <a:lnTo>
                    <a:pt x="499" y="658"/>
                  </a:lnTo>
                  <a:lnTo>
                    <a:pt x="499" y="660"/>
                  </a:lnTo>
                  <a:lnTo>
                    <a:pt x="499" y="662"/>
                  </a:lnTo>
                  <a:lnTo>
                    <a:pt x="501" y="663"/>
                  </a:lnTo>
                  <a:lnTo>
                    <a:pt x="503" y="665"/>
                  </a:lnTo>
                  <a:lnTo>
                    <a:pt x="503" y="666"/>
                  </a:lnTo>
                  <a:lnTo>
                    <a:pt x="504" y="666"/>
                  </a:lnTo>
                  <a:lnTo>
                    <a:pt x="506" y="666"/>
                  </a:lnTo>
                  <a:lnTo>
                    <a:pt x="508" y="666"/>
                  </a:lnTo>
                  <a:lnTo>
                    <a:pt x="506" y="666"/>
                  </a:lnTo>
                  <a:lnTo>
                    <a:pt x="508" y="668"/>
                  </a:lnTo>
                  <a:lnTo>
                    <a:pt x="509" y="668"/>
                  </a:lnTo>
                  <a:lnTo>
                    <a:pt x="509" y="670"/>
                  </a:lnTo>
                  <a:lnTo>
                    <a:pt x="511" y="670"/>
                  </a:lnTo>
                  <a:lnTo>
                    <a:pt x="512" y="670"/>
                  </a:lnTo>
                  <a:lnTo>
                    <a:pt x="512" y="671"/>
                  </a:lnTo>
                  <a:lnTo>
                    <a:pt x="514" y="673"/>
                  </a:lnTo>
                  <a:lnTo>
                    <a:pt x="512" y="673"/>
                  </a:lnTo>
                  <a:lnTo>
                    <a:pt x="514" y="673"/>
                  </a:lnTo>
                  <a:lnTo>
                    <a:pt x="516" y="675"/>
                  </a:lnTo>
                  <a:lnTo>
                    <a:pt x="514" y="675"/>
                  </a:lnTo>
                  <a:lnTo>
                    <a:pt x="516" y="675"/>
                  </a:lnTo>
                  <a:lnTo>
                    <a:pt x="516" y="676"/>
                  </a:lnTo>
                  <a:lnTo>
                    <a:pt x="517" y="676"/>
                  </a:lnTo>
                  <a:lnTo>
                    <a:pt x="517" y="678"/>
                  </a:lnTo>
                  <a:lnTo>
                    <a:pt x="519" y="678"/>
                  </a:lnTo>
                  <a:lnTo>
                    <a:pt x="519" y="679"/>
                  </a:lnTo>
                  <a:lnTo>
                    <a:pt x="521" y="679"/>
                  </a:lnTo>
                  <a:lnTo>
                    <a:pt x="522" y="679"/>
                  </a:lnTo>
                  <a:lnTo>
                    <a:pt x="522" y="681"/>
                  </a:lnTo>
                  <a:lnTo>
                    <a:pt x="524" y="681"/>
                  </a:lnTo>
                  <a:lnTo>
                    <a:pt x="525" y="681"/>
                  </a:lnTo>
                  <a:lnTo>
                    <a:pt x="527" y="681"/>
                  </a:lnTo>
                  <a:lnTo>
                    <a:pt x="529" y="681"/>
                  </a:lnTo>
                  <a:lnTo>
                    <a:pt x="529" y="683"/>
                  </a:lnTo>
                  <a:lnTo>
                    <a:pt x="530" y="683"/>
                  </a:lnTo>
                  <a:lnTo>
                    <a:pt x="532" y="684"/>
                  </a:lnTo>
                  <a:lnTo>
                    <a:pt x="534" y="684"/>
                  </a:lnTo>
                  <a:lnTo>
                    <a:pt x="535" y="686"/>
                  </a:lnTo>
                  <a:lnTo>
                    <a:pt x="534" y="686"/>
                  </a:lnTo>
                  <a:lnTo>
                    <a:pt x="535" y="686"/>
                  </a:lnTo>
                  <a:lnTo>
                    <a:pt x="535" y="688"/>
                  </a:lnTo>
                  <a:lnTo>
                    <a:pt x="534" y="688"/>
                  </a:lnTo>
                  <a:lnTo>
                    <a:pt x="534" y="689"/>
                  </a:lnTo>
                  <a:lnTo>
                    <a:pt x="535" y="689"/>
                  </a:lnTo>
                  <a:lnTo>
                    <a:pt x="535" y="691"/>
                  </a:lnTo>
                  <a:lnTo>
                    <a:pt x="537" y="691"/>
                  </a:lnTo>
                  <a:lnTo>
                    <a:pt x="539" y="691"/>
                  </a:lnTo>
                  <a:lnTo>
                    <a:pt x="539" y="692"/>
                  </a:lnTo>
                  <a:lnTo>
                    <a:pt x="539" y="694"/>
                  </a:lnTo>
                  <a:lnTo>
                    <a:pt x="539" y="696"/>
                  </a:lnTo>
                  <a:lnTo>
                    <a:pt x="539" y="697"/>
                  </a:lnTo>
                  <a:lnTo>
                    <a:pt x="539" y="699"/>
                  </a:lnTo>
                  <a:lnTo>
                    <a:pt x="540" y="701"/>
                  </a:lnTo>
                  <a:lnTo>
                    <a:pt x="540" y="702"/>
                  </a:lnTo>
                  <a:lnTo>
                    <a:pt x="540" y="704"/>
                  </a:lnTo>
                  <a:lnTo>
                    <a:pt x="542" y="704"/>
                  </a:lnTo>
                  <a:lnTo>
                    <a:pt x="542" y="705"/>
                  </a:lnTo>
                  <a:lnTo>
                    <a:pt x="542" y="707"/>
                  </a:lnTo>
                  <a:lnTo>
                    <a:pt x="540" y="709"/>
                  </a:lnTo>
                  <a:lnTo>
                    <a:pt x="542" y="709"/>
                  </a:lnTo>
                  <a:lnTo>
                    <a:pt x="543" y="710"/>
                  </a:lnTo>
                  <a:lnTo>
                    <a:pt x="543" y="712"/>
                  </a:lnTo>
                  <a:lnTo>
                    <a:pt x="545" y="715"/>
                  </a:lnTo>
                  <a:lnTo>
                    <a:pt x="547" y="717"/>
                  </a:lnTo>
                  <a:lnTo>
                    <a:pt x="548" y="719"/>
                  </a:lnTo>
                  <a:lnTo>
                    <a:pt x="550" y="720"/>
                  </a:lnTo>
                  <a:lnTo>
                    <a:pt x="550" y="722"/>
                  </a:lnTo>
                  <a:lnTo>
                    <a:pt x="550" y="723"/>
                  </a:lnTo>
                  <a:lnTo>
                    <a:pt x="550" y="725"/>
                  </a:lnTo>
                  <a:lnTo>
                    <a:pt x="552" y="727"/>
                  </a:lnTo>
                  <a:lnTo>
                    <a:pt x="553" y="728"/>
                  </a:lnTo>
                  <a:lnTo>
                    <a:pt x="555" y="728"/>
                  </a:lnTo>
                  <a:lnTo>
                    <a:pt x="555" y="727"/>
                  </a:lnTo>
                  <a:lnTo>
                    <a:pt x="555" y="725"/>
                  </a:lnTo>
                  <a:lnTo>
                    <a:pt x="556" y="725"/>
                  </a:lnTo>
                  <a:lnTo>
                    <a:pt x="556" y="728"/>
                  </a:lnTo>
                  <a:lnTo>
                    <a:pt x="556" y="730"/>
                  </a:lnTo>
                  <a:lnTo>
                    <a:pt x="556" y="732"/>
                  </a:lnTo>
                  <a:lnTo>
                    <a:pt x="555" y="732"/>
                  </a:lnTo>
                  <a:lnTo>
                    <a:pt x="556" y="733"/>
                  </a:lnTo>
                  <a:lnTo>
                    <a:pt x="558" y="732"/>
                  </a:lnTo>
                  <a:lnTo>
                    <a:pt x="560" y="733"/>
                  </a:lnTo>
                  <a:lnTo>
                    <a:pt x="561" y="735"/>
                  </a:lnTo>
                  <a:lnTo>
                    <a:pt x="563" y="736"/>
                  </a:lnTo>
                  <a:lnTo>
                    <a:pt x="563" y="738"/>
                  </a:lnTo>
                  <a:lnTo>
                    <a:pt x="565" y="738"/>
                  </a:lnTo>
                  <a:lnTo>
                    <a:pt x="566" y="740"/>
                  </a:lnTo>
                  <a:lnTo>
                    <a:pt x="565" y="740"/>
                  </a:lnTo>
                  <a:lnTo>
                    <a:pt x="566" y="743"/>
                  </a:lnTo>
                  <a:lnTo>
                    <a:pt x="565" y="743"/>
                  </a:lnTo>
                  <a:lnTo>
                    <a:pt x="565" y="745"/>
                  </a:lnTo>
                  <a:lnTo>
                    <a:pt x="566" y="746"/>
                  </a:lnTo>
                  <a:lnTo>
                    <a:pt x="566" y="748"/>
                  </a:lnTo>
                  <a:lnTo>
                    <a:pt x="566" y="749"/>
                  </a:lnTo>
                  <a:lnTo>
                    <a:pt x="566" y="751"/>
                  </a:lnTo>
                  <a:lnTo>
                    <a:pt x="568" y="753"/>
                  </a:lnTo>
                  <a:lnTo>
                    <a:pt x="568" y="754"/>
                  </a:lnTo>
                  <a:lnTo>
                    <a:pt x="566" y="754"/>
                  </a:lnTo>
                  <a:lnTo>
                    <a:pt x="568" y="756"/>
                  </a:lnTo>
                  <a:lnTo>
                    <a:pt x="566" y="758"/>
                  </a:lnTo>
                  <a:lnTo>
                    <a:pt x="566" y="759"/>
                  </a:lnTo>
                  <a:lnTo>
                    <a:pt x="566" y="761"/>
                  </a:lnTo>
                  <a:lnTo>
                    <a:pt x="568" y="761"/>
                  </a:lnTo>
                  <a:lnTo>
                    <a:pt x="566" y="762"/>
                  </a:lnTo>
                  <a:lnTo>
                    <a:pt x="566" y="764"/>
                  </a:lnTo>
                  <a:lnTo>
                    <a:pt x="565" y="764"/>
                  </a:lnTo>
                  <a:lnTo>
                    <a:pt x="565" y="766"/>
                  </a:lnTo>
                  <a:lnTo>
                    <a:pt x="563" y="766"/>
                  </a:lnTo>
                  <a:lnTo>
                    <a:pt x="563" y="767"/>
                  </a:lnTo>
                  <a:lnTo>
                    <a:pt x="563" y="766"/>
                  </a:lnTo>
                  <a:lnTo>
                    <a:pt x="563" y="767"/>
                  </a:lnTo>
                  <a:lnTo>
                    <a:pt x="563" y="769"/>
                  </a:lnTo>
                  <a:lnTo>
                    <a:pt x="565" y="771"/>
                  </a:lnTo>
                  <a:lnTo>
                    <a:pt x="565" y="772"/>
                  </a:lnTo>
                  <a:lnTo>
                    <a:pt x="565" y="774"/>
                  </a:lnTo>
                  <a:lnTo>
                    <a:pt x="563" y="774"/>
                  </a:lnTo>
                  <a:lnTo>
                    <a:pt x="565" y="774"/>
                  </a:lnTo>
                  <a:lnTo>
                    <a:pt x="566" y="774"/>
                  </a:lnTo>
                  <a:lnTo>
                    <a:pt x="566" y="775"/>
                  </a:lnTo>
                  <a:lnTo>
                    <a:pt x="566" y="777"/>
                  </a:lnTo>
                  <a:lnTo>
                    <a:pt x="566" y="779"/>
                  </a:lnTo>
                  <a:lnTo>
                    <a:pt x="565" y="780"/>
                  </a:lnTo>
                  <a:lnTo>
                    <a:pt x="565" y="782"/>
                  </a:lnTo>
                  <a:lnTo>
                    <a:pt x="565" y="787"/>
                  </a:lnTo>
                  <a:lnTo>
                    <a:pt x="565" y="788"/>
                  </a:lnTo>
                  <a:lnTo>
                    <a:pt x="566" y="790"/>
                  </a:lnTo>
                  <a:lnTo>
                    <a:pt x="566" y="792"/>
                  </a:lnTo>
                  <a:lnTo>
                    <a:pt x="566" y="793"/>
                  </a:lnTo>
                  <a:lnTo>
                    <a:pt x="568" y="795"/>
                  </a:lnTo>
                  <a:lnTo>
                    <a:pt x="568" y="797"/>
                  </a:lnTo>
                  <a:lnTo>
                    <a:pt x="566" y="797"/>
                  </a:lnTo>
                  <a:lnTo>
                    <a:pt x="566" y="798"/>
                  </a:lnTo>
                  <a:lnTo>
                    <a:pt x="565" y="800"/>
                  </a:lnTo>
                  <a:lnTo>
                    <a:pt x="563" y="798"/>
                  </a:lnTo>
                  <a:lnTo>
                    <a:pt x="561" y="798"/>
                  </a:lnTo>
                  <a:lnTo>
                    <a:pt x="563" y="798"/>
                  </a:lnTo>
                  <a:lnTo>
                    <a:pt x="563" y="800"/>
                  </a:lnTo>
                  <a:lnTo>
                    <a:pt x="565" y="800"/>
                  </a:lnTo>
                  <a:lnTo>
                    <a:pt x="565" y="801"/>
                  </a:lnTo>
                  <a:lnTo>
                    <a:pt x="566" y="803"/>
                  </a:lnTo>
                  <a:lnTo>
                    <a:pt x="566" y="805"/>
                  </a:lnTo>
                  <a:lnTo>
                    <a:pt x="566" y="806"/>
                  </a:lnTo>
                  <a:lnTo>
                    <a:pt x="566" y="805"/>
                  </a:lnTo>
                  <a:lnTo>
                    <a:pt x="566" y="806"/>
                  </a:lnTo>
                  <a:lnTo>
                    <a:pt x="566" y="808"/>
                  </a:lnTo>
                  <a:lnTo>
                    <a:pt x="568" y="811"/>
                  </a:lnTo>
                  <a:lnTo>
                    <a:pt x="568" y="813"/>
                  </a:lnTo>
                  <a:lnTo>
                    <a:pt x="569" y="813"/>
                  </a:lnTo>
                  <a:lnTo>
                    <a:pt x="569" y="814"/>
                  </a:lnTo>
                  <a:lnTo>
                    <a:pt x="568" y="814"/>
                  </a:lnTo>
                  <a:lnTo>
                    <a:pt x="568" y="816"/>
                  </a:lnTo>
                  <a:lnTo>
                    <a:pt x="569" y="818"/>
                  </a:lnTo>
                  <a:lnTo>
                    <a:pt x="569" y="819"/>
                  </a:lnTo>
                  <a:lnTo>
                    <a:pt x="569" y="821"/>
                  </a:lnTo>
                  <a:lnTo>
                    <a:pt x="571" y="821"/>
                  </a:lnTo>
                  <a:lnTo>
                    <a:pt x="571" y="823"/>
                  </a:lnTo>
                  <a:lnTo>
                    <a:pt x="571" y="821"/>
                  </a:lnTo>
                  <a:lnTo>
                    <a:pt x="569" y="823"/>
                  </a:lnTo>
                  <a:lnTo>
                    <a:pt x="568" y="823"/>
                  </a:lnTo>
                  <a:lnTo>
                    <a:pt x="568" y="824"/>
                  </a:lnTo>
                  <a:lnTo>
                    <a:pt x="566" y="826"/>
                  </a:lnTo>
                  <a:lnTo>
                    <a:pt x="565" y="824"/>
                  </a:lnTo>
                  <a:lnTo>
                    <a:pt x="561" y="824"/>
                  </a:lnTo>
                  <a:lnTo>
                    <a:pt x="560" y="824"/>
                  </a:lnTo>
                  <a:lnTo>
                    <a:pt x="560" y="826"/>
                  </a:lnTo>
                  <a:lnTo>
                    <a:pt x="560" y="827"/>
                  </a:lnTo>
                  <a:lnTo>
                    <a:pt x="558" y="827"/>
                  </a:lnTo>
                  <a:lnTo>
                    <a:pt x="556" y="827"/>
                  </a:lnTo>
                  <a:lnTo>
                    <a:pt x="556" y="826"/>
                  </a:lnTo>
                  <a:lnTo>
                    <a:pt x="555" y="826"/>
                  </a:lnTo>
                  <a:lnTo>
                    <a:pt x="553" y="826"/>
                  </a:lnTo>
                  <a:lnTo>
                    <a:pt x="552" y="827"/>
                  </a:lnTo>
                  <a:lnTo>
                    <a:pt x="552" y="826"/>
                  </a:lnTo>
                  <a:lnTo>
                    <a:pt x="550" y="826"/>
                  </a:lnTo>
                  <a:lnTo>
                    <a:pt x="548" y="826"/>
                  </a:lnTo>
                  <a:lnTo>
                    <a:pt x="550" y="826"/>
                  </a:lnTo>
                  <a:lnTo>
                    <a:pt x="552" y="827"/>
                  </a:lnTo>
                  <a:lnTo>
                    <a:pt x="553" y="827"/>
                  </a:lnTo>
                  <a:lnTo>
                    <a:pt x="555" y="826"/>
                  </a:lnTo>
                  <a:lnTo>
                    <a:pt x="556" y="827"/>
                  </a:lnTo>
                  <a:lnTo>
                    <a:pt x="558" y="827"/>
                  </a:lnTo>
                  <a:lnTo>
                    <a:pt x="560" y="827"/>
                  </a:lnTo>
                  <a:lnTo>
                    <a:pt x="560" y="826"/>
                  </a:lnTo>
                  <a:lnTo>
                    <a:pt x="561" y="824"/>
                  </a:lnTo>
                  <a:lnTo>
                    <a:pt x="566" y="826"/>
                  </a:lnTo>
                  <a:lnTo>
                    <a:pt x="568" y="824"/>
                  </a:lnTo>
                  <a:lnTo>
                    <a:pt x="568" y="823"/>
                  </a:lnTo>
                  <a:lnTo>
                    <a:pt x="569" y="823"/>
                  </a:lnTo>
                  <a:lnTo>
                    <a:pt x="569" y="824"/>
                  </a:lnTo>
                  <a:lnTo>
                    <a:pt x="571" y="823"/>
                  </a:lnTo>
                  <a:lnTo>
                    <a:pt x="571" y="824"/>
                  </a:lnTo>
                  <a:lnTo>
                    <a:pt x="571" y="826"/>
                  </a:lnTo>
                  <a:lnTo>
                    <a:pt x="573" y="826"/>
                  </a:lnTo>
                  <a:lnTo>
                    <a:pt x="573" y="827"/>
                  </a:lnTo>
                  <a:lnTo>
                    <a:pt x="574" y="829"/>
                  </a:lnTo>
                  <a:lnTo>
                    <a:pt x="574" y="831"/>
                  </a:lnTo>
                  <a:lnTo>
                    <a:pt x="574" y="832"/>
                  </a:lnTo>
                  <a:lnTo>
                    <a:pt x="573" y="832"/>
                  </a:lnTo>
                  <a:lnTo>
                    <a:pt x="573" y="834"/>
                  </a:lnTo>
                  <a:lnTo>
                    <a:pt x="573" y="836"/>
                  </a:lnTo>
                  <a:lnTo>
                    <a:pt x="574" y="836"/>
                  </a:lnTo>
                  <a:lnTo>
                    <a:pt x="573" y="836"/>
                  </a:lnTo>
                  <a:lnTo>
                    <a:pt x="571" y="837"/>
                  </a:lnTo>
                  <a:lnTo>
                    <a:pt x="569" y="837"/>
                  </a:lnTo>
                  <a:lnTo>
                    <a:pt x="569" y="836"/>
                  </a:lnTo>
                  <a:lnTo>
                    <a:pt x="568" y="836"/>
                  </a:lnTo>
                  <a:lnTo>
                    <a:pt x="566" y="836"/>
                  </a:lnTo>
                  <a:lnTo>
                    <a:pt x="568" y="836"/>
                  </a:lnTo>
                  <a:lnTo>
                    <a:pt x="569" y="836"/>
                  </a:lnTo>
                  <a:lnTo>
                    <a:pt x="569" y="837"/>
                  </a:lnTo>
                  <a:lnTo>
                    <a:pt x="571" y="837"/>
                  </a:lnTo>
                  <a:lnTo>
                    <a:pt x="573" y="837"/>
                  </a:lnTo>
                  <a:lnTo>
                    <a:pt x="573" y="836"/>
                  </a:lnTo>
                  <a:lnTo>
                    <a:pt x="573" y="837"/>
                  </a:lnTo>
                  <a:lnTo>
                    <a:pt x="574" y="836"/>
                  </a:lnTo>
                  <a:lnTo>
                    <a:pt x="573" y="837"/>
                  </a:lnTo>
                  <a:lnTo>
                    <a:pt x="573" y="839"/>
                  </a:lnTo>
                  <a:lnTo>
                    <a:pt x="573" y="840"/>
                  </a:lnTo>
                  <a:lnTo>
                    <a:pt x="573" y="842"/>
                  </a:lnTo>
                  <a:lnTo>
                    <a:pt x="573" y="844"/>
                  </a:lnTo>
                  <a:lnTo>
                    <a:pt x="573" y="845"/>
                  </a:lnTo>
                  <a:lnTo>
                    <a:pt x="573" y="847"/>
                  </a:lnTo>
                  <a:lnTo>
                    <a:pt x="574" y="847"/>
                  </a:lnTo>
                  <a:lnTo>
                    <a:pt x="574" y="849"/>
                  </a:lnTo>
                  <a:lnTo>
                    <a:pt x="574" y="850"/>
                  </a:lnTo>
                  <a:lnTo>
                    <a:pt x="574" y="852"/>
                  </a:lnTo>
                  <a:lnTo>
                    <a:pt x="574" y="853"/>
                  </a:lnTo>
                  <a:lnTo>
                    <a:pt x="574" y="855"/>
                  </a:lnTo>
                  <a:lnTo>
                    <a:pt x="574" y="857"/>
                  </a:lnTo>
                  <a:lnTo>
                    <a:pt x="574" y="858"/>
                  </a:lnTo>
                  <a:lnTo>
                    <a:pt x="576" y="860"/>
                  </a:lnTo>
                  <a:lnTo>
                    <a:pt x="576" y="862"/>
                  </a:lnTo>
                  <a:lnTo>
                    <a:pt x="576" y="863"/>
                  </a:lnTo>
                  <a:lnTo>
                    <a:pt x="578" y="865"/>
                  </a:lnTo>
                  <a:lnTo>
                    <a:pt x="578" y="867"/>
                  </a:lnTo>
                  <a:lnTo>
                    <a:pt x="579" y="867"/>
                  </a:lnTo>
                  <a:lnTo>
                    <a:pt x="582" y="870"/>
                  </a:lnTo>
                  <a:lnTo>
                    <a:pt x="581" y="870"/>
                  </a:lnTo>
                  <a:lnTo>
                    <a:pt x="582" y="870"/>
                  </a:lnTo>
                  <a:lnTo>
                    <a:pt x="581" y="870"/>
                  </a:lnTo>
                  <a:lnTo>
                    <a:pt x="581" y="871"/>
                  </a:lnTo>
                  <a:lnTo>
                    <a:pt x="581" y="873"/>
                  </a:lnTo>
                  <a:lnTo>
                    <a:pt x="581" y="875"/>
                  </a:lnTo>
                  <a:lnTo>
                    <a:pt x="581" y="876"/>
                  </a:lnTo>
                  <a:lnTo>
                    <a:pt x="582" y="876"/>
                  </a:lnTo>
                  <a:lnTo>
                    <a:pt x="582" y="878"/>
                  </a:lnTo>
                  <a:lnTo>
                    <a:pt x="582" y="880"/>
                  </a:lnTo>
                  <a:lnTo>
                    <a:pt x="582" y="878"/>
                  </a:lnTo>
                  <a:lnTo>
                    <a:pt x="582" y="880"/>
                  </a:lnTo>
                  <a:lnTo>
                    <a:pt x="581" y="880"/>
                  </a:lnTo>
                  <a:lnTo>
                    <a:pt x="579" y="880"/>
                  </a:lnTo>
                  <a:lnTo>
                    <a:pt x="579" y="881"/>
                  </a:lnTo>
                  <a:lnTo>
                    <a:pt x="581" y="881"/>
                  </a:lnTo>
                  <a:lnTo>
                    <a:pt x="582" y="880"/>
                  </a:lnTo>
                  <a:lnTo>
                    <a:pt x="582" y="881"/>
                  </a:lnTo>
                  <a:lnTo>
                    <a:pt x="582" y="883"/>
                  </a:lnTo>
                  <a:lnTo>
                    <a:pt x="581" y="883"/>
                  </a:lnTo>
                  <a:lnTo>
                    <a:pt x="581" y="884"/>
                  </a:lnTo>
                  <a:lnTo>
                    <a:pt x="579" y="884"/>
                  </a:lnTo>
                  <a:lnTo>
                    <a:pt x="579" y="886"/>
                  </a:lnTo>
                  <a:lnTo>
                    <a:pt x="578" y="886"/>
                  </a:lnTo>
                  <a:lnTo>
                    <a:pt x="579" y="886"/>
                  </a:lnTo>
                  <a:lnTo>
                    <a:pt x="579" y="884"/>
                  </a:lnTo>
                  <a:lnTo>
                    <a:pt x="581" y="884"/>
                  </a:lnTo>
                  <a:lnTo>
                    <a:pt x="582" y="883"/>
                  </a:lnTo>
                  <a:lnTo>
                    <a:pt x="582" y="881"/>
                  </a:lnTo>
                  <a:lnTo>
                    <a:pt x="584" y="883"/>
                  </a:lnTo>
                  <a:lnTo>
                    <a:pt x="582" y="881"/>
                  </a:lnTo>
                  <a:lnTo>
                    <a:pt x="584" y="880"/>
                  </a:lnTo>
                  <a:lnTo>
                    <a:pt x="584" y="878"/>
                  </a:lnTo>
                  <a:lnTo>
                    <a:pt x="586" y="878"/>
                  </a:lnTo>
                  <a:lnTo>
                    <a:pt x="584" y="878"/>
                  </a:lnTo>
                  <a:lnTo>
                    <a:pt x="586" y="880"/>
                  </a:lnTo>
                  <a:lnTo>
                    <a:pt x="586" y="881"/>
                  </a:lnTo>
                  <a:lnTo>
                    <a:pt x="587" y="881"/>
                  </a:lnTo>
                  <a:lnTo>
                    <a:pt x="589" y="883"/>
                  </a:lnTo>
                  <a:lnTo>
                    <a:pt x="591" y="883"/>
                  </a:lnTo>
                  <a:lnTo>
                    <a:pt x="592" y="883"/>
                  </a:lnTo>
                  <a:lnTo>
                    <a:pt x="592" y="884"/>
                  </a:lnTo>
                  <a:lnTo>
                    <a:pt x="592" y="886"/>
                  </a:lnTo>
                  <a:lnTo>
                    <a:pt x="595" y="886"/>
                  </a:lnTo>
                  <a:lnTo>
                    <a:pt x="597" y="888"/>
                  </a:lnTo>
                  <a:lnTo>
                    <a:pt x="599" y="889"/>
                  </a:lnTo>
                  <a:lnTo>
                    <a:pt x="600" y="888"/>
                  </a:lnTo>
                  <a:lnTo>
                    <a:pt x="600" y="889"/>
                  </a:lnTo>
                  <a:lnTo>
                    <a:pt x="602" y="889"/>
                  </a:lnTo>
                  <a:lnTo>
                    <a:pt x="604" y="891"/>
                  </a:lnTo>
                  <a:lnTo>
                    <a:pt x="605" y="893"/>
                  </a:lnTo>
                  <a:lnTo>
                    <a:pt x="605" y="891"/>
                  </a:lnTo>
                  <a:lnTo>
                    <a:pt x="607" y="893"/>
                  </a:lnTo>
                  <a:lnTo>
                    <a:pt x="608" y="893"/>
                  </a:lnTo>
                  <a:lnTo>
                    <a:pt x="608" y="894"/>
                  </a:lnTo>
                  <a:lnTo>
                    <a:pt x="610" y="894"/>
                  </a:lnTo>
                  <a:lnTo>
                    <a:pt x="612" y="894"/>
                  </a:lnTo>
                  <a:lnTo>
                    <a:pt x="613" y="894"/>
                  </a:lnTo>
                  <a:lnTo>
                    <a:pt x="613" y="896"/>
                  </a:lnTo>
                  <a:lnTo>
                    <a:pt x="613" y="897"/>
                  </a:lnTo>
                  <a:lnTo>
                    <a:pt x="615" y="897"/>
                  </a:lnTo>
                  <a:lnTo>
                    <a:pt x="615" y="899"/>
                  </a:lnTo>
                  <a:lnTo>
                    <a:pt x="617" y="899"/>
                  </a:lnTo>
                  <a:lnTo>
                    <a:pt x="618" y="899"/>
                  </a:lnTo>
                  <a:lnTo>
                    <a:pt x="618" y="901"/>
                  </a:lnTo>
                  <a:lnTo>
                    <a:pt x="620" y="901"/>
                  </a:lnTo>
                  <a:lnTo>
                    <a:pt x="620" y="902"/>
                  </a:lnTo>
                  <a:lnTo>
                    <a:pt x="620" y="904"/>
                  </a:lnTo>
                  <a:lnTo>
                    <a:pt x="621" y="904"/>
                  </a:lnTo>
                  <a:lnTo>
                    <a:pt x="623" y="906"/>
                  </a:lnTo>
                  <a:lnTo>
                    <a:pt x="625" y="906"/>
                  </a:lnTo>
                  <a:lnTo>
                    <a:pt x="625" y="907"/>
                  </a:lnTo>
                  <a:lnTo>
                    <a:pt x="626" y="907"/>
                  </a:lnTo>
                  <a:lnTo>
                    <a:pt x="628" y="909"/>
                  </a:lnTo>
                  <a:lnTo>
                    <a:pt x="628" y="910"/>
                  </a:lnTo>
                  <a:lnTo>
                    <a:pt x="630" y="910"/>
                  </a:lnTo>
                  <a:lnTo>
                    <a:pt x="630" y="912"/>
                  </a:lnTo>
                  <a:lnTo>
                    <a:pt x="630" y="914"/>
                  </a:lnTo>
                  <a:lnTo>
                    <a:pt x="631" y="914"/>
                  </a:lnTo>
                  <a:lnTo>
                    <a:pt x="631" y="915"/>
                  </a:lnTo>
                  <a:lnTo>
                    <a:pt x="630" y="915"/>
                  </a:lnTo>
                  <a:lnTo>
                    <a:pt x="630" y="917"/>
                  </a:lnTo>
                  <a:lnTo>
                    <a:pt x="631" y="919"/>
                  </a:lnTo>
                  <a:lnTo>
                    <a:pt x="631" y="920"/>
                  </a:lnTo>
                  <a:lnTo>
                    <a:pt x="633" y="920"/>
                  </a:lnTo>
                  <a:lnTo>
                    <a:pt x="634" y="920"/>
                  </a:lnTo>
                  <a:lnTo>
                    <a:pt x="634" y="922"/>
                  </a:lnTo>
                  <a:lnTo>
                    <a:pt x="636" y="925"/>
                  </a:lnTo>
                  <a:lnTo>
                    <a:pt x="636" y="927"/>
                  </a:lnTo>
                  <a:lnTo>
                    <a:pt x="636" y="928"/>
                  </a:lnTo>
                  <a:lnTo>
                    <a:pt x="636" y="930"/>
                  </a:lnTo>
                  <a:lnTo>
                    <a:pt x="638" y="930"/>
                  </a:lnTo>
                  <a:lnTo>
                    <a:pt x="638" y="932"/>
                  </a:lnTo>
                  <a:lnTo>
                    <a:pt x="638" y="933"/>
                  </a:lnTo>
                  <a:lnTo>
                    <a:pt x="638" y="935"/>
                  </a:lnTo>
                  <a:lnTo>
                    <a:pt x="638" y="936"/>
                  </a:lnTo>
                  <a:lnTo>
                    <a:pt x="638" y="938"/>
                  </a:lnTo>
                  <a:lnTo>
                    <a:pt x="639" y="938"/>
                  </a:lnTo>
                  <a:lnTo>
                    <a:pt x="638" y="938"/>
                  </a:lnTo>
                  <a:lnTo>
                    <a:pt x="638" y="940"/>
                  </a:lnTo>
                  <a:lnTo>
                    <a:pt x="639" y="941"/>
                  </a:lnTo>
                  <a:lnTo>
                    <a:pt x="639" y="943"/>
                  </a:lnTo>
                  <a:lnTo>
                    <a:pt x="639" y="945"/>
                  </a:lnTo>
                  <a:lnTo>
                    <a:pt x="641" y="945"/>
                  </a:lnTo>
                  <a:lnTo>
                    <a:pt x="643" y="945"/>
                  </a:lnTo>
                  <a:lnTo>
                    <a:pt x="643" y="946"/>
                  </a:lnTo>
                  <a:lnTo>
                    <a:pt x="644" y="946"/>
                  </a:lnTo>
                  <a:lnTo>
                    <a:pt x="644" y="948"/>
                  </a:lnTo>
                  <a:lnTo>
                    <a:pt x="646" y="948"/>
                  </a:lnTo>
                  <a:lnTo>
                    <a:pt x="647" y="949"/>
                  </a:lnTo>
                  <a:lnTo>
                    <a:pt x="649" y="949"/>
                  </a:lnTo>
                  <a:lnTo>
                    <a:pt x="647" y="949"/>
                  </a:lnTo>
                  <a:lnTo>
                    <a:pt x="646" y="949"/>
                  </a:lnTo>
                  <a:lnTo>
                    <a:pt x="646" y="951"/>
                  </a:lnTo>
                  <a:lnTo>
                    <a:pt x="646" y="953"/>
                  </a:lnTo>
                  <a:lnTo>
                    <a:pt x="646" y="954"/>
                  </a:lnTo>
                  <a:lnTo>
                    <a:pt x="647" y="954"/>
                  </a:lnTo>
                  <a:lnTo>
                    <a:pt x="647" y="956"/>
                  </a:lnTo>
                  <a:lnTo>
                    <a:pt x="647" y="958"/>
                  </a:lnTo>
                  <a:lnTo>
                    <a:pt x="649" y="958"/>
                  </a:lnTo>
                  <a:lnTo>
                    <a:pt x="651" y="958"/>
                  </a:lnTo>
                  <a:lnTo>
                    <a:pt x="654" y="959"/>
                  </a:lnTo>
                  <a:lnTo>
                    <a:pt x="656" y="962"/>
                  </a:lnTo>
                  <a:lnTo>
                    <a:pt x="657" y="962"/>
                  </a:lnTo>
                  <a:lnTo>
                    <a:pt x="659" y="962"/>
                  </a:lnTo>
                  <a:lnTo>
                    <a:pt x="659" y="964"/>
                  </a:lnTo>
                  <a:lnTo>
                    <a:pt x="659" y="962"/>
                  </a:lnTo>
                  <a:lnTo>
                    <a:pt x="659" y="964"/>
                  </a:lnTo>
                  <a:lnTo>
                    <a:pt x="660" y="964"/>
                  </a:lnTo>
                  <a:lnTo>
                    <a:pt x="660" y="966"/>
                  </a:lnTo>
                  <a:lnTo>
                    <a:pt x="662" y="966"/>
                  </a:lnTo>
                  <a:lnTo>
                    <a:pt x="660" y="966"/>
                  </a:lnTo>
                  <a:lnTo>
                    <a:pt x="660" y="967"/>
                  </a:lnTo>
                  <a:lnTo>
                    <a:pt x="659" y="967"/>
                  </a:lnTo>
                  <a:lnTo>
                    <a:pt x="657" y="967"/>
                  </a:lnTo>
                  <a:lnTo>
                    <a:pt x="656" y="967"/>
                  </a:lnTo>
                  <a:lnTo>
                    <a:pt x="654" y="967"/>
                  </a:lnTo>
                  <a:lnTo>
                    <a:pt x="652" y="969"/>
                  </a:lnTo>
                  <a:lnTo>
                    <a:pt x="651" y="971"/>
                  </a:lnTo>
                  <a:lnTo>
                    <a:pt x="649" y="972"/>
                  </a:lnTo>
                  <a:lnTo>
                    <a:pt x="649" y="974"/>
                  </a:lnTo>
                  <a:lnTo>
                    <a:pt x="647" y="977"/>
                  </a:lnTo>
                  <a:lnTo>
                    <a:pt x="647" y="979"/>
                  </a:lnTo>
                  <a:lnTo>
                    <a:pt x="647" y="980"/>
                  </a:lnTo>
                  <a:lnTo>
                    <a:pt x="649" y="984"/>
                  </a:lnTo>
                  <a:lnTo>
                    <a:pt x="649" y="987"/>
                  </a:lnTo>
                  <a:lnTo>
                    <a:pt x="649" y="990"/>
                  </a:lnTo>
                  <a:lnTo>
                    <a:pt x="651" y="993"/>
                  </a:lnTo>
                  <a:lnTo>
                    <a:pt x="651" y="995"/>
                  </a:lnTo>
                  <a:lnTo>
                    <a:pt x="651" y="997"/>
                  </a:lnTo>
                  <a:lnTo>
                    <a:pt x="652" y="1001"/>
                  </a:lnTo>
                  <a:lnTo>
                    <a:pt x="654" y="1005"/>
                  </a:lnTo>
                  <a:lnTo>
                    <a:pt x="656" y="1008"/>
                  </a:lnTo>
                  <a:lnTo>
                    <a:pt x="659" y="1013"/>
                  </a:lnTo>
                  <a:lnTo>
                    <a:pt x="659" y="1015"/>
                  </a:lnTo>
                  <a:lnTo>
                    <a:pt x="660" y="1016"/>
                  </a:lnTo>
                  <a:lnTo>
                    <a:pt x="660" y="1018"/>
                  </a:lnTo>
                  <a:lnTo>
                    <a:pt x="664" y="1023"/>
                  </a:lnTo>
                  <a:lnTo>
                    <a:pt x="664" y="1024"/>
                  </a:lnTo>
                  <a:lnTo>
                    <a:pt x="664" y="1026"/>
                  </a:lnTo>
                  <a:lnTo>
                    <a:pt x="667" y="1029"/>
                  </a:lnTo>
                  <a:lnTo>
                    <a:pt x="667" y="1031"/>
                  </a:lnTo>
                  <a:lnTo>
                    <a:pt x="669" y="1032"/>
                  </a:lnTo>
                  <a:lnTo>
                    <a:pt x="669" y="1034"/>
                  </a:lnTo>
                  <a:lnTo>
                    <a:pt x="669" y="1036"/>
                  </a:lnTo>
                  <a:lnTo>
                    <a:pt x="670" y="1039"/>
                  </a:lnTo>
                  <a:lnTo>
                    <a:pt x="670" y="1041"/>
                  </a:lnTo>
                  <a:lnTo>
                    <a:pt x="670" y="1042"/>
                  </a:lnTo>
                  <a:lnTo>
                    <a:pt x="669" y="1044"/>
                  </a:lnTo>
                  <a:lnTo>
                    <a:pt x="667" y="1045"/>
                  </a:lnTo>
                  <a:lnTo>
                    <a:pt x="665" y="1045"/>
                  </a:lnTo>
                  <a:lnTo>
                    <a:pt x="667" y="1045"/>
                  </a:lnTo>
                  <a:lnTo>
                    <a:pt x="667" y="1044"/>
                  </a:lnTo>
                  <a:lnTo>
                    <a:pt x="669" y="1044"/>
                  </a:lnTo>
                  <a:lnTo>
                    <a:pt x="669" y="1042"/>
                  </a:lnTo>
                  <a:lnTo>
                    <a:pt x="670" y="1042"/>
                  </a:lnTo>
                  <a:lnTo>
                    <a:pt x="670" y="1041"/>
                  </a:lnTo>
                  <a:lnTo>
                    <a:pt x="669" y="1041"/>
                  </a:lnTo>
                  <a:lnTo>
                    <a:pt x="669" y="1039"/>
                  </a:lnTo>
                  <a:lnTo>
                    <a:pt x="667" y="1037"/>
                  </a:lnTo>
                  <a:lnTo>
                    <a:pt x="665" y="1036"/>
                  </a:lnTo>
                  <a:lnTo>
                    <a:pt x="664" y="1036"/>
                  </a:lnTo>
                  <a:lnTo>
                    <a:pt x="660" y="1034"/>
                  </a:lnTo>
                  <a:lnTo>
                    <a:pt x="659" y="1034"/>
                  </a:lnTo>
                  <a:lnTo>
                    <a:pt x="657" y="1034"/>
                  </a:lnTo>
                  <a:lnTo>
                    <a:pt x="654" y="1036"/>
                  </a:lnTo>
                  <a:lnTo>
                    <a:pt x="652" y="1036"/>
                  </a:lnTo>
                  <a:lnTo>
                    <a:pt x="651" y="1036"/>
                  </a:lnTo>
                  <a:lnTo>
                    <a:pt x="649" y="1034"/>
                  </a:lnTo>
                  <a:lnTo>
                    <a:pt x="647" y="1032"/>
                  </a:lnTo>
                  <a:lnTo>
                    <a:pt x="646" y="1029"/>
                  </a:lnTo>
                  <a:lnTo>
                    <a:pt x="644" y="1028"/>
                  </a:lnTo>
                  <a:lnTo>
                    <a:pt x="644" y="1026"/>
                  </a:lnTo>
                  <a:lnTo>
                    <a:pt x="643" y="1024"/>
                  </a:lnTo>
                  <a:lnTo>
                    <a:pt x="641" y="1023"/>
                  </a:lnTo>
                  <a:lnTo>
                    <a:pt x="639" y="1021"/>
                  </a:lnTo>
                  <a:lnTo>
                    <a:pt x="639" y="1019"/>
                  </a:lnTo>
                  <a:lnTo>
                    <a:pt x="639" y="1018"/>
                  </a:lnTo>
                  <a:lnTo>
                    <a:pt x="638" y="1018"/>
                  </a:lnTo>
                  <a:lnTo>
                    <a:pt x="634" y="1016"/>
                  </a:lnTo>
                  <a:lnTo>
                    <a:pt x="633" y="1016"/>
                  </a:lnTo>
                  <a:lnTo>
                    <a:pt x="630" y="1018"/>
                  </a:lnTo>
                  <a:lnTo>
                    <a:pt x="628" y="1018"/>
                  </a:lnTo>
                  <a:lnTo>
                    <a:pt x="626" y="1018"/>
                  </a:lnTo>
                  <a:lnTo>
                    <a:pt x="625" y="1018"/>
                  </a:lnTo>
                  <a:lnTo>
                    <a:pt x="621" y="1019"/>
                  </a:lnTo>
                  <a:lnTo>
                    <a:pt x="620" y="1018"/>
                  </a:lnTo>
                  <a:lnTo>
                    <a:pt x="615" y="1018"/>
                  </a:lnTo>
                  <a:lnTo>
                    <a:pt x="613" y="1018"/>
                  </a:lnTo>
                  <a:lnTo>
                    <a:pt x="612" y="1018"/>
                  </a:lnTo>
                  <a:lnTo>
                    <a:pt x="610" y="1016"/>
                  </a:lnTo>
                  <a:lnTo>
                    <a:pt x="610" y="1015"/>
                  </a:lnTo>
                  <a:lnTo>
                    <a:pt x="608" y="1015"/>
                  </a:lnTo>
                  <a:lnTo>
                    <a:pt x="607" y="1015"/>
                  </a:lnTo>
                  <a:lnTo>
                    <a:pt x="604" y="1015"/>
                  </a:lnTo>
                  <a:lnTo>
                    <a:pt x="602" y="1016"/>
                  </a:lnTo>
                  <a:lnTo>
                    <a:pt x="602" y="1018"/>
                  </a:lnTo>
                  <a:lnTo>
                    <a:pt x="600" y="1018"/>
                  </a:lnTo>
                  <a:lnTo>
                    <a:pt x="599" y="1016"/>
                  </a:lnTo>
                  <a:lnTo>
                    <a:pt x="597" y="1016"/>
                  </a:lnTo>
                  <a:lnTo>
                    <a:pt x="594" y="1016"/>
                  </a:lnTo>
                  <a:lnTo>
                    <a:pt x="594" y="1018"/>
                  </a:lnTo>
                  <a:lnTo>
                    <a:pt x="594" y="1016"/>
                  </a:lnTo>
                  <a:lnTo>
                    <a:pt x="592" y="1016"/>
                  </a:lnTo>
                  <a:lnTo>
                    <a:pt x="592" y="1015"/>
                  </a:lnTo>
                  <a:lnTo>
                    <a:pt x="591" y="1015"/>
                  </a:lnTo>
                  <a:lnTo>
                    <a:pt x="589" y="1016"/>
                  </a:lnTo>
                  <a:lnTo>
                    <a:pt x="587" y="1018"/>
                  </a:lnTo>
                  <a:lnTo>
                    <a:pt x="587" y="1016"/>
                  </a:lnTo>
                  <a:lnTo>
                    <a:pt x="587" y="1015"/>
                  </a:lnTo>
                  <a:lnTo>
                    <a:pt x="589" y="1015"/>
                  </a:lnTo>
                  <a:lnTo>
                    <a:pt x="589" y="1013"/>
                  </a:lnTo>
                  <a:lnTo>
                    <a:pt x="589" y="1011"/>
                  </a:lnTo>
                  <a:lnTo>
                    <a:pt x="587" y="1011"/>
                  </a:lnTo>
                  <a:lnTo>
                    <a:pt x="586" y="1011"/>
                  </a:lnTo>
                  <a:lnTo>
                    <a:pt x="586" y="1013"/>
                  </a:lnTo>
                  <a:lnTo>
                    <a:pt x="587" y="1013"/>
                  </a:lnTo>
                  <a:lnTo>
                    <a:pt x="587" y="1011"/>
                  </a:lnTo>
                  <a:lnTo>
                    <a:pt x="589" y="1011"/>
                  </a:lnTo>
                  <a:lnTo>
                    <a:pt x="589" y="1013"/>
                  </a:lnTo>
                  <a:lnTo>
                    <a:pt x="589" y="1015"/>
                  </a:lnTo>
                  <a:lnTo>
                    <a:pt x="587" y="1015"/>
                  </a:lnTo>
                  <a:lnTo>
                    <a:pt x="586" y="1016"/>
                  </a:lnTo>
                  <a:lnTo>
                    <a:pt x="587" y="1016"/>
                  </a:lnTo>
                  <a:lnTo>
                    <a:pt x="587" y="1018"/>
                  </a:lnTo>
                  <a:lnTo>
                    <a:pt x="589" y="1018"/>
                  </a:lnTo>
                  <a:lnTo>
                    <a:pt x="589" y="1016"/>
                  </a:lnTo>
                  <a:lnTo>
                    <a:pt x="591" y="1016"/>
                  </a:lnTo>
                  <a:lnTo>
                    <a:pt x="592" y="1016"/>
                  </a:lnTo>
                  <a:lnTo>
                    <a:pt x="594" y="1018"/>
                  </a:lnTo>
                  <a:lnTo>
                    <a:pt x="595" y="1018"/>
                  </a:lnTo>
                  <a:lnTo>
                    <a:pt x="597" y="1016"/>
                  </a:lnTo>
                  <a:lnTo>
                    <a:pt x="599" y="1016"/>
                  </a:lnTo>
                  <a:lnTo>
                    <a:pt x="600" y="1018"/>
                  </a:lnTo>
                  <a:lnTo>
                    <a:pt x="600" y="1019"/>
                  </a:lnTo>
                  <a:lnTo>
                    <a:pt x="600" y="1021"/>
                  </a:lnTo>
                  <a:lnTo>
                    <a:pt x="600" y="1023"/>
                  </a:lnTo>
                  <a:lnTo>
                    <a:pt x="600" y="1024"/>
                  </a:lnTo>
                  <a:lnTo>
                    <a:pt x="599" y="1024"/>
                  </a:lnTo>
                  <a:lnTo>
                    <a:pt x="599" y="1026"/>
                  </a:lnTo>
                  <a:lnTo>
                    <a:pt x="597" y="1028"/>
                  </a:lnTo>
                  <a:lnTo>
                    <a:pt x="599" y="1029"/>
                  </a:lnTo>
                  <a:lnTo>
                    <a:pt x="599" y="1031"/>
                  </a:lnTo>
                  <a:lnTo>
                    <a:pt x="599" y="1029"/>
                  </a:lnTo>
                  <a:lnTo>
                    <a:pt x="599" y="1028"/>
                  </a:lnTo>
                  <a:lnTo>
                    <a:pt x="599" y="1026"/>
                  </a:lnTo>
                  <a:lnTo>
                    <a:pt x="600" y="1024"/>
                  </a:lnTo>
                  <a:lnTo>
                    <a:pt x="600" y="1021"/>
                  </a:lnTo>
                  <a:lnTo>
                    <a:pt x="602" y="1021"/>
                  </a:lnTo>
                  <a:lnTo>
                    <a:pt x="600" y="1019"/>
                  </a:lnTo>
                  <a:lnTo>
                    <a:pt x="600" y="1018"/>
                  </a:lnTo>
                  <a:lnTo>
                    <a:pt x="602" y="1018"/>
                  </a:lnTo>
                  <a:lnTo>
                    <a:pt x="604" y="1018"/>
                  </a:lnTo>
                  <a:lnTo>
                    <a:pt x="605" y="1018"/>
                  </a:lnTo>
                  <a:lnTo>
                    <a:pt x="605" y="1016"/>
                  </a:lnTo>
                  <a:lnTo>
                    <a:pt x="607" y="1016"/>
                  </a:lnTo>
                  <a:lnTo>
                    <a:pt x="608" y="1016"/>
                  </a:lnTo>
                  <a:lnTo>
                    <a:pt x="610" y="1019"/>
                  </a:lnTo>
                  <a:lnTo>
                    <a:pt x="612" y="1021"/>
                  </a:lnTo>
                  <a:lnTo>
                    <a:pt x="613" y="1023"/>
                  </a:lnTo>
                  <a:lnTo>
                    <a:pt x="615" y="1023"/>
                  </a:lnTo>
                  <a:lnTo>
                    <a:pt x="617" y="1023"/>
                  </a:lnTo>
                  <a:lnTo>
                    <a:pt x="620" y="1021"/>
                  </a:lnTo>
                  <a:lnTo>
                    <a:pt x="621" y="1021"/>
                  </a:lnTo>
                  <a:lnTo>
                    <a:pt x="625" y="1021"/>
                  </a:lnTo>
                  <a:lnTo>
                    <a:pt x="628" y="1021"/>
                  </a:lnTo>
                  <a:lnTo>
                    <a:pt x="630" y="1021"/>
                  </a:lnTo>
                  <a:lnTo>
                    <a:pt x="631" y="1021"/>
                  </a:lnTo>
                  <a:lnTo>
                    <a:pt x="633" y="1021"/>
                  </a:lnTo>
                  <a:lnTo>
                    <a:pt x="634" y="1021"/>
                  </a:lnTo>
                  <a:lnTo>
                    <a:pt x="636" y="1021"/>
                  </a:lnTo>
                  <a:lnTo>
                    <a:pt x="636" y="1023"/>
                  </a:lnTo>
                  <a:lnTo>
                    <a:pt x="638" y="1026"/>
                  </a:lnTo>
                  <a:lnTo>
                    <a:pt x="638" y="1028"/>
                  </a:lnTo>
                  <a:lnTo>
                    <a:pt x="639" y="1029"/>
                  </a:lnTo>
                  <a:lnTo>
                    <a:pt x="639" y="1031"/>
                  </a:lnTo>
                  <a:lnTo>
                    <a:pt x="641" y="1031"/>
                  </a:lnTo>
                  <a:lnTo>
                    <a:pt x="641" y="1032"/>
                  </a:lnTo>
                  <a:lnTo>
                    <a:pt x="643" y="1032"/>
                  </a:lnTo>
                  <a:lnTo>
                    <a:pt x="641" y="1032"/>
                  </a:lnTo>
                  <a:lnTo>
                    <a:pt x="643" y="1034"/>
                  </a:lnTo>
                  <a:lnTo>
                    <a:pt x="641" y="1032"/>
                  </a:lnTo>
                  <a:lnTo>
                    <a:pt x="643" y="1032"/>
                  </a:lnTo>
                  <a:lnTo>
                    <a:pt x="643" y="1034"/>
                  </a:lnTo>
                  <a:lnTo>
                    <a:pt x="644" y="1034"/>
                  </a:lnTo>
                  <a:lnTo>
                    <a:pt x="643" y="1036"/>
                  </a:lnTo>
                  <a:lnTo>
                    <a:pt x="644" y="1036"/>
                  </a:lnTo>
                  <a:lnTo>
                    <a:pt x="644" y="1037"/>
                  </a:lnTo>
                  <a:lnTo>
                    <a:pt x="646" y="1037"/>
                  </a:lnTo>
                  <a:lnTo>
                    <a:pt x="647" y="1039"/>
                  </a:lnTo>
                  <a:lnTo>
                    <a:pt x="649" y="1042"/>
                  </a:lnTo>
                  <a:lnTo>
                    <a:pt x="651" y="1042"/>
                  </a:lnTo>
                  <a:lnTo>
                    <a:pt x="652" y="1042"/>
                  </a:lnTo>
                  <a:lnTo>
                    <a:pt x="651" y="1042"/>
                  </a:lnTo>
                  <a:lnTo>
                    <a:pt x="652" y="1042"/>
                  </a:lnTo>
                  <a:lnTo>
                    <a:pt x="652" y="1044"/>
                  </a:lnTo>
                  <a:lnTo>
                    <a:pt x="654" y="1045"/>
                  </a:lnTo>
                  <a:lnTo>
                    <a:pt x="656" y="1047"/>
                  </a:lnTo>
                  <a:lnTo>
                    <a:pt x="656" y="1049"/>
                  </a:lnTo>
                  <a:lnTo>
                    <a:pt x="657" y="1050"/>
                  </a:lnTo>
                  <a:lnTo>
                    <a:pt x="657" y="1052"/>
                  </a:lnTo>
                  <a:lnTo>
                    <a:pt x="657" y="1054"/>
                  </a:lnTo>
                  <a:lnTo>
                    <a:pt x="659" y="1054"/>
                  </a:lnTo>
                  <a:lnTo>
                    <a:pt x="660" y="1054"/>
                  </a:lnTo>
                  <a:lnTo>
                    <a:pt x="662" y="1054"/>
                  </a:lnTo>
                  <a:lnTo>
                    <a:pt x="662" y="1057"/>
                  </a:lnTo>
                  <a:lnTo>
                    <a:pt x="664" y="1057"/>
                  </a:lnTo>
                  <a:lnTo>
                    <a:pt x="664" y="1058"/>
                  </a:lnTo>
                  <a:lnTo>
                    <a:pt x="665" y="1057"/>
                  </a:lnTo>
                  <a:lnTo>
                    <a:pt x="667" y="1060"/>
                  </a:lnTo>
                  <a:lnTo>
                    <a:pt x="669" y="1060"/>
                  </a:lnTo>
                  <a:lnTo>
                    <a:pt x="669" y="1063"/>
                  </a:lnTo>
                  <a:lnTo>
                    <a:pt x="669" y="1065"/>
                  </a:lnTo>
                  <a:lnTo>
                    <a:pt x="670" y="1067"/>
                  </a:lnTo>
                  <a:lnTo>
                    <a:pt x="670" y="1068"/>
                  </a:lnTo>
                  <a:lnTo>
                    <a:pt x="672" y="1068"/>
                  </a:lnTo>
                  <a:lnTo>
                    <a:pt x="672" y="1070"/>
                  </a:lnTo>
                  <a:lnTo>
                    <a:pt x="672" y="1071"/>
                  </a:lnTo>
                  <a:lnTo>
                    <a:pt x="672" y="1073"/>
                  </a:lnTo>
                  <a:lnTo>
                    <a:pt x="672" y="1075"/>
                  </a:lnTo>
                  <a:lnTo>
                    <a:pt x="673" y="1075"/>
                  </a:lnTo>
                  <a:lnTo>
                    <a:pt x="673" y="1076"/>
                  </a:lnTo>
                  <a:lnTo>
                    <a:pt x="673" y="1078"/>
                  </a:lnTo>
                  <a:lnTo>
                    <a:pt x="675" y="1080"/>
                  </a:lnTo>
                  <a:lnTo>
                    <a:pt x="675" y="1081"/>
                  </a:lnTo>
                  <a:lnTo>
                    <a:pt x="675" y="1083"/>
                  </a:lnTo>
                  <a:lnTo>
                    <a:pt x="675" y="1084"/>
                  </a:lnTo>
                  <a:lnTo>
                    <a:pt x="678" y="1089"/>
                  </a:lnTo>
                  <a:lnTo>
                    <a:pt x="678" y="1093"/>
                  </a:lnTo>
                  <a:lnTo>
                    <a:pt x="678" y="1094"/>
                  </a:lnTo>
                  <a:lnTo>
                    <a:pt x="678" y="1096"/>
                  </a:lnTo>
                  <a:lnTo>
                    <a:pt x="678" y="1097"/>
                  </a:lnTo>
                  <a:lnTo>
                    <a:pt x="678" y="1099"/>
                  </a:lnTo>
                  <a:lnTo>
                    <a:pt x="680" y="1101"/>
                  </a:lnTo>
                  <a:lnTo>
                    <a:pt x="680" y="1102"/>
                  </a:lnTo>
                  <a:lnTo>
                    <a:pt x="680" y="1104"/>
                  </a:lnTo>
                  <a:lnTo>
                    <a:pt x="678" y="1104"/>
                  </a:lnTo>
                  <a:lnTo>
                    <a:pt x="678" y="1107"/>
                  </a:lnTo>
                  <a:lnTo>
                    <a:pt x="678" y="1109"/>
                  </a:lnTo>
                  <a:lnTo>
                    <a:pt x="678" y="1112"/>
                  </a:lnTo>
                  <a:lnTo>
                    <a:pt x="677" y="1112"/>
                  </a:lnTo>
                  <a:lnTo>
                    <a:pt x="677" y="1114"/>
                  </a:lnTo>
                  <a:lnTo>
                    <a:pt x="677" y="1115"/>
                  </a:lnTo>
                  <a:lnTo>
                    <a:pt x="677" y="1117"/>
                  </a:lnTo>
                  <a:lnTo>
                    <a:pt x="675" y="1117"/>
                  </a:lnTo>
                  <a:lnTo>
                    <a:pt x="673" y="1117"/>
                  </a:lnTo>
                  <a:lnTo>
                    <a:pt x="672" y="1117"/>
                  </a:lnTo>
                  <a:lnTo>
                    <a:pt x="672" y="1119"/>
                  </a:lnTo>
                  <a:lnTo>
                    <a:pt x="670" y="1119"/>
                  </a:lnTo>
                  <a:lnTo>
                    <a:pt x="670" y="1120"/>
                  </a:lnTo>
                  <a:lnTo>
                    <a:pt x="667" y="1120"/>
                  </a:lnTo>
                  <a:lnTo>
                    <a:pt x="667" y="1122"/>
                  </a:lnTo>
                  <a:lnTo>
                    <a:pt x="665" y="1122"/>
                  </a:lnTo>
                  <a:lnTo>
                    <a:pt x="664" y="1123"/>
                  </a:lnTo>
                  <a:lnTo>
                    <a:pt x="662" y="1123"/>
                  </a:lnTo>
                  <a:lnTo>
                    <a:pt x="662" y="1125"/>
                  </a:lnTo>
                  <a:lnTo>
                    <a:pt x="660" y="1125"/>
                  </a:lnTo>
                  <a:lnTo>
                    <a:pt x="660" y="1127"/>
                  </a:lnTo>
                  <a:lnTo>
                    <a:pt x="659" y="1127"/>
                  </a:lnTo>
                  <a:lnTo>
                    <a:pt x="657" y="1128"/>
                  </a:lnTo>
                  <a:lnTo>
                    <a:pt x="656" y="1128"/>
                  </a:lnTo>
                  <a:lnTo>
                    <a:pt x="656" y="1130"/>
                  </a:lnTo>
                  <a:lnTo>
                    <a:pt x="656" y="1132"/>
                  </a:lnTo>
                  <a:lnTo>
                    <a:pt x="654" y="1132"/>
                  </a:lnTo>
                  <a:lnTo>
                    <a:pt x="654" y="1133"/>
                  </a:lnTo>
                  <a:lnTo>
                    <a:pt x="652" y="1133"/>
                  </a:lnTo>
                  <a:lnTo>
                    <a:pt x="652" y="1135"/>
                  </a:lnTo>
                  <a:lnTo>
                    <a:pt x="651" y="1135"/>
                  </a:lnTo>
                  <a:lnTo>
                    <a:pt x="652" y="1135"/>
                  </a:lnTo>
                  <a:lnTo>
                    <a:pt x="651" y="1135"/>
                  </a:lnTo>
                  <a:lnTo>
                    <a:pt x="651" y="1136"/>
                  </a:lnTo>
                  <a:lnTo>
                    <a:pt x="649" y="1138"/>
                  </a:lnTo>
                  <a:lnTo>
                    <a:pt x="647" y="1140"/>
                  </a:lnTo>
                  <a:lnTo>
                    <a:pt x="649" y="1138"/>
                  </a:lnTo>
                  <a:lnTo>
                    <a:pt x="651" y="1138"/>
                  </a:lnTo>
                  <a:lnTo>
                    <a:pt x="649" y="1138"/>
                  </a:lnTo>
                  <a:lnTo>
                    <a:pt x="649" y="1140"/>
                  </a:lnTo>
                  <a:lnTo>
                    <a:pt x="651" y="1140"/>
                  </a:lnTo>
                  <a:lnTo>
                    <a:pt x="651" y="1141"/>
                  </a:lnTo>
                  <a:lnTo>
                    <a:pt x="652" y="1141"/>
                  </a:lnTo>
                  <a:lnTo>
                    <a:pt x="654" y="1141"/>
                  </a:lnTo>
                  <a:lnTo>
                    <a:pt x="654" y="1143"/>
                  </a:lnTo>
                  <a:lnTo>
                    <a:pt x="656" y="1143"/>
                  </a:lnTo>
                  <a:lnTo>
                    <a:pt x="656" y="1145"/>
                  </a:lnTo>
                  <a:lnTo>
                    <a:pt x="657" y="1145"/>
                  </a:lnTo>
                  <a:lnTo>
                    <a:pt x="659" y="1146"/>
                  </a:lnTo>
                  <a:lnTo>
                    <a:pt x="659" y="1148"/>
                  </a:lnTo>
                  <a:lnTo>
                    <a:pt x="659" y="1150"/>
                  </a:lnTo>
                  <a:lnTo>
                    <a:pt x="660" y="1150"/>
                  </a:lnTo>
                  <a:lnTo>
                    <a:pt x="660" y="1151"/>
                  </a:lnTo>
                  <a:lnTo>
                    <a:pt x="660" y="1153"/>
                  </a:lnTo>
                  <a:lnTo>
                    <a:pt x="662" y="1153"/>
                  </a:lnTo>
                  <a:lnTo>
                    <a:pt x="662" y="1154"/>
                  </a:lnTo>
                  <a:lnTo>
                    <a:pt x="662" y="1153"/>
                  </a:lnTo>
                  <a:lnTo>
                    <a:pt x="662" y="1154"/>
                  </a:lnTo>
                  <a:lnTo>
                    <a:pt x="664" y="1154"/>
                  </a:lnTo>
                  <a:lnTo>
                    <a:pt x="665" y="1154"/>
                  </a:lnTo>
                  <a:lnTo>
                    <a:pt x="667" y="1154"/>
                  </a:lnTo>
                  <a:lnTo>
                    <a:pt x="669" y="1154"/>
                  </a:lnTo>
                  <a:lnTo>
                    <a:pt x="670" y="1154"/>
                  </a:lnTo>
                  <a:lnTo>
                    <a:pt x="670" y="1156"/>
                  </a:lnTo>
                  <a:lnTo>
                    <a:pt x="672" y="1158"/>
                  </a:lnTo>
                  <a:lnTo>
                    <a:pt x="673" y="1159"/>
                  </a:lnTo>
                  <a:lnTo>
                    <a:pt x="673" y="1164"/>
                  </a:lnTo>
                  <a:lnTo>
                    <a:pt x="673" y="1161"/>
                  </a:lnTo>
                  <a:lnTo>
                    <a:pt x="672" y="1158"/>
                  </a:lnTo>
                  <a:lnTo>
                    <a:pt x="672" y="1156"/>
                  </a:lnTo>
                  <a:lnTo>
                    <a:pt x="673" y="1156"/>
                  </a:lnTo>
                  <a:lnTo>
                    <a:pt x="675" y="1154"/>
                  </a:lnTo>
                  <a:lnTo>
                    <a:pt x="677" y="1153"/>
                  </a:lnTo>
                  <a:lnTo>
                    <a:pt x="678" y="1153"/>
                  </a:lnTo>
                  <a:lnTo>
                    <a:pt x="680" y="1153"/>
                  </a:lnTo>
                  <a:lnTo>
                    <a:pt x="680" y="1151"/>
                  </a:lnTo>
                  <a:lnTo>
                    <a:pt x="682" y="1151"/>
                  </a:lnTo>
                  <a:lnTo>
                    <a:pt x="680" y="1151"/>
                  </a:lnTo>
                  <a:lnTo>
                    <a:pt x="680" y="1150"/>
                  </a:lnTo>
                  <a:lnTo>
                    <a:pt x="682" y="1150"/>
                  </a:lnTo>
                  <a:lnTo>
                    <a:pt x="682" y="1148"/>
                  </a:lnTo>
                  <a:lnTo>
                    <a:pt x="682" y="1146"/>
                  </a:lnTo>
                  <a:lnTo>
                    <a:pt x="683" y="1146"/>
                  </a:lnTo>
                  <a:lnTo>
                    <a:pt x="683" y="1145"/>
                  </a:lnTo>
                  <a:lnTo>
                    <a:pt x="685" y="1145"/>
                  </a:lnTo>
                  <a:lnTo>
                    <a:pt x="685" y="1141"/>
                  </a:lnTo>
                  <a:lnTo>
                    <a:pt x="687" y="1140"/>
                  </a:lnTo>
                  <a:lnTo>
                    <a:pt x="687" y="1138"/>
                  </a:lnTo>
                  <a:lnTo>
                    <a:pt x="688" y="1138"/>
                  </a:lnTo>
                  <a:lnTo>
                    <a:pt x="688" y="1136"/>
                  </a:lnTo>
                  <a:lnTo>
                    <a:pt x="690" y="1136"/>
                  </a:lnTo>
                  <a:lnTo>
                    <a:pt x="690" y="1135"/>
                  </a:lnTo>
                  <a:lnTo>
                    <a:pt x="691" y="1135"/>
                  </a:lnTo>
                  <a:lnTo>
                    <a:pt x="690" y="1135"/>
                  </a:lnTo>
                  <a:lnTo>
                    <a:pt x="691" y="1136"/>
                  </a:lnTo>
                  <a:lnTo>
                    <a:pt x="691" y="1135"/>
                  </a:lnTo>
                  <a:lnTo>
                    <a:pt x="693" y="1136"/>
                  </a:lnTo>
                  <a:lnTo>
                    <a:pt x="695" y="1136"/>
                  </a:lnTo>
                  <a:lnTo>
                    <a:pt x="696" y="1136"/>
                  </a:lnTo>
                  <a:lnTo>
                    <a:pt x="698" y="1136"/>
                  </a:lnTo>
                  <a:lnTo>
                    <a:pt x="700" y="1136"/>
                  </a:lnTo>
                  <a:lnTo>
                    <a:pt x="701" y="1136"/>
                  </a:lnTo>
                  <a:lnTo>
                    <a:pt x="703" y="1136"/>
                  </a:lnTo>
                  <a:lnTo>
                    <a:pt x="703" y="1138"/>
                  </a:lnTo>
                  <a:lnTo>
                    <a:pt x="701" y="1138"/>
                  </a:lnTo>
                  <a:lnTo>
                    <a:pt x="703" y="1138"/>
                  </a:lnTo>
                  <a:lnTo>
                    <a:pt x="703" y="1136"/>
                  </a:lnTo>
                  <a:lnTo>
                    <a:pt x="704" y="1136"/>
                  </a:lnTo>
                  <a:lnTo>
                    <a:pt x="703" y="1136"/>
                  </a:lnTo>
                  <a:lnTo>
                    <a:pt x="703" y="1135"/>
                  </a:lnTo>
                  <a:lnTo>
                    <a:pt x="703" y="1136"/>
                  </a:lnTo>
                  <a:lnTo>
                    <a:pt x="701" y="1136"/>
                  </a:lnTo>
                  <a:lnTo>
                    <a:pt x="701" y="1135"/>
                  </a:lnTo>
                  <a:lnTo>
                    <a:pt x="704" y="1135"/>
                  </a:lnTo>
                  <a:lnTo>
                    <a:pt x="706" y="1136"/>
                  </a:lnTo>
                  <a:lnTo>
                    <a:pt x="709" y="1136"/>
                  </a:lnTo>
                  <a:lnTo>
                    <a:pt x="709" y="1138"/>
                  </a:lnTo>
                  <a:lnTo>
                    <a:pt x="711" y="1138"/>
                  </a:lnTo>
                  <a:lnTo>
                    <a:pt x="711" y="1136"/>
                  </a:lnTo>
                  <a:lnTo>
                    <a:pt x="711" y="1138"/>
                  </a:lnTo>
                  <a:lnTo>
                    <a:pt x="714" y="1138"/>
                  </a:lnTo>
                  <a:lnTo>
                    <a:pt x="714" y="1140"/>
                  </a:lnTo>
                  <a:lnTo>
                    <a:pt x="716" y="1138"/>
                  </a:lnTo>
                  <a:lnTo>
                    <a:pt x="717" y="1138"/>
                  </a:lnTo>
                  <a:lnTo>
                    <a:pt x="717" y="1140"/>
                  </a:lnTo>
                  <a:lnTo>
                    <a:pt x="717" y="1141"/>
                  </a:lnTo>
                  <a:lnTo>
                    <a:pt x="717" y="1140"/>
                  </a:lnTo>
                  <a:lnTo>
                    <a:pt x="719" y="1140"/>
                  </a:lnTo>
                  <a:lnTo>
                    <a:pt x="719" y="1138"/>
                  </a:lnTo>
                  <a:lnTo>
                    <a:pt x="721" y="1140"/>
                  </a:lnTo>
                  <a:lnTo>
                    <a:pt x="722" y="1140"/>
                  </a:lnTo>
                  <a:lnTo>
                    <a:pt x="724" y="1141"/>
                  </a:lnTo>
                  <a:lnTo>
                    <a:pt x="722" y="1141"/>
                  </a:lnTo>
                  <a:lnTo>
                    <a:pt x="724" y="1140"/>
                  </a:lnTo>
                  <a:lnTo>
                    <a:pt x="724" y="1141"/>
                  </a:lnTo>
                  <a:lnTo>
                    <a:pt x="726" y="1141"/>
                  </a:lnTo>
                  <a:lnTo>
                    <a:pt x="727" y="1141"/>
                  </a:lnTo>
                  <a:lnTo>
                    <a:pt x="729" y="1141"/>
                  </a:lnTo>
                  <a:lnTo>
                    <a:pt x="730" y="1141"/>
                  </a:lnTo>
                  <a:lnTo>
                    <a:pt x="732" y="1143"/>
                  </a:lnTo>
                  <a:lnTo>
                    <a:pt x="732" y="1141"/>
                  </a:lnTo>
                  <a:lnTo>
                    <a:pt x="730" y="1141"/>
                  </a:lnTo>
                  <a:lnTo>
                    <a:pt x="729" y="1141"/>
                  </a:lnTo>
                  <a:lnTo>
                    <a:pt x="729" y="1140"/>
                  </a:lnTo>
                  <a:lnTo>
                    <a:pt x="730" y="1140"/>
                  </a:lnTo>
                  <a:lnTo>
                    <a:pt x="739" y="1145"/>
                  </a:lnTo>
                  <a:lnTo>
                    <a:pt x="742" y="1146"/>
                  </a:lnTo>
                  <a:lnTo>
                    <a:pt x="745" y="1146"/>
                  </a:lnTo>
                  <a:lnTo>
                    <a:pt x="748" y="1146"/>
                  </a:lnTo>
                  <a:lnTo>
                    <a:pt x="752" y="1148"/>
                  </a:lnTo>
                  <a:lnTo>
                    <a:pt x="753" y="1148"/>
                  </a:lnTo>
                  <a:lnTo>
                    <a:pt x="753" y="1150"/>
                  </a:lnTo>
                  <a:lnTo>
                    <a:pt x="755" y="1150"/>
                  </a:lnTo>
                  <a:lnTo>
                    <a:pt x="756" y="1150"/>
                  </a:lnTo>
                  <a:lnTo>
                    <a:pt x="758" y="1151"/>
                  </a:lnTo>
                  <a:lnTo>
                    <a:pt x="760" y="1151"/>
                  </a:lnTo>
                  <a:lnTo>
                    <a:pt x="761" y="1154"/>
                  </a:lnTo>
                  <a:lnTo>
                    <a:pt x="763" y="1156"/>
                  </a:lnTo>
                  <a:lnTo>
                    <a:pt x="765" y="1156"/>
                  </a:lnTo>
                  <a:lnTo>
                    <a:pt x="765" y="1158"/>
                  </a:lnTo>
                  <a:lnTo>
                    <a:pt x="766" y="1158"/>
                  </a:lnTo>
                  <a:lnTo>
                    <a:pt x="766" y="1159"/>
                  </a:lnTo>
                  <a:lnTo>
                    <a:pt x="769" y="1163"/>
                  </a:lnTo>
                  <a:lnTo>
                    <a:pt x="773" y="1166"/>
                  </a:lnTo>
                  <a:lnTo>
                    <a:pt x="774" y="1169"/>
                  </a:lnTo>
                  <a:lnTo>
                    <a:pt x="778" y="1171"/>
                  </a:lnTo>
                  <a:lnTo>
                    <a:pt x="779" y="1172"/>
                  </a:lnTo>
                  <a:lnTo>
                    <a:pt x="779" y="1174"/>
                  </a:lnTo>
                  <a:lnTo>
                    <a:pt x="781" y="1174"/>
                  </a:lnTo>
                  <a:lnTo>
                    <a:pt x="781" y="1176"/>
                  </a:lnTo>
                  <a:lnTo>
                    <a:pt x="782" y="1177"/>
                  </a:lnTo>
                  <a:lnTo>
                    <a:pt x="784" y="1179"/>
                  </a:lnTo>
                  <a:lnTo>
                    <a:pt x="784" y="1180"/>
                  </a:lnTo>
                  <a:lnTo>
                    <a:pt x="786" y="1182"/>
                  </a:lnTo>
                  <a:lnTo>
                    <a:pt x="786" y="1184"/>
                  </a:lnTo>
                  <a:lnTo>
                    <a:pt x="787" y="1184"/>
                  </a:lnTo>
                  <a:lnTo>
                    <a:pt x="787" y="1185"/>
                  </a:lnTo>
                  <a:lnTo>
                    <a:pt x="787" y="1187"/>
                  </a:lnTo>
                  <a:lnTo>
                    <a:pt x="787" y="1192"/>
                  </a:lnTo>
                  <a:lnTo>
                    <a:pt x="789" y="1195"/>
                  </a:lnTo>
                  <a:lnTo>
                    <a:pt x="789" y="1197"/>
                  </a:lnTo>
                  <a:lnTo>
                    <a:pt x="789" y="1198"/>
                  </a:lnTo>
                  <a:lnTo>
                    <a:pt x="789" y="1200"/>
                  </a:lnTo>
                  <a:lnTo>
                    <a:pt x="787" y="1202"/>
                  </a:lnTo>
                  <a:lnTo>
                    <a:pt x="787" y="1203"/>
                  </a:lnTo>
                  <a:lnTo>
                    <a:pt x="787" y="1205"/>
                  </a:lnTo>
                  <a:lnTo>
                    <a:pt x="787" y="1206"/>
                  </a:lnTo>
                  <a:lnTo>
                    <a:pt x="787" y="1208"/>
                  </a:lnTo>
                  <a:lnTo>
                    <a:pt x="787" y="1211"/>
                  </a:lnTo>
                  <a:lnTo>
                    <a:pt x="787" y="1215"/>
                  </a:lnTo>
                  <a:lnTo>
                    <a:pt x="787" y="1216"/>
                  </a:lnTo>
                  <a:lnTo>
                    <a:pt x="789" y="1219"/>
                  </a:lnTo>
                  <a:lnTo>
                    <a:pt x="787" y="1219"/>
                  </a:lnTo>
                  <a:lnTo>
                    <a:pt x="786" y="1221"/>
                  </a:lnTo>
                  <a:lnTo>
                    <a:pt x="786" y="1223"/>
                  </a:lnTo>
                  <a:lnTo>
                    <a:pt x="784" y="1226"/>
                  </a:lnTo>
                  <a:lnTo>
                    <a:pt x="784" y="1228"/>
                  </a:lnTo>
                  <a:lnTo>
                    <a:pt x="784" y="1229"/>
                  </a:lnTo>
                  <a:lnTo>
                    <a:pt x="784" y="1231"/>
                  </a:lnTo>
                  <a:lnTo>
                    <a:pt x="782" y="1232"/>
                  </a:lnTo>
                  <a:lnTo>
                    <a:pt x="781" y="1234"/>
                  </a:lnTo>
                  <a:lnTo>
                    <a:pt x="779" y="1237"/>
                  </a:lnTo>
                  <a:lnTo>
                    <a:pt x="779" y="1239"/>
                  </a:lnTo>
                  <a:lnTo>
                    <a:pt x="778" y="1241"/>
                  </a:lnTo>
                  <a:lnTo>
                    <a:pt x="778" y="1242"/>
                  </a:lnTo>
                  <a:lnTo>
                    <a:pt x="776" y="1242"/>
                  </a:lnTo>
                  <a:lnTo>
                    <a:pt x="774" y="1244"/>
                  </a:lnTo>
                  <a:lnTo>
                    <a:pt x="773" y="1247"/>
                  </a:lnTo>
                  <a:lnTo>
                    <a:pt x="773" y="1252"/>
                  </a:lnTo>
                  <a:lnTo>
                    <a:pt x="773" y="1254"/>
                  </a:lnTo>
                  <a:lnTo>
                    <a:pt x="771" y="1258"/>
                  </a:lnTo>
                  <a:lnTo>
                    <a:pt x="769" y="1262"/>
                  </a:lnTo>
                  <a:lnTo>
                    <a:pt x="769" y="1263"/>
                  </a:lnTo>
                  <a:lnTo>
                    <a:pt x="768" y="1265"/>
                  </a:lnTo>
                  <a:lnTo>
                    <a:pt x="768" y="1268"/>
                  </a:lnTo>
                  <a:lnTo>
                    <a:pt x="766" y="1271"/>
                  </a:lnTo>
                  <a:lnTo>
                    <a:pt x="766" y="1273"/>
                  </a:lnTo>
                  <a:lnTo>
                    <a:pt x="765" y="1275"/>
                  </a:lnTo>
                  <a:lnTo>
                    <a:pt x="758" y="1276"/>
                  </a:lnTo>
                  <a:lnTo>
                    <a:pt x="756" y="1278"/>
                  </a:lnTo>
                  <a:lnTo>
                    <a:pt x="755" y="1278"/>
                  </a:lnTo>
                  <a:lnTo>
                    <a:pt x="758" y="1276"/>
                  </a:lnTo>
                  <a:lnTo>
                    <a:pt x="760" y="1275"/>
                  </a:lnTo>
                  <a:lnTo>
                    <a:pt x="761" y="1275"/>
                  </a:lnTo>
                  <a:lnTo>
                    <a:pt x="763" y="1273"/>
                  </a:lnTo>
                  <a:lnTo>
                    <a:pt x="765" y="1271"/>
                  </a:lnTo>
                  <a:lnTo>
                    <a:pt x="765" y="1270"/>
                  </a:lnTo>
                  <a:lnTo>
                    <a:pt x="766" y="1270"/>
                  </a:lnTo>
                  <a:lnTo>
                    <a:pt x="766" y="1268"/>
                  </a:lnTo>
                  <a:lnTo>
                    <a:pt x="768" y="1265"/>
                  </a:lnTo>
                  <a:lnTo>
                    <a:pt x="766" y="1265"/>
                  </a:lnTo>
                  <a:lnTo>
                    <a:pt x="766" y="1263"/>
                  </a:lnTo>
                  <a:lnTo>
                    <a:pt x="765" y="1263"/>
                  </a:lnTo>
                  <a:lnTo>
                    <a:pt x="765" y="1262"/>
                  </a:lnTo>
                  <a:lnTo>
                    <a:pt x="763" y="1262"/>
                  </a:lnTo>
                  <a:lnTo>
                    <a:pt x="761" y="1262"/>
                  </a:lnTo>
                  <a:lnTo>
                    <a:pt x="761" y="1263"/>
                  </a:lnTo>
                  <a:lnTo>
                    <a:pt x="761" y="1262"/>
                  </a:lnTo>
                  <a:lnTo>
                    <a:pt x="760" y="1262"/>
                  </a:lnTo>
                  <a:lnTo>
                    <a:pt x="760" y="1263"/>
                  </a:lnTo>
                  <a:lnTo>
                    <a:pt x="761" y="1263"/>
                  </a:lnTo>
                  <a:lnTo>
                    <a:pt x="763" y="1263"/>
                  </a:lnTo>
                  <a:lnTo>
                    <a:pt x="765" y="1263"/>
                  </a:lnTo>
                  <a:lnTo>
                    <a:pt x="766" y="1263"/>
                  </a:lnTo>
                  <a:lnTo>
                    <a:pt x="766" y="1265"/>
                  </a:lnTo>
                  <a:lnTo>
                    <a:pt x="768" y="1265"/>
                  </a:lnTo>
                  <a:lnTo>
                    <a:pt x="768" y="1267"/>
                  </a:lnTo>
                  <a:lnTo>
                    <a:pt x="766" y="1268"/>
                  </a:lnTo>
                  <a:lnTo>
                    <a:pt x="766" y="1270"/>
                  </a:lnTo>
                  <a:lnTo>
                    <a:pt x="765" y="1270"/>
                  </a:lnTo>
                  <a:lnTo>
                    <a:pt x="765" y="1271"/>
                  </a:lnTo>
                  <a:lnTo>
                    <a:pt x="763" y="1271"/>
                  </a:lnTo>
                  <a:lnTo>
                    <a:pt x="761" y="1273"/>
                  </a:lnTo>
                  <a:lnTo>
                    <a:pt x="760" y="1273"/>
                  </a:lnTo>
                  <a:lnTo>
                    <a:pt x="760" y="1275"/>
                  </a:lnTo>
                  <a:lnTo>
                    <a:pt x="758" y="1275"/>
                  </a:lnTo>
                  <a:lnTo>
                    <a:pt x="758" y="1276"/>
                  </a:lnTo>
                  <a:lnTo>
                    <a:pt x="756" y="1276"/>
                  </a:lnTo>
                  <a:lnTo>
                    <a:pt x="755" y="1278"/>
                  </a:lnTo>
                  <a:lnTo>
                    <a:pt x="753" y="1280"/>
                  </a:lnTo>
                  <a:lnTo>
                    <a:pt x="753" y="1281"/>
                  </a:lnTo>
                  <a:lnTo>
                    <a:pt x="752" y="1283"/>
                  </a:lnTo>
                  <a:lnTo>
                    <a:pt x="750" y="1284"/>
                  </a:lnTo>
                  <a:lnTo>
                    <a:pt x="748" y="1284"/>
                  </a:lnTo>
                  <a:lnTo>
                    <a:pt x="748" y="1286"/>
                  </a:lnTo>
                  <a:lnTo>
                    <a:pt x="748" y="1284"/>
                  </a:lnTo>
                  <a:lnTo>
                    <a:pt x="747" y="1284"/>
                  </a:lnTo>
                  <a:lnTo>
                    <a:pt x="747" y="1283"/>
                  </a:lnTo>
                  <a:lnTo>
                    <a:pt x="745" y="1283"/>
                  </a:lnTo>
                  <a:lnTo>
                    <a:pt x="745" y="1281"/>
                  </a:lnTo>
                  <a:lnTo>
                    <a:pt x="745" y="1280"/>
                  </a:lnTo>
                  <a:lnTo>
                    <a:pt x="743" y="1278"/>
                  </a:lnTo>
                  <a:lnTo>
                    <a:pt x="745" y="1278"/>
                  </a:lnTo>
                  <a:lnTo>
                    <a:pt x="745" y="1276"/>
                  </a:lnTo>
                  <a:lnTo>
                    <a:pt x="743" y="1276"/>
                  </a:lnTo>
                  <a:lnTo>
                    <a:pt x="743" y="1275"/>
                  </a:lnTo>
                  <a:lnTo>
                    <a:pt x="745" y="1275"/>
                  </a:lnTo>
                  <a:lnTo>
                    <a:pt x="743" y="1273"/>
                  </a:lnTo>
                  <a:lnTo>
                    <a:pt x="743" y="1271"/>
                  </a:lnTo>
                  <a:lnTo>
                    <a:pt x="742" y="1271"/>
                  </a:lnTo>
                  <a:lnTo>
                    <a:pt x="743" y="1271"/>
                  </a:lnTo>
                  <a:lnTo>
                    <a:pt x="743" y="1270"/>
                  </a:lnTo>
                  <a:lnTo>
                    <a:pt x="742" y="1271"/>
                  </a:lnTo>
                  <a:lnTo>
                    <a:pt x="743" y="1273"/>
                  </a:lnTo>
                  <a:lnTo>
                    <a:pt x="743" y="1275"/>
                  </a:lnTo>
                  <a:lnTo>
                    <a:pt x="743" y="1276"/>
                  </a:lnTo>
                  <a:lnTo>
                    <a:pt x="745" y="1276"/>
                  </a:lnTo>
                  <a:lnTo>
                    <a:pt x="745" y="1278"/>
                  </a:lnTo>
                  <a:lnTo>
                    <a:pt x="743" y="1278"/>
                  </a:lnTo>
                  <a:lnTo>
                    <a:pt x="743" y="1280"/>
                  </a:lnTo>
                  <a:lnTo>
                    <a:pt x="745" y="1280"/>
                  </a:lnTo>
                  <a:lnTo>
                    <a:pt x="745" y="1281"/>
                  </a:lnTo>
                  <a:lnTo>
                    <a:pt x="745" y="1283"/>
                  </a:lnTo>
                  <a:lnTo>
                    <a:pt x="747" y="1283"/>
                  </a:lnTo>
                  <a:lnTo>
                    <a:pt x="747" y="1284"/>
                  </a:lnTo>
                  <a:lnTo>
                    <a:pt x="747" y="1286"/>
                  </a:lnTo>
                  <a:lnTo>
                    <a:pt x="747" y="1288"/>
                  </a:lnTo>
                  <a:lnTo>
                    <a:pt x="745" y="1288"/>
                  </a:lnTo>
                  <a:lnTo>
                    <a:pt x="745" y="1289"/>
                  </a:lnTo>
                  <a:lnTo>
                    <a:pt x="743" y="1289"/>
                  </a:lnTo>
                  <a:lnTo>
                    <a:pt x="740" y="1291"/>
                  </a:lnTo>
                  <a:lnTo>
                    <a:pt x="740" y="1293"/>
                  </a:lnTo>
                  <a:lnTo>
                    <a:pt x="740" y="1291"/>
                  </a:lnTo>
                  <a:lnTo>
                    <a:pt x="740" y="1289"/>
                  </a:lnTo>
                  <a:lnTo>
                    <a:pt x="739" y="1288"/>
                  </a:lnTo>
                  <a:lnTo>
                    <a:pt x="737" y="1288"/>
                  </a:lnTo>
                  <a:lnTo>
                    <a:pt x="737" y="1286"/>
                  </a:lnTo>
                  <a:lnTo>
                    <a:pt x="739" y="1284"/>
                  </a:lnTo>
                  <a:lnTo>
                    <a:pt x="739" y="1283"/>
                  </a:lnTo>
                  <a:lnTo>
                    <a:pt x="737" y="1283"/>
                  </a:lnTo>
                  <a:lnTo>
                    <a:pt x="735" y="1283"/>
                  </a:lnTo>
                  <a:lnTo>
                    <a:pt x="734" y="1281"/>
                  </a:lnTo>
                  <a:lnTo>
                    <a:pt x="732" y="1281"/>
                  </a:lnTo>
                  <a:lnTo>
                    <a:pt x="732" y="1280"/>
                  </a:lnTo>
                  <a:lnTo>
                    <a:pt x="730" y="1280"/>
                  </a:lnTo>
                  <a:lnTo>
                    <a:pt x="729" y="1278"/>
                  </a:lnTo>
                  <a:lnTo>
                    <a:pt x="729" y="1276"/>
                  </a:lnTo>
                  <a:lnTo>
                    <a:pt x="727" y="1276"/>
                  </a:lnTo>
                  <a:lnTo>
                    <a:pt x="729" y="1278"/>
                  </a:lnTo>
                  <a:lnTo>
                    <a:pt x="727" y="1278"/>
                  </a:lnTo>
                  <a:lnTo>
                    <a:pt x="729" y="1278"/>
                  </a:lnTo>
                  <a:lnTo>
                    <a:pt x="729" y="1280"/>
                  </a:lnTo>
                  <a:lnTo>
                    <a:pt x="730" y="1281"/>
                  </a:lnTo>
                  <a:lnTo>
                    <a:pt x="732" y="1283"/>
                  </a:lnTo>
                  <a:lnTo>
                    <a:pt x="734" y="1283"/>
                  </a:lnTo>
                  <a:lnTo>
                    <a:pt x="735" y="1283"/>
                  </a:lnTo>
                  <a:lnTo>
                    <a:pt x="737" y="1284"/>
                  </a:lnTo>
                  <a:lnTo>
                    <a:pt x="737" y="1286"/>
                  </a:lnTo>
                  <a:lnTo>
                    <a:pt x="737" y="1288"/>
                  </a:lnTo>
                  <a:lnTo>
                    <a:pt x="737" y="1289"/>
                  </a:lnTo>
                  <a:lnTo>
                    <a:pt x="735" y="1289"/>
                  </a:lnTo>
                  <a:lnTo>
                    <a:pt x="735" y="1288"/>
                  </a:lnTo>
                  <a:lnTo>
                    <a:pt x="734" y="1288"/>
                  </a:lnTo>
                  <a:lnTo>
                    <a:pt x="732" y="1288"/>
                  </a:lnTo>
                  <a:lnTo>
                    <a:pt x="732" y="1289"/>
                  </a:lnTo>
                  <a:lnTo>
                    <a:pt x="732" y="1288"/>
                  </a:lnTo>
                  <a:lnTo>
                    <a:pt x="729" y="1288"/>
                  </a:lnTo>
                  <a:lnTo>
                    <a:pt x="729" y="1286"/>
                  </a:lnTo>
                  <a:lnTo>
                    <a:pt x="727" y="1286"/>
                  </a:lnTo>
                  <a:lnTo>
                    <a:pt x="726" y="1286"/>
                  </a:lnTo>
                  <a:lnTo>
                    <a:pt x="724" y="1288"/>
                  </a:lnTo>
                  <a:lnTo>
                    <a:pt x="722" y="1288"/>
                  </a:lnTo>
                  <a:lnTo>
                    <a:pt x="721" y="1288"/>
                  </a:lnTo>
                  <a:lnTo>
                    <a:pt x="721" y="1286"/>
                  </a:lnTo>
                  <a:lnTo>
                    <a:pt x="719" y="1286"/>
                  </a:lnTo>
                  <a:lnTo>
                    <a:pt x="719" y="1288"/>
                  </a:lnTo>
                  <a:lnTo>
                    <a:pt x="717" y="1288"/>
                  </a:lnTo>
                  <a:lnTo>
                    <a:pt x="717" y="1286"/>
                  </a:lnTo>
                  <a:lnTo>
                    <a:pt x="717" y="1288"/>
                  </a:lnTo>
                  <a:lnTo>
                    <a:pt x="719" y="1288"/>
                  </a:lnTo>
                  <a:lnTo>
                    <a:pt x="721" y="1288"/>
                  </a:lnTo>
                  <a:lnTo>
                    <a:pt x="721" y="1289"/>
                  </a:lnTo>
                  <a:lnTo>
                    <a:pt x="722" y="1289"/>
                  </a:lnTo>
                  <a:lnTo>
                    <a:pt x="724" y="1289"/>
                  </a:lnTo>
                  <a:lnTo>
                    <a:pt x="726" y="1289"/>
                  </a:lnTo>
                  <a:lnTo>
                    <a:pt x="727" y="1289"/>
                  </a:lnTo>
                  <a:lnTo>
                    <a:pt x="729" y="1289"/>
                  </a:lnTo>
                  <a:lnTo>
                    <a:pt x="732" y="1289"/>
                  </a:lnTo>
                  <a:lnTo>
                    <a:pt x="734" y="1289"/>
                  </a:lnTo>
                  <a:lnTo>
                    <a:pt x="735" y="1289"/>
                  </a:lnTo>
                  <a:lnTo>
                    <a:pt x="735" y="1291"/>
                  </a:lnTo>
                  <a:lnTo>
                    <a:pt x="737" y="1291"/>
                  </a:lnTo>
                  <a:lnTo>
                    <a:pt x="737" y="1289"/>
                  </a:lnTo>
                  <a:lnTo>
                    <a:pt x="739" y="1289"/>
                  </a:lnTo>
                  <a:lnTo>
                    <a:pt x="739" y="1291"/>
                  </a:lnTo>
                  <a:lnTo>
                    <a:pt x="737" y="1291"/>
                  </a:lnTo>
                  <a:lnTo>
                    <a:pt x="737" y="1293"/>
                  </a:lnTo>
                  <a:lnTo>
                    <a:pt x="735" y="1293"/>
                  </a:lnTo>
                  <a:lnTo>
                    <a:pt x="735" y="1294"/>
                  </a:lnTo>
                  <a:lnTo>
                    <a:pt x="734" y="1296"/>
                  </a:lnTo>
                  <a:lnTo>
                    <a:pt x="734" y="1298"/>
                  </a:lnTo>
                  <a:lnTo>
                    <a:pt x="732" y="1298"/>
                  </a:lnTo>
                  <a:lnTo>
                    <a:pt x="732" y="1299"/>
                  </a:lnTo>
                  <a:lnTo>
                    <a:pt x="730" y="1299"/>
                  </a:lnTo>
                  <a:lnTo>
                    <a:pt x="732" y="1299"/>
                  </a:lnTo>
                  <a:lnTo>
                    <a:pt x="734" y="1299"/>
                  </a:lnTo>
                  <a:lnTo>
                    <a:pt x="734" y="1301"/>
                  </a:lnTo>
                  <a:lnTo>
                    <a:pt x="735" y="1301"/>
                  </a:lnTo>
                  <a:lnTo>
                    <a:pt x="734" y="1302"/>
                  </a:lnTo>
                  <a:lnTo>
                    <a:pt x="735" y="1302"/>
                  </a:lnTo>
                  <a:lnTo>
                    <a:pt x="735" y="1299"/>
                  </a:lnTo>
                  <a:lnTo>
                    <a:pt x="734" y="1299"/>
                  </a:lnTo>
                  <a:lnTo>
                    <a:pt x="735" y="1299"/>
                  </a:lnTo>
                  <a:lnTo>
                    <a:pt x="737" y="1301"/>
                  </a:lnTo>
                  <a:lnTo>
                    <a:pt x="737" y="1302"/>
                  </a:lnTo>
                  <a:lnTo>
                    <a:pt x="735" y="1302"/>
                  </a:lnTo>
                  <a:lnTo>
                    <a:pt x="735" y="1304"/>
                  </a:lnTo>
                  <a:lnTo>
                    <a:pt x="734" y="1306"/>
                  </a:lnTo>
                  <a:lnTo>
                    <a:pt x="730" y="1307"/>
                  </a:lnTo>
                  <a:lnTo>
                    <a:pt x="729" y="1309"/>
                  </a:lnTo>
                  <a:lnTo>
                    <a:pt x="726" y="1311"/>
                  </a:lnTo>
                  <a:lnTo>
                    <a:pt x="724" y="1312"/>
                  </a:lnTo>
                  <a:lnTo>
                    <a:pt x="722" y="1312"/>
                  </a:lnTo>
                  <a:lnTo>
                    <a:pt x="719" y="1314"/>
                  </a:lnTo>
                  <a:lnTo>
                    <a:pt x="716" y="1312"/>
                  </a:lnTo>
                  <a:lnTo>
                    <a:pt x="716" y="1314"/>
                  </a:lnTo>
                  <a:lnTo>
                    <a:pt x="714" y="1312"/>
                  </a:lnTo>
                  <a:lnTo>
                    <a:pt x="713" y="1312"/>
                  </a:lnTo>
                  <a:lnTo>
                    <a:pt x="713" y="1311"/>
                  </a:lnTo>
                  <a:lnTo>
                    <a:pt x="713" y="1309"/>
                  </a:lnTo>
                  <a:lnTo>
                    <a:pt x="713" y="1311"/>
                  </a:lnTo>
                  <a:lnTo>
                    <a:pt x="713" y="1309"/>
                  </a:lnTo>
                  <a:lnTo>
                    <a:pt x="711" y="1309"/>
                  </a:lnTo>
                  <a:lnTo>
                    <a:pt x="711" y="1307"/>
                  </a:lnTo>
                  <a:lnTo>
                    <a:pt x="713" y="1309"/>
                  </a:lnTo>
                  <a:lnTo>
                    <a:pt x="714" y="1307"/>
                  </a:lnTo>
                  <a:lnTo>
                    <a:pt x="716" y="1307"/>
                  </a:lnTo>
                  <a:lnTo>
                    <a:pt x="714" y="1307"/>
                  </a:lnTo>
                  <a:lnTo>
                    <a:pt x="713" y="1307"/>
                  </a:lnTo>
                  <a:lnTo>
                    <a:pt x="711" y="1307"/>
                  </a:lnTo>
                  <a:lnTo>
                    <a:pt x="709" y="1306"/>
                  </a:lnTo>
                  <a:lnTo>
                    <a:pt x="709" y="1304"/>
                  </a:lnTo>
                  <a:lnTo>
                    <a:pt x="709" y="1302"/>
                  </a:lnTo>
                  <a:lnTo>
                    <a:pt x="709" y="1301"/>
                  </a:lnTo>
                  <a:lnTo>
                    <a:pt x="708" y="1301"/>
                  </a:lnTo>
                  <a:lnTo>
                    <a:pt x="709" y="1301"/>
                  </a:lnTo>
                  <a:lnTo>
                    <a:pt x="709" y="1302"/>
                  </a:lnTo>
                  <a:lnTo>
                    <a:pt x="708" y="1304"/>
                  </a:lnTo>
                  <a:lnTo>
                    <a:pt x="708" y="1306"/>
                  </a:lnTo>
                  <a:lnTo>
                    <a:pt x="708" y="1304"/>
                  </a:lnTo>
                  <a:lnTo>
                    <a:pt x="706" y="1304"/>
                  </a:lnTo>
                  <a:lnTo>
                    <a:pt x="708" y="1306"/>
                  </a:lnTo>
                  <a:lnTo>
                    <a:pt x="709" y="1306"/>
                  </a:lnTo>
                  <a:lnTo>
                    <a:pt x="709" y="1307"/>
                  </a:lnTo>
                  <a:lnTo>
                    <a:pt x="708" y="1307"/>
                  </a:lnTo>
                  <a:lnTo>
                    <a:pt x="708" y="1306"/>
                  </a:lnTo>
                  <a:lnTo>
                    <a:pt x="704" y="1306"/>
                  </a:lnTo>
                  <a:lnTo>
                    <a:pt x="703" y="1306"/>
                  </a:lnTo>
                  <a:lnTo>
                    <a:pt x="704" y="1306"/>
                  </a:lnTo>
                  <a:lnTo>
                    <a:pt x="704" y="1307"/>
                  </a:lnTo>
                  <a:lnTo>
                    <a:pt x="703" y="1307"/>
                  </a:lnTo>
                  <a:lnTo>
                    <a:pt x="701" y="1309"/>
                  </a:lnTo>
                  <a:lnTo>
                    <a:pt x="700" y="1309"/>
                  </a:lnTo>
                  <a:lnTo>
                    <a:pt x="701" y="1307"/>
                  </a:lnTo>
                  <a:lnTo>
                    <a:pt x="701" y="1309"/>
                  </a:lnTo>
                  <a:lnTo>
                    <a:pt x="700" y="1309"/>
                  </a:lnTo>
                  <a:lnTo>
                    <a:pt x="700" y="1311"/>
                  </a:lnTo>
                  <a:lnTo>
                    <a:pt x="700" y="1309"/>
                  </a:lnTo>
                  <a:lnTo>
                    <a:pt x="698" y="1309"/>
                  </a:lnTo>
                  <a:lnTo>
                    <a:pt x="696" y="1309"/>
                  </a:lnTo>
                  <a:lnTo>
                    <a:pt x="698" y="1309"/>
                  </a:lnTo>
                  <a:lnTo>
                    <a:pt x="700" y="1311"/>
                  </a:lnTo>
                  <a:lnTo>
                    <a:pt x="700" y="1312"/>
                  </a:lnTo>
                  <a:lnTo>
                    <a:pt x="698" y="1311"/>
                  </a:lnTo>
                  <a:lnTo>
                    <a:pt x="696" y="1311"/>
                  </a:lnTo>
                  <a:lnTo>
                    <a:pt x="696" y="1312"/>
                  </a:lnTo>
                  <a:lnTo>
                    <a:pt x="698" y="1312"/>
                  </a:lnTo>
                  <a:lnTo>
                    <a:pt x="696" y="1314"/>
                  </a:lnTo>
                  <a:lnTo>
                    <a:pt x="696" y="1315"/>
                  </a:lnTo>
                  <a:lnTo>
                    <a:pt x="695" y="1315"/>
                  </a:lnTo>
                  <a:lnTo>
                    <a:pt x="693" y="1315"/>
                  </a:lnTo>
                  <a:lnTo>
                    <a:pt x="691" y="1314"/>
                  </a:lnTo>
                  <a:lnTo>
                    <a:pt x="690" y="1314"/>
                  </a:lnTo>
                  <a:lnTo>
                    <a:pt x="691" y="1314"/>
                  </a:lnTo>
                  <a:lnTo>
                    <a:pt x="690" y="1315"/>
                  </a:lnTo>
                  <a:lnTo>
                    <a:pt x="690" y="1314"/>
                  </a:lnTo>
                  <a:lnTo>
                    <a:pt x="688" y="1314"/>
                  </a:lnTo>
                  <a:lnTo>
                    <a:pt x="687" y="1314"/>
                  </a:lnTo>
                  <a:lnTo>
                    <a:pt x="687" y="1315"/>
                  </a:lnTo>
                  <a:lnTo>
                    <a:pt x="685" y="1315"/>
                  </a:lnTo>
                  <a:lnTo>
                    <a:pt x="683" y="1314"/>
                  </a:lnTo>
                  <a:lnTo>
                    <a:pt x="683" y="1315"/>
                  </a:lnTo>
                  <a:lnTo>
                    <a:pt x="682" y="1315"/>
                  </a:lnTo>
                  <a:lnTo>
                    <a:pt x="683" y="1315"/>
                  </a:lnTo>
                  <a:lnTo>
                    <a:pt x="682" y="1314"/>
                  </a:lnTo>
                  <a:lnTo>
                    <a:pt x="682" y="1315"/>
                  </a:lnTo>
                  <a:lnTo>
                    <a:pt x="682" y="1317"/>
                  </a:lnTo>
                  <a:lnTo>
                    <a:pt x="683" y="1317"/>
                  </a:lnTo>
                  <a:lnTo>
                    <a:pt x="685" y="1317"/>
                  </a:lnTo>
                  <a:lnTo>
                    <a:pt x="687" y="1317"/>
                  </a:lnTo>
                  <a:lnTo>
                    <a:pt x="687" y="1319"/>
                  </a:lnTo>
                  <a:lnTo>
                    <a:pt x="688" y="1319"/>
                  </a:lnTo>
                  <a:lnTo>
                    <a:pt x="687" y="1319"/>
                  </a:lnTo>
                  <a:lnTo>
                    <a:pt x="687" y="1320"/>
                  </a:lnTo>
                  <a:lnTo>
                    <a:pt x="685" y="1320"/>
                  </a:lnTo>
                  <a:lnTo>
                    <a:pt x="687" y="1322"/>
                  </a:lnTo>
                  <a:lnTo>
                    <a:pt x="687" y="1320"/>
                  </a:lnTo>
                  <a:lnTo>
                    <a:pt x="688" y="1319"/>
                  </a:lnTo>
                  <a:lnTo>
                    <a:pt x="688" y="1320"/>
                  </a:lnTo>
                  <a:lnTo>
                    <a:pt x="688" y="1319"/>
                  </a:lnTo>
                  <a:lnTo>
                    <a:pt x="690" y="1319"/>
                  </a:lnTo>
                  <a:lnTo>
                    <a:pt x="690" y="1317"/>
                  </a:lnTo>
                  <a:lnTo>
                    <a:pt x="691" y="1317"/>
                  </a:lnTo>
                  <a:lnTo>
                    <a:pt x="693" y="1317"/>
                  </a:lnTo>
                  <a:lnTo>
                    <a:pt x="693" y="1319"/>
                  </a:lnTo>
                  <a:lnTo>
                    <a:pt x="696" y="1319"/>
                  </a:lnTo>
                  <a:lnTo>
                    <a:pt x="696" y="1317"/>
                  </a:lnTo>
                  <a:lnTo>
                    <a:pt x="698" y="1317"/>
                  </a:lnTo>
                  <a:lnTo>
                    <a:pt x="698" y="1315"/>
                  </a:lnTo>
                  <a:lnTo>
                    <a:pt x="700" y="1315"/>
                  </a:lnTo>
                  <a:lnTo>
                    <a:pt x="703" y="1314"/>
                  </a:lnTo>
                  <a:lnTo>
                    <a:pt x="703" y="1315"/>
                  </a:lnTo>
                  <a:lnTo>
                    <a:pt x="704" y="1317"/>
                  </a:lnTo>
                  <a:lnTo>
                    <a:pt x="704" y="1319"/>
                  </a:lnTo>
                  <a:lnTo>
                    <a:pt x="703" y="1320"/>
                  </a:lnTo>
                  <a:lnTo>
                    <a:pt x="703" y="1322"/>
                  </a:lnTo>
                  <a:lnTo>
                    <a:pt x="703" y="1324"/>
                  </a:lnTo>
                  <a:lnTo>
                    <a:pt x="703" y="1325"/>
                  </a:lnTo>
                  <a:lnTo>
                    <a:pt x="703" y="1327"/>
                  </a:lnTo>
                  <a:lnTo>
                    <a:pt x="701" y="1328"/>
                  </a:lnTo>
                  <a:lnTo>
                    <a:pt x="701" y="1330"/>
                  </a:lnTo>
                  <a:lnTo>
                    <a:pt x="701" y="1332"/>
                  </a:lnTo>
                  <a:lnTo>
                    <a:pt x="700" y="1332"/>
                  </a:lnTo>
                  <a:lnTo>
                    <a:pt x="698" y="1332"/>
                  </a:lnTo>
                  <a:lnTo>
                    <a:pt x="696" y="1332"/>
                  </a:lnTo>
                  <a:lnTo>
                    <a:pt x="695" y="1332"/>
                  </a:lnTo>
                  <a:lnTo>
                    <a:pt x="693" y="1332"/>
                  </a:lnTo>
                  <a:lnTo>
                    <a:pt x="691" y="1332"/>
                  </a:lnTo>
                  <a:lnTo>
                    <a:pt x="690" y="1330"/>
                  </a:lnTo>
                  <a:lnTo>
                    <a:pt x="688" y="1330"/>
                  </a:lnTo>
                  <a:lnTo>
                    <a:pt x="687" y="1328"/>
                  </a:lnTo>
                  <a:lnTo>
                    <a:pt x="685" y="1328"/>
                  </a:lnTo>
                  <a:lnTo>
                    <a:pt x="685" y="1327"/>
                  </a:lnTo>
                  <a:lnTo>
                    <a:pt x="685" y="1328"/>
                  </a:lnTo>
                  <a:lnTo>
                    <a:pt x="683" y="1327"/>
                  </a:lnTo>
                  <a:lnTo>
                    <a:pt x="682" y="1327"/>
                  </a:lnTo>
                  <a:lnTo>
                    <a:pt x="682" y="1328"/>
                  </a:lnTo>
                  <a:lnTo>
                    <a:pt x="680" y="1328"/>
                  </a:lnTo>
                  <a:lnTo>
                    <a:pt x="678" y="1328"/>
                  </a:lnTo>
                  <a:lnTo>
                    <a:pt x="677" y="1327"/>
                  </a:lnTo>
                  <a:lnTo>
                    <a:pt x="675" y="1327"/>
                  </a:lnTo>
                  <a:lnTo>
                    <a:pt x="677" y="1327"/>
                  </a:lnTo>
                  <a:lnTo>
                    <a:pt x="677" y="1328"/>
                  </a:lnTo>
                  <a:lnTo>
                    <a:pt x="680" y="1328"/>
                  </a:lnTo>
                  <a:lnTo>
                    <a:pt x="682" y="1328"/>
                  </a:lnTo>
                  <a:lnTo>
                    <a:pt x="683" y="1328"/>
                  </a:lnTo>
                  <a:lnTo>
                    <a:pt x="685" y="1328"/>
                  </a:lnTo>
                  <a:lnTo>
                    <a:pt x="687" y="1328"/>
                  </a:lnTo>
                  <a:lnTo>
                    <a:pt x="687" y="1330"/>
                  </a:lnTo>
                  <a:lnTo>
                    <a:pt x="688" y="1330"/>
                  </a:lnTo>
                  <a:lnTo>
                    <a:pt x="688" y="1332"/>
                  </a:lnTo>
                  <a:lnTo>
                    <a:pt x="690" y="1332"/>
                  </a:lnTo>
                  <a:lnTo>
                    <a:pt x="691" y="1332"/>
                  </a:lnTo>
                  <a:lnTo>
                    <a:pt x="695" y="1333"/>
                  </a:lnTo>
                  <a:lnTo>
                    <a:pt x="695" y="1335"/>
                  </a:lnTo>
                  <a:lnTo>
                    <a:pt x="693" y="1335"/>
                  </a:lnTo>
                  <a:lnTo>
                    <a:pt x="691" y="1335"/>
                  </a:lnTo>
                  <a:lnTo>
                    <a:pt x="690" y="1335"/>
                  </a:lnTo>
                  <a:lnTo>
                    <a:pt x="688" y="1337"/>
                  </a:lnTo>
                  <a:lnTo>
                    <a:pt x="687" y="1337"/>
                  </a:lnTo>
                  <a:lnTo>
                    <a:pt x="685" y="1337"/>
                  </a:lnTo>
                  <a:lnTo>
                    <a:pt x="683" y="1337"/>
                  </a:lnTo>
                  <a:lnTo>
                    <a:pt x="682" y="1337"/>
                  </a:lnTo>
                  <a:lnTo>
                    <a:pt x="683" y="1337"/>
                  </a:lnTo>
                  <a:lnTo>
                    <a:pt x="685" y="1337"/>
                  </a:lnTo>
                  <a:lnTo>
                    <a:pt x="687" y="1337"/>
                  </a:lnTo>
                  <a:lnTo>
                    <a:pt x="688" y="1337"/>
                  </a:lnTo>
                  <a:lnTo>
                    <a:pt x="690" y="1335"/>
                  </a:lnTo>
                  <a:lnTo>
                    <a:pt x="691" y="1335"/>
                  </a:lnTo>
                  <a:lnTo>
                    <a:pt x="691" y="1337"/>
                  </a:lnTo>
                  <a:lnTo>
                    <a:pt x="691" y="1338"/>
                  </a:lnTo>
                  <a:lnTo>
                    <a:pt x="691" y="1337"/>
                  </a:lnTo>
                  <a:lnTo>
                    <a:pt x="691" y="1335"/>
                  </a:lnTo>
                  <a:lnTo>
                    <a:pt x="693" y="1337"/>
                  </a:lnTo>
                  <a:lnTo>
                    <a:pt x="695" y="1335"/>
                  </a:lnTo>
                  <a:lnTo>
                    <a:pt x="695" y="1333"/>
                  </a:lnTo>
                  <a:lnTo>
                    <a:pt x="696" y="1333"/>
                  </a:lnTo>
                  <a:lnTo>
                    <a:pt x="698" y="1333"/>
                  </a:lnTo>
                  <a:lnTo>
                    <a:pt x="700" y="1333"/>
                  </a:lnTo>
                  <a:lnTo>
                    <a:pt x="701" y="1333"/>
                  </a:lnTo>
                  <a:lnTo>
                    <a:pt x="703" y="1333"/>
                  </a:lnTo>
                  <a:lnTo>
                    <a:pt x="701" y="1335"/>
                  </a:lnTo>
                  <a:lnTo>
                    <a:pt x="700" y="1337"/>
                  </a:lnTo>
                  <a:lnTo>
                    <a:pt x="698" y="1338"/>
                  </a:lnTo>
                  <a:lnTo>
                    <a:pt x="696" y="1338"/>
                  </a:lnTo>
                  <a:lnTo>
                    <a:pt x="696" y="1340"/>
                  </a:lnTo>
                  <a:lnTo>
                    <a:pt x="695" y="1340"/>
                  </a:lnTo>
                  <a:lnTo>
                    <a:pt x="693" y="1341"/>
                  </a:lnTo>
                  <a:lnTo>
                    <a:pt x="691" y="1340"/>
                  </a:lnTo>
                  <a:lnTo>
                    <a:pt x="691" y="1341"/>
                  </a:lnTo>
                  <a:lnTo>
                    <a:pt x="693" y="1341"/>
                  </a:lnTo>
                  <a:lnTo>
                    <a:pt x="691" y="1341"/>
                  </a:lnTo>
                  <a:lnTo>
                    <a:pt x="690" y="1343"/>
                  </a:lnTo>
                  <a:lnTo>
                    <a:pt x="687" y="1345"/>
                  </a:lnTo>
                  <a:lnTo>
                    <a:pt x="685" y="1345"/>
                  </a:lnTo>
                  <a:lnTo>
                    <a:pt x="683" y="1343"/>
                  </a:lnTo>
                  <a:lnTo>
                    <a:pt x="682" y="1343"/>
                  </a:lnTo>
                  <a:lnTo>
                    <a:pt x="680" y="1343"/>
                  </a:lnTo>
                  <a:lnTo>
                    <a:pt x="678" y="1343"/>
                  </a:lnTo>
                  <a:lnTo>
                    <a:pt x="678" y="1341"/>
                  </a:lnTo>
                  <a:lnTo>
                    <a:pt x="677" y="1341"/>
                  </a:lnTo>
                  <a:lnTo>
                    <a:pt x="675" y="1341"/>
                  </a:lnTo>
                  <a:lnTo>
                    <a:pt x="673" y="1341"/>
                  </a:lnTo>
                  <a:lnTo>
                    <a:pt x="672" y="1341"/>
                  </a:lnTo>
                  <a:lnTo>
                    <a:pt x="670" y="1341"/>
                  </a:lnTo>
                  <a:lnTo>
                    <a:pt x="669" y="1341"/>
                  </a:lnTo>
                  <a:lnTo>
                    <a:pt x="667" y="1340"/>
                  </a:lnTo>
                  <a:lnTo>
                    <a:pt x="669" y="1341"/>
                  </a:lnTo>
                  <a:lnTo>
                    <a:pt x="670" y="1341"/>
                  </a:lnTo>
                  <a:lnTo>
                    <a:pt x="672" y="1343"/>
                  </a:lnTo>
                  <a:lnTo>
                    <a:pt x="672" y="1345"/>
                  </a:lnTo>
                  <a:lnTo>
                    <a:pt x="670" y="1345"/>
                  </a:lnTo>
                  <a:lnTo>
                    <a:pt x="669" y="1345"/>
                  </a:lnTo>
                  <a:lnTo>
                    <a:pt x="667" y="1345"/>
                  </a:lnTo>
                  <a:lnTo>
                    <a:pt x="665" y="1345"/>
                  </a:lnTo>
                  <a:lnTo>
                    <a:pt x="665" y="1343"/>
                  </a:lnTo>
                  <a:lnTo>
                    <a:pt x="664" y="1343"/>
                  </a:lnTo>
                  <a:lnTo>
                    <a:pt x="662" y="1343"/>
                  </a:lnTo>
                  <a:lnTo>
                    <a:pt x="662" y="1341"/>
                  </a:lnTo>
                  <a:lnTo>
                    <a:pt x="662" y="1343"/>
                  </a:lnTo>
                  <a:lnTo>
                    <a:pt x="664" y="1343"/>
                  </a:lnTo>
                  <a:lnTo>
                    <a:pt x="664" y="1345"/>
                  </a:lnTo>
                  <a:lnTo>
                    <a:pt x="662" y="1345"/>
                  </a:lnTo>
                  <a:lnTo>
                    <a:pt x="660" y="1345"/>
                  </a:lnTo>
                  <a:lnTo>
                    <a:pt x="659" y="1345"/>
                  </a:lnTo>
                  <a:lnTo>
                    <a:pt x="657" y="1345"/>
                  </a:lnTo>
                  <a:lnTo>
                    <a:pt x="656" y="1343"/>
                  </a:lnTo>
                  <a:lnTo>
                    <a:pt x="656" y="1345"/>
                  </a:lnTo>
                  <a:lnTo>
                    <a:pt x="654" y="1346"/>
                  </a:lnTo>
                  <a:lnTo>
                    <a:pt x="654" y="1348"/>
                  </a:lnTo>
                  <a:lnTo>
                    <a:pt x="654" y="1350"/>
                  </a:lnTo>
                  <a:lnTo>
                    <a:pt x="652" y="1351"/>
                  </a:lnTo>
                  <a:lnTo>
                    <a:pt x="651" y="1351"/>
                  </a:lnTo>
                  <a:lnTo>
                    <a:pt x="647" y="1351"/>
                  </a:lnTo>
                  <a:lnTo>
                    <a:pt x="646" y="1350"/>
                  </a:lnTo>
                  <a:lnTo>
                    <a:pt x="646" y="1351"/>
                  </a:lnTo>
                  <a:lnTo>
                    <a:pt x="646" y="1350"/>
                  </a:lnTo>
                  <a:lnTo>
                    <a:pt x="644" y="1350"/>
                  </a:lnTo>
                  <a:lnTo>
                    <a:pt x="644" y="1348"/>
                  </a:lnTo>
                  <a:lnTo>
                    <a:pt x="644" y="1346"/>
                  </a:lnTo>
                  <a:lnTo>
                    <a:pt x="643" y="1346"/>
                  </a:lnTo>
                  <a:lnTo>
                    <a:pt x="641" y="1346"/>
                  </a:lnTo>
                  <a:lnTo>
                    <a:pt x="641" y="1348"/>
                  </a:lnTo>
                  <a:lnTo>
                    <a:pt x="639" y="1348"/>
                  </a:lnTo>
                  <a:lnTo>
                    <a:pt x="639" y="1346"/>
                  </a:lnTo>
                  <a:lnTo>
                    <a:pt x="638" y="1346"/>
                  </a:lnTo>
                  <a:lnTo>
                    <a:pt x="638" y="1348"/>
                  </a:lnTo>
                  <a:lnTo>
                    <a:pt x="638" y="1346"/>
                  </a:lnTo>
                  <a:lnTo>
                    <a:pt x="636" y="1346"/>
                  </a:lnTo>
                  <a:lnTo>
                    <a:pt x="636" y="1345"/>
                  </a:lnTo>
                  <a:lnTo>
                    <a:pt x="634" y="1343"/>
                  </a:lnTo>
                  <a:lnTo>
                    <a:pt x="633" y="1343"/>
                  </a:lnTo>
                  <a:lnTo>
                    <a:pt x="631" y="1343"/>
                  </a:lnTo>
                  <a:lnTo>
                    <a:pt x="631" y="1341"/>
                  </a:lnTo>
                  <a:lnTo>
                    <a:pt x="631" y="1340"/>
                  </a:lnTo>
                  <a:lnTo>
                    <a:pt x="630" y="1340"/>
                  </a:lnTo>
                  <a:lnTo>
                    <a:pt x="630" y="1338"/>
                  </a:lnTo>
                  <a:lnTo>
                    <a:pt x="628" y="1338"/>
                  </a:lnTo>
                  <a:lnTo>
                    <a:pt x="626" y="1338"/>
                  </a:lnTo>
                  <a:lnTo>
                    <a:pt x="625" y="1338"/>
                  </a:lnTo>
                  <a:lnTo>
                    <a:pt x="623" y="1338"/>
                  </a:lnTo>
                  <a:lnTo>
                    <a:pt x="623" y="1340"/>
                  </a:lnTo>
                  <a:lnTo>
                    <a:pt x="621" y="1340"/>
                  </a:lnTo>
                  <a:lnTo>
                    <a:pt x="620" y="1340"/>
                  </a:lnTo>
                  <a:lnTo>
                    <a:pt x="618" y="1340"/>
                  </a:lnTo>
                  <a:lnTo>
                    <a:pt x="617" y="1338"/>
                  </a:lnTo>
                  <a:lnTo>
                    <a:pt x="615" y="1338"/>
                  </a:lnTo>
                  <a:lnTo>
                    <a:pt x="615" y="1340"/>
                  </a:lnTo>
                  <a:lnTo>
                    <a:pt x="615" y="1341"/>
                  </a:lnTo>
                  <a:lnTo>
                    <a:pt x="613" y="1341"/>
                  </a:lnTo>
                  <a:lnTo>
                    <a:pt x="613" y="1340"/>
                  </a:lnTo>
                  <a:lnTo>
                    <a:pt x="613" y="1338"/>
                  </a:lnTo>
                  <a:lnTo>
                    <a:pt x="612" y="1337"/>
                  </a:lnTo>
                  <a:lnTo>
                    <a:pt x="610" y="1338"/>
                  </a:lnTo>
                  <a:lnTo>
                    <a:pt x="608" y="1337"/>
                  </a:lnTo>
                  <a:lnTo>
                    <a:pt x="607" y="1337"/>
                  </a:lnTo>
                  <a:lnTo>
                    <a:pt x="605" y="1337"/>
                  </a:lnTo>
                  <a:lnTo>
                    <a:pt x="605" y="1338"/>
                  </a:lnTo>
                  <a:lnTo>
                    <a:pt x="604" y="1340"/>
                  </a:lnTo>
                  <a:lnTo>
                    <a:pt x="602" y="1340"/>
                  </a:lnTo>
                  <a:lnTo>
                    <a:pt x="600" y="1340"/>
                  </a:lnTo>
                  <a:lnTo>
                    <a:pt x="599" y="1340"/>
                  </a:lnTo>
                  <a:lnTo>
                    <a:pt x="599" y="1341"/>
                  </a:lnTo>
                  <a:lnTo>
                    <a:pt x="597" y="1341"/>
                  </a:lnTo>
                  <a:lnTo>
                    <a:pt x="599" y="1341"/>
                  </a:lnTo>
                  <a:lnTo>
                    <a:pt x="600" y="1341"/>
                  </a:lnTo>
                  <a:lnTo>
                    <a:pt x="600" y="1340"/>
                  </a:lnTo>
                  <a:lnTo>
                    <a:pt x="602" y="1340"/>
                  </a:lnTo>
                  <a:lnTo>
                    <a:pt x="604" y="1340"/>
                  </a:lnTo>
                  <a:lnTo>
                    <a:pt x="605" y="1338"/>
                  </a:lnTo>
                  <a:lnTo>
                    <a:pt x="605" y="1337"/>
                  </a:lnTo>
                  <a:lnTo>
                    <a:pt x="607" y="1337"/>
                  </a:lnTo>
                  <a:lnTo>
                    <a:pt x="608" y="1337"/>
                  </a:lnTo>
                  <a:lnTo>
                    <a:pt x="610" y="1338"/>
                  </a:lnTo>
                  <a:lnTo>
                    <a:pt x="612" y="1338"/>
                  </a:lnTo>
                  <a:lnTo>
                    <a:pt x="613" y="1338"/>
                  </a:lnTo>
                  <a:lnTo>
                    <a:pt x="613" y="1340"/>
                  </a:lnTo>
                  <a:lnTo>
                    <a:pt x="613" y="1341"/>
                  </a:lnTo>
                  <a:lnTo>
                    <a:pt x="615" y="1341"/>
                  </a:lnTo>
                  <a:lnTo>
                    <a:pt x="617" y="1340"/>
                  </a:lnTo>
                  <a:lnTo>
                    <a:pt x="615" y="1340"/>
                  </a:lnTo>
                  <a:lnTo>
                    <a:pt x="615" y="1338"/>
                  </a:lnTo>
                  <a:lnTo>
                    <a:pt x="617" y="1338"/>
                  </a:lnTo>
                  <a:lnTo>
                    <a:pt x="617" y="1340"/>
                  </a:lnTo>
                  <a:lnTo>
                    <a:pt x="618" y="1340"/>
                  </a:lnTo>
                  <a:lnTo>
                    <a:pt x="620" y="1340"/>
                  </a:lnTo>
                  <a:lnTo>
                    <a:pt x="621" y="1341"/>
                  </a:lnTo>
                  <a:lnTo>
                    <a:pt x="621" y="1340"/>
                  </a:lnTo>
                  <a:lnTo>
                    <a:pt x="621" y="1341"/>
                  </a:lnTo>
                  <a:lnTo>
                    <a:pt x="623" y="1340"/>
                  </a:lnTo>
                  <a:lnTo>
                    <a:pt x="625" y="1340"/>
                  </a:lnTo>
                  <a:lnTo>
                    <a:pt x="625" y="1338"/>
                  </a:lnTo>
                  <a:lnTo>
                    <a:pt x="626" y="1340"/>
                  </a:lnTo>
                  <a:lnTo>
                    <a:pt x="628" y="1338"/>
                  </a:lnTo>
                  <a:lnTo>
                    <a:pt x="630" y="1340"/>
                  </a:lnTo>
                  <a:lnTo>
                    <a:pt x="631" y="1340"/>
                  </a:lnTo>
                  <a:lnTo>
                    <a:pt x="631" y="1341"/>
                  </a:lnTo>
                  <a:lnTo>
                    <a:pt x="631" y="1343"/>
                  </a:lnTo>
                  <a:lnTo>
                    <a:pt x="631" y="1345"/>
                  </a:lnTo>
                  <a:lnTo>
                    <a:pt x="633" y="1345"/>
                  </a:lnTo>
                  <a:lnTo>
                    <a:pt x="634" y="1345"/>
                  </a:lnTo>
                  <a:lnTo>
                    <a:pt x="636" y="1345"/>
                  </a:lnTo>
                  <a:lnTo>
                    <a:pt x="636" y="1346"/>
                  </a:lnTo>
                  <a:lnTo>
                    <a:pt x="638" y="1346"/>
                  </a:lnTo>
                  <a:lnTo>
                    <a:pt x="638" y="1348"/>
                  </a:lnTo>
                  <a:lnTo>
                    <a:pt x="639" y="1348"/>
                  </a:lnTo>
                  <a:lnTo>
                    <a:pt x="639" y="1350"/>
                  </a:lnTo>
                  <a:lnTo>
                    <a:pt x="641" y="1350"/>
                  </a:lnTo>
                  <a:lnTo>
                    <a:pt x="641" y="1348"/>
                  </a:lnTo>
                  <a:lnTo>
                    <a:pt x="641" y="1350"/>
                  </a:lnTo>
                  <a:lnTo>
                    <a:pt x="641" y="1348"/>
                  </a:lnTo>
                  <a:lnTo>
                    <a:pt x="643" y="1348"/>
                  </a:lnTo>
                  <a:lnTo>
                    <a:pt x="644" y="1350"/>
                  </a:lnTo>
                  <a:lnTo>
                    <a:pt x="646" y="1351"/>
                  </a:lnTo>
                  <a:lnTo>
                    <a:pt x="647" y="1351"/>
                  </a:lnTo>
                  <a:lnTo>
                    <a:pt x="649" y="1351"/>
                  </a:lnTo>
                  <a:lnTo>
                    <a:pt x="651" y="1351"/>
                  </a:lnTo>
                  <a:lnTo>
                    <a:pt x="651" y="1353"/>
                  </a:lnTo>
                  <a:lnTo>
                    <a:pt x="652" y="1351"/>
                  </a:lnTo>
                  <a:lnTo>
                    <a:pt x="654" y="1351"/>
                  </a:lnTo>
                  <a:lnTo>
                    <a:pt x="656" y="1351"/>
                  </a:lnTo>
                  <a:lnTo>
                    <a:pt x="656" y="1350"/>
                  </a:lnTo>
                  <a:lnTo>
                    <a:pt x="657" y="1350"/>
                  </a:lnTo>
                  <a:lnTo>
                    <a:pt x="656" y="1350"/>
                  </a:lnTo>
                  <a:lnTo>
                    <a:pt x="656" y="1348"/>
                  </a:lnTo>
                  <a:lnTo>
                    <a:pt x="657" y="1346"/>
                  </a:lnTo>
                  <a:lnTo>
                    <a:pt x="659" y="1346"/>
                  </a:lnTo>
                  <a:lnTo>
                    <a:pt x="662" y="1348"/>
                  </a:lnTo>
                  <a:lnTo>
                    <a:pt x="664" y="1348"/>
                  </a:lnTo>
                  <a:lnTo>
                    <a:pt x="665" y="1348"/>
                  </a:lnTo>
                  <a:lnTo>
                    <a:pt x="664" y="1348"/>
                  </a:lnTo>
                  <a:lnTo>
                    <a:pt x="665" y="1348"/>
                  </a:lnTo>
                  <a:lnTo>
                    <a:pt x="667" y="1348"/>
                  </a:lnTo>
                  <a:lnTo>
                    <a:pt x="667" y="1350"/>
                  </a:lnTo>
                  <a:lnTo>
                    <a:pt x="667" y="1348"/>
                  </a:lnTo>
                  <a:lnTo>
                    <a:pt x="669" y="1350"/>
                  </a:lnTo>
                  <a:lnTo>
                    <a:pt x="670" y="1350"/>
                  </a:lnTo>
                  <a:lnTo>
                    <a:pt x="672" y="1350"/>
                  </a:lnTo>
                  <a:lnTo>
                    <a:pt x="673" y="1350"/>
                  </a:lnTo>
                  <a:lnTo>
                    <a:pt x="673" y="1351"/>
                  </a:lnTo>
                  <a:lnTo>
                    <a:pt x="675" y="1351"/>
                  </a:lnTo>
                  <a:lnTo>
                    <a:pt x="677" y="1351"/>
                  </a:lnTo>
                  <a:lnTo>
                    <a:pt x="678" y="1351"/>
                  </a:lnTo>
                  <a:lnTo>
                    <a:pt x="678" y="1353"/>
                  </a:lnTo>
                  <a:lnTo>
                    <a:pt x="678" y="1354"/>
                  </a:lnTo>
                  <a:lnTo>
                    <a:pt x="678" y="1356"/>
                  </a:lnTo>
                  <a:lnTo>
                    <a:pt x="677" y="1358"/>
                  </a:lnTo>
                  <a:lnTo>
                    <a:pt x="677" y="1356"/>
                  </a:lnTo>
                  <a:lnTo>
                    <a:pt x="675" y="1358"/>
                  </a:lnTo>
                  <a:lnTo>
                    <a:pt x="675" y="1356"/>
                  </a:lnTo>
                  <a:lnTo>
                    <a:pt x="673" y="1356"/>
                  </a:lnTo>
                  <a:lnTo>
                    <a:pt x="675" y="1356"/>
                  </a:lnTo>
                  <a:lnTo>
                    <a:pt x="673" y="1356"/>
                  </a:lnTo>
                  <a:lnTo>
                    <a:pt x="673" y="1354"/>
                  </a:lnTo>
                  <a:lnTo>
                    <a:pt x="672" y="1354"/>
                  </a:lnTo>
                  <a:lnTo>
                    <a:pt x="673" y="1354"/>
                  </a:lnTo>
                  <a:lnTo>
                    <a:pt x="673" y="1356"/>
                  </a:lnTo>
                  <a:lnTo>
                    <a:pt x="672" y="1356"/>
                  </a:lnTo>
                  <a:lnTo>
                    <a:pt x="672" y="1354"/>
                  </a:lnTo>
                  <a:lnTo>
                    <a:pt x="672" y="1356"/>
                  </a:lnTo>
                  <a:lnTo>
                    <a:pt x="670" y="1356"/>
                  </a:lnTo>
                  <a:lnTo>
                    <a:pt x="672" y="1354"/>
                  </a:lnTo>
                  <a:lnTo>
                    <a:pt x="670" y="1354"/>
                  </a:lnTo>
                  <a:lnTo>
                    <a:pt x="670" y="1356"/>
                  </a:lnTo>
                  <a:lnTo>
                    <a:pt x="669" y="1356"/>
                  </a:lnTo>
                  <a:lnTo>
                    <a:pt x="669" y="1358"/>
                  </a:lnTo>
                  <a:lnTo>
                    <a:pt x="669" y="1356"/>
                  </a:lnTo>
                  <a:lnTo>
                    <a:pt x="670" y="1358"/>
                  </a:lnTo>
                  <a:lnTo>
                    <a:pt x="669" y="1358"/>
                  </a:lnTo>
                  <a:lnTo>
                    <a:pt x="667" y="1359"/>
                  </a:lnTo>
                  <a:lnTo>
                    <a:pt x="667" y="1358"/>
                  </a:lnTo>
                  <a:lnTo>
                    <a:pt x="665" y="1358"/>
                  </a:lnTo>
                  <a:lnTo>
                    <a:pt x="664" y="1359"/>
                  </a:lnTo>
                  <a:lnTo>
                    <a:pt x="664" y="1358"/>
                  </a:lnTo>
                  <a:lnTo>
                    <a:pt x="664" y="1359"/>
                  </a:lnTo>
                  <a:lnTo>
                    <a:pt x="664" y="1358"/>
                  </a:lnTo>
                  <a:lnTo>
                    <a:pt x="662" y="1358"/>
                  </a:lnTo>
                  <a:lnTo>
                    <a:pt x="660" y="1358"/>
                  </a:lnTo>
                  <a:lnTo>
                    <a:pt x="660" y="1359"/>
                  </a:lnTo>
                  <a:lnTo>
                    <a:pt x="660" y="1361"/>
                  </a:lnTo>
                  <a:lnTo>
                    <a:pt x="659" y="1361"/>
                  </a:lnTo>
                  <a:lnTo>
                    <a:pt x="659" y="1359"/>
                  </a:lnTo>
                  <a:lnTo>
                    <a:pt x="659" y="1361"/>
                  </a:lnTo>
                  <a:lnTo>
                    <a:pt x="657" y="1361"/>
                  </a:lnTo>
                  <a:lnTo>
                    <a:pt x="656" y="1361"/>
                  </a:lnTo>
                  <a:lnTo>
                    <a:pt x="656" y="1363"/>
                  </a:lnTo>
                  <a:lnTo>
                    <a:pt x="654" y="1363"/>
                  </a:lnTo>
                  <a:lnTo>
                    <a:pt x="656" y="1363"/>
                  </a:lnTo>
                  <a:lnTo>
                    <a:pt x="657" y="1363"/>
                  </a:lnTo>
                  <a:lnTo>
                    <a:pt x="657" y="1361"/>
                  </a:lnTo>
                  <a:lnTo>
                    <a:pt x="659" y="1361"/>
                  </a:lnTo>
                  <a:lnTo>
                    <a:pt x="660" y="1361"/>
                  </a:lnTo>
                  <a:lnTo>
                    <a:pt x="660" y="1359"/>
                  </a:lnTo>
                  <a:lnTo>
                    <a:pt x="662" y="1358"/>
                  </a:lnTo>
                  <a:lnTo>
                    <a:pt x="662" y="1359"/>
                  </a:lnTo>
                  <a:lnTo>
                    <a:pt x="664" y="1359"/>
                  </a:lnTo>
                  <a:lnTo>
                    <a:pt x="664" y="1361"/>
                  </a:lnTo>
                  <a:lnTo>
                    <a:pt x="665" y="1361"/>
                  </a:lnTo>
                  <a:lnTo>
                    <a:pt x="667" y="1363"/>
                  </a:lnTo>
                  <a:lnTo>
                    <a:pt x="669" y="1364"/>
                  </a:lnTo>
                  <a:lnTo>
                    <a:pt x="669" y="1363"/>
                  </a:lnTo>
                  <a:lnTo>
                    <a:pt x="670" y="1363"/>
                  </a:lnTo>
                  <a:lnTo>
                    <a:pt x="669" y="1364"/>
                  </a:lnTo>
                  <a:lnTo>
                    <a:pt x="670" y="1363"/>
                  </a:lnTo>
                  <a:lnTo>
                    <a:pt x="670" y="1361"/>
                  </a:lnTo>
                  <a:lnTo>
                    <a:pt x="672" y="1361"/>
                  </a:lnTo>
                  <a:lnTo>
                    <a:pt x="672" y="1363"/>
                  </a:lnTo>
                  <a:lnTo>
                    <a:pt x="672" y="1364"/>
                  </a:lnTo>
                  <a:lnTo>
                    <a:pt x="673" y="1364"/>
                  </a:lnTo>
                  <a:lnTo>
                    <a:pt x="672" y="1364"/>
                  </a:lnTo>
                  <a:lnTo>
                    <a:pt x="673" y="1364"/>
                  </a:lnTo>
                  <a:lnTo>
                    <a:pt x="675" y="1363"/>
                  </a:lnTo>
                  <a:lnTo>
                    <a:pt x="677" y="1363"/>
                  </a:lnTo>
                  <a:lnTo>
                    <a:pt x="675" y="1363"/>
                  </a:lnTo>
                  <a:lnTo>
                    <a:pt x="675" y="1364"/>
                  </a:lnTo>
                  <a:lnTo>
                    <a:pt x="677" y="1364"/>
                  </a:lnTo>
                  <a:lnTo>
                    <a:pt x="677" y="1363"/>
                  </a:lnTo>
                  <a:lnTo>
                    <a:pt x="675" y="1361"/>
                  </a:lnTo>
                  <a:lnTo>
                    <a:pt x="677" y="1359"/>
                  </a:lnTo>
                  <a:lnTo>
                    <a:pt x="678" y="1359"/>
                  </a:lnTo>
                  <a:lnTo>
                    <a:pt x="678" y="1361"/>
                  </a:lnTo>
                  <a:lnTo>
                    <a:pt x="678" y="1363"/>
                  </a:lnTo>
                  <a:lnTo>
                    <a:pt x="680" y="1363"/>
                  </a:lnTo>
                  <a:lnTo>
                    <a:pt x="680" y="1364"/>
                  </a:lnTo>
                  <a:lnTo>
                    <a:pt x="682" y="1364"/>
                  </a:lnTo>
                  <a:lnTo>
                    <a:pt x="682" y="1366"/>
                  </a:lnTo>
                  <a:lnTo>
                    <a:pt x="682" y="1367"/>
                  </a:lnTo>
                  <a:lnTo>
                    <a:pt x="680" y="1367"/>
                  </a:lnTo>
                  <a:lnTo>
                    <a:pt x="682" y="1367"/>
                  </a:lnTo>
                  <a:lnTo>
                    <a:pt x="683" y="1367"/>
                  </a:lnTo>
                  <a:lnTo>
                    <a:pt x="685" y="1369"/>
                  </a:lnTo>
                  <a:lnTo>
                    <a:pt x="687" y="1369"/>
                  </a:lnTo>
                  <a:lnTo>
                    <a:pt x="688" y="1369"/>
                  </a:lnTo>
                  <a:lnTo>
                    <a:pt x="690" y="1369"/>
                  </a:lnTo>
                  <a:lnTo>
                    <a:pt x="691" y="1371"/>
                  </a:lnTo>
                  <a:lnTo>
                    <a:pt x="693" y="1372"/>
                  </a:lnTo>
                  <a:lnTo>
                    <a:pt x="691" y="1372"/>
                  </a:lnTo>
                  <a:lnTo>
                    <a:pt x="693" y="1372"/>
                  </a:lnTo>
                  <a:lnTo>
                    <a:pt x="695" y="1372"/>
                  </a:lnTo>
                  <a:lnTo>
                    <a:pt x="696" y="1372"/>
                  </a:lnTo>
                  <a:lnTo>
                    <a:pt x="698" y="1372"/>
                  </a:lnTo>
                  <a:lnTo>
                    <a:pt x="700" y="1372"/>
                  </a:lnTo>
                  <a:lnTo>
                    <a:pt x="701" y="1372"/>
                  </a:lnTo>
                  <a:lnTo>
                    <a:pt x="703" y="1372"/>
                  </a:lnTo>
                  <a:lnTo>
                    <a:pt x="704" y="1371"/>
                  </a:lnTo>
                  <a:lnTo>
                    <a:pt x="708" y="1371"/>
                  </a:lnTo>
                  <a:lnTo>
                    <a:pt x="711" y="1371"/>
                  </a:lnTo>
                  <a:lnTo>
                    <a:pt x="716" y="1371"/>
                  </a:lnTo>
                  <a:lnTo>
                    <a:pt x="719" y="1371"/>
                  </a:lnTo>
                  <a:lnTo>
                    <a:pt x="721" y="1371"/>
                  </a:lnTo>
                  <a:lnTo>
                    <a:pt x="724" y="1371"/>
                  </a:lnTo>
                  <a:lnTo>
                    <a:pt x="727" y="1371"/>
                  </a:lnTo>
                  <a:lnTo>
                    <a:pt x="729" y="1371"/>
                  </a:lnTo>
                  <a:lnTo>
                    <a:pt x="730" y="1371"/>
                  </a:lnTo>
                  <a:lnTo>
                    <a:pt x="732" y="1371"/>
                  </a:lnTo>
                  <a:lnTo>
                    <a:pt x="734" y="1371"/>
                  </a:lnTo>
                  <a:lnTo>
                    <a:pt x="735" y="1371"/>
                  </a:lnTo>
                  <a:lnTo>
                    <a:pt x="737" y="1371"/>
                  </a:lnTo>
                  <a:lnTo>
                    <a:pt x="739" y="1371"/>
                  </a:lnTo>
                  <a:lnTo>
                    <a:pt x="740" y="1371"/>
                  </a:lnTo>
                  <a:lnTo>
                    <a:pt x="742" y="1372"/>
                  </a:lnTo>
                  <a:lnTo>
                    <a:pt x="742" y="1374"/>
                  </a:lnTo>
                  <a:lnTo>
                    <a:pt x="742" y="1376"/>
                  </a:lnTo>
                  <a:lnTo>
                    <a:pt x="742" y="1377"/>
                  </a:lnTo>
                  <a:lnTo>
                    <a:pt x="740" y="1377"/>
                  </a:lnTo>
                  <a:lnTo>
                    <a:pt x="740" y="1379"/>
                  </a:lnTo>
                  <a:lnTo>
                    <a:pt x="739" y="1379"/>
                  </a:lnTo>
                  <a:lnTo>
                    <a:pt x="739" y="1380"/>
                  </a:lnTo>
                  <a:lnTo>
                    <a:pt x="737" y="1380"/>
                  </a:lnTo>
                  <a:lnTo>
                    <a:pt x="735" y="1379"/>
                  </a:lnTo>
                  <a:lnTo>
                    <a:pt x="734" y="1380"/>
                  </a:lnTo>
                  <a:lnTo>
                    <a:pt x="734" y="1382"/>
                  </a:lnTo>
                  <a:lnTo>
                    <a:pt x="734" y="1385"/>
                  </a:lnTo>
                  <a:lnTo>
                    <a:pt x="735" y="1390"/>
                  </a:lnTo>
                  <a:lnTo>
                    <a:pt x="735" y="1392"/>
                  </a:lnTo>
                  <a:lnTo>
                    <a:pt x="735" y="1393"/>
                  </a:lnTo>
                  <a:lnTo>
                    <a:pt x="735" y="1395"/>
                  </a:lnTo>
                  <a:lnTo>
                    <a:pt x="735" y="1400"/>
                  </a:lnTo>
                  <a:lnTo>
                    <a:pt x="735" y="1402"/>
                  </a:lnTo>
                  <a:lnTo>
                    <a:pt x="734" y="1403"/>
                  </a:lnTo>
                  <a:lnTo>
                    <a:pt x="734" y="1405"/>
                  </a:lnTo>
                  <a:lnTo>
                    <a:pt x="732" y="1405"/>
                  </a:lnTo>
                  <a:lnTo>
                    <a:pt x="732" y="1406"/>
                  </a:lnTo>
                  <a:lnTo>
                    <a:pt x="730" y="1406"/>
                  </a:lnTo>
                  <a:lnTo>
                    <a:pt x="729" y="1406"/>
                  </a:lnTo>
                  <a:lnTo>
                    <a:pt x="729" y="1408"/>
                  </a:lnTo>
                  <a:lnTo>
                    <a:pt x="727" y="1408"/>
                  </a:lnTo>
                  <a:lnTo>
                    <a:pt x="726" y="1408"/>
                  </a:lnTo>
                  <a:lnTo>
                    <a:pt x="726" y="1410"/>
                  </a:lnTo>
                  <a:lnTo>
                    <a:pt x="727" y="1410"/>
                  </a:lnTo>
                  <a:lnTo>
                    <a:pt x="726" y="1410"/>
                  </a:lnTo>
                  <a:lnTo>
                    <a:pt x="724" y="1410"/>
                  </a:lnTo>
                  <a:lnTo>
                    <a:pt x="722" y="1410"/>
                  </a:lnTo>
                  <a:lnTo>
                    <a:pt x="717" y="1410"/>
                  </a:lnTo>
                  <a:lnTo>
                    <a:pt x="716" y="1411"/>
                  </a:lnTo>
                  <a:lnTo>
                    <a:pt x="716" y="1413"/>
                  </a:lnTo>
                  <a:lnTo>
                    <a:pt x="714" y="1413"/>
                  </a:lnTo>
                  <a:lnTo>
                    <a:pt x="713" y="1413"/>
                  </a:lnTo>
                  <a:lnTo>
                    <a:pt x="711" y="1413"/>
                  </a:lnTo>
                  <a:lnTo>
                    <a:pt x="709" y="1413"/>
                  </a:lnTo>
                  <a:lnTo>
                    <a:pt x="706" y="1413"/>
                  </a:lnTo>
                  <a:lnTo>
                    <a:pt x="703" y="1415"/>
                  </a:lnTo>
                  <a:lnTo>
                    <a:pt x="701" y="1415"/>
                  </a:lnTo>
                  <a:lnTo>
                    <a:pt x="698" y="1416"/>
                  </a:lnTo>
                  <a:lnTo>
                    <a:pt x="696" y="1418"/>
                  </a:lnTo>
                  <a:lnTo>
                    <a:pt x="695" y="1419"/>
                  </a:lnTo>
                  <a:lnTo>
                    <a:pt x="693" y="1421"/>
                  </a:lnTo>
                  <a:lnTo>
                    <a:pt x="693" y="1424"/>
                  </a:lnTo>
                  <a:lnTo>
                    <a:pt x="691" y="1426"/>
                  </a:lnTo>
                  <a:lnTo>
                    <a:pt x="691" y="1428"/>
                  </a:lnTo>
                  <a:lnTo>
                    <a:pt x="691" y="1431"/>
                  </a:lnTo>
                  <a:lnTo>
                    <a:pt x="693" y="1434"/>
                  </a:lnTo>
                  <a:lnTo>
                    <a:pt x="691" y="1434"/>
                  </a:lnTo>
                  <a:lnTo>
                    <a:pt x="690" y="1434"/>
                  </a:lnTo>
                  <a:lnTo>
                    <a:pt x="685" y="1432"/>
                  </a:lnTo>
                  <a:lnTo>
                    <a:pt x="683" y="1432"/>
                  </a:lnTo>
                  <a:lnTo>
                    <a:pt x="682" y="1431"/>
                  </a:lnTo>
                  <a:lnTo>
                    <a:pt x="680" y="1431"/>
                  </a:lnTo>
                  <a:lnTo>
                    <a:pt x="678" y="1431"/>
                  </a:lnTo>
                  <a:lnTo>
                    <a:pt x="678" y="1429"/>
                  </a:lnTo>
                  <a:lnTo>
                    <a:pt x="675" y="1429"/>
                  </a:lnTo>
                  <a:lnTo>
                    <a:pt x="673" y="1429"/>
                  </a:lnTo>
                  <a:lnTo>
                    <a:pt x="672" y="1431"/>
                  </a:lnTo>
                  <a:lnTo>
                    <a:pt x="670" y="1431"/>
                  </a:lnTo>
                  <a:lnTo>
                    <a:pt x="669" y="1432"/>
                  </a:lnTo>
                  <a:lnTo>
                    <a:pt x="667" y="1432"/>
                  </a:lnTo>
                  <a:lnTo>
                    <a:pt x="665" y="1434"/>
                  </a:lnTo>
                  <a:lnTo>
                    <a:pt x="665" y="1436"/>
                  </a:lnTo>
                  <a:lnTo>
                    <a:pt x="664" y="1436"/>
                  </a:lnTo>
                  <a:lnTo>
                    <a:pt x="662" y="1437"/>
                  </a:lnTo>
                  <a:lnTo>
                    <a:pt x="660" y="1437"/>
                  </a:lnTo>
                  <a:lnTo>
                    <a:pt x="657" y="1437"/>
                  </a:lnTo>
                  <a:lnTo>
                    <a:pt x="656" y="1439"/>
                  </a:lnTo>
                  <a:lnTo>
                    <a:pt x="656" y="1437"/>
                  </a:lnTo>
                  <a:lnTo>
                    <a:pt x="654" y="1439"/>
                  </a:lnTo>
                  <a:lnTo>
                    <a:pt x="651" y="1437"/>
                  </a:lnTo>
                  <a:lnTo>
                    <a:pt x="649" y="1439"/>
                  </a:lnTo>
                  <a:lnTo>
                    <a:pt x="646" y="1439"/>
                  </a:lnTo>
                  <a:lnTo>
                    <a:pt x="641" y="1439"/>
                  </a:lnTo>
                  <a:lnTo>
                    <a:pt x="638" y="1441"/>
                  </a:lnTo>
                  <a:lnTo>
                    <a:pt x="636" y="1441"/>
                  </a:lnTo>
                  <a:lnTo>
                    <a:pt x="634" y="1441"/>
                  </a:lnTo>
                  <a:lnTo>
                    <a:pt x="634" y="1442"/>
                  </a:lnTo>
                  <a:lnTo>
                    <a:pt x="633" y="1442"/>
                  </a:lnTo>
                  <a:lnTo>
                    <a:pt x="631" y="1444"/>
                  </a:lnTo>
                  <a:lnTo>
                    <a:pt x="631" y="1446"/>
                  </a:lnTo>
                  <a:lnTo>
                    <a:pt x="630" y="1446"/>
                  </a:lnTo>
                  <a:lnTo>
                    <a:pt x="628" y="1447"/>
                  </a:lnTo>
                  <a:lnTo>
                    <a:pt x="626" y="1449"/>
                  </a:lnTo>
                  <a:lnTo>
                    <a:pt x="625" y="1450"/>
                  </a:lnTo>
                  <a:lnTo>
                    <a:pt x="623" y="1450"/>
                  </a:lnTo>
                  <a:lnTo>
                    <a:pt x="620" y="1450"/>
                  </a:lnTo>
                  <a:lnTo>
                    <a:pt x="618" y="1449"/>
                  </a:lnTo>
                  <a:lnTo>
                    <a:pt x="617" y="1447"/>
                  </a:lnTo>
                  <a:lnTo>
                    <a:pt x="615" y="1447"/>
                  </a:lnTo>
                  <a:lnTo>
                    <a:pt x="613" y="1447"/>
                  </a:lnTo>
                  <a:lnTo>
                    <a:pt x="612" y="1446"/>
                  </a:lnTo>
                  <a:lnTo>
                    <a:pt x="610" y="1444"/>
                  </a:lnTo>
                  <a:lnTo>
                    <a:pt x="608" y="1442"/>
                  </a:lnTo>
                  <a:lnTo>
                    <a:pt x="607" y="1442"/>
                  </a:lnTo>
                  <a:lnTo>
                    <a:pt x="605" y="1442"/>
                  </a:lnTo>
                  <a:lnTo>
                    <a:pt x="604" y="1441"/>
                  </a:lnTo>
                  <a:lnTo>
                    <a:pt x="602" y="1441"/>
                  </a:lnTo>
                  <a:lnTo>
                    <a:pt x="600" y="1439"/>
                  </a:lnTo>
                  <a:lnTo>
                    <a:pt x="599" y="1439"/>
                  </a:lnTo>
                  <a:lnTo>
                    <a:pt x="597" y="1437"/>
                  </a:lnTo>
                  <a:lnTo>
                    <a:pt x="594" y="1436"/>
                  </a:lnTo>
                  <a:lnTo>
                    <a:pt x="592" y="1436"/>
                  </a:lnTo>
                  <a:lnTo>
                    <a:pt x="591" y="1434"/>
                  </a:lnTo>
                  <a:lnTo>
                    <a:pt x="591" y="1436"/>
                  </a:lnTo>
                  <a:lnTo>
                    <a:pt x="591" y="1434"/>
                  </a:lnTo>
                  <a:lnTo>
                    <a:pt x="589" y="1434"/>
                  </a:lnTo>
                  <a:lnTo>
                    <a:pt x="582" y="1432"/>
                  </a:lnTo>
                  <a:lnTo>
                    <a:pt x="581" y="1432"/>
                  </a:lnTo>
                  <a:lnTo>
                    <a:pt x="581" y="1431"/>
                  </a:lnTo>
                  <a:lnTo>
                    <a:pt x="581" y="1432"/>
                  </a:lnTo>
                  <a:lnTo>
                    <a:pt x="578" y="1431"/>
                  </a:lnTo>
                  <a:lnTo>
                    <a:pt x="573" y="1432"/>
                  </a:lnTo>
                  <a:lnTo>
                    <a:pt x="571" y="1432"/>
                  </a:lnTo>
                  <a:lnTo>
                    <a:pt x="569" y="1432"/>
                  </a:lnTo>
                  <a:lnTo>
                    <a:pt x="568" y="1432"/>
                  </a:lnTo>
                  <a:lnTo>
                    <a:pt x="565" y="1432"/>
                  </a:lnTo>
                  <a:lnTo>
                    <a:pt x="563" y="1432"/>
                  </a:lnTo>
                  <a:lnTo>
                    <a:pt x="560" y="1432"/>
                  </a:lnTo>
                  <a:lnTo>
                    <a:pt x="555" y="1432"/>
                  </a:lnTo>
                  <a:lnTo>
                    <a:pt x="553" y="1431"/>
                  </a:lnTo>
                  <a:lnTo>
                    <a:pt x="553" y="1432"/>
                  </a:lnTo>
                  <a:lnTo>
                    <a:pt x="552" y="1431"/>
                  </a:lnTo>
                  <a:lnTo>
                    <a:pt x="550" y="1432"/>
                  </a:lnTo>
                  <a:lnTo>
                    <a:pt x="548" y="1432"/>
                  </a:lnTo>
                  <a:lnTo>
                    <a:pt x="547" y="1432"/>
                  </a:lnTo>
                  <a:lnTo>
                    <a:pt x="545" y="1432"/>
                  </a:lnTo>
                  <a:lnTo>
                    <a:pt x="543" y="1432"/>
                  </a:lnTo>
                  <a:lnTo>
                    <a:pt x="542" y="1432"/>
                  </a:lnTo>
                  <a:lnTo>
                    <a:pt x="540" y="1432"/>
                  </a:lnTo>
                  <a:lnTo>
                    <a:pt x="539" y="1432"/>
                  </a:lnTo>
                  <a:lnTo>
                    <a:pt x="535" y="1434"/>
                  </a:lnTo>
                  <a:lnTo>
                    <a:pt x="534" y="1434"/>
                  </a:lnTo>
                  <a:lnTo>
                    <a:pt x="534" y="1436"/>
                  </a:lnTo>
                  <a:lnTo>
                    <a:pt x="532" y="1437"/>
                  </a:lnTo>
                  <a:lnTo>
                    <a:pt x="532" y="1439"/>
                  </a:lnTo>
                  <a:lnTo>
                    <a:pt x="530" y="1439"/>
                  </a:lnTo>
                  <a:lnTo>
                    <a:pt x="529" y="1439"/>
                  </a:lnTo>
                  <a:lnTo>
                    <a:pt x="527" y="1437"/>
                  </a:lnTo>
                  <a:lnTo>
                    <a:pt x="525" y="1434"/>
                  </a:lnTo>
                  <a:lnTo>
                    <a:pt x="524" y="1432"/>
                  </a:lnTo>
                  <a:lnTo>
                    <a:pt x="521" y="1431"/>
                  </a:lnTo>
                  <a:lnTo>
                    <a:pt x="519" y="1429"/>
                  </a:lnTo>
                  <a:lnTo>
                    <a:pt x="519" y="1428"/>
                  </a:lnTo>
                  <a:lnTo>
                    <a:pt x="521" y="1429"/>
                  </a:lnTo>
                  <a:lnTo>
                    <a:pt x="522" y="1428"/>
                  </a:lnTo>
                  <a:lnTo>
                    <a:pt x="522" y="1426"/>
                  </a:lnTo>
                  <a:lnTo>
                    <a:pt x="522" y="1428"/>
                  </a:lnTo>
                  <a:lnTo>
                    <a:pt x="522" y="1426"/>
                  </a:lnTo>
                  <a:lnTo>
                    <a:pt x="524" y="1426"/>
                  </a:lnTo>
                  <a:lnTo>
                    <a:pt x="525" y="1428"/>
                  </a:lnTo>
                  <a:lnTo>
                    <a:pt x="527" y="1428"/>
                  </a:lnTo>
                  <a:lnTo>
                    <a:pt x="529" y="1428"/>
                  </a:lnTo>
                  <a:lnTo>
                    <a:pt x="529" y="1426"/>
                  </a:lnTo>
                  <a:lnTo>
                    <a:pt x="530" y="1424"/>
                  </a:lnTo>
                  <a:lnTo>
                    <a:pt x="529" y="1424"/>
                  </a:lnTo>
                  <a:lnTo>
                    <a:pt x="529" y="1426"/>
                  </a:lnTo>
                  <a:lnTo>
                    <a:pt x="527" y="1428"/>
                  </a:lnTo>
                  <a:lnTo>
                    <a:pt x="525" y="1428"/>
                  </a:lnTo>
                  <a:lnTo>
                    <a:pt x="525" y="1426"/>
                  </a:lnTo>
                  <a:lnTo>
                    <a:pt x="524" y="1426"/>
                  </a:lnTo>
                  <a:lnTo>
                    <a:pt x="524" y="1424"/>
                  </a:lnTo>
                  <a:lnTo>
                    <a:pt x="525" y="1424"/>
                  </a:lnTo>
                  <a:lnTo>
                    <a:pt x="525" y="1423"/>
                  </a:lnTo>
                  <a:lnTo>
                    <a:pt x="525" y="1424"/>
                  </a:lnTo>
                  <a:lnTo>
                    <a:pt x="524" y="1424"/>
                  </a:lnTo>
                  <a:lnTo>
                    <a:pt x="524" y="1426"/>
                  </a:lnTo>
                  <a:lnTo>
                    <a:pt x="522" y="1426"/>
                  </a:lnTo>
                  <a:lnTo>
                    <a:pt x="521" y="1426"/>
                  </a:lnTo>
                  <a:lnTo>
                    <a:pt x="522" y="1426"/>
                  </a:lnTo>
                  <a:lnTo>
                    <a:pt x="522" y="1424"/>
                  </a:lnTo>
                  <a:lnTo>
                    <a:pt x="522" y="1423"/>
                  </a:lnTo>
                  <a:lnTo>
                    <a:pt x="522" y="1421"/>
                  </a:lnTo>
                  <a:lnTo>
                    <a:pt x="521" y="1421"/>
                  </a:lnTo>
                  <a:lnTo>
                    <a:pt x="521" y="1423"/>
                  </a:lnTo>
                  <a:lnTo>
                    <a:pt x="521" y="1424"/>
                  </a:lnTo>
                  <a:lnTo>
                    <a:pt x="521" y="1426"/>
                  </a:lnTo>
                  <a:lnTo>
                    <a:pt x="521" y="1428"/>
                  </a:lnTo>
                  <a:lnTo>
                    <a:pt x="521" y="1426"/>
                  </a:lnTo>
                  <a:lnTo>
                    <a:pt x="519" y="1426"/>
                  </a:lnTo>
                  <a:lnTo>
                    <a:pt x="519" y="1424"/>
                  </a:lnTo>
                  <a:lnTo>
                    <a:pt x="517" y="1424"/>
                  </a:lnTo>
                  <a:lnTo>
                    <a:pt x="517" y="1423"/>
                  </a:lnTo>
                  <a:lnTo>
                    <a:pt x="519" y="1423"/>
                  </a:lnTo>
                  <a:lnTo>
                    <a:pt x="519" y="1421"/>
                  </a:lnTo>
                  <a:lnTo>
                    <a:pt x="519" y="1419"/>
                  </a:lnTo>
                  <a:lnTo>
                    <a:pt x="519" y="1421"/>
                  </a:lnTo>
                  <a:lnTo>
                    <a:pt x="517" y="1419"/>
                  </a:lnTo>
                  <a:lnTo>
                    <a:pt x="517" y="1421"/>
                  </a:lnTo>
                  <a:lnTo>
                    <a:pt x="516" y="1421"/>
                  </a:lnTo>
                  <a:lnTo>
                    <a:pt x="516" y="1419"/>
                  </a:lnTo>
                  <a:lnTo>
                    <a:pt x="516" y="1421"/>
                  </a:lnTo>
                  <a:lnTo>
                    <a:pt x="514" y="1421"/>
                  </a:lnTo>
                  <a:lnTo>
                    <a:pt x="514" y="1419"/>
                  </a:lnTo>
                  <a:lnTo>
                    <a:pt x="512" y="1419"/>
                  </a:lnTo>
                  <a:lnTo>
                    <a:pt x="511" y="1419"/>
                  </a:lnTo>
                  <a:lnTo>
                    <a:pt x="512" y="1421"/>
                  </a:lnTo>
                  <a:lnTo>
                    <a:pt x="511" y="1421"/>
                  </a:lnTo>
                  <a:lnTo>
                    <a:pt x="509" y="1421"/>
                  </a:lnTo>
                  <a:lnTo>
                    <a:pt x="511" y="1421"/>
                  </a:lnTo>
                  <a:lnTo>
                    <a:pt x="509" y="1421"/>
                  </a:lnTo>
                  <a:lnTo>
                    <a:pt x="509" y="1419"/>
                  </a:lnTo>
                  <a:lnTo>
                    <a:pt x="509" y="1421"/>
                  </a:lnTo>
                  <a:lnTo>
                    <a:pt x="509" y="1423"/>
                  </a:lnTo>
                  <a:lnTo>
                    <a:pt x="509" y="1424"/>
                  </a:lnTo>
                  <a:lnTo>
                    <a:pt x="509" y="1426"/>
                  </a:lnTo>
                  <a:lnTo>
                    <a:pt x="508" y="1426"/>
                  </a:lnTo>
                  <a:lnTo>
                    <a:pt x="509" y="1426"/>
                  </a:lnTo>
                  <a:lnTo>
                    <a:pt x="509" y="1428"/>
                  </a:lnTo>
                  <a:lnTo>
                    <a:pt x="508" y="1428"/>
                  </a:lnTo>
                  <a:lnTo>
                    <a:pt x="504" y="1428"/>
                  </a:lnTo>
                  <a:lnTo>
                    <a:pt x="503" y="1426"/>
                  </a:lnTo>
                  <a:lnTo>
                    <a:pt x="503" y="1424"/>
                  </a:lnTo>
                  <a:lnTo>
                    <a:pt x="503" y="1423"/>
                  </a:lnTo>
                  <a:lnTo>
                    <a:pt x="504" y="1423"/>
                  </a:lnTo>
                  <a:lnTo>
                    <a:pt x="503" y="1423"/>
                  </a:lnTo>
                  <a:lnTo>
                    <a:pt x="504" y="1421"/>
                  </a:lnTo>
                  <a:lnTo>
                    <a:pt x="504" y="1423"/>
                  </a:lnTo>
                  <a:lnTo>
                    <a:pt x="504" y="1421"/>
                  </a:lnTo>
                  <a:lnTo>
                    <a:pt x="504" y="1419"/>
                  </a:lnTo>
                  <a:lnTo>
                    <a:pt x="504" y="1421"/>
                  </a:lnTo>
                  <a:lnTo>
                    <a:pt x="504" y="1419"/>
                  </a:lnTo>
                  <a:lnTo>
                    <a:pt x="504" y="1418"/>
                  </a:lnTo>
                  <a:lnTo>
                    <a:pt x="503" y="1418"/>
                  </a:lnTo>
                  <a:lnTo>
                    <a:pt x="503" y="1419"/>
                  </a:lnTo>
                  <a:lnTo>
                    <a:pt x="501" y="1418"/>
                  </a:lnTo>
                  <a:lnTo>
                    <a:pt x="499" y="1418"/>
                  </a:lnTo>
                  <a:lnTo>
                    <a:pt x="498" y="1418"/>
                  </a:lnTo>
                  <a:lnTo>
                    <a:pt x="499" y="1418"/>
                  </a:lnTo>
                  <a:lnTo>
                    <a:pt x="499" y="1419"/>
                  </a:lnTo>
                  <a:lnTo>
                    <a:pt x="501" y="1421"/>
                  </a:lnTo>
                  <a:lnTo>
                    <a:pt x="501" y="1423"/>
                  </a:lnTo>
                  <a:lnTo>
                    <a:pt x="501" y="1424"/>
                  </a:lnTo>
                  <a:lnTo>
                    <a:pt x="503" y="1426"/>
                  </a:lnTo>
                  <a:lnTo>
                    <a:pt x="501" y="1426"/>
                  </a:lnTo>
                  <a:lnTo>
                    <a:pt x="499" y="1428"/>
                  </a:lnTo>
                  <a:lnTo>
                    <a:pt x="498" y="1426"/>
                  </a:lnTo>
                  <a:lnTo>
                    <a:pt x="496" y="1424"/>
                  </a:lnTo>
                  <a:lnTo>
                    <a:pt x="495" y="1424"/>
                  </a:lnTo>
                  <a:lnTo>
                    <a:pt x="493" y="1421"/>
                  </a:lnTo>
                  <a:lnTo>
                    <a:pt x="491" y="1419"/>
                  </a:lnTo>
                  <a:lnTo>
                    <a:pt x="490" y="1419"/>
                  </a:lnTo>
                  <a:lnTo>
                    <a:pt x="490" y="1418"/>
                  </a:lnTo>
                  <a:lnTo>
                    <a:pt x="486" y="1416"/>
                  </a:lnTo>
                  <a:lnTo>
                    <a:pt x="486" y="1415"/>
                  </a:lnTo>
                  <a:lnTo>
                    <a:pt x="486" y="1413"/>
                  </a:lnTo>
                  <a:lnTo>
                    <a:pt x="486" y="1411"/>
                  </a:lnTo>
                  <a:lnTo>
                    <a:pt x="488" y="1410"/>
                  </a:lnTo>
                  <a:lnTo>
                    <a:pt x="486" y="1410"/>
                  </a:lnTo>
                  <a:lnTo>
                    <a:pt x="488" y="1410"/>
                  </a:lnTo>
                  <a:lnTo>
                    <a:pt x="488" y="1408"/>
                  </a:lnTo>
                  <a:lnTo>
                    <a:pt x="488" y="1410"/>
                  </a:lnTo>
                  <a:lnTo>
                    <a:pt x="486" y="1410"/>
                  </a:lnTo>
                  <a:lnTo>
                    <a:pt x="486" y="1411"/>
                  </a:lnTo>
                  <a:lnTo>
                    <a:pt x="486" y="1413"/>
                  </a:lnTo>
                  <a:lnTo>
                    <a:pt x="486" y="1415"/>
                  </a:lnTo>
                  <a:lnTo>
                    <a:pt x="485" y="1415"/>
                  </a:lnTo>
                  <a:lnTo>
                    <a:pt x="485" y="1413"/>
                  </a:lnTo>
                  <a:lnTo>
                    <a:pt x="483" y="1413"/>
                  </a:lnTo>
                  <a:lnTo>
                    <a:pt x="483" y="1411"/>
                  </a:lnTo>
                  <a:lnTo>
                    <a:pt x="482" y="1411"/>
                  </a:lnTo>
                  <a:lnTo>
                    <a:pt x="482" y="1408"/>
                  </a:lnTo>
                  <a:lnTo>
                    <a:pt x="480" y="1408"/>
                  </a:lnTo>
                  <a:lnTo>
                    <a:pt x="480" y="1406"/>
                  </a:lnTo>
                  <a:lnTo>
                    <a:pt x="480" y="1405"/>
                  </a:lnTo>
                  <a:lnTo>
                    <a:pt x="482" y="1405"/>
                  </a:lnTo>
                  <a:lnTo>
                    <a:pt x="482" y="1403"/>
                  </a:lnTo>
                  <a:lnTo>
                    <a:pt x="482" y="1405"/>
                  </a:lnTo>
                  <a:lnTo>
                    <a:pt x="480" y="1403"/>
                  </a:lnTo>
                  <a:lnTo>
                    <a:pt x="480" y="1405"/>
                  </a:lnTo>
                  <a:lnTo>
                    <a:pt x="482" y="1405"/>
                  </a:lnTo>
                  <a:lnTo>
                    <a:pt x="480" y="1405"/>
                  </a:lnTo>
                  <a:lnTo>
                    <a:pt x="480" y="1406"/>
                  </a:lnTo>
                  <a:lnTo>
                    <a:pt x="478" y="1408"/>
                  </a:lnTo>
                  <a:lnTo>
                    <a:pt x="478" y="1406"/>
                  </a:lnTo>
                  <a:lnTo>
                    <a:pt x="477" y="1406"/>
                  </a:lnTo>
                  <a:lnTo>
                    <a:pt x="475" y="1405"/>
                  </a:lnTo>
                  <a:lnTo>
                    <a:pt x="473" y="1405"/>
                  </a:lnTo>
                  <a:lnTo>
                    <a:pt x="473" y="1403"/>
                  </a:lnTo>
                  <a:lnTo>
                    <a:pt x="472" y="1402"/>
                  </a:lnTo>
                  <a:lnTo>
                    <a:pt x="472" y="1403"/>
                  </a:lnTo>
                  <a:lnTo>
                    <a:pt x="473" y="1405"/>
                  </a:lnTo>
                  <a:lnTo>
                    <a:pt x="475" y="1405"/>
                  </a:lnTo>
                  <a:lnTo>
                    <a:pt x="477" y="1406"/>
                  </a:lnTo>
                  <a:lnTo>
                    <a:pt x="478" y="1408"/>
                  </a:lnTo>
                  <a:lnTo>
                    <a:pt x="478" y="1410"/>
                  </a:lnTo>
                  <a:lnTo>
                    <a:pt x="478" y="1411"/>
                  </a:lnTo>
                  <a:lnTo>
                    <a:pt x="480" y="1410"/>
                  </a:lnTo>
                  <a:lnTo>
                    <a:pt x="478" y="1411"/>
                  </a:lnTo>
                  <a:lnTo>
                    <a:pt x="480" y="1411"/>
                  </a:lnTo>
                  <a:lnTo>
                    <a:pt x="480" y="1413"/>
                  </a:lnTo>
                  <a:lnTo>
                    <a:pt x="482" y="1415"/>
                  </a:lnTo>
                  <a:lnTo>
                    <a:pt x="483" y="1415"/>
                  </a:lnTo>
                  <a:lnTo>
                    <a:pt x="485" y="1416"/>
                  </a:lnTo>
                  <a:lnTo>
                    <a:pt x="483" y="1416"/>
                  </a:lnTo>
                  <a:lnTo>
                    <a:pt x="483" y="1418"/>
                  </a:lnTo>
                  <a:lnTo>
                    <a:pt x="485" y="1419"/>
                  </a:lnTo>
                  <a:lnTo>
                    <a:pt x="485" y="1418"/>
                  </a:lnTo>
                  <a:lnTo>
                    <a:pt x="485" y="1419"/>
                  </a:lnTo>
                  <a:lnTo>
                    <a:pt x="485" y="1418"/>
                  </a:lnTo>
                  <a:lnTo>
                    <a:pt x="485" y="1419"/>
                  </a:lnTo>
                  <a:lnTo>
                    <a:pt x="483" y="1421"/>
                  </a:lnTo>
                  <a:lnTo>
                    <a:pt x="482" y="1423"/>
                  </a:lnTo>
                  <a:lnTo>
                    <a:pt x="480" y="1423"/>
                  </a:lnTo>
                  <a:lnTo>
                    <a:pt x="478" y="1423"/>
                  </a:lnTo>
                  <a:lnTo>
                    <a:pt x="477" y="1423"/>
                  </a:lnTo>
                  <a:lnTo>
                    <a:pt x="475" y="1423"/>
                  </a:lnTo>
                  <a:lnTo>
                    <a:pt x="477" y="1423"/>
                  </a:lnTo>
                  <a:lnTo>
                    <a:pt x="478" y="1423"/>
                  </a:lnTo>
                  <a:lnTo>
                    <a:pt x="477" y="1423"/>
                  </a:lnTo>
                  <a:lnTo>
                    <a:pt x="477" y="1424"/>
                  </a:lnTo>
                  <a:lnTo>
                    <a:pt x="473" y="1424"/>
                  </a:lnTo>
                  <a:lnTo>
                    <a:pt x="472" y="1424"/>
                  </a:lnTo>
                  <a:lnTo>
                    <a:pt x="470" y="1424"/>
                  </a:lnTo>
                  <a:lnTo>
                    <a:pt x="469" y="1424"/>
                  </a:lnTo>
                  <a:lnTo>
                    <a:pt x="469" y="1426"/>
                  </a:lnTo>
                  <a:lnTo>
                    <a:pt x="469" y="1424"/>
                  </a:lnTo>
                  <a:lnTo>
                    <a:pt x="467" y="1426"/>
                  </a:lnTo>
                  <a:lnTo>
                    <a:pt x="465" y="1426"/>
                  </a:lnTo>
                  <a:lnTo>
                    <a:pt x="464" y="1424"/>
                  </a:lnTo>
                  <a:lnTo>
                    <a:pt x="465" y="1426"/>
                  </a:lnTo>
                  <a:lnTo>
                    <a:pt x="464" y="1426"/>
                  </a:lnTo>
                  <a:lnTo>
                    <a:pt x="462" y="1426"/>
                  </a:lnTo>
                  <a:lnTo>
                    <a:pt x="464" y="1426"/>
                  </a:lnTo>
                  <a:lnTo>
                    <a:pt x="464" y="1428"/>
                  </a:lnTo>
                  <a:lnTo>
                    <a:pt x="462" y="1429"/>
                  </a:lnTo>
                  <a:lnTo>
                    <a:pt x="460" y="1429"/>
                  </a:lnTo>
                  <a:lnTo>
                    <a:pt x="460" y="1431"/>
                  </a:lnTo>
                  <a:lnTo>
                    <a:pt x="460" y="1429"/>
                  </a:lnTo>
                  <a:lnTo>
                    <a:pt x="460" y="1431"/>
                  </a:lnTo>
                  <a:lnTo>
                    <a:pt x="459" y="1431"/>
                  </a:lnTo>
                  <a:lnTo>
                    <a:pt x="459" y="1429"/>
                  </a:lnTo>
                  <a:lnTo>
                    <a:pt x="459" y="1431"/>
                  </a:lnTo>
                  <a:lnTo>
                    <a:pt x="460" y="1431"/>
                  </a:lnTo>
                  <a:lnTo>
                    <a:pt x="459" y="1431"/>
                  </a:lnTo>
                  <a:lnTo>
                    <a:pt x="459" y="1429"/>
                  </a:lnTo>
                  <a:lnTo>
                    <a:pt x="452" y="1426"/>
                  </a:lnTo>
                  <a:lnTo>
                    <a:pt x="449" y="1424"/>
                  </a:lnTo>
                  <a:lnTo>
                    <a:pt x="446" y="1424"/>
                  </a:lnTo>
                  <a:lnTo>
                    <a:pt x="446" y="1426"/>
                  </a:lnTo>
                  <a:lnTo>
                    <a:pt x="444" y="1426"/>
                  </a:lnTo>
                  <a:lnTo>
                    <a:pt x="444" y="1428"/>
                  </a:lnTo>
                  <a:lnTo>
                    <a:pt x="443" y="1428"/>
                  </a:lnTo>
                  <a:lnTo>
                    <a:pt x="441" y="1426"/>
                  </a:lnTo>
                  <a:lnTo>
                    <a:pt x="439" y="1426"/>
                  </a:lnTo>
                  <a:lnTo>
                    <a:pt x="436" y="1426"/>
                  </a:lnTo>
                  <a:lnTo>
                    <a:pt x="434" y="1424"/>
                  </a:lnTo>
                  <a:lnTo>
                    <a:pt x="433" y="1424"/>
                  </a:lnTo>
                  <a:lnTo>
                    <a:pt x="431" y="1426"/>
                  </a:lnTo>
                  <a:lnTo>
                    <a:pt x="430" y="1426"/>
                  </a:lnTo>
                  <a:lnTo>
                    <a:pt x="428" y="1426"/>
                  </a:lnTo>
                  <a:lnTo>
                    <a:pt x="428" y="1428"/>
                  </a:lnTo>
                  <a:lnTo>
                    <a:pt x="425" y="1429"/>
                  </a:lnTo>
                  <a:lnTo>
                    <a:pt x="425" y="1428"/>
                  </a:lnTo>
                  <a:lnTo>
                    <a:pt x="426" y="1428"/>
                  </a:lnTo>
                  <a:lnTo>
                    <a:pt x="426" y="1426"/>
                  </a:lnTo>
                  <a:lnTo>
                    <a:pt x="425" y="1426"/>
                  </a:lnTo>
                  <a:lnTo>
                    <a:pt x="425" y="1424"/>
                  </a:lnTo>
                  <a:lnTo>
                    <a:pt x="423" y="1424"/>
                  </a:lnTo>
                  <a:lnTo>
                    <a:pt x="421" y="1424"/>
                  </a:lnTo>
                  <a:lnTo>
                    <a:pt x="418" y="1424"/>
                  </a:lnTo>
                  <a:lnTo>
                    <a:pt x="418" y="1423"/>
                  </a:lnTo>
                  <a:lnTo>
                    <a:pt x="417" y="1423"/>
                  </a:lnTo>
                  <a:lnTo>
                    <a:pt x="415" y="1423"/>
                  </a:lnTo>
                  <a:lnTo>
                    <a:pt x="415" y="1424"/>
                  </a:lnTo>
                  <a:lnTo>
                    <a:pt x="413" y="1424"/>
                  </a:lnTo>
                  <a:lnTo>
                    <a:pt x="413" y="1426"/>
                  </a:lnTo>
                  <a:lnTo>
                    <a:pt x="413" y="1424"/>
                  </a:lnTo>
                  <a:lnTo>
                    <a:pt x="413" y="1426"/>
                  </a:lnTo>
                  <a:lnTo>
                    <a:pt x="415" y="1426"/>
                  </a:lnTo>
                  <a:lnTo>
                    <a:pt x="415" y="1424"/>
                  </a:lnTo>
                  <a:lnTo>
                    <a:pt x="417" y="1424"/>
                  </a:lnTo>
                  <a:lnTo>
                    <a:pt x="418" y="1424"/>
                  </a:lnTo>
                  <a:lnTo>
                    <a:pt x="418" y="1426"/>
                  </a:lnTo>
                  <a:lnTo>
                    <a:pt x="418" y="1424"/>
                  </a:lnTo>
                  <a:lnTo>
                    <a:pt x="418" y="1426"/>
                  </a:lnTo>
                  <a:lnTo>
                    <a:pt x="418" y="1428"/>
                  </a:lnTo>
                  <a:lnTo>
                    <a:pt x="417" y="1428"/>
                  </a:lnTo>
                  <a:lnTo>
                    <a:pt x="418" y="1428"/>
                  </a:lnTo>
                  <a:lnTo>
                    <a:pt x="417" y="1429"/>
                  </a:lnTo>
                  <a:lnTo>
                    <a:pt x="418" y="1429"/>
                  </a:lnTo>
                  <a:lnTo>
                    <a:pt x="418" y="1428"/>
                  </a:lnTo>
                  <a:lnTo>
                    <a:pt x="420" y="1428"/>
                  </a:lnTo>
                  <a:lnTo>
                    <a:pt x="420" y="1429"/>
                  </a:lnTo>
                  <a:lnTo>
                    <a:pt x="420" y="1431"/>
                  </a:lnTo>
                  <a:lnTo>
                    <a:pt x="421" y="1429"/>
                  </a:lnTo>
                  <a:lnTo>
                    <a:pt x="421" y="1431"/>
                  </a:lnTo>
                  <a:lnTo>
                    <a:pt x="423" y="1431"/>
                  </a:lnTo>
                  <a:lnTo>
                    <a:pt x="423" y="1429"/>
                  </a:lnTo>
                  <a:lnTo>
                    <a:pt x="423" y="1431"/>
                  </a:lnTo>
                  <a:lnTo>
                    <a:pt x="425" y="1429"/>
                  </a:lnTo>
                  <a:lnTo>
                    <a:pt x="425" y="1431"/>
                  </a:lnTo>
                  <a:lnTo>
                    <a:pt x="423" y="1432"/>
                  </a:lnTo>
                  <a:lnTo>
                    <a:pt x="423" y="1434"/>
                  </a:lnTo>
                  <a:lnTo>
                    <a:pt x="425" y="1434"/>
                  </a:lnTo>
                  <a:lnTo>
                    <a:pt x="426" y="1434"/>
                  </a:lnTo>
                  <a:lnTo>
                    <a:pt x="426" y="1436"/>
                  </a:lnTo>
                  <a:lnTo>
                    <a:pt x="425" y="1436"/>
                  </a:lnTo>
                  <a:lnTo>
                    <a:pt x="425" y="1437"/>
                  </a:lnTo>
                  <a:lnTo>
                    <a:pt x="423" y="1437"/>
                  </a:lnTo>
                  <a:lnTo>
                    <a:pt x="423" y="1439"/>
                  </a:lnTo>
                  <a:lnTo>
                    <a:pt x="423" y="1441"/>
                  </a:lnTo>
                  <a:lnTo>
                    <a:pt x="421" y="1442"/>
                  </a:lnTo>
                  <a:lnTo>
                    <a:pt x="418" y="1441"/>
                  </a:lnTo>
                  <a:lnTo>
                    <a:pt x="415" y="1441"/>
                  </a:lnTo>
                  <a:lnTo>
                    <a:pt x="415" y="1442"/>
                  </a:lnTo>
                  <a:lnTo>
                    <a:pt x="413" y="1442"/>
                  </a:lnTo>
                  <a:lnTo>
                    <a:pt x="412" y="1442"/>
                  </a:lnTo>
                  <a:lnTo>
                    <a:pt x="412" y="1441"/>
                  </a:lnTo>
                  <a:lnTo>
                    <a:pt x="412" y="1439"/>
                  </a:lnTo>
                  <a:lnTo>
                    <a:pt x="410" y="1439"/>
                  </a:lnTo>
                  <a:lnTo>
                    <a:pt x="408" y="1439"/>
                  </a:lnTo>
                  <a:lnTo>
                    <a:pt x="407" y="1437"/>
                  </a:lnTo>
                  <a:lnTo>
                    <a:pt x="407" y="1436"/>
                  </a:lnTo>
                  <a:lnTo>
                    <a:pt x="405" y="1436"/>
                  </a:lnTo>
                  <a:lnTo>
                    <a:pt x="404" y="1436"/>
                  </a:lnTo>
                  <a:lnTo>
                    <a:pt x="402" y="1436"/>
                  </a:lnTo>
                  <a:lnTo>
                    <a:pt x="402" y="1434"/>
                  </a:lnTo>
                  <a:lnTo>
                    <a:pt x="400" y="1434"/>
                  </a:lnTo>
                  <a:lnTo>
                    <a:pt x="399" y="1434"/>
                  </a:lnTo>
                  <a:lnTo>
                    <a:pt x="397" y="1434"/>
                  </a:lnTo>
                  <a:lnTo>
                    <a:pt x="395" y="1434"/>
                  </a:lnTo>
                  <a:lnTo>
                    <a:pt x="395" y="1432"/>
                  </a:lnTo>
                  <a:lnTo>
                    <a:pt x="392" y="1432"/>
                  </a:lnTo>
                  <a:lnTo>
                    <a:pt x="391" y="1431"/>
                  </a:lnTo>
                  <a:lnTo>
                    <a:pt x="389" y="1431"/>
                  </a:lnTo>
                  <a:lnTo>
                    <a:pt x="386" y="1429"/>
                  </a:lnTo>
                  <a:lnTo>
                    <a:pt x="384" y="1429"/>
                  </a:lnTo>
                  <a:lnTo>
                    <a:pt x="382" y="1429"/>
                  </a:lnTo>
                  <a:lnTo>
                    <a:pt x="381" y="1428"/>
                  </a:lnTo>
                  <a:lnTo>
                    <a:pt x="379" y="1429"/>
                  </a:lnTo>
                  <a:lnTo>
                    <a:pt x="379" y="1431"/>
                  </a:lnTo>
                  <a:lnTo>
                    <a:pt x="377" y="1431"/>
                  </a:lnTo>
                  <a:lnTo>
                    <a:pt x="377" y="1432"/>
                  </a:lnTo>
                  <a:lnTo>
                    <a:pt x="377" y="1431"/>
                  </a:lnTo>
                  <a:lnTo>
                    <a:pt x="379" y="1431"/>
                  </a:lnTo>
                  <a:lnTo>
                    <a:pt x="379" y="1432"/>
                  </a:lnTo>
                  <a:lnTo>
                    <a:pt x="377" y="1432"/>
                  </a:lnTo>
                  <a:lnTo>
                    <a:pt x="379" y="1434"/>
                  </a:lnTo>
                  <a:lnTo>
                    <a:pt x="377" y="1432"/>
                  </a:lnTo>
                  <a:lnTo>
                    <a:pt x="377" y="1434"/>
                  </a:lnTo>
                  <a:lnTo>
                    <a:pt x="376" y="1434"/>
                  </a:lnTo>
                  <a:lnTo>
                    <a:pt x="376" y="1436"/>
                  </a:lnTo>
                  <a:lnTo>
                    <a:pt x="376" y="1437"/>
                  </a:lnTo>
                  <a:lnTo>
                    <a:pt x="377" y="1437"/>
                  </a:lnTo>
                  <a:lnTo>
                    <a:pt x="379" y="1437"/>
                  </a:lnTo>
                  <a:lnTo>
                    <a:pt x="379" y="1439"/>
                  </a:lnTo>
                  <a:lnTo>
                    <a:pt x="379" y="1441"/>
                  </a:lnTo>
                  <a:lnTo>
                    <a:pt x="379" y="1442"/>
                  </a:lnTo>
                  <a:lnTo>
                    <a:pt x="377" y="1442"/>
                  </a:lnTo>
                  <a:lnTo>
                    <a:pt x="377" y="1444"/>
                  </a:lnTo>
                  <a:lnTo>
                    <a:pt x="376" y="1444"/>
                  </a:lnTo>
                  <a:lnTo>
                    <a:pt x="376" y="1446"/>
                  </a:lnTo>
                  <a:lnTo>
                    <a:pt x="374" y="1446"/>
                  </a:lnTo>
                  <a:lnTo>
                    <a:pt x="374" y="1444"/>
                  </a:lnTo>
                  <a:lnTo>
                    <a:pt x="376" y="1444"/>
                  </a:lnTo>
                  <a:lnTo>
                    <a:pt x="376" y="1442"/>
                  </a:lnTo>
                  <a:lnTo>
                    <a:pt x="376" y="1441"/>
                  </a:lnTo>
                  <a:lnTo>
                    <a:pt x="376" y="1439"/>
                  </a:lnTo>
                  <a:lnTo>
                    <a:pt x="377" y="1439"/>
                  </a:lnTo>
                  <a:lnTo>
                    <a:pt x="376" y="1439"/>
                  </a:lnTo>
                  <a:lnTo>
                    <a:pt x="376" y="1437"/>
                  </a:lnTo>
                  <a:lnTo>
                    <a:pt x="376" y="1436"/>
                  </a:lnTo>
                  <a:lnTo>
                    <a:pt x="374" y="1434"/>
                  </a:lnTo>
                  <a:lnTo>
                    <a:pt x="371" y="1431"/>
                  </a:lnTo>
                  <a:lnTo>
                    <a:pt x="369" y="1428"/>
                  </a:lnTo>
                  <a:lnTo>
                    <a:pt x="364" y="1424"/>
                  </a:lnTo>
                  <a:lnTo>
                    <a:pt x="363" y="1423"/>
                  </a:lnTo>
                  <a:lnTo>
                    <a:pt x="360" y="1419"/>
                  </a:lnTo>
                  <a:lnTo>
                    <a:pt x="355" y="1415"/>
                  </a:lnTo>
                  <a:lnTo>
                    <a:pt x="351" y="1413"/>
                  </a:lnTo>
                  <a:lnTo>
                    <a:pt x="350" y="1411"/>
                  </a:lnTo>
                  <a:lnTo>
                    <a:pt x="348" y="1411"/>
                  </a:lnTo>
                  <a:lnTo>
                    <a:pt x="347" y="1410"/>
                  </a:lnTo>
                  <a:lnTo>
                    <a:pt x="345" y="1410"/>
                  </a:lnTo>
                  <a:lnTo>
                    <a:pt x="343" y="1408"/>
                  </a:lnTo>
                  <a:lnTo>
                    <a:pt x="342" y="1406"/>
                  </a:lnTo>
                  <a:lnTo>
                    <a:pt x="340" y="1406"/>
                  </a:lnTo>
                  <a:lnTo>
                    <a:pt x="338" y="1406"/>
                  </a:lnTo>
                  <a:lnTo>
                    <a:pt x="338" y="1408"/>
                  </a:lnTo>
                  <a:lnTo>
                    <a:pt x="337" y="1408"/>
                  </a:lnTo>
                  <a:lnTo>
                    <a:pt x="335" y="1410"/>
                  </a:lnTo>
                  <a:lnTo>
                    <a:pt x="334" y="1408"/>
                  </a:lnTo>
                  <a:lnTo>
                    <a:pt x="334" y="1410"/>
                  </a:lnTo>
                  <a:lnTo>
                    <a:pt x="332" y="1410"/>
                  </a:lnTo>
                  <a:lnTo>
                    <a:pt x="330" y="1410"/>
                  </a:lnTo>
                  <a:lnTo>
                    <a:pt x="329" y="1410"/>
                  </a:lnTo>
                  <a:lnTo>
                    <a:pt x="325" y="1408"/>
                  </a:lnTo>
                  <a:lnTo>
                    <a:pt x="324" y="1408"/>
                  </a:lnTo>
                  <a:lnTo>
                    <a:pt x="322" y="1410"/>
                  </a:lnTo>
                  <a:lnTo>
                    <a:pt x="322" y="1411"/>
                  </a:lnTo>
                  <a:lnTo>
                    <a:pt x="319" y="1410"/>
                  </a:lnTo>
                  <a:lnTo>
                    <a:pt x="317" y="1410"/>
                  </a:lnTo>
                  <a:lnTo>
                    <a:pt x="316" y="1410"/>
                  </a:lnTo>
                  <a:lnTo>
                    <a:pt x="314" y="1410"/>
                  </a:lnTo>
                  <a:lnTo>
                    <a:pt x="312" y="1410"/>
                  </a:lnTo>
                  <a:lnTo>
                    <a:pt x="309" y="1410"/>
                  </a:lnTo>
                  <a:lnTo>
                    <a:pt x="308" y="1410"/>
                  </a:lnTo>
                  <a:lnTo>
                    <a:pt x="306" y="1410"/>
                  </a:lnTo>
                  <a:lnTo>
                    <a:pt x="306" y="1411"/>
                  </a:lnTo>
                  <a:lnTo>
                    <a:pt x="304" y="1411"/>
                  </a:lnTo>
                  <a:lnTo>
                    <a:pt x="304" y="1413"/>
                  </a:lnTo>
                  <a:lnTo>
                    <a:pt x="304" y="1415"/>
                  </a:lnTo>
                  <a:lnTo>
                    <a:pt x="303" y="1415"/>
                  </a:lnTo>
                  <a:lnTo>
                    <a:pt x="301" y="1415"/>
                  </a:lnTo>
                  <a:lnTo>
                    <a:pt x="299" y="1415"/>
                  </a:lnTo>
                  <a:lnTo>
                    <a:pt x="298" y="1416"/>
                  </a:lnTo>
                  <a:lnTo>
                    <a:pt x="296" y="1416"/>
                  </a:lnTo>
                  <a:lnTo>
                    <a:pt x="296" y="1418"/>
                  </a:lnTo>
                  <a:lnTo>
                    <a:pt x="296" y="1416"/>
                  </a:lnTo>
                  <a:lnTo>
                    <a:pt x="295" y="1418"/>
                  </a:lnTo>
                  <a:lnTo>
                    <a:pt x="295" y="1416"/>
                  </a:lnTo>
                  <a:lnTo>
                    <a:pt x="293" y="1416"/>
                  </a:lnTo>
                  <a:lnTo>
                    <a:pt x="291" y="1416"/>
                  </a:lnTo>
                  <a:lnTo>
                    <a:pt x="291" y="1415"/>
                  </a:lnTo>
                  <a:lnTo>
                    <a:pt x="291" y="1413"/>
                  </a:lnTo>
                  <a:lnTo>
                    <a:pt x="291" y="1411"/>
                  </a:lnTo>
                  <a:lnTo>
                    <a:pt x="291" y="1410"/>
                  </a:lnTo>
                  <a:lnTo>
                    <a:pt x="291" y="1408"/>
                  </a:lnTo>
                  <a:lnTo>
                    <a:pt x="290" y="1408"/>
                  </a:lnTo>
                  <a:lnTo>
                    <a:pt x="290" y="1406"/>
                  </a:lnTo>
                  <a:lnTo>
                    <a:pt x="288" y="1405"/>
                  </a:lnTo>
                  <a:lnTo>
                    <a:pt x="288" y="1406"/>
                  </a:lnTo>
                  <a:lnTo>
                    <a:pt x="288" y="1408"/>
                  </a:lnTo>
                  <a:lnTo>
                    <a:pt x="290" y="1410"/>
                  </a:lnTo>
                  <a:lnTo>
                    <a:pt x="290" y="1411"/>
                  </a:lnTo>
                  <a:lnTo>
                    <a:pt x="290" y="1413"/>
                  </a:lnTo>
                  <a:lnTo>
                    <a:pt x="290" y="1415"/>
                  </a:lnTo>
                  <a:lnTo>
                    <a:pt x="288" y="1416"/>
                  </a:lnTo>
                  <a:lnTo>
                    <a:pt x="290" y="1416"/>
                  </a:lnTo>
                  <a:lnTo>
                    <a:pt x="291" y="1416"/>
                  </a:lnTo>
                  <a:lnTo>
                    <a:pt x="290" y="1416"/>
                  </a:lnTo>
                  <a:lnTo>
                    <a:pt x="288" y="1418"/>
                  </a:lnTo>
                  <a:lnTo>
                    <a:pt x="286" y="1419"/>
                  </a:lnTo>
                  <a:lnTo>
                    <a:pt x="285" y="1423"/>
                  </a:lnTo>
                  <a:lnTo>
                    <a:pt x="283" y="1423"/>
                  </a:lnTo>
                  <a:lnTo>
                    <a:pt x="283" y="1424"/>
                  </a:lnTo>
                  <a:lnTo>
                    <a:pt x="282" y="1424"/>
                  </a:lnTo>
                  <a:lnTo>
                    <a:pt x="282" y="1423"/>
                  </a:lnTo>
                  <a:lnTo>
                    <a:pt x="282" y="1424"/>
                  </a:lnTo>
                  <a:lnTo>
                    <a:pt x="280" y="1423"/>
                  </a:lnTo>
                  <a:lnTo>
                    <a:pt x="278" y="1423"/>
                  </a:lnTo>
                  <a:lnTo>
                    <a:pt x="277" y="1423"/>
                  </a:lnTo>
                  <a:lnTo>
                    <a:pt x="275" y="1423"/>
                  </a:lnTo>
                  <a:lnTo>
                    <a:pt x="275" y="1424"/>
                  </a:lnTo>
                  <a:lnTo>
                    <a:pt x="277" y="1423"/>
                  </a:lnTo>
                  <a:lnTo>
                    <a:pt x="278" y="1424"/>
                  </a:lnTo>
                  <a:lnTo>
                    <a:pt x="280" y="1424"/>
                  </a:lnTo>
                  <a:lnTo>
                    <a:pt x="282" y="1424"/>
                  </a:lnTo>
                  <a:lnTo>
                    <a:pt x="282" y="1426"/>
                  </a:lnTo>
                  <a:lnTo>
                    <a:pt x="280" y="1428"/>
                  </a:lnTo>
                  <a:lnTo>
                    <a:pt x="280" y="1429"/>
                  </a:lnTo>
                  <a:lnTo>
                    <a:pt x="280" y="1431"/>
                  </a:lnTo>
                  <a:lnTo>
                    <a:pt x="280" y="1432"/>
                  </a:lnTo>
                  <a:lnTo>
                    <a:pt x="280" y="1434"/>
                  </a:lnTo>
                  <a:lnTo>
                    <a:pt x="282" y="1434"/>
                  </a:lnTo>
                  <a:lnTo>
                    <a:pt x="282" y="1436"/>
                  </a:lnTo>
                  <a:lnTo>
                    <a:pt x="280" y="1436"/>
                  </a:lnTo>
                  <a:lnTo>
                    <a:pt x="278" y="1436"/>
                  </a:lnTo>
                  <a:lnTo>
                    <a:pt x="277" y="1436"/>
                  </a:lnTo>
                  <a:lnTo>
                    <a:pt x="277" y="1434"/>
                  </a:lnTo>
                  <a:lnTo>
                    <a:pt x="277" y="1436"/>
                  </a:lnTo>
                  <a:lnTo>
                    <a:pt x="275" y="1436"/>
                  </a:lnTo>
                  <a:lnTo>
                    <a:pt x="275" y="1437"/>
                  </a:lnTo>
                  <a:lnTo>
                    <a:pt x="273" y="1437"/>
                  </a:lnTo>
                  <a:lnTo>
                    <a:pt x="273" y="1439"/>
                  </a:lnTo>
                  <a:lnTo>
                    <a:pt x="275" y="1439"/>
                  </a:lnTo>
                  <a:lnTo>
                    <a:pt x="273" y="1439"/>
                  </a:lnTo>
                  <a:lnTo>
                    <a:pt x="273" y="1441"/>
                  </a:lnTo>
                  <a:lnTo>
                    <a:pt x="273" y="1442"/>
                  </a:lnTo>
                  <a:lnTo>
                    <a:pt x="275" y="1444"/>
                  </a:lnTo>
                  <a:lnTo>
                    <a:pt x="277" y="1444"/>
                  </a:lnTo>
                  <a:lnTo>
                    <a:pt x="278" y="1444"/>
                  </a:lnTo>
                  <a:lnTo>
                    <a:pt x="280" y="1444"/>
                  </a:lnTo>
                  <a:lnTo>
                    <a:pt x="280" y="1446"/>
                  </a:lnTo>
                  <a:lnTo>
                    <a:pt x="278" y="1446"/>
                  </a:lnTo>
                  <a:lnTo>
                    <a:pt x="278" y="1447"/>
                  </a:lnTo>
                  <a:lnTo>
                    <a:pt x="277" y="1447"/>
                  </a:lnTo>
                  <a:lnTo>
                    <a:pt x="277" y="1449"/>
                  </a:lnTo>
                  <a:lnTo>
                    <a:pt x="275" y="1449"/>
                  </a:lnTo>
                  <a:lnTo>
                    <a:pt x="275" y="1450"/>
                  </a:lnTo>
                  <a:lnTo>
                    <a:pt x="277" y="1450"/>
                  </a:lnTo>
                  <a:lnTo>
                    <a:pt x="275" y="1450"/>
                  </a:lnTo>
                  <a:lnTo>
                    <a:pt x="275" y="1452"/>
                  </a:lnTo>
                  <a:lnTo>
                    <a:pt x="273" y="1452"/>
                  </a:lnTo>
                  <a:lnTo>
                    <a:pt x="272" y="1452"/>
                  </a:lnTo>
                  <a:lnTo>
                    <a:pt x="272" y="1450"/>
                  </a:lnTo>
                  <a:lnTo>
                    <a:pt x="270" y="1450"/>
                  </a:lnTo>
                  <a:lnTo>
                    <a:pt x="270" y="1449"/>
                  </a:lnTo>
                  <a:lnTo>
                    <a:pt x="270" y="1447"/>
                  </a:lnTo>
                  <a:lnTo>
                    <a:pt x="270" y="1446"/>
                  </a:lnTo>
                  <a:lnTo>
                    <a:pt x="272" y="1444"/>
                  </a:lnTo>
                  <a:lnTo>
                    <a:pt x="270" y="1444"/>
                  </a:lnTo>
                  <a:lnTo>
                    <a:pt x="269" y="1444"/>
                  </a:lnTo>
                  <a:lnTo>
                    <a:pt x="269" y="1442"/>
                  </a:lnTo>
                  <a:lnTo>
                    <a:pt x="267" y="1442"/>
                  </a:lnTo>
                  <a:lnTo>
                    <a:pt x="267" y="1441"/>
                  </a:lnTo>
                  <a:lnTo>
                    <a:pt x="265" y="1441"/>
                  </a:lnTo>
                  <a:lnTo>
                    <a:pt x="267" y="1441"/>
                  </a:lnTo>
                  <a:lnTo>
                    <a:pt x="267" y="1442"/>
                  </a:lnTo>
                  <a:lnTo>
                    <a:pt x="265" y="1442"/>
                  </a:lnTo>
                  <a:lnTo>
                    <a:pt x="264" y="1442"/>
                  </a:lnTo>
                  <a:lnTo>
                    <a:pt x="265" y="1442"/>
                  </a:lnTo>
                  <a:lnTo>
                    <a:pt x="267" y="1442"/>
                  </a:lnTo>
                  <a:lnTo>
                    <a:pt x="267" y="1444"/>
                  </a:lnTo>
                  <a:lnTo>
                    <a:pt x="269" y="1444"/>
                  </a:lnTo>
                  <a:lnTo>
                    <a:pt x="270" y="1444"/>
                  </a:lnTo>
                  <a:lnTo>
                    <a:pt x="269" y="1446"/>
                  </a:lnTo>
                  <a:lnTo>
                    <a:pt x="270" y="1446"/>
                  </a:lnTo>
                  <a:lnTo>
                    <a:pt x="270" y="1447"/>
                  </a:lnTo>
                  <a:lnTo>
                    <a:pt x="270" y="1449"/>
                  </a:lnTo>
                  <a:lnTo>
                    <a:pt x="269" y="1449"/>
                  </a:lnTo>
                  <a:lnTo>
                    <a:pt x="270" y="1449"/>
                  </a:lnTo>
                  <a:lnTo>
                    <a:pt x="270" y="1450"/>
                  </a:lnTo>
                  <a:lnTo>
                    <a:pt x="272" y="1452"/>
                  </a:lnTo>
                  <a:lnTo>
                    <a:pt x="270" y="1452"/>
                  </a:lnTo>
                  <a:lnTo>
                    <a:pt x="270" y="1454"/>
                  </a:lnTo>
                  <a:lnTo>
                    <a:pt x="269" y="1454"/>
                  </a:lnTo>
                  <a:lnTo>
                    <a:pt x="267" y="1454"/>
                  </a:lnTo>
                  <a:lnTo>
                    <a:pt x="265" y="1455"/>
                  </a:lnTo>
                  <a:lnTo>
                    <a:pt x="264" y="1455"/>
                  </a:lnTo>
                  <a:lnTo>
                    <a:pt x="264" y="1457"/>
                  </a:lnTo>
                  <a:lnTo>
                    <a:pt x="262" y="1459"/>
                  </a:lnTo>
                  <a:lnTo>
                    <a:pt x="262" y="1460"/>
                  </a:lnTo>
                  <a:lnTo>
                    <a:pt x="260" y="1462"/>
                  </a:lnTo>
                  <a:lnTo>
                    <a:pt x="260" y="1463"/>
                  </a:lnTo>
                  <a:lnTo>
                    <a:pt x="260" y="1465"/>
                  </a:lnTo>
                  <a:lnTo>
                    <a:pt x="260" y="1467"/>
                  </a:lnTo>
                  <a:lnTo>
                    <a:pt x="259" y="1467"/>
                  </a:lnTo>
                  <a:lnTo>
                    <a:pt x="257" y="1467"/>
                  </a:lnTo>
                  <a:lnTo>
                    <a:pt x="256" y="1468"/>
                  </a:lnTo>
                  <a:lnTo>
                    <a:pt x="254" y="1468"/>
                  </a:lnTo>
                  <a:lnTo>
                    <a:pt x="252" y="1468"/>
                  </a:lnTo>
                  <a:lnTo>
                    <a:pt x="252" y="1467"/>
                  </a:lnTo>
                  <a:lnTo>
                    <a:pt x="251" y="1467"/>
                  </a:lnTo>
                  <a:lnTo>
                    <a:pt x="249" y="1465"/>
                  </a:lnTo>
                  <a:lnTo>
                    <a:pt x="249" y="1463"/>
                  </a:lnTo>
                  <a:lnTo>
                    <a:pt x="251" y="1463"/>
                  </a:lnTo>
                  <a:lnTo>
                    <a:pt x="252" y="1463"/>
                  </a:lnTo>
                  <a:lnTo>
                    <a:pt x="254" y="1463"/>
                  </a:lnTo>
                  <a:lnTo>
                    <a:pt x="252" y="1463"/>
                  </a:lnTo>
                  <a:lnTo>
                    <a:pt x="252" y="1462"/>
                  </a:lnTo>
                  <a:lnTo>
                    <a:pt x="252" y="1463"/>
                  </a:lnTo>
                  <a:lnTo>
                    <a:pt x="251" y="1462"/>
                  </a:lnTo>
                  <a:lnTo>
                    <a:pt x="252" y="1462"/>
                  </a:lnTo>
                  <a:lnTo>
                    <a:pt x="251" y="1462"/>
                  </a:lnTo>
                  <a:lnTo>
                    <a:pt x="252" y="1460"/>
                  </a:lnTo>
                  <a:lnTo>
                    <a:pt x="254" y="1460"/>
                  </a:lnTo>
                  <a:lnTo>
                    <a:pt x="252" y="1460"/>
                  </a:lnTo>
                  <a:lnTo>
                    <a:pt x="254" y="1460"/>
                  </a:lnTo>
                  <a:lnTo>
                    <a:pt x="254" y="1459"/>
                  </a:lnTo>
                  <a:lnTo>
                    <a:pt x="256" y="1459"/>
                  </a:lnTo>
                  <a:lnTo>
                    <a:pt x="254" y="1459"/>
                  </a:lnTo>
                  <a:lnTo>
                    <a:pt x="254" y="1460"/>
                  </a:lnTo>
                  <a:lnTo>
                    <a:pt x="252" y="1460"/>
                  </a:lnTo>
                  <a:lnTo>
                    <a:pt x="251" y="1460"/>
                  </a:lnTo>
                  <a:lnTo>
                    <a:pt x="252" y="1460"/>
                  </a:lnTo>
                  <a:lnTo>
                    <a:pt x="251" y="1460"/>
                  </a:lnTo>
                  <a:lnTo>
                    <a:pt x="251" y="1459"/>
                  </a:lnTo>
                  <a:lnTo>
                    <a:pt x="252" y="1459"/>
                  </a:lnTo>
                  <a:lnTo>
                    <a:pt x="251" y="1459"/>
                  </a:lnTo>
                  <a:lnTo>
                    <a:pt x="251" y="1457"/>
                  </a:lnTo>
                  <a:lnTo>
                    <a:pt x="251" y="1459"/>
                  </a:lnTo>
                  <a:lnTo>
                    <a:pt x="251" y="1460"/>
                  </a:lnTo>
                  <a:lnTo>
                    <a:pt x="251" y="1459"/>
                  </a:lnTo>
                  <a:lnTo>
                    <a:pt x="251" y="1460"/>
                  </a:lnTo>
                  <a:lnTo>
                    <a:pt x="249" y="1460"/>
                  </a:lnTo>
                  <a:lnTo>
                    <a:pt x="251" y="1460"/>
                  </a:lnTo>
                  <a:lnTo>
                    <a:pt x="251" y="1462"/>
                  </a:lnTo>
                  <a:lnTo>
                    <a:pt x="251" y="1463"/>
                  </a:lnTo>
                  <a:lnTo>
                    <a:pt x="251" y="1462"/>
                  </a:lnTo>
                  <a:lnTo>
                    <a:pt x="251" y="1463"/>
                  </a:lnTo>
                  <a:lnTo>
                    <a:pt x="249" y="1463"/>
                  </a:lnTo>
                  <a:lnTo>
                    <a:pt x="249" y="1465"/>
                  </a:lnTo>
                  <a:lnTo>
                    <a:pt x="247" y="1465"/>
                  </a:lnTo>
                  <a:lnTo>
                    <a:pt x="247" y="1467"/>
                  </a:lnTo>
                  <a:lnTo>
                    <a:pt x="246" y="1465"/>
                  </a:lnTo>
                  <a:lnTo>
                    <a:pt x="244" y="1465"/>
                  </a:lnTo>
                  <a:lnTo>
                    <a:pt x="244" y="1463"/>
                  </a:lnTo>
                  <a:lnTo>
                    <a:pt x="243" y="1463"/>
                  </a:lnTo>
                  <a:lnTo>
                    <a:pt x="243" y="1462"/>
                  </a:lnTo>
                  <a:lnTo>
                    <a:pt x="241" y="1462"/>
                  </a:lnTo>
                  <a:lnTo>
                    <a:pt x="241" y="1460"/>
                  </a:lnTo>
                  <a:lnTo>
                    <a:pt x="243" y="1460"/>
                  </a:lnTo>
                  <a:lnTo>
                    <a:pt x="243" y="1459"/>
                  </a:lnTo>
                  <a:lnTo>
                    <a:pt x="243" y="1457"/>
                  </a:lnTo>
                  <a:lnTo>
                    <a:pt x="241" y="1457"/>
                  </a:lnTo>
                  <a:lnTo>
                    <a:pt x="243" y="1457"/>
                  </a:lnTo>
                  <a:lnTo>
                    <a:pt x="241" y="1457"/>
                  </a:lnTo>
                  <a:lnTo>
                    <a:pt x="241" y="1455"/>
                  </a:lnTo>
                  <a:lnTo>
                    <a:pt x="243" y="1455"/>
                  </a:lnTo>
                  <a:lnTo>
                    <a:pt x="243" y="1454"/>
                  </a:lnTo>
                  <a:lnTo>
                    <a:pt x="244" y="1454"/>
                  </a:lnTo>
                  <a:lnTo>
                    <a:pt x="243" y="1454"/>
                  </a:lnTo>
                  <a:lnTo>
                    <a:pt x="243" y="1452"/>
                  </a:lnTo>
                  <a:lnTo>
                    <a:pt x="244" y="1452"/>
                  </a:lnTo>
                  <a:lnTo>
                    <a:pt x="243" y="1452"/>
                  </a:lnTo>
                  <a:lnTo>
                    <a:pt x="243" y="1454"/>
                  </a:lnTo>
                  <a:lnTo>
                    <a:pt x="243" y="1455"/>
                  </a:lnTo>
                  <a:lnTo>
                    <a:pt x="241" y="1455"/>
                  </a:lnTo>
                  <a:lnTo>
                    <a:pt x="241" y="1454"/>
                  </a:lnTo>
                  <a:lnTo>
                    <a:pt x="239" y="1454"/>
                  </a:lnTo>
                  <a:lnTo>
                    <a:pt x="239" y="1452"/>
                  </a:lnTo>
                  <a:lnTo>
                    <a:pt x="238" y="1452"/>
                  </a:lnTo>
                  <a:lnTo>
                    <a:pt x="236" y="1452"/>
                  </a:lnTo>
                  <a:lnTo>
                    <a:pt x="236" y="1450"/>
                  </a:lnTo>
                  <a:lnTo>
                    <a:pt x="236" y="1449"/>
                  </a:lnTo>
                  <a:lnTo>
                    <a:pt x="238" y="1449"/>
                  </a:lnTo>
                  <a:lnTo>
                    <a:pt x="238" y="1447"/>
                  </a:lnTo>
                  <a:lnTo>
                    <a:pt x="238" y="1449"/>
                  </a:lnTo>
                  <a:lnTo>
                    <a:pt x="236" y="1449"/>
                  </a:lnTo>
                  <a:lnTo>
                    <a:pt x="234" y="1450"/>
                  </a:lnTo>
                  <a:lnTo>
                    <a:pt x="231" y="1449"/>
                  </a:lnTo>
                  <a:lnTo>
                    <a:pt x="231" y="1450"/>
                  </a:lnTo>
                  <a:lnTo>
                    <a:pt x="229" y="1449"/>
                  </a:lnTo>
                  <a:lnTo>
                    <a:pt x="229" y="1450"/>
                  </a:lnTo>
                  <a:lnTo>
                    <a:pt x="228" y="1450"/>
                  </a:lnTo>
                  <a:lnTo>
                    <a:pt x="226" y="1450"/>
                  </a:lnTo>
                  <a:lnTo>
                    <a:pt x="226" y="1449"/>
                  </a:lnTo>
                  <a:lnTo>
                    <a:pt x="225" y="1449"/>
                  </a:lnTo>
                  <a:lnTo>
                    <a:pt x="225" y="1447"/>
                  </a:lnTo>
                  <a:lnTo>
                    <a:pt x="226" y="1447"/>
                  </a:lnTo>
                  <a:lnTo>
                    <a:pt x="228" y="1447"/>
                  </a:lnTo>
                  <a:lnTo>
                    <a:pt x="226" y="1447"/>
                  </a:lnTo>
                  <a:lnTo>
                    <a:pt x="228" y="1446"/>
                  </a:lnTo>
                  <a:lnTo>
                    <a:pt x="229" y="1444"/>
                  </a:lnTo>
                  <a:lnTo>
                    <a:pt x="228" y="1446"/>
                  </a:lnTo>
                  <a:lnTo>
                    <a:pt x="228" y="1444"/>
                  </a:lnTo>
                  <a:lnTo>
                    <a:pt x="226" y="1444"/>
                  </a:lnTo>
                  <a:lnTo>
                    <a:pt x="228" y="1446"/>
                  </a:lnTo>
                  <a:lnTo>
                    <a:pt x="226" y="1446"/>
                  </a:lnTo>
                  <a:lnTo>
                    <a:pt x="226" y="1447"/>
                  </a:lnTo>
                  <a:lnTo>
                    <a:pt x="225" y="1447"/>
                  </a:lnTo>
                  <a:lnTo>
                    <a:pt x="225" y="1446"/>
                  </a:lnTo>
                  <a:lnTo>
                    <a:pt x="223" y="1446"/>
                  </a:lnTo>
                  <a:lnTo>
                    <a:pt x="221" y="1446"/>
                  </a:lnTo>
                  <a:lnTo>
                    <a:pt x="220" y="1446"/>
                  </a:lnTo>
                  <a:lnTo>
                    <a:pt x="220" y="1444"/>
                  </a:lnTo>
                  <a:lnTo>
                    <a:pt x="221" y="1444"/>
                  </a:lnTo>
                  <a:lnTo>
                    <a:pt x="221" y="1442"/>
                  </a:lnTo>
                  <a:lnTo>
                    <a:pt x="220" y="1442"/>
                  </a:lnTo>
                  <a:lnTo>
                    <a:pt x="221" y="1441"/>
                  </a:lnTo>
                  <a:lnTo>
                    <a:pt x="220" y="1439"/>
                  </a:lnTo>
                  <a:lnTo>
                    <a:pt x="221" y="1439"/>
                  </a:lnTo>
                  <a:lnTo>
                    <a:pt x="223" y="1439"/>
                  </a:lnTo>
                  <a:lnTo>
                    <a:pt x="223" y="1437"/>
                  </a:lnTo>
                  <a:lnTo>
                    <a:pt x="225" y="1437"/>
                  </a:lnTo>
                  <a:lnTo>
                    <a:pt x="225" y="1436"/>
                  </a:lnTo>
                  <a:lnTo>
                    <a:pt x="226" y="1436"/>
                  </a:lnTo>
                  <a:lnTo>
                    <a:pt x="225" y="1436"/>
                  </a:lnTo>
                  <a:lnTo>
                    <a:pt x="223" y="1437"/>
                  </a:lnTo>
                  <a:lnTo>
                    <a:pt x="223" y="1439"/>
                  </a:lnTo>
                  <a:lnTo>
                    <a:pt x="221" y="1439"/>
                  </a:lnTo>
                  <a:lnTo>
                    <a:pt x="220" y="1439"/>
                  </a:lnTo>
                  <a:lnTo>
                    <a:pt x="218" y="1439"/>
                  </a:lnTo>
                  <a:lnTo>
                    <a:pt x="218" y="1437"/>
                  </a:lnTo>
                  <a:lnTo>
                    <a:pt x="216" y="1437"/>
                  </a:lnTo>
                  <a:lnTo>
                    <a:pt x="216" y="1436"/>
                  </a:lnTo>
                  <a:lnTo>
                    <a:pt x="216" y="1434"/>
                  </a:lnTo>
                  <a:lnTo>
                    <a:pt x="215" y="1432"/>
                  </a:lnTo>
                  <a:lnTo>
                    <a:pt x="216" y="1431"/>
                  </a:lnTo>
                  <a:lnTo>
                    <a:pt x="216" y="1429"/>
                  </a:lnTo>
                  <a:lnTo>
                    <a:pt x="218" y="1429"/>
                  </a:lnTo>
                  <a:lnTo>
                    <a:pt x="216" y="1429"/>
                  </a:lnTo>
                  <a:lnTo>
                    <a:pt x="216" y="1428"/>
                  </a:lnTo>
                  <a:lnTo>
                    <a:pt x="218" y="1428"/>
                  </a:lnTo>
                  <a:lnTo>
                    <a:pt x="220" y="1428"/>
                  </a:lnTo>
                  <a:lnTo>
                    <a:pt x="220" y="1426"/>
                  </a:lnTo>
                  <a:lnTo>
                    <a:pt x="221" y="1426"/>
                  </a:lnTo>
                  <a:lnTo>
                    <a:pt x="221" y="1424"/>
                  </a:lnTo>
                  <a:lnTo>
                    <a:pt x="220" y="1424"/>
                  </a:lnTo>
                  <a:lnTo>
                    <a:pt x="220" y="1426"/>
                  </a:lnTo>
                  <a:lnTo>
                    <a:pt x="218" y="1428"/>
                  </a:lnTo>
                  <a:lnTo>
                    <a:pt x="216" y="1428"/>
                  </a:lnTo>
                  <a:lnTo>
                    <a:pt x="218" y="1426"/>
                  </a:lnTo>
                  <a:lnTo>
                    <a:pt x="216" y="1426"/>
                  </a:lnTo>
                  <a:lnTo>
                    <a:pt x="216" y="1424"/>
                  </a:lnTo>
                  <a:lnTo>
                    <a:pt x="216" y="1423"/>
                  </a:lnTo>
                  <a:lnTo>
                    <a:pt x="215" y="1423"/>
                  </a:lnTo>
                  <a:lnTo>
                    <a:pt x="215" y="1424"/>
                  </a:lnTo>
                  <a:lnTo>
                    <a:pt x="213" y="1423"/>
                  </a:lnTo>
                  <a:lnTo>
                    <a:pt x="215" y="1423"/>
                  </a:lnTo>
                  <a:lnTo>
                    <a:pt x="216" y="1421"/>
                  </a:lnTo>
                  <a:lnTo>
                    <a:pt x="215" y="1421"/>
                  </a:lnTo>
                  <a:lnTo>
                    <a:pt x="215" y="1423"/>
                  </a:lnTo>
                  <a:lnTo>
                    <a:pt x="213" y="1423"/>
                  </a:lnTo>
                  <a:lnTo>
                    <a:pt x="213" y="1424"/>
                  </a:lnTo>
                  <a:lnTo>
                    <a:pt x="215" y="1424"/>
                  </a:lnTo>
                  <a:lnTo>
                    <a:pt x="215" y="1423"/>
                  </a:lnTo>
                  <a:lnTo>
                    <a:pt x="216" y="1423"/>
                  </a:lnTo>
                  <a:lnTo>
                    <a:pt x="216" y="1424"/>
                  </a:lnTo>
                  <a:lnTo>
                    <a:pt x="216" y="1426"/>
                  </a:lnTo>
                  <a:lnTo>
                    <a:pt x="216" y="1428"/>
                  </a:lnTo>
                  <a:lnTo>
                    <a:pt x="215" y="1428"/>
                  </a:lnTo>
                  <a:lnTo>
                    <a:pt x="213" y="1428"/>
                  </a:lnTo>
                  <a:lnTo>
                    <a:pt x="215" y="1428"/>
                  </a:lnTo>
                  <a:lnTo>
                    <a:pt x="215" y="1429"/>
                  </a:lnTo>
                  <a:lnTo>
                    <a:pt x="215" y="1431"/>
                  </a:lnTo>
                  <a:lnTo>
                    <a:pt x="215" y="1432"/>
                  </a:lnTo>
                  <a:lnTo>
                    <a:pt x="213" y="1432"/>
                  </a:lnTo>
                  <a:lnTo>
                    <a:pt x="212" y="1432"/>
                  </a:lnTo>
                  <a:lnTo>
                    <a:pt x="212" y="1434"/>
                  </a:lnTo>
                  <a:lnTo>
                    <a:pt x="210" y="1434"/>
                  </a:lnTo>
                  <a:lnTo>
                    <a:pt x="208" y="1432"/>
                  </a:lnTo>
                  <a:lnTo>
                    <a:pt x="208" y="1434"/>
                  </a:lnTo>
                  <a:lnTo>
                    <a:pt x="207" y="1432"/>
                  </a:lnTo>
                  <a:lnTo>
                    <a:pt x="207" y="1431"/>
                  </a:lnTo>
                  <a:lnTo>
                    <a:pt x="207" y="1432"/>
                  </a:lnTo>
                  <a:lnTo>
                    <a:pt x="207" y="1431"/>
                  </a:lnTo>
                  <a:lnTo>
                    <a:pt x="207" y="1432"/>
                  </a:lnTo>
                  <a:lnTo>
                    <a:pt x="208" y="1434"/>
                  </a:lnTo>
                  <a:lnTo>
                    <a:pt x="210" y="1434"/>
                  </a:lnTo>
                  <a:lnTo>
                    <a:pt x="212" y="1434"/>
                  </a:lnTo>
                  <a:lnTo>
                    <a:pt x="212" y="1432"/>
                  </a:lnTo>
                  <a:lnTo>
                    <a:pt x="213" y="1432"/>
                  </a:lnTo>
                  <a:lnTo>
                    <a:pt x="215" y="1432"/>
                  </a:lnTo>
                  <a:lnTo>
                    <a:pt x="215" y="1434"/>
                  </a:lnTo>
                  <a:lnTo>
                    <a:pt x="215" y="1436"/>
                  </a:lnTo>
                  <a:lnTo>
                    <a:pt x="213" y="1436"/>
                  </a:lnTo>
                  <a:lnTo>
                    <a:pt x="213" y="1437"/>
                  </a:lnTo>
                  <a:lnTo>
                    <a:pt x="213" y="1436"/>
                  </a:lnTo>
                  <a:lnTo>
                    <a:pt x="212" y="1437"/>
                  </a:lnTo>
                  <a:lnTo>
                    <a:pt x="213" y="1437"/>
                  </a:lnTo>
                  <a:lnTo>
                    <a:pt x="213" y="1439"/>
                  </a:lnTo>
                  <a:lnTo>
                    <a:pt x="213" y="1437"/>
                  </a:lnTo>
                  <a:lnTo>
                    <a:pt x="215" y="1437"/>
                  </a:lnTo>
                  <a:lnTo>
                    <a:pt x="215" y="1439"/>
                  </a:lnTo>
                  <a:lnTo>
                    <a:pt x="213" y="1439"/>
                  </a:lnTo>
                  <a:lnTo>
                    <a:pt x="215" y="1439"/>
                  </a:lnTo>
                  <a:lnTo>
                    <a:pt x="216" y="1439"/>
                  </a:lnTo>
                  <a:lnTo>
                    <a:pt x="216" y="1437"/>
                  </a:lnTo>
                  <a:lnTo>
                    <a:pt x="216" y="1439"/>
                  </a:lnTo>
                  <a:lnTo>
                    <a:pt x="216" y="1441"/>
                  </a:lnTo>
                  <a:lnTo>
                    <a:pt x="215" y="1441"/>
                  </a:lnTo>
                  <a:lnTo>
                    <a:pt x="213" y="1442"/>
                  </a:lnTo>
                  <a:lnTo>
                    <a:pt x="215" y="1444"/>
                  </a:lnTo>
                  <a:lnTo>
                    <a:pt x="213" y="1444"/>
                  </a:lnTo>
                  <a:lnTo>
                    <a:pt x="212" y="1444"/>
                  </a:lnTo>
                  <a:lnTo>
                    <a:pt x="210" y="1444"/>
                  </a:lnTo>
                  <a:lnTo>
                    <a:pt x="212" y="1444"/>
                  </a:lnTo>
                  <a:lnTo>
                    <a:pt x="212" y="1442"/>
                  </a:lnTo>
                  <a:lnTo>
                    <a:pt x="212" y="1441"/>
                  </a:lnTo>
                  <a:lnTo>
                    <a:pt x="210" y="1439"/>
                  </a:lnTo>
                  <a:lnTo>
                    <a:pt x="208" y="1439"/>
                  </a:lnTo>
                  <a:lnTo>
                    <a:pt x="208" y="1437"/>
                  </a:lnTo>
                  <a:lnTo>
                    <a:pt x="207" y="1436"/>
                  </a:lnTo>
                  <a:lnTo>
                    <a:pt x="205" y="1436"/>
                  </a:lnTo>
                  <a:lnTo>
                    <a:pt x="203" y="1436"/>
                  </a:lnTo>
                  <a:lnTo>
                    <a:pt x="202" y="1436"/>
                  </a:lnTo>
                  <a:lnTo>
                    <a:pt x="200" y="1436"/>
                  </a:lnTo>
                  <a:lnTo>
                    <a:pt x="197" y="1434"/>
                  </a:lnTo>
                  <a:lnTo>
                    <a:pt x="195" y="1434"/>
                  </a:lnTo>
                  <a:lnTo>
                    <a:pt x="194" y="1434"/>
                  </a:lnTo>
                  <a:lnTo>
                    <a:pt x="192" y="1434"/>
                  </a:lnTo>
                  <a:lnTo>
                    <a:pt x="192" y="1436"/>
                  </a:lnTo>
                  <a:lnTo>
                    <a:pt x="189" y="1436"/>
                  </a:lnTo>
                  <a:lnTo>
                    <a:pt x="189" y="1437"/>
                  </a:lnTo>
                  <a:lnTo>
                    <a:pt x="187" y="1436"/>
                  </a:lnTo>
                  <a:lnTo>
                    <a:pt x="187" y="1437"/>
                  </a:lnTo>
                  <a:lnTo>
                    <a:pt x="186" y="1436"/>
                  </a:lnTo>
                  <a:lnTo>
                    <a:pt x="186" y="1437"/>
                  </a:lnTo>
                  <a:lnTo>
                    <a:pt x="184" y="1437"/>
                  </a:lnTo>
                  <a:lnTo>
                    <a:pt x="182" y="1437"/>
                  </a:lnTo>
                  <a:lnTo>
                    <a:pt x="182" y="1436"/>
                  </a:lnTo>
                  <a:lnTo>
                    <a:pt x="181" y="1436"/>
                  </a:lnTo>
                  <a:lnTo>
                    <a:pt x="179" y="1436"/>
                  </a:lnTo>
                  <a:lnTo>
                    <a:pt x="177" y="1436"/>
                  </a:lnTo>
                  <a:lnTo>
                    <a:pt x="176" y="1436"/>
                  </a:lnTo>
                  <a:lnTo>
                    <a:pt x="174" y="1436"/>
                  </a:lnTo>
                  <a:lnTo>
                    <a:pt x="174" y="1434"/>
                  </a:lnTo>
                  <a:lnTo>
                    <a:pt x="176" y="1434"/>
                  </a:lnTo>
                  <a:lnTo>
                    <a:pt x="176" y="1432"/>
                  </a:lnTo>
                  <a:lnTo>
                    <a:pt x="174" y="1432"/>
                  </a:lnTo>
                  <a:lnTo>
                    <a:pt x="176" y="1431"/>
                  </a:lnTo>
                  <a:lnTo>
                    <a:pt x="176" y="1429"/>
                  </a:lnTo>
                  <a:lnTo>
                    <a:pt x="176" y="1428"/>
                  </a:lnTo>
                  <a:lnTo>
                    <a:pt x="174" y="1428"/>
                  </a:lnTo>
                  <a:lnTo>
                    <a:pt x="174" y="1426"/>
                  </a:lnTo>
                  <a:lnTo>
                    <a:pt x="174" y="1428"/>
                  </a:lnTo>
                  <a:lnTo>
                    <a:pt x="176" y="1429"/>
                  </a:lnTo>
                  <a:lnTo>
                    <a:pt x="174" y="1431"/>
                  </a:lnTo>
                  <a:lnTo>
                    <a:pt x="174" y="1432"/>
                  </a:lnTo>
                  <a:lnTo>
                    <a:pt x="176" y="1432"/>
                  </a:lnTo>
                  <a:lnTo>
                    <a:pt x="174" y="1434"/>
                  </a:lnTo>
                  <a:lnTo>
                    <a:pt x="173" y="1434"/>
                  </a:lnTo>
                  <a:lnTo>
                    <a:pt x="173" y="1436"/>
                  </a:lnTo>
                  <a:lnTo>
                    <a:pt x="171" y="1436"/>
                  </a:lnTo>
                  <a:lnTo>
                    <a:pt x="171" y="1434"/>
                  </a:lnTo>
                  <a:lnTo>
                    <a:pt x="171" y="1436"/>
                  </a:lnTo>
                  <a:lnTo>
                    <a:pt x="169" y="1434"/>
                  </a:lnTo>
                  <a:lnTo>
                    <a:pt x="171" y="1432"/>
                  </a:lnTo>
                  <a:lnTo>
                    <a:pt x="169" y="1431"/>
                  </a:lnTo>
                  <a:lnTo>
                    <a:pt x="168" y="1432"/>
                  </a:lnTo>
                  <a:lnTo>
                    <a:pt x="166" y="1431"/>
                  </a:lnTo>
                  <a:lnTo>
                    <a:pt x="164" y="1432"/>
                  </a:lnTo>
                  <a:lnTo>
                    <a:pt x="163" y="1432"/>
                  </a:lnTo>
                  <a:lnTo>
                    <a:pt x="163" y="1434"/>
                  </a:lnTo>
                  <a:lnTo>
                    <a:pt x="163" y="1436"/>
                  </a:lnTo>
                  <a:lnTo>
                    <a:pt x="163" y="1437"/>
                  </a:lnTo>
                  <a:lnTo>
                    <a:pt x="163" y="1436"/>
                  </a:lnTo>
                  <a:lnTo>
                    <a:pt x="161" y="1437"/>
                  </a:lnTo>
                  <a:lnTo>
                    <a:pt x="160" y="1437"/>
                  </a:lnTo>
                  <a:lnTo>
                    <a:pt x="160" y="1439"/>
                  </a:lnTo>
                  <a:lnTo>
                    <a:pt x="160" y="1441"/>
                  </a:lnTo>
                  <a:lnTo>
                    <a:pt x="160" y="1442"/>
                  </a:lnTo>
                  <a:lnTo>
                    <a:pt x="161" y="1442"/>
                  </a:lnTo>
                  <a:lnTo>
                    <a:pt x="160" y="1442"/>
                  </a:lnTo>
                  <a:lnTo>
                    <a:pt x="161" y="1442"/>
                  </a:lnTo>
                  <a:lnTo>
                    <a:pt x="160" y="1442"/>
                  </a:lnTo>
                  <a:lnTo>
                    <a:pt x="160" y="1444"/>
                  </a:lnTo>
                  <a:lnTo>
                    <a:pt x="158" y="1444"/>
                  </a:lnTo>
                  <a:lnTo>
                    <a:pt x="160" y="1446"/>
                  </a:lnTo>
                  <a:lnTo>
                    <a:pt x="158" y="1446"/>
                  </a:lnTo>
                  <a:lnTo>
                    <a:pt x="156" y="1447"/>
                  </a:lnTo>
                  <a:lnTo>
                    <a:pt x="156" y="1446"/>
                  </a:lnTo>
                  <a:lnTo>
                    <a:pt x="155" y="1446"/>
                  </a:lnTo>
                  <a:lnTo>
                    <a:pt x="155" y="1444"/>
                  </a:lnTo>
                  <a:lnTo>
                    <a:pt x="153" y="1444"/>
                  </a:lnTo>
                  <a:lnTo>
                    <a:pt x="151" y="1444"/>
                  </a:lnTo>
                  <a:lnTo>
                    <a:pt x="150" y="1444"/>
                  </a:lnTo>
                  <a:lnTo>
                    <a:pt x="150" y="1446"/>
                  </a:lnTo>
                  <a:lnTo>
                    <a:pt x="148" y="1446"/>
                  </a:lnTo>
                  <a:lnTo>
                    <a:pt x="147" y="1446"/>
                  </a:lnTo>
                  <a:lnTo>
                    <a:pt x="147" y="1447"/>
                  </a:lnTo>
                  <a:lnTo>
                    <a:pt x="145" y="1449"/>
                  </a:lnTo>
                  <a:lnTo>
                    <a:pt x="145" y="1447"/>
                  </a:lnTo>
                  <a:lnTo>
                    <a:pt x="145" y="1446"/>
                  </a:lnTo>
                  <a:lnTo>
                    <a:pt x="143" y="1446"/>
                  </a:lnTo>
                  <a:lnTo>
                    <a:pt x="142" y="1447"/>
                  </a:lnTo>
                  <a:lnTo>
                    <a:pt x="140" y="1447"/>
                  </a:lnTo>
                  <a:lnTo>
                    <a:pt x="140" y="1449"/>
                  </a:lnTo>
                  <a:lnTo>
                    <a:pt x="140" y="1450"/>
                  </a:lnTo>
                  <a:lnTo>
                    <a:pt x="140" y="1452"/>
                  </a:lnTo>
                  <a:lnTo>
                    <a:pt x="138" y="1452"/>
                  </a:lnTo>
                  <a:lnTo>
                    <a:pt x="138" y="1454"/>
                  </a:lnTo>
                  <a:lnTo>
                    <a:pt x="137" y="1454"/>
                  </a:lnTo>
                  <a:lnTo>
                    <a:pt x="135" y="1454"/>
                  </a:lnTo>
                  <a:lnTo>
                    <a:pt x="135" y="1452"/>
                  </a:lnTo>
                  <a:lnTo>
                    <a:pt x="137" y="1452"/>
                  </a:lnTo>
                  <a:lnTo>
                    <a:pt x="137" y="1450"/>
                  </a:lnTo>
                  <a:lnTo>
                    <a:pt x="138" y="1449"/>
                  </a:lnTo>
                  <a:lnTo>
                    <a:pt x="138" y="1450"/>
                  </a:lnTo>
                  <a:lnTo>
                    <a:pt x="137" y="1450"/>
                  </a:lnTo>
                  <a:lnTo>
                    <a:pt x="137" y="1452"/>
                  </a:lnTo>
                  <a:lnTo>
                    <a:pt x="135" y="1452"/>
                  </a:lnTo>
                  <a:lnTo>
                    <a:pt x="135" y="1450"/>
                  </a:lnTo>
                  <a:lnTo>
                    <a:pt x="135" y="1449"/>
                  </a:lnTo>
                  <a:lnTo>
                    <a:pt x="137" y="1447"/>
                  </a:lnTo>
                  <a:lnTo>
                    <a:pt x="135" y="1449"/>
                  </a:lnTo>
                  <a:lnTo>
                    <a:pt x="135" y="1447"/>
                  </a:lnTo>
                  <a:lnTo>
                    <a:pt x="135" y="1446"/>
                  </a:lnTo>
                  <a:lnTo>
                    <a:pt x="135" y="1444"/>
                  </a:lnTo>
                  <a:lnTo>
                    <a:pt x="137" y="1444"/>
                  </a:lnTo>
                  <a:lnTo>
                    <a:pt x="137" y="1442"/>
                  </a:lnTo>
                  <a:lnTo>
                    <a:pt x="138" y="1442"/>
                  </a:lnTo>
                  <a:lnTo>
                    <a:pt x="140" y="1442"/>
                  </a:lnTo>
                  <a:lnTo>
                    <a:pt x="142" y="1442"/>
                  </a:lnTo>
                  <a:lnTo>
                    <a:pt x="140" y="1442"/>
                  </a:lnTo>
                  <a:lnTo>
                    <a:pt x="142" y="1442"/>
                  </a:lnTo>
                  <a:lnTo>
                    <a:pt x="142" y="1441"/>
                  </a:lnTo>
                  <a:lnTo>
                    <a:pt x="142" y="1442"/>
                  </a:lnTo>
                  <a:lnTo>
                    <a:pt x="140" y="1442"/>
                  </a:lnTo>
                  <a:lnTo>
                    <a:pt x="138" y="1442"/>
                  </a:lnTo>
                  <a:lnTo>
                    <a:pt x="137" y="1442"/>
                  </a:lnTo>
                  <a:lnTo>
                    <a:pt x="138" y="1441"/>
                  </a:lnTo>
                  <a:lnTo>
                    <a:pt x="138" y="1439"/>
                  </a:lnTo>
                  <a:lnTo>
                    <a:pt x="137" y="1439"/>
                  </a:lnTo>
                  <a:lnTo>
                    <a:pt x="138" y="1439"/>
                  </a:lnTo>
                  <a:lnTo>
                    <a:pt x="138" y="1437"/>
                  </a:lnTo>
                  <a:lnTo>
                    <a:pt x="140" y="1437"/>
                  </a:lnTo>
                  <a:lnTo>
                    <a:pt x="140" y="1436"/>
                  </a:lnTo>
                  <a:lnTo>
                    <a:pt x="138" y="1437"/>
                  </a:lnTo>
                  <a:lnTo>
                    <a:pt x="138" y="1439"/>
                  </a:lnTo>
                  <a:lnTo>
                    <a:pt x="137" y="1439"/>
                  </a:lnTo>
                  <a:lnTo>
                    <a:pt x="138" y="1439"/>
                  </a:lnTo>
                  <a:lnTo>
                    <a:pt x="138" y="1441"/>
                  </a:lnTo>
                  <a:lnTo>
                    <a:pt x="137" y="1441"/>
                  </a:lnTo>
                  <a:lnTo>
                    <a:pt x="137" y="1442"/>
                  </a:lnTo>
                  <a:lnTo>
                    <a:pt x="135" y="1444"/>
                  </a:lnTo>
                  <a:lnTo>
                    <a:pt x="134" y="1444"/>
                  </a:lnTo>
                  <a:lnTo>
                    <a:pt x="132" y="1446"/>
                  </a:lnTo>
                  <a:lnTo>
                    <a:pt x="134" y="1446"/>
                  </a:lnTo>
                  <a:lnTo>
                    <a:pt x="132" y="1444"/>
                  </a:lnTo>
                  <a:lnTo>
                    <a:pt x="130" y="1442"/>
                  </a:lnTo>
                  <a:lnTo>
                    <a:pt x="130" y="1444"/>
                  </a:lnTo>
                  <a:lnTo>
                    <a:pt x="130" y="1442"/>
                  </a:lnTo>
                  <a:lnTo>
                    <a:pt x="130" y="1444"/>
                  </a:lnTo>
                  <a:lnTo>
                    <a:pt x="132" y="1444"/>
                  </a:lnTo>
                  <a:lnTo>
                    <a:pt x="132" y="1446"/>
                  </a:lnTo>
                  <a:lnTo>
                    <a:pt x="134" y="1446"/>
                  </a:lnTo>
                  <a:lnTo>
                    <a:pt x="134" y="1447"/>
                  </a:lnTo>
                  <a:lnTo>
                    <a:pt x="132" y="1447"/>
                  </a:lnTo>
                  <a:lnTo>
                    <a:pt x="130" y="1447"/>
                  </a:lnTo>
                  <a:lnTo>
                    <a:pt x="132" y="1447"/>
                  </a:lnTo>
                  <a:lnTo>
                    <a:pt x="132" y="1449"/>
                  </a:lnTo>
                  <a:lnTo>
                    <a:pt x="134" y="1449"/>
                  </a:lnTo>
                  <a:lnTo>
                    <a:pt x="132" y="1450"/>
                  </a:lnTo>
                  <a:lnTo>
                    <a:pt x="130" y="1450"/>
                  </a:lnTo>
                  <a:lnTo>
                    <a:pt x="130" y="1449"/>
                  </a:lnTo>
                  <a:lnTo>
                    <a:pt x="129" y="1449"/>
                  </a:lnTo>
                  <a:lnTo>
                    <a:pt x="130" y="1449"/>
                  </a:lnTo>
                  <a:lnTo>
                    <a:pt x="130" y="1450"/>
                  </a:lnTo>
                  <a:lnTo>
                    <a:pt x="130" y="1452"/>
                  </a:lnTo>
                  <a:lnTo>
                    <a:pt x="132" y="1452"/>
                  </a:lnTo>
                  <a:lnTo>
                    <a:pt x="132" y="1450"/>
                  </a:lnTo>
                  <a:lnTo>
                    <a:pt x="132" y="1452"/>
                  </a:lnTo>
                  <a:lnTo>
                    <a:pt x="132" y="1450"/>
                  </a:lnTo>
                  <a:lnTo>
                    <a:pt x="132" y="1452"/>
                  </a:lnTo>
                  <a:lnTo>
                    <a:pt x="134" y="1454"/>
                  </a:lnTo>
                  <a:lnTo>
                    <a:pt x="132" y="1454"/>
                  </a:lnTo>
                  <a:lnTo>
                    <a:pt x="132" y="1452"/>
                  </a:lnTo>
                  <a:lnTo>
                    <a:pt x="130" y="1452"/>
                  </a:lnTo>
                  <a:lnTo>
                    <a:pt x="130" y="1454"/>
                  </a:lnTo>
                  <a:lnTo>
                    <a:pt x="130" y="1452"/>
                  </a:lnTo>
                  <a:lnTo>
                    <a:pt x="130" y="1454"/>
                  </a:lnTo>
                  <a:lnTo>
                    <a:pt x="129" y="1452"/>
                  </a:lnTo>
                  <a:lnTo>
                    <a:pt x="130" y="1454"/>
                  </a:lnTo>
                  <a:lnTo>
                    <a:pt x="129" y="1454"/>
                  </a:lnTo>
                  <a:lnTo>
                    <a:pt x="127" y="1455"/>
                  </a:lnTo>
                  <a:lnTo>
                    <a:pt x="129" y="1455"/>
                  </a:lnTo>
                  <a:lnTo>
                    <a:pt x="127" y="1457"/>
                  </a:lnTo>
                  <a:lnTo>
                    <a:pt x="129" y="1457"/>
                  </a:lnTo>
                  <a:lnTo>
                    <a:pt x="127" y="1457"/>
                  </a:lnTo>
                  <a:lnTo>
                    <a:pt x="127" y="1459"/>
                  </a:lnTo>
                  <a:lnTo>
                    <a:pt x="125" y="1459"/>
                  </a:lnTo>
                  <a:lnTo>
                    <a:pt x="125" y="1457"/>
                  </a:lnTo>
                  <a:lnTo>
                    <a:pt x="124" y="1459"/>
                  </a:lnTo>
                  <a:lnTo>
                    <a:pt x="122" y="1457"/>
                  </a:lnTo>
                  <a:lnTo>
                    <a:pt x="124" y="1457"/>
                  </a:lnTo>
                  <a:lnTo>
                    <a:pt x="122" y="1457"/>
                  </a:lnTo>
                  <a:lnTo>
                    <a:pt x="121" y="1457"/>
                  </a:lnTo>
                  <a:lnTo>
                    <a:pt x="121" y="1459"/>
                  </a:lnTo>
                  <a:lnTo>
                    <a:pt x="119" y="1459"/>
                  </a:lnTo>
                  <a:lnTo>
                    <a:pt x="117" y="1459"/>
                  </a:lnTo>
                  <a:lnTo>
                    <a:pt x="119" y="1459"/>
                  </a:lnTo>
                  <a:lnTo>
                    <a:pt x="121" y="1459"/>
                  </a:lnTo>
                  <a:lnTo>
                    <a:pt x="122" y="1459"/>
                  </a:lnTo>
                  <a:lnTo>
                    <a:pt x="124" y="1459"/>
                  </a:lnTo>
                  <a:lnTo>
                    <a:pt x="125" y="1459"/>
                  </a:lnTo>
                  <a:lnTo>
                    <a:pt x="125" y="1460"/>
                  </a:lnTo>
                  <a:lnTo>
                    <a:pt x="127" y="1460"/>
                  </a:lnTo>
                  <a:lnTo>
                    <a:pt x="125" y="1460"/>
                  </a:lnTo>
                  <a:lnTo>
                    <a:pt x="127" y="1460"/>
                  </a:lnTo>
                  <a:lnTo>
                    <a:pt x="129" y="1460"/>
                  </a:lnTo>
                  <a:lnTo>
                    <a:pt x="127" y="1460"/>
                  </a:lnTo>
                  <a:lnTo>
                    <a:pt x="129" y="1462"/>
                  </a:lnTo>
                  <a:lnTo>
                    <a:pt x="127" y="1462"/>
                  </a:lnTo>
                  <a:lnTo>
                    <a:pt x="127" y="1463"/>
                  </a:lnTo>
                  <a:lnTo>
                    <a:pt x="129" y="1463"/>
                  </a:lnTo>
                  <a:lnTo>
                    <a:pt x="129" y="1465"/>
                  </a:lnTo>
                  <a:lnTo>
                    <a:pt x="129" y="1467"/>
                  </a:lnTo>
                  <a:lnTo>
                    <a:pt x="127" y="1467"/>
                  </a:lnTo>
                  <a:lnTo>
                    <a:pt x="127" y="1468"/>
                  </a:lnTo>
                  <a:lnTo>
                    <a:pt x="125" y="1468"/>
                  </a:lnTo>
                  <a:lnTo>
                    <a:pt x="124" y="1468"/>
                  </a:lnTo>
                  <a:lnTo>
                    <a:pt x="125" y="1470"/>
                  </a:lnTo>
                  <a:lnTo>
                    <a:pt x="124" y="1470"/>
                  </a:lnTo>
                  <a:lnTo>
                    <a:pt x="125" y="1470"/>
                  </a:lnTo>
                  <a:lnTo>
                    <a:pt x="124" y="1470"/>
                  </a:lnTo>
                  <a:lnTo>
                    <a:pt x="124" y="1472"/>
                  </a:lnTo>
                  <a:lnTo>
                    <a:pt x="122" y="1472"/>
                  </a:lnTo>
                  <a:lnTo>
                    <a:pt x="122" y="1470"/>
                  </a:lnTo>
                  <a:lnTo>
                    <a:pt x="121" y="1472"/>
                  </a:lnTo>
                  <a:lnTo>
                    <a:pt x="121" y="1470"/>
                  </a:lnTo>
                  <a:lnTo>
                    <a:pt x="121" y="1472"/>
                  </a:lnTo>
                  <a:lnTo>
                    <a:pt x="121" y="1470"/>
                  </a:lnTo>
                  <a:lnTo>
                    <a:pt x="119" y="1470"/>
                  </a:lnTo>
                  <a:lnTo>
                    <a:pt x="117" y="1470"/>
                  </a:lnTo>
                  <a:lnTo>
                    <a:pt x="117" y="1472"/>
                  </a:lnTo>
                  <a:lnTo>
                    <a:pt x="116" y="1473"/>
                  </a:lnTo>
                  <a:lnTo>
                    <a:pt x="116" y="1475"/>
                  </a:lnTo>
                  <a:lnTo>
                    <a:pt x="114" y="1475"/>
                  </a:lnTo>
                  <a:lnTo>
                    <a:pt x="116" y="1475"/>
                  </a:lnTo>
                  <a:lnTo>
                    <a:pt x="114" y="1476"/>
                  </a:lnTo>
                  <a:lnTo>
                    <a:pt x="112" y="1476"/>
                  </a:lnTo>
                  <a:lnTo>
                    <a:pt x="111" y="1476"/>
                  </a:lnTo>
                  <a:lnTo>
                    <a:pt x="112" y="1475"/>
                  </a:lnTo>
                  <a:lnTo>
                    <a:pt x="111" y="1473"/>
                  </a:lnTo>
                  <a:lnTo>
                    <a:pt x="109" y="1473"/>
                  </a:lnTo>
                  <a:lnTo>
                    <a:pt x="109" y="1472"/>
                  </a:lnTo>
                  <a:lnTo>
                    <a:pt x="109" y="1470"/>
                  </a:lnTo>
                  <a:lnTo>
                    <a:pt x="108" y="1468"/>
                  </a:lnTo>
                  <a:lnTo>
                    <a:pt x="109" y="1468"/>
                  </a:lnTo>
                  <a:lnTo>
                    <a:pt x="109" y="1467"/>
                  </a:lnTo>
                  <a:lnTo>
                    <a:pt x="109" y="1465"/>
                  </a:lnTo>
                  <a:lnTo>
                    <a:pt x="109" y="1463"/>
                  </a:lnTo>
                  <a:lnTo>
                    <a:pt x="108" y="1463"/>
                  </a:lnTo>
                  <a:lnTo>
                    <a:pt x="109" y="1462"/>
                  </a:lnTo>
                  <a:lnTo>
                    <a:pt x="109" y="1460"/>
                  </a:lnTo>
                  <a:lnTo>
                    <a:pt x="108" y="1459"/>
                  </a:lnTo>
                  <a:lnTo>
                    <a:pt x="109" y="1459"/>
                  </a:lnTo>
                  <a:lnTo>
                    <a:pt x="109" y="1457"/>
                  </a:lnTo>
                  <a:lnTo>
                    <a:pt x="109" y="1459"/>
                  </a:lnTo>
                  <a:lnTo>
                    <a:pt x="108" y="1459"/>
                  </a:lnTo>
                  <a:lnTo>
                    <a:pt x="106" y="1457"/>
                  </a:lnTo>
                  <a:lnTo>
                    <a:pt x="106" y="1455"/>
                  </a:lnTo>
                  <a:lnTo>
                    <a:pt x="104" y="1455"/>
                  </a:lnTo>
                  <a:lnTo>
                    <a:pt x="103" y="1455"/>
                  </a:lnTo>
                  <a:lnTo>
                    <a:pt x="103" y="1454"/>
                  </a:lnTo>
                  <a:lnTo>
                    <a:pt x="101" y="1454"/>
                  </a:lnTo>
                  <a:lnTo>
                    <a:pt x="101" y="1452"/>
                  </a:lnTo>
                  <a:lnTo>
                    <a:pt x="99" y="1452"/>
                  </a:lnTo>
                  <a:lnTo>
                    <a:pt x="98" y="1452"/>
                  </a:lnTo>
                  <a:lnTo>
                    <a:pt x="96" y="1452"/>
                  </a:lnTo>
                  <a:close/>
                  <a:moveTo>
                    <a:pt x="143" y="714"/>
                  </a:moveTo>
                  <a:lnTo>
                    <a:pt x="145" y="715"/>
                  </a:lnTo>
                  <a:lnTo>
                    <a:pt x="147" y="715"/>
                  </a:lnTo>
                  <a:lnTo>
                    <a:pt x="148" y="715"/>
                  </a:lnTo>
                  <a:lnTo>
                    <a:pt x="148" y="714"/>
                  </a:lnTo>
                  <a:lnTo>
                    <a:pt x="148" y="712"/>
                  </a:lnTo>
                  <a:lnTo>
                    <a:pt x="150" y="712"/>
                  </a:lnTo>
                  <a:lnTo>
                    <a:pt x="151" y="712"/>
                  </a:lnTo>
                  <a:lnTo>
                    <a:pt x="153" y="712"/>
                  </a:lnTo>
                  <a:lnTo>
                    <a:pt x="155" y="712"/>
                  </a:lnTo>
                  <a:lnTo>
                    <a:pt x="155" y="710"/>
                  </a:lnTo>
                  <a:lnTo>
                    <a:pt x="155" y="712"/>
                  </a:lnTo>
                  <a:lnTo>
                    <a:pt x="155" y="710"/>
                  </a:lnTo>
                  <a:lnTo>
                    <a:pt x="155" y="712"/>
                  </a:lnTo>
                  <a:lnTo>
                    <a:pt x="156" y="712"/>
                  </a:lnTo>
                  <a:lnTo>
                    <a:pt x="158" y="712"/>
                  </a:lnTo>
                  <a:lnTo>
                    <a:pt x="160" y="712"/>
                  </a:lnTo>
                  <a:lnTo>
                    <a:pt x="161" y="712"/>
                  </a:lnTo>
                  <a:lnTo>
                    <a:pt x="163" y="712"/>
                  </a:lnTo>
                  <a:lnTo>
                    <a:pt x="164" y="712"/>
                  </a:lnTo>
                  <a:lnTo>
                    <a:pt x="164" y="710"/>
                  </a:lnTo>
                  <a:lnTo>
                    <a:pt x="166" y="710"/>
                  </a:lnTo>
                  <a:lnTo>
                    <a:pt x="166" y="709"/>
                  </a:lnTo>
                  <a:lnTo>
                    <a:pt x="168" y="709"/>
                  </a:lnTo>
                  <a:lnTo>
                    <a:pt x="169" y="709"/>
                  </a:lnTo>
                  <a:lnTo>
                    <a:pt x="171" y="709"/>
                  </a:lnTo>
                  <a:lnTo>
                    <a:pt x="171" y="710"/>
                  </a:lnTo>
                  <a:lnTo>
                    <a:pt x="173" y="710"/>
                  </a:lnTo>
                  <a:lnTo>
                    <a:pt x="174" y="710"/>
                  </a:lnTo>
                  <a:lnTo>
                    <a:pt x="174" y="712"/>
                  </a:lnTo>
                  <a:lnTo>
                    <a:pt x="176" y="712"/>
                  </a:lnTo>
                  <a:lnTo>
                    <a:pt x="177" y="712"/>
                  </a:lnTo>
                  <a:lnTo>
                    <a:pt x="177" y="710"/>
                  </a:lnTo>
                  <a:lnTo>
                    <a:pt x="177" y="712"/>
                  </a:lnTo>
                  <a:lnTo>
                    <a:pt x="177" y="710"/>
                  </a:lnTo>
                  <a:lnTo>
                    <a:pt x="179" y="710"/>
                  </a:lnTo>
                  <a:lnTo>
                    <a:pt x="179" y="712"/>
                  </a:lnTo>
                  <a:lnTo>
                    <a:pt x="181" y="712"/>
                  </a:lnTo>
                  <a:lnTo>
                    <a:pt x="179" y="712"/>
                  </a:lnTo>
                  <a:lnTo>
                    <a:pt x="181" y="712"/>
                  </a:lnTo>
                  <a:lnTo>
                    <a:pt x="181" y="714"/>
                  </a:lnTo>
                  <a:lnTo>
                    <a:pt x="182" y="714"/>
                  </a:lnTo>
                  <a:lnTo>
                    <a:pt x="184" y="715"/>
                  </a:lnTo>
                  <a:lnTo>
                    <a:pt x="186" y="717"/>
                  </a:lnTo>
                  <a:lnTo>
                    <a:pt x="187" y="719"/>
                  </a:lnTo>
                  <a:lnTo>
                    <a:pt x="187" y="720"/>
                  </a:lnTo>
                  <a:lnTo>
                    <a:pt x="189" y="720"/>
                  </a:lnTo>
                  <a:lnTo>
                    <a:pt x="189" y="719"/>
                  </a:lnTo>
                  <a:lnTo>
                    <a:pt x="190" y="719"/>
                  </a:lnTo>
                  <a:lnTo>
                    <a:pt x="192" y="719"/>
                  </a:lnTo>
                  <a:lnTo>
                    <a:pt x="194" y="717"/>
                  </a:lnTo>
                  <a:lnTo>
                    <a:pt x="195" y="717"/>
                  </a:lnTo>
                  <a:lnTo>
                    <a:pt x="197" y="719"/>
                  </a:lnTo>
                  <a:lnTo>
                    <a:pt x="197" y="720"/>
                  </a:lnTo>
                  <a:lnTo>
                    <a:pt x="199" y="720"/>
                  </a:lnTo>
                  <a:lnTo>
                    <a:pt x="199" y="722"/>
                  </a:lnTo>
                  <a:lnTo>
                    <a:pt x="200" y="722"/>
                  </a:lnTo>
                  <a:lnTo>
                    <a:pt x="200" y="723"/>
                  </a:lnTo>
                  <a:lnTo>
                    <a:pt x="202" y="723"/>
                  </a:lnTo>
                  <a:lnTo>
                    <a:pt x="200" y="723"/>
                  </a:lnTo>
                  <a:lnTo>
                    <a:pt x="200" y="725"/>
                  </a:lnTo>
                  <a:lnTo>
                    <a:pt x="202" y="725"/>
                  </a:lnTo>
                  <a:lnTo>
                    <a:pt x="202" y="727"/>
                  </a:lnTo>
                  <a:lnTo>
                    <a:pt x="203" y="728"/>
                  </a:lnTo>
                  <a:lnTo>
                    <a:pt x="203" y="730"/>
                  </a:lnTo>
                  <a:lnTo>
                    <a:pt x="202" y="732"/>
                  </a:lnTo>
                  <a:lnTo>
                    <a:pt x="200" y="733"/>
                  </a:lnTo>
                  <a:lnTo>
                    <a:pt x="202" y="735"/>
                  </a:lnTo>
                  <a:lnTo>
                    <a:pt x="200" y="736"/>
                  </a:lnTo>
                  <a:lnTo>
                    <a:pt x="200" y="738"/>
                  </a:lnTo>
                  <a:lnTo>
                    <a:pt x="199" y="738"/>
                  </a:lnTo>
                  <a:lnTo>
                    <a:pt x="199" y="740"/>
                  </a:lnTo>
                  <a:lnTo>
                    <a:pt x="199" y="741"/>
                  </a:lnTo>
                  <a:lnTo>
                    <a:pt x="197" y="741"/>
                  </a:lnTo>
                  <a:lnTo>
                    <a:pt x="197" y="743"/>
                  </a:lnTo>
                  <a:lnTo>
                    <a:pt x="199" y="745"/>
                  </a:lnTo>
                  <a:lnTo>
                    <a:pt x="200" y="745"/>
                  </a:lnTo>
                  <a:lnTo>
                    <a:pt x="202" y="745"/>
                  </a:lnTo>
                  <a:lnTo>
                    <a:pt x="203" y="745"/>
                  </a:lnTo>
                  <a:lnTo>
                    <a:pt x="205" y="746"/>
                  </a:lnTo>
                  <a:lnTo>
                    <a:pt x="203" y="746"/>
                  </a:lnTo>
                  <a:lnTo>
                    <a:pt x="205" y="746"/>
                  </a:lnTo>
                  <a:lnTo>
                    <a:pt x="203" y="748"/>
                  </a:lnTo>
                  <a:lnTo>
                    <a:pt x="203" y="749"/>
                  </a:lnTo>
                  <a:lnTo>
                    <a:pt x="202" y="749"/>
                  </a:lnTo>
                  <a:lnTo>
                    <a:pt x="202" y="751"/>
                  </a:lnTo>
                  <a:lnTo>
                    <a:pt x="202" y="753"/>
                  </a:lnTo>
                  <a:lnTo>
                    <a:pt x="200" y="753"/>
                  </a:lnTo>
                  <a:lnTo>
                    <a:pt x="200" y="754"/>
                  </a:lnTo>
                  <a:lnTo>
                    <a:pt x="200" y="756"/>
                  </a:lnTo>
                  <a:lnTo>
                    <a:pt x="202" y="756"/>
                  </a:lnTo>
                  <a:lnTo>
                    <a:pt x="202" y="758"/>
                  </a:lnTo>
                  <a:lnTo>
                    <a:pt x="203" y="758"/>
                  </a:lnTo>
                  <a:lnTo>
                    <a:pt x="205" y="758"/>
                  </a:lnTo>
                  <a:lnTo>
                    <a:pt x="205" y="759"/>
                  </a:lnTo>
                  <a:lnTo>
                    <a:pt x="207" y="761"/>
                  </a:lnTo>
                  <a:lnTo>
                    <a:pt x="205" y="762"/>
                  </a:lnTo>
                  <a:lnTo>
                    <a:pt x="207" y="762"/>
                  </a:lnTo>
                  <a:lnTo>
                    <a:pt x="207" y="764"/>
                  </a:lnTo>
                  <a:lnTo>
                    <a:pt x="207" y="766"/>
                  </a:lnTo>
                  <a:lnTo>
                    <a:pt x="207" y="767"/>
                  </a:lnTo>
                  <a:lnTo>
                    <a:pt x="208" y="769"/>
                  </a:lnTo>
                  <a:lnTo>
                    <a:pt x="210" y="769"/>
                  </a:lnTo>
                  <a:lnTo>
                    <a:pt x="208" y="771"/>
                  </a:lnTo>
                  <a:lnTo>
                    <a:pt x="208" y="772"/>
                  </a:lnTo>
                  <a:lnTo>
                    <a:pt x="210" y="772"/>
                  </a:lnTo>
                  <a:lnTo>
                    <a:pt x="212" y="774"/>
                  </a:lnTo>
                  <a:lnTo>
                    <a:pt x="212" y="775"/>
                  </a:lnTo>
                  <a:lnTo>
                    <a:pt x="212" y="777"/>
                  </a:lnTo>
                  <a:lnTo>
                    <a:pt x="212" y="779"/>
                  </a:lnTo>
                  <a:lnTo>
                    <a:pt x="210" y="779"/>
                  </a:lnTo>
                  <a:lnTo>
                    <a:pt x="210" y="777"/>
                  </a:lnTo>
                  <a:lnTo>
                    <a:pt x="210" y="779"/>
                  </a:lnTo>
                  <a:lnTo>
                    <a:pt x="210" y="780"/>
                  </a:lnTo>
                  <a:lnTo>
                    <a:pt x="212" y="782"/>
                  </a:lnTo>
                  <a:lnTo>
                    <a:pt x="213" y="782"/>
                  </a:lnTo>
                  <a:lnTo>
                    <a:pt x="215" y="784"/>
                  </a:lnTo>
                  <a:lnTo>
                    <a:pt x="213" y="784"/>
                  </a:lnTo>
                  <a:lnTo>
                    <a:pt x="215" y="785"/>
                  </a:lnTo>
                  <a:lnTo>
                    <a:pt x="215" y="787"/>
                  </a:lnTo>
                  <a:lnTo>
                    <a:pt x="215" y="790"/>
                  </a:lnTo>
                  <a:lnTo>
                    <a:pt x="215" y="788"/>
                  </a:lnTo>
                  <a:lnTo>
                    <a:pt x="215" y="787"/>
                  </a:lnTo>
                  <a:lnTo>
                    <a:pt x="216" y="787"/>
                  </a:lnTo>
                  <a:lnTo>
                    <a:pt x="215" y="787"/>
                  </a:lnTo>
                  <a:lnTo>
                    <a:pt x="215" y="785"/>
                  </a:lnTo>
                  <a:lnTo>
                    <a:pt x="215" y="784"/>
                  </a:lnTo>
                  <a:lnTo>
                    <a:pt x="215" y="782"/>
                  </a:lnTo>
                  <a:lnTo>
                    <a:pt x="213" y="782"/>
                  </a:lnTo>
                  <a:lnTo>
                    <a:pt x="215" y="782"/>
                  </a:lnTo>
                  <a:lnTo>
                    <a:pt x="213" y="780"/>
                  </a:lnTo>
                  <a:lnTo>
                    <a:pt x="213" y="779"/>
                  </a:lnTo>
                  <a:lnTo>
                    <a:pt x="212" y="779"/>
                  </a:lnTo>
                  <a:lnTo>
                    <a:pt x="212" y="777"/>
                  </a:lnTo>
                  <a:lnTo>
                    <a:pt x="213" y="777"/>
                  </a:lnTo>
                  <a:lnTo>
                    <a:pt x="213" y="775"/>
                  </a:lnTo>
                  <a:lnTo>
                    <a:pt x="213" y="777"/>
                  </a:lnTo>
                  <a:lnTo>
                    <a:pt x="215" y="777"/>
                  </a:lnTo>
                  <a:lnTo>
                    <a:pt x="216" y="777"/>
                  </a:lnTo>
                  <a:lnTo>
                    <a:pt x="216" y="779"/>
                  </a:lnTo>
                  <a:lnTo>
                    <a:pt x="218" y="779"/>
                  </a:lnTo>
                  <a:lnTo>
                    <a:pt x="218" y="782"/>
                  </a:lnTo>
                  <a:lnTo>
                    <a:pt x="218" y="785"/>
                  </a:lnTo>
                  <a:lnTo>
                    <a:pt x="218" y="787"/>
                  </a:lnTo>
                  <a:lnTo>
                    <a:pt x="218" y="790"/>
                  </a:lnTo>
                  <a:lnTo>
                    <a:pt x="216" y="792"/>
                  </a:lnTo>
                  <a:lnTo>
                    <a:pt x="215" y="793"/>
                  </a:lnTo>
                  <a:lnTo>
                    <a:pt x="213" y="793"/>
                  </a:lnTo>
                  <a:lnTo>
                    <a:pt x="212" y="795"/>
                  </a:lnTo>
                  <a:lnTo>
                    <a:pt x="210" y="795"/>
                  </a:lnTo>
                  <a:lnTo>
                    <a:pt x="210" y="797"/>
                  </a:lnTo>
                  <a:lnTo>
                    <a:pt x="210" y="795"/>
                  </a:lnTo>
                  <a:lnTo>
                    <a:pt x="208" y="795"/>
                  </a:lnTo>
                  <a:lnTo>
                    <a:pt x="207" y="795"/>
                  </a:lnTo>
                  <a:lnTo>
                    <a:pt x="207" y="797"/>
                  </a:lnTo>
                  <a:lnTo>
                    <a:pt x="203" y="797"/>
                  </a:lnTo>
                  <a:lnTo>
                    <a:pt x="202" y="798"/>
                  </a:lnTo>
                  <a:lnTo>
                    <a:pt x="202" y="797"/>
                  </a:lnTo>
                  <a:lnTo>
                    <a:pt x="202" y="798"/>
                  </a:lnTo>
                  <a:lnTo>
                    <a:pt x="200" y="798"/>
                  </a:lnTo>
                  <a:lnTo>
                    <a:pt x="200" y="800"/>
                  </a:lnTo>
                  <a:lnTo>
                    <a:pt x="199" y="800"/>
                  </a:lnTo>
                  <a:lnTo>
                    <a:pt x="197" y="800"/>
                  </a:lnTo>
                  <a:lnTo>
                    <a:pt x="197" y="801"/>
                  </a:lnTo>
                  <a:lnTo>
                    <a:pt x="195" y="803"/>
                  </a:lnTo>
                  <a:lnTo>
                    <a:pt x="195" y="805"/>
                  </a:lnTo>
                  <a:lnTo>
                    <a:pt x="197" y="805"/>
                  </a:lnTo>
                  <a:lnTo>
                    <a:pt x="195" y="805"/>
                  </a:lnTo>
                  <a:lnTo>
                    <a:pt x="195" y="806"/>
                  </a:lnTo>
                  <a:lnTo>
                    <a:pt x="197" y="806"/>
                  </a:lnTo>
                  <a:lnTo>
                    <a:pt x="197" y="805"/>
                  </a:lnTo>
                  <a:lnTo>
                    <a:pt x="199" y="806"/>
                  </a:lnTo>
                  <a:lnTo>
                    <a:pt x="197" y="806"/>
                  </a:lnTo>
                  <a:lnTo>
                    <a:pt x="195" y="808"/>
                  </a:lnTo>
                  <a:lnTo>
                    <a:pt x="197" y="808"/>
                  </a:lnTo>
                  <a:lnTo>
                    <a:pt x="195" y="808"/>
                  </a:lnTo>
                  <a:lnTo>
                    <a:pt x="197" y="808"/>
                  </a:lnTo>
                  <a:lnTo>
                    <a:pt x="195" y="808"/>
                  </a:lnTo>
                  <a:lnTo>
                    <a:pt x="197" y="808"/>
                  </a:lnTo>
                  <a:lnTo>
                    <a:pt x="197" y="810"/>
                  </a:lnTo>
                  <a:lnTo>
                    <a:pt x="197" y="808"/>
                  </a:lnTo>
                  <a:lnTo>
                    <a:pt x="197" y="806"/>
                  </a:lnTo>
                  <a:lnTo>
                    <a:pt x="199" y="806"/>
                  </a:lnTo>
                  <a:lnTo>
                    <a:pt x="200" y="806"/>
                  </a:lnTo>
                  <a:lnTo>
                    <a:pt x="202" y="805"/>
                  </a:lnTo>
                  <a:lnTo>
                    <a:pt x="203" y="805"/>
                  </a:lnTo>
                  <a:lnTo>
                    <a:pt x="203" y="803"/>
                  </a:lnTo>
                  <a:lnTo>
                    <a:pt x="205" y="803"/>
                  </a:lnTo>
                  <a:lnTo>
                    <a:pt x="208" y="803"/>
                  </a:lnTo>
                  <a:lnTo>
                    <a:pt x="210" y="803"/>
                  </a:lnTo>
                  <a:lnTo>
                    <a:pt x="210" y="801"/>
                  </a:lnTo>
                  <a:lnTo>
                    <a:pt x="210" y="803"/>
                  </a:lnTo>
                  <a:lnTo>
                    <a:pt x="212" y="803"/>
                  </a:lnTo>
                  <a:lnTo>
                    <a:pt x="212" y="805"/>
                  </a:lnTo>
                  <a:lnTo>
                    <a:pt x="213" y="805"/>
                  </a:lnTo>
                  <a:lnTo>
                    <a:pt x="215" y="805"/>
                  </a:lnTo>
                  <a:lnTo>
                    <a:pt x="216" y="805"/>
                  </a:lnTo>
                  <a:lnTo>
                    <a:pt x="218" y="805"/>
                  </a:lnTo>
                  <a:lnTo>
                    <a:pt x="216" y="805"/>
                  </a:lnTo>
                  <a:lnTo>
                    <a:pt x="218" y="806"/>
                  </a:lnTo>
                  <a:lnTo>
                    <a:pt x="218" y="805"/>
                  </a:lnTo>
                  <a:lnTo>
                    <a:pt x="220" y="803"/>
                  </a:lnTo>
                  <a:lnTo>
                    <a:pt x="220" y="805"/>
                  </a:lnTo>
                  <a:lnTo>
                    <a:pt x="221" y="805"/>
                  </a:lnTo>
                  <a:lnTo>
                    <a:pt x="220" y="805"/>
                  </a:lnTo>
                  <a:lnTo>
                    <a:pt x="221" y="805"/>
                  </a:lnTo>
                  <a:lnTo>
                    <a:pt x="223" y="805"/>
                  </a:lnTo>
                  <a:lnTo>
                    <a:pt x="223" y="806"/>
                  </a:lnTo>
                  <a:lnTo>
                    <a:pt x="225" y="806"/>
                  </a:lnTo>
                  <a:lnTo>
                    <a:pt x="225" y="808"/>
                  </a:lnTo>
                  <a:lnTo>
                    <a:pt x="226" y="808"/>
                  </a:lnTo>
                  <a:lnTo>
                    <a:pt x="226" y="810"/>
                  </a:lnTo>
                  <a:lnTo>
                    <a:pt x="226" y="811"/>
                  </a:lnTo>
                  <a:lnTo>
                    <a:pt x="226" y="813"/>
                  </a:lnTo>
                  <a:lnTo>
                    <a:pt x="226" y="814"/>
                  </a:lnTo>
                  <a:lnTo>
                    <a:pt x="226" y="816"/>
                  </a:lnTo>
                  <a:lnTo>
                    <a:pt x="226" y="818"/>
                  </a:lnTo>
                  <a:lnTo>
                    <a:pt x="226" y="819"/>
                  </a:lnTo>
                  <a:lnTo>
                    <a:pt x="226" y="821"/>
                  </a:lnTo>
                  <a:lnTo>
                    <a:pt x="228" y="821"/>
                  </a:lnTo>
                  <a:lnTo>
                    <a:pt x="228" y="823"/>
                  </a:lnTo>
                  <a:lnTo>
                    <a:pt x="228" y="824"/>
                  </a:lnTo>
                  <a:lnTo>
                    <a:pt x="226" y="826"/>
                  </a:lnTo>
                  <a:lnTo>
                    <a:pt x="228" y="826"/>
                  </a:lnTo>
                  <a:lnTo>
                    <a:pt x="226" y="826"/>
                  </a:lnTo>
                  <a:lnTo>
                    <a:pt x="226" y="827"/>
                  </a:lnTo>
                  <a:lnTo>
                    <a:pt x="228" y="827"/>
                  </a:lnTo>
                  <a:lnTo>
                    <a:pt x="228" y="829"/>
                  </a:lnTo>
                  <a:lnTo>
                    <a:pt x="228" y="831"/>
                  </a:lnTo>
                  <a:lnTo>
                    <a:pt x="228" y="832"/>
                  </a:lnTo>
                  <a:lnTo>
                    <a:pt x="228" y="834"/>
                  </a:lnTo>
                  <a:lnTo>
                    <a:pt x="229" y="834"/>
                  </a:lnTo>
                  <a:lnTo>
                    <a:pt x="229" y="836"/>
                  </a:lnTo>
                  <a:lnTo>
                    <a:pt x="228" y="836"/>
                  </a:lnTo>
                  <a:lnTo>
                    <a:pt x="229" y="837"/>
                  </a:lnTo>
                  <a:lnTo>
                    <a:pt x="228" y="837"/>
                  </a:lnTo>
                  <a:lnTo>
                    <a:pt x="228" y="839"/>
                  </a:lnTo>
                  <a:lnTo>
                    <a:pt x="226" y="839"/>
                  </a:lnTo>
                  <a:lnTo>
                    <a:pt x="226" y="840"/>
                  </a:lnTo>
                  <a:lnTo>
                    <a:pt x="225" y="840"/>
                  </a:lnTo>
                  <a:lnTo>
                    <a:pt x="225" y="842"/>
                  </a:lnTo>
                  <a:lnTo>
                    <a:pt x="223" y="842"/>
                  </a:lnTo>
                  <a:lnTo>
                    <a:pt x="225" y="842"/>
                  </a:lnTo>
                  <a:lnTo>
                    <a:pt x="225" y="844"/>
                  </a:lnTo>
                  <a:lnTo>
                    <a:pt x="225" y="845"/>
                  </a:lnTo>
                  <a:lnTo>
                    <a:pt x="225" y="847"/>
                  </a:lnTo>
                  <a:lnTo>
                    <a:pt x="225" y="849"/>
                  </a:lnTo>
                  <a:lnTo>
                    <a:pt x="223" y="849"/>
                  </a:lnTo>
                  <a:lnTo>
                    <a:pt x="221" y="849"/>
                  </a:lnTo>
                  <a:lnTo>
                    <a:pt x="221" y="850"/>
                  </a:lnTo>
                  <a:lnTo>
                    <a:pt x="221" y="852"/>
                  </a:lnTo>
                  <a:lnTo>
                    <a:pt x="220" y="852"/>
                  </a:lnTo>
                  <a:lnTo>
                    <a:pt x="220" y="853"/>
                  </a:lnTo>
                  <a:lnTo>
                    <a:pt x="220" y="855"/>
                  </a:lnTo>
                  <a:lnTo>
                    <a:pt x="218" y="855"/>
                  </a:lnTo>
                  <a:lnTo>
                    <a:pt x="218" y="853"/>
                  </a:lnTo>
                  <a:lnTo>
                    <a:pt x="216" y="852"/>
                  </a:lnTo>
                  <a:lnTo>
                    <a:pt x="218" y="852"/>
                  </a:lnTo>
                  <a:lnTo>
                    <a:pt x="218" y="850"/>
                  </a:lnTo>
                  <a:lnTo>
                    <a:pt x="216" y="850"/>
                  </a:lnTo>
                  <a:lnTo>
                    <a:pt x="216" y="849"/>
                  </a:lnTo>
                  <a:lnTo>
                    <a:pt x="216" y="847"/>
                  </a:lnTo>
                  <a:lnTo>
                    <a:pt x="216" y="845"/>
                  </a:lnTo>
                  <a:lnTo>
                    <a:pt x="215" y="845"/>
                  </a:lnTo>
                  <a:lnTo>
                    <a:pt x="215" y="844"/>
                  </a:lnTo>
                  <a:lnTo>
                    <a:pt x="215" y="842"/>
                  </a:lnTo>
                  <a:lnTo>
                    <a:pt x="216" y="842"/>
                  </a:lnTo>
                  <a:lnTo>
                    <a:pt x="216" y="840"/>
                  </a:lnTo>
                  <a:lnTo>
                    <a:pt x="218" y="840"/>
                  </a:lnTo>
                  <a:lnTo>
                    <a:pt x="220" y="840"/>
                  </a:lnTo>
                  <a:lnTo>
                    <a:pt x="218" y="840"/>
                  </a:lnTo>
                  <a:lnTo>
                    <a:pt x="220" y="840"/>
                  </a:lnTo>
                  <a:lnTo>
                    <a:pt x="218" y="840"/>
                  </a:lnTo>
                  <a:lnTo>
                    <a:pt x="218" y="839"/>
                  </a:lnTo>
                  <a:lnTo>
                    <a:pt x="220" y="839"/>
                  </a:lnTo>
                  <a:lnTo>
                    <a:pt x="220" y="837"/>
                  </a:lnTo>
                  <a:lnTo>
                    <a:pt x="220" y="836"/>
                  </a:lnTo>
                  <a:lnTo>
                    <a:pt x="220" y="837"/>
                  </a:lnTo>
                  <a:lnTo>
                    <a:pt x="218" y="837"/>
                  </a:lnTo>
                  <a:lnTo>
                    <a:pt x="218" y="836"/>
                  </a:lnTo>
                  <a:lnTo>
                    <a:pt x="220" y="836"/>
                  </a:lnTo>
                  <a:lnTo>
                    <a:pt x="221" y="836"/>
                  </a:lnTo>
                  <a:lnTo>
                    <a:pt x="220" y="836"/>
                  </a:lnTo>
                  <a:lnTo>
                    <a:pt x="220" y="834"/>
                  </a:lnTo>
                  <a:lnTo>
                    <a:pt x="221" y="834"/>
                  </a:lnTo>
                  <a:lnTo>
                    <a:pt x="220" y="834"/>
                  </a:lnTo>
                  <a:lnTo>
                    <a:pt x="221" y="834"/>
                  </a:lnTo>
                  <a:lnTo>
                    <a:pt x="221" y="832"/>
                  </a:lnTo>
                  <a:lnTo>
                    <a:pt x="221" y="834"/>
                  </a:lnTo>
                  <a:lnTo>
                    <a:pt x="220" y="832"/>
                  </a:lnTo>
                  <a:lnTo>
                    <a:pt x="221" y="832"/>
                  </a:lnTo>
                  <a:lnTo>
                    <a:pt x="221" y="831"/>
                  </a:lnTo>
                  <a:lnTo>
                    <a:pt x="220" y="831"/>
                  </a:lnTo>
                  <a:lnTo>
                    <a:pt x="221" y="831"/>
                  </a:lnTo>
                  <a:lnTo>
                    <a:pt x="220" y="829"/>
                  </a:lnTo>
                  <a:lnTo>
                    <a:pt x="221" y="829"/>
                  </a:lnTo>
                  <a:lnTo>
                    <a:pt x="221" y="827"/>
                  </a:lnTo>
                  <a:lnTo>
                    <a:pt x="220" y="827"/>
                  </a:lnTo>
                  <a:lnTo>
                    <a:pt x="221" y="827"/>
                  </a:lnTo>
                  <a:lnTo>
                    <a:pt x="220" y="826"/>
                  </a:lnTo>
                  <a:lnTo>
                    <a:pt x="221" y="826"/>
                  </a:lnTo>
                  <a:lnTo>
                    <a:pt x="220" y="826"/>
                  </a:lnTo>
                  <a:lnTo>
                    <a:pt x="218" y="826"/>
                  </a:lnTo>
                  <a:lnTo>
                    <a:pt x="218" y="824"/>
                  </a:lnTo>
                  <a:lnTo>
                    <a:pt x="218" y="823"/>
                  </a:lnTo>
                  <a:lnTo>
                    <a:pt x="216" y="823"/>
                  </a:lnTo>
                  <a:lnTo>
                    <a:pt x="216" y="821"/>
                  </a:lnTo>
                  <a:lnTo>
                    <a:pt x="215" y="821"/>
                  </a:lnTo>
                  <a:lnTo>
                    <a:pt x="215" y="819"/>
                  </a:lnTo>
                  <a:lnTo>
                    <a:pt x="213" y="819"/>
                  </a:lnTo>
                  <a:lnTo>
                    <a:pt x="213" y="818"/>
                  </a:lnTo>
                  <a:lnTo>
                    <a:pt x="213" y="816"/>
                  </a:lnTo>
                  <a:lnTo>
                    <a:pt x="212" y="816"/>
                  </a:lnTo>
                  <a:lnTo>
                    <a:pt x="212" y="818"/>
                  </a:lnTo>
                  <a:lnTo>
                    <a:pt x="210" y="818"/>
                  </a:lnTo>
                  <a:lnTo>
                    <a:pt x="210" y="819"/>
                  </a:lnTo>
                  <a:lnTo>
                    <a:pt x="210" y="821"/>
                  </a:lnTo>
                  <a:lnTo>
                    <a:pt x="208" y="821"/>
                  </a:lnTo>
                  <a:lnTo>
                    <a:pt x="208" y="823"/>
                  </a:lnTo>
                  <a:lnTo>
                    <a:pt x="207" y="823"/>
                  </a:lnTo>
                  <a:lnTo>
                    <a:pt x="208" y="823"/>
                  </a:lnTo>
                  <a:lnTo>
                    <a:pt x="210" y="824"/>
                  </a:lnTo>
                  <a:lnTo>
                    <a:pt x="210" y="826"/>
                  </a:lnTo>
                  <a:lnTo>
                    <a:pt x="210" y="824"/>
                  </a:lnTo>
                  <a:lnTo>
                    <a:pt x="212" y="826"/>
                  </a:lnTo>
                  <a:lnTo>
                    <a:pt x="213" y="826"/>
                  </a:lnTo>
                  <a:lnTo>
                    <a:pt x="213" y="827"/>
                  </a:lnTo>
                  <a:lnTo>
                    <a:pt x="213" y="826"/>
                  </a:lnTo>
                  <a:lnTo>
                    <a:pt x="215" y="827"/>
                  </a:lnTo>
                  <a:lnTo>
                    <a:pt x="213" y="827"/>
                  </a:lnTo>
                  <a:lnTo>
                    <a:pt x="213" y="829"/>
                  </a:lnTo>
                  <a:lnTo>
                    <a:pt x="215" y="829"/>
                  </a:lnTo>
                  <a:lnTo>
                    <a:pt x="213" y="829"/>
                  </a:lnTo>
                  <a:lnTo>
                    <a:pt x="212" y="829"/>
                  </a:lnTo>
                  <a:lnTo>
                    <a:pt x="212" y="827"/>
                  </a:lnTo>
                  <a:lnTo>
                    <a:pt x="213" y="827"/>
                  </a:lnTo>
                  <a:lnTo>
                    <a:pt x="212" y="827"/>
                  </a:lnTo>
                  <a:lnTo>
                    <a:pt x="212" y="826"/>
                  </a:lnTo>
                  <a:lnTo>
                    <a:pt x="212" y="827"/>
                  </a:lnTo>
                  <a:lnTo>
                    <a:pt x="210" y="827"/>
                  </a:lnTo>
                  <a:lnTo>
                    <a:pt x="210" y="829"/>
                  </a:lnTo>
                  <a:lnTo>
                    <a:pt x="212" y="829"/>
                  </a:lnTo>
                  <a:lnTo>
                    <a:pt x="212" y="831"/>
                  </a:lnTo>
                  <a:lnTo>
                    <a:pt x="212" y="832"/>
                  </a:lnTo>
                  <a:lnTo>
                    <a:pt x="212" y="834"/>
                  </a:lnTo>
                  <a:lnTo>
                    <a:pt x="212" y="832"/>
                  </a:lnTo>
                  <a:lnTo>
                    <a:pt x="210" y="834"/>
                  </a:lnTo>
                  <a:lnTo>
                    <a:pt x="212" y="834"/>
                  </a:lnTo>
                  <a:lnTo>
                    <a:pt x="212" y="836"/>
                  </a:lnTo>
                  <a:lnTo>
                    <a:pt x="212" y="834"/>
                  </a:lnTo>
                  <a:lnTo>
                    <a:pt x="212" y="836"/>
                  </a:lnTo>
                  <a:lnTo>
                    <a:pt x="210" y="836"/>
                  </a:lnTo>
                  <a:lnTo>
                    <a:pt x="212" y="836"/>
                  </a:lnTo>
                  <a:lnTo>
                    <a:pt x="212" y="834"/>
                  </a:lnTo>
                  <a:lnTo>
                    <a:pt x="213" y="834"/>
                  </a:lnTo>
                  <a:lnTo>
                    <a:pt x="213" y="836"/>
                  </a:lnTo>
                  <a:lnTo>
                    <a:pt x="212" y="836"/>
                  </a:lnTo>
                  <a:lnTo>
                    <a:pt x="212" y="837"/>
                  </a:lnTo>
                  <a:lnTo>
                    <a:pt x="212" y="839"/>
                  </a:lnTo>
                  <a:lnTo>
                    <a:pt x="210" y="839"/>
                  </a:lnTo>
                  <a:lnTo>
                    <a:pt x="212" y="839"/>
                  </a:lnTo>
                  <a:lnTo>
                    <a:pt x="210" y="839"/>
                  </a:lnTo>
                  <a:lnTo>
                    <a:pt x="210" y="840"/>
                  </a:lnTo>
                  <a:lnTo>
                    <a:pt x="210" y="842"/>
                  </a:lnTo>
                  <a:lnTo>
                    <a:pt x="210" y="844"/>
                  </a:lnTo>
                  <a:lnTo>
                    <a:pt x="208" y="844"/>
                  </a:lnTo>
                  <a:lnTo>
                    <a:pt x="208" y="845"/>
                  </a:lnTo>
                  <a:lnTo>
                    <a:pt x="207" y="845"/>
                  </a:lnTo>
                  <a:lnTo>
                    <a:pt x="205" y="847"/>
                  </a:lnTo>
                  <a:lnTo>
                    <a:pt x="207" y="847"/>
                  </a:lnTo>
                  <a:lnTo>
                    <a:pt x="208" y="847"/>
                  </a:lnTo>
                  <a:lnTo>
                    <a:pt x="208" y="849"/>
                  </a:lnTo>
                  <a:lnTo>
                    <a:pt x="208" y="847"/>
                  </a:lnTo>
                  <a:lnTo>
                    <a:pt x="210" y="847"/>
                  </a:lnTo>
                  <a:lnTo>
                    <a:pt x="212" y="847"/>
                  </a:lnTo>
                  <a:lnTo>
                    <a:pt x="213" y="847"/>
                  </a:lnTo>
                  <a:lnTo>
                    <a:pt x="213" y="845"/>
                  </a:lnTo>
                  <a:lnTo>
                    <a:pt x="213" y="847"/>
                  </a:lnTo>
                  <a:lnTo>
                    <a:pt x="215" y="847"/>
                  </a:lnTo>
                  <a:lnTo>
                    <a:pt x="215" y="849"/>
                  </a:lnTo>
                  <a:lnTo>
                    <a:pt x="216" y="849"/>
                  </a:lnTo>
                  <a:lnTo>
                    <a:pt x="216" y="850"/>
                  </a:lnTo>
                  <a:lnTo>
                    <a:pt x="216" y="852"/>
                  </a:lnTo>
                  <a:lnTo>
                    <a:pt x="215" y="852"/>
                  </a:lnTo>
                  <a:lnTo>
                    <a:pt x="216" y="852"/>
                  </a:lnTo>
                  <a:lnTo>
                    <a:pt x="216" y="853"/>
                  </a:lnTo>
                  <a:lnTo>
                    <a:pt x="215" y="855"/>
                  </a:lnTo>
                  <a:lnTo>
                    <a:pt x="216" y="855"/>
                  </a:lnTo>
                  <a:lnTo>
                    <a:pt x="215" y="855"/>
                  </a:lnTo>
                  <a:lnTo>
                    <a:pt x="215" y="857"/>
                  </a:lnTo>
                  <a:lnTo>
                    <a:pt x="216" y="857"/>
                  </a:lnTo>
                  <a:lnTo>
                    <a:pt x="216" y="858"/>
                  </a:lnTo>
                  <a:lnTo>
                    <a:pt x="216" y="857"/>
                  </a:lnTo>
                  <a:lnTo>
                    <a:pt x="215" y="857"/>
                  </a:lnTo>
                  <a:lnTo>
                    <a:pt x="215" y="858"/>
                  </a:lnTo>
                  <a:lnTo>
                    <a:pt x="213" y="858"/>
                  </a:lnTo>
                  <a:lnTo>
                    <a:pt x="213" y="860"/>
                  </a:lnTo>
                  <a:lnTo>
                    <a:pt x="212" y="862"/>
                  </a:lnTo>
                  <a:lnTo>
                    <a:pt x="210" y="862"/>
                  </a:lnTo>
                  <a:lnTo>
                    <a:pt x="210" y="863"/>
                  </a:lnTo>
                  <a:lnTo>
                    <a:pt x="208" y="863"/>
                  </a:lnTo>
                  <a:lnTo>
                    <a:pt x="207" y="865"/>
                  </a:lnTo>
                  <a:lnTo>
                    <a:pt x="207" y="863"/>
                  </a:lnTo>
                  <a:lnTo>
                    <a:pt x="207" y="865"/>
                  </a:lnTo>
                  <a:lnTo>
                    <a:pt x="205" y="865"/>
                  </a:lnTo>
                  <a:lnTo>
                    <a:pt x="205" y="863"/>
                  </a:lnTo>
                  <a:lnTo>
                    <a:pt x="207" y="863"/>
                  </a:lnTo>
                  <a:lnTo>
                    <a:pt x="205" y="863"/>
                  </a:lnTo>
                  <a:lnTo>
                    <a:pt x="205" y="862"/>
                  </a:lnTo>
                  <a:lnTo>
                    <a:pt x="205" y="863"/>
                  </a:lnTo>
                  <a:lnTo>
                    <a:pt x="205" y="865"/>
                  </a:lnTo>
                  <a:lnTo>
                    <a:pt x="205" y="867"/>
                  </a:lnTo>
                  <a:lnTo>
                    <a:pt x="205" y="865"/>
                  </a:lnTo>
                  <a:lnTo>
                    <a:pt x="203" y="867"/>
                  </a:lnTo>
                  <a:lnTo>
                    <a:pt x="202" y="867"/>
                  </a:lnTo>
                  <a:lnTo>
                    <a:pt x="202" y="865"/>
                  </a:lnTo>
                  <a:lnTo>
                    <a:pt x="202" y="863"/>
                  </a:lnTo>
                  <a:lnTo>
                    <a:pt x="200" y="863"/>
                  </a:lnTo>
                  <a:lnTo>
                    <a:pt x="199" y="863"/>
                  </a:lnTo>
                  <a:lnTo>
                    <a:pt x="199" y="862"/>
                  </a:lnTo>
                  <a:lnTo>
                    <a:pt x="197" y="862"/>
                  </a:lnTo>
                  <a:lnTo>
                    <a:pt x="195" y="862"/>
                  </a:lnTo>
                  <a:lnTo>
                    <a:pt x="195" y="863"/>
                  </a:lnTo>
                  <a:lnTo>
                    <a:pt x="195" y="862"/>
                  </a:lnTo>
                  <a:lnTo>
                    <a:pt x="195" y="863"/>
                  </a:lnTo>
                  <a:lnTo>
                    <a:pt x="195" y="862"/>
                  </a:lnTo>
                  <a:lnTo>
                    <a:pt x="194" y="862"/>
                  </a:lnTo>
                  <a:lnTo>
                    <a:pt x="194" y="863"/>
                  </a:lnTo>
                  <a:lnTo>
                    <a:pt x="194" y="862"/>
                  </a:lnTo>
                  <a:lnTo>
                    <a:pt x="190" y="862"/>
                  </a:lnTo>
                  <a:lnTo>
                    <a:pt x="189" y="860"/>
                  </a:lnTo>
                  <a:lnTo>
                    <a:pt x="190" y="860"/>
                  </a:lnTo>
                  <a:lnTo>
                    <a:pt x="190" y="858"/>
                  </a:lnTo>
                  <a:lnTo>
                    <a:pt x="192" y="857"/>
                  </a:lnTo>
                  <a:lnTo>
                    <a:pt x="190" y="857"/>
                  </a:lnTo>
                  <a:lnTo>
                    <a:pt x="190" y="858"/>
                  </a:lnTo>
                  <a:lnTo>
                    <a:pt x="189" y="858"/>
                  </a:lnTo>
                  <a:lnTo>
                    <a:pt x="189" y="860"/>
                  </a:lnTo>
                  <a:lnTo>
                    <a:pt x="187" y="860"/>
                  </a:lnTo>
                  <a:lnTo>
                    <a:pt x="187" y="862"/>
                  </a:lnTo>
                  <a:lnTo>
                    <a:pt x="187" y="860"/>
                  </a:lnTo>
                  <a:lnTo>
                    <a:pt x="189" y="860"/>
                  </a:lnTo>
                  <a:lnTo>
                    <a:pt x="190" y="862"/>
                  </a:lnTo>
                  <a:lnTo>
                    <a:pt x="189" y="862"/>
                  </a:lnTo>
                  <a:lnTo>
                    <a:pt x="187" y="863"/>
                  </a:lnTo>
                  <a:lnTo>
                    <a:pt x="186" y="863"/>
                  </a:lnTo>
                  <a:lnTo>
                    <a:pt x="184" y="865"/>
                  </a:lnTo>
                  <a:lnTo>
                    <a:pt x="182" y="867"/>
                  </a:lnTo>
                  <a:lnTo>
                    <a:pt x="184" y="868"/>
                  </a:lnTo>
                  <a:lnTo>
                    <a:pt x="184" y="870"/>
                  </a:lnTo>
                  <a:lnTo>
                    <a:pt x="184" y="871"/>
                  </a:lnTo>
                  <a:lnTo>
                    <a:pt x="182" y="873"/>
                  </a:lnTo>
                  <a:lnTo>
                    <a:pt x="182" y="875"/>
                  </a:lnTo>
                  <a:lnTo>
                    <a:pt x="181" y="876"/>
                  </a:lnTo>
                  <a:lnTo>
                    <a:pt x="181" y="878"/>
                  </a:lnTo>
                  <a:lnTo>
                    <a:pt x="181" y="880"/>
                  </a:lnTo>
                  <a:lnTo>
                    <a:pt x="179" y="880"/>
                  </a:lnTo>
                  <a:lnTo>
                    <a:pt x="179" y="881"/>
                  </a:lnTo>
                  <a:lnTo>
                    <a:pt x="177" y="881"/>
                  </a:lnTo>
                  <a:lnTo>
                    <a:pt x="174" y="883"/>
                  </a:lnTo>
                  <a:lnTo>
                    <a:pt x="174" y="884"/>
                  </a:lnTo>
                  <a:lnTo>
                    <a:pt x="173" y="884"/>
                  </a:lnTo>
                  <a:lnTo>
                    <a:pt x="171" y="884"/>
                  </a:lnTo>
                  <a:lnTo>
                    <a:pt x="169" y="884"/>
                  </a:lnTo>
                  <a:lnTo>
                    <a:pt x="168" y="886"/>
                  </a:lnTo>
                  <a:lnTo>
                    <a:pt x="168" y="888"/>
                  </a:lnTo>
                  <a:lnTo>
                    <a:pt x="166" y="888"/>
                  </a:lnTo>
                  <a:lnTo>
                    <a:pt x="164" y="888"/>
                  </a:lnTo>
                  <a:lnTo>
                    <a:pt x="163" y="888"/>
                  </a:lnTo>
                  <a:lnTo>
                    <a:pt x="161" y="888"/>
                  </a:lnTo>
                  <a:lnTo>
                    <a:pt x="161" y="886"/>
                  </a:lnTo>
                  <a:lnTo>
                    <a:pt x="160" y="884"/>
                  </a:lnTo>
                  <a:lnTo>
                    <a:pt x="161" y="884"/>
                  </a:lnTo>
                  <a:lnTo>
                    <a:pt x="163" y="884"/>
                  </a:lnTo>
                  <a:lnTo>
                    <a:pt x="163" y="883"/>
                  </a:lnTo>
                  <a:lnTo>
                    <a:pt x="161" y="883"/>
                  </a:lnTo>
                  <a:lnTo>
                    <a:pt x="160" y="881"/>
                  </a:lnTo>
                  <a:lnTo>
                    <a:pt x="158" y="881"/>
                  </a:lnTo>
                  <a:lnTo>
                    <a:pt x="156" y="881"/>
                  </a:lnTo>
                  <a:lnTo>
                    <a:pt x="156" y="880"/>
                  </a:lnTo>
                  <a:lnTo>
                    <a:pt x="155" y="880"/>
                  </a:lnTo>
                  <a:lnTo>
                    <a:pt x="155" y="878"/>
                  </a:lnTo>
                  <a:lnTo>
                    <a:pt x="155" y="876"/>
                  </a:lnTo>
                  <a:lnTo>
                    <a:pt x="155" y="875"/>
                  </a:lnTo>
                  <a:lnTo>
                    <a:pt x="153" y="875"/>
                  </a:lnTo>
                  <a:lnTo>
                    <a:pt x="151" y="875"/>
                  </a:lnTo>
                  <a:lnTo>
                    <a:pt x="150" y="875"/>
                  </a:lnTo>
                  <a:lnTo>
                    <a:pt x="150" y="873"/>
                  </a:lnTo>
                  <a:lnTo>
                    <a:pt x="148" y="873"/>
                  </a:lnTo>
                  <a:lnTo>
                    <a:pt x="148" y="871"/>
                  </a:lnTo>
                  <a:lnTo>
                    <a:pt x="147" y="870"/>
                  </a:lnTo>
                  <a:lnTo>
                    <a:pt x="147" y="868"/>
                  </a:lnTo>
                  <a:lnTo>
                    <a:pt x="147" y="867"/>
                  </a:lnTo>
                  <a:lnTo>
                    <a:pt x="147" y="870"/>
                  </a:lnTo>
                  <a:lnTo>
                    <a:pt x="147" y="871"/>
                  </a:lnTo>
                  <a:lnTo>
                    <a:pt x="148" y="871"/>
                  </a:lnTo>
                  <a:lnTo>
                    <a:pt x="147" y="871"/>
                  </a:lnTo>
                  <a:lnTo>
                    <a:pt x="145" y="873"/>
                  </a:lnTo>
                  <a:lnTo>
                    <a:pt x="143" y="873"/>
                  </a:lnTo>
                  <a:lnTo>
                    <a:pt x="143" y="871"/>
                  </a:lnTo>
                  <a:lnTo>
                    <a:pt x="143" y="870"/>
                  </a:lnTo>
                  <a:lnTo>
                    <a:pt x="142" y="870"/>
                  </a:lnTo>
                  <a:lnTo>
                    <a:pt x="140" y="875"/>
                  </a:lnTo>
                  <a:lnTo>
                    <a:pt x="140" y="876"/>
                  </a:lnTo>
                  <a:lnTo>
                    <a:pt x="138" y="876"/>
                  </a:lnTo>
                  <a:lnTo>
                    <a:pt x="135" y="876"/>
                  </a:lnTo>
                  <a:lnTo>
                    <a:pt x="134" y="876"/>
                  </a:lnTo>
                  <a:lnTo>
                    <a:pt x="134" y="875"/>
                  </a:lnTo>
                  <a:lnTo>
                    <a:pt x="132" y="875"/>
                  </a:lnTo>
                  <a:lnTo>
                    <a:pt x="132" y="873"/>
                  </a:lnTo>
                  <a:lnTo>
                    <a:pt x="130" y="873"/>
                  </a:lnTo>
                  <a:lnTo>
                    <a:pt x="130" y="875"/>
                  </a:lnTo>
                  <a:lnTo>
                    <a:pt x="127" y="875"/>
                  </a:lnTo>
                  <a:lnTo>
                    <a:pt x="127" y="876"/>
                  </a:lnTo>
                  <a:lnTo>
                    <a:pt x="125" y="875"/>
                  </a:lnTo>
                  <a:lnTo>
                    <a:pt x="124" y="875"/>
                  </a:lnTo>
                  <a:lnTo>
                    <a:pt x="122" y="875"/>
                  </a:lnTo>
                  <a:lnTo>
                    <a:pt x="122" y="873"/>
                  </a:lnTo>
                  <a:lnTo>
                    <a:pt x="122" y="875"/>
                  </a:lnTo>
                  <a:lnTo>
                    <a:pt x="121" y="875"/>
                  </a:lnTo>
                  <a:lnTo>
                    <a:pt x="119" y="875"/>
                  </a:lnTo>
                  <a:lnTo>
                    <a:pt x="117" y="875"/>
                  </a:lnTo>
                  <a:lnTo>
                    <a:pt x="117" y="873"/>
                  </a:lnTo>
                  <a:lnTo>
                    <a:pt x="117" y="871"/>
                  </a:lnTo>
                  <a:lnTo>
                    <a:pt x="116" y="871"/>
                  </a:lnTo>
                  <a:lnTo>
                    <a:pt x="116" y="870"/>
                  </a:lnTo>
                  <a:lnTo>
                    <a:pt x="117" y="868"/>
                  </a:lnTo>
                  <a:lnTo>
                    <a:pt x="117" y="867"/>
                  </a:lnTo>
                  <a:lnTo>
                    <a:pt x="117" y="865"/>
                  </a:lnTo>
                  <a:lnTo>
                    <a:pt x="117" y="863"/>
                  </a:lnTo>
                  <a:lnTo>
                    <a:pt x="119" y="863"/>
                  </a:lnTo>
                  <a:lnTo>
                    <a:pt x="121" y="860"/>
                  </a:lnTo>
                  <a:lnTo>
                    <a:pt x="121" y="858"/>
                  </a:lnTo>
                  <a:lnTo>
                    <a:pt x="122" y="857"/>
                  </a:lnTo>
                  <a:lnTo>
                    <a:pt x="121" y="855"/>
                  </a:lnTo>
                  <a:lnTo>
                    <a:pt x="121" y="853"/>
                  </a:lnTo>
                  <a:lnTo>
                    <a:pt x="121" y="852"/>
                  </a:lnTo>
                  <a:lnTo>
                    <a:pt x="119" y="852"/>
                  </a:lnTo>
                  <a:lnTo>
                    <a:pt x="117" y="852"/>
                  </a:lnTo>
                  <a:lnTo>
                    <a:pt x="116" y="852"/>
                  </a:lnTo>
                  <a:lnTo>
                    <a:pt x="114" y="853"/>
                  </a:lnTo>
                  <a:lnTo>
                    <a:pt x="114" y="852"/>
                  </a:lnTo>
                  <a:lnTo>
                    <a:pt x="112" y="852"/>
                  </a:lnTo>
                  <a:lnTo>
                    <a:pt x="112" y="850"/>
                  </a:lnTo>
                  <a:lnTo>
                    <a:pt x="111" y="849"/>
                  </a:lnTo>
                  <a:lnTo>
                    <a:pt x="109" y="847"/>
                  </a:lnTo>
                  <a:lnTo>
                    <a:pt x="109" y="845"/>
                  </a:lnTo>
                  <a:lnTo>
                    <a:pt x="108" y="845"/>
                  </a:lnTo>
                  <a:lnTo>
                    <a:pt x="109" y="840"/>
                  </a:lnTo>
                  <a:lnTo>
                    <a:pt x="109" y="839"/>
                  </a:lnTo>
                  <a:lnTo>
                    <a:pt x="108" y="839"/>
                  </a:lnTo>
                  <a:lnTo>
                    <a:pt x="106" y="839"/>
                  </a:lnTo>
                  <a:lnTo>
                    <a:pt x="106" y="837"/>
                  </a:lnTo>
                  <a:lnTo>
                    <a:pt x="108" y="837"/>
                  </a:lnTo>
                  <a:lnTo>
                    <a:pt x="108" y="836"/>
                  </a:lnTo>
                  <a:lnTo>
                    <a:pt x="108" y="834"/>
                  </a:lnTo>
                  <a:lnTo>
                    <a:pt x="108" y="832"/>
                  </a:lnTo>
                  <a:lnTo>
                    <a:pt x="108" y="831"/>
                  </a:lnTo>
                  <a:lnTo>
                    <a:pt x="108" y="829"/>
                  </a:lnTo>
                  <a:lnTo>
                    <a:pt x="108" y="827"/>
                  </a:lnTo>
                  <a:lnTo>
                    <a:pt x="106" y="826"/>
                  </a:lnTo>
                  <a:lnTo>
                    <a:pt x="106" y="824"/>
                  </a:lnTo>
                  <a:lnTo>
                    <a:pt x="106" y="823"/>
                  </a:lnTo>
                  <a:lnTo>
                    <a:pt x="104" y="823"/>
                  </a:lnTo>
                  <a:lnTo>
                    <a:pt x="104" y="821"/>
                  </a:lnTo>
                  <a:lnTo>
                    <a:pt x="103" y="821"/>
                  </a:lnTo>
                  <a:lnTo>
                    <a:pt x="104" y="819"/>
                  </a:lnTo>
                  <a:lnTo>
                    <a:pt x="103" y="819"/>
                  </a:lnTo>
                  <a:lnTo>
                    <a:pt x="103" y="818"/>
                  </a:lnTo>
                  <a:lnTo>
                    <a:pt x="101" y="818"/>
                  </a:lnTo>
                  <a:lnTo>
                    <a:pt x="101" y="816"/>
                  </a:lnTo>
                  <a:lnTo>
                    <a:pt x="99" y="818"/>
                  </a:lnTo>
                  <a:lnTo>
                    <a:pt x="99" y="816"/>
                  </a:lnTo>
                  <a:lnTo>
                    <a:pt x="99" y="814"/>
                  </a:lnTo>
                  <a:lnTo>
                    <a:pt x="99" y="816"/>
                  </a:lnTo>
                  <a:lnTo>
                    <a:pt x="98" y="816"/>
                  </a:lnTo>
                  <a:lnTo>
                    <a:pt x="98" y="814"/>
                  </a:lnTo>
                  <a:lnTo>
                    <a:pt x="96" y="814"/>
                  </a:lnTo>
                  <a:lnTo>
                    <a:pt x="93" y="818"/>
                  </a:lnTo>
                  <a:lnTo>
                    <a:pt x="91" y="819"/>
                  </a:lnTo>
                  <a:lnTo>
                    <a:pt x="90" y="819"/>
                  </a:lnTo>
                  <a:lnTo>
                    <a:pt x="90" y="821"/>
                  </a:lnTo>
                  <a:lnTo>
                    <a:pt x="88" y="823"/>
                  </a:lnTo>
                  <a:lnTo>
                    <a:pt x="86" y="823"/>
                  </a:lnTo>
                  <a:lnTo>
                    <a:pt x="85" y="824"/>
                  </a:lnTo>
                  <a:lnTo>
                    <a:pt x="83" y="823"/>
                  </a:lnTo>
                  <a:lnTo>
                    <a:pt x="83" y="824"/>
                  </a:lnTo>
                  <a:lnTo>
                    <a:pt x="81" y="826"/>
                  </a:lnTo>
                  <a:lnTo>
                    <a:pt x="80" y="826"/>
                  </a:lnTo>
                  <a:lnTo>
                    <a:pt x="78" y="827"/>
                  </a:lnTo>
                  <a:lnTo>
                    <a:pt x="81" y="829"/>
                  </a:lnTo>
                  <a:lnTo>
                    <a:pt x="81" y="832"/>
                  </a:lnTo>
                  <a:lnTo>
                    <a:pt x="83" y="836"/>
                  </a:lnTo>
                  <a:lnTo>
                    <a:pt x="81" y="836"/>
                  </a:lnTo>
                  <a:lnTo>
                    <a:pt x="81" y="837"/>
                  </a:lnTo>
                  <a:lnTo>
                    <a:pt x="81" y="839"/>
                  </a:lnTo>
                  <a:lnTo>
                    <a:pt x="80" y="839"/>
                  </a:lnTo>
                  <a:lnTo>
                    <a:pt x="78" y="839"/>
                  </a:lnTo>
                  <a:lnTo>
                    <a:pt x="73" y="839"/>
                  </a:lnTo>
                  <a:lnTo>
                    <a:pt x="73" y="840"/>
                  </a:lnTo>
                  <a:lnTo>
                    <a:pt x="72" y="840"/>
                  </a:lnTo>
                  <a:lnTo>
                    <a:pt x="73" y="840"/>
                  </a:lnTo>
                  <a:lnTo>
                    <a:pt x="73" y="842"/>
                  </a:lnTo>
                  <a:lnTo>
                    <a:pt x="72" y="842"/>
                  </a:lnTo>
                  <a:lnTo>
                    <a:pt x="72" y="844"/>
                  </a:lnTo>
                  <a:lnTo>
                    <a:pt x="72" y="845"/>
                  </a:lnTo>
                  <a:lnTo>
                    <a:pt x="70" y="847"/>
                  </a:lnTo>
                  <a:lnTo>
                    <a:pt x="68" y="850"/>
                  </a:lnTo>
                  <a:lnTo>
                    <a:pt x="67" y="850"/>
                  </a:lnTo>
                  <a:lnTo>
                    <a:pt x="65" y="850"/>
                  </a:lnTo>
                  <a:lnTo>
                    <a:pt x="65" y="849"/>
                  </a:lnTo>
                  <a:lnTo>
                    <a:pt x="67" y="849"/>
                  </a:lnTo>
                  <a:lnTo>
                    <a:pt x="67" y="847"/>
                  </a:lnTo>
                  <a:lnTo>
                    <a:pt x="68" y="845"/>
                  </a:lnTo>
                  <a:lnTo>
                    <a:pt x="68" y="844"/>
                  </a:lnTo>
                  <a:lnTo>
                    <a:pt x="67" y="844"/>
                  </a:lnTo>
                  <a:lnTo>
                    <a:pt x="65" y="844"/>
                  </a:lnTo>
                  <a:lnTo>
                    <a:pt x="65" y="845"/>
                  </a:lnTo>
                  <a:lnTo>
                    <a:pt x="64" y="845"/>
                  </a:lnTo>
                  <a:lnTo>
                    <a:pt x="64" y="847"/>
                  </a:lnTo>
                  <a:lnTo>
                    <a:pt x="64" y="849"/>
                  </a:lnTo>
                  <a:lnTo>
                    <a:pt x="65" y="849"/>
                  </a:lnTo>
                  <a:lnTo>
                    <a:pt x="65" y="850"/>
                  </a:lnTo>
                  <a:lnTo>
                    <a:pt x="64" y="850"/>
                  </a:lnTo>
                  <a:lnTo>
                    <a:pt x="64" y="852"/>
                  </a:lnTo>
                  <a:lnTo>
                    <a:pt x="64" y="850"/>
                  </a:lnTo>
                  <a:lnTo>
                    <a:pt x="62" y="850"/>
                  </a:lnTo>
                  <a:lnTo>
                    <a:pt x="62" y="849"/>
                  </a:lnTo>
                  <a:lnTo>
                    <a:pt x="60" y="849"/>
                  </a:lnTo>
                  <a:lnTo>
                    <a:pt x="59" y="849"/>
                  </a:lnTo>
                  <a:lnTo>
                    <a:pt x="59" y="847"/>
                  </a:lnTo>
                  <a:lnTo>
                    <a:pt x="60" y="847"/>
                  </a:lnTo>
                  <a:lnTo>
                    <a:pt x="60" y="845"/>
                  </a:lnTo>
                  <a:lnTo>
                    <a:pt x="59" y="847"/>
                  </a:lnTo>
                  <a:lnTo>
                    <a:pt x="57" y="845"/>
                  </a:lnTo>
                  <a:lnTo>
                    <a:pt x="55" y="845"/>
                  </a:lnTo>
                  <a:lnTo>
                    <a:pt x="57" y="844"/>
                  </a:lnTo>
                  <a:lnTo>
                    <a:pt x="54" y="844"/>
                  </a:lnTo>
                  <a:lnTo>
                    <a:pt x="52" y="844"/>
                  </a:lnTo>
                  <a:lnTo>
                    <a:pt x="52" y="845"/>
                  </a:lnTo>
                  <a:lnTo>
                    <a:pt x="51" y="845"/>
                  </a:lnTo>
                  <a:lnTo>
                    <a:pt x="47" y="844"/>
                  </a:lnTo>
                  <a:lnTo>
                    <a:pt x="47" y="845"/>
                  </a:lnTo>
                  <a:lnTo>
                    <a:pt x="46" y="845"/>
                  </a:lnTo>
                  <a:lnTo>
                    <a:pt x="44" y="844"/>
                  </a:lnTo>
                  <a:lnTo>
                    <a:pt x="44" y="842"/>
                  </a:lnTo>
                  <a:lnTo>
                    <a:pt x="42" y="842"/>
                  </a:lnTo>
                  <a:lnTo>
                    <a:pt x="41" y="840"/>
                  </a:lnTo>
                  <a:lnTo>
                    <a:pt x="41" y="839"/>
                  </a:lnTo>
                  <a:lnTo>
                    <a:pt x="41" y="837"/>
                  </a:lnTo>
                  <a:lnTo>
                    <a:pt x="39" y="836"/>
                  </a:lnTo>
                  <a:lnTo>
                    <a:pt x="38" y="834"/>
                  </a:lnTo>
                  <a:lnTo>
                    <a:pt x="38" y="831"/>
                  </a:lnTo>
                  <a:lnTo>
                    <a:pt x="36" y="831"/>
                  </a:lnTo>
                  <a:lnTo>
                    <a:pt x="33" y="829"/>
                  </a:lnTo>
                  <a:lnTo>
                    <a:pt x="31" y="829"/>
                  </a:lnTo>
                  <a:lnTo>
                    <a:pt x="29" y="829"/>
                  </a:lnTo>
                  <a:lnTo>
                    <a:pt x="28" y="829"/>
                  </a:lnTo>
                  <a:lnTo>
                    <a:pt x="26" y="829"/>
                  </a:lnTo>
                  <a:lnTo>
                    <a:pt x="25" y="827"/>
                  </a:lnTo>
                  <a:lnTo>
                    <a:pt x="25" y="826"/>
                  </a:lnTo>
                  <a:lnTo>
                    <a:pt x="23" y="826"/>
                  </a:lnTo>
                  <a:lnTo>
                    <a:pt x="23" y="824"/>
                  </a:lnTo>
                  <a:lnTo>
                    <a:pt x="25" y="821"/>
                  </a:lnTo>
                  <a:lnTo>
                    <a:pt x="25" y="818"/>
                  </a:lnTo>
                  <a:lnTo>
                    <a:pt x="25" y="816"/>
                  </a:lnTo>
                  <a:lnTo>
                    <a:pt x="26" y="816"/>
                  </a:lnTo>
                  <a:lnTo>
                    <a:pt x="26" y="814"/>
                  </a:lnTo>
                  <a:lnTo>
                    <a:pt x="25" y="814"/>
                  </a:lnTo>
                  <a:lnTo>
                    <a:pt x="23" y="813"/>
                  </a:lnTo>
                  <a:lnTo>
                    <a:pt x="23" y="814"/>
                  </a:lnTo>
                  <a:lnTo>
                    <a:pt x="21" y="813"/>
                  </a:lnTo>
                  <a:lnTo>
                    <a:pt x="20" y="811"/>
                  </a:lnTo>
                  <a:lnTo>
                    <a:pt x="18" y="811"/>
                  </a:lnTo>
                  <a:lnTo>
                    <a:pt x="18" y="808"/>
                  </a:lnTo>
                  <a:lnTo>
                    <a:pt x="16" y="805"/>
                  </a:lnTo>
                  <a:lnTo>
                    <a:pt x="16" y="803"/>
                  </a:lnTo>
                  <a:lnTo>
                    <a:pt x="15" y="803"/>
                  </a:lnTo>
                  <a:lnTo>
                    <a:pt x="13" y="801"/>
                  </a:lnTo>
                  <a:lnTo>
                    <a:pt x="12" y="798"/>
                  </a:lnTo>
                  <a:lnTo>
                    <a:pt x="12" y="797"/>
                  </a:lnTo>
                  <a:lnTo>
                    <a:pt x="12" y="793"/>
                  </a:lnTo>
                  <a:lnTo>
                    <a:pt x="8" y="790"/>
                  </a:lnTo>
                  <a:lnTo>
                    <a:pt x="7" y="788"/>
                  </a:lnTo>
                  <a:lnTo>
                    <a:pt x="8" y="788"/>
                  </a:lnTo>
                  <a:lnTo>
                    <a:pt x="8" y="787"/>
                  </a:lnTo>
                  <a:lnTo>
                    <a:pt x="7" y="785"/>
                  </a:lnTo>
                  <a:lnTo>
                    <a:pt x="8" y="784"/>
                  </a:lnTo>
                  <a:lnTo>
                    <a:pt x="12" y="785"/>
                  </a:lnTo>
                  <a:lnTo>
                    <a:pt x="13" y="784"/>
                  </a:lnTo>
                  <a:lnTo>
                    <a:pt x="15" y="784"/>
                  </a:lnTo>
                  <a:lnTo>
                    <a:pt x="16" y="784"/>
                  </a:lnTo>
                  <a:lnTo>
                    <a:pt x="18" y="784"/>
                  </a:lnTo>
                  <a:lnTo>
                    <a:pt x="20" y="782"/>
                  </a:lnTo>
                  <a:lnTo>
                    <a:pt x="20" y="780"/>
                  </a:lnTo>
                  <a:lnTo>
                    <a:pt x="21" y="779"/>
                  </a:lnTo>
                  <a:lnTo>
                    <a:pt x="23" y="777"/>
                  </a:lnTo>
                  <a:lnTo>
                    <a:pt x="25" y="777"/>
                  </a:lnTo>
                  <a:lnTo>
                    <a:pt x="26" y="777"/>
                  </a:lnTo>
                  <a:lnTo>
                    <a:pt x="28" y="779"/>
                  </a:lnTo>
                  <a:lnTo>
                    <a:pt x="28" y="780"/>
                  </a:lnTo>
                  <a:lnTo>
                    <a:pt x="29" y="780"/>
                  </a:lnTo>
                  <a:lnTo>
                    <a:pt x="31" y="780"/>
                  </a:lnTo>
                  <a:lnTo>
                    <a:pt x="33" y="780"/>
                  </a:lnTo>
                  <a:lnTo>
                    <a:pt x="34" y="782"/>
                  </a:lnTo>
                  <a:lnTo>
                    <a:pt x="36" y="782"/>
                  </a:lnTo>
                  <a:lnTo>
                    <a:pt x="38" y="782"/>
                  </a:lnTo>
                  <a:lnTo>
                    <a:pt x="38" y="780"/>
                  </a:lnTo>
                  <a:lnTo>
                    <a:pt x="38" y="779"/>
                  </a:lnTo>
                  <a:lnTo>
                    <a:pt x="39" y="779"/>
                  </a:lnTo>
                  <a:lnTo>
                    <a:pt x="41" y="777"/>
                  </a:lnTo>
                  <a:lnTo>
                    <a:pt x="42" y="777"/>
                  </a:lnTo>
                  <a:lnTo>
                    <a:pt x="42" y="775"/>
                  </a:lnTo>
                  <a:lnTo>
                    <a:pt x="44" y="775"/>
                  </a:lnTo>
                  <a:lnTo>
                    <a:pt x="46" y="775"/>
                  </a:lnTo>
                  <a:lnTo>
                    <a:pt x="47" y="775"/>
                  </a:lnTo>
                  <a:lnTo>
                    <a:pt x="49" y="774"/>
                  </a:lnTo>
                  <a:lnTo>
                    <a:pt x="49" y="775"/>
                  </a:lnTo>
                  <a:lnTo>
                    <a:pt x="49" y="774"/>
                  </a:lnTo>
                  <a:lnTo>
                    <a:pt x="51" y="774"/>
                  </a:lnTo>
                  <a:lnTo>
                    <a:pt x="51" y="772"/>
                  </a:lnTo>
                  <a:lnTo>
                    <a:pt x="51" y="771"/>
                  </a:lnTo>
                  <a:lnTo>
                    <a:pt x="47" y="772"/>
                  </a:lnTo>
                  <a:lnTo>
                    <a:pt x="46" y="771"/>
                  </a:lnTo>
                  <a:lnTo>
                    <a:pt x="44" y="769"/>
                  </a:lnTo>
                  <a:lnTo>
                    <a:pt x="42" y="767"/>
                  </a:lnTo>
                  <a:lnTo>
                    <a:pt x="41" y="769"/>
                  </a:lnTo>
                  <a:lnTo>
                    <a:pt x="39" y="769"/>
                  </a:lnTo>
                  <a:lnTo>
                    <a:pt x="39" y="767"/>
                  </a:lnTo>
                  <a:lnTo>
                    <a:pt x="39" y="766"/>
                  </a:lnTo>
                  <a:lnTo>
                    <a:pt x="38" y="764"/>
                  </a:lnTo>
                  <a:lnTo>
                    <a:pt x="36" y="764"/>
                  </a:lnTo>
                  <a:lnTo>
                    <a:pt x="36" y="762"/>
                  </a:lnTo>
                  <a:lnTo>
                    <a:pt x="36" y="761"/>
                  </a:lnTo>
                  <a:lnTo>
                    <a:pt x="38" y="759"/>
                  </a:lnTo>
                  <a:lnTo>
                    <a:pt x="36" y="759"/>
                  </a:lnTo>
                  <a:lnTo>
                    <a:pt x="36" y="758"/>
                  </a:lnTo>
                  <a:lnTo>
                    <a:pt x="38" y="758"/>
                  </a:lnTo>
                  <a:lnTo>
                    <a:pt x="39" y="758"/>
                  </a:lnTo>
                  <a:lnTo>
                    <a:pt x="41" y="756"/>
                  </a:lnTo>
                  <a:lnTo>
                    <a:pt x="44" y="754"/>
                  </a:lnTo>
                  <a:lnTo>
                    <a:pt x="46" y="756"/>
                  </a:lnTo>
                  <a:lnTo>
                    <a:pt x="46" y="758"/>
                  </a:lnTo>
                  <a:lnTo>
                    <a:pt x="47" y="758"/>
                  </a:lnTo>
                  <a:lnTo>
                    <a:pt x="47" y="759"/>
                  </a:lnTo>
                  <a:lnTo>
                    <a:pt x="49" y="759"/>
                  </a:lnTo>
                  <a:lnTo>
                    <a:pt x="52" y="758"/>
                  </a:lnTo>
                  <a:lnTo>
                    <a:pt x="55" y="758"/>
                  </a:lnTo>
                  <a:lnTo>
                    <a:pt x="60" y="756"/>
                  </a:lnTo>
                  <a:lnTo>
                    <a:pt x="62" y="756"/>
                  </a:lnTo>
                  <a:lnTo>
                    <a:pt x="62" y="758"/>
                  </a:lnTo>
                  <a:lnTo>
                    <a:pt x="65" y="758"/>
                  </a:lnTo>
                  <a:lnTo>
                    <a:pt x="67" y="759"/>
                  </a:lnTo>
                  <a:lnTo>
                    <a:pt x="68" y="759"/>
                  </a:lnTo>
                  <a:lnTo>
                    <a:pt x="68" y="758"/>
                  </a:lnTo>
                  <a:lnTo>
                    <a:pt x="68" y="756"/>
                  </a:lnTo>
                  <a:lnTo>
                    <a:pt x="68" y="754"/>
                  </a:lnTo>
                  <a:lnTo>
                    <a:pt x="68" y="753"/>
                  </a:lnTo>
                  <a:lnTo>
                    <a:pt x="68" y="751"/>
                  </a:lnTo>
                  <a:lnTo>
                    <a:pt x="70" y="751"/>
                  </a:lnTo>
                  <a:lnTo>
                    <a:pt x="72" y="749"/>
                  </a:lnTo>
                  <a:lnTo>
                    <a:pt x="72" y="751"/>
                  </a:lnTo>
                  <a:lnTo>
                    <a:pt x="73" y="749"/>
                  </a:lnTo>
                  <a:lnTo>
                    <a:pt x="75" y="749"/>
                  </a:lnTo>
                  <a:lnTo>
                    <a:pt x="75" y="748"/>
                  </a:lnTo>
                  <a:lnTo>
                    <a:pt x="77" y="748"/>
                  </a:lnTo>
                  <a:lnTo>
                    <a:pt x="77" y="746"/>
                  </a:lnTo>
                  <a:lnTo>
                    <a:pt x="78" y="746"/>
                  </a:lnTo>
                  <a:lnTo>
                    <a:pt x="78" y="745"/>
                  </a:lnTo>
                  <a:lnTo>
                    <a:pt x="80" y="743"/>
                  </a:lnTo>
                  <a:lnTo>
                    <a:pt x="80" y="741"/>
                  </a:lnTo>
                  <a:lnTo>
                    <a:pt x="80" y="740"/>
                  </a:lnTo>
                  <a:lnTo>
                    <a:pt x="81" y="738"/>
                  </a:lnTo>
                  <a:lnTo>
                    <a:pt x="81" y="735"/>
                  </a:lnTo>
                  <a:lnTo>
                    <a:pt x="81" y="733"/>
                  </a:lnTo>
                  <a:lnTo>
                    <a:pt x="83" y="733"/>
                  </a:lnTo>
                  <a:lnTo>
                    <a:pt x="85" y="733"/>
                  </a:lnTo>
                  <a:lnTo>
                    <a:pt x="86" y="733"/>
                  </a:lnTo>
                  <a:lnTo>
                    <a:pt x="86" y="732"/>
                  </a:lnTo>
                  <a:lnTo>
                    <a:pt x="86" y="730"/>
                  </a:lnTo>
                  <a:lnTo>
                    <a:pt x="86" y="727"/>
                  </a:lnTo>
                  <a:lnTo>
                    <a:pt x="88" y="727"/>
                  </a:lnTo>
                  <a:lnTo>
                    <a:pt x="88" y="725"/>
                  </a:lnTo>
                  <a:lnTo>
                    <a:pt x="90" y="722"/>
                  </a:lnTo>
                  <a:lnTo>
                    <a:pt x="95" y="720"/>
                  </a:lnTo>
                  <a:lnTo>
                    <a:pt x="96" y="720"/>
                  </a:lnTo>
                  <a:lnTo>
                    <a:pt x="98" y="720"/>
                  </a:lnTo>
                  <a:lnTo>
                    <a:pt x="98" y="722"/>
                  </a:lnTo>
                  <a:lnTo>
                    <a:pt x="99" y="722"/>
                  </a:lnTo>
                  <a:lnTo>
                    <a:pt x="99" y="720"/>
                  </a:lnTo>
                  <a:lnTo>
                    <a:pt x="101" y="720"/>
                  </a:lnTo>
                  <a:lnTo>
                    <a:pt x="103" y="719"/>
                  </a:lnTo>
                  <a:lnTo>
                    <a:pt x="101" y="720"/>
                  </a:lnTo>
                  <a:lnTo>
                    <a:pt x="103" y="720"/>
                  </a:lnTo>
                  <a:lnTo>
                    <a:pt x="101" y="722"/>
                  </a:lnTo>
                  <a:lnTo>
                    <a:pt x="99" y="722"/>
                  </a:lnTo>
                  <a:lnTo>
                    <a:pt x="98" y="723"/>
                  </a:lnTo>
                  <a:lnTo>
                    <a:pt x="98" y="725"/>
                  </a:lnTo>
                  <a:lnTo>
                    <a:pt x="96" y="725"/>
                  </a:lnTo>
                  <a:lnTo>
                    <a:pt x="96" y="727"/>
                  </a:lnTo>
                  <a:lnTo>
                    <a:pt x="95" y="727"/>
                  </a:lnTo>
                  <a:lnTo>
                    <a:pt x="95" y="728"/>
                  </a:lnTo>
                  <a:lnTo>
                    <a:pt x="93" y="728"/>
                  </a:lnTo>
                  <a:lnTo>
                    <a:pt x="91" y="728"/>
                  </a:lnTo>
                  <a:lnTo>
                    <a:pt x="91" y="730"/>
                  </a:lnTo>
                  <a:lnTo>
                    <a:pt x="90" y="730"/>
                  </a:lnTo>
                  <a:lnTo>
                    <a:pt x="90" y="732"/>
                  </a:lnTo>
                  <a:lnTo>
                    <a:pt x="88" y="732"/>
                  </a:lnTo>
                  <a:lnTo>
                    <a:pt x="88" y="733"/>
                  </a:lnTo>
                  <a:lnTo>
                    <a:pt x="90" y="732"/>
                  </a:lnTo>
                  <a:lnTo>
                    <a:pt x="91" y="730"/>
                  </a:lnTo>
                  <a:lnTo>
                    <a:pt x="93" y="730"/>
                  </a:lnTo>
                  <a:lnTo>
                    <a:pt x="95" y="728"/>
                  </a:lnTo>
                  <a:lnTo>
                    <a:pt x="95" y="727"/>
                  </a:lnTo>
                  <a:lnTo>
                    <a:pt x="96" y="727"/>
                  </a:lnTo>
                  <a:lnTo>
                    <a:pt x="98" y="727"/>
                  </a:lnTo>
                  <a:lnTo>
                    <a:pt x="98" y="725"/>
                  </a:lnTo>
                  <a:lnTo>
                    <a:pt x="99" y="723"/>
                  </a:lnTo>
                  <a:lnTo>
                    <a:pt x="101" y="722"/>
                  </a:lnTo>
                  <a:lnTo>
                    <a:pt x="103" y="722"/>
                  </a:lnTo>
                  <a:lnTo>
                    <a:pt x="103" y="723"/>
                  </a:lnTo>
                  <a:lnTo>
                    <a:pt x="103" y="722"/>
                  </a:lnTo>
                  <a:lnTo>
                    <a:pt x="104" y="720"/>
                  </a:lnTo>
                  <a:lnTo>
                    <a:pt x="104" y="722"/>
                  </a:lnTo>
                  <a:lnTo>
                    <a:pt x="106" y="722"/>
                  </a:lnTo>
                  <a:lnTo>
                    <a:pt x="108" y="722"/>
                  </a:lnTo>
                  <a:lnTo>
                    <a:pt x="109" y="722"/>
                  </a:lnTo>
                  <a:lnTo>
                    <a:pt x="111" y="723"/>
                  </a:lnTo>
                  <a:lnTo>
                    <a:pt x="109" y="723"/>
                  </a:lnTo>
                  <a:lnTo>
                    <a:pt x="109" y="725"/>
                  </a:lnTo>
                  <a:lnTo>
                    <a:pt x="111" y="725"/>
                  </a:lnTo>
                  <a:lnTo>
                    <a:pt x="114" y="725"/>
                  </a:lnTo>
                  <a:lnTo>
                    <a:pt x="116" y="725"/>
                  </a:lnTo>
                  <a:lnTo>
                    <a:pt x="117" y="725"/>
                  </a:lnTo>
                  <a:lnTo>
                    <a:pt x="119" y="725"/>
                  </a:lnTo>
                  <a:lnTo>
                    <a:pt x="117" y="725"/>
                  </a:lnTo>
                  <a:lnTo>
                    <a:pt x="119" y="725"/>
                  </a:lnTo>
                  <a:lnTo>
                    <a:pt x="119" y="723"/>
                  </a:lnTo>
                  <a:lnTo>
                    <a:pt x="121" y="723"/>
                  </a:lnTo>
                  <a:lnTo>
                    <a:pt x="122" y="722"/>
                  </a:lnTo>
                  <a:lnTo>
                    <a:pt x="121" y="720"/>
                  </a:lnTo>
                  <a:lnTo>
                    <a:pt x="122" y="720"/>
                  </a:lnTo>
                  <a:lnTo>
                    <a:pt x="122" y="719"/>
                  </a:lnTo>
                  <a:lnTo>
                    <a:pt x="124" y="719"/>
                  </a:lnTo>
                  <a:lnTo>
                    <a:pt x="125" y="719"/>
                  </a:lnTo>
                  <a:lnTo>
                    <a:pt x="124" y="719"/>
                  </a:lnTo>
                  <a:lnTo>
                    <a:pt x="125" y="717"/>
                  </a:lnTo>
                  <a:lnTo>
                    <a:pt x="125" y="715"/>
                  </a:lnTo>
                  <a:lnTo>
                    <a:pt x="127" y="715"/>
                  </a:lnTo>
                  <a:lnTo>
                    <a:pt x="127" y="714"/>
                  </a:lnTo>
                  <a:lnTo>
                    <a:pt x="127" y="712"/>
                  </a:lnTo>
                  <a:lnTo>
                    <a:pt x="129" y="712"/>
                  </a:lnTo>
                  <a:lnTo>
                    <a:pt x="129" y="710"/>
                  </a:lnTo>
                  <a:lnTo>
                    <a:pt x="129" y="709"/>
                  </a:lnTo>
                  <a:lnTo>
                    <a:pt x="129" y="707"/>
                  </a:lnTo>
                  <a:lnTo>
                    <a:pt x="130" y="707"/>
                  </a:lnTo>
                  <a:lnTo>
                    <a:pt x="130" y="709"/>
                  </a:lnTo>
                  <a:lnTo>
                    <a:pt x="132" y="710"/>
                  </a:lnTo>
                  <a:lnTo>
                    <a:pt x="134" y="712"/>
                  </a:lnTo>
                  <a:lnTo>
                    <a:pt x="135" y="712"/>
                  </a:lnTo>
                  <a:lnTo>
                    <a:pt x="137" y="714"/>
                  </a:lnTo>
                  <a:lnTo>
                    <a:pt x="138" y="714"/>
                  </a:lnTo>
                  <a:lnTo>
                    <a:pt x="140" y="714"/>
                  </a:lnTo>
                  <a:lnTo>
                    <a:pt x="142" y="714"/>
                  </a:lnTo>
                  <a:lnTo>
                    <a:pt x="143" y="714"/>
                  </a:lnTo>
                  <a:lnTo>
                    <a:pt x="143" y="715"/>
                  </a:lnTo>
                  <a:lnTo>
                    <a:pt x="145" y="715"/>
                  </a:lnTo>
                  <a:lnTo>
                    <a:pt x="147" y="715"/>
                  </a:lnTo>
                  <a:lnTo>
                    <a:pt x="148" y="717"/>
                  </a:lnTo>
                  <a:lnTo>
                    <a:pt x="147" y="717"/>
                  </a:lnTo>
                  <a:lnTo>
                    <a:pt x="147" y="715"/>
                  </a:lnTo>
                  <a:lnTo>
                    <a:pt x="145" y="715"/>
                  </a:lnTo>
                  <a:lnTo>
                    <a:pt x="143" y="715"/>
                  </a:lnTo>
                  <a:lnTo>
                    <a:pt x="143" y="714"/>
                  </a:lnTo>
                  <a:close/>
                  <a:moveTo>
                    <a:pt x="223" y="287"/>
                  </a:moveTo>
                  <a:lnTo>
                    <a:pt x="223" y="286"/>
                  </a:lnTo>
                  <a:lnTo>
                    <a:pt x="225" y="286"/>
                  </a:lnTo>
                  <a:lnTo>
                    <a:pt x="225" y="287"/>
                  </a:lnTo>
                  <a:lnTo>
                    <a:pt x="226" y="287"/>
                  </a:lnTo>
                  <a:lnTo>
                    <a:pt x="228" y="287"/>
                  </a:lnTo>
                  <a:lnTo>
                    <a:pt x="226" y="287"/>
                  </a:lnTo>
                  <a:lnTo>
                    <a:pt x="226" y="289"/>
                  </a:lnTo>
                  <a:lnTo>
                    <a:pt x="228" y="289"/>
                  </a:lnTo>
                  <a:lnTo>
                    <a:pt x="228" y="287"/>
                  </a:lnTo>
                  <a:lnTo>
                    <a:pt x="229" y="287"/>
                  </a:lnTo>
                  <a:lnTo>
                    <a:pt x="229" y="286"/>
                  </a:lnTo>
                  <a:lnTo>
                    <a:pt x="229" y="287"/>
                  </a:lnTo>
                  <a:lnTo>
                    <a:pt x="229" y="286"/>
                  </a:lnTo>
                  <a:lnTo>
                    <a:pt x="228" y="286"/>
                  </a:lnTo>
                  <a:lnTo>
                    <a:pt x="228" y="287"/>
                  </a:lnTo>
                  <a:lnTo>
                    <a:pt x="228" y="286"/>
                  </a:lnTo>
                  <a:lnTo>
                    <a:pt x="226" y="286"/>
                  </a:lnTo>
                  <a:lnTo>
                    <a:pt x="226" y="284"/>
                  </a:lnTo>
                  <a:lnTo>
                    <a:pt x="228" y="284"/>
                  </a:lnTo>
                  <a:lnTo>
                    <a:pt x="228" y="283"/>
                  </a:lnTo>
                  <a:lnTo>
                    <a:pt x="228" y="281"/>
                  </a:lnTo>
                  <a:lnTo>
                    <a:pt x="229" y="281"/>
                  </a:lnTo>
                  <a:lnTo>
                    <a:pt x="229" y="279"/>
                  </a:lnTo>
                  <a:lnTo>
                    <a:pt x="231" y="279"/>
                  </a:lnTo>
                  <a:lnTo>
                    <a:pt x="231" y="281"/>
                  </a:lnTo>
                  <a:lnTo>
                    <a:pt x="233" y="281"/>
                  </a:lnTo>
                  <a:lnTo>
                    <a:pt x="233" y="283"/>
                  </a:lnTo>
                  <a:lnTo>
                    <a:pt x="234" y="284"/>
                  </a:lnTo>
                  <a:lnTo>
                    <a:pt x="234" y="283"/>
                  </a:lnTo>
                  <a:lnTo>
                    <a:pt x="236" y="283"/>
                  </a:lnTo>
                  <a:lnTo>
                    <a:pt x="236" y="284"/>
                  </a:lnTo>
                  <a:lnTo>
                    <a:pt x="238" y="286"/>
                  </a:lnTo>
                  <a:lnTo>
                    <a:pt x="239" y="286"/>
                  </a:lnTo>
                  <a:lnTo>
                    <a:pt x="238" y="286"/>
                  </a:lnTo>
                  <a:lnTo>
                    <a:pt x="238" y="287"/>
                  </a:lnTo>
                  <a:lnTo>
                    <a:pt x="236" y="287"/>
                  </a:lnTo>
                  <a:lnTo>
                    <a:pt x="234" y="287"/>
                  </a:lnTo>
                  <a:lnTo>
                    <a:pt x="234" y="286"/>
                  </a:lnTo>
                  <a:lnTo>
                    <a:pt x="234" y="287"/>
                  </a:lnTo>
                  <a:lnTo>
                    <a:pt x="236" y="287"/>
                  </a:lnTo>
                  <a:lnTo>
                    <a:pt x="236" y="289"/>
                  </a:lnTo>
                  <a:lnTo>
                    <a:pt x="238" y="289"/>
                  </a:lnTo>
                  <a:lnTo>
                    <a:pt x="238" y="291"/>
                  </a:lnTo>
                  <a:lnTo>
                    <a:pt x="239" y="289"/>
                  </a:lnTo>
                  <a:lnTo>
                    <a:pt x="239" y="291"/>
                  </a:lnTo>
                  <a:lnTo>
                    <a:pt x="239" y="292"/>
                  </a:lnTo>
                  <a:lnTo>
                    <a:pt x="238" y="294"/>
                  </a:lnTo>
                  <a:lnTo>
                    <a:pt x="238" y="296"/>
                  </a:lnTo>
                  <a:lnTo>
                    <a:pt x="238" y="297"/>
                  </a:lnTo>
                  <a:lnTo>
                    <a:pt x="238" y="299"/>
                  </a:lnTo>
                  <a:lnTo>
                    <a:pt x="239" y="301"/>
                  </a:lnTo>
                  <a:lnTo>
                    <a:pt x="238" y="299"/>
                  </a:lnTo>
                  <a:lnTo>
                    <a:pt x="239" y="299"/>
                  </a:lnTo>
                  <a:lnTo>
                    <a:pt x="238" y="296"/>
                  </a:lnTo>
                  <a:lnTo>
                    <a:pt x="238" y="294"/>
                  </a:lnTo>
                  <a:lnTo>
                    <a:pt x="239" y="294"/>
                  </a:lnTo>
                  <a:lnTo>
                    <a:pt x="238" y="294"/>
                  </a:lnTo>
                  <a:lnTo>
                    <a:pt x="239" y="292"/>
                  </a:lnTo>
                  <a:lnTo>
                    <a:pt x="239" y="291"/>
                  </a:lnTo>
                  <a:lnTo>
                    <a:pt x="239" y="289"/>
                  </a:lnTo>
                  <a:lnTo>
                    <a:pt x="241" y="289"/>
                  </a:lnTo>
                  <a:lnTo>
                    <a:pt x="241" y="291"/>
                  </a:lnTo>
                  <a:lnTo>
                    <a:pt x="239" y="291"/>
                  </a:lnTo>
                  <a:lnTo>
                    <a:pt x="241" y="291"/>
                  </a:lnTo>
                  <a:lnTo>
                    <a:pt x="241" y="289"/>
                  </a:lnTo>
                  <a:lnTo>
                    <a:pt x="241" y="291"/>
                  </a:lnTo>
                  <a:lnTo>
                    <a:pt x="241" y="289"/>
                  </a:lnTo>
                  <a:lnTo>
                    <a:pt x="243" y="289"/>
                  </a:lnTo>
                  <a:lnTo>
                    <a:pt x="244" y="289"/>
                  </a:lnTo>
                  <a:lnTo>
                    <a:pt x="246" y="289"/>
                  </a:lnTo>
                  <a:lnTo>
                    <a:pt x="246" y="291"/>
                  </a:lnTo>
                  <a:lnTo>
                    <a:pt x="247" y="291"/>
                  </a:lnTo>
                  <a:lnTo>
                    <a:pt x="247" y="292"/>
                  </a:lnTo>
                  <a:lnTo>
                    <a:pt x="249" y="292"/>
                  </a:lnTo>
                  <a:lnTo>
                    <a:pt x="249" y="294"/>
                  </a:lnTo>
                  <a:lnTo>
                    <a:pt x="251" y="294"/>
                  </a:lnTo>
                  <a:lnTo>
                    <a:pt x="251" y="296"/>
                  </a:lnTo>
                  <a:lnTo>
                    <a:pt x="249" y="296"/>
                  </a:lnTo>
                  <a:lnTo>
                    <a:pt x="251" y="296"/>
                  </a:lnTo>
                  <a:lnTo>
                    <a:pt x="251" y="294"/>
                  </a:lnTo>
                  <a:lnTo>
                    <a:pt x="251" y="296"/>
                  </a:lnTo>
                  <a:lnTo>
                    <a:pt x="251" y="294"/>
                  </a:lnTo>
                  <a:lnTo>
                    <a:pt x="252" y="294"/>
                  </a:lnTo>
                  <a:lnTo>
                    <a:pt x="252" y="292"/>
                  </a:lnTo>
                  <a:lnTo>
                    <a:pt x="251" y="292"/>
                  </a:lnTo>
                  <a:lnTo>
                    <a:pt x="251" y="291"/>
                  </a:lnTo>
                  <a:lnTo>
                    <a:pt x="251" y="292"/>
                  </a:lnTo>
                  <a:lnTo>
                    <a:pt x="251" y="291"/>
                  </a:lnTo>
                  <a:lnTo>
                    <a:pt x="249" y="292"/>
                  </a:lnTo>
                  <a:lnTo>
                    <a:pt x="249" y="291"/>
                  </a:lnTo>
                  <a:lnTo>
                    <a:pt x="249" y="289"/>
                  </a:lnTo>
                  <a:lnTo>
                    <a:pt x="251" y="289"/>
                  </a:lnTo>
                  <a:lnTo>
                    <a:pt x="249" y="289"/>
                  </a:lnTo>
                  <a:lnTo>
                    <a:pt x="249" y="287"/>
                  </a:lnTo>
                  <a:lnTo>
                    <a:pt x="249" y="286"/>
                  </a:lnTo>
                  <a:lnTo>
                    <a:pt x="249" y="284"/>
                  </a:lnTo>
                  <a:lnTo>
                    <a:pt x="247" y="286"/>
                  </a:lnTo>
                  <a:lnTo>
                    <a:pt x="247" y="284"/>
                  </a:lnTo>
                  <a:lnTo>
                    <a:pt x="247" y="283"/>
                  </a:lnTo>
                  <a:lnTo>
                    <a:pt x="247" y="281"/>
                  </a:lnTo>
                  <a:lnTo>
                    <a:pt x="247" y="279"/>
                  </a:lnTo>
                  <a:lnTo>
                    <a:pt x="249" y="279"/>
                  </a:lnTo>
                  <a:lnTo>
                    <a:pt x="247" y="279"/>
                  </a:lnTo>
                  <a:lnTo>
                    <a:pt x="247" y="278"/>
                  </a:lnTo>
                  <a:lnTo>
                    <a:pt x="247" y="276"/>
                  </a:lnTo>
                  <a:lnTo>
                    <a:pt x="249" y="276"/>
                  </a:lnTo>
                  <a:lnTo>
                    <a:pt x="249" y="274"/>
                  </a:lnTo>
                  <a:lnTo>
                    <a:pt x="251" y="274"/>
                  </a:lnTo>
                  <a:lnTo>
                    <a:pt x="252" y="274"/>
                  </a:lnTo>
                  <a:lnTo>
                    <a:pt x="252" y="276"/>
                  </a:lnTo>
                  <a:lnTo>
                    <a:pt x="252" y="274"/>
                  </a:lnTo>
                  <a:lnTo>
                    <a:pt x="252" y="276"/>
                  </a:lnTo>
                  <a:lnTo>
                    <a:pt x="254" y="276"/>
                  </a:lnTo>
                  <a:lnTo>
                    <a:pt x="254" y="274"/>
                  </a:lnTo>
                  <a:lnTo>
                    <a:pt x="256" y="274"/>
                  </a:lnTo>
                  <a:lnTo>
                    <a:pt x="256" y="273"/>
                  </a:lnTo>
                  <a:lnTo>
                    <a:pt x="257" y="273"/>
                  </a:lnTo>
                  <a:lnTo>
                    <a:pt x="259" y="273"/>
                  </a:lnTo>
                  <a:lnTo>
                    <a:pt x="260" y="273"/>
                  </a:lnTo>
                  <a:lnTo>
                    <a:pt x="260" y="271"/>
                  </a:lnTo>
                  <a:lnTo>
                    <a:pt x="262" y="271"/>
                  </a:lnTo>
                  <a:lnTo>
                    <a:pt x="264" y="271"/>
                  </a:lnTo>
                  <a:lnTo>
                    <a:pt x="262" y="273"/>
                  </a:lnTo>
                  <a:lnTo>
                    <a:pt x="264" y="271"/>
                  </a:lnTo>
                  <a:lnTo>
                    <a:pt x="264" y="273"/>
                  </a:lnTo>
                  <a:lnTo>
                    <a:pt x="265" y="273"/>
                  </a:lnTo>
                  <a:lnTo>
                    <a:pt x="265" y="271"/>
                  </a:lnTo>
                  <a:lnTo>
                    <a:pt x="267" y="271"/>
                  </a:lnTo>
                  <a:lnTo>
                    <a:pt x="269" y="271"/>
                  </a:lnTo>
                  <a:lnTo>
                    <a:pt x="270" y="271"/>
                  </a:lnTo>
                  <a:lnTo>
                    <a:pt x="270" y="270"/>
                  </a:lnTo>
                  <a:lnTo>
                    <a:pt x="272" y="270"/>
                  </a:lnTo>
                  <a:lnTo>
                    <a:pt x="273" y="268"/>
                  </a:lnTo>
                  <a:lnTo>
                    <a:pt x="273" y="266"/>
                  </a:lnTo>
                  <a:lnTo>
                    <a:pt x="275" y="266"/>
                  </a:lnTo>
                  <a:lnTo>
                    <a:pt x="277" y="266"/>
                  </a:lnTo>
                  <a:lnTo>
                    <a:pt x="277" y="265"/>
                  </a:lnTo>
                  <a:lnTo>
                    <a:pt x="278" y="265"/>
                  </a:lnTo>
                  <a:lnTo>
                    <a:pt x="280" y="265"/>
                  </a:lnTo>
                  <a:lnTo>
                    <a:pt x="280" y="263"/>
                  </a:lnTo>
                  <a:lnTo>
                    <a:pt x="282" y="263"/>
                  </a:lnTo>
                  <a:lnTo>
                    <a:pt x="283" y="263"/>
                  </a:lnTo>
                  <a:lnTo>
                    <a:pt x="285" y="261"/>
                  </a:lnTo>
                  <a:lnTo>
                    <a:pt x="286" y="261"/>
                  </a:lnTo>
                  <a:lnTo>
                    <a:pt x="288" y="261"/>
                  </a:lnTo>
                  <a:lnTo>
                    <a:pt x="288" y="260"/>
                  </a:lnTo>
                  <a:lnTo>
                    <a:pt x="290" y="260"/>
                  </a:lnTo>
                  <a:lnTo>
                    <a:pt x="290" y="258"/>
                  </a:lnTo>
                  <a:lnTo>
                    <a:pt x="290" y="260"/>
                  </a:lnTo>
                  <a:lnTo>
                    <a:pt x="291" y="260"/>
                  </a:lnTo>
                  <a:lnTo>
                    <a:pt x="293" y="260"/>
                  </a:lnTo>
                  <a:lnTo>
                    <a:pt x="293" y="258"/>
                  </a:lnTo>
                  <a:lnTo>
                    <a:pt x="295" y="258"/>
                  </a:lnTo>
                  <a:lnTo>
                    <a:pt x="295" y="257"/>
                  </a:lnTo>
                  <a:lnTo>
                    <a:pt x="295" y="255"/>
                  </a:lnTo>
                  <a:lnTo>
                    <a:pt x="296" y="255"/>
                  </a:lnTo>
                  <a:lnTo>
                    <a:pt x="298" y="255"/>
                  </a:lnTo>
                  <a:lnTo>
                    <a:pt x="298" y="257"/>
                  </a:lnTo>
                  <a:lnTo>
                    <a:pt x="296" y="257"/>
                  </a:lnTo>
                  <a:lnTo>
                    <a:pt x="298" y="257"/>
                  </a:lnTo>
                  <a:lnTo>
                    <a:pt x="298" y="258"/>
                  </a:lnTo>
                  <a:lnTo>
                    <a:pt x="299" y="258"/>
                  </a:lnTo>
                  <a:lnTo>
                    <a:pt x="298" y="258"/>
                  </a:lnTo>
                  <a:lnTo>
                    <a:pt x="299" y="258"/>
                  </a:lnTo>
                  <a:lnTo>
                    <a:pt x="298" y="260"/>
                  </a:lnTo>
                  <a:lnTo>
                    <a:pt x="299" y="260"/>
                  </a:lnTo>
                  <a:lnTo>
                    <a:pt x="299" y="261"/>
                  </a:lnTo>
                  <a:lnTo>
                    <a:pt x="299" y="263"/>
                  </a:lnTo>
                  <a:lnTo>
                    <a:pt x="301" y="263"/>
                  </a:lnTo>
                  <a:lnTo>
                    <a:pt x="299" y="265"/>
                  </a:lnTo>
                  <a:lnTo>
                    <a:pt x="299" y="266"/>
                  </a:lnTo>
                  <a:lnTo>
                    <a:pt x="299" y="268"/>
                  </a:lnTo>
                  <a:lnTo>
                    <a:pt x="301" y="268"/>
                  </a:lnTo>
                  <a:lnTo>
                    <a:pt x="299" y="270"/>
                  </a:lnTo>
                  <a:lnTo>
                    <a:pt x="299" y="271"/>
                  </a:lnTo>
                  <a:lnTo>
                    <a:pt x="298" y="271"/>
                  </a:lnTo>
                  <a:lnTo>
                    <a:pt x="298" y="273"/>
                  </a:lnTo>
                  <a:lnTo>
                    <a:pt x="296" y="273"/>
                  </a:lnTo>
                  <a:lnTo>
                    <a:pt x="296" y="274"/>
                  </a:lnTo>
                  <a:lnTo>
                    <a:pt x="296" y="276"/>
                  </a:lnTo>
                  <a:lnTo>
                    <a:pt x="295" y="276"/>
                  </a:lnTo>
                  <a:lnTo>
                    <a:pt x="295" y="278"/>
                  </a:lnTo>
                  <a:lnTo>
                    <a:pt x="296" y="279"/>
                  </a:lnTo>
                  <a:lnTo>
                    <a:pt x="296" y="281"/>
                  </a:lnTo>
                  <a:lnTo>
                    <a:pt x="298" y="279"/>
                  </a:lnTo>
                  <a:lnTo>
                    <a:pt x="298" y="281"/>
                  </a:lnTo>
                  <a:lnTo>
                    <a:pt x="296" y="281"/>
                  </a:lnTo>
                  <a:lnTo>
                    <a:pt x="295" y="281"/>
                  </a:lnTo>
                  <a:lnTo>
                    <a:pt x="295" y="283"/>
                  </a:lnTo>
                  <a:lnTo>
                    <a:pt x="293" y="283"/>
                  </a:lnTo>
                  <a:lnTo>
                    <a:pt x="291" y="283"/>
                  </a:lnTo>
                  <a:lnTo>
                    <a:pt x="291" y="284"/>
                  </a:lnTo>
                  <a:lnTo>
                    <a:pt x="290" y="284"/>
                  </a:lnTo>
                  <a:lnTo>
                    <a:pt x="291" y="284"/>
                  </a:lnTo>
                  <a:lnTo>
                    <a:pt x="291" y="286"/>
                  </a:lnTo>
                  <a:lnTo>
                    <a:pt x="290" y="286"/>
                  </a:lnTo>
                  <a:lnTo>
                    <a:pt x="288" y="286"/>
                  </a:lnTo>
                  <a:lnTo>
                    <a:pt x="286" y="287"/>
                  </a:lnTo>
                  <a:lnTo>
                    <a:pt x="286" y="289"/>
                  </a:lnTo>
                  <a:lnTo>
                    <a:pt x="285" y="289"/>
                  </a:lnTo>
                  <a:lnTo>
                    <a:pt x="283" y="289"/>
                  </a:lnTo>
                  <a:lnTo>
                    <a:pt x="283" y="291"/>
                  </a:lnTo>
                  <a:lnTo>
                    <a:pt x="283" y="292"/>
                  </a:lnTo>
                  <a:lnTo>
                    <a:pt x="282" y="292"/>
                  </a:lnTo>
                  <a:lnTo>
                    <a:pt x="280" y="294"/>
                  </a:lnTo>
                  <a:lnTo>
                    <a:pt x="282" y="294"/>
                  </a:lnTo>
                  <a:lnTo>
                    <a:pt x="282" y="296"/>
                  </a:lnTo>
                  <a:lnTo>
                    <a:pt x="283" y="296"/>
                  </a:lnTo>
                  <a:lnTo>
                    <a:pt x="283" y="297"/>
                  </a:lnTo>
                  <a:lnTo>
                    <a:pt x="285" y="297"/>
                  </a:lnTo>
                  <a:lnTo>
                    <a:pt x="286" y="297"/>
                  </a:lnTo>
                  <a:lnTo>
                    <a:pt x="286" y="296"/>
                  </a:lnTo>
                  <a:lnTo>
                    <a:pt x="288" y="296"/>
                  </a:lnTo>
                  <a:lnTo>
                    <a:pt x="290" y="296"/>
                  </a:lnTo>
                  <a:lnTo>
                    <a:pt x="290" y="294"/>
                  </a:lnTo>
                  <a:lnTo>
                    <a:pt x="291" y="294"/>
                  </a:lnTo>
                  <a:lnTo>
                    <a:pt x="293" y="294"/>
                  </a:lnTo>
                  <a:lnTo>
                    <a:pt x="295" y="294"/>
                  </a:lnTo>
                  <a:lnTo>
                    <a:pt x="295" y="292"/>
                  </a:lnTo>
                  <a:lnTo>
                    <a:pt x="296" y="292"/>
                  </a:lnTo>
                  <a:lnTo>
                    <a:pt x="296" y="294"/>
                  </a:lnTo>
                  <a:lnTo>
                    <a:pt x="295" y="294"/>
                  </a:lnTo>
                  <a:lnTo>
                    <a:pt x="295" y="296"/>
                  </a:lnTo>
                  <a:lnTo>
                    <a:pt x="296" y="296"/>
                  </a:lnTo>
                  <a:lnTo>
                    <a:pt x="295" y="296"/>
                  </a:lnTo>
                  <a:lnTo>
                    <a:pt x="295" y="297"/>
                  </a:lnTo>
                  <a:lnTo>
                    <a:pt x="293" y="297"/>
                  </a:lnTo>
                  <a:lnTo>
                    <a:pt x="295" y="297"/>
                  </a:lnTo>
                  <a:lnTo>
                    <a:pt x="295" y="299"/>
                  </a:lnTo>
                  <a:lnTo>
                    <a:pt x="293" y="299"/>
                  </a:lnTo>
                  <a:lnTo>
                    <a:pt x="291" y="301"/>
                  </a:lnTo>
                  <a:lnTo>
                    <a:pt x="290" y="301"/>
                  </a:lnTo>
                  <a:lnTo>
                    <a:pt x="290" y="302"/>
                  </a:lnTo>
                  <a:lnTo>
                    <a:pt x="288" y="302"/>
                  </a:lnTo>
                  <a:lnTo>
                    <a:pt x="285" y="302"/>
                  </a:lnTo>
                  <a:lnTo>
                    <a:pt x="285" y="301"/>
                  </a:lnTo>
                  <a:lnTo>
                    <a:pt x="285" y="299"/>
                  </a:lnTo>
                  <a:lnTo>
                    <a:pt x="283" y="299"/>
                  </a:lnTo>
                  <a:lnTo>
                    <a:pt x="283" y="297"/>
                  </a:lnTo>
                  <a:lnTo>
                    <a:pt x="282" y="297"/>
                  </a:lnTo>
                  <a:lnTo>
                    <a:pt x="282" y="299"/>
                  </a:lnTo>
                  <a:lnTo>
                    <a:pt x="282" y="297"/>
                  </a:lnTo>
                  <a:lnTo>
                    <a:pt x="282" y="299"/>
                  </a:lnTo>
                  <a:lnTo>
                    <a:pt x="282" y="301"/>
                  </a:lnTo>
                  <a:lnTo>
                    <a:pt x="280" y="299"/>
                  </a:lnTo>
                  <a:lnTo>
                    <a:pt x="282" y="299"/>
                  </a:lnTo>
                  <a:lnTo>
                    <a:pt x="280" y="299"/>
                  </a:lnTo>
                  <a:lnTo>
                    <a:pt x="280" y="301"/>
                  </a:lnTo>
                  <a:lnTo>
                    <a:pt x="278" y="301"/>
                  </a:lnTo>
                  <a:lnTo>
                    <a:pt x="278" y="299"/>
                  </a:lnTo>
                  <a:lnTo>
                    <a:pt x="278" y="297"/>
                  </a:lnTo>
                  <a:lnTo>
                    <a:pt x="277" y="297"/>
                  </a:lnTo>
                  <a:lnTo>
                    <a:pt x="277" y="296"/>
                  </a:lnTo>
                  <a:lnTo>
                    <a:pt x="277" y="297"/>
                  </a:lnTo>
                  <a:lnTo>
                    <a:pt x="277" y="299"/>
                  </a:lnTo>
                  <a:lnTo>
                    <a:pt x="277" y="301"/>
                  </a:lnTo>
                  <a:lnTo>
                    <a:pt x="277" y="302"/>
                  </a:lnTo>
                  <a:lnTo>
                    <a:pt x="277" y="304"/>
                  </a:lnTo>
                  <a:lnTo>
                    <a:pt x="275" y="305"/>
                  </a:lnTo>
                  <a:lnTo>
                    <a:pt x="273" y="304"/>
                  </a:lnTo>
                  <a:lnTo>
                    <a:pt x="273" y="305"/>
                  </a:lnTo>
                  <a:lnTo>
                    <a:pt x="272" y="305"/>
                  </a:lnTo>
                  <a:lnTo>
                    <a:pt x="273" y="305"/>
                  </a:lnTo>
                  <a:lnTo>
                    <a:pt x="275" y="305"/>
                  </a:lnTo>
                  <a:lnTo>
                    <a:pt x="275" y="307"/>
                  </a:lnTo>
                  <a:lnTo>
                    <a:pt x="273" y="307"/>
                  </a:lnTo>
                  <a:lnTo>
                    <a:pt x="273" y="305"/>
                  </a:lnTo>
                  <a:lnTo>
                    <a:pt x="273" y="307"/>
                  </a:lnTo>
                  <a:lnTo>
                    <a:pt x="272" y="307"/>
                  </a:lnTo>
                  <a:lnTo>
                    <a:pt x="270" y="305"/>
                  </a:lnTo>
                  <a:lnTo>
                    <a:pt x="269" y="305"/>
                  </a:lnTo>
                  <a:lnTo>
                    <a:pt x="269" y="304"/>
                  </a:lnTo>
                  <a:lnTo>
                    <a:pt x="267" y="304"/>
                  </a:lnTo>
                  <a:lnTo>
                    <a:pt x="269" y="305"/>
                  </a:lnTo>
                  <a:lnTo>
                    <a:pt x="269" y="307"/>
                  </a:lnTo>
                  <a:lnTo>
                    <a:pt x="270" y="307"/>
                  </a:lnTo>
                  <a:lnTo>
                    <a:pt x="269" y="305"/>
                  </a:lnTo>
                  <a:lnTo>
                    <a:pt x="270" y="305"/>
                  </a:lnTo>
                  <a:lnTo>
                    <a:pt x="270" y="307"/>
                  </a:lnTo>
                  <a:lnTo>
                    <a:pt x="269" y="307"/>
                  </a:lnTo>
                  <a:lnTo>
                    <a:pt x="269" y="309"/>
                  </a:lnTo>
                  <a:lnTo>
                    <a:pt x="267" y="309"/>
                  </a:lnTo>
                  <a:lnTo>
                    <a:pt x="265" y="309"/>
                  </a:lnTo>
                  <a:lnTo>
                    <a:pt x="264" y="309"/>
                  </a:lnTo>
                  <a:lnTo>
                    <a:pt x="262" y="309"/>
                  </a:lnTo>
                  <a:lnTo>
                    <a:pt x="264" y="309"/>
                  </a:lnTo>
                  <a:lnTo>
                    <a:pt x="262" y="309"/>
                  </a:lnTo>
                  <a:lnTo>
                    <a:pt x="260" y="309"/>
                  </a:lnTo>
                  <a:lnTo>
                    <a:pt x="256" y="309"/>
                  </a:lnTo>
                  <a:lnTo>
                    <a:pt x="254" y="309"/>
                  </a:lnTo>
                  <a:lnTo>
                    <a:pt x="256" y="310"/>
                  </a:lnTo>
                  <a:lnTo>
                    <a:pt x="256" y="309"/>
                  </a:lnTo>
                  <a:lnTo>
                    <a:pt x="256" y="310"/>
                  </a:lnTo>
                  <a:lnTo>
                    <a:pt x="257" y="309"/>
                  </a:lnTo>
                  <a:lnTo>
                    <a:pt x="259" y="309"/>
                  </a:lnTo>
                  <a:lnTo>
                    <a:pt x="259" y="310"/>
                  </a:lnTo>
                  <a:lnTo>
                    <a:pt x="260" y="310"/>
                  </a:lnTo>
                  <a:lnTo>
                    <a:pt x="262" y="310"/>
                  </a:lnTo>
                  <a:lnTo>
                    <a:pt x="264" y="310"/>
                  </a:lnTo>
                  <a:lnTo>
                    <a:pt x="265" y="310"/>
                  </a:lnTo>
                  <a:lnTo>
                    <a:pt x="267" y="310"/>
                  </a:lnTo>
                  <a:lnTo>
                    <a:pt x="269" y="310"/>
                  </a:lnTo>
                  <a:lnTo>
                    <a:pt x="269" y="312"/>
                  </a:lnTo>
                  <a:lnTo>
                    <a:pt x="270" y="312"/>
                  </a:lnTo>
                  <a:lnTo>
                    <a:pt x="270" y="310"/>
                  </a:lnTo>
                  <a:lnTo>
                    <a:pt x="269" y="310"/>
                  </a:lnTo>
                  <a:lnTo>
                    <a:pt x="270" y="310"/>
                  </a:lnTo>
                  <a:lnTo>
                    <a:pt x="272" y="310"/>
                  </a:lnTo>
                  <a:lnTo>
                    <a:pt x="272" y="309"/>
                  </a:lnTo>
                  <a:lnTo>
                    <a:pt x="272" y="310"/>
                  </a:lnTo>
                  <a:lnTo>
                    <a:pt x="272" y="309"/>
                  </a:lnTo>
                  <a:lnTo>
                    <a:pt x="272" y="310"/>
                  </a:lnTo>
                  <a:lnTo>
                    <a:pt x="273" y="310"/>
                  </a:lnTo>
                  <a:lnTo>
                    <a:pt x="272" y="310"/>
                  </a:lnTo>
                  <a:lnTo>
                    <a:pt x="272" y="312"/>
                  </a:lnTo>
                  <a:lnTo>
                    <a:pt x="273" y="312"/>
                  </a:lnTo>
                  <a:lnTo>
                    <a:pt x="272" y="312"/>
                  </a:lnTo>
                  <a:lnTo>
                    <a:pt x="272" y="314"/>
                  </a:lnTo>
                  <a:lnTo>
                    <a:pt x="273" y="312"/>
                  </a:lnTo>
                  <a:lnTo>
                    <a:pt x="273" y="314"/>
                  </a:lnTo>
                  <a:lnTo>
                    <a:pt x="273" y="315"/>
                  </a:lnTo>
                  <a:lnTo>
                    <a:pt x="272" y="315"/>
                  </a:lnTo>
                  <a:lnTo>
                    <a:pt x="273" y="317"/>
                  </a:lnTo>
                  <a:lnTo>
                    <a:pt x="272" y="318"/>
                  </a:lnTo>
                  <a:lnTo>
                    <a:pt x="270" y="318"/>
                  </a:lnTo>
                  <a:lnTo>
                    <a:pt x="269" y="317"/>
                  </a:lnTo>
                  <a:lnTo>
                    <a:pt x="267" y="317"/>
                  </a:lnTo>
                  <a:lnTo>
                    <a:pt x="269" y="318"/>
                  </a:lnTo>
                  <a:lnTo>
                    <a:pt x="270" y="318"/>
                  </a:lnTo>
                  <a:lnTo>
                    <a:pt x="272" y="320"/>
                  </a:lnTo>
                  <a:lnTo>
                    <a:pt x="273" y="320"/>
                  </a:lnTo>
                  <a:lnTo>
                    <a:pt x="273" y="322"/>
                  </a:lnTo>
                  <a:lnTo>
                    <a:pt x="272" y="322"/>
                  </a:lnTo>
                  <a:lnTo>
                    <a:pt x="272" y="323"/>
                  </a:lnTo>
                  <a:lnTo>
                    <a:pt x="270" y="323"/>
                  </a:lnTo>
                  <a:lnTo>
                    <a:pt x="270" y="325"/>
                  </a:lnTo>
                  <a:lnTo>
                    <a:pt x="269" y="325"/>
                  </a:lnTo>
                  <a:lnTo>
                    <a:pt x="269" y="323"/>
                  </a:lnTo>
                  <a:lnTo>
                    <a:pt x="267" y="323"/>
                  </a:lnTo>
                  <a:lnTo>
                    <a:pt x="267" y="322"/>
                  </a:lnTo>
                  <a:lnTo>
                    <a:pt x="267" y="323"/>
                  </a:lnTo>
                  <a:lnTo>
                    <a:pt x="265" y="323"/>
                  </a:lnTo>
                  <a:lnTo>
                    <a:pt x="265" y="322"/>
                  </a:lnTo>
                  <a:lnTo>
                    <a:pt x="264" y="322"/>
                  </a:lnTo>
                  <a:lnTo>
                    <a:pt x="262" y="322"/>
                  </a:lnTo>
                  <a:lnTo>
                    <a:pt x="260" y="322"/>
                  </a:lnTo>
                  <a:lnTo>
                    <a:pt x="260" y="320"/>
                  </a:lnTo>
                  <a:lnTo>
                    <a:pt x="260" y="322"/>
                  </a:lnTo>
                  <a:lnTo>
                    <a:pt x="259" y="322"/>
                  </a:lnTo>
                  <a:lnTo>
                    <a:pt x="257" y="322"/>
                  </a:lnTo>
                  <a:lnTo>
                    <a:pt x="256" y="322"/>
                  </a:lnTo>
                  <a:lnTo>
                    <a:pt x="257" y="322"/>
                  </a:lnTo>
                  <a:lnTo>
                    <a:pt x="259" y="323"/>
                  </a:lnTo>
                  <a:lnTo>
                    <a:pt x="260" y="323"/>
                  </a:lnTo>
                  <a:lnTo>
                    <a:pt x="262" y="323"/>
                  </a:lnTo>
                  <a:lnTo>
                    <a:pt x="264" y="323"/>
                  </a:lnTo>
                  <a:lnTo>
                    <a:pt x="264" y="325"/>
                  </a:lnTo>
                  <a:lnTo>
                    <a:pt x="265" y="325"/>
                  </a:lnTo>
                  <a:lnTo>
                    <a:pt x="264" y="325"/>
                  </a:lnTo>
                  <a:lnTo>
                    <a:pt x="264" y="327"/>
                  </a:lnTo>
                  <a:lnTo>
                    <a:pt x="264" y="328"/>
                  </a:lnTo>
                  <a:lnTo>
                    <a:pt x="262" y="330"/>
                  </a:lnTo>
                  <a:lnTo>
                    <a:pt x="262" y="331"/>
                  </a:lnTo>
                  <a:lnTo>
                    <a:pt x="262" y="333"/>
                  </a:lnTo>
                  <a:lnTo>
                    <a:pt x="260" y="333"/>
                  </a:lnTo>
                  <a:lnTo>
                    <a:pt x="260" y="331"/>
                  </a:lnTo>
                  <a:lnTo>
                    <a:pt x="259" y="331"/>
                  </a:lnTo>
                  <a:lnTo>
                    <a:pt x="259" y="333"/>
                  </a:lnTo>
                  <a:lnTo>
                    <a:pt x="257" y="333"/>
                  </a:lnTo>
                  <a:lnTo>
                    <a:pt x="257" y="331"/>
                  </a:lnTo>
                  <a:lnTo>
                    <a:pt x="257" y="330"/>
                  </a:lnTo>
                  <a:lnTo>
                    <a:pt x="257" y="331"/>
                  </a:lnTo>
                  <a:lnTo>
                    <a:pt x="256" y="330"/>
                  </a:lnTo>
                  <a:lnTo>
                    <a:pt x="257" y="330"/>
                  </a:lnTo>
                  <a:lnTo>
                    <a:pt x="256" y="330"/>
                  </a:lnTo>
                  <a:lnTo>
                    <a:pt x="256" y="328"/>
                  </a:lnTo>
                  <a:lnTo>
                    <a:pt x="256" y="330"/>
                  </a:lnTo>
                  <a:lnTo>
                    <a:pt x="256" y="331"/>
                  </a:lnTo>
                  <a:lnTo>
                    <a:pt x="256" y="333"/>
                  </a:lnTo>
                  <a:lnTo>
                    <a:pt x="256" y="335"/>
                  </a:lnTo>
                  <a:lnTo>
                    <a:pt x="254" y="335"/>
                  </a:lnTo>
                  <a:lnTo>
                    <a:pt x="254" y="333"/>
                  </a:lnTo>
                  <a:lnTo>
                    <a:pt x="254" y="335"/>
                  </a:lnTo>
                  <a:lnTo>
                    <a:pt x="254" y="333"/>
                  </a:lnTo>
                  <a:lnTo>
                    <a:pt x="252" y="333"/>
                  </a:lnTo>
                  <a:lnTo>
                    <a:pt x="254" y="335"/>
                  </a:lnTo>
                  <a:lnTo>
                    <a:pt x="252" y="335"/>
                  </a:lnTo>
                  <a:lnTo>
                    <a:pt x="252" y="333"/>
                  </a:lnTo>
                  <a:lnTo>
                    <a:pt x="251" y="331"/>
                  </a:lnTo>
                  <a:lnTo>
                    <a:pt x="252" y="331"/>
                  </a:lnTo>
                  <a:lnTo>
                    <a:pt x="251" y="331"/>
                  </a:lnTo>
                  <a:lnTo>
                    <a:pt x="252" y="331"/>
                  </a:lnTo>
                  <a:lnTo>
                    <a:pt x="251" y="331"/>
                  </a:lnTo>
                  <a:lnTo>
                    <a:pt x="251" y="330"/>
                  </a:lnTo>
                  <a:lnTo>
                    <a:pt x="251" y="328"/>
                  </a:lnTo>
                  <a:lnTo>
                    <a:pt x="251" y="327"/>
                  </a:lnTo>
                  <a:lnTo>
                    <a:pt x="249" y="327"/>
                  </a:lnTo>
                  <a:lnTo>
                    <a:pt x="249" y="328"/>
                  </a:lnTo>
                  <a:lnTo>
                    <a:pt x="251" y="330"/>
                  </a:lnTo>
                  <a:lnTo>
                    <a:pt x="249" y="330"/>
                  </a:lnTo>
                  <a:lnTo>
                    <a:pt x="251" y="331"/>
                  </a:lnTo>
                  <a:lnTo>
                    <a:pt x="251" y="333"/>
                  </a:lnTo>
                  <a:lnTo>
                    <a:pt x="249" y="333"/>
                  </a:lnTo>
                  <a:lnTo>
                    <a:pt x="249" y="331"/>
                  </a:lnTo>
                  <a:lnTo>
                    <a:pt x="247" y="331"/>
                  </a:lnTo>
                  <a:lnTo>
                    <a:pt x="246" y="331"/>
                  </a:lnTo>
                  <a:lnTo>
                    <a:pt x="246" y="330"/>
                  </a:lnTo>
                  <a:lnTo>
                    <a:pt x="246" y="328"/>
                  </a:lnTo>
                  <a:lnTo>
                    <a:pt x="246" y="327"/>
                  </a:lnTo>
                  <a:lnTo>
                    <a:pt x="246" y="325"/>
                  </a:lnTo>
                  <a:lnTo>
                    <a:pt x="244" y="325"/>
                  </a:lnTo>
                  <a:lnTo>
                    <a:pt x="246" y="325"/>
                  </a:lnTo>
                  <a:lnTo>
                    <a:pt x="244" y="323"/>
                  </a:lnTo>
                  <a:lnTo>
                    <a:pt x="244" y="322"/>
                  </a:lnTo>
                  <a:lnTo>
                    <a:pt x="246" y="322"/>
                  </a:lnTo>
                  <a:lnTo>
                    <a:pt x="246" y="320"/>
                  </a:lnTo>
                  <a:lnTo>
                    <a:pt x="246" y="318"/>
                  </a:lnTo>
                  <a:lnTo>
                    <a:pt x="246" y="317"/>
                  </a:lnTo>
                  <a:lnTo>
                    <a:pt x="247" y="317"/>
                  </a:lnTo>
                  <a:lnTo>
                    <a:pt x="247" y="315"/>
                  </a:lnTo>
                  <a:lnTo>
                    <a:pt x="249" y="315"/>
                  </a:lnTo>
                  <a:lnTo>
                    <a:pt x="251" y="315"/>
                  </a:lnTo>
                  <a:lnTo>
                    <a:pt x="251" y="314"/>
                  </a:lnTo>
                  <a:lnTo>
                    <a:pt x="251" y="312"/>
                  </a:lnTo>
                  <a:lnTo>
                    <a:pt x="252" y="312"/>
                  </a:lnTo>
                  <a:lnTo>
                    <a:pt x="254" y="314"/>
                  </a:lnTo>
                  <a:lnTo>
                    <a:pt x="256" y="314"/>
                  </a:lnTo>
                  <a:lnTo>
                    <a:pt x="254" y="314"/>
                  </a:lnTo>
                  <a:lnTo>
                    <a:pt x="252" y="312"/>
                  </a:lnTo>
                  <a:lnTo>
                    <a:pt x="251" y="312"/>
                  </a:lnTo>
                  <a:lnTo>
                    <a:pt x="249" y="312"/>
                  </a:lnTo>
                  <a:lnTo>
                    <a:pt x="251" y="312"/>
                  </a:lnTo>
                  <a:lnTo>
                    <a:pt x="251" y="314"/>
                  </a:lnTo>
                  <a:lnTo>
                    <a:pt x="249" y="314"/>
                  </a:lnTo>
                  <a:lnTo>
                    <a:pt x="249" y="315"/>
                  </a:lnTo>
                  <a:lnTo>
                    <a:pt x="247" y="315"/>
                  </a:lnTo>
                  <a:lnTo>
                    <a:pt x="246" y="317"/>
                  </a:lnTo>
                  <a:lnTo>
                    <a:pt x="244" y="317"/>
                  </a:lnTo>
                  <a:lnTo>
                    <a:pt x="244" y="318"/>
                  </a:lnTo>
                  <a:lnTo>
                    <a:pt x="243" y="318"/>
                  </a:lnTo>
                  <a:lnTo>
                    <a:pt x="243" y="320"/>
                  </a:lnTo>
                  <a:lnTo>
                    <a:pt x="244" y="320"/>
                  </a:lnTo>
                  <a:lnTo>
                    <a:pt x="244" y="322"/>
                  </a:lnTo>
                  <a:lnTo>
                    <a:pt x="244" y="325"/>
                  </a:lnTo>
                  <a:lnTo>
                    <a:pt x="243" y="325"/>
                  </a:lnTo>
                  <a:lnTo>
                    <a:pt x="241" y="325"/>
                  </a:lnTo>
                  <a:lnTo>
                    <a:pt x="243" y="327"/>
                  </a:lnTo>
                  <a:lnTo>
                    <a:pt x="244" y="325"/>
                  </a:lnTo>
                  <a:lnTo>
                    <a:pt x="244" y="327"/>
                  </a:lnTo>
                  <a:lnTo>
                    <a:pt x="246" y="328"/>
                  </a:lnTo>
                  <a:lnTo>
                    <a:pt x="246" y="330"/>
                  </a:lnTo>
                  <a:lnTo>
                    <a:pt x="246" y="331"/>
                  </a:lnTo>
                  <a:lnTo>
                    <a:pt x="244" y="331"/>
                  </a:lnTo>
                  <a:lnTo>
                    <a:pt x="243" y="331"/>
                  </a:lnTo>
                  <a:lnTo>
                    <a:pt x="244" y="331"/>
                  </a:lnTo>
                  <a:lnTo>
                    <a:pt x="244" y="333"/>
                  </a:lnTo>
                  <a:lnTo>
                    <a:pt x="246" y="335"/>
                  </a:lnTo>
                  <a:lnTo>
                    <a:pt x="244" y="335"/>
                  </a:lnTo>
                  <a:lnTo>
                    <a:pt x="246" y="335"/>
                  </a:lnTo>
                  <a:lnTo>
                    <a:pt x="244" y="335"/>
                  </a:lnTo>
                  <a:lnTo>
                    <a:pt x="246" y="336"/>
                  </a:lnTo>
                  <a:lnTo>
                    <a:pt x="244" y="336"/>
                  </a:lnTo>
                  <a:lnTo>
                    <a:pt x="243" y="336"/>
                  </a:lnTo>
                  <a:lnTo>
                    <a:pt x="241" y="336"/>
                  </a:lnTo>
                  <a:lnTo>
                    <a:pt x="241" y="335"/>
                  </a:lnTo>
                  <a:lnTo>
                    <a:pt x="239" y="335"/>
                  </a:lnTo>
                  <a:lnTo>
                    <a:pt x="238" y="335"/>
                  </a:lnTo>
                  <a:lnTo>
                    <a:pt x="239" y="333"/>
                  </a:lnTo>
                  <a:lnTo>
                    <a:pt x="238" y="333"/>
                  </a:lnTo>
                  <a:lnTo>
                    <a:pt x="236" y="333"/>
                  </a:lnTo>
                  <a:lnTo>
                    <a:pt x="236" y="331"/>
                  </a:lnTo>
                  <a:lnTo>
                    <a:pt x="236" y="333"/>
                  </a:lnTo>
                  <a:lnTo>
                    <a:pt x="236" y="335"/>
                  </a:lnTo>
                  <a:lnTo>
                    <a:pt x="234" y="335"/>
                  </a:lnTo>
                  <a:lnTo>
                    <a:pt x="234" y="333"/>
                  </a:lnTo>
                  <a:lnTo>
                    <a:pt x="234" y="335"/>
                  </a:lnTo>
                  <a:lnTo>
                    <a:pt x="234" y="336"/>
                  </a:lnTo>
                  <a:lnTo>
                    <a:pt x="236" y="336"/>
                  </a:lnTo>
                  <a:lnTo>
                    <a:pt x="236" y="338"/>
                  </a:lnTo>
                  <a:lnTo>
                    <a:pt x="238" y="338"/>
                  </a:lnTo>
                  <a:lnTo>
                    <a:pt x="236" y="338"/>
                  </a:lnTo>
                  <a:lnTo>
                    <a:pt x="236" y="340"/>
                  </a:lnTo>
                  <a:lnTo>
                    <a:pt x="238" y="341"/>
                  </a:lnTo>
                  <a:lnTo>
                    <a:pt x="238" y="343"/>
                  </a:lnTo>
                  <a:lnTo>
                    <a:pt x="236" y="344"/>
                  </a:lnTo>
                  <a:lnTo>
                    <a:pt x="236" y="343"/>
                  </a:lnTo>
                  <a:lnTo>
                    <a:pt x="234" y="343"/>
                  </a:lnTo>
                  <a:lnTo>
                    <a:pt x="236" y="343"/>
                  </a:lnTo>
                  <a:lnTo>
                    <a:pt x="234" y="343"/>
                  </a:lnTo>
                  <a:lnTo>
                    <a:pt x="234" y="341"/>
                  </a:lnTo>
                  <a:lnTo>
                    <a:pt x="233" y="341"/>
                  </a:lnTo>
                  <a:lnTo>
                    <a:pt x="234" y="343"/>
                  </a:lnTo>
                  <a:lnTo>
                    <a:pt x="233" y="343"/>
                  </a:lnTo>
                  <a:lnTo>
                    <a:pt x="234" y="344"/>
                  </a:lnTo>
                  <a:lnTo>
                    <a:pt x="233" y="344"/>
                  </a:lnTo>
                  <a:lnTo>
                    <a:pt x="233" y="346"/>
                  </a:lnTo>
                  <a:lnTo>
                    <a:pt x="233" y="344"/>
                  </a:lnTo>
                  <a:lnTo>
                    <a:pt x="233" y="343"/>
                  </a:lnTo>
                  <a:lnTo>
                    <a:pt x="231" y="344"/>
                  </a:lnTo>
                  <a:lnTo>
                    <a:pt x="231" y="343"/>
                  </a:lnTo>
                  <a:lnTo>
                    <a:pt x="231" y="344"/>
                  </a:lnTo>
                  <a:lnTo>
                    <a:pt x="229" y="344"/>
                  </a:lnTo>
                  <a:lnTo>
                    <a:pt x="231" y="344"/>
                  </a:lnTo>
                  <a:lnTo>
                    <a:pt x="229" y="343"/>
                  </a:lnTo>
                  <a:lnTo>
                    <a:pt x="231" y="343"/>
                  </a:lnTo>
                  <a:lnTo>
                    <a:pt x="229" y="343"/>
                  </a:lnTo>
                  <a:lnTo>
                    <a:pt x="229" y="341"/>
                  </a:lnTo>
                  <a:lnTo>
                    <a:pt x="229" y="343"/>
                  </a:lnTo>
                  <a:lnTo>
                    <a:pt x="229" y="344"/>
                  </a:lnTo>
                  <a:lnTo>
                    <a:pt x="228" y="344"/>
                  </a:lnTo>
                  <a:lnTo>
                    <a:pt x="228" y="343"/>
                  </a:lnTo>
                  <a:lnTo>
                    <a:pt x="228" y="344"/>
                  </a:lnTo>
                  <a:lnTo>
                    <a:pt x="228" y="343"/>
                  </a:lnTo>
                  <a:lnTo>
                    <a:pt x="228" y="344"/>
                  </a:lnTo>
                  <a:lnTo>
                    <a:pt x="228" y="346"/>
                  </a:lnTo>
                  <a:lnTo>
                    <a:pt x="226" y="346"/>
                  </a:lnTo>
                  <a:lnTo>
                    <a:pt x="226" y="344"/>
                  </a:lnTo>
                  <a:lnTo>
                    <a:pt x="226" y="346"/>
                  </a:lnTo>
                  <a:lnTo>
                    <a:pt x="226" y="344"/>
                  </a:lnTo>
                  <a:lnTo>
                    <a:pt x="226" y="346"/>
                  </a:lnTo>
                  <a:lnTo>
                    <a:pt x="226" y="348"/>
                  </a:lnTo>
                  <a:lnTo>
                    <a:pt x="225" y="348"/>
                  </a:lnTo>
                  <a:lnTo>
                    <a:pt x="223" y="346"/>
                  </a:lnTo>
                  <a:lnTo>
                    <a:pt x="223" y="348"/>
                  </a:lnTo>
                  <a:lnTo>
                    <a:pt x="223" y="346"/>
                  </a:lnTo>
                  <a:lnTo>
                    <a:pt x="223" y="348"/>
                  </a:lnTo>
                  <a:lnTo>
                    <a:pt x="223" y="349"/>
                  </a:lnTo>
                  <a:lnTo>
                    <a:pt x="221" y="349"/>
                  </a:lnTo>
                  <a:lnTo>
                    <a:pt x="220" y="349"/>
                  </a:lnTo>
                  <a:lnTo>
                    <a:pt x="220" y="351"/>
                  </a:lnTo>
                  <a:lnTo>
                    <a:pt x="220" y="353"/>
                  </a:lnTo>
                  <a:lnTo>
                    <a:pt x="218" y="351"/>
                  </a:lnTo>
                  <a:lnTo>
                    <a:pt x="218" y="353"/>
                  </a:lnTo>
                  <a:lnTo>
                    <a:pt x="218" y="351"/>
                  </a:lnTo>
                  <a:lnTo>
                    <a:pt x="218" y="353"/>
                  </a:lnTo>
                  <a:lnTo>
                    <a:pt x="218" y="351"/>
                  </a:lnTo>
                  <a:lnTo>
                    <a:pt x="216" y="351"/>
                  </a:lnTo>
                  <a:lnTo>
                    <a:pt x="218" y="353"/>
                  </a:lnTo>
                  <a:lnTo>
                    <a:pt x="216" y="353"/>
                  </a:lnTo>
                  <a:lnTo>
                    <a:pt x="216" y="351"/>
                  </a:lnTo>
                  <a:lnTo>
                    <a:pt x="216" y="349"/>
                  </a:lnTo>
                  <a:lnTo>
                    <a:pt x="215" y="349"/>
                  </a:lnTo>
                  <a:lnTo>
                    <a:pt x="215" y="348"/>
                  </a:lnTo>
                  <a:lnTo>
                    <a:pt x="215" y="346"/>
                  </a:lnTo>
                  <a:lnTo>
                    <a:pt x="213" y="346"/>
                  </a:lnTo>
                  <a:lnTo>
                    <a:pt x="213" y="344"/>
                  </a:lnTo>
                  <a:lnTo>
                    <a:pt x="212" y="344"/>
                  </a:lnTo>
                  <a:lnTo>
                    <a:pt x="212" y="343"/>
                  </a:lnTo>
                  <a:lnTo>
                    <a:pt x="212" y="341"/>
                  </a:lnTo>
                  <a:lnTo>
                    <a:pt x="212" y="340"/>
                  </a:lnTo>
                  <a:lnTo>
                    <a:pt x="210" y="340"/>
                  </a:lnTo>
                  <a:lnTo>
                    <a:pt x="210" y="338"/>
                  </a:lnTo>
                  <a:lnTo>
                    <a:pt x="208" y="338"/>
                  </a:lnTo>
                  <a:lnTo>
                    <a:pt x="208" y="336"/>
                  </a:lnTo>
                  <a:lnTo>
                    <a:pt x="208" y="335"/>
                  </a:lnTo>
                  <a:lnTo>
                    <a:pt x="210" y="335"/>
                  </a:lnTo>
                  <a:lnTo>
                    <a:pt x="212" y="335"/>
                  </a:lnTo>
                  <a:lnTo>
                    <a:pt x="212" y="336"/>
                  </a:lnTo>
                  <a:lnTo>
                    <a:pt x="212" y="338"/>
                  </a:lnTo>
                  <a:lnTo>
                    <a:pt x="212" y="340"/>
                  </a:lnTo>
                  <a:lnTo>
                    <a:pt x="212" y="338"/>
                  </a:lnTo>
                  <a:lnTo>
                    <a:pt x="213" y="338"/>
                  </a:lnTo>
                  <a:lnTo>
                    <a:pt x="215" y="338"/>
                  </a:lnTo>
                  <a:lnTo>
                    <a:pt x="215" y="336"/>
                  </a:lnTo>
                  <a:lnTo>
                    <a:pt x="216" y="336"/>
                  </a:lnTo>
                  <a:lnTo>
                    <a:pt x="218" y="336"/>
                  </a:lnTo>
                  <a:lnTo>
                    <a:pt x="218" y="335"/>
                  </a:lnTo>
                  <a:lnTo>
                    <a:pt x="220" y="335"/>
                  </a:lnTo>
                  <a:lnTo>
                    <a:pt x="220" y="333"/>
                  </a:lnTo>
                  <a:lnTo>
                    <a:pt x="221" y="333"/>
                  </a:lnTo>
                  <a:lnTo>
                    <a:pt x="223" y="333"/>
                  </a:lnTo>
                  <a:lnTo>
                    <a:pt x="225" y="333"/>
                  </a:lnTo>
                  <a:lnTo>
                    <a:pt x="225" y="335"/>
                  </a:lnTo>
                  <a:lnTo>
                    <a:pt x="226" y="335"/>
                  </a:lnTo>
                  <a:lnTo>
                    <a:pt x="226" y="333"/>
                  </a:lnTo>
                  <a:lnTo>
                    <a:pt x="225" y="333"/>
                  </a:lnTo>
                  <a:lnTo>
                    <a:pt x="225" y="331"/>
                  </a:lnTo>
                  <a:lnTo>
                    <a:pt x="223" y="331"/>
                  </a:lnTo>
                  <a:lnTo>
                    <a:pt x="223" y="330"/>
                  </a:lnTo>
                  <a:lnTo>
                    <a:pt x="225" y="330"/>
                  </a:lnTo>
                  <a:lnTo>
                    <a:pt x="225" y="328"/>
                  </a:lnTo>
                  <a:lnTo>
                    <a:pt x="226" y="328"/>
                  </a:lnTo>
                  <a:lnTo>
                    <a:pt x="228" y="328"/>
                  </a:lnTo>
                  <a:lnTo>
                    <a:pt x="229" y="330"/>
                  </a:lnTo>
                  <a:lnTo>
                    <a:pt x="231" y="330"/>
                  </a:lnTo>
                  <a:lnTo>
                    <a:pt x="231" y="331"/>
                  </a:lnTo>
                  <a:lnTo>
                    <a:pt x="231" y="330"/>
                  </a:lnTo>
                  <a:lnTo>
                    <a:pt x="233" y="330"/>
                  </a:lnTo>
                  <a:lnTo>
                    <a:pt x="234" y="331"/>
                  </a:lnTo>
                  <a:lnTo>
                    <a:pt x="233" y="330"/>
                  </a:lnTo>
                  <a:lnTo>
                    <a:pt x="231" y="328"/>
                  </a:lnTo>
                  <a:lnTo>
                    <a:pt x="231" y="327"/>
                  </a:lnTo>
                  <a:lnTo>
                    <a:pt x="233" y="327"/>
                  </a:lnTo>
                  <a:lnTo>
                    <a:pt x="234" y="327"/>
                  </a:lnTo>
                  <a:lnTo>
                    <a:pt x="233" y="327"/>
                  </a:lnTo>
                  <a:lnTo>
                    <a:pt x="231" y="327"/>
                  </a:lnTo>
                  <a:lnTo>
                    <a:pt x="231" y="325"/>
                  </a:lnTo>
                  <a:lnTo>
                    <a:pt x="229" y="325"/>
                  </a:lnTo>
                  <a:lnTo>
                    <a:pt x="228" y="325"/>
                  </a:lnTo>
                  <a:lnTo>
                    <a:pt x="229" y="323"/>
                  </a:lnTo>
                  <a:lnTo>
                    <a:pt x="228" y="323"/>
                  </a:lnTo>
                  <a:lnTo>
                    <a:pt x="226" y="322"/>
                  </a:lnTo>
                  <a:lnTo>
                    <a:pt x="225" y="322"/>
                  </a:lnTo>
                  <a:lnTo>
                    <a:pt x="223" y="320"/>
                  </a:lnTo>
                  <a:lnTo>
                    <a:pt x="223" y="318"/>
                  </a:lnTo>
                  <a:lnTo>
                    <a:pt x="223" y="320"/>
                  </a:lnTo>
                  <a:lnTo>
                    <a:pt x="223" y="322"/>
                  </a:lnTo>
                  <a:lnTo>
                    <a:pt x="223" y="320"/>
                  </a:lnTo>
                  <a:lnTo>
                    <a:pt x="221" y="320"/>
                  </a:lnTo>
                  <a:lnTo>
                    <a:pt x="220" y="320"/>
                  </a:lnTo>
                  <a:lnTo>
                    <a:pt x="220" y="318"/>
                  </a:lnTo>
                  <a:lnTo>
                    <a:pt x="218" y="318"/>
                  </a:lnTo>
                  <a:lnTo>
                    <a:pt x="218" y="317"/>
                  </a:lnTo>
                  <a:lnTo>
                    <a:pt x="218" y="318"/>
                  </a:lnTo>
                  <a:lnTo>
                    <a:pt x="216" y="317"/>
                  </a:lnTo>
                  <a:lnTo>
                    <a:pt x="218" y="315"/>
                  </a:lnTo>
                  <a:lnTo>
                    <a:pt x="218" y="314"/>
                  </a:lnTo>
                  <a:lnTo>
                    <a:pt x="216" y="314"/>
                  </a:lnTo>
                  <a:lnTo>
                    <a:pt x="215" y="314"/>
                  </a:lnTo>
                  <a:lnTo>
                    <a:pt x="216" y="314"/>
                  </a:lnTo>
                  <a:lnTo>
                    <a:pt x="216" y="312"/>
                  </a:lnTo>
                  <a:lnTo>
                    <a:pt x="218" y="312"/>
                  </a:lnTo>
                  <a:lnTo>
                    <a:pt x="218" y="310"/>
                  </a:lnTo>
                  <a:lnTo>
                    <a:pt x="220" y="310"/>
                  </a:lnTo>
                  <a:lnTo>
                    <a:pt x="220" y="312"/>
                  </a:lnTo>
                  <a:lnTo>
                    <a:pt x="221" y="312"/>
                  </a:lnTo>
                  <a:lnTo>
                    <a:pt x="221" y="310"/>
                  </a:lnTo>
                  <a:lnTo>
                    <a:pt x="223" y="310"/>
                  </a:lnTo>
                  <a:lnTo>
                    <a:pt x="223" y="309"/>
                  </a:lnTo>
                  <a:lnTo>
                    <a:pt x="225" y="309"/>
                  </a:lnTo>
                  <a:lnTo>
                    <a:pt x="226" y="309"/>
                  </a:lnTo>
                  <a:lnTo>
                    <a:pt x="228" y="309"/>
                  </a:lnTo>
                  <a:lnTo>
                    <a:pt x="229" y="309"/>
                  </a:lnTo>
                  <a:lnTo>
                    <a:pt x="231" y="309"/>
                  </a:lnTo>
                  <a:lnTo>
                    <a:pt x="233" y="309"/>
                  </a:lnTo>
                  <a:lnTo>
                    <a:pt x="229" y="309"/>
                  </a:lnTo>
                  <a:lnTo>
                    <a:pt x="228" y="309"/>
                  </a:lnTo>
                  <a:lnTo>
                    <a:pt x="226" y="309"/>
                  </a:lnTo>
                  <a:lnTo>
                    <a:pt x="225" y="309"/>
                  </a:lnTo>
                  <a:lnTo>
                    <a:pt x="223" y="309"/>
                  </a:lnTo>
                  <a:lnTo>
                    <a:pt x="221" y="309"/>
                  </a:lnTo>
                  <a:lnTo>
                    <a:pt x="221" y="307"/>
                  </a:lnTo>
                  <a:lnTo>
                    <a:pt x="223" y="305"/>
                  </a:lnTo>
                  <a:lnTo>
                    <a:pt x="223" y="307"/>
                  </a:lnTo>
                  <a:lnTo>
                    <a:pt x="225" y="307"/>
                  </a:lnTo>
                  <a:lnTo>
                    <a:pt x="225" y="305"/>
                  </a:lnTo>
                  <a:lnTo>
                    <a:pt x="223" y="305"/>
                  </a:lnTo>
                  <a:lnTo>
                    <a:pt x="221" y="305"/>
                  </a:lnTo>
                  <a:lnTo>
                    <a:pt x="223" y="304"/>
                  </a:lnTo>
                  <a:lnTo>
                    <a:pt x="225" y="304"/>
                  </a:lnTo>
                  <a:lnTo>
                    <a:pt x="225" y="302"/>
                  </a:lnTo>
                  <a:lnTo>
                    <a:pt x="225" y="304"/>
                  </a:lnTo>
                  <a:lnTo>
                    <a:pt x="223" y="304"/>
                  </a:lnTo>
                  <a:lnTo>
                    <a:pt x="221" y="304"/>
                  </a:lnTo>
                  <a:lnTo>
                    <a:pt x="221" y="305"/>
                  </a:lnTo>
                  <a:lnTo>
                    <a:pt x="221" y="304"/>
                  </a:lnTo>
                  <a:lnTo>
                    <a:pt x="220" y="304"/>
                  </a:lnTo>
                  <a:lnTo>
                    <a:pt x="221" y="304"/>
                  </a:lnTo>
                  <a:lnTo>
                    <a:pt x="220" y="302"/>
                  </a:lnTo>
                  <a:lnTo>
                    <a:pt x="220" y="301"/>
                  </a:lnTo>
                  <a:lnTo>
                    <a:pt x="220" y="299"/>
                  </a:lnTo>
                  <a:lnTo>
                    <a:pt x="220" y="297"/>
                  </a:lnTo>
                  <a:lnTo>
                    <a:pt x="220" y="296"/>
                  </a:lnTo>
                  <a:lnTo>
                    <a:pt x="218" y="296"/>
                  </a:lnTo>
                  <a:lnTo>
                    <a:pt x="218" y="294"/>
                  </a:lnTo>
                  <a:lnTo>
                    <a:pt x="220" y="294"/>
                  </a:lnTo>
                  <a:lnTo>
                    <a:pt x="218" y="294"/>
                  </a:lnTo>
                  <a:lnTo>
                    <a:pt x="220" y="294"/>
                  </a:lnTo>
                  <a:lnTo>
                    <a:pt x="220" y="292"/>
                  </a:lnTo>
                  <a:lnTo>
                    <a:pt x="221" y="292"/>
                  </a:lnTo>
                  <a:lnTo>
                    <a:pt x="221" y="291"/>
                  </a:lnTo>
                  <a:lnTo>
                    <a:pt x="223" y="291"/>
                  </a:lnTo>
                  <a:lnTo>
                    <a:pt x="223" y="289"/>
                  </a:lnTo>
                  <a:lnTo>
                    <a:pt x="223" y="287"/>
                  </a:lnTo>
                  <a:close/>
                  <a:moveTo>
                    <a:pt x="264" y="427"/>
                  </a:moveTo>
                  <a:lnTo>
                    <a:pt x="265" y="426"/>
                  </a:lnTo>
                  <a:lnTo>
                    <a:pt x="267" y="426"/>
                  </a:lnTo>
                  <a:lnTo>
                    <a:pt x="269" y="427"/>
                  </a:lnTo>
                  <a:lnTo>
                    <a:pt x="270" y="426"/>
                  </a:lnTo>
                  <a:lnTo>
                    <a:pt x="272" y="427"/>
                  </a:lnTo>
                  <a:lnTo>
                    <a:pt x="272" y="429"/>
                  </a:lnTo>
                  <a:lnTo>
                    <a:pt x="272" y="431"/>
                  </a:lnTo>
                  <a:lnTo>
                    <a:pt x="270" y="431"/>
                  </a:lnTo>
                  <a:lnTo>
                    <a:pt x="269" y="432"/>
                  </a:lnTo>
                  <a:lnTo>
                    <a:pt x="269" y="434"/>
                  </a:lnTo>
                  <a:lnTo>
                    <a:pt x="270" y="432"/>
                  </a:lnTo>
                  <a:lnTo>
                    <a:pt x="272" y="432"/>
                  </a:lnTo>
                  <a:lnTo>
                    <a:pt x="273" y="431"/>
                  </a:lnTo>
                  <a:lnTo>
                    <a:pt x="273" y="432"/>
                  </a:lnTo>
                  <a:lnTo>
                    <a:pt x="275" y="434"/>
                  </a:lnTo>
                  <a:lnTo>
                    <a:pt x="277" y="434"/>
                  </a:lnTo>
                  <a:lnTo>
                    <a:pt x="278" y="437"/>
                  </a:lnTo>
                  <a:lnTo>
                    <a:pt x="278" y="436"/>
                  </a:lnTo>
                  <a:lnTo>
                    <a:pt x="280" y="436"/>
                  </a:lnTo>
                  <a:lnTo>
                    <a:pt x="280" y="437"/>
                  </a:lnTo>
                  <a:lnTo>
                    <a:pt x="282" y="439"/>
                  </a:lnTo>
                  <a:lnTo>
                    <a:pt x="280" y="439"/>
                  </a:lnTo>
                  <a:lnTo>
                    <a:pt x="282" y="440"/>
                  </a:lnTo>
                  <a:lnTo>
                    <a:pt x="283" y="440"/>
                  </a:lnTo>
                  <a:lnTo>
                    <a:pt x="283" y="439"/>
                  </a:lnTo>
                  <a:lnTo>
                    <a:pt x="285" y="439"/>
                  </a:lnTo>
                  <a:lnTo>
                    <a:pt x="286" y="439"/>
                  </a:lnTo>
                  <a:lnTo>
                    <a:pt x="285" y="439"/>
                  </a:lnTo>
                  <a:lnTo>
                    <a:pt x="286" y="439"/>
                  </a:lnTo>
                  <a:lnTo>
                    <a:pt x="285" y="439"/>
                  </a:lnTo>
                  <a:lnTo>
                    <a:pt x="286" y="439"/>
                  </a:lnTo>
                  <a:lnTo>
                    <a:pt x="288" y="439"/>
                  </a:lnTo>
                  <a:lnTo>
                    <a:pt x="290" y="439"/>
                  </a:lnTo>
                  <a:lnTo>
                    <a:pt x="290" y="437"/>
                  </a:lnTo>
                  <a:lnTo>
                    <a:pt x="291" y="437"/>
                  </a:lnTo>
                  <a:lnTo>
                    <a:pt x="293" y="437"/>
                  </a:lnTo>
                  <a:lnTo>
                    <a:pt x="295" y="437"/>
                  </a:lnTo>
                  <a:lnTo>
                    <a:pt x="295" y="439"/>
                  </a:lnTo>
                  <a:lnTo>
                    <a:pt x="296" y="439"/>
                  </a:lnTo>
                  <a:lnTo>
                    <a:pt x="295" y="439"/>
                  </a:lnTo>
                  <a:lnTo>
                    <a:pt x="295" y="440"/>
                  </a:lnTo>
                  <a:lnTo>
                    <a:pt x="298" y="440"/>
                  </a:lnTo>
                  <a:lnTo>
                    <a:pt x="299" y="440"/>
                  </a:lnTo>
                  <a:lnTo>
                    <a:pt x="299" y="442"/>
                  </a:lnTo>
                  <a:lnTo>
                    <a:pt x="301" y="442"/>
                  </a:lnTo>
                  <a:lnTo>
                    <a:pt x="299" y="442"/>
                  </a:lnTo>
                  <a:lnTo>
                    <a:pt x="299" y="444"/>
                  </a:lnTo>
                  <a:lnTo>
                    <a:pt x="298" y="444"/>
                  </a:lnTo>
                  <a:lnTo>
                    <a:pt x="298" y="445"/>
                  </a:lnTo>
                  <a:lnTo>
                    <a:pt x="298" y="447"/>
                  </a:lnTo>
                  <a:lnTo>
                    <a:pt x="298" y="449"/>
                  </a:lnTo>
                  <a:lnTo>
                    <a:pt x="296" y="449"/>
                  </a:lnTo>
                  <a:lnTo>
                    <a:pt x="295" y="450"/>
                  </a:lnTo>
                  <a:lnTo>
                    <a:pt x="293" y="450"/>
                  </a:lnTo>
                  <a:lnTo>
                    <a:pt x="293" y="452"/>
                  </a:lnTo>
                  <a:lnTo>
                    <a:pt x="291" y="452"/>
                  </a:lnTo>
                  <a:lnTo>
                    <a:pt x="290" y="452"/>
                  </a:lnTo>
                  <a:lnTo>
                    <a:pt x="288" y="452"/>
                  </a:lnTo>
                  <a:lnTo>
                    <a:pt x="286" y="452"/>
                  </a:lnTo>
                  <a:lnTo>
                    <a:pt x="286" y="450"/>
                  </a:lnTo>
                  <a:lnTo>
                    <a:pt x="285" y="450"/>
                  </a:lnTo>
                  <a:lnTo>
                    <a:pt x="286" y="453"/>
                  </a:lnTo>
                  <a:lnTo>
                    <a:pt x="285" y="453"/>
                  </a:lnTo>
                  <a:lnTo>
                    <a:pt x="286" y="453"/>
                  </a:lnTo>
                  <a:lnTo>
                    <a:pt x="285" y="453"/>
                  </a:lnTo>
                  <a:lnTo>
                    <a:pt x="285" y="455"/>
                  </a:lnTo>
                  <a:lnTo>
                    <a:pt x="286" y="455"/>
                  </a:lnTo>
                  <a:lnTo>
                    <a:pt x="286" y="457"/>
                  </a:lnTo>
                  <a:lnTo>
                    <a:pt x="285" y="457"/>
                  </a:lnTo>
                  <a:lnTo>
                    <a:pt x="285" y="458"/>
                  </a:lnTo>
                  <a:lnTo>
                    <a:pt x="283" y="458"/>
                  </a:lnTo>
                  <a:lnTo>
                    <a:pt x="283" y="460"/>
                  </a:lnTo>
                  <a:lnTo>
                    <a:pt x="282" y="460"/>
                  </a:lnTo>
                  <a:lnTo>
                    <a:pt x="280" y="458"/>
                  </a:lnTo>
                  <a:lnTo>
                    <a:pt x="280" y="460"/>
                  </a:lnTo>
                  <a:lnTo>
                    <a:pt x="278" y="462"/>
                  </a:lnTo>
                  <a:lnTo>
                    <a:pt x="277" y="462"/>
                  </a:lnTo>
                  <a:lnTo>
                    <a:pt x="277" y="463"/>
                  </a:lnTo>
                  <a:lnTo>
                    <a:pt x="275" y="465"/>
                  </a:lnTo>
                  <a:lnTo>
                    <a:pt x="275" y="466"/>
                  </a:lnTo>
                  <a:lnTo>
                    <a:pt x="275" y="465"/>
                  </a:lnTo>
                  <a:lnTo>
                    <a:pt x="273" y="466"/>
                  </a:lnTo>
                  <a:lnTo>
                    <a:pt x="272" y="466"/>
                  </a:lnTo>
                  <a:lnTo>
                    <a:pt x="272" y="468"/>
                  </a:lnTo>
                  <a:lnTo>
                    <a:pt x="272" y="466"/>
                  </a:lnTo>
                  <a:lnTo>
                    <a:pt x="272" y="468"/>
                  </a:lnTo>
                  <a:lnTo>
                    <a:pt x="270" y="468"/>
                  </a:lnTo>
                  <a:lnTo>
                    <a:pt x="269" y="468"/>
                  </a:lnTo>
                  <a:lnTo>
                    <a:pt x="267" y="468"/>
                  </a:lnTo>
                  <a:lnTo>
                    <a:pt x="265" y="470"/>
                  </a:lnTo>
                  <a:lnTo>
                    <a:pt x="265" y="468"/>
                  </a:lnTo>
                  <a:lnTo>
                    <a:pt x="265" y="470"/>
                  </a:lnTo>
                  <a:lnTo>
                    <a:pt x="264" y="468"/>
                  </a:lnTo>
                  <a:lnTo>
                    <a:pt x="265" y="466"/>
                  </a:lnTo>
                  <a:lnTo>
                    <a:pt x="264" y="466"/>
                  </a:lnTo>
                  <a:lnTo>
                    <a:pt x="264" y="465"/>
                  </a:lnTo>
                  <a:lnTo>
                    <a:pt x="264" y="463"/>
                  </a:lnTo>
                  <a:lnTo>
                    <a:pt x="265" y="463"/>
                  </a:lnTo>
                  <a:lnTo>
                    <a:pt x="265" y="462"/>
                  </a:lnTo>
                  <a:lnTo>
                    <a:pt x="267" y="462"/>
                  </a:lnTo>
                  <a:lnTo>
                    <a:pt x="267" y="460"/>
                  </a:lnTo>
                  <a:lnTo>
                    <a:pt x="267" y="458"/>
                  </a:lnTo>
                  <a:lnTo>
                    <a:pt x="269" y="458"/>
                  </a:lnTo>
                  <a:lnTo>
                    <a:pt x="269" y="457"/>
                  </a:lnTo>
                  <a:lnTo>
                    <a:pt x="270" y="457"/>
                  </a:lnTo>
                  <a:lnTo>
                    <a:pt x="269" y="457"/>
                  </a:lnTo>
                  <a:lnTo>
                    <a:pt x="269" y="455"/>
                  </a:lnTo>
                  <a:lnTo>
                    <a:pt x="270" y="453"/>
                  </a:lnTo>
                  <a:lnTo>
                    <a:pt x="272" y="453"/>
                  </a:lnTo>
                  <a:lnTo>
                    <a:pt x="272" y="452"/>
                  </a:lnTo>
                  <a:lnTo>
                    <a:pt x="273" y="452"/>
                  </a:lnTo>
                  <a:lnTo>
                    <a:pt x="275" y="452"/>
                  </a:lnTo>
                  <a:lnTo>
                    <a:pt x="275" y="450"/>
                  </a:lnTo>
                  <a:lnTo>
                    <a:pt x="275" y="452"/>
                  </a:lnTo>
                  <a:lnTo>
                    <a:pt x="277" y="450"/>
                  </a:lnTo>
                  <a:lnTo>
                    <a:pt x="278" y="450"/>
                  </a:lnTo>
                  <a:lnTo>
                    <a:pt x="280" y="450"/>
                  </a:lnTo>
                  <a:lnTo>
                    <a:pt x="282" y="450"/>
                  </a:lnTo>
                  <a:lnTo>
                    <a:pt x="282" y="449"/>
                  </a:lnTo>
                  <a:lnTo>
                    <a:pt x="283" y="449"/>
                  </a:lnTo>
                  <a:lnTo>
                    <a:pt x="282" y="449"/>
                  </a:lnTo>
                  <a:lnTo>
                    <a:pt x="280" y="450"/>
                  </a:lnTo>
                  <a:lnTo>
                    <a:pt x="280" y="449"/>
                  </a:lnTo>
                  <a:lnTo>
                    <a:pt x="278" y="449"/>
                  </a:lnTo>
                  <a:lnTo>
                    <a:pt x="280" y="450"/>
                  </a:lnTo>
                  <a:lnTo>
                    <a:pt x="278" y="450"/>
                  </a:lnTo>
                  <a:lnTo>
                    <a:pt x="278" y="449"/>
                  </a:lnTo>
                  <a:lnTo>
                    <a:pt x="278" y="450"/>
                  </a:lnTo>
                  <a:lnTo>
                    <a:pt x="277" y="450"/>
                  </a:lnTo>
                  <a:lnTo>
                    <a:pt x="277" y="449"/>
                  </a:lnTo>
                  <a:lnTo>
                    <a:pt x="275" y="449"/>
                  </a:lnTo>
                  <a:lnTo>
                    <a:pt x="273" y="449"/>
                  </a:lnTo>
                  <a:lnTo>
                    <a:pt x="272" y="449"/>
                  </a:lnTo>
                  <a:lnTo>
                    <a:pt x="272" y="447"/>
                  </a:lnTo>
                  <a:lnTo>
                    <a:pt x="272" y="445"/>
                  </a:lnTo>
                  <a:lnTo>
                    <a:pt x="272" y="444"/>
                  </a:lnTo>
                  <a:lnTo>
                    <a:pt x="270" y="442"/>
                  </a:lnTo>
                  <a:lnTo>
                    <a:pt x="270" y="444"/>
                  </a:lnTo>
                  <a:lnTo>
                    <a:pt x="270" y="442"/>
                  </a:lnTo>
                  <a:lnTo>
                    <a:pt x="270" y="440"/>
                  </a:lnTo>
                  <a:lnTo>
                    <a:pt x="270" y="442"/>
                  </a:lnTo>
                  <a:lnTo>
                    <a:pt x="270" y="444"/>
                  </a:lnTo>
                  <a:lnTo>
                    <a:pt x="269" y="445"/>
                  </a:lnTo>
                  <a:lnTo>
                    <a:pt x="269" y="447"/>
                  </a:lnTo>
                  <a:lnTo>
                    <a:pt x="267" y="445"/>
                  </a:lnTo>
                  <a:lnTo>
                    <a:pt x="267" y="447"/>
                  </a:lnTo>
                  <a:lnTo>
                    <a:pt x="267" y="449"/>
                  </a:lnTo>
                  <a:lnTo>
                    <a:pt x="265" y="450"/>
                  </a:lnTo>
                  <a:lnTo>
                    <a:pt x="265" y="452"/>
                  </a:lnTo>
                  <a:lnTo>
                    <a:pt x="264" y="452"/>
                  </a:lnTo>
                  <a:lnTo>
                    <a:pt x="264" y="453"/>
                  </a:lnTo>
                  <a:lnTo>
                    <a:pt x="262" y="452"/>
                  </a:lnTo>
                  <a:lnTo>
                    <a:pt x="260" y="450"/>
                  </a:lnTo>
                  <a:lnTo>
                    <a:pt x="262" y="450"/>
                  </a:lnTo>
                  <a:lnTo>
                    <a:pt x="262" y="449"/>
                  </a:lnTo>
                  <a:lnTo>
                    <a:pt x="262" y="447"/>
                  </a:lnTo>
                  <a:lnTo>
                    <a:pt x="264" y="447"/>
                  </a:lnTo>
                  <a:lnTo>
                    <a:pt x="264" y="445"/>
                  </a:lnTo>
                  <a:lnTo>
                    <a:pt x="262" y="445"/>
                  </a:lnTo>
                  <a:lnTo>
                    <a:pt x="264" y="444"/>
                  </a:lnTo>
                  <a:lnTo>
                    <a:pt x="262" y="444"/>
                  </a:lnTo>
                  <a:lnTo>
                    <a:pt x="260" y="444"/>
                  </a:lnTo>
                  <a:lnTo>
                    <a:pt x="260" y="442"/>
                  </a:lnTo>
                  <a:lnTo>
                    <a:pt x="259" y="442"/>
                  </a:lnTo>
                  <a:lnTo>
                    <a:pt x="259" y="440"/>
                  </a:lnTo>
                  <a:lnTo>
                    <a:pt x="259" y="442"/>
                  </a:lnTo>
                  <a:lnTo>
                    <a:pt x="259" y="444"/>
                  </a:lnTo>
                  <a:lnTo>
                    <a:pt x="257" y="444"/>
                  </a:lnTo>
                  <a:lnTo>
                    <a:pt x="256" y="444"/>
                  </a:lnTo>
                  <a:lnTo>
                    <a:pt x="252" y="444"/>
                  </a:lnTo>
                  <a:lnTo>
                    <a:pt x="251" y="444"/>
                  </a:lnTo>
                  <a:lnTo>
                    <a:pt x="249" y="444"/>
                  </a:lnTo>
                  <a:lnTo>
                    <a:pt x="247" y="444"/>
                  </a:lnTo>
                  <a:lnTo>
                    <a:pt x="246" y="444"/>
                  </a:lnTo>
                  <a:lnTo>
                    <a:pt x="247" y="444"/>
                  </a:lnTo>
                  <a:lnTo>
                    <a:pt x="247" y="442"/>
                  </a:lnTo>
                  <a:lnTo>
                    <a:pt x="251" y="440"/>
                  </a:lnTo>
                  <a:lnTo>
                    <a:pt x="251" y="439"/>
                  </a:lnTo>
                  <a:lnTo>
                    <a:pt x="249" y="439"/>
                  </a:lnTo>
                  <a:lnTo>
                    <a:pt x="247" y="439"/>
                  </a:lnTo>
                  <a:lnTo>
                    <a:pt x="246" y="440"/>
                  </a:lnTo>
                  <a:lnTo>
                    <a:pt x="244" y="439"/>
                  </a:lnTo>
                  <a:lnTo>
                    <a:pt x="244" y="437"/>
                  </a:lnTo>
                  <a:lnTo>
                    <a:pt x="243" y="436"/>
                  </a:lnTo>
                  <a:lnTo>
                    <a:pt x="243" y="434"/>
                  </a:lnTo>
                  <a:lnTo>
                    <a:pt x="244" y="434"/>
                  </a:lnTo>
                  <a:lnTo>
                    <a:pt x="246" y="434"/>
                  </a:lnTo>
                  <a:lnTo>
                    <a:pt x="247" y="431"/>
                  </a:lnTo>
                  <a:lnTo>
                    <a:pt x="246" y="432"/>
                  </a:lnTo>
                  <a:lnTo>
                    <a:pt x="244" y="432"/>
                  </a:lnTo>
                  <a:lnTo>
                    <a:pt x="243" y="432"/>
                  </a:lnTo>
                  <a:lnTo>
                    <a:pt x="241" y="431"/>
                  </a:lnTo>
                  <a:lnTo>
                    <a:pt x="241" y="429"/>
                  </a:lnTo>
                  <a:lnTo>
                    <a:pt x="239" y="427"/>
                  </a:lnTo>
                  <a:lnTo>
                    <a:pt x="239" y="426"/>
                  </a:lnTo>
                  <a:lnTo>
                    <a:pt x="239" y="424"/>
                  </a:lnTo>
                  <a:lnTo>
                    <a:pt x="239" y="422"/>
                  </a:lnTo>
                  <a:lnTo>
                    <a:pt x="238" y="422"/>
                  </a:lnTo>
                  <a:lnTo>
                    <a:pt x="239" y="421"/>
                  </a:lnTo>
                  <a:lnTo>
                    <a:pt x="239" y="419"/>
                  </a:lnTo>
                  <a:lnTo>
                    <a:pt x="241" y="419"/>
                  </a:lnTo>
                  <a:lnTo>
                    <a:pt x="243" y="419"/>
                  </a:lnTo>
                  <a:lnTo>
                    <a:pt x="243" y="418"/>
                  </a:lnTo>
                  <a:lnTo>
                    <a:pt x="243" y="419"/>
                  </a:lnTo>
                  <a:lnTo>
                    <a:pt x="244" y="419"/>
                  </a:lnTo>
                  <a:lnTo>
                    <a:pt x="244" y="418"/>
                  </a:lnTo>
                  <a:lnTo>
                    <a:pt x="244" y="416"/>
                  </a:lnTo>
                  <a:lnTo>
                    <a:pt x="244" y="418"/>
                  </a:lnTo>
                  <a:lnTo>
                    <a:pt x="246" y="418"/>
                  </a:lnTo>
                  <a:lnTo>
                    <a:pt x="247" y="419"/>
                  </a:lnTo>
                  <a:lnTo>
                    <a:pt x="247" y="421"/>
                  </a:lnTo>
                  <a:lnTo>
                    <a:pt x="249" y="422"/>
                  </a:lnTo>
                  <a:lnTo>
                    <a:pt x="249" y="424"/>
                  </a:lnTo>
                  <a:lnTo>
                    <a:pt x="251" y="424"/>
                  </a:lnTo>
                  <a:lnTo>
                    <a:pt x="249" y="424"/>
                  </a:lnTo>
                  <a:lnTo>
                    <a:pt x="249" y="422"/>
                  </a:lnTo>
                  <a:lnTo>
                    <a:pt x="249" y="421"/>
                  </a:lnTo>
                  <a:lnTo>
                    <a:pt x="247" y="419"/>
                  </a:lnTo>
                  <a:lnTo>
                    <a:pt x="247" y="418"/>
                  </a:lnTo>
                  <a:lnTo>
                    <a:pt x="246" y="418"/>
                  </a:lnTo>
                  <a:lnTo>
                    <a:pt x="246" y="416"/>
                  </a:lnTo>
                  <a:lnTo>
                    <a:pt x="247" y="416"/>
                  </a:lnTo>
                  <a:lnTo>
                    <a:pt x="246" y="416"/>
                  </a:lnTo>
                  <a:lnTo>
                    <a:pt x="247" y="414"/>
                  </a:lnTo>
                  <a:lnTo>
                    <a:pt x="246" y="414"/>
                  </a:lnTo>
                  <a:lnTo>
                    <a:pt x="246" y="416"/>
                  </a:lnTo>
                  <a:lnTo>
                    <a:pt x="244" y="416"/>
                  </a:lnTo>
                  <a:lnTo>
                    <a:pt x="243" y="416"/>
                  </a:lnTo>
                  <a:lnTo>
                    <a:pt x="241" y="416"/>
                  </a:lnTo>
                  <a:lnTo>
                    <a:pt x="243" y="414"/>
                  </a:lnTo>
                  <a:lnTo>
                    <a:pt x="241" y="414"/>
                  </a:lnTo>
                  <a:lnTo>
                    <a:pt x="243" y="414"/>
                  </a:lnTo>
                  <a:lnTo>
                    <a:pt x="243" y="413"/>
                  </a:lnTo>
                  <a:lnTo>
                    <a:pt x="241" y="413"/>
                  </a:lnTo>
                  <a:lnTo>
                    <a:pt x="241" y="411"/>
                  </a:lnTo>
                  <a:lnTo>
                    <a:pt x="243" y="411"/>
                  </a:lnTo>
                  <a:lnTo>
                    <a:pt x="241" y="409"/>
                  </a:lnTo>
                  <a:lnTo>
                    <a:pt x="243" y="408"/>
                  </a:lnTo>
                  <a:lnTo>
                    <a:pt x="241" y="408"/>
                  </a:lnTo>
                  <a:lnTo>
                    <a:pt x="241" y="406"/>
                  </a:lnTo>
                  <a:lnTo>
                    <a:pt x="241" y="408"/>
                  </a:lnTo>
                  <a:lnTo>
                    <a:pt x="241" y="409"/>
                  </a:lnTo>
                  <a:lnTo>
                    <a:pt x="239" y="409"/>
                  </a:lnTo>
                  <a:lnTo>
                    <a:pt x="238" y="411"/>
                  </a:lnTo>
                  <a:lnTo>
                    <a:pt x="238" y="409"/>
                  </a:lnTo>
                  <a:lnTo>
                    <a:pt x="239" y="409"/>
                  </a:lnTo>
                  <a:lnTo>
                    <a:pt x="238" y="409"/>
                  </a:lnTo>
                  <a:lnTo>
                    <a:pt x="238" y="408"/>
                  </a:lnTo>
                  <a:lnTo>
                    <a:pt x="239" y="408"/>
                  </a:lnTo>
                  <a:lnTo>
                    <a:pt x="239" y="406"/>
                  </a:lnTo>
                  <a:lnTo>
                    <a:pt x="238" y="406"/>
                  </a:lnTo>
                  <a:lnTo>
                    <a:pt x="238" y="408"/>
                  </a:lnTo>
                  <a:lnTo>
                    <a:pt x="238" y="406"/>
                  </a:lnTo>
                  <a:lnTo>
                    <a:pt x="236" y="408"/>
                  </a:lnTo>
                  <a:lnTo>
                    <a:pt x="234" y="408"/>
                  </a:lnTo>
                  <a:lnTo>
                    <a:pt x="234" y="409"/>
                  </a:lnTo>
                  <a:lnTo>
                    <a:pt x="234" y="411"/>
                  </a:lnTo>
                  <a:lnTo>
                    <a:pt x="234" y="413"/>
                  </a:lnTo>
                  <a:lnTo>
                    <a:pt x="234" y="414"/>
                  </a:lnTo>
                  <a:lnTo>
                    <a:pt x="233" y="414"/>
                  </a:lnTo>
                  <a:lnTo>
                    <a:pt x="233" y="416"/>
                  </a:lnTo>
                  <a:lnTo>
                    <a:pt x="233" y="414"/>
                  </a:lnTo>
                  <a:lnTo>
                    <a:pt x="231" y="414"/>
                  </a:lnTo>
                  <a:lnTo>
                    <a:pt x="231" y="413"/>
                  </a:lnTo>
                  <a:lnTo>
                    <a:pt x="229" y="411"/>
                  </a:lnTo>
                  <a:lnTo>
                    <a:pt x="228" y="411"/>
                  </a:lnTo>
                  <a:lnTo>
                    <a:pt x="228" y="409"/>
                  </a:lnTo>
                  <a:lnTo>
                    <a:pt x="226" y="409"/>
                  </a:lnTo>
                  <a:lnTo>
                    <a:pt x="225" y="409"/>
                  </a:lnTo>
                  <a:lnTo>
                    <a:pt x="225" y="408"/>
                  </a:lnTo>
                  <a:lnTo>
                    <a:pt x="223" y="408"/>
                  </a:lnTo>
                  <a:lnTo>
                    <a:pt x="223" y="406"/>
                  </a:lnTo>
                  <a:lnTo>
                    <a:pt x="223" y="405"/>
                  </a:lnTo>
                  <a:lnTo>
                    <a:pt x="223" y="403"/>
                  </a:lnTo>
                  <a:lnTo>
                    <a:pt x="223" y="401"/>
                  </a:lnTo>
                  <a:lnTo>
                    <a:pt x="223" y="400"/>
                  </a:lnTo>
                  <a:lnTo>
                    <a:pt x="221" y="400"/>
                  </a:lnTo>
                  <a:lnTo>
                    <a:pt x="221" y="398"/>
                  </a:lnTo>
                  <a:lnTo>
                    <a:pt x="220" y="400"/>
                  </a:lnTo>
                  <a:lnTo>
                    <a:pt x="220" y="398"/>
                  </a:lnTo>
                  <a:lnTo>
                    <a:pt x="221" y="396"/>
                  </a:lnTo>
                  <a:lnTo>
                    <a:pt x="221" y="395"/>
                  </a:lnTo>
                  <a:lnTo>
                    <a:pt x="221" y="393"/>
                  </a:lnTo>
                  <a:lnTo>
                    <a:pt x="223" y="393"/>
                  </a:lnTo>
                  <a:lnTo>
                    <a:pt x="225" y="395"/>
                  </a:lnTo>
                  <a:lnTo>
                    <a:pt x="226" y="396"/>
                  </a:lnTo>
                  <a:lnTo>
                    <a:pt x="225" y="395"/>
                  </a:lnTo>
                  <a:lnTo>
                    <a:pt x="225" y="393"/>
                  </a:lnTo>
                  <a:lnTo>
                    <a:pt x="225" y="392"/>
                  </a:lnTo>
                  <a:lnTo>
                    <a:pt x="226" y="388"/>
                  </a:lnTo>
                  <a:lnTo>
                    <a:pt x="228" y="387"/>
                  </a:lnTo>
                  <a:lnTo>
                    <a:pt x="229" y="388"/>
                  </a:lnTo>
                  <a:lnTo>
                    <a:pt x="229" y="390"/>
                  </a:lnTo>
                  <a:lnTo>
                    <a:pt x="229" y="392"/>
                  </a:lnTo>
                  <a:lnTo>
                    <a:pt x="229" y="393"/>
                  </a:lnTo>
                  <a:lnTo>
                    <a:pt x="231" y="393"/>
                  </a:lnTo>
                  <a:lnTo>
                    <a:pt x="231" y="395"/>
                  </a:lnTo>
                  <a:lnTo>
                    <a:pt x="229" y="395"/>
                  </a:lnTo>
                  <a:lnTo>
                    <a:pt x="229" y="396"/>
                  </a:lnTo>
                  <a:lnTo>
                    <a:pt x="231" y="395"/>
                  </a:lnTo>
                  <a:lnTo>
                    <a:pt x="231" y="396"/>
                  </a:lnTo>
                  <a:lnTo>
                    <a:pt x="231" y="398"/>
                  </a:lnTo>
                  <a:lnTo>
                    <a:pt x="233" y="400"/>
                  </a:lnTo>
                  <a:lnTo>
                    <a:pt x="234" y="400"/>
                  </a:lnTo>
                  <a:lnTo>
                    <a:pt x="234" y="398"/>
                  </a:lnTo>
                  <a:lnTo>
                    <a:pt x="234" y="400"/>
                  </a:lnTo>
                  <a:lnTo>
                    <a:pt x="234" y="401"/>
                  </a:lnTo>
                  <a:lnTo>
                    <a:pt x="236" y="401"/>
                  </a:lnTo>
                  <a:lnTo>
                    <a:pt x="236" y="400"/>
                  </a:lnTo>
                  <a:lnTo>
                    <a:pt x="236" y="398"/>
                  </a:lnTo>
                  <a:lnTo>
                    <a:pt x="234" y="396"/>
                  </a:lnTo>
                  <a:lnTo>
                    <a:pt x="234" y="398"/>
                  </a:lnTo>
                  <a:lnTo>
                    <a:pt x="234" y="396"/>
                  </a:lnTo>
                  <a:lnTo>
                    <a:pt x="234" y="398"/>
                  </a:lnTo>
                  <a:lnTo>
                    <a:pt x="233" y="396"/>
                  </a:lnTo>
                  <a:lnTo>
                    <a:pt x="234" y="396"/>
                  </a:lnTo>
                  <a:lnTo>
                    <a:pt x="234" y="395"/>
                  </a:lnTo>
                  <a:lnTo>
                    <a:pt x="234" y="393"/>
                  </a:lnTo>
                  <a:lnTo>
                    <a:pt x="234" y="392"/>
                  </a:lnTo>
                  <a:lnTo>
                    <a:pt x="234" y="390"/>
                  </a:lnTo>
                  <a:lnTo>
                    <a:pt x="236" y="390"/>
                  </a:lnTo>
                  <a:lnTo>
                    <a:pt x="238" y="390"/>
                  </a:lnTo>
                  <a:lnTo>
                    <a:pt x="239" y="393"/>
                  </a:lnTo>
                  <a:lnTo>
                    <a:pt x="239" y="392"/>
                  </a:lnTo>
                  <a:lnTo>
                    <a:pt x="239" y="390"/>
                  </a:lnTo>
                  <a:lnTo>
                    <a:pt x="238" y="390"/>
                  </a:lnTo>
                  <a:lnTo>
                    <a:pt x="238" y="388"/>
                  </a:lnTo>
                  <a:lnTo>
                    <a:pt x="239" y="388"/>
                  </a:lnTo>
                  <a:lnTo>
                    <a:pt x="238" y="387"/>
                  </a:lnTo>
                  <a:lnTo>
                    <a:pt x="238" y="385"/>
                  </a:lnTo>
                  <a:lnTo>
                    <a:pt x="236" y="385"/>
                  </a:lnTo>
                  <a:lnTo>
                    <a:pt x="236" y="383"/>
                  </a:lnTo>
                  <a:lnTo>
                    <a:pt x="234" y="383"/>
                  </a:lnTo>
                  <a:lnTo>
                    <a:pt x="234" y="385"/>
                  </a:lnTo>
                  <a:lnTo>
                    <a:pt x="234" y="383"/>
                  </a:lnTo>
                  <a:lnTo>
                    <a:pt x="234" y="382"/>
                  </a:lnTo>
                  <a:lnTo>
                    <a:pt x="234" y="383"/>
                  </a:lnTo>
                  <a:lnTo>
                    <a:pt x="236" y="382"/>
                  </a:lnTo>
                  <a:lnTo>
                    <a:pt x="236" y="380"/>
                  </a:lnTo>
                  <a:lnTo>
                    <a:pt x="236" y="379"/>
                  </a:lnTo>
                  <a:lnTo>
                    <a:pt x="238" y="379"/>
                  </a:lnTo>
                  <a:lnTo>
                    <a:pt x="238" y="377"/>
                  </a:lnTo>
                  <a:lnTo>
                    <a:pt x="238" y="375"/>
                  </a:lnTo>
                  <a:lnTo>
                    <a:pt x="239" y="375"/>
                  </a:lnTo>
                  <a:lnTo>
                    <a:pt x="239" y="379"/>
                  </a:lnTo>
                  <a:lnTo>
                    <a:pt x="241" y="379"/>
                  </a:lnTo>
                  <a:lnTo>
                    <a:pt x="241" y="380"/>
                  </a:lnTo>
                  <a:lnTo>
                    <a:pt x="241" y="382"/>
                  </a:lnTo>
                  <a:lnTo>
                    <a:pt x="241" y="383"/>
                  </a:lnTo>
                  <a:lnTo>
                    <a:pt x="241" y="385"/>
                  </a:lnTo>
                  <a:lnTo>
                    <a:pt x="243" y="387"/>
                  </a:lnTo>
                  <a:lnTo>
                    <a:pt x="243" y="385"/>
                  </a:lnTo>
                  <a:lnTo>
                    <a:pt x="243" y="387"/>
                  </a:lnTo>
                  <a:lnTo>
                    <a:pt x="244" y="387"/>
                  </a:lnTo>
                  <a:lnTo>
                    <a:pt x="246" y="388"/>
                  </a:lnTo>
                  <a:lnTo>
                    <a:pt x="246" y="390"/>
                  </a:lnTo>
                  <a:lnTo>
                    <a:pt x="247" y="392"/>
                  </a:lnTo>
                  <a:lnTo>
                    <a:pt x="247" y="393"/>
                  </a:lnTo>
                  <a:lnTo>
                    <a:pt x="249" y="393"/>
                  </a:lnTo>
                  <a:lnTo>
                    <a:pt x="249" y="392"/>
                  </a:lnTo>
                  <a:lnTo>
                    <a:pt x="251" y="392"/>
                  </a:lnTo>
                  <a:lnTo>
                    <a:pt x="251" y="393"/>
                  </a:lnTo>
                  <a:lnTo>
                    <a:pt x="249" y="393"/>
                  </a:lnTo>
                  <a:lnTo>
                    <a:pt x="249" y="395"/>
                  </a:lnTo>
                  <a:lnTo>
                    <a:pt x="247" y="396"/>
                  </a:lnTo>
                  <a:lnTo>
                    <a:pt x="247" y="398"/>
                  </a:lnTo>
                  <a:lnTo>
                    <a:pt x="249" y="398"/>
                  </a:lnTo>
                  <a:lnTo>
                    <a:pt x="249" y="396"/>
                  </a:lnTo>
                  <a:lnTo>
                    <a:pt x="249" y="395"/>
                  </a:lnTo>
                  <a:lnTo>
                    <a:pt x="251" y="395"/>
                  </a:lnTo>
                  <a:lnTo>
                    <a:pt x="251" y="393"/>
                  </a:lnTo>
                  <a:lnTo>
                    <a:pt x="252" y="393"/>
                  </a:lnTo>
                  <a:lnTo>
                    <a:pt x="252" y="392"/>
                  </a:lnTo>
                  <a:lnTo>
                    <a:pt x="252" y="390"/>
                  </a:lnTo>
                  <a:lnTo>
                    <a:pt x="254" y="392"/>
                  </a:lnTo>
                  <a:lnTo>
                    <a:pt x="254" y="395"/>
                  </a:lnTo>
                  <a:lnTo>
                    <a:pt x="256" y="396"/>
                  </a:lnTo>
                  <a:lnTo>
                    <a:pt x="256" y="398"/>
                  </a:lnTo>
                  <a:lnTo>
                    <a:pt x="256" y="396"/>
                  </a:lnTo>
                  <a:lnTo>
                    <a:pt x="256" y="398"/>
                  </a:lnTo>
                  <a:lnTo>
                    <a:pt x="256" y="400"/>
                  </a:lnTo>
                  <a:lnTo>
                    <a:pt x="256" y="401"/>
                  </a:lnTo>
                  <a:lnTo>
                    <a:pt x="256" y="403"/>
                  </a:lnTo>
                  <a:lnTo>
                    <a:pt x="257" y="403"/>
                  </a:lnTo>
                  <a:lnTo>
                    <a:pt x="257" y="401"/>
                  </a:lnTo>
                  <a:lnTo>
                    <a:pt x="256" y="401"/>
                  </a:lnTo>
                  <a:lnTo>
                    <a:pt x="257" y="400"/>
                  </a:lnTo>
                  <a:lnTo>
                    <a:pt x="257" y="398"/>
                  </a:lnTo>
                  <a:lnTo>
                    <a:pt x="257" y="396"/>
                  </a:lnTo>
                  <a:lnTo>
                    <a:pt x="256" y="395"/>
                  </a:lnTo>
                  <a:lnTo>
                    <a:pt x="256" y="393"/>
                  </a:lnTo>
                  <a:lnTo>
                    <a:pt x="254" y="392"/>
                  </a:lnTo>
                  <a:lnTo>
                    <a:pt x="256" y="392"/>
                  </a:lnTo>
                  <a:lnTo>
                    <a:pt x="254" y="392"/>
                  </a:lnTo>
                  <a:lnTo>
                    <a:pt x="256" y="390"/>
                  </a:lnTo>
                  <a:lnTo>
                    <a:pt x="254" y="388"/>
                  </a:lnTo>
                  <a:lnTo>
                    <a:pt x="254" y="387"/>
                  </a:lnTo>
                  <a:lnTo>
                    <a:pt x="254" y="385"/>
                  </a:lnTo>
                  <a:lnTo>
                    <a:pt x="256" y="387"/>
                  </a:lnTo>
                  <a:lnTo>
                    <a:pt x="256" y="385"/>
                  </a:lnTo>
                  <a:lnTo>
                    <a:pt x="257" y="383"/>
                  </a:lnTo>
                  <a:lnTo>
                    <a:pt x="256" y="383"/>
                  </a:lnTo>
                  <a:lnTo>
                    <a:pt x="256" y="382"/>
                  </a:lnTo>
                  <a:lnTo>
                    <a:pt x="256" y="380"/>
                  </a:lnTo>
                  <a:lnTo>
                    <a:pt x="256" y="379"/>
                  </a:lnTo>
                  <a:lnTo>
                    <a:pt x="256" y="377"/>
                  </a:lnTo>
                  <a:lnTo>
                    <a:pt x="254" y="375"/>
                  </a:lnTo>
                  <a:lnTo>
                    <a:pt x="254" y="374"/>
                  </a:lnTo>
                  <a:lnTo>
                    <a:pt x="256" y="374"/>
                  </a:lnTo>
                  <a:lnTo>
                    <a:pt x="257" y="374"/>
                  </a:lnTo>
                  <a:lnTo>
                    <a:pt x="256" y="372"/>
                  </a:lnTo>
                  <a:lnTo>
                    <a:pt x="257" y="372"/>
                  </a:lnTo>
                  <a:lnTo>
                    <a:pt x="259" y="372"/>
                  </a:lnTo>
                  <a:lnTo>
                    <a:pt x="260" y="372"/>
                  </a:lnTo>
                  <a:lnTo>
                    <a:pt x="262" y="370"/>
                  </a:lnTo>
                  <a:lnTo>
                    <a:pt x="262" y="369"/>
                  </a:lnTo>
                  <a:lnTo>
                    <a:pt x="262" y="367"/>
                  </a:lnTo>
                  <a:lnTo>
                    <a:pt x="264" y="367"/>
                  </a:lnTo>
                  <a:lnTo>
                    <a:pt x="265" y="367"/>
                  </a:lnTo>
                  <a:lnTo>
                    <a:pt x="267" y="367"/>
                  </a:lnTo>
                  <a:lnTo>
                    <a:pt x="267" y="369"/>
                  </a:lnTo>
                  <a:lnTo>
                    <a:pt x="265" y="369"/>
                  </a:lnTo>
                  <a:lnTo>
                    <a:pt x="267" y="370"/>
                  </a:lnTo>
                  <a:lnTo>
                    <a:pt x="267" y="372"/>
                  </a:lnTo>
                  <a:lnTo>
                    <a:pt x="269" y="372"/>
                  </a:lnTo>
                  <a:lnTo>
                    <a:pt x="269" y="374"/>
                  </a:lnTo>
                  <a:lnTo>
                    <a:pt x="269" y="375"/>
                  </a:lnTo>
                  <a:lnTo>
                    <a:pt x="269" y="377"/>
                  </a:lnTo>
                  <a:lnTo>
                    <a:pt x="269" y="379"/>
                  </a:lnTo>
                  <a:lnTo>
                    <a:pt x="270" y="379"/>
                  </a:lnTo>
                  <a:lnTo>
                    <a:pt x="272" y="380"/>
                  </a:lnTo>
                  <a:lnTo>
                    <a:pt x="272" y="382"/>
                  </a:lnTo>
                  <a:lnTo>
                    <a:pt x="272" y="383"/>
                  </a:lnTo>
                  <a:lnTo>
                    <a:pt x="273" y="385"/>
                  </a:lnTo>
                  <a:lnTo>
                    <a:pt x="273" y="387"/>
                  </a:lnTo>
                  <a:lnTo>
                    <a:pt x="275" y="387"/>
                  </a:lnTo>
                  <a:lnTo>
                    <a:pt x="273" y="388"/>
                  </a:lnTo>
                  <a:lnTo>
                    <a:pt x="273" y="390"/>
                  </a:lnTo>
                  <a:lnTo>
                    <a:pt x="273" y="392"/>
                  </a:lnTo>
                  <a:lnTo>
                    <a:pt x="273" y="393"/>
                  </a:lnTo>
                  <a:lnTo>
                    <a:pt x="272" y="393"/>
                  </a:lnTo>
                  <a:lnTo>
                    <a:pt x="272" y="395"/>
                  </a:lnTo>
                  <a:lnTo>
                    <a:pt x="272" y="396"/>
                  </a:lnTo>
                  <a:lnTo>
                    <a:pt x="272" y="398"/>
                  </a:lnTo>
                  <a:lnTo>
                    <a:pt x="270" y="400"/>
                  </a:lnTo>
                  <a:lnTo>
                    <a:pt x="270" y="401"/>
                  </a:lnTo>
                  <a:lnTo>
                    <a:pt x="270" y="403"/>
                  </a:lnTo>
                  <a:lnTo>
                    <a:pt x="270" y="405"/>
                  </a:lnTo>
                  <a:lnTo>
                    <a:pt x="270" y="406"/>
                  </a:lnTo>
                  <a:lnTo>
                    <a:pt x="269" y="408"/>
                  </a:lnTo>
                  <a:lnTo>
                    <a:pt x="269" y="409"/>
                  </a:lnTo>
                  <a:lnTo>
                    <a:pt x="267" y="409"/>
                  </a:lnTo>
                  <a:lnTo>
                    <a:pt x="267" y="411"/>
                  </a:lnTo>
                  <a:lnTo>
                    <a:pt x="265" y="411"/>
                  </a:lnTo>
                  <a:lnTo>
                    <a:pt x="264" y="411"/>
                  </a:lnTo>
                  <a:lnTo>
                    <a:pt x="264" y="413"/>
                  </a:lnTo>
                  <a:lnTo>
                    <a:pt x="265" y="413"/>
                  </a:lnTo>
                  <a:lnTo>
                    <a:pt x="265" y="411"/>
                  </a:lnTo>
                  <a:lnTo>
                    <a:pt x="265" y="413"/>
                  </a:lnTo>
                  <a:lnTo>
                    <a:pt x="267" y="413"/>
                  </a:lnTo>
                  <a:lnTo>
                    <a:pt x="269" y="413"/>
                  </a:lnTo>
                  <a:lnTo>
                    <a:pt x="269" y="414"/>
                  </a:lnTo>
                  <a:lnTo>
                    <a:pt x="269" y="416"/>
                  </a:lnTo>
                  <a:lnTo>
                    <a:pt x="267" y="418"/>
                  </a:lnTo>
                  <a:lnTo>
                    <a:pt x="267" y="419"/>
                  </a:lnTo>
                  <a:lnTo>
                    <a:pt x="267" y="421"/>
                  </a:lnTo>
                  <a:lnTo>
                    <a:pt x="267" y="422"/>
                  </a:lnTo>
                  <a:lnTo>
                    <a:pt x="269" y="422"/>
                  </a:lnTo>
                  <a:lnTo>
                    <a:pt x="269" y="421"/>
                  </a:lnTo>
                  <a:lnTo>
                    <a:pt x="269" y="422"/>
                  </a:lnTo>
                  <a:lnTo>
                    <a:pt x="269" y="424"/>
                  </a:lnTo>
                  <a:lnTo>
                    <a:pt x="269" y="426"/>
                  </a:lnTo>
                  <a:lnTo>
                    <a:pt x="267" y="426"/>
                  </a:lnTo>
                  <a:lnTo>
                    <a:pt x="265" y="426"/>
                  </a:lnTo>
                  <a:lnTo>
                    <a:pt x="264" y="426"/>
                  </a:lnTo>
                  <a:lnTo>
                    <a:pt x="264" y="427"/>
                  </a:lnTo>
                  <a:close/>
                  <a:moveTo>
                    <a:pt x="693" y="118"/>
                  </a:moveTo>
                  <a:lnTo>
                    <a:pt x="693" y="117"/>
                  </a:lnTo>
                  <a:lnTo>
                    <a:pt x="695" y="115"/>
                  </a:lnTo>
                  <a:lnTo>
                    <a:pt x="695" y="117"/>
                  </a:lnTo>
                  <a:lnTo>
                    <a:pt x="695" y="115"/>
                  </a:lnTo>
                  <a:lnTo>
                    <a:pt x="696" y="115"/>
                  </a:lnTo>
                  <a:lnTo>
                    <a:pt x="696" y="113"/>
                  </a:lnTo>
                  <a:lnTo>
                    <a:pt x="698" y="112"/>
                  </a:lnTo>
                  <a:lnTo>
                    <a:pt x="696" y="112"/>
                  </a:lnTo>
                  <a:lnTo>
                    <a:pt x="698" y="112"/>
                  </a:lnTo>
                  <a:lnTo>
                    <a:pt x="698" y="110"/>
                  </a:lnTo>
                  <a:lnTo>
                    <a:pt x="698" y="109"/>
                  </a:lnTo>
                  <a:lnTo>
                    <a:pt x="700" y="107"/>
                  </a:lnTo>
                  <a:lnTo>
                    <a:pt x="700" y="105"/>
                  </a:lnTo>
                  <a:lnTo>
                    <a:pt x="701" y="104"/>
                  </a:lnTo>
                  <a:lnTo>
                    <a:pt x="701" y="102"/>
                  </a:lnTo>
                  <a:lnTo>
                    <a:pt x="703" y="99"/>
                  </a:lnTo>
                  <a:lnTo>
                    <a:pt x="703" y="97"/>
                  </a:lnTo>
                  <a:lnTo>
                    <a:pt x="701" y="97"/>
                  </a:lnTo>
                  <a:lnTo>
                    <a:pt x="701" y="99"/>
                  </a:lnTo>
                  <a:lnTo>
                    <a:pt x="700" y="99"/>
                  </a:lnTo>
                  <a:lnTo>
                    <a:pt x="700" y="97"/>
                  </a:lnTo>
                  <a:lnTo>
                    <a:pt x="701" y="96"/>
                  </a:lnTo>
                  <a:lnTo>
                    <a:pt x="700" y="96"/>
                  </a:lnTo>
                  <a:lnTo>
                    <a:pt x="701" y="96"/>
                  </a:lnTo>
                  <a:lnTo>
                    <a:pt x="701" y="92"/>
                  </a:lnTo>
                  <a:lnTo>
                    <a:pt x="703" y="91"/>
                  </a:lnTo>
                  <a:lnTo>
                    <a:pt x="703" y="89"/>
                  </a:lnTo>
                  <a:lnTo>
                    <a:pt x="701" y="89"/>
                  </a:lnTo>
                  <a:lnTo>
                    <a:pt x="701" y="91"/>
                  </a:lnTo>
                  <a:lnTo>
                    <a:pt x="700" y="94"/>
                  </a:lnTo>
                  <a:lnTo>
                    <a:pt x="700" y="92"/>
                  </a:lnTo>
                  <a:lnTo>
                    <a:pt x="701" y="87"/>
                  </a:lnTo>
                  <a:lnTo>
                    <a:pt x="703" y="87"/>
                  </a:lnTo>
                  <a:lnTo>
                    <a:pt x="701" y="87"/>
                  </a:lnTo>
                  <a:lnTo>
                    <a:pt x="701" y="89"/>
                  </a:lnTo>
                  <a:lnTo>
                    <a:pt x="700" y="92"/>
                  </a:lnTo>
                  <a:lnTo>
                    <a:pt x="700" y="91"/>
                  </a:lnTo>
                  <a:lnTo>
                    <a:pt x="701" y="89"/>
                  </a:lnTo>
                  <a:lnTo>
                    <a:pt x="700" y="89"/>
                  </a:lnTo>
                  <a:lnTo>
                    <a:pt x="700" y="87"/>
                  </a:lnTo>
                  <a:lnTo>
                    <a:pt x="700" y="89"/>
                  </a:lnTo>
                  <a:lnTo>
                    <a:pt x="700" y="87"/>
                  </a:lnTo>
                  <a:lnTo>
                    <a:pt x="701" y="87"/>
                  </a:lnTo>
                  <a:lnTo>
                    <a:pt x="701" y="89"/>
                  </a:lnTo>
                  <a:lnTo>
                    <a:pt x="701" y="86"/>
                  </a:lnTo>
                  <a:lnTo>
                    <a:pt x="703" y="86"/>
                  </a:lnTo>
                  <a:lnTo>
                    <a:pt x="701" y="84"/>
                  </a:lnTo>
                  <a:lnTo>
                    <a:pt x="703" y="83"/>
                  </a:lnTo>
                  <a:lnTo>
                    <a:pt x="701" y="84"/>
                  </a:lnTo>
                  <a:lnTo>
                    <a:pt x="701" y="86"/>
                  </a:lnTo>
                  <a:lnTo>
                    <a:pt x="700" y="86"/>
                  </a:lnTo>
                  <a:lnTo>
                    <a:pt x="698" y="87"/>
                  </a:lnTo>
                  <a:lnTo>
                    <a:pt x="698" y="86"/>
                  </a:lnTo>
                  <a:lnTo>
                    <a:pt x="698" y="84"/>
                  </a:lnTo>
                  <a:lnTo>
                    <a:pt x="698" y="83"/>
                  </a:lnTo>
                  <a:lnTo>
                    <a:pt x="700" y="83"/>
                  </a:lnTo>
                  <a:lnTo>
                    <a:pt x="700" y="81"/>
                  </a:lnTo>
                  <a:lnTo>
                    <a:pt x="698" y="81"/>
                  </a:lnTo>
                  <a:lnTo>
                    <a:pt x="696" y="81"/>
                  </a:lnTo>
                  <a:lnTo>
                    <a:pt x="696" y="79"/>
                  </a:lnTo>
                  <a:lnTo>
                    <a:pt x="695" y="79"/>
                  </a:lnTo>
                  <a:lnTo>
                    <a:pt x="695" y="81"/>
                  </a:lnTo>
                  <a:lnTo>
                    <a:pt x="696" y="81"/>
                  </a:lnTo>
                  <a:lnTo>
                    <a:pt x="696" y="83"/>
                  </a:lnTo>
                  <a:lnTo>
                    <a:pt x="698" y="83"/>
                  </a:lnTo>
                  <a:lnTo>
                    <a:pt x="696" y="84"/>
                  </a:lnTo>
                  <a:lnTo>
                    <a:pt x="698" y="86"/>
                  </a:lnTo>
                  <a:lnTo>
                    <a:pt x="698" y="87"/>
                  </a:lnTo>
                  <a:lnTo>
                    <a:pt x="698" y="89"/>
                  </a:lnTo>
                  <a:lnTo>
                    <a:pt x="696" y="89"/>
                  </a:lnTo>
                  <a:lnTo>
                    <a:pt x="696" y="87"/>
                  </a:lnTo>
                  <a:lnTo>
                    <a:pt x="696" y="86"/>
                  </a:lnTo>
                  <a:lnTo>
                    <a:pt x="696" y="87"/>
                  </a:lnTo>
                  <a:lnTo>
                    <a:pt x="695" y="87"/>
                  </a:lnTo>
                  <a:lnTo>
                    <a:pt x="695" y="86"/>
                  </a:lnTo>
                  <a:lnTo>
                    <a:pt x="695" y="84"/>
                  </a:lnTo>
                  <a:lnTo>
                    <a:pt x="695" y="86"/>
                  </a:lnTo>
                  <a:lnTo>
                    <a:pt x="695" y="87"/>
                  </a:lnTo>
                  <a:lnTo>
                    <a:pt x="693" y="89"/>
                  </a:lnTo>
                  <a:lnTo>
                    <a:pt x="695" y="89"/>
                  </a:lnTo>
                  <a:lnTo>
                    <a:pt x="695" y="91"/>
                  </a:lnTo>
                  <a:lnTo>
                    <a:pt x="693" y="91"/>
                  </a:lnTo>
                  <a:lnTo>
                    <a:pt x="693" y="92"/>
                  </a:lnTo>
                  <a:lnTo>
                    <a:pt x="693" y="91"/>
                  </a:lnTo>
                  <a:lnTo>
                    <a:pt x="691" y="91"/>
                  </a:lnTo>
                  <a:lnTo>
                    <a:pt x="691" y="89"/>
                  </a:lnTo>
                  <a:lnTo>
                    <a:pt x="691" y="91"/>
                  </a:lnTo>
                  <a:lnTo>
                    <a:pt x="690" y="89"/>
                  </a:lnTo>
                  <a:lnTo>
                    <a:pt x="690" y="91"/>
                  </a:lnTo>
                  <a:lnTo>
                    <a:pt x="690" y="92"/>
                  </a:lnTo>
                  <a:lnTo>
                    <a:pt x="690" y="94"/>
                  </a:lnTo>
                  <a:lnTo>
                    <a:pt x="688" y="94"/>
                  </a:lnTo>
                  <a:lnTo>
                    <a:pt x="690" y="94"/>
                  </a:lnTo>
                  <a:lnTo>
                    <a:pt x="688" y="92"/>
                  </a:lnTo>
                  <a:lnTo>
                    <a:pt x="687" y="92"/>
                  </a:lnTo>
                  <a:lnTo>
                    <a:pt x="688" y="91"/>
                  </a:lnTo>
                  <a:lnTo>
                    <a:pt x="687" y="91"/>
                  </a:lnTo>
                  <a:lnTo>
                    <a:pt x="687" y="89"/>
                  </a:lnTo>
                  <a:lnTo>
                    <a:pt x="685" y="89"/>
                  </a:lnTo>
                  <a:lnTo>
                    <a:pt x="685" y="87"/>
                  </a:lnTo>
                  <a:lnTo>
                    <a:pt x="685" y="89"/>
                  </a:lnTo>
                  <a:lnTo>
                    <a:pt x="685" y="87"/>
                  </a:lnTo>
                  <a:lnTo>
                    <a:pt x="685" y="89"/>
                  </a:lnTo>
                  <a:lnTo>
                    <a:pt x="683" y="87"/>
                  </a:lnTo>
                  <a:lnTo>
                    <a:pt x="685" y="87"/>
                  </a:lnTo>
                  <a:lnTo>
                    <a:pt x="683" y="87"/>
                  </a:lnTo>
                  <a:lnTo>
                    <a:pt x="685" y="86"/>
                  </a:lnTo>
                  <a:lnTo>
                    <a:pt x="685" y="84"/>
                  </a:lnTo>
                  <a:lnTo>
                    <a:pt x="685" y="86"/>
                  </a:lnTo>
                  <a:lnTo>
                    <a:pt x="685" y="84"/>
                  </a:lnTo>
                  <a:lnTo>
                    <a:pt x="687" y="84"/>
                  </a:lnTo>
                  <a:lnTo>
                    <a:pt x="688" y="86"/>
                  </a:lnTo>
                  <a:lnTo>
                    <a:pt x="688" y="84"/>
                  </a:lnTo>
                  <a:lnTo>
                    <a:pt x="690" y="84"/>
                  </a:lnTo>
                  <a:lnTo>
                    <a:pt x="688" y="84"/>
                  </a:lnTo>
                  <a:lnTo>
                    <a:pt x="688" y="83"/>
                  </a:lnTo>
                  <a:lnTo>
                    <a:pt x="688" y="81"/>
                  </a:lnTo>
                  <a:lnTo>
                    <a:pt x="687" y="81"/>
                  </a:lnTo>
                  <a:lnTo>
                    <a:pt x="688" y="79"/>
                  </a:lnTo>
                  <a:lnTo>
                    <a:pt x="687" y="79"/>
                  </a:lnTo>
                  <a:lnTo>
                    <a:pt x="687" y="81"/>
                  </a:lnTo>
                  <a:lnTo>
                    <a:pt x="687" y="83"/>
                  </a:lnTo>
                  <a:lnTo>
                    <a:pt x="685" y="83"/>
                  </a:lnTo>
                  <a:lnTo>
                    <a:pt x="685" y="84"/>
                  </a:lnTo>
                  <a:lnTo>
                    <a:pt x="683" y="84"/>
                  </a:lnTo>
                  <a:lnTo>
                    <a:pt x="683" y="86"/>
                  </a:lnTo>
                  <a:lnTo>
                    <a:pt x="683" y="84"/>
                  </a:lnTo>
                  <a:lnTo>
                    <a:pt x="683" y="83"/>
                  </a:lnTo>
                  <a:lnTo>
                    <a:pt x="685" y="83"/>
                  </a:lnTo>
                  <a:lnTo>
                    <a:pt x="683" y="83"/>
                  </a:lnTo>
                  <a:lnTo>
                    <a:pt x="683" y="81"/>
                  </a:lnTo>
                  <a:lnTo>
                    <a:pt x="683" y="83"/>
                  </a:lnTo>
                  <a:lnTo>
                    <a:pt x="682" y="83"/>
                  </a:lnTo>
                  <a:lnTo>
                    <a:pt x="680" y="83"/>
                  </a:lnTo>
                  <a:lnTo>
                    <a:pt x="682" y="83"/>
                  </a:lnTo>
                  <a:lnTo>
                    <a:pt x="682" y="84"/>
                  </a:lnTo>
                  <a:lnTo>
                    <a:pt x="680" y="83"/>
                  </a:lnTo>
                  <a:lnTo>
                    <a:pt x="680" y="84"/>
                  </a:lnTo>
                  <a:lnTo>
                    <a:pt x="680" y="83"/>
                  </a:lnTo>
                  <a:lnTo>
                    <a:pt x="680" y="84"/>
                  </a:lnTo>
                  <a:lnTo>
                    <a:pt x="678" y="84"/>
                  </a:lnTo>
                  <a:lnTo>
                    <a:pt x="678" y="83"/>
                  </a:lnTo>
                  <a:lnTo>
                    <a:pt x="677" y="83"/>
                  </a:lnTo>
                  <a:lnTo>
                    <a:pt x="677" y="81"/>
                  </a:lnTo>
                  <a:lnTo>
                    <a:pt x="678" y="81"/>
                  </a:lnTo>
                  <a:lnTo>
                    <a:pt x="677" y="81"/>
                  </a:lnTo>
                  <a:lnTo>
                    <a:pt x="677" y="79"/>
                  </a:lnTo>
                  <a:lnTo>
                    <a:pt x="675" y="79"/>
                  </a:lnTo>
                  <a:lnTo>
                    <a:pt x="675" y="78"/>
                  </a:lnTo>
                  <a:lnTo>
                    <a:pt x="675" y="76"/>
                  </a:lnTo>
                  <a:lnTo>
                    <a:pt x="675" y="74"/>
                  </a:lnTo>
                  <a:lnTo>
                    <a:pt x="677" y="74"/>
                  </a:lnTo>
                  <a:lnTo>
                    <a:pt x="677" y="73"/>
                  </a:lnTo>
                  <a:lnTo>
                    <a:pt x="675" y="73"/>
                  </a:lnTo>
                  <a:lnTo>
                    <a:pt x="675" y="71"/>
                  </a:lnTo>
                  <a:lnTo>
                    <a:pt x="677" y="71"/>
                  </a:lnTo>
                  <a:lnTo>
                    <a:pt x="677" y="70"/>
                  </a:lnTo>
                  <a:lnTo>
                    <a:pt x="678" y="70"/>
                  </a:lnTo>
                  <a:lnTo>
                    <a:pt x="680" y="70"/>
                  </a:lnTo>
                  <a:lnTo>
                    <a:pt x="682" y="70"/>
                  </a:lnTo>
                  <a:lnTo>
                    <a:pt x="683" y="70"/>
                  </a:lnTo>
                  <a:lnTo>
                    <a:pt x="683" y="71"/>
                  </a:lnTo>
                  <a:lnTo>
                    <a:pt x="685" y="73"/>
                  </a:lnTo>
                  <a:lnTo>
                    <a:pt x="685" y="71"/>
                  </a:lnTo>
                  <a:lnTo>
                    <a:pt x="687" y="71"/>
                  </a:lnTo>
                  <a:lnTo>
                    <a:pt x="688" y="73"/>
                  </a:lnTo>
                  <a:lnTo>
                    <a:pt x="688" y="71"/>
                  </a:lnTo>
                  <a:lnTo>
                    <a:pt x="687" y="71"/>
                  </a:lnTo>
                  <a:lnTo>
                    <a:pt x="687" y="70"/>
                  </a:lnTo>
                  <a:lnTo>
                    <a:pt x="688" y="70"/>
                  </a:lnTo>
                  <a:lnTo>
                    <a:pt x="690" y="70"/>
                  </a:lnTo>
                  <a:lnTo>
                    <a:pt x="691" y="70"/>
                  </a:lnTo>
                  <a:lnTo>
                    <a:pt x="691" y="71"/>
                  </a:lnTo>
                  <a:lnTo>
                    <a:pt x="691" y="73"/>
                  </a:lnTo>
                  <a:lnTo>
                    <a:pt x="691" y="74"/>
                  </a:lnTo>
                  <a:lnTo>
                    <a:pt x="691" y="73"/>
                  </a:lnTo>
                  <a:lnTo>
                    <a:pt x="691" y="71"/>
                  </a:lnTo>
                  <a:lnTo>
                    <a:pt x="693" y="71"/>
                  </a:lnTo>
                  <a:lnTo>
                    <a:pt x="693" y="73"/>
                  </a:lnTo>
                  <a:lnTo>
                    <a:pt x="695" y="73"/>
                  </a:lnTo>
                  <a:lnTo>
                    <a:pt x="693" y="73"/>
                  </a:lnTo>
                  <a:lnTo>
                    <a:pt x="693" y="71"/>
                  </a:lnTo>
                  <a:lnTo>
                    <a:pt x="693" y="70"/>
                  </a:lnTo>
                  <a:lnTo>
                    <a:pt x="695" y="70"/>
                  </a:lnTo>
                  <a:lnTo>
                    <a:pt x="696" y="70"/>
                  </a:lnTo>
                  <a:lnTo>
                    <a:pt x="696" y="68"/>
                  </a:lnTo>
                  <a:lnTo>
                    <a:pt x="696" y="70"/>
                  </a:lnTo>
                  <a:lnTo>
                    <a:pt x="696" y="71"/>
                  </a:lnTo>
                  <a:lnTo>
                    <a:pt x="696" y="70"/>
                  </a:lnTo>
                  <a:lnTo>
                    <a:pt x="698" y="70"/>
                  </a:lnTo>
                  <a:lnTo>
                    <a:pt x="698" y="71"/>
                  </a:lnTo>
                  <a:lnTo>
                    <a:pt x="698" y="73"/>
                  </a:lnTo>
                  <a:lnTo>
                    <a:pt x="698" y="74"/>
                  </a:lnTo>
                  <a:lnTo>
                    <a:pt x="700" y="76"/>
                  </a:lnTo>
                  <a:lnTo>
                    <a:pt x="700" y="74"/>
                  </a:lnTo>
                  <a:lnTo>
                    <a:pt x="700" y="73"/>
                  </a:lnTo>
                  <a:lnTo>
                    <a:pt x="701" y="73"/>
                  </a:lnTo>
                  <a:lnTo>
                    <a:pt x="700" y="73"/>
                  </a:lnTo>
                  <a:lnTo>
                    <a:pt x="700" y="71"/>
                  </a:lnTo>
                  <a:lnTo>
                    <a:pt x="700" y="70"/>
                  </a:lnTo>
                  <a:lnTo>
                    <a:pt x="700" y="68"/>
                  </a:lnTo>
                  <a:lnTo>
                    <a:pt x="701" y="68"/>
                  </a:lnTo>
                  <a:lnTo>
                    <a:pt x="703" y="68"/>
                  </a:lnTo>
                  <a:lnTo>
                    <a:pt x="703" y="70"/>
                  </a:lnTo>
                  <a:lnTo>
                    <a:pt x="703" y="68"/>
                  </a:lnTo>
                  <a:lnTo>
                    <a:pt x="703" y="66"/>
                  </a:lnTo>
                  <a:lnTo>
                    <a:pt x="703" y="65"/>
                  </a:lnTo>
                  <a:lnTo>
                    <a:pt x="703" y="66"/>
                  </a:lnTo>
                  <a:lnTo>
                    <a:pt x="704" y="66"/>
                  </a:lnTo>
                  <a:lnTo>
                    <a:pt x="706" y="66"/>
                  </a:lnTo>
                  <a:lnTo>
                    <a:pt x="708" y="66"/>
                  </a:lnTo>
                  <a:lnTo>
                    <a:pt x="708" y="68"/>
                  </a:lnTo>
                  <a:lnTo>
                    <a:pt x="708" y="66"/>
                  </a:lnTo>
                  <a:lnTo>
                    <a:pt x="706" y="66"/>
                  </a:lnTo>
                  <a:lnTo>
                    <a:pt x="706" y="65"/>
                  </a:lnTo>
                  <a:lnTo>
                    <a:pt x="704" y="65"/>
                  </a:lnTo>
                  <a:lnTo>
                    <a:pt x="703" y="65"/>
                  </a:lnTo>
                  <a:lnTo>
                    <a:pt x="701" y="65"/>
                  </a:lnTo>
                  <a:lnTo>
                    <a:pt x="701" y="63"/>
                  </a:lnTo>
                  <a:lnTo>
                    <a:pt x="703" y="63"/>
                  </a:lnTo>
                  <a:lnTo>
                    <a:pt x="703" y="61"/>
                  </a:lnTo>
                  <a:lnTo>
                    <a:pt x="703" y="60"/>
                  </a:lnTo>
                  <a:lnTo>
                    <a:pt x="701" y="60"/>
                  </a:lnTo>
                  <a:lnTo>
                    <a:pt x="701" y="61"/>
                  </a:lnTo>
                  <a:lnTo>
                    <a:pt x="701" y="63"/>
                  </a:lnTo>
                  <a:lnTo>
                    <a:pt x="700" y="63"/>
                  </a:lnTo>
                  <a:lnTo>
                    <a:pt x="700" y="61"/>
                  </a:lnTo>
                  <a:lnTo>
                    <a:pt x="698" y="61"/>
                  </a:lnTo>
                  <a:lnTo>
                    <a:pt x="698" y="60"/>
                  </a:lnTo>
                  <a:lnTo>
                    <a:pt x="700" y="60"/>
                  </a:lnTo>
                  <a:lnTo>
                    <a:pt x="700" y="58"/>
                  </a:lnTo>
                  <a:lnTo>
                    <a:pt x="698" y="58"/>
                  </a:lnTo>
                  <a:lnTo>
                    <a:pt x="700" y="57"/>
                  </a:lnTo>
                  <a:lnTo>
                    <a:pt x="700" y="58"/>
                  </a:lnTo>
                  <a:lnTo>
                    <a:pt x="700" y="57"/>
                  </a:lnTo>
                  <a:lnTo>
                    <a:pt x="698" y="57"/>
                  </a:lnTo>
                  <a:lnTo>
                    <a:pt x="696" y="57"/>
                  </a:lnTo>
                  <a:lnTo>
                    <a:pt x="696" y="55"/>
                  </a:lnTo>
                  <a:lnTo>
                    <a:pt x="696" y="53"/>
                  </a:lnTo>
                  <a:lnTo>
                    <a:pt x="696" y="52"/>
                  </a:lnTo>
                  <a:lnTo>
                    <a:pt x="698" y="52"/>
                  </a:lnTo>
                  <a:lnTo>
                    <a:pt x="696" y="52"/>
                  </a:lnTo>
                  <a:lnTo>
                    <a:pt x="696" y="50"/>
                  </a:lnTo>
                  <a:lnTo>
                    <a:pt x="696" y="48"/>
                  </a:lnTo>
                  <a:lnTo>
                    <a:pt x="698" y="48"/>
                  </a:lnTo>
                  <a:lnTo>
                    <a:pt x="696" y="48"/>
                  </a:lnTo>
                  <a:lnTo>
                    <a:pt x="696" y="47"/>
                  </a:lnTo>
                  <a:lnTo>
                    <a:pt x="698" y="47"/>
                  </a:lnTo>
                  <a:lnTo>
                    <a:pt x="696" y="47"/>
                  </a:lnTo>
                  <a:lnTo>
                    <a:pt x="695" y="47"/>
                  </a:lnTo>
                  <a:lnTo>
                    <a:pt x="696" y="48"/>
                  </a:lnTo>
                  <a:lnTo>
                    <a:pt x="695" y="48"/>
                  </a:lnTo>
                  <a:lnTo>
                    <a:pt x="695" y="50"/>
                  </a:lnTo>
                  <a:lnTo>
                    <a:pt x="693" y="50"/>
                  </a:lnTo>
                  <a:lnTo>
                    <a:pt x="693" y="48"/>
                  </a:lnTo>
                  <a:lnTo>
                    <a:pt x="693" y="47"/>
                  </a:lnTo>
                  <a:lnTo>
                    <a:pt x="695" y="47"/>
                  </a:lnTo>
                  <a:lnTo>
                    <a:pt x="695" y="45"/>
                  </a:lnTo>
                  <a:lnTo>
                    <a:pt x="693" y="47"/>
                  </a:lnTo>
                  <a:lnTo>
                    <a:pt x="693" y="45"/>
                  </a:lnTo>
                  <a:lnTo>
                    <a:pt x="693" y="47"/>
                  </a:lnTo>
                  <a:lnTo>
                    <a:pt x="693" y="45"/>
                  </a:lnTo>
                  <a:lnTo>
                    <a:pt x="691" y="45"/>
                  </a:lnTo>
                  <a:lnTo>
                    <a:pt x="691" y="44"/>
                  </a:lnTo>
                  <a:lnTo>
                    <a:pt x="690" y="45"/>
                  </a:lnTo>
                  <a:lnTo>
                    <a:pt x="690" y="47"/>
                  </a:lnTo>
                  <a:lnTo>
                    <a:pt x="690" y="45"/>
                  </a:lnTo>
                  <a:lnTo>
                    <a:pt x="688" y="45"/>
                  </a:lnTo>
                  <a:lnTo>
                    <a:pt x="687" y="45"/>
                  </a:lnTo>
                  <a:lnTo>
                    <a:pt x="685" y="45"/>
                  </a:lnTo>
                  <a:lnTo>
                    <a:pt x="685" y="44"/>
                  </a:lnTo>
                  <a:lnTo>
                    <a:pt x="687" y="44"/>
                  </a:lnTo>
                  <a:lnTo>
                    <a:pt x="687" y="42"/>
                  </a:lnTo>
                  <a:lnTo>
                    <a:pt x="688" y="42"/>
                  </a:lnTo>
                  <a:lnTo>
                    <a:pt x="690" y="42"/>
                  </a:lnTo>
                  <a:lnTo>
                    <a:pt x="691" y="42"/>
                  </a:lnTo>
                  <a:lnTo>
                    <a:pt x="690" y="42"/>
                  </a:lnTo>
                  <a:lnTo>
                    <a:pt x="690" y="40"/>
                  </a:lnTo>
                  <a:lnTo>
                    <a:pt x="691" y="40"/>
                  </a:lnTo>
                  <a:lnTo>
                    <a:pt x="691" y="39"/>
                  </a:lnTo>
                  <a:lnTo>
                    <a:pt x="691" y="37"/>
                  </a:lnTo>
                  <a:lnTo>
                    <a:pt x="693" y="37"/>
                  </a:lnTo>
                  <a:lnTo>
                    <a:pt x="693" y="35"/>
                  </a:lnTo>
                  <a:lnTo>
                    <a:pt x="695" y="35"/>
                  </a:lnTo>
                  <a:lnTo>
                    <a:pt x="695" y="37"/>
                  </a:lnTo>
                  <a:lnTo>
                    <a:pt x="695" y="39"/>
                  </a:lnTo>
                  <a:lnTo>
                    <a:pt x="695" y="40"/>
                  </a:lnTo>
                  <a:lnTo>
                    <a:pt x="696" y="40"/>
                  </a:lnTo>
                  <a:lnTo>
                    <a:pt x="696" y="42"/>
                  </a:lnTo>
                  <a:lnTo>
                    <a:pt x="698" y="42"/>
                  </a:lnTo>
                  <a:lnTo>
                    <a:pt x="698" y="44"/>
                  </a:lnTo>
                  <a:lnTo>
                    <a:pt x="700" y="44"/>
                  </a:lnTo>
                  <a:lnTo>
                    <a:pt x="701" y="44"/>
                  </a:lnTo>
                  <a:lnTo>
                    <a:pt x="703" y="44"/>
                  </a:lnTo>
                  <a:lnTo>
                    <a:pt x="703" y="42"/>
                  </a:lnTo>
                  <a:lnTo>
                    <a:pt x="703" y="44"/>
                  </a:lnTo>
                  <a:lnTo>
                    <a:pt x="701" y="44"/>
                  </a:lnTo>
                  <a:lnTo>
                    <a:pt x="700" y="42"/>
                  </a:lnTo>
                  <a:lnTo>
                    <a:pt x="700" y="44"/>
                  </a:lnTo>
                  <a:lnTo>
                    <a:pt x="698" y="42"/>
                  </a:lnTo>
                  <a:lnTo>
                    <a:pt x="696" y="40"/>
                  </a:lnTo>
                  <a:lnTo>
                    <a:pt x="696" y="39"/>
                  </a:lnTo>
                  <a:lnTo>
                    <a:pt x="696" y="37"/>
                  </a:lnTo>
                  <a:lnTo>
                    <a:pt x="698" y="37"/>
                  </a:lnTo>
                  <a:lnTo>
                    <a:pt x="698" y="35"/>
                  </a:lnTo>
                  <a:lnTo>
                    <a:pt x="700" y="35"/>
                  </a:lnTo>
                  <a:lnTo>
                    <a:pt x="700" y="34"/>
                  </a:lnTo>
                  <a:lnTo>
                    <a:pt x="701" y="34"/>
                  </a:lnTo>
                  <a:lnTo>
                    <a:pt x="701" y="32"/>
                  </a:lnTo>
                  <a:lnTo>
                    <a:pt x="701" y="31"/>
                  </a:lnTo>
                  <a:lnTo>
                    <a:pt x="703" y="31"/>
                  </a:lnTo>
                  <a:lnTo>
                    <a:pt x="703" y="29"/>
                  </a:lnTo>
                  <a:lnTo>
                    <a:pt x="703" y="27"/>
                  </a:lnTo>
                  <a:lnTo>
                    <a:pt x="704" y="27"/>
                  </a:lnTo>
                  <a:lnTo>
                    <a:pt x="704" y="29"/>
                  </a:lnTo>
                  <a:lnTo>
                    <a:pt x="706" y="29"/>
                  </a:lnTo>
                  <a:lnTo>
                    <a:pt x="706" y="31"/>
                  </a:lnTo>
                  <a:lnTo>
                    <a:pt x="708" y="29"/>
                  </a:lnTo>
                  <a:lnTo>
                    <a:pt x="708" y="31"/>
                  </a:lnTo>
                  <a:lnTo>
                    <a:pt x="708" y="29"/>
                  </a:lnTo>
                  <a:lnTo>
                    <a:pt x="708" y="31"/>
                  </a:lnTo>
                  <a:lnTo>
                    <a:pt x="709" y="31"/>
                  </a:lnTo>
                  <a:lnTo>
                    <a:pt x="709" y="32"/>
                  </a:lnTo>
                  <a:lnTo>
                    <a:pt x="709" y="31"/>
                  </a:lnTo>
                  <a:lnTo>
                    <a:pt x="709" y="29"/>
                  </a:lnTo>
                  <a:lnTo>
                    <a:pt x="708" y="29"/>
                  </a:lnTo>
                  <a:lnTo>
                    <a:pt x="709" y="29"/>
                  </a:lnTo>
                  <a:lnTo>
                    <a:pt x="709" y="27"/>
                  </a:lnTo>
                  <a:lnTo>
                    <a:pt x="711" y="27"/>
                  </a:lnTo>
                  <a:lnTo>
                    <a:pt x="711" y="29"/>
                  </a:lnTo>
                  <a:lnTo>
                    <a:pt x="711" y="27"/>
                  </a:lnTo>
                  <a:lnTo>
                    <a:pt x="711" y="29"/>
                  </a:lnTo>
                  <a:lnTo>
                    <a:pt x="713" y="29"/>
                  </a:lnTo>
                  <a:lnTo>
                    <a:pt x="711" y="29"/>
                  </a:lnTo>
                  <a:lnTo>
                    <a:pt x="711" y="31"/>
                  </a:lnTo>
                  <a:lnTo>
                    <a:pt x="711" y="32"/>
                  </a:lnTo>
                  <a:lnTo>
                    <a:pt x="711" y="34"/>
                  </a:lnTo>
                  <a:lnTo>
                    <a:pt x="709" y="34"/>
                  </a:lnTo>
                  <a:lnTo>
                    <a:pt x="708" y="34"/>
                  </a:lnTo>
                  <a:lnTo>
                    <a:pt x="709" y="34"/>
                  </a:lnTo>
                  <a:lnTo>
                    <a:pt x="709" y="35"/>
                  </a:lnTo>
                  <a:lnTo>
                    <a:pt x="711" y="35"/>
                  </a:lnTo>
                  <a:lnTo>
                    <a:pt x="709" y="35"/>
                  </a:lnTo>
                  <a:lnTo>
                    <a:pt x="711" y="35"/>
                  </a:lnTo>
                  <a:lnTo>
                    <a:pt x="709" y="35"/>
                  </a:lnTo>
                  <a:lnTo>
                    <a:pt x="711" y="35"/>
                  </a:lnTo>
                  <a:lnTo>
                    <a:pt x="709" y="35"/>
                  </a:lnTo>
                  <a:lnTo>
                    <a:pt x="709" y="37"/>
                  </a:lnTo>
                  <a:lnTo>
                    <a:pt x="709" y="39"/>
                  </a:lnTo>
                  <a:lnTo>
                    <a:pt x="709" y="40"/>
                  </a:lnTo>
                  <a:lnTo>
                    <a:pt x="708" y="40"/>
                  </a:lnTo>
                  <a:lnTo>
                    <a:pt x="708" y="39"/>
                  </a:lnTo>
                  <a:lnTo>
                    <a:pt x="708" y="40"/>
                  </a:lnTo>
                  <a:lnTo>
                    <a:pt x="706" y="40"/>
                  </a:lnTo>
                  <a:lnTo>
                    <a:pt x="706" y="39"/>
                  </a:lnTo>
                  <a:lnTo>
                    <a:pt x="706" y="42"/>
                  </a:lnTo>
                  <a:lnTo>
                    <a:pt x="708" y="42"/>
                  </a:lnTo>
                  <a:lnTo>
                    <a:pt x="706" y="42"/>
                  </a:lnTo>
                  <a:lnTo>
                    <a:pt x="704" y="44"/>
                  </a:lnTo>
                  <a:lnTo>
                    <a:pt x="706" y="44"/>
                  </a:lnTo>
                  <a:lnTo>
                    <a:pt x="706" y="42"/>
                  </a:lnTo>
                  <a:lnTo>
                    <a:pt x="708" y="44"/>
                  </a:lnTo>
                  <a:lnTo>
                    <a:pt x="708" y="45"/>
                  </a:lnTo>
                  <a:lnTo>
                    <a:pt x="706" y="45"/>
                  </a:lnTo>
                  <a:lnTo>
                    <a:pt x="706" y="47"/>
                  </a:lnTo>
                  <a:lnTo>
                    <a:pt x="704" y="48"/>
                  </a:lnTo>
                  <a:lnTo>
                    <a:pt x="706" y="48"/>
                  </a:lnTo>
                  <a:lnTo>
                    <a:pt x="706" y="47"/>
                  </a:lnTo>
                  <a:lnTo>
                    <a:pt x="708" y="47"/>
                  </a:lnTo>
                  <a:lnTo>
                    <a:pt x="708" y="45"/>
                  </a:lnTo>
                  <a:lnTo>
                    <a:pt x="708" y="47"/>
                  </a:lnTo>
                  <a:lnTo>
                    <a:pt x="708" y="48"/>
                  </a:lnTo>
                  <a:lnTo>
                    <a:pt x="706" y="48"/>
                  </a:lnTo>
                  <a:lnTo>
                    <a:pt x="706" y="50"/>
                  </a:lnTo>
                  <a:lnTo>
                    <a:pt x="706" y="52"/>
                  </a:lnTo>
                  <a:lnTo>
                    <a:pt x="706" y="53"/>
                  </a:lnTo>
                  <a:lnTo>
                    <a:pt x="704" y="53"/>
                  </a:lnTo>
                  <a:lnTo>
                    <a:pt x="704" y="52"/>
                  </a:lnTo>
                  <a:lnTo>
                    <a:pt x="704" y="53"/>
                  </a:lnTo>
                  <a:lnTo>
                    <a:pt x="703" y="55"/>
                  </a:lnTo>
                  <a:lnTo>
                    <a:pt x="703" y="57"/>
                  </a:lnTo>
                  <a:lnTo>
                    <a:pt x="703" y="58"/>
                  </a:lnTo>
                  <a:lnTo>
                    <a:pt x="701" y="58"/>
                  </a:lnTo>
                  <a:lnTo>
                    <a:pt x="703" y="58"/>
                  </a:lnTo>
                  <a:lnTo>
                    <a:pt x="703" y="60"/>
                  </a:lnTo>
                  <a:lnTo>
                    <a:pt x="703" y="58"/>
                  </a:lnTo>
                  <a:lnTo>
                    <a:pt x="704" y="58"/>
                  </a:lnTo>
                  <a:lnTo>
                    <a:pt x="703" y="58"/>
                  </a:lnTo>
                  <a:lnTo>
                    <a:pt x="704" y="57"/>
                  </a:lnTo>
                  <a:lnTo>
                    <a:pt x="706" y="55"/>
                  </a:lnTo>
                  <a:lnTo>
                    <a:pt x="708" y="53"/>
                  </a:lnTo>
                  <a:lnTo>
                    <a:pt x="709" y="55"/>
                  </a:lnTo>
                  <a:lnTo>
                    <a:pt x="709" y="53"/>
                  </a:lnTo>
                  <a:lnTo>
                    <a:pt x="709" y="55"/>
                  </a:lnTo>
                  <a:lnTo>
                    <a:pt x="711" y="55"/>
                  </a:lnTo>
                  <a:lnTo>
                    <a:pt x="711" y="53"/>
                  </a:lnTo>
                  <a:lnTo>
                    <a:pt x="709" y="53"/>
                  </a:lnTo>
                  <a:lnTo>
                    <a:pt x="709" y="52"/>
                  </a:lnTo>
                  <a:lnTo>
                    <a:pt x="708" y="52"/>
                  </a:lnTo>
                  <a:lnTo>
                    <a:pt x="708" y="50"/>
                  </a:lnTo>
                  <a:lnTo>
                    <a:pt x="709" y="50"/>
                  </a:lnTo>
                  <a:lnTo>
                    <a:pt x="709" y="48"/>
                  </a:lnTo>
                  <a:lnTo>
                    <a:pt x="711" y="48"/>
                  </a:lnTo>
                  <a:lnTo>
                    <a:pt x="711" y="50"/>
                  </a:lnTo>
                  <a:lnTo>
                    <a:pt x="711" y="48"/>
                  </a:lnTo>
                  <a:lnTo>
                    <a:pt x="713" y="48"/>
                  </a:lnTo>
                  <a:lnTo>
                    <a:pt x="714" y="47"/>
                  </a:lnTo>
                  <a:lnTo>
                    <a:pt x="714" y="48"/>
                  </a:lnTo>
                  <a:lnTo>
                    <a:pt x="716" y="50"/>
                  </a:lnTo>
                  <a:lnTo>
                    <a:pt x="716" y="52"/>
                  </a:lnTo>
                  <a:lnTo>
                    <a:pt x="714" y="52"/>
                  </a:lnTo>
                  <a:lnTo>
                    <a:pt x="714" y="53"/>
                  </a:lnTo>
                  <a:lnTo>
                    <a:pt x="716" y="52"/>
                  </a:lnTo>
                  <a:lnTo>
                    <a:pt x="716" y="53"/>
                  </a:lnTo>
                  <a:lnTo>
                    <a:pt x="714" y="55"/>
                  </a:lnTo>
                  <a:lnTo>
                    <a:pt x="716" y="55"/>
                  </a:lnTo>
                  <a:lnTo>
                    <a:pt x="717" y="55"/>
                  </a:lnTo>
                  <a:lnTo>
                    <a:pt x="717" y="57"/>
                  </a:lnTo>
                  <a:lnTo>
                    <a:pt x="716" y="57"/>
                  </a:lnTo>
                  <a:lnTo>
                    <a:pt x="716" y="58"/>
                  </a:lnTo>
                  <a:lnTo>
                    <a:pt x="714" y="58"/>
                  </a:lnTo>
                  <a:lnTo>
                    <a:pt x="714" y="57"/>
                  </a:lnTo>
                  <a:lnTo>
                    <a:pt x="713" y="58"/>
                  </a:lnTo>
                  <a:lnTo>
                    <a:pt x="711" y="60"/>
                  </a:lnTo>
                  <a:lnTo>
                    <a:pt x="709" y="60"/>
                  </a:lnTo>
                  <a:lnTo>
                    <a:pt x="711" y="60"/>
                  </a:lnTo>
                  <a:lnTo>
                    <a:pt x="714" y="58"/>
                  </a:lnTo>
                  <a:lnTo>
                    <a:pt x="714" y="60"/>
                  </a:lnTo>
                  <a:lnTo>
                    <a:pt x="713" y="60"/>
                  </a:lnTo>
                  <a:lnTo>
                    <a:pt x="713" y="61"/>
                  </a:lnTo>
                  <a:lnTo>
                    <a:pt x="716" y="60"/>
                  </a:lnTo>
                  <a:lnTo>
                    <a:pt x="716" y="61"/>
                  </a:lnTo>
                  <a:lnTo>
                    <a:pt x="716" y="65"/>
                  </a:lnTo>
                  <a:lnTo>
                    <a:pt x="716" y="63"/>
                  </a:lnTo>
                  <a:lnTo>
                    <a:pt x="717" y="63"/>
                  </a:lnTo>
                  <a:lnTo>
                    <a:pt x="716" y="63"/>
                  </a:lnTo>
                  <a:lnTo>
                    <a:pt x="716" y="61"/>
                  </a:lnTo>
                  <a:lnTo>
                    <a:pt x="717" y="61"/>
                  </a:lnTo>
                  <a:lnTo>
                    <a:pt x="719" y="61"/>
                  </a:lnTo>
                  <a:lnTo>
                    <a:pt x="719" y="60"/>
                  </a:lnTo>
                  <a:lnTo>
                    <a:pt x="721" y="58"/>
                  </a:lnTo>
                  <a:lnTo>
                    <a:pt x="721" y="60"/>
                  </a:lnTo>
                  <a:lnTo>
                    <a:pt x="721" y="58"/>
                  </a:lnTo>
                  <a:lnTo>
                    <a:pt x="722" y="58"/>
                  </a:lnTo>
                  <a:lnTo>
                    <a:pt x="722" y="57"/>
                  </a:lnTo>
                  <a:lnTo>
                    <a:pt x="724" y="57"/>
                  </a:lnTo>
                  <a:lnTo>
                    <a:pt x="726" y="57"/>
                  </a:lnTo>
                  <a:lnTo>
                    <a:pt x="726" y="55"/>
                  </a:lnTo>
                  <a:lnTo>
                    <a:pt x="726" y="57"/>
                  </a:lnTo>
                  <a:lnTo>
                    <a:pt x="724" y="58"/>
                  </a:lnTo>
                  <a:lnTo>
                    <a:pt x="724" y="60"/>
                  </a:lnTo>
                  <a:lnTo>
                    <a:pt x="722" y="60"/>
                  </a:lnTo>
                  <a:lnTo>
                    <a:pt x="722" y="61"/>
                  </a:lnTo>
                  <a:lnTo>
                    <a:pt x="721" y="61"/>
                  </a:lnTo>
                  <a:lnTo>
                    <a:pt x="719" y="61"/>
                  </a:lnTo>
                  <a:lnTo>
                    <a:pt x="719" y="63"/>
                  </a:lnTo>
                  <a:lnTo>
                    <a:pt x="717" y="63"/>
                  </a:lnTo>
                  <a:lnTo>
                    <a:pt x="717" y="65"/>
                  </a:lnTo>
                  <a:lnTo>
                    <a:pt x="717" y="66"/>
                  </a:lnTo>
                  <a:lnTo>
                    <a:pt x="719" y="65"/>
                  </a:lnTo>
                  <a:lnTo>
                    <a:pt x="719" y="63"/>
                  </a:lnTo>
                  <a:lnTo>
                    <a:pt x="721" y="63"/>
                  </a:lnTo>
                  <a:lnTo>
                    <a:pt x="721" y="65"/>
                  </a:lnTo>
                  <a:lnTo>
                    <a:pt x="722" y="65"/>
                  </a:lnTo>
                  <a:lnTo>
                    <a:pt x="721" y="66"/>
                  </a:lnTo>
                  <a:lnTo>
                    <a:pt x="722" y="66"/>
                  </a:lnTo>
                  <a:lnTo>
                    <a:pt x="722" y="68"/>
                  </a:lnTo>
                  <a:lnTo>
                    <a:pt x="721" y="68"/>
                  </a:lnTo>
                  <a:lnTo>
                    <a:pt x="721" y="70"/>
                  </a:lnTo>
                  <a:lnTo>
                    <a:pt x="719" y="68"/>
                  </a:lnTo>
                  <a:lnTo>
                    <a:pt x="719" y="70"/>
                  </a:lnTo>
                  <a:lnTo>
                    <a:pt x="717" y="70"/>
                  </a:lnTo>
                  <a:lnTo>
                    <a:pt x="716" y="70"/>
                  </a:lnTo>
                  <a:lnTo>
                    <a:pt x="714" y="68"/>
                  </a:lnTo>
                  <a:lnTo>
                    <a:pt x="714" y="70"/>
                  </a:lnTo>
                  <a:lnTo>
                    <a:pt x="714" y="71"/>
                  </a:lnTo>
                  <a:lnTo>
                    <a:pt x="714" y="73"/>
                  </a:lnTo>
                  <a:lnTo>
                    <a:pt x="714" y="71"/>
                  </a:lnTo>
                  <a:lnTo>
                    <a:pt x="716" y="71"/>
                  </a:lnTo>
                  <a:lnTo>
                    <a:pt x="716" y="73"/>
                  </a:lnTo>
                  <a:lnTo>
                    <a:pt x="717" y="73"/>
                  </a:lnTo>
                  <a:lnTo>
                    <a:pt x="719" y="73"/>
                  </a:lnTo>
                  <a:lnTo>
                    <a:pt x="721" y="73"/>
                  </a:lnTo>
                  <a:lnTo>
                    <a:pt x="719" y="74"/>
                  </a:lnTo>
                  <a:lnTo>
                    <a:pt x="719" y="76"/>
                  </a:lnTo>
                  <a:lnTo>
                    <a:pt x="721" y="76"/>
                  </a:lnTo>
                  <a:lnTo>
                    <a:pt x="719" y="76"/>
                  </a:lnTo>
                  <a:lnTo>
                    <a:pt x="717" y="76"/>
                  </a:lnTo>
                  <a:lnTo>
                    <a:pt x="716" y="76"/>
                  </a:lnTo>
                  <a:lnTo>
                    <a:pt x="716" y="78"/>
                  </a:lnTo>
                  <a:lnTo>
                    <a:pt x="714" y="78"/>
                  </a:lnTo>
                  <a:lnTo>
                    <a:pt x="714" y="79"/>
                  </a:lnTo>
                  <a:lnTo>
                    <a:pt x="714" y="81"/>
                  </a:lnTo>
                  <a:lnTo>
                    <a:pt x="714" y="79"/>
                  </a:lnTo>
                  <a:lnTo>
                    <a:pt x="716" y="79"/>
                  </a:lnTo>
                  <a:lnTo>
                    <a:pt x="716" y="81"/>
                  </a:lnTo>
                  <a:lnTo>
                    <a:pt x="716" y="79"/>
                  </a:lnTo>
                  <a:lnTo>
                    <a:pt x="717" y="79"/>
                  </a:lnTo>
                  <a:lnTo>
                    <a:pt x="716" y="81"/>
                  </a:lnTo>
                  <a:lnTo>
                    <a:pt x="717" y="81"/>
                  </a:lnTo>
                  <a:lnTo>
                    <a:pt x="717" y="83"/>
                  </a:lnTo>
                  <a:lnTo>
                    <a:pt x="716" y="83"/>
                  </a:lnTo>
                  <a:lnTo>
                    <a:pt x="716" y="81"/>
                  </a:lnTo>
                  <a:lnTo>
                    <a:pt x="716" y="83"/>
                  </a:lnTo>
                  <a:lnTo>
                    <a:pt x="714" y="81"/>
                  </a:lnTo>
                  <a:lnTo>
                    <a:pt x="714" y="83"/>
                  </a:lnTo>
                  <a:lnTo>
                    <a:pt x="713" y="83"/>
                  </a:lnTo>
                  <a:lnTo>
                    <a:pt x="714" y="84"/>
                  </a:lnTo>
                  <a:lnTo>
                    <a:pt x="714" y="83"/>
                  </a:lnTo>
                  <a:lnTo>
                    <a:pt x="714" y="84"/>
                  </a:lnTo>
                  <a:lnTo>
                    <a:pt x="713" y="84"/>
                  </a:lnTo>
                  <a:lnTo>
                    <a:pt x="711" y="84"/>
                  </a:lnTo>
                  <a:lnTo>
                    <a:pt x="711" y="83"/>
                  </a:lnTo>
                  <a:lnTo>
                    <a:pt x="713" y="83"/>
                  </a:lnTo>
                  <a:lnTo>
                    <a:pt x="713" y="81"/>
                  </a:lnTo>
                  <a:lnTo>
                    <a:pt x="711" y="81"/>
                  </a:lnTo>
                  <a:lnTo>
                    <a:pt x="711" y="79"/>
                  </a:lnTo>
                  <a:lnTo>
                    <a:pt x="709" y="79"/>
                  </a:lnTo>
                  <a:lnTo>
                    <a:pt x="709" y="81"/>
                  </a:lnTo>
                  <a:lnTo>
                    <a:pt x="709" y="83"/>
                  </a:lnTo>
                  <a:lnTo>
                    <a:pt x="711" y="83"/>
                  </a:lnTo>
                  <a:lnTo>
                    <a:pt x="709" y="84"/>
                  </a:lnTo>
                  <a:lnTo>
                    <a:pt x="708" y="84"/>
                  </a:lnTo>
                  <a:lnTo>
                    <a:pt x="708" y="86"/>
                  </a:lnTo>
                  <a:lnTo>
                    <a:pt x="709" y="86"/>
                  </a:lnTo>
                  <a:lnTo>
                    <a:pt x="709" y="84"/>
                  </a:lnTo>
                  <a:lnTo>
                    <a:pt x="711" y="86"/>
                  </a:lnTo>
                  <a:lnTo>
                    <a:pt x="709" y="86"/>
                  </a:lnTo>
                  <a:lnTo>
                    <a:pt x="709" y="87"/>
                  </a:lnTo>
                  <a:lnTo>
                    <a:pt x="708" y="89"/>
                  </a:lnTo>
                  <a:lnTo>
                    <a:pt x="709" y="89"/>
                  </a:lnTo>
                  <a:lnTo>
                    <a:pt x="709" y="87"/>
                  </a:lnTo>
                  <a:lnTo>
                    <a:pt x="711" y="86"/>
                  </a:lnTo>
                  <a:lnTo>
                    <a:pt x="711" y="87"/>
                  </a:lnTo>
                  <a:lnTo>
                    <a:pt x="711" y="89"/>
                  </a:lnTo>
                  <a:lnTo>
                    <a:pt x="709" y="89"/>
                  </a:lnTo>
                  <a:lnTo>
                    <a:pt x="709" y="91"/>
                  </a:lnTo>
                  <a:lnTo>
                    <a:pt x="708" y="92"/>
                  </a:lnTo>
                  <a:lnTo>
                    <a:pt x="709" y="92"/>
                  </a:lnTo>
                  <a:lnTo>
                    <a:pt x="708" y="92"/>
                  </a:lnTo>
                  <a:lnTo>
                    <a:pt x="709" y="92"/>
                  </a:lnTo>
                  <a:lnTo>
                    <a:pt x="709" y="91"/>
                  </a:lnTo>
                  <a:lnTo>
                    <a:pt x="711" y="91"/>
                  </a:lnTo>
                  <a:lnTo>
                    <a:pt x="713" y="89"/>
                  </a:lnTo>
                  <a:lnTo>
                    <a:pt x="711" y="91"/>
                  </a:lnTo>
                  <a:lnTo>
                    <a:pt x="713" y="91"/>
                  </a:lnTo>
                  <a:lnTo>
                    <a:pt x="711" y="91"/>
                  </a:lnTo>
                  <a:lnTo>
                    <a:pt x="713" y="91"/>
                  </a:lnTo>
                  <a:lnTo>
                    <a:pt x="713" y="92"/>
                  </a:lnTo>
                  <a:lnTo>
                    <a:pt x="711" y="92"/>
                  </a:lnTo>
                  <a:lnTo>
                    <a:pt x="711" y="94"/>
                  </a:lnTo>
                  <a:lnTo>
                    <a:pt x="709" y="94"/>
                  </a:lnTo>
                  <a:lnTo>
                    <a:pt x="711" y="94"/>
                  </a:lnTo>
                  <a:lnTo>
                    <a:pt x="711" y="96"/>
                  </a:lnTo>
                  <a:lnTo>
                    <a:pt x="713" y="97"/>
                  </a:lnTo>
                  <a:lnTo>
                    <a:pt x="711" y="97"/>
                  </a:lnTo>
                  <a:lnTo>
                    <a:pt x="711" y="99"/>
                  </a:lnTo>
                  <a:lnTo>
                    <a:pt x="711" y="100"/>
                  </a:lnTo>
                  <a:lnTo>
                    <a:pt x="709" y="100"/>
                  </a:lnTo>
                  <a:lnTo>
                    <a:pt x="709" y="99"/>
                  </a:lnTo>
                  <a:lnTo>
                    <a:pt x="709" y="100"/>
                  </a:lnTo>
                  <a:lnTo>
                    <a:pt x="708" y="100"/>
                  </a:lnTo>
                  <a:lnTo>
                    <a:pt x="708" y="99"/>
                  </a:lnTo>
                  <a:lnTo>
                    <a:pt x="706" y="100"/>
                  </a:lnTo>
                  <a:lnTo>
                    <a:pt x="708" y="100"/>
                  </a:lnTo>
                  <a:lnTo>
                    <a:pt x="708" y="102"/>
                  </a:lnTo>
                  <a:lnTo>
                    <a:pt x="706" y="102"/>
                  </a:lnTo>
                  <a:lnTo>
                    <a:pt x="706" y="104"/>
                  </a:lnTo>
                  <a:lnTo>
                    <a:pt x="704" y="104"/>
                  </a:lnTo>
                  <a:lnTo>
                    <a:pt x="706" y="104"/>
                  </a:lnTo>
                  <a:lnTo>
                    <a:pt x="706" y="105"/>
                  </a:lnTo>
                  <a:lnTo>
                    <a:pt x="704" y="105"/>
                  </a:lnTo>
                  <a:lnTo>
                    <a:pt x="704" y="107"/>
                  </a:lnTo>
                  <a:lnTo>
                    <a:pt x="704" y="109"/>
                  </a:lnTo>
                  <a:lnTo>
                    <a:pt x="706" y="109"/>
                  </a:lnTo>
                  <a:lnTo>
                    <a:pt x="706" y="110"/>
                  </a:lnTo>
                  <a:lnTo>
                    <a:pt x="704" y="110"/>
                  </a:lnTo>
                  <a:lnTo>
                    <a:pt x="706" y="112"/>
                  </a:lnTo>
                  <a:lnTo>
                    <a:pt x="708" y="112"/>
                  </a:lnTo>
                  <a:lnTo>
                    <a:pt x="706" y="113"/>
                  </a:lnTo>
                  <a:lnTo>
                    <a:pt x="704" y="112"/>
                  </a:lnTo>
                  <a:lnTo>
                    <a:pt x="704" y="113"/>
                  </a:lnTo>
                  <a:lnTo>
                    <a:pt x="704" y="112"/>
                  </a:lnTo>
                  <a:lnTo>
                    <a:pt x="704" y="113"/>
                  </a:lnTo>
                  <a:lnTo>
                    <a:pt x="703" y="113"/>
                  </a:lnTo>
                  <a:lnTo>
                    <a:pt x="703" y="112"/>
                  </a:lnTo>
                  <a:lnTo>
                    <a:pt x="703" y="113"/>
                  </a:lnTo>
                  <a:lnTo>
                    <a:pt x="703" y="115"/>
                  </a:lnTo>
                  <a:lnTo>
                    <a:pt x="703" y="117"/>
                  </a:lnTo>
                  <a:lnTo>
                    <a:pt x="703" y="118"/>
                  </a:lnTo>
                  <a:lnTo>
                    <a:pt x="704" y="118"/>
                  </a:lnTo>
                  <a:lnTo>
                    <a:pt x="704" y="120"/>
                  </a:lnTo>
                  <a:lnTo>
                    <a:pt x="703" y="120"/>
                  </a:lnTo>
                  <a:lnTo>
                    <a:pt x="703" y="122"/>
                  </a:lnTo>
                  <a:lnTo>
                    <a:pt x="703" y="120"/>
                  </a:lnTo>
                  <a:lnTo>
                    <a:pt x="703" y="118"/>
                  </a:lnTo>
                  <a:lnTo>
                    <a:pt x="701" y="118"/>
                  </a:lnTo>
                  <a:lnTo>
                    <a:pt x="701" y="120"/>
                  </a:lnTo>
                  <a:lnTo>
                    <a:pt x="701" y="118"/>
                  </a:lnTo>
                  <a:lnTo>
                    <a:pt x="700" y="118"/>
                  </a:lnTo>
                  <a:lnTo>
                    <a:pt x="698" y="118"/>
                  </a:lnTo>
                  <a:lnTo>
                    <a:pt x="698" y="120"/>
                  </a:lnTo>
                  <a:lnTo>
                    <a:pt x="700" y="120"/>
                  </a:lnTo>
                  <a:lnTo>
                    <a:pt x="700" y="122"/>
                  </a:lnTo>
                  <a:lnTo>
                    <a:pt x="700" y="123"/>
                  </a:lnTo>
                  <a:lnTo>
                    <a:pt x="698" y="123"/>
                  </a:lnTo>
                  <a:lnTo>
                    <a:pt x="698" y="125"/>
                  </a:lnTo>
                  <a:lnTo>
                    <a:pt x="698" y="126"/>
                  </a:lnTo>
                  <a:lnTo>
                    <a:pt x="698" y="128"/>
                  </a:lnTo>
                  <a:lnTo>
                    <a:pt x="696" y="128"/>
                  </a:lnTo>
                  <a:lnTo>
                    <a:pt x="696" y="130"/>
                  </a:lnTo>
                  <a:lnTo>
                    <a:pt x="696" y="131"/>
                  </a:lnTo>
                  <a:lnTo>
                    <a:pt x="696" y="133"/>
                  </a:lnTo>
                  <a:lnTo>
                    <a:pt x="695" y="133"/>
                  </a:lnTo>
                  <a:lnTo>
                    <a:pt x="695" y="135"/>
                  </a:lnTo>
                  <a:lnTo>
                    <a:pt x="696" y="135"/>
                  </a:lnTo>
                  <a:lnTo>
                    <a:pt x="696" y="136"/>
                  </a:lnTo>
                  <a:lnTo>
                    <a:pt x="696" y="138"/>
                  </a:lnTo>
                  <a:lnTo>
                    <a:pt x="695" y="138"/>
                  </a:lnTo>
                  <a:lnTo>
                    <a:pt x="695" y="136"/>
                  </a:lnTo>
                  <a:lnTo>
                    <a:pt x="695" y="135"/>
                  </a:lnTo>
                  <a:lnTo>
                    <a:pt x="693" y="135"/>
                  </a:lnTo>
                  <a:lnTo>
                    <a:pt x="693" y="136"/>
                  </a:lnTo>
                  <a:lnTo>
                    <a:pt x="693" y="138"/>
                  </a:lnTo>
                  <a:lnTo>
                    <a:pt x="693" y="136"/>
                  </a:lnTo>
                  <a:lnTo>
                    <a:pt x="693" y="135"/>
                  </a:lnTo>
                  <a:lnTo>
                    <a:pt x="693" y="133"/>
                  </a:lnTo>
                  <a:lnTo>
                    <a:pt x="693" y="131"/>
                  </a:lnTo>
                  <a:lnTo>
                    <a:pt x="691" y="130"/>
                  </a:lnTo>
                  <a:lnTo>
                    <a:pt x="691" y="131"/>
                  </a:lnTo>
                  <a:lnTo>
                    <a:pt x="690" y="133"/>
                  </a:lnTo>
                  <a:lnTo>
                    <a:pt x="690" y="131"/>
                  </a:lnTo>
                  <a:lnTo>
                    <a:pt x="688" y="131"/>
                  </a:lnTo>
                  <a:lnTo>
                    <a:pt x="688" y="130"/>
                  </a:lnTo>
                  <a:lnTo>
                    <a:pt x="688" y="128"/>
                  </a:lnTo>
                  <a:lnTo>
                    <a:pt x="690" y="128"/>
                  </a:lnTo>
                  <a:lnTo>
                    <a:pt x="690" y="126"/>
                  </a:lnTo>
                  <a:lnTo>
                    <a:pt x="690" y="125"/>
                  </a:lnTo>
                  <a:lnTo>
                    <a:pt x="691" y="125"/>
                  </a:lnTo>
                  <a:lnTo>
                    <a:pt x="691" y="123"/>
                  </a:lnTo>
                  <a:lnTo>
                    <a:pt x="693" y="123"/>
                  </a:lnTo>
                  <a:lnTo>
                    <a:pt x="693" y="122"/>
                  </a:lnTo>
                  <a:lnTo>
                    <a:pt x="693" y="120"/>
                  </a:lnTo>
                  <a:lnTo>
                    <a:pt x="693" y="122"/>
                  </a:lnTo>
                  <a:lnTo>
                    <a:pt x="693" y="120"/>
                  </a:lnTo>
                  <a:lnTo>
                    <a:pt x="693" y="122"/>
                  </a:lnTo>
                  <a:lnTo>
                    <a:pt x="693" y="120"/>
                  </a:lnTo>
                  <a:lnTo>
                    <a:pt x="691" y="120"/>
                  </a:lnTo>
                  <a:lnTo>
                    <a:pt x="693" y="120"/>
                  </a:lnTo>
                  <a:lnTo>
                    <a:pt x="691" y="118"/>
                  </a:lnTo>
                  <a:lnTo>
                    <a:pt x="693" y="118"/>
                  </a:lnTo>
                  <a:lnTo>
                    <a:pt x="693" y="120"/>
                  </a:lnTo>
                  <a:lnTo>
                    <a:pt x="695" y="120"/>
                  </a:lnTo>
                  <a:lnTo>
                    <a:pt x="695" y="118"/>
                  </a:lnTo>
                  <a:lnTo>
                    <a:pt x="693" y="118"/>
                  </a:lnTo>
                  <a:close/>
                  <a:moveTo>
                    <a:pt x="244" y="518"/>
                  </a:moveTo>
                  <a:lnTo>
                    <a:pt x="244" y="520"/>
                  </a:lnTo>
                  <a:lnTo>
                    <a:pt x="246" y="520"/>
                  </a:lnTo>
                  <a:lnTo>
                    <a:pt x="247" y="522"/>
                  </a:lnTo>
                  <a:lnTo>
                    <a:pt x="249" y="522"/>
                  </a:lnTo>
                  <a:lnTo>
                    <a:pt x="249" y="523"/>
                  </a:lnTo>
                  <a:lnTo>
                    <a:pt x="247" y="523"/>
                  </a:lnTo>
                  <a:lnTo>
                    <a:pt x="249" y="525"/>
                  </a:lnTo>
                  <a:lnTo>
                    <a:pt x="251" y="527"/>
                  </a:lnTo>
                  <a:lnTo>
                    <a:pt x="251" y="528"/>
                  </a:lnTo>
                  <a:lnTo>
                    <a:pt x="251" y="530"/>
                  </a:lnTo>
                  <a:lnTo>
                    <a:pt x="252" y="531"/>
                  </a:lnTo>
                  <a:lnTo>
                    <a:pt x="252" y="533"/>
                  </a:lnTo>
                  <a:lnTo>
                    <a:pt x="252" y="535"/>
                  </a:lnTo>
                  <a:lnTo>
                    <a:pt x="252" y="536"/>
                  </a:lnTo>
                  <a:lnTo>
                    <a:pt x="252" y="538"/>
                  </a:lnTo>
                  <a:lnTo>
                    <a:pt x="252" y="540"/>
                  </a:lnTo>
                  <a:lnTo>
                    <a:pt x="254" y="540"/>
                  </a:lnTo>
                  <a:lnTo>
                    <a:pt x="256" y="540"/>
                  </a:lnTo>
                  <a:lnTo>
                    <a:pt x="256" y="541"/>
                  </a:lnTo>
                  <a:lnTo>
                    <a:pt x="257" y="541"/>
                  </a:lnTo>
                  <a:lnTo>
                    <a:pt x="259" y="541"/>
                  </a:lnTo>
                  <a:lnTo>
                    <a:pt x="260" y="541"/>
                  </a:lnTo>
                  <a:lnTo>
                    <a:pt x="262" y="543"/>
                  </a:lnTo>
                  <a:lnTo>
                    <a:pt x="262" y="544"/>
                  </a:lnTo>
                  <a:lnTo>
                    <a:pt x="262" y="543"/>
                  </a:lnTo>
                  <a:lnTo>
                    <a:pt x="264" y="543"/>
                  </a:lnTo>
                  <a:lnTo>
                    <a:pt x="265" y="543"/>
                  </a:lnTo>
                  <a:lnTo>
                    <a:pt x="265" y="544"/>
                  </a:lnTo>
                  <a:lnTo>
                    <a:pt x="265" y="546"/>
                  </a:lnTo>
                  <a:lnTo>
                    <a:pt x="267" y="546"/>
                  </a:lnTo>
                  <a:lnTo>
                    <a:pt x="267" y="548"/>
                  </a:lnTo>
                  <a:lnTo>
                    <a:pt x="269" y="549"/>
                  </a:lnTo>
                  <a:lnTo>
                    <a:pt x="270" y="549"/>
                  </a:lnTo>
                  <a:lnTo>
                    <a:pt x="270" y="551"/>
                  </a:lnTo>
                  <a:lnTo>
                    <a:pt x="272" y="551"/>
                  </a:lnTo>
                  <a:lnTo>
                    <a:pt x="272" y="553"/>
                  </a:lnTo>
                  <a:lnTo>
                    <a:pt x="272" y="554"/>
                  </a:lnTo>
                  <a:lnTo>
                    <a:pt x="273" y="554"/>
                  </a:lnTo>
                  <a:lnTo>
                    <a:pt x="275" y="556"/>
                  </a:lnTo>
                  <a:lnTo>
                    <a:pt x="273" y="556"/>
                  </a:lnTo>
                  <a:lnTo>
                    <a:pt x="273" y="557"/>
                  </a:lnTo>
                  <a:lnTo>
                    <a:pt x="273" y="559"/>
                  </a:lnTo>
                  <a:lnTo>
                    <a:pt x="273" y="557"/>
                  </a:lnTo>
                  <a:lnTo>
                    <a:pt x="273" y="559"/>
                  </a:lnTo>
                  <a:lnTo>
                    <a:pt x="273" y="557"/>
                  </a:lnTo>
                  <a:lnTo>
                    <a:pt x="272" y="557"/>
                  </a:lnTo>
                  <a:lnTo>
                    <a:pt x="272" y="559"/>
                  </a:lnTo>
                  <a:lnTo>
                    <a:pt x="272" y="557"/>
                  </a:lnTo>
                  <a:lnTo>
                    <a:pt x="272" y="556"/>
                  </a:lnTo>
                  <a:lnTo>
                    <a:pt x="270" y="556"/>
                  </a:lnTo>
                  <a:lnTo>
                    <a:pt x="272" y="556"/>
                  </a:lnTo>
                  <a:lnTo>
                    <a:pt x="272" y="557"/>
                  </a:lnTo>
                  <a:lnTo>
                    <a:pt x="272" y="559"/>
                  </a:lnTo>
                  <a:lnTo>
                    <a:pt x="273" y="559"/>
                  </a:lnTo>
                  <a:lnTo>
                    <a:pt x="272" y="561"/>
                  </a:lnTo>
                  <a:lnTo>
                    <a:pt x="272" y="562"/>
                  </a:lnTo>
                  <a:lnTo>
                    <a:pt x="270" y="562"/>
                  </a:lnTo>
                  <a:lnTo>
                    <a:pt x="270" y="564"/>
                  </a:lnTo>
                  <a:lnTo>
                    <a:pt x="269" y="564"/>
                  </a:lnTo>
                  <a:lnTo>
                    <a:pt x="269" y="562"/>
                  </a:lnTo>
                  <a:lnTo>
                    <a:pt x="267" y="562"/>
                  </a:lnTo>
                  <a:lnTo>
                    <a:pt x="267" y="561"/>
                  </a:lnTo>
                  <a:lnTo>
                    <a:pt x="269" y="561"/>
                  </a:lnTo>
                  <a:lnTo>
                    <a:pt x="269" y="559"/>
                  </a:lnTo>
                  <a:lnTo>
                    <a:pt x="267" y="559"/>
                  </a:lnTo>
                  <a:lnTo>
                    <a:pt x="265" y="559"/>
                  </a:lnTo>
                  <a:lnTo>
                    <a:pt x="267" y="559"/>
                  </a:lnTo>
                  <a:lnTo>
                    <a:pt x="267" y="561"/>
                  </a:lnTo>
                  <a:lnTo>
                    <a:pt x="265" y="561"/>
                  </a:lnTo>
                  <a:lnTo>
                    <a:pt x="265" y="562"/>
                  </a:lnTo>
                  <a:lnTo>
                    <a:pt x="264" y="561"/>
                  </a:lnTo>
                  <a:lnTo>
                    <a:pt x="264" y="562"/>
                  </a:lnTo>
                  <a:lnTo>
                    <a:pt x="262" y="564"/>
                  </a:lnTo>
                  <a:lnTo>
                    <a:pt x="260" y="564"/>
                  </a:lnTo>
                  <a:lnTo>
                    <a:pt x="264" y="564"/>
                  </a:lnTo>
                  <a:lnTo>
                    <a:pt x="265" y="564"/>
                  </a:lnTo>
                  <a:lnTo>
                    <a:pt x="265" y="562"/>
                  </a:lnTo>
                  <a:lnTo>
                    <a:pt x="267" y="564"/>
                  </a:lnTo>
                  <a:lnTo>
                    <a:pt x="269" y="564"/>
                  </a:lnTo>
                  <a:lnTo>
                    <a:pt x="269" y="566"/>
                  </a:lnTo>
                  <a:lnTo>
                    <a:pt x="267" y="567"/>
                  </a:lnTo>
                  <a:lnTo>
                    <a:pt x="265" y="567"/>
                  </a:lnTo>
                  <a:lnTo>
                    <a:pt x="264" y="569"/>
                  </a:lnTo>
                  <a:lnTo>
                    <a:pt x="262" y="569"/>
                  </a:lnTo>
                  <a:lnTo>
                    <a:pt x="260" y="569"/>
                  </a:lnTo>
                  <a:lnTo>
                    <a:pt x="260" y="570"/>
                  </a:lnTo>
                  <a:lnTo>
                    <a:pt x="259" y="570"/>
                  </a:lnTo>
                  <a:lnTo>
                    <a:pt x="257" y="570"/>
                  </a:lnTo>
                  <a:lnTo>
                    <a:pt x="256" y="570"/>
                  </a:lnTo>
                  <a:lnTo>
                    <a:pt x="256" y="572"/>
                  </a:lnTo>
                  <a:lnTo>
                    <a:pt x="254" y="570"/>
                  </a:lnTo>
                  <a:lnTo>
                    <a:pt x="252" y="570"/>
                  </a:lnTo>
                  <a:lnTo>
                    <a:pt x="252" y="569"/>
                  </a:lnTo>
                  <a:lnTo>
                    <a:pt x="254" y="567"/>
                  </a:lnTo>
                  <a:lnTo>
                    <a:pt x="256" y="567"/>
                  </a:lnTo>
                  <a:lnTo>
                    <a:pt x="256" y="566"/>
                  </a:lnTo>
                  <a:lnTo>
                    <a:pt x="254" y="566"/>
                  </a:lnTo>
                  <a:lnTo>
                    <a:pt x="254" y="564"/>
                  </a:lnTo>
                  <a:lnTo>
                    <a:pt x="252" y="564"/>
                  </a:lnTo>
                  <a:lnTo>
                    <a:pt x="252" y="566"/>
                  </a:lnTo>
                  <a:lnTo>
                    <a:pt x="251" y="566"/>
                  </a:lnTo>
                  <a:lnTo>
                    <a:pt x="249" y="567"/>
                  </a:lnTo>
                  <a:lnTo>
                    <a:pt x="247" y="569"/>
                  </a:lnTo>
                  <a:lnTo>
                    <a:pt x="246" y="569"/>
                  </a:lnTo>
                  <a:lnTo>
                    <a:pt x="246" y="567"/>
                  </a:lnTo>
                  <a:lnTo>
                    <a:pt x="244" y="567"/>
                  </a:lnTo>
                  <a:lnTo>
                    <a:pt x="243" y="569"/>
                  </a:lnTo>
                  <a:lnTo>
                    <a:pt x="241" y="569"/>
                  </a:lnTo>
                  <a:lnTo>
                    <a:pt x="239" y="570"/>
                  </a:lnTo>
                  <a:lnTo>
                    <a:pt x="238" y="570"/>
                  </a:lnTo>
                  <a:lnTo>
                    <a:pt x="238" y="569"/>
                  </a:lnTo>
                  <a:lnTo>
                    <a:pt x="236" y="569"/>
                  </a:lnTo>
                  <a:lnTo>
                    <a:pt x="233" y="569"/>
                  </a:lnTo>
                  <a:lnTo>
                    <a:pt x="231" y="569"/>
                  </a:lnTo>
                  <a:lnTo>
                    <a:pt x="229" y="569"/>
                  </a:lnTo>
                  <a:lnTo>
                    <a:pt x="228" y="569"/>
                  </a:lnTo>
                  <a:lnTo>
                    <a:pt x="226" y="569"/>
                  </a:lnTo>
                  <a:lnTo>
                    <a:pt x="228" y="569"/>
                  </a:lnTo>
                  <a:lnTo>
                    <a:pt x="226" y="569"/>
                  </a:lnTo>
                  <a:lnTo>
                    <a:pt x="225" y="567"/>
                  </a:lnTo>
                  <a:lnTo>
                    <a:pt x="225" y="569"/>
                  </a:lnTo>
                  <a:lnTo>
                    <a:pt x="223" y="567"/>
                  </a:lnTo>
                  <a:lnTo>
                    <a:pt x="221" y="567"/>
                  </a:lnTo>
                  <a:lnTo>
                    <a:pt x="221" y="569"/>
                  </a:lnTo>
                  <a:lnTo>
                    <a:pt x="221" y="570"/>
                  </a:lnTo>
                  <a:lnTo>
                    <a:pt x="220" y="570"/>
                  </a:lnTo>
                  <a:lnTo>
                    <a:pt x="220" y="569"/>
                  </a:lnTo>
                  <a:lnTo>
                    <a:pt x="218" y="569"/>
                  </a:lnTo>
                  <a:lnTo>
                    <a:pt x="216" y="569"/>
                  </a:lnTo>
                  <a:lnTo>
                    <a:pt x="215" y="567"/>
                  </a:lnTo>
                  <a:lnTo>
                    <a:pt x="216" y="567"/>
                  </a:lnTo>
                  <a:lnTo>
                    <a:pt x="216" y="566"/>
                  </a:lnTo>
                  <a:lnTo>
                    <a:pt x="215" y="567"/>
                  </a:lnTo>
                  <a:lnTo>
                    <a:pt x="215" y="566"/>
                  </a:lnTo>
                  <a:lnTo>
                    <a:pt x="215" y="564"/>
                  </a:lnTo>
                  <a:lnTo>
                    <a:pt x="213" y="566"/>
                  </a:lnTo>
                  <a:lnTo>
                    <a:pt x="213" y="564"/>
                  </a:lnTo>
                  <a:lnTo>
                    <a:pt x="212" y="566"/>
                  </a:lnTo>
                  <a:lnTo>
                    <a:pt x="212" y="564"/>
                  </a:lnTo>
                  <a:lnTo>
                    <a:pt x="213" y="564"/>
                  </a:lnTo>
                  <a:lnTo>
                    <a:pt x="213" y="562"/>
                  </a:lnTo>
                  <a:lnTo>
                    <a:pt x="213" y="564"/>
                  </a:lnTo>
                  <a:lnTo>
                    <a:pt x="215" y="564"/>
                  </a:lnTo>
                  <a:lnTo>
                    <a:pt x="215" y="562"/>
                  </a:lnTo>
                  <a:lnTo>
                    <a:pt x="213" y="562"/>
                  </a:lnTo>
                  <a:lnTo>
                    <a:pt x="215" y="562"/>
                  </a:lnTo>
                  <a:lnTo>
                    <a:pt x="213" y="562"/>
                  </a:lnTo>
                  <a:lnTo>
                    <a:pt x="213" y="561"/>
                  </a:lnTo>
                  <a:lnTo>
                    <a:pt x="215" y="559"/>
                  </a:lnTo>
                  <a:lnTo>
                    <a:pt x="215" y="557"/>
                  </a:lnTo>
                  <a:lnTo>
                    <a:pt x="216" y="557"/>
                  </a:lnTo>
                  <a:lnTo>
                    <a:pt x="218" y="557"/>
                  </a:lnTo>
                  <a:lnTo>
                    <a:pt x="220" y="557"/>
                  </a:lnTo>
                  <a:lnTo>
                    <a:pt x="220" y="559"/>
                  </a:lnTo>
                  <a:lnTo>
                    <a:pt x="220" y="557"/>
                  </a:lnTo>
                  <a:lnTo>
                    <a:pt x="220" y="559"/>
                  </a:lnTo>
                  <a:lnTo>
                    <a:pt x="221" y="559"/>
                  </a:lnTo>
                  <a:lnTo>
                    <a:pt x="221" y="561"/>
                  </a:lnTo>
                  <a:lnTo>
                    <a:pt x="223" y="562"/>
                  </a:lnTo>
                  <a:lnTo>
                    <a:pt x="221" y="561"/>
                  </a:lnTo>
                  <a:lnTo>
                    <a:pt x="220" y="562"/>
                  </a:lnTo>
                  <a:lnTo>
                    <a:pt x="221" y="561"/>
                  </a:lnTo>
                  <a:lnTo>
                    <a:pt x="221" y="562"/>
                  </a:lnTo>
                  <a:lnTo>
                    <a:pt x="223" y="562"/>
                  </a:lnTo>
                  <a:lnTo>
                    <a:pt x="225" y="562"/>
                  </a:lnTo>
                  <a:lnTo>
                    <a:pt x="225" y="564"/>
                  </a:lnTo>
                  <a:lnTo>
                    <a:pt x="225" y="562"/>
                  </a:lnTo>
                  <a:lnTo>
                    <a:pt x="225" y="561"/>
                  </a:lnTo>
                  <a:lnTo>
                    <a:pt x="223" y="561"/>
                  </a:lnTo>
                  <a:lnTo>
                    <a:pt x="225" y="561"/>
                  </a:lnTo>
                  <a:lnTo>
                    <a:pt x="225" y="559"/>
                  </a:lnTo>
                  <a:lnTo>
                    <a:pt x="226" y="559"/>
                  </a:lnTo>
                  <a:lnTo>
                    <a:pt x="226" y="561"/>
                  </a:lnTo>
                  <a:lnTo>
                    <a:pt x="228" y="561"/>
                  </a:lnTo>
                  <a:lnTo>
                    <a:pt x="228" y="562"/>
                  </a:lnTo>
                  <a:lnTo>
                    <a:pt x="229" y="562"/>
                  </a:lnTo>
                  <a:lnTo>
                    <a:pt x="229" y="561"/>
                  </a:lnTo>
                  <a:lnTo>
                    <a:pt x="231" y="562"/>
                  </a:lnTo>
                  <a:lnTo>
                    <a:pt x="233" y="562"/>
                  </a:lnTo>
                  <a:lnTo>
                    <a:pt x="234" y="562"/>
                  </a:lnTo>
                  <a:lnTo>
                    <a:pt x="233" y="561"/>
                  </a:lnTo>
                  <a:lnTo>
                    <a:pt x="234" y="561"/>
                  </a:lnTo>
                  <a:lnTo>
                    <a:pt x="234" y="562"/>
                  </a:lnTo>
                  <a:lnTo>
                    <a:pt x="236" y="562"/>
                  </a:lnTo>
                  <a:lnTo>
                    <a:pt x="236" y="561"/>
                  </a:lnTo>
                  <a:lnTo>
                    <a:pt x="238" y="561"/>
                  </a:lnTo>
                  <a:lnTo>
                    <a:pt x="239" y="561"/>
                  </a:lnTo>
                  <a:lnTo>
                    <a:pt x="243" y="561"/>
                  </a:lnTo>
                  <a:lnTo>
                    <a:pt x="244" y="559"/>
                  </a:lnTo>
                  <a:lnTo>
                    <a:pt x="244" y="557"/>
                  </a:lnTo>
                  <a:lnTo>
                    <a:pt x="246" y="557"/>
                  </a:lnTo>
                  <a:lnTo>
                    <a:pt x="246" y="559"/>
                  </a:lnTo>
                  <a:lnTo>
                    <a:pt x="246" y="557"/>
                  </a:lnTo>
                  <a:lnTo>
                    <a:pt x="244" y="557"/>
                  </a:lnTo>
                  <a:lnTo>
                    <a:pt x="244" y="556"/>
                  </a:lnTo>
                  <a:lnTo>
                    <a:pt x="243" y="557"/>
                  </a:lnTo>
                  <a:lnTo>
                    <a:pt x="239" y="559"/>
                  </a:lnTo>
                  <a:lnTo>
                    <a:pt x="239" y="557"/>
                  </a:lnTo>
                  <a:lnTo>
                    <a:pt x="241" y="557"/>
                  </a:lnTo>
                  <a:lnTo>
                    <a:pt x="239" y="557"/>
                  </a:lnTo>
                  <a:lnTo>
                    <a:pt x="238" y="559"/>
                  </a:lnTo>
                  <a:lnTo>
                    <a:pt x="236" y="559"/>
                  </a:lnTo>
                  <a:lnTo>
                    <a:pt x="234" y="559"/>
                  </a:lnTo>
                  <a:lnTo>
                    <a:pt x="233" y="557"/>
                  </a:lnTo>
                  <a:lnTo>
                    <a:pt x="231" y="559"/>
                  </a:lnTo>
                  <a:lnTo>
                    <a:pt x="229" y="559"/>
                  </a:lnTo>
                  <a:lnTo>
                    <a:pt x="228" y="557"/>
                  </a:lnTo>
                  <a:lnTo>
                    <a:pt x="228" y="556"/>
                  </a:lnTo>
                  <a:lnTo>
                    <a:pt x="229" y="554"/>
                  </a:lnTo>
                  <a:lnTo>
                    <a:pt x="229" y="553"/>
                  </a:lnTo>
                  <a:lnTo>
                    <a:pt x="231" y="553"/>
                  </a:lnTo>
                  <a:lnTo>
                    <a:pt x="233" y="553"/>
                  </a:lnTo>
                  <a:lnTo>
                    <a:pt x="234" y="551"/>
                  </a:lnTo>
                  <a:lnTo>
                    <a:pt x="234" y="549"/>
                  </a:lnTo>
                  <a:lnTo>
                    <a:pt x="236" y="549"/>
                  </a:lnTo>
                  <a:lnTo>
                    <a:pt x="236" y="548"/>
                  </a:lnTo>
                  <a:lnTo>
                    <a:pt x="238" y="548"/>
                  </a:lnTo>
                  <a:lnTo>
                    <a:pt x="238" y="546"/>
                  </a:lnTo>
                  <a:lnTo>
                    <a:pt x="239" y="548"/>
                  </a:lnTo>
                  <a:lnTo>
                    <a:pt x="241" y="548"/>
                  </a:lnTo>
                  <a:lnTo>
                    <a:pt x="243" y="548"/>
                  </a:lnTo>
                  <a:lnTo>
                    <a:pt x="244" y="548"/>
                  </a:lnTo>
                  <a:lnTo>
                    <a:pt x="244" y="546"/>
                  </a:lnTo>
                  <a:lnTo>
                    <a:pt x="246" y="546"/>
                  </a:lnTo>
                  <a:lnTo>
                    <a:pt x="247" y="544"/>
                  </a:lnTo>
                  <a:lnTo>
                    <a:pt x="249" y="544"/>
                  </a:lnTo>
                  <a:lnTo>
                    <a:pt x="249" y="543"/>
                  </a:lnTo>
                  <a:lnTo>
                    <a:pt x="247" y="543"/>
                  </a:lnTo>
                  <a:lnTo>
                    <a:pt x="249" y="543"/>
                  </a:lnTo>
                  <a:lnTo>
                    <a:pt x="249" y="541"/>
                  </a:lnTo>
                  <a:lnTo>
                    <a:pt x="247" y="541"/>
                  </a:lnTo>
                  <a:lnTo>
                    <a:pt x="247" y="543"/>
                  </a:lnTo>
                  <a:lnTo>
                    <a:pt x="246" y="543"/>
                  </a:lnTo>
                  <a:lnTo>
                    <a:pt x="244" y="543"/>
                  </a:lnTo>
                  <a:lnTo>
                    <a:pt x="243" y="543"/>
                  </a:lnTo>
                  <a:lnTo>
                    <a:pt x="239" y="543"/>
                  </a:lnTo>
                  <a:lnTo>
                    <a:pt x="239" y="544"/>
                  </a:lnTo>
                  <a:lnTo>
                    <a:pt x="238" y="543"/>
                  </a:lnTo>
                  <a:lnTo>
                    <a:pt x="236" y="543"/>
                  </a:lnTo>
                  <a:lnTo>
                    <a:pt x="236" y="541"/>
                  </a:lnTo>
                  <a:lnTo>
                    <a:pt x="236" y="543"/>
                  </a:lnTo>
                  <a:lnTo>
                    <a:pt x="238" y="543"/>
                  </a:lnTo>
                  <a:lnTo>
                    <a:pt x="236" y="543"/>
                  </a:lnTo>
                  <a:lnTo>
                    <a:pt x="236" y="544"/>
                  </a:lnTo>
                  <a:lnTo>
                    <a:pt x="234" y="544"/>
                  </a:lnTo>
                  <a:lnTo>
                    <a:pt x="234" y="543"/>
                  </a:lnTo>
                  <a:lnTo>
                    <a:pt x="234" y="544"/>
                  </a:lnTo>
                  <a:lnTo>
                    <a:pt x="233" y="543"/>
                  </a:lnTo>
                  <a:lnTo>
                    <a:pt x="233" y="544"/>
                  </a:lnTo>
                  <a:lnTo>
                    <a:pt x="231" y="544"/>
                  </a:lnTo>
                  <a:lnTo>
                    <a:pt x="231" y="543"/>
                  </a:lnTo>
                  <a:lnTo>
                    <a:pt x="229" y="543"/>
                  </a:lnTo>
                  <a:lnTo>
                    <a:pt x="228" y="541"/>
                  </a:lnTo>
                  <a:lnTo>
                    <a:pt x="229" y="541"/>
                  </a:lnTo>
                  <a:lnTo>
                    <a:pt x="228" y="541"/>
                  </a:lnTo>
                  <a:lnTo>
                    <a:pt x="228" y="540"/>
                  </a:lnTo>
                  <a:lnTo>
                    <a:pt x="226" y="540"/>
                  </a:lnTo>
                  <a:lnTo>
                    <a:pt x="226" y="541"/>
                  </a:lnTo>
                  <a:lnTo>
                    <a:pt x="226" y="540"/>
                  </a:lnTo>
                  <a:lnTo>
                    <a:pt x="225" y="540"/>
                  </a:lnTo>
                  <a:lnTo>
                    <a:pt x="225" y="538"/>
                  </a:lnTo>
                  <a:lnTo>
                    <a:pt x="225" y="536"/>
                  </a:lnTo>
                  <a:lnTo>
                    <a:pt x="225" y="538"/>
                  </a:lnTo>
                  <a:lnTo>
                    <a:pt x="225" y="536"/>
                  </a:lnTo>
                  <a:lnTo>
                    <a:pt x="228" y="538"/>
                  </a:lnTo>
                  <a:lnTo>
                    <a:pt x="229" y="538"/>
                  </a:lnTo>
                  <a:lnTo>
                    <a:pt x="231" y="538"/>
                  </a:lnTo>
                  <a:lnTo>
                    <a:pt x="233" y="538"/>
                  </a:lnTo>
                  <a:lnTo>
                    <a:pt x="233" y="540"/>
                  </a:lnTo>
                  <a:lnTo>
                    <a:pt x="234" y="541"/>
                  </a:lnTo>
                  <a:lnTo>
                    <a:pt x="236" y="541"/>
                  </a:lnTo>
                  <a:lnTo>
                    <a:pt x="236" y="540"/>
                  </a:lnTo>
                  <a:lnTo>
                    <a:pt x="236" y="541"/>
                  </a:lnTo>
                  <a:lnTo>
                    <a:pt x="238" y="541"/>
                  </a:lnTo>
                  <a:lnTo>
                    <a:pt x="238" y="540"/>
                  </a:lnTo>
                  <a:lnTo>
                    <a:pt x="236" y="538"/>
                  </a:lnTo>
                  <a:lnTo>
                    <a:pt x="234" y="538"/>
                  </a:lnTo>
                  <a:lnTo>
                    <a:pt x="234" y="536"/>
                  </a:lnTo>
                  <a:lnTo>
                    <a:pt x="233" y="536"/>
                  </a:lnTo>
                  <a:lnTo>
                    <a:pt x="233" y="535"/>
                  </a:lnTo>
                  <a:lnTo>
                    <a:pt x="233" y="533"/>
                  </a:lnTo>
                  <a:lnTo>
                    <a:pt x="229" y="533"/>
                  </a:lnTo>
                  <a:lnTo>
                    <a:pt x="229" y="535"/>
                  </a:lnTo>
                  <a:lnTo>
                    <a:pt x="228" y="533"/>
                  </a:lnTo>
                  <a:lnTo>
                    <a:pt x="226" y="533"/>
                  </a:lnTo>
                  <a:lnTo>
                    <a:pt x="226" y="531"/>
                  </a:lnTo>
                  <a:lnTo>
                    <a:pt x="225" y="531"/>
                  </a:lnTo>
                  <a:lnTo>
                    <a:pt x="223" y="530"/>
                  </a:lnTo>
                  <a:lnTo>
                    <a:pt x="225" y="530"/>
                  </a:lnTo>
                  <a:lnTo>
                    <a:pt x="225" y="528"/>
                  </a:lnTo>
                  <a:lnTo>
                    <a:pt x="226" y="528"/>
                  </a:lnTo>
                  <a:lnTo>
                    <a:pt x="228" y="528"/>
                  </a:lnTo>
                  <a:lnTo>
                    <a:pt x="228" y="527"/>
                  </a:lnTo>
                  <a:lnTo>
                    <a:pt x="229" y="527"/>
                  </a:lnTo>
                  <a:lnTo>
                    <a:pt x="229" y="525"/>
                  </a:lnTo>
                  <a:lnTo>
                    <a:pt x="228" y="525"/>
                  </a:lnTo>
                  <a:lnTo>
                    <a:pt x="228" y="527"/>
                  </a:lnTo>
                  <a:lnTo>
                    <a:pt x="228" y="525"/>
                  </a:lnTo>
                  <a:lnTo>
                    <a:pt x="226" y="525"/>
                  </a:lnTo>
                  <a:lnTo>
                    <a:pt x="228" y="523"/>
                  </a:lnTo>
                  <a:lnTo>
                    <a:pt x="228" y="522"/>
                  </a:lnTo>
                  <a:lnTo>
                    <a:pt x="229" y="522"/>
                  </a:lnTo>
                  <a:lnTo>
                    <a:pt x="231" y="522"/>
                  </a:lnTo>
                  <a:lnTo>
                    <a:pt x="231" y="523"/>
                  </a:lnTo>
                  <a:lnTo>
                    <a:pt x="231" y="522"/>
                  </a:lnTo>
                  <a:lnTo>
                    <a:pt x="233" y="522"/>
                  </a:lnTo>
                  <a:lnTo>
                    <a:pt x="234" y="522"/>
                  </a:lnTo>
                  <a:lnTo>
                    <a:pt x="234" y="523"/>
                  </a:lnTo>
                  <a:lnTo>
                    <a:pt x="236" y="525"/>
                  </a:lnTo>
                  <a:lnTo>
                    <a:pt x="236" y="523"/>
                  </a:lnTo>
                  <a:lnTo>
                    <a:pt x="234" y="523"/>
                  </a:lnTo>
                  <a:lnTo>
                    <a:pt x="236" y="523"/>
                  </a:lnTo>
                  <a:lnTo>
                    <a:pt x="234" y="522"/>
                  </a:lnTo>
                  <a:lnTo>
                    <a:pt x="236" y="522"/>
                  </a:lnTo>
                  <a:lnTo>
                    <a:pt x="234" y="522"/>
                  </a:lnTo>
                  <a:lnTo>
                    <a:pt x="236" y="520"/>
                  </a:lnTo>
                  <a:lnTo>
                    <a:pt x="236" y="518"/>
                  </a:lnTo>
                  <a:lnTo>
                    <a:pt x="236" y="520"/>
                  </a:lnTo>
                  <a:lnTo>
                    <a:pt x="236" y="518"/>
                  </a:lnTo>
                  <a:lnTo>
                    <a:pt x="236" y="520"/>
                  </a:lnTo>
                  <a:lnTo>
                    <a:pt x="238" y="520"/>
                  </a:lnTo>
                  <a:lnTo>
                    <a:pt x="238" y="518"/>
                  </a:lnTo>
                  <a:lnTo>
                    <a:pt x="239" y="518"/>
                  </a:lnTo>
                  <a:lnTo>
                    <a:pt x="241" y="518"/>
                  </a:lnTo>
                  <a:lnTo>
                    <a:pt x="243" y="518"/>
                  </a:lnTo>
                  <a:lnTo>
                    <a:pt x="244" y="518"/>
                  </a:lnTo>
                  <a:close/>
                  <a:moveTo>
                    <a:pt x="280" y="1001"/>
                  </a:moveTo>
                  <a:lnTo>
                    <a:pt x="282" y="1001"/>
                  </a:lnTo>
                  <a:lnTo>
                    <a:pt x="283" y="1001"/>
                  </a:lnTo>
                  <a:lnTo>
                    <a:pt x="283" y="1003"/>
                  </a:lnTo>
                  <a:lnTo>
                    <a:pt x="283" y="1001"/>
                  </a:lnTo>
                  <a:lnTo>
                    <a:pt x="285" y="1001"/>
                  </a:lnTo>
                  <a:lnTo>
                    <a:pt x="285" y="1003"/>
                  </a:lnTo>
                  <a:lnTo>
                    <a:pt x="286" y="1003"/>
                  </a:lnTo>
                  <a:lnTo>
                    <a:pt x="286" y="1005"/>
                  </a:lnTo>
                  <a:lnTo>
                    <a:pt x="288" y="1003"/>
                  </a:lnTo>
                  <a:lnTo>
                    <a:pt x="288" y="1005"/>
                  </a:lnTo>
                  <a:lnTo>
                    <a:pt x="290" y="1005"/>
                  </a:lnTo>
                  <a:lnTo>
                    <a:pt x="291" y="1005"/>
                  </a:lnTo>
                  <a:lnTo>
                    <a:pt x="291" y="1006"/>
                  </a:lnTo>
                  <a:lnTo>
                    <a:pt x="291" y="1005"/>
                  </a:lnTo>
                  <a:lnTo>
                    <a:pt x="293" y="1005"/>
                  </a:lnTo>
                  <a:lnTo>
                    <a:pt x="293" y="1006"/>
                  </a:lnTo>
                  <a:lnTo>
                    <a:pt x="291" y="1006"/>
                  </a:lnTo>
                  <a:lnTo>
                    <a:pt x="293" y="1006"/>
                  </a:lnTo>
                  <a:lnTo>
                    <a:pt x="293" y="1008"/>
                  </a:lnTo>
                  <a:lnTo>
                    <a:pt x="293" y="1010"/>
                  </a:lnTo>
                  <a:lnTo>
                    <a:pt x="291" y="1011"/>
                  </a:lnTo>
                  <a:lnTo>
                    <a:pt x="293" y="1011"/>
                  </a:lnTo>
                  <a:lnTo>
                    <a:pt x="293" y="1013"/>
                  </a:lnTo>
                  <a:lnTo>
                    <a:pt x="293" y="1015"/>
                  </a:lnTo>
                  <a:lnTo>
                    <a:pt x="293" y="1013"/>
                  </a:lnTo>
                  <a:lnTo>
                    <a:pt x="295" y="1015"/>
                  </a:lnTo>
                  <a:lnTo>
                    <a:pt x="295" y="1016"/>
                  </a:lnTo>
                  <a:lnTo>
                    <a:pt x="295" y="1018"/>
                  </a:lnTo>
                  <a:lnTo>
                    <a:pt x="295" y="1019"/>
                  </a:lnTo>
                  <a:lnTo>
                    <a:pt x="296" y="1021"/>
                  </a:lnTo>
                  <a:lnTo>
                    <a:pt x="296" y="1023"/>
                  </a:lnTo>
                  <a:lnTo>
                    <a:pt x="295" y="1023"/>
                  </a:lnTo>
                  <a:lnTo>
                    <a:pt x="296" y="1024"/>
                  </a:lnTo>
                  <a:lnTo>
                    <a:pt x="298" y="1024"/>
                  </a:lnTo>
                  <a:lnTo>
                    <a:pt x="299" y="1024"/>
                  </a:lnTo>
                  <a:lnTo>
                    <a:pt x="299" y="1023"/>
                  </a:lnTo>
                  <a:lnTo>
                    <a:pt x="301" y="1023"/>
                  </a:lnTo>
                  <a:lnTo>
                    <a:pt x="303" y="1023"/>
                  </a:lnTo>
                  <a:lnTo>
                    <a:pt x="303" y="1021"/>
                  </a:lnTo>
                  <a:lnTo>
                    <a:pt x="306" y="1023"/>
                  </a:lnTo>
                  <a:lnTo>
                    <a:pt x="308" y="1023"/>
                  </a:lnTo>
                  <a:lnTo>
                    <a:pt x="309" y="1023"/>
                  </a:lnTo>
                  <a:lnTo>
                    <a:pt x="309" y="1024"/>
                  </a:lnTo>
                  <a:lnTo>
                    <a:pt x="308" y="1026"/>
                  </a:lnTo>
                  <a:lnTo>
                    <a:pt x="306" y="1028"/>
                  </a:lnTo>
                  <a:lnTo>
                    <a:pt x="304" y="1029"/>
                  </a:lnTo>
                  <a:lnTo>
                    <a:pt x="304" y="1031"/>
                  </a:lnTo>
                  <a:lnTo>
                    <a:pt x="303" y="1031"/>
                  </a:lnTo>
                  <a:lnTo>
                    <a:pt x="301" y="1032"/>
                  </a:lnTo>
                  <a:lnTo>
                    <a:pt x="299" y="1032"/>
                  </a:lnTo>
                  <a:lnTo>
                    <a:pt x="298" y="1034"/>
                  </a:lnTo>
                  <a:lnTo>
                    <a:pt x="296" y="1034"/>
                  </a:lnTo>
                  <a:lnTo>
                    <a:pt x="295" y="1034"/>
                  </a:lnTo>
                  <a:lnTo>
                    <a:pt x="295" y="1036"/>
                  </a:lnTo>
                  <a:lnTo>
                    <a:pt x="293" y="1036"/>
                  </a:lnTo>
                  <a:lnTo>
                    <a:pt x="291" y="1037"/>
                  </a:lnTo>
                  <a:lnTo>
                    <a:pt x="291" y="1039"/>
                  </a:lnTo>
                  <a:lnTo>
                    <a:pt x="290" y="1039"/>
                  </a:lnTo>
                  <a:lnTo>
                    <a:pt x="288" y="1039"/>
                  </a:lnTo>
                  <a:lnTo>
                    <a:pt x="288" y="1041"/>
                  </a:lnTo>
                  <a:lnTo>
                    <a:pt x="286" y="1041"/>
                  </a:lnTo>
                  <a:lnTo>
                    <a:pt x="285" y="1042"/>
                  </a:lnTo>
                  <a:lnTo>
                    <a:pt x="283" y="1042"/>
                  </a:lnTo>
                  <a:lnTo>
                    <a:pt x="282" y="1044"/>
                  </a:lnTo>
                  <a:lnTo>
                    <a:pt x="282" y="1042"/>
                  </a:lnTo>
                  <a:lnTo>
                    <a:pt x="280" y="1042"/>
                  </a:lnTo>
                  <a:lnTo>
                    <a:pt x="280" y="1044"/>
                  </a:lnTo>
                  <a:lnTo>
                    <a:pt x="278" y="1044"/>
                  </a:lnTo>
                  <a:lnTo>
                    <a:pt x="280" y="1045"/>
                  </a:lnTo>
                  <a:lnTo>
                    <a:pt x="278" y="1044"/>
                  </a:lnTo>
                  <a:lnTo>
                    <a:pt x="277" y="1042"/>
                  </a:lnTo>
                  <a:lnTo>
                    <a:pt x="275" y="1042"/>
                  </a:lnTo>
                  <a:lnTo>
                    <a:pt x="273" y="1042"/>
                  </a:lnTo>
                  <a:lnTo>
                    <a:pt x="273" y="1044"/>
                  </a:lnTo>
                  <a:lnTo>
                    <a:pt x="273" y="1042"/>
                  </a:lnTo>
                  <a:lnTo>
                    <a:pt x="275" y="1041"/>
                  </a:lnTo>
                  <a:lnTo>
                    <a:pt x="273" y="1041"/>
                  </a:lnTo>
                  <a:lnTo>
                    <a:pt x="273" y="1039"/>
                  </a:lnTo>
                  <a:lnTo>
                    <a:pt x="275" y="1039"/>
                  </a:lnTo>
                  <a:lnTo>
                    <a:pt x="277" y="1039"/>
                  </a:lnTo>
                  <a:lnTo>
                    <a:pt x="278" y="1037"/>
                  </a:lnTo>
                  <a:lnTo>
                    <a:pt x="278" y="1036"/>
                  </a:lnTo>
                  <a:lnTo>
                    <a:pt x="277" y="1036"/>
                  </a:lnTo>
                  <a:lnTo>
                    <a:pt x="275" y="1037"/>
                  </a:lnTo>
                  <a:lnTo>
                    <a:pt x="273" y="1039"/>
                  </a:lnTo>
                  <a:lnTo>
                    <a:pt x="272" y="1039"/>
                  </a:lnTo>
                  <a:lnTo>
                    <a:pt x="272" y="1037"/>
                  </a:lnTo>
                  <a:lnTo>
                    <a:pt x="270" y="1037"/>
                  </a:lnTo>
                  <a:lnTo>
                    <a:pt x="272" y="1037"/>
                  </a:lnTo>
                  <a:lnTo>
                    <a:pt x="270" y="1036"/>
                  </a:lnTo>
                  <a:lnTo>
                    <a:pt x="272" y="1036"/>
                  </a:lnTo>
                  <a:lnTo>
                    <a:pt x="270" y="1036"/>
                  </a:lnTo>
                  <a:lnTo>
                    <a:pt x="269" y="1036"/>
                  </a:lnTo>
                  <a:lnTo>
                    <a:pt x="269" y="1034"/>
                  </a:lnTo>
                  <a:lnTo>
                    <a:pt x="267" y="1034"/>
                  </a:lnTo>
                  <a:lnTo>
                    <a:pt x="267" y="1032"/>
                  </a:lnTo>
                  <a:lnTo>
                    <a:pt x="269" y="1032"/>
                  </a:lnTo>
                  <a:lnTo>
                    <a:pt x="269" y="1031"/>
                  </a:lnTo>
                  <a:lnTo>
                    <a:pt x="267" y="1029"/>
                  </a:lnTo>
                  <a:lnTo>
                    <a:pt x="267" y="1028"/>
                  </a:lnTo>
                  <a:lnTo>
                    <a:pt x="267" y="1026"/>
                  </a:lnTo>
                  <a:lnTo>
                    <a:pt x="265" y="1026"/>
                  </a:lnTo>
                  <a:lnTo>
                    <a:pt x="265" y="1024"/>
                  </a:lnTo>
                  <a:lnTo>
                    <a:pt x="265" y="1023"/>
                  </a:lnTo>
                  <a:lnTo>
                    <a:pt x="265" y="1021"/>
                  </a:lnTo>
                  <a:lnTo>
                    <a:pt x="265" y="1023"/>
                  </a:lnTo>
                  <a:lnTo>
                    <a:pt x="265" y="1021"/>
                  </a:lnTo>
                  <a:lnTo>
                    <a:pt x="264" y="1021"/>
                  </a:lnTo>
                  <a:lnTo>
                    <a:pt x="264" y="1019"/>
                  </a:lnTo>
                  <a:lnTo>
                    <a:pt x="264" y="1021"/>
                  </a:lnTo>
                  <a:lnTo>
                    <a:pt x="264" y="1019"/>
                  </a:lnTo>
                  <a:lnTo>
                    <a:pt x="264" y="1018"/>
                  </a:lnTo>
                  <a:lnTo>
                    <a:pt x="265" y="1018"/>
                  </a:lnTo>
                  <a:lnTo>
                    <a:pt x="267" y="1018"/>
                  </a:lnTo>
                  <a:lnTo>
                    <a:pt x="267" y="1016"/>
                  </a:lnTo>
                  <a:lnTo>
                    <a:pt x="269" y="1016"/>
                  </a:lnTo>
                  <a:lnTo>
                    <a:pt x="267" y="1016"/>
                  </a:lnTo>
                  <a:lnTo>
                    <a:pt x="265" y="1016"/>
                  </a:lnTo>
                  <a:lnTo>
                    <a:pt x="267" y="1015"/>
                  </a:lnTo>
                  <a:lnTo>
                    <a:pt x="265" y="1015"/>
                  </a:lnTo>
                  <a:lnTo>
                    <a:pt x="265" y="1013"/>
                  </a:lnTo>
                  <a:lnTo>
                    <a:pt x="265" y="1011"/>
                  </a:lnTo>
                  <a:lnTo>
                    <a:pt x="267" y="1011"/>
                  </a:lnTo>
                  <a:lnTo>
                    <a:pt x="267" y="1010"/>
                  </a:lnTo>
                  <a:lnTo>
                    <a:pt x="267" y="1008"/>
                  </a:lnTo>
                  <a:lnTo>
                    <a:pt x="269" y="1008"/>
                  </a:lnTo>
                  <a:lnTo>
                    <a:pt x="269" y="1006"/>
                  </a:lnTo>
                  <a:lnTo>
                    <a:pt x="269" y="1005"/>
                  </a:lnTo>
                  <a:lnTo>
                    <a:pt x="269" y="1003"/>
                  </a:lnTo>
                  <a:lnTo>
                    <a:pt x="267" y="1003"/>
                  </a:lnTo>
                  <a:lnTo>
                    <a:pt x="269" y="1003"/>
                  </a:lnTo>
                  <a:lnTo>
                    <a:pt x="267" y="1003"/>
                  </a:lnTo>
                  <a:lnTo>
                    <a:pt x="267" y="1001"/>
                  </a:lnTo>
                  <a:lnTo>
                    <a:pt x="269" y="1001"/>
                  </a:lnTo>
                  <a:lnTo>
                    <a:pt x="270" y="1001"/>
                  </a:lnTo>
                  <a:lnTo>
                    <a:pt x="272" y="1001"/>
                  </a:lnTo>
                  <a:lnTo>
                    <a:pt x="273" y="1001"/>
                  </a:lnTo>
                  <a:lnTo>
                    <a:pt x="273" y="1003"/>
                  </a:lnTo>
                  <a:lnTo>
                    <a:pt x="275" y="1001"/>
                  </a:lnTo>
                  <a:lnTo>
                    <a:pt x="275" y="1003"/>
                  </a:lnTo>
                  <a:lnTo>
                    <a:pt x="275" y="1001"/>
                  </a:lnTo>
                  <a:lnTo>
                    <a:pt x="277" y="1001"/>
                  </a:lnTo>
                  <a:lnTo>
                    <a:pt x="277" y="1003"/>
                  </a:lnTo>
                  <a:lnTo>
                    <a:pt x="277" y="1001"/>
                  </a:lnTo>
                  <a:lnTo>
                    <a:pt x="278" y="1003"/>
                  </a:lnTo>
                  <a:lnTo>
                    <a:pt x="278" y="1001"/>
                  </a:lnTo>
                  <a:lnTo>
                    <a:pt x="280" y="1001"/>
                  </a:lnTo>
                  <a:close/>
                  <a:moveTo>
                    <a:pt x="535" y="213"/>
                  </a:moveTo>
                  <a:lnTo>
                    <a:pt x="537" y="213"/>
                  </a:lnTo>
                  <a:lnTo>
                    <a:pt x="539" y="213"/>
                  </a:lnTo>
                  <a:lnTo>
                    <a:pt x="540" y="214"/>
                  </a:lnTo>
                  <a:lnTo>
                    <a:pt x="542" y="216"/>
                  </a:lnTo>
                  <a:lnTo>
                    <a:pt x="543" y="216"/>
                  </a:lnTo>
                  <a:lnTo>
                    <a:pt x="543" y="218"/>
                  </a:lnTo>
                  <a:lnTo>
                    <a:pt x="545" y="218"/>
                  </a:lnTo>
                  <a:lnTo>
                    <a:pt x="545" y="219"/>
                  </a:lnTo>
                  <a:lnTo>
                    <a:pt x="547" y="219"/>
                  </a:lnTo>
                  <a:lnTo>
                    <a:pt x="547" y="218"/>
                  </a:lnTo>
                  <a:lnTo>
                    <a:pt x="547" y="219"/>
                  </a:lnTo>
                  <a:lnTo>
                    <a:pt x="548" y="221"/>
                  </a:lnTo>
                  <a:lnTo>
                    <a:pt x="548" y="222"/>
                  </a:lnTo>
                  <a:lnTo>
                    <a:pt x="547" y="222"/>
                  </a:lnTo>
                  <a:lnTo>
                    <a:pt x="548" y="222"/>
                  </a:lnTo>
                  <a:lnTo>
                    <a:pt x="548" y="224"/>
                  </a:lnTo>
                  <a:lnTo>
                    <a:pt x="550" y="226"/>
                  </a:lnTo>
                  <a:lnTo>
                    <a:pt x="550" y="227"/>
                  </a:lnTo>
                  <a:lnTo>
                    <a:pt x="550" y="229"/>
                  </a:lnTo>
                  <a:lnTo>
                    <a:pt x="550" y="231"/>
                  </a:lnTo>
                  <a:lnTo>
                    <a:pt x="548" y="231"/>
                  </a:lnTo>
                  <a:lnTo>
                    <a:pt x="550" y="231"/>
                  </a:lnTo>
                  <a:lnTo>
                    <a:pt x="548" y="231"/>
                  </a:lnTo>
                  <a:lnTo>
                    <a:pt x="550" y="231"/>
                  </a:lnTo>
                  <a:lnTo>
                    <a:pt x="548" y="231"/>
                  </a:lnTo>
                  <a:lnTo>
                    <a:pt x="547" y="229"/>
                  </a:lnTo>
                  <a:lnTo>
                    <a:pt x="545" y="229"/>
                  </a:lnTo>
                  <a:lnTo>
                    <a:pt x="547" y="231"/>
                  </a:lnTo>
                  <a:lnTo>
                    <a:pt x="545" y="232"/>
                  </a:lnTo>
                  <a:lnTo>
                    <a:pt x="543" y="232"/>
                  </a:lnTo>
                  <a:lnTo>
                    <a:pt x="543" y="234"/>
                  </a:lnTo>
                  <a:lnTo>
                    <a:pt x="542" y="234"/>
                  </a:lnTo>
                  <a:lnTo>
                    <a:pt x="540" y="234"/>
                  </a:lnTo>
                  <a:lnTo>
                    <a:pt x="542" y="235"/>
                  </a:lnTo>
                  <a:lnTo>
                    <a:pt x="543" y="237"/>
                  </a:lnTo>
                  <a:lnTo>
                    <a:pt x="545" y="237"/>
                  </a:lnTo>
                  <a:lnTo>
                    <a:pt x="545" y="235"/>
                  </a:lnTo>
                  <a:lnTo>
                    <a:pt x="547" y="235"/>
                  </a:lnTo>
                  <a:lnTo>
                    <a:pt x="548" y="235"/>
                  </a:lnTo>
                  <a:lnTo>
                    <a:pt x="550" y="235"/>
                  </a:lnTo>
                  <a:lnTo>
                    <a:pt x="550" y="237"/>
                  </a:lnTo>
                  <a:lnTo>
                    <a:pt x="552" y="237"/>
                  </a:lnTo>
                  <a:lnTo>
                    <a:pt x="552" y="239"/>
                  </a:lnTo>
                  <a:lnTo>
                    <a:pt x="550" y="239"/>
                  </a:lnTo>
                  <a:lnTo>
                    <a:pt x="552" y="240"/>
                  </a:lnTo>
                  <a:lnTo>
                    <a:pt x="552" y="239"/>
                  </a:lnTo>
                  <a:lnTo>
                    <a:pt x="553" y="239"/>
                  </a:lnTo>
                  <a:lnTo>
                    <a:pt x="553" y="237"/>
                  </a:lnTo>
                  <a:lnTo>
                    <a:pt x="555" y="235"/>
                  </a:lnTo>
                  <a:lnTo>
                    <a:pt x="555" y="237"/>
                  </a:lnTo>
                  <a:lnTo>
                    <a:pt x="556" y="237"/>
                  </a:lnTo>
                  <a:lnTo>
                    <a:pt x="555" y="237"/>
                  </a:lnTo>
                  <a:lnTo>
                    <a:pt x="556" y="239"/>
                  </a:lnTo>
                  <a:lnTo>
                    <a:pt x="555" y="239"/>
                  </a:lnTo>
                  <a:lnTo>
                    <a:pt x="556" y="240"/>
                  </a:lnTo>
                  <a:lnTo>
                    <a:pt x="556" y="239"/>
                  </a:lnTo>
                  <a:lnTo>
                    <a:pt x="556" y="240"/>
                  </a:lnTo>
                  <a:lnTo>
                    <a:pt x="555" y="240"/>
                  </a:lnTo>
                  <a:lnTo>
                    <a:pt x="555" y="242"/>
                  </a:lnTo>
                  <a:lnTo>
                    <a:pt x="553" y="244"/>
                  </a:lnTo>
                  <a:lnTo>
                    <a:pt x="555" y="244"/>
                  </a:lnTo>
                  <a:lnTo>
                    <a:pt x="556" y="244"/>
                  </a:lnTo>
                  <a:lnTo>
                    <a:pt x="556" y="242"/>
                  </a:lnTo>
                  <a:lnTo>
                    <a:pt x="558" y="244"/>
                  </a:lnTo>
                  <a:lnTo>
                    <a:pt x="558" y="242"/>
                  </a:lnTo>
                  <a:lnTo>
                    <a:pt x="560" y="240"/>
                  </a:lnTo>
                  <a:lnTo>
                    <a:pt x="560" y="242"/>
                  </a:lnTo>
                  <a:lnTo>
                    <a:pt x="561" y="242"/>
                  </a:lnTo>
                  <a:lnTo>
                    <a:pt x="563" y="242"/>
                  </a:lnTo>
                  <a:lnTo>
                    <a:pt x="563" y="240"/>
                  </a:lnTo>
                  <a:lnTo>
                    <a:pt x="563" y="242"/>
                  </a:lnTo>
                  <a:lnTo>
                    <a:pt x="563" y="244"/>
                  </a:lnTo>
                  <a:lnTo>
                    <a:pt x="563" y="245"/>
                  </a:lnTo>
                  <a:lnTo>
                    <a:pt x="563" y="244"/>
                  </a:lnTo>
                  <a:lnTo>
                    <a:pt x="561" y="244"/>
                  </a:lnTo>
                  <a:lnTo>
                    <a:pt x="560" y="245"/>
                  </a:lnTo>
                  <a:lnTo>
                    <a:pt x="560" y="244"/>
                  </a:lnTo>
                  <a:lnTo>
                    <a:pt x="560" y="245"/>
                  </a:lnTo>
                  <a:lnTo>
                    <a:pt x="558" y="245"/>
                  </a:lnTo>
                  <a:lnTo>
                    <a:pt x="560" y="245"/>
                  </a:lnTo>
                  <a:lnTo>
                    <a:pt x="560" y="247"/>
                  </a:lnTo>
                  <a:lnTo>
                    <a:pt x="560" y="248"/>
                  </a:lnTo>
                  <a:lnTo>
                    <a:pt x="560" y="250"/>
                  </a:lnTo>
                  <a:lnTo>
                    <a:pt x="560" y="248"/>
                  </a:lnTo>
                  <a:lnTo>
                    <a:pt x="561" y="250"/>
                  </a:lnTo>
                  <a:lnTo>
                    <a:pt x="561" y="252"/>
                  </a:lnTo>
                  <a:lnTo>
                    <a:pt x="563" y="252"/>
                  </a:lnTo>
                  <a:lnTo>
                    <a:pt x="563" y="250"/>
                  </a:lnTo>
                  <a:lnTo>
                    <a:pt x="561" y="250"/>
                  </a:lnTo>
                  <a:lnTo>
                    <a:pt x="563" y="248"/>
                  </a:lnTo>
                  <a:lnTo>
                    <a:pt x="563" y="247"/>
                  </a:lnTo>
                  <a:lnTo>
                    <a:pt x="561" y="247"/>
                  </a:lnTo>
                  <a:lnTo>
                    <a:pt x="563" y="247"/>
                  </a:lnTo>
                  <a:lnTo>
                    <a:pt x="565" y="247"/>
                  </a:lnTo>
                  <a:lnTo>
                    <a:pt x="566" y="245"/>
                  </a:lnTo>
                  <a:lnTo>
                    <a:pt x="568" y="245"/>
                  </a:lnTo>
                  <a:lnTo>
                    <a:pt x="569" y="244"/>
                  </a:lnTo>
                  <a:lnTo>
                    <a:pt x="569" y="245"/>
                  </a:lnTo>
                  <a:lnTo>
                    <a:pt x="569" y="247"/>
                  </a:lnTo>
                  <a:lnTo>
                    <a:pt x="569" y="248"/>
                  </a:lnTo>
                  <a:lnTo>
                    <a:pt x="568" y="248"/>
                  </a:lnTo>
                  <a:lnTo>
                    <a:pt x="568" y="250"/>
                  </a:lnTo>
                  <a:lnTo>
                    <a:pt x="568" y="252"/>
                  </a:lnTo>
                  <a:lnTo>
                    <a:pt x="566" y="252"/>
                  </a:lnTo>
                  <a:lnTo>
                    <a:pt x="565" y="252"/>
                  </a:lnTo>
                  <a:lnTo>
                    <a:pt x="563" y="252"/>
                  </a:lnTo>
                  <a:lnTo>
                    <a:pt x="561" y="252"/>
                  </a:lnTo>
                  <a:lnTo>
                    <a:pt x="561" y="253"/>
                  </a:lnTo>
                  <a:lnTo>
                    <a:pt x="560" y="255"/>
                  </a:lnTo>
                  <a:lnTo>
                    <a:pt x="558" y="255"/>
                  </a:lnTo>
                  <a:lnTo>
                    <a:pt x="560" y="257"/>
                  </a:lnTo>
                  <a:lnTo>
                    <a:pt x="558" y="257"/>
                  </a:lnTo>
                  <a:lnTo>
                    <a:pt x="558" y="255"/>
                  </a:lnTo>
                  <a:lnTo>
                    <a:pt x="556" y="255"/>
                  </a:lnTo>
                  <a:lnTo>
                    <a:pt x="556" y="253"/>
                  </a:lnTo>
                  <a:lnTo>
                    <a:pt x="555" y="252"/>
                  </a:lnTo>
                  <a:lnTo>
                    <a:pt x="555" y="253"/>
                  </a:lnTo>
                  <a:lnTo>
                    <a:pt x="553" y="253"/>
                  </a:lnTo>
                  <a:lnTo>
                    <a:pt x="555" y="253"/>
                  </a:lnTo>
                  <a:lnTo>
                    <a:pt x="555" y="255"/>
                  </a:lnTo>
                  <a:lnTo>
                    <a:pt x="553" y="255"/>
                  </a:lnTo>
                  <a:lnTo>
                    <a:pt x="552" y="257"/>
                  </a:lnTo>
                  <a:lnTo>
                    <a:pt x="553" y="257"/>
                  </a:lnTo>
                  <a:lnTo>
                    <a:pt x="553" y="258"/>
                  </a:lnTo>
                  <a:lnTo>
                    <a:pt x="553" y="260"/>
                  </a:lnTo>
                  <a:lnTo>
                    <a:pt x="555" y="260"/>
                  </a:lnTo>
                  <a:lnTo>
                    <a:pt x="553" y="260"/>
                  </a:lnTo>
                  <a:lnTo>
                    <a:pt x="552" y="260"/>
                  </a:lnTo>
                  <a:lnTo>
                    <a:pt x="552" y="261"/>
                  </a:lnTo>
                  <a:lnTo>
                    <a:pt x="553" y="261"/>
                  </a:lnTo>
                  <a:lnTo>
                    <a:pt x="553" y="263"/>
                  </a:lnTo>
                  <a:lnTo>
                    <a:pt x="552" y="263"/>
                  </a:lnTo>
                  <a:lnTo>
                    <a:pt x="553" y="263"/>
                  </a:lnTo>
                  <a:lnTo>
                    <a:pt x="553" y="265"/>
                  </a:lnTo>
                  <a:lnTo>
                    <a:pt x="552" y="265"/>
                  </a:lnTo>
                  <a:lnTo>
                    <a:pt x="552" y="263"/>
                  </a:lnTo>
                  <a:lnTo>
                    <a:pt x="550" y="265"/>
                  </a:lnTo>
                  <a:lnTo>
                    <a:pt x="550" y="266"/>
                  </a:lnTo>
                  <a:lnTo>
                    <a:pt x="548" y="266"/>
                  </a:lnTo>
                  <a:lnTo>
                    <a:pt x="548" y="268"/>
                  </a:lnTo>
                  <a:lnTo>
                    <a:pt x="548" y="270"/>
                  </a:lnTo>
                  <a:lnTo>
                    <a:pt x="547" y="271"/>
                  </a:lnTo>
                  <a:lnTo>
                    <a:pt x="548" y="271"/>
                  </a:lnTo>
                  <a:lnTo>
                    <a:pt x="548" y="273"/>
                  </a:lnTo>
                  <a:lnTo>
                    <a:pt x="548" y="274"/>
                  </a:lnTo>
                  <a:lnTo>
                    <a:pt x="547" y="274"/>
                  </a:lnTo>
                  <a:lnTo>
                    <a:pt x="548" y="274"/>
                  </a:lnTo>
                  <a:lnTo>
                    <a:pt x="547" y="276"/>
                  </a:lnTo>
                  <a:lnTo>
                    <a:pt x="547" y="274"/>
                  </a:lnTo>
                  <a:lnTo>
                    <a:pt x="547" y="276"/>
                  </a:lnTo>
                  <a:lnTo>
                    <a:pt x="545" y="274"/>
                  </a:lnTo>
                  <a:lnTo>
                    <a:pt x="545" y="276"/>
                  </a:lnTo>
                  <a:lnTo>
                    <a:pt x="543" y="274"/>
                  </a:lnTo>
                  <a:lnTo>
                    <a:pt x="545" y="274"/>
                  </a:lnTo>
                  <a:lnTo>
                    <a:pt x="543" y="274"/>
                  </a:lnTo>
                  <a:lnTo>
                    <a:pt x="543" y="273"/>
                  </a:lnTo>
                  <a:lnTo>
                    <a:pt x="543" y="271"/>
                  </a:lnTo>
                  <a:lnTo>
                    <a:pt x="543" y="270"/>
                  </a:lnTo>
                  <a:lnTo>
                    <a:pt x="543" y="268"/>
                  </a:lnTo>
                  <a:lnTo>
                    <a:pt x="545" y="268"/>
                  </a:lnTo>
                  <a:lnTo>
                    <a:pt x="543" y="266"/>
                  </a:lnTo>
                  <a:lnTo>
                    <a:pt x="543" y="265"/>
                  </a:lnTo>
                  <a:lnTo>
                    <a:pt x="542" y="265"/>
                  </a:lnTo>
                  <a:lnTo>
                    <a:pt x="542" y="263"/>
                  </a:lnTo>
                  <a:lnTo>
                    <a:pt x="543" y="263"/>
                  </a:lnTo>
                  <a:lnTo>
                    <a:pt x="543" y="265"/>
                  </a:lnTo>
                  <a:lnTo>
                    <a:pt x="545" y="265"/>
                  </a:lnTo>
                  <a:lnTo>
                    <a:pt x="545" y="263"/>
                  </a:lnTo>
                  <a:lnTo>
                    <a:pt x="543" y="263"/>
                  </a:lnTo>
                  <a:lnTo>
                    <a:pt x="543" y="261"/>
                  </a:lnTo>
                  <a:lnTo>
                    <a:pt x="542" y="261"/>
                  </a:lnTo>
                  <a:lnTo>
                    <a:pt x="542" y="263"/>
                  </a:lnTo>
                  <a:lnTo>
                    <a:pt x="542" y="261"/>
                  </a:lnTo>
                  <a:lnTo>
                    <a:pt x="543" y="260"/>
                  </a:lnTo>
                  <a:lnTo>
                    <a:pt x="543" y="261"/>
                  </a:lnTo>
                  <a:lnTo>
                    <a:pt x="545" y="260"/>
                  </a:lnTo>
                  <a:lnTo>
                    <a:pt x="545" y="261"/>
                  </a:lnTo>
                  <a:lnTo>
                    <a:pt x="545" y="260"/>
                  </a:lnTo>
                  <a:lnTo>
                    <a:pt x="547" y="260"/>
                  </a:lnTo>
                  <a:lnTo>
                    <a:pt x="547" y="261"/>
                  </a:lnTo>
                  <a:lnTo>
                    <a:pt x="548" y="261"/>
                  </a:lnTo>
                  <a:lnTo>
                    <a:pt x="550" y="261"/>
                  </a:lnTo>
                  <a:lnTo>
                    <a:pt x="552" y="261"/>
                  </a:lnTo>
                  <a:lnTo>
                    <a:pt x="552" y="260"/>
                  </a:lnTo>
                  <a:lnTo>
                    <a:pt x="550" y="260"/>
                  </a:lnTo>
                  <a:lnTo>
                    <a:pt x="548" y="260"/>
                  </a:lnTo>
                  <a:lnTo>
                    <a:pt x="547" y="258"/>
                  </a:lnTo>
                  <a:lnTo>
                    <a:pt x="548" y="258"/>
                  </a:lnTo>
                  <a:lnTo>
                    <a:pt x="550" y="257"/>
                  </a:lnTo>
                  <a:lnTo>
                    <a:pt x="552" y="258"/>
                  </a:lnTo>
                  <a:lnTo>
                    <a:pt x="552" y="257"/>
                  </a:lnTo>
                  <a:lnTo>
                    <a:pt x="552" y="255"/>
                  </a:lnTo>
                  <a:lnTo>
                    <a:pt x="553" y="255"/>
                  </a:lnTo>
                  <a:lnTo>
                    <a:pt x="553" y="253"/>
                  </a:lnTo>
                  <a:lnTo>
                    <a:pt x="552" y="253"/>
                  </a:lnTo>
                  <a:lnTo>
                    <a:pt x="550" y="253"/>
                  </a:lnTo>
                  <a:lnTo>
                    <a:pt x="552" y="252"/>
                  </a:lnTo>
                  <a:lnTo>
                    <a:pt x="550" y="252"/>
                  </a:lnTo>
                  <a:lnTo>
                    <a:pt x="552" y="250"/>
                  </a:lnTo>
                  <a:lnTo>
                    <a:pt x="550" y="250"/>
                  </a:lnTo>
                  <a:lnTo>
                    <a:pt x="550" y="248"/>
                  </a:lnTo>
                  <a:lnTo>
                    <a:pt x="550" y="247"/>
                  </a:lnTo>
                  <a:lnTo>
                    <a:pt x="550" y="245"/>
                  </a:lnTo>
                  <a:lnTo>
                    <a:pt x="550" y="244"/>
                  </a:lnTo>
                  <a:lnTo>
                    <a:pt x="550" y="242"/>
                  </a:lnTo>
                  <a:lnTo>
                    <a:pt x="548" y="242"/>
                  </a:lnTo>
                  <a:lnTo>
                    <a:pt x="548" y="244"/>
                  </a:lnTo>
                  <a:lnTo>
                    <a:pt x="547" y="244"/>
                  </a:lnTo>
                  <a:lnTo>
                    <a:pt x="547" y="245"/>
                  </a:lnTo>
                  <a:lnTo>
                    <a:pt x="545" y="245"/>
                  </a:lnTo>
                  <a:lnTo>
                    <a:pt x="543" y="245"/>
                  </a:lnTo>
                  <a:lnTo>
                    <a:pt x="542" y="245"/>
                  </a:lnTo>
                  <a:lnTo>
                    <a:pt x="542" y="244"/>
                  </a:lnTo>
                  <a:lnTo>
                    <a:pt x="542" y="245"/>
                  </a:lnTo>
                  <a:lnTo>
                    <a:pt x="540" y="245"/>
                  </a:lnTo>
                  <a:lnTo>
                    <a:pt x="539" y="245"/>
                  </a:lnTo>
                  <a:lnTo>
                    <a:pt x="537" y="245"/>
                  </a:lnTo>
                  <a:lnTo>
                    <a:pt x="539" y="247"/>
                  </a:lnTo>
                  <a:lnTo>
                    <a:pt x="537" y="247"/>
                  </a:lnTo>
                  <a:lnTo>
                    <a:pt x="535" y="247"/>
                  </a:lnTo>
                  <a:lnTo>
                    <a:pt x="534" y="247"/>
                  </a:lnTo>
                  <a:lnTo>
                    <a:pt x="534" y="245"/>
                  </a:lnTo>
                  <a:lnTo>
                    <a:pt x="532" y="247"/>
                  </a:lnTo>
                  <a:lnTo>
                    <a:pt x="532" y="245"/>
                  </a:lnTo>
                  <a:lnTo>
                    <a:pt x="530" y="244"/>
                  </a:lnTo>
                  <a:lnTo>
                    <a:pt x="530" y="242"/>
                  </a:lnTo>
                  <a:lnTo>
                    <a:pt x="530" y="240"/>
                  </a:lnTo>
                  <a:lnTo>
                    <a:pt x="530" y="239"/>
                  </a:lnTo>
                  <a:lnTo>
                    <a:pt x="530" y="237"/>
                  </a:lnTo>
                  <a:lnTo>
                    <a:pt x="530" y="235"/>
                  </a:lnTo>
                  <a:lnTo>
                    <a:pt x="532" y="235"/>
                  </a:lnTo>
                  <a:lnTo>
                    <a:pt x="534" y="235"/>
                  </a:lnTo>
                  <a:lnTo>
                    <a:pt x="534" y="234"/>
                  </a:lnTo>
                  <a:lnTo>
                    <a:pt x="534" y="235"/>
                  </a:lnTo>
                  <a:lnTo>
                    <a:pt x="535" y="234"/>
                  </a:lnTo>
                  <a:lnTo>
                    <a:pt x="534" y="234"/>
                  </a:lnTo>
                  <a:lnTo>
                    <a:pt x="535" y="232"/>
                  </a:lnTo>
                  <a:lnTo>
                    <a:pt x="534" y="232"/>
                  </a:lnTo>
                  <a:lnTo>
                    <a:pt x="534" y="231"/>
                  </a:lnTo>
                  <a:lnTo>
                    <a:pt x="534" y="229"/>
                  </a:lnTo>
                  <a:lnTo>
                    <a:pt x="534" y="227"/>
                  </a:lnTo>
                  <a:lnTo>
                    <a:pt x="534" y="226"/>
                  </a:lnTo>
                  <a:lnTo>
                    <a:pt x="532" y="226"/>
                  </a:lnTo>
                  <a:lnTo>
                    <a:pt x="534" y="226"/>
                  </a:lnTo>
                  <a:lnTo>
                    <a:pt x="532" y="226"/>
                  </a:lnTo>
                  <a:lnTo>
                    <a:pt x="532" y="227"/>
                  </a:lnTo>
                  <a:lnTo>
                    <a:pt x="530" y="226"/>
                  </a:lnTo>
                  <a:lnTo>
                    <a:pt x="530" y="227"/>
                  </a:lnTo>
                  <a:lnTo>
                    <a:pt x="530" y="229"/>
                  </a:lnTo>
                  <a:lnTo>
                    <a:pt x="532" y="229"/>
                  </a:lnTo>
                  <a:lnTo>
                    <a:pt x="532" y="231"/>
                  </a:lnTo>
                  <a:lnTo>
                    <a:pt x="532" y="232"/>
                  </a:lnTo>
                  <a:lnTo>
                    <a:pt x="532" y="234"/>
                  </a:lnTo>
                  <a:lnTo>
                    <a:pt x="534" y="234"/>
                  </a:lnTo>
                  <a:lnTo>
                    <a:pt x="532" y="234"/>
                  </a:lnTo>
                  <a:lnTo>
                    <a:pt x="532" y="232"/>
                  </a:lnTo>
                  <a:lnTo>
                    <a:pt x="530" y="232"/>
                  </a:lnTo>
                  <a:lnTo>
                    <a:pt x="530" y="231"/>
                  </a:lnTo>
                  <a:lnTo>
                    <a:pt x="529" y="231"/>
                  </a:lnTo>
                  <a:lnTo>
                    <a:pt x="527" y="231"/>
                  </a:lnTo>
                  <a:lnTo>
                    <a:pt x="529" y="231"/>
                  </a:lnTo>
                  <a:lnTo>
                    <a:pt x="529" y="232"/>
                  </a:lnTo>
                  <a:lnTo>
                    <a:pt x="530" y="234"/>
                  </a:lnTo>
                  <a:lnTo>
                    <a:pt x="529" y="234"/>
                  </a:lnTo>
                  <a:lnTo>
                    <a:pt x="529" y="235"/>
                  </a:lnTo>
                  <a:lnTo>
                    <a:pt x="530" y="235"/>
                  </a:lnTo>
                  <a:lnTo>
                    <a:pt x="530" y="237"/>
                  </a:lnTo>
                  <a:lnTo>
                    <a:pt x="529" y="237"/>
                  </a:lnTo>
                  <a:lnTo>
                    <a:pt x="529" y="239"/>
                  </a:lnTo>
                  <a:lnTo>
                    <a:pt x="527" y="239"/>
                  </a:lnTo>
                  <a:lnTo>
                    <a:pt x="527" y="237"/>
                  </a:lnTo>
                  <a:lnTo>
                    <a:pt x="527" y="239"/>
                  </a:lnTo>
                  <a:lnTo>
                    <a:pt x="525" y="239"/>
                  </a:lnTo>
                  <a:lnTo>
                    <a:pt x="525" y="240"/>
                  </a:lnTo>
                  <a:lnTo>
                    <a:pt x="524" y="239"/>
                  </a:lnTo>
                  <a:lnTo>
                    <a:pt x="522" y="237"/>
                  </a:lnTo>
                  <a:lnTo>
                    <a:pt x="522" y="235"/>
                  </a:lnTo>
                  <a:lnTo>
                    <a:pt x="522" y="234"/>
                  </a:lnTo>
                  <a:lnTo>
                    <a:pt x="522" y="232"/>
                  </a:lnTo>
                  <a:lnTo>
                    <a:pt x="522" y="231"/>
                  </a:lnTo>
                  <a:lnTo>
                    <a:pt x="522" y="229"/>
                  </a:lnTo>
                  <a:lnTo>
                    <a:pt x="524" y="229"/>
                  </a:lnTo>
                  <a:lnTo>
                    <a:pt x="522" y="229"/>
                  </a:lnTo>
                  <a:lnTo>
                    <a:pt x="524" y="229"/>
                  </a:lnTo>
                  <a:lnTo>
                    <a:pt x="524" y="227"/>
                  </a:lnTo>
                  <a:lnTo>
                    <a:pt x="524" y="226"/>
                  </a:lnTo>
                  <a:lnTo>
                    <a:pt x="525" y="224"/>
                  </a:lnTo>
                  <a:lnTo>
                    <a:pt x="525" y="226"/>
                  </a:lnTo>
                  <a:lnTo>
                    <a:pt x="525" y="224"/>
                  </a:lnTo>
                  <a:lnTo>
                    <a:pt x="525" y="222"/>
                  </a:lnTo>
                  <a:lnTo>
                    <a:pt x="525" y="221"/>
                  </a:lnTo>
                  <a:lnTo>
                    <a:pt x="525" y="219"/>
                  </a:lnTo>
                  <a:lnTo>
                    <a:pt x="527" y="218"/>
                  </a:lnTo>
                  <a:lnTo>
                    <a:pt x="525" y="218"/>
                  </a:lnTo>
                  <a:lnTo>
                    <a:pt x="527" y="216"/>
                  </a:lnTo>
                  <a:lnTo>
                    <a:pt x="529" y="216"/>
                  </a:lnTo>
                  <a:lnTo>
                    <a:pt x="529" y="214"/>
                  </a:lnTo>
                  <a:lnTo>
                    <a:pt x="529" y="213"/>
                  </a:lnTo>
                  <a:lnTo>
                    <a:pt x="527" y="213"/>
                  </a:lnTo>
                  <a:lnTo>
                    <a:pt x="529" y="213"/>
                  </a:lnTo>
                  <a:lnTo>
                    <a:pt x="530" y="213"/>
                  </a:lnTo>
                  <a:lnTo>
                    <a:pt x="532" y="213"/>
                  </a:lnTo>
                  <a:lnTo>
                    <a:pt x="534" y="213"/>
                  </a:lnTo>
                  <a:lnTo>
                    <a:pt x="535" y="213"/>
                  </a:lnTo>
                  <a:close/>
                  <a:moveTo>
                    <a:pt x="218" y="619"/>
                  </a:moveTo>
                  <a:lnTo>
                    <a:pt x="220" y="619"/>
                  </a:lnTo>
                  <a:lnTo>
                    <a:pt x="220" y="618"/>
                  </a:lnTo>
                  <a:lnTo>
                    <a:pt x="220" y="619"/>
                  </a:lnTo>
                  <a:lnTo>
                    <a:pt x="221" y="619"/>
                  </a:lnTo>
                  <a:lnTo>
                    <a:pt x="220" y="621"/>
                  </a:lnTo>
                  <a:lnTo>
                    <a:pt x="220" y="623"/>
                  </a:lnTo>
                  <a:lnTo>
                    <a:pt x="220" y="624"/>
                  </a:lnTo>
                  <a:lnTo>
                    <a:pt x="218" y="624"/>
                  </a:lnTo>
                  <a:lnTo>
                    <a:pt x="218" y="626"/>
                  </a:lnTo>
                  <a:lnTo>
                    <a:pt x="220" y="626"/>
                  </a:lnTo>
                  <a:lnTo>
                    <a:pt x="220" y="627"/>
                  </a:lnTo>
                  <a:lnTo>
                    <a:pt x="220" y="629"/>
                  </a:lnTo>
                  <a:lnTo>
                    <a:pt x="220" y="631"/>
                  </a:lnTo>
                  <a:lnTo>
                    <a:pt x="220" y="632"/>
                  </a:lnTo>
                  <a:lnTo>
                    <a:pt x="218" y="634"/>
                  </a:lnTo>
                  <a:lnTo>
                    <a:pt x="218" y="636"/>
                  </a:lnTo>
                  <a:lnTo>
                    <a:pt x="218" y="637"/>
                  </a:lnTo>
                  <a:lnTo>
                    <a:pt x="218" y="639"/>
                  </a:lnTo>
                  <a:lnTo>
                    <a:pt x="218" y="640"/>
                  </a:lnTo>
                  <a:lnTo>
                    <a:pt x="218" y="642"/>
                  </a:lnTo>
                  <a:lnTo>
                    <a:pt x="220" y="642"/>
                  </a:lnTo>
                  <a:lnTo>
                    <a:pt x="221" y="644"/>
                  </a:lnTo>
                  <a:lnTo>
                    <a:pt x="221" y="645"/>
                  </a:lnTo>
                  <a:lnTo>
                    <a:pt x="220" y="645"/>
                  </a:lnTo>
                  <a:lnTo>
                    <a:pt x="220" y="647"/>
                  </a:lnTo>
                  <a:lnTo>
                    <a:pt x="220" y="649"/>
                  </a:lnTo>
                  <a:lnTo>
                    <a:pt x="221" y="649"/>
                  </a:lnTo>
                  <a:lnTo>
                    <a:pt x="221" y="650"/>
                  </a:lnTo>
                  <a:lnTo>
                    <a:pt x="220" y="652"/>
                  </a:lnTo>
                  <a:lnTo>
                    <a:pt x="220" y="653"/>
                  </a:lnTo>
                  <a:lnTo>
                    <a:pt x="220" y="655"/>
                  </a:lnTo>
                  <a:lnTo>
                    <a:pt x="220" y="657"/>
                  </a:lnTo>
                  <a:lnTo>
                    <a:pt x="220" y="655"/>
                  </a:lnTo>
                  <a:lnTo>
                    <a:pt x="220" y="657"/>
                  </a:lnTo>
                  <a:lnTo>
                    <a:pt x="218" y="657"/>
                  </a:lnTo>
                  <a:lnTo>
                    <a:pt x="218" y="658"/>
                  </a:lnTo>
                  <a:lnTo>
                    <a:pt x="216" y="658"/>
                  </a:lnTo>
                  <a:lnTo>
                    <a:pt x="218" y="658"/>
                  </a:lnTo>
                  <a:lnTo>
                    <a:pt x="216" y="658"/>
                  </a:lnTo>
                  <a:lnTo>
                    <a:pt x="215" y="658"/>
                  </a:lnTo>
                  <a:lnTo>
                    <a:pt x="215" y="660"/>
                  </a:lnTo>
                  <a:lnTo>
                    <a:pt x="215" y="662"/>
                  </a:lnTo>
                  <a:lnTo>
                    <a:pt x="213" y="662"/>
                  </a:lnTo>
                  <a:lnTo>
                    <a:pt x="213" y="660"/>
                  </a:lnTo>
                  <a:lnTo>
                    <a:pt x="215" y="660"/>
                  </a:lnTo>
                  <a:lnTo>
                    <a:pt x="213" y="660"/>
                  </a:lnTo>
                  <a:lnTo>
                    <a:pt x="212" y="660"/>
                  </a:lnTo>
                  <a:lnTo>
                    <a:pt x="212" y="662"/>
                  </a:lnTo>
                  <a:lnTo>
                    <a:pt x="210" y="662"/>
                  </a:lnTo>
                  <a:lnTo>
                    <a:pt x="208" y="662"/>
                  </a:lnTo>
                  <a:lnTo>
                    <a:pt x="207" y="662"/>
                  </a:lnTo>
                  <a:lnTo>
                    <a:pt x="205" y="662"/>
                  </a:lnTo>
                  <a:lnTo>
                    <a:pt x="205" y="660"/>
                  </a:lnTo>
                  <a:lnTo>
                    <a:pt x="205" y="662"/>
                  </a:lnTo>
                  <a:lnTo>
                    <a:pt x="205" y="660"/>
                  </a:lnTo>
                  <a:lnTo>
                    <a:pt x="203" y="660"/>
                  </a:lnTo>
                  <a:lnTo>
                    <a:pt x="203" y="662"/>
                  </a:lnTo>
                  <a:lnTo>
                    <a:pt x="202" y="663"/>
                  </a:lnTo>
                  <a:lnTo>
                    <a:pt x="200" y="663"/>
                  </a:lnTo>
                  <a:lnTo>
                    <a:pt x="200" y="665"/>
                  </a:lnTo>
                  <a:lnTo>
                    <a:pt x="199" y="665"/>
                  </a:lnTo>
                  <a:lnTo>
                    <a:pt x="197" y="666"/>
                  </a:lnTo>
                  <a:lnTo>
                    <a:pt x="195" y="665"/>
                  </a:lnTo>
                  <a:lnTo>
                    <a:pt x="194" y="665"/>
                  </a:lnTo>
                  <a:lnTo>
                    <a:pt x="194" y="663"/>
                  </a:lnTo>
                  <a:lnTo>
                    <a:pt x="192" y="663"/>
                  </a:lnTo>
                  <a:lnTo>
                    <a:pt x="194" y="663"/>
                  </a:lnTo>
                  <a:lnTo>
                    <a:pt x="194" y="662"/>
                  </a:lnTo>
                  <a:lnTo>
                    <a:pt x="194" y="660"/>
                  </a:lnTo>
                  <a:lnTo>
                    <a:pt x="194" y="658"/>
                  </a:lnTo>
                  <a:lnTo>
                    <a:pt x="195" y="658"/>
                  </a:lnTo>
                  <a:lnTo>
                    <a:pt x="195" y="657"/>
                  </a:lnTo>
                  <a:lnTo>
                    <a:pt x="197" y="657"/>
                  </a:lnTo>
                  <a:lnTo>
                    <a:pt x="197" y="655"/>
                  </a:lnTo>
                  <a:lnTo>
                    <a:pt x="199" y="655"/>
                  </a:lnTo>
                  <a:lnTo>
                    <a:pt x="200" y="657"/>
                  </a:lnTo>
                  <a:lnTo>
                    <a:pt x="200" y="655"/>
                  </a:lnTo>
                  <a:lnTo>
                    <a:pt x="200" y="653"/>
                  </a:lnTo>
                  <a:lnTo>
                    <a:pt x="200" y="652"/>
                  </a:lnTo>
                  <a:lnTo>
                    <a:pt x="200" y="649"/>
                  </a:lnTo>
                  <a:lnTo>
                    <a:pt x="199" y="647"/>
                  </a:lnTo>
                  <a:lnTo>
                    <a:pt x="199" y="645"/>
                  </a:lnTo>
                  <a:lnTo>
                    <a:pt x="197" y="647"/>
                  </a:lnTo>
                  <a:lnTo>
                    <a:pt x="197" y="645"/>
                  </a:lnTo>
                  <a:lnTo>
                    <a:pt x="197" y="644"/>
                  </a:lnTo>
                  <a:lnTo>
                    <a:pt x="197" y="642"/>
                  </a:lnTo>
                  <a:lnTo>
                    <a:pt x="199" y="642"/>
                  </a:lnTo>
                  <a:lnTo>
                    <a:pt x="200" y="642"/>
                  </a:lnTo>
                  <a:lnTo>
                    <a:pt x="202" y="640"/>
                  </a:lnTo>
                  <a:lnTo>
                    <a:pt x="203" y="640"/>
                  </a:lnTo>
                  <a:lnTo>
                    <a:pt x="205" y="640"/>
                  </a:lnTo>
                  <a:lnTo>
                    <a:pt x="205" y="639"/>
                  </a:lnTo>
                  <a:lnTo>
                    <a:pt x="205" y="637"/>
                  </a:lnTo>
                  <a:lnTo>
                    <a:pt x="203" y="637"/>
                  </a:lnTo>
                  <a:lnTo>
                    <a:pt x="202" y="637"/>
                  </a:lnTo>
                  <a:lnTo>
                    <a:pt x="200" y="636"/>
                  </a:lnTo>
                  <a:lnTo>
                    <a:pt x="199" y="636"/>
                  </a:lnTo>
                  <a:lnTo>
                    <a:pt x="197" y="637"/>
                  </a:lnTo>
                  <a:lnTo>
                    <a:pt x="197" y="639"/>
                  </a:lnTo>
                  <a:lnTo>
                    <a:pt x="195" y="639"/>
                  </a:lnTo>
                  <a:lnTo>
                    <a:pt x="195" y="640"/>
                  </a:lnTo>
                  <a:lnTo>
                    <a:pt x="194" y="642"/>
                  </a:lnTo>
                  <a:lnTo>
                    <a:pt x="194" y="644"/>
                  </a:lnTo>
                  <a:lnTo>
                    <a:pt x="192" y="644"/>
                  </a:lnTo>
                  <a:lnTo>
                    <a:pt x="192" y="645"/>
                  </a:lnTo>
                  <a:lnTo>
                    <a:pt x="190" y="645"/>
                  </a:lnTo>
                  <a:lnTo>
                    <a:pt x="187" y="647"/>
                  </a:lnTo>
                  <a:lnTo>
                    <a:pt x="186" y="649"/>
                  </a:lnTo>
                  <a:lnTo>
                    <a:pt x="184" y="649"/>
                  </a:lnTo>
                  <a:lnTo>
                    <a:pt x="182" y="649"/>
                  </a:lnTo>
                  <a:lnTo>
                    <a:pt x="182" y="647"/>
                  </a:lnTo>
                  <a:lnTo>
                    <a:pt x="181" y="647"/>
                  </a:lnTo>
                  <a:lnTo>
                    <a:pt x="182" y="647"/>
                  </a:lnTo>
                  <a:lnTo>
                    <a:pt x="181" y="647"/>
                  </a:lnTo>
                  <a:lnTo>
                    <a:pt x="181" y="645"/>
                  </a:lnTo>
                  <a:lnTo>
                    <a:pt x="182" y="645"/>
                  </a:lnTo>
                  <a:lnTo>
                    <a:pt x="182" y="644"/>
                  </a:lnTo>
                  <a:lnTo>
                    <a:pt x="184" y="644"/>
                  </a:lnTo>
                  <a:lnTo>
                    <a:pt x="184" y="642"/>
                  </a:lnTo>
                  <a:lnTo>
                    <a:pt x="182" y="642"/>
                  </a:lnTo>
                  <a:lnTo>
                    <a:pt x="184" y="642"/>
                  </a:lnTo>
                  <a:lnTo>
                    <a:pt x="184" y="640"/>
                  </a:lnTo>
                  <a:lnTo>
                    <a:pt x="186" y="640"/>
                  </a:lnTo>
                  <a:lnTo>
                    <a:pt x="186" y="639"/>
                  </a:lnTo>
                  <a:lnTo>
                    <a:pt x="187" y="639"/>
                  </a:lnTo>
                  <a:lnTo>
                    <a:pt x="187" y="637"/>
                  </a:lnTo>
                  <a:lnTo>
                    <a:pt x="189" y="636"/>
                  </a:lnTo>
                  <a:lnTo>
                    <a:pt x="189" y="634"/>
                  </a:lnTo>
                  <a:lnTo>
                    <a:pt x="187" y="632"/>
                  </a:lnTo>
                  <a:lnTo>
                    <a:pt x="187" y="631"/>
                  </a:lnTo>
                  <a:lnTo>
                    <a:pt x="190" y="631"/>
                  </a:lnTo>
                  <a:lnTo>
                    <a:pt x="190" y="629"/>
                  </a:lnTo>
                  <a:lnTo>
                    <a:pt x="190" y="627"/>
                  </a:lnTo>
                  <a:lnTo>
                    <a:pt x="190" y="626"/>
                  </a:lnTo>
                  <a:lnTo>
                    <a:pt x="192" y="626"/>
                  </a:lnTo>
                  <a:lnTo>
                    <a:pt x="192" y="624"/>
                  </a:lnTo>
                  <a:lnTo>
                    <a:pt x="194" y="624"/>
                  </a:lnTo>
                  <a:lnTo>
                    <a:pt x="195" y="624"/>
                  </a:lnTo>
                  <a:lnTo>
                    <a:pt x="194" y="624"/>
                  </a:lnTo>
                  <a:lnTo>
                    <a:pt x="195" y="624"/>
                  </a:lnTo>
                  <a:lnTo>
                    <a:pt x="195" y="626"/>
                  </a:lnTo>
                  <a:lnTo>
                    <a:pt x="195" y="624"/>
                  </a:lnTo>
                  <a:lnTo>
                    <a:pt x="197" y="624"/>
                  </a:lnTo>
                  <a:lnTo>
                    <a:pt x="199" y="624"/>
                  </a:lnTo>
                  <a:lnTo>
                    <a:pt x="199" y="623"/>
                  </a:lnTo>
                  <a:lnTo>
                    <a:pt x="200" y="623"/>
                  </a:lnTo>
                  <a:lnTo>
                    <a:pt x="202" y="623"/>
                  </a:lnTo>
                  <a:lnTo>
                    <a:pt x="202" y="621"/>
                  </a:lnTo>
                  <a:lnTo>
                    <a:pt x="203" y="621"/>
                  </a:lnTo>
                  <a:lnTo>
                    <a:pt x="203" y="623"/>
                  </a:lnTo>
                  <a:lnTo>
                    <a:pt x="202" y="624"/>
                  </a:lnTo>
                  <a:lnTo>
                    <a:pt x="202" y="626"/>
                  </a:lnTo>
                  <a:lnTo>
                    <a:pt x="200" y="627"/>
                  </a:lnTo>
                  <a:lnTo>
                    <a:pt x="200" y="629"/>
                  </a:lnTo>
                  <a:lnTo>
                    <a:pt x="200" y="631"/>
                  </a:lnTo>
                  <a:lnTo>
                    <a:pt x="202" y="631"/>
                  </a:lnTo>
                  <a:lnTo>
                    <a:pt x="202" y="629"/>
                  </a:lnTo>
                  <a:lnTo>
                    <a:pt x="202" y="627"/>
                  </a:lnTo>
                  <a:lnTo>
                    <a:pt x="203" y="626"/>
                  </a:lnTo>
                  <a:lnTo>
                    <a:pt x="203" y="624"/>
                  </a:lnTo>
                  <a:lnTo>
                    <a:pt x="207" y="624"/>
                  </a:lnTo>
                  <a:lnTo>
                    <a:pt x="208" y="624"/>
                  </a:lnTo>
                  <a:lnTo>
                    <a:pt x="208" y="623"/>
                  </a:lnTo>
                  <a:lnTo>
                    <a:pt x="207" y="623"/>
                  </a:lnTo>
                  <a:lnTo>
                    <a:pt x="208" y="623"/>
                  </a:lnTo>
                  <a:lnTo>
                    <a:pt x="210" y="623"/>
                  </a:lnTo>
                  <a:lnTo>
                    <a:pt x="212" y="621"/>
                  </a:lnTo>
                  <a:lnTo>
                    <a:pt x="213" y="619"/>
                  </a:lnTo>
                  <a:lnTo>
                    <a:pt x="215" y="619"/>
                  </a:lnTo>
                  <a:lnTo>
                    <a:pt x="216" y="619"/>
                  </a:lnTo>
                  <a:lnTo>
                    <a:pt x="218" y="618"/>
                  </a:lnTo>
                  <a:lnTo>
                    <a:pt x="218" y="619"/>
                  </a:lnTo>
                  <a:close/>
                  <a:moveTo>
                    <a:pt x="280" y="663"/>
                  </a:moveTo>
                  <a:lnTo>
                    <a:pt x="282" y="663"/>
                  </a:lnTo>
                  <a:lnTo>
                    <a:pt x="282" y="665"/>
                  </a:lnTo>
                  <a:lnTo>
                    <a:pt x="285" y="668"/>
                  </a:lnTo>
                  <a:lnTo>
                    <a:pt x="286" y="670"/>
                  </a:lnTo>
                  <a:lnTo>
                    <a:pt x="288" y="671"/>
                  </a:lnTo>
                  <a:lnTo>
                    <a:pt x="288" y="673"/>
                  </a:lnTo>
                  <a:lnTo>
                    <a:pt x="288" y="675"/>
                  </a:lnTo>
                  <a:lnTo>
                    <a:pt x="290" y="678"/>
                  </a:lnTo>
                  <a:lnTo>
                    <a:pt x="288" y="679"/>
                  </a:lnTo>
                  <a:lnTo>
                    <a:pt x="288" y="681"/>
                  </a:lnTo>
                  <a:lnTo>
                    <a:pt x="288" y="683"/>
                  </a:lnTo>
                  <a:lnTo>
                    <a:pt x="286" y="684"/>
                  </a:lnTo>
                  <a:lnTo>
                    <a:pt x="286" y="686"/>
                  </a:lnTo>
                  <a:lnTo>
                    <a:pt x="288" y="686"/>
                  </a:lnTo>
                  <a:lnTo>
                    <a:pt x="288" y="688"/>
                  </a:lnTo>
                  <a:lnTo>
                    <a:pt x="290" y="688"/>
                  </a:lnTo>
                  <a:lnTo>
                    <a:pt x="290" y="689"/>
                  </a:lnTo>
                  <a:lnTo>
                    <a:pt x="290" y="691"/>
                  </a:lnTo>
                  <a:lnTo>
                    <a:pt x="288" y="692"/>
                  </a:lnTo>
                  <a:lnTo>
                    <a:pt x="286" y="692"/>
                  </a:lnTo>
                  <a:lnTo>
                    <a:pt x="286" y="694"/>
                  </a:lnTo>
                  <a:lnTo>
                    <a:pt x="288" y="694"/>
                  </a:lnTo>
                  <a:lnTo>
                    <a:pt x="288" y="696"/>
                  </a:lnTo>
                  <a:lnTo>
                    <a:pt x="290" y="697"/>
                  </a:lnTo>
                  <a:lnTo>
                    <a:pt x="288" y="699"/>
                  </a:lnTo>
                  <a:lnTo>
                    <a:pt x="288" y="701"/>
                  </a:lnTo>
                  <a:lnTo>
                    <a:pt x="288" y="702"/>
                  </a:lnTo>
                  <a:lnTo>
                    <a:pt x="288" y="704"/>
                  </a:lnTo>
                  <a:lnTo>
                    <a:pt x="286" y="705"/>
                  </a:lnTo>
                  <a:lnTo>
                    <a:pt x="285" y="705"/>
                  </a:lnTo>
                  <a:lnTo>
                    <a:pt x="283" y="705"/>
                  </a:lnTo>
                  <a:lnTo>
                    <a:pt x="282" y="705"/>
                  </a:lnTo>
                  <a:lnTo>
                    <a:pt x="280" y="705"/>
                  </a:lnTo>
                  <a:lnTo>
                    <a:pt x="277" y="705"/>
                  </a:lnTo>
                  <a:lnTo>
                    <a:pt x="275" y="704"/>
                  </a:lnTo>
                  <a:lnTo>
                    <a:pt x="273" y="704"/>
                  </a:lnTo>
                  <a:lnTo>
                    <a:pt x="272" y="702"/>
                  </a:lnTo>
                  <a:lnTo>
                    <a:pt x="272" y="701"/>
                  </a:lnTo>
                  <a:lnTo>
                    <a:pt x="270" y="701"/>
                  </a:lnTo>
                  <a:lnTo>
                    <a:pt x="270" y="699"/>
                  </a:lnTo>
                  <a:lnTo>
                    <a:pt x="269" y="699"/>
                  </a:lnTo>
                  <a:lnTo>
                    <a:pt x="269" y="696"/>
                  </a:lnTo>
                  <a:lnTo>
                    <a:pt x="270" y="694"/>
                  </a:lnTo>
                  <a:lnTo>
                    <a:pt x="269" y="694"/>
                  </a:lnTo>
                  <a:lnTo>
                    <a:pt x="267" y="692"/>
                  </a:lnTo>
                  <a:lnTo>
                    <a:pt x="269" y="692"/>
                  </a:lnTo>
                  <a:lnTo>
                    <a:pt x="269" y="691"/>
                  </a:lnTo>
                  <a:lnTo>
                    <a:pt x="269" y="689"/>
                  </a:lnTo>
                  <a:lnTo>
                    <a:pt x="269" y="688"/>
                  </a:lnTo>
                  <a:lnTo>
                    <a:pt x="270" y="688"/>
                  </a:lnTo>
                  <a:lnTo>
                    <a:pt x="270" y="686"/>
                  </a:lnTo>
                  <a:lnTo>
                    <a:pt x="270" y="684"/>
                  </a:lnTo>
                  <a:lnTo>
                    <a:pt x="269" y="683"/>
                  </a:lnTo>
                  <a:lnTo>
                    <a:pt x="269" y="681"/>
                  </a:lnTo>
                  <a:lnTo>
                    <a:pt x="269" y="678"/>
                  </a:lnTo>
                  <a:lnTo>
                    <a:pt x="267" y="678"/>
                  </a:lnTo>
                  <a:lnTo>
                    <a:pt x="267" y="676"/>
                  </a:lnTo>
                  <a:lnTo>
                    <a:pt x="269" y="675"/>
                  </a:lnTo>
                  <a:lnTo>
                    <a:pt x="270" y="671"/>
                  </a:lnTo>
                  <a:lnTo>
                    <a:pt x="270" y="670"/>
                  </a:lnTo>
                  <a:lnTo>
                    <a:pt x="272" y="670"/>
                  </a:lnTo>
                  <a:lnTo>
                    <a:pt x="272" y="668"/>
                  </a:lnTo>
                  <a:lnTo>
                    <a:pt x="273" y="668"/>
                  </a:lnTo>
                  <a:lnTo>
                    <a:pt x="275" y="668"/>
                  </a:lnTo>
                  <a:lnTo>
                    <a:pt x="275" y="666"/>
                  </a:lnTo>
                  <a:lnTo>
                    <a:pt x="277" y="665"/>
                  </a:lnTo>
                  <a:lnTo>
                    <a:pt x="278" y="665"/>
                  </a:lnTo>
                  <a:lnTo>
                    <a:pt x="278" y="666"/>
                  </a:lnTo>
                  <a:lnTo>
                    <a:pt x="278" y="665"/>
                  </a:lnTo>
                  <a:lnTo>
                    <a:pt x="280" y="663"/>
                  </a:lnTo>
                  <a:close/>
                  <a:moveTo>
                    <a:pt x="259" y="597"/>
                  </a:moveTo>
                  <a:lnTo>
                    <a:pt x="260" y="597"/>
                  </a:lnTo>
                  <a:lnTo>
                    <a:pt x="260" y="598"/>
                  </a:lnTo>
                  <a:lnTo>
                    <a:pt x="260" y="600"/>
                  </a:lnTo>
                  <a:lnTo>
                    <a:pt x="260" y="601"/>
                  </a:lnTo>
                  <a:lnTo>
                    <a:pt x="260" y="603"/>
                  </a:lnTo>
                  <a:lnTo>
                    <a:pt x="259" y="603"/>
                  </a:lnTo>
                  <a:lnTo>
                    <a:pt x="259" y="605"/>
                  </a:lnTo>
                  <a:lnTo>
                    <a:pt x="257" y="605"/>
                  </a:lnTo>
                  <a:lnTo>
                    <a:pt x="257" y="606"/>
                  </a:lnTo>
                  <a:lnTo>
                    <a:pt x="256" y="606"/>
                  </a:lnTo>
                  <a:lnTo>
                    <a:pt x="254" y="608"/>
                  </a:lnTo>
                  <a:lnTo>
                    <a:pt x="254" y="610"/>
                  </a:lnTo>
                  <a:lnTo>
                    <a:pt x="252" y="611"/>
                  </a:lnTo>
                  <a:lnTo>
                    <a:pt x="251" y="613"/>
                  </a:lnTo>
                  <a:lnTo>
                    <a:pt x="251" y="614"/>
                  </a:lnTo>
                  <a:lnTo>
                    <a:pt x="249" y="614"/>
                  </a:lnTo>
                  <a:lnTo>
                    <a:pt x="247" y="616"/>
                  </a:lnTo>
                  <a:lnTo>
                    <a:pt x="247" y="618"/>
                  </a:lnTo>
                  <a:lnTo>
                    <a:pt x="246" y="619"/>
                  </a:lnTo>
                  <a:lnTo>
                    <a:pt x="244" y="619"/>
                  </a:lnTo>
                  <a:lnTo>
                    <a:pt x="244" y="621"/>
                  </a:lnTo>
                  <a:lnTo>
                    <a:pt x="243" y="623"/>
                  </a:lnTo>
                  <a:lnTo>
                    <a:pt x="243" y="624"/>
                  </a:lnTo>
                  <a:lnTo>
                    <a:pt x="241" y="626"/>
                  </a:lnTo>
                  <a:lnTo>
                    <a:pt x="239" y="626"/>
                  </a:lnTo>
                  <a:lnTo>
                    <a:pt x="239" y="627"/>
                  </a:lnTo>
                  <a:lnTo>
                    <a:pt x="239" y="629"/>
                  </a:lnTo>
                  <a:lnTo>
                    <a:pt x="238" y="631"/>
                  </a:lnTo>
                  <a:lnTo>
                    <a:pt x="238" y="629"/>
                  </a:lnTo>
                  <a:lnTo>
                    <a:pt x="236" y="631"/>
                  </a:lnTo>
                  <a:lnTo>
                    <a:pt x="236" y="632"/>
                  </a:lnTo>
                  <a:lnTo>
                    <a:pt x="234" y="632"/>
                  </a:lnTo>
                  <a:lnTo>
                    <a:pt x="234" y="631"/>
                  </a:lnTo>
                  <a:lnTo>
                    <a:pt x="233" y="632"/>
                  </a:lnTo>
                  <a:lnTo>
                    <a:pt x="233" y="634"/>
                  </a:lnTo>
                  <a:lnTo>
                    <a:pt x="231" y="634"/>
                  </a:lnTo>
                  <a:lnTo>
                    <a:pt x="231" y="636"/>
                  </a:lnTo>
                  <a:lnTo>
                    <a:pt x="231" y="637"/>
                  </a:lnTo>
                  <a:lnTo>
                    <a:pt x="229" y="639"/>
                  </a:lnTo>
                  <a:lnTo>
                    <a:pt x="229" y="640"/>
                  </a:lnTo>
                  <a:lnTo>
                    <a:pt x="228" y="642"/>
                  </a:lnTo>
                  <a:lnTo>
                    <a:pt x="228" y="640"/>
                  </a:lnTo>
                  <a:lnTo>
                    <a:pt x="226" y="640"/>
                  </a:lnTo>
                  <a:lnTo>
                    <a:pt x="225" y="640"/>
                  </a:lnTo>
                  <a:lnTo>
                    <a:pt x="223" y="640"/>
                  </a:lnTo>
                  <a:lnTo>
                    <a:pt x="223" y="639"/>
                  </a:lnTo>
                  <a:lnTo>
                    <a:pt x="221" y="639"/>
                  </a:lnTo>
                  <a:lnTo>
                    <a:pt x="221" y="637"/>
                  </a:lnTo>
                  <a:lnTo>
                    <a:pt x="220" y="636"/>
                  </a:lnTo>
                  <a:lnTo>
                    <a:pt x="220" y="634"/>
                  </a:lnTo>
                  <a:lnTo>
                    <a:pt x="220" y="632"/>
                  </a:lnTo>
                  <a:lnTo>
                    <a:pt x="221" y="629"/>
                  </a:lnTo>
                  <a:lnTo>
                    <a:pt x="221" y="627"/>
                  </a:lnTo>
                  <a:lnTo>
                    <a:pt x="221" y="626"/>
                  </a:lnTo>
                  <a:lnTo>
                    <a:pt x="223" y="624"/>
                  </a:lnTo>
                  <a:lnTo>
                    <a:pt x="225" y="623"/>
                  </a:lnTo>
                  <a:lnTo>
                    <a:pt x="226" y="621"/>
                  </a:lnTo>
                  <a:lnTo>
                    <a:pt x="226" y="619"/>
                  </a:lnTo>
                  <a:lnTo>
                    <a:pt x="228" y="619"/>
                  </a:lnTo>
                  <a:lnTo>
                    <a:pt x="229" y="619"/>
                  </a:lnTo>
                  <a:lnTo>
                    <a:pt x="231" y="619"/>
                  </a:lnTo>
                  <a:lnTo>
                    <a:pt x="233" y="619"/>
                  </a:lnTo>
                  <a:lnTo>
                    <a:pt x="234" y="619"/>
                  </a:lnTo>
                  <a:lnTo>
                    <a:pt x="236" y="619"/>
                  </a:lnTo>
                  <a:lnTo>
                    <a:pt x="238" y="619"/>
                  </a:lnTo>
                  <a:lnTo>
                    <a:pt x="239" y="619"/>
                  </a:lnTo>
                  <a:lnTo>
                    <a:pt x="241" y="618"/>
                  </a:lnTo>
                  <a:lnTo>
                    <a:pt x="239" y="618"/>
                  </a:lnTo>
                  <a:lnTo>
                    <a:pt x="241" y="616"/>
                  </a:lnTo>
                  <a:lnTo>
                    <a:pt x="239" y="616"/>
                  </a:lnTo>
                  <a:lnTo>
                    <a:pt x="239" y="618"/>
                  </a:lnTo>
                  <a:lnTo>
                    <a:pt x="238" y="618"/>
                  </a:lnTo>
                  <a:lnTo>
                    <a:pt x="238" y="619"/>
                  </a:lnTo>
                  <a:lnTo>
                    <a:pt x="238" y="618"/>
                  </a:lnTo>
                  <a:lnTo>
                    <a:pt x="238" y="619"/>
                  </a:lnTo>
                  <a:lnTo>
                    <a:pt x="236" y="619"/>
                  </a:lnTo>
                  <a:lnTo>
                    <a:pt x="236" y="618"/>
                  </a:lnTo>
                  <a:lnTo>
                    <a:pt x="236" y="619"/>
                  </a:lnTo>
                  <a:lnTo>
                    <a:pt x="236" y="618"/>
                  </a:lnTo>
                  <a:lnTo>
                    <a:pt x="234" y="618"/>
                  </a:lnTo>
                  <a:lnTo>
                    <a:pt x="233" y="616"/>
                  </a:lnTo>
                  <a:lnTo>
                    <a:pt x="231" y="616"/>
                  </a:lnTo>
                  <a:lnTo>
                    <a:pt x="231" y="614"/>
                  </a:lnTo>
                  <a:lnTo>
                    <a:pt x="231" y="613"/>
                  </a:lnTo>
                  <a:lnTo>
                    <a:pt x="233" y="613"/>
                  </a:lnTo>
                  <a:lnTo>
                    <a:pt x="234" y="611"/>
                  </a:lnTo>
                  <a:lnTo>
                    <a:pt x="236" y="611"/>
                  </a:lnTo>
                  <a:lnTo>
                    <a:pt x="236" y="610"/>
                  </a:lnTo>
                  <a:lnTo>
                    <a:pt x="236" y="608"/>
                  </a:lnTo>
                  <a:lnTo>
                    <a:pt x="238" y="608"/>
                  </a:lnTo>
                  <a:lnTo>
                    <a:pt x="241" y="606"/>
                  </a:lnTo>
                  <a:lnTo>
                    <a:pt x="243" y="605"/>
                  </a:lnTo>
                  <a:lnTo>
                    <a:pt x="244" y="605"/>
                  </a:lnTo>
                  <a:lnTo>
                    <a:pt x="246" y="603"/>
                  </a:lnTo>
                  <a:lnTo>
                    <a:pt x="247" y="603"/>
                  </a:lnTo>
                  <a:lnTo>
                    <a:pt x="249" y="603"/>
                  </a:lnTo>
                  <a:lnTo>
                    <a:pt x="249" y="601"/>
                  </a:lnTo>
                  <a:lnTo>
                    <a:pt x="251" y="601"/>
                  </a:lnTo>
                  <a:lnTo>
                    <a:pt x="251" y="600"/>
                  </a:lnTo>
                  <a:lnTo>
                    <a:pt x="252" y="600"/>
                  </a:lnTo>
                  <a:lnTo>
                    <a:pt x="252" y="601"/>
                  </a:lnTo>
                  <a:lnTo>
                    <a:pt x="254" y="600"/>
                  </a:lnTo>
                  <a:lnTo>
                    <a:pt x="256" y="598"/>
                  </a:lnTo>
                  <a:lnTo>
                    <a:pt x="256" y="600"/>
                  </a:lnTo>
                  <a:lnTo>
                    <a:pt x="256" y="598"/>
                  </a:lnTo>
                  <a:lnTo>
                    <a:pt x="257" y="598"/>
                  </a:lnTo>
                  <a:lnTo>
                    <a:pt x="257" y="597"/>
                  </a:lnTo>
                  <a:lnTo>
                    <a:pt x="259" y="597"/>
                  </a:lnTo>
                  <a:lnTo>
                    <a:pt x="259" y="598"/>
                  </a:lnTo>
                  <a:lnTo>
                    <a:pt x="259" y="597"/>
                  </a:lnTo>
                  <a:close/>
                  <a:moveTo>
                    <a:pt x="199" y="354"/>
                  </a:moveTo>
                  <a:lnTo>
                    <a:pt x="200" y="354"/>
                  </a:lnTo>
                  <a:lnTo>
                    <a:pt x="200" y="356"/>
                  </a:lnTo>
                  <a:lnTo>
                    <a:pt x="200" y="354"/>
                  </a:lnTo>
                  <a:lnTo>
                    <a:pt x="200" y="356"/>
                  </a:lnTo>
                  <a:lnTo>
                    <a:pt x="202" y="356"/>
                  </a:lnTo>
                  <a:lnTo>
                    <a:pt x="200" y="357"/>
                  </a:lnTo>
                  <a:lnTo>
                    <a:pt x="200" y="359"/>
                  </a:lnTo>
                  <a:lnTo>
                    <a:pt x="199" y="359"/>
                  </a:lnTo>
                  <a:lnTo>
                    <a:pt x="200" y="359"/>
                  </a:lnTo>
                  <a:lnTo>
                    <a:pt x="200" y="361"/>
                  </a:lnTo>
                  <a:lnTo>
                    <a:pt x="200" y="359"/>
                  </a:lnTo>
                  <a:lnTo>
                    <a:pt x="200" y="361"/>
                  </a:lnTo>
                  <a:lnTo>
                    <a:pt x="202" y="361"/>
                  </a:lnTo>
                  <a:lnTo>
                    <a:pt x="202" y="359"/>
                  </a:lnTo>
                  <a:lnTo>
                    <a:pt x="203" y="359"/>
                  </a:lnTo>
                  <a:lnTo>
                    <a:pt x="202" y="359"/>
                  </a:lnTo>
                  <a:lnTo>
                    <a:pt x="203" y="361"/>
                  </a:lnTo>
                  <a:lnTo>
                    <a:pt x="202" y="361"/>
                  </a:lnTo>
                  <a:lnTo>
                    <a:pt x="202" y="362"/>
                  </a:lnTo>
                  <a:lnTo>
                    <a:pt x="202" y="361"/>
                  </a:lnTo>
                  <a:lnTo>
                    <a:pt x="203" y="361"/>
                  </a:lnTo>
                  <a:lnTo>
                    <a:pt x="205" y="361"/>
                  </a:lnTo>
                  <a:lnTo>
                    <a:pt x="203" y="361"/>
                  </a:lnTo>
                  <a:lnTo>
                    <a:pt x="203" y="359"/>
                  </a:lnTo>
                  <a:lnTo>
                    <a:pt x="205" y="361"/>
                  </a:lnTo>
                  <a:lnTo>
                    <a:pt x="205" y="359"/>
                  </a:lnTo>
                  <a:lnTo>
                    <a:pt x="207" y="361"/>
                  </a:lnTo>
                  <a:lnTo>
                    <a:pt x="205" y="361"/>
                  </a:lnTo>
                  <a:lnTo>
                    <a:pt x="205" y="362"/>
                  </a:lnTo>
                  <a:lnTo>
                    <a:pt x="207" y="362"/>
                  </a:lnTo>
                  <a:lnTo>
                    <a:pt x="207" y="364"/>
                  </a:lnTo>
                  <a:lnTo>
                    <a:pt x="205" y="366"/>
                  </a:lnTo>
                  <a:lnTo>
                    <a:pt x="203" y="366"/>
                  </a:lnTo>
                  <a:lnTo>
                    <a:pt x="203" y="367"/>
                  </a:lnTo>
                  <a:lnTo>
                    <a:pt x="202" y="366"/>
                  </a:lnTo>
                  <a:lnTo>
                    <a:pt x="202" y="364"/>
                  </a:lnTo>
                  <a:lnTo>
                    <a:pt x="203" y="364"/>
                  </a:lnTo>
                  <a:lnTo>
                    <a:pt x="202" y="364"/>
                  </a:lnTo>
                  <a:lnTo>
                    <a:pt x="200" y="364"/>
                  </a:lnTo>
                  <a:lnTo>
                    <a:pt x="200" y="362"/>
                  </a:lnTo>
                  <a:lnTo>
                    <a:pt x="199" y="362"/>
                  </a:lnTo>
                  <a:lnTo>
                    <a:pt x="200" y="364"/>
                  </a:lnTo>
                  <a:lnTo>
                    <a:pt x="199" y="364"/>
                  </a:lnTo>
                  <a:lnTo>
                    <a:pt x="197" y="364"/>
                  </a:lnTo>
                  <a:lnTo>
                    <a:pt x="199" y="364"/>
                  </a:lnTo>
                  <a:lnTo>
                    <a:pt x="199" y="366"/>
                  </a:lnTo>
                  <a:lnTo>
                    <a:pt x="200" y="366"/>
                  </a:lnTo>
                  <a:lnTo>
                    <a:pt x="199" y="366"/>
                  </a:lnTo>
                  <a:lnTo>
                    <a:pt x="199" y="367"/>
                  </a:lnTo>
                  <a:lnTo>
                    <a:pt x="197" y="367"/>
                  </a:lnTo>
                  <a:lnTo>
                    <a:pt x="199" y="367"/>
                  </a:lnTo>
                  <a:lnTo>
                    <a:pt x="199" y="369"/>
                  </a:lnTo>
                  <a:lnTo>
                    <a:pt x="200" y="369"/>
                  </a:lnTo>
                  <a:lnTo>
                    <a:pt x="202" y="369"/>
                  </a:lnTo>
                  <a:lnTo>
                    <a:pt x="202" y="370"/>
                  </a:lnTo>
                  <a:lnTo>
                    <a:pt x="200" y="370"/>
                  </a:lnTo>
                  <a:lnTo>
                    <a:pt x="200" y="372"/>
                  </a:lnTo>
                  <a:lnTo>
                    <a:pt x="199" y="374"/>
                  </a:lnTo>
                  <a:lnTo>
                    <a:pt x="197" y="374"/>
                  </a:lnTo>
                  <a:lnTo>
                    <a:pt x="197" y="372"/>
                  </a:lnTo>
                  <a:lnTo>
                    <a:pt x="195" y="372"/>
                  </a:lnTo>
                  <a:lnTo>
                    <a:pt x="194" y="372"/>
                  </a:lnTo>
                  <a:lnTo>
                    <a:pt x="192" y="372"/>
                  </a:lnTo>
                  <a:lnTo>
                    <a:pt x="189" y="372"/>
                  </a:lnTo>
                  <a:lnTo>
                    <a:pt x="190" y="372"/>
                  </a:lnTo>
                  <a:lnTo>
                    <a:pt x="192" y="372"/>
                  </a:lnTo>
                  <a:lnTo>
                    <a:pt x="194" y="372"/>
                  </a:lnTo>
                  <a:lnTo>
                    <a:pt x="194" y="374"/>
                  </a:lnTo>
                  <a:lnTo>
                    <a:pt x="195" y="374"/>
                  </a:lnTo>
                  <a:lnTo>
                    <a:pt x="197" y="374"/>
                  </a:lnTo>
                  <a:lnTo>
                    <a:pt x="199" y="374"/>
                  </a:lnTo>
                  <a:lnTo>
                    <a:pt x="199" y="375"/>
                  </a:lnTo>
                  <a:lnTo>
                    <a:pt x="197" y="375"/>
                  </a:lnTo>
                  <a:lnTo>
                    <a:pt x="199" y="375"/>
                  </a:lnTo>
                  <a:lnTo>
                    <a:pt x="199" y="377"/>
                  </a:lnTo>
                  <a:lnTo>
                    <a:pt x="197" y="377"/>
                  </a:lnTo>
                  <a:lnTo>
                    <a:pt x="197" y="379"/>
                  </a:lnTo>
                  <a:lnTo>
                    <a:pt x="195" y="379"/>
                  </a:lnTo>
                  <a:lnTo>
                    <a:pt x="197" y="380"/>
                  </a:lnTo>
                  <a:lnTo>
                    <a:pt x="195" y="380"/>
                  </a:lnTo>
                  <a:lnTo>
                    <a:pt x="194" y="380"/>
                  </a:lnTo>
                  <a:lnTo>
                    <a:pt x="194" y="379"/>
                  </a:lnTo>
                  <a:lnTo>
                    <a:pt x="192" y="379"/>
                  </a:lnTo>
                  <a:lnTo>
                    <a:pt x="192" y="380"/>
                  </a:lnTo>
                  <a:lnTo>
                    <a:pt x="192" y="379"/>
                  </a:lnTo>
                  <a:lnTo>
                    <a:pt x="190" y="379"/>
                  </a:lnTo>
                  <a:lnTo>
                    <a:pt x="189" y="379"/>
                  </a:lnTo>
                  <a:lnTo>
                    <a:pt x="187" y="379"/>
                  </a:lnTo>
                  <a:lnTo>
                    <a:pt x="187" y="377"/>
                  </a:lnTo>
                  <a:lnTo>
                    <a:pt x="186" y="377"/>
                  </a:lnTo>
                  <a:lnTo>
                    <a:pt x="187" y="377"/>
                  </a:lnTo>
                  <a:lnTo>
                    <a:pt x="186" y="377"/>
                  </a:lnTo>
                  <a:lnTo>
                    <a:pt x="184" y="377"/>
                  </a:lnTo>
                  <a:lnTo>
                    <a:pt x="182" y="377"/>
                  </a:lnTo>
                  <a:lnTo>
                    <a:pt x="182" y="375"/>
                  </a:lnTo>
                  <a:lnTo>
                    <a:pt x="184" y="374"/>
                  </a:lnTo>
                  <a:lnTo>
                    <a:pt x="182" y="374"/>
                  </a:lnTo>
                  <a:lnTo>
                    <a:pt x="184" y="374"/>
                  </a:lnTo>
                  <a:lnTo>
                    <a:pt x="182" y="374"/>
                  </a:lnTo>
                  <a:lnTo>
                    <a:pt x="182" y="372"/>
                  </a:lnTo>
                  <a:lnTo>
                    <a:pt x="182" y="370"/>
                  </a:lnTo>
                  <a:lnTo>
                    <a:pt x="181" y="369"/>
                  </a:lnTo>
                  <a:lnTo>
                    <a:pt x="179" y="367"/>
                  </a:lnTo>
                  <a:lnTo>
                    <a:pt x="179" y="366"/>
                  </a:lnTo>
                  <a:lnTo>
                    <a:pt x="177" y="366"/>
                  </a:lnTo>
                  <a:lnTo>
                    <a:pt x="177" y="364"/>
                  </a:lnTo>
                  <a:lnTo>
                    <a:pt x="177" y="366"/>
                  </a:lnTo>
                  <a:lnTo>
                    <a:pt x="176" y="366"/>
                  </a:lnTo>
                  <a:lnTo>
                    <a:pt x="174" y="366"/>
                  </a:lnTo>
                  <a:lnTo>
                    <a:pt x="174" y="367"/>
                  </a:lnTo>
                  <a:lnTo>
                    <a:pt x="174" y="366"/>
                  </a:lnTo>
                  <a:lnTo>
                    <a:pt x="173" y="366"/>
                  </a:lnTo>
                  <a:lnTo>
                    <a:pt x="173" y="364"/>
                  </a:lnTo>
                  <a:lnTo>
                    <a:pt x="173" y="362"/>
                  </a:lnTo>
                  <a:lnTo>
                    <a:pt x="171" y="362"/>
                  </a:lnTo>
                  <a:lnTo>
                    <a:pt x="171" y="361"/>
                  </a:lnTo>
                  <a:lnTo>
                    <a:pt x="169" y="361"/>
                  </a:lnTo>
                  <a:lnTo>
                    <a:pt x="169" y="359"/>
                  </a:lnTo>
                  <a:lnTo>
                    <a:pt x="171" y="359"/>
                  </a:lnTo>
                  <a:lnTo>
                    <a:pt x="169" y="359"/>
                  </a:lnTo>
                  <a:lnTo>
                    <a:pt x="171" y="357"/>
                  </a:lnTo>
                  <a:lnTo>
                    <a:pt x="171" y="359"/>
                  </a:lnTo>
                  <a:lnTo>
                    <a:pt x="171" y="361"/>
                  </a:lnTo>
                  <a:lnTo>
                    <a:pt x="173" y="361"/>
                  </a:lnTo>
                  <a:lnTo>
                    <a:pt x="171" y="359"/>
                  </a:lnTo>
                  <a:lnTo>
                    <a:pt x="173" y="359"/>
                  </a:lnTo>
                  <a:lnTo>
                    <a:pt x="173" y="357"/>
                  </a:lnTo>
                  <a:lnTo>
                    <a:pt x="171" y="357"/>
                  </a:lnTo>
                  <a:lnTo>
                    <a:pt x="173" y="357"/>
                  </a:lnTo>
                  <a:lnTo>
                    <a:pt x="173" y="356"/>
                  </a:lnTo>
                  <a:lnTo>
                    <a:pt x="174" y="357"/>
                  </a:lnTo>
                  <a:lnTo>
                    <a:pt x="174" y="356"/>
                  </a:lnTo>
                  <a:lnTo>
                    <a:pt x="174" y="354"/>
                  </a:lnTo>
                  <a:lnTo>
                    <a:pt x="176" y="354"/>
                  </a:lnTo>
                  <a:lnTo>
                    <a:pt x="176" y="353"/>
                  </a:lnTo>
                  <a:lnTo>
                    <a:pt x="177" y="353"/>
                  </a:lnTo>
                  <a:lnTo>
                    <a:pt x="179" y="353"/>
                  </a:lnTo>
                  <a:lnTo>
                    <a:pt x="179" y="354"/>
                  </a:lnTo>
                  <a:lnTo>
                    <a:pt x="181" y="356"/>
                  </a:lnTo>
                  <a:lnTo>
                    <a:pt x="181" y="354"/>
                  </a:lnTo>
                  <a:lnTo>
                    <a:pt x="181" y="356"/>
                  </a:lnTo>
                  <a:lnTo>
                    <a:pt x="182" y="356"/>
                  </a:lnTo>
                  <a:lnTo>
                    <a:pt x="181" y="356"/>
                  </a:lnTo>
                  <a:lnTo>
                    <a:pt x="181" y="357"/>
                  </a:lnTo>
                  <a:lnTo>
                    <a:pt x="182" y="357"/>
                  </a:lnTo>
                  <a:lnTo>
                    <a:pt x="184" y="357"/>
                  </a:lnTo>
                  <a:lnTo>
                    <a:pt x="184" y="356"/>
                  </a:lnTo>
                  <a:lnTo>
                    <a:pt x="184" y="354"/>
                  </a:lnTo>
                  <a:lnTo>
                    <a:pt x="186" y="354"/>
                  </a:lnTo>
                  <a:lnTo>
                    <a:pt x="187" y="354"/>
                  </a:lnTo>
                  <a:lnTo>
                    <a:pt x="187" y="353"/>
                  </a:lnTo>
                  <a:lnTo>
                    <a:pt x="189" y="353"/>
                  </a:lnTo>
                  <a:lnTo>
                    <a:pt x="189" y="351"/>
                  </a:lnTo>
                  <a:lnTo>
                    <a:pt x="190" y="351"/>
                  </a:lnTo>
                  <a:lnTo>
                    <a:pt x="190" y="353"/>
                  </a:lnTo>
                  <a:lnTo>
                    <a:pt x="189" y="353"/>
                  </a:lnTo>
                  <a:lnTo>
                    <a:pt x="189" y="354"/>
                  </a:lnTo>
                  <a:lnTo>
                    <a:pt x="187" y="354"/>
                  </a:lnTo>
                  <a:lnTo>
                    <a:pt x="187" y="356"/>
                  </a:lnTo>
                  <a:lnTo>
                    <a:pt x="189" y="356"/>
                  </a:lnTo>
                  <a:lnTo>
                    <a:pt x="189" y="357"/>
                  </a:lnTo>
                  <a:lnTo>
                    <a:pt x="190" y="357"/>
                  </a:lnTo>
                  <a:lnTo>
                    <a:pt x="190" y="359"/>
                  </a:lnTo>
                  <a:lnTo>
                    <a:pt x="190" y="357"/>
                  </a:lnTo>
                  <a:lnTo>
                    <a:pt x="190" y="356"/>
                  </a:lnTo>
                  <a:lnTo>
                    <a:pt x="189" y="356"/>
                  </a:lnTo>
                  <a:lnTo>
                    <a:pt x="190" y="356"/>
                  </a:lnTo>
                  <a:lnTo>
                    <a:pt x="192" y="356"/>
                  </a:lnTo>
                  <a:lnTo>
                    <a:pt x="192" y="357"/>
                  </a:lnTo>
                  <a:lnTo>
                    <a:pt x="192" y="359"/>
                  </a:lnTo>
                  <a:lnTo>
                    <a:pt x="192" y="357"/>
                  </a:lnTo>
                  <a:lnTo>
                    <a:pt x="194" y="357"/>
                  </a:lnTo>
                  <a:lnTo>
                    <a:pt x="192" y="357"/>
                  </a:lnTo>
                  <a:lnTo>
                    <a:pt x="192" y="356"/>
                  </a:lnTo>
                  <a:lnTo>
                    <a:pt x="194" y="356"/>
                  </a:lnTo>
                  <a:lnTo>
                    <a:pt x="195" y="356"/>
                  </a:lnTo>
                  <a:lnTo>
                    <a:pt x="195" y="354"/>
                  </a:lnTo>
                  <a:lnTo>
                    <a:pt x="197" y="354"/>
                  </a:lnTo>
                  <a:lnTo>
                    <a:pt x="199" y="353"/>
                  </a:lnTo>
                  <a:lnTo>
                    <a:pt x="200" y="353"/>
                  </a:lnTo>
                  <a:lnTo>
                    <a:pt x="200" y="354"/>
                  </a:lnTo>
                  <a:lnTo>
                    <a:pt x="199" y="354"/>
                  </a:lnTo>
                  <a:close/>
                  <a:moveTo>
                    <a:pt x="485" y="1431"/>
                  </a:moveTo>
                  <a:lnTo>
                    <a:pt x="485" y="1432"/>
                  </a:lnTo>
                  <a:lnTo>
                    <a:pt x="485" y="1434"/>
                  </a:lnTo>
                  <a:lnTo>
                    <a:pt x="485" y="1432"/>
                  </a:lnTo>
                  <a:lnTo>
                    <a:pt x="486" y="1432"/>
                  </a:lnTo>
                  <a:lnTo>
                    <a:pt x="486" y="1431"/>
                  </a:lnTo>
                  <a:lnTo>
                    <a:pt x="485" y="1431"/>
                  </a:lnTo>
                  <a:lnTo>
                    <a:pt x="485" y="1429"/>
                  </a:lnTo>
                  <a:lnTo>
                    <a:pt x="485" y="1428"/>
                  </a:lnTo>
                  <a:lnTo>
                    <a:pt x="486" y="1428"/>
                  </a:lnTo>
                  <a:lnTo>
                    <a:pt x="486" y="1426"/>
                  </a:lnTo>
                  <a:lnTo>
                    <a:pt x="488" y="1428"/>
                  </a:lnTo>
                  <a:lnTo>
                    <a:pt x="488" y="1429"/>
                  </a:lnTo>
                  <a:lnTo>
                    <a:pt x="490" y="1429"/>
                  </a:lnTo>
                  <a:lnTo>
                    <a:pt x="490" y="1431"/>
                  </a:lnTo>
                  <a:lnTo>
                    <a:pt x="491" y="1431"/>
                  </a:lnTo>
                  <a:lnTo>
                    <a:pt x="491" y="1432"/>
                  </a:lnTo>
                  <a:lnTo>
                    <a:pt x="493" y="1432"/>
                  </a:lnTo>
                  <a:lnTo>
                    <a:pt x="495" y="1432"/>
                  </a:lnTo>
                  <a:lnTo>
                    <a:pt x="496" y="1432"/>
                  </a:lnTo>
                  <a:lnTo>
                    <a:pt x="498" y="1432"/>
                  </a:lnTo>
                  <a:lnTo>
                    <a:pt x="498" y="1434"/>
                  </a:lnTo>
                  <a:lnTo>
                    <a:pt x="499" y="1434"/>
                  </a:lnTo>
                  <a:lnTo>
                    <a:pt x="501" y="1436"/>
                  </a:lnTo>
                  <a:lnTo>
                    <a:pt x="501" y="1437"/>
                  </a:lnTo>
                  <a:lnTo>
                    <a:pt x="501" y="1439"/>
                  </a:lnTo>
                  <a:lnTo>
                    <a:pt x="501" y="1441"/>
                  </a:lnTo>
                  <a:lnTo>
                    <a:pt x="501" y="1439"/>
                  </a:lnTo>
                  <a:lnTo>
                    <a:pt x="503" y="1439"/>
                  </a:lnTo>
                  <a:lnTo>
                    <a:pt x="503" y="1441"/>
                  </a:lnTo>
                  <a:lnTo>
                    <a:pt x="504" y="1441"/>
                  </a:lnTo>
                  <a:lnTo>
                    <a:pt x="503" y="1441"/>
                  </a:lnTo>
                  <a:lnTo>
                    <a:pt x="503" y="1442"/>
                  </a:lnTo>
                  <a:lnTo>
                    <a:pt x="501" y="1442"/>
                  </a:lnTo>
                  <a:lnTo>
                    <a:pt x="501" y="1444"/>
                  </a:lnTo>
                  <a:lnTo>
                    <a:pt x="499" y="1444"/>
                  </a:lnTo>
                  <a:lnTo>
                    <a:pt x="498" y="1444"/>
                  </a:lnTo>
                  <a:lnTo>
                    <a:pt x="496" y="1444"/>
                  </a:lnTo>
                  <a:lnTo>
                    <a:pt x="495" y="1444"/>
                  </a:lnTo>
                  <a:lnTo>
                    <a:pt x="496" y="1446"/>
                  </a:lnTo>
                  <a:lnTo>
                    <a:pt x="495" y="1446"/>
                  </a:lnTo>
                  <a:lnTo>
                    <a:pt x="493" y="1446"/>
                  </a:lnTo>
                  <a:lnTo>
                    <a:pt x="493" y="1447"/>
                  </a:lnTo>
                  <a:lnTo>
                    <a:pt x="493" y="1449"/>
                  </a:lnTo>
                  <a:lnTo>
                    <a:pt x="493" y="1450"/>
                  </a:lnTo>
                  <a:lnTo>
                    <a:pt x="491" y="1452"/>
                  </a:lnTo>
                  <a:lnTo>
                    <a:pt x="490" y="1452"/>
                  </a:lnTo>
                  <a:lnTo>
                    <a:pt x="488" y="1452"/>
                  </a:lnTo>
                  <a:lnTo>
                    <a:pt x="486" y="1454"/>
                  </a:lnTo>
                  <a:lnTo>
                    <a:pt x="485" y="1454"/>
                  </a:lnTo>
                  <a:lnTo>
                    <a:pt x="483" y="1454"/>
                  </a:lnTo>
                  <a:lnTo>
                    <a:pt x="482" y="1454"/>
                  </a:lnTo>
                  <a:lnTo>
                    <a:pt x="480" y="1454"/>
                  </a:lnTo>
                  <a:lnTo>
                    <a:pt x="480" y="1452"/>
                  </a:lnTo>
                  <a:lnTo>
                    <a:pt x="478" y="1450"/>
                  </a:lnTo>
                  <a:lnTo>
                    <a:pt x="477" y="1449"/>
                  </a:lnTo>
                  <a:lnTo>
                    <a:pt x="475" y="1447"/>
                  </a:lnTo>
                  <a:lnTo>
                    <a:pt x="473" y="1446"/>
                  </a:lnTo>
                  <a:lnTo>
                    <a:pt x="473" y="1444"/>
                  </a:lnTo>
                  <a:lnTo>
                    <a:pt x="472" y="1444"/>
                  </a:lnTo>
                  <a:lnTo>
                    <a:pt x="470" y="1442"/>
                  </a:lnTo>
                  <a:lnTo>
                    <a:pt x="469" y="1442"/>
                  </a:lnTo>
                  <a:lnTo>
                    <a:pt x="469" y="1441"/>
                  </a:lnTo>
                  <a:lnTo>
                    <a:pt x="467" y="1441"/>
                  </a:lnTo>
                  <a:lnTo>
                    <a:pt x="467" y="1439"/>
                  </a:lnTo>
                  <a:lnTo>
                    <a:pt x="465" y="1437"/>
                  </a:lnTo>
                  <a:lnTo>
                    <a:pt x="464" y="1437"/>
                  </a:lnTo>
                  <a:lnTo>
                    <a:pt x="462" y="1437"/>
                  </a:lnTo>
                  <a:lnTo>
                    <a:pt x="460" y="1437"/>
                  </a:lnTo>
                  <a:lnTo>
                    <a:pt x="459" y="1437"/>
                  </a:lnTo>
                  <a:lnTo>
                    <a:pt x="457" y="1437"/>
                  </a:lnTo>
                  <a:lnTo>
                    <a:pt x="456" y="1437"/>
                  </a:lnTo>
                  <a:lnTo>
                    <a:pt x="457" y="1437"/>
                  </a:lnTo>
                  <a:lnTo>
                    <a:pt x="459" y="1437"/>
                  </a:lnTo>
                  <a:lnTo>
                    <a:pt x="459" y="1436"/>
                  </a:lnTo>
                  <a:lnTo>
                    <a:pt x="460" y="1436"/>
                  </a:lnTo>
                  <a:lnTo>
                    <a:pt x="460" y="1434"/>
                  </a:lnTo>
                  <a:lnTo>
                    <a:pt x="462" y="1434"/>
                  </a:lnTo>
                  <a:lnTo>
                    <a:pt x="462" y="1432"/>
                  </a:lnTo>
                  <a:lnTo>
                    <a:pt x="464" y="1431"/>
                  </a:lnTo>
                  <a:lnTo>
                    <a:pt x="465" y="1432"/>
                  </a:lnTo>
                  <a:lnTo>
                    <a:pt x="467" y="1432"/>
                  </a:lnTo>
                  <a:lnTo>
                    <a:pt x="469" y="1432"/>
                  </a:lnTo>
                  <a:lnTo>
                    <a:pt x="470" y="1431"/>
                  </a:lnTo>
                  <a:lnTo>
                    <a:pt x="472" y="1431"/>
                  </a:lnTo>
                  <a:lnTo>
                    <a:pt x="473" y="1431"/>
                  </a:lnTo>
                  <a:lnTo>
                    <a:pt x="473" y="1432"/>
                  </a:lnTo>
                  <a:lnTo>
                    <a:pt x="473" y="1431"/>
                  </a:lnTo>
                  <a:lnTo>
                    <a:pt x="475" y="1431"/>
                  </a:lnTo>
                  <a:lnTo>
                    <a:pt x="475" y="1432"/>
                  </a:lnTo>
                  <a:lnTo>
                    <a:pt x="475" y="1431"/>
                  </a:lnTo>
                  <a:lnTo>
                    <a:pt x="473" y="1431"/>
                  </a:lnTo>
                  <a:lnTo>
                    <a:pt x="475" y="1431"/>
                  </a:lnTo>
                  <a:lnTo>
                    <a:pt x="475" y="1429"/>
                  </a:lnTo>
                  <a:lnTo>
                    <a:pt x="477" y="1429"/>
                  </a:lnTo>
                  <a:lnTo>
                    <a:pt x="478" y="1429"/>
                  </a:lnTo>
                  <a:lnTo>
                    <a:pt x="480" y="1429"/>
                  </a:lnTo>
                  <a:lnTo>
                    <a:pt x="480" y="1428"/>
                  </a:lnTo>
                  <a:lnTo>
                    <a:pt x="482" y="1428"/>
                  </a:lnTo>
                  <a:lnTo>
                    <a:pt x="483" y="1426"/>
                  </a:lnTo>
                  <a:lnTo>
                    <a:pt x="485" y="1426"/>
                  </a:lnTo>
                  <a:lnTo>
                    <a:pt x="485" y="1428"/>
                  </a:lnTo>
                  <a:lnTo>
                    <a:pt x="485" y="1429"/>
                  </a:lnTo>
                  <a:lnTo>
                    <a:pt x="485" y="1431"/>
                  </a:lnTo>
                  <a:close/>
                  <a:moveTo>
                    <a:pt x="176" y="392"/>
                  </a:moveTo>
                  <a:lnTo>
                    <a:pt x="174" y="392"/>
                  </a:lnTo>
                  <a:lnTo>
                    <a:pt x="176" y="392"/>
                  </a:lnTo>
                  <a:lnTo>
                    <a:pt x="177" y="392"/>
                  </a:lnTo>
                  <a:lnTo>
                    <a:pt x="179" y="393"/>
                  </a:lnTo>
                  <a:lnTo>
                    <a:pt x="181" y="395"/>
                  </a:lnTo>
                  <a:lnTo>
                    <a:pt x="182" y="396"/>
                  </a:lnTo>
                  <a:lnTo>
                    <a:pt x="181" y="396"/>
                  </a:lnTo>
                  <a:lnTo>
                    <a:pt x="182" y="396"/>
                  </a:lnTo>
                  <a:lnTo>
                    <a:pt x="181" y="396"/>
                  </a:lnTo>
                  <a:lnTo>
                    <a:pt x="182" y="398"/>
                  </a:lnTo>
                  <a:lnTo>
                    <a:pt x="182" y="400"/>
                  </a:lnTo>
                  <a:lnTo>
                    <a:pt x="184" y="400"/>
                  </a:lnTo>
                  <a:lnTo>
                    <a:pt x="184" y="401"/>
                  </a:lnTo>
                  <a:lnTo>
                    <a:pt x="182" y="401"/>
                  </a:lnTo>
                  <a:lnTo>
                    <a:pt x="182" y="400"/>
                  </a:lnTo>
                  <a:lnTo>
                    <a:pt x="181" y="400"/>
                  </a:lnTo>
                  <a:lnTo>
                    <a:pt x="182" y="401"/>
                  </a:lnTo>
                  <a:lnTo>
                    <a:pt x="184" y="401"/>
                  </a:lnTo>
                  <a:lnTo>
                    <a:pt x="186" y="401"/>
                  </a:lnTo>
                  <a:lnTo>
                    <a:pt x="184" y="403"/>
                  </a:lnTo>
                  <a:lnTo>
                    <a:pt x="182" y="403"/>
                  </a:lnTo>
                  <a:lnTo>
                    <a:pt x="181" y="403"/>
                  </a:lnTo>
                  <a:lnTo>
                    <a:pt x="179" y="401"/>
                  </a:lnTo>
                  <a:lnTo>
                    <a:pt x="179" y="403"/>
                  </a:lnTo>
                  <a:lnTo>
                    <a:pt x="181" y="403"/>
                  </a:lnTo>
                  <a:lnTo>
                    <a:pt x="181" y="405"/>
                  </a:lnTo>
                  <a:lnTo>
                    <a:pt x="182" y="405"/>
                  </a:lnTo>
                  <a:lnTo>
                    <a:pt x="182" y="403"/>
                  </a:lnTo>
                  <a:lnTo>
                    <a:pt x="181" y="403"/>
                  </a:lnTo>
                  <a:lnTo>
                    <a:pt x="182" y="403"/>
                  </a:lnTo>
                  <a:lnTo>
                    <a:pt x="182" y="405"/>
                  </a:lnTo>
                  <a:lnTo>
                    <a:pt x="184" y="405"/>
                  </a:lnTo>
                  <a:lnTo>
                    <a:pt x="184" y="406"/>
                  </a:lnTo>
                  <a:lnTo>
                    <a:pt x="184" y="408"/>
                  </a:lnTo>
                  <a:lnTo>
                    <a:pt x="186" y="408"/>
                  </a:lnTo>
                  <a:lnTo>
                    <a:pt x="184" y="409"/>
                  </a:lnTo>
                  <a:lnTo>
                    <a:pt x="184" y="411"/>
                  </a:lnTo>
                  <a:lnTo>
                    <a:pt x="182" y="411"/>
                  </a:lnTo>
                  <a:lnTo>
                    <a:pt x="181" y="411"/>
                  </a:lnTo>
                  <a:lnTo>
                    <a:pt x="181" y="413"/>
                  </a:lnTo>
                  <a:lnTo>
                    <a:pt x="179" y="413"/>
                  </a:lnTo>
                  <a:lnTo>
                    <a:pt x="181" y="414"/>
                  </a:lnTo>
                  <a:lnTo>
                    <a:pt x="179" y="414"/>
                  </a:lnTo>
                  <a:lnTo>
                    <a:pt x="179" y="413"/>
                  </a:lnTo>
                  <a:lnTo>
                    <a:pt x="179" y="414"/>
                  </a:lnTo>
                  <a:lnTo>
                    <a:pt x="179" y="416"/>
                  </a:lnTo>
                  <a:lnTo>
                    <a:pt x="177" y="416"/>
                  </a:lnTo>
                  <a:lnTo>
                    <a:pt x="177" y="418"/>
                  </a:lnTo>
                  <a:lnTo>
                    <a:pt x="176" y="418"/>
                  </a:lnTo>
                  <a:lnTo>
                    <a:pt x="174" y="416"/>
                  </a:lnTo>
                  <a:lnTo>
                    <a:pt x="173" y="416"/>
                  </a:lnTo>
                  <a:lnTo>
                    <a:pt x="173" y="414"/>
                  </a:lnTo>
                  <a:lnTo>
                    <a:pt x="171" y="414"/>
                  </a:lnTo>
                  <a:lnTo>
                    <a:pt x="171" y="416"/>
                  </a:lnTo>
                  <a:lnTo>
                    <a:pt x="173" y="416"/>
                  </a:lnTo>
                  <a:lnTo>
                    <a:pt x="174" y="416"/>
                  </a:lnTo>
                  <a:lnTo>
                    <a:pt x="174" y="418"/>
                  </a:lnTo>
                  <a:lnTo>
                    <a:pt x="174" y="419"/>
                  </a:lnTo>
                  <a:lnTo>
                    <a:pt x="176" y="419"/>
                  </a:lnTo>
                  <a:lnTo>
                    <a:pt x="177" y="419"/>
                  </a:lnTo>
                  <a:lnTo>
                    <a:pt x="176" y="422"/>
                  </a:lnTo>
                  <a:lnTo>
                    <a:pt x="177" y="424"/>
                  </a:lnTo>
                  <a:lnTo>
                    <a:pt x="176" y="424"/>
                  </a:lnTo>
                  <a:lnTo>
                    <a:pt x="176" y="426"/>
                  </a:lnTo>
                  <a:lnTo>
                    <a:pt x="176" y="427"/>
                  </a:lnTo>
                  <a:lnTo>
                    <a:pt x="174" y="427"/>
                  </a:lnTo>
                  <a:lnTo>
                    <a:pt x="173" y="427"/>
                  </a:lnTo>
                  <a:lnTo>
                    <a:pt x="173" y="426"/>
                  </a:lnTo>
                  <a:lnTo>
                    <a:pt x="171" y="426"/>
                  </a:lnTo>
                  <a:lnTo>
                    <a:pt x="171" y="427"/>
                  </a:lnTo>
                  <a:lnTo>
                    <a:pt x="173" y="427"/>
                  </a:lnTo>
                  <a:lnTo>
                    <a:pt x="171" y="427"/>
                  </a:lnTo>
                  <a:lnTo>
                    <a:pt x="169" y="426"/>
                  </a:lnTo>
                  <a:lnTo>
                    <a:pt x="169" y="427"/>
                  </a:lnTo>
                  <a:lnTo>
                    <a:pt x="169" y="426"/>
                  </a:lnTo>
                  <a:lnTo>
                    <a:pt x="168" y="426"/>
                  </a:lnTo>
                  <a:lnTo>
                    <a:pt x="169" y="426"/>
                  </a:lnTo>
                  <a:lnTo>
                    <a:pt x="169" y="427"/>
                  </a:lnTo>
                  <a:lnTo>
                    <a:pt x="171" y="427"/>
                  </a:lnTo>
                  <a:lnTo>
                    <a:pt x="171" y="429"/>
                  </a:lnTo>
                  <a:lnTo>
                    <a:pt x="171" y="427"/>
                  </a:lnTo>
                  <a:lnTo>
                    <a:pt x="169" y="427"/>
                  </a:lnTo>
                  <a:lnTo>
                    <a:pt x="169" y="429"/>
                  </a:lnTo>
                  <a:lnTo>
                    <a:pt x="171" y="429"/>
                  </a:lnTo>
                  <a:lnTo>
                    <a:pt x="173" y="429"/>
                  </a:lnTo>
                  <a:lnTo>
                    <a:pt x="174" y="429"/>
                  </a:lnTo>
                  <a:lnTo>
                    <a:pt x="174" y="431"/>
                  </a:lnTo>
                  <a:lnTo>
                    <a:pt x="176" y="431"/>
                  </a:lnTo>
                  <a:lnTo>
                    <a:pt x="174" y="431"/>
                  </a:lnTo>
                  <a:lnTo>
                    <a:pt x="176" y="432"/>
                  </a:lnTo>
                  <a:lnTo>
                    <a:pt x="176" y="434"/>
                  </a:lnTo>
                  <a:lnTo>
                    <a:pt x="177" y="434"/>
                  </a:lnTo>
                  <a:lnTo>
                    <a:pt x="176" y="434"/>
                  </a:lnTo>
                  <a:lnTo>
                    <a:pt x="176" y="436"/>
                  </a:lnTo>
                  <a:lnTo>
                    <a:pt x="176" y="437"/>
                  </a:lnTo>
                  <a:lnTo>
                    <a:pt x="174" y="436"/>
                  </a:lnTo>
                  <a:lnTo>
                    <a:pt x="173" y="436"/>
                  </a:lnTo>
                  <a:lnTo>
                    <a:pt x="173" y="434"/>
                  </a:lnTo>
                  <a:lnTo>
                    <a:pt x="171" y="434"/>
                  </a:lnTo>
                  <a:lnTo>
                    <a:pt x="171" y="432"/>
                  </a:lnTo>
                  <a:lnTo>
                    <a:pt x="169" y="434"/>
                  </a:lnTo>
                  <a:lnTo>
                    <a:pt x="168" y="434"/>
                  </a:lnTo>
                  <a:lnTo>
                    <a:pt x="166" y="432"/>
                  </a:lnTo>
                  <a:lnTo>
                    <a:pt x="166" y="434"/>
                  </a:lnTo>
                  <a:lnTo>
                    <a:pt x="164" y="432"/>
                  </a:lnTo>
                  <a:lnTo>
                    <a:pt x="164" y="431"/>
                  </a:lnTo>
                  <a:lnTo>
                    <a:pt x="163" y="431"/>
                  </a:lnTo>
                  <a:lnTo>
                    <a:pt x="164" y="431"/>
                  </a:lnTo>
                  <a:lnTo>
                    <a:pt x="164" y="429"/>
                  </a:lnTo>
                  <a:lnTo>
                    <a:pt x="163" y="429"/>
                  </a:lnTo>
                  <a:lnTo>
                    <a:pt x="163" y="427"/>
                  </a:lnTo>
                  <a:lnTo>
                    <a:pt x="163" y="429"/>
                  </a:lnTo>
                  <a:lnTo>
                    <a:pt x="163" y="427"/>
                  </a:lnTo>
                  <a:lnTo>
                    <a:pt x="163" y="426"/>
                  </a:lnTo>
                  <a:lnTo>
                    <a:pt x="164" y="424"/>
                  </a:lnTo>
                  <a:lnTo>
                    <a:pt x="164" y="421"/>
                  </a:lnTo>
                  <a:lnTo>
                    <a:pt x="164" y="419"/>
                  </a:lnTo>
                  <a:lnTo>
                    <a:pt x="164" y="418"/>
                  </a:lnTo>
                  <a:lnTo>
                    <a:pt x="164" y="416"/>
                  </a:lnTo>
                  <a:lnTo>
                    <a:pt x="164" y="414"/>
                  </a:lnTo>
                  <a:lnTo>
                    <a:pt x="164" y="413"/>
                  </a:lnTo>
                  <a:lnTo>
                    <a:pt x="163" y="413"/>
                  </a:lnTo>
                  <a:lnTo>
                    <a:pt x="163" y="411"/>
                  </a:lnTo>
                  <a:lnTo>
                    <a:pt x="164" y="411"/>
                  </a:lnTo>
                  <a:lnTo>
                    <a:pt x="166" y="411"/>
                  </a:lnTo>
                  <a:lnTo>
                    <a:pt x="166" y="408"/>
                  </a:lnTo>
                  <a:lnTo>
                    <a:pt x="168" y="408"/>
                  </a:lnTo>
                  <a:lnTo>
                    <a:pt x="168" y="406"/>
                  </a:lnTo>
                  <a:lnTo>
                    <a:pt x="168" y="405"/>
                  </a:lnTo>
                  <a:lnTo>
                    <a:pt x="169" y="405"/>
                  </a:lnTo>
                  <a:lnTo>
                    <a:pt x="169" y="403"/>
                  </a:lnTo>
                  <a:lnTo>
                    <a:pt x="171" y="403"/>
                  </a:lnTo>
                  <a:lnTo>
                    <a:pt x="171" y="400"/>
                  </a:lnTo>
                  <a:lnTo>
                    <a:pt x="171" y="398"/>
                  </a:lnTo>
                  <a:lnTo>
                    <a:pt x="171" y="396"/>
                  </a:lnTo>
                  <a:lnTo>
                    <a:pt x="171" y="395"/>
                  </a:lnTo>
                  <a:lnTo>
                    <a:pt x="171" y="393"/>
                  </a:lnTo>
                  <a:lnTo>
                    <a:pt x="171" y="392"/>
                  </a:lnTo>
                  <a:lnTo>
                    <a:pt x="173" y="392"/>
                  </a:lnTo>
                  <a:lnTo>
                    <a:pt x="173" y="390"/>
                  </a:lnTo>
                  <a:lnTo>
                    <a:pt x="174" y="392"/>
                  </a:lnTo>
                  <a:lnTo>
                    <a:pt x="174" y="390"/>
                  </a:lnTo>
                  <a:lnTo>
                    <a:pt x="174" y="392"/>
                  </a:lnTo>
                  <a:lnTo>
                    <a:pt x="176" y="390"/>
                  </a:lnTo>
                  <a:lnTo>
                    <a:pt x="176" y="388"/>
                  </a:lnTo>
                  <a:lnTo>
                    <a:pt x="177" y="388"/>
                  </a:lnTo>
                  <a:lnTo>
                    <a:pt x="176" y="390"/>
                  </a:lnTo>
                  <a:lnTo>
                    <a:pt x="176" y="392"/>
                  </a:lnTo>
                  <a:close/>
                  <a:moveTo>
                    <a:pt x="719" y="50"/>
                  </a:moveTo>
                  <a:lnTo>
                    <a:pt x="719" y="48"/>
                  </a:lnTo>
                  <a:lnTo>
                    <a:pt x="717" y="47"/>
                  </a:lnTo>
                  <a:lnTo>
                    <a:pt x="717" y="45"/>
                  </a:lnTo>
                  <a:lnTo>
                    <a:pt x="719" y="45"/>
                  </a:lnTo>
                  <a:lnTo>
                    <a:pt x="717" y="44"/>
                  </a:lnTo>
                  <a:lnTo>
                    <a:pt x="717" y="40"/>
                  </a:lnTo>
                  <a:lnTo>
                    <a:pt x="719" y="40"/>
                  </a:lnTo>
                  <a:lnTo>
                    <a:pt x="719" y="39"/>
                  </a:lnTo>
                  <a:lnTo>
                    <a:pt x="719" y="37"/>
                  </a:lnTo>
                  <a:lnTo>
                    <a:pt x="717" y="37"/>
                  </a:lnTo>
                  <a:lnTo>
                    <a:pt x="719" y="37"/>
                  </a:lnTo>
                  <a:lnTo>
                    <a:pt x="717" y="39"/>
                  </a:lnTo>
                  <a:lnTo>
                    <a:pt x="717" y="37"/>
                  </a:lnTo>
                  <a:lnTo>
                    <a:pt x="717" y="35"/>
                  </a:lnTo>
                  <a:lnTo>
                    <a:pt x="719" y="35"/>
                  </a:lnTo>
                  <a:lnTo>
                    <a:pt x="719" y="34"/>
                  </a:lnTo>
                  <a:lnTo>
                    <a:pt x="717" y="34"/>
                  </a:lnTo>
                  <a:lnTo>
                    <a:pt x="719" y="32"/>
                  </a:lnTo>
                  <a:lnTo>
                    <a:pt x="719" y="31"/>
                  </a:lnTo>
                  <a:lnTo>
                    <a:pt x="719" y="29"/>
                  </a:lnTo>
                  <a:lnTo>
                    <a:pt x="721" y="29"/>
                  </a:lnTo>
                  <a:lnTo>
                    <a:pt x="721" y="27"/>
                  </a:lnTo>
                  <a:lnTo>
                    <a:pt x="721" y="29"/>
                  </a:lnTo>
                  <a:lnTo>
                    <a:pt x="721" y="27"/>
                  </a:lnTo>
                  <a:lnTo>
                    <a:pt x="722" y="27"/>
                  </a:lnTo>
                  <a:lnTo>
                    <a:pt x="722" y="26"/>
                  </a:lnTo>
                  <a:lnTo>
                    <a:pt x="722" y="27"/>
                  </a:lnTo>
                  <a:lnTo>
                    <a:pt x="722" y="29"/>
                  </a:lnTo>
                  <a:lnTo>
                    <a:pt x="722" y="31"/>
                  </a:lnTo>
                  <a:lnTo>
                    <a:pt x="724" y="31"/>
                  </a:lnTo>
                  <a:lnTo>
                    <a:pt x="724" y="32"/>
                  </a:lnTo>
                  <a:lnTo>
                    <a:pt x="724" y="34"/>
                  </a:lnTo>
                  <a:lnTo>
                    <a:pt x="724" y="32"/>
                  </a:lnTo>
                  <a:lnTo>
                    <a:pt x="724" y="31"/>
                  </a:lnTo>
                  <a:lnTo>
                    <a:pt x="722" y="31"/>
                  </a:lnTo>
                  <a:lnTo>
                    <a:pt x="722" y="29"/>
                  </a:lnTo>
                  <a:lnTo>
                    <a:pt x="722" y="27"/>
                  </a:lnTo>
                  <a:lnTo>
                    <a:pt x="724" y="27"/>
                  </a:lnTo>
                  <a:lnTo>
                    <a:pt x="724" y="26"/>
                  </a:lnTo>
                  <a:lnTo>
                    <a:pt x="724" y="24"/>
                  </a:lnTo>
                  <a:lnTo>
                    <a:pt x="726" y="24"/>
                  </a:lnTo>
                  <a:lnTo>
                    <a:pt x="726" y="22"/>
                  </a:lnTo>
                  <a:lnTo>
                    <a:pt x="726" y="21"/>
                  </a:lnTo>
                  <a:lnTo>
                    <a:pt x="726" y="19"/>
                  </a:lnTo>
                  <a:lnTo>
                    <a:pt x="726" y="18"/>
                  </a:lnTo>
                  <a:lnTo>
                    <a:pt x="727" y="18"/>
                  </a:lnTo>
                  <a:lnTo>
                    <a:pt x="726" y="16"/>
                  </a:lnTo>
                  <a:lnTo>
                    <a:pt x="727" y="16"/>
                  </a:lnTo>
                  <a:lnTo>
                    <a:pt x="729" y="16"/>
                  </a:lnTo>
                  <a:lnTo>
                    <a:pt x="729" y="18"/>
                  </a:lnTo>
                  <a:lnTo>
                    <a:pt x="730" y="18"/>
                  </a:lnTo>
                  <a:lnTo>
                    <a:pt x="730" y="16"/>
                  </a:lnTo>
                  <a:lnTo>
                    <a:pt x="732" y="16"/>
                  </a:lnTo>
                  <a:lnTo>
                    <a:pt x="732" y="18"/>
                  </a:lnTo>
                  <a:lnTo>
                    <a:pt x="732" y="16"/>
                  </a:lnTo>
                  <a:lnTo>
                    <a:pt x="734" y="16"/>
                  </a:lnTo>
                  <a:lnTo>
                    <a:pt x="734" y="18"/>
                  </a:lnTo>
                  <a:lnTo>
                    <a:pt x="735" y="18"/>
                  </a:lnTo>
                  <a:lnTo>
                    <a:pt x="735" y="19"/>
                  </a:lnTo>
                  <a:lnTo>
                    <a:pt x="734" y="19"/>
                  </a:lnTo>
                  <a:lnTo>
                    <a:pt x="735" y="19"/>
                  </a:lnTo>
                  <a:lnTo>
                    <a:pt x="734" y="19"/>
                  </a:lnTo>
                  <a:lnTo>
                    <a:pt x="735" y="19"/>
                  </a:lnTo>
                  <a:lnTo>
                    <a:pt x="734" y="19"/>
                  </a:lnTo>
                  <a:lnTo>
                    <a:pt x="735" y="21"/>
                  </a:lnTo>
                  <a:lnTo>
                    <a:pt x="735" y="19"/>
                  </a:lnTo>
                  <a:lnTo>
                    <a:pt x="735" y="21"/>
                  </a:lnTo>
                  <a:lnTo>
                    <a:pt x="734" y="21"/>
                  </a:lnTo>
                  <a:lnTo>
                    <a:pt x="735" y="21"/>
                  </a:lnTo>
                  <a:lnTo>
                    <a:pt x="734" y="22"/>
                  </a:lnTo>
                  <a:lnTo>
                    <a:pt x="735" y="22"/>
                  </a:lnTo>
                  <a:lnTo>
                    <a:pt x="734" y="24"/>
                  </a:lnTo>
                  <a:lnTo>
                    <a:pt x="735" y="24"/>
                  </a:lnTo>
                  <a:lnTo>
                    <a:pt x="734" y="24"/>
                  </a:lnTo>
                  <a:lnTo>
                    <a:pt x="734" y="26"/>
                  </a:lnTo>
                  <a:lnTo>
                    <a:pt x="734" y="27"/>
                  </a:lnTo>
                  <a:lnTo>
                    <a:pt x="734" y="29"/>
                  </a:lnTo>
                  <a:lnTo>
                    <a:pt x="734" y="31"/>
                  </a:lnTo>
                  <a:lnTo>
                    <a:pt x="734" y="29"/>
                  </a:lnTo>
                  <a:lnTo>
                    <a:pt x="732" y="29"/>
                  </a:lnTo>
                  <a:lnTo>
                    <a:pt x="730" y="29"/>
                  </a:lnTo>
                  <a:lnTo>
                    <a:pt x="730" y="27"/>
                  </a:lnTo>
                  <a:lnTo>
                    <a:pt x="730" y="26"/>
                  </a:lnTo>
                  <a:lnTo>
                    <a:pt x="729" y="24"/>
                  </a:lnTo>
                  <a:lnTo>
                    <a:pt x="729" y="26"/>
                  </a:lnTo>
                  <a:lnTo>
                    <a:pt x="730" y="27"/>
                  </a:lnTo>
                  <a:lnTo>
                    <a:pt x="730" y="29"/>
                  </a:lnTo>
                  <a:lnTo>
                    <a:pt x="730" y="31"/>
                  </a:lnTo>
                  <a:lnTo>
                    <a:pt x="732" y="31"/>
                  </a:lnTo>
                  <a:lnTo>
                    <a:pt x="732" y="32"/>
                  </a:lnTo>
                  <a:lnTo>
                    <a:pt x="730" y="34"/>
                  </a:lnTo>
                  <a:lnTo>
                    <a:pt x="729" y="34"/>
                  </a:lnTo>
                  <a:lnTo>
                    <a:pt x="727" y="32"/>
                  </a:lnTo>
                  <a:lnTo>
                    <a:pt x="727" y="34"/>
                  </a:lnTo>
                  <a:lnTo>
                    <a:pt x="729" y="35"/>
                  </a:lnTo>
                  <a:lnTo>
                    <a:pt x="730" y="35"/>
                  </a:lnTo>
                  <a:lnTo>
                    <a:pt x="730" y="37"/>
                  </a:lnTo>
                  <a:lnTo>
                    <a:pt x="730" y="35"/>
                  </a:lnTo>
                  <a:lnTo>
                    <a:pt x="730" y="37"/>
                  </a:lnTo>
                  <a:lnTo>
                    <a:pt x="732" y="37"/>
                  </a:lnTo>
                  <a:lnTo>
                    <a:pt x="732" y="39"/>
                  </a:lnTo>
                  <a:lnTo>
                    <a:pt x="730" y="39"/>
                  </a:lnTo>
                  <a:lnTo>
                    <a:pt x="732" y="39"/>
                  </a:lnTo>
                  <a:lnTo>
                    <a:pt x="730" y="40"/>
                  </a:lnTo>
                  <a:lnTo>
                    <a:pt x="730" y="42"/>
                  </a:lnTo>
                  <a:lnTo>
                    <a:pt x="729" y="42"/>
                  </a:lnTo>
                  <a:lnTo>
                    <a:pt x="727" y="42"/>
                  </a:lnTo>
                  <a:lnTo>
                    <a:pt x="729" y="44"/>
                  </a:lnTo>
                  <a:lnTo>
                    <a:pt x="727" y="44"/>
                  </a:lnTo>
                  <a:lnTo>
                    <a:pt x="727" y="45"/>
                  </a:lnTo>
                  <a:lnTo>
                    <a:pt x="729" y="45"/>
                  </a:lnTo>
                  <a:lnTo>
                    <a:pt x="729" y="44"/>
                  </a:lnTo>
                  <a:lnTo>
                    <a:pt x="729" y="45"/>
                  </a:lnTo>
                  <a:lnTo>
                    <a:pt x="729" y="47"/>
                  </a:lnTo>
                  <a:lnTo>
                    <a:pt x="727" y="47"/>
                  </a:lnTo>
                  <a:lnTo>
                    <a:pt x="727" y="48"/>
                  </a:lnTo>
                  <a:lnTo>
                    <a:pt x="727" y="50"/>
                  </a:lnTo>
                  <a:lnTo>
                    <a:pt x="726" y="50"/>
                  </a:lnTo>
                  <a:lnTo>
                    <a:pt x="727" y="48"/>
                  </a:lnTo>
                  <a:lnTo>
                    <a:pt x="727" y="50"/>
                  </a:lnTo>
                  <a:lnTo>
                    <a:pt x="726" y="50"/>
                  </a:lnTo>
                  <a:lnTo>
                    <a:pt x="724" y="48"/>
                  </a:lnTo>
                  <a:lnTo>
                    <a:pt x="722" y="48"/>
                  </a:lnTo>
                  <a:lnTo>
                    <a:pt x="724" y="48"/>
                  </a:lnTo>
                  <a:lnTo>
                    <a:pt x="722" y="48"/>
                  </a:lnTo>
                  <a:lnTo>
                    <a:pt x="722" y="47"/>
                  </a:lnTo>
                  <a:lnTo>
                    <a:pt x="721" y="48"/>
                  </a:lnTo>
                  <a:lnTo>
                    <a:pt x="722" y="48"/>
                  </a:lnTo>
                  <a:lnTo>
                    <a:pt x="722" y="50"/>
                  </a:lnTo>
                  <a:lnTo>
                    <a:pt x="721" y="50"/>
                  </a:lnTo>
                  <a:lnTo>
                    <a:pt x="719" y="50"/>
                  </a:lnTo>
                  <a:close/>
                  <a:moveTo>
                    <a:pt x="522" y="242"/>
                  </a:moveTo>
                  <a:lnTo>
                    <a:pt x="524" y="242"/>
                  </a:lnTo>
                  <a:lnTo>
                    <a:pt x="522" y="244"/>
                  </a:lnTo>
                  <a:lnTo>
                    <a:pt x="524" y="244"/>
                  </a:lnTo>
                  <a:lnTo>
                    <a:pt x="524" y="245"/>
                  </a:lnTo>
                  <a:lnTo>
                    <a:pt x="525" y="247"/>
                  </a:lnTo>
                  <a:lnTo>
                    <a:pt x="527" y="247"/>
                  </a:lnTo>
                  <a:lnTo>
                    <a:pt x="527" y="248"/>
                  </a:lnTo>
                  <a:lnTo>
                    <a:pt x="529" y="250"/>
                  </a:lnTo>
                  <a:lnTo>
                    <a:pt x="529" y="248"/>
                  </a:lnTo>
                  <a:lnTo>
                    <a:pt x="529" y="250"/>
                  </a:lnTo>
                  <a:lnTo>
                    <a:pt x="530" y="252"/>
                  </a:lnTo>
                  <a:lnTo>
                    <a:pt x="529" y="252"/>
                  </a:lnTo>
                  <a:lnTo>
                    <a:pt x="530" y="253"/>
                  </a:lnTo>
                  <a:lnTo>
                    <a:pt x="529" y="253"/>
                  </a:lnTo>
                  <a:lnTo>
                    <a:pt x="530" y="255"/>
                  </a:lnTo>
                  <a:lnTo>
                    <a:pt x="530" y="257"/>
                  </a:lnTo>
                  <a:lnTo>
                    <a:pt x="529" y="257"/>
                  </a:lnTo>
                  <a:lnTo>
                    <a:pt x="530" y="257"/>
                  </a:lnTo>
                  <a:lnTo>
                    <a:pt x="530" y="258"/>
                  </a:lnTo>
                  <a:lnTo>
                    <a:pt x="529" y="258"/>
                  </a:lnTo>
                  <a:lnTo>
                    <a:pt x="530" y="258"/>
                  </a:lnTo>
                  <a:lnTo>
                    <a:pt x="532" y="260"/>
                  </a:lnTo>
                  <a:lnTo>
                    <a:pt x="530" y="260"/>
                  </a:lnTo>
                  <a:lnTo>
                    <a:pt x="529" y="261"/>
                  </a:lnTo>
                  <a:lnTo>
                    <a:pt x="527" y="261"/>
                  </a:lnTo>
                  <a:lnTo>
                    <a:pt x="525" y="261"/>
                  </a:lnTo>
                  <a:lnTo>
                    <a:pt x="525" y="263"/>
                  </a:lnTo>
                  <a:lnTo>
                    <a:pt x="524" y="263"/>
                  </a:lnTo>
                  <a:lnTo>
                    <a:pt x="525" y="263"/>
                  </a:lnTo>
                  <a:lnTo>
                    <a:pt x="525" y="265"/>
                  </a:lnTo>
                  <a:lnTo>
                    <a:pt x="527" y="263"/>
                  </a:lnTo>
                  <a:lnTo>
                    <a:pt x="527" y="261"/>
                  </a:lnTo>
                  <a:lnTo>
                    <a:pt x="529" y="261"/>
                  </a:lnTo>
                  <a:lnTo>
                    <a:pt x="529" y="263"/>
                  </a:lnTo>
                  <a:lnTo>
                    <a:pt x="529" y="261"/>
                  </a:lnTo>
                  <a:lnTo>
                    <a:pt x="530" y="261"/>
                  </a:lnTo>
                  <a:lnTo>
                    <a:pt x="530" y="263"/>
                  </a:lnTo>
                  <a:lnTo>
                    <a:pt x="532" y="263"/>
                  </a:lnTo>
                  <a:lnTo>
                    <a:pt x="532" y="261"/>
                  </a:lnTo>
                  <a:lnTo>
                    <a:pt x="534" y="263"/>
                  </a:lnTo>
                  <a:lnTo>
                    <a:pt x="532" y="265"/>
                  </a:lnTo>
                  <a:lnTo>
                    <a:pt x="534" y="265"/>
                  </a:lnTo>
                  <a:lnTo>
                    <a:pt x="532" y="265"/>
                  </a:lnTo>
                  <a:lnTo>
                    <a:pt x="530" y="266"/>
                  </a:lnTo>
                  <a:lnTo>
                    <a:pt x="529" y="266"/>
                  </a:lnTo>
                  <a:lnTo>
                    <a:pt x="529" y="265"/>
                  </a:lnTo>
                  <a:lnTo>
                    <a:pt x="527" y="265"/>
                  </a:lnTo>
                  <a:lnTo>
                    <a:pt x="525" y="265"/>
                  </a:lnTo>
                  <a:lnTo>
                    <a:pt x="527" y="265"/>
                  </a:lnTo>
                  <a:lnTo>
                    <a:pt x="527" y="266"/>
                  </a:lnTo>
                  <a:lnTo>
                    <a:pt x="525" y="266"/>
                  </a:lnTo>
                  <a:lnTo>
                    <a:pt x="525" y="265"/>
                  </a:lnTo>
                  <a:lnTo>
                    <a:pt x="524" y="265"/>
                  </a:lnTo>
                  <a:lnTo>
                    <a:pt x="522" y="265"/>
                  </a:lnTo>
                  <a:lnTo>
                    <a:pt x="521" y="265"/>
                  </a:lnTo>
                  <a:lnTo>
                    <a:pt x="521" y="263"/>
                  </a:lnTo>
                  <a:lnTo>
                    <a:pt x="519" y="261"/>
                  </a:lnTo>
                  <a:lnTo>
                    <a:pt x="521" y="260"/>
                  </a:lnTo>
                  <a:lnTo>
                    <a:pt x="519" y="258"/>
                  </a:lnTo>
                  <a:lnTo>
                    <a:pt x="519" y="257"/>
                  </a:lnTo>
                  <a:lnTo>
                    <a:pt x="517" y="255"/>
                  </a:lnTo>
                  <a:lnTo>
                    <a:pt x="517" y="253"/>
                  </a:lnTo>
                  <a:lnTo>
                    <a:pt x="517" y="252"/>
                  </a:lnTo>
                  <a:lnTo>
                    <a:pt x="517" y="250"/>
                  </a:lnTo>
                  <a:lnTo>
                    <a:pt x="516" y="250"/>
                  </a:lnTo>
                  <a:lnTo>
                    <a:pt x="514" y="248"/>
                  </a:lnTo>
                  <a:lnTo>
                    <a:pt x="514" y="247"/>
                  </a:lnTo>
                  <a:lnTo>
                    <a:pt x="516" y="245"/>
                  </a:lnTo>
                  <a:lnTo>
                    <a:pt x="516" y="244"/>
                  </a:lnTo>
                  <a:lnTo>
                    <a:pt x="517" y="242"/>
                  </a:lnTo>
                  <a:lnTo>
                    <a:pt x="519" y="242"/>
                  </a:lnTo>
                  <a:lnTo>
                    <a:pt x="521" y="242"/>
                  </a:lnTo>
                  <a:lnTo>
                    <a:pt x="522" y="242"/>
                  </a:lnTo>
                  <a:close/>
                  <a:moveTo>
                    <a:pt x="747" y="1"/>
                  </a:moveTo>
                  <a:lnTo>
                    <a:pt x="747" y="3"/>
                  </a:lnTo>
                  <a:lnTo>
                    <a:pt x="747" y="5"/>
                  </a:lnTo>
                  <a:lnTo>
                    <a:pt x="747" y="6"/>
                  </a:lnTo>
                  <a:lnTo>
                    <a:pt x="745" y="8"/>
                  </a:lnTo>
                  <a:lnTo>
                    <a:pt x="747" y="8"/>
                  </a:lnTo>
                  <a:lnTo>
                    <a:pt x="747" y="6"/>
                  </a:lnTo>
                  <a:lnTo>
                    <a:pt x="748" y="6"/>
                  </a:lnTo>
                  <a:lnTo>
                    <a:pt x="748" y="5"/>
                  </a:lnTo>
                  <a:lnTo>
                    <a:pt x="748" y="3"/>
                  </a:lnTo>
                  <a:lnTo>
                    <a:pt x="750" y="3"/>
                  </a:lnTo>
                  <a:lnTo>
                    <a:pt x="750" y="5"/>
                  </a:lnTo>
                  <a:lnTo>
                    <a:pt x="752" y="5"/>
                  </a:lnTo>
                  <a:lnTo>
                    <a:pt x="753" y="5"/>
                  </a:lnTo>
                  <a:lnTo>
                    <a:pt x="752" y="6"/>
                  </a:lnTo>
                  <a:lnTo>
                    <a:pt x="753" y="6"/>
                  </a:lnTo>
                  <a:lnTo>
                    <a:pt x="755" y="6"/>
                  </a:lnTo>
                  <a:lnTo>
                    <a:pt x="755" y="8"/>
                  </a:lnTo>
                  <a:lnTo>
                    <a:pt x="752" y="8"/>
                  </a:lnTo>
                  <a:lnTo>
                    <a:pt x="752" y="9"/>
                  </a:lnTo>
                  <a:lnTo>
                    <a:pt x="752" y="11"/>
                  </a:lnTo>
                  <a:lnTo>
                    <a:pt x="752" y="13"/>
                  </a:lnTo>
                  <a:lnTo>
                    <a:pt x="752" y="11"/>
                  </a:lnTo>
                  <a:lnTo>
                    <a:pt x="750" y="11"/>
                  </a:lnTo>
                  <a:lnTo>
                    <a:pt x="748" y="11"/>
                  </a:lnTo>
                  <a:lnTo>
                    <a:pt x="748" y="9"/>
                  </a:lnTo>
                  <a:lnTo>
                    <a:pt x="748" y="11"/>
                  </a:lnTo>
                  <a:lnTo>
                    <a:pt x="748" y="13"/>
                  </a:lnTo>
                  <a:lnTo>
                    <a:pt x="750" y="13"/>
                  </a:lnTo>
                  <a:lnTo>
                    <a:pt x="750" y="14"/>
                  </a:lnTo>
                  <a:lnTo>
                    <a:pt x="750" y="16"/>
                  </a:lnTo>
                  <a:lnTo>
                    <a:pt x="748" y="16"/>
                  </a:lnTo>
                  <a:lnTo>
                    <a:pt x="748" y="14"/>
                  </a:lnTo>
                  <a:lnTo>
                    <a:pt x="750" y="14"/>
                  </a:lnTo>
                  <a:lnTo>
                    <a:pt x="748" y="14"/>
                  </a:lnTo>
                  <a:lnTo>
                    <a:pt x="748" y="16"/>
                  </a:lnTo>
                  <a:lnTo>
                    <a:pt x="748" y="18"/>
                  </a:lnTo>
                  <a:lnTo>
                    <a:pt x="747" y="19"/>
                  </a:lnTo>
                  <a:lnTo>
                    <a:pt x="745" y="19"/>
                  </a:lnTo>
                  <a:lnTo>
                    <a:pt x="745" y="21"/>
                  </a:lnTo>
                  <a:lnTo>
                    <a:pt x="743" y="21"/>
                  </a:lnTo>
                  <a:lnTo>
                    <a:pt x="743" y="22"/>
                  </a:lnTo>
                  <a:lnTo>
                    <a:pt x="745" y="22"/>
                  </a:lnTo>
                  <a:lnTo>
                    <a:pt x="745" y="24"/>
                  </a:lnTo>
                  <a:lnTo>
                    <a:pt x="747" y="22"/>
                  </a:lnTo>
                  <a:lnTo>
                    <a:pt x="747" y="24"/>
                  </a:lnTo>
                  <a:lnTo>
                    <a:pt x="747" y="26"/>
                  </a:lnTo>
                  <a:lnTo>
                    <a:pt x="745" y="26"/>
                  </a:lnTo>
                  <a:lnTo>
                    <a:pt x="743" y="26"/>
                  </a:lnTo>
                  <a:lnTo>
                    <a:pt x="742" y="26"/>
                  </a:lnTo>
                  <a:lnTo>
                    <a:pt x="740" y="24"/>
                  </a:lnTo>
                  <a:lnTo>
                    <a:pt x="742" y="24"/>
                  </a:lnTo>
                  <a:lnTo>
                    <a:pt x="740" y="22"/>
                  </a:lnTo>
                  <a:lnTo>
                    <a:pt x="740" y="24"/>
                  </a:lnTo>
                  <a:lnTo>
                    <a:pt x="739" y="24"/>
                  </a:lnTo>
                  <a:lnTo>
                    <a:pt x="739" y="26"/>
                  </a:lnTo>
                  <a:lnTo>
                    <a:pt x="737" y="26"/>
                  </a:lnTo>
                  <a:lnTo>
                    <a:pt x="739" y="26"/>
                  </a:lnTo>
                  <a:lnTo>
                    <a:pt x="737" y="26"/>
                  </a:lnTo>
                  <a:lnTo>
                    <a:pt x="737" y="24"/>
                  </a:lnTo>
                  <a:lnTo>
                    <a:pt x="737" y="26"/>
                  </a:lnTo>
                  <a:lnTo>
                    <a:pt x="737" y="24"/>
                  </a:lnTo>
                  <a:lnTo>
                    <a:pt x="735" y="24"/>
                  </a:lnTo>
                  <a:lnTo>
                    <a:pt x="735" y="22"/>
                  </a:lnTo>
                  <a:lnTo>
                    <a:pt x="737" y="22"/>
                  </a:lnTo>
                  <a:lnTo>
                    <a:pt x="737" y="21"/>
                  </a:lnTo>
                  <a:lnTo>
                    <a:pt x="737" y="19"/>
                  </a:lnTo>
                  <a:lnTo>
                    <a:pt x="737" y="18"/>
                  </a:lnTo>
                  <a:lnTo>
                    <a:pt x="737" y="19"/>
                  </a:lnTo>
                  <a:lnTo>
                    <a:pt x="739" y="19"/>
                  </a:lnTo>
                  <a:lnTo>
                    <a:pt x="739" y="18"/>
                  </a:lnTo>
                  <a:lnTo>
                    <a:pt x="737" y="18"/>
                  </a:lnTo>
                  <a:lnTo>
                    <a:pt x="739" y="18"/>
                  </a:lnTo>
                  <a:lnTo>
                    <a:pt x="739" y="16"/>
                  </a:lnTo>
                  <a:lnTo>
                    <a:pt x="740" y="16"/>
                  </a:lnTo>
                  <a:lnTo>
                    <a:pt x="739" y="14"/>
                  </a:lnTo>
                  <a:lnTo>
                    <a:pt x="740" y="14"/>
                  </a:lnTo>
                  <a:lnTo>
                    <a:pt x="740" y="13"/>
                  </a:lnTo>
                  <a:lnTo>
                    <a:pt x="740" y="11"/>
                  </a:lnTo>
                  <a:lnTo>
                    <a:pt x="742" y="11"/>
                  </a:lnTo>
                  <a:lnTo>
                    <a:pt x="742" y="9"/>
                  </a:lnTo>
                  <a:lnTo>
                    <a:pt x="740" y="9"/>
                  </a:lnTo>
                  <a:lnTo>
                    <a:pt x="740" y="8"/>
                  </a:lnTo>
                  <a:lnTo>
                    <a:pt x="742" y="8"/>
                  </a:lnTo>
                  <a:lnTo>
                    <a:pt x="742" y="6"/>
                  </a:lnTo>
                  <a:lnTo>
                    <a:pt x="742" y="5"/>
                  </a:lnTo>
                  <a:lnTo>
                    <a:pt x="743" y="5"/>
                  </a:lnTo>
                  <a:lnTo>
                    <a:pt x="743" y="6"/>
                  </a:lnTo>
                  <a:lnTo>
                    <a:pt x="743" y="5"/>
                  </a:lnTo>
                  <a:lnTo>
                    <a:pt x="745" y="3"/>
                  </a:lnTo>
                  <a:lnTo>
                    <a:pt x="745" y="1"/>
                  </a:lnTo>
                  <a:lnTo>
                    <a:pt x="747" y="1"/>
                  </a:lnTo>
                  <a:close/>
                  <a:moveTo>
                    <a:pt x="293" y="637"/>
                  </a:moveTo>
                  <a:lnTo>
                    <a:pt x="295" y="637"/>
                  </a:lnTo>
                  <a:lnTo>
                    <a:pt x="296" y="637"/>
                  </a:lnTo>
                  <a:lnTo>
                    <a:pt x="296" y="639"/>
                  </a:lnTo>
                  <a:lnTo>
                    <a:pt x="296" y="640"/>
                  </a:lnTo>
                  <a:lnTo>
                    <a:pt x="298" y="642"/>
                  </a:lnTo>
                  <a:lnTo>
                    <a:pt x="299" y="642"/>
                  </a:lnTo>
                  <a:lnTo>
                    <a:pt x="299" y="644"/>
                  </a:lnTo>
                  <a:lnTo>
                    <a:pt x="301" y="645"/>
                  </a:lnTo>
                  <a:lnTo>
                    <a:pt x="299" y="647"/>
                  </a:lnTo>
                  <a:lnTo>
                    <a:pt x="301" y="647"/>
                  </a:lnTo>
                  <a:lnTo>
                    <a:pt x="301" y="649"/>
                  </a:lnTo>
                  <a:lnTo>
                    <a:pt x="301" y="650"/>
                  </a:lnTo>
                  <a:lnTo>
                    <a:pt x="301" y="652"/>
                  </a:lnTo>
                  <a:lnTo>
                    <a:pt x="303" y="650"/>
                  </a:lnTo>
                  <a:lnTo>
                    <a:pt x="304" y="650"/>
                  </a:lnTo>
                  <a:lnTo>
                    <a:pt x="304" y="652"/>
                  </a:lnTo>
                  <a:lnTo>
                    <a:pt x="304" y="653"/>
                  </a:lnTo>
                  <a:lnTo>
                    <a:pt x="303" y="653"/>
                  </a:lnTo>
                  <a:lnTo>
                    <a:pt x="303" y="655"/>
                  </a:lnTo>
                  <a:lnTo>
                    <a:pt x="303" y="657"/>
                  </a:lnTo>
                  <a:lnTo>
                    <a:pt x="304" y="657"/>
                  </a:lnTo>
                  <a:lnTo>
                    <a:pt x="303" y="658"/>
                  </a:lnTo>
                  <a:lnTo>
                    <a:pt x="304" y="662"/>
                  </a:lnTo>
                  <a:lnTo>
                    <a:pt x="303" y="662"/>
                  </a:lnTo>
                  <a:lnTo>
                    <a:pt x="303" y="663"/>
                  </a:lnTo>
                  <a:lnTo>
                    <a:pt x="301" y="662"/>
                  </a:lnTo>
                  <a:lnTo>
                    <a:pt x="301" y="663"/>
                  </a:lnTo>
                  <a:lnTo>
                    <a:pt x="301" y="665"/>
                  </a:lnTo>
                  <a:lnTo>
                    <a:pt x="303" y="665"/>
                  </a:lnTo>
                  <a:lnTo>
                    <a:pt x="303" y="666"/>
                  </a:lnTo>
                  <a:lnTo>
                    <a:pt x="301" y="666"/>
                  </a:lnTo>
                  <a:lnTo>
                    <a:pt x="301" y="668"/>
                  </a:lnTo>
                  <a:lnTo>
                    <a:pt x="299" y="668"/>
                  </a:lnTo>
                  <a:lnTo>
                    <a:pt x="299" y="666"/>
                  </a:lnTo>
                  <a:lnTo>
                    <a:pt x="298" y="666"/>
                  </a:lnTo>
                  <a:lnTo>
                    <a:pt x="299" y="665"/>
                  </a:lnTo>
                  <a:lnTo>
                    <a:pt x="298" y="665"/>
                  </a:lnTo>
                  <a:lnTo>
                    <a:pt x="298" y="663"/>
                  </a:lnTo>
                  <a:lnTo>
                    <a:pt x="298" y="662"/>
                  </a:lnTo>
                  <a:lnTo>
                    <a:pt x="296" y="660"/>
                  </a:lnTo>
                  <a:lnTo>
                    <a:pt x="296" y="658"/>
                  </a:lnTo>
                  <a:lnTo>
                    <a:pt x="295" y="658"/>
                  </a:lnTo>
                  <a:lnTo>
                    <a:pt x="295" y="660"/>
                  </a:lnTo>
                  <a:lnTo>
                    <a:pt x="295" y="658"/>
                  </a:lnTo>
                  <a:lnTo>
                    <a:pt x="295" y="657"/>
                  </a:lnTo>
                  <a:lnTo>
                    <a:pt x="295" y="655"/>
                  </a:lnTo>
                  <a:lnTo>
                    <a:pt x="295" y="653"/>
                  </a:lnTo>
                  <a:lnTo>
                    <a:pt x="295" y="655"/>
                  </a:lnTo>
                  <a:lnTo>
                    <a:pt x="293" y="655"/>
                  </a:lnTo>
                  <a:lnTo>
                    <a:pt x="295" y="653"/>
                  </a:lnTo>
                  <a:lnTo>
                    <a:pt x="293" y="653"/>
                  </a:lnTo>
                  <a:lnTo>
                    <a:pt x="295" y="653"/>
                  </a:lnTo>
                  <a:lnTo>
                    <a:pt x="295" y="652"/>
                  </a:lnTo>
                  <a:lnTo>
                    <a:pt x="295" y="650"/>
                  </a:lnTo>
                  <a:lnTo>
                    <a:pt x="296" y="650"/>
                  </a:lnTo>
                  <a:lnTo>
                    <a:pt x="296" y="649"/>
                  </a:lnTo>
                  <a:lnTo>
                    <a:pt x="295" y="649"/>
                  </a:lnTo>
                  <a:lnTo>
                    <a:pt x="293" y="649"/>
                  </a:lnTo>
                  <a:lnTo>
                    <a:pt x="293" y="647"/>
                  </a:lnTo>
                  <a:lnTo>
                    <a:pt x="293" y="645"/>
                  </a:lnTo>
                  <a:lnTo>
                    <a:pt x="291" y="645"/>
                  </a:lnTo>
                  <a:lnTo>
                    <a:pt x="291" y="642"/>
                  </a:lnTo>
                  <a:lnTo>
                    <a:pt x="290" y="642"/>
                  </a:lnTo>
                  <a:lnTo>
                    <a:pt x="291" y="640"/>
                  </a:lnTo>
                  <a:lnTo>
                    <a:pt x="290" y="639"/>
                  </a:lnTo>
                  <a:lnTo>
                    <a:pt x="291" y="639"/>
                  </a:lnTo>
                  <a:lnTo>
                    <a:pt x="293" y="637"/>
                  </a:lnTo>
                  <a:close/>
                  <a:moveTo>
                    <a:pt x="243" y="458"/>
                  </a:moveTo>
                  <a:lnTo>
                    <a:pt x="244" y="458"/>
                  </a:lnTo>
                  <a:lnTo>
                    <a:pt x="244" y="460"/>
                  </a:lnTo>
                  <a:lnTo>
                    <a:pt x="244" y="462"/>
                  </a:lnTo>
                  <a:lnTo>
                    <a:pt x="246" y="462"/>
                  </a:lnTo>
                  <a:lnTo>
                    <a:pt x="247" y="462"/>
                  </a:lnTo>
                  <a:lnTo>
                    <a:pt x="247" y="463"/>
                  </a:lnTo>
                  <a:lnTo>
                    <a:pt x="247" y="465"/>
                  </a:lnTo>
                  <a:lnTo>
                    <a:pt x="246" y="465"/>
                  </a:lnTo>
                  <a:lnTo>
                    <a:pt x="244" y="465"/>
                  </a:lnTo>
                  <a:lnTo>
                    <a:pt x="247" y="466"/>
                  </a:lnTo>
                  <a:lnTo>
                    <a:pt x="246" y="468"/>
                  </a:lnTo>
                  <a:lnTo>
                    <a:pt x="246" y="471"/>
                  </a:lnTo>
                  <a:lnTo>
                    <a:pt x="244" y="473"/>
                  </a:lnTo>
                  <a:lnTo>
                    <a:pt x="243" y="473"/>
                  </a:lnTo>
                  <a:lnTo>
                    <a:pt x="241" y="473"/>
                  </a:lnTo>
                  <a:lnTo>
                    <a:pt x="241" y="475"/>
                  </a:lnTo>
                  <a:lnTo>
                    <a:pt x="239" y="476"/>
                  </a:lnTo>
                  <a:lnTo>
                    <a:pt x="239" y="475"/>
                  </a:lnTo>
                  <a:lnTo>
                    <a:pt x="239" y="476"/>
                  </a:lnTo>
                  <a:lnTo>
                    <a:pt x="238" y="475"/>
                  </a:lnTo>
                  <a:lnTo>
                    <a:pt x="238" y="473"/>
                  </a:lnTo>
                  <a:lnTo>
                    <a:pt x="236" y="473"/>
                  </a:lnTo>
                  <a:lnTo>
                    <a:pt x="236" y="471"/>
                  </a:lnTo>
                  <a:lnTo>
                    <a:pt x="236" y="470"/>
                  </a:lnTo>
                  <a:lnTo>
                    <a:pt x="236" y="468"/>
                  </a:lnTo>
                  <a:lnTo>
                    <a:pt x="234" y="468"/>
                  </a:lnTo>
                  <a:lnTo>
                    <a:pt x="233" y="466"/>
                  </a:lnTo>
                  <a:lnTo>
                    <a:pt x="233" y="465"/>
                  </a:lnTo>
                  <a:lnTo>
                    <a:pt x="231" y="465"/>
                  </a:lnTo>
                  <a:lnTo>
                    <a:pt x="231" y="463"/>
                  </a:lnTo>
                  <a:lnTo>
                    <a:pt x="231" y="462"/>
                  </a:lnTo>
                  <a:lnTo>
                    <a:pt x="231" y="463"/>
                  </a:lnTo>
                  <a:lnTo>
                    <a:pt x="233" y="462"/>
                  </a:lnTo>
                  <a:lnTo>
                    <a:pt x="234" y="462"/>
                  </a:lnTo>
                  <a:lnTo>
                    <a:pt x="234" y="460"/>
                  </a:lnTo>
                  <a:lnTo>
                    <a:pt x="236" y="458"/>
                  </a:lnTo>
                  <a:lnTo>
                    <a:pt x="239" y="458"/>
                  </a:lnTo>
                  <a:lnTo>
                    <a:pt x="241" y="458"/>
                  </a:lnTo>
                  <a:lnTo>
                    <a:pt x="243" y="458"/>
                  </a:lnTo>
                  <a:close/>
                  <a:moveTo>
                    <a:pt x="182" y="380"/>
                  </a:moveTo>
                  <a:lnTo>
                    <a:pt x="181" y="380"/>
                  </a:lnTo>
                  <a:lnTo>
                    <a:pt x="182" y="380"/>
                  </a:lnTo>
                  <a:lnTo>
                    <a:pt x="182" y="382"/>
                  </a:lnTo>
                  <a:lnTo>
                    <a:pt x="184" y="380"/>
                  </a:lnTo>
                  <a:lnTo>
                    <a:pt x="182" y="380"/>
                  </a:lnTo>
                  <a:lnTo>
                    <a:pt x="184" y="380"/>
                  </a:lnTo>
                  <a:lnTo>
                    <a:pt x="186" y="382"/>
                  </a:lnTo>
                  <a:lnTo>
                    <a:pt x="184" y="382"/>
                  </a:lnTo>
                  <a:lnTo>
                    <a:pt x="186" y="382"/>
                  </a:lnTo>
                  <a:lnTo>
                    <a:pt x="186" y="383"/>
                  </a:lnTo>
                  <a:lnTo>
                    <a:pt x="187" y="383"/>
                  </a:lnTo>
                  <a:lnTo>
                    <a:pt x="187" y="382"/>
                  </a:lnTo>
                  <a:lnTo>
                    <a:pt x="187" y="383"/>
                  </a:lnTo>
                  <a:lnTo>
                    <a:pt x="187" y="385"/>
                  </a:lnTo>
                  <a:lnTo>
                    <a:pt x="189" y="385"/>
                  </a:lnTo>
                  <a:lnTo>
                    <a:pt x="189" y="383"/>
                  </a:lnTo>
                  <a:lnTo>
                    <a:pt x="189" y="385"/>
                  </a:lnTo>
                  <a:lnTo>
                    <a:pt x="190" y="387"/>
                  </a:lnTo>
                  <a:lnTo>
                    <a:pt x="189" y="387"/>
                  </a:lnTo>
                  <a:lnTo>
                    <a:pt x="189" y="385"/>
                  </a:lnTo>
                  <a:lnTo>
                    <a:pt x="189" y="387"/>
                  </a:lnTo>
                  <a:lnTo>
                    <a:pt x="187" y="385"/>
                  </a:lnTo>
                  <a:lnTo>
                    <a:pt x="187" y="387"/>
                  </a:lnTo>
                  <a:lnTo>
                    <a:pt x="189" y="387"/>
                  </a:lnTo>
                  <a:lnTo>
                    <a:pt x="189" y="388"/>
                  </a:lnTo>
                  <a:lnTo>
                    <a:pt x="189" y="387"/>
                  </a:lnTo>
                  <a:lnTo>
                    <a:pt x="189" y="388"/>
                  </a:lnTo>
                  <a:lnTo>
                    <a:pt x="187" y="388"/>
                  </a:lnTo>
                  <a:lnTo>
                    <a:pt x="187" y="387"/>
                  </a:lnTo>
                  <a:lnTo>
                    <a:pt x="186" y="387"/>
                  </a:lnTo>
                  <a:lnTo>
                    <a:pt x="187" y="387"/>
                  </a:lnTo>
                  <a:lnTo>
                    <a:pt x="186" y="387"/>
                  </a:lnTo>
                  <a:lnTo>
                    <a:pt x="186" y="388"/>
                  </a:lnTo>
                  <a:lnTo>
                    <a:pt x="186" y="387"/>
                  </a:lnTo>
                  <a:lnTo>
                    <a:pt x="184" y="387"/>
                  </a:lnTo>
                  <a:lnTo>
                    <a:pt x="186" y="387"/>
                  </a:lnTo>
                  <a:lnTo>
                    <a:pt x="184" y="387"/>
                  </a:lnTo>
                  <a:lnTo>
                    <a:pt x="186" y="387"/>
                  </a:lnTo>
                  <a:lnTo>
                    <a:pt x="184" y="388"/>
                  </a:lnTo>
                  <a:lnTo>
                    <a:pt x="186" y="388"/>
                  </a:lnTo>
                  <a:lnTo>
                    <a:pt x="187" y="388"/>
                  </a:lnTo>
                  <a:lnTo>
                    <a:pt x="189" y="388"/>
                  </a:lnTo>
                  <a:lnTo>
                    <a:pt x="187" y="388"/>
                  </a:lnTo>
                  <a:lnTo>
                    <a:pt x="189" y="388"/>
                  </a:lnTo>
                  <a:lnTo>
                    <a:pt x="189" y="390"/>
                  </a:lnTo>
                  <a:lnTo>
                    <a:pt x="189" y="392"/>
                  </a:lnTo>
                  <a:lnTo>
                    <a:pt x="189" y="393"/>
                  </a:lnTo>
                  <a:lnTo>
                    <a:pt x="187" y="393"/>
                  </a:lnTo>
                  <a:lnTo>
                    <a:pt x="186" y="392"/>
                  </a:lnTo>
                  <a:lnTo>
                    <a:pt x="186" y="393"/>
                  </a:lnTo>
                  <a:lnTo>
                    <a:pt x="184" y="393"/>
                  </a:lnTo>
                  <a:lnTo>
                    <a:pt x="184" y="392"/>
                  </a:lnTo>
                  <a:lnTo>
                    <a:pt x="184" y="393"/>
                  </a:lnTo>
                  <a:lnTo>
                    <a:pt x="186" y="395"/>
                  </a:lnTo>
                  <a:lnTo>
                    <a:pt x="184" y="395"/>
                  </a:lnTo>
                  <a:lnTo>
                    <a:pt x="182" y="395"/>
                  </a:lnTo>
                  <a:lnTo>
                    <a:pt x="182" y="393"/>
                  </a:lnTo>
                  <a:lnTo>
                    <a:pt x="184" y="393"/>
                  </a:lnTo>
                  <a:lnTo>
                    <a:pt x="182" y="393"/>
                  </a:lnTo>
                  <a:lnTo>
                    <a:pt x="182" y="392"/>
                  </a:lnTo>
                  <a:lnTo>
                    <a:pt x="182" y="393"/>
                  </a:lnTo>
                  <a:lnTo>
                    <a:pt x="182" y="392"/>
                  </a:lnTo>
                  <a:lnTo>
                    <a:pt x="181" y="392"/>
                  </a:lnTo>
                  <a:lnTo>
                    <a:pt x="181" y="393"/>
                  </a:lnTo>
                  <a:lnTo>
                    <a:pt x="179" y="392"/>
                  </a:lnTo>
                  <a:lnTo>
                    <a:pt x="179" y="390"/>
                  </a:lnTo>
                  <a:lnTo>
                    <a:pt x="177" y="390"/>
                  </a:lnTo>
                  <a:lnTo>
                    <a:pt x="177" y="388"/>
                  </a:lnTo>
                  <a:lnTo>
                    <a:pt x="176" y="388"/>
                  </a:lnTo>
                  <a:lnTo>
                    <a:pt x="176" y="387"/>
                  </a:lnTo>
                  <a:lnTo>
                    <a:pt x="174" y="388"/>
                  </a:lnTo>
                  <a:lnTo>
                    <a:pt x="174" y="387"/>
                  </a:lnTo>
                  <a:lnTo>
                    <a:pt x="174" y="385"/>
                  </a:lnTo>
                  <a:lnTo>
                    <a:pt x="174" y="383"/>
                  </a:lnTo>
                  <a:lnTo>
                    <a:pt x="174" y="382"/>
                  </a:lnTo>
                  <a:lnTo>
                    <a:pt x="174" y="383"/>
                  </a:lnTo>
                  <a:lnTo>
                    <a:pt x="176" y="382"/>
                  </a:lnTo>
                  <a:lnTo>
                    <a:pt x="174" y="382"/>
                  </a:lnTo>
                  <a:lnTo>
                    <a:pt x="174" y="380"/>
                  </a:lnTo>
                  <a:lnTo>
                    <a:pt x="176" y="380"/>
                  </a:lnTo>
                  <a:lnTo>
                    <a:pt x="177" y="380"/>
                  </a:lnTo>
                  <a:lnTo>
                    <a:pt x="179" y="379"/>
                  </a:lnTo>
                  <a:lnTo>
                    <a:pt x="181" y="379"/>
                  </a:lnTo>
                  <a:lnTo>
                    <a:pt x="181" y="380"/>
                  </a:lnTo>
                  <a:lnTo>
                    <a:pt x="181" y="379"/>
                  </a:lnTo>
                  <a:lnTo>
                    <a:pt x="182" y="380"/>
                  </a:lnTo>
                  <a:lnTo>
                    <a:pt x="182" y="379"/>
                  </a:lnTo>
                  <a:lnTo>
                    <a:pt x="184" y="380"/>
                  </a:lnTo>
                  <a:lnTo>
                    <a:pt x="182" y="380"/>
                  </a:lnTo>
                  <a:close/>
                  <a:moveTo>
                    <a:pt x="680" y="1356"/>
                  </a:moveTo>
                  <a:lnTo>
                    <a:pt x="682" y="1354"/>
                  </a:lnTo>
                  <a:lnTo>
                    <a:pt x="682" y="1356"/>
                  </a:lnTo>
                  <a:lnTo>
                    <a:pt x="683" y="1356"/>
                  </a:lnTo>
                  <a:lnTo>
                    <a:pt x="685" y="1358"/>
                  </a:lnTo>
                  <a:lnTo>
                    <a:pt x="687" y="1359"/>
                  </a:lnTo>
                  <a:lnTo>
                    <a:pt x="688" y="1359"/>
                  </a:lnTo>
                  <a:lnTo>
                    <a:pt x="691" y="1361"/>
                  </a:lnTo>
                  <a:lnTo>
                    <a:pt x="693" y="1361"/>
                  </a:lnTo>
                  <a:lnTo>
                    <a:pt x="695" y="1361"/>
                  </a:lnTo>
                  <a:lnTo>
                    <a:pt x="695" y="1363"/>
                  </a:lnTo>
                  <a:lnTo>
                    <a:pt x="696" y="1366"/>
                  </a:lnTo>
                  <a:lnTo>
                    <a:pt x="698" y="1367"/>
                  </a:lnTo>
                  <a:lnTo>
                    <a:pt x="698" y="1369"/>
                  </a:lnTo>
                  <a:lnTo>
                    <a:pt x="696" y="1369"/>
                  </a:lnTo>
                  <a:lnTo>
                    <a:pt x="695" y="1371"/>
                  </a:lnTo>
                  <a:lnTo>
                    <a:pt x="693" y="1371"/>
                  </a:lnTo>
                  <a:lnTo>
                    <a:pt x="688" y="1369"/>
                  </a:lnTo>
                  <a:lnTo>
                    <a:pt x="687" y="1367"/>
                  </a:lnTo>
                  <a:lnTo>
                    <a:pt x="685" y="1367"/>
                  </a:lnTo>
                  <a:lnTo>
                    <a:pt x="683" y="1366"/>
                  </a:lnTo>
                  <a:lnTo>
                    <a:pt x="683" y="1367"/>
                  </a:lnTo>
                  <a:lnTo>
                    <a:pt x="682" y="1367"/>
                  </a:lnTo>
                  <a:lnTo>
                    <a:pt x="682" y="1366"/>
                  </a:lnTo>
                  <a:lnTo>
                    <a:pt x="682" y="1364"/>
                  </a:lnTo>
                  <a:lnTo>
                    <a:pt x="680" y="1364"/>
                  </a:lnTo>
                  <a:lnTo>
                    <a:pt x="680" y="1363"/>
                  </a:lnTo>
                  <a:lnTo>
                    <a:pt x="678" y="1363"/>
                  </a:lnTo>
                  <a:lnTo>
                    <a:pt x="678" y="1361"/>
                  </a:lnTo>
                  <a:lnTo>
                    <a:pt x="678" y="1359"/>
                  </a:lnTo>
                  <a:lnTo>
                    <a:pt x="678" y="1361"/>
                  </a:lnTo>
                  <a:lnTo>
                    <a:pt x="680" y="1361"/>
                  </a:lnTo>
                  <a:lnTo>
                    <a:pt x="680" y="1359"/>
                  </a:lnTo>
                  <a:lnTo>
                    <a:pt x="680" y="1358"/>
                  </a:lnTo>
                  <a:lnTo>
                    <a:pt x="680" y="1356"/>
                  </a:lnTo>
                  <a:lnTo>
                    <a:pt x="680" y="1358"/>
                  </a:lnTo>
                  <a:lnTo>
                    <a:pt x="680" y="1356"/>
                  </a:lnTo>
                  <a:close/>
                  <a:moveTo>
                    <a:pt x="192" y="522"/>
                  </a:moveTo>
                  <a:lnTo>
                    <a:pt x="192" y="520"/>
                  </a:lnTo>
                  <a:lnTo>
                    <a:pt x="192" y="522"/>
                  </a:lnTo>
                  <a:lnTo>
                    <a:pt x="194" y="523"/>
                  </a:lnTo>
                  <a:lnTo>
                    <a:pt x="194" y="525"/>
                  </a:lnTo>
                  <a:lnTo>
                    <a:pt x="192" y="525"/>
                  </a:lnTo>
                  <a:lnTo>
                    <a:pt x="190" y="525"/>
                  </a:lnTo>
                  <a:lnTo>
                    <a:pt x="190" y="523"/>
                  </a:lnTo>
                  <a:lnTo>
                    <a:pt x="189" y="523"/>
                  </a:lnTo>
                  <a:lnTo>
                    <a:pt x="187" y="523"/>
                  </a:lnTo>
                  <a:lnTo>
                    <a:pt x="187" y="525"/>
                  </a:lnTo>
                  <a:lnTo>
                    <a:pt x="187" y="527"/>
                  </a:lnTo>
                  <a:lnTo>
                    <a:pt x="187" y="528"/>
                  </a:lnTo>
                  <a:lnTo>
                    <a:pt x="186" y="528"/>
                  </a:lnTo>
                  <a:lnTo>
                    <a:pt x="184" y="528"/>
                  </a:lnTo>
                  <a:lnTo>
                    <a:pt x="182" y="528"/>
                  </a:lnTo>
                  <a:lnTo>
                    <a:pt x="181" y="528"/>
                  </a:lnTo>
                  <a:lnTo>
                    <a:pt x="179" y="530"/>
                  </a:lnTo>
                  <a:lnTo>
                    <a:pt x="179" y="531"/>
                  </a:lnTo>
                  <a:lnTo>
                    <a:pt x="177" y="533"/>
                  </a:lnTo>
                  <a:lnTo>
                    <a:pt x="179" y="533"/>
                  </a:lnTo>
                  <a:lnTo>
                    <a:pt x="177" y="533"/>
                  </a:lnTo>
                  <a:lnTo>
                    <a:pt x="176" y="533"/>
                  </a:lnTo>
                  <a:lnTo>
                    <a:pt x="174" y="533"/>
                  </a:lnTo>
                  <a:lnTo>
                    <a:pt x="174" y="531"/>
                  </a:lnTo>
                  <a:lnTo>
                    <a:pt x="174" y="530"/>
                  </a:lnTo>
                  <a:lnTo>
                    <a:pt x="173" y="530"/>
                  </a:lnTo>
                  <a:lnTo>
                    <a:pt x="173" y="531"/>
                  </a:lnTo>
                  <a:lnTo>
                    <a:pt x="171" y="531"/>
                  </a:lnTo>
                  <a:lnTo>
                    <a:pt x="171" y="530"/>
                  </a:lnTo>
                  <a:lnTo>
                    <a:pt x="173" y="528"/>
                  </a:lnTo>
                  <a:lnTo>
                    <a:pt x="173" y="527"/>
                  </a:lnTo>
                  <a:lnTo>
                    <a:pt x="173" y="525"/>
                  </a:lnTo>
                  <a:lnTo>
                    <a:pt x="173" y="523"/>
                  </a:lnTo>
                  <a:lnTo>
                    <a:pt x="174" y="523"/>
                  </a:lnTo>
                  <a:lnTo>
                    <a:pt x="174" y="522"/>
                  </a:lnTo>
                  <a:lnTo>
                    <a:pt x="176" y="522"/>
                  </a:lnTo>
                  <a:lnTo>
                    <a:pt x="176" y="520"/>
                  </a:lnTo>
                  <a:lnTo>
                    <a:pt x="177" y="520"/>
                  </a:lnTo>
                  <a:lnTo>
                    <a:pt x="177" y="522"/>
                  </a:lnTo>
                  <a:lnTo>
                    <a:pt x="179" y="522"/>
                  </a:lnTo>
                  <a:lnTo>
                    <a:pt x="181" y="522"/>
                  </a:lnTo>
                  <a:lnTo>
                    <a:pt x="179" y="522"/>
                  </a:lnTo>
                  <a:lnTo>
                    <a:pt x="179" y="523"/>
                  </a:lnTo>
                  <a:lnTo>
                    <a:pt x="181" y="523"/>
                  </a:lnTo>
                  <a:lnTo>
                    <a:pt x="181" y="522"/>
                  </a:lnTo>
                  <a:lnTo>
                    <a:pt x="181" y="523"/>
                  </a:lnTo>
                  <a:lnTo>
                    <a:pt x="182" y="523"/>
                  </a:lnTo>
                  <a:lnTo>
                    <a:pt x="184" y="523"/>
                  </a:lnTo>
                  <a:lnTo>
                    <a:pt x="184" y="522"/>
                  </a:lnTo>
                  <a:lnTo>
                    <a:pt x="186" y="522"/>
                  </a:lnTo>
                  <a:lnTo>
                    <a:pt x="187" y="522"/>
                  </a:lnTo>
                  <a:lnTo>
                    <a:pt x="189" y="523"/>
                  </a:lnTo>
                  <a:lnTo>
                    <a:pt x="189" y="522"/>
                  </a:lnTo>
                  <a:lnTo>
                    <a:pt x="189" y="523"/>
                  </a:lnTo>
                  <a:lnTo>
                    <a:pt x="190" y="523"/>
                  </a:lnTo>
                  <a:lnTo>
                    <a:pt x="190" y="522"/>
                  </a:lnTo>
                  <a:lnTo>
                    <a:pt x="192" y="522"/>
                  </a:lnTo>
                  <a:close/>
                  <a:moveTo>
                    <a:pt x="218" y="507"/>
                  </a:moveTo>
                  <a:lnTo>
                    <a:pt x="220" y="507"/>
                  </a:lnTo>
                  <a:lnTo>
                    <a:pt x="220" y="509"/>
                  </a:lnTo>
                  <a:lnTo>
                    <a:pt x="220" y="510"/>
                  </a:lnTo>
                  <a:lnTo>
                    <a:pt x="218" y="512"/>
                  </a:lnTo>
                  <a:lnTo>
                    <a:pt x="216" y="514"/>
                  </a:lnTo>
                  <a:lnTo>
                    <a:pt x="215" y="515"/>
                  </a:lnTo>
                  <a:lnTo>
                    <a:pt x="213" y="517"/>
                  </a:lnTo>
                  <a:lnTo>
                    <a:pt x="213" y="515"/>
                  </a:lnTo>
                  <a:lnTo>
                    <a:pt x="212" y="517"/>
                  </a:lnTo>
                  <a:lnTo>
                    <a:pt x="210" y="518"/>
                  </a:lnTo>
                  <a:lnTo>
                    <a:pt x="208" y="518"/>
                  </a:lnTo>
                  <a:lnTo>
                    <a:pt x="208" y="520"/>
                  </a:lnTo>
                  <a:lnTo>
                    <a:pt x="207" y="520"/>
                  </a:lnTo>
                  <a:lnTo>
                    <a:pt x="207" y="518"/>
                  </a:lnTo>
                  <a:lnTo>
                    <a:pt x="207" y="520"/>
                  </a:lnTo>
                  <a:lnTo>
                    <a:pt x="205" y="520"/>
                  </a:lnTo>
                  <a:lnTo>
                    <a:pt x="205" y="518"/>
                  </a:lnTo>
                  <a:lnTo>
                    <a:pt x="205" y="520"/>
                  </a:lnTo>
                  <a:lnTo>
                    <a:pt x="203" y="520"/>
                  </a:lnTo>
                  <a:lnTo>
                    <a:pt x="203" y="518"/>
                  </a:lnTo>
                  <a:lnTo>
                    <a:pt x="203" y="520"/>
                  </a:lnTo>
                  <a:lnTo>
                    <a:pt x="202" y="520"/>
                  </a:lnTo>
                  <a:lnTo>
                    <a:pt x="202" y="518"/>
                  </a:lnTo>
                  <a:lnTo>
                    <a:pt x="200" y="518"/>
                  </a:lnTo>
                  <a:lnTo>
                    <a:pt x="199" y="518"/>
                  </a:lnTo>
                  <a:lnTo>
                    <a:pt x="199" y="520"/>
                  </a:lnTo>
                  <a:lnTo>
                    <a:pt x="197" y="520"/>
                  </a:lnTo>
                  <a:lnTo>
                    <a:pt x="197" y="518"/>
                  </a:lnTo>
                  <a:lnTo>
                    <a:pt x="199" y="518"/>
                  </a:lnTo>
                  <a:lnTo>
                    <a:pt x="199" y="517"/>
                  </a:lnTo>
                  <a:lnTo>
                    <a:pt x="200" y="517"/>
                  </a:lnTo>
                  <a:lnTo>
                    <a:pt x="202" y="517"/>
                  </a:lnTo>
                  <a:lnTo>
                    <a:pt x="202" y="515"/>
                  </a:lnTo>
                  <a:lnTo>
                    <a:pt x="202" y="517"/>
                  </a:lnTo>
                  <a:lnTo>
                    <a:pt x="203" y="514"/>
                  </a:lnTo>
                  <a:lnTo>
                    <a:pt x="205" y="514"/>
                  </a:lnTo>
                  <a:lnTo>
                    <a:pt x="205" y="512"/>
                  </a:lnTo>
                  <a:lnTo>
                    <a:pt x="207" y="512"/>
                  </a:lnTo>
                  <a:lnTo>
                    <a:pt x="208" y="510"/>
                  </a:lnTo>
                  <a:lnTo>
                    <a:pt x="210" y="510"/>
                  </a:lnTo>
                  <a:lnTo>
                    <a:pt x="210" y="509"/>
                  </a:lnTo>
                  <a:lnTo>
                    <a:pt x="212" y="510"/>
                  </a:lnTo>
                  <a:lnTo>
                    <a:pt x="212" y="509"/>
                  </a:lnTo>
                  <a:lnTo>
                    <a:pt x="212" y="510"/>
                  </a:lnTo>
                  <a:lnTo>
                    <a:pt x="212" y="509"/>
                  </a:lnTo>
                  <a:lnTo>
                    <a:pt x="213" y="509"/>
                  </a:lnTo>
                  <a:lnTo>
                    <a:pt x="213" y="507"/>
                  </a:lnTo>
                  <a:lnTo>
                    <a:pt x="215" y="507"/>
                  </a:lnTo>
                  <a:lnTo>
                    <a:pt x="215" y="509"/>
                  </a:lnTo>
                  <a:lnTo>
                    <a:pt x="215" y="507"/>
                  </a:lnTo>
                  <a:lnTo>
                    <a:pt x="216" y="507"/>
                  </a:lnTo>
                  <a:lnTo>
                    <a:pt x="218" y="507"/>
                  </a:lnTo>
                  <a:close/>
                  <a:moveTo>
                    <a:pt x="282" y="405"/>
                  </a:moveTo>
                  <a:lnTo>
                    <a:pt x="280" y="408"/>
                  </a:lnTo>
                  <a:lnTo>
                    <a:pt x="280" y="409"/>
                  </a:lnTo>
                  <a:lnTo>
                    <a:pt x="278" y="409"/>
                  </a:lnTo>
                  <a:lnTo>
                    <a:pt x="277" y="409"/>
                  </a:lnTo>
                  <a:lnTo>
                    <a:pt x="277" y="411"/>
                  </a:lnTo>
                  <a:lnTo>
                    <a:pt x="277" y="413"/>
                  </a:lnTo>
                  <a:lnTo>
                    <a:pt x="277" y="416"/>
                  </a:lnTo>
                  <a:lnTo>
                    <a:pt x="277" y="418"/>
                  </a:lnTo>
                  <a:lnTo>
                    <a:pt x="277" y="419"/>
                  </a:lnTo>
                  <a:lnTo>
                    <a:pt x="278" y="419"/>
                  </a:lnTo>
                  <a:lnTo>
                    <a:pt x="278" y="421"/>
                  </a:lnTo>
                  <a:lnTo>
                    <a:pt x="277" y="422"/>
                  </a:lnTo>
                  <a:lnTo>
                    <a:pt x="275" y="424"/>
                  </a:lnTo>
                  <a:lnTo>
                    <a:pt x="273" y="424"/>
                  </a:lnTo>
                  <a:lnTo>
                    <a:pt x="273" y="426"/>
                  </a:lnTo>
                  <a:lnTo>
                    <a:pt x="272" y="424"/>
                  </a:lnTo>
                  <a:lnTo>
                    <a:pt x="270" y="424"/>
                  </a:lnTo>
                  <a:lnTo>
                    <a:pt x="272" y="424"/>
                  </a:lnTo>
                  <a:lnTo>
                    <a:pt x="270" y="422"/>
                  </a:lnTo>
                  <a:lnTo>
                    <a:pt x="272" y="422"/>
                  </a:lnTo>
                  <a:lnTo>
                    <a:pt x="270" y="421"/>
                  </a:lnTo>
                  <a:lnTo>
                    <a:pt x="272" y="419"/>
                  </a:lnTo>
                  <a:lnTo>
                    <a:pt x="270" y="419"/>
                  </a:lnTo>
                  <a:lnTo>
                    <a:pt x="272" y="418"/>
                  </a:lnTo>
                  <a:lnTo>
                    <a:pt x="272" y="416"/>
                  </a:lnTo>
                  <a:lnTo>
                    <a:pt x="272" y="414"/>
                  </a:lnTo>
                  <a:lnTo>
                    <a:pt x="272" y="413"/>
                  </a:lnTo>
                  <a:lnTo>
                    <a:pt x="273" y="411"/>
                  </a:lnTo>
                  <a:lnTo>
                    <a:pt x="273" y="409"/>
                  </a:lnTo>
                  <a:lnTo>
                    <a:pt x="273" y="408"/>
                  </a:lnTo>
                  <a:lnTo>
                    <a:pt x="275" y="408"/>
                  </a:lnTo>
                  <a:lnTo>
                    <a:pt x="275" y="406"/>
                  </a:lnTo>
                  <a:lnTo>
                    <a:pt x="277" y="406"/>
                  </a:lnTo>
                  <a:lnTo>
                    <a:pt x="278" y="406"/>
                  </a:lnTo>
                  <a:lnTo>
                    <a:pt x="278" y="408"/>
                  </a:lnTo>
                  <a:lnTo>
                    <a:pt x="280" y="406"/>
                  </a:lnTo>
                  <a:lnTo>
                    <a:pt x="278" y="406"/>
                  </a:lnTo>
                  <a:lnTo>
                    <a:pt x="278" y="405"/>
                  </a:lnTo>
                  <a:lnTo>
                    <a:pt x="280" y="405"/>
                  </a:lnTo>
                  <a:lnTo>
                    <a:pt x="278" y="405"/>
                  </a:lnTo>
                  <a:lnTo>
                    <a:pt x="278" y="403"/>
                  </a:lnTo>
                  <a:lnTo>
                    <a:pt x="280" y="403"/>
                  </a:lnTo>
                  <a:lnTo>
                    <a:pt x="280" y="401"/>
                  </a:lnTo>
                  <a:lnTo>
                    <a:pt x="280" y="403"/>
                  </a:lnTo>
                  <a:lnTo>
                    <a:pt x="280" y="405"/>
                  </a:lnTo>
                  <a:lnTo>
                    <a:pt x="280" y="403"/>
                  </a:lnTo>
                  <a:lnTo>
                    <a:pt x="282" y="403"/>
                  </a:lnTo>
                  <a:lnTo>
                    <a:pt x="282" y="401"/>
                  </a:lnTo>
                  <a:lnTo>
                    <a:pt x="282" y="400"/>
                  </a:lnTo>
                  <a:lnTo>
                    <a:pt x="283" y="400"/>
                  </a:lnTo>
                  <a:lnTo>
                    <a:pt x="283" y="401"/>
                  </a:lnTo>
                  <a:lnTo>
                    <a:pt x="283" y="403"/>
                  </a:lnTo>
                  <a:lnTo>
                    <a:pt x="282" y="405"/>
                  </a:lnTo>
                  <a:close/>
                  <a:moveTo>
                    <a:pt x="158" y="439"/>
                  </a:moveTo>
                  <a:lnTo>
                    <a:pt x="160" y="439"/>
                  </a:lnTo>
                  <a:lnTo>
                    <a:pt x="160" y="440"/>
                  </a:lnTo>
                  <a:lnTo>
                    <a:pt x="158" y="440"/>
                  </a:lnTo>
                  <a:lnTo>
                    <a:pt x="158" y="442"/>
                  </a:lnTo>
                  <a:lnTo>
                    <a:pt x="156" y="442"/>
                  </a:lnTo>
                  <a:lnTo>
                    <a:pt x="156" y="444"/>
                  </a:lnTo>
                  <a:lnTo>
                    <a:pt x="158" y="444"/>
                  </a:lnTo>
                  <a:lnTo>
                    <a:pt x="158" y="445"/>
                  </a:lnTo>
                  <a:lnTo>
                    <a:pt x="160" y="445"/>
                  </a:lnTo>
                  <a:lnTo>
                    <a:pt x="160" y="447"/>
                  </a:lnTo>
                  <a:lnTo>
                    <a:pt x="160" y="445"/>
                  </a:lnTo>
                  <a:lnTo>
                    <a:pt x="160" y="447"/>
                  </a:lnTo>
                  <a:lnTo>
                    <a:pt x="158" y="445"/>
                  </a:lnTo>
                  <a:lnTo>
                    <a:pt x="158" y="447"/>
                  </a:lnTo>
                  <a:lnTo>
                    <a:pt x="160" y="447"/>
                  </a:lnTo>
                  <a:lnTo>
                    <a:pt x="160" y="449"/>
                  </a:lnTo>
                  <a:lnTo>
                    <a:pt x="160" y="450"/>
                  </a:lnTo>
                  <a:lnTo>
                    <a:pt x="158" y="449"/>
                  </a:lnTo>
                  <a:lnTo>
                    <a:pt x="158" y="450"/>
                  </a:lnTo>
                  <a:lnTo>
                    <a:pt x="156" y="450"/>
                  </a:lnTo>
                  <a:lnTo>
                    <a:pt x="156" y="452"/>
                  </a:lnTo>
                  <a:lnTo>
                    <a:pt x="156" y="450"/>
                  </a:lnTo>
                  <a:lnTo>
                    <a:pt x="156" y="452"/>
                  </a:lnTo>
                  <a:lnTo>
                    <a:pt x="155" y="452"/>
                  </a:lnTo>
                  <a:lnTo>
                    <a:pt x="155" y="450"/>
                  </a:lnTo>
                  <a:lnTo>
                    <a:pt x="155" y="452"/>
                  </a:lnTo>
                  <a:lnTo>
                    <a:pt x="155" y="453"/>
                  </a:lnTo>
                  <a:lnTo>
                    <a:pt x="153" y="452"/>
                  </a:lnTo>
                  <a:lnTo>
                    <a:pt x="153" y="453"/>
                  </a:lnTo>
                  <a:lnTo>
                    <a:pt x="151" y="452"/>
                  </a:lnTo>
                  <a:lnTo>
                    <a:pt x="150" y="452"/>
                  </a:lnTo>
                  <a:lnTo>
                    <a:pt x="150" y="453"/>
                  </a:lnTo>
                  <a:lnTo>
                    <a:pt x="150" y="452"/>
                  </a:lnTo>
                  <a:lnTo>
                    <a:pt x="151" y="452"/>
                  </a:lnTo>
                  <a:lnTo>
                    <a:pt x="150" y="452"/>
                  </a:lnTo>
                  <a:lnTo>
                    <a:pt x="148" y="452"/>
                  </a:lnTo>
                  <a:lnTo>
                    <a:pt x="147" y="452"/>
                  </a:lnTo>
                  <a:lnTo>
                    <a:pt x="147" y="450"/>
                  </a:lnTo>
                  <a:lnTo>
                    <a:pt x="145" y="450"/>
                  </a:lnTo>
                  <a:lnTo>
                    <a:pt x="145" y="449"/>
                  </a:lnTo>
                  <a:lnTo>
                    <a:pt x="147" y="449"/>
                  </a:lnTo>
                  <a:lnTo>
                    <a:pt x="147" y="447"/>
                  </a:lnTo>
                  <a:lnTo>
                    <a:pt x="148" y="447"/>
                  </a:lnTo>
                  <a:lnTo>
                    <a:pt x="148" y="449"/>
                  </a:lnTo>
                  <a:lnTo>
                    <a:pt x="148" y="447"/>
                  </a:lnTo>
                  <a:lnTo>
                    <a:pt x="148" y="449"/>
                  </a:lnTo>
                  <a:lnTo>
                    <a:pt x="148" y="447"/>
                  </a:lnTo>
                  <a:lnTo>
                    <a:pt x="150" y="447"/>
                  </a:lnTo>
                  <a:lnTo>
                    <a:pt x="148" y="447"/>
                  </a:lnTo>
                  <a:lnTo>
                    <a:pt x="148" y="445"/>
                  </a:lnTo>
                  <a:lnTo>
                    <a:pt x="150" y="445"/>
                  </a:lnTo>
                  <a:lnTo>
                    <a:pt x="150" y="444"/>
                  </a:lnTo>
                  <a:lnTo>
                    <a:pt x="151" y="444"/>
                  </a:lnTo>
                  <a:lnTo>
                    <a:pt x="150" y="444"/>
                  </a:lnTo>
                  <a:lnTo>
                    <a:pt x="150" y="442"/>
                  </a:lnTo>
                  <a:lnTo>
                    <a:pt x="151" y="442"/>
                  </a:lnTo>
                  <a:lnTo>
                    <a:pt x="153" y="442"/>
                  </a:lnTo>
                  <a:lnTo>
                    <a:pt x="155" y="442"/>
                  </a:lnTo>
                  <a:lnTo>
                    <a:pt x="156" y="442"/>
                  </a:lnTo>
                  <a:lnTo>
                    <a:pt x="156" y="440"/>
                  </a:lnTo>
                  <a:lnTo>
                    <a:pt x="156" y="439"/>
                  </a:lnTo>
                  <a:lnTo>
                    <a:pt x="156" y="437"/>
                  </a:lnTo>
                  <a:lnTo>
                    <a:pt x="158" y="437"/>
                  </a:lnTo>
                  <a:lnTo>
                    <a:pt x="158" y="439"/>
                  </a:lnTo>
                  <a:close/>
                  <a:moveTo>
                    <a:pt x="599" y="203"/>
                  </a:moveTo>
                  <a:lnTo>
                    <a:pt x="599" y="205"/>
                  </a:lnTo>
                  <a:lnTo>
                    <a:pt x="600" y="205"/>
                  </a:lnTo>
                  <a:lnTo>
                    <a:pt x="602" y="205"/>
                  </a:lnTo>
                  <a:lnTo>
                    <a:pt x="602" y="206"/>
                  </a:lnTo>
                  <a:lnTo>
                    <a:pt x="600" y="206"/>
                  </a:lnTo>
                  <a:lnTo>
                    <a:pt x="599" y="205"/>
                  </a:lnTo>
                  <a:lnTo>
                    <a:pt x="599" y="206"/>
                  </a:lnTo>
                  <a:lnTo>
                    <a:pt x="597" y="205"/>
                  </a:lnTo>
                  <a:lnTo>
                    <a:pt x="595" y="205"/>
                  </a:lnTo>
                  <a:lnTo>
                    <a:pt x="594" y="205"/>
                  </a:lnTo>
                  <a:lnTo>
                    <a:pt x="594" y="206"/>
                  </a:lnTo>
                  <a:lnTo>
                    <a:pt x="592" y="206"/>
                  </a:lnTo>
                  <a:lnTo>
                    <a:pt x="592" y="208"/>
                  </a:lnTo>
                  <a:lnTo>
                    <a:pt x="591" y="209"/>
                  </a:lnTo>
                  <a:lnTo>
                    <a:pt x="591" y="208"/>
                  </a:lnTo>
                  <a:lnTo>
                    <a:pt x="591" y="206"/>
                  </a:lnTo>
                  <a:lnTo>
                    <a:pt x="589" y="208"/>
                  </a:lnTo>
                  <a:lnTo>
                    <a:pt x="591" y="208"/>
                  </a:lnTo>
                  <a:lnTo>
                    <a:pt x="591" y="209"/>
                  </a:lnTo>
                  <a:lnTo>
                    <a:pt x="591" y="211"/>
                  </a:lnTo>
                  <a:lnTo>
                    <a:pt x="591" y="213"/>
                  </a:lnTo>
                  <a:lnTo>
                    <a:pt x="591" y="211"/>
                  </a:lnTo>
                  <a:lnTo>
                    <a:pt x="589" y="209"/>
                  </a:lnTo>
                  <a:lnTo>
                    <a:pt x="587" y="209"/>
                  </a:lnTo>
                  <a:lnTo>
                    <a:pt x="586" y="211"/>
                  </a:lnTo>
                  <a:lnTo>
                    <a:pt x="586" y="209"/>
                  </a:lnTo>
                  <a:lnTo>
                    <a:pt x="584" y="209"/>
                  </a:lnTo>
                  <a:lnTo>
                    <a:pt x="584" y="208"/>
                  </a:lnTo>
                  <a:lnTo>
                    <a:pt x="582" y="208"/>
                  </a:lnTo>
                  <a:lnTo>
                    <a:pt x="581" y="209"/>
                  </a:lnTo>
                  <a:lnTo>
                    <a:pt x="581" y="211"/>
                  </a:lnTo>
                  <a:lnTo>
                    <a:pt x="579" y="211"/>
                  </a:lnTo>
                  <a:lnTo>
                    <a:pt x="579" y="213"/>
                  </a:lnTo>
                  <a:lnTo>
                    <a:pt x="578" y="213"/>
                  </a:lnTo>
                  <a:lnTo>
                    <a:pt x="578" y="214"/>
                  </a:lnTo>
                  <a:lnTo>
                    <a:pt x="578" y="213"/>
                  </a:lnTo>
                  <a:lnTo>
                    <a:pt x="576" y="213"/>
                  </a:lnTo>
                  <a:lnTo>
                    <a:pt x="578" y="214"/>
                  </a:lnTo>
                  <a:lnTo>
                    <a:pt x="576" y="214"/>
                  </a:lnTo>
                  <a:lnTo>
                    <a:pt x="576" y="213"/>
                  </a:lnTo>
                  <a:lnTo>
                    <a:pt x="576" y="211"/>
                  </a:lnTo>
                  <a:lnTo>
                    <a:pt x="578" y="209"/>
                  </a:lnTo>
                  <a:lnTo>
                    <a:pt x="579" y="209"/>
                  </a:lnTo>
                  <a:lnTo>
                    <a:pt x="579" y="208"/>
                  </a:lnTo>
                  <a:lnTo>
                    <a:pt x="581" y="208"/>
                  </a:lnTo>
                  <a:lnTo>
                    <a:pt x="582" y="206"/>
                  </a:lnTo>
                  <a:lnTo>
                    <a:pt x="584" y="206"/>
                  </a:lnTo>
                  <a:lnTo>
                    <a:pt x="584" y="205"/>
                  </a:lnTo>
                  <a:lnTo>
                    <a:pt x="586" y="205"/>
                  </a:lnTo>
                  <a:lnTo>
                    <a:pt x="584" y="205"/>
                  </a:lnTo>
                  <a:lnTo>
                    <a:pt x="586" y="205"/>
                  </a:lnTo>
                  <a:lnTo>
                    <a:pt x="586" y="203"/>
                  </a:lnTo>
                  <a:lnTo>
                    <a:pt x="584" y="201"/>
                  </a:lnTo>
                  <a:lnTo>
                    <a:pt x="584" y="200"/>
                  </a:lnTo>
                  <a:lnTo>
                    <a:pt x="584" y="198"/>
                  </a:lnTo>
                  <a:lnTo>
                    <a:pt x="586" y="198"/>
                  </a:lnTo>
                  <a:lnTo>
                    <a:pt x="584" y="200"/>
                  </a:lnTo>
                  <a:lnTo>
                    <a:pt x="586" y="200"/>
                  </a:lnTo>
                  <a:lnTo>
                    <a:pt x="586" y="201"/>
                  </a:lnTo>
                  <a:lnTo>
                    <a:pt x="587" y="201"/>
                  </a:lnTo>
                  <a:lnTo>
                    <a:pt x="587" y="200"/>
                  </a:lnTo>
                  <a:lnTo>
                    <a:pt x="589" y="200"/>
                  </a:lnTo>
                  <a:lnTo>
                    <a:pt x="591" y="200"/>
                  </a:lnTo>
                  <a:lnTo>
                    <a:pt x="592" y="200"/>
                  </a:lnTo>
                  <a:lnTo>
                    <a:pt x="592" y="201"/>
                  </a:lnTo>
                  <a:lnTo>
                    <a:pt x="591" y="201"/>
                  </a:lnTo>
                  <a:lnTo>
                    <a:pt x="589" y="201"/>
                  </a:lnTo>
                  <a:lnTo>
                    <a:pt x="589" y="203"/>
                  </a:lnTo>
                  <a:lnTo>
                    <a:pt x="587" y="203"/>
                  </a:lnTo>
                  <a:lnTo>
                    <a:pt x="587" y="205"/>
                  </a:lnTo>
                  <a:lnTo>
                    <a:pt x="586" y="205"/>
                  </a:lnTo>
                  <a:lnTo>
                    <a:pt x="587" y="206"/>
                  </a:lnTo>
                  <a:lnTo>
                    <a:pt x="589" y="206"/>
                  </a:lnTo>
                  <a:lnTo>
                    <a:pt x="587" y="205"/>
                  </a:lnTo>
                  <a:lnTo>
                    <a:pt x="589" y="205"/>
                  </a:lnTo>
                  <a:lnTo>
                    <a:pt x="589" y="206"/>
                  </a:lnTo>
                  <a:lnTo>
                    <a:pt x="589" y="205"/>
                  </a:lnTo>
                  <a:lnTo>
                    <a:pt x="591" y="205"/>
                  </a:lnTo>
                  <a:lnTo>
                    <a:pt x="592" y="205"/>
                  </a:lnTo>
                  <a:lnTo>
                    <a:pt x="592" y="203"/>
                  </a:lnTo>
                  <a:lnTo>
                    <a:pt x="594" y="203"/>
                  </a:lnTo>
                  <a:lnTo>
                    <a:pt x="595" y="203"/>
                  </a:lnTo>
                  <a:lnTo>
                    <a:pt x="597" y="203"/>
                  </a:lnTo>
                  <a:lnTo>
                    <a:pt x="597" y="201"/>
                  </a:lnTo>
                  <a:lnTo>
                    <a:pt x="599" y="200"/>
                  </a:lnTo>
                  <a:lnTo>
                    <a:pt x="600" y="201"/>
                  </a:lnTo>
                  <a:lnTo>
                    <a:pt x="599" y="201"/>
                  </a:lnTo>
                  <a:lnTo>
                    <a:pt x="599" y="203"/>
                  </a:lnTo>
                  <a:close/>
                  <a:moveTo>
                    <a:pt x="561" y="188"/>
                  </a:moveTo>
                  <a:lnTo>
                    <a:pt x="561" y="190"/>
                  </a:lnTo>
                  <a:lnTo>
                    <a:pt x="561" y="188"/>
                  </a:lnTo>
                  <a:lnTo>
                    <a:pt x="561" y="190"/>
                  </a:lnTo>
                  <a:lnTo>
                    <a:pt x="561" y="192"/>
                  </a:lnTo>
                  <a:lnTo>
                    <a:pt x="560" y="192"/>
                  </a:lnTo>
                  <a:lnTo>
                    <a:pt x="558" y="192"/>
                  </a:lnTo>
                  <a:lnTo>
                    <a:pt x="558" y="193"/>
                  </a:lnTo>
                  <a:lnTo>
                    <a:pt x="560" y="192"/>
                  </a:lnTo>
                  <a:lnTo>
                    <a:pt x="560" y="193"/>
                  </a:lnTo>
                  <a:lnTo>
                    <a:pt x="561" y="193"/>
                  </a:lnTo>
                  <a:lnTo>
                    <a:pt x="561" y="195"/>
                  </a:lnTo>
                  <a:lnTo>
                    <a:pt x="563" y="195"/>
                  </a:lnTo>
                  <a:lnTo>
                    <a:pt x="563" y="196"/>
                  </a:lnTo>
                  <a:lnTo>
                    <a:pt x="565" y="195"/>
                  </a:lnTo>
                  <a:lnTo>
                    <a:pt x="565" y="196"/>
                  </a:lnTo>
                  <a:lnTo>
                    <a:pt x="565" y="198"/>
                  </a:lnTo>
                  <a:lnTo>
                    <a:pt x="565" y="196"/>
                  </a:lnTo>
                  <a:lnTo>
                    <a:pt x="565" y="198"/>
                  </a:lnTo>
                  <a:lnTo>
                    <a:pt x="565" y="200"/>
                  </a:lnTo>
                  <a:lnTo>
                    <a:pt x="565" y="201"/>
                  </a:lnTo>
                  <a:lnTo>
                    <a:pt x="566" y="200"/>
                  </a:lnTo>
                  <a:lnTo>
                    <a:pt x="566" y="201"/>
                  </a:lnTo>
                  <a:lnTo>
                    <a:pt x="568" y="205"/>
                  </a:lnTo>
                  <a:lnTo>
                    <a:pt x="566" y="205"/>
                  </a:lnTo>
                  <a:lnTo>
                    <a:pt x="566" y="203"/>
                  </a:lnTo>
                  <a:lnTo>
                    <a:pt x="565" y="205"/>
                  </a:lnTo>
                  <a:lnTo>
                    <a:pt x="565" y="206"/>
                  </a:lnTo>
                  <a:lnTo>
                    <a:pt x="563" y="206"/>
                  </a:lnTo>
                  <a:lnTo>
                    <a:pt x="563" y="205"/>
                  </a:lnTo>
                  <a:lnTo>
                    <a:pt x="565" y="205"/>
                  </a:lnTo>
                  <a:lnTo>
                    <a:pt x="565" y="203"/>
                  </a:lnTo>
                  <a:lnTo>
                    <a:pt x="565" y="201"/>
                  </a:lnTo>
                  <a:lnTo>
                    <a:pt x="565" y="203"/>
                  </a:lnTo>
                  <a:lnTo>
                    <a:pt x="563" y="203"/>
                  </a:lnTo>
                  <a:lnTo>
                    <a:pt x="565" y="201"/>
                  </a:lnTo>
                  <a:lnTo>
                    <a:pt x="563" y="200"/>
                  </a:lnTo>
                  <a:lnTo>
                    <a:pt x="563" y="198"/>
                  </a:lnTo>
                  <a:lnTo>
                    <a:pt x="561" y="198"/>
                  </a:lnTo>
                  <a:lnTo>
                    <a:pt x="561" y="196"/>
                  </a:lnTo>
                  <a:lnTo>
                    <a:pt x="560" y="196"/>
                  </a:lnTo>
                  <a:lnTo>
                    <a:pt x="560" y="198"/>
                  </a:lnTo>
                  <a:lnTo>
                    <a:pt x="560" y="200"/>
                  </a:lnTo>
                  <a:lnTo>
                    <a:pt x="558" y="200"/>
                  </a:lnTo>
                  <a:lnTo>
                    <a:pt x="556" y="200"/>
                  </a:lnTo>
                  <a:lnTo>
                    <a:pt x="556" y="198"/>
                  </a:lnTo>
                  <a:lnTo>
                    <a:pt x="555" y="198"/>
                  </a:lnTo>
                  <a:lnTo>
                    <a:pt x="555" y="196"/>
                  </a:lnTo>
                  <a:lnTo>
                    <a:pt x="555" y="195"/>
                  </a:lnTo>
                  <a:lnTo>
                    <a:pt x="555" y="193"/>
                  </a:lnTo>
                  <a:lnTo>
                    <a:pt x="555" y="192"/>
                  </a:lnTo>
                  <a:lnTo>
                    <a:pt x="553" y="192"/>
                  </a:lnTo>
                  <a:lnTo>
                    <a:pt x="553" y="190"/>
                  </a:lnTo>
                  <a:lnTo>
                    <a:pt x="553" y="188"/>
                  </a:lnTo>
                  <a:lnTo>
                    <a:pt x="555" y="190"/>
                  </a:lnTo>
                  <a:lnTo>
                    <a:pt x="556" y="190"/>
                  </a:lnTo>
                  <a:lnTo>
                    <a:pt x="558" y="190"/>
                  </a:lnTo>
                  <a:lnTo>
                    <a:pt x="560" y="190"/>
                  </a:lnTo>
                  <a:lnTo>
                    <a:pt x="560" y="188"/>
                  </a:lnTo>
                  <a:lnTo>
                    <a:pt x="560" y="187"/>
                  </a:lnTo>
                  <a:lnTo>
                    <a:pt x="561" y="187"/>
                  </a:lnTo>
                  <a:lnTo>
                    <a:pt x="563" y="187"/>
                  </a:lnTo>
                  <a:lnTo>
                    <a:pt x="561" y="187"/>
                  </a:lnTo>
                  <a:lnTo>
                    <a:pt x="563" y="187"/>
                  </a:lnTo>
                  <a:lnTo>
                    <a:pt x="563" y="188"/>
                  </a:lnTo>
                  <a:lnTo>
                    <a:pt x="561" y="188"/>
                  </a:lnTo>
                  <a:close/>
                  <a:moveTo>
                    <a:pt x="547" y="209"/>
                  </a:moveTo>
                  <a:lnTo>
                    <a:pt x="547" y="208"/>
                  </a:lnTo>
                  <a:lnTo>
                    <a:pt x="548" y="208"/>
                  </a:lnTo>
                  <a:lnTo>
                    <a:pt x="550" y="208"/>
                  </a:lnTo>
                  <a:lnTo>
                    <a:pt x="552" y="208"/>
                  </a:lnTo>
                  <a:lnTo>
                    <a:pt x="550" y="209"/>
                  </a:lnTo>
                  <a:lnTo>
                    <a:pt x="552" y="211"/>
                  </a:lnTo>
                  <a:lnTo>
                    <a:pt x="553" y="211"/>
                  </a:lnTo>
                  <a:lnTo>
                    <a:pt x="555" y="211"/>
                  </a:lnTo>
                  <a:lnTo>
                    <a:pt x="556" y="211"/>
                  </a:lnTo>
                  <a:lnTo>
                    <a:pt x="556" y="213"/>
                  </a:lnTo>
                  <a:lnTo>
                    <a:pt x="555" y="214"/>
                  </a:lnTo>
                  <a:lnTo>
                    <a:pt x="555" y="216"/>
                  </a:lnTo>
                  <a:lnTo>
                    <a:pt x="555" y="218"/>
                  </a:lnTo>
                  <a:lnTo>
                    <a:pt x="553" y="219"/>
                  </a:lnTo>
                  <a:lnTo>
                    <a:pt x="550" y="219"/>
                  </a:lnTo>
                  <a:lnTo>
                    <a:pt x="550" y="218"/>
                  </a:lnTo>
                  <a:lnTo>
                    <a:pt x="548" y="218"/>
                  </a:lnTo>
                  <a:lnTo>
                    <a:pt x="547" y="216"/>
                  </a:lnTo>
                  <a:lnTo>
                    <a:pt x="547" y="214"/>
                  </a:lnTo>
                  <a:lnTo>
                    <a:pt x="545" y="214"/>
                  </a:lnTo>
                  <a:lnTo>
                    <a:pt x="547" y="214"/>
                  </a:lnTo>
                  <a:lnTo>
                    <a:pt x="547" y="213"/>
                  </a:lnTo>
                  <a:lnTo>
                    <a:pt x="545" y="213"/>
                  </a:lnTo>
                  <a:lnTo>
                    <a:pt x="545" y="211"/>
                  </a:lnTo>
                  <a:lnTo>
                    <a:pt x="547" y="209"/>
                  </a:lnTo>
                  <a:close/>
                  <a:moveTo>
                    <a:pt x="742" y="32"/>
                  </a:moveTo>
                  <a:lnTo>
                    <a:pt x="743" y="32"/>
                  </a:lnTo>
                  <a:lnTo>
                    <a:pt x="745" y="34"/>
                  </a:lnTo>
                  <a:lnTo>
                    <a:pt x="745" y="32"/>
                  </a:lnTo>
                  <a:lnTo>
                    <a:pt x="745" y="34"/>
                  </a:lnTo>
                  <a:lnTo>
                    <a:pt x="745" y="35"/>
                  </a:lnTo>
                  <a:lnTo>
                    <a:pt x="745" y="37"/>
                  </a:lnTo>
                  <a:lnTo>
                    <a:pt x="747" y="37"/>
                  </a:lnTo>
                  <a:lnTo>
                    <a:pt x="747" y="35"/>
                  </a:lnTo>
                  <a:lnTo>
                    <a:pt x="748" y="35"/>
                  </a:lnTo>
                  <a:lnTo>
                    <a:pt x="748" y="37"/>
                  </a:lnTo>
                  <a:lnTo>
                    <a:pt x="748" y="39"/>
                  </a:lnTo>
                  <a:lnTo>
                    <a:pt x="747" y="39"/>
                  </a:lnTo>
                  <a:lnTo>
                    <a:pt x="747" y="40"/>
                  </a:lnTo>
                  <a:lnTo>
                    <a:pt x="747" y="42"/>
                  </a:lnTo>
                  <a:lnTo>
                    <a:pt x="745" y="42"/>
                  </a:lnTo>
                  <a:lnTo>
                    <a:pt x="745" y="40"/>
                  </a:lnTo>
                  <a:lnTo>
                    <a:pt x="743" y="40"/>
                  </a:lnTo>
                  <a:lnTo>
                    <a:pt x="743" y="39"/>
                  </a:lnTo>
                  <a:lnTo>
                    <a:pt x="742" y="39"/>
                  </a:lnTo>
                  <a:lnTo>
                    <a:pt x="742" y="37"/>
                  </a:lnTo>
                  <a:lnTo>
                    <a:pt x="740" y="37"/>
                  </a:lnTo>
                  <a:lnTo>
                    <a:pt x="739" y="39"/>
                  </a:lnTo>
                  <a:lnTo>
                    <a:pt x="740" y="39"/>
                  </a:lnTo>
                  <a:lnTo>
                    <a:pt x="740" y="40"/>
                  </a:lnTo>
                  <a:lnTo>
                    <a:pt x="742" y="40"/>
                  </a:lnTo>
                  <a:lnTo>
                    <a:pt x="742" y="42"/>
                  </a:lnTo>
                  <a:lnTo>
                    <a:pt x="740" y="42"/>
                  </a:lnTo>
                  <a:lnTo>
                    <a:pt x="740" y="40"/>
                  </a:lnTo>
                  <a:lnTo>
                    <a:pt x="740" y="42"/>
                  </a:lnTo>
                  <a:lnTo>
                    <a:pt x="739" y="42"/>
                  </a:lnTo>
                  <a:lnTo>
                    <a:pt x="739" y="40"/>
                  </a:lnTo>
                  <a:lnTo>
                    <a:pt x="739" y="39"/>
                  </a:lnTo>
                  <a:lnTo>
                    <a:pt x="737" y="37"/>
                  </a:lnTo>
                  <a:lnTo>
                    <a:pt x="737" y="35"/>
                  </a:lnTo>
                  <a:lnTo>
                    <a:pt x="737" y="34"/>
                  </a:lnTo>
                  <a:lnTo>
                    <a:pt x="737" y="32"/>
                  </a:lnTo>
                  <a:lnTo>
                    <a:pt x="739" y="32"/>
                  </a:lnTo>
                  <a:lnTo>
                    <a:pt x="740" y="32"/>
                  </a:lnTo>
                  <a:lnTo>
                    <a:pt x="740" y="34"/>
                  </a:lnTo>
                  <a:lnTo>
                    <a:pt x="742" y="32"/>
                  </a:lnTo>
                  <a:close/>
                  <a:moveTo>
                    <a:pt x="226" y="592"/>
                  </a:moveTo>
                  <a:lnTo>
                    <a:pt x="226" y="593"/>
                  </a:lnTo>
                  <a:lnTo>
                    <a:pt x="225" y="593"/>
                  </a:lnTo>
                  <a:lnTo>
                    <a:pt x="225" y="595"/>
                  </a:lnTo>
                  <a:lnTo>
                    <a:pt x="223" y="595"/>
                  </a:lnTo>
                  <a:lnTo>
                    <a:pt x="223" y="597"/>
                  </a:lnTo>
                  <a:lnTo>
                    <a:pt x="223" y="598"/>
                  </a:lnTo>
                  <a:lnTo>
                    <a:pt x="221" y="598"/>
                  </a:lnTo>
                  <a:lnTo>
                    <a:pt x="220" y="598"/>
                  </a:lnTo>
                  <a:lnTo>
                    <a:pt x="220" y="600"/>
                  </a:lnTo>
                  <a:lnTo>
                    <a:pt x="220" y="601"/>
                  </a:lnTo>
                  <a:lnTo>
                    <a:pt x="220" y="603"/>
                  </a:lnTo>
                  <a:lnTo>
                    <a:pt x="218" y="603"/>
                  </a:lnTo>
                  <a:lnTo>
                    <a:pt x="218" y="605"/>
                  </a:lnTo>
                  <a:lnTo>
                    <a:pt x="216" y="605"/>
                  </a:lnTo>
                  <a:lnTo>
                    <a:pt x="216" y="603"/>
                  </a:lnTo>
                  <a:lnTo>
                    <a:pt x="215" y="603"/>
                  </a:lnTo>
                  <a:lnTo>
                    <a:pt x="213" y="603"/>
                  </a:lnTo>
                  <a:lnTo>
                    <a:pt x="215" y="601"/>
                  </a:lnTo>
                  <a:lnTo>
                    <a:pt x="213" y="601"/>
                  </a:lnTo>
                  <a:lnTo>
                    <a:pt x="212" y="603"/>
                  </a:lnTo>
                  <a:lnTo>
                    <a:pt x="212" y="601"/>
                  </a:lnTo>
                  <a:lnTo>
                    <a:pt x="213" y="601"/>
                  </a:lnTo>
                  <a:lnTo>
                    <a:pt x="215" y="600"/>
                  </a:lnTo>
                  <a:lnTo>
                    <a:pt x="213" y="600"/>
                  </a:lnTo>
                  <a:lnTo>
                    <a:pt x="215" y="600"/>
                  </a:lnTo>
                  <a:lnTo>
                    <a:pt x="215" y="598"/>
                  </a:lnTo>
                  <a:lnTo>
                    <a:pt x="213" y="598"/>
                  </a:lnTo>
                  <a:lnTo>
                    <a:pt x="215" y="598"/>
                  </a:lnTo>
                  <a:lnTo>
                    <a:pt x="216" y="598"/>
                  </a:lnTo>
                  <a:lnTo>
                    <a:pt x="215" y="597"/>
                  </a:lnTo>
                  <a:lnTo>
                    <a:pt x="216" y="595"/>
                  </a:lnTo>
                  <a:lnTo>
                    <a:pt x="218" y="595"/>
                  </a:lnTo>
                  <a:lnTo>
                    <a:pt x="220" y="593"/>
                  </a:lnTo>
                  <a:lnTo>
                    <a:pt x="221" y="593"/>
                  </a:lnTo>
                  <a:lnTo>
                    <a:pt x="221" y="595"/>
                  </a:lnTo>
                  <a:lnTo>
                    <a:pt x="221" y="593"/>
                  </a:lnTo>
                  <a:lnTo>
                    <a:pt x="223" y="593"/>
                  </a:lnTo>
                  <a:lnTo>
                    <a:pt x="221" y="593"/>
                  </a:lnTo>
                  <a:lnTo>
                    <a:pt x="223" y="592"/>
                  </a:lnTo>
                  <a:lnTo>
                    <a:pt x="225" y="592"/>
                  </a:lnTo>
                  <a:lnTo>
                    <a:pt x="225" y="590"/>
                  </a:lnTo>
                  <a:lnTo>
                    <a:pt x="225" y="592"/>
                  </a:lnTo>
                  <a:lnTo>
                    <a:pt x="226" y="592"/>
                  </a:lnTo>
                  <a:close/>
                  <a:moveTo>
                    <a:pt x="578" y="219"/>
                  </a:moveTo>
                  <a:lnTo>
                    <a:pt x="579" y="219"/>
                  </a:lnTo>
                  <a:lnTo>
                    <a:pt x="581" y="219"/>
                  </a:lnTo>
                  <a:lnTo>
                    <a:pt x="581" y="221"/>
                  </a:lnTo>
                  <a:lnTo>
                    <a:pt x="579" y="219"/>
                  </a:lnTo>
                  <a:lnTo>
                    <a:pt x="579" y="221"/>
                  </a:lnTo>
                  <a:lnTo>
                    <a:pt x="581" y="221"/>
                  </a:lnTo>
                  <a:lnTo>
                    <a:pt x="579" y="221"/>
                  </a:lnTo>
                  <a:lnTo>
                    <a:pt x="581" y="221"/>
                  </a:lnTo>
                  <a:lnTo>
                    <a:pt x="581" y="222"/>
                  </a:lnTo>
                  <a:lnTo>
                    <a:pt x="581" y="221"/>
                  </a:lnTo>
                  <a:lnTo>
                    <a:pt x="581" y="222"/>
                  </a:lnTo>
                  <a:lnTo>
                    <a:pt x="582" y="222"/>
                  </a:lnTo>
                  <a:lnTo>
                    <a:pt x="584" y="222"/>
                  </a:lnTo>
                  <a:lnTo>
                    <a:pt x="582" y="222"/>
                  </a:lnTo>
                  <a:lnTo>
                    <a:pt x="581" y="222"/>
                  </a:lnTo>
                  <a:lnTo>
                    <a:pt x="581" y="224"/>
                  </a:lnTo>
                  <a:lnTo>
                    <a:pt x="581" y="226"/>
                  </a:lnTo>
                  <a:lnTo>
                    <a:pt x="582" y="226"/>
                  </a:lnTo>
                  <a:lnTo>
                    <a:pt x="584" y="226"/>
                  </a:lnTo>
                  <a:lnTo>
                    <a:pt x="586" y="226"/>
                  </a:lnTo>
                  <a:lnTo>
                    <a:pt x="584" y="227"/>
                  </a:lnTo>
                  <a:lnTo>
                    <a:pt x="584" y="229"/>
                  </a:lnTo>
                  <a:lnTo>
                    <a:pt x="586" y="229"/>
                  </a:lnTo>
                  <a:lnTo>
                    <a:pt x="586" y="231"/>
                  </a:lnTo>
                  <a:lnTo>
                    <a:pt x="584" y="231"/>
                  </a:lnTo>
                  <a:lnTo>
                    <a:pt x="584" y="232"/>
                  </a:lnTo>
                  <a:lnTo>
                    <a:pt x="586" y="232"/>
                  </a:lnTo>
                  <a:lnTo>
                    <a:pt x="584" y="232"/>
                  </a:lnTo>
                  <a:lnTo>
                    <a:pt x="584" y="231"/>
                  </a:lnTo>
                  <a:lnTo>
                    <a:pt x="582" y="231"/>
                  </a:lnTo>
                  <a:lnTo>
                    <a:pt x="581" y="232"/>
                  </a:lnTo>
                  <a:lnTo>
                    <a:pt x="581" y="231"/>
                  </a:lnTo>
                  <a:lnTo>
                    <a:pt x="581" y="232"/>
                  </a:lnTo>
                  <a:lnTo>
                    <a:pt x="579" y="232"/>
                  </a:lnTo>
                  <a:lnTo>
                    <a:pt x="579" y="231"/>
                  </a:lnTo>
                  <a:lnTo>
                    <a:pt x="581" y="229"/>
                  </a:lnTo>
                  <a:lnTo>
                    <a:pt x="579" y="227"/>
                  </a:lnTo>
                  <a:lnTo>
                    <a:pt x="576" y="227"/>
                  </a:lnTo>
                  <a:lnTo>
                    <a:pt x="578" y="227"/>
                  </a:lnTo>
                  <a:lnTo>
                    <a:pt x="578" y="229"/>
                  </a:lnTo>
                  <a:lnTo>
                    <a:pt x="576" y="231"/>
                  </a:lnTo>
                  <a:lnTo>
                    <a:pt x="578" y="231"/>
                  </a:lnTo>
                  <a:lnTo>
                    <a:pt x="576" y="231"/>
                  </a:lnTo>
                  <a:lnTo>
                    <a:pt x="574" y="231"/>
                  </a:lnTo>
                  <a:lnTo>
                    <a:pt x="574" y="229"/>
                  </a:lnTo>
                  <a:lnTo>
                    <a:pt x="574" y="227"/>
                  </a:lnTo>
                  <a:lnTo>
                    <a:pt x="576" y="227"/>
                  </a:lnTo>
                  <a:lnTo>
                    <a:pt x="576" y="226"/>
                  </a:lnTo>
                  <a:lnTo>
                    <a:pt x="578" y="226"/>
                  </a:lnTo>
                  <a:lnTo>
                    <a:pt x="579" y="226"/>
                  </a:lnTo>
                  <a:lnTo>
                    <a:pt x="579" y="224"/>
                  </a:lnTo>
                  <a:lnTo>
                    <a:pt x="579" y="222"/>
                  </a:lnTo>
                  <a:lnTo>
                    <a:pt x="578" y="222"/>
                  </a:lnTo>
                  <a:lnTo>
                    <a:pt x="578" y="221"/>
                  </a:lnTo>
                  <a:lnTo>
                    <a:pt x="576" y="219"/>
                  </a:lnTo>
                  <a:lnTo>
                    <a:pt x="578" y="219"/>
                  </a:lnTo>
                  <a:close/>
                  <a:moveTo>
                    <a:pt x="260" y="1011"/>
                  </a:moveTo>
                  <a:lnTo>
                    <a:pt x="259" y="1013"/>
                  </a:lnTo>
                  <a:lnTo>
                    <a:pt x="260" y="1013"/>
                  </a:lnTo>
                  <a:lnTo>
                    <a:pt x="262" y="1013"/>
                  </a:lnTo>
                  <a:lnTo>
                    <a:pt x="260" y="1015"/>
                  </a:lnTo>
                  <a:lnTo>
                    <a:pt x="262" y="1015"/>
                  </a:lnTo>
                  <a:lnTo>
                    <a:pt x="260" y="1015"/>
                  </a:lnTo>
                  <a:lnTo>
                    <a:pt x="262" y="1015"/>
                  </a:lnTo>
                  <a:lnTo>
                    <a:pt x="262" y="1016"/>
                  </a:lnTo>
                  <a:lnTo>
                    <a:pt x="264" y="1016"/>
                  </a:lnTo>
                  <a:lnTo>
                    <a:pt x="264" y="1018"/>
                  </a:lnTo>
                  <a:lnTo>
                    <a:pt x="262" y="1018"/>
                  </a:lnTo>
                  <a:lnTo>
                    <a:pt x="262" y="1019"/>
                  </a:lnTo>
                  <a:lnTo>
                    <a:pt x="264" y="1019"/>
                  </a:lnTo>
                  <a:lnTo>
                    <a:pt x="264" y="1021"/>
                  </a:lnTo>
                  <a:lnTo>
                    <a:pt x="265" y="1023"/>
                  </a:lnTo>
                  <a:lnTo>
                    <a:pt x="264" y="1023"/>
                  </a:lnTo>
                  <a:lnTo>
                    <a:pt x="265" y="1023"/>
                  </a:lnTo>
                  <a:lnTo>
                    <a:pt x="265" y="1024"/>
                  </a:lnTo>
                  <a:lnTo>
                    <a:pt x="264" y="1024"/>
                  </a:lnTo>
                  <a:lnTo>
                    <a:pt x="265" y="1024"/>
                  </a:lnTo>
                  <a:lnTo>
                    <a:pt x="264" y="1024"/>
                  </a:lnTo>
                  <a:lnTo>
                    <a:pt x="265" y="1024"/>
                  </a:lnTo>
                  <a:lnTo>
                    <a:pt x="264" y="1024"/>
                  </a:lnTo>
                  <a:lnTo>
                    <a:pt x="262" y="1024"/>
                  </a:lnTo>
                  <a:lnTo>
                    <a:pt x="262" y="1026"/>
                  </a:lnTo>
                  <a:lnTo>
                    <a:pt x="262" y="1024"/>
                  </a:lnTo>
                  <a:lnTo>
                    <a:pt x="260" y="1024"/>
                  </a:lnTo>
                  <a:lnTo>
                    <a:pt x="260" y="1023"/>
                  </a:lnTo>
                  <a:lnTo>
                    <a:pt x="260" y="1021"/>
                  </a:lnTo>
                  <a:lnTo>
                    <a:pt x="259" y="1021"/>
                  </a:lnTo>
                  <a:lnTo>
                    <a:pt x="260" y="1021"/>
                  </a:lnTo>
                  <a:lnTo>
                    <a:pt x="259" y="1021"/>
                  </a:lnTo>
                  <a:lnTo>
                    <a:pt x="260" y="1019"/>
                  </a:lnTo>
                  <a:lnTo>
                    <a:pt x="259" y="1018"/>
                  </a:lnTo>
                  <a:lnTo>
                    <a:pt x="257" y="1018"/>
                  </a:lnTo>
                  <a:lnTo>
                    <a:pt x="256" y="1018"/>
                  </a:lnTo>
                  <a:lnTo>
                    <a:pt x="256" y="1016"/>
                  </a:lnTo>
                  <a:lnTo>
                    <a:pt x="256" y="1015"/>
                  </a:lnTo>
                  <a:lnTo>
                    <a:pt x="254" y="1013"/>
                  </a:lnTo>
                  <a:lnTo>
                    <a:pt x="256" y="1013"/>
                  </a:lnTo>
                  <a:lnTo>
                    <a:pt x="256" y="1011"/>
                  </a:lnTo>
                  <a:lnTo>
                    <a:pt x="257" y="1011"/>
                  </a:lnTo>
                  <a:lnTo>
                    <a:pt x="257" y="1013"/>
                  </a:lnTo>
                  <a:lnTo>
                    <a:pt x="259" y="1011"/>
                  </a:lnTo>
                  <a:lnTo>
                    <a:pt x="259" y="1013"/>
                  </a:lnTo>
                  <a:lnTo>
                    <a:pt x="260" y="1011"/>
                  </a:lnTo>
                  <a:lnTo>
                    <a:pt x="262" y="1011"/>
                  </a:lnTo>
                  <a:lnTo>
                    <a:pt x="260" y="1013"/>
                  </a:lnTo>
                  <a:lnTo>
                    <a:pt x="260" y="1011"/>
                  </a:lnTo>
                  <a:close/>
                  <a:moveTo>
                    <a:pt x="573" y="208"/>
                  </a:moveTo>
                  <a:lnTo>
                    <a:pt x="574" y="209"/>
                  </a:lnTo>
                  <a:lnTo>
                    <a:pt x="573" y="211"/>
                  </a:lnTo>
                  <a:lnTo>
                    <a:pt x="573" y="213"/>
                  </a:lnTo>
                  <a:lnTo>
                    <a:pt x="571" y="214"/>
                  </a:lnTo>
                  <a:lnTo>
                    <a:pt x="571" y="216"/>
                  </a:lnTo>
                  <a:lnTo>
                    <a:pt x="571" y="218"/>
                  </a:lnTo>
                  <a:lnTo>
                    <a:pt x="573" y="218"/>
                  </a:lnTo>
                  <a:lnTo>
                    <a:pt x="573" y="219"/>
                  </a:lnTo>
                  <a:lnTo>
                    <a:pt x="571" y="221"/>
                  </a:lnTo>
                  <a:lnTo>
                    <a:pt x="569" y="219"/>
                  </a:lnTo>
                  <a:lnTo>
                    <a:pt x="569" y="221"/>
                  </a:lnTo>
                  <a:lnTo>
                    <a:pt x="568" y="221"/>
                  </a:lnTo>
                  <a:lnTo>
                    <a:pt x="568" y="219"/>
                  </a:lnTo>
                  <a:lnTo>
                    <a:pt x="568" y="218"/>
                  </a:lnTo>
                  <a:lnTo>
                    <a:pt x="568" y="216"/>
                  </a:lnTo>
                  <a:lnTo>
                    <a:pt x="566" y="214"/>
                  </a:lnTo>
                  <a:lnTo>
                    <a:pt x="566" y="216"/>
                  </a:lnTo>
                  <a:lnTo>
                    <a:pt x="566" y="214"/>
                  </a:lnTo>
                  <a:lnTo>
                    <a:pt x="566" y="213"/>
                  </a:lnTo>
                  <a:lnTo>
                    <a:pt x="566" y="211"/>
                  </a:lnTo>
                  <a:lnTo>
                    <a:pt x="568" y="211"/>
                  </a:lnTo>
                  <a:lnTo>
                    <a:pt x="568" y="213"/>
                  </a:lnTo>
                  <a:lnTo>
                    <a:pt x="569" y="214"/>
                  </a:lnTo>
                  <a:lnTo>
                    <a:pt x="569" y="213"/>
                  </a:lnTo>
                  <a:lnTo>
                    <a:pt x="571" y="213"/>
                  </a:lnTo>
                  <a:lnTo>
                    <a:pt x="571" y="211"/>
                  </a:lnTo>
                  <a:lnTo>
                    <a:pt x="569" y="209"/>
                  </a:lnTo>
                  <a:lnTo>
                    <a:pt x="571" y="208"/>
                  </a:lnTo>
                  <a:lnTo>
                    <a:pt x="571" y="206"/>
                  </a:lnTo>
                  <a:lnTo>
                    <a:pt x="573" y="205"/>
                  </a:lnTo>
                  <a:lnTo>
                    <a:pt x="573" y="206"/>
                  </a:lnTo>
                  <a:lnTo>
                    <a:pt x="573" y="208"/>
                  </a:lnTo>
                  <a:close/>
                  <a:moveTo>
                    <a:pt x="566" y="229"/>
                  </a:moveTo>
                  <a:lnTo>
                    <a:pt x="565" y="231"/>
                  </a:lnTo>
                  <a:lnTo>
                    <a:pt x="563" y="232"/>
                  </a:lnTo>
                  <a:lnTo>
                    <a:pt x="563" y="234"/>
                  </a:lnTo>
                  <a:lnTo>
                    <a:pt x="565" y="234"/>
                  </a:lnTo>
                  <a:lnTo>
                    <a:pt x="565" y="235"/>
                  </a:lnTo>
                  <a:lnTo>
                    <a:pt x="563" y="235"/>
                  </a:lnTo>
                  <a:lnTo>
                    <a:pt x="561" y="237"/>
                  </a:lnTo>
                  <a:lnTo>
                    <a:pt x="561" y="235"/>
                  </a:lnTo>
                  <a:lnTo>
                    <a:pt x="560" y="234"/>
                  </a:lnTo>
                  <a:lnTo>
                    <a:pt x="558" y="234"/>
                  </a:lnTo>
                  <a:lnTo>
                    <a:pt x="556" y="234"/>
                  </a:lnTo>
                  <a:lnTo>
                    <a:pt x="555" y="234"/>
                  </a:lnTo>
                  <a:lnTo>
                    <a:pt x="555" y="232"/>
                  </a:lnTo>
                  <a:lnTo>
                    <a:pt x="556" y="231"/>
                  </a:lnTo>
                  <a:lnTo>
                    <a:pt x="556" y="229"/>
                  </a:lnTo>
                  <a:lnTo>
                    <a:pt x="558" y="227"/>
                  </a:lnTo>
                  <a:lnTo>
                    <a:pt x="558" y="229"/>
                  </a:lnTo>
                  <a:lnTo>
                    <a:pt x="560" y="231"/>
                  </a:lnTo>
                  <a:lnTo>
                    <a:pt x="561" y="231"/>
                  </a:lnTo>
                  <a:lnTo>
                    <a:pt x="563" y="231"/>
                  </a:lnTo>
                  <a:lnTo>
                    <a:pt x="563" y="229"/>
                  </a:lnTo>
                  <a:lnTo>
                    <a:pt x="563" y="227"/>
                  </a:lnTo>
                  <a:lnTo>
                    <a:pt x="563" y="229"/>
                  </a:lnTo>
                  <a:lnTo>
                    <a:pt x="563" y="227"/>
                  </a:lnTo>
                  <a:lnTo>
                    <a:pt x="565" y="227"/>
                  </a:lnTo>
                  <a:lnTo>
                    <a:pt x="566" y="227"/>
                  </a:lnTo>
                  <a:lnTo>
                    <a:pt x="566" y="229"/>
                  </a:lnTo>
                  <a:close/>
                  <a:moveTo>
                    <a:pt x="717" y="92"/>
                  </a:moveTo>
                  <a:lnTo>
                    <a:pt x="717" y="94"/>
                  </a:lnTo>
                  <a:lnTo>
                    <a:pt x="717" y="96"/>
                  </a:lnTo>
                  <a:lnTo>
                    <a:pt x="717" y="97"/>
                  </a:lnTo>
                  <a:lnTo>
                    <a:pt x="717" y="96"/>
                  </a:lnTo>
                  <a:lnTo>
                    <a:pt x="717" y="97"/>
                  </a:lnTo>
                  <a:lnTo>
                    <a:pt x="719" y="96"/>
                  </a:lnTo>
                  <a:lnTo>
                    <a:pt x="719" y="97"/>
                  </a:lnTo>
                  <a:lnTo>
                    <a:pt x="717" y="99"/>
                  </a:lnTo>
                  <a:lnTo>
                    <a:pt x="717" y="100"/>
                  </a:lnTo>
                  <a:lnTo>
                    <a:pt x="716" y="102"/>
                  </a:lnTo>
                  <a:lnTo>
                    <a:pt x="716" y="104"/>
                  </a:lnTo>
                  <a:lnTo>
                    <a:pt x="716" y="105"/>
                  </a:lnTo>
                  <a:lnTo>
                    <a:pt x="716" y="104"/>
                  </a:lnTo>
                  <a:lnTo>
                    <a:pt x="714" y="104"/>
                  </a:lnTo>
                  <a:lnTo>
                    <a:pt x="713" y="102"/>
                  </a:lnTo>
                  <a:lnTo>
                    <a:pt x="713" y="100"/>
                  </a:lnTo>
                  <a:lnTo>
                    <a:pt x="713" y="99"/>
                  </a:lnTo>
                  <a:lnTo>
                    <a:pt x="714" y="99"/>
                  </a:lnTo>
                  <a:lnTo>
                    <a:pt x="714" y="97"/>
                  </a:lnTo>
                  <a:lnTo>
                    <a:pt x="713" y="97"/>
                  </a:lnTo>
                  <a:lnTo>
                    <a:pt x="713" y="96"/>
                  </a:lnTo>
                  <a:lnTo>
                    <a:pt x="713" y="94"/>
                  </a:lnTo>
                  <a:lnTo>
                    <a:pt x="713" y="92"/>
                  </a:lnTo>
                  <a:lnTo>
                    <a:pt x="714" y="92"/>
                  </a:lnTo>
                  <a:lnTo>
                    <a:pt x="714" y="94"/>
                  </a:lnTo>
                  <a:lnTo>
                    <a:pt x="714" y="92"/>
                  </a:lnTo>
                  <a:lnTo>
                    <a:pt x="716" y="94"/>
                  </a:lnTo>
                  <a:lnTo>
                    <a:pt x="717" y="96"/>
                  </a:lnTo>
                  <a:lnTo>
                    <a:pt x="717" y="94"/>
                  </a:lnTo>
                  <a:lnTo>
                    <a:pt x="716" y="94"/>
                  </a:lnTo>
                  <a:lnTo>
                    <a:pt x="716" y="92"/>
                  </a:lnTo>
                  <a:lnTo>
                    <a:pt x="717" y="92"/>
                  </a:lnTo>
                  <a:close/>
                  <a:moveTo>
                    <a:pt x="254" y="481"/>
                  </a:moveTo>
                  <a:lnTo>
                    <a:pt x="254" y="483"/>
                  </a:lnTo>
                  <a:lnTo>
                    <a:pt x="252" y="484"/>
                  </a:lnTo>
                  <a:lnTo>
                    <a:pt x="252" y="486"/>
                  </a:lnTo>
                  <a:lnTo>
                    <a:pt x="251" y="486"/>
                  </a:lnTo>
                  <a:lnTo>
                    <a:pt x="252" y="486"/>
                  </a:lnTo>
                  <a:lnTo>
                    <a:pt x="251" y="486"/>
                  </a:lnTo>
                  <a:lnTo>
                    <a:pt x="251" y="488"/>
                  </a:lnTo>
                  <a:lnTo>
                    <a:pt x="249" y="488"/>
                  </a:lnTo>
                  <a:lnTo>
                    <a:pt x="247" y="486"/>
                  </a:lnTo>
                  <a:lnTo>
                    <a:pt x="246" y="486"/>
                  </a:lnTo>
                  <a:lnTo>
                    <a:pt x="246" y="484"/>
                  </a:lnTo>
                  <a:lnTo>
                    <a:pt x="246" y="483"/>
                  </a:lnTo>
                  <a:lnTo>
                    <a:pt x="246" y="481"/>
                  </a:lnTo>
                  <a:lnTo>
                    <a:pt x="247" y="481"/>
                  </a:lnTo>
                  <a:lnTo>
                    <a:pt x="249" y="481"/>
                  </a:lnTo>
                  <a:lnTo>
                    <a:pt x="251" y="481"/>
                  </a:lnTo>
                  <a:lnTo>
                    <a:pt x="251" y="479"/>
                  </a:lnTo>
                  <a:lnTo>
                    <a:pt x="251" y="478"/>
                  </a:lnTo>
                  <a:lnTo>
                    <a:pt x="252" y="478"/>
                  </a:lnTo>
                  <a:lnTo>
                    <a:pt x="254" y="478"/>
                  </a:lnTo>
                  <a:lnTo>
                    <a:pt x="254" y="479"/>
                  </a:lnTo>
                  <a:lnTo>
                    <a:pt x="254" y="481"/>
                  </a:lnTo>
                  <a:close/>
                  <a:moveTo>
                    <a:pt x="275" y="426"/>
                  </a:moveTo>
                  <a:lnTo>
                    <a:pt x="277" y="426"/>
                  </a:lnTo>
                  <a:lnTo>
                    <a:pt x="277" y="427"/>
                  </a:lnTo>
                  <a:lnTo>
                    <a:pt x="278" y="427"/>
                  </a:lnTo>
                  <a:lnTo>
                    <a:pt x="280" y="427"/>
                  </a:lnTo>
                  <a:lnTo>
                    <a:pt x="282" y="431"/>
                  </a:lnTo>
                  <a:lnTo>
                    <a:pt x="282" y="432"/>
                  </a:lnTo>
                  <a:lnTo>
                    <a:pt x="280" y="432"/>
                  </a:lnTo>
                  <a:lnTo>
                    <a:pt x="280" y="434"/>
                  </a:lnTo>
                  <a:lnTo>
                    <a:pt x="278" y="434"/>
                  </a:lnTo>
                  <a:lnTo>
                    <a:pt x="277" y="434"/>
                  </a:lnTo>
                  <a:lnTo>
                    <a:pt x="275" y="434"/>
                  </a:lnTo>
                  <a:lnTo>
                    <a:pt x="275" y="432"/>
                  </a:lnTo>
                  <a:lnTo>
                    <a:pt x="273" y="431"/>
                  </a:lnTo>
                  <a:lnTo>
                    <a:pt x="275" y="431"/>
                  </a:lnTo>
                  <a:lnTo>
                    <a:pt x="273" y="429"/>
                  </a:lnTo>
                  <a:lnTo>
                    <a:pt x="273" y="427"/>
                  </a:lnTo>
                  <a:lnTo>
                    <a:pt x="275" y="427"/>
                  </a:lnTo>
                  <a:lnTo>
                    <a:pt x="275" y="426"/>
                  </a:lnTo>
                  <a:close/>
                  <a:moveTo>
                    <a:pt x="243" y="278"/>
                  </a:moveTo>
                  <a:lnTo>
                    <a:pt x="243" y="279"/>
                  </a:lnTo>
                  <a:lnTo>
                    <a:pt x="244" y="279"/>
                  </a:lnTo>
                  <a:lnTo>
                    <a:pt x="244" y="281"/>
                  </a:lnTo>
                  <a:lnTo>
                    <a:pt x="243" y="279"/>
                  </a:lnTo>
                  <a:lnTo>
                    <a:pt x="243" y="281"/>
                  </a:lnTo>
                  <a:lnTo>
                    <a:pt x="244" y="281"/>
                  </a:lnTo>
                  <a:lnTo>
                    <a:pt x="244" y="283"/>
                  </a:lnTo>
                  <a:lnTo>
                    <a:pt x="244" y="284"/>
                  </a:lnTo>
                  <a:lnTo>
                    <a:pt x="246" y="284"/>
                  </a:lnTo>
                  <a:lnTo>
                    <a:pt x="246" y="286"/>
                  </a:lnTo>
                  <a:lnTo>
                    <a:pt x="246" y="284"/>
                  </a:lnTo>
                  <a:lnTo>
                    <a:pt x="247" y="284"/>
                  </a:lnTo>
                  <a:lnTo>
                    <a:pt x="246" y="286"/>
                  </a:lnTo>
                  <a:lnTo>
                    <a:pt x="247" y="286"/>
                  </a:lnTo>
                  <a:lnTo>
                    <a:pt x="247" y="287"/>
                  </a:lnTo>
                  <a:lnTo>
                    <a:pt x="247" y="286"/>
                  </a:lnTo>
                  <a:lnTo>
                    <a:pt x="247" y="287"/>
                  </a:lnTo>
                  <a:lnTo>
                    <a:pt x="247" y="289"/>
                  </a:lnTo>
                  <a:lnTo>
                    <a:pt x="247" y="291"/>
                  </a:lnTo>
                  <a:lnTo>
                    <a:pt x="246" y="289"/>
                  </a:lnTo>
                  <a:lnTo>
                    <a:pt x="244" y="289"/>
                  </a:lnTo>
                  <a:lnTo>
                    <a:pt x="243" y="287"/>
                  </a:lnTo>
                  <a:lnTo>
                    <a:pt x="241" y="287"/>
                  </a:lnTo>
                  <a:lnTo>
                    <a:pt x="241" y="286"/>
                  </a:lnTo>
                  <a:lnTo>
                    <a:pt x="243" y="286"/>
                  </a:lnTo>
                  <a:lnTo>
                    <a:pt x="243" y="284"/>
                  </a:lnTo>
                  <a:lnTo>
                    <a:pt x="241" y="284"/>
                  </a:lnTo>
                  <a:lnTo>
                    <a:pt x="243" y="284"/>
                  </a:lnTo>
                  <a:lnTo>
                    <a:pt x="243" y="283"/>
                  </a:lnTo>
                  <a:lnTo>
                    <a:pt x="241" y="283"/>
                  </a:lnTo>
                  <a:lnTo>
                    <a:pt x="241" y="281"/>
                  </a:lnTo>
                  <a:lnTo>
                    <a:pt x="241" y="279"/>
                  </a:lnTo>
                  <a:lnTo>
                    <a:pt x="243" y="279"/>
                  </a:lnTo>
                  <a:lnTo>
                    <a:pt x="243" y="281"/>
                  </a:lnTo>
                  <a:lnTo>
                    <a:pt x="243" y="279"/>
                  </a:lnTo>
                  <a:lnTo>
                    <a:pt x="243" y="278"/>
                  </a:lnTo>
                  <a:close/>
                  <a:moveTo>
                    <a:pt x="293" y="544"/>
                  </a:moveTo>
                  <a:lnTo>
                    <a:pt x="295" y="543"/>
                  </a:lnTo>
                  <a:lnTo>
                    <a:pt x="295" y="544"/>
                  </a:lnTo>
                  <a:lnTo>
                    <a:pt x="293" y="544"/>
                  </a:lnTo>
                  <a:lnTo>
                    <a:pt x="293" y="546"/>
                  </a:lnTo>
                  <a:lnTo>
                    <a:pt x="291" y="546"/>
                  </a:lnTo>
                  <a:lnTo>
                    <a:pt x="291" y="548"/>
                  </a:lnTo>
                  <a:lnTo>
                    <a:pt x="290" y="548"/>
                  </a:lnTo>
                  <a:lnTo>
                    <a:pt x="288" y="549"/>
                  </a:lnTo>
                  <a:lnTo>
                    <a:pt x="286" y="551"/>
                  </a:lnTo>
                  <a:lnTo>
                    <a:pt x="285" y="551"/>
                  </a:lnTo>
                  <a:lnTo>
                    <a:pt x="283" y="553"/>
                  </a:lnTo>
                  <a:lnTo>
                    <a:pt x="282" y="554"/>
                  </a:lnTo>
                  <a:lnTo>
                    <a:pt x="280" y="554"/>
                  </a:lnTo>
                  <a:lnTo>
                    <a:pt x="278" y="554"/>
                  </a:lnTo>
                  <a:lnTo>
                    <a:pt x="280" y="553"/>
                  </a:lnTo>
                  <a:lnTo>
                    <a:pt x="282" y="553"/>
                  </a:lnTo>
                  <a:lnTo>
                    <a:pt x="282" y="551"/>
                  </a:lnTo>
                  <a:lnTo>
                    <a:pt x="282" y="549"/>
                  </a:lnTo>
                  <a:lnTo>
                    <a:pt x="280" y="551"/>
                  </a:lnTo>
                  <a:lnTo>
                    <a:pt x="280" y="549"/>
                  </a:lnTo>
                  <a:lnTo>
                    <a:pt x="282" y="549"/>
                  </a:lnTo>
                  <a:lnTo>
                    <a:pt x="283" y="549"/>
                  </a:lnTo>
                  <a:lnTo>
                    <a:pt x="285" y="549"/>
                  </a:lnTo>
                  <a:lnTo>
                    <a:pt x="285" y="548"/>
                  </a:lnTo>
                  <a:lnTo>
                    <a:pt x="286" y="548"/>
                  </a:lnTo>
                  <a:lnTo>
                    <a:pt x="288" y="546"/>
                  </a:lnTo>
                  <a:lnTo>
                    <a:pt x="290" y="546"/>
                  </a:lnTo>
                  <a:lnTo>
                    <a:pt x="290" y="544"/>
                  </a:lnTo>
                  <a:lnTo>
                    <a:pt x="291" y="544"/>
                  </a:lnTo>
                  <a:lnTo>
                    <a:pt x="291" y="543"/>
                  </a:lnTo>
                  <a:lnTo>
                    <a:pt x="291" y="544"/>
                  </a:lnTo>
                  <a:lnTo>
                    <a:pt x="293" y="544"/>
                  </a:lnTo>
                  <a:close/>
                  <a:moveTo>
                    <a:pt x="734" y="66"/>
                  </a:moveTo>
                  <a:lnTo>
                    <a:pt x="732" y="68"/>
                  </a:lnTo>
                  <a:lnTo>
                    <a:pt x="730" y="70"/>
                  </a:lnTo>
                  <a:lnTo>
                    <a:pt x="730" y="71"/>
                  </a:lnTo>
                  <a:lnTo>
                    <a:pt x="729" y="71"/>
                  </a:lnTo>
                  <a:lnTo>
                    <a:pt x="727" y="73"/>
                  </a:lnTo>
                  <a:lnTo>
                    <a:pt x="727" y="74"/>
                  </a:lnTo>
                  <a:lnTo>
                    <a:pt x="726" y="73"/>
                  </a:lnTo>
                  <a:lnTo>
                    <a:pt x="726" y="74"/>
                  </a:lnTo>
                  <a:lnTo>
                    <a:pt x="726" y="73"/>
                  </a:lnTo>
                  <a:lnTo>
                    <a:pt x="724" y="73"/>
                  </a:lnTo>
                  <a:lnTo>
                    <a:pt x="724" y="71"/>
                  </a:lnTo>
                  <a:lnTo>
                    <a:pt x="726" y="71"/>
                  </a:lnTo>
                  <a:lnTo>
                    <a:pt x="726" y="70"/>
                  </a:lnTo>
                  <a:lnTo>
                    <a:pt x="727" y="68"/>
                  </a:lnTo>
                  <a:lnTo>
                    <a:pt x="729" y="68"/>
                  </a:lnTo>
                  <a:lnTo>
                    <a:pt x="729" y="66"/>
                  </a:lnTo>
                  <a:lnTo>
                    <a:pt x="730" y="66"/>
                  </a:lnTo>
                  <a:lnTo>
                    <a:pt x="732" y="68"/>
                  </a:lnTo>
                  <a:lnTo>
                    <a:pt x="732" y="66"/>
                  </a:lnTo>
                  <a:lnTo>
                    <a:pt x="734" y="66"/>
                  </a:lnTo>
                  <a:close/>
                  <a:moveTo>
                    <a:pt x="696" y="60"/>
                  </a:moveTo>
                  <a:lnTo>
                    <a:pt x="698" y="60"/>
                  </a:lnTo>
                  <a:lnTo>
                    <a:pt x="698" y="61"/>
                  </a:lnTo>
                  <a:lnTo>
                    <a:pt x="700" y="63"/>
                  </a:lnTo>
                  <a:lnTo>
                    <a:pt x="700" y="65"/>
                  </a:lnTo>
                  <a:lnTo>
                    <a:pt x="698" y="66"/>
                  </a:lnTo>
                  <a:lnTo>
                    <a:pt x="696" y="66"/>
                  </a:lnTo>
                  <a:lnTo>
                    <a:pt x="695" y="66"/>
                  </a:lnTo>
                  <a:lnTo>
                    <a:pt x="695" y="65"/>
                  </a:lnTo>
                  <a:lnTo>
                    <a:pt x="693" y="63"/>
                  </a:lnTo>
                  <a:lnTo>
                    <a:pt x="695" y="63"/>
                  </a:lnTo>
                  <a:lnTo>
                    <a:pt x="693" y="61"/>
                  </a:lnTo>
                  <a:lnTo>
                    <a:pt x="695" y="61"/>
                  </a:lnTo>
                  <a:lnTo>
                    <a:pt x="693" y="61"/>
                  </a:lnTo>
                  <a:lnTo>
                    <a:pt x="695" y="61"/>
                  </a:lnTo>
                  <a:lnTo>
                    <a:pt x="696" y="61"/>
                  </a:lnTo>
                  <a:lnTo>
                    <a:pt x="695" y="61"/>
                  </a:lnTo>
                  <a:lnTo>
                    <a:pt x="696" y="60"/>
                  </a:lnTo>
                  <a:close/>
                  <a:moveTo>
                    <a:pt x="700" y="99"/>
                  </a:moveTo>
                  <a:lnTo>
                    <a:pt x="701" y="99"/>
                  </a:lnTo>
                  <a:lnTo>
                    <a:pt x="701" y="100"/>
                  </a:lnTo>
                  <a:lnTo>
                    <a:pt x="701" y="102"/>
                  </a:lnTo>
                  <a:lnTo>
                    <a:pt x="700" y="102"/>
                  </a:lnTo>
                  <a:lnTo>
                    <a:pt x="700" y="104"/>
                  </a:lnTo>
                  <a:lnTo>
                    <a:pt x="698" y="107"/>
                  </a:lnTo>
                  <a:lnTo>
                    <a:pt x="696" y="107"/>
                  </a:lnTo>
                  <a:lnTo>
                    <a:pt x="696" y="109"/>
                  </a:lnTo>
                  <a:lnTo>
                    <a:pt x="696" y="110"/>
                  </a:lnTo>
                  <a:lnTo>
                    <a:pt x="695" y="110"/>
                  </a:lnTo>
                  <a:lnTo>
                    <a:pt x="696" y="109"/>
                  </a:lnTo>
                  <a:lnTo>
                    <a:pt x="696" y="107"/>
                  </a:lnTo>
                  <a:lnTo>
                    <a:pt x="696" y="105"/>
                  </a:lnTo>
                  <a:lnTo>
                    <a:pt x="696" y="107"/>
                  </a:lnTo>
                  <a:lnTo>
                    <a:pt x="695" y="109"/>
                  </a:lnTo>
                  <a:lnTo>
                    <a:pt x="695" y="110"/>
                  </a:lnTo>
                  <a:lnTo>
                    <a:pt x="693" y="110"/>
                  </a:lnTo>
                  <a:lnTo>
                    <a:pt x="693" y="109"/>
                  </a:lnTo>
                  <a:lnTo>
                    <a:pt x="695" y="109"/>
                  </a:lnTo>
                  <a:lnTo>
                    <a:pt x="695" y="107"/>
                  </a:lnTo>
                  <a:lnTo>
                    <a:pt x="695" y="109"/>
                  </a:lnTo>
                  <a:lnTo>
                    <a:pt x="695" y="107"/>
                  </a:lnTo>
                  <a:lnTo>
                    <a:pt x="695" y="105"/>
                  </a:lnTo>
                  <a:lnTo>
                    <a:pt x="696" y="105"/>
                  </a:lnTo>
                  <a:lnTo>
                    <a:pt x="696" y="104"/>
                  </a:lnTo>
                  <a:lnTo>
                    <a:pt x="698" y="104"/>
                  </a:lnTo>
                  <a:lnTo>
                    <a:pt x="696" y="102"/>
                  </a:lnTo>
                  <a:lnTo>
                    <a:pt x="698" y="102"/>
                  </a:lnTo>
                  <a:lnTo>
                    <a:pt x="696" y="102"/>
                  </a:lnTo>
                  <a:lnTo>
                    <a:pt x="698" y="102"/>
                  </a:lnTo>
                  <a:lnTo>
                    <a:pt x="696" y="102"/>
                  </a:lnTo>
                  <a:lnTo>
                    <a:pt x="696" y="100"/>
                  </a:lnTo>
                  <a:lnTo>
                    <a:pt x="696" y="102"/>
                  </a:lnTo>
                  <a:lnTo>
                    <a:pt x="696" y="100"/>
                  </a:lnTo>
                  <a:lnTo>
                    <a:pt x="696" y="102"/>
                  </a:lnTo>
                  <a:lnTo>
                    <a:pt x="696" y="100"/>
                  </a:lnTo>
                  <a:lnTo>
                    <a:pt x="698" y="102"/>
                  </a:lnTo>
                  <a:lnTo>
                    <a:pt x="698" y="100"/>
                  </a:lnTo>
                  <a:lnTo>
                    <a:pt x="700" y="100"/>
                  </a:lnTo>
                  <a:lnTo>
                    <a:pt x="698" y="100"/>
                  </a:lnTo>
                  <a:lnTo>
                    <a:pt x="700" y="102"/>
                  </a:lnTo>
                  <a:lnTo>
                    <a:pt x="698" y="102"/>
                  </a:lnTo>
                  <a:lnTo>
                    <a:pt x="700" y="102"/>
                  </a:lnTo>
                  <a:lnTo>
                    <a:pt x="698" y="102"/>
                  </a:lnTo>
                  <a:lnTo>
                    <a:pt x="700" y="102"/>
                  </a:lnTo>
                  <a:lnTo>
                    <a:pt x="700" y="100"/>
                  </a:lnTo>
                  <a:lnTo>
                    <a:pt x="700" y="99"/>
                  </a:lnTo>
                  <a:close/>
                  <a:moveTo>
                    <a:pt x="516" y="1424"/>
                  </a:moveTo>
                  <a:lnTo>
                    <a:pt x="516" y="1426"/>
                  </a:lnTo>
                  <a:lnTo>
                    <a:pt x="517" y="1426"/>
                  </a:lnTo>
                  <a:lnTo>
                    <a:pt x="517" y="1428"/>
                  </a:lnTo>
                  <a:lnTo>
                    <a:pt x="516" y="1428"/>
                  </a:lnTo>
                  <a:lnTo>
                    <a:pt x="517" y="1428"/>
                  </a:lnTo>
                  <a:lnTo>
                    <a:pt x="516" y="1428"/>
                  </a:lnTo>
                  <a:lnTo>
                    <a:pt x="517" y="1428"/>
                  </a:lnTo>
                  <a:lnTo>
                    <a:pt x="517" y="1429"/>
                  </a:lnTo>
                  <a:lnTo>
                    <a:pt x="516" y="1428"/>
                  </a:lnTo>
                  <a:lnTo>
                    <a:pt x="517" y="1429"/>
                  </a:lnTo>
                  <a:lnTo>
                    <a:pt x="516" y="1429"/>
                  </a:lnTo>
                  <a:lnTo>
                    <a:pt x="517" y="1429"/>
                  </a:lnTo>
                  <a:lnTo>
                    <a:pt x="517" y="1428"/>
                  </a:lnTo>
                  <a:lnTo>
                    <a:pt x="517" y="1429"/>
                  </a:lnTo>
                  <a:lnTo>
                    <a:pt x="514" y="1429"/>
                  </a:lnTo>
                  <a:lnTo>
                    <a:pt x="514" y="1428"/>
                  </a:lnTo>
                  <a:lnTo>
                    <a:pt x="511" y="1428"/>
                  </a:lnTo>
                  <a:lnTo>
                    <a:pt x="509" y="1428"/>
                  </a:lnTo>
                  <a:lnTo>
                    <a:pt x="509" y="1426"/>
                  </a:lnTo>
                  <a:lnTo>
                    <a:pt x="511" y="1426"/>
                  </a:lnTo>
                  <a:lnTo>
                    <a:pt x="512" y="1426"/>
                  </a:lnTo>
                  <a:lnTo>
                    <a:pt x="514" y="1426"/>
                  </a:lnTo>
                  <a:lnTo>
                    <a:pt x="514" y="1424"/>
                  </a:lnTo>
                  <a:lnTo>
                    <a:pt x="514" y="1423"/>
                  </a:lnTo>
                  <a:lnTo>
                    <a:pt x="514" y="1421"/>
                  </a:lnTo>
                  <a:lnTo>
                    <a:pt x="516" y="1421"/>
                  </a:lnTo>
                  <a:lnTo>
                    <a:pt x="517" y="1423"/>
                  </a:lnTo>
                  <a:lnTo>
                    <a:pt x="517" y="1424"/>
                  </a:lnTo>
                  <a:lnTo>
                    <a:pt x="517" y="1426"/>
                  </a:lnTo>
                  <a:lnTo>
                    <a:pt x="516" y="1426"/>
                  </a:lnTo>
                  <a:lnTo>
                    <a:pt x="516" y="1424"/>
                  </a:lnTo>
                  <a:close/>
                  <a:moveTo>
                    <a:pt x="269" y="582"/>
                  </a:moveTo>
                  <a:lnTo>
                    <a:pt x="270" y="584"/>
                  </a:lnTo>
                  <a:lnTo>
                    <a:pt x="270" y="582"/>
                  </a:lnTo>
                  <a:lnTo>
                    <a:pt x="272" y="582"/>
                  </a:lnTo>
                  <a:lnTo>
                    <a:pt x="270" y="584"/>
                  </a:lnTo>
                  <a:lnTo>
                    <a:pt x="270" y="585"/>
                  </a:lnTo>
                  <a:lnTo>
                    <a:pt x="269" y="587"/>
                  </a:lnTo>
                  <a:lnTo>
                    <a:pt x="269" y="588"/>
                  </a:lnTo>
                  <a:lnTo>
                    <a:pt x="269" y="590"/>
                  </a:lnTo>
                  <a:lnTo>
                    <a:pt x="267" y="590"/>
                  </a:lnTo>
                  <a:lnTo>
                    <a:pt x="269" y="590"/>
                  </a:lnTo>
                  <a:lnTo>
                    <a:pt x="267" y="592"/>
                  </a:lnTo>
                  <a:lnTo>
                    <a:pt x="265" y="590"/>
                  </a:lnTo>
                  <a:lnTo>
                    <a:pt x="267" y="590"/>
                  </a:lnTo>
                  <a:lnTo>
                    <a:pt x="267" y="588"/>
                  </a:lnTo>
                  <a:lnTo>
                    <a:pt x="265" y="588"/>
                  </a:lnTo>
                  <a:lnTo>
                    <a:pt x="267" y="588"/>
                  </a:lnTo>
                  <a:lnTo>
                    <a:pt x="265" y="587"/>
                  </a:lnTo>
                  <a:lnTo>
                    <a:pt x="267" y="585"/>
                  </a:lnTo>
                  <a:lnTo>
                    <a:pt x="265" y="585"/>
                  </a:lnTo>
                  <a:lnTo>
                    <a:pt x="267" y="585"/>
                  </a:lnTo>
                  <a:lnTo>
                    <a:pt x="265" y="585"/>
                  </a:lnTo>
                  <a:lnTo>
                    <a:pt x="265" y="584"/>
                  </a:lnTo>
                  <a:lnTo>
                    <a:pt x="267" y="585"/>
                  </a:lnTo>
                  <a:lnTo>
                    <a:pt x="267" y="584"/>
                  </a:lnTo>
                  <a:lnTo>
                    <a:pt x="269" y="582"/>
                  </a:lnTo>
                  <a:lnTo>
                    <a:pt x="269" y="580"/>
                  </a:lnTo>
                  <a:lnTo>
                    <a:pt x="270" y="582"/>
                  </a:lnTo>
                  <a:lnTo>
                    <a:pt x="269" y="582"/>
                  </a:lnTo>
                  <a:close/>
                  <a:moveTo>
                    <a:pt x="704" y="1306"/>
                  </a:moveTo>
                  <a:lnTo>
                    <a:pt x="708" y="1306"/>
                  </a:lnTo>
                  <a:lnTo>
                    <a:pt x="708" y="1307"/>
                  </a:lnTo>
                  <a:lnTo>
                    <a:pt x="709" y="1307"/>
                  </a:lnTo>
                  <a:lnTo>
                    <a:pt x="711" y="1309"/>
                  </a:lnTo>
                  <a:lnTo>
                    <a:pt x="709" y="1309"/>
                  </a:lnTo>
                  <a:lnTo>
                    <a:pt x="708" y="1311"/>
                  </a:lnTo>
                  <a:lnTo>
                    <a:pt x="706" y="1311"/>
                  </a:lnTo>
                  <a:lnTo>
                    <a:pt x="704" y="1311"/>
                  </a:lnTo>
                  <a:lnTo>
                    <a:pt x="703" y="1311"/>
                  </a:lnTo>
                  <a:lnTo>
                    <a:pt x="701" y="1311"/>
                  </a:lnTo>
                  <a:lnTo>
                    <a:pt x="701" y="1309"/>
                  </a:lnTo>
                  <a:lnTo>
                    <a:pt x="703" y="1307"/>
                  </a:lnTo>
                  <a:lnTo>
                    <a:pt x="704" y="1307"/>
                  </a:lnTo>
                  <a:lnTo>
                    <a:pt x="704" y="1306"/>
                  </a:lnTo>
                  <a:close/>
                  <a:moveTo>
                    <a:pt x="244" y="655"/>
                  </a:moveTo>
                  <a:lnTo>
                    <a:pt x="246" y="655"/>
                  </a:lnTo>
                  <a:lnTo>
                    <a:pt x="246" y="657"/>
                  </a:lnTo>
                  <a:lnTo>
                    <a:pt x="244" y="657"/>
                  </a:lnTo>
                  <a:lnTo>
                    <a:pt x="244" y="658"/>
                  </a:lnTo>
                  <a:lnTo>
                    <a:pt x="244" y="660"/>
                  </a:lnTo>
                  <a:lnTo>
                    <a:pt x="243" y="662"/>
                  </a:lnTo>
                  <a:lnTo>
                    <a:pt x="244" y="662"/>
                  </a:lnTo>
                  <a:lnTo>
                    <a:pt x="244" y="660"/>
                  </a:lnTo>
                  <a:lnTo>
                    <a:pt x="244" y="662"/>
                  </a:lnTo>
                  <a:lnTo>
                    <a:pt x="243" y="662"/>
                  </a:lnTo>
                  <a:lnTo>
                    <a:pt x="243" y="663"/>
                  </a:lnTo>
                  <a:lnTo>
                    <a:pt x="243" y="665"/>
                  </a:lnTo>
                  <a:lnTo>
                    <a:pt x="241" y="665"/>
                  </a:lnTo>
                  <a:lnTo>
                    <a:pt x="241" y="666"/>
                  </a:lnTo>
                  <a:lnTo>
                    <a:pt x="239" y="666"/>
                  </a:lnTo>
                  <a:lnTo>
                    <a:pt x="239" y="665"/>
                  </a:lnTo>
                  <a:lnTo>
                    <a:pt x="239" y="663"/>
                  </a:lnTo>
                  <a:lnTo>
                    <a:pt x="241" y="663"/>
                  </a:lnTo>
                  <a:lnTo>
                    <a:pt x="239" y="663"/>
                  </a:lnTo>
                  <a:lnTo>
                    <a:pt x="241" y="663"/>
                  </a:lnTo>
                  <a:lnTo>
                    <a:pt x="239" y="663"/>
                  </a:lnTo>
                  <a:lnTo>
                    <a:pt x="239" y="662"/>
                  </a:lnTo>
                  <a:lnTo>
                    <a:pt x="241" y="662"/>
                  </a:lnTo>
                  <a:lnTo>
                    <a:pt x="241" y="660"/>
                  </a:lnTo>
                  <a:lnTo>
                    <a:pt x="243" y="658"/>
                  </a:lnTo>
                  <a:lnTo>
                    <a:pt x="243" y="657"/>
                  </a:lnTo>
                  <a:lnTo>
                    <a:pt x="243" y="658"/>
                  </a:lnTo>
                  <a:lnTo>
                    <a:pt x="244" y="658"/>
                  </a:lnTo>
                  <a:lnTo>
                    <a:pt x="244" y="657"/>
                  </a:lnTo>
                  <a:lnTo>
                    <a:pt x="244" y="655"/>
                  </a:lnTo>
                  <a:lnTo>
                    <a:pt x="244" y="657"/>
                  </a:lnTo>
                  <a:lnTo>
                    <a:pt x="244" y="655"/>
                  </a:lnTo>
                  <a:close/>
                  <a:moveTo>
                    <a:pt x="220" y="325"/>
                  </a:moveTo>
                  <a:lnTo>
                    <a:pt x="221" y="325"/>
                  </a:lnTo>
                  <a:lnTo>
                    <a:pt x="221" y="327"/>
                  </a:lnTo>
                  <a:lnTo>
                    <a:pt x="221" y="328"/>
                  </a:lnTo>
                  <a:lnTo>
                    <a:pt x="221" y="330"/>
                  </a:lnTo>
                  <a:lnTo>
                    <a:pt x="220" y="330"/>
                  </a:lnTo>
                  <a:lnTo>
                    <a:pt x="220" y="331"/>
                  </a:lnTo>
                  <a:lnTo>
                    <a:pt x="218" y="330"/>
                  </a:lnTo>
                  <a:lnTo>
                    <a:pt x="218" y="328"/>
                  </a:lnTo>
                  <a:lnTo>
                    <a:pt x="216" y="328"/>
                  </a:lnTo>
                  <a:lnTo>
                    <a:pt x="216" y="330"/>
                  </a:lnTo>
                  <a:lnTo>
                    <a:pt x="215" y="330"/>
                  </a:lnTo>
                  <a:lnTo>
                    <a:pt x="213" y="330"/>
                  </a:lnTo>
                  <a:lnTo>
                    <a:pt x="213" y="328"/>
                  </a:lnTo>
                  <a:lnTo>
                    <a:pt x="215" y="328"/>
                  </a:lnTo>
                  <a:lnTo>
                    <a:pt x="215" y="327"/>
                  </a:lnTo>
                  <a:lnTo>
                    <a:pt x="215" y="328"/>
                  </a:lnTo>
                  <a:lnTo>
                    <a:pt x="216" y="328"/>
                  </a:lnTo>
                  <a:lnTo>
                    <a:pt x="216" y="327"/>
                  </a:lnTo>
                  <a:lnTo>
                    <a:pt x="218" y="327"/>
                  </a:lnTo>
                  <a:lnTo>
                    <a:pt x="218" y="325"/>
                  </a:lnTo>
                  <a:lnTo>
                    <a:pt x="220" y="325"/>
                  </a:lnTo>
                  <a:close/>
                  <a:moveTo>
                    <a:pt x="190" y="704"/>
                  </a:moveTo>
                  <a:lnTo>
                    <a:pt x="192" y="705"/>
                  </a:lnTo>
                  <a:lnTo>
                    <a:pt x="194" y="705"/>
                  </a:lnTo>
                  <a:lnTo>
                    <a:pt x="195" y="705"/>
                  </a:lnTo>
                  <a:lnTo>
                    <a:pt x="195" y="707"/>
                  </a:lnTo>
                  <a:lnTo>
                    <a:pt x="195" y="709"/>
                  </a:lnTo>
                  <a:lnTo>
                    <a:pt x="195" y="710"/>
                  </a:lnTo>
                  <a:lnTo>
                    <a:pt x="194" y="710"/>
                  </a:lnTo>
                  <a:lnTo>
                    <a:pt x="194" y="712"/>
                  </a:lnTo>
                  <a:lnTo>
                    <a:pt x="192" y="712"/>
                  </a:lnTo>
                  <a:lnTo>
                    <a:pt x="192" y="710"/>
                  </a:lnTo>
                  <a:lnTo>
                    <a:pt x="194" y="709"/>
                  </a:lnTo>
                  <a:lnTo>
                    <a:pt x="194" y="707"/>
                  </a:lnTo>
                  <a:lnTo>
                    <a:pt x="192" y="707"/>
                  </a:lnTo>
                  <a:lnTo>
                    <a:pt x="190" y="707"/>
                  </a:lnTo>
                  <a:lnTo>
                    <a:pt x="189" y="707"/>
                  </a:lnTo>
                  <a:lnTo>
                    <a:pt x="187" y="707"/>
                  </a:lnTo>
                  <a:lnTo>
                    <a:pt x="187" y="705"/>
                  </a:lnTo>
                  <a:lnTo>
                    <a:pt x="189" y="704"/>
                  </a:lnTo>
                  <a:lnTo>
                    <a:pt x="190" y="704"/>
                  </a:lnTo>
                  <a:close/>
                  <a:moveTo>
                    <a:pt x="228" y="453"/>
                  </a:moveTo>
                  <a:lnTo>
                    <a:pt x="229" y="453"/>
                  </a:lnTo>
                  <a:lnTo>
                    <a:pt x="231" y="453"/>
                  </a:lnTo>
                  <a:lnTo>
                    <a:pt x="229" y="455"/>
                  </a:lnTo>
                  <a:lnTo>
                    <a:pt x="228" y="455"/>
                  </a:lnTo>
                  <a:lnTo>
                    <a:pt x="229" y="455"/>
                  </a:lnTo>
                  <a:lnTo>
                    <a:pt x="231" y="457"/>
                  </a:lnTo>
                  <a:lnTo>
                    <a:pt x="231" y="458"/>
                  </a:lnTo>
                  <a:lnTo>
                    <a:pt x="229" y="457"/>
                  </a:lnTo>
                  <a:lnTo>
                    <a:pt x="228" y="457"/>
                  </a:lnTo>
                  <a:lnTo>
                    <a:pt x="228" y="455"/>
                  </a:lnTo>
                  <a:lnTo>
                    <a:pt x="226" y="455"/>
                  </a:lnTo>
                  <a:lnTo>
                    <a:pt x="225" y="453"/>
                  </a:lnTo>
                  <a:lnTo>
                    <a:pt x="225" y="455"/>
                  </a:lnTo>
                  <a:lnTo>
                    <a:pt x="223" y="455"/>
                  </a:lnTo>
                  <a:lnTo>
                    <a:pt x="221" y="455"/>
                  </a:lnTo>
                  <a:lnTo>
                    <a:pt x="220" y="455"/>
                  </a:lnTo>
                  <a:lnTo>
                    <a:pt x="220" y="453"/>
                  </a:lnTo>
                  <a:lnTo>
                    <a:pt x="221" y="453"/>
                  </a:lnTo>
                  <a:lnTo>
                    <a:pt x="225" y="453"/>
                  </a:lnTo>
                  <a:lnTo>
                    <a:pt x="225" y="452"/>
                  </a:lnTo>
                  <a:lnTo>
                    <a:pt x="226" y="453"/>
                  </a:lnTo>
                  <a:lnTo>
                    <a:pt x="228" y="453"/>
                  </a:lnTo>
                  <a:close/>
                  <a:moveTo>
                    <a:pt x="262" y="590"/>
                  </a:moveTo>
                  <a:lnTo>
                    <a:pt x="264" y="590"/>
                  </a:lnTo>
                  <a:lnTo>
                    <a:pt x="264" y="592"/>
                  </a:lnTo>
                  <a:lnTo>
                    <a:pt x="264" y="593"/>
                  </a:lnTo>
                  <a:lnTo>
                    <a:pt x="264" y="595"/>
                  </a:lnTo>
                  <a:lnTo>
                    <a:pt x="262" y="595"/>
                  </a:lnTo>
                  <a:lnTo>
                    <a:pt x="262" y="593"/>
                  </a:lnTo>
                  <a:lnTo>
                    <a:pt x="262" y="595"/>
                  </a:lnTo>
                  <a:lnTo>
                    <a:pt x="260" y="595"/>
                  </a:lnTo>
                  <a:lnTo>
                    <a:pt x="259" y="595"/>
                  </a:lnTo>
                  <a:lnTo>
                    <a:pt x="257" y="593"/>
                  </a:lnTo>
                  <a:lnTo>
                    <a:pt x="257" y="592"/>
                  </a:lnTo>
                  <a:lnTo>
                    <a:pt x="259" y="592"/>
                  </a:lnTo>
                  <a:lnTo>
                    <a:pt x="259" y="590"/>
                  </a:lnTo>
                  <a:lnTo>
                    <a:pt x="260" y="590"/>
                  </a:lnTo>
                  <a:lnTo>
                    <a:pt x="262" y="590"/>
                  </a:lnTo>
                  <a:close/>
                  <a:moveTo>
                    <a:pt x="646" y="86"/>
                  </a:moveTo>
                  <a:lnTo>
                    <a:pt x="647" y="86"/>
                  </a:lnTo>
                  <a:lnTo>
                    <a:pt x="647" y="87"/>
                  </a:lnTo>
                  <a:lnTo>
                    <a:pt x="647" y="89"/>
                  </a:lnTo>
                  <a:lnTo>
                    <a:pt x="647" y="91"/>
                  </a:lnTo>
                  <a:lnTo>
                    <a:pt x="646" y="91"/>
                  </a:lnTo>
                  <a:lnTo>
                    <a:pt x="646" y="92"/>
                  </a:lnTo>
                  <a:lnTo>
                    <a:pt x="646" y="91"/>
                  </a:lnTo>
                  <a:lnTo>
                    <a:pt x="644" y="91"/>
                  </a:lnTo>
                  <a:lnTo>
                    <a:pt x="644" y="89"/>
                  </a:lnTo>
                  <a:lnTo>
                    <a:pt x="643" y="87"/>
                  </a:lnTo>
                  <a:lnTo>
                    <a:pt x="643" y="86"/>
                  </a:lnTo>
                  <a:lnTo>
                    <a:pt x="644" y="86"/>
                  </a:lnTo>
                  <a:lnTo>
                    <a:pt x="646" y="86"/>
                  </a:lnTo>
                  <a:close/>
                  <a:moveTo>
                    <a:pt x="397" y="927"/>
                  </a:moveTo>
                  <a:lnTo>
                    <a:pt x="399" y="927"/>
                  </a:lnTo>
                  <a:lnTo>
                    <a:pt x="399" y="928"/>
                  </a:lnTo>
                  <a:lnTo>
                    <a:pt x="399" y="930"/>
                  </a:lnTo>
                  <a:lnTo>
                    <a:pt x="400" y="930"/>
                  </a:lnTo>
                  <a:lnTo>
                    <a:pt x="400" y="932"/>
                  </a:lnTo>
                  <a:lnTo>
                    <a:pt x="400" y="933"/>
                  </a:lnTo>
                  <a:lnTo>
                    <a:pt x="402" y="933"/>
                  </a:lnTo>
                  <a:lnTo>
                    <a:pt x="404" y="933"/>
                  </a:lnTo>
                  <a:lnTo>
                    <a:pt x="402" y="933"/>
                  </a:lnTo>
                  <a:lnTo>
                    <a:pt x="400" y="933"/>
                  </a:lnTo>
                  <a:lnTo>
                    <a:pt x="399" y="933"/>
                  </a:lnTo>
                  <a:lnTo>
                    <a:pt x="399" y="932"/>
                  </a:lnTo>
                  <a:lnTo>
                    <a:pt x="397" y="928"/>
                  </a:lnTo>
                  <a:lnTo>
                    <a:pt x="397" y="927"/>
                  </a:lnTo>
                  <a:lnTo>
                    <a:pt x="395" y="923"/>
                  </a:lnTo>
                  <a:lnTo>
                    <a:pt x="395" y="922"/>
                  </a:lnTo>
                  <a:lnTo>
                    <a:pt x="395" y="920"/>
                  </a:lnTo>
                  <a:lnTo>
                    <a:pt x="397" y="919"/>
                  </a:lnTo>
                  <a:lnTo>
                    <a:pt x="399" y="917"/>
                  </a:lnTo>
                  <a:lnTo>
                    <a:pt x="399" y="919"/>
                  </a:lnTo>
                  <a:lnTo>
                    <a:pt x="397" y="919"/>
                  </a:lnTo>
                  <a:lnTo>
                    <a:pt x="397" y="920"/>
                  </a:lnTo>
                  <a:lnTo>
                    <a:pt x="399" y="920"/>
                  </a:lnTo>
                  <a:lnTo>
                    <a:pt x="399" y="922"/>
                  </a:lnTo>
                  <a:lnTo>
                    <a:pt x="397" y="923"/>
                  </a:lnTo>
                  <a:lnTo>
                    <a:pt x="399" y="923"/>
                  </a:lnTo>
                  <a:lnTo>
                    <a:pt x="399" y="925"/>
                  </a:lnTo>
                  <a:lnTo>
                    <a:pt x="397" y="927"/>
                  </a:lnTo>
                  <a:close/>
                  <a:moveTo>
                    <a:pt x="285" y="562"/>
                  </a:moveTo>
                  <a:lnTo>
                    <a:pt x="283" y="564"/>
                  </a:lnTo>
                  <a:lnTo>
                    <a:pt x="282" y="564"/>
                  </a:lnTo>
                  <a:lnTo>
                    <a:pt x="282" y="566"/>
                  </a:lnTo>
                  <a:lnTo>
                    <a:pt x="280" y="566"/>
                  </a:lnTo>
                  <a:lnTo>
                    <a:pt x="280" y="567"/>
                  </a:lnTo>
                  <a:lnTo>
                    <a:pt x="278" y="567"/>
                  </a:lnTo>
                  <a:lnTo>
                    <a:pt x="280" y="567"/>
                  </a:lnTo>
                  <a:lnTo>
                    <a:pt x="278" y="567"/>
                  </a:lnTo>
                  <a:lnTo>
                    <a:pt x="278" y="566"/>
                  </a:lnTo>
                  <a:lnTo>
                    <a:pt x="277" y="566"/>
                  </a:lnTo>
                  <a:lnTo>
                    <a:pt x="277" y="564"/>
                  </a:lnTo>
                  <a:lnTo>
                    <a:pt x="278" y="564"/>
                  </a:lnTo>
                  <a:lnTo>
                    <a:pt x="278" y="562"/>
                  </a:lnTo>
                  <a:lnTo>
                    <a:pt x="280" y="562"/>
                  </a:lnTo>
                  <a:lnTo>
                    <a:pt x="282" y="562"/>
                  </a:lnTo>
                  <a:lnTo>
                    <a:pt x="283" y="562"/>
                  </a:lnTo>
                  <a:lnTo>
                    <a:pt x="285" y="562"/>
                  </a:lnTo>
                  <a:lnTo>
                    <a:pt x="285" y="561"/>
                  </a:lnTo>
                  <a:lnTo>
                    <a:pt x="286" y="562"/>
                  </a:lnTo>
                  <a:lnTo>
                    <a:pt x="285" y="562"/>
                  </a:lnTo>
                  <a:close/>
                  <a:moveTo>
                    <a:pt x="311" y="660"/>
                  </a:moveTo>
                  <a:lnTo>
                    <a:pt x="312" y="660"/>
                  </a:lnTo>
                  <a:lnTo>
                    <a:pt x="311" y="663"/>
                  </a:lnTo>
                  <a:lnTo>
                    <a:pt x="312" y="663"/>
                  </a:lnTo>
                  <a:lnTo>
                    <a:pt x="312" y="665"/>
                  </a:lnTo>
                  <a:lnTo>
                    <a:pt x="311" y="665"/>
                  </a:lnTo>
                  <a:lnTo>
                    <a:pt x="309" y="666"/>
                  </a:lnTo>
                  <a:lnTo>
                    <a:pt x="309" y="665"/>
                  </a:lnTo>
                  <a:lnTo>
                    <a:pt x="308" y="666"/>
                  </a:lnTo>
                  <a:lnTo>
                    <a:pt x="306" y="666"/>
                  </a:lnTo>
                  <a:lnTo>
                    <a:pt x="308" y="665"/>
                  </a:lnTo>
                  <a:lnTo>
                    <a:pt x="308" y="663"/>
                  </a:lnTo>
                  <a:lnTo>
                    <a:pt x="309" y="663"/>
                  </a:lnTo>
                  <a:lnTo>
                    <a:pt x="309" y="662"/>
                  </a:lnTo>
                  <a:lnTo>
                    <a:pt x="309" y="660"/>
                  </a:lnTo>
                  <a:lnTo>
                    <a:pt x="311" y="660"/>
                  </a:lnTo>
                  <a:close/>
                  <a:moveTo>
                    <a:pt x="190" y="383"/>
                  </a:moveTo>
                  <a:lnTo>
                    <a:pt x="189" y="383"/>
                  </a:lnTo>
                  <a:lnTo>
                    <a:pt x="189" y="382"/>
                  </a:lnTo>
                  <a:lnTo>
                    <a:pt x="187" y="382"/>
                  </a:lnTo>
                  <a:lnTo>
                    <a:pt x="187" y="380"/>
                  </a:lnTo>
                  <a:lnTo>
                    <a:pt x="186" y="380"/>
                  </a:lnTo>
                  <a:lnTo>
                    <a:pt x="184" y="380"/>
                  </a:lnTo>
                  <a:lnTo>
                    <a:pt x="186" y="380"/>
                  </a:lnTo>
                  <a:lnTo>
                    <a:pt x="184" y="379"/>
                  </a:lnTo>
                  <a:lnTo>
                    <a:pt x="186" y="379"/>
                  </a:lnTo>
                  <a:lnTo>
                    <a:pt x="187" y="379"/>
                  </a:lnTo>
                  <a:lnTo>
                    <a:pt x="186" y="379"/>
                  </a:lnTo>
                  <a:lnTo>
                    <a:pt x="187" y="379"/>
                  </a:lnTo>
                  <a:lnTo>
                    <a:pt x="186" y="379"/>
                  </a:lnTo>
                  <a:lnTo>
                    <a:pt x="186" y="377"/>
                  </a:lnTo>
                  <a:lnTo>
                    <a:pt x="187" y="377"/>
                  </a:lnTo>
                  <a:lnTo>
                    <a:pt x="187" y="379"/>
                  </a:lnTo>
                  <a:lnTo>
                    <a:pt x="189" y="379"/>
                  </a:lnTo>
                  <a:lnTo>
                    <a:pt x="189" y="380"/>
                  </a:lnTo>
                  <a:lnTo>
                    <a:pt x="190" y="380"/>
                  </a:lnTo>
                  <a:lnTo>
                    <a:pt x="190" y="379"/>
                  </a:lnTo>
                  <a:lnTo>
                    <a:pt x="190" y="380"/>
                  </a:lnTo>
                  <a:lnTo>
                    <a:pt x="190" y="382"/>
                  </a:lnTo>
                  <a:lnTo>
                    <a:pt x="190" y="383"/>
                  </a:lnTo>
                  <a:close/>
                  <a:moveTo>
                    <a:pt x="143" y="450"/>
                  </a:moveTo>
                  <a:lnTo>
                    <a:pt x="145" y="450"/>
                  </a:lnTo>
                  <a:lnTo>
                    <a:pt x="147" y="452"/>
                  </a:lnTo>
                  <a:lnTo>
                    <a:pt x="148" y="452"/>
                  </a:lnTo>
                  <a:lnTo>
                    <a:pt x="147" y="452"/>
                  </a:lnTo>
                  <a:lnTo>
                    <a:pt x="148" y="453"/>
                  </a:lnTo>
                  <a:lnTo>
                    <a:pt x="150" y="453"/>
                  </a:lnTo>
                  <a:lnTo>
                    <a:pt x="150" y="455"/>
                  </a:lnTo>
                  <a:lnTo>
                    <a:pt x="151" y="455"/>
                  </a:lnTo>
                  <a:lnTo>
                    <a:pt x="150" y="455"/>
                  </a:lnTo>
                  <a:lnTo>
                    <a:pt x="148" y="455"/>
                  </a:lnTo>
                  <a:lnTo>
                    <a:pt x="148" y="453"/>
                  </a:lnTo>
                  <a:lnTo>
                    <a:pt x="147" y="453"/>
                  </a:lnTo>
                  <a:lnTo>
                    <a:pt x="147" y="455"/>
                  </a:lnTo>
                  <a:lnTo>
                    <a:pt x="148" y="455"/>
                  </a:lnTo>
                  <a:lnTo>
                    <a:pt x="148" y="457"/>
                  </a:lnTo>
                  <a:lnTo>
                    <a:pt x="147" y="457"/>
                  </a:lnTo>
                  <a:lnTo>
                    <a:pt x="145" y="457"/>
                  </a:lnTo>
                  <a:lnTo>
                    <a:pt x="143" y="455"/>
                  </a:lnTo>
                  <a:lnTo>
                    <a:pt x="145" y="455"/>
                  </a:lnTo>
                  <a:lnTo>
                    <a:pt x="143" y="455"/>
                  </a:lnTo>
                  <a:lnTo>
                    <a:pt x="143" y="453"/>
                  </a:lnTo>
                  <a:lnTo>
                    <a:pt x="143" y="455"/>
                  </a:lnTo>
                  <a:lnTo>
                    <a:pt x="145" y="455"/>
                  </a:lnTo>
                  <a:lnTo>
                    <a:pt x="145" y="453"/>
                  </a:lnTo>
                  <a:lnTo>
                    <a:pt x="143" y="453"/>
                  </a:lnTo>
                  <a:lnTo>
                    <a:pt x="143" y="452"/>
                  </a:lnTo>
                  <a:lnTo>
                    <a:pt x="145" y="452"/>
                  </a:lnTo>
                  <a:lnTo>
                    <a:pt x="143" y="450"/>
                  </a:lnTo>
                  <a:close/>
                  <a:moveTo>
                    <a:pt x="286" y="390"/>
                  </a:moveTo>
                  <a:lnTo>
                    <a:pt x="288" y="390"/>
                  </a:lnTo>
                  <a:lnTo>
                    <a:pt x="288" y="392"/>
                  </a:lnTo>
                  <a:lnTo>
                    <a:pt x="288" y="393"/>
                  </a:lnTo>
                  <a:lnTo>
                    <a:pt x="286" y="393"/>
                  </a:lnTo>
                  <a:lnTo>
                    <a:pt x="286" y="395"/>
                  </a:lnTo>
                  <a:lnTo>
                    <a:pt x="286" y="396"/>
                  </a:lnTo>
                  <a:lnTo>
                    <a:pt x="285" y="398"/>
                  </a:lnTo>
                  <a:lnTo>
                    <a:pt x="285" y="400"/>
                  </a:lnTo>
                  <a:lnTo>
                    <a:pt x="283" y="400"/>
                  </a:lnTo>
                  <a:lnTo>
                    <a:pt x="283" y="398"/>
                  </a:lnTo>
                  <a:lnTo>
                    <a:pt x="283" y="400"/>
                  </a:lnTo>
                  <a:lnTo>
                    <a:pt x="283" y="398"/>
                  </a:lnTo>
                  <a:lnTo>
                    <a:pt x="283" y="396"/>
                  </a:lnTo>
                  <a:lnTo>
                    <a:pt x="285" y="396"/>
                  </a:lnTo>
                  <a:lnTo>
                    <a:pt x="283" y="396"/>
                  </a:lnTo>
                  <a:lnTo>
                    <a:pt x="283" y="395"/>
                  </a:lnTo>
                  <a:lnTo>
                    <a:pt x="283" y="396"/>
                  </a:lnTo>
                  <a:lnTo>
                    <a:pt x="285" y="395"/>
                  </a:lnTo>
                  <a:lnTo>
                    <a:pt x="285" y="393"/>
                  </a:lnTo>
                  <a:lnTo>
                    <a:pt x="285" y="392"/>
                  </a:lnTo>
                  <a:lnTo>
                    <a:pt x="286" y="392"/>
                  </a:lnTo>
                  <a:lnTo>
                    <a:pt x="286" y="390"/>
                  </a:lnTo>
                  <a:close/>
                  <a:moveTo>
                    <a:pt x="200" y="348"/>
                  </a:moveTo>
                  <a:lnTo>
                    <a:pt x="203" y="348"/>
                  </a:lnTo>
                  <a:lnTo>
                    <a:pt x="203" y="349"/>
                  </a:lnTo>
                  <a:lnTo>
                    <a:pt x="203" y="351"/>
                  </a:lnTo>
                  <a:lnTo>
                    <a:pt x="202" y="351"/>
                  </a:lnTo>
                  <a:lnTo>
                    <a:pt x="200" y="351"/>
                  </a:lnTo>
                  <a:lnTo>
                    <a:pt x="200" y="353"/>
                  </a:lnTo>
                  <a:lnTo>
                    <a:pt x="200" y="351"/>
                  </a:lnTo>
                  <a:lnTo>
                    <a:pt x="199" y="351"/>
                  </a:lnTo>
                  <a:lnTo>
                    <a:pt x="199" y="353"/>
                  </a:lnTo>
                  <a:lnTo>
                    <a:pt x="199" y="351"/>
                  </a:lnTo>
                  <a:lnTo>
                    <a:pt x="197" y="351"/>
                  </a:lnTo>
                  <a:lnTo>
                    <a:pt x="199" y="351"/>
                  </a:lnTo>
                  <a:lnTo>
                    <a:pt x="199" y="349"/>
                  </a:lnTo>
                  <a:lnTo>
                    <a:pt x="200" y="348"/>
                  </a:lnTo>
                  <a:close/>
                  <a:moveTo>
                    <a:pt x="215" y="307"/>
                  </a:moveTo>
                  <a:lnTo>
                    <a:pt x="216" y="307"/>
                  </a:lnTo>
                  <a:lnTo>
                    <a:pt x="218" y="309"/>
                  </a:lnTo>
                  <a:lnTo>
                    <a:pt x="218" y="310"/>
                  </a:lnTo>
                  <a:lnTo>
                    <a:pt x="216" y="310"/>
                  </a:lnTo>
                  <a:lnTo>
                    <a:pt x="218" y="310"/>
                  </a:lnTo>
                  <a:lnTo>
                    <a:pt x="216" y="312"/>
                  </a:lnTo>
                  <a:lnTo>
                    <a:pt x="215" y="312"/>
                  </a:lnTo>
                  <a:lnTo>
                    <a:pt x="215" y="310"/>
                  </a:lnTo>
                  <a:lnTo>
                    <a:pt x="213" y="310"/>
                  </a:lnTo>
                  <a:lnTo>
                    <a:pt x="213" y="309"/>
                  </a:lnTo>
                  <a:lnTo>
                    <a:pt x="213" y="307"/>
                  </a:lnTo>
                  <a:lnTo>
                    <a:pt x="215" y="307"/>
                  </a:lnTo>
                  <a:close/>
                  <a:moveTo>
                    <a:pt x="540" y="258"/>
                  </a:moveTo>
                  <a:lnTo>
                    <a:pt x="539" y="258"/>
                  </a:lnTo>
                  <a:lnTo>
                    <a:pt x="537" y="258"/>
                  </a:lnTo>
                  <a:lnTo>
                    <a:pt x="537" y="260"/>
                  </a:lnTo>
                  <a:lnTo>
                    <a:pt x="539" y="260"/>
                  </a:lnTo>
                  <a:lnTo>
                    <a:pt x="539" y="261"/>
                  </a:lnTo>
                  <a:lnTo>
                    <a:pt x="537" y="261"/>
                  </a:lnTo>
                  <a:lnTo>
                    <a:pt x="535" y="261"/>
                  </a:lnTo>
                  <a:lnTo>
                    <a:pt x="534" y="261"/>
                  </a:lnTo>
                  <a:lnTo>
                    <a:pt x="534" y="260"/>
                  </a:lnTo>
                  <a:lnTo>
                    <a:pt x="534" y="258"/>
                  </a:lnTo>
                  <a:lnTo>
                    <a:pt x="535" y="258"/>
                  </a:lnTo>
                  <a:lnTo>
                    <a:pt x="535" y="257"/>
                  </a:lnTo>
                  <a:lnTo>
                    <a:pt x="539" y="257"/>
                  </a:lnTo>
                  <a:lnTo>
                    <a:pt x="540" y="257"/>
                  </a:lnTo>
                  <a:lnTo>
                    <a:pt x="540" y="258"/>
                  </a:lnTo>
                  <a:close/>
                  <a:moveTo>
                    <a:pt x="254" y="445"/>
                  </a:moveTo>
                  <a:lnTo>
                    <a:pt x="256" y="445"/>
                  </a:lnTo>
                  <a:lnTo>
                    <a:pt x="257" y="445"/>
                  </a:lnTo>
                  <a:lnTo>
                    <a:pt x="257" y="447"/>
                  </a:lnTo>
                  <a:lnTo>
                    <a:pt x="256" y="447"/>
                  </a:lnTo>
                  <a:lnTo>
                    <a:pt x="256" y="449"/>
                  </a:lnTo>
                  <a:lnTo>
                    <a:pt x="256" y="447"/>
                  </a:lnTo>
                  <a:lnTo>
                    <a:pt x="254" y="447"/>
                  </a:lnTo>
                  <a:lnTo>
                    <a:pt x="254" y="449"/>
                  </a:lnTo>
                  <a:lnTo>
                    <a:pt x="254" y="450"/>
                  </a:lnTo>
                  <a:lnTo>
                    <a:pt x="252" y="450"/>
                  </a:lnTo>
                  <a:lnTo>
                    <a:pt x="251" y="449"/>
                  </a:lnTo>
                  <a:lnTo>
                    <a:pt x="251" y="447"/>
                  </a:lnTo>
                  <a:lnTo>
                    <a:pt x="252" y="445"/>
                  </a:lnTo>
                  <a:lnTo>
                    <a:pt x="254" y="445"/>
                  </a:lnTo>
                  <a:lnTo>
                    <a:pt x="254" y="447"/>
                  </a:lnTo>
                  <a:lnTo>
                    <a:pt x="254" y="445"/>
                  </a:lnTo>
                  <a:close/>
                  <a:moveTo>
                    <a:pt x="568" y="185"/>
                  </a:moveTo>
                  <a:lnTo>
                    <a:pt x="569" y="185"/>
                  </a:lnTo>
                  <a:lnTo>
                    <a:pt x="568" y="187"/>
                  </a:lnTo>
                  <a:lnTo>
                    <a:pt x="568" y="188"/>
                  </a:lnTo>
                  <a:lnTo>
                    <a:pt x="566" y="188"/>
                  </a:lnTo>
                  <a:lnTo>
                    <a:pt x="568" y="190"/>
                  </a:lnTo>
                  <a:lnTo>
                    <a:pt x="566" y="190"/>
                  </a:lnTo>
                  <a:lnTo>
                    <a:pt x="568" y="192"/>
                  </a:lnTo>
                  <a:lnTo>
                    <a:pt x="566" y="192"/>
                  </a:lnTo>
                  <a:lnTo>
                    <a:pt x="566" y="193"/>
                  </a:lnTo>
                  <a:lnTo>
                    <a:pt x="566" y="192"/>
                  </a:lnTo>
                  <a:lnTo>
                    <a:pt x="565" y="192"/>
                  </a:lnTo>
                  <a:lnTo>
                    <a:pt x="565" y="193"/>
                  </a:lnTo>
                  <a:lnTo>
                    <a:pt x="565" y="192"/>
                  </a:lnTo>
                  <a:lnTo>
                    <a:pt x="565" y="190"/>
                  </a:lnTo>
                  <a:lnTo>
                    <a:pt x="565" y="188"/>
                  </a:lnTo>
                  <a:lnTo>
                    <a:pt x="566" y="188"/>
                  </a:lnTo>
                  <a:lnTo>
                    <a:pt x="566" y="187"/>
                  </a:lnTo>
                  <a:lnTo>
                    <a:pt x="566" y="185"/>
                  </a:lnTo>
                  <a:lnTo>
                    <a:pt x="568" y="183"/>
                  </a:lnTo>
                  <a:lnTo>
                    <a:pt x="569" y="183"/>
                  </a:lnTo>
                  <a:lnTo>
                    <a:pt x="568" y="183"/>
                  </a:lnTo>
                  <a:lnTo>
                    <a:pt x="569" y="185"/>
                  </a:lnTo>
                  <a:lnTo>
                    <a:pt x="568" y="185"/>
                  </a:lnTo>
                  <a:close/>
                  <a:moveTo>
                    <a:pt x="177" y="370"/>
                  </a:moveTo>
                  <a:lnTo>
                    <a:pt x="179" y="370"/>
                  </a:lnTo>
                  <a:lnTo>
                    <a:pt x="179" y="372"/>
                  </a:lnTo>
                  <a:lnTo>
                    <a:pt x="179" y="370"/>
                  </a:lnTo>
                  <a:lnTo>
                    <a:pt x="181" y="370"/>
                  </a:lnTo>
                  <a:lnTo>
                    <a:pt x="181" y="372"/>
                  </a:lnTo>
                  <a:lnTo>
                    <a:pt x="182" y="372"/>
                  </a:lnTo>
                  <a:lnTo>
                    <a:pt x="182" y="374"/>
                  </a:lnTo>
                  <a:lnTo>
                    <a:pt x="181" y="374"/>
                  </a:lnTo>
                  <a:lnTo>
                    <a:pt x="182" y="374"/>
                  </a:lnTo>
                  <a:lnTo>
                    <a:pt x="181" y="374"/>
                  </a:lnTo>
                  <a:lnTo>
                    <a:pt x="181" y="375"/>
                  </a:lnTo>
                  <a:lnTo>
                    <a:pt x="181" y="377"/>
                  </a:lnTo>
                  <a:lnTo>
                    <a:pt x="181" y="379"/>
                  </a:lnTo>
                  <a:lnTo>
                    <a:pt x="179" y="379"/>
                  </a:lnTo>
                  <a:lnTo>
                    <a:pt x="179" y="377"/>
                  </a:lnTo>
                  <a:lnTo>
                    <a:pt x="179" y="375"/>
                  </a:lnTo>
                  <a:lnTo>
                    <a:pt x="179" y="374"/>
                  </a:lnTo>
                  <a:lnTo>
                    <a:pt x="179" y="372"/>
                  </a:lnTo>
                  <a:lnTo>
                    <a:pt x="177" y="370"/>
                  </a:lnTo>
                  <a:lnTo>
                    <a:pt x="179" y="369"/>
                  </a:lnTo>
                  <a:lnTo>
                    <a:pt x="179" y="370"/>
                  </a:lnTo>
                  <a:lnTo>
                    <a:pt x="177" y="370"/>
                  </a:lnTo>
                  <a:lnTo>
                    <a:pt x="179" y="370"/>
                  </a:lnTo>
                  <a:lnTo>
                    <a:pt x="177" y="370"/>
                  </a:lnTo>
                  <a:close/>
                  <a:moveTo>
                    <a:pt x="662" y="177"/>
                  </a:moveTo>
                  <a:lnTo>
                    <a:pt x="664" y="177"/>
                  </a:lnTo>
                  <a:lnTo>
                    <a:pt x="664" y="179"/>
                  </a:lnTo>
                  <a:lnTo>
                    <a:pt x="664" y="180"/>
                  </a:lnTo>
                  <a:lnTo>
                    <a:pt x="662" y="180"/>
                  </a:lnTo>
                  <a:lnTo>
                    <a:pt x="662" y="182"/>
                  </a:lnTo>
                  <a:lnTo>
                    <a:pt x="660" y="182"/>
                  </a:lnTo>
                  <a:lnTo>
                    <a:pt x="662" y="182"/>
                  </a:lnTo>
                  <a:lnTo>
                    <a:pt x="660" y="182"/>
                  </a:lnTo>
                  <a:lnTo>
                    <a:pt x="659" y="182"/>
                  </a:lnTo>
                  <a:lnTo>
                    <a:pt x="660" y="182"/>
                  </a:lnTo>
                  <a:lnTo>
                    <a:pt x="659" y="180"/>
                  </a:lnTo>
                  <a:lnTo>
                    <a:pt x="660" y="180"/>
                  </a:lnTo>
                  <a:lnTo>
                    <a:pt x="660" y="179"/>
                  </a:lnTo>
                  <a:lnTo>
                    <a:pt x="660" y="177"/>
                  </a:lnTo>
                  <a:lnTo>
                    <a:pt x="662" y="177"/>
                  </a:lnTo>
                  <a:lnTo>
                    <a:pt x="662" y="175"/>
                  </a:lnTo>
                  <a:lnTo>
                    <a:pt x="662" y="177"/>
                  </a:lnTo>
                  <a:lnTo>
                    <a:pt x="662" y="175"/>
                  </a:lnTo>
                  <a:lnTo>
                    <a:pt x="662" y="177"/>
                  </a:lnTo>
                  <a:close/>
                  <a:moveTo>
                    <a:pt x="602" y="190"/>
                  </a:moveTo>
                  <a:lnTo>
                    <a:pt x="604" y="190"/>
                  </a:lnTo>
                  <a:lnTo>
                    <a:pt x="605" y="192"/>
                  </a:lnTo>
                  <a:lnTo>
                    <a:pt x="604" y="190"/>
                  </a:lnTo>
                  <a:lnTo>
                    <a:pt x="602" y="192"/>
                  </a:lnTo>
                  <a:lnTo>
                    <a:pt x="602" y="193"/>
                  </a:lnTo>
                  <a:lnTo>
                    <a:pt x="602" y="195"/>
                  </a:lnTo>
                  <a:lnTo>
                    <a:pt x="600" y="195"/>
                  </a:lnTo>
                  <a:lnTo>
                    <a:pt x="600" y="193"/>
                  </a:lnTo>
                  <a:lnTo>
                    <a:pt x="599" y="193"/>
                  </a:lnTo>
                  <a:lnTo>
                    <a:pt x="599" y="195"/>
                  </a:lnTo>
                  <a:lnTo>
                    <a:pt x="599" y="193"/>
                  </a:lnTo>
                  <a:lnTo>
                    <a:pt x="599" y="192"/>
                  </a:lnTo>
                  <a:lnTo>
                    <a:pt x="600" y="192"/>
                  </a:lnTo>
                  <a:lnTo>
                    <a:pt x="600" y="190"/>
                  </a:lnTo>
                  <a:lnTo>
                    <a:pt x="602" y="190"/>
                  </a:lnTo>
                  <a:close/>
                  <a:moveTo>
                    <a:pt x="213" y="556"/>
                  </a:moveTo>
                  <a:lnTo>
                    <a:pt x="215" y="556"/>
                  </a:lnTo>
                  <a:lnTo>
                    <a:pt x="213" y="556"/>
                  </a:lnTo>
                  <a:lnTo>
                    <a:pt x="213" y="557"/>
                  </a:lnTo>
                  <a:lnTo>
                    <a:pt x="212" y="561"/>
                  </a:lnTo>
                  <a:lnTo>
                    <a:pt x="210" y="561"/>
                  </a:lnTo>
                  <a:lnTo>
                    <a:pt x="208" y="561"/>
                  </a:lnTo>
                  <a:lnTo>
                    <a:pt x="208" y="559"/>
                  </a:lnTo>
                  <a:lnTo>
                    <a:pt x="210" y="559"/>
                  </a:lnTo>
                  <a:lnTo>
                    <a:pt x="210" y="557"/>
                  </a:lnTo>
                  <a:lnTo>
                    <a:pt x="212" y="557"/>
                  </a:lnTo>
                  <a:lnTo>
                    <a:pt x="212" y="556"/>
                  </a:lnTo>
                  <a:lnTo>
                    <a:pt x="213" y="556"/>
                  </a:lnTo>
                  <a:lnTo>
                    <a:pt x="212" y="556"/>
                  </a:lnTo>
                  <a:lnTo>
                    <a:pt x="213" y="556"/>
                  </a:lnTo>
                  <a:close/>
                  <a:moveTo>
                    <a:pt x="675" y="63"/>
                  </a:moveTo>
                  <a:lnTo>
                    <a:pt x="677" y="63"/>
                  </a:lnTo>
                  <a:lnTo>
                    <a:pt x="677" y="65"/>
                  </a:lnTo>
                  <a:lnTo>
                    <a:pt x="678" y="63"/>
                  </a:lnTo>
                  <a:lnTo>
                    <a:pt x="678" y="65"/>
                  </a:lnTo>
                  <a:lnTo>
                    <a:pt x="677" y="65"/>
                  </a:lnTo>
                  <a:lnTo>
                    <a:pt x="678" y="65"/>
                  </a:lnTo>
                  <a:lnTo>
                    <a:pt x="678" y="63"/>
                  </a:lnTo>
                  <a:lnTo>
                    <a:pt x="678" y="65"/>
                  </a:lnTo>
                  <a:lnTo>
                    <a:pt x="678" y="63"/>
                  </a:lnTo>
                  <a:lnTo>
                    <a:pt x="678" y="65"/>
                  </a:lnTo>
                  <a:lnTo>
                    <a:pt x="680" y="65"/>
                  </a:lnTo>
                  <a:lnTo>
                    <a:pt x="678" y="65"/>
                  </a:lnTo>
                  <a:lnTo>
                    <a:pt x="678" y="66"/>
                  </a:lnTo>
                  <a:lnTo>
                    <a:pt x="680" y="66"/>
                  </a:lnTo>
                  <a:lnTo>
                    <a:pt x="678" y="66"/>
                  </a:lnTo>
                  <a:lnTo>
                    <a:pt x="677" y="68"/>
                  </a:lnTo>
                  <a:lnTo>
                    <a:pt x="677" y="66"/>
                  </a:lnTo>
                  <a:lnTo>
                    <a:pt x="675" y="66"/>
                  </a:lnTo>
                  <a:lnTo>
                    <a:pt x="677" y="66"/>
                  </a:lnTo>
                  <a:lnTo>
                    <a:pt x="677" y="65"/>
                  </a:lnTo>
                  <a:lnTo>
                    <a:pt x="677" y="66"/>
                  </a:lnTo>
                  <a:lnTo>
                    <a:pt x="675" y="66"/>
                  </a:lnTo>
                  <a:lnTo>
                    <a:pt x="675" y="65"/>
                  </a:lnTo>
                  <a:lnTo>
                    <a:pt x="673" y="65"/>
                  </a:lnTo>
                  <a:lnTo>
                    <a:pt x="675" y="65"/>
                  </a:lnTo>
                  <a:lnTo>
                    <a:pt x="673" y="65"/>
                  </a:lnTo>
                  <a:lnTo>
                    <a:pt x="675" y="63"/>
                  </a:lnTo>
                  <a:close/>
                  <a:moveTo>
                    <a:pt x="197" y="340"/>
                  </a:moveTo>
                  <a:lnTo>
                    <a:pt x="199" y="340"/>
                  </a:lnTo>
                  <a:lnTo>
                    <a:pt x="200" y="340"/>
                  </a:lnTo>
                  <a:lnTo>
                    <a:pt x="202" y="341"/>
                  </a:lnTo>
                  <a:lnTo>
                    <a:pt x="202" y="343"/>
                  </a:lnTo>
                  <a:lnTo>
                    <a:pt x="200" y="343"/>
                  </a:lnTo>
                  <a:lnTo>
                    <a:pt x="199" y="343"/>
                  </a:lnTo>
                  <a:lnTo>
                    <a:pt x="197" y="343"/>
                  </a:lnTo>
                  <a:lnTo>
                    <a:pt x="197" y="341"/>
                  </a:lnTo>
                  <a:lnTo>
                    <a:pt x="197" y="340"/>
                  </a:lnTo>
                  <a:close/>
                  <a:moveTo>
                    <a:pt x="243" y="336"/>
                  </a:moveTo>
                  <a:lnTo>
                    <a:pt x="244" y="338"/>
                  </a:lnTo>
                  <a:lnTo>
                    <a:pt x="246" y="338"/>
                  </a:lnTo>
                  <a:lnTo>
                    <a:pt x="246" y="340"/>
                  </a:lnTo>
                  <a:lnTo>
                    <a:pt x="246" y="341"/>
                  </a:lnTo>
                  <a:lnTo>
                    <a:pt x="244" y="341"/>
                  </a:lnTo>
                  <a:lnTo>
                    <a:pt x="244" y="340"/>
                  </a:lnTo>
                  <a:lnTo>
                    <a:pt x="243" y="341"/>
                  </a:lnTo>
                  <a:lnTo>
                    <a:pt x="243" y="340"/>
                  </a:lnTo>
                  <a:lnTo>
                    <a:pt x="243" y="341"/>
                  </a:lnTo>
                  <a:lnTo>
                    <a:pt x="243" y="340"/>
                  </a:lnTo>
                  <a:lnTo>
                    <a:pt x="241" y="340"/>
                  </a:lnTo>
                  <a:lnTo>
                    <a:pt x="243" y="340"/>
                  </a:lnTo>
                  <a:lnTo>
                    <a:pt x="243" y="338"/>
                  </a:lnTo>
                  <a:lnTo>
                    <a:pt x="241" y="340"/>
                  </a:lnTo>
                  <a:lnTo>
                    <a:pt x="241" y="338"/>
                  </a:lnTo>
                  <a:lnTo>
                    <a:pt x="241" y="336"/>
                  </a:lnTo>
                  <a:lnTo>
                    <a:pt x="243" y="338"/>
                  </a:lnTo>
                  <a:lnTo>
                    <a:pt x="243" y="336"/>
                  </a:lnTo>
                  <a:lnTo>
                    <a:pt x="241" y="336"/>
                  </a:lnTo>
                  <a:lnTo>
                    <a:pt x="243" y="336"/>
                  </a:lnTo>
                  <a:close/>
                  <a:moveTo>
                    <a:pt x="171" y="436"/>
                  </a:moveTo>
                  <a:lnTo>
                    <a:pt x="173" y="436"/>
                  </a:lnTo>
                  <a:lnTo>
                    <a:pt x="173" y="437"/>
                  </a:lnTo>
                  <a:lnTo>
                    <a:pt x="171" y="437"/>
                  </a:lnTo>
                  <a:lnTo>
                    <a:pt x="171" y="439"/>
                  </a:lnTo>
                  <a:lnTo>
                    <a:pt x="171" y="440"/>
                  </a:lnTo>
                  <a:lnTo>
                    <a:pt x="171" y="439"/>
                  </a:lnTo>
                  <a:lnTo>
                    <a:pt x="169" y="439"/>
                  </a:lnTo>
                  <a:lnTo>
                    <a:pt x="169" y="440"/>
                  </a:lnTo>
                  <a:lnTo>
                    <a:pt x="171" y="440"/>
                  </a:lnTo>
                  <a:lnTo>
                    <a:pt x="169" y="440"/>
                  </a:lnTo>
                  <a:lnTo>
                    <a:pt x="168" y="440"/>
                  </a:lnTo>
                  <a:lnTo>
                    <a:pt x="168" y="439"/>
                  </a:lnTo>
                  <a:lnTo>
                    <a:pt x="169" y="437"/>
                  </a:lnTo>
                  <a:lnTo>
                    <a:pt x="168" y="437"/>
                  </a:lnTo>
                  <a:lnTo>
                    <a:pt x="169" y="436"/>
                  </a:lnTo>
                  <a:lnTo>
                    <a:pt x="168" y="436"/>
                  </a:lnTo>
                  <a:lnTo>
                    <a:pt x="169" y="436"/>
                  </a:lnTo>
                  <a:lnTo>
                    <a:pt x="171" y="436"/>
                  </a:lnTo>
                  <a:close/>
                  <a:moveTo>
                    <a:pt x="135" y="466"/>
                  </a:moveTo>
                  <a:lnTo>
                    <a:pt x="135" y="465"/>
                  </a:lnTo>
                  <a:lnTo>
                    <a:pt x="135" y="466"/>
                  </a:lnTo>
                  <a:lnTo>
                    <a:pt x="137" y="466"/>
                  </a:lnTo>
                  <a:lnTo>
                    <a:pt x="135" y="466"/>
                  </a:lnTo>
                  <a:lnTo>
                    <a:pt x="135" y="468"/>
                  </a:lnTo>
                  <a:lnTo>
                    <a:pt x="135" y="470"/>
                  </a:lnTo>
                  <a:lnTo>
                    <a:pt x="134" y="470"/>
                  </a:lnTo>
                  <a:lnTo>
                    <a:pt x="132" y="470"/>
                  </a:lnTo>
                  <a:lnTo>
                    <a:pt x="132" y="468"/>
                  </a:lnTo>
                  <a:lnTo>
                    <a:pt x="132" y="466"/>
                  </a:lnTo>
                  <a:lnTo>
                    <a:pt x="134" y="466"/>
                  </a:lnTo>
                  <a:lnTo>
                    <a:pt x="135" y="466"/>
                  </a:lnTo>
                  <a:close/>
                  <a:moveTo>
                    <a:pt x="558" y="219"/>
                  </a:moveTo>
                  <a:lnTo>
                    <a:pt x="558" y="221"/>
                  </a:lnTo>
                  <a:lnTo>
                    <a:pt x="558" y="219"/>
                  </a:lnTo>
                  <a:lnTo>
                    <a:pt x="556" y="218"/>
                  </a:lnTo>
                  <a:lnTo>
                    <a:pt x="556" y="216"/>
                  </a:lnTo>
                  <a:lnTo>
                    <a:pt x="558" y="214"/>
                  </a:lnTo>
                  <a:lnTo>
                    <a:pt x="560" y="214"/>
                  </a:lnTo>
                  <a:lnTo>
                    <a:pt x="560" y="216"/>
                  </a:lnTo>
                  <a:lnTo>
                    <a:pt x="560" y="218"/>
                  </a:lnTo>
                  <a:lnTo>
                    <a:pt x="558" y="219"/>
                  </a:lnTo>
                  <a:close/>
                  <a:moveTo>
                    <a:pt x="98" y="309"/>
                  </a:moveTo>
                  <a:lnTo>
                    <a:pt x="99" y="307"/>
                  </a:lnTo>
                  <a:lnTo>
                    <a:pt x="99" y="309"/>
                  </a:lnTo>
                  <a:lnTo>
                    <a:pt x="101" y="309"/>
                  </a:lnTo>
                  <a:lnTo>
                    <a:pt x="103" y="309"/>
                  </a:lnTo>
                  <a:lnTo>
                    <a:pt x="103" y="310"/>
                  </a:lnTo>
                  <a:lnTo>
                    <a:pt x="103" y="312"/>
                  </a:lnTo>
                  <a:lnTo>
                    <a:pt x="101" y="310"/>
                  </a:lnTo>
                  <a:lnTo>
                    <a:pt x="101" y="312"/>
                  </a:lnTo>
                  <a:lnTo>
                    <a:pt x="103" y="314"/>
                  </a:lnTo>
                  <a:lnTo>
                    <a:pt x="101" y="314"/>
                  </a:lnTo>
                  <a:lnTo>
                    <a:pt x="101" y="312"/>
                  </a:lnTo>
                  <a:lnTo>
                    <a:pt x="99" y="312"/>
                  </a:lnTo>
                  <a:lnTo>
                    <a:pt x="99" y="310"/>
                  </a:lnTo>
                  <a:lnTo>
                    <a:pt x="98" y="309"/>
                  </a:lnTo>
                  <a:lnTo>
                    <a:pt x="99" y="309"/>
                  </a:lnTo>
                  <a:lnTo>
                    <a:pt x="98" y="309"/>
                  </a:lnTo>
                  <a:close/>
                  <a:moveTo>
                    <a:pt x="190" y="380"/>
                  </a:moveTo>
                  <a:lnTo>
                    <a:pt x="192" y="380"/>
                  </a:lnTo>
                  <a:lnTo>
                    <a:pt x="194" y="380"/>
                  </a:lnTo>
                  <a:lnTo>
                    <a:pt x="194" y="382"/>
                  </a:lnTo>
                  <a:lnTo>
                    <a:pt x="195" y="382"/>
                  </a:lnTo>
                  <a:lnTo>
                    <a:pt x="194" y="382"/>
                  </a:lnTo>
                  <a:lnTo>
                    <a:pt x="194" y="383"/>
                  </a:lnTo>
                  <a:lnTo>
                    <a:pt x="194" y="385"/>
                  </a:lnTo>
                  <a:lnTo>
                    <a:pt x="192" y="385"/>
                  </a:lnTo>
                  <a:lnTo>
                    <a:pt x="190" y="383"/>
                  </a:lnTo>
                  <a:lnTo>
                    <a:pt x="192" y="383"/>
                  </a:lnTo>
                  <a:lnTo>
                    <a:pt x="192" y="382"/>
                  </a:lnTo>
                  <a:lnTo>
                    <a:pt x="190" y="382"/>
                  </a:lnTo>
                  <a:lnTo>
                    <a:pt x="192" y="380"/>
                  </a:lnTo>
                  <a:lnTo>
                    <a:pt x="192" y="382"/>
                  </a:lnTo>
                  <a:lnTo>
                    <a:pt x="194" y="382"/>
                  </a:lnTo>
                  <a:lnTo>
                    <a:pt x="192" y="382"/>
                  </a:lnTo>
                  <a:lnTo>
                    <a:pt x="192" y="380"/>
                  </a:lnTo>
                  <a:lnTo>
                    <a:pt x="190" y="380"/>
                  </a:lnTo>
                  <a:close/>
                  <a:moveTo>
                    <a:pt x="269" y="501"/>
                  </a:moveTo>
                  <a:lnTo>
                    <a:pt x="269" y="502"/>
                  </a:lnTo>
                  <a:lnTo>
                    <a:pt x="270" y="502"/>
                  </a:lnTo>
                  <a:lnTo>
                    <a:pt x="270" y="501"/>
                  </a:lnTo>
                  <a:lnTo>
                    <a:pt x="270" y="502"/>
                  </a:lnTo>
                  <a:lnTo>
                    <a:pt x="272" y="504"/>
                  </a:lnTo>
                  <a:lnTo>
                    <a:pt x="272" y="502"/>
                  </a:lnTo>
                  <a:lnTo>
                    <a:pt x="273" y="504"/>
                  </a:lnTo>
                  <a:lnTo>
                    <a:pt x="272" y="504"/>
                  </a:lnTo>
                  <a:lnTo>
                    <a:pt x="270" y="504"/>
                  </a:lnTo>
                  <a:lnTo>
                    <a:pt x="269" y="504"/>
                  </a:lnTo>
                  <a:lnTo>
                    <a:pt x="267" y="504"/>
                  </a:lnTo>
                  <a:lnTo>
                    <a:pt x="267" y="502"/>
                  </a:lnTo>
                  <a:lnTo>
                    <a:pt x="269" y="501"/>
                  </a:lnTo>
                  <a:close/>
                  <a:moveTo>
                    <a:pt x="13" y="1459"/>
                  </a:moveTo>
                  <a:lnTo>
                    <a:pt x="13" y="1457"/>
                  </a:lnTo>
                  <a:lnTo>
                    <a:pt x="13" y="1459"/>
                  </a:lnTo>
                  <a:lnTo>
                    <a:pt x="13" y="1457"/>
                  </a:lnTo>
                  <a:lnTo>
                    <a:pt x="13" y="1459"/>
                  </a:lnTo>
                  <a:lnTo>
                    <a:pt x="15" y="1459"/>
                  </a:lnTo>
                  <a:lnTo>
                    <a:pt x="15" y="1460"/>
                  </a:lnTo>
                  <a:lnTo>
                    <a:pt x="15" y="1462"/>
                  </a:lnTo>
                  <a:lnTo>
                    <a:pt x="15" y="1460"/>
                  </a:lnTo>
                  <a:lnTo>
                    <a:pt x="15" y="1462"/>
                  </a:lnTo>
                  <a:lnTo>
                    <a:pt x="13" y="1462"/>
                  </a:lnTo>
                  <a:lnTo>
                    <a:pt x="12" y="1462"/>
                  </a:lnTo>
                  <a:lnTo>
                    <a:pt x="13" y="1462"/>
                  </a:lnTo>
                  <a:lnTo>
                    <a:pt x="12" y="1462"/>
                  </a:lnTo>
                  <a:lnTo>
                    <a:pt x="12" y="1460"/>
                  </a:lnTo>
                  <a:lnTo>
                    <a:pt x="12" y="1462"/>
                  </a:lnTo>
                  <a:lnTo>
                    <a:pt x="10" y="1462"/>
                  </a:lnTo>
                  <a:lnTo>
                    <a:pt x="10" y="1460"/>
                  </a:lnTo>
                  <a:lnTo>
                    <a:pt x="12" y="1460"/>
                  </a:lnTo>
                  <a:lnTo>
                    <a:pt x="12" y="1459"/>
                  </a:lnTo>
                  <a:lnTo>
                    <a:pt x="13" y="1459"/>
                  </a:lnTo>
                  <a:close/>
                  <a:moveTo>
                    <a:pt x="239" y="488"/>
                  </a:moveTo>
                  <a:lnTo>
                    <a:pt x="241" y="489"/>
                  </a:lnTo>
                  <a:lnTo>
                    <a:pt x="243" y="489"/>
                  </a:lnTo>
                  <a:lnTo>
                    <a:pt x="244" y="491"/>
                  </a:lnTo>
                  <a:lnTo>
                    <a:pt x="243" y="491"/>
                  </a:lnTo>
                  <a:lnTo>
                    <a:pt x="243" y="492"/>
                  </a:lnTo>
                  <a:lnTo>
                    <a:pt x="243" y="491"/>
                  </a:lnTo>
                  <a:lnTo>
                    <a:pt x="243" y="492"/>
                  </a:lnTo>
                  <a:lnTo>
                    <a:pt x="241" y="492"/>
                  </a:lnTo>
                  <a:lnTo>
                    <a:pt x="241" y="491"/>
                  </a:lnTo>
                  <a:lnTo>
                    <a:pt x="239" y="491"/>
                  </a:lnTo>
                  <a:lnTo>
                    <a:pt x="238" y="491"/>
                  </a:lnTo>
                  <a:lnTo>
                    <a:pt x="239" y="491"/>
                  </a:lnTo>
                  <a:lnTo>
                    <a:pt x="239" y="489"/>
                  </a:lnTo>
                  <a:lnTo>
                    <a:pt x="239" y="488"/>
                  </a:lnTo>
                  <a:close/>
                  <a:moveTo>
                    <a:pt x="552" y="720"/>
                  </a:moveTo>
                  <a:lnTo>
                    <a:pt x="553" y="722"/>
                  </a:lnTo>
                  <a:lnTo>
                    <a:pt x="555" y="722"/>
                  </a:lnTo>
                  <a:lnTo>
                    <a:pt x="555" y="720"/>
                  </a:lnTo>
                  <a:lnTo>
                    <a:pt x="556" y="722"/>
                  </a:lnTo>
                  <a:lnTo>
                    <a:pt x="555" y="722"/>
                  </a:lnTo>
                  <a:lnTo>
                    <a:pt x="556" y="722"/>
                  </a:lnTo>
                  <a:lnTo>
                    <a:pt x="558" y="722"/>
                  </a:lnTo>
                  <a:lnTo>
                    <a:pt x="556" y="723"/>
                  </a:lnTo>
                  <a:lnTo>
                    <a:pt x="556" y="725"/>
                  </a:lnTo>
                  <a:lnTo>
                    <a:pt x="555" y="723"/>
                  </a:lnTo>
                  <a:lnTo>
                    <a:pt x="555" y="722"/>
                  </a:lnTo>
                  <a:lnTo>
                    <a:pt x="553" y="722"/>
                  </a:lnTo>
                  <a:lnTo>
                    <a:pt x="552" y="722"/>
                  </a:lnTo>
                  <a:lnTo>
                    <a:pt x="552" y="720"/>
                  </a:lnTo>
                  <a:close/>
                  <a:moveTo>
                    <a:pt x="212" y="603"/>
                  </a:moveTo>
                  <a:lnTo>
                    <a:pt x="213" y="605"/>
                  </a:lnTo>
                  <a:lnTo>
                    <a:pt x="215" y="605"/>
                  </a:lnTo>
                  <a:lnTo>
                    <a:pt x="216" y="605"/>
                  </a:lnTo>
                  <a:lnTo>
                    <a:pt x="216" y="606"/>
                  </a:lnTo>
                  <a:lnTo>
                    <a:pt x="216" y="605"/>
                  </a:lnTo>
                  <a:lnTo>
                    <a:pt x="215" y="605"/>
                  </a:lnTo>
                  <a:lnTo>
                    <a:pt x="215" y="606"/>
                  </a:lnTo>
                  <a:lnTo>
                    <a:pt x="213" y="606"/>
                  </a:lnTo>
                  <a:lnTo>
                    <a:pt x="213" y="608"/>
                  </a:lnTo>
                  <a:lnTo>
                    <a:pt x="212" y="606"/>
                  </a:lnTo>
                  <a:lnTo>
                    <a:pt x="213" y="606"/>
                  </a:lnTo>
                  <a:lnTo>
                    <a:pt x="213" y="605"/>
                  </a:lnTo>
                  <a:lnTo>
                    <a:pt x="212" y="605"/>
                  </a:lnTo>
                  <a:lnTo>
                    <a:pt x="213" y="605"/>
                  </a:lnTo>
                  <a:lnTo>
                    <a:pt x="212" y="605"/>
                  </a:lnTo>
                  <a:lnTo>
                    <a:pt x="212" y="603"/>
                  </a:lnTo>
                  <a:close/>
                  <a:moveTo>
                    <a:pt x="145" y="458"/>
                  </a:moveTo>
                  <a:lnTo>
                    <a:pt x="147" y="458"/>
                  </a:lnTo>
                  <a:lnTo>
                    <a:pt x="148" y="458"/>
                  </a:lnTo>
                  <a:lnTo>
                    <a:pt x="148" y="460"/>
                  </a:lnTo>
                  <a:lnTo>
                    <a:pt x="147" y="462"/>
                  </a:lnTo>
                  <a:lnTo>
                    <a:pt x="147" y="460"/>
                  </a:lnTo>
                  <a:lnTo>
                    <a:pt x="147" y="462"/>
                  </a:lnTo>
                  <a:lnTo>
                    <a:pt x="145" y="462"/>
                  </a:lnTo>
                  <a:lnTo>
                    <a:pt x="145" y="460"/>
                  </a:lnTo>
                  <a:lnTo>
                    <a:pt x="145" y="458"/>
                  </a:lnTo>
                  <a:close/>
                  <a:moveTo>
                    <a:pt x="189" y="393"/>
                  </a:moveTo>
                  <a:lnTo>
                    <a:pt x="189" y="395"/>
                  </a:lnTo>
                  <a:lnTo>
                    <a:pt x="189" y="393"/>
                  </a:lnTo>
                  <a:lnTo>
                    <a:pt x="189" y="395"/>
                  </a:lnTo>
                  <a:lnTo>
                    <a:pt x="187" y="396"/>
                  </a:lnTo>
                  <a:lnTo>
                    <a:pt x="187" y="395"/>
                  </a:lnTo>
                  <a:lnTo>
                    <a:pt x="187" y="396"/>
                  </a:lnTo>
                  <a:lnTo>
                    <a:pt x="186" y="396"/>
                  </a:lnTo>
                  <a:lnTo>
                    <a:pt x="186" y="395"/>
                  </a:lnTo>
                  <a:lnTo>
                    <a:pt x="187" y="393"/>
                  </a:lnTo>
                  <a:lnTo>
                    <a:pt x="189" y="393"/>
                  </a:lnTo>
                  <a:close/>
                  <a:moveTo>
                    <a:pt x="530" y="281"/>
                  </a:moveTo>
                  <a:lnTo>
                    <a:pt x="530" y="283"/>
                  </a:lnTo>
                  <a:lnTo>
                    <a:pt x="529" y="283"/>
                  </a:lnTo>
                  <a:lnTo>
                    <a:pt x="529" y="281"/>
                  </a:lnTo>
                  <a:lnTo>
                    <a:pt x="530" y="281"/>
                  </a:lnTo>
                  <a:lnTo>
                    <a:pt x="530" y="279"/>
                  </a:lnTo>
                  <a:lnTo>
                    <a:pt x="532" y="279"/>
                  </a:lnTo>
                  <a:lnTo>
                    <a:pt x="532" y="278"/>
                  </a:lnTo>
                  <a:lnTo>
                    <a:pt x="532" y="279"/>
                  </a:lnTo>
                  <a:lnTo>
                    <a:pt x="534" y="279"/>
                  </a:lnTo>
                  <a:lnTo>
                    <a:pt x="532" y="281"/>
                  </a:lnTo>
                  <a:lnTo>
                    <a:pt x="532" y="283"/>
                  </a:lnTo>
                  <a:lnTo>
                    <a:pt x="530" y="281"/>
                  </a:lnTo>
                  <a:close/>
                  <a:moveTo>
                    <a:pt x="524" y="240"/>
                  </a:moveTo>
                  <a:lnTo>
                    <a:pt x="525" y="240"/>
                  </a:lnTo>
                  <a:lnTo>
                    <a:pt x="525" y="242"/>
                  </a:lnTo>
                  <a:lnTo>
                    <a:pt x="527" y="242"/>
                  </a:lnTo>
                  <a:lnTo>
                    <a:pt x="527" y="244"/>
                  </a:lnTo>
                  <a:lnTo>
                    <a:pt x="525" y="244"/>
                  </a:lnTo>
                  <a:lnTo>
                    <a:pt x="524" y="244"/>
                  </a:lnTo>
                  <a:lnTo>
                    <a:pt x="524" y="240"/>
                  </a:lnTo>
                  <a:close/>
                  <a:moveTo>
                    <a:pt x="270" y="587"/>
                  </a:moveTo>
                  <a:lnTo>
                    <a:pt x="272" y="588"/>
                  </a:lnTo>
                  <a:lnTo>
                    <a:pt x="270" y="590"/>
                  </a:lnTo>
                  <a:lnTo>
                    <a:pt x="272" y="590"/>
                  </a:lnTo>
                  <a:lnTo>
                    <a:pt x="269" y="592"/>
                  </a:lnTo>
                  <a:lnTo>
                    <a:pt x="269" y="590"/>
                  </a:lnTo>
                  <a:lnTo>
                    <a:pt x="269" y="588"/>
                  </a:lnTo>
                  <a:lnTo>
                    <a:pt x="270" y="587"/>
                  </a:lnTo>
                  <a:close/>
                  <a:moveTo>
                    <a:pt x="371" y="291"/>
                  </a:moveTo>
                  <a:lnTo>
                    <a:pt x="373" y="291"/>
                  </a:lnTo>
                  <a:lnTo>
                    <a:pt x="373" y="292"/>
                  </a:lnTo>
                  <a:lnTo>
                    <a:pt x="371" y="292"/>
                  </a:lnTo>
                  <a:lnTo>
                    <a:pt x="369" y="292"/>
                  </a:lnTo>
                  <a:lnTo>
                    <a:pt x="369" y="291"/>
                  </a:lnTo>
                  <a:lnTo>
                    <a:pt x="371" y="291"/>
                  </a:lnTo>
                  <a:close/>
                  <a:moveTo>
                    <a:pt x="195" y="1315"/>
                  </a:moveTo>
                  <a:lnTo>
                    <a:pt x="197" y="1317"/>
                  </a:lnTo>
                  <a:lnTo>
                    <a:pt x="195" y="1317"/>
                  </a:lnTo>
                  <a:lnTo>
                    <a:pt x="194" y="1315"/>
                  </a:lnTo>
                  <a:lnTo>
                    <a:pt x="195" y="1315"/>
                  </a:lnTo>
                  <a:lnTo>
                    <a:pt x="194" y="1315"/>
                  </a:lnTo>
                  <a:lnTo>
                    <a:pt x="195" y="1314"/>
                  </a:lnTo>
                  <a:lnTo>
                    <a:pt x="194" y="1314"/>
                  </a:lnTo>
                  <a:lnTo>
                    <a:pt x="195" y="1314"/>
                  </a:lnTo>
                  <a:lnTo>
                    <a:pt x="195" y="1312"/>
                  </a:lnTo>
                  <a:lnTo>
                    <a:pt x="195" y="1311"/>
                  </a:lnTo>
                  <a:lnTo>
                    <a:pt x="197" y="1311"/>
                  </a:lnTo>
                  <a:lnTo>
                    <a:pt x="197" y="1312"/>
                  </a:lnTo>
                  <a:lnTo>
                    <a:pt x="195" y="1312"/>
                  </a:lnTo>
                  <a:lnTo>
                    <a:pt x="197" y="1312"/>
                  </a:lnTo>
                  <a:lnTo>
                    <a:pt x="197" y="1314"/>
                  </a:lnTo>
                  <a:lnTo>
                    <a:pt x="197" y="1315"/>
                  </a:lnTo>
                  <a:lnTo>
                    <a:pt x="195" y="1315"/>
                  </a:lnTo>
                  <a:close/>
                  <a:moveTo>
                    <a:pt x="693" y="66"/>
                  </a:moveTo>
                  <a:lnTo>
                    <a:pt x="693" y="68"/>
                  </a:lnTo>
                  <a:lnTo>
                    <a:pt x="695" y="68"/>
                  </a:lnTo>
                  <a:lnTo>
                    <a:pt x="695" y="70"/>
                  </a:lnTo>
                  <a:lnTo>
                    <a:pt x="695" y="68"/>
                  </a:lnTo>
                  <a:lnTo>
                    <a:pt x="695" y="70"/>
                  </a:lnTo>
                  <a:lnTo>
                    <a:pt x="693" y="70"/>
                  </a:lnTo>
                  <a:lnTo>
                    <a:pt x="693" y="71"/>
                  </a:lnTo>
                  <a:lnTo>
                    <a:pt x="691" y="71"/>
                  </a:lnTo>
                  <a:lnTo>
                    <a:pt x="691" y="70"/>
                  </a:lnTo>
                  <a:lnTo>
                    <a:pt x="693" y="68"/>
                  </a:lnTo>
                  <a:lnTo>
                    <a:pt x="693" y="70"/>
                  </a:lnTo>
                  <a:lnTo>
                    <a:pt x="693" y="68"/>
                  </a:lnTo>
                  <a:lnTo>
                    <a:pt x="691" y="68"/>
                  </a:lnTo>
                  <a:lnTo>
                    <a:pt x="693" y="66"/>
                  </a:lnTo>
                  <a:close/>
                  <a:moveTo>
                    <a:pt x="719" y="99"/>
                  </a:moveTo>
                  <a:lnTo>
                    <a:pt x="719" y="97"/>
                  </a:lnTo>
                  <a:lnTo>
                    <a:pt x="719" y="99"/>
                  </a:lnTo>
                  <a:lnTo>
                    <a:pt x="719" y="97"/>
                  </a:lnTo>
                  <a:lnTo>
                    <a:pt x="719" y="99"/>
                  </a:lnTo>
                  <a:lnTo>
                    <a:pt x="721" y="99"/>
                  </a:lnTo>
                  <a:lnTo>
                    <a:pt x="722" y="99"/>
                  </a:lnTo>
                  <a:lnTo>
                    <a:pt x="722" y="100"/>
                  </a:lnTo>
                  <a:lnTo>
                    <a:pt x="721" y="100"/>
                  </a:lnTo>
                  <a:lnTo>
                    <a:pt x="719" y="100"/>
                  </a:lnTo>
                  <a:lnTo>
                    <a:pt x="719" y="99"/>
                  </a:lnTo>
                  <a:close/>
                  <a:moveTo>
                    <a:pt x="321" y="361"/>
                  </a:moveTo>
                  <a:lnTo>
                    <a:pt x="322" y="362"/>
                  </a:lnTo>
                  <a:lnTo>
                    <a:pt x="322" y="364"/>
                  </a:lnTo>
                  <a:lnTo>
                    <a:pt x="321" y="362"/>
                  </a:lnTo>
                  <a:lnTo>
                    <a:pt x="319" y="361"/>
                  </a:lnTo>
                  <a:lnTo>
                    <a:pt x="319" y="359"/>
                  </a:lnTo>
                  <a:lnTo>
                    <a:pt x="321" y="359"/>
                  </a:lnTo>
                  <a:lnTo>
                    <a:pt x="321" y="361"/>
                  </a:lnTo>
                  <a:close/>
                  <a:moveTo>
                    <a:pt x="342" y="340"/>
                  </a:moveTo>
                  <a:lnTo>
                    <a:pt x="342" y="338"/>
                  </a:lnTo>
                  <a:lnTo>
                    <a:pt x="343" y="338"/>
                  </a:lnTo>
                  <a:lnTo>
                    <a:pt x="343" y="340"/>
                  </a:lnTo>
                  <a:lnTo>
                    <a:pt x="343" y="341"/>
                  </a:lnTo>
                  <a:lnTo>
                    <a:pt x="343" y="340"/>
                  </a:lnTo>
                  <a:lnTo>
                    <a:pt x="343" y="341"/>
                  </a:lnTo>
                  <a:lnTo>
                    <a:pt x="345" y="341"/>
                  </a:lnTo>
                  <a:lnTo>
                    <a:pt x="343" y="341"/>
                  </a:lnTo>
                  <a:lnTo>
                    <a:pt x="342" y="341"/>
                  </a:lnTo>
                  <a:lnTo>
                    <a:pt x="342" y="340"/>
                  </a:lnTo>
                  <a:lnTo>
                    <a:pt x="342" y="338"/>
                  </a:lnTo>
                  <a:lnTo>
                    <a:pt x="342" y="340"/>
                  </a:lnTo>
                  <a:close/>
                  <a:moveTo>
                    <a:pt x="555" y="221"/>
                  </a:moveTo>
                  <a:lnTo>
                    <a:pt x="555" y="222"/>
                  </a:lnTo>
                  <a:lnTo>
                    <a:pt x="553" y="221"/>
                  </a:lnTo>
                  <a:lnTo>
                    <a:pt x="552" y="221"/>
                  </a:lnTo>
                  <a:lnTo>
                    <a:pt x="553" y="219"/>
                  </a:lnTo>
                  <a:lnTo>
                    <a:pt x="555" y="219"/>
                  </a:lnTo>
                  <a:lnTo>
                    <a:pt x="556" y="219"/>
                  </a:lnTo>
                  <a:lnTo>
                    <a:pt x="556" y="221"/>
                  </a:lnTo>
                  <a:lnTo>
                    <a:pt x="555" y="221"/>
                  </a:lnTo>
                  <a:close/>
                  <a:moveTo>
                    <a:pt x="182" y="354"/>
                  </a:moveTo>
                  <a:lnTo>
                    <a:pt x="182" y="353"/>
                  </a:lnTo>
                  <a:lnTo>
                    <a:pt x="182" y="354"/>
                  </a:lnTo>
                  <a:lnTo>
                    <a:pt x="184" y="353"/>
                  </a:lnTo>
                  <a:lnTo>
                    <a:pt x="184" y="354"/>
                  </a:lnTo>
                  <a:lnTo>
                    <a:pt x="182" y="354"/>
                  </a:lnTo>
                  <a:lnTo>
                    <a:pt x="182" y="356"/>
                  </a:lnTo>
                  <a:lnTo>
                    <a:pt x="182" y="354"/>
                  </a:lnTo>
                  <a:lnTo>
                    <a:pt x="181" y="354"/>
                  </a:lnTo>
                  <a:lnTo>
                    <a:pt x="179" y="354"/>
                  </a:lnTo>
                  <a:lnTo>
                    <a:pt x="179" y="353"/>
                  </a:lnTo>
                  <a:lnTo>
                    <a:pt x="181" y="354"/>
                  </a:lnTo>
                  <a:lnTo>
                    <a:pt x="182" y="353"/>
                  </a:lnTo>
                  <a:lnTo>
                    <a:pt x="181" y="353"/>
                  </a:lnTo>
                  <a:lnTo>
                    <a:pt x="182" y="353"/>
                  </a:lnTo>
                  <a:lnTo>
                    <a:pt x="182" y="354"/>
                  </a:lnTo>
                  <a:close/>
                  <a:moveTo>
                    <a:pt x="553" y="224"/>
                  </a:moveTo>
                  <a:lnTo>
                    <a:pt x="555" y="226"/>
                  </a:lnTo>
                  <a:lnTo>
                    <a:pt x="555" y="227"/>
                  </a:lnTo>
                  <a:lnTo>
                    <a:pt x="555" y="226"/>
                  </a:lnTo>
                  <a:lnTo>
                    <a:pt x="553" y="226"/>
                  </a:lnTo>
                  <a:lnTo>
                    <a:pt x="553" y="227"/>
                  </a:lnTo>
                  <a:lnTo>
                    <a:pt x="553" y="226"/>
                  </a:lnTo>
                  <a:lnTo>
                    <a:pt x="552" y="226"/>
                  </a:lnTo>
                  <a:lnTo>
                    <a:pt x="552" y="224"/>
                  </a:lnTo>
                  <a:lnTo>
                    <a:pt x="553" y="224"/>
                  </a:lnTo>
                  <a:lnTo>
                    <a:pt x="555" y="224"/>
                  </a:lnTo>
                  <a:lnTo>
                    <a:pt x="553" y="224"/>
                  </a:lnTo>
                  <a:close/>
                  <a:moveTo>
                    <a:pt x="138" y="462"/>
                  </a:moveTo>
                  <a:lnTo>
                    <a:pt x="140" y="463"/>
                  </a:lnTo>
                  <a:lnTo>
                    <a:pt x="140" y="462"/>
                  </a:lnTo>
                  <a:lnTo>
                    <a:pt x="142" y="463"/>
                  </a:lnTo>
                  <a:lnTo>
                    <a:pt x="142" y="465"/>
                  </a:lnTo>
                  <a:lnTo>
                    <a:pt x="142" y="463"/>
                  </a:lnTo>
                  <a:lnTo>
                    <a:pt x="142" y="465"/>
                  </a:lnTo>
                  <a:lnTo>
                    <a:pt x="140" y="465"/>
                  </a:lnTo>
                  <a:lnTo>
                    <a:pt x="138" y="465"/>
                  </a:lnTo>
                  <a:lnTo>
                    <a:pt x="138" y="463"/>
                  </a:lnTo>
                  <a:lnTo>
                    <a:pt x="138" y="462"/>
                  </a:lnTo>
                  <a:close/>
                  <a:moveTo>
                    <a:pt x="682" y="84"/>
                  </a:moveTo>
                  <a:lnTo>
                    <a:pt x="683" y="84"/>
                  </a:lnTo>
                  <a:lnTo>
                    <a:pt x="683" y="86"/>
                  </a:lnTo>
                  <a:lnTo>
                    <a:pt x="682" y="86"/>
                  </a:lnTo>
                  <a:lnTo>
                    <a:pt x="680" y="86"/>
                  </a:lnTo>
                  <a:lnTo>
                    <a:pt x="680" y="84"/>
                  </a:lnTo>
                  <a:lnTo>
                    <a:pt x="682" y="84"/>
                  </a:lnTo>
                  <a:close/>
                  <a:moveTo>
                    <a:pt x="732" y="34"/>
                  </a:moveTo>
                  <a:lnTo>
                    <a:pt x="732" y="32"/>
                  </a:lnTo>
                  <a:lnTo>
                    <a:pt x="734" y="32"/>
                  </a:lnTo>
                  <a:lnTo>
                    <a:pt x="735" y="32"/>
                  </a:lnTo>
                  <a:lnTo>
                    <a:pt x="735" y="34"/>
                  </a:lnTo>
                  <a:lnTo>
                    <a:pt x="734" y="34"/>
                  </a:lnTo>
                  <a:lnTo>
                    <a:pt x="734" y="35"/>
                  </a:lnTo>
                  <a:lnTo>
                    <a:pt x="732" y="34"/>
                  </a:lnTo>
                  <a:lnTo>
                    <a:pt x="732" y="35"/>
                  </a:lnTo>
                  <a:lnTo>
                    <a:pt x="732" y="34"/>
                  </a:lnTo>
                  <a:close/>
                  <a:moveTo>
                    <a:pt x="532" y="258"/>
                  </a:moveTo>
                  <a:lnTo>
                    <a:pt x="532" y="257"/>
                  </a:lnTo>
                  <a:lnTo>
                    <a:pt x="532" y="255"/>
                  </a:lnTo>
                  <a:lnTo>
                    <a:pt x="534" y="255"/>
                  </a:lnTo>
                  <a:lnTo>
                    <a:pt x="534" y="257"/>
                  </a:lnTo>
                  <a:lnTo>
                    <a:pt x="534" y="258"/>
                  </a:lnTo>
                  <a:lnTo>
                    <a:pt x="532" y="258"/>
                  </a:lnTo>
                  <a:close/>
                  <a:moveTo>
                    <a:pt x="10" y="1452"/>
                  </a:moveTo>
                  <a:lnTo>
                    <a:pt x="10" y="1454"/>
                  </a:lnTo>
                  <a:lnTo>
                    <a:pt x="12" y="1454"/>
                  </a:lnTo>
                  <a:lnTo>
                    <a:pt x="12" y="1455"/>
                  </a:lnTo>
                  <a:lnTo>
                    <a:pt x="12" y="1457"/>
                  </a:lnTo>
                  <a:lnTo>
                    <a:pt x="12" y="1455"/>
                  </a:lnTo>
                  <a:lnTo>
                    <a:pt x="10" y="1457"/>
                  </a:lnTo>
                  <a:lnTo>
                    <a:pt x="10" y="1455"/>
                  </a:lnTo>
                  <a:lnTo>
                    <a:pt x="10" y="1454"/>
                  </a:lnTo>
                  <a:lnTo>
                    <a:pt x="10" y="1452"/>
                  </a:lnTo>
                  <a:close/>
                  <a:moveTo>
                    <a:pt x="166" y="445"/>
                  </a:moveTo>
                  <a:lnTo>
                    <a:pt x="164" y="445"/>
                  </a:lnTo>
                  <a:lnTo>
                    <a:pt x="164" y="447"/>
                  </a:lnTo>
                  <a:lnTo>
                    <a:pt x="163" y="447"/>
                  </a:lnTo>
                  <a:lnTo>
                    <a:pt x="163" y="445"/>
                  </a:lnTo>
                  <a:lnTo>
                    <a:pt x="164" y="445"/>
                  </a:lnTo>
                  <a:lnTo>
                    <a:pt x="164" y="447"/>
                  </a:lnTo>
                  <a:lnTo>
                    <a:pt x="164" y="445"/>
                  </a:lnTo>
                  <a:lnTo>
                    <a:pt x="163" y="445"/>
                  </a:lnTo>
                  <a:lnTo>
                    <a:pt x="166" y="444"/>
                  </a:lnTo>
                  <a:lnTo>
                    <a:pt x="166" y="445"/>
                  </a:lnTo>
                  <a:close/>
                  <a:moveTo>
                    <a:pt x="306" y="671"/>
                  </a:moveTo>
                  <a:lnTo>
                    <a:pt x="304" y="670"/>
                  </a:lnTo>
                  <a:lnTo>
                    <a:pt x="304" y="668"/>
                  </a:lnTo>
                  <a:lnTo>
                    <a:pt x="306" y="668"/>
                  </a:lnTo>
                  <a:lnTo>
                    <a:pt x="308" y="668"/>
                  </a:lnTo>
                  <a:lnTo>
                    <a:pt x="306" y="670"/>
                  </a:lnTo>
                  <a:lnTo>
                    <a:pt x="306" y="671"/>
                  </a:lnTo>
                  <a:close/>
                  <a:moveTo>
                    <a:pt x="288" y="426"/>
                  </a:moveTo>
                  <a:lnTo>
                    <a:pt x="290" y="426"/>
                  </a:lnTo>
                  <a:lnTo>
                    <a:pt x="290" y="427"/>
                  </a:lnTo>
                  <a:lnTo>
                    <a:pt x="288" y="427"/>
                  </a:lnTo>
                  <a:lnTo>
                    <a:pt x="288" y="426"/>
                  </a:lnTo>
                  <a:close/>
                  <a:moveTo>
                    <a:pt x="158" y="1224"/>
                  </a:moveTo>
                  <a:lnTo>
                    <a:pt x="160" y="1224"/>
                  </a:lnTo>
                  <a:lnTo>
                    <a:pt x="158" y="1224"/>
                  </a:lnTo>
                  <a:lnTo>
                    <a:pt x="158" y="1226"/>
                  </a:lnTo>
                  <a:lnTo>
                    <a:pt x="156" y="1224"/>
                  </a:lnTo>
                  <a:lnTo>
                    <a:pt x="156" y="1223"/>
                  </a:lnTo>
                  <a:lnTo>
                    <a:pt x="158" y="1223"/>
                  </a:lnTo>
                  <a:lnTo>
                    <a:pt x="158" y="1224"/>
                  </a:lnTo>
                  <a:close/>
                  <a:moveTo>
                    <a:pt x="576" y="208"/>
                  </a:moveTo>
                  <a:lnTo>
                    <a:pt x="574" y="208"/>
                  </a:lnTo>
                  <a:lnTo>
                    <a:pt x="574" y="206"/>
                  </a:lnTo>
                  <a:lnTo>
                    <a:pt x="574" y="205"/>
                  </a:lnTo>
                  <a:lnTo>
                    <a:pt x="574" y="206"/>
                  </a:lnTo>
                  <a:lnTo>
                    <a:pt x="576" y="206"/>
                  </a:lnTo>
                  <a:lnTo>
                    <a:pt x="576" y="208"/>
                  </a:lnTo>
                  <a:close/>
                  <a:moveTo>
                    <a:pt x="264" y="585"/>
                  </a:moveTo>
                  <a:lnTo>
                    <a:pt x="264" y="587"/>
                  </a:lnTo>
                  <a:lnTo>
                    <a:pt x="264" y="588"/>
                  </a:lnTo>
                  <a:lnTo>
                    <a:pt x="264" y="590"/>
                  </a:lnTo>
                  <a:lnTo>
                    <a:pt x="264" y="588"/>
                  </a:lnTo>
                  <a:lnTo>
                    <a:pt x="262" y="588"/>
                  </a:lnTo>
                  <a:lnTo>
                    <a:pt x="262" y="587"/>
                  </a:lnTo>
                  <a:lnTo>
                    <a:pt x="262" y="588"/>
                  </a:lnTo>
                  <a:lnTo>
                    <a:pt x="262" y="587"/>
                  </a:lnTo>
                  <a:lnTo>
                    <a:pt x="264" y="585"/>
                  </a:lnTo>
                  <a:lnTo>
                    <a:pt x="264" y="584"/>
                  </a:lnTo>
                  <a:lnTo>
                    <a:pt x="264" y="585"/>
                  </a:lnTo>
                  <a:close/>
                  <a:moveTo>
                    <a:pt x="134" y="473"/>
                  </a:moveTo>
                  <a:lnTo>
                    <a:pt x="132" y="473"/>
                  </a:lnTo>
                  <a:lnTo>
                    <a:pt x="132" y="471"/>
                  </a:lnTo>
                  <a:lnTo>
                    <a:pt x="134" y="471"/>
                  </a:lnTo>
                  <a:lnTo>
                    <a:pt x="135" y="471"/>
                  </a:lnTo>
                  <a:lnTo>
                    <a:pt x="135" y="473"/>
                  </a:lnTo>
                  <a:lnTo>
                    <a:pt x="134" y="473"/>
                  </a:lnTo>
                  <a:close/>
                  <a:moveTo>
                    <a:pt x="156" y="1203"/>
                  </a:moveTo>
                  <a:lnTo>
                    <a:pt x="158" y="1203"/>
                  </a:lnTo>
                  <a:lnTo>
                    <a:pt x="158" y="1205"/>
                  </a:lnTo>
                  <a:lnTo>
                    <a:pt x="158" y="1206"/>
                  </a:lnTo>
                  <a:lnTo>
                    <a:pt x="156" y="1208"/>
                  </a:lnTo>
                  <a:lnTo>
                    <a:pt x="158" y="1206"/>
                  </a:lnTo>
                  <a:lnTo>
                    <a:pt x="156" y="1206"/>
                  </a:lnTo>
                  <a:lnTo>
                    <a:pt x="156" y="1205"/>
                  </a:lnTo>
                  <a:lnTo>
                    <a:pt x="156" y="1203"/>
                  </a:lnTo>
                  <a:close/>
                  <a:moveTo>
                    <a:pt x="244" y="322"/>
                  </a:moveTo>
                  <a:lnTo>
                    <a:pt x="244" y="320"/>
                  </a:lnTo>
                  <a:lnTo>
                    <a:pt x="244" y="318"/>
                  </a:lnTo>
                  <a:lnTo>
                    <a:pt x="246" y="318"/>
                  </a:lnTo>
                  <a:lnTo>
                    <a:pt x="246" y="320"/>
                  </a:lnTo>
                  <a:lnTo>
                    <a:pt x="244" y="322"/>
                  </a:lnTo>
                  <a:close/>
                  <a:moveTo>
                    <a:pt x="740" y="24"/>
                  </a:moveTo>
                  <a:lnTo>
                    <a:pt x="740" y="26"/>
                  </a:lnTo>
                  <a:lnTo>
                    <a:pt x="742" y="26"/>
                  </a:lnTo>
                  <a:lnTo>
                    <a:pt x="742" y="27"/>
                  </a:lnTo>
                  <a:lnTo>
                    <a:pt x="740" y="27"/>
                  </a:lnTo>
                  <a:lnTo>
                    <a:pt x="740" y="26"/>
                  </a:lnTo>
                  <a:lnTo>
                    <a:pt x="740" y="24"/>
                  </a:lnTo>
                  <a:close/>
                  <a:moveTo>
                    <a:pt x="161" y="440"/>
                  </a:moveTo>
                  <a:lnTo>
                    <a:pt x="160" y="440"/>
                  </a:lnTo>
                  <a:lnTo>
                    <a:pt x="161" y="439"/>
                  </a:lnTo>
                  <a:lnTo>
                    <a:pt x="161" y="437"/>
                  </a:lnTo>
                  <a:lnTo>
                    <a:pt x="163" y="439"/>
                  </a:lnTo>
                  <a:lnTo>
                    <a:pt x="163" y="440"/>
                  </a:lnTo>
                  <a:lnTo>
                    <a:pt x="161" y="440"/>
                  </a:lnTo>
                  <a:close/>
                  <a:moveTo>
                    <a:pt x="291" y="697"/>
                  </a:moveTo>
                  <a:lnTo>
                    <a:pt x="290" y="697"/>
                  </a:lnTo>
                  <a:lnTo>
                    <a:pt x="290" y="696"/>
                  </a:lnTo>
                  <a:lnTo>
                    <a:pt x="290" y="694"/>
                  </a:lnTo>
                  <a:lnTo>
                    <a:pt x="290" y="692"/>
                  </a:lnTo>
                  <a:lnTo>
                    <a:pt x="291" y="694"/>
                  </a:lnTo>
                  <a:lnTo>
                    <a:pt x="291" y="696"/>
                  </a:lnTo>
                  <a:lnTo>
                    <a:pt x="291" y="697"/>
                  </a:lnTo>
                  <a:close/>
                  <a:moveTo>
                    <a:pt x="743" y="61"/>
                  </a:moveTo>
                  <a:lnTo>
                    <a:pt x="745" y="61"/>
                  </a:lnTo>
                  <a:lnTo>
                    <a:pt x="745" y="63"/>
                  </a:lnTo>
                  <a:lnTo>
                    <a:pt x="747" y="61"/>
                  </a:lnTo>
                  <a:lnTo>
                    <a:pt x="747" y="63"/>
                  </a:lnTo>
                  <a:lnTo>
                    <a:pt x="745" y="63"/>
                  </a:lnTo>
                  <a:lnTo>
                    <a:pt x="743" y="63"/>
                  </a:lnTo>
                  <a:lnTo>
                    <a:pt x="742" y="65"/>
                  </a:lnTo>
                  <a:lnTo>
                    <a:pt x="743" y="63"/>
                  </a:lnTo>
                  <a:lnTo>
                    <a:pt x="745" y="61"/>
                  </a:lnTo>
                  <a:lnTo>
                    <a:pt x="743" y="63"/>
                  </a:lnTo>
                  <a:lnTo>
                    <a:pt x="743" y="61"/>
                  </a:lnTo>
                  <a:close/>
                  <a:moveTo>
                    <a:pt x="291" y="658"/>
                  </a:moveTo>
                  <a:lnTo>
                    <a:pt x="291" y="657"/>
                  </a:lnTo>
                  <a:lnTo>
                    <a:pt x="291" y="655"/>
                  </a:lnTo>
                  <a:lnTo>
                    <a:pt x="291" y="653"/>
                  </a:lnTo>
                  <a:lnTo>
                    <a:pt x="293" y="653"/>
                  </a:lnTo>
                  <a:lnTo>
                    <a:pt x="293" y="655"/>
                  </a:lnTo>
                  <a:lnTo>
                    <a:pt x="293" y="657"/>
                  </a:lnTo>
                  <a:lnTo>
                    <a:pt x="293" y="658"/>
                  </a:lnTo>
                  <a:lnTo>
                    <a:pt x="291" y="658"/>
                  </a:lnTo>
                  <a:close/>
                  <a:moveTo>
                    <a:pt x="194" y="351"/>
                  </a:moveTo>
                  <a:lnTo>
                    <a:pt x="192" y="351"/>
                  </a:lnTo>
                  <a:lnTo>
                    <a:pt x="192" y="349"/>
                  </a:lnTo>
                  <a:lnTo>
                    <a:pt x="192" y="348"/>
                  </a:lnTo>
                  <a:lnTo>
                    <a:pt x="194" y="348"/>
                  </a:lnTo>
                  <a:lnTo>
                    <a:pt x="194" y="349"/>
                  </a:lnTo>
                  <a:lnTo>
                    <a:pt x="194" y="351"/>
                  </a:lnTo>
                  <a:close/>
                  <a:moveTo>
                    <a:pt x="334" y="357"/>
                  </a:moveTo>
                  <a:lnTo>
                    <a:pt x="335" y="357"/>
                  </a:lnTo>
                  <a:lnTo>
                    <a:pt x="334" y="357"/>
                  </a:lnTo>
                  <a:lnTo>
                    <a:pt x="334" y="356"/>
                  </a:lnTo>
                  <a:lnTo>
                    <a:pt x="334" y="354"/>
                  </a:lnTo>
                  <a:lnTo>
                    <a:pt x="335" y="354"/>
                  </a:lnTo>
                  <a:lnTo>
                    <a:pt x="335" y="356"/>
                  </a:lnTo>
                  <a:lnTo>
                    <a:pt x="335" y="357"/>
                  </a:lnTo>
                  <a:lnTo>
                    <a:pt x="334" y="357"/>
                  </a:lnTo>
                  <a:close/>
                  <a:moveTo>
                    <a:pt x="700" y="68"/>
                  </a:moveTo>
                  <a:lnTo>
                    <a:pt x="700" y="70"/>
                  </a:lnTo>
                  <a:lnTo>
                    <a:pt x="698" y="70"/>
                  </a:lnTo>
                  <a:lnTo>
                    <a:pt x="698" y="68"/>
                  </a:lnTo>
                  <a:lnTo>
                    <a:pt x="698" y="66"/>
                  </a:lnTo>
                  <a:lnTo>
                    <a:pt x="700" y="66"/>
                  </a:lnTo>
                  <a:lnTo>
                    <a:pt x="700" y="68"/>
                  </a:lnTo>
                  <a:close/>
                  <a:moveTo>
                    <a:pt x="15" y="1452"/>
                  </a:moveTo>
                  <a:lnTo>
                    <a:pt x="15" y="1454"/>
                  </a:lnTo>
                  <a:lnTo>
                    <a:pt x="16" y="1454"/>
                  </a:lnTo>
                  <a:lnTo>
                    <a:pt x="18" y="1454"/>
                  </a:lnTo>
                  <a:lnTo>
                    <a:pt x="18" y="1455"/>
                  </a:lnTo>
                  <a:lnTo>
                    <a:pt x="16" y="1455"/>
                  </a:lnTo>
                  <a:lnTo>
                    <a:pt x="15" y="1455"/>
                  </a:lnTo>
                  <a:lnTo>
                    <a:pt x="15" y="1454"/>
                  </a:lnTo>
                  <a:lnTo>
                    <a:pt x="13" y="1454"/>
                  </a:lnTo>
                  <a:lnTo>
                    <a:pt x="15" y="1452"/>
                  </a:lnTo>
                  <a:lnTo>
                    <a:pt x="15" y="1454"/>
                  </a:lnTo>
                  <a:lnTo>
                    <a:pt x="15" y="1452"/>
                  </a:lnTo>
                  <a:close/>
                  <a:moveTo>
                    <a:pt x="163" y="369"/>
                  </a:moveTo>
                  <a:lnTo>
                    <a:pt x="163" y="370"/>
                  </a:lnTo>
                  <a:lnTo>
                    <a:pt x="161" y="370"/>
                  </a:lnTo>
                  <a:lnTo>
                    <a:pt x="160" y="370"/>
                  </a:lnTo>
                  <a:lnTo>
                    <a:pt x="161" y="370"/>
                  </a:lnTo>
                  <a:lnTo>
                    <a:pt x="161" y="369"/>
                  </a:lnTo>
                  <a:lnTo>
                    <a:pt x="163" y="369"/>
                  </a:lnTo>
                  <a:close/>
                  <a:moveTo>
                    <a:pt x="176" y="367"/>
                  </a:moveTo>
                  <a:lnTo>
                    <a:pt x="177" y="366"/>
                  </a:lnTo>
                  <a:lnTo>
                    <a:pt x="177" y="367"/>
                  </a:lnTo>
                  <a:lnTo>
                    <a:pt x="179" y="367"/>
                  </a:lnTo>
                  <a:lnTo>
                    <a:pt x="179" y="369"/>
                  </a:lnTo>
                  <a:lnTo>
                    <a:pt x="177" y="369"/>
                  </a:lnTo>
                  <a:lnTo>
                    <a:pt x="179" y="369"/>
                  </a:lnTo>
                  <a:lnTo>
                    <a:pt x="177" y="369"/>
                  </a:lnTo>
                  <a:lnTo>
                    <a:pt x="176" y="369"/>
                  </a:lnTo>
                  <a:lnTo>
                    <a:pt x="176" y="367"/>
                  </a:lnTo>
                  <a:close/>
                  <a:moveTo>
                    <a:pt x="210" y="348"/>
                  </a:moveTo>
                  <a:lnTo>
                    <a:pt x="210" y="346"/>
                  </a:lnTo>
                  <a:lnTo>
                    <a:pt x="208" y="346"/>
                  </a:lnTo>
                  <a:lnTo>
                    <a:pt x="208" y="344"/>
                  </a:lnTo>
                  <a:lnTo>
                    <a:pt x="210" y="344"/>
                  </a:lnTo>
                  <a:lnTo>
                    <a:pt x="210" y="346"/>
                  </a:lnTo>
                  <a:lnTo>
                    <a:pt x="210" y="348"/>
                  </a:lnTo>
                  <a:close/>
                  <a:moveTo>
                    <a:pt x="438" y="279"/>
                  </a:moveTo>
                  <a:lnTo>
                    <a:pt x="439" y="279"/>
                  </a:lnTo>
                  <a:lnTo>
                    <a:pt x="439" y="281"/>
                  </a:lnTo>
                  <a:lnTo>
                    <a:pt x="438" y="281"/>
                  </a:lnTo>
                  <a:lnTo>
                    <a:pt x="438" y="279"/>
                  </a:lnTo>
                  <a:lnTo>
                    <a:pt x="436" y="279"/>
                  </a:lnTo>
                  <a:lnTo>
                    <a:pt x="438" y="279"/>
                  </a:lnTo>
                  <a:close/>
                  <a:moveTo>
                    <a:pt x="239" y="414"/>
                  </a:moveTo>
                  <a:lnTo>
                    <a:pt x="239" y="416"/>
                  </a:lnTo>
                  <a:lnTo>
                    <a:pt x="239" y="418"/>
                  </a:lnTo>
                  <a:lnTo>
                    <a:pt x="238" y="418"/>
                  </a:lnTo>
                  <a:lnTo>
                    <a:pt x="238" y="416"/>
                  </a:lnTo>
                  <a:lnTo>
                    <a:pt x="239" y="414"/>
                  </a:lnTo>
                  <a:close/>
                  <a:moveTo>
                    <a:pt x="350" y="179"/>
                  </a:moveTo>
                  <a:lnTo>
                    <a:pt x="348" y="179"/>
                  </a:lnTo>
                  <a:lnTo>
                    <a:pt x="347" y="179"/>
                  </a:lnTo>
                  <a:lnTo>
                    <a:pt x="347" y="177"/>
                  </a:lnTo>
                  <a:lnTo>
                    <a:pt x="348" y="177"/>
                  </a:lnTo>
                  <a:lnTo>
                    <a:pt x="347" y="177"/>
                  </a:lnTo>
                  <a:lnTo>
                    <a:pt x="348" y="177"/>
                  </a:lnTo>
                  <a:lnTo>
                    <a:pt x="348" y="175"/>
                  </a:lnTo>
                  <a:lnTo>
                    <a:pt x="350" y="177"/>
                  </a:lnTo>
                  <a:lnTo>
                    <a:pt x="348" y="177"/>
                  </a:lnTo>
                  <a:lnTo>
                    <a:pt x="350" y="179"/>
                  </a:lnTo>
                  <a:close/>
                  <a:moveTo>
                    <a:pt x="231" y="1089"/>
                  </a:moveTo>
                  <a:lnTo>
                    <a:pt x="229" y="1089"/>
                  </a:lnTo>
                  <a:lnTo>
                    <a:pt x="229" y="1091"/>
                  </a:lnTo>
                  <a:lnTo>
                    <a:pt x="229" y="1089"/>
                  </a:lnTo>
                  <a:lnTo>
                    <a:pt x="231" y="1088"/>
                  </a:lnTo>
                  <a:lnTo>
                    <a:pt x="233" y="1088"/>
                  </a:lnTo>
                  <a:lnTo>
                    <a:pt x="231" y="1089"/>
                  </a:lnTo>
                  <a:close/>
                  <a:moveTo>
                    <a:pt x="706" y="118"/>
                  </a:moveTo>
                  <a:lnTo>
                    <a:pt x="708" y="118"/>
                  </a:lnTo>
                  <a:lnTo>
                    <a:pt x="706" y="118"/>
                  </a:lnTo>
                  <a:lnTo>
                    <a:pt x="706" y="120"/>
                  </a:lnTo>
                  <a:lnTo>
                    <a:pt x="706" y="118"/>
                  </a:lnTo>
                  <a:lnTo>
                    <a:pt x="706" y="120"/>
                  </a:lnTo>
                  <a:lnTo>
                    <a:pt x="704" y="118"/>
                  </a:lnTo>
                  <a:lnTo>
                    <a:pt x="706" y="118"/>
                  </a:lnTo>
                  <a:lnTo>
                    <a:pt x="704" y="118"/>
                  </a:lnTo>
                  <a:lnTo>
                    <a:pt x="704" y="117"/>
                  </a:lnTo>
                  <a:lnTo>
                    <a:pt x="706" y="117"/>
                  </a:lnTo>
                  <a:lnTo>
                    <a:pt x="706" y="118"/>
                  </a:lnTo>
                  <a:close/>
                  <a:moveTo>
                    <a:pt x="208" y="348"/>
                  </a:moveTo>
                  <a:lnTo>
                    <a:pt x="210" y="348"/>
                  </a:lnTo>
                  <a:lnTo>
                    <a:pt x="210" y="349"/>
                  </a:lnTo>
                  <a:lnTo>
                    <a:pt x="210" y="351"/>
                  </a:lnTo>
                  <a:lnTo>
                    <a:pt x="210" y="349"/>
                  </a:lnTo>
                  <a:lnTo>
                    <a:pt x="208" y="349"/>
                  </a:lnTo>
                  <a:lnTo>
                    <a:pt x="208" y="348"/>
                  </a:lnTo>
                  <a:close/>
                  <a:moveTo>
                    <a:pt x="355" y="353"/>
                  </a:moveTo>
                  <a:lnTo>
                    <a:pt x="355" y="354"/>
                  </a:lnTo>
                  <a:lnTo>
                    <a:pt x="353" y="354"/>
                  </a:lnTo>
                  <a:lnTo>
                    <a:pt x="353" y="353"/>
                  </a:lnTo>
                  <a:lnTo>
                    <a:pt x="353" y="351"/>
                  </a:lnTo>
                  <a:lnTo>
                    <a:pt x="355" y="353"/>
                  </a:lnTo>
                  <a:close/>
                  <a:moveTo>
                    <a:pt x="568" y="209"/>
                  </a:moveTo>
                  <a:lnTo>
                    <a:pt x="568" y="211"/>
                  </a:lnTo>
                  <a:lnTo>
                    <a:pt x="566" y="209"/>
                  </a:lnTo>
                  <a:lnTo>
                    <a:pt x="568" y="208"/>
                  </a:lnTo>
                  <a:lnTo>
                    <a:pt x="568" y="209"/>
                  </a:lnTo>
                  <a:close/>
                  <a:moveTo>
                    <a:pt x="673" y="1361"/>
                  </a:moveTo>
                  <a:lnTo>
                    <a:pt x="675" y="1359"/>
                  </a:lnTo>
                  <a:lnTo>
                    <a:pt x="675" y="1361"/>
                  </a:lnTo>
                  <a:lnTo>
                    <a:pt x="675" y="1363"/>
                  </a:lnTo>
                  <a:lnTo>
                    <a:pt x="673" y="1361"/>
                  </a:lnTo>
                  <a:lnTo>
                    <a:pt x="673" y="1359"/>
                  </a:lnTo>
                  <a:lnTo>
                    <a:pt x="673" y="1361"/>
                  </a:lnTo>
                  <a:close/>
                  <a:moveTo>
                    <a:pt x="267" y="340"/>
                  </a:moveTo>
                  <a:lnTo>
                    <a:pt x="267" y="338"/>
                  </a:lnTo>
                  <a:lnTo>
                    <a:pt x="267" y="340"/>
                  </a:lnTo>
                  <a:lnTo>
                    <a:pt x="269" y="340"/>
                  </a:lnTo>
                  <a:lnTo>
                    <a:pt x="269" y="341"/>
                  </a:lnTo>
                  <a:lnTo>
                    <a:pt x="269" y="343"/>
                  </a:lnTo>
                  <a:lnTo>
                    <a:pt x="269" y="341"/>
                  </a:lnTo>
                  <a:lnTo>
                    <a:pt x="267" y="340"/>
                  </a:lnTo>
                  <a:close/>
                  <a:moveTo>
                    <a:pt x="205" y="1249"/>
                  </a:moveTo>
                  <a:lnTo>
                    <a:pt x="207" y="1249"/>
                  </a:lnTo>
                  <a:lnTo>
                    <a:pt x="208" y="1249"/>
                  </a:lnTo>
                  <a:lnTo>
                    <a:pt x="208" y="1250"/>
                  </a:lnTo>
                  <a:lnTo>
                    <a:pt x="207" y="1250"/>
                  </a:lnTo>
                  <a:lnTo>
                    <a:pt x="207" y="1249"/>
                  </a:lnTo>
                  <a:lnTo>
                    <a:pt x="205" y="1250"/>
                  </a:lnTo>
                  <a:lnTo>
                    <a:pt x="205" y="1249"/>
                  </a:lnTo>
                  <a:lnTo>
                    <a:pt x="207" y="1249"/>
                  </a:lnTo>
                  <a:lnTo>
                    <a:pt x="205" y="1249"/>
                  </a:lnTo>
                  <a:close/>
                  <a:moveTo>
                    <a:pt x="342" y="333"/>
                  </a:moveTo>
                  <a:lnTo>
                    <a:pt x="342" y="335"/>
                  </a:lnTo>
                  <a:lnTo>
                    <a:pt x="343" y="335"/>
                  </a:lnTo>
                  <a:lnTo>
                    <a:pt x="342" y="335"/>
                  </a:lnTo>
                  <a:lnTo>
                    <a:pt x="342" y="336"/>
                  </a:lnTo>
                  <a:lnTo>
                    <a:pt x="340" y="335"/>
                  </a:lnTo>
                  <a:lnTo>
                    <a:pt x="342" y="335"/>
                  </a:lnTo>
                  <a:lnTo>
                    <a:pt x="342" y="333"/>
                  </a:lnTo>
                  <a:close/>
                  <a:moveTo>
                    <a:pt x="241" y="720"/>
                  </a:moveTo>
                  <a:lnTo>
                    <a:pt x="243" y="720"/>
                  </a:lnTo>
                  <a:lnTo>
                    <a:pt x="244" y="720"/>
                  </a:lnTo>
                  <a:lnTo>
                    <a:pt x="243" y="722"/>
                  </a:lnTo>
                  <a:lnTo>
                    <a:pt x="243" y="720"/>
                  </a:lnTo>
                  <a:lnTo>
                    <a:pt x="243" y="722"/>
                  </a:lnTo>
                  <a:lnTo>
                    <a:pt x="241" y="720"/>
                  </a:lnTo>
                  <a:close/>
                  <a:moveTo>
                    <a:pt x="218" y="301"/>
                  </a:moveTo>
                  <a:lnTo>
                    <a:pt x="218" y="302"/>
                  </a:lnTo>
                  <a:lnTo>
                    <a:pt x="216" y="302"/>
                  </a:lnTo>
                  <a:lnTo>
                    <a:pt x="216" y="301"/>
                  </a:lnTo>
                  <a:lnTo>
                    <a:pt x="218" y="301"/>
                  </a:lnTo>
                  <a:lnTo>
                    <a:pt x="216" y="301"/>
                  </a:lnTo>
                  <a:lnTo>
                    <a:pt x="218" y="299"/>
                  </a:lnTo>
                  <a:lnTo>
                    <a:pt x="218" y="301"/>
                  </a:lnTo>
                  <a:close/>
                  <a:moveTo>
                    <a:pt x="421" y="1426"/>
                  </a:moveTo>
                  <a:lnTo>
                    <a:pt x="423" y="1426"/>
                  </a:lnTo>
                  <a:lnTo>
                    <a:pt x="423" y="1428"/>
                  </a:lnTo>
                  <a:lnTo>
                    <a:pt x="425" y="1428"/>
                  </a:lnTo>
                  <a:lnTo>
                    <a:pt x="423" y="1428"/>
                  </a:lnTo>
                  <a:lnTo>
                    <a:pt x="421" y="1428"/>
                  </a:lnTo>
                  <a:lnTo>
                    <a:pt x="421" y="1426"/>
                  </a:lnTo>
                  <a:close/>
                  <a:moveTo>
                    <a:pt x="7" y="1462"/>
                  </a:moveTo>
                  <a:lnTo>
                    <a:pt x="8" y="1462"/>
                  </a:lnTo>
                  <a:lnTo>
                    <a:pt x="8" y="1463"/>
                  </a:lnTo>
                  <a:lnTo>
                    <a:pt x="8" y="1462"/>
                  </a:lnTo>
                  <a:lnTo>
                    <a:pt x="10" y="1462"/>
                  </a:lnTo>
                  <a:lnTo>
                    <a:pt x="10" y="1463"/>
                  </a:lnTo>
                  <a:lnTo>
                    <a:pt x="8" y="1463"/>
                  </a:lnTo>
                  <a:lnTo>
                    <a:pt x="7" y="1463"/>
                  </a:lnTo>
                  <a:lnTo>
                    <a:pt x="8" y="1462"/>
                  </a:lnTo>
                  <a:lnTo>
                    <a:pt x="7" y="1462"/>
                  </a:lnTo>
                  <a:close/>
                  <a:moveTo>
                    <a:pt x="260" y="582"/>
                  </a:moveTo>
                  <a:lnTo>
                    <a:pt x="259" y="582"/>
                  </a:lnTo>
                  <a:lnTo>
                    <a:pt x="257" y="584"/>
                  </a:lnTo>
                  <a:lnTo>
                    <a:pt x="257" y="582"/>
                  </a:lnTo>
                  <a:lnTo>
                    <a:pt x="259" y="582"/>
                  </a:lnTo>
                  <a:lnTo>
                    <a:pt x="260" y="582"/>
                  </a:lnTo>
                  <a:close/>
                  <a:moveTo>
                    <a:pt x="228" y="805"/>
                  </a:moveTo>
                  <a:lnTo>
                    <a:pt x="228" y="806"/>
                  </a:lnTo>
                  <a:lnTo>
                    <a:pt x="228" y="808"/>
                  </a:lnTo>
                  <a:lnTo>
                    <a:pt x="226" y="806"/>
                  </a:lnTo>
                  <a:lnTo>
                    <a:pt x="226" y="805"/>
                  </a:lnTo>
                  <a:lnTo>
                    <a:pt x="228" y="805"/>
                  </a:lnTo>
                  <a:close/>
                  <a:moveTo>
                    <a:pt x="8" y="1455"/>
                  </a:moveTo>
                  <a:lnTo>
                    <a:pt x="10" y="1455"/>
                  </a:lnTo>
                  <a:lnTo>
                    <a:pt x="8" y="1455"/>
                  </a:lnTo>
                  <a:lnTo>
                    <a:pt x="8" y="1454"/>
                  </a:lnTo>
                  <a:lnTo>
                    <a:pt x="8" y="1452"/>
                  </a:lnTo>
                  <a:lnTo>
                    <a:pt x="10" y="1454"/>
                  </a:lnTo>
                  <a:lnTo>
                    <a:pt x="8" y="1455"/>
                  </a:lnTo>
                  <a:close/>
                  <a:moveTo>
                    <a:pt x="298" y="541"/>
                  </a:moveTo>
                  <a:lnTo>
                    <a:pt x="298" y="540"/>
                  </a:lnTo>
                  <a:lnTo>
                    <a:pt x="299" y="540"/>
                  </a:lnTo>
                  <a:lnTo>
                    <a:pt x="298" y="541"/>
                  </a:lnTo>
                  <a:close/>
                  <a:moveTo>
                    <a:pt x="265" y="323"/>
                  </a:moveTo>
                  <a:lnTo>
                    <a:pt x="267" y="323"/>
                  </a:lnTo>
                  <a:lnTo>
                    <a:pt x="267" y="325"/>
                  </a:lnTo>
                  <a:lnTo>
                    <a:pt x="265" y="325"/>
                  </a:lnTo>
                  <a:lnTo>
                    <a:pt x="265" y="323"/>
                  </a:lnTo>
                  <a:close/>
                  <a:moveTo>
                    <a:pt x="303" y="372"/>
                  </a:moveTo>
                  <a:lnTo>
                    <a:pt x="304" y="372"/>
                  </a:lnTo>
                  <a:lnTo>
                    <a:pt x="306" y="372"/>
                  </a:lnTo>
                  <a:lnTo>
                    <a:pt x="304" y="374"/>
                  </a:lnTo>
                  <a:lnTo>
                    <a:pt x="303" y="374"/>
                  </a:lnTo>
                  <a:lnTo>
                    <a:pt x="303" y="372"/>
                  </a:lnTo>
                  <a:close/>
                  <a:moveTo>
                    <a:pt x="682" y="1328"/>
                  </a:moveTo>
                  <a:lnTo>
                    <a:pt x="682" y="1327"/>
                  </a:lnTo>
                  <a:lnTo>
                    <a:pt x="683" y="1328"/>
                  </a:lnTo>
                  <a:lnTo>
                    <a:pt x="683" y="1327"/>
                  </a:lnTo>
                  <a:lnTo>
                    <a:pt x="683" y="1328"/>
                  </a:lnTo>
                  <a:lnTo>
                    <a:pt x="685" y="1328"/>
                  </a:lnTo>
                  <a:lnTo>
                    <a:pt x="687" y="1328"/>
                  </a:lnTo>
                  <a:lnTo>
                    <a:pt x="685" y="1328"/>
                  </a:lnTo>
                  <a:lnTo>
                    <a:pt x="683" y="1328"/>
                  </a:lnTo>
                  <a:lnTo>
                    <a:pt x="682" y="1328"/>
                  </a:lnTo>
                  <a:close/>
                  <a:moveTo>
                    <a:pt x="285" y="437"/>
                  </a:moveTo>
                  <a:lnTo>
                    <a:pt x="283" y="436"/>
                  </a:lnTo>
                  <a:lnTo>
                    <a:pt x="285" y="436"/>
                  </a:lnTo>
                  <a:lnTo>
                    <a:pt x="285" y="434"/>
                  </a:lnTo>
                  <a:lnTo>
                    <a:pt x="285" y="436"/>
                  </a:lnTo>
                  <a:lnTo>
                    <a:pt x="286" y="436"/>
                  </a:lnTo>
                  <a:lnTo>
                    <a:pt x="285" y="437"/>
                  </a:lnTo>
                  <a:close/>
                  <a:moveTo>
                    <a:pt x="334" y="346"/>
                  </a:moveTo>
                  <a:lnTo>
                    <a:pt x="332" y="346"/>
                  </a:lnTo>
                  <a:lnTo>
                    <a:pt x="332" y="344"/>
                  </a:lnTo>
                  <a:lnTo>
                    <a:pt x="334" y="344"/>
                  </a:lnTo>
                  <a:lnTo>
                    <a:pt x="334" y="346"/>
                  </a:lnTo>
                  <a:close/>
                  <a:moveTo>
                    <a:pt x="160" y="367"/>
                  </a:moveTo>
                  <a:lnTo>
                    <a:pt x="160" y="369"/>
                  </a:lnTo>
                  <a:lnTo>
                    <a:pt x="158" y="369"/>
                  </a:lnTo>
                  <a:lnTo>
                    <a:pt x="156" y="369"/>
                  </a:lnTo>
                  <a:lnTo>
                    <a:pt x="156" y="367"/>
                  </a:lnTo>
                  <a:lnTo>
                    <a:pt x="158" y="369"/>
                  </a:lnTo>
                  <a:lnTo>
                    <a:pt x="158" y="367"/>
                  </a:lnTo>
                  <a:lnTo>
                    <a:pt x="160" y="367"/>
                  </a:lnTo>
                  <a:close/>
                  <a:moveTo>
                    <a:pt x="724" y="68"/>
                  </a:moveTo>
                  <a:lnTo>
                    <a:pt x="724" y="70"/>
                  </a:lnTo>
                  <a:lnTo>
                    <a:pt x="724" y="68"/>
                  </a:lnTo>
                  <a:lnTo>
                    <a:pt x="726" y="68"/>
                  </a:lnTo>
                  <a:lnTo>
                    <a:pt x="724" y="68"/>
                  </a:lnTo>
                  <a:close/>
                  <a:moveTo>
                    <a:pt x="236" y="281"/>
                  </a:moveTo>
                  <a:lnTo>
                    <a:pt x="238" y="281"/>
                  </a:lnTo>
                  <a:lnTo>
                    <a:pt x="238" y="283"/>
                  </a:lnTo>
                  <a:lnTo>
                    <a:pt x="238" y="284"/>
                  </a:lnTo>
                  <a:lnTo>
                    <a:pt x="236" y="283"/>
                  </a:lnTo>
                  <a:lnTo>
                    <a:pt x="236" y="281"/>
                  </a:lnTo>
                  <a:lnTo>
                    <a:pt x="238" y="283"/>
                  </a:lnTo>
                  <a:lnTo>
                    <a:pt x="238" y="281"/>
                  </a:lnTo>
                  <a:lnTo>
                    <a:pt x="236" y="281"/>
                  </a:lnTo>
                  <a:close/>
                  <a:moveTo>
                    <a:pt x="688" y="1317"/>
                  </a:moveTo>
                  <a:lnTo>
                    <a:pt x="687" y="1317"/>
                  </a:lnTo>
                  <a:lnTo>
                    <a:pt x="687" y="1315"/>
                  </a:lnTo>
                  <a:lnTo>
                    <a:pt x="688" y="1315"/>
                  </a:lnTo>
                  <a:lnTo>
                    <a:pt x="690" y="1317"/>
                  </a:lnTo>
                  <a:lnTo>
                    <a:pt x="688" y="1317"/>
                  </a:lnTo>
                  <a:close/>
                  <a:moveTo>
                    <a:pt x="604" y="1016"/>
                  </a:moveTo>
                  <a:lnTo>
                    <a:pt x="602" y="1016"/>
                  </a:lnTo>
                  <a:lnTo>
                    <a:pt x="604" y="1016"/>
                  </a:lnTo>
                  <a:lnTo>
                    <a:pt x="604" y="1015"/>
                  </a:lnTo>
                  <a:lnTo>
                    <a:pt x="604" y="1016"/>
                  </a:lnTo>
                  <a:close/>
                  <a:moveTo>
                    <a:pt x="696" y="96"/>
                  </a:moveTo>
                  <a:lnTo>
                    <a:pt x="696" y="97"/>
                  </a:lnTo>
                  <a:lnTo>
                    <a:pt x="696" y="96"/>
                  </a:lnTo>
                  <a:lnTo>
                    <a:pt x="696" y="97"/>
                  </a:lnTo>
                  <a:lnTo>
                    <a:pt x="696" y="96"/>
                  </a:lnTo>
                  <a:lnTo>
                    <a:pt x="696" y="94"/>
                  </a:lnTo>
                  <a:lnTo>
                    <a:pt x="696" y="96"/>
                  </a:lnTo>
                  <a:close/>
                  <a:moveTo>
                    <a:pt x="98" y="307"/>
                  </a:moveTo>
                  <a:lnTo>
                    <a:pt x="96" y="309"/>
                  </a:lnTo>
                  <a:lnTo>
                    <a:pt x="96" y="307"/>
                  </a:lnTo>
                  <a:lnTo>
                    <a:pt x="98" y="307"/>
                  </a:lnTo>
                  <a:close/>
                  <a:moveTo>
                    <a:pt x="532" y="250"/>
                  </a:moveTo>
                  <a:lnTo>
                    <a:pt x="534" y="250"/>
                  </a:lnTo>
                  <a:lnTo>
                    <a:pt x="534" y="252"/>
                  </a:lnTo>
                  <a:lnTo>
                    <a:pt x="534" y="253"/>
                  </a:lnTo>
                  <a:lnTo>
                    <a:pt x="534" y="252"/>
                  </a:lnTo>
                  <a:lnTo>
                    <a:pt x="532" y="252"/>
                  </a:lnTo>
                  <a:lnTo>
                    <a:pt x="534" y="250"/>
                  </a:lnTo>
                  <a:lnTo>
                    <a:pt x="532" y="250"/>
                  </a:lnTo>
                  <a:close/>
                  <a:moveTo>
                    <a:pt x="581" y="239"/>
                  </a:moveTo>
                  <a:lnTo>
                    <a:pt x="581" y="237"/>
                  </a:lnTo>
                  <a:lnTo>
                    <a:pt x="582" y="239"/>
                  </a:lnTo>
                  <a:lnTo>
                    <a:pt x="581" y="239"/>
                  </a:lnTo>
                  <a:close/>
                  <a:moveTo>
                    <a:pt x="683" y="1315"/>
                  </a:moveTo>
                  <a:lnTo>
                    <a:pt x="685" y="1315"/>
                  </a:lnTo>
                  <a:lnTo>
                    <a:pt x="685" y="1317"/>
                  </a:lnTo>
                  <a:lnTo>
                    <a:pt x="683" y="1317"/>
                  </a:lnTo>
                  <a:lnTo>
                    <a:pt x="683" y="1315"/>
                  </a:lnTo>
                  <a:close/>
                  <a:moveTo>
                    <a:pt x="750" y="14"/>
                  </a:moveTo>
                  <a:lnTo>
                    <a:pt x="750" y="16"/>
                  </a:lnTo>
                  <a:lnTo>
                    <a:pt x="752" y="16"/>
                  </a:lnTo>
                  <a:lnTo>
                    <a:pt x="750" y="16"/>
                  </a:lnTo>
                  <a:lnTo>
                    <a:pt x="750" y="18"/>
                  </a:lnTo>
                  <a:lnTo>
                    <a:pt x="750" y="16"/>
                  </a:lnTo>
                  <a:lnTo>
                    <a:pt x="750" y="14"/>
                  </a:lnTo>
                  <a:close/>
                  <a:moveTo>
                    <a:pt x="296" y="548"/>
                  </a:moveTo>
                  <a:lnTo>
                    <a:pt x="295" y="548"/>
                  </a:lnTo>
                  <a:lnTo>
                    <a:pt x="293" y="548"/>
                  </a:lnTo>
                  <a:lnTo>
                    <a:pt x="295" y="548"/>
                  </a:lnTo>
                  <a:lnTo>
                    <a:pt x="296" y="548"/>
                  </a:lnTo>
                  <a:close/>
                  <a:moveTo>
                    <a:pt x="578" y="221"/>
                  </a:moveTo>
                  <a:lnTo>
                    <a:pt x="578" y="222"/>
                  </a:lnTo>
                  <a:lnTo>
                    <a:pt x="578" y="224"/>
                  </a:lnTo>
                  <a:lnTo>
                    <a:pt x="576" y="224"/>
                  </a:lnTo>
                  <a:lnTo>
                    <a:pt x="576" y="222"/>
                  </a:lnTo>
                  <a:lnTo>
                    <a:pt x="578" y="221"/>
                  </a:lnTo>
                  <a:close/>
                  <a:moveTo>
                    <a:pt x="109" y="305"/>
                  </a:moveTo>
                  <a:lnTo>
                    <a:pt x="109" y="304"/>
                  </a:lnTo>
                  <a:lnTo>
                    <a:pt x="111" y="304"/>
                  </a:lnTo>
                  <a:lnTo>
                    <a:pt x="111" y="305"/>
                  </a:lnTo>
                  <a:lnTo>
                    <a:pt x="109" y="305"/>
                  </a:lnTo>
                  <a:close/>
                  <a:moveTo>
                    <a:pt x="548" y="258"/>
                  </a:moveTo>
                  <a:lnTo>
                    <a:pt x="547" y="258"/>
                  </a:lnTo>
                  <a:lnTo>
                    <a:pt x="545" y="258"/>
                  </a:lnTo>
                  <a:lnTo>
                    <a:pt x="547" y="258"/>
                  </a:lnTo>
                  <a:lnTo>
                    <a:pt x="545" y="258"/>
                  </a:lnTo>
                  <a:lnTo>
                    <a:pt x="547" y="257"/>
                  </a:lnTo>
                  <a:lnTo>
                    <a:pt x="548" y="257"/>
                  </a:lnTo>
                  <a:lnTo>
                    <a:pt x="548" y="258"/>
                  </a:lnTo>
                  <a:close/>
                  <a:moveTo>
                    <a:pt x="537" y="273"/>
                  </a:moveTo>
                  <a:lnTo>
                    <a:pt x="537" y="271"/>
                  </a:lnTo>
                  <a:lnTo>
                    <a:pt x="539" y="271"/>
                  </a:lnTo>
                  <a:lnTo>
                    <a:pt x="539" y="273"/>
                  </a:lnTo>
                  <a:lnTo>
                    <a:pt x="537" y="273"/>
                  </a:lnTo>
                  <a:close/>
                  <a:moveTo>
                    <a:pt x="186" y="382"/>
                  </a:moveTo>
                  <a:lnTo>
                    <a:pt x="187" y="382"/>
                  </a:lnTo>
                  <a:lnTo>
                    <a:pt x="187" y="383"/>
                  </a:lnTo>
                  <a:lnTo>
                    <a:pt x="186" y="383"/>
                  </a:lnTo>
                  <a:lnTo>
                    <a:pt x="186" y="382"/>
                  </a:lnTo>
                  <a:close/>
                  <a:moveTo>
                    <a:pt x="278" y="733"/>
                  </a:moveTo>
                  <a:lnTo>
                    <a:pt x="278" y="732"/>
                  </a:lnTo>
                  <a:lnTo>
                    <a:pt x="280" y="733"/>
                  </a:lnTo>
                  <a:lnTo>
                    <a:pt x="278" y="733"/>
                  </a:lnTo>
                  <a:close/>
                  <a:moveTo>
                    <a:pt x="161" y="449"/>
                  </a:moveTo>
                  <a:lnTo>
                    <a:pt x="160" y="449"/>
                  </a:lnTo>
                  <a:lnTo>
                    <a:pt x="160" y="447"/>
                  </a:lnTo>
                  <a:lnTo>
                    <a:pt x="161" y="447"/>
                  </a:lnTo>
                  <a:lnTo>
                    <a:pt x="161" y="449"/>
                  </a:lnTo>
                  <a:close/>
                  <a:moveTo>
                    <a:pt x="338" y="340"/>
                  </a:moveTo>
                  <a:lnTo>
                    <a:pt x="340" y="338"/>
                  </a:lnTo>
                  <a:lnTo>
                    <a:pt x="340" y="340"/>
                  </a:lnTo>
                  <a:lnTo>
                    <a:pt x="340" y="338"/>
                  </a:lnTo>
                  <a:lnTo>
                    <a:pt x="340" y="340"/>
                  </a:lnTo>
                  <a:lnTo>
                    <a:pt x="340" y="341"/>
                  </a:lnTo>
                  <a:lnTo>
                    <a:pt x="340" y="340"/>
                  </a:lnTo>
                  <a:lnTo>
                    <a:pt x="340" y="341"/>
                  </a:lnTo>
                  <a:lnTo>
                    <a:pt x="338" y="340"/>
                  </a:lnTo>
                  <a:lnTo>
                    <a:pt x="340" y="340"/>
                  </a:lnTo>
                  <a:lnTo>
                    <a:pt x="338" y="340"/>
                  </a:lnTo>
                  <a:close/>
                  <a:moveTo>
                    <a:pt x="673" y="1359"/>
                  </a:moveTo>
                  <a:lnTo>
                    <a:pt x="673" y="1358"/>
                  </a:lnTo>
                  <a:lnTo>
                    <a:pt x="675" y="1358"/>
                  </a:lnTo>
                  <a:lnTo>
                    <a:pt x="675" y="1359"/>
                  </a:lnTo>
                  <a:lnTo>
                    <a:pt x="673" y="1359"/>
                  </a:lnTo>
                  <a:lnTo>
                    <a:pt x="673" y="1358"/>
                  </a:lnTo>
                  <a:lnTo>
                    <a:pt x="673" y="1359"/>
                  </a:lnTo>
                  <a:close/>
                  <a:moveTo>
                    <a:pt x="760" y="1275"/>
                  </a:moveTo>
                  <a:lnTo>
                    <a:pt x="758" y="1275"/>
                  </a:lnTo>
                  <a:lnTo>
                    <a:pt x="760" y="1275"/>
                  </a:lnTo>
                  <a:lnTo>
                    <a:pt x="761" y="1273"/>
                  </a:lnTo>
                  <a:lnTo>
                    <a:pt x="761" y="1275"/>
                  </a:lnTo>
                  <a:lnTo>
                    <a:pt x="760" y="1275"/>
                  </a:lnTo>
                  <a:close/>
                  <a:moveTo>
                    <a:pt x="347" y="346"/>
                  </a:moveTo>
                  <a:lnTo>
                    <a:pt x="345" y="344"/>
                  </a:lnTo>
                  <a:lnTo>
                    <a:pt x="347" y="344"/>
                  </a:lnTo>
                  <a:lnTo>
                    <a:pt x="347" y="343"/>
                  </a:lnTo>
                  <a:lnTo>
                    <a:pt x="347" y="344"/>
                  </a:lnTo>
                  <a:lnTo>
                    <a:pt x="347" y="346"/>
                  </a:lnTo>
                  <a:close/>
                  <a:moveTo>
                    <a:pt x="239" y="670"/>
                  </a:moveTo>
                  <a:lnTo>
                    <a:pt x="239" y="668"/>
                  </a:lnTo>
                  <a:lnTo>
                    <a:pt x="241" y="666"/>
                  </a:lnTo>
                  <a:lnTo>
                    <a:pt x="241" y="668"/>
                  </a:lnTo>
                  <a:lnTo>
                    <a:pt x="239" y="670"/>
                  </a:lnTo>
                  <a:close/>
                  <a:moveTo>
                    <a:pt x="582" y="221"/>
                  </a:moveTo>
                  <a:lnTo>
                    <a:pt x="584" y="221"/>
                  </a:lnTo>
                  <a:lnTo>
                    <a:pt x="582" y="221"/>
                  </a:lnTo>
                  <a:close/>
                  <a:moveTo>
                    <a:pt x="239" y="287"/>
                  </a:moveTo>
                  <a:lnTo>
                    <a:pt x="239" y="286"/>
                  </a:lnTo>
                  <a:lnTo>
                    <a:pt x="241" y="286"/>
                  </a:lnTo>
                  <a:lnTo>
                    <a:pt x="241" y="287"/>
                  </a:lnTo>
                  <a:lnTo>
                    <a:pt x="239" y="287"/>
                  </a:lnTo>
                  <a:close/>
                  <a:moveTo>
                    <a:pt x="272" y="600"/>
                  </a:moveTo>
                  <a:lnTo>
                    <a:pt x="272" y="598"/>
                  </a:lnTo>
                  <a:lnTo>
                    <a:pt x="273" y="598"/>
                  </a:lnTo>
                  <a:lnTo>
                    <a:pt x="273" y="597"/>
                  </a:lnTo>
                  <a:lnTo>
                    <a:pt x="275" y="597"/>
                  </a:lnTo>
                  <a:lnTo>
                    <a:pt x="273" y="598"/>
                  </a:lnTo>
                  <a:lnTo>
                    <a:pt x="272" y="600"/>
                  </a:lnTo>
                  <a:close/>
                  <a:moveTo>
                    <a:pt x="241" y="546"/>
                  </a:moveTo>
                  <a:lnTo>
                    <a:pt x="239" y="546"/>
                  </a:lnTo>
                  <a:lnTo>
                    <a:pt x="239" y="544"/>
                  </a:lnTo>
                  <a:lnTo>
                    <a:pt x="241" y="544"/>
                  </a:lnTo>
                  <a:lnTo>
                    <a:pt x="243" y="546"/>
                  </a:lnTo>
                  <a:lnTo>
                    <a:pt x="241" y="546"/>
                  </a:lnTo>
                  <a:close/>
                  <a:moveTo>
                    <a:pt x="153" y="458"/>
                  </a:moveTo>
                  <a:lnTo>
                    <a:pt x="151" y="458"/>
                  </a:lnTo>
                  <a:lnTo>
                    <a:pt x="151" y="457"/>
                  </a:lnTo>
                  <a:lnTo>
                    <a:pt x="153" y="457"/>
                  </a:lnTo>
                  <a:lnTo>
                    <a:pt x="153" y="458"/>
                  </a:lnTo>
                  <a:close/>
                  <a:moveTo>
                    <a:pt x="156" y="1229"/>
                  </a:moveTo>
                  <a:lnTo>
                    <a:pt x="158" y="1229"/>
                  </a:lnTo>
                  <a:lnTo>
                    <a:pt x="160" y="1229"/>
                  </a:lnTo>
                  <a:lnTo>
                    <a:pt x="158" y="1229"/>
                  </a:lnTo>
                  <a:lnTo>
                    <a:pt x="158" y="1231"/>
                  </a:lnTo>
                  <a:lnTo>
                    <a:pt x="156" y="1231"/>
                  </a:lnTo>
                  <a:lnTo>
                    <a:pt x="156" y="1229"/>
                  </a:lnTo>
                  <a:close/>
                  <a:moveTo>
                    <a:pt x="270" y="309"/>
                  </a:moveTo>
                  <a:lnTo>
                    <a:pt x="270" y="310"/>
                  </a:lnTo>
                  <a:lnTo>
                    <a:pt x="269" y="310"/>
                  </a:lnTo>
                  <a:lnTo>
                    <a:pt x="269" y="309"/>
                  </a:lnTo>
                  <a:lnTo>
                    <a:pt x="270" y="309"/>
                  </a:lnTo>
                  <a:close/>
                  <a:moveTo>
                    <a:pt x="716" y="47"/>
                  </a:moveTo>
                  <a:lnTo>
                    <a:pt x="717" y="48"/>
                  </a:lnTo>
                  <a:lnTo>
                    <a:pt x="716" y="48"/>
                  </a:lnTo>
                  <a:lnTo>
                    <a:pt x="716" y="47"/>
                  </a:lnTo>
                  <a:close/>
                  <a:moveTo>
                    <a:pt x="195" y="520"/>
                  </a:moveTo>
                  <a:lnTo>
                    <a:pt x="195" y="518"/>
                  </a:lnTo>
                  <a:lnTo>
                    <a:pt x="197" y="518"/>
                  </a:lnTo>
                  <a:lnTo>
                    <a:pt x="197" y="520"/>
                  </a:lnTo>
                  <a:lnTo>
                    <a:pt x="195" y="520"/>
                  </a:lnTo>
                  <a:lnTo>
                    <a:pt x="194" y="520"/>
                  </a:lnTo>
                  <a:lnTo>
                    <a:pt x="195" y="520"/>
                  </a:lnTo>
                  <a:close/>
                  <a:moveTo>
                    <a:pt x="456" y="606"/>
                  </a:moveTo>
                  <a:lnTo>
                    <a:pt x="457" y="606"/>
                  </a:lnTo>
                  <a:lnTo>
                    <a:pt x="459" y="606"/>
                  </a:lnTo>
                  <a:lnTo>
                    <a:pt x="457" y="606"/>
                  </a:lnTo>
                  <a:lnTo>
                    <a:pt x="456" y="606"/>
                  </a:lnTo>
                  <a:close/>
                  <a:moveTo>
                    <a:pt x="543" y="214"/>
                  </a:moveTo>
                  <a:lnTo>
                    <a:pt x="545" y="214"/>
                  </a:lnTo>
                  <a:lnTo>
                    <a:pt x="545" y="216"/>
                  </a:lnTo>
                  <a:lnTo>
                    <a:pt x="543" y="216"/>
                  </a:lnTo>
                  <a:lnTo>
                    <a:pt x="543" y="214"/>
                  </a:lnTo>
                  <a:close/>
                  <a:moveTo>
                    <a:pt x="208" y="847"/>
                  </a:moveTo>
                  <a:lnTo>
                    <a:pt x="207" y="847"/>
                  </a:lnTo>
                  <a:lnTo>
                    <a:pt x="208" y="847"/>
                  </a:lnTo>
                  <a:lnTo>
                    <a:pt x="208" y="845"/>
                  </a:lnTo>
                  <a:lnTo>
                    <a:pt x="210" y="845"/>
                  </a:lnTo>
                  <a:lnTo>
                    <a:pt x="208" y="847"/>
                  </a:lnTo>
                  <a:close/>
                  <a:moveTo>
                    <a:pt x="216" y="535"/>
                  </a:moveTo>
                  <a:lnTo>
                    <a:pt x="216" y="536"/>
                  </a:lnTo>
                  <a:lnTo>
                    <a:pt x="215" y="536"/>
                  </a:lnTo>
                  <a:lnTo>
                    <a:pt x="215" y="535"/>
                  </a:lnTo>
                  <a:lnTo>
                    <a:pt x="216" y="535"/>
                  </a:lnTo>
                  <a:close/>
                  <a:moveTo>
                    <a:pt x="249" y="523"/>
                  </a:moveTo>
                  <a:lnTo>
                    <a:pt x="251" y="525"/>
                  </a:lnTo>
                  <a:lnTo>
                    <a:pt x="251" y="527"/>
                  </a:lnTo>
                  <a:lnTo>
                    <a:pt x="249" y="525"/>
                  </a:lnTo>
                  <a:lnTo>
                    <a:pt x="249" y="523"/>
                  </a:lnTo>
                  <a:lnTo>
                    <a:pt x="249" y="525"/>
                  </a:lnTo>
                  <a:lnTo>
                    <a:pt x="249" y="523"/>
                  </a:lnTo>
                  <a:close/>
                  <a:moveTo>
                    <a:pt x="719" y="52"/>
                  </a:moveTo>
                  <a:lnTo>
                    <a:pt x="719" y="53"/>
                  </a:lnTo>
                  <a:lnTo>
                    <a:pt x="717" y="52"/>
                  </a:lnTo>
                  <a:lnTo>
                    <a:pt x="719" y="52"/>
                  </a:lnTo>
                  <a:close/>
                  <a:moveTo>
                    <a:pt x="228" y="544"/>
                  </a:moveTo>
                  <a:lnTo>
                    <a:pt x="226" y="544"/>
                  </a:lnTo>
                  <a:lnTo>
                    <a:pt x="226" y="543"/>
                  </a:lnTo>
                  <a:lnTo>
                    <a:pt x="228" y="544"/>
                  </a:lnTo>
                  <a:close/>
                  <a:moveTo>
                    <a:pt x="208" y="361"/>
                  </a:moveTo>
                  <a:lnTo>
                    <a:pt x="208" y="362"/>
                  </a:lnTo>
                  <a:lnTo>
                    <a:pt x="208" y="361"/>
                  </a:lnTo>
                  <a:lnTo>
                    <a:pt x="208" y="362"/>
                  </a:lnTo>
                  <a:lnTo>
                    <a:pt x="208" y="361"/>
                  </a:lnTo>
                  <a:close/>
                  <a:moveTo>
                    <a:pt x="225" y="323"/>
                  </a:moveTo>
                  <a:lnTo>
                    <a:pt x="225" y="325"/>
                  </a:lnTo>
                  <a:lnTo>
                    <a:pt x="225" y="323"/>
                  </a:lnTo>
                  <a:lnTo>
                    <a:pt x="223" y="323"/>
                  </a:lnTo>
                  <a:lnTo>
                    <a:pt x="223" y="322"/>
                  </a:lnTo>
                  <a:lnTo>
                    <a:pt x="225" y="322"/>
                  </a:lnTo>
                  <a:lnTo>
                    <a:pt x="225" y="323"/>
                  </a:lnTo>
                  <a:close/>
                  <a:moveTo>
                    <a:pt x="200" y="366"/>
                  </a:moveTo>
                  <a:lnTo>
                    <a:pt x="199" y="364"/>
                  </a:lnTo>
                  <a:lnTo>
                    <a:pt x="200" y="364"/>
                  </a:lnTo>
                  <a:lnTo>
                    <a:pt x="199" y="364"/>
                  </a:lnTo>
                  <a:lnTo>
                    <a:pt x="200" y="364"/>
                  </a:lnTo>
                  <a:lnTo>
                    <a:pt x="200" y="366"/>
                  </a:lnTo>
                  <a:close/>
                  <a:moveTo>
                    <a:pt x="251" y="702"/>
                  </a:moveTo>
                  <a:lnTo>
                    <a:pt x="249" y="701"/>
                  </a:lnTo>
                  <a:lnTo>
                    <a:pt x="251" y="701"/>
                  </a:lnTo>
                  <a:lnTo>
                    <a:pt x="251" y="702"/>
                  </a:lnTo>
                  <a:close/>
                  <a:moveTo>
                    <a:pt x="194" y="380"/>
                  </a:moveTo>
                  <a:lnTo>
                    <a:pt x="195" y="380"/>
                  </a:lnTo>
                  <a:lnTo>
                    <a:pt x="195" y="382"/>
                  </a:lnTo>
                  <a:lnTo>
                    <a:pt x="194" y="382"/>
                  </a:lnTo>
                  <a:lnTo>
                    <a:pt x="194" y="380"/>
                  </a:lnTo>
                  <a:close/>
                  <a:moveTo>
                    <a:pt x="569" y="257"/>
                  </a:moveTo>
                  <a:lnTo>
                    <a:pt x="569" y="255"/>
                  </a:lnTo>
                  <a:lnTo>
                    <a:pt x="571" y="255"/>
                  </a:lnTo>
                  <a:lnTo>
                    <a:pt x="569" y="257"/>
                  </a:lnTo>
                  <a:close/>
                  <a:moveTo>
                    <a:pt x="434" y="283"/>
                  </a:moveTo>
                  <a:lnTo>
                    <a:pt x="433" y="283"/>
                  </a:lnTo>
                  <a:lnTo>
                    <a:pt x="433" y="281"/>
                  </a:lnTo>
                  <a:lnTo>
                    <a:pt x="433" y="283"/>
                  </a:lnTo>
                  <a:lnTo>
                    <a:pt x="434" y="283"/>
                  </a:lnTo>
                  <a:lnTo>
                    <a:pt x="434" y="281"/>
                  </a:lnTo>
                  <a:lnTo>
                    <a:pt x="434" y="283"/>
                  </a:lnTo>
                  <a:close/>
                  <a:moveTo>
                    <a:pt x="247" y="289"/>
                  </a:moveTo>
                  <a:lnTo>
                    <a:pt x="249" y="289"/>
                  </a:lnTo>
                  <a:lnTo>
                    <a:pt x="249" y="291"/>
                  </a:lnTo>
                  <a:lnTo>
                    <a:pt x="247" y="291"/>
                  </a:lnTo>
                  <a:lnTo>
                    <a:pt x="247" y="289"/>
                  </a:lnTo>
                  <a:close/>
                  <a:moveTo>
                    <a:pt x="509" y="642"/>
                  </a:moveTo>
                  <a:lnTo>
                    <a:pt x="508" y="642"/>
                  </a:lnTo>
                  <a:lnTo>
                    <a:pt x="508" y="640"/>
                  </a:lnTo>
                  <a:lnTo>
                    <a:pt x="508" y="639"/>
                  </a:lnTo>
                  <a:lnTo>
                    <a:pt x="509" y="642"/>
                  </a:lnTo>
                  <a:close/>
                  <a:moveTo>
                    <a:pt x="234" y="546"/>
                  </a:moveTo>
                  <a:lnTo>
                    <a:pt x="236" y="546"/>
                  </a:lnTo>
                  <a:lnTo>
                    <a:pt x="234" y="548"/>
                  </a:lnTo>
                  <a:lnTo>
                    <a:pt x="234" y="546"/>
                  </a:lnTo>
                  <a:close/>
                  <a:moveTo>
                    <a:pt x="667" y="1361"/>
                  </a:moveTo>
                  <a:lnTo>
                    <a:pt x="667" y="1359"/>
                  </a:lnTo>
                  <a:lnTo>
                    <a:pt x="669" y="1361"/>
                  </a:lnTo>
                  <a:lnTo>
                    <a:pt x="667" y="1361"/>
                  </a:lnTo>
                  <a:close/>
                  <a:moveTo>
                    <a:pt x="256" y="585"/>
                  </a:moveTo>
                  <a:lnTo>
                    <a:pt x="254" y="585"/>
                  </a:lnTo>
                  <a:lnTo>
                    <a:pt x="256" y="585"/>
                  </a:lnTo>
                  <a:lnTo>
                    <a:pt x="254" y="585"/>
                  </a:lnTo>
                  <a:lnTo>
                    <a:pt x="254" y="584"/>
                  </a:lnTo>
                  <a:lnTo>
                    <a:pt x="256" y="584"/>
                  </a:lnTo>
                  <a:lnTo>
                    <a:pt x="256" y="585"/>
                  </a:lnTo>
                  <a:close/>
                  <a:moveTo>
                    <a:pt x="233" y="387"/>
                  </a:moveTo>
                  <a:lnTo>
                    <a:pt x="234" y="387"/>
                  </a:lnTo>
                  <a:lnTo>
                    <a:pt x="234" y="388"/>
                  </a:lnTo>
                  <a:lnTo>
                    <a:pt x="233" y="388"/>
                  </a:lnTo>
                  <a:lnTo>
                    <a:pt x="233" y="387"/>
                  </a:lnTo>
                  <a:close/>
                  <a:moveTo>
                    <a:pt x="212" y="836"/>
                  </a:moveTo>
                  <a:lnTo>
                    <a:pt x="213" y="836"/>
                  </a:lnTo>
                  <a:lnTo>
                    <a:pt x="213" y="837"/>
                  </a:lnTo>
                  <a:lnTo>
                    <a:pt x="212" y="837"/>
                  </a:lnTo>
                  <a:lnTo>
                    <a:pt x="212" y="836"/>
                  </a:lnTo>
                  <a:close/>
                  <a:moveTo>
                    <a:pt x="695" y="99"/>
                  </a:moveTo>
                  <a:lnTo>
                    <a:pt x="696" y="99"/>
                  </a:lnTo>
                  <a:lnTo>
                    <a:pt x="695" y="99"/>
                  </a:lnTo>
                  <a:lnTo>
                    <a:pt x="695" y="100"/>
                  </a:lnTo>
                  <a:lnTo>
                    <a:pt x="695" y="99"/>
                  </a:lnTo>
                  <a:close/>
                  <a:moveTo>
                    <a:pt x="192" y="265"/>
                  </a:moveTo>
                  <a:lnTo>
                    <a:pt x="190" y="265"/>
                  </a:lnTo>
                  <a:lnTo>
                    <a:pt x="190" y="263"/>
                  </a:lnTo>
                  <a:lnTo>
                    <a:pt x="192" y="263"/>
                  </a:lnTo>
                  <a:lnTo>
                    <a:pt x="192" y="265"/>
                  </a:lnTo>
                  <a:close/>
                  <a:moveTo>
                    <a:pt x="693" y="112"/>
                  </a:moveTo>
                  <a:lnTo>
                    <a:pt x="695" y="112"/>
                  </a:lnTo>
                  <a:lnTo>
                    <a:pt x="695" y="113"/>
                  </a:lnTo>
                  <a:lnTo>
                    <a:pt x="693" y="113"/>
                  </a:lnTo>
                  <a:lnTo>
                    <a:pt x="693" y="112"/>
                  </a:lnTo>
                  <a:close/>
                  <a:moveTo>
                    <a:pt x="238" y="283"/>
                  </a:moveTo>
                  <a:lnTo>
                    <a:pt x="239" y="283"/>
                  </a:lnTo>
                  <a:lnTo>
                    <a:pt x="239" y="284"/>
                  </a:lnTo>
                  <a:lnTo>
                    <a:pt x="238" y="284"/>
                  </a:lnTo>
                  <a:lnTo>
                    <a:pt x="238" y="283"/>
                  </a:lnTo>
                  <a:close/>
                  <a:moveTo>
                    <a:pt x="701" y="66"/>
                  </a:moveTo>
                  <a:lnTo>
                    <a:pt x="701" y="65"/>
                  </a:lnTo>
                  <a:lnTo>
                    <a:pt x="701" y="66"/>
                  </a:lnTo>
                  <a:close/>
                  <a:moveTo>
                    <a:pt x="272" y="601"/>
                  </a:moveTo>
                  <a:lnTo>
                    <a:pt x="270" y="601"/>
                  </a:lnTo>
                  <a:lnTo>
                    <a:pt x="270" y="600"/>
                  </a:lnTo>
                  <a:lnTo>
                    <a:pt x="272" y="600"/>
                  </a:lnTo>
                  <a:lnTo>
                    <a:pt x="272" y="601"/>
                  </a:lnTo>
                  <a:close/>
                  <a:moveTo>
                    <a:pt x="535" y="265"/>
                  </a:moveTo>
                  <a:lnTo>
                    <a:pt x="535" y="263"/>
                  </a:lnTo>
                  <a:lnTo>
                    <a:pt x="537" y="263"/>
                  </a:lnTo>
                  <a:lnTo>
                    <a:pt x="535" y="265"/>
                  </a:lnTo>
                  <a:close/>
                  <a:moveTo>
                    <a:pt x="238" y="336"/>
                  </a:moveTo>
                  <a:lnTo>
                    <a:pt x="239" y="335"/>
                  </a:lnTo>
                  <a:lnTo>
                    <a:pt x="239" y="336"/>
                  </a:lnTo>
                  <a:lnTo>
                    <a:pt x="238" y="336"/>
                  </a:lnTo>
                  <a:close/>
                  <a:moveTo>
                    <a:pt x="163" y="449"/>
                  </a:moveTo>
                  <a:lnTo>
                    <a:pt x="161" y="449"/>
                  </a:lnTo>
                  <a:lnTo>
                    <a:pt x="163" y="447"/>
                  </a:lnTo>
                  <a:lnTo>
                    <a:pt x="163" y="449"/>
                  </a:lnTo>
                  <a:close/>
                  <a:moveTo>
                    <a:pt x="664" y="1359"/>
                  </a:moveTo>
                  <a:lnTo>
                    <a:pt x="665" y="1359"/>
                  </a:lnTo>
                  <a:lnTo>
                    <a:pt x="664" y="1359"/>
                  </a:lnTo>
                  <a:close/>
                  <a:moveTo>
                    <a:pt x="371" y="307"/>
                  </a:moveTo>
                  <a:lnTo>
                    <a:pt x="369" y="307"/>
                  </a:lnTo>
                  <a:lnTo>
                    <a:pt x="369" y="305"/>
                  </a:lnTo>
                  <a:lnTo>
                    <a:pt x="371" y="305"/>
                  </a:lnTo>
                  <a:lnTo>
                    <a:pt x="371" y="307"/>
                  </a:lnTo>
                  <a:close/>
                  <a:moveTo>
                    <a:pt x="353" y="323"/>
                  </a:moveTo>
                  <a:lnTo>
                    <a:pt x="355" y="323"/>
                  </a:lnTo>
                  <a:lnTo>
                    <a:pt x="353" y="323"/>
                  </a:lnTo>
                  <a:close/>
                  <a:moveTo>
                    <a:pt x="413" y="274"/>
                  </a:moveTo>
                  <a:lnTo>
                    <a:pt x="413" y="273"/>
                  </a:lnTo>
                  <a:lnTo>
                    <a:pt x="415" y="273"/>
                  </a:lnTo>
                  <a:lnTo>
                    <a:pt x="415" y="274"/>
                  </a:lnTo>
                  <a:lnTo>
                    <a:pt x="413" y="274"/>
                  </a:lnTo>
                  <a:close/>
                  <a:moveTo>
                    <a:pt x="556" y="235"/>
                  </a:moveTo>
                  <a:lnTo>
                    <a:pt x="556" y="234"/>
                  </a:lnTo>
                  <a:lnTo>
                    <a:pt x="558" y="234"/>
                  </a:lnTo>
                  <a:lnTo>
                    <a:pt x="556" y="235"/>
                  </a:lnTo>
                  <a:close/>
                  <a:moveTo>
                    <a:pt x="208" y="663"/>
                  </a:moveTo>
                  <a:lnTo>
                    <a:pt x="210" y="663"/>
                  </a:lnTo>
                  <a:lnTo>
                    <a:pt x="208" y="663"/>
                  </a:lnTo>
                  <a:close/>
                  <a:moveTo>
                    <a:pt x="696" y="99"/>
                  </a:moveTo>
                  <a:lnTo>
                    <a:pt x="696" y="97"/>
                  </a:lnTo>
                  <a:lnTo>
                    <a:pt x="696" y="99"/>
                  </a:lnTo>
                  <a:lnTo>
                    <a:pt x="698" y="99"/>
                  </a:lnTo>
                  <a:lnTo>
                    <a:pt x="696" y="99"/>
                  </a:lnTo>
                  <a:close/>
                  <a:moveTo>
                    <a:pt x="270" y="484"/>
                  </a:moveTo>
                  <a:lnTo>
                    <a:pt x="272" y="484"/>
                  </a:lnTo>
                  <a:lnTo>
                    <a:pt x="272" y="486"/>
                  </a:lnTo>
                  <a:lnTo>
                    <a:pt x="272" y="484"/>
                  </a:lnTo>
                  <a:lnTo>
                    <a:pt x="270" y="484"/>
                  </a:lnTo>
                  <a:close/>
                  <a:moveTo>
                    <a:pt x="615" y="1023"/>
                  </a:moveTo>
                  <a:lnTo>
                    <a:pt x="613" y="1023"/>
                  </a:lnTo>
                  <a:lnTo>
                    <a:pt x="613" y="1021"/>
                  </a:lnTo>
                  <a:lnTo>
                    <a:pt x="615" y="1023"/>
                  </a:lnTo>
                  <a:close/>
                  <a:moveTo>
                    <a:pt x="565" y="221"/>
                  </a:moveTo>
                  <a:lnTo>
                    <a:pt x="565" y="222"/>
                  </a:lnTo>
                  <a:lnTo>
                    <a:pt x="565" y="221"/>
                  </a:lnTo>
                  <a:close/>
                  <a:moveTo>
                    <a:pt x="283" y="431"/>
                  </a:moveTo>
                  <a:lnTo>
                    <a:pt x="283" y="429"/>
                  </a:lnTo>
                  <a:lnTo>
                    <a:pt x="285" y="431"/>
                  </a:lnTo>
                  <a:lnTo>
                    <a:pt x="283" y="431"/>
                  </a:lnTo>
                  <a:close/>
                  <a:moveTo>
                    <a:pt x="177" y="422"/>
                  </a:moveTo>
                  <a:lnTo>
                    <a:pt x="176" y="422"/>
                  </a:lnTo>
                  <a:lnTo>
                    <a:pt x="177" y="422"/>
                  </a:lnTo>
                  <a:close/>
                  <a:moveTo>
                    <a:pt x="342" y="338"/>
                  </a:moveTo>
                  <a:lnTo>
                    <a:pt x="342" y="340"/>
                  </a:lnTo>
                  <a:lnTo>
                    <a:pt x="340" y="340"/>
                  </a:lnTo>
                  <a:lnTo>
                    <a:pt x="342" y="340"/>
                  </a:lnTo>
                  <a:lnTo>
                    <a:pt x="340" y="340"/>
                  </a:lnTo>
                  <a:lnTo>
                    <a:pt x="340" y="338"/>
                  </a:lnTo>
                  <a:lnTo>
                    <a:pt x="342" y="338"/>
                  </a:lnTo>
                  <a:close/>
                  <a:moveTo>
                    <a:pt x="735" y="26"/>
                  </a:moveTo>
                  <a:lnTo>
                    <a:pt x="735" y="27"/>
                  </a:lnTo>
                  <a:lnTo>
                    <a:pt x="735" y="26"/>
                  </a:lnTo>
                  <a:close/>
                  <a:moveTo>
                    <a:pt x="709" y="44"/>
                  </a:moveTo>
                  <a:lnTo>
                    <a:pt x="711" y="44"/>
                  </a:lnTo>
                  <a:lnTo>
                    <a:pt x="709" y="44"/>
                  </a:lnTo>
                  <a:lnTo>
                    <a:pt x="709" y="45"/>
                  </a:lnTo>
                  <a:lnTo>
                    <a:pt x="709" y="44"/>
                  </a:lnTo>
                  <a:close/>
                  <a:moveTo>
                    <a:pt x="340" y="344"/>
                  </a:moveTo>
                  <a:lnTo>
                    <a:pt x="340" y="346"/>
                  </a:lnTo>
                  <a:lnTo>
                    <a:pt x="338" y="344"/>
                  </a:lnTo>
                  <a:lnTo>
                    <a:pt x="340" y="344"/>
                  </a:lnTo>
                  <a:close/>
                  <a:moveTo>
                    <a:pt x="199" y="338"/>
                  </a:moveTo>
                  <a:lnTo>
                    <a:pt x="199" y="336"/>
                  </a:lnTo>
                  <a:lnTo>
                    <a:pt x="199" y="338"/>
                  </a:lnTo>
                  <a:close/>
                  <a:moveTo>
                    <a:pt x="568" y="205"/>
                  </a:moveTo>
                  <a:lnTo>
                    <a:pt x="568" y="206"/>
                  </a:lnTo>
                  <a:lnTo>
                    <a:pt x="568" y="205"/>
                  </a:lnTo>
                  <a:close/>
                  <a:moveTo>
                    <a:pt x="441" y="283"/>
                  </a:moveTo>
                  <a:lnTo>
                    <a:pt x="441" y="281"/>
                  </a:lnTo>
                  <a:lnTo>
                    <a:pt x="441" y="283"/>
                  </a:lnTo>
                  <a:lnTo>
                    <a:pt x="443" y="283"/>
                  </a:lnTo>
                  <a:lnTo>
                    <a:pt x="441" y="283"/>
                  </a:lnTo>
                  <a:close/>
                  <a:moveTo>
                    <a:pt x="142" y="458"/>
                  </a:moveTo>
                  <a:lnTo>
                    <a:pt x="142" y="457"/>
                  </a:lnTo>
                  <a:lnTo>
                    <a:pt x="143" y="457"/>
                  </a:lnTo>
                  <a:lnTo>
                    <a:pt x="142" y="458"/>
                  </a:lnTo>
                  <a:close/>
                  <a:moveTo>
                    <a:pt x="340" y="335"/>
                  </a:moveTo>
                  <a:lnTo>
                    <a:pt x="338" y="335"/>
                  </a:lnTo>
                  <a:lnTo>
                    <a:pt x="340" y="333"/>
                  </a:lnTo>
                  <a:lnTo>
                    <a:pt x="340" y="335"/>
                  </a:lnTo>
                  <a:close/>
                  <a:moveTo>
                    <a:pt x="262" y="585"/>
                  </a:moveTo>
                  <a:lnTo>
                    <a:pt x="260" y="585"/>
                  </a:lnTo>
                  <a:lnTo>
                    <a:pt x="262" y="584"/>
                  </a:lnTo>
                  <a:lnTo>
                    <a:pt x="262" y="585"/>
                  </a:lnTo>
                  <a:close/>
                  <a:moveTo>
                    <a:pt x="195" y="354"/>
                  </a:moveTo>
                  <a:lnTo>
                    <a:pt x="194" y="354"/>
                  </a:lnTo>
                  <a:lnTo>
                    <a:pt x="194" y="353"/>
                  </a:lnTo>
                  <a:lnTo>
                    <a:pt x="195" y="353"/>
                  </a:lnTo>
                  <a:lnTo>
                    <a:pt x="195" y="354"/>
                  </a:lnTo>
                  <a:close/>
                  <a:moveTo>
                    <a:pt x="267" y="366"/>
                  </a:moveTo>
                  <a:lnTo>
                    <a:pt x="267" y="364"/>
                  </a:lnTo>
                  <a:lnTo>
                    <a:pt x="267" y="366"/>
                  </a:lnTo>
                  <a:close/>
                  <a:moveTo>
                    <a:pt x="273" y="597"/>
                  </a:moveTo>
                  <a:lnTo>
                    <a:pt x="275" y="595"/>
                  </a:lnTo>
                  <a:lnTo>
                    <a:pt x="273" y="597"/>
                  </a:lnTo>
                  <a:close/>
                  <a:moveTo>
                    <a:pt x="408" y="286"/>
                  </a:moveTo>
                  <a:lnTo>
                    <a:pt x="408" y="284"/>
                  </a:lnTo>
                  <a:lnTo>
                    <a:pt x="410" y="284"/>
                  </a:lnTo>
                  <a:lnTo>
                    <a:pt x="408" y="286"/>
                  </a:lnTo>
                  <a:close/>
                  <a:moveTo>
                    <a:pt x="547" y="283"/>
                  </a:moveTo>
                  <a:lnTo>
                    <a:pt x="545" y="283"/>
                  </a:lnTo>
                  <a:lnTo>
                    <a:pt x="545" y="281"/>
                  </a:lnTo>
                  <a:lnTo>
                    <a:pt x="547" y="281"/>
                  </a:lnTo>
                  <a:lnTo>
                    <a:pt x="547" y="283"/>
                  </a:lnTo>
                  <a:close/>
                  <a:moveTo>
                    <a:pt x="714" y="44"/>
                  </a:moveTo>
                  <a:lnTo>
                    <a:pt x="714" y="45"/>
                  </a:lnTo>
                  <a:lnTo>
                    <a:pt x="714" y="44"/>
                  </a:lnTo>
                  <a:close/>
                  <a:moveTo>
                    <a:pt x="142" y="462"/>
                  </a:moveTo>
                  <a:lnTo>
                    <a:pt x="140" y="462"/>
                  </a:lnTo>
                  <a:lnTo>
                    <a:pt x="140" y="460"/>
                  </a:lnTo>
                  <a:lnTo>
                    <a:pt x="142" y="460"/>
                  </a:lnTo>
                  <a:lnTo>
                    <a:pt x="142" y="462"/>
                  </a:lnTo>
                  <a:close/>
                  <a:moveTo>
                    <a:pt x="210" y="840"/>
                  </a:moveTo>
                  <a:lnTo>
                    <a:pt x="210" y="842"/>
                  </a:lnTo>
                  <a:lnTo>
                    <a:pt x="210" y="840"/>
                  </a:lnTo>
                  <a:lnTo>
                    <a:pt x="212" y="840"/>
                  </a:lnTo>
                  <a:lnTo>
                    <a:pt x="210" y="840"/>
                  </a:lnTo>
                  <a:close/>
                  <a:moveTo>
                    <a:pt x="530" y="255"/>
                  </a:moveTo>
                  <a:lnTo>
                    <a:pt x="530" y="253"/>
                  </a:lnTo>
                  <a:lnTo>
                    <a:pt x="532" y="253"/>
                  </a:lnTo>
                  <a:lnTo>
                    <a:pt x="530" y="255"/>
                  </a:lnTo>
                  <a:close/>
                  <a:moveTo>
                    <a:pt x="717" y="57"/>
                  </a:moveTo>
                  <a:lnTo>
                    <a:pt x="717" y="55"/>
                  </a:lnTo>
                  <a:lnTo>
                    <a:pt x="717" y="57"/>
                  </a:lnTo>
                  <a:close/>
                  <a:moveTo>
                    <a:pt x="371" y="302"/>
                  </a:moveTo>
                  <a:lnTo>
                    <a:pt x="369" y="302"/>
                  </a:lnTo>
                  <a:lnTo>
                    <a:pt x="369" y="304"/>
                  </a:lnTo>
                  <a:lnTo>
                    <a:pt x="369" y="302"/>
                  </a:lnTo>
                  <a:lnTo>
                    <a:pt x="371" y="302"/>
                  </a:lnTo>
                  <a:close/>
                  <a:moveTo>
                    <a:pt x="210" y="540"/>
                  </a:moveTo>
                  <a:lnTo>
                    <a:pt x="210" y="541"/>
                  </a:lnTo>
                  <a:lnTo>
                    <a:pt x="210" y="540"/>
                  </a:lnTo>
                  <a:lnTo>
                    <a:pt x="212" y="538"/>
                  </a:lnTo>
                  <a:lnTo>
                    <a:pt x="212" y="540"/>
                  </a:lnTo>
                  <a:lnTo>
                    <a:pt x="210" y="540"/>
                  </a:lnTo>
                  <a:close/>
                  <a:moveTo>
                    <a:pt x="212" y="354"/>
                  </a:moveTo>
                  <a:lnTo>
                    <a:pt x="212" y="356"/>
                  </a:lnTo>
                  <a:lnTo>
                    <a:pt x="210" y="354"/>
                  </a:lnTo>
                  <a:lnTo>
                    <a:pt x="212" y="354"/>
                  </a:lnTo>
                  <a:close/>
                  <a:moveTo>
                    <a:pt x="158" y="437"/>
                  </a:moveTo>
                  <a:lnTo>
                    <a:pt x="158" y="436"/>
                  </a:lnTo>
                  <a:lnTo>
                    <a:pt x="158" y="437"/>
                  </a:lnTo>
                  <a:close/>
                  <a:moveTo>
                    <a:pt x="407" y="634"/>
                  </a:moveTo>
                  <a:lnTo>
                    <a:pt x="407" y="632"/>
                  </a:lnTo>
                  <a:lnTo>
                    <a:pt x="407" y="634"/>
                  </a:lnTo>
                  <a:close/>
                  <a:moveTo>
                    <a:pt x="203" y="621"/>
                  </a:moveTo>
                  <a:lnTo>
                    <a:pt x="202" y="621"/>
                  </a:lnTo>
                  <a:lnTo>
                    <a:pt x="202" y="619"/>
                  </a:lnTo>
                  <a:lnTo>
                    <a:pt x="203" y="619"/>
                  </a:lnTo>
                  <a:lnTo>
                    <a:pt x="203" y="621"/>
                  </a:lnTo>
                  <a:close/>
                  <a:moveTo>
                    <a:pt x="8" y="1457"/>
                  </a:moveTo>
                  <a:lnTo>
                    <a:pt x="8" y="1459"/>
                  </a:lnTo>
                  <a:lnTo>
                    <a:pt x="8" y="1457"/>
                  </a:lnTo>
                  <a:close/>
                  <a:moveTo>
                    <a:pt x="202" y="367"/>
                  </a:moveTo>
                  <a:lnTo>
                    <a:pt x="200" y="367"/>
                  </a:lnTo>
                  <a:lnTo>
                    <a:pt x="200" y="366"/>
                  </a:lnTo>
                  <a:lnTo>
                    <a:pt x="202" y="366"/>
                  </a:lnTo>
                  <a:lnTo>
                    <a:pt x="202" y="367"/>
                  </a:lnTo>
                  <a:close/>
                  <a:moveTo>
                    <a:pt x="233" y="398"/>
                  </a:moveTo>
                  <a:lnTo>
                    <a:pt x="233" y="400"/>
                  </a:lnTo>
                  <a:lnTo>
                    <a:pt x="233" y="398"/>
                  </a:lnTo>
                  <a:close/>
                  <a:moveTo>
                    <a:pt x="190" y="525"/>
                  </a:moveTo>
                  <a:lnTo>
                    <a:pt x="190" y="527"/>
                  </a:lnTo>
                  <a:lnTo>
                    <a:pt x="190" y="525"/>
                  </a:lnTo>
                  <a:close/>
                  <a:moveTo>
                    <a:pt x="269" y="575"/>
                  </a:moveTo>
                  <a:lnTo>
                    <a:pt x="267" y="575"/>
                  </a:lnTo>
                  <a:lnTo>
                    <a:pt x="267" y="574"/>
                  </a:lnTo>
                  <a:lnTo>
                    <a:pt x="269" y="574"/>
                  </a:lnTo>
                  <a:lnTo>
                    <a:pt x="269" y="575"/>
                  </a:lnTo>
                  <a:close/>
                  <a:moveTo>
                    <a:pt x="270" y="341"/>
                  </a:moveTo>
                  <a:lnTo>
                    <a:pt x="270" y="340"/>
                  </a:lnTo>
                  <a:lnTo>
                    <a:pt x="270" y="341"/>
                  </a:lnTo>
                  <a:close/>
                  <a:moveTo>
                    <a:pt x="215" y="860"/>
                  </a:moveTo>
                  <a:lnTo>
                    <a:pt x="213" y="860"/>
                  </a:lnTo>
                  <a:lnTo>
                    <a:pt x="213" y="858"/>
                  </a:lnTo>
                  <a:lnTo>
                    <a:pt x="215" y="858"/>
                  </a:lnTo>
                  <a:lnTo>
                    <a:pt x="215" y="860"/>
                  </a:lnTo>
                  <a:close/>
                  <a:moveTo>
                    <a:pt x="207" y="361"/>
                  </a:moveTo>
                  <a:lnTo>
                    <a:pt x="207" y="359"/>
                  </a:lnTo>
                  <a:lnTo>
                    <a:pt x="208" y="361"/>
                  </a:lnTo>
                  <a:lnTo>
                    <a:pt x="207" y="361"/>
                  </a:lnTo>
                  <a:close/>
                  <a:moveTo>
                    <a:pt x="257" y="359"/>
                  </a:moveTo>
                  <a:lnTo>
                    <a:pt x="257" y="361"/>
                  </a:lnTo>
                  <a:lnTo>
                    <a:pt x="257" y="359"/>
                  </a:lnTo>
                  <a:close/>
                  <a:moveTo>
                    <a:pt x="187" y="385"/>
                  </a:moveTo>
                  <a:lnTo>
                    <a:pt x="189" y="387"/>
                  </a:lnTo>
                  <a:lnTo>
                    <a:pt x="187" y="387"/>
                  </a:lnTo>
                  <a:lnTo>
                    <a:pt x="187" y="385"/>
                  </a:lnTo>
                  <a:close/>
                  <a:moveTo>
                    <a:pt x="517" y="1423"/>
                  </a:moveTo>
                  <a:lnTo>
                    <a:pt x="517" y="1421"/>
                  </a:lnTo>
                  <a:lnTo>
                    <a:pt x="519" y="1421"/>
                  </a:lnTo>
                  <a:lnTo>
                    <a:pt x="517" y="1423"/>
                  </a:lnTo>
                  <a:close/>
                  <a:moveTo>
                    <a:pt x="218" y="535"/>
                  </a:moveTo>
                  <a:lnTo>
                    <a:pt x="218" y="533"/>
                  </a:lnTo>
                  <a:lnTo>
                    <a:pt x="220" y="533"/>
                  </a:lnTo>
                  <a:lnTo>
                    <a:pt x="220" y="535"/>
                  </a:lnTo>
                  <a:lnTo>
                    <a:pt x="218" y="535"/>
                  </a:lnTo>
                  <a:close/>
                  <a:moveTo>
                    <a:pt x="236" y="289"/>
                  </a:moveTo>
                  <a:lnTo>
                    <a:pt x="236" y="287"/>
                  </a:lnTo>
                  <a:lnTo>
                    <a:pt x="238" y="287"/>
                  </a:lnTo>
                  <a:lnTo>
                    <a:pt x="236" y="289"/>
                  </a:lnTo>
                  <a:close/>
                  <a:moveTo>
                    <a:pt x="691" y="123"/>
                  </a:moveTo>
                  <a:lnTo>
                    <a:pt x="691" y="122"/>
                  </a:lnTo>
                  <a:lnTo>
                    <a:pt x="691" y="123"/>
                  </a:lnTo>
                  <a:close/>
                  <a:moveTo>
                    <a:pt x="556" y="214"/>
                  </a:moveTo>
                  <a:lnTo>
                    <a:pt x="556" y="213"/>
                  </a:lnTo>
                  <a:lnTo>
                    <a:pt x="558" y="214"/>
                  </a:lnTo>
                  <a:lnTo>
                    <a:pt x="556" y="214"/>
                  </a:lnTo>
                  <a:close/>
                  <a:moveTo>
                    <a:pt x="186" y="401"/>
                  </a:moveTo>
                  <a:lnTo>
                    <a:pt x="186" y="403"/>
                  </a:lnTo>
                  <a:lnTo>
                    <a:pt x="184" y="403"/>
                  </a:lnTo>
                  <a:lnTo>
                    <a:pt x="186" y="401"/>
                  </a:lnTo>
                  <a:close/>
                  <a:moveTo>
                    <a:pt x="568" y="190"/>
                  </a:moveTo>
                  <a:lnTo>
                    <a:pt x="568" y="188"/>
                  </a:lnTo>
                  <a:lnTo>
                    <a:pt x="568" y="190"/>
                  </a:lnTo>
                  <a:close/>
                  <a:moveTo>
                    <a:pt x="213" y="463"/>
                  </a:moveTo>
                  <a:lnTo>
                    <a:pt x="213" y="465"/>
                  </a:lnTo>
                  <a:lnTo>
                    <a:pt x="212" y="465"/>
                  </a:lnTo>
                  <a:lnTo>
                    <a:pt x="212" y="463"/>
                  </a:lnTo>
                  <a:lnTo>
                    <a:pt x="213" y="463"/>
                  </a:lnTo>
                  <a:close/>
                  <a:moveTo>
                    <a:pt x="215" y="834"/>
                  </a:moveTo>
                  <a:lnTo>
                    <a:pt x="215" y="832"/>
                  </a:lnTo>
                  <a:lnTo>
                    <a:pt x="215" y="834"/>
                  </a:lnTo>
                  <a:close/>
                  <a:moveTo>
                    <a:pt x="239" y="287"/>
                  </a:moveTo>
                  <a:lnTo>
                    <a:pt x="239" y="289"/>
                  </a:lnTo>
                  <a:lnTo>
                    <a:pt x="238" y="289"/>
                  </a:lnTo>
                  <a:lnTo>
                    <a:pt x="239" y="287"/>
                  </a:lnTo>
                  <a:close/>
                  <a:moveTo>
                    <a:pt x="338" y="346"/>
                  </a:moveTo>
                  <a:lnTo>
                    <a:pt x="337" y="346"/>
                  </a:lnTo>
                  <a:lnTo>
                    <a:pt x="338" y="346"/>
                  </a:lnTo>
                  <a:close/>
                  <a:moveTo>
                    <a:pt x="158" y="442"/>
                  </a:moveTo>
                  <a:lnTo>
                    <a:pt x="160" y="442"/>
                  </a:lnTo>
                  <a:lnTo>
                    <a:pt x="158" y="442"/>
                  </a:lnTo>
                  <a:close/>
                  <a:moveTo>
                    <a:pt x="673" y="1363"/>
                  </a:moveTo>
                  <a:lnTo>
                    <a:pt x="673" y="1361"/>
                  </a:lnTo>
                  <a:lnTo>
                    <a:pt x="673" y="1363"/>
                  </a:lnTo>
                  <a:lnTo>
                    <a:pt x="675" y="1363"/>
                  </a:lnTo>
                  <a:lnTo>
                    <a:pt x="673" y="1363"/>
                  </a:lnTo>
                  <a:close/>
                  <a:moveTo>
                    <a:pt x="212" y="832"/>
                  </a:moveTo>
                  <a:lnTo>
                    <a:pt x="212" y="834"/>
                  </a:lnTo>
                  <a:lnTo>
                    <a:pt x="212" y="832"/>
                  </a:lnTo>
                  <a:lnTo>
                    <a:pt x="213" y="832"/>
                  </a:lnTo>
                  <a:lnTo>
                    <a:pt x="212" y="832"/>
                  </a:lnTo>
                  <a:close/>
                  <a:moveTo>
                    <a:pt x="5" y="1462"/>
                  </a:moveTo>
                  <a:lnTo>
                    <a:pt x="7" y="1462"/>
                  </a:lnTo>
                  <a:lnTo>
                    <a:pt x="5" y="1462"/>
                  </a:lnTo>
                  <a:close/>
                  <a:moveTo>
                    <a:pt x="190" y="387"/>
                  </a:moveTo>
                  <a:lnTo>
                    <a:pt x="192" y="387"/>
                  </a:lnTo>
                  <a:lnTo>
                    <a:pt x="190" y="387"/>
                  </a:lnTo>
                  <a:lnTo>
                    <a:pt x="190" y="385"/>
                  </a:lnTo>
                  <a:lnTo>
                    <a:pt x="190" y="387"/>
                  </a:lnTo>
                  <a:close/>
                  <a:moveTo>
                    <a:pt x="220" y="546"/>
                  </a:moveTo>
                  <a:lnTo>
                    <a:pt x="220" y="544"/>
                  </a:lnTo>
                  <a:lnTo>
                    <a:pt x="221" y="544"/>
                  </a:lnTo>
                  <a:lnTo>
                    <a:pt x="220" y="546"/>
                  </a:lnTo>
                  <a:close/>
                  <a:moveTo>
                    <a:pt x="353" y="328"/>
                  </a:moveTo>
                  <a:lnTo>
                    <a:pt x="355" y="328"/>
                  </a:lnTo>
                  <a:lnTo>
                    <a:pt x="355" y="330"/>
                  </a:lnTo>
                  <a:lnTo>
                    <a:pt x="353" y="330"/>
                  </a:lnTo>
                  <a:lnTo>
                    <a:pt x="353" y="328"/>
                  </a:lnTo>
                  <a:close/>
                  <a:moveTo>
                    <a:pt x="238" y="413"/>
                  </a:moveTo>
                  <a:lnTo>
                    <a:pt x="238" y="411"/>
                  </a:lnTo>
                  <a:lnTo>
                    <a:pt x="238" y="413"/>
                  </a:lnTo>
                  <a:close/>
                  <a:moveTo>
                    <a:pt x="241" y="418"/>
                  </a:moveTo>
                  <a:lnTo>
                    <a:pt x="241" y="416"/>
                  </a:lnTo>
                  <a:lnTo>
                    <a:pt x="243" y="418"/>
                  </a:lnTo>
                  <a:lnTo>
                    <a:pt x="241" y="418"/>
                  </a:lnTo>
                  <a:close/>
                  <a:moveTo>
                    <a:pt x="160" y="369"/>
                  </a:moveTo>
                  <a:lnTo>
                    <a:pt x="160" y="370"/>
                  </a:lnTo>
                  <a:lnTo>
                    <a:pt x="160" y="369"/>
                  </a:lnTo>
                  <a:lnTo>
                    <a:pt x="161" y="369"/>
                  </a:lnTo>
                  <a:lnTo>
                    <a:pt x="160" y="369"/>
                  </a:lnTo>
                  <a:close/>
                  <a:moveTo>
                    <a:pt x="13" y="1452"/>
                  </a:moveTo>
                  <a:lnTo>
                    <a:pt x="13" y="1454"/>
                  </a:lnTo>
                  <a:lnTo>
                    <a:pt x="13" y="1452"/>
                  </a:lnTo>
                  <a:lnTo>
                    <a:pt x="13" y="1454"/>
                  </a:lnTo>
                  <a:lnTo>
                    <a:pt x="13" y="1452"/>
                  </a:lnTo>
                  <a:close/>
                  <a:moveTo>
                    <a:pt x="579" y="219"/>
                  </a:moveTo>
                  <a:lnTo>
                    <a:pt x="579" y="218"/>
                  </a:lnTo>
                  <a:lnTo>
                    <a:pt x="579" y="219"/>
                  </a:lnTo>
                  <a:close/>
                  <a:moveTo>
                    <a:pt x="256" y="584"/>
                  </a:moveTo>
                  <a:lnTo>
                    <a:pt x="257" y="584"/>
                  </a:lnTo>
                  <a:lnTo>
                    <a:pt x="257" y="582"/>
                  </a:lnTo>
                  <a:lnTo>
                    <a:pt x="257" y="584"/>
                  </a:lnTo>
                  <a:lnTo>
                    <a:pt x="256" y="584"/>
                  </a:lnTo>
                  <a:close/>
                  <a:moveTo>
                    <a:pt x="565" y="209"/>
                  </a:moveTo>
                  <a:lnTo>
                    <a:pt x="566" y="209"/>
                  </a:lnTo>
                  <a:lnTo>
                    <a:pt x="565" y="209"/>
                  </a:lnTo>
                  <a:close/>
                  <a:moveTo>
                    <a:pt x="239" y="413"/>
                  </a:moveTo>
                  <a:lnTo>
                    <a:pt x="241" y="413"/>
                  </a:lnTo>
                  <a:lnTo>
                    <a:pt x="239" y="413"/>
                  </a:lnTo>
                  <a:close/>
                  <a:moveTo>
                    <a:pt x="168" y="442"/>
                  </a:moveTo>
                  <a:lnTo>
                    <a:pt x="169" y="442"/>
                  </a:lnTo>
                  <a:lnTo>
                    <a:pt x="168" y="442"/>
                  </a:lnTo>
                  <a:close/>
                  <a:moveTo>
                    <a:pt x="216" y="826"/>
                  </a:moveTo>
                  <a:lnTo>
                    <a:pt x="216" y="824"/>
                  </a:lnTo>
                  <a:lnTo>
                    <a:pt x="218" y="824"/>
                  </a:lnTo>
                  <a:lnTo>
                    <a:pt x="218" y="826"/>
                  </a:lnTo>
                  <a:lnTo>
                    <a:pt x="216" y="826"/>
                  </a:lnTo>
                  <a:close/>
                  <a:moveTo>
                    <a:pt x="252" y="488"/>
                  </a:moveTo>
                  <a:lnTo>
                    <a:pt x="251" y="488"/>
                  </a:lnTo>
                  <a:lnTo>
                    <a:pt x="252" y="486"/>
                  </a:lnTo>
                  <a:lnTo>
                    <a:pt x="252" y="488"/>
                  </a:lnTo>
                  <a:close/>
                  <a:moveTo>
                    <a:pt x="747" y="63"/>
                  </a:moveTo>
                  <a:lnTo>
                    <a:pt x="745" y="63"/>
                  </a:lnTo>
                  <a:lnTo>
                    <a:pt x="747" y="63"/>
                  </a:lnTo>
                  <a:close/>
                  <a:moveTo>
                    <a:pt x="182" y="649"/>
                  </a:moveTo>
                  <a:lnTo>
                    <a:pt x="181" y="649"/>
                  </a:lnTo>
                  <a:lnTo>
                    <a:pt x="182" y="649"/>
                  </a:lnTo>
                  <a:close/>
                  <a:moveTo>
                    <a:pt x="249" y="289"/>
                  </a:moveTo>
                  <a:lnTo>
                    <a:pt x="249" y="287"/>
                  </a:lnTo>
                  <a:lnTo>
                    <a:pt x="249" y="289"/>
                  </a:lnTo>
                  <a:close/>
                  <a:moveTo>
                    <a:pt x="543" y="235"/>
                  </a:moveTo>
                  <a:lnTo>
                    <a:pt x="545" y="235"/>
                  </a:lnTo>
                  <a:lnTo>
                    <a:pt x="545" y="234"/>
                  </a:lnTo>
                  <a:lnTo>
                    <a:pt x="545" y="235"/>
                  </a:lnTo>
                  <a:lnTo>
                    <a:pt x="543" y="235"/>
                  </a:lnTo>
                  <a:close/>
                  <a:moveTo>
                    <a:pt x="270" y="374"/>
                  </a:moveTo>
                  <a:lnTo>
                    <a:pt x="270" y="375"/>
                  </a:lnTo>
                  <a:lnTo>
                    <a:pt x="270" y="374"/>
                  </a:lnTo>
                  <a:close/>
                  <a:moveTo>
                    <a:pt x="205" y="359"/>
                  </a:moveTo>
                  <a:lnTo>
                    <a:pt x="205" y="357"/>
                  </a:lnTo>
                  <a:lnTo>
                    <a:pt x="205" y="359"/>
                  </a:lnTo>
                  <a:close/>
                  <a:moveTo>
                    <a:pt x="457" y="653"/>
                  </a:moveTo>
                  <a:lnTo>
                    <a:pt x="459" y="653"/>
                  </a:lnTo>
                  <a:lnTo>
                    <a:pt x="459" y="655"/>
                  </a:lnTo>
                  <a:lnTo>
                    <a:pt x="459" y="653"/>
                  </a:lnTo>
                  <a:lnTo>
                    <a:pt x="457" y="653"/>
                  </a:lnTo>
                  <a:close/>
                  <a:moveTo>
                    <a:pt x="311" y="1024"/>
                  </a:moveTo>
                  <a:lnTo>
                    <a:pt x="311" y="1023"/>
                  </a:lnTo>
                  <a:lnTo>
                    <a:pt x="312" y="1023"/>
                  </a:lnTo>
                  <a:lnTo>
                    <a:pt x="311" y="1024"/>
                  </a:lnTo>
                  <a:close/>
                  <a:moveTo>
                    <a:pt x="212" y="837"/>
                  </a:moveTo>
                  <a:lnTo>
                    <a:pt x="213" y="837"/>
                  </a:lnTo>
                  <a:lnTo>
                    <a:pt x="213" y="839"/>
                  </a:lnTo>
                  <a:lnTo>
                    <a:pt x="212" y="837"/>
                  </a:lnTo>
                  <a:close/>
                  <a:moveTo>
                    <a:pt x="555" y="226"/>
                  </a:moveTo>
                  <a:lnTo>
                    <a:pt x="555" y="224"/>
                  </a:lnTo>
                  <a:lnTo>
                    <a:pt x="555" y="226"/>
                  </a:lnTo>
                  <a:close/>
                  <a:moveTo>
                    <a:pt x="213" y="354"/>
                  </a:moveTo>
                  <a:lnTo>
                    <a:pt x="213" y="356"/>
                  </a:lnTo>
                  <a:lnTo>
                    <a:pt x="213" y="354"/>
                  </a:lnTo>
                  <a:close/>
                  <a:moveTo>
                    <a:pt x="563" y="188"/>
                  </a:moveTo>
                  <a:lnTo>
                    <a:pt x="563" y="187"/>
                  </a:lnTo>
                  <a:lnTo>
                    <a:pt x="563" y="188"/>
                  </a:lnTo>
                  <a:close/>
                  <a:moveTo>
                    <a:pt x="269" y="486"/>
                  </a:moveTo>
                  <a:lnTo>
                    <a:pt x="269" y="484"/>
                  </a:lnTo>
                  <a:lnTo>
                    <a:pt x="270" y="486"/>
                  </a:lnTo>
                  <a:lnTo>
                    <a:pt x="269" y="486"/>
                  </a:lnTo>
                  <a:close/>
                  <a:moveTo>
                    <a:pt x="239" y="488"/>
                  </a:moveTo>
                  <a:lnTo>
                    <a:pt x="239" y="489"/>
                  </a:lnTo>
                  <a:lnTo>
                    <a:pt x="239" y="488"/>
                  </a:lnTo>
                  <a:close/>
                  <a:moveTo>
                    <a:pt x="241" y="338"/>
                  </a:moveTo>
                  <a:lnTo>
                    <a:pt x="239" y="338"/>
                  </a:lnTo>
                  <a:lnTo>
                    <a:pt x="241" y="338"/>
                  </a:lnTo>
                  <a:lnTo>
                    <a:pt x="239" y="338"/>
                  </a:lnTo>
                  <a:lnTo>
                    <a:pt x="241" y="338"/>
                  </a:lnTo>
                  <a:close/>
                  <a:moveTo>
                    <a:pt x="202" y="520"/>
                  </a:moveTo>
                  <a:lnTo>
                    <a:pt x="202" y="522"/>
                  </a:lnTo>
                  <a:lnTo>
                    <a:pt x="202" y="520"/>
                  </a:lnTo>
                  <a:close/>
                  <a:moveTo>
                    <a:pt x="673" y="1354"/>
                  </a:moveTo>
                  <a:lnTo>
                    <a:pt x="673" y="1356"/>
                  </a:lnTo>
                  <a:lnTo>
                    <a:pt x="673" y="1354"/>
                  </a:lnTo>
                  <a:close/>
                  <a:moveTo>
                    <a:pt x="181" y="647"/>
                  </a:moveTo>
                  <a:lnTo>
                    <a:pt x="181" y="649"/>
                  </a:lnTo>
                  <a:lnTo>
                    <a:pt x="181" y="647"/>
                  </a:lnTo>
                  <a:close/>
                  <a:moveTo>
                    <a:pt x="195" y="380"/>
                  </a:moveTo>
                  <a:lnTo>
                    <a:pt x="197" y="380"/>
                  </a:lnTo>
                  <a:lnTo>
                    <a:pt x="195" y="380"/>
                  </a:lnTo>
                  <a:close/>
                  <a:moveTo>
                    <a:pt x="446" y="385"/>
                  </a:moveTo>
                  <a:lnTo>
                    <a:pt x="447" y="385"/>
                  </a:lnTo>
                  <a:lnTo>
                    <a:pt x="447" y="387"/>
                  </a:lnTo>
                  <a:lnTo>
                    <a:pt x="447" y="385"/>
                  </a:lnTo>
                  <a:lnTo>
                    <a:pt x="446" y="385"/>
                  </a:lnTo>
                  <a:close/>
                  <a:moveTo>
                    <a:pt x="221" y="505"/>
                  </a:moveTo>
                  <a:lnTo>
                    <a:pt x="221" y="507"/>
                  </a:lnTo>
                  <a:lnTo>
                    <a:pt x="220" y="507"/>
                  </a:lnTo>
                  <a:lnTo>
                    <a:pt x="220" y="505"/>
                  </a:lnTo>
                  <a:lnTo>
                    <a:pt x="221" y="507"/>
                  </a:lnTo>
                  <a:lnTo>
                    <a:pt x="221" y="505"/>
                  </a:lnTo>
                  <a:close/>
                  <a:moveTo>
                    <a:pt x="228" y="543"/>
                  </a:moveTo>
                  <a:lnTo>
                    <a:pt x="229" y="543"/>
                  </a:lnTo>
                  <a:lnTo>
                    <a:pt x="229" y="544"/>
                  </a:lnTo>
                  <a:lnTo>
                    <a:pt x="228" y="543"/>
                  </a:lnTo>
                  <a:lnTo>
                    <a:pt x="229" y="543"/>
                  </a:lnTo>
                  <a:lnTo>
                    <a:pt x="228" y="543"/>
                  </a:lnTo>
                  <a:close/>
                  <a:moveTo>
                    <a:pt x="163" y="343"/>
                  </a:moveTo>
                  <a:lnTo>
                    <a:pt x="163" y="344"/>
                  </a:lnTo>
                  <a:lnTo>
                    <a:pt x="163" y="343"/>
                  </a:lnTo>
                  <a:close/>
                  <a:moveTo>
                    <a:pt x="218" y="660"/>
                  </a:moveTo>
                  <a:lnTo>
                    <a:pt x="216" y="660"/>
                  </a:lnTo>
                  <a:lnTo>
                    <a:pt x="218" y="660"/>
                  </a:lnTo>
                  <a:lnTo>
                    <a:pt x="218" y="658"/>
                  </a:lnTo>
                  <a:lnTo>
                    <a:pt x="218" y="660"/>
                  </a:lnTo>
                  <a:close/>
                  <a:moveTo>
                    <a:pt x="236" y="1265"/>
                  </a:moveTo>
                  <a:lnTo>
                    <a:pt x="238" y="1265"/>
                  </a:lnTo>
                  <a:lnTo>
                    <a:pt x="238" y="1267"/>
                  </a:lnTo>
                  <a:lnTo>
                    <a:pt x="238" y="1265"/>
                  </a:lnTo>
                  <a:lnTo>
                    <a:pt x="236" y="1265"/>
                  </a:lnTo>
                  <a:close/>
                  <a:moveTo>
                    <a:pt x="270" y="377"/>
                  </a:moveTo>
                  <a:lnTo>
                    <a:pt x="272" y="379"/>
                  </a:lnTo>
                  <a:lnTo>
                    <a:pt x="270" y="379"/>
                  </a:lnTo>
                  <a:lnTo>
                    <a:pt x="270" y="377"/>
                  </a:lnTo>
                  <a:close/>
                  <a:moveTo>
                    <a:pt x="338" y="808"/>
                  </a:moveTo>
                  <a:lnTo>
                    <a:pt x="337" y="810"/>
                  </a:lnTo>
                  <a:lnTo>
                    <a:pt x="337" y="808"/>
                  </a:lnTo>
                  <a:lnTo>
                    <a:pt x="338" y="808"/>
                  </a:lnTo>
                  <a:close/>
                  <a:moveTo>
                    <a:pt x="418" y="1428"/>
                  </a:moveTo>
                  <a:lnTo>
                    <a:pt x="418" y="1426"/>
                  </a:lnTo>
                  <a:lnTo>
                    <a:pt x="418" y="1428"/>
                  </a:lnTo>
                  <a:close/>
                  <a:moveTo>
                    <a:pt x="716" y="45"/>
                  </a:moveTo>
                  <a:lnTo>
                    <a:pt x="717" y="45"/>
                  </a:lnTo>
                  <a:lnTo>
                    <a:pt x="716" y="47"/>
                  </a:lnTo>
                  <a:lnTo>
                    <a:pt x="716" y="45"/>
                  </a:lnTo>
                  <a:close/>
                  <a:moveTo>
                    <a:pt x="683" y="84"/>
                  </a:moveTo>
                  <a:lnTo>
                    <a:pt x="683" y="83"/>
                  </a:lnTo>
                  <a:lnTo>
                    <a:pt x="683" y="84"/>
                  </a:lnTo>
                  <a:close/>
                  <a:moveTo>
                    <a:pt x="208" y="357"/>
                  </a:moveTo>
                  <a:lnTo>
                    <a:pt x="208" y="359"/>
                  </a:lnTo>
                  <a:lnTo>
                    <a:pt x="207" y="357"/>
                  </a:lnTo>
                  <a:lnTo>
                    <a:pt x="208" y="357"/>
                  </a:lnTo>
                  <a:close/>
                  <a:moveTo>
                    <a:pt x="540" y="257"/>
                  </a:moveTo>
                  <a:lnTo>
                    <a:pt x="539" y="257"/>
                  </a:lnTo>
                  <a:lnTo>
                    <a:pt x="540" y="257"/>
                  </a:lnTo>
                  <a:close/>
                  <a:moveTo>
                    <a:pt x="312" y="683"/>
                  </a:moveTo>
                  <a:lnTo>
                    <a:pt x="312" y="681"/>
                  </a:lnTo>
                  <a:lnTo>
                    <a:pt x="312" y="683"/>
                  </a:lnTo>
                  <a:close/>
                  <a:moveTo>
                    <a:pt x="215" y="305"/>
                  </a:moveTo>
                  <a:lnTo>
                    <a:pt x="215" y="307"/>
                  </a:lnTo>
                  <a:lnTo>
                    <a:pt x="215" y="305"/>
                  </a:lnTo>
                  <a:close/>
                  <a:moveTo>
                    <a:pt x="156" y="367"/>
                  </a:moveTo>
                  <a:lnTo>
                    <a:pt x="155" y="367"/>
                  </a:lnTo>
                  <a:lnTo>
                    <a:pt x="156" y="367"/>
                  </a:lnTo>
                  <a:close/>
                  <a:moveTo>
                    <a:pt x="267" y="488"/>
                  </a:moveTo>
                  <a:lnTo>
                    <a:pt x="267" y="486"/>
                  </a:lnTo>
                  <a:lnTo>
                    <a:pt x="269" y="486"/>
                  </a:lnTo>
                  <a:lnTo>
                    <a:pt x="267" y="488"/>
                  </a:lnTo>
                  <a:close/>
                  <a:moveTo>
                    <a:pt x="734" y="73"/>
                  </a:moveTo>
                  <a:lnTo>
                    <a:pt x="735" y="73"/>
                  </a:lnTo>
                  <a:lnTo>
                    <a:pt x="734" y="73"/>
                  </a:lnTo>
                  <a:close/>
                  <a:moveTo>
                    <a:pt x="179" y="369"/>
                  </a:moveTo>
                  <a:lnTo>
                    <a:pt x="181" y="369"/>
                  </a:lnTo>
                  <a:lnTo>
                    <a:pt x="181" y="370"/>
                  </a:lnTo>
                  <a:lnTo>
                    <a:pt x="179" y="370"/>
                  </a:lnTo>
                  <a:lnTo>
                    <a:pt x="179" y="369"/>
                  </a:lnTo>
                  <a:close/>
                  <a:moveTo>
                    <a:pt x="273" y="312"/>
                  </a:moveTo>
                  <a:lnTo>
                    <a:pt x="273" y="314"/>
                  </a:lnTo>
                  <a:lnTo>
                    <a:pt x="273" y="312"/>
                  </a:lnTo>
                  <a:close/>
                  <a:moveTo>
                    <a:pt x="213" y="829"/>
                  </a:moveTo>
                  <a:lnTo>
                    <a:pt x="213" y="831"/>
                  </a:lnTo>
                  <a:lnTo>
                    <a:pt x="212" y="831"/>
                  </a:lnTo>
                  <a:lnTo>
                    <a:pt x="212" y="829"/>
                  </a:lnTo>
                  <a:lnTo>
                    <a:pt x="213" y="829"/>
                  </a:lnTo>
                  <a:close/>
                  <a:moveTo>
                    <a:pt x="203" y="357"/>
                  </a:moveTo>
                  <a:lnTo>
                    <a:pt x="203" y="359"/>
                  </a:lnTo>
                  <a:lnTo>
                    <a:pt x="203" y="357"/>
                  </a:lnTo>
                  <a:close/>
                  <a:moveTo>
                    <a:pt x="272" y="598"/>
                  </a:moveTo>
                  <a:lnTo>
                    <a:pt x="272" y="597"/>
                  </a:lnTo>
                  <a:lnTo>
                    <a:pt x="273" y="597"/>
                  </a:lnTo>
                  <a:lnTo>
                    <a:pt x="272" y="597"/>
                  </a:lnTo>
                  <a:lnTo>
                    <a:pt x="272" y="598"/>
                  </a:lnTo>
                  <a:close/>
                  <a:moveTo>
                    <a:pt x="12" y="1452"/>
                  </a:moveTo>
                  <a:lnTo>
                    <a:pt x="13" y="1452"/>
                  </a:lnTo>
                  <a:lnTo>
                    <a:pt x="12" y="1452"/>
                  </a:lnTo>
                  <a:close/>
                  <a:moveTo>
                    <a:pt x="740" y="31"/>
                  </a:moveTo>
                  <a:lnTo>
                    <a:pt x="739" y="31"/>
                  </a:lnTo>
                  <a:lnTo>
                    <a:pt x="740" y="31"/>
                  </a:lnTo>
                  <a:close/>
                  <a:moveTo>
                    <a:pt x="251" y="629"/>
                  </a:moveTo>
                  <a:lnTo>
                    <a:pt x="252" y="627"/>
                  </a:lnTo>
                  <a:lnTo>
                    <a:pt x="252" y="629"/>
                  </a:lnTo>
                  <a:lnTo>
                    <a:pt x="251" y="629"/>
                  </a:lnTo>
                  <a:close/>
                  <a:moveTo>
                    <a:pt x="560" y="214"/>
                  </a:moveTo>
                  <a:lnTo>
                    <a:pt x="560" y="213"/>
                  </a:lnTo>
                  <a:lnTo>
                    <a:pt x="560" y="214"/>
                  </a:lnTo>
                  <a:close/>
                  <a:moveTo>
                    <a:pt x="215" y="567"/>
                  </a:moveTo>
                  <a:lnTo>
                    <a:pt x="213" y="567"/>
                  </a:lnTo>
                  <a:lnTo>
                    <a:pt x="215" y="567"/>
                  </a:lnTo>
                  <a:close/>
                  <a:moveTo>
                    <a:pt x="568" y="255"/>
                  </a:moveTo>
                  <a:lnTo>
                    <a:pt x="569" y="255"/>
                  </a:lnTo>
                  <a:lnTo>
                    <a:pt x="568" y="255"/>
                  </a:lnTo>
                  <a:close/>
                  <a:moveTo>
                    <a:pt x="511" y="1421"/>
                  </a:moveTo>
                  <a:lnTo>
                    <a:pt x="512" y="1421"/>
                  </a:lnTo>
                  <a:lnTo>
                    <a:pt x="512" y="1423"/>
                  </a:lnTo>
                  <a:lnTo>
                    <a:pt x="511" y="1423"/>
                  </a:lnTo>
                  <a:lnTo>
                    <a:pt x="511" y="1421"/>
                  </a:lnTo>
                  <a:close/>
                  <a:moveTo>
                    <a:pt x="220" y="657"/>
                  </a:moveTo>
                  <a:lnTo>
                    <a:pt x="220" y="658"/>
                  </a:lnTo>
                  <a:lnTo>
                    <a:pt x="220" y="657"/>
                  </a:lnTo>
                  <a:close/>
                  <a:moveTo>
                    <a:pt x="212" y="518"/>
                  </a:moveTo>
                  <a:lnTo>
                    <a:pt x="212" y="517"/>
                  </a:lnTo>
                  <a:lnTo>
                    <a:pt x="212" y="518"/>
                  </a:lnTo>
                  <a:close/>
                  <a:moveTo>
                    <a:pt x="18" y="1457"/>
                  </a:moveTo>
                  <a:lnTo>
                    <a:pt x="18" y="1455"/>
                  </a:lnTo>
                  <a:lnTo>
                    <a:pt x="16" y="1455"/>
                  </a:lnTo>
                  <a:lnTo>
                    <a:pt x="18" y="1455"/>
                  </a:lnTo>
                  <a:lnTo>
                    <a:pt x="18" y="1457"/>
                  </a:lnTo>
                  <a:close/>
                  <a:moveTo>
                    <a:pt x="748" y="18"/>
                  </a:moveTo>
                  <a:lnTo>
                    <a:pt x="748" y="19"/>
                  </a:lnTo>
                  <a:lnTo>
                    <a:pt x="748" y="18"/>
                  </a:lnTo>
                  <a:close/>
                  <a:moveTo>
                    <a:pt x="189" y="390"/>
                  </a:moveTo>
                  <a:lnTo>
                    <a:pt x="190" y="390"/>
                  </a:lnTo>
                  <a:lnTo>
                    <a:pt x="189" y="390"/>
                  </a:lnTo>
                  <a:close/>
                  <a:moveTo>
                    <a:pt x="745" y="27"/>
                  </a:moveTo>
                  <a:lnTo>
                    <a:pt x="745" y="29"/>
                  </a:lnTo>
                  <a:lnTo>
                    <a:pt x="745" y="27"/>
                  </a:lnTo>
                  <a:close/>
                  <a:moveTo>
                    <a:pt x="444" y="652"/>
                  </a:moveTo>
                  <a:lnTo>
                    <a:pt x="446" y="652"/>
                  </a:lnTo>
                  <a:lnTo>
                    <a:pt x="444" y="652"/>
                  </a:lnTo>
                  <a:close/>
                  <a:moveTo>
                    <a:pt x="283" y="707"/>
                  </a:moveTo>
                  <a:lnTo>
                    <a:pt x="285" y="709"/>
                  </a:lnTo>
                  <a:lnTo>
                    <a:pt x="283" y="709"/>
                  </a:lnTo>
                  <a:lnTo>
                    <a:pt x="283" y="707"/>
                  </a:lnTo>
                  <a:close/>
                  <a:moveTo>
                    <a:pt x="200" y="354"/>
                  </a:moveTo>
                  <a:lnTo>
                    <a:pt x="202" y="354"/>
                  </a:lnTo>
                  <a:lnTo>
                    <a:pt x="200" y="354"/>
                  </a:lnTo>
                  <a:close/>
                  <a:moveTo>
                    <a:pt x="288" y="426"/>
                  </a:moveTo>
                  <a:lnTo>
                    <a:pt x="288" y="424"/>
                  </a:lnTo>
                  <a:lnTo>
                    <a:pt x="288" y="426"/>
                  </a:lnTo>
                  <a:close/>
                  <a:moveTo>
                    <a:pt x="358" y="309"/>
                  </a:moveTo>
                  <a:lnTo>
                    <a:pt x="358" y="307"/>
                  </a:lnTo>
                  <a:lnTo>
                    <a:pt x="360" y="309"/>
                  </a:lnTo>
                  <a:lnTo>
                    <a:pt x="358" y="309"/>
                  </a:lnTo>
                  <a:close/>
                  <a:moveTo>
                    <a:pt x="532" y="247"/>
                  </a:moveTo>
                  <a:lnTo>
                    <a:pt x="534" y="247"/>
                  </a:lnTo>
                  <a:lnTo>
                    <a:pt x="532" y="247"/>
                  </a:lnTo>
                  <a:close/>
                  <a:moveTo>
                    <a:pt x="337" y="1312"/>
                  </a:moveTo>
                  <a:lnTo>
                    <a:pt x="338" y="1312"/>
                  </a:lnTo>
                  <a:lnTo>
                    <a:pt x="337" y="1312"/>
                  </a:lnTo>
                  <a:close/>
                  <a:moveTo>
                    <a:pt x="241" y="278"/>
                  </a:moveTo>
                  <a:lnTo>
                    <a:pt x="241" y="279"/>
                  </a:lnTo>
                  <a:lnTo>
                    <a:pt x="241" y="278"/>
                  </a:lnTo>
                  <a:close/>
                  <a:moveTo>
                    <a:pt x="15" y="1452"/>
                  </a:moveTo>
                  <a:lnTo>
                    <a:pt x="16" y="1452"/>
                  </a:lnTo>
                  <a:lnTo>
                    <a:pt x="15" y="1452"/>
                  </a:lnTo>
                  <a:close/>
                  <a:moveTo>
                    <a:pt x="444" y="658"/>
                  </a:moveTo>
                  <a:lnTo>
                    <a:pt x="444" y="657"/>
                  </a:lnTo>
                  <a:lnTo>
                    <a:pt x="446" y="657"/>
                  </a:lnTo>
                  <a:lnTo>
                    <a:pt x="444" y="658"/>
                  </a:lnTo>
                  <a:close/>
                  <a:moveTo>
                    <a:pt x="337" y="1317"/>
                  </a:moveTo>
                  <a:lnTo>
                    <a:pt x="338" y="1317"/>
                  </a:lnTo>
                  <a:lnTo>
                    <a:pt x="338" y="1319"/>
                  </a:lnTo>
                  <a:lnTo>
                    <a:pt x="337" y="1319"/>
                  </a:lnTo>
                  <a:lnTo>
                    <a:pt x="337" y="1317"/>
                  </a:lnTo>
                  <a:close/>
                  <a:moveTo>
                    <a:pt x="241" y="340"/>
                  </a:moveTo>
                  <a:lnTo>
                    <a:pt x="239" y="340"/>
                  </a:lnTo>
                  <a:lnTo>
                    <a:pt x="241" y="340"/>
                  </a:lnTo>
                  <a:lnTo>
                    <a:pt x="241" y="338"/>
                  </a:lnTo>
                  <a:lnTo>
                    <a:pt x="241" y="340"/>
                  </a:lnTo>
                  <a:close/>
                  <a:moveTo>
                    <a:pt x="464" y="1426"/>
                  </a:moveTo>
                  <a:lnTo>
                    <a:pt x="465" y="1426"/>
                  </a:lnTo>
                  <a:lnTo>
                    <a:pt x="465" y="1428"/>
                  </a:lnTo>
                  <a:lnTo>
                    <a:pt x="464" y="1428"/>
                  </a:lnTo>
                  <a:lnTo>
                    <a:pt x="464" y="1426"/>
                  </a:lnTo>
                  <a:close/>
                  <a:moveTo>
                    <a:pt x="381" y="283"/>
                  </a:moveTo>
                  <a:lnTo>
                    <a:pt x="381" y="281"/>
                  </a:lnTo>
                  <a:lnTo>
                    <a:pt x="381" y="283"/>
                  </a:lnTo>
                  <a:close/>
                  <a:moveTo>
                    <a:pt x="241" y="666"/>
                  </a:moveTo>
                  <a:lnTo>
                    <a:pt x="241" y="665"/>
                  </a:lnTo>
                  <a:lnTo>
                    <a:pt x="243" y="665"/>
                  </a:lnTo>
                  <a:lnTo>
                    <a:pt x="241" y="666"/>
                  </a:lnTo>
                  <a:close/>
                  <a:moveTo>
                    <a:pt x="213" y="608"/>
                  </a:moveTo>
                  <a:lnTo>
                    <a:pt x="213" y="610"/>
                  </a:lnTo>
                  <a:lnTo>
                    <a:pt x="215" y="608"/>
                  </a:lnTo>
                  <a:lnTo>
                    <a:pt x="213" y="608"/>
                  </a:lnTo>
                  <a:close/>
                  <a:moveTo>
                    <a:pt x="522" y="1424"/>
                  </a:moveTo>
                  <a:lnTo>
                    <a:pt x="521" y="1424"/>
                  </a:lnTo>
                  <a:lnTo>
                    <a:pt x="522" y="1424"/>
                  </a:lnTo>
                  <a:close/>
                  <a:moveTo>
                    <a:pt x="233" y="637"/>
                  </a:moveTo>
                  <a:lnTo>
                    <a:pt x="231" y="637"/>
                  </a:lnTo>
                  <a:lnTo>
                    <a:pt x="233" y="636"/>
                  </a:lnTo>
                  <a:lnTo>
                    <a:pt x="233" y="637"/>
                  </a:lnTo>
                  <a:close/>
                  <a:moveTo>
                    <a:pt x="257" y="653"/>
                  </a:moveTo>
                  <a:lnTo>
                    <a:pt x="256" y="653"/>
                  </a:lnTo>
                  <a:lnTo>
                    <a:pt x="256" y="652"/>
                  </a:lnTo>
                  <a:lnTo>
                    <a:pt x="257" y="652"/>
                  </a:lnTo>
                  <a:lnTo>
                    <a:pt x="257" y="653"/>
                  </a:lnTo>
                  <a:close/>
                  <a:moveTo>
                    <a:pt x="698" y="92"/>
                  </a:moveTo>
                  <a:lnTo>
                    <a:pt x="698" y="94"/>
                  </a:lnTo>
                  <a:lnTo>
                    <a:pt x="698" y="92"/>
                  </a:lnTo>
                  <a:close/>
                  <a:moveTo>
                    <a:pt x="239" y="292"/>
                  </a:moveTo>
                  <a:lnTo>
                    <a:pt x="239" y="291"/>
                  </a:lnTo>
                  <a:lnTo>
                    <a:pt x="239" y="292"/>
                  </a:lnTo>
                  <a:close/>
                  <a:moveTo>
                    <a:pt x="213" y="832"/>
                  </a:moveTo>
                  <a:lnTo>
                    <a:pt x="215" y="834"/>
                  </a:lnTo>
                  <a:lnTo>
                    <a:pt x="213" y="834"/>
                  </a:lnTo>
                  <a:lnTo>
                    <a:pt x="213" y="832"/>
                  </a:lnTo>
                  <a:close/>
                  <a:moveTo>
                    <a:pt x="229" y="803"/>
                  </a:moveTo>
                  <a:lnTo>
                    <a:pt x="229" y="805"/>
                  </a:lnTo>
                  <a:lnTo>
                    <a:pt x="229" y="803"/>
                  </a:lnTo>
                  <a:close/>
                  <a:moveTo>
                    <a:pt x="286" y="553"/>
                  </a:moveTo>
                  <a:lnTo>
                    <a:pt x="285" y="553"/>
                  </a:lnTo>
                  <a:lnTo>
                    <a:pt x="286" y="553"/>
                  </a:lnTo>
                  <a:close/>
                  <a:moveTo>
                    <a:pt x="696" y="53"/>
                  </a:moveTo>
                  <a:lnTo>
                    <a:pt x="696" y="52"/>
                  </a:lnTo>
                  <a:lnTo>
                    <a:pt x="696" y="53"/>
                  </a:lnTo>
                  <a:close/>
                  <a:moveTo>
                    <a:pt x="215" y="559"/>
                  </a:moveTo>
                  <a:lnTo>
                    <a:pt x="215" y="557"/>
                  </a:lnTo>
                  <a:lnTo>
                    <a:pt x="215" y="559"/>
                  </a:lnTo>
                  <a:close/>
                  <a:moveTo>
                    <a:pt x="212" y="831"/>
                  </a:moveTo>
                  <a:lnTo>
                    <a:pt x="213" y="831"/>
                  </a:lnTo>
                  <a:lnTo>
                    <a:pt x="212" y="831"/>
                  </a:lnTo>
                  <a:close/>
                  <a:moveTo>
                    <a:pt x="221" y="1180"/>
                  </a:moveTo>
                  <a:lnTo>
                    <a:pt x="221" y="1179"/>
                  </a:lnTo>
                  <a:lnTo>
                    <a:pt x="221" y="1180"/>
                  </a:lnTo>
                  <a:close/>
                  <a:moveTo>
                    <a:pt x="213" y="356"/>
                  </a:moveTo>
                  <a:lnTo>
                    <a:pt x="212" y="356"/>
                  </a:lnTo>
                  <a:lnTo>
                    <a:pt x="213" y="356"/>
                  </a:lnTo>
                  <a:close/>
                  <a:moveTo>
                    <a:pt x="369" y="302"/>
                  </a:moveTo>
                  <a:lnTo>
                    <a:pt x="368" y="302"/>
                  </a:lnTo>
                  <a:lnTo>
                    <a:pt x="369" y="302"/>
                  </a:lnTo>
                  <a:close/>
                  <a:moveTo>
                    <a:pt x="156" y="709"/>
                  </a:moveTo>
                  <a:lnTo>
                    <a:pt x="158" y="709"/>
                  </a:lnTo>
                  <a:lnTo>
                    <a:pt x="158" y="710"/>
                  </a:lnTo>
                  <a:lnTo>
                    <a:pt x="156" y="709"/>
                  </a:lnTo>
                  <a:close/>
                  <a:moveTo>
                    <a:pt x="428" y="287"/>
                  </a:moveTo>
                  <a:lnTo>
                    <a:pt x="430" y="287"/>
                  </a:lnTo>
                  <a:lnTo>
                    <a:pt x="428" y="287"/>
                  </a:lnTo>
                  <a:close/>
                  <a:moveTo>
                    <a:pt x="202" y="312"/>
                  </a:moveTo>
                  <a:lnTo>
                    <a:pt x="202" y="310"/>
                  </a:lnTo>
                  <a:lnTo>
                    <a:pt x="203" y="310"/>
                  </a:lnTo>
                  <a:lnTo>
                    <a:pt x="202" y="312"/>
                  </a:lnTo>
                  <a:close/>
                  <a:moveTo>
                    <a:pt x="218" y="310"/>
                  </a:moveTo>
                  <a:lnTo>
                    <a:pt x="218" y="309"/>
                  </a:lnTo>
                  <a:lnTo>
                    <a:pt x="218" y="310"/>
                  </a:lnTo>
                  <a:close/>
                  <a:moveTo>
                    <a:pt x="184" y="405"/>
                  </a:moveTo>
                  <a:lnTo>
                    <a:pt x="182" y="405"/>
                  </a:lnTo>
                  <a:lnTo>
                    <a:pt x="184" y="403"/>
                  </a:lnTo>
                  <a:lnTo>
                    <a:pt x="184" y="405"/>
                  </a:lnTo>
                  <a:close/>
                  <a:moveTo>
                    <a:pt x="713" y="84"/>
                  </a:moveTo>
                  <a:lnTo>
                    <a:pt x="713" y="86"/>
                  </a:lnTo>
                  <a:lnTo>
                    <a:pt x="713" y="84"/>
                  </a:lnTo>
                  <a:lnTo>
                    <a:pt x="714" y="84"/>
                  </a:lnTo>
                  <a:lnTo>
                    <a:pt x="713" y="84"/>
                  </a:lnTo>
                  <a:close/>
                  <a:moveTo>
                    <a:pt x="304" y="426"/>
                  </a:moveTo>
                  <a:lnTo>
                    <a:pt x="304" y="424"/>
                  </a:lnTo>
                  <a:lnTo>
                    <a:pt x="304" y="426"/>
                  </a:lnTo>
                  <a:close/>
                  <a:moveTo>
                    <a:pt x="213" y="832"/>
                  </a:moveTo>
                  <a:lnTo>
                    <a:pt x="213" y="831"/>
                  </a:lnTo>
                  <a:lnTo>
                    <a:pt x="213" y="832"/>
                  </a:lnTo>
                  <a:close/>
                  <a:moveTo>
                    <a:pt x="228" y="803"/>
                  </a:moveTo>
                  <a:lnTo>
                    <a:pt x="229" y="803"/>
                  </a:lnTo>
                  <a:lnTo>
                    <a:pt x="228" y="805"/>
                  </a:lnTo>
                  <a:lnTo>
                    <a:pt x="228" y="803"/>
                  </a:lnTo>
                  <a:close/>
                  <a:moveTo>
                    <a:pt x="368" y="302"/>
                  </a:moveTo>
                  <a:lnTo>
                    <a:pt x="368" y="301"/>
                  </a:lnTo>
                  <a:lnTo>
                    <a:pt x="369" y="301"/>
                  </a:lnTo>
                  <a:lnTo>
                    <a:pt x="369" y="302"/>
                  </a:lnTo>
                  <a:lnTo>
                    <a:pt x="368" y="302"/>
                  </a:lnTo>
                  <a:close/>
                  <a:moveTo>
                    <a:pt x="246" y="379"/>
                  </a:moveTo>
                  <a:lnTo>
                    <a:pt x="246" y="380"/>
                  </a:lnTo>
                  <a:lnTo>
                    <a:pt x="246" y="379"/>
                  </a:lnTo>
                  <a:close/>
                  <a:moveTo>
                    <a:pt x="517" y="1424"/>
                  </a:moveTo>
                  <a:lnTo>
                    <a:pt x="519" y="1424"/>
                  </a:lnTo>
                  <a:lnTo>
                    <a:pt x="517" y="1424"/>
                  </a:lnTo>
                  <a:close/>
                  <a:moveTo>
                    <a:pt x="243" y="278"/>
                  </a:moveTo>
                  <a:lnTo>
                    <a:pt x="244" y="278"/>
                  </a:lnTo>
                  <a:lnTo>
                    <a:pt x="244" y="279"/>
                  </a:lnTo>
                  <a:lnTo>
                    <a:pt x="243" y="279"/>
                  </a:lnTo>
                  <a:lnTo>
                    <a:pt x="243" y="278"/>
                  </a:lnTo>
                  <a:close/>
                  <a:moveTo>
                    <a:pt x="241" y="278"/>
                  </a:moveTo>
                  <a:lnTo>
                    <a:pt x="241" y="276"/>
                  </a:lnTo>
                  <a:lnTo>
                    <a:pt x="241" y="278"/>
                  </a:lnTo>
                  <a:close/>
                  <a:moveTo>
                    <a:pt x="273" y="312"/>
                  </a:moveTo>
                  <a:lnTo>
                    <a:pt x="273" y="310"/>
                  </a:lnTo>
                  <a:lnTo>
                    <a:pt x="273" y="312"/>
                  </a:lnTo>
                  <a:close/>
                  <a:moveTo>
                    <a:pt x="343" y="1335"/>
                  </a:moveTo>
                  <a:lnTo>
                    <a:pt x="343" y="1337"/>
                  </a:lnTo>
                  <a:lnTo>
                    <a:pt x="343" y="1335"/>
                  </a:lnTo>
                  <a:close/>
                  <a:moveTo>
                    <a:pt x="347" y="818"/>
                  </a:moveTo>
                  <a:lnTo>
                    <a:pt x="348" y="818"/>
                  </a:lnTo>
                  <a:lnTo>
                    <a:pt x="347" y="818"/>
                  </a:lnTo>
                  <a:close/>
                  <a:moveTo>
                    <a:pt x="210" y="608"/>
                  </a:moveTo>
                  <a:lnTo>
                    <a:pt x="212" y="608"/>
                  </a:lnTo>
                  <a:lnTo>
                    <a:pt x="210" y="608"/>
                  </a:lnTo>
                  <a:close/>
                  <a:moveTo>
                    <a:pt x="334" y="343"/>
                  </a:moveTo>
                  <a:lnTo>
                    <a:pt x="334" y="341"/>
                  </a:lnTo>
                  <a:lnTo>
                    <a:pt x="335" y="341"/>
                  </a:lnTo>
                  <a:lnTo>
                    <a:pt x="334" y="343"/>
                  </a:lnTo>
                  <a:close/>
                  <a:moveTo>
                    <a:pt x="368" y="305"/>
                  </a:moveTo>
                  <a:lnTo>
                    <a:pt x="366" y="305"/>
                  </a:lnTo>
                  <a:lnTo>
                    <a:pt x="366" y="304"/>
                  </a:lnTo>
                  <a:lnTo>
                    <a:pt x="368" y="304"/>
                  </a:lnTo>
                  <a:lnTo>
                    <a:pt x="368" y="305"/>
                  </a:lnTo>
                  <a:close/>
                  <a:moveTo>
                    <a:pt x="337" y="808"/>
                  </a:moveTo>
                  <a:lnTo>
                    <a:pt x="337" y="806"/>
                  </a:lnTo>
                  <a:lnTo>
                    <a:pt x="337" y="808"/>
                  </a:lnTo>
                  <a:close/>
                  <a:moveTo>
                    <a:pt x="722" y="52"/>
                  </a:moveTo>
                  <a:lnTo>
                    <a:pt x="722" y="50"/>
                  </a:lnTo>
                  <a:lnTo>
                    <a:pt x="722" y="52"/>
                  </a:lnTo>
                  <a:close/>
                  <a:moveTo>
                    <a:pt x="275" y="309"/>
                  </a:moveTo>
                  <a:lnTo>
                    <a:pt x="273" y="309"/>
                  </a:lnTo>
                  <a:lnTo>
                    <a:pt x="275" y="309"/>
                  </a:lnTo>
                  <a:close/>
                  <a:moveTo>
                    <a:pt x="160" y="450"/>
                  </a:moveTo>
                  <a:lnTo>
                    <a:pt x="160" y="449"/>
                  </a:lnTo>
                  <a:lnTo>
                    <a:pt x="161" y="450"/>
                  </a:lnTo>
                  <a:lnTo>
                    <a:pt x="160" y="450"/>
                  </a:lnTo>
                  <a:close/>
                  <a:moveTo>
                    <a:pt x="700" y="91"/>
                  </a:moveTo>
                  <a:lnTo>
                    <a:pt x="700" y="89"/>
                  </a:lnTo>
                  <a:lnTo>
                    <a:pt x="700" y="91"/>
                  </a:lnTo>
                  <a:close/>
                  <a:moveTo>
                    <a:pt x="239" y="1455"/>
                  </a:moveTo>
                  <a:lnTo>
                    <a:pt x="239" y="1454"/>
                  </a:lnTo>
                  <a:lnTo>
                    <a:pt x="239" y="1455"/>
                  </a:lnTo>
                  <a:close/>
                  <a:moveTo>
                    <a:pt x="221" y="349"/>
                  </a:moveTo>
                  <a:lnTo>
                    <a:pt x="220" y="351"/>
                  </a:lnTo>
                  <a:lnTo>
                    <a:pt x="220" y="349"/>
                  </a:lnTo>
                  <a:lnTo>
                    <a:pt x="221" y="349"/>
                  </a:lnTo>
                  <a:close/>
                  <a:moveTo>
                    <a:pt x="138" y="465"/>
                  </a:moveTo>
                  <a:lnTo>
                    <a:pt x="137" y="465"/>
                  </a:lnTo>
                  <a:lnTo>
                    <a:pt x="138" y="463"/>
                  </a:lnTo>
                  <a:lnTo>
                    <a:pt x="138" y="465"/>
                  </a:lnTo>
                  <a:close/>
                  <a:moveTo>
                    <a:pt x="243" y="278"/>
                  </a:moveTo>
                  <a:lnTo>
                    <a:pt x="244" y="278"/>
                  </a:lnTo>
                  <a:lnTo>
                    <a:pt x="243" y="278"/>
                  </a:lnTo>
                  <a:close/>
                  <a:moveTo>
                    <a:pt x="234" y="387"/>
                  </a:moveTo>
                  <a:lnTo>
                    <a:pt x="234" y="388"/>
                  </a:lnTo>
                  <a:lnTo>
                    <a:pt x="234" y="387"/>
                  </a:lnTo>
                  <a:close/>
                  <a:moveTo>
                    <a:pt x="264" y="600"/>
                  </a:moveTo>
                  <a:lnTo>
                    <a:pt x="265" y="600"/>
                  </a:lnTo>
                  <a:lnTo>
                    <a:pt x="264" y="600"/>
                  </a:lnTo>
                  <a:close/>
                  <a:moveTo>
                    <a:pt x="220" y="533"/>
                  </a:moveTo>
                  <a:lnTo>
                    <a:pt x="220" y="531"/>
                  </a:lnTo>
                  <a:lnTo>
                    <a:pt x="220" y="533"/>
                  </a:lnTo>
                  <a:close/>
                  <a:moveTo>
                    <a:pt x="184" y="396"/>
                  </a:moveTo>
                  <a:lnTo>
                    <a:pt x="186" y="396"/>
                  </a:lnTo>
                  <a:lnTo>
                    <a:pt x="184" y="396"/>
                  </a:lnTo>
                  <a:close/>
                  <a:moveTo>
                    <a:pt x="186" y="263"/>
                  </a:moveTo>
                  <a:lnTo>
                    <a:pt x="187" y="263"/>
                  </a:lnTo>
                  <a:lnTo>
                    <a:pt x="186" y="263"/>
                  </a:lnTo>
                  <a:close/>
                  <a:moveTo>
                    <a:pt x="693" y="138"/>
                  </a:moveTo>
                  <a:lnTo>
                    <a:pt x="691" y="138"/>
                  </a:lnTo>
                  <a:lnTo>
                    <a:pt x="693" y="138"/>
                  </a:lnTo>
                  <a:close/>
                  <a:moveTo>
                    <a:pt x="267" y="601"/>
                  </a:moveTo>
                  <a:lnTo>
                    <a:pt x="267" y="603"/>
                  </a:lnTo>
                  <a:lnTo>
                    <a:pt x="267" y="601"/>
                  </a:lnTo>
                  <a:close/>
                  <a:moveTo>
                    <a:pt x="171" y="427"/>
                  </a:moveTo>
                  <a:lnTo>
                    <a:pt x="173" y="427"/>
                  </a:lnTo>
                  <a:lnTo>
                    <a:pt x="171" y="427"/>
                  </a:lnTo>
                  <a:close/>
                  <a:moveTo>
                    <a:pt x="509" y="1421"/>
                  </a:moveTo>
                  <a:lnTo>
                    <a:pt x="511" y="1423"/>
                  </a:lnTo>
                  <a:lnTo>
                    <a:pt x="509" y="1423"/>
                  </a:lnTo>
                  <a:lnTo>
                    <a:pt x="509" y="1421"/>
                  </a:lnTo>
                  <a:close/>
                  <a:moveTo>
                    <a:pt x="421" y="1429"/>
                  </a:moveTo>
                  <a:lnTo>
                    <a:pt x="421" y="1428"/>
                  </a:lnTo>
                  <a:lnTo>
                    <a:pt x="421" y="1429"/>
                  </a:lnTo>
                  <a:close/>
                  <a:moveTo>
                    <a:pt x="208" y="556"/>
                  </a:moveTo>
                  <a:lnTo>
                    <a:pt x="207" y="556"/>
                  </a:lnTo>
                  <a:lnTo>
                    <a:pt x="207" y="554"/>
                  </a:lnTo>
                  <a:lnTo>
                    <a:pt x="208" y="554"/>
                  </a:lnTo>
                  <a:lnTo>
                    <a:pt x="208" y="556"/>
                  </a:lnTo>
                  <a:close/>
                  <a:moveTo>
                    <a:pt x="143" y="462"/>
                  </a:moveTo>
                  <a:lnTo>
                    <a:pt x="143" y="460"/>
                  </a:lnTo>
                  <a:lnTo>
                    <a:pt x="143" y="462"/>
                  </a:lnTo>
                  <a:close/>
                  <a:moveTo>
                    <a:pt x="243" y="719"/>
                  </a:moveTo>
                  <a:lnTo>
                    <a:pt x="244" y="719"/>
                  </a:lnTo>
                  <a:lnTo>
                    <a:pt x="244" y="720"/>
                  </a:lnTo>
                  <a:lnTo>
                    <a:pt x="243" y="719"/>
                  </a:lnTo>
                  <a:close/>
                  <a:moveTo>
                    <a:pt x="212" y="357"/>
                  </a:moveTo>
                  <a:lnTo>
                    <a:pt x="212" y="356"/>
                  </a:lnTo>
                  <a:lnTo>
                    <a:pt x="212" y="357"/>
                  </a:lnTo>
                  <a:close/>
                  <a:moveTo>
                    <a:pt x="338" y="810"/>
                  </a:moveTo>
                  <a:lnTo>
                    <a:pt x="338" y="811"/>
                  </a:lnTo>
                  <a:lnTo>
                    <a:pt x="338" y="810"/>
                  </a:lnTo>
                  <a:close/>
                  <a:moveTo>
                    <a:pt x="260" y="1088"/>
                  </a:moveTo>
                  <a:lnTo>
                    <a:pt x="260" y="1089"/>
                  </a:lnTo>
                  <a:lnTo>
                    <a:pt x="260" y="1088"/>
                  </a:lnTo>
                  <a:close/>
                  <a:moveTo>
                    <a:pt x="568" y="730"/>
                  </a:moveTo>
                  <a:lnTo>
                    <a:pt x="568" y="732"/>
                  </a:lnTo>
                  <a:lnTo>
                    <a:pt x="568" y="730"/>
                  </a:lnTo>
                  <a:close/>
                  <a:moveTo>
                    <a:pt x="190" y="1437"/>
                  </a:moveTo>
                  <a:lnTo>
                    <a:pt x="192" y="1436"/>
                  </a:lnTo>
                  <a:lnTo>
                    <a:pt x="192" y="1437"/>
                  </a:lnTo>
                  <a:lnTo>
                    <a:pt x="190" y="1437"/>
                  </a:lnTo>
                  <a:close/>
                  <a:moveTo>
                    <a:pt x="693" y="113"/>
                  </a:moveTo>
                  <a:lnTo>
                    <a:pt x="693" y="112"/>
                  </a:lnTo>
                  <a:lnTo>
                    <a:pt x="693" y="113"/>
                  </a:lnTo>
                  <a:close/>
                  <a:moveTo>
                    <a:pt x="239" y="276"/>
                  </a:moveTo>
                  <a:lnTo>
                    <a:pt x="241" y="276"/>
                  </a:lnTo>
                  <a:lnTo>
                    <a:pt x="239" y="276"/>
                  </a:lnTo>
                  <a:close/>
                  <a:moveTo>
                    <a:pt x="402" y="932"/>
                  </a:moveTo>
                  <a:lnTo>
                    <a:pt x="404" y="932"/>
                  </a:lnTo>
                  <a:lnTo>
                    <a:pt x="402" y="932"/>
                  </a:lnTo>
                  <a:close/>
                  <a:moveTo>
                    <a:pt x="218" y="827"/>
                  </a:moveTo>
                  <a:lnTo>
                    <a:pt x="218" y="826"/>
                  </a:lnTo>
                  <a:lnTo>
                    <a:pt x="220" y="827"/>
                  </a:lnTo>
                  <a:lnTo>
                    <a:pt x="218" y="827"/>
                  </a:lnTo>
                  <a:close/>
                  <a:moveTo>
                    <a:pt x="283" y="400"/>
                  </a:moveTo>
                  <a:lnTo>
                    <a:pt x="283" y="401"/>
                  </a:lnTo>
                  <a:lnTo>
                    <a:pt x="283" y="400"/>
                  </a:lnTo>
                  <a:close/>
                  <a:moveTo>
                    <a:pt x="350" y="325"/>
                  </a:moveTo>
                  <a:lnTo>
                    <a:pt x="351" y="325"/>
                  </a:lnTo>
                  <a:lnTo>
                    <a:pt x="350" y="325"/>
                  </a:lnTo>
                  <a:close/>
                  <a:moveTo>
                    <a:pt x="233" y="636"/>
                  </a:moveTo>
                  <a:lnTo>
                    <a:pt x="233" y="634"/>
                  </a:lnTo>
                  <a:lnTo>
                    <a:pt x="234" y="636"/>
                  </a:lnTo>
                  <a:lnTo>
                    <a:pt x="233" y="636"/>
                  </a:lnTo>
                  <a:close/>
                  <a:moveTo>
                    <a:pt x="381" y="1437"/>
                  </a:moveTo>
                  <a:lnTo>
                    <a:pt x="379" y="1437"/>
                  </a:lnTo>
                  <a:lnTo>
                    <a:pt x="381" y="1437"/>
                  </a:lnTo>
                  <a:lnTo>
                    <a:pt x="381" y="1436"/>
                  </a:lnTo>
                  <a:lnTo>
                    <a:pt x="381" y="1437"/>
                  </a:lnTo>
                  <a:close/>
                  <a:moveTo>
                    <a:pt x="221" y="505"/>
                  </a:moveTo>
                  <a:lnTo>
                    <a:pt x="220" y="505"/>
                  </a:lnTo>
                  <a:lnTo>
                    <a:pt x="221" y="505"/>
                  </a:lnTo>
                  <a:close/>
                  <a:moveTo>
                    <a:pt x="160" y="445"/>
                  </a:moveTo>
                  <a:lnTo>
                    <a:pt x="161" y="445"/>
                  </a:lnTo>
                  <a:lnTo>
                    <a:pt x="160" y="445"/>
                  </a:lnTo>
                  <a:close/>
                  <a:moveTo>
                    <a:pt x="207" y="357"/>
                  </a:moveTo>
                  <a:lnTo>
                    <a:pt x="208" y="357"/>
                  </a:lnTo>
                  <a:lnTo>
                    <a:pt x="207" y="357"/>
                  </a:lnTo>
                  <a:close/>
                  <a:moveTo>
                    <a:pt x="213" y="564"/>
                  </a:moveTo>
                  <a:lnTo>
                    <a:pt x="212" y="564"/>
                  </a:lnTo>
                  <a:lnTo>
                    <a:pt x="212" y="562"/>
                  </a:lnTo>
                  <a:lnTo>
                    <a:pt x="213" y="562"/>
                  </a:lnTo>
                  <a:lnTo>
                    <a:pt x="213" y="564"/>
                  </a:lnTo>
                  <a:close/>
                  <a:moveTo>
                    <a:pt x="267" y="309"/>
                  </a:moveTo>
                  <a:lnTo>
                    <a:pt x="267" y="310"/>
                  </a:lnTo>
                  <a:lnTo>
                    <a:pt x="267" y="309"/>
                  </a:lnTo>
                  <a:close/>
                  <a:moveTo>
                    <a:pt x="161" y="445"/>
                  </a:moveTo>
                  <a:lnTo>
                    <a:pt x="161" y="447"/>
                  </a:lnTo>
                  <a:lnTo>
                    <a:pt x="161" y="445"/>
                  </a:lnTo>
                  <a:close/>
                  <a:moveTo>
                    <a:pt x="215" y="836"/>
                  </a:moveTo>
                  <a:lnTo>
                    <a:pt x="213" y="836"/>
                  </a:lnTo>
                  <a:lnTo>
                    <a:pt x="213" y="834"/>
                  </a:lnTo>
                  <a:lnTo>
                    <a:pt x="215" y="834"/>
                  </a:lnTo>
                  <a:lnTo>
                    <a:pt x="215" y="836"/>
                  </a:lnTo>
                  <a:close/>
                  <a:moveTo>
                    <a:pt x="160" y="344"/>
                  </a:moveTo>
                  <a:lnTo>
                    <a:pt x="161" y="344"/>
                  </a:lnTo>
                  <a:lnTo>
                    <a:pt x="160" y="344"/>
                  </a:lnTo>
                  <a:close/>
                  <a:moveTo>
                    <a:pt x="698" y="1312"/>
                  </a:moveTo>
                  <a:lnTo>
                    <a:pt x="700" y="1312"/>
                  </a:lnTo>
                  <a:lnTo>
                    <a:pt x="698" y="1312"/>
                  </a:lnTo>
                  <a:close/>
                  <a:moveTo>
                    <a:pt x="687" y="47"/>
                  </a:moveTo>
                  <a:lnTo>
                    <a:pt x="685" y="47"/>
                  </a:lnTo>
                  <a:lnTo>
                    <a:pt x="685" y="45"/>
                  </a:lnTo>
                  <a:lnTo>
                    <a:pt x="687" y="45"/>
                  </a:lnTo>
                  <a:lnTo>
                    <a:pt x="687" y="47"/>
                  </a:lnTo>
                  <a:close/>
                  <a:moveTo>
                    <a:pt x="698" y="97"/>
                  </a:moveTo>
                  <a:lnTo>
                    <a:pt x="698" y="96"/>
                  </a:lnTo>
                  <a:lnTo>
                    <a:pt x="698" y="97"/>
                  </a:lnTo>
                  <a:close/>
                  <a:moveTo>
                    <a:pt x="717" y="58"/>
                  </a:moveTo>
                  <a:lnTo>
                    <a:pt x="719" y="58"/>
                  </a:lnTo>
                  <a:lnTo>
                    <a:pt x="717" y="58"/>
                  </a:lnTo>
                  <a:close/>
                  <a:moveTo>
                    <a:pt x="218" y="1442"/>
                  </a:moveTo>
                  <a:lnTo>
                    <a:pt x="220" y="1442"/>
                  </a:lnTo>
                  <a:lnTo>
                    <a:pt x="218" y="1442"/>
                  </a:lnTo>
                  <a:close/>
                  <a:moveTo>
                    <a:pt x="244" y="379"/>
                  </a:moveTo>
                  <a:lnTo>
                    <a:pt x="246" y="379"/>
                  </a:lnTo>
                  <a:lnTo>
                    <a:pt x="244" y="379"/>
                  </a:lnTo>
                  <a:close/>
                  <a:moveTo>
                    <a:pt x="708" y="1306"/>
                  </a:moveTo>
                  <a:lnTo>
                    <a:pt x="709" y="1306"/>
                  </a:lnTo>
                  <a:lnTo>
                    <a:pt x="708" y="1306"/>
                  </a:lnTo>
                  <a:close/>
                  <a:moveTo>
                    <a:pt x="234" y="634"/>
                  </a:moveTo>
                  <a:lnTo>
                    <a:pt x="234" y="632"/>
                  </a:lnTo>
                  <a:lnTo>
                    <a:pt x="234" y="634"/>
                  </a:lnTo>
                  <a:close/>
                  <a:moveTo>
                    <a:pt x="670" y="1356"/>
                  </a:moveTo>
                  <a:lnTo>
                    <a:pt x="672" y="1358"/>
                  </a:lnTo>
                  <a:lnTo>
                    <a:pt x="670" y="1358"/>
                  </a:lnTo>
                  <a:lnTo>
                    <a:pt x="670" y="1356"/>
                  </a:lnTo>
                  <a:close/>
                  <a:moveTo>
                    <a:pt x="190" y="383"/>
                  </a:moveTo>
                  <a:lnTo>
                    <a:pt x="190" y="382"/>
                  </a:lnTo>
                  <a:lnTo>
                    <a:pt x="192" y="383"/>
                  </a:lnTo>
                  <a:lnTo>
                    <a:pt x="190" y="383"/>
                  </a:lnTo>
                  <a:close/>
                  <a:moveTo>
                    <a:pt x="700" y="1309"/>
                  </a:moveTo>
                  <a:lnTo>
                    <a:pt x="700" y="1311"/>
                  </a:lnTo>
                  <a:lnTo>
                    <a:pt x="700" y="1309"/>
                  </a:lnTo>
                  <a:close/>
                  <a:moveTo>
                    <a:pt x="200" y="364"/>
                  </a:moveTo>
                  <a:lnTo>
                    <a:pt x="202" y="366"/>
                  </a:lnTo>
                  <a:lnTo>
                    <a:pt x="200" y="366"/>
                  </a:lnTo>
                  <a:lnTo>
                    <a:pt x="200" y="364"/>
                  </a:lnTo>
                  <a:close/>
                  <a:moveTo>
                    <a:pt x="205" y="335"/>
                  </a:moveTo>
                  <a:lnTo>
                    <a:pt x="207" y="335"/>
                  </a:lnTo>
                  <a:lnTo>
                    <a:pt x="205" y="335"/>
                  </a:lnTo>
                  <a:close/>
                  <a:moveTo>
                    <a:pt x="299" y="458"/>
                  </a:moveTo>
                  <a:lnTo>
                    <a:pt x="298" y="458"/>
                  </a:lnTo>
                  <a:lnTo>
                    <a:pt x="299" y="458"/>
                  </a:lnTo>
                  <a:close/>
                  <a:moveTo>
                    <a:pt x="184" y="395"/>
                  </a:moveTo>
                  <a:lnTo>
                    <a:pt x="186" y="395"/>
                  </a:lnTo>
                  <a:lnTo>
                    <a:pt x="186" y="396"/>
                  </a:lnTo>
                  <a:lnTo>
                    <a:pt x="184" y="395"/>
                  </a:lnTo>
                  <a:close/>
                  <a:moveTo>
                    <a:pt x="343" y="348"/>
                  </a:moveTo>
                  <a:lnTo>
                    <a:pt x="345" y="348"/>
                  </a:lnTo>
                  <a:lnTo>
                    <a:pt x="343" y="348"/>
                  </a:lnTo>
                  <a:close/>
                  <a:moveTo>
                    <a:pt x="210" y="827"/>
                  </a:moveTo>
                  <a:lnTo>
                    <a:pt x="212" y="827"/>
                  </a:lnTo>
                  <a:lnTo>
                    <a:pt x="212" y="829"/>
                  </a:lnTo>
                  <a:lnTo>
                    <a:pt x="210" y="827"/>
                  </a:lnTo>
                  <a:close/>
                  <a:moveTo>
                    <a:pt x="285" y="554"/>
                  </a:moveTo>
                  <a:lnTo>
                    <a:pt x="286" y="554"/>
                  </a:lnTo>
                  <a:lnTo>
                    <a:pt x="285" y="554"/>
                  </a:lnTo>
                  <a:close/>
                  <a:moveTo>
                    <a:pt x="8" y="1454"/>
                  </a:moveTo>
                  <a:lnTo>
                    <a:pt x="7" y="1454"/>
                  </a:lnTo>
                  <a:lnTo>
                    <a:pt x="8" y="1454"/>
                  </a:lnTo>
                  <a:close/>
                  <a:moveTo>
                    <a:pt x="265" y="582"/>
                  </a:moveTo>
                  <a:lnTo>
                    <a:pt x="264" y="582"/>
                  </a:lnTo>
                  <a:lnTo>
                    <a:pt x="265" y="582"/>
                  </a:lnTo>
                  <a:close/>
                  <a:moveTo>
                    <a:pt x="218" y="826"/>
                  </a:moveTo>
                  <a:lnTo>
                    <a:pt x="220" y="826"/>
                  </a:lnTo>
                  <a:lnTo>
                    <a:pt x="218" y="826"/>
                  </a:lnTo>
                  <a:close/>
                  <a:moveTo>
                    <a:pt x="265" y="998"/>
                  </a:moveTo>
                  <a:lnTo>
                    <a:pt x="265" y="1000"/>
                  </a:lnTo>
                  <a:lnTo>
                    <a:pt x="265" y="998"/>
                  </a:lnTo>
                  <a:lnTo>
                    <a:pt x="267" y="998"/>
                  </a:lnTo>
                  <a:lnTo>
                    <a:pt x="265" y="998"/>
                  </a:lnTo>
                  <a:close/>
                  <a:moveTo>
                    <a:pt x="379" y="1434"/>
                  </a:moveTo>
                  <a:lnTo>
                    <a:pt x="381" y="1436"/>
                  </a:lnTo>
                  <a:lnTo>
                    <a:pt x="379" y="1434"/>
                  </a:lnTo>
                  <a:close/>
                  <a:moveTo>
                    <a:pt x="421" y="1429"/>
                  </a:moveTo>
                  <a:lnTo>
                    <a:pt x="420" y="1429"/>
                  </a:lnTo>
                  <a:lnTo>
                    <a:pt x="420" y="1428"/>
                  </a:lnTo>
                  <a:lnTo>
                    <a:pt x="421" y="1429"/>
                  </a:lnTo>
                  <a:close/>
                  <a:moveTo>
                    <a:pt x="308" y="405"/>
                  </a:moveTo>
                  <a:lnTo>
                    <a:pt x="308" y="403"/>
                  </a:lnTo>
                  <a:lnTo>
                    <a:pt x="308" y="405"/>
                  </a:lnTo>
                  <a:close/>
                  <a:moveTo>
                    <a:pt x="381" y="284"/>
                  </a:moveTo>
                  <a:lnTo>
                    <a:pt x="381" y="283"/>
                  </a:lnTo>
                  <a:lnTo>
                    <a:pt x="381" y="284"/>
                  </a:lnTo>
                  <a:close/>
                  <a:moveTo>
                    <a:pt x="215" y="608"/>
                  </a:moveTo>
                  <a:lnTo>
                    <a:pt x="215" y="606"/>
                  </a:lnTo>
                  <a:lnTo>
                    <a:pt x="215" y="608"/>
                  </a:lnTo>
                  <a:close/>
                  <a:moveTo>
                    <a:pt x="713" y="35"/>
                  </a:moveTo>
                  <a:lnTo>
                    <a:pt x="713" y="34"/>
                  </a:lnTo>
                  <a:lnTo>
                    <a:pt x="714" y="35"/>
                  </a:lnTo>
                  <a:lnTo>
                    <a:pt x="713" y="35"/>
                  </a:lnTo>
                  <a:close/>
                  <a:moveTo>
                    <a:pt x="135" y="463"/>
                  </a:moveTo>
                  <a:lnTo>
                    <a:pt x="137" y="463"/>
                  </a:lnTo>
                  <a:lnTo>
                    <a:pt x="137" y="465"/>
                  </a:lnTo>
                  <a:lnTo>
                    <a:pt x="137" y="463"/>
                  </a:lnTo>
                  <a:lnTo>
                    <a:pt x="135" y="463"/>
                  </a:lnTo>
                  <a:close/>
                  <a:moveTo>
                    <a:pt x="286" y="1133"/>
                  </a:moveTo>
                  <a:lnTo>
                    <a:pt x="288" y="1133"/>
                  </a:lnTo>
                  <a:lnTo>
                    <a:pt x="286" y="1133"/>
                  </a:lnTo>
                  <a:close/>
                  <a:moveTo>
                    <a:pt x="223" y="287"/>
                  </a:moveTo>
                  <a:lnTo>
                    <a:pt x="221" y="287"/>
                  </a:lnTo>
                  <a:lnTo>
                    <a:pt x="223" y="287"/>
                  </a:lnTo>
                  <a:close/>
                  <a:moveTo>
                    <a:pt x="220" y="839"/>
                  </a:moveTo>
                  <a:lnTo>
                    <a:pt x="218" y="839"/>
                  </a:lnTo>
                  <a:lnTo>
                    <a:pt x="220" y="839"/>
                  </a:lnTo>
                  <a:close/>
                  <a:moveTo>
                    <a:pt x="278" y="554"/>
                  </a:moveTo>
                  <a:lnTo>
                    <a:pt x="278" y="556"/>
                  </a:lnTo>
                  <a:lnTo>
                    <a:pt x="278" y="554"/>
                  </a:lnTo>
                  <a:close/>
                  <a:moveTo>
                    <a:pt x="213" y="603"/>
                  </a:moveTo>
                  <a:lnTo>
                    <a:pt x="215" y="603"/>
                  </a:lnTo>
                  <a:lnTo>
                    <a:pt x="213" y="603"/>
                  </a:lnTo>
                  <a:close/>
                  <a:moveTo>
                    <a:pt x="566" y="733"/>
                  </a:moveTo>
                  <a:lnTo>
                    <a:pt x="565" y="733"/>
                  </a:lnTo>
                  <a:lnTo>
                    <a:pt x="566" y="733"/>
                  </a:lnTo>
                  <a:close/>
                  <a:moveTo>
                    <a:pt x="142" y="1221"/>
                  </a:moveTo>
                  <a:lnTo>
                    <a:pt x="140" y="1221"/>
                  </a:lnTo>
                  <a:lnTo>
                    <a:pt x="142" y="1221"/>
                  </a:lnTo>
                  <a:close/>
                  <a:moveTo>
                    <a:pt x="215" y="566"/>
                  </a:moveTo>
                  <a:lnTo>
                    <a:pt x="213" y="566"/>
                  </a:lnTo>
                  <a:lnTo>
                    <a:pt x="215" y="566"/>
                  </a:lnTo>
                  <a:close/>
                  <a:moveTo>
                    <a:pt x="295" y="434"/>
                  </a:moveTo>
                  <a:lnTo>
                    <a:pt x="296" y="434"/>
                  </a:lnTo>
                  <a:lnTo>
                    <a:pt x="295" y="434"/>
                  </a:lnTo>
                  <a:close/>
                  <a:moveTo>
                    <a:pt x="246" y="569"/>
                  </a:moveTo>
                  <a:lnTo>
                    <a:pt x="244" y="569"/>
                  </a:lnTo>
                  <a:lnTo>
                    <a:pt x="246" y="569"/>
                  </a:lnTo>
                  <a:close/>
                  <a:moveTo>
                    <a:pt x="213" y="836"/>
                  </a:moveTo>
                  <a:lnTo>
                    <a:pt x="215" y="836"/>
                  </a:lnTo>
                  <a:lnTo>
                    <a:pt x="213" y="837"/>
                  </a:lnTo>
                  <a:lnTo>
                    <a:pt x="213" y="836"/>
                  </a:lnTo>
                  <a:close/>
                  <a:moveTo>
                    <a:pt x="246" y="278"/>
                  </a:moveTo>
                  <a:lnTo>
                    <a:pt x="247" y="278"/>
                  </a:lnTo>
                  <a:lnTo>
                    <a:pt x="246" y="278"/>
                  </a:lnTo>
                  <a:close/>
                  <a:moveTo>
                    <a:pt x="272" y="505"/>
                  </a:moveTo>
                  <a:lnTo>
                    <a:pt x="272" y="504"/>
                  </a:lnTo>
                  <a:lnTo>
                    <a:pt x="273" y="504"/>
                  </a:lnTo>
                  <a:lnTo>
                    <a:pt x="272" y="505"/>
                  </a:lnTo>
                  <a:close/>
                  <a:moveTo>
                    <a:pt x="272" y="590"/>
                  </a:moveTo>
                  <a:lnTo>
                    <a:pt x="273" y="590"/>
                  </a:lnTo>
                  <a:lnTo>
                    <a:pt x="272" y="590"/>
                  </a:lnTo>
                  <a:close/>
                  <a:moveTo>
                    <a:pt x="210" y="847"/>
                  </a:moveTo>
                  <a:lnTo>
                    <a:pt x="210" y="845"/>
                  </a:lnTo>
                  <a:lnTo>
                    <a:pt x="210" y="847"/>
                  </a:lnTo>
                  <a:close/>
                  <a:moveTo>
                    <a:pt x="737" y="73"/>
                  </a:moveTo>
                  <a:lnTo>
                    <a:pt x="735" y="73"/>
                  </a:lnTo>
                  <a:lnTo>
                    <a:pt x="737" y="73"/>
                  </a:lnTo>
                  <a:close/>
                  <a:moveTo>
                    <a:pt x="309" y="666"/>
                  </a:moveTo>
                  <a:lnTo>
                    <a:pt x="309" y="665"/>
                  </a:lnTo>
                  <a:lnTo>
                    <a:pt x="309" y="666"/>
                  </a:lnTo>
                  <a:close/>
                  <a:moveTo>
                    <a:pt x="155" y="1200"/>
                  </a:moveTo>
                  <a:lnTo>
                    <a:pt x="153" y="1200"/>
                  </a:lnTo>
                  <a:lnTo>
                    <a:pt x="155" y="1198"/>
                  </a:lnTo>
                  <a:lnTo>
                    <a:pt x="155" y="1200"/>
                  </a:lnTo>
                  <a:close/>
                  <a:moveTo>
                    <a:pt x="215" y="824"/>
                  </a:moveTo>
                  <a:lnTo>
                    <a:pt x="216" y="824"/>
                  </a:lnTo>
                  <a:lnTo>
                    <a:pt x="215" y="824"/>
                  </a:lnTo>
                  <a:close/>
                  <a:moveTo>
                    <a:pt x="691" y="135"/>
                  </a:moveTo>
                  <a:lnTo>
                    <a:pt x="693" y="135"/>
                  </a:lnTo>
                  <a:lnTo>
                    <a:pt x="691" y="135"/>
                  </a:lnTo>
                  <a:close/>
                  <a:moveTo>
                    <a:pt x="722" y="68"/>
                  </a:moveTo>
                  <a:lnTo>
                    <a:pt x="724" y="68"/>
                  </a:lnTo>
                  <a:lnTo>
                    <a:pt x="722" y="68"/>
                  </a:lnTo>
                  <a:close/>
                  <a:moveTo>
                    <a:pt x="740" y="32"/>
                  </a:moveTo>
                  <a:lnTo>
                    <a:pt x="740" y="31"/>
                  </a:lnTo>
                  <a:lnTo>
                    <a:pt x="740" y="32"/>
                  </a:lnTo>
                  <a:close/>
                  <a:moveTo>
                    <a:pt x="269" y="486"/>
                  </a:moveTo>
                  <a:lnTo>
                    <a:pt x="270" y="486"/>
                  </a:lnTo>
                  <a:lnTo>
                    <a:pt x="269" y="488"/>
                  </a:lnTo>
                  <a:lnTo>
                    <a:pt x="269" y="486"/>
                  </a:lnTo>
                  <a:close/>
                  <a:moveTo>
                    <a:pt x="225" y="541"/>
                  </a:moveTo>
                  <a:lnTo>
                    <a:pt x="225" y="540"/>
                  </a:lnTo>
                  <a:lnTo>
                    <a:pt x="225" y="541"/>
                  </a:lnTo>
                  <a:close/>
                  <a:moveTo>
                    <a:pt x="259" y="621"/>
                  </a:moveTo>
                  <a:lnTo>
                    <a:pt x="260" y="621"/>
                  </a:lnTo>
                  <a:lnTo>
                    <a:pt x="259" y="621"/>
                  </a:lnTo>
                  <a:close/>
                  <a:moveTo>
                    <a:pt x="109" y="302"/>
                  </a:moveTo>
                  <a:lnTo>
                    <a:pt x="109" y="304"/>
                  </a:lnTo>
                  <a:lnTo>
                    <a:pt x="109" y="302"/>
                  </a:lnTo>
                  <a:close/>
                  <a:moveTo>
                    <a:pt x="12" y="1454"/>
                  </a:moveTo>
                  <a:lnTo>
                    <a:pt x="12" y="1452"/>
                  </a:lnTo>
                  <a:lnTo>
                    <a:pt x="12" y="1454"/>
                  </a:lnTo>
                  <a:close/>
                  <a:moveTo>
                    <a:pt x="332" y="1309"/>
                  </a:moveTo>
                  <a:lnTo>
                    <a:pt x="330" y="1309"/>
                  </a:lnTo>
                  <a:lnTo>
                    <a:pt x="332" y="1309"/>
                  </a:lnTo>
                  <a:close/>
                  <a:moveTo>
                    <a:pt x="457" y="606"/>
                  </a:moveTo>
                  <a:lnTo>
                    <a:pt x="457" y="605"/>
                  </a:lnTo>
                  <a:lnTo>
                    <a:pt x="457" y="606"/>
                  </a:lnTo>
                  <a:close/>
                  <a:moveTo>
                    <a:pt x="220" y="839"/>
                  </a:moveTo>
                  <a:lnTo>
                    <a:pt x="220" y="837"/>
                  </a:lnTo>
                  <a:lnTo>
                    <a:pt x="220" y="839"/>
                  </a:lnTo>
                  <a:close/>
                  <a:moveTo>
                    <a:pt x="252" y="629"/>
                  </a:moveTo>
                  <a:lnTo>
                    <a:pt x="254" y="629"/>
                  </a:lnTo>
                  <a:lnTo>
                    <a:pt x="252" y="629"/>
                  </a:lnTo>
                  <a:close/>
                  <a:moveTo>
                    <a:pt x="700" y="1311"/>
                  </a:moveTo>
                  <a:lnTo>
                    <a:pt x="701" y="1311"/>
                  </a:lnTo>
                  <a:lnTo>
                    <a:pt x="700" y="1311"/>
                  </a:lnTo>
                  <a:close/>
                  <a:moveTo>
                    <a:pt x="498" y="655"/>
                  </a:moveTo>
                  <a:lnTo>
                    <a:pt x="499" y="655"/>
                  </a:lnTo>
                  <a:lnTo>
                    <a:pt x="498" y="655"/>
                  </a:lnTo>
                  <a:close/>
                  <a:moveTo>
                    <a:pt x="218" y="839"/>
                  </a:moveTo>
                  <a:lnTo>
                    <a:pt x="216" y="839"/>
                  </a:lnTo>
                  <a:lnTo>
                    <a:pt x="218" y="839"/>
                  </a:lnTo>
                  <a:close/>
                  <a:moveTo>
                    <a:pt x="262" y="453"/>
                  </a:moveTo>
                  <a:lnTo>
                    <a:pt x="262" y="452"/>
                  </a:lnTo>
                  <a:lnTo>
                    <a:pt x="262" y="453"/>
                  </a:lnTo>
                  <a:close/>
                  <a:moveTo>
                    <a:pt x="371" y="294"/>
                  </a:moveTo>
                  <a:lnTo>
                    <a:pt x="371" y="292"/>
                  </a:lnTo>
                  <a:lnTo>
                    <a:pt x="371" y="294"/>
                  </a:lnTo>
                  <a:close/>
                  <a:moveTo>
                    <a:pt x="244" y="276"/>
                  </a:moveTo>
                  <a:lnTo>
                    <a:pt x="243" y="276"/>
                  </a:lnTo>
                  <a:lnTo>
                    <a:pt x="244" y="276"/>
                  </a:lnTo>
                  <a:close/>
                  <a:moveTo>
                    <a:pt x="568" y="775"/>
                  </a:moveTo>
                  <a:lnTo>
                    <a:pt x="568" y="774"/>
                  </a:lnTo>
                  <a:lnTo>
                    <a:pt x="568" y="775"/>
                  </a:lnTo>
                  <a:close/>
                  <a:moveTo>
                    <a:pt x="698" y="1317"/>
                  </a:moveTo>
                  <a:lnTo>
                    <a:pt x="698" y="1315"/>
                  </a:lnTo>
                  <a:lnTo>
                    <a:pt x="698" y="1317"/>
                  </a:lnTo>
                  <a:close/>
                  <a:moveTo>
                    <a:pt x="272" y="546"/>
                  </a:moveTo>
                  <a:lnTo>
                    <a:pt x="272" y="548"/>
                  </a:lnTo>
                  <a:lnTo>
                    <a:pt x="272" y="546"/>
                  </a:lnTo>
                  <a:close/>
                  <a:moveTo>
                    <a:pt x="587" y="1013"/>
                  </a:moveTo>
                  <a:lnTo>
                    <a:pt x="587" y="1011"/>
                  </a:lnTo>
                  <a:lnTo>
                    <a:pt x="587" y="1013"/>
                  </a:lnTo>
                  <a:close/>
                  <a:moveTo>
                    <a:pt x="216" y="535"/>
                  </a:moveTo>
                  <a:lnTo>
                    <a:pt x="216" y="533"/>
                  </a:lnTo>
                  <a:lnTo>
                    <a:pt x="216" y="535"/>
                  </a:lnTo>
                  <a:close/>
                  <a:moveTo>
                    <a:pt x="417" y="276"/>
                  </a:moveTo>
                  <a:lnTo>
                    <a:pt x="415" y="276"/>
                  </a:lnTo>
                  <a:lnTo>
                    <a:pt x="417" y="276"/>
                  </a:lnTo>
                  <a:close/>
                  <a:moveTo>
                    <a:pt x="381" y="1026"/>
                  </a:moveTo>
                  <a:lnTo>
                    <a:pt x="381" y="1028"/>
                  </a:lnTo>
                  <a:lnTo>
                    <a:pt x="381" y="1026"/>
                  </a:lnTo>
                  <a:close/>
                  <a:moveTo>
                    <a:pt x="309" y="442"/>
                  </a:moveTo>
                  <a:lnTo>
                    <a:pt x="311" y="440"/>
                  </a:lnTo>
                  <a:lnTo>
                    <a:pt x="311" y="442"/>
                  </a:lnTo>
                  <a:lnTo>
                    <a:pt x="309" y="442"/>
                  </a:lnTo>
                  <a:close/>
                  <a:moveTo>
                    <a:pt x="747" y="0"/>
                  </a:moveTo>
                  <a:lnTo>
                    <a:pt x="747" y="1"/>
                  </a:lnTo>
                  <a:lnTo>
                    <a:pt x="745" y="1"/>
                  </a:lnTo>
                  <a:lnTo>
                    <a:pt x="747" y="1"/>
                  </a:lnTo>
                  <a:lnTo>
                    <a:pt x="747" y="0"/>
                  </a:lnTo>
                  <a:close/>
                  <a:moveTo>
                    <a:pt x="233" y="390"/>
                  </a:moveTo>
                  <a:lnTo>
                    <a:pt x="234" y="390"/>
                  </a:lnTo>
                  <a:lnTo>
                    <a:pt x="233" y="390"/>
                  </a:lnTo>
                  <a:close/>
                  <a:moveTo>
                    <a:pt x="239" y="1088"/>
                  </a:moveTo>
                  <a:lnTo>
                    <a:pt x="239" y="1086"/>
                  </a:lnTo>
                  <a:lnTo>
                    <a:pt x="239" y="1088"/>
                  </a:lnTo>
                  <a:close/>
                  <a:moveTo>
                    <a:pt x="691" y="68"/>
                  </a:moveTo>
                  <a:lnTo>
                    <a:pt x="691" y="70"/>
                  </a:lnTo>
                  <a:lnTo>
                    <a:pt x="691" y="68"/>
                  </a:lnTo>
                  <a:close/>
                  <a:moveTo>
                    <a:pt x="7" y="1457"/>
                  </a:moveTo>
                  <a:lnTo>
                    <a:pt x="8" y="1457"/>
                  </a:lnTo>
                  <a:lnTo>
                    <a:pt x="7" y="1457"/>
                  </a:lnTo>
                  <a:close/>
                  <a:moveTo>
                    <a:pt x="231" y="396"/>
                  </a:moveTo>
                  <a:lnTo>
                    <a:pt x="233" y="398"/>
                  </a:lnTo>
                  <a:lnTo>
                    <a:pt x="231" y="398"/>
                  </a:lnTo>
                  <a:lnTo>
                    <a:pt x="231" y="396"/>
                  </a:lnTo>
                  <a:close/>
                  <a:moveTo>
                    <a:pt x="491" y="653"/>
                  </a:moveTo>
                  <a:lnTo>
                    <a:pt x="493" y="653"/>
                  </a:lnTo>
                  <a:lnTo>
                    <a:pt x="491" y="655"/>
                  </a:lnTo>
                  <a:lnTo>
                    <a:pt x="491" y="653"/>
                  </a:lnTo>
                  <a:close/>
                  <a:moveTo>
                    <a:pt x="190" y="385"/>
                  </a:moveTo>
                  <a:lnTo>
                    <a:pt x="190" y="383"/>
                  </a:lnTo>
                  <a:lnTo>
                    <a:pt x="190" y="385"/>
                  </a:lnTo>
                  <a:close/>
                  <a:moveTo>
                    <a:pt x="569" y="730"/>
                  </a:moveTo>
                  <a:lnTo>
                    <a:pt x="568" y="730"/>
                  </a:lnTo>
                  <a:lnTo>
                    <a:pt x="569" y="730"/>
                  </a:lnTo>
                  <a:close/>
                  <a:moveTo>
                    <a:pt x="190" y="379"/>
                  </a:moveTo>
                  <a:lnTo>
                    <a:pt x="190" y="380"/>
                  </a:lnTo>
                  <a:lnTo>
                    <a:pt x="190" y="379"/>
                  </a:lnTo>
                  <a:close/>
                  <a:moveTo>
                    <a:pt x="179" y="710"/>
                  </a:moveTo>
                  <a:lnTo>
                    <a:pt x="181" y="710"/>
                  </a:lnTo>
                  <a:lnTo>
                    <a:pt x="179" y="712"/>
                  </a:lnTo>
                  <a:lnTo>
                    <a:pt x="179" y="710"/>
                  </a:lnTo>
                  <a:close/>
                  <a:moveTo>
                    <a:pt x="673" y="63"/>
                  </a:moveTo>
                  <a:lnTo>
                    <a:pt x="673" y="65"/>
                  </a:lnTo>
                  <a:lnTo>
                    <a:pt x="673" y="63"/>
                  </a:lnTo>
                  <a:close/>
                  <a:moveTo>
                    <a:pt x="377" y="278"/>
                  </a:moveTo>
                  <a:lnTo>
                    <a:pt x="379" y="278"/>
                  </a:lnTo>
                  <a:lnTo>
                    <a:pt x="377" y="278"/>
                  </a:lnTo>
                  <a:close/>
                  <a:moveTo>
                    <a:pt x="205" y="1247"/>
                  </a:moveTo>
                  <a:lnTo>
                    <a:pt x="205" y="1249"/>
                  </a:lnTo>
                  <a:lnTo>
                    <a:pt x="205" y="1247"/>
                  </a:lnTo>
                  <a:close/>
                  <a:moveTo>
                    <a:pt x="680" y="68"/>
                  </a:moveTo>
                  <a:lnTo>
                    <a:pt x="680" y="70"/>
                  </a:lnTo>
                  <a:lnTo>
                    <a:pt x="680" y="68"/>
                  </a:lnTo>
                  <a:close/>
                  <a:moveTo>
                    <a:pt x="721" y="70"/>
                  </a:moveTo>
                  <a:lnTo>
                    <a:pt x="722" y="70"/>
                  </a:lnTo>
                  <a:lnTo>
                    <a:pt x="721" y="70"/>
                  </a:lnTo>
                  <a:close/>
                  <a:moveTo>
                    <a:pt x="251" y="392"/>
                  </a:moveTo>
                  <a:lnTo>
                    <a:pt x="251" y="390"/>
                  </a:lnTo>
                  <a:lnTo>
                    <a:pt x="252" y="390"/>
                  </a:lnTo>
                  <a:lnTo>
                    <a:pt x="252" y="392"/>
                  </a:lnTo>
                  <a:lnTo>
                    <a:pt x="251" y="392"/>
                  </a:lnTo>
                  <a:close/>
                  <a:moveTo>
                    <a:pt x="70" y="1449"/>
                  </a:moveTo>
                  <a:lnTo>
                    <a:pt x="72" y="1449"/>
                  </a:lnTo>
                  <a:lnTo>
                    <a:pt x="70" y="1449"/>
                  </a:lnTo>
                  <a:close/>
                  <a:moveTo>
                    <a:pt x="13" y="1450"/>
                  </a:moveTo>
                  <a:lnTo>
                    <a:pt x="13" y="1452"/>
                  </a:lnTo>
                  <a:lnTo>
                    <a:pt x="13" y="1450"/>
                  </a:lnTo>
                  <a:close/>
                  <a:moveTo>
                    <a:pt x="161" y="447"/>
                  </a:moveTo>
                  <a:lnTo>
                    <a:pt x="160" y="447"/>
                  </a:lnTo>
                  <a:lnTo>
                    <a:pt x="161" y="447"/>
                  </a:lnTo>
                  <a:close/>
                  <a:moveTo>
                    <a:pt x="208" y="520"/>
                  </a:moveTo>
                  <a:lnTo>
                    <a:pt x="208" y="518"/>
                  </a:lnTo>
                  <a:lnTo>
                    <a:pt x="208" y="520"/>
                  </a:lnTo>
                  <a:close/>
                  <a:moveTo>
                    <a:pt x="273" y="579"/>
                  </a:moveTo>
                  <a:lnTo>
                    <a:pt x="273" y="577"/>
                  </a:lnTo>
                  <a:lnTo>
                    <a:pt x="273" y="579"/>
                  </a:lnTo>
                  <a:close/>
                  <a:moveTo>
                    <a:pt x="734" y="71"/>
                  </a:moveTo>
                  <a:lnTo>
                    <a:pt x="732" y="71"/>
                  </a:lnTo>
                  <a:lnTo>
                    <a:pt x="734" y="70"/>
                  </a:lnTo>
                  <a:lnTo>
                    <a:pt x="734" y="71"/>
                  </a:lnTo>
                  <a:close/>
                  <a:moveTo>
                    <a:pt x="15" y="1457"/>
                  </a:moveTo>
                  <a:lnTo>
                    <a:pt x="16" y="1457"/>
                  </a:lnTo>
                  <a:lnTo>
                    <a:pt x="15" y="1457"/>
                  </a:lnTo>
                  <a:close/>
                  <a:moveTo>
                    <a:pt x="192" y="387"/>
                  </a:moveTo>
                  <a:lnTo>
                    <a:pt x="192" y="388"/>
                  </a:lnTo>
                  <a:lnTo>
                    <a:pt x="192" y="387"/>
                  </a:lnTo>
                  <a:close/>
                  <a:moveTo>
                    <a:pt x="213" y="515"/>
                  </a:moveTo>
                  <a:lnTo>
                    <a:pt x="213" y="517"/>
                  </a:lnTo>
                  <a:lnTo>
                    <a:pt x="213" y="515"/>
                  </a:lnTo>
                  <a:close/>
                  <a:moveTo>
                    <a:pt x="291" y="544"/>
                  </a:moveTo>
                  <a:lnTo>
                    <a:pt x="290" y="543"/>
                  </a:lnTo>
                  <a:lnTo>
                    <a:pt x="291" y="543"/>
                  </a:lnTo>
                  <a:lnTo>
                    <a:pt x="291" y="544"/>
                  </a:lnTo>
                  <a:close/>
                  <a:moveTo>
                    <a:pt x="197" y="338"/>
                  </a:moveTo>
                  <a:lnTo>
                    <a:pt x="199" y="338"/>
                  </a:lnTo>
                  <a:lnTo>
                    <a:pt x="197" y="338"/>
                  </a:lnTo>
                  <a:close/>
                  <a:moveTo>
                    <a:pt x="194" y="380"/>
                  </a:moveTo>
                  <a:lnTo>
                    <a:pt x="195" y="380"/>
                  </a:lnTo>
                  <a:lnTo>
                    <a:pt x="194" y="380"/>
                  </a:lnTo>
                  <a:close/>
                  <a:moveTo>
                    <a:pt x="192" y="380"/>
                  </a:moveTo>
                  <a:lnTo>
                    <a:pt x="190" y="379"/>
                  </a:lnTo>
                  <a:lnTo>
                    <a:pt x="192" y="379"/>
                  </a:lnTo>
                  <a:lnTo>
                    <a:pt x="192" y="380"/>
                  </a:lnTo>
                  <a:close/>
                  <a:moveTo>
                    <a:pt x="5" y="1457"/>
                  </a:moveTo>
                  <a:lnTo>
                    <a:pt x="5" y="1455"/>
                  </a:lnTo>
                  <a:lnTo>
                    <a:pt x="5" y="1457"/>
                  </a:lnTo>
                  <a:close/>
                  <a:moveTo>
                    <a:pt x="229" y="543"/>
                  </a:moveTo>
                  <a:lnTo>
                    <a:pt x="231" y="543"/>
                  </a:lnTo>
                  <a:lnTo>
                    <a:pt x="229" y="543"/>
                  </a:lnTo>
                  <a:close/>
                  <a:moveTo>
                    <a:pt x="273" y="492"/>
                  </a:moveTo>
                  <a:lnTo>
                    <a:pt x="275" y="492"/>
                  </a:lnTo>
                  <a:lnTo>
                    <a:pt x="273" y="492"/>
                  </a:lnTo>
                  <a:close/>
                  <a:moveTo>
                    <a:pt x="335" y="642"/>
                  </a:moveTo>
                  <a:lnTo>
                    <a:pt x="335" y="640"/>
                  </a:lnTo>
                  <a:lnTo>
                    <a:pt x="335" y="642"/>
                  </a:lnTo>
                  <a:close/>
                  <a:moveTo>
                    <a:pt x="280" y="434"/>
                  </a:moveTo>
                  <a:lnTo>
                    <a:pt x="280" y="436"/>
                  </a:lnTo>
                  <a:lnTo>
                    <a:pt x="280" y="434"/>
                  </a:lnTo>
                  <a:close/>
                  <a:moveTo>
                    <a:pt x="207" y="359"/>
                  </a:moveTo>
                  <a:lnTo>
                    <a:pt x="208" y="359"/>
                  </a:lnTo>
                  <a:lnTo>
                    <a:pt x="208" y="361"/>
                  </a:lnTo>
                  <a:lnTo>
                    <a:pt x="207" y="359"/>
                  </a:lnTo>
                  <a:close/>
                  <a:moveTo>
                    <a:pt x="265" y="340"/>
                  </a:moveTo>
                  <a:lnTo>
                    <a:pt x="267" y="340"/>
                  </a:lnTo>
                  <a:lnTo>
                    <a:pt x="265" y="340"/>
                  </a:lnTo>
                  <a:close/>
                  <a:moveTo>
                    <a:pt x="208" y="847"/>
                  </a:moveTo>
                  <a:lnTo>
                    <a:pt x="207" y="847"/>
                  </a:lnTo>
                  <a:lnTo>
                    <a:pt x="208" y="845"/>
                  </a:lnTo>
                  <a:lnTo>
                    <a:pt x="208" y="847"/>
                  </a:lnTo>
                  <a:close/>
                  <a:moveTo>
                    <a:pt x="212" y="564"/>
                  </a:moveTo>
                  <a:lnTo>
                    <a:pt x="212" y="566"/>
                  </a:lnTo>
                  <a:lnTo>
                    <a:pt x="212" y="564"/>
                  </a:lnTo>
                  <a:close/>
                  <a:moveTo>
                    <a:pt x="716" y="92"/>
                  </a:moveTo>
                  <a:lnTo>
                    <a:pt x="716" y="94"/>
                  </a:lnTo>
                  <a:lnTo>
                    <a:pt x="716" y="92"/>
                  </a:lnTo>
                  <a:close/>
                  <a:moveTo>
                    <a:pt x="174" y="439"/>
                  </a:moveTo>
                  <a:lnTo>
                    <a:pt x="174" y="437"/>
                  </a:lnTo>
                  <a:lnTo>
                    <a:pt x="176" y="437"/>
                  </a:lnTo>
                  <a:lnTo>
                    <a:pt x="174" y="439"/>
                  </a:lnTo>
                  <a:close/>
                  <a:moveTo>
                    <a:pt x="464" y="1426"/>
                  </a:moveTo>
                  <a:lnTo>
                    <a:pt x="464" y="1428"/>
                  </a:lnTo>
                  <a:lnTo>
                    <a:pt x="464" y="1426"/>
                  </a:lnTo>
                  <a:close/>
                  <a:moveTo>
                    <a:pt x="207" y="348"/>
                  </a:moveTo>
                  <a:lnTo>
                    <a:pt x="208" y="348"/>
                  </a:lnTo>
                  <a:lnTo>
                    <a:pt x="207" y="348"/>
                  </a:lnTo>
                  <a:close/>
                  <a:moveTo>
                    <a:pt x="743" y="1276"/>
                  </a:moveTo>
                  <a:lnTo>
                    <a:pt x="743" y="1275"/>
                  </a:lnTo>
                  <a:lnTo>
                    <a:pt x="743" y="1276"/>
                  </a:lnTo>
                  <a:close/>
                  <a:moveTo>
                    <a:pt x="108" y="304"/>
                  </a:moveTo>
                  <a:lnTo>
                    <a:pt x="108" y="305"/>
                  </a:lnTo>
                  <a:lnTo>
                    <a:pt x="108" y="304"/>
                  </a:lnTo>
                  <a:close/>
                  <a:moveTo>
                    <a:pt x="161" y="883"/>
                  </a:moveTo>
                  <a:lnTo>
                    <a:pt x="161" y="884"/>
                  </a:lnTo>
                  <a:lnTo>
                    <a:pt x="161" y="883"/>
                  </a:lnTo>
                  <a:close/>
                  <a:moveTo>
                    <a:pt x="216" y="839"/>
                  </a:moveTo>
                  <a:lnTo>
                    <a:pt x="216" y="840"/>
                  </a:lnTo>
                  <a:lnTo>
                    <a:pt x="216" y="839"/>
                  </a:lnTo>
                  <a:close/>
                  <a:moveTo>
                    <a:pt x="197" y="344"/>
                  </a:moveTo>
                  <a:lnTo>
                    <a:pt x="197" y="343"/>
                  </a:lnTo>
                  <a:lnTo>
                    <a:pt x="197" y="344"/>
                  </a:lnTo>
                  <a:close/>
                  <a:moveTo>
                    <a:pt x="103" y="1432"/>
                  </a:moveTo>
                  <a:lnTo>
                    <a:pt x="104" y="1432"/>
                  </a:lnTo>
                  <a:lnTo>
                    <a:pt x="103" y="1432"/>
                  </a:lnTo>
                  <a:close/>
                  <a:moveTo>
                    <a:pt x="273" y="307"/>
                  </a:moveTo>
                  <a:lnTo>
                    <a:pt x="272" y="307"/>
                  </a:lnTo>
                  <a:lnTo>
                    <a:pt x="273" y="307"/>
                  </a:lnTo>
                  <a:close/>
                  <a:moveTo>
                    <a:pt x="210" y="351"/>
                  </a:moveTo>
                  <a:lnTo>
                    <a:pt x="212" y="351"/>
                  </a:lnTo>
                  <a:lnTo>
                    <a:pt x="210" y="351"/>
                  </a:lnTo>
                  <a:close/>
                  <a:moveTo>
                    <a:pt x="254" y="626"/>
                  </a:moveTo>
                  <a:lnTo>
                    <a:pt x="254" y="624"/>
                  </a:lnTo>
                  <a:lnTo>
                    <a:pt x="254" y="626"/>
                  </a:lnTo>
                  <a:close/>
                  <a:moveTo>
                    <a:pt x="491" y="600"/>
                  </a:moveTo>
                  <a:lnTo>
                    <a:pt x="493" y="600"/>
                  </a:lnTo>
                  <a:lnTo>
                    <a:pt x="491" y="600"/>
                  </a:lnTo>
                  <a:close/>
                  <a:moveTo>
                    <a:pt x="270" y="307"/>
                  </a:moveTo>
                  <a:lnTo>
                    <a:pt x="272" y="307"/>
                  </a:lnTo>
                  <a:lnTo>
                    <a:pt x="270" y="307"/>
                  </a:lnTo>
                  <a:close/>
                  <a:moveTo>
                    <a:pt x="238" y="488"/>
                  </a:moveTo>
                  <a:lnTo>
                    <a:pt x="239" y="488"/>
                  </a:lnTo>
                  <a:lnTo>
                    <a:pt x="238" y="488"/>
                  </a:lnTo>
                  <a:close/>
                  <a:moveTo>
                    <a:pt x="662" y="1343"/>
                  </a:moveTo>
                  <a:lnTo>
                    <a:pt x="662" y="1341"/>
                  </a:lnTo>
                  <a:lnTo>
                    <a:pt x="662" y="1343"/>
                  </a:lnTo>
                  <a:close/>
                  <a:moveTo>
                    <a:pt x="747" y="63"/>
                  </a:moveTo>
                  <a:lnTo>
                    <a:pt x="748" y="63"/>
                  </a:lnTo>
                  <a:lnTo>
                    <a:pt x="747" y="63"/>
                  </a:lnTo>
                  <a:close/>
                  <a:moveTo>
                    <a:pt x="295" y="1080"/>
                  </a:moveTo>
                  <a:lnTo>
                    <a:pt x="296" y="1080"/>
                  </a:lnTo>
                  <a:lnTo>
                    <a:pt x="295" y="1080"/>
                  </a:lnTo>
                  <a:close/>
                  <a:moveTo>
                    <a:pt x="212" y="346"/>
                  </a:moveTo>
                  <a:lnTo>
                    <a:pt x="213" y="344"/>
                  </a:lnTo>
                  <a:lnTo>
                    <a:pt x="213" y="346"/>
                  </a:lnTo>
                  <a:lnTo>
                    <a:pt x="212" y="346"/>
                  </a:lnTo>
                  <a:close/>
                  <a:moveTo>
                    <a:pt x="439" y="655"/>
                  </a:moveTo>
                  <a:lnTo>
                    <a:pt x="439" y="653"/>
                  </a:lnTo>
                  <a:lnTo>
                    <a:pt x="439" y="655"/>
                  </a:lnTo>
                  <a:close/>
                  <a:moveTo>
                    <a:pt x="189" y="390"/>
                  </a:moveTo>
                  <a:lnTo>
                    <a:pt x="189" y="392"/>
                  </a:lnTo>
                  <a:lnTo>
                    <a:pt x="189" y="390"/>
                  </a:lnTo>
                  <a:close/>
                  <a:moveTo>
                    <a:pt x="212" y="845"/>
                  </a:moveTo>
                  <a:lnTo>
                    <a:pt x="212" y="847"/>
                  </a:lnTo>
                  <a:lnTo>
                    <a:pt x="212" y="845"/>
                  </a:lnTo>
                  <a:close/>
                  <a:moveTo>
                    <a:pt x="187" y="383"/>
                  </a:moveTo>
                  <a:lnTo>
                    <a:pt x="189" y="383"/>
                  </a:lnTo>
                  <a:lnTo>
                    <a:pt x="187" y="383"/>
                  </a:lnTo>
                  <a:close/>
                  <a:moveTo>
                    <a:pt x="160" y="1206"/>
                  </a:moveTo>
                  <a:lnTo>
                    <a:pt x="161" y="1206"/>
                  </a:lnTo>
                  <a:lnTo>
                    <a:pt x="160" y="1206"/>
                  </a:lnTo>
                  <a:close/>
                  <a:moveTo>
                    <a:pt x="269" y="499"/>
                  </a:moveTo>
                  <a:lnTo>
                    <a:pt x="269" y="501"/>
                  </a:lnTo>
                  <a:lnTo>
                    <a:pt x="269" y="499"/>
                  </a:lnTo>
                  <a:close/>
                  <a:moveTo>
                    <a:pt x="213" y="832"/>
                  </a:moveTo>
                  <a:lnTo>
                    <a:pt x="215" y="832"/>
                  </a:lnTo>
                  <a:lnTo>
                    <a:pt x="213" y="832"/>
                  </a:lnTo>
                  <a:close/>
                  <a:moveTo>
                    <a:pt x="205" y="847"/>
                  </a:moveTo>
                  <a:lnTo>
                    <a:pt x="207" y="845"/>
                  </a:lnTo>
                  <a:lnTo>
                    <a:pt x="207" y="847"/>
                  </a:lnTo>
                  <a:lnTo>
                    <a:pt x="205" y="847"/>
                  </a:lnTo>
                  <a:close/>
                  <a:moveTo>
                    <a:pt x="517" y="1429"/>
                  </a:moveTo>
                  <a:lnTo>
                    <a:pt x="517" y="1428"/>
                  </a:lnTo>
                  <a:lnTo>
                    <a:pt x="517" y="1429"/>
                  </a:lnTo>
                  <a:close/>
                  <a:moveTo>
                    <a:pt x="275" y="566"/>
                  </a:moveTo>
                  <a:lnTo>
                    <a:pt x="277" y="566"/>
                  </a:lnTo>
                  <a:lnTo>
                    <a:pt x="275" y="566"/>
                  </a:lnTo>
                  <a:close/>
                  <a:moveTo>
                    <a:pt x="184" y="400"/>
                  </a:moveTo>
                  <a:lnTo>
                    <a:pt x="184" y="401"/>
                  </a:lnTo>
                  <a:lnTo>
                    <a:pt x="184" y="400"/>
                  </a:lnTo>
                  <a:close/>
                  <a:moveTo>
                    <a:pt x="238" y="340"/>
                  </a:moveTo>
                  <a:lnTo>
                    <a:pt x="239" y="340"/>
                  </a:lnTo>
                  <a:lnTo>
                    <a:pt x="238" y="340"/>
                  </a:lnTo>
                  <a:close/>
                  <a:moveTo>
                    <a:pt x="220" y="658"/>
                  </a:moveTo>
                  <a:lnTo>
                    <a:pt x="218" y="658"/>
                  </a:lnTo>
                  <a:lnTo>
                    <a:pt x="220" y="658"/>
                  </a:lnTo>
                  <a:close/>
                  <a:moveTo>
                    <a:pt x="8" y="1457"/>
                  </a:moveTo>
                  <a:lnTo>
                    <a:pt x="10" y="1455"/>
                  </a:lnTo>
                  <a:lnTo>
                    <a:pt x="10" y="1457"/>
                  </a:lnTo>
                  <a:lnTo>
                    <a:pt x="8" y="1457"/>
                  </a:lnTo>
                  <a:close/>
                  <a:moveTo>
                    <a:pt x="660" y="182"/>
                  </a:moveTo>
                  <a:lnTo>
                    <a:pt x="659" y="182"/>
                  </a:lnTo>
                  <a:lnTo>
                    <a:pt x="660" y="182"/>
                  </a:lnTo>
                  <a:close/>
                  <a:moveTo>
                    <a:pt x="672" y="1363"/>
                  </a:moveTo>
                  <a:lnTo>
                    <a:pt x="673" y="1363"/>
                  </a:lnTo>
                  <a:lnTo>
                    <a:pt x="672" y="1363"/>
                  </a:lnTo>
                  <a:close/>
                  <a:moveTo>
                    <a:pt x="342" y="338"/>
                  </a:moveTo>
                  <a:lnTo>
                    <a:pt x="342" y="340"/>
                  </a:lnTo>
                  <a:lnTo>
                    <a:pt x="342" y="338"/>
                  </a:lnTo>
                  <a:close/>
                  <a:moveTo>
                    <a:pt x="273" y="585"/>
                  </a:moveTo>
                  <a:lnTo>
                    <a:pt x="273" y="587"/>
                  </a:lnTo>
                  <a:lnTo>
                    <a:pt x="273" y="585"/>
                  </a:lnTo>
                  <a:close/>
                  <a:moveTo>
                    <a:pt x="700" y="87"/>
                  </a:moveTo>
                  <a:lnTo>
                    <a:pt x="701" y="87"/>
                  </a:lnTo>
                  <a:lnTo>
                    <a:pt x="700" y="87"/>
                  </a:lnTo>
                  <a:close/>
                  <a:moveTo>
                    <a:pt x="148" y="1393"/>
                  </a:moveTo>
                  <a:lnTo>
                    <a:pt x="150" y="1393"/>
                  </a:lnTo>
                  <a:lnTo>
                    <a:pt x="148" y="1393"/>
                  </a:lnTo>
                  <a:close/>
                  <a:moveTo>
                    <a:pt x="210" y="356"/>
                  </a:moveTo>
                  <a:lnTo>
                    <a:pt x="210" y="354"/>
                  </a:lnTo>
                  <a:lnTo>
                    <a:pt x="210" y="356"/>
                  </a:lnTo>
                  <a:close/>
                  <a:moveTo>
                    <a:pt x="256" y="634"/>
                  </a:moveTo>
                  <a:lnTo>
                    <a:pt x="256" y="632"/>
                  </a:lnTo>
                  <a:lnTo>
                    <a:pt x="256" y="634"/>
                  </a:lnTo>
                  <a:close/>
                  <a:moveTo>
                    <a:pt x="698" y="99"/>
                  </a:moveTo>
                  <a:lnTo>
                    <a:pt x="700" y="99"/>
                  </a:lnTo>
                  <a:lnTo>
                    <a:pt x="698" y="99"/>
                  </a:lnTo>
                  <a:close/>
                  <a:moveTo>
                    <a:pt x="177" y="367"/>
                  </a:moveTo>
                  <a:lnTo>
                    <a:pt x="179" y="367"/>
                  </a:lnTo>
                  <a:lnTo>
                    <a:pt x="177" y="367"/>
                  </a:lnTo>
                  <a:close/>
                  <a:moveTo>
                    <a:pt x="241" y="283"/>
                  </a:moveTo>
                  <a:lnTo>
                    <a:pt x="241" y="281"/>
                  </a:lnTo>
                  <a:lnTo>
                    <a:pt x="241" y="283"/>
                  </a:lnTo>
                  <a:close/>
                  <a:moveTo>
                    <a:pt x="70" y="1444"/>
                  </a:moveTo>
                  <a:lnTo>
                    <a:pt x="70" y="1442"/>
                  </a:lnTo>
                  <a:lnTo>
                    <a:pt x="72" y="1444"/>
                  </a:lnTo>
                  <a:lnTo>
                    <a:pt x="70" y="1444"/>
                  </a:lnTo>
                  <a:close/>
                  <a:moveTo>
                    <a:pt x="402" y="266"/>
                  </a:moveTo>
                  <a:lnTo>
                    <a:pt x="402" y="265"/>
                  </a:lnTo>
                  <a:lnTo>
                    <a:pt x="402" y="266"/>
                  </a:lnTo>
                  <a:close/>
                  <a:moveTo>
                    <a:pt x="213" y="348"/>
                  </a:moveTo>
                  <a:lnTo>
                    <a:pt x="213" y="346"/>
                  </a:lnTo>
                  <a:lnTo>
                    <a:pt x="213" y="348"/>
                  </a:lnTo>
                  <a:close/>
                  <a:moveTo>
                    <a:pt x="295" y="636"/>
                  </a:moveTo>
                  <a:lnTo>
                    <a:pt x="295" y="637"/>
                  </a:lnTo>
                  <a:lnTo>
                    <a:pt x="295" y="636"/>
                  </a:lnTo>
                  <a:close/>
                  <a:moveTo>
                    <a:pt x="216" y="827"/>
                  </a:moveTo>
                  <a:lnTo>
                    <a:pt x="218" y="827"/>
                  </a:lnTo>
                  <a:lnTo>
                    <a:pt x="216" y="827"/>
                  </a:lnTo>
                  <a:close/>
                  <a:moveTo>
                    <a:pt x="348" y="179"/>
                  </a:moveTo>
                  <a:lnTo>
                    <a:pt x="350" y="179"/>
                  </a:lnTo>
                  <a:lnTo>
                    <a:pt x="348" y="179"/>
                  </a:lnTo>
                  <a:close/>
                  <a:moveTo>
                    <a:pt x="210" y="847"/>
                  </a:moveTo>
                  <a:lnTo>
                    <a:pt x="212" y="847"/>
                  </a:lnTo>
                  <a:lnTo>
                    <a:pt x="210" y="847"/>
                  </a:lnTo>
                  <a:close/>
                  <a:moveTo>
                    <a:pt x="236" y="333"/>
                  </a:moveTo>
                  <a:lnTo>
                    <a:pt x="236" y="335"/>
                  </a:lnTo>
                  <a:lnTo>
                    <a:pt x="236" y="333"/>
                  </a:lnTo>
                  <a:close/>
                  <a:moveTo>
                    <a:pt x="729" y="34"/>
                  </a:moveTo>
                  <a:lnTo>
                    <a:pt x="730" y="34"/>
                  </a:lnTo>
                  <a:lnTo>
                    <a:pt x="729" y="34"/>
                  </a:lnTo>
                  <a:close/>
                  <a:moveTo>
                    <a:pt x="16" y="1457"/>
                  </a:moveTo>
                  <a:lnTo>
                    <a:pt x="18" y="1457"/>
                  </a:lnTo>
                  <a:lnTo>
                    <a:pt x="16" y="1457"/>
                  </a:lnTo>
                  <a:close/>
                  <a:moveTo>
                    <a:pt x="243" y="504"/>
                  </a:moveTo>
                  <a:lnTo>
                    <a:pt x="243" y="502"/>
                  </a:lnTo>
                  <a:lnTo>
                    <a:pt x="243" y="504"/>
                  </a:lnTo>
                  <a:close/>
                  <a:moveTo>
                    <a:pt x="301" y="429"/>
                  </a:moveTo>
                  <a:lnTo>
                    <a:pt x="303" y="429"/>
                  </a:lnTo>
                  <a:lnTo>
                    <a:pt x="301" y="429"/>
                  </a:lnTo>
                  <a:close/>
                  <a:moveTo>
                    <a:pt x="234" y="343"/>
                  </a:moveTo>
                  <a:lnTo>
                    <a:pt x="234" y="344"/>
                  </a:lnTo>
                  <a:lnTo>
                    <a:pt x="234" y="343"/>
                  </a:lnTo>
                  <a:close/>
                  <a:moveTo>
                    <a:pt x="670" y="1356"/>
                  </a:moveTo>
                  <a:lnTo>
                    <a:pt x="672" y="1356"/>
                  </a:lnTo>
                  <a:lnTo>
                    <a:pt x="670" y="1356"/>
                  </a:lnTo>
                  <a:close/>
                  <a:moveTo>
                    <a:pt x="212" y="344"/>
                  </a:moveTo>
                  <a:lnTo>
                    <a:pt x="212" y="346"/>
                  </a:lnTo>
                  <a:lnTo>
                    <a:pt x="212" y="344"/>
                  </a:lnTo>
                  <a:close/>
                  <a:moveTo>
                    <a:pt x="273" y="588"/>
                  </a:moveTo>
                  <a:lnTo>
                    <a:pt x="272" y="588"/>
                  </a:lnTo>
                  <a:lnTo>
                    <a:pt x="273" y="588"/>
                  </a:lnTo>
                  <a:close/>
                  <a:moveTo>
                    <a:pt x="5" y="1455"/>
                  </a:moveTo>
                  <a:lnTo>
                    <a:pt x="7" y="1455"/>
                  </a:lnTo>
                  <a:lnTo>
                    <a:pt x="5" y="1455"/>
                  </a:lnTo>
                  <a:close/>
                  <a:moveTo>
                    <a:pt x="673" y="1359"/>
                  </a:moveTo>
                  <a:lnTo>
                    <a:pt x="675" y="1361"/>
                  </a:lnTo>
                  <a:lnTo>
                    <a:pt x="673" y="1361"/>
                  </a:lnTo>
                  <a:lnTo>
                    <a:pt x="673" y="1359"/>
                  </a:lnTo>
                  <a:close/>
                  <a:moveTo>
                    <a:pt x="275" y="450"/>
                  </a:moveTo>
                  <a:lnTo>
                    <a:pt x="275" y="452"/>
                  </a:lnTo>
                  <a:lnTo>
                    <a:pt x="275" y="450"/>
                  </a:lnTo>
                  <a:close/>
                  <a:moveTo>
                    <a:pt x="269" y="644"/>
                  </a:moveTo>
                  <a:lnTo>
                    <a:pt x="270" y="644"/>
                  </a:lnTo>
                  <a:lnTo>
                    <a:pt x="269" y="644"/>
                  </a:lnTo>
                  <a:close/>
                  <a:moveTo>
                    <a:pt x="264" y="340"/>
                  </a:moveTo>
                  <a:lnTo>
                    <a:pt x="265" y="340"/>
                  </a:lnTo>
                  <a:lnTo>
                    <a:pt x="264" y="340"/>
                  </a:lnTo>
                  <a:close/>
                  <a:moveTo>
                    <a:pt x="129" y="1416"/>
                  </a:moveTo>
                  <a:lnTo>
                    <a:pt x="130" y="1416"/>
                  </a:lnTo>
                  <a:lnTo>
                    <a:pt x="129" y="1416"/>
                  </a:lnTo>
                  <a:close/>
                  <a:moveTo>
                    <a:pt x="283" y="400"/>
                  </a:moveTo>
                  <a:lnTo>
                    <a:pt x="283" y="401"/>
                  </a:lnTo>
                  <a:lnTo>
                    <a:pt x="283" y="400"/>
                  </a:lnTo>
                  <a:close/>
                  <a:moveTo>
                    <a:pt x="708" y="1306"/>
                  </a:moveTo>
                  <a:lnTo>
                    <a:pt x="708" y="1307"/>
                  </a:lnTo>
                  <a:lnTo>
                    <a:pt x="708" y="1306"/>
                  </a:lnTo>
                  <a:close/>
                  <a:moveTo>
                    <a:pt x="223" y="349"/>
                  </a:moveTo>
                  <a:lnTo>
                    <a:pt x="225" y="349"/>
                  </a:lnTo>
                  <a:lnTo>
                    <a:pt x="223" y="349"/>
                  </a:lnTo>
                  <a:close/>
                  <a:moveTo>
                    <a:pt x="213" y="829"/>
                  </a:moveTo>
                  <a:lnTo>
                    <a:pt x="213" y="831"/>
                  </a:lnTo>
                  <a:lnTo>
                    <a:pt x="213" y="829"/>
                  </a:lnTo>
                  <a:close/>
                  <a:moveTo>
                    <a:pt x="207" y="361"/>
                  </a:moveTo>
                  <a:lnTo>
                    <a:pt x="208" y="361"/>
                  </a:lnTo>
                  <a:lnTo>
                    <a:pt x="207" y="361"/>
                  </a:lnTo>
                  <a:close/>
                  <a:moveTo>
                    <a:pt x="265" y="603"/>
                  </a:moveTo>
                  <a:lnTo>
                    <a:pt x="265" y="605"/>
                  </a:lnTo>
                  <a:lnTo>
                    <a:pt x="265" y="603"/>
                  </a:lnTo>
                  <a:close/>
                  <a:moveTo>
                    <a:pt x="171" y="436"/>
                  </a:moveTo>
                  <a:lnTo>
                    <a:pt x="173" y="436"/>
                  </a:lnTo>
                  <a:lnTo>
                    <a:pt x="171" y="436"/>
                  </a:lnTo>
                  <a:close/>
                  <a:moveTo>
                    <a:pt x="273" y="483"/>
                  </a:moveTo>
                  <a:lnTo>
                    <a:pt x="275" y="483"/>
                  </a:lnTo>
                  <a:lnTo>
                    <a:pt x="273" y="483"/>
                  </a:lnTo>
                  <a:close/>
                  <a:moveTo>
                    <a:pt x="537" y="257"/>
                  </a:moveTo>
                  <a:lnTo>
                    <a:pt x="535" y="257"/>
                  </a:lnTo>
                  <a:lnTo>
                    <a:pt x="537" y="257"/>
                  </a:lnTo>
                  <a:close/>
                  <a:moveTo>
                    <a:pt x="670" y="58"/>
                  </a:moveTo>
                  <a:lnTo>
                    <a:pt x="670" y="57"/>
                  </a:lnTo>
                  <a:lnTo>
                    <a:pt x="670" y="58"/>
                  </a:lnTo>
                  <a:close/>
                  <a:moveTo>
                    <a:pt x="160" y="442"/>
                  </a:moveTo>
                  <a:lnTo>
                    <a:pt x="160" y="440"/>
                  </a:lnTo>
                  <a:lnTo>
                    <a:pt x="160" y="442"/>
                  </a:lnTo>
                  <a:close/>
                  <a:moveTo>
                    <a:pt x="269" y="605"/>
                  </a:moveTo>
                  <a:lnTo>
                    <a:pt x="269" y="603"/>
                  </a:lnTo>
                  <a:lnTo>
                    <a:pt x="269" y="605"/>
                  </a:lnTo>
                  <a:close/>
                  <a:moveTo>
                    <a:pt x="327" y="509"/>
                  </a:moveTo>
                  <a:lnTo>
                    <a:pt x="325" y="509"/>
                  </a:lnTo>
                  <a:lnTo>
                    <a:pt x="327" y="509"/>
                  </a:lnTo>
                  <a:close/>
                  <a:moveTo>
                    <a:pt x="153" y="1202"/>
                  </a:moveTo>
                  <a:lnTo>
                    <a:pt x="155" y="1202"/>
                  </a:lnTo>
                  <a:lnTo>
                    <a:pt x="153" y="1202"/>
                  </a:lnTo>
                  <a:close/>
                  <a:moveTo>
                    <a:pt x="269" y="603"/>
                  </a:moveTo>
                  <a:lnTo>
                    <a:pt x="269" y="601"/>
                  </a:lnTo>
                  <a:lnTo>
                    <a:pt x="270" y="603"/>
                  </a:lnTo>
                  <a:lnTo>
                    <a:pt x="269" y="603"/>
                  </a:lnTo>
                  <a:close/>
                  <a:moveTo>
                    <a:pt x="338" y="343"/>
                  </a:moveTo>
                  <a:lnTo>
                    <a:pt x="338" y="341"/>
                  </a:lnTo>
                  <a:lnTo>
                    <a:pt x="340" y="343"/>
                  </a:lnTo>
                  <a:lnTo>
                    <a:pt x="338" y="343"/>
                  </a:lnTo>
                  <a:close/>
                  <a:moveTo>
                    <a:pt x="296" y="543"/>
                  </a:moveTo>
                  <a:lnTo>
                    <a:pt x="295" y="543"/>
                  </a:lnTo>
                  <a:lnTo>
                    <a:pt x="296" y="543"/>
                  </a:lnTo>
                  <a:close/>
                  <a:moveTo>
                    <a:pt x="7" y="1454"/>
                  </a:moveTo>
                  <a:lnTo>
                    <a:pt x="7" y="1452"/>
                  </a:lnTo>
                  <a:lnTo>
                    <a:pt x="7" y="1454"/>
                  </a:lnTo>
                  <a:close/>
                  <a:moveTo>
                    <a:pt x="295" y="543"/>
                  </a:moveTo>
                  <a:lnTo>
                    <a:pt x="293" y="543"/>
                  </a:lnTo>
                  <a:lnTo>
                    <a:pt x="295" y="543"/>
                  </a:lnTo>
                  <a:close/>
                  <a:moveTo>
                    <a:pt x="368" y="304"/>
                  </a:moveTo>
                  <a:lnTo>
                    <a:pt x="369" y="304"/>
                  </a:lnTo>
                  <a:lnTo>
                    <a:pt x="368" y="304"/>
                  </a:lnTo>
                  <a:close/>
                  <a:moveTo>
                    <a:pt x="319" y="530"/>
                  </a:moveTo>
                  <a:lnTo>
                    <a:pt x="321" y="530"/>
                  </a:lnTo>
                  <a:lnTo>
                    <a:pt x="319" y="530"/>
                  </a:lnTo>
                  <a:close/>
                  <a:moveTo>
                    <a:pt x="0" y="1463"/>
                  </a:moveTo>
                  <a:lnTo>
                    <a:pt x="2" y="1463"/>
                  </a:lnTo>
                  <a:lnTo>
                    <a:pt x="0" y="1463"/>
                  </a:lnTo>
                  <a:close/>
                  <a:moveTo>
                    <a:pt x="285" y="561"/>
                  </a:moveTo>
                  <a:lnTo>
                    <a:pt x="286" y="561"/>
                  </a:lnTo>
                  <a:lnTo>
                    <a:pt x="285" y="561"/>
                  </a:lnTo>
                  <a:close/>
                  <a:moveTo>
                    <a:pt x="280" y="642"/>
                  </a:moveTo>
                  <a:lnTo>
                    <a:pt x="282" y="642"/>
                  </a:lnTo>
                  <a:lnTo>
                    <a:pt x="280" y="642"/>
                  </a:lnTo>
                  <a:close/>
                  <a:moveTo>
                    <a:pt x="249" y="292"/>
                  </a:moveTo>
                  <a:lnTo>
                    <a:pt x="251" y="292"/>
                  </a:lnTo>
                  <a:lnTo>
                    <a:pt x="249" y="292"/>
                  </a:lnTo>
                  <a:close/>
                  <a:moveTo>
                    <a:pt x="182" y="400"/>
                  </a:moveTo>
                  <a:lnTo>
                    <a:pt x="184" y="400"/>
                  </a:lnTo>
                  <a:lnTo>
                    <a:pt x="182" y="400"/>
                  </a:lnTo>
                  <a:close/>
                  <a:moveTo>
                    <a:pt x="337" y="341"/>
                  </a:moveTo>
                  <a:lnTo>
                    <a:pt x="338" y="341"/>
                  </a:lnTo>
                  <a:lnTo>
                    <a:pt x="337" y="341"/>
                  </a:lnTo>
                  <a:close/>
                  <a:moveTo>
                    <a:pt x="200" y="621"/>
                  </a:moveTo>
                  <a:lnTo>
                    <a:pt x="202" y="621"/>
                  </a:lnTo>
                  <a:lnTo>
                    <a:pt x="200" y="621"/>
                  </a:lnTo>
                  <a:close/>
                  <a:moveTo>
                    <a:pt x="12" y="1452"/>
                  </a:moveTo>
                  <a:lnTo>
                    <a:pt x="12" y="1450"/>
                  </a:lnTo>
                  <a:lnTo>
                    <a:pt x="12" y="1452"/>
                  </a:lnTo>
                  <a:close/>
                  <a:moveTo>
                    <a:pt x="249" y="333"/>
                  </a:moveTo>
                  <a:lnTo>
                    <a:pt x="249" y="335"/>
                  </a:lnTo>
                  <a:lnTo>
                    <a:pt x="249" y="333"/>
                  </a:lnTo>
                  <a:close/>
                  <a:moveTo>
                    <a:pt x="236" y="518"/>
                  </a:moveTo>
                  <a:lnTo>
                    <a:pt x="238" y="518"/>
                  </a:lnTo>
                  <a:lnTo>
                    <a:pt x="236" y="518"/>
                  </a:lnTo>
                  <a:close/>
                  <a:moveTo>
                    <a:pt x="156" y="1223"/>
                  </a:moveTo>
                  <a:lnTo>
                    <a:pt x="158" y="1223"/>
                  </a:lnTo>
                  <a:lnTo>
                    <a:pt x="156" y="1223"/>
                  </a:lnTo>
                  <a:close/>
                  <a:moveTo>
                    <a:pt x="241" y="341"/>
                  </a:moveTo>
                  <a:lnTo>
                    <a:pt x="241" y="340"/>
                  </a:lnTo>
                  <a:lnTo>
                    <a:pt x="243" y="341"/>
                  </a:lnTo>
                  <a:lnTo>
                    <a:pt x="241" y="341"/>
                  </a:lnTo>
                  <a:close/>
                  <a:moveTo>
                    <a:pt x="364" y="309"/>
                  </a:moveTo>
                  <a:lnTo>
                    <a:pt x="366" y="309"/>
                  </a:lnTo>
                  <a:lnTo>
                    <a:pt x="364" y="309"/>
                  </a:lnTo>
                  <a:close/>
                  <a:moveTo>
                    <a:pt x="296" y="437"/>
                  </a:moveTo>
                  <a:lnTo>
                    <a:pt x="296" y="439"/>
                  </a:lnTo>
                  <a:lnTo>
                    <a:pt x="296" y="437"/>
                  </a:lnTo>
                  <a:close/>
                  <a:moveTo>
                    <a:pt x="340" y="338"/>
                  </a:moveTo>
                  <a:lnTo>
                    <a:pt x="340" y="340"/>
                  </a:lnTo>
                  <a:lnTo>
                    <a:pt x="340" y="338"/>
                  </a:lnTo>
                  <a:close/>
                  <a:moveTo>
                    <a:pt x="210" y="821"/>
                  </a:moveTo>
                  <a:lnTo>
                    <a:pt x="210" y="823"/>
                  </a:lnTo>
                  <a:lnTo>
                    <a:pt x="210" y="821"/>
                  </a:lnTo>
                  <a:close/>
                  <a:moveTo>
                    <a:pt x="306" y="431"/>
                  </a:moveTo>
                  <a:lnTo>
                    <a:pt x="304" y="431"/>
                  </a:lnTo>
                  <a:lnTo>
                    <a:pt x="306" y="431"/>
                  </a:lnTo>
                  <a:close/>
                  <a:moveTo>
                    <a:pt x="2" y="1463"/>
                  </a:moveTo>
                  <a:lnTo>
                    <a:pt x="2" y="1465"/>
                  </a:lnTo>
                  <a:lnTo>
                    <a:pt x="2" y="1463"/>
                  </a:lnTo>
                  <a:close/>
                  <a:moveTo>
                    <a:pt x="197" y="522"/>
                  </a:moveTo>
                  <a:lnTo>
                    <a:pt x="197" y="520"/>
                  </a:lnTo>
                  <a:lnTo>
                    <a:pt x="197" y="522"/>
                  </a:lnTo>
                  <a:close/>
                  <a:moveTo>
                    <a:pt x="402" y="263"/>
                  </a:moveTo>
                  <a:lnTo>
                    <a:pt x="400" y="263"/>
                  </a:lnTo>
                  <a:lnTo>
                    <a:pt x="402" y="263"/>
                  </a:lnTo>
                  <a:close/>
                  <a:moveTo>
                    <a:pt x="207" y="1244"/>
                  </a:moveTo>
                  <a:lnTo>
                    <a:pt x="208" y="1244"/>
                  </a:lnTo>
                  <a:lnTo>
                    <a:pt x="207" y="1244"/>
                  </a:lnTo>
                  <a:close/>
                  <a:moveTo>
                    <a:pt x="207" y="359"/>
                  </a:moveTo>
                  <a:lnTo>
                    <a:pt x="207" y="357"/>
                  </a:lnTo>
                  <a:lnTo>
                    <a:pt x="207" y="359"/>
                  </a:lnTo>
                  <a:close/>
                  <a:moveTo>
                    <a:pt x="439" y="653"/>
                  </a:moveTo>
                  <a:lnTo>
                    <a:pt x="441" y="653"/>
                  </a:lnTo>
                  <a:lnTo>
                    <a:pt x="441" y="655"/>
                  </a:lnTo>
                  <a:lnTo>
                    <a:pt x="439" y="653"/>
                  </a:lnTo>
                  <a:close/>
                  <a:moveTo>
                    <a:pt x="156" y="1392"/>
                  </a:moveTo>
                  <a:lnTo>
                    <a:pt x="158" y="1392"/>
                  </a:lnTo>
                  <a:lnTo>
                    <a:pt x="156" y="1392"/>
                  </a:lnTo>
                  <a:close/>
                  <a:moveTo>
                    <a:pt x="735" y="68"/>
                  </a:moveTo>
                  <a:lnTo>
                    <a:pt x="734" y="68"/>
                  </a:lnTo>
                  <a:lnTo>
                    <a:pt x="735" y="68"/>
                  </a:lnTo>
                  <a:close/>
                  <a:moveTo>
                    <a:pt x="308" y="429"/>
                  </a:moveTo>
                  <a:lnTo>
                    <a:pt x="306" y="429"/>
                  </a:lnTo>
                  <a:lnTo>
                    <a:pt x="308" y="429"/>
                  </a:lnTo>
                  <a:close/>
                  <a:moveTo>
                    <a:pt x="722" y="68"/>
                  </a:moveTo>
                  <a:lnTo>
                    <a:pt x="722" y="70"/>
                  </a:lnTo>
                  <a:lnTo>
                    <a:pt x="722" y="68"/>
                  </a:lnTo>
                  <a:close/>
                  <a:moveTo>
                    <a:pt x="150" y="1205"/>
                  </a:moveTo>
                  <a:lnTo>
                    <a:pt x="151" y="1205"/>
                  </a:lnTo>
                  <a:lnTo>
                    <a:pt x="150" y="1206"/>
                  </a:lnTo>
                  <a:lnTo>
                    <a:pt x="150" y="1205"/>
                  </a:lnTo>
                  <a:close/>
                  <a:moveTo>
                    <a:pt x="239" y="336"/>
                  </a:moveTo>
                  <a:lnTo>
                    <a:pt x="239" y="338"/>
                  </a:lnTo>
                  <a:lnTo>
                    <a:pt x="239" y="336"/>
                  </a:lnTo>
                  <a:close/>
                  <a:moveTo>
                    <a:pt x="151" y="1205"/>
                  </a:moveTo>
                  <a:lnTo>
                    <a:pt x="153" y="1205"/>
                  </a:lnTo>
                  <a:lnTo>
                    <a:pt x="151" y="1205"/>
                  </a:lnTo>
                  <a:close/>
                  <a:moveTo>
                    <a:pt x="745" y="32"/>
                  </a:moveTo>
                  <a:lnTo>
                    <a:pt x="745" y="34"/>
                  </a:lnTo>
                  <a:lnTo>
                    <a:pt x="745" y="32"/>
                  </a:lnTo>
                  <a:close/>
                  <a:moveTo>
                    <a:pt x="711" y="24"/>
                  </a:moveTo>
                  <a:lnTo>
                    <a:pt x="713" y="24"/>
                  </a:lnTo>
                  <a:lnTo>
                    <a:pt x="711" y="24"/>
                  </a:lnTo>
                  <a:close/>
                  <a:moveTo>
                    <a:pt x="690" y="45"/>
                  </a:moveTo>
                  <a:lnTo>
                    <a:pt x="690" y="47"/>
                  </a:lnTo>
                  <a:lnTo>
                    <a:pt x="690" y="45"/>
                  </a:lnTo>
                  <a:close/>
                  <a:moveTo>
                    <a:pt x="711" y="27"/>
                  </a:moveTo>
                  <a:lnTo>
                    <a:pt x="711" y="26"/>
                  </a:lnTo>
                  <a:lnTo>
                    <a:pt x="711" y="27"/>
                  </a:lnTo>
                  <a:close/>
                  <a:moveTo>
                    <a:pt x="695" y="99"/>
                  </a:moveTo>
                  <a:lnTo>
                    <a:pt x="695" y="97"/>
                  </a:lnTo>
                  <a:lnTo>
                    <a:pt x="695" y="99"/>
                  </a:lnTo>
                  <a:close/>
                  <a:moveTo>
                    <a:pt x="298" y="431"/>
                  </a:moveTo>
                  <a:lnTo>
                    <a:pt x="299" y="431"/>
                  </a:lnTo>
                  <a:lnTo>
                    <a:pt x="298" y="431"/>
                  </a:lnTo>
                  <a:close/>
                  <a:moveTo>
                    <a:pt x="695" y="92"/>
                  </a:moveTo>
                  <a:lnTo>
                    <a:pt x="696" y="92"/>
                  </a:lnTo>
                  <a:lnTo>
                    <a:pt x="695" y="92"/>
                  </a:lnTo>
                  <a:close/>
                  <a:moveTo>
                    <a:pt x="132" y="1446"/>
                  </a:moveTo>
                  <a:lnTo>
                    <a:pt x="134" y="1446"/>
                  </a:lnTo>
                  <a:lnTo>
                    <a:pt x="132" y="1446"/>
                  </a:lnTo>
                  <a:close/>
                  <a:moveTo>
                    <a:pt x="303" y="429"/>
                  </a:moveTo>
                  <a:lnTo>
                    <a:pt x="304" y="429"/>
                  </a:lnTo>
                  <a:lnTo>
                    <a:pt x="303" y="429"/>
                  </a:lnTo>
                  <a:close/>
                  <a:moveTo>
                    <a:pt x="700" y="1309"/>
                  </a:moveTo>
                  <a:lnTo>
                    <a:pt x="701" y="1309"/>
                  </a:lnTo>
                  <a:lnTo>
                    <a:pt x="700" y="1309"/>
                  </a:lnTo>
                  <a:close/>
                  <a:moveTo>
                    <a:pt x="325" y="798"/>
                  </a:moveTo>
                  <a:lnTo>
                    <a:pt x="327" y="798"/>
                  </a:lnTo>
                  <a:lnTo>
                    <a:pt x="325" y="798"/>
                  </a:lnTo>
                  <a:close/>
                </a:path>
              </a:pathLst>
            </a:custGeom>
            <a:solidFill>
              <a:srgbClr val="E5E5E5"/>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1180" name="Freeform 26">
              <a:extLst>
                <a:ext uri="{FF2B5EF4-FFF2-40B4-BE49-F238E27FC236}">
                  <a16:creationId xmlns:a16="http://schemas.microsoft.com/office/drawing/2014/main" id="{707CE8FF-A983-C7C7-24D8-A8766AB7BD43}"/>
                </a:ext>
              </a:extLst>
            </p:cNvPr>
            <p:cNvSpPr>
              <a:spLocks noEditPoints="1"/>
            </p:cNvSpPr>
            <p:nvPr/>
          </p:nvSpPr>
          <p:spPr bwMode="auto">
            <a:xfrm>
              <a:off x="7252" y="3932"/>
              <a:ext cx="763" cy="327"/>
            </a:xfrm>
            <a:custGeom>
              <a:avLst/>
              <a:gdLst>
                <a:gd name="T0" fmla="*/ 174 w 763"/>
                <a:gd name="T1" fmla="*/ 169 h 327"/>
                <a:gd name="T2" fmla="*/ 140 w 763"/>
                <a:gd name="T3" fmla="*/ 172 h 327"/>
                <a:gd name="T4" fmla="*/ 107 w 763"/>
                <a:gd name="T5" fmla="*/ 151 h 327"/>
                <a:gd name="T6" fmla="*/ 67 w 763"/>
                <a:gd name="T7" fmla="*/ 156 h 327"/>
                <a:gd name="T8" fmla="*/ 31 w 763"/>
                <a:gd name="T9" fmla="*/ 145 h 327"/>
                <a:gd name="T10" fmla="*/ 0 w 763"/>
                <a:gd name="T11" fmla="*/ 132 h 327"/>
                <a:gd name="T12" fmla="*/ 20 w 763"/>
                <a:gd name="T13" fmla="*/ 104 h 327"/>
                <a:gd name="T14" fmla="*/ 55 w 763"/>
                <a:gd name="T15" fmla="*/ 91 h 327"/>
                <a:gd name="T16" fmla="*/ 102 w 763"/>
                <a:gd name="T17" fmla="*/ 97 h 327"/>
                <a:gd name="T18" fmla="*/ 140 w 763"/>
                <a:gd name="T19" fmla="*/ 93 h 327"/>
                <a:gd name="T20" fmla="*/ 177 w 763"/>
                <a:gd name="T21" fmla="*/ 89 h 327"/>
                <a:gd name="T22" fmla="*/ 208 w 763"/>
                <a:gd name="T23" fmla="*/ 78 h 327"/>
                <a:gd name="T24" fmla="*/ 236 w 763"/>
                <a:gd name="T25" fmla="*/ 57 h 327"/>
                <a:gd name="T26" fmla="*/ 267 w 763"/>
                <a:gd name="T27" fmla="*/ 55 h 327"/>
                <a:gd name="T28" fmla="*/ 303 w 763"/>
                <a:gd name="T29" fmla="*/ 50 h 327"/>
                <a:gd name="T30" fmla="*/ 340 w 763"/>
                <a:gd name="T31" fmla="*/ 62 h 327"/>
                <a:gd name="T32" fmla="*/ 381 w 763"/>
                <a:gd name="T33" fmla="*/ 60 h 327"/>
                <a:gd name="T34" fmla="*/ 400 w 763"/>
                <a:gd name="T35" fmla="*/ 83 h 327"/>
                <a:gd name="T36" fmla="*/ 429 w 763"/>
                <a:gd name="T37" fmla="*/ 67 h 327"/>
                <a:gd name="T38" fmla="*/ 447 w 763"/>
                <a:gd name="T39" fmla="*/ 39 h 327"/>
                <a:gd name="T40" fmla="*/ 473 w 763"/>
                <a:gd name="T41" fmla="*/ 21 h 327"/>
                <a:gd name="T42" fmla="*/ 498 w 763"/>
                <a:gd name="T43" fmla="*/ 16 h 327"/>
                <a:gd name="T44" fmla="*/ 535 w 763"/>
                <a:gd name="T45" fmla="*/ 6 h 327"/>
                <a:gd name="T46" fmla="*/ 569 w 763"/>
                <a:gd name="T47" fmla="*/ 5 h 327"/>
                <a:gd name="T48" fmla="*/ 599 w 763"/>
                <a:gd name="T49" fmla="*/ 13 h 327"/>
                <a:gd name="T50" fmla="*/ 603 w 763"/>
                <a:gd name="T51" fmla="*/ 45 h 327"/>
                <a:gd name="T52" fmla="*/ 639 w 763"/>
                <a:gd name="T53" fmla="*/ 52 h 327"/>
                <a:gd name="T54" fmla="*/ 664 w 763"/>
                <a:gd name="T55" fmla="*/ 44 h 327"/>
                <a:gd name="T56" fmla="*/ 693 w 763"/>
                <a:gd name="T57" fmla="*/ 50 h 327"/>
                <a:gd name="T58" fmla="*/ 683 w 763"/>
                <a:gd name="T59" fmla="*/ 84 h 327"/>
                <a:gd name="T60" fmla="*/ 704 w 763"/>
                <a:gd name="T61" fmla="*/ 97 h 327"/>
                <a:gd name="T62" fmla="*/ 716 w 763"/>
                <a:gd name="T63" fmla="*/ 101 h 327"/>
                <a:gd name="T64" fmla="*/ 735 w 763"/>
                <a:gd name="T65" fmla="*/ 102 h 327"/>
                <a:gd name="T66" fmla="*/ 748 w 763"/>
                <a:gd name="T67" fmla="*/ 106 h 327"/>
                <a:gd name="T68" fmla="*/ 758 w 763"/>
                <a:gd name="T69" fmla="*/ 117 h 327"/>
                <a:gd name="T70" fmla="*/ 748 w 763"/>
                <a:gd name="T71" fmla="*/ 151 h 327"/>
                <a:gd name="T72" fmla="*/ 711 w 763"/>
                <a:gd name="T73" fmla="*/ 149 h 327"/>
                <a:gd name="T74" fmla="*/ 662 w 763"/>
                <a:gd name="T75" fmla="*/ 159 h 327"/>
                <a:gd name="T76" fmla="*/ 623 w 763"/>
                <a:gd name="T77" fmla="*/ 158 h 327"/>
                <a:gd name="T78" fmla="*/ 594 w 763"/>
                <a:gd name="T79" fmla="*/ 201 h 327"/>
                <a:gd name="T80" fmla="*/ 590 w 763"/>
                <a:gd name="T81" fmla="*/ 211 h 327"/>
                <a:gd name="T82" fmla="*/ 561 w 763"/>
                <a:gd name="T83" fmla="*/ 224 h 327"/>
                <a:gd name="T84" fmla="*/ 546 w 763"/>
                <a:gd name="T85" fmla="*/ 236 h 327"/>
                <a:gd name="T86" fmla="*/ 519 w 763"/>
                <a:gd name="T87" fmla="*/ 250 h 327"/>
                <a:gd name="T88" fmla="*/ 481 w 763"/>
                <a:gd name="T89" fmla="*/ 280 h 327"/>
                <a:gd name="T90" fmla="*/ 433 w 763"/>
                <a:gd name="T91" fmla="*/ 296 h 327"/>
                <a:gd name="T92" fmla="*/ 416 w 763"/>
                <a:gd name="T93" fmla="*/ 281 h 327"/>
                <a:gd name="T94" fmla="*/ 376 w 763"/>
                <a:gd name="T95" fmla="*/ 273 h 327"/>
                <a:gd name="T96" fmla="*/ 346 w 763"/>
                <a:gd name="T97" fmla="*/ 273 h 327"/>
                <a:gd name="T98" fmla="*/ 324 w 763"/>
                <a:gd name="T99" fmla="*/ 297 h 327"/>
                <a:gd name="T100" fmla="*/ 288 w 763"/>
                <a:gd name="T101" fmla="*/ 309 h 327"/>
                <a:gd name="T102" fmla="*/ 260 w 763"/>
                <a:gd name="T103" fmla="*/ 325 h 327"/>
                <a:gd name="T104" fmla="*/ 255 w 763"/>
                <a:gd name="T105" fmla="*/ 299 h 327"/>
                <a:gd name="T106" fmla="*/ 241 w 763"/>
                <a:gd name="T107" fmla="*/ 249 h 327"/>
                <a:gd name="T108" fmla="*/ 237 w 763"/>
                <a:gd name="T109" fmla="*/ 237 h 327"/>
                <a:gd name="T110" fmla="*/ 223 w 763"/>
                <a:gd name="T111" fmla="*/ 232 h 327"/>
                <a:gd name="T112" fmla="*/ 244 w 763"/>
                <a:gd name="T113" fmla="*/ 223 h 327"/>
                <a:gd name="T114" fmla="*/ 273 w 763"/>
                <a:gd name="T115" fmla="*/ 215 h 327"/>
                <a:gd name="T116" fmla="*/ 293 w 763"/>
                <a:gd name="T117" fmla="*/ 211 h 327"/>
                <a:gd name="T118" fmla="*/ 262 w 763"/>
                <a:gd name="T119" fmla="*/ 215 h 327"/>
                <a:gd name="T120" fmla="*/ 239 w 763"/>
                <a:gd name="T121" fmla="*/ 223 h 327"/>
                <a:gd name="T122" fmla="*/ 211 w 763"/>
                <a:gd name="T123" fmla="*/ 216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763" h="327">
                  <a:moveTo>
                    <a:pt x="203" y="208"/>
                  </a:moveTo>
                  <a:lnTo>
                    <a:pt x="205" y="206"/>
                  </a:lnTo>
                  <a:lnTo>
                    <a:pt x="203" y="206"/>
                  </a:lnTo>
                  <a:lnTo>
                    <a:pt x="203" y="208"/>
                  </a:lnTo>
                  <a:lnTo>
                    <a:pt x="203" y="210"/>
                  </a:lnTo>
                  <a:lnTo>
                    <a:pt x="202" y="210"/>
                  </a:lnTo>
                  <a:lnTo>
                    <a:pt x="200" y="206"/>
                  </a:lnTo>
                  <a:lnTo>
                    <a:pt x="198" y="203"/>
                  </a:lnTo>
                  <a:lnTo>
                    <a:pt x="197" y="201"/>
                  </a:lnTo>
                  <a:lnTo>
                    <a:pt x="197" y="200"/>
                  </a:lnTo>
                  <a:lnTo>
                    <a:pt x="195" y="198"/>
                  </a:lnTo>
                  <a:lnTo>
                    <a:pt x="195" y="197"/>
                  </a:lnTo>
                  <a:lnTo>
                    <a:pt x="194" y="195"/>
                  </a:lnTo>
                  <a:lnTo>
                    <a:pt x="194" y="193"/>
                  </a:lnTo>
                  <a:lnTo>
                    <a:pt x="192" y="192"/>
                  </a:lnTo>
                  <a:lnTo>
                    <a:pt x="190" y="188"/>
                  </a:lnTo>
                  <a:lnTo>
                    <a:pt x="189" y="187"/>
                  </a:lnTo>
                  <a:lnTo>
                    <a:pt x="187" y="185"/>
                  </a:lnTo>
                  <a:lnTo>
                    <a:pt x="187" y="184"/>
                  </a:lnTo>
                  <a:lnTo>
                    <a:pt x="185" y="182"/>
                  </a:lnTo>
                  <a:lnTo>
                    <a:pt x="184" y="180"/>
                  </a:lnTo>
                  <a:lnTo>
                    <a:pt x="181" y="177"/>
                  </a:lnTo>
                  <a:lnTo>
                    <a:pt x="179" y="174"/>
                  </a:lnTo>
                  <a:lnTo>
                    <a:pt x="176" y="171"/>
                  </a:lnTo>
                  <a:lnTo>
                    <a:pt x="174" y="169"/>
                  </a:lnTo>
                  <a:lnTo>
                    <a:pt x="172" y="169"/>
                  </a:lnTo>
                  <a:lnTo>
                    <a:pt x="171" y="169"/>
                  </a:lnTo>
                  <a:lnTo>
                    <a:pt x="171" y="167"/>
                  </a:lnTo>
                  <a:lnTo>
                    <a:pt x="171" y="169"/>
                  </a:lnTo>
                  <a:lnTo>
                    <a:pt x="171" y="167"/>
                  </a:lnTo>
                  <a:lnTo>
                    <a:pt x="171" y="169"/>
                  </a:lnTo>
                  <a:lnTo>
                    <a:pt x="169" y="167"/>
                  </a:lnTo>
                  <a:lnTo>
                    <a:pt x="168" y="167"/>
                  </a:lnTo>
                  <a:lnTo>
                    <a:pt x="166" y="167"/>
                  </a:lnTo>
                  <a:lnTo>
                    <a:pt x="164" y="167"/>
                  </a:lnTo>
                  <a:lnTo>
                    <a:pt x="163" y="169"/>
                  </a:lnTo>
                  <a:lnTo>
                    <a:pt x="161" y="169"/>
                  </a:lnTo>
                  <a:lnTo>
                    <a:pt x="159" y="169"/>
                  </a:lnTo>
                  <a:lnTo>
                    <a:pt x="158" y="169"/>
                  </a:lnTo>
                  <a:lnTo>
                    <a:pt x="156" y="169"/>
                  </a:lnTo>
                  <a:lnTo>
                    <a:pt x="153" y="169"/>
                  </a:lnTo>
                  <a:lnTo>
                    <a:pt x="151" y="169"/>
                  </a:lnTo>
                  <a:lnTo>
                    <a:pt x="150" y="169"/>
                  </a:lnTo>
                  <a:lnTo>
                    <a:pt x="148" y="169"/>
                  </a:lnTo>
                  <a:lnTo>
                    <a:pt x="146" y="171"/>
                  </a:lnTo>
                  <a:lnTo>
                    <a:pt x="145" y="172"/>
                  </a:lnTo>
                  <a:lnTo>
                    <a:pt x="143" y="172"/>
                  </a:lnTo>
                  <a:lnTo>
                    <a:pt x="142" y="174"/>
                  </a:lnTo>
                  <a:lnTo>
                    <a:pt x="142" y="172"/>
                  </a:lnTo>
                  <a:lnTo>
                    <a:pt x="140" y="172"/>
                  </a:lnTo>
                  <a:lnTo>
                    <a:pt x="138" y="171"/>
                  </a:lnTo>
                  <a:lnTo>
                    <a:pt x="137" y="171"/>
                  </a:lnTo>
                  <a:lnTo>
                    <a:pt x="137" y="169"/>
                  </a:lnTo>
                  <a:lnTo>
                    <a:pt x="135" y="169"/>
                  </a:lnTo>
                  <a:lnTo>
                    <a:pt x="135" y="167"/>
                  </a:lnTo>
                  <a:lnTo>
                    <a:pt x="133" y="166"/>
                  </a:lnTo>
                  <a:lnTo>
                    <a:pt x="132" y="162"/>
                  </a:lnTo>
                  <a:lnTo>
                    <a:pt x="130" y="159"/>
                  </a:lnTo>
                  <a:lnTo>
                    <a:pt x="129" y="158"/>
                  </a:lnTo>
                  <a:lnTo>
                    <a:pt x="127" y="156"/>
                  </a:lnTo>
                  <a:lnTo>
                    <a:pt x="125" y="154"/>
                  </a:lnTo>
                  <a:lnTo>
                    <a:pt x="124" y="153"/>
                  </a:lnTo>
                  <a:lnTo>
                    <a:pt x="122" y="151"/>
                  </a:lnTo>
                  <a:lnTo>
                    <a:pt x="120" y="151"/>
                  </a:lnTo>
                  <a:lnTo>
                    <a:pt x="119" y="151"/>
                  </a:lnTo>
                  <a:lnTo>
                    <a:pt x="119" y="153"/>
                  </a:lnTo>
                  <a:lnTo>
                    <a:pt x="115" y="153"/>
                  </a:lnTo>
                  <a:lnTo>
                    <a:pt x="115" y="154"/>
                  </a:lnTo>
                  <a:lnTo>
                    <a:pt x="115" y="156"/>
                  </a:lnTo>
                  <a:lnTo>
                    <a:pt x="114" y="156"/>
                  </a:lnTo>
                  <a:lnTo>
                    <a:pt x="112" y="156"/>
                  </a:lnTo>
                  <a:lnTo>
                    <a:pt x="112" y="154"/>
                  </a:lnTo>
                  <a:lnTo>
                    <a:pt x="111" y="154"/>
                  </a:lnTo>
                  <a:lnTo>
                    <a:pt x="109" y="153"/>
                  </a:lnTo>
                  <a:lnTo>
                    <a:pt x="107" y="151"/>
                  </a:lnTo>
                  <a:lnTo>
                    <a:pt x="106" y="151"/>
                  </a:lnTo>
                  <a:lnTo>
                    <a:pt x="104" y="151"/>
                  </a:lnTo>
                  <a:lnTo>
                    <a:pt x="104" y="149"/>
                  </a:lnTo>
                  <a:lnTo>
                    <a:pt x="101" y="149"/>
                  </a:lnTo>
                  <a:lnTo>
                    <a:pt x="99" y="148"/>
                  </a:lnTo>
                  <a:lnTo>
                    <a:pt x="98" y="148"/>
                  </a:lnTo>
                  <a:lnTo>
                    <a:pt x="96" y="148"/>
                  </a:lnTo>
                  <a:lnTo>
                    <a:pt x="94" y="149"/>
                  </a:lnTo>
                  <a:lnTo>
                    <a:pt x="93" y="149"/>
                  </a:lnTo>
                  <a:lnTo>
                    <a:pt x="91" y="151"/>
                  </a:lnTo>
                  <a:lnTo>
                    <a:pt x="88" y="151"/>
                  </a:lnTo>
                  <a:lnTo>
                    <a:pt x="86" y="151"/>
                  </a:lnTo>
                  <a:lnTo>
                    <a:pt x="85" y="153"/>
                  </a:lnTo>
                  <a:lnTo>
                    <a:pt x="83" y="153"/>
                  </a:lnTo>
                  <a:lnTo>
                    <a:pt x="83" y="154"/>
                  </a:lnTo>
                  <a:lnTo>
                    <a:pt x="81" y="154"/>
                  </a:lnTo>
                  <a:lnTo>
                    <a:pt x="80" y="154"/>
                  </a:lnTo>
                  <a:lnTo>
                    <a:pt x="78" y="154"/>
                  </a:lnTo>
                  <a:lnTo>
                    <a:pt x="76" y="154"/>
                  </a:lnTo>
                  <a:lnTo>
                    <a:pt x="73" y="156"/>
                  </a:lnTo>
                  <a:lnTo>
                    <a:pt x="72" y="158"/>
                  </a:lnTo>
                  <a:lnTo>
                    <a:pt x="70" y="158"/>
                  </a:lnTo>
                  <a:lnTo>
                    <a:pt x="68" y="158"/>
                  </a:lnTo>
                  <a:lnTo>
                    <a:pt x="68" y="156"/>
                  </a:lnTo>
                  <a:lnTo>
                    <a:pt x="67" y="156"/>
                  </a:lnTo>
                  <a:lnTo>
                    <a:pt x="65" y="154"/>
                  </a:lnTo>
                  <a:lnTo>
                    <a:pt x="63" y="154"/>
                  </a:lnTo>
                  <a:lnTo>
                    <a:pt x="62" y="154"/>
                  </a:lnTo>
                  <a:lnTo>
                    <a:pt x="60" y="154"/>
                  </a:lnTo>
                  <a:lnTo>
                    <a:pt x="59" y="154"/>
                  </a:lnTo>
                  <a:lnTo>
                    <a:pt x="59" y="156"/>
                  </a:lnTo>
                  <a:lnTo>
                    <a:pt x="57" y="156"/>
                  </a:lnTo>
                  <a:lnTo>
                    <a:pt x="55" y="156"/>
                  </a:lnTo>
                  <a:lnTo>
                    <a:pt x="54" y="156"/>
                  </a:lnTo>
                  <a:lnTo>
                    <a:pt x="52" y="156"/>
                  </a:lnTo>
                  <a:lnTo>
                    <a:pt x="50" y="154"/>
                  </a:lnTo>
                  <a:lnTo>
                    <a:pt x="49" y="154"/>
                  </a:lnTo>
                  <a:lnTo>
                    <a:pt x="47" y="156"/>
                  </a:lnTo>
                  <a:lnTo>
                    <a:pt x="47" y="158"/>
                  </a:lnTo>
                  <a:lnTo>
                    <a:pt x="46" y="159"/>
                  </a:lnTo>
                  <a:lnTo>
                    <a:pt x="46" y="161"/>
                  </a:lnTo>
                  <a:lnTo>
                    <a:pt x="44" y="159"/>
                  </a:lnTo>
                  <a:lnTo>
                    <a:pt x="42" y="159"/>
                  </a:lnTo>
                  <a:lnTo>
                    <a:pt x="41" y="159"/>
                  </a:lnTo>
                  <a:lnTo>
                    <a:pt x="39" y="159"/>
                  </a:lnTo>
                  <a:lnTo>
                    <a:pt x="37" y="158"/>
                  </a:lnTo>
                  <a:lnTo>
                    <a:pt x="36" y="156"/>
                  </a:lnTo>
                  <a:lnTo>
                    <a:pt x="34" y="151"/>
                  </a:lnTo>
                  <a:lnTo>
                    <a:pt x="33" y="148"/>
                  </a:lnTo>
                  <a:lnTo>
                    <a:pt x="31" y="145"/>
                  </a:lnTo>
                  <a:lnTo>
                    <a:pt x="29" y="143"/>
                  </a:lnTo>
                  <a:lnTo>
                    <a:pt x="28" y="143"/>
                  </a:lnTo>
                  <a:lnTo>
                    <a:pt x="28" y="141"/>
                  </a:lnTo>
                  <a:lnTo>
                    <a:pt x="26" y="141"/>
                  </a:lnTo>
                  <a:lnTo>
                    <a:pt x="24" y="141"/>
                  </a:lnTo>
                  <a:lnTo>
                    <a:pt x="23" y="141"/>
                  </a:lnTo>
                  <a:lnTo>
                    <a:pt x="21" y="141"/>
                  </a:lnTo>
                  <a:lnTo>
                    <a:pt x="20" y="141"/>
                  </a:lnTo>
                  <a:lnTo>
                    <a:pt x="18" y="141"/>
                  </a:lnTo>
                  <a:lnTo>
                    <a:pt x="16" y="141"/>
                  </a:lnTo>
                  <a:lnTo>
                    <a:pt x="15" y="141"/>
                  </a:lnTo>
                  <a:lnTo>
                    <a:pt x="13" y="141"/>
                  </a:lnTo>
                  <a:lnTo>
                    <a:pt x="10" y="141"/>
                  </a:lnTo>
                  <a:lnTo>
                    <a:pt x="8" y="140"/>
                  </a:lnTo>
                  <a:lnTo>
                    <a:pt x="8" y="141"/>
                  </a:lnTo>
                  <a:lnTo>
                    <a:pt x="7" y="141"/>
                  </a:lnTo>
                  <a:lnTo>
                    <a:pt x="2" y="141"/>
                  </a:lnTo>
                  <a:lnTo>
                    <a:pt x="2" y="143"/>
                  </a:lnTo>
                  <a:lnTo>
                    <a:pt x="0" y="141"/>
                  </a:lnTo>
                  <a:lnTo>
                    <a:pt x="0" y="140"/>
                  </a:lnTo>
                  <a:lnTo>
                    <a:pt x="0" y="138"/>
                  </a:lnTo>
                  <a:lnTo>
                    <a:pt x="0" y="136"/>
                  </a:lnTo>
                  <a:lnTo>
                    <a:pt x="0" y="135"/>
                  </a:lnTo>
                  <a:lnTo>
                    <a:pt x="0" y="133"/>
                  </a:lnTo>
                  <a:lnTo>
                    <a:pt x="0" y="132"/>
                  </a:lnTo>
                  <a:lnTo>
                    <a:pt x="0" y="130"/>
                  </a:lnTo>
                  <a:lnTo>
                    <a:pt x="0" y="128"/>
                  </a:lnTo>
                  <a:lnTo>
                    <a:pt x="0" y="127"/>
                  </a:lnTo>
                  <a:lnTo>
                    <a:pt x="0" y="123"/>
                  </a:lnTo>
                  <a:lnTo>
                    <a:pt x="0" y="122"/>
                  </a:lnTo>
                  <a:lnTo>
                    <a:pt x="2" y="120"/>
                  </a:lnTo>
                  <a:lnTo>
                    <a:pt x="2" y="119"/>
                  </a:lnTo>
                  <a:lnTo>
                    <a:pt x="0" y="117"/>
                  </a:lnTo>
                  <a:lnTo>
                    <a:pt x="0" y="115"/>
                  </a:lnTo>
                  <a:lnTo>
                    <a:pt x="0" y="114"/>
                  </a:lnTo>
                  <a:lnTo>
                    <a:pt x="2" y="114"/>
                  </a:lnTo>
                  <a:lnTo>
                    <a:pt x="3" y="114"/>
                  </a:lnTo>
                  <a:lnTo>
                    <a:pt x="3" y="112"/>
                  </a:lnTo>
                  <a:lnTo>
                    <a:pt x="5" y="112"/>
                  </a:lnTo>
                  <a:lnTo>
                    <a:pt x="5" y="110"/>
                  </a:lnTo>
                  <a:lnTo>
                    <a:pt x="7" y="110"/>
                  </a:lnTo>
                  <a:lnTo>
                    <a:pt x="8" y="110"/>
                  </a:lnTo>
                  <a:lnTo>
                    <a:pt x="10" y="109"/>
                  </a:lnTo>
                  <a:lnTo>
                    <a:pt x="11" y="107"/>
                  </a:lnTo>
                  <a:lnTo>
                    <a:pt x="13" y="106"/>
                  </a:lnTo>
                  <a:lnTo>
                    <a:pt x="15" y="106"/>
                  </a:lnTo>
                  <a:lnTo>
                    <a:pt x="16" y="106"/>
                  </a:lnTo>
                  <a:lnTo>
                    <a:pt x="18" y="106"/>
                  </a:lnTo>
                  <a:lnTo>
                    <a:pt x="20" y="106"/>
                  </a:lnTo>
                  <a:lnTo>
                    <a:pt x="20" y="104"/>
                  </a:lnTo>
                  <a:lnTo>
                    <a:pt x="21" y="104"/>
                  </a:lnTo>
                  <a:lnTo>
                    <a:pt x="23" y="104"/>
                  </a:lnTo>
                  <a:lnTo>
                    <a:pt x="24" y="104"/>
                  </a:lnTo>
                  <a:lnTo>
                    <a:pt x="26" y="104"/>
                  </a:lnTo>
                  <a:lnTo>
                    <a:pt x="28" y="104"/>
                  </a:lnTo>
                  <a:lnTo>
                    <a:pt x="29" y="104"/>
                  </a:lnTo>
                  <a:lnTo>
                    <a:pt x="31" y="104"/>
                  </a:lnTo>
                  <a:lnTo>
                    <a:pt x="33" y="102"/>
                  </a:lnTo>
                  <a:lnTo>
                    <a:pt x="34" y="102"/>
                  </a:lnTo>
                  <a:lnTo>
                    <a:pt x="36" y="102"/>
                  </a:lnTo>
                  <a:lnTo>
                    <a:pt x="37" y="101"/>
                  </a:lnTo>
                  <a:lnTo>
                    <a:pt x="39" y="101"/>
                  </a:lnTo>
                  <a:lnTo>
                    <a:pt x="39" y="102"/>
                  </a:lnTo>
                  <a:lnTo>
                    <a:pt x="41" y="102"/>
                  </a:lnTo>
                  <a:lnTo>
                    <a:pt x="42" y="102"/>
                  </a:lnTo>
                  <a:lnTo>
                    <a:pt x="44" y="102"/>
                  </a:lnTo>
                  <a:lnTo>
                    <a:pt x="46" y="102"/>
                  </a:lnTo>
                  <a:lnTo>
                    <a:pt x="47" y="101"/>
                  </a:lnTo>
                  <a:lnTo>
                    <a:pt x="49" y="97"/>
                  </a:lnTo>
                  <a:lnTo>
                    <a:pt x="49" y="96"/>
                  </a:lnTo>
                  <a:lnTo>
                    <a:pt x="50" y="96"/>
                  </a:lnTo>
                  <a:lnTo>
                    <a:pt x="52" y="94"/>
                  </a:lnTo>
                  <a:lnTo>
                    <a:pt x="54" y="93"/>
                  </a:lnTo>
                  <a:lnTo>
                    <a:pt x="54" y="91"/>
                  </a:lnTo>
                  <a:lnTo>
                    <a:pt x="55" y="91"/>
                  </a:lnTo>
                  <a:lnTo>
                    <a:pt x="55" y="93"/>
                  </a:lnTo>
                  <a:lnTo>
                    <a:pt x="57" y="93"/>
                  </a:lnTo>
                  <a:lnTo>
                    <a:pt x="59" y="94"/>
                  </a:lnTo>
                  <a:lnTo>
                    <a:pt x="60" y="94"/>
                  </a:lnTo>
                  <a:lnTo>
                    <a:pt x="63" y="93"/>
                  </a:lnTo>
                  <a:lnTo>
                    <a:pt x="65" y="94"/>
                  </a:lnTo>
                  <a:lnTo>
                    <a:pt x="68" y="94"/>
                  </a:lnTo>
                  <a:lnTo>
                    <a:pt x="70" y="94"/>
                  </a:lnTo>
                  <a:lnTo>
                    <a:pt x="73" y="94"/>
                  </a:lnTo>
                  <a:lnTo>
                    <a:pt x="76" y="94"/>
                  </a:lnTo>
                  <a:lnTo>
                    <a:pt x="78" y="93"/>
                  </a:lnTo>
                  <a:lnTo>
                    <a:pt x="80" y="93"/>
                  </a:lnTo>
                  <a:lnTo>
                    <a:pt x="81" y="94"/>
                  </a:lnTo>
                  <a:lnTo>
                    <a:pt x="81" y="96"/>
                  </a:lnTo>
                  <a:lnTo>
                    <a:pt x="83" y="96"/>
                  </a:lnTo>
                  <a:lnTo>
                    <a:pt x="85" y="96"/>
                  </a:lnTo>
                  <a:lnTo>
                    <a:pt x="86" y="97"/>
                  </a:lnTo>
                  <a:lnTo>
                    <a:pt x="88" y="97"/>
                  </a:lnTo>
                  <a:lnTo>
                    <a:pt x="89" y="97"/>
                  </a:lnTo>
                  <a:lnTo>
                    <a:pt x="91" y="96"/>
                  </a:lnTo>
                  <a:lnTo>
                    <a:pt x="93" y="94"/>
                  </a:lnTo>
                  <a:lnTo>
                    <a:pt x="94" y="96"/>
                  </a:lnTo>
                  <a:lnTo>
                    <a:pt x="98" y="96"/>
                  </a:lnTo>
                  <a:lnTo>
                    <a:pt x="99" y="97"/>
                  </a:lnTo>
                  <a:lnTo>
                    <a:pt x="102" y="97"/>
                  </a:lnTo>
                  <a:lnTo>
                    <a:pt x="104" y="97"/>
                  </a:lnTo>
                  <a:lnTo>
                    <a:pt x="104" y="96"/>
                  </a:lnTo>
                  <a:lnTo>
                    <a:pt x="104" y="94"/>
                  </a:lnTo>
                  <a:lnTo>
                    <a:pt x="106" y="94"/>
                  </a:lnTo>
                  <a:lnTo>
                    <a:pt x="107" y="94"/>
                  </a:lnTo>
                  <a:lnTo>
                    <a:pt x="107" y="93"/>
                  </a:lnTo>
                  <a:lnTo>
                    <a:pt x="109" y="93"/>
                  </a:lnTo>
                  <a:lnTo>
                    <a:pt x="109" y="94"/>
                  </a:lnTo>
                  <a:lnTo>
                    <a:pt x="111" y="94"/>
                  </a:lnTo>
                  <a:lnTo>
                    <a:pt x="117" y="93"/>
                  </a:lnTo>
                  <a:lnTo>
                    <a:pt x="119" y="93"/>
                  </a:lnTo>
                  <a:lnTo>
                    <a:pt x="122" y="93"/>
                  </a:lnTo>
                  <a:lnTo>
                    <a:pt x="124" y="94"/>
                  </a:lnTo>
                  <a:lnTo>
                    <a:pt x="125" y="94"/>
                  </a:lnTo>
                  <a:lnTo>
                    <a:pt x="129" y="93"/>
                  </a:lnTo>
                  <a:lnTo>
                    <a:pt x="130" y="91"/>
                  </a:lnTo>
                  <a:lnTo>
                    <a:pt x="130" y="89"/>
                  </a:lnTo>
                  <a:lnTo>
                    <a:pt x="132" y="88"/>
                  </a:lnTo>
                  <a:lnTo>
                    <a:pt x="132" y="86"/>
                  </a:lnTo>
                  <a:lnTo>
                    <a:pt x="133" y="86"/>
                  </a:lnTo>
                  <a:lnTo>
                    <a:pt x="135" y="88"/>
                  </a:lnTo>
                  <a:lnTo>
                    <a:pt x="137" y="88"/>
                  </a:lnTo>
                  <a:lnTo>
                    <a:pt x="137" y="91"/>
                  </a:lnTo>
                  <a:lnTo>
                    <a:pt x="138" y="91"/>
                  </a:lnTo>
                  <a:lnTo>
                    <a:pt x="140" y="93"/>
                  </a:lnTo>
                  <a:lnTo>
                    <a:pt x="142" y="93"/>
                  </a:lnTo>
                  <a:lnTo>
                    <a:pt x="143" y="91"/>
                  </a:lnTo>
                  <a:lnTo>
                    <a:pt x="145" y="93"/>
                  </a:lnTo>
                  <a:lnTo>
                    <a:pt x="146" y="93"/>
                  </a:lnTo>
                  <a:lnTo>
                    <a:pt x="148" y="93"/>
                  </a:lnTo>
                  <a:lnTo>
                    <a:pt x="150" y="94"/>
                  </a:lnTo>
                  <a:lnTo>
                    <a:pt x="153" y="93"/>
                  </a:lnTo>
                  <a:lnTo>
                    <a:pt x="155" y="94"/>
                  </a:lnTo>
                  <a:lnTo>
                    <a:pt x="156" y="94"/>
                  </a:lnTo>
                  <a:lnTo>
                    <a:pt x="158" y="94"/>
                  </a:lnTo>
                  <a:lnTo>
                    <a:pt x="159" y="96"/>
                  </a:lnTo>
                  <a:lnTo>
                    <a:pt x="163" y="96"/>
                  </a:lnTo>
                  <a:lnTo>
                    <a:pt x="164" y="96"/>
                  </a:lnTo>
                  <a:lnTo>
                    <a:pt x="164" y="94"/>
                  </a:lnTo>
                  <a:lnTo>
                    <a:pt x="164" y="93"/>
                  </a:lnTo>
                  <a:lnTo>
                    <a:pt x="166" y="93"/>
                  </a:lnTo>
                  <a:lnTo>
                    <a:pt x="169" y="94"/>
                  </a:lnTo>
                  <a:lnTo>
                    <a:pt x="169" y="93"/>
                  </a:lnTo>
                  <a:lnTo>
                    <a:pt x="171" y="93"/>
                  </a:lnTo>
                  <a:lnTo>
                    <a:pt x="171" y="91"/>
                  </a:lnTo>
                  <a:lnTo>
                    <a:pt x="171" y="89"/>
                  </a:lnTo>
                  <a:lnTo>
                    <a:pt x="172" y="89"/>
                  </a:lnTo>
                  <a:lnTo>
                    <a:pt x="174" y="89"/>
                  </a:lnTo>
                  <a:lnTo>
                    <a:pt x="176" y="89"/>
                  </a:lnTo>
                  <a:lnTo>
                    <a:pt x="177" y="89"/>
                  </a:lnTo>
                  <a:lnTo>
                    <a:pt x="179" y="89"/>
                  </a:lnTo>
                  <a:lnTo>
                    <a:pt x="181" y="91"/>
                  </a:lnTo>
                  <a:lnTo>
                    <a:pt x="182" y="91"/>
                  </a:lnTo>
                  <a:lnTo>
                    <a:pt x="182" y="88"/>
                  </a:lnTo>
                  <a:lnTo>
                    <a:pt x="184" y="88"/>
                  </a:lnTo>
                  <a:lnTo>
                    <a:pt x="185" y="86"/>
                  </a:lnTo>
                  <a:lnTo>
                    <a:pt x="185" y="84"/>
                  </a:lnTo>
                  <a:lnTo>
                    <a:pt x="185" y="83"/>
                  </a:lnTo>
                  <a:lnTo>
                    <a:pt x="185" y="81"/>
                  </a:lnTo>
                  <a:lnTo>
                    <a:pt x="187" y="81"/>
                  </a:lnTo>
                  <a:lnTo>
                    <a:pt x="189" y="81"/>
                  </a:lnTo>
                  <a:lnTo>
                    <a:pt x="189" y="83"/>
                  </a:lnTo>
                  <a:lnTo>
                    <a:pt x="190" y="83"/>
                  </a:lnTo>
                  <a:lnTo>
                    <a:pt x="194" y="81"/>
                  </a:lnTo>
                  <a:lnTo>
                    <a:pt x="194" y="83"/>
                  </a:lnTo>
                  <a:lnTo>
                    <a:pt x="195" y="83"/>
                  </a:lnTo>
                  <a:lnTo>
                    <a:pt x="197" y="81"/>
                  </a:lnTo>
                  <a:lnTo>
                    <a:pt x="198" y="81"/>
                  </a:lnTo>
                  <a:lnTo>
                    <a:pt x="200" y="80"/>
                  </a:lnTo>
                  <a:lnTo>
                    <a:pt x="202" y="80"/>
                  </a:lnTo>
                  <a:lnTo>
                    <a:pt x="203" y="81"/>
                  </a:lnTo>
                  <a:lnTo>
                    <a:pt x="205" y="81"/>
                  </a:lnTo>
                  <a:lnTo>
                    <a:pt x="207" y="81"/>
                  </a:lnTo>
                  <a:lnTo>
                    <a:pt x="207" y="80"/>
                  </a:lnTo>
                  <a:lnTo>
                    <a:pt x="208" y="78"/>
                  </a:lnTo>
                  <a:lnTo>
                    <a:pt x="208" y="76"/>
                  </a:lnTo>
                  <a:lnTo>
                    <a:pt x="210" y="76"/>
                  </a:lnTo>
                  <a:lnTo>
                    <a:pt x="211" y="75"/>
                  </a:lnTo>
                  <a:lnTo>
                    <a:pt x="213" y="73"/>
                  </a:lnTo>
                  <a:lnTo>
                    <a:pt x="215" y="71"/>
                  </a:lnTo>
                  <a:lnTo>
                    <a:pt x="216" y="71"/>
                  </a:lnTo>
                  <a:lnTo>
                    <a:pt x="218" y="71"/>
                  </a:lnTo>
                  <a:lnTo>
                    <a:pt x="216" y="70"/>
                  </a:lnTo>
                  <a:lnTo>
                    <a:pt x="218" y="70"/>
                  </a:lnTo>
                  <a:lnTo>
                    <a:pt x="218" y="68"/>
                  </a:lnTo>
                  <a:lnTo>
                    <a:pt x="220" y="68"/>
                  </a:lnTo>
                  <a:lnTo>
                    <a:pt x="221" y="68"/>
                  </a:lnTo>
                  <a:lnTo>
                    <a:pt x="223" y="70"/>
                  </a:lnTo>
                  <a:lnTo>
                    <a:pt x="224" y="70"/>
                  </a:lnTo>
                  <a:lnTo>
                    <a:pt x="226" y="68"/>
                  </a:lnTo>
                  <a:lnTo>
                    <a:pt x="228" y="67"/>
                  </a:lnTo>
                  <a:lnTo>
                    <a:pt x="229" y="65"/>
                  </a:lnTo>
                  <a:lnTo>
                    <a:pt x="231" y="65"/>
                  </a:lnTo>
                  <a:lnTo>
                    <a:pt x="231" y="63"/>
                  </a:lnTo>
                  <a:lnTo>
                    <a:pt x="231" y="62"/>
                  </a:lnTo>
                  <a:lnTo>
                    <a:pt x="231" y="60"/>
                  </a:lnTo>
                  <a:lnTo>
                    <a:pt x="233" y="60"/>
                  </a:lnTo>
                  <a:lnTo>
                    <a:pt x="234" y="60"/>
                  </a:lnTo>
                  <a:lnTo>
                    <a:pt x="236" y="58"/>
                  </a:lnTo>
                  <a:lnTo>
                    <a:pt x="236" y="57"/>
                  </a:lnTo>
                  <a:lnTo>
                    <a:pt x="237" y="57"/>
                  </a:lnTo>
                  <a:lnTo>
                    <a:pt x="239" y="57"/>
                  </a:lnTo>
                  <a:lnTo>
                    <a:pt x="241" y="57"/>
                  </a:lnTo>
                  <a:lnTo>
                    <a:pt x="241" y="58"/>
                  </a:lnTo>
                  <a:lnTo>
                    <a:pt x="241" y="60"/>
                  </a:lnTo>
                  <a:lnTo>
                    <a:pt x="242" y="60"/>
                  </a:lnTo>
                  <a:lnTo>
                    <a:pt x="244" y="60"/>
                  </a:lnTo>
                  <a:lnTo>
                    <a:pt x="246" y="60"/>
                  </a:lnTo>
                  <a:lnTo>
                    <a:pt x="247" y="60"/>
                  </a:lnTo>
                  <a:lnTo>
                    <a:pt x="249" y="60"/>
                  </a:lnTo>
                  <a:lnTo>
                    <a:pt x="250" y="60"/>
                  </a:lnTo>
                  <a:lnTo>
                    <a:pt x="252" y="62"/>
                  </a:lnTo>
                  <a:lnTo>
                    <a:pt x="254" y="62"/>
                  </a:lnTo>
                  <a:lnTo>
                    <a:pt x="255" y="60"/>
                  </a:lnTo>
                  <a:lnTo>
                    <a:pt x="257" y="60"/>
                  </a:lnTo>
                  <a:lnTo>
                    <a:pt x="259" y="60"/>
                  </a:lnTo>
                  <a:lnTo>
                    <a:pt x="260" y="60"/>
                  </a:lnTo>
                  <a:lnTo>
                    <a:pt x="263" y="60"/>
                  </a:lnTo>
                  <a:lnTo>
                    <a:pt x="265" y="62"/>
                  </a:lnTo>
                  <a:lnTo>
                    <a:pt x="267" y="62"/>
                  </a:lnTo>
                  <a:lnTo>
                    <a:pt x="267" y="60"/>
                  </a:lnTo>
                  <a:lnTo>
                    <a:pt x="267" y="58"/>
                  </a:lnTo>
                  <a:lnTo>
                    <a:pt x="265" y="57"/>
                  </a:lnTo>
                  <a:lnTo>
                    <a:pt x="265" y="55"/>
                  </a:lnTo>
                  <a:lnTo>
                    <a:pt x="267" y="55"/>
                  </a:lnTo>
                  <a:lnTo>
                    <a:pt x="268" y="53"/>
                  </a:lnTo>
                  <a:lnTo>
                    <a:pt x="270" y="52"/>
                  </a:lnTo>
                  <a:lnTo>
                    <a:pt x="272" y="52"/>
                  </a:lnTo>
                  <a:lnTo>
                    <a:pt x="273" y="50"/>
                  </a:lnTo>
                  <a:lnTo>
                    <a:pt x="273" y="49"/>
                  </a:lnTo>
                  <a:lnTo>
                    <a:pt x="275" y="50"/>
                  </a:lnTo>
                  <a:lnTo>
                    <a:pt x="277" y="50"/>
                  </a:lnTo>
                  <a:lnTo>
                    <a:pt x="278" y="50"/>
                  </a:lnTo>
                  <a:lnTo>
                    <a:pt x="280" y="49"/>
                  </a:lnTo>
                  <a:lnTo>
                    <a:pt x="281" y="47"/>
                  </a:lnTo>
                  <a:lnTo>
                    <a:pt x="283" y="47"/>
                  </a:lnTo>
                  <a:lnTo>
                    <a:pt x="285" y="47"/>
                  </a:lnTo>
                  <a:lnTo>
                    <a:pt x="285" y="49"/>
                  </a:lnTo>
                  <a:lnTo>
                    <a:pt x="286" y="49"/>
                  </a:lnTo>
                  <a:lnTo>
                    <a:pt x="288" y="49"/>
                  </a:lnTo>
                  <a:lnTo>
                    <a:pt x="290" y="47"/>
                  </a:lnTo>
                  <a:lnTo>
                    <a:pt x="290" y="49"/>
                  </a:lnTo>
                  <a:lnTo>
                    <a:pt x="291" y="50"/>
                  </a:lnTo>
                  <a:lnTo>
                    <a:pt x="293" y="50"/>
                  </a:lnTo>
                  <a:lnTo>
                    <a:pt x="294" y="50"/>
                  </a:lnTo>
                  <a:lnTo>
                    <a:pt x="294" y="49"/>
                  </a:lnTo>
                  <a:lnTo>
                    <a:pt x="296" y="50"/>
                  </a:lnTo>
                  <a:lnTo>
                    <a:pt x="298" y="49"/>
                  </a:lnTo>
                  <a:lnTo>
                    <a:pt x="301" y="50"/>
                  </a:lnTo>
                  <a:lnTo>
                    <a:pt x="303" y="50"/>
                  </a:lnTo>
                  <a:lnTo>
                    <a:pt x="304" y="50"/>
                  </a:lnTo>
                  <a:lnTo>
                    <a:pt x="304" y="52"/>
                  </a:lnTo>
                  <a:lnTo>
                    <a:pt x="303" y="53"/>
                  </a:lnTo>
                  <a:lnTo>
                    <a:pt x="303" y="55"/>
                  </a:lnTo>
                  <a:lnTo>
                    <a:pt x="304" y="55"/>
                  </a:lnTo>
                  <a:lnTo>
                    <a:pt x="306" y="57"/>
                  </a:lnTo>
                  <a:lnTo>
                    <a:pt x="307" y="58"/>
                  </a:lnTo>
                  <a:lnTo>
                    <a:pt x="309" y="58"/>
                  </a:lnTo>
                  <a:lnTo>
                    <a:pt x="311" y="60"/>
                  </a:lnTo>
                  <a:lnTo>
                    <a:pt x="312" y="60"/>
                  </a:lnTo>
                  <a:lnTo>
                    <a:pt x="314" y="60"/>
                  </a:lnTo>
                  <a:lnTo>
                    <a:pt x="316" y="58"/>
                  </a:lnTo>
                  <a:lnTo>
                    <a:pt x="317" y="60"/>
                  </a:lnTo>
                  <a:lnTo>
                    <a:pt x="319" y="60"/>
                  </a:lnTo>
                  <a:lnTo>
                    <a:pt x="320" y="62"/>
                  </a:lnTo>
                  <a:lnTo>
                    <a:pt x="324" y="62"/>
                  </a:lnTo>
                  <a:lnTo>
                    <a:pt x="325" y="62"/>
                  </a:lnTo>
                  <a:lnTo>
                    <a:pt x="325" y="63"/>
                  </a:lnTo>
                  <a:lnTo>
                    <a:pt x="327" y="63"/>
                  </a:lnTo>
                  <a:lnTo>
                    <a:pt x="329" y="63"/>
                  </a:lnTo>
                  <a:lnTo>
                    <a:pt x="330" y="63"/>
                  </a:lnTo>
                  <a:lnTo>
                    <a:pt x="332" y="63"/>
                  </a:lnTo>
                  <a:lnTo>
                    <a:pt x="337" y="62"/>
                  </a:lnTo>
                  <a:lnTo>
                    <a:pt x="338" y="63"/>
                  </a:lnTo>
                  <a:lnTo>
                    <a:pt x="340" y="62"/>
                  </a:lnTo>
                  <a:lnTo>
                    <a:pt x="342" y="62"/>
                  </a:lnTo>
                  <a:lnTo>
                    <a:pt x="343" y="63"/>
                  </a:lnTo>
                  <a:lnTo>
                    <a:pt x="345" y="63"/>
                  </a:lnTo>
                  <a:lnTo>
                    <a:pt x="346" y="62"/>
                  </a:lnTo>
                  <a:lnTo>
                    <a:pt x="346" y="60"/>
                  </a:lnTo>
                  <a:lnTo>
                    <a:pt x="348" y="60"/>
                  </a:lnTo>
                  <a:lnTo>
                    <a:pt x="350" y="60"/>
                  </a:lnTo>
                  <a:lnTo>
                    <a:pt x="351" y="60"/>
                  </a:lnTo>
                  <a:lnTo>
                    <a:pt x="353" y="58"/>
                  </a:lnTo>
                  <a:lnTo>
                    <a:pt x="355" y="58"/>
                  </a:lnTo>
                  <a:lnTo>
                    <a:pt x="356" y="57"/>
                  </a:lnTo>
                  <a:lnTo>
                    <a:pt x="359" y="58"/>
                  </a:lnTo>
                  <a:lnTo>
                    <a:pt x="361" y="58"/>
                  </a:lnTo>
                  <a:lnTo>
                    <a:pt x="363" y="57"/>
                  </a:lnTo>
                  <a:lnTo>
                    <a:pt x="366" y="57"/>
                  </a:lnTo>
                  <a:lnTo>
                    <a:pt x="369" y="57"/>
                  </a:lnTo>
                  <a:lnTo>
                    <a:pt x="369" y="58"/>
                  </a:lnTo>
                  <a:lnTo>
                    <a:pt x="372" y="58"/>
                  </a:lnTo>
                  <a:lnTo>
                    <a:pt x="372" y="60"/>
                  </a:lnTo>
                  <a:lnTo>
                    <a:pt x="374" y="60"/>
                  </a:lnTo>
                  <a:lnTo>
                    <a:pt x="376" y="60"/>
                  </a:lnTo>
                  <a:lnTo>
                    <a:pt x="377" y="62"/>
                  </a:lnTo>
                  <a:lnTo>
                    <a:pt x="379" y="62"/>
                  </a:lnTo>
                  <a:lnTo>
                    <a:pt x="379" y="60"/>
                  </a:lnTo>
                  <a:lnTo>
                    <a:pt x="381" y="60"/>
                  </a:lnTo>
                  <a:lnTo>
                    <a:pt x="382" y="60"/>
                  </a:lnTo>
                  <a:lnTo>
                    <a:pt x="384" y="60"/>
                  </a:lnTo>
                  <a:lnTo>
                    <a:pt x="385" y="62"/>
                  </a:lnTo>
                  <a:lnTo>
                    <a:pt x="387" y="62"/>
                  </a:lnTo>
                  <a:lnTo>
                    <a:pt x="390" y="60"/>
                  </a:lnTo>
                  <a:lnTo>
                    <a:pt x="392" y="60"/>
                  </a:lnTo>
                  <a:lnTo>
                    <a:pt x="394" y="62"/>
                  </a:lnTo>
                  <a:lnTo>
                    <a:pt x="395" y="62"/>
                  </a:lnTo>
                  <a:lnTo>
                    <a:pt x="397" y="62"/>
                  </a:lnTo>
                  <a:lnTo>
                    <a:pt x="397" y="63"/>
                  </a:lnTo>
                  <a:lnTo>
                    <a:pt x="397" y="65"/>
                  </a:lnTo>
                  <a:lnTo>
                    <a:pt x="397" y="67"/>
                  </a:lnTo>
                  <a:lnTo>
                    <a:pt x="397" y="68"/>
                  </a:lnTo>
                  <a:lnTo>
                    <a:pt x="397" y="71"/>
                  </a:lnTo>
                  <a:lnTo>
                    <a:pt x="397" y="73"/>
                  </a:lnTo>
                  <a:lnTo>
                    <a:pt x="397" y="75"/>
                  </a:lnTo>
                  <a:lnTo>
                    <a:pt x="397" y="76"/>
                  </a:lnTo>
                  <a:lnTo>
                    <a:pt x="395" y="76"/>
                  </a:lnTo>
                  <a:lnTo>
                    <a:pt x="394" y="78"/>
                  </a:lnTo>
                  <a:lnTo>
                    <a:pt x="394" y="80"/>
                  </a:lnTo>
                  <a:lnTo>
                    <a:pt x="395" y="80"/>
                  </a:lnTo>
                  <a:lnTo>
                    <a:pt x="397" y="81"/>
                  </a:lnTo>
                  <a:lnTo>
                    <a:pt x="398" y="81"/>
                  </a:lnTo>
                  <a:lnTo>
                    <a:pt x="398" y="83"/>
                  </a:lnTo>
                  <a:lnTo>
                    <a:pt x="400" y="83"/>
                  </a:lnTo>
                  <a:lnTo>
                    <a:pt x="402" y="83"/>
                  </a:lnTo>
                  <a:lnTo>
                    <a:pt x="403" y="83"/>
                  </a:lnTo>
                  <a:lnTo>
                    <a:pt x="403" y="81"/>
                  </a:lnTo>
                  <a:lnTo>
                    <a:pt x="407" y="80"/>
                  </a:lnTo>
                  <a:lnTo>
                    <a:pt x="408" y="80"/>
                  </a:lnTo>
                  <a:lnTo>
                    <a:pt x="410" y="78"/>
                  </a:lnTo>
                  <a:lnTo>
                    <a:pt x="411" y="80"/>
                  </a:lnTo>
                  <a:lnTo>
                    <a:pt x="413" y="80"/>
                  </a:lnTo>
                  <a:lnTo>
                    <a:pt x="415" y="80"/>
                  </a:lnTo>
                  <a:lnTo>
                    <a:pt x="415" y="78"/>
                  </a:lnTo>
                  <a:lnTo>
                    <a:pt x="416" y="78"/>
                  </a:lnTo>
                  <a:lnTo>
                    <a:pt x="416" y="80"/>
                  </a:lnTo>
                  <a:lnTo>
                    <a:pt x="418" y="80"/>
                  </a:lnTo>
                  <a:lnTo>
                    <a:pt x="418" y="78"/>
                  </a:lnTo>
                  <a:lnTo>
                    <a:pt x="420" y="80"/>
                  </a:lnTo>
                  <a:lnTo>
                    <a:pt x="421" y="80"/>
                  </a:lnTo>
                  <a:lnTo>
                    <a:pt x="423" y="78"/>
                  </a:lnTo>
                  <a:lnTo>
                    <a:pt x="423" y="76"/>
                  </a:lnTo>
                  <a:lnTo>
                    <a:pt x="425" y="71"/>
                  </a:lnTo>
                  <a:lnTo>
                    <a:pt x="425" y="70"/>
                  </a:lnTo>
                  <a:lnTo>
                    <a:pt x="426" y="70"/>
                  </a:lnTo>
                  <a:lnTo>
                    <a:pt x="426" y="68"/>
                  </a:lnTo>
                  <a:lnTo>
                    <a:pt x="428" y="68"/>
                  </a:lnTo>
                  <a:lnTo>
                    <a:pt x="429" y="68"/>
                  </a:lnTo>
                  <a:lnTo>
                    <a:pt x="429" y="67"/>
                  </a:lnTo>
                  <a:lnTo>
                    <a:pt x="431" y="67"/>
                  </a:lnTo>
                  <a:lnTo>
                    <a:pt x="431" y="65"/>
                  </a:lnTo>
                  <a:lnTo>
                    <a:pt x="431" y="63"/>
                  </a:lnTo>
                  <a:lnTo>
                    <a:pt x="433" y="63"/>
                  </a:lnTo>
                  <a:lnTo>
                    <a:pt x="434" y="63"/>
                  </a:lnTo>
                  <a:lnTo>
                    <a:pt x="436" y="63"/>
                  </a:lnTo>
                  <a:lnTo>
                    <a:pt x="438" y="63"/>
                  </a:lnTo>
                  <a:lnTo>
                    <a:pt x="438" y="62"/>
                  </a:lnTo>
                  <a:lnTo>
                    <a:pt x="438" y="60"/>
                  </a:lnTo>
                  <a:lnTo>
                    <a:pt x="439" y="60"/>
                  </a:lnTo>
                  <a:lnTo>
                    <a:pt x="438" y="58"/>
                  </a:lnTo>
                  <a:lnTo>
                    <a:pt x="439" y="57"/>
                  </a:lnTo>
                  <a:lnTo>
                    <a:pt x="441" y="57"/>
                  </a:lnTo>
                  <a:lnTo>
                    <a:pt x="442" y="57"/>
                  </a:lnTo>
                  <a:lnTo>
                    <a:pt x="442" y="55"/>
                  </a:lnTo>
                  <a:lnTo>
                    <a:pt x="442" y="53"/>
                  </a:lnTo>
                  <a:lnTo>
                    <a:pt x="441" y="52"/>
                  </a:lnTo>
                  <a:lnTo>
                    <a:pt x="441" y="49"/>
                  </a:lnTo>
                  <a:lnTo>
                    <a:pt x="442" y="47"/>
                  </a:lnTo>
                  <a:lnTo>
                    <a:pt x="442" y="45"/>
                  </a:lnTo>
                  <a:lnTo>
                    <a:pt x="444" y="44"/>
                  </a:lnTo>
                  <a:lnTo>
                    <a:pt x="444" y="42"/>
                  </a:lnTo>
                  <a:lnTo>
                    <a:pt x="444" y="40"/>
                  </a:lnTo>
                  <a:lnTo>
                    <a:pt x="446" y="40"/>
                  </a:lnTo>
                  <a:lnTo>
                    <a:pt x="447" y="39"/>
                  </a:lnTo>
                  <a:lnTo>
                    <a:pt x="447" y="40"/>
                  </a:lnTo>
                  <a:lnTo>
                    <a:pt x="449" y="39"/>
                  </a:lnTo>
                  <a:lnTo>
                    <a:pt x="451" y="37"/>
                  </a:lnTo>
                  <a:lnTo>
                    <a:pt x="454" y="39"/>
                  </a:lnTo>
                  <a:lnTo>
                    <a:pt x="454" y="37"/>
                  </a:lnTo>
                  <a:lnTo>
                    <a:pt x="454" y="36"/>
                  </a:lnTo>
                  <a:lnTo>
                    <a:pt x="457" y="36"/>
                  </a:lnTo>
                  <a:lnTo>
                    <a:pt x="459" y="34"/>
                  </a:lnTo>
                  <a:lnTo>
                    <a:pt x="460" y="34"/>
                  </a:lnTo>
                  <a:lnTo>
                    <a:pt x="462" y="34"/>
                  </a:lnTo>
                  <a:lnTo>
                    <a:pt x="464" y="34"/>
                  </a:lnTo>
                  <a:lnTo>
                    <a:pt x="465" y="34"/>
                  </a:lnTo>
                  <a:lnTo>
                    <a:pt x="464" y="32"/>
                  </a:lnTo>
                  <a:lnTo>
                    <a:pt x="462" y="32"/>
                  </a:lnTo>
                  <a:lnTo>
                    <a:pt x="462" y="31"/>
                  </a:lnTo>
                  <a:lnTo>
                    <a:pt x="462" y="29"/>
                  </a:lnTo>
                  <a:lnTo>
                    <a:pt x="462" y="27"/>
                  </a:lnTo>
                  <a:lnTo>
                    <a:pt x="462" y="26"/>
                  </a:lnTo>
                  <a:lnTo>
                    <a:pt x="464" y="26"/>
                  </a:lnTo>
                  <a:lnTo>
                    <a:pt x="464" y="24"/>
                  </a:lnTo>
                  <a:lnTo>
                    <a:pt x="464" y="23"/>
                  </a:lnTo>
                  <a:lnTo>
                    <a:pt x="467" y="24"/>
                  </a:lnTo>
                  <a:lnTo>
                    <a:pt x="468" y="24"/>
                  </a:lnTo>
                  <a:lnTo>
                    <a:pt x="472" y="23"/>
                  </a:lnTo>
                  <a:lnTo>
                    <a:pt x="473" y="21"/>
                  </a:lnTo>
                  <a:lnTo>
                    <a:pt x="477" y="19"/>
                  </a:lnTo>
                  <a:lnTo>
                    <a:pt x="477" y="18"/>
                  </a:lnTo>
                  <a:lnTo>
                    <a:pt x="478" y="19"/>
                  </a:lnTo>
                  <a:lnTo>
                    <a:pt x="480" y="19"/>
                  </a:lnTo>
                  <a:lnTo>
                    <a:pt x="481" y="19"/>
                  </a:lnTo>
                  <a:lnTo>
                    <a:pt x="483" y="19"/>
                  </a:lnTo>
                  <a:lnTo>
                    <a:pt x="485" y="19"/>
                  </a:lnTo>
                  <a:lnTo>
                    <a:pt x="486" y="21"/>
                  </a:lnTo>
                  <a:lnTo>
                    <a:pt x="486" y="23"/>
                  </a:lnTo>
                  <a:lnTo>
                    <a:pt x="488" y="24"/>
                  </a:lnTo>
                  <a:lnTo>
                    <a:pt x="491" y="27"/>
                  </a:lnTo>
                  <a:lnTo>
                    <a:pt x="491" y="29"/>
                  </a:lnTo>
                  <a:lnTo>
                    <a:pt x="493" y="29"/>
                  </a:lnTo>
                  <a:lnTo>
                    <a:pt x="496" y="31"/>
                  </a:lnTo>
                  <a:lnTo>
                    <a:pt x="498" y="31"/>
                  </a:lnTo>
                  <a:lnTo>
                    <a:pt x="499" y="31"/>
                  </a:lnTo>
                  <a:lnTo>
                    <a:pt x="498" y="26"/>
                  </a:lnTo>
                  <a:lnTo>
                    <a:pt x="498" y="24"/>
                  </a:lnTo>
                  <a:lnTo>
                    <a:pt x="496" y="24"/>
                  </a:lnTo>
                  <a:lnTo>
                    <a:pt x="496" y="23"/>
                  </a:lnTo>
                  <a:lnTo>
                    <a:pt x="496" y="21"/>
                  </a:lnTo>
                  <a:lnTo>
                    <a:pt x="498" y="21"/>
                  </a:lnTo>
                  <a:lnTo>
                    <a:pt x="498" y="19"/>
                  </a:lnTo>
                  <a:lnTo>
                    <a:pt x="498" y="18"/>
                  </a:lnTo>
                  <a:lnTo>
                    <a:pt x="498" y="16"/>
                  </a:lnTo>
                  <a:lnTo>
                    <a:pt x="496" y="13"/>
                  </a:lnTo>
                  <a:lnTo>
                    <a:pt x="496" y="11"/>
                  </a:lnTo>
                  <a:lnTo>
                    <a:pt x="496" y="10"/>
                  </a:lnTo>
                  <a:lnTo>
                    <a:pt x="498" y="10"/>
                  </a:lnTo>
                  <a:lnTo>
                    <a:pt x="499" y="8"/>
                  </a:lnTo>
                  <a:lnTo>
                    <a:pt x="499" y="6"/>
                  </a:lnTo>
                  <a:lnTo>
                    <a:pt x="504" y="6"/>
                  </a:lnTo>
                  <a:lnTo>
                    <a:pt x="506" y="6"/>
                  </a:lnTo>
                  <a:lnTo>
                    <a:pt x="507" y="6"/>
                  </a:lnTo>
                  <a:lnTo>
                    <a:pt x="509" y="8"/>
                  </a:lnTo>
                  <a:lnTo>
                    <a:pt x="512" y="8"/>
                  </a:lnTo>
                  <a:lnTo>
                    <a:pt x="514" y="10"/>
                  </a:lnTo>
                  <a:lnTo>
                    <a:pt x="516" y="8"/>
                  </a:lnTo>
                  <a:lnTo>
                    <a:pt x="516" y="6"/>
                  </a:lnTo>
                  <a:lnTo>
                    <a:pt x="517" y="5"/>
                  </a:lnTo>
                  <a:lnTo>
                    <a:pt x="519" y="5"/>
                  </a:lnTo>
                  <a:lnTo>
                    <a:pt x="520" y="5"/>
                  </a:lnTo>
                  <a:lnTo>
                    <a:pt x="520" y="3"/>
                  </a:lnTo>
                  <a:lnTo>
                    <a:pt x="522" y="3"/>
                  </a:lnTo>
                  <a:lnTo>
                    <a:pt x="524" y="1"/>
                  </a:lnTo>
                  <a:lnTo>
                    <a:pt x="525" y="3"/>
                  </a:lnTo>
                  <a:lnTo>
                    <a:pt x="527" y="5"/>
                  </a:lnTo>
                  <a:lnTo>
                    <a:pt x="529" y="5"/>
                  </a:lnTo>
                  <a:lnTo>
                    <a:pt x="532" y="5"/>
                  </a:lnTo>
                  <a:lnTo>
                    <a:pt x="535" y="6"/>
                  </a:lnTo>
                  <a:lnTo>
                    <a:pt x="537" y="8"/>
                  </a:lnTo>
                  <a:lnTo>
                    <a:pt x="538" y="8"/>
                  </a:lnTo>
                  <a:lnTo>
                    <a:pt x="540" y="10"/>
                  </a:lnTo>
                  <a:lnTo>
                    <a:pt x="542" y="10"/>
                  </a:lnTo>
                  <a:lnTo>
                    <a:pt x="543" y="11"/>
                  </a:lnTo>
                  <a:lnTo>
                    <a:pt x="545" y="13"/>
                  </a:lnTo>
                  <a:lnTo>
                    <a:pt x="546" y="13"/>
                  </a:lnTo>
                  <a:lnTo>
                    <a:pt x="546" y="11"/>
                  </a:lnTo>
                  <a:lnTo>
                    <a:pt x="548" y="11"/>
                  </a:lnTo>
                  <a:lnTo>
                    <a:pt x="548" y="13"/>
                  </a:lnTo>
                  <a:lnTo>
                    <a:pt x="550" y="13"/>
                  </a:lnTo>
                  <a:lnTo>
                    <a:pt x="550" y="14"/>
                  </a:lnTo>
                  <a:lnTo>
                    <a:pt x="551" y="16"/>
                  </a:lnTo>
                  <a:lnTo>
                    <a:pt x="553" y="16"/>
                  </a:lnTo>
                  <a:lnTo>
                    <a:pt x="555" y="16"/>
                  </a:lnTo>
                  <a:lnTo>
                    <a:pt x="556" y="13"/>
                  </a:lnTo>
                  <a:lnTo>
                    <a:pt x="556" y="11"/>
                  </a:lnTo>
                  <a:lnTo>
                    <a:pt x="556" y="10"/>
                  </a:lnTo>
                  <a:lnTo>
                    <a:pt x="558" y="10"/>
                  </a:lnTo>
                  <a:lnTo>
                    <a:pt x="559" y="10"/>
                  </a:lnTo>
                  <a:lnTo>
                    <a:pt x="561" y="10"/>
                  </a:lnTo>
                  <a:lnTo>
                    <a:pt x="564" y="8"/>
                  </a:lnTo>
                  <a:lnTo>
                    <a:pt x="566" y="8"/>
                  </a:lnTo>
                  <a:lnTo>
                    <a:pt x="568" y="5"/>
                  </a:lnTo>
                  <a:lnTo>
                    <a:pt x="569" y="5"/>
                  </a:lnTo>
                  <a:lnTo>
                    <a:pt x="571" y="5"/>
                  </a:lnTo>
                  <a:lnTo>
                    <a:pt x="573" y="3"/>
                  </a:lnTo>
                  <a:lnTo>
                    <a:pt x="573" y="1"/>
                  </a:lnTo>
                  <a:lnTo>
                    <a:pt x="574" y="3"/>
                  </a:lnTo>
                  <a:lnTo>
                    <a:pt x="577" y="5"/>
                  </a:lnTo>
                  <a:lnTo>
                    <a:pt x="579" y="6"/>
                  </a:lnTo>
                  <a:lnTo>
                    <a:pt x="579" y="5"/>
                  </a:lnTo>
                  <a:lnTo>
                    <a:pt x="581" y="5"/>
                  </a:lnTo>
                  <a:lnTo>
                    <a:pt x="582" y="5"/>
                  </a:lnTo>
                  <a:lnTo>
                    <a:pt x="584" y="5"/>
                  </a:lnTo>
                  <a:lnTo>
                    <a:pt x="584" y="3"/>
                  </a:lnTo>
                  <a:lnTo>
                    <a:pt x="586" y="3"/>
                  </a:lnTo>
                  <a:lnTo>
                    <a:pt x="589" y="5"/>
                  </a:lnTo>
                  <a:lnTo>
                    <a:pt x="590" y="5"/>
                  </a:lnTo>
                  <a:lnTo>
                    <a:pt x="592" y="3"/>
                  </a:lnTo>
                  <a:lnTo>
                    <a:pt x="594" y="1"/>
                  </a:lnTo>
                  <a:lnTo>
                    <a:pt x="595" y="0"/>
                  </a:lnTo>
                  <a:lnTo>
                    <a:pt x="595" y="1"/>
                  </a:lnTo>
                  <a:lnTo>
                    <a:pt x="595" y="3"/>
                  </a:lnTo>
                  <a:lnTo>
                    <a:pt x="597" y="3"/>
                  </a:lnTo>
                  <a:lnTo>
                    <a:pt x="597" y="5"/>
                  </a:lnTo>
                  <a:lnTo>
                    <a:pt x="599" y="8"/>
                  </a:lnTo>
                  <a:lnTo>
                    <a:pt x="599" y="10"/>
                  </a:lnTo>
                  <a:lnTo>
                    <a:pt x="599" y="11"/>
                  </a:lnTo>
                  <a:lnTo>
                    <a:pt x="599" y="13"/>
                  </a:lnTo>
                  <a:lnTo>
                    <a:pt x="599" y="16"/>
                  </a:lnTo>
                  <a:lnTo>
                    <a:pt x="599" y="18"/>
                  </a:lnTo>
                  <a:lnTo>
                    <a:pt x="602" y="21"/>
                  </a:lnTo>
                  <a:lnTo>
                    <a:pt x="603" y="23"/>
                  </a:lnTo>
                  <a:lnTo>
                    <a:pt x="603" y="24"/>
                  </a:lnTo>
                  <a:lnTo>
                    <a:pt x="603" y="27"/>
                  </a:lnTo>
                  <a:lnTo>
                    <a:pt x="602" y="27"/>
                  </a:lnTo>
                  <a:lnTo>
                    <a:pt x="602" y="29"/>
                  </a:lnTo>
                  <a:lnTo>
                    <a:pt x="600" y="29"/>
                  </a:lnTo>
                  <a:lnTo>
                    <a:pt x="599" y="31"/>
                  </a:lnTo>
                  <a:lnTo>
                    <a:pt x="599" y="32"/>
                  </a:lnTo>
                  <a:lnTo>
                    <a:pt x="597" y="32"/>
                  </a:lnTo>
                  <a:lnTo>
                    <a:pt x="595" y="32"/>
                  </a:lnTo>
                  <a:lnTo>
                    <a:pt x="595" y="34"/>
                  </a:lnTo>
                  <a:lnTo>
                    <a:pt x="595" y="36"/>
                  </a:lnTo>
                  <a:lnTo>
                    <a:pt x="595" y="39"/>
                  </a:lnTo>
                  <a:lnTo>
                    <a:pt x="595" y="40"/>
                  </a:lnTo>
                  <a:lnTo>
                    <a:pt x="595" y="42"/>
                  </a:lnTo>
                  <a:lnTo>
                    <a:pt x="597" y="44"/>
                  </a:lnTo>
                  <a:lnTo>
                    <a:pt x="597" y="45"/>
                  </a:lnTo>
                  <a:lnTo>
                    <a:pt x="597" y="44"/>
                  </a:lnTo>
                  <a:lnTo>
                    <a:pt x="599" y="44"/>
                  </a:lnTo>
                  <a:lnTo>
                    <a:pt x="600" y="45"/>
                  </a:lnTo>
                  <a:lnTo>
                    <a:pt x="602" y="45"/>
                  </a:lnTo>
                  <a:lnTo>
                    <a:pt x="603" y="45"/>
                  </a:lnTo>
                  <a:lnTo>
                    <a:pt x="605" y="45"/>
                  </a:lnTo>
                  <a:lnTo>
                    <a:pt x="610" y="45"/>
                  </a:lnTo>
                  <a:lnTo>
                    <a:pt x="612" y="45"/>
                  </a:lnTo>
                  <a:lnTo>
                    <a:pt x="613" y="45"/>
                  </a:lnTo>
                  <a:lnTo>
                    <a:pt x="613" y="49"/>
                  </a:lnTo>
                  <a:lnTo>
                    <a:pt x="615" y="49"/>
                  </a:lnTo>
                  <a:lnTo>
                    <a:pt x="616" y="47"/>
                  </a:lnTo>
                  <a:lnTo>
                    <a:pt x="618" y="49"/>
                  </a:lnTo>
                  <a:lnTo>
                    <a:pt x="620" y="50"/>
                  </a:lnTo>
                  <a:lnTo>
                    <a:pt x="620" y="49"/>
                  </a:lnTo>
                  <a:lnTo>
                    <a:pt x="620" y="47"/>
                  </a:lnTo>
                  <a:lnTo>
                    <a:pt x="623" y="47"/>
                  </a:lnTo>
                  <a:lnTo>
                    <a:pt x="625" y="45"/>
                  </a:lnTo>
                  <a:lnTo>
                    <a:pt x="626" y="45"/>
                  </a:lnTo>
                  <a:lnTo>
                    <a:pt x="628" y="45"/>
                  </a:lnTo>
                  <a:lnTo>
                    <a:pt x="629" y="44"/>
                  </a:lnTo>
                  <a:lnTo>
                    <a:pt x="631" y="45"/>
                  </a:lnTo>
                  <a:lnTo>
                    <a:pt x="633" y="45"/>
                  </a:lnTo>
                  <a:lnTo>
                    <a:pt x="633" y="47"/>
                  </a:lnTo>
                  <a:lnTo>
                    <a:pt x="634" y="49"/>
                  </a:lnTo>
                  <a:lnTo>
                    <a:pt x="636" y="49"/>
                  </a:lnTo>
                  <a:lnTo>
                    <a:pt x="638" y="50"/>
                  </a:lnTo>
                  <a:lnTo>
                    <a:pt x="638" y="52"/>
                  </a:lnTo>
                  <a:lnTo>
                    <a:pt x="639" y="50"/>
                  </a:lnTo>
                  <a:lnTo>
                    <a:pt x="639" y="52"/>
                  </a:lnTo>
                  <a:lnTo>
                    <a:pt x="641" y="52"/>
                  </a:lnTo>
                  <a:lnTo>
                    <a:pt x="641" y="50"/>
                  </a:lnTo>
                  <a:lnTo>
                    <a:pt x="641" y="49"/>
                  </a:lnTo>
                  <a:lnTo>
                    <a:pt x="642" y="49"/>
                  </a:lnTo>
                  <a:lnTo>
                    <a:pt x="642" y="47"/>
                  </a:lnTo>
                  <a:lnTo>
                    <a:pt x="644" y="47"/>
                  </a:lnTo>
                  <a:lnTo>
                    <a:pt x="646" y="45"/>
                  </a:lnTo>
                  <a:lnTo>
                    <a:pt x="646" y="47"/>
                  </a:lnTo>
                  <a:lnTo>
                    <a:pt x="647" y="49"/>
                  </a:lnTo>
                  <a:lnTo>
                    <a:pt x="649" y="49"/>
                  </a:lnTo>
                  <a:lnTo>
                    <a:pt x="649" y="47"/>
                  </a:lnTo>
                  <a:lnTo>
                    <a:pt x="649" y="45"/>
                  </a:lnTo>
                  <a:lnTo>
                    <a:pt x="651" y="45"/>
                  </a:lnTo>
                  <a:lnTo>
                    <a:pt x="651" y="44"/>
                  </a:lnTo>
                  <a:lnTo>
                    <a:pt x="652" y="44"/>
                  </a:lnTo>
                  <a:lnTo>
                    <a:pt x="654" y="47"/>
                  </a:lnTo>
                  <a:lnTo>
                    <a:pt x="655" y="49"/>
                  </a:lnTo>
                  <a:lnTo>
                    <a:pt x="657" y="49"/>
                  </a:lnTo>
                  <a:lnTo>
                    <a:pt x="657" y="47"/>
                  </a:lnTo>
                  <a:lnTo>
                    <a:pt x="657" y="45"/>
                  </a:lnTo>
                  <a:lnTo>
                    <a:pt x="659" y="45"/>
                  </a:lnTo>
                  <a:lnTo>
                    <a:pt x="659" y="44"/>
                  </a:lnTo>
                  <a:lnTo>
                    <a:pt x="660" y="45"/>
                  </a:lnTo>
                  <a:lnTo>
                    <a:pt x="662" y="45"/>
                  </a:lnTo>
                  <a:lnTo>
                    <a:pt x="664" y="44"/>
                  </a:lnTo>
                  <a:lnTo>
                    <a:pt x="665" y="40"/>
                  </a:lnTo>
                  <a:lnTo>
                    <a:pt x="667" y="39"/>
                  </a:lnTo>
                  <a:lnTo>
                    <a:pt x="668" y="39"/>
                  </a:lnTo>
                  <a:lnTo>
                    <a:pt x="670" y="39"/>
                  </a:lnTo>
                  <a:lnTo>
                    <a:pt x="670" y="40"/>
                  </a:lnTo>
                  <a:lnTo>
                    <a:pt x="670" y="42"/>
                  </a:lnTo>
                  <a:lnTo>
                    <a:pt x="672" y="42"/>
                  </a:lnTo>
                  <a:lnTo>
                    <a:pt x="672" y="44"/>
                  </a:lnTo>
                  <a:lnTo>
                    <a:pt x="673" y="44"/>
                  </a:lnTo>
                  <a:lnTo>
                    <a:pt x="675" y="45"/>
                  </a:lnTo>
                  <a:lnTo>
                    <a:pt x="677" y="45"/>
                  </a:lnTo>
                  <a:lnTo>
                    <a:pt x="678" y="45"/>
                  </a:lnTo>
                  <a:lnTo>
                    <a:pt x="680" y="45"/>
                  </a:lnTo>
                  <a:lnTo>
                    <a:pt x="681" y="45"/>
                  </a:lnTo>
                  <a:lnTo>
                    <a:pt x="681" y="44"/>
                  </a:lnTo>
                  <a:lnTo>
                    <a:pt x="683" y="44"/>
                  </a:lnTo>
                  <a:lnTo>
                    <a:pt x="685" y="42"/>
                  </a:lnTo>
                  <a:lnTo>
                    <a:pt x="688" y="40"/>
                  </a:lnTo>
                  <a:lnTo>
                    <a:pt x="688" y="42"/>
                  </a:lnTo>
                  <a:lnTo>
                    <a:pt x="690" y="44"/>
                  </a:lnTo>
                  <a:lnTo>
                    <a:pt x="691" y="44"/>
                  </a:lnTo>
                  <a:lnTo>
                    <a:pt x="691" y="45"/>
                  </a:lnTo>
                  <a:lnTo>
                    <a:pt x="691" y="47"/>
                  </a:lnTo>
                  <a:lnTo>
                    <a:pt x="693" y="49"/>
                  </a:lnTo>
                  <a:lnTo>
                    <a:pt x="693" y="50"/>
                  </a:lnTo>
                  <a:lnTo>
                    <a:pt x="693" y="52"/>
                  </a:lnTo>
                  <a:lnTo>
                    <a:pt x="693" y="53"/>
                  </a:lnTo>
                  <a:lnTo>
                    <a:pt x="691" y="55"/>
                  </a:lnTo>
                  <a:lnTo>
                    <a:pt x="691" y="57"/>
                  </a:lnTo>
                  <a:lnTo>
                    <a:pt x="691" y="58"/>
                  </a:lnTo>
                  <a:lnTo>
                    <a:pt x="690" y="60"/>
                  </a:lnTo>
                  <a:lnTo>
                    <a:pt x="690" y="63"/>
                  </a:lnTo>
                  <a:lnTo>
                    <a:pt x="688" y="63"/>
                  </a:lnTo>
                  <a:lnTo>
                    <a:pt x="688" y="65"/>
                  </a:lnTo>
                  <a:lnTo>
                    <a:pt x="688" y="67"/>
                  </a:lnTo>
                  <a:lnTo>
                    <a:pt x="688" y="68"/>
                  </a:lnTo>
                  <a:lnTo>
                    <a:pt x="686" y="68"/>
                  </a:lnTo>
                  <a:lnTo>
                    <a:pt x="686" y="70"/>
                  </a:lnTo>
                  <a:lnTo>
                    <a:pt x="685" y="70"/>
                  </a:lnTo>
                  <a:lnTo>
                    <a:pt x="685" y="71"/>
                  </a:lnTo>
                  <a:lnTo>
                    <a:pt x="683" y="73"/>
                  </a:lnTo>
                  <a:lnTo>
                    <a:pt x="681" y="73"/>
                  </a:lnTo>
                  <a:lnTo>
                    <a:pt x="681" y="75"/>
                  </a:lnTo>
                  <a:lnTo>
                    <a:pt x="681" y="76"/>
                  </a:lnTo>
                  <a:lnTo>
                    <a:pt x="680" y="80"/>
                  </a:lnTo>
                  <a:lnTo>
                    <a:pt x="680" y="81"/>
                  </a:lnTo>
                  <a:lnTo>
                    <a:pt x="681" y="81"/>
                  </a:lnTo>
                  <a:lnTo>
                    <a:pt x="681" y="83"/>
                  </a:lnTo>
                  <a:lnTo>
                    <a:pt x="683" y="83"/>
                  </a:lnTo>
                  <a:lnTo>
                    <a:pt x="683" y="84"/>
                  </a:lnTo>
                  <a:lnTo>
                    <a:pt x="685" y="86"/>
                  </a:lnTo>
                  <a:lnTo>
                    <a:pt x="686" y="86"/>
                  </a:lnTo>
                  <a:lnTo>
                    <a:pt x="686" y="88"/>
                  </a:lnTo>
                  <a:lnTo>
                    <a:pt x="688" y="88"/>
                  </a:lnTo>
                  <a:lnTo>
                    <a:pt x="690" y="89"/>
                  </a:lnTo>
                  <a:lnTo>
                    <a:pt x="691" y="89"/>
                  </a:lnTo>
                  <a:lnTo>
                    <a:pt x="694" y="89"/>
                  </a:lnTo>
                  <a:lnTo>
                    <a:pt x="694" y="88"/>
                  </a:lnTo>
                  <a:lnTo>
                    <a:pt x="694" y="89"/>
                  </a:lnTo>
                  <a:lnTo>
                    <a:pt x="694" y="88"/>
                  </a:lnTo>
                  <a:lnTo>
                    <a:pt x="693" y="88"/>
                  </a:lnTo>
                  <a:lnTo>
                    <a:pt x="694" y="88"/>
                  </a:lnTo>
                  <a:lnTo>
                    <a:pt x="696" y="88"/>
                  </a:lnTo>
                  <a:lnTo>
                    <a:pt x="696" y="89"/>
                  </a:lnTo>
                  <a:lnTo>
                    <a:pt x="696" y="91"/>
                  </a:lnTo>
                  <a:lnTo>
                    <a:pt x="696" y="89"/>
                  </a:lnTo>
                  <a:lnTo>
                    <a:pt x="696" y="91"/>
                  </a:lnTo>
                  <a:lnTo>
                    <a:pt x="698" y="91"/>
                  </a:lnTo>
                  <a:lnTo>
                    <a:pt x="699" y="91"/>
                  </a:lnTo>
                  <a:lnTo>
                    <a:pt x="701" y="91"/>
                  </a:lnTo>
                  <a:lnTo>
                    <a:pt x="701" y="93"/>
                  </a:lnTo>
                  <a:lnTo>
                    <a:pt x="701" y="94"/>
                  </a:lnTo>
                  <a:lnTo>
                    <a:pt x="703" y="96"/>
                  </a:lnTo>
                  <a:lnTo>
                    <a:pt x="703" y="97"/>
                  </a:lnTo>
                  <a:lnTo>
                    <a:pt x="704" y="97"/>
                  </a:lnTo>
                  <a:lnTo>
                    <a:pt x="703" y="97"/>
                  </a:lnTo>
                  <a:lnTo>
                    <a:pt x="704" y="97"/>
                  </a:lnTo>
                  <a:lnTo>
                    <a:pt x="706" y="96"/>
                  </a:lnTo>
                  <a:lnTo>
                    <a:pt x="706" y="97"/>
                  </a:lnTo>
                  <a:lnTo>
                    <a:pt x="706" y="99"/>
                  </a:lnTo>
                  <a:lnTo>
                    <a:pt x="706" y="97"/>
                  </a:lnTo>
                  <a:lnTo>
                    <a:pt x="707" y="97"/>
                  </a:lnTo>
                  <a:lnTo>
                    <a:pt x="707" y="99"/>
                  </a:lnTo>
                  <a:lnTo>
                    <a:pt x="706" y="99"/>
                  </a:lnTo>
                  <a:lnTo>
                    <a:pt x="707" y="101"/>
                  </a:lnTo>
                  <a:lnTo>
                    <a:pt x="709" y="101"/>
                  </a:lnTo>
                  <a:lnTo>
                    <a:pt x="709" y="102"/>
                  </a:lnTo>
                  <a:lnTo>
                    <a:pt x="711" y="102"/>
                  </a:lnTo>
                  <a:lnTo>
                    <a:pt x="711" y="101"/>
                  </a:lnTo>
                  <a:lnTo>
                    <a:pt x="711" y="99"/>
                  </a:lnTo>
                  <a:lnTo>
                    <a:pt x="711" y="101"/>
                  </a:lnTo>
                  <a:lnTo>
                    <a:pt x="712" y="101"/>
                  </a:lnTo>
                  <a:lnTo>
                    <a:pt x="714" y="101"/>
                  </a:lnTo>
                  <a:lnTo>
                    <a:pt x="712" y="99"/>
                  </a:lnTo>
                  <a:lnTo>
                    <a:pt x="714" y="101"/>
                  </a:lnTo>
                  <a:lnTo>
                    <a:pt x="716" y="101"/>
                  </a:lnTo>
                  <a:lnTo>
                    <a:pt x="716" y="102"/>
                  </a:lnTo>
                  <a:lnTo>
                    <a:pt x="717" y="102"/>
                  </a:lnTo>
                  <a:lnTo>
                    <a:pt x="717" y="101"/>
                  </a:lnTo>
                  <a:lnTo>
                    <a:pt x="716" y="101"/>
                  </a:lnTo>
                  <a:lnTo>
                    <a:pt x="717" y="99"/>
                  </a:lnTo>
                  <a:lnTo>
                    <a:pt x="717" y="101"/>
                  </a:lnTo>
                  <a:lnTo>
                    <a:pt x="719" y="101"/>
                  </a:lnTo>
                  <a:lnTo>
                    <a:pt x="719" y="102"/>
                  </a:lnTo>
                  <a:lnTo>
                    <a:pt x="721" y="102"/>
                  </a:lnTo>
                  <a:lnTo>
                    <a:pt x="722" y="101"/>
                  </a:lnTo>
                  <a:lnTo>
                    <a:pt x="721" y="101"/>
                  </a:lnTo>
                  <a:lnTo>
                    <a:pt x="722" y="101"/>
                  </a:lnTo>
                  <a:lnTo>
                    <a:pt x="722" y="102"/>
                  </a:lnTo>
                  <a:lnTo>
                    <a:pt x="724" y="102"/>
                  </a:lnTo>
                  <a:lnTo>
                    <a:pt x="725" y="102"/>
                  </a:lnTo>
                  <a:lnTo>
                    <a:pt x="725" y="104"/>
                  </a:lnTo>
                  <a:lnTo>
                    <a:pt x="725" y="102"/>
                  </a:lnTo>
                  <a:lnTo>
                    <a:pt x="725" y="104"/>
                  </a:lnTo>
                  <a:lnTo>
                    <a:pt x="727" y="104"/>
                  </a:lnTo>
                  <a:lnTo>
                    <a:pt x="727" y="102"/>
                  </a:lnTo>
                  <a:lnTo>
                    <a:pt x="727" y="104"/>
                  </a:lnTo>
                  <a:lnTo>
                    <a:pt x="729" y="104"/>
                  </a:lnTo>
                  <a:lnTo>
                    <a:pt x="730" y="102"/>
                  </a:lnTo>
                  <a:lnTo>
                    <a:pt x="730" y="104"/>
                  </a:lnTo>
                  <a:lnTo>
                    <a:pt x="730" y="102"/>
                  </a:lnTo>
                  <a:lnTo>
                    <a:pt x="732" y="102"/>
                  </a:lnTo>
                  <a:lnTo>
                    <a:pt x="732" y="104"/>
                  </a:lnTo>
                  <a:lnTo>
                    <a:pt x="734" y="102"/>
                  </a:lnTo>
                  <a:lnTo>
                    <a:pt x="735" y="102"/>
                  </a:lnTo>
                  <a:lnTo>
                    <a:pt x="737" y="102"/>
                  </a:lnTo>
                  <a:lnTo>
                    <a:pt x="738" y="102"/>
                  </a:lnTo>
                  <a:lnTo>
                    <a:pt x="740" y="101"/>
                  </a:lnTo>
                  <a:lnTo>
                    <a:pt x="740" y="102"/>
                  </a:lnTo>
                  <a:lnTo>
                    <a:pt x="740" y="101"/>
                  </a:lnTo>
                  <a:lnTo>
                    <a:pt x="740" y="102"/>
                  </a:lnTo>
                  <a:lnTo>
                    <a:pt x="740" y="101"/>
                  </a:lnTo>
                  <a:lnTo>
                    <a:pt x="742" y="101"/>
                  </a:lnTo>
                  <a:lnTo>
                    <a:pt x="742" y="102"/>
                  </a:lnTo>
                  <a:lnTo>
                    <a:pt x="743" y="102"/>
                  </a:lnTo>
                  <a:lnTo>
                    <a:pt x="743" y="101"/>
                  </a:lnTo>
                  <a:lnTo>
                    <a:pt x="743" y="102"/>
                  </a:lnTo>
                  <a:lnTo>
                    <a:pt x="745" y="101"/>
                  </a:lnTo>
                  <a:lnTo>
                    <a:pt x="745" y="102"/>
                  </a:lnTo>
                  <a:lnTo>
                    <a:pt x="747" y="101"/>
                  </a:lnTo>
                  <a:lnTo>
                    <a:pt x="747" y="102"/>
                  </a:lnTo>
                  <a:lnTo>
                    <a:pt x="745" y="102"/>
                  </a:lnTo>
                  <a:lnTo>
                    <a:pt x="745" y="104"/>
                  </a:lnTo>
                  <a:lnTo>
                    <a:pt x="747" y="104"/>
                  </a:lnTo>
                  <a:lnTo>
                    <a:pt x="747" y="102"/>
                  </a:lnTo>
                  <a:lnTo>
                    <a:pt x="748" y="102"/>
                  </a:lnTo>
                  <a:lnTo>
                    <a:pt x="748" y="104"/>
                  </a:lnTo>
                  <a:lnTo>
                    <a:pt x="747" y="104"/>
                  </a:lnTo>
                  <a:lnTo>
                    <a:pt x="748" y="104"/>
                  </a:lnTo>
                  <a:lnTo>
                    <a:pt x="748" y="106"/>
                  </a:lnTo>
                  <a:lnTo>
                    <a:pt x="748" y="104"/>
                  </a:lnTo>
                  <a:lnTo>
                    <a:pt x="750" y="104"/>
                  </a:lnTo>
                  <a:lnTo>
                    <a:pt x="750" y="106"/>
                  </a:lnTo>
                  <a:lnTo>
                    <a:pt x="751" y="104"/>
                  </a:lnTo>
                  <a:lnTo>
                    <a:pt x="751" y="106"/>
                  </a:lnTo>
                  <a:lnTo>
                    <a:pt x="753" y="106"/>
                  </a:lnTo>
                  <a:lnTo>
                    <a:pt x="755" y="106"/>
                  </a:lnTo>
                  <a:lnTo>
                    <a:pt x="753" y="106"/>
                  </a:lnTo>
                  <a:lnTo>
                    <a:pt x="753" y="107"/>
                  </a:lnTo>
                  <a:lnTo>
                    <a:pt x="755" y="107"/>
                  </a:lnTo>
                  <a:lnTo>
                    <a:pt x="755" y="109"/>
                  </a:lnTo>
                  <a:lnTo>
                    <a:pt x="756" y="109"/>
                  </a:lnTo>
                  <a:lnTo>
                    <a:pt x="758" y="109"/>
                  </a:lnTo>
                  <a:lnTo>
                    <a:pt x="760" y="109"/>
                  </a:lnTo>
                  <a:lnTo>
                    <a:pt x="760" y="110"/>
                  </a:lnTo>
                  <a:lnTo>
                    <a:pt x="758" y="110"/>
                  </a:lnTo>
                  <a:lnTo>
                    <a:pt x="760" y="109"/>
                  </a:lnTo>
                  <a:lnTo>
                    <a:pt x="758" y="109"/>
                  </a:lnTo>
                  <a:lnTo>
                    <a:pt x="758" y="110"/>
                  </a:lnTo>
                  <a:lnTo>
                    <a:pt x="758" y="112"/>
                  </a:lnTo>
                  <a:lnTo>
                    <a:pt x="758" y="114"/>
                  </a:lnTo>
                  <a:lnTo>
                    <a:pt x="760" y="114"/>
                  </a:lnTo>
                  <a:lnTo>
                    <a:pt x="758" y="115"/>
                  </a:lnTo>
                  <a:lnTo>
                    <a:pt x="760" y="115"/>
                  </a:lnTo>
                  <a:lnTo>
                    <a:pt x="758" y="117"/>
                  </a:lnTo>
                  <a:lnTo>
                    <a:pt x="760" y="117"/>
                  </a:lnTo>
                  <a:lnTo>
                    <a:pt x="758" y="117"/>
                  </a:lnTo>
                  <a:lnTo>
                    <a:pt x="758" y="119"/>
                  </a:lnTo>
                  <a:lnTo>
                    <a:pt x="758" y="120"/>
                  </a:lnTo>
                  <a:lnTo>
                    <a:pt x="758" y="122"/>
                  </a:lnTo>
                  <a:lnTo>
                    <a:pt x="758" y="123"/>
                  </a:lnTo>
                  <a:lnTo>
                    <a:pt x="758" y="125"/>
                  </a:lnTo>
                  <a:lnTo>
                    <a:pt x="760" y="125"/>
                  </a:lnTo>
                  <a:lnTo>
                    <a:pt x="760" y="127"/>
                  </a:lnTo>
                  <a:lnTo>
                    <a:pt x="760" y="128"/>
                  </a:lnTo>
                  <a:lnTo>
                    <a:pt x="760" y="130"/>
                  </a:lnTo>
                  <a:lnTo>
                    <a:pt x="761" y="130"/>
                  </a:lnTo>
                  <a:lnTo>
                    <a:pt x="761" y="132"/>
                  </a:lnTo>
                  <a:lnTo>
                    <a:pt x="761" y="133"/>
                  </a:lnTo>
                  <a:lnTo>
                    <a:pt x="761" y="135"/>
                  </a:lnTo>
                  <a:lnTo>
                    <a:pt x="763" y="136"/>
                  </a:lnTo>
                  <a:lnTo>
                    <a:pt x="761" y="136"/>
                  </a:lnTo>
                  <a:lnTo>
                    <a:pt x="761" y="138"/>
                  </a:lnTo>
                  <a:lnTo>
                    <a:pt x="761" y="140"/>
                  </a:lnTo>
                  <a:lnTo>
                    <a:pt x="758" y="140"/>
                  </a:lnTo>
                  <a:lnTo>
                    <a:pt x="756" y="140"/>
                  </a:lnTo>
                  <a:lnTo>
                    <a:pt x="753" y="141"/>
                  </a:lnTo>
                  <a:lnTo>
                    <a:pt x="753" y="148"/>
                  </a:lnTo>
                  <a:lnTo>
                    <a:pt x="751" y="151"/>
                  </a:lnTo>
                  <a:lnTo>
                    <a:pt x="748" y="151"/>
                  </a:lnTo>
                  <a:lnTo>
                    <a:pt x="747" y="148"/>
                  </a:lnTo>
                  <a:lnTo>
                    <a:pt x="745" y="148"/>
                  </a:lnTo>
                  <a:lnTo>
                    <a:pt x="743" y="148"/>
                  </a:lnTo>
                  <a:lnTo>
                    <a:pt x="742" y="148"/>
                  </a:lnTo>
                  <a:lnTo>
                    <a:pt x="742" y="149"/>
                  </a:lnTo>
                  <a:lnTo>
                    <a:pt x="740" y="149"/>
                  </a:lnTo>
                  <a:lnTo>
                    <a:pt x="737" y="151"/>
                  </a:lnTo>
                  <a:lnTo>
                    <a:pt x="735" y="149"/>
                  </a:lnTo>
                  <a:lnTo>
                    <a:pt x="734" y="148"/>
                  </a:lnTo>
                  <a:lnTo>
                    <a:pt x="730" y="148"/>
                  </a:lnTo>
                  <a:lnTo>
                    <a:pt x="729" y="148"/>
                  </a:lnTo>
                  <a:lnTo>
                    <a:pt x="725" y="146"/>
                  </a:lnTo>
                  <a:lnTo>
                    <a:pt x="724" y="145"/>
                  </a:lnTo>
                  <a:lnTo>
                    <a:pt x="722" y="145"/>
                  </a:lnTo>
                  <a:lnTo>
                    <a:pt x="721" y="146"/>
                  </a:lnTo>
                  <a:lnTo>
                    <a:pt x="719" y="148"/>
                  </a:lnTo>
                  <a:lnTo>
                    <a:pt x="717" y="148"/>
                  </a:lnTo>
                  <a:lnTo>
                    <a:pt x="717" y="146"/>
                  </a:lnTo>
                  <a:lnTo>
                    <a:pt x="717" y="148"/>
                  </a:lnTo>
                  <a:lnTo>
                    <a:pt x="716" y="148"/>
                  </a:lnTo>
                  <a:lnTo>
                    <a:pt x="714" y="148"/>
                  </a:lnTo>
                  <a:lnTo>
                    <a:pt x="712" y="149"/>
                  </a:lnTo>
                  <a:lnTo>
                    <a:pt x="712" y="148"/>
                  </a:lnTo>
                  <a:lnTo>
                    <a:pt x="712" y="149"/>
                  </a:lnTo>
                  <a:lnTo>
                    <a:pt x="711" y="149"/>
                  </a:lnTo>
                  <a:lnTo>
                    <a:pt x="709" y="149"/>
                  </a:lnTo>
                  <a:lnTo>
                    <a:pt x="711" y="149"/>
                  </a:lnTo>
                  <a:lnTo>
                    <a:pt x="709" y="149"/>
                  </a:lnTo>
                  <a:lnTo>
                    <a:pt x="709" y="151"/>
                  </a:lnTo>
                  <a:lnTo>
                    <a:pt x="709" y="153"/>
                  </a:lnTo>
                  <a:lnTo>
                    <a:pt x="707" y="153"/>
                  </a:lnTo>
                  <a:lnTo>
                    <a:pt x="707" y="156"/>
                  </a:lnTo>
                  <a:lnTo>
                    <a:pt x="706" y="154"/>
                  </a:lnTo>
                  <a:lnTo>
                    <a:pt x="703" y="156"/>
                  </a:lnTo>
                  <a:lnTo>
                    <a:pt x="699" y="158"/>
                  </a:lnTo>
                  <a:lnTo>
                    <a:pt x="698" y="159"/>
                  </a:lnTo>
                  <a:lnTo>
                    <a:pt x="693" y="162"/>
                  </a:lnTo>
                  <a:lnTo>
                    <a:pt x="691" y="162"/>
                  </a:lnTo>
                  <a:lnTo>
                    <a:pt x="688" y="162"/>
                  </a:lnTo>
                  <a:lnTo>
                    <a:pt x="686" y="162"/>
                  </a:lnTo>
                  <a:lnTo>
                    <a:pt x="685" y="161"/>
                  </a:lnTo>
                  <a:lnTo>
                    <a:pt x="683" y="161"/>
                  </a:lnTo>
                  <a:lnTo>
                    <a:pt x="680" y="162"/>
                  </a:lnTo>
                  <a:lnTo>
                    <a:pt x="677" y="164"/>
                  </a:lnTo>
                  <a:lnTo>
                    <a:pt x="673" y="164"/>
                  </a:lnTo>
                  <a:lnTo>
                    <a:pt x="672" y="164"/>
                  </a:lnTo>
                  <a:lnTo>
                    <a:pt x="668" y="162"/>
                  </a:lnTo>
                  <a:lnTo>
                    <a:pt x="665" y="161"/>
                  </a:lnTo>
                  <a:lnTo>
                    <a:pt x="662" y="161"/>
                  </a:lnTo>
                  <a:lnTo>
                    <a:pt x="662" y="159"/>
                  </a:lnTo>
                  <a:lnTo>
                    <a:pt x="662" y="154"/>
                  </a:lnTo>
                  <a:lnTo>
                    <a:pt x="662" y="151"/>
                  </a:lnTo>
                  <a:lnTo>
                    <a:pt x="664" y="151"/>
                  </a:lnTo>
                  <a:lnTo>
                    <a:pt x="665" y="151"/>
                  </a:lnTo>
                  <a:lnTo>
                    <a:pt x="664" y="149"/>
                  </a:lnTo>
                  <a:lnTo>
                    <a:pt x="659" y="149"/>
                  </a:lnTo>
                  <a:lnTo>
                    <a:pt x="657" y="153"/>
                  </a:lnTo>
                  <a:lnTo>
                    <a:pt x="655" y="153"/>
                  </a:lnTo>
                  <a:lnTo>
                    <a:pt x="652" y="153"/>
                  </a:lnTo>
                  <a:lnTo>
                    <a:pt x="651" y="153"/>
                  </a:lnTo>
                  <a:lnTo>
                    <a:pt x="649" y="154"/>
                  </a:lnTo>
                  <a:lnTo>
                    <a:pt x="647" y="156"/>
                  </a:lnTo>
                  <a:lnTo>
                    <a:pt x="646" y="156"/>
                  </a:lnTo>
                  <a:lnTo>
                    <a:pt x="644" y="156"/>
                  </a:lnTo>
                  <a:lnTo>
                    <a:pt x="644" y="154"/>
                  </a:lnTo>
                  <a:lnTo>
                    <a:pt x="642" y="153"/>
                  </a:lnTo>
                  <a:lnTo>
                    <a:pt x="641" y="153"/>
                  </a:lnTo>
                  <a:lnTo>
                    <a:pt x="636" y="153"/>
                  </a:lnTo>
                  <a:lnTo>
                    <a:pt x="633" y="151"/>
                  </a:lnTo>
                  <a:lnTo>
                    <a:pt x="631" y="151"/>
                  </a:lnTo>
                  <a:lnTo>
                    <a:pt x="629" y="151"/>
                  </a:lnTo>
                  <a:lnTo>
                    <a:pt x="628" y="151"/>
                  </a:lnTo>
                  <a:lnTo>
                    <a:pt x="626" y="156"/>
                  </a:lnTo>
                  <a:lnTo>
                    <a:pt x="625" y="158"/>
                  </a:lnTo>
                  <a:lnTo>
                    <a:pt x="623" y="158"/>
                  </a:lnTo>
                  <a:lnTo>
                    <a:pt x="620" y="156"/>
                  </a:lnTo>
                  <a:lnTo>
                    <a:pt x="618" y="156"/>
                  </a:lnTo>
                  <a:lnTo>
                    <a:pt x="615" y="156"/>
                  </a:lnTo>
                  <a:lnTo>
                    <a:pt x="613" y="156"/>
                  </a:lnTo>
                  <a:lnTo>
                    <a:pt x="613" y="158"/>
                  </a:lnTo>
                  <a:lnTo>
                    <a:pt x="612" y="158"/>
                  </a:lnTo>
                  <a:lnTo>
                    <a:pt x="610" y="159"/>
                  </a:lnTo>
                  <a:lnTo>
                    <a:pt x="608" y="159"/>
                  </a:lnTo>
                  <a:lnTo>
                    <a:pt x="608" y="162"/>
                  </a:lnTo>
                  <a:lnTo>
                    <a:pt x="608" y="164"/>
                  </a:lnTo>
                  <a:lnTo>
                    <a:pt x="607" y="167"/>
                  </a:lnTo>
                  <a:lnTo>
                    <a:pt x="607" y="169"/>
                  </a:lnTo>
                  <a:lnTo>
                    <a:pt x="603" y="169"/>
                  </a:lnTo>
                  <a:lnTo>
                    <a:pt x="603" y="171"/>
                  </a:lnTo>
                  <a:lnTo>
                    <a:pt x="603" y="172"/>
                  </a:lnTo>
                  <a:lnTo>
                    <a:pt x="602" y="180"/>
                  </a:lnTo>
                  <a:lnTo>
                    <a:pt x="600" y="184"/>
                  </a:lnTo>
                  <a:lnTo>
                    <a:pt x="599" y="188"/>
                  </a:lnTo>
                  <a:lnTo>
                    <a:pt x="599" y="190"/>
                  </a:lnTo>
                  <a:lnTo>
                    <a:pt x="597" y="192"/>
                  </a:lnTo>
                  <a:lnTo>
                    <a:pt x="597" y="193"/>
                  </a:lnTo>
                  <a:lnTo>
                    <a:pt x="595" y="195"/>
                  </a:lnTo>
                  <a:lnTo>
                    <a:pt x="594" y="198"/>
                  </a:lnTo>
                  <a:lnTo>
                    <a:pt x="594" y="200"/>
                  </a:lnTo>
                  <a:lnTo>
                    <a:pt x="594" y="201"/>
                  </a:lnTo>
                  <a:lnTo>
                    <a:pt x="592" y="201"/>
                  </a:lnTo>
                  <a:lnTo>
                    <a:pt x="590" y="203"/>
                  </a:lnTo>
                  <a:lnTo>
                    <a:pt x="589" y="203"/>
                  </a:lnTo>
                  <a:lnTo>
                    <a:pt x="587" y="203"/>
                  </a:lnTo>
                  <a:lnTo>
                    <a:pt x="586" y="203"/>
                  </a:lnTo>
                  <a:lnTo>
                    <a:pt x="584" y="203"/>
                  </a:lnTo>
                  <a:lnTo>
                    <a:pt x="582" y="205"/>
                  </a:lnTo>
                  <a:lnTo>
                    <a:pt x="582" y="203"/>
                  </a:lnTo>
                  <a:lnTo>
                    <a:pt x="581" y="203"/>
                  </a:lnTo>
                  <a:lnTo>
                    <a:pt x="579" y="203"/>
                  </a:lnTo>
                  <a:lnTo>
                    <a:pt x="577" y="203"/>
                  </a:lnTo>
                  <a:lnTo>
                    <a:pt x="577" y="205"/>
                  </a:lnTo>
                  <a:lnTo>
                    <a:pt x="577" y="206"/>
                  </a:lnTo>
                  <a:lnTo>
                    <a:pt x="577" y="208"/>
                  </a:lnTo>
                  <a:lnTo>
                    <a:pt x="577" y="210"/>
                  </a:lnTo>
                  <a:lnTo>
                    <a:pt x="579" y="210"/>
                  </a:lnTo>
                  <a:lnTo>
                    <a:pt x="581" y="211"/>
                  </a:lnTo>
                  <a:lnTo>
                    <a:pt x="582" y="211"/>
                  </a:lnTo>
                  <a:lnTo>
                    <a:pt x="584" y="211"/>
                  </a:lnTo>
                  <a:lnTo>
                    <a:pt x="586" y="211"/>
                  </a:lnTo>
                  <a:lnTo>
                    <a:pt x="587" y="211"/>
                  </a:lnTo>
                  <a:lnTo>
                    <a:pt x="587" y="210"/>
                  </a:lnTo>
                  <a:lnTo>
                    <a:pt x="589" y="210"/>
                  </a:lnTo>
                  <a:lnTo>
                    <a:pt x="590" y="210"/>
                  </a:lnTo>
                  <a:lnTo>
                    <a:pt x="590" y="211"/>
                  </a:lnTo>
                  <a:lnTo>
                    <a:pt x="589" y="213"/>
                  </a:lnTo>
                  <a:lnTo>
                    <a:pt x="587" y="213"/>
                  </a:lnTo>
                  <a:lnTo>
                    <a:pt x="586" y="213"/>
                  </a:lnTo>
                  <a:lnTo>
                    <a:pt x="584" y="213"/>
                  </a:lnTo>
                  <a:lnTo>
                    <a:pt x="582" y="215"/>
                  </a:lnTo>
                  <a:lnTo>
                    <a:pt x="581" y="215"/>
                  </a:lnTo>
                  <a:lnTo>
                    <a:pt x="581" y="213"/>
                  </a:lnTo>
                  <a:lnTo>
                    <a:pt x="579" y="213"/>
                  </a:lnTo>
                  <a:lnTo>
                    <a:pt x="579" y="215"/>
                  </a:lnTo>
                  <a:lnTo>
                    <a:pt x="577" y="216"/>
                  </a:lnTo>
                  <a:lnTo>
                    <a:pt x="576" y="218"/>
                  </a:lnTo>
                  <a:lnTo>
                    <a:pt x="574" y="218"/>
                  </a:lnTo>
                  <a:lnTo>
                    <a:pt x="574" y="219"/>
                  </a:lnTo>
                  <a:lnTo>
                    <a:pt x="573" y="219"/>
                  </a:lnTo>
                  <a:lnTo>
                    <a:pt x="573" y="218"/>
                  </a:lnTo>
                  <a:lnTo>
                    <a:pt x="571" y="219"/>
                  </a:lnTo>
                  <a:lnTo>
                    <a:pt x="569" y="219"/>
                  </a:lnTo>
                  <a:lnTo>
                    <a:pt x="568" y="219"/>
                  </a:lnTo>
                  <a:lnTo>
                    <a:pt x="568" y="218"/>
                  </a:lnTo>
                  <a:lnTo>
                    <a:pt x="566" y="219"/>
                  </a:lnTo>
                  <a:lnTo>
                    <a:pt x="564" y="219"/>
                  </a:lnTo>
                  <a:lnTo>
                    <a:pt x="564" y="221"/>
                  </a:lnTo>
                  <a:lnTo>
                    <a:pt x="561" y="221"/>
                  </a:lnTo>
                  <a:lnTo>
                    <a:pt x="561" y="223"/>
                  </a:lnTo>
                  <a:lnTo>
                    <a:pt x="561" y="224"/>
                  </a:lnTo>
                  <a:lnTo>
                    <a:pt x="561" y="226"/>
                  </a:lnTo>
                  <a:lnTo>
                    <a:pt x="563" y="226"/>
                  </a:lnTo>
                  <a:lnTo>
                    <a:pt x="561" y="228"/>
                  </a:lnTo>
                  <a:lnTo>
                    <a:pt x="561" y="226"/>
                  </a:lnTo>
                  <a:lnTo>
                    <a:pt x="559" y="226"/>
                  </a:lnTo>
                  <a:lnTo>
                    <a:pt x="559" y="228"/>
                  </a:lnTo>
                  <a:lnTo>
                    <a:pt x="558" y="228"/>
                  </a:lnTo>
                  <a:lnTo>
                    <a:pt x="558" y="229"/>
                  </a:lnTo>
                  <a:lnTo>
                    <a:pt x="558" y="231"/>
                  </a:lnTo>
                  <a:lnTo>
                    <a:pt x="556" y="231"/>
                  </a:lnTo>
                  <a:lnTo>
                    <a:pt x="556" y="229"/>
                  </a:lnTo>
                  <a:lnTo>
                    <a:pt x="556" y="228"/>
                  </a:lnTo>
                  <a:lnTo>
                    <a:pt x="555" y="228"/>
                  </a:lnTo>
                  <a:lnTo>
                    <a:pt x="556" y="226"/>
                  </a:lnTo>
                  <a:lnTo>
                    <a:pt x="555" y="226"/>
                  </a:lnTo>
                  <a:lnTo>
                    <a:pt x="555" y="228"/>
                  </a:lnTo>
                  <a:lnTo>
                    <a:pt x="555" y="229"/>
                  </a:lnTo>
                  <a:lnTo>
                    <a:pt x="553" y="229"/>
                  </a:lnTo>
                  <a:lnTo>
                    <a:pt x="553" y="231"/>
                  </a:lnTo>
                  <a:lnTo>
                    <a:pt x="553" y="232"/>
                  </a:lnTo>
                  <a:lnTo>
                    <a:pt x="551" y="234"/>
                  </a:lnTo>
                  <a:lnTo>
                    <a:pt x="551" y="236"/>
                  </a:lnTo>
                  <a:lnTo>
                    <a:pt x="550" y="236"/>
                  </a:lnTo>
                  <a:lnTo>
                    <a:pt x="548" y="236"/>
                  </a:lnTo>
                  <a:lnTo>
                    <a:pt x="546" y="236"/>
                  </a:lnTo>
                  <a:lnTo>
                    <a:pt x="543" y="236"/>
                  </a:lnTo>
                  <a:lnTo>
                    <a:pt x="542" y="234"/>
                  </a:lnTo>
                  <a:lnTo>
                    <a:pt x="538" y="236"/>
                  </a:lnTo>
                  <a:lnTo>
                    <a:pt x="538" y="234"/>
                  </a:lnTo>
                  <a:lnTo>
                    <a:pt x="537" y="234"/>
                  </a:lnTo>
                  <a:lnTo>
                    <a:pt x="537" y="236"/>
                  </a:lnTo>
                  <a:lnTo>
                    <a:pt x="537" y="237"/>
                  </a:lnTo>
                  <a:lnTo>
                    <a:pt x="537" y="239"/>
                  </a:lnTo>
                  <a:lnTo>
                    <a:pt x="535" y="239"/>
                  </a:lnTo>
                  <a:lnTo>
                    <a:pt x="533" y="239"/>
                  </a:lnTo>
                  <a:lnTo>
                    <a:pt x="532" y="239"/>
                  </a:lnTo>
                  <a:lnTo>
                    <a:pt x="532" y="241"/>
                  </a:lnTo>
                  <a:lnTo>
                    <a:pt x="530" y="241"/>
                  </a:lnTo>
                  <a:lnTo>
                    <a:pt x="529" y="241"/>
                  </a:lnTo>
                  <a:lnTo>
                    <a:pt x="525" y="239"/>
                  </a:lnTo>
                  <a:lnTo>
                    <a:pt x="525" y="241"/>
                  </a:lnTo>
                  <a:lnTo>
                    <a:pt x="524" y="241"/>
                  </a:lnTo>
                  <a:lnTo>
                    <a:pt x="522" y="241"/>
                  </a:lnTo>
                  <a:lnTo>
                    <a:pt x="519" y="241"/>
                  </a:lnTo>
                  <a:lnTo>
                    <a:pt x="519" y="242"/>
                  </a:lnTo>
                  <a:lnTo>
                    <a:pt x="520" y="242"/>
                  </a:lnTo>
                  <a:lnTo>
                    <a:pt x="520" y="245"/>
                  </a:lnTo>
                  <a:lnTo>
                    <a:pt x="520" y="249"/>
                  </a:lnTo>
                  <a:lnTo>
                    <a:pt x="520" y="250"/>
                  </a:lnTo>
                  <a:lnTo>
                    <a:pt x="519" y="250"/>
                  </a:lnTo>
                  <a:lnTo>
                    <a:pt x="517" y="252"/>
                  </a:lnTo>
                  <a:lnTo>
                    <a:pt x="516" y="252"/>
                  </a:lnTo>
                  <a:lnTo>
                    <a:pt x="514" y="252"/>
                  </a:lnTo>
                  <a:lnTo>
                    <a:pt x="512" y="252"/>
                  </a:lnTo>
                  <a:lnTo>
                    <a:pt x="511" y="254"/>
                  </a:lnTo>
                  <a:lnTo>
                    <a:pt x="511" y="255"/>
                  </a:lnTo>
                  <a:lnTo>
                    <a:pt x="507" y="257"/>
                  </a:lnTo>
                  <a:lnTo>
                    <a:pt x="506" y="257"/>
                  </a:lnTo>
                  <a:lnTo>
                    <a:pt x="504" y="260"/>
                  </a:lnTo>
                  <a:lnTo>
                    <a:pt x="503" y="262"/>
                  </a:lnTo>
                  <a:lnTo>
                    <a:pt x="501" y="262"/>
                  </a:lnTo>
                  <a:lnTo>
                    <a:pt x="499" y="262"/>
                  </a:lnTo>
                  <a:lnTo>
                    <a:pt x="498" y="263"/>
                  </a:lnTo>
                  <a:lnTo>
                    <a:pt x="496" y="265"/>
                  </a:lnTo>
                  <a:lnTo>
                    <a:pt x="494" y="267"/>
                  </a:lnTo>
                  <a:lnTo>
                    <a:pt x="493" y="268"/>
                  </a:lnTo>
                  <a:lnTo>
                    <a:pt x="491" y="268"/>
                  </a:lnTo>
                  <a:lnTo>
                    <a:pt x="491" y="270"/>
                  </a:lnTo>
                  <a:lnTo>
                    <a:pt x="490" y="271"/>
                  </a:lnTo>
                  <a:lnTo>
                    <a:pt x="488" y="275"/>
                  </a:lnTo>
                  <a:lnTo>
                    <a:pt x="486" y="276"/>
                  </a:lnTo>
                  <a:lnTo>
                    <a:pt x="486" y="280"/>
                  </a:lnTo>
                  <a:lnTo>
                    <a:pt x="485" y="280"/>
                  </a:lnTo>
                  <a:lnTo>
                    <a:pt x="483" y="280"/>
                  </a:lnTo>
                  <a:lnTo>
                    <a:pt x="481" y="280"/>
                  </a:lnTo>
                  <a:lnTo>
                    <a:pt x="480" y="280"/>
                  </a:lnTo>
                  <a:lnTo>
                    <a:pt x="478" y="280"/>
                  </a:lnTo>
                  <a:lnTo>
                    <a:pt x="477" y="280"/>
                  </a:lnTo>
                  <a:lnTo>
                    <a:pt x="477" y="281"/>
                  </a:lnTo>
                  <a:lnTo>
                    <a:pt x="475" y="281"/>
                  </a:lnTo>
                  <a:lnTo>
                    <a:pt x="475" y="283"/>
                  </a:lnTo>
                  <a:lnTo>
                    <a:pt x="473" y="283"/>
                  </a:lnTo>
                  <a:lnTo>
                    <a:pt x="470" y="284"/>
                  </a:lnTo>
                  <a:lnTo>
                    <a:pt x="468" y="283"/>
                  </a:lnTo>
                  <a:lnTo>
                    <a:pt x="465" y="284"/>
                  </a:lnTo>
                  <a:lnTo>
                    <a:pt x="464" y="286"/>
                  </a:lnTo>
                  <a:lnTo>
                    <a:pt x="462" y="288"/>
                  </a:lnTo>
                  <a:lnTo>
                    <a:pt x="460" y="289"/>
                  </a:lnTo>
                  <a:lnTo>
                    <a:pt x="459" y="291"/>
                  </a:lnTo>
                  <a:lnTo>
                    <a:pt x="454" y="286"/>
                  </a:lnTo>
                  <a:lnTo>
                    <a:pt x="454" y="284"/>
                  </a:lnTo>
                  <a:lnTo>
                    <a:pt x="451" y="286"/>
                  </a:lnTo>
                  <a:lnTo>
                    <a:pt x="449" y="286"/>
                  </a:lnTo>
                  <a:lnTo>
                    <a:pt x="446" y="284"/>
                  </a:lnTo>
                  <a:lnTo>
                    <a:pt x="444" y="284"/>
                  </a:lnTo>
                  <a:lnTo>
                    <a:pt x="441" y="288"/>
                  </a:lnTo>
                  <a:lnTo>
                    <a:pt x="439" y="289"/>
                  </a:lnTo>
                  <a:lnTo>
                    <a:pt x="436" y="291"/>
                  </a:lnTo>
                  <a:lnTo>
                    <a:pt x="434" y="293"/>
                  </a:lnTo>
                  <a:lnTo>
                    <a:pt x="433" y="296"/>
                  </a:lnTo>
                  <a:lnTo>
                    <a:pt x="431" y="296"/>
                  </a:lnTo>
                  <a:lnTo>
                    <a:pt x="433" y="294"/>
                  </a:lnTo>
                  <a:lnTo>
                    <a:pt x="431" y="294"/>
                  </a:lnTo>
                  <a:lnTo>
                    <a:pt x="431" y="293"/>
                  </a:lnTo>
                  <a:lnTo>
                    <a:pt x="428" y="291"/>
                  </a:lnTo>
                  <a:lnTo>
                    <a:pt x="425" y="286"/>
                  </a:lnTo>
                  <a:lnTo>
                    <a:pt x="423" y="288"/>
                  </a:lnTo>
                  <a:lnTo>
                    <a:pt x="421" y="289"/>
                  </a:lnTo>
                  <a:lnTo>
                    <a:pt x="420" y="289"/>
                  </a:lnTo>
                  <a:lnTo>
                    <a:pt x="418" y="289"/>
                  </a:lnTo>
                  <a:lnTo>
                    <a:pt x="418" y="288"/>
                  </a:lnTo>
                  <a:lnTo>
                    <a:pt x="420" y="288"/>
                  </a:lnTo>
                  <a:lnTo>
                    <a:pt x="420" y="286"/>
                  </a:lnTo>
                  <a:lnTo>
                    <a:pt x="421" y="286"/>
                  </a:lnTo>
                  <a:lnTo>
                    <a:pt x="421" y="284"/>
                  </a:lnTo>
                  <a:lnTo>
                    <a:pt x="421" y="283"/>
                  </a:lnTo>
                  <a:lnTo>
                    <a:pt x="423" y="283"/>
                  </a:lnTo>
                  <a:lnTo>
                    <a:pt x="423" y="281"/>
                  </a:lnTo>
                  <a:lnTo>
                    <a:pt x="425" y="281"/>
                  </a:lnTo>
                  <a:lnTo>
                    <a:pt x="423" y="280"/>
                  </a:lnTo>
                  <a:lnTo>
                    <a:pt x="421" y="280"/>
                  </a:lnTo>
                  <a:lnTo>
                    <a:pt x="420" y="281"/>
                  </a:lnTo>
                  <a:lnTo>
                    <a:pt x="418" y="281"/>
                  </a:lnTo>
                  <a:lnTo>
                    <a:pt x="416" y="280"/>
                  </a:lnTo>
                  <a:lnTo>
                    <a:pt x="416" y="281"/>
                  </a:lnTo>
                  <a:lnTo>
                    <a:pt x="415" y="281"/>
                  </a:lnTo>
                  <a:lnTo>
                    <a:pt x="413" y="280"/>
                  </a:lnTo>
                  <a:lnTo>
                    <a:pt x="410" y="278"/>
                  </a:lnTo>
                  <a:lnTo>
                    <a:pt x="408" y="278"/>
                  </a:lnTo>
                  <a:lnTo>
                    <a:pt x="407" y="278"/>
                  </a:lnTo>
                  <a:lnTo>
                    <a:pt x="405" y="278"/>
                  </a:lnTo>
                  <a:lnTo>
                    <a:pt x="405" y="276"/>
                  </a:lnTo>
                  <a:lnTo>
                    <a:pt x="403" y="276"/>
                  </a:lnTo>
                  <a:lnTo>
                    <a:pt x="400" y="278"/>
                  </a:lnTo>
                  <a:lnTo>
                    <a:pt x="398" y="276"/>
                  </a:lnTo>
                  <a:lnTo>
                    <a:pt x="397" y="276"/>
                  </a:lnTo>
                  <a:lnTo>
                    <a:pt x="395" y="275"/>
                  </a:lnTo>
                  <a:lnTo>
                    <a:pt x="395" y="273"/>
                  </a:lnTo>
                  <a:lnTo>
                    <a:pt x="392" y="273"/>
                  </a:lnTo>
                  <a:lnTo>
                    <a:pt x="392" y="271"/>
                  </a:lnTo>
                  <a:lnTo>
                    <a:pt x="390" y="271"/>
                  </a:lnTo>
                  <a:lnTo>
                    <a:pt x="389" y="271"/>
                  </a:lnTo>
                  <a:lnTo>
                    <a:pt x="385" y="270"/>
                  </a:lnTo>
                  <a:lnTo>
                    <a:pt x="382" y="270"/>
                  </a:lnTo>
                  <a:lnTo>
                    <a:pt x="382" y="268"/>
                  </a:lnTo>
                  <a:lnTo>
                    <a:pt x="381" y="268"/>
                  </a:lnTo>
                  <a:lnTo>
                    <a:pt x="379" y="268"/>
                  </a:lnTo>
                  <a:lnTo>
                    <a:pt x="379" y="270"/>
                  </a:lnTo>
                  <a:lnTo>
                    <a:pt x="379" y="273"/>
                  </a:lnTo>
                  <a:lnTo>
                    <a:pt x="376" y="273"/>
                  </a:lnTo>
                  <a:lnTo>
                    <a:pt x="372" y="273"/>
                  </a:lnTo>
                  <a:lnTo>
                    <a:pt x="371" y="271"/>
                  </a:lnTo>
                  <a:lnTo>
                    <a:pt x="371" y="270"/>
                  </a:lnTo>
                  <a:lnTo>
                    <a:pt x="371" y="268"/>
                  </a:lnTo>
                  <a:lnTo>
                    <a:pt x="371" y="267"/>
                  </a:lnTo>
                  <a:lnTo>
                    <a:pt x="371" y="263"/>
                  </a:lnTo>
                  <a:lnTo>
                    <a:pt x="371" y="262"/>
                  </a:lnTo>
                  <a:lnTo>
                    <a:pt x="371" y="260"/>
                  </a:lnTo>
                  <a:lnTo>
                    <a:pt x="369" y="260"/>
                  </a:lnTo>
                  <a:lnTo>
                    <a:pt x="368" y="260"/>
                  </a:lnTo>
                  <a:lnTo>
                    <a:pt x="366" y="262"/>
                  </a:lnTo>
                  <a:lnTo>
                    <a:pt x="366" y="263"/>
                  </a:lnTo>
                  <a:lnTo>
                    <a:pt x="364" y="263"/>
                  </a:lnTo>
                  <a:lnTo>
                    <a:pt x="364" y="262"/>
                  </a:lnTo>
                  <a:lnTo>
                    <a:pt x="363" y="263"/>
                  </a:lnTo>
                  <a:lnTo>
                    <a:pt x="361" y="263"/>
                  </a:lnTo>
                  <a:lnTo>
                    <a:pt x="361" y="262"/>
                  </a:lnTo>
                  <a:lnTo>
                    <a:pt x="359" y="263"/>
                  </a:lnTo>
                  <a:lnTo>
                    <a:pt x="358" y="263"/>
                  </a:lnTo>
                  <a:lnTo>
                    <a:pt x="356" y="263"/>
                  </a:lnTo>
                  <a:lnTo>
                    <a:pt x="355" y="265"/>
                  </a:lnTo>
                  <a:lnTo>
                    <a:pt x="353" y="267"/>
                  </a:lnTo>
                  <a:lnTo>
                    <a:pt x="348" y="270"/>
                  </a:lnTo>
                  <a:lnTo>
                    <a:pt x="348" y="271"/>
                  </a:lnTo>
                  <a:lnTo>
                    <a:pt x="346" y="273"/>
                  </a:lnTo>
                  <a:lnTo>
                    <a:pt x="346" y="275"/>
                  </a:lnTo>
                  <a:lnTo>
                    <a:pt x="348" y="276"/>
                  </a:lnTo>
                  <a:lnTo>
                    <a:pt x="348" y="278"/>
                  </a:lnTo>
                  <a:lnTo>
                    <a:pt x="348" y="280"/>
                  </a:lnTo>
                  <a:lnTo>
                    <a:pt x="350" y="281"/>
                  </a:lnTo>
                  <a:lnTo>
                    <a:pt x="348" y="283"/>
                  </a:lnTo>
                  <a:lnTo>
                    <a:pt x="348" y="284"/>
                  </a:lnTo>
                  <a:lnTo>
                    <a:pt x="346" y="286"/>
                  </a:lnTo>
                  <a:lnTo>
                    <a:pt x="346" y="288"/>
                  </a:lnTo>
                  <a:lnTo>
                    <a:pt x="346" y="289"/>
                  </a:lnTo>
                  <a:lnTo>
                    <a:pt x="348" y="293"/>
                  </a:lnTo>
                  <a:lnTo>
                    <a:pt x="345" y="294"/>
                  </a:lnTo>
                  <a:lnTo>
                    <a:pt x="345" y="296"/>
                  </a:lnTo>
                  <a:lnTo>
                    <a:pt x="343" y="296"/>
                  </a:lnTo>
                  <a:lnTo>
                    <a:pt x="342" y="296"/>
                  </a:lnTo>
                  <a:lnTo>
                    <a:pt x="340" y="296"/>
                  </a:lnTo>
                  <a:lnTo>
                    <a:pt x="338" y="296"/>
                  </a:lnTo>
                  <a:lnTo>
                    <a:pt x="335" y="296"/>
                  </a:lnTo>
                  <a:lnTo>
                    <a:pt x="333" y="296"/>
                  </a:lnTo>
                  <a:lnTo>
                    <a:pt x="332" y="297"/>
                  </a:lnTo>
                  <a:lnTo>
                    <a:pt x="330" y="297"/>
                  </a:lnTo>
                  <a:lnTo>
                    <a:pt x="329" y="297"/>
                  </a:lnTo>
                  <a:lnTo>
                    <a:pt x="327" y="297"/>
                  </a:lnTo>
                  <a:lnTo>
                    <a:pt x="325" y="297"/>
                  </a:lnTo>
                  <a:lnTo>
                    <a:pt x="324" y="297"/>
                  </a:lnTo>
                  <a:lnTo>
                    <a:pt x="322" y="297"/>
                  </a:lnTo>
                  <a:lnTo>
                    <a:pt x="320" y="297"/>
                  </a:lnTo>
                  <a:lnTo>
                    <a:pt x="317" y="299"/>
                  </a:lnTo>
                  <a:lnTo>
                    <a:pt x="316" y="299"/>
                  </a:lnTo>
                  <a:lnTo>
                    <a:pt x="316" y="301"/>
                  </a:lnTo>
                  <a:lnTo>
                    <a:pt x="314" y="301"/>
                  </a:lnTo>
                  <a:lnTo>
                    <a:pt x="314" y="299"/>
                  </a:lnTo>
                  <a:lnTo>
                    <a:pt x="312" y="299"/>
                  </a:lnTo>
                  <a:lnTo>
                    <a:pt x="311" y="299"/>
                  </a:lnTo>
                  <a:lnTo>
                    <a:pt x="309" y="301"/>
                  </a:lnTo>
                  <a:lnTo>
                    <a:pt x="307" y="302"/>
                  </a:lnTo>
                  <a:lnTo>
                    <a:pt x="306" y="302"/>
                  </a:lnTo>
                  <a:lnTo>
                    <a:pt x="304" y="302"/>
                  </a:lnTo>
                  <a:lnTo>
                    <a:pt x="304" y="304"/>
                  </a:lnTo>
                  <a:lnTo>
                    <a:pt x="304" y="302"/>
                  </a:lnTo>
                  <a:lnTo>
                    <a:pt x="303" y="304"/>
                  </a:lnTo>
                  <a:lnTo>
                    <a:pt x="301" y="304"/>
                  </a:lnTo>
                  <a:lnTo>
                    <a:pt x="301" y="306"/>
                  </a:lnTo>
                  <a:lnTo>
                    <a:pt x="299" y="307"/>
                  </a:lnTo>
                  <a:lnTo>
                    <a:pt x="296" y="307"/>
                  </a:lnTo>
                  <a:lnTo>
                    <a:pt x="294" y="309"/>
                  </a:lnTo>
                  <a:lnTo>
                    <a:pt x="293" y="307"/>
                  </a:lnTo>
                  <a:lnTo>
                    <a:pt x="291" y="307"/>
                  </a:lnTo>
                  <a:lnTo>
                    <a:pt x="290" y="307"/>
                  </a:lnTo>
                  <a:lnTo>
                    <a:pt x="288" y="309"/>
                  </a:lnTo>
                  <a:lnTo>
                    <a:pt x="288" y="310"/>
                  </a:lnTo>
                  <a:lnTo>
                    <a:pt x="286" y="312"/>
                  </a:lnTo>
                  <a:lnTo>
                    <a:pt x="286" y="314"/>
                  </a:lnTo>
                  <a:lnTo>
                    <a:pt x="285" y="315"/>
                  </a:lnTo>
                  <a:lnTo>
                    <a:pt x="285" y="319"/>
                  </a:lnTo>
                  <a:lnTo>
                    <a:pt x="285" y="320"/>
                  </a:lnTo>
                  <a:lnTo>
                    <a:pt x="283" y="322"/>
                  </a:lnTo>
                  <a:lnTo>
                    <a:pt x="283" y="323"/>
                  </a:lnTo>
                  <a:lnTo>
                    <a:pt x="281" y="325"/>
                  </a:lnTo>
                  <a:lnTo>
                    <a:pt x="280" y="325"/>
                  </a:lnTo>
                  <a:lnTo>
                    <a:pt x="278" y="325"/>
                  </a:lnTo>
                  <a:lnTo>
                    <a:pt x="277" y="325"/>
                  </a:lnTo>
                  <a:lnTo>
                    <a:pt x="277" y="323"/>
                  </a:lnTo>
                  <a:lnTo>
                    <a:pt x="275" y="323"/>
                  </a:lnTo>
                  <a:lnTo>
                    <a:pt x="273" y="323"/>
                  </a:lnTo>
                  <a:lnTo>
                    <a:pt x="272" y="323"/>
                  </a:lnTo>
                  <a:lnTo>
                    <a:pt x="270" y="323"/>
                  </a:lnTo>
                  <a:lnTo>
                    <a:pt x="268" y="325"/>
                  </a:lnTo>
                  <a:lnTo>
                    <a:pt x="268" y="323"/>
                  </a:lnTo>
                  <a:lnTo>
                    <a:pt x="267" y="322"/>
                  </a:lnTo>
                  <a:lnTo>
                    <a:pt x="265" y="323"/>
                  </a:lnTo>
                  <a:lnTo>
                    <a:pt x="263" y="325"/>
                  </a:lnTo>
                  <a:lnTo>
                    <a:pt x="262" y="327"/>
                  </a:lnTo>
                  <a:lnTo>
                    <a:pt x="260" y="327"/>
                  </a:lnTo>
                  <a:lnTo>
                    <a:pt x="260" y="325"/>
                  </a:lnTo>
                  <a:lnTo>
                    <a:pt x="259" y="327"/>
                  </a:lnTo>
                  <a:lnTo>
                    <a:pt x="257" y="325"/>
                  </a:lnTo>
                  <a:lnTo>
                    <a:pt x="254" y="325"/>
                  </a:lnTo>
                  <a:lnTo>
                    <a:pt x="252" y="325"/>
                  </a:lnTo>
                  <a:lnTo>
                    <a:pt x="250" y="325"/>
                  </a:lnTo>
                  <a:lnTo>
                    <a:pt x="249" y="325"/>
                  </a:lnTo>
                  <a:lnTo>
                    <a:pt x="249" y="323"/>
                  </a:lnTo>
                  <a:lnTo>
                    <a:pt x="249" y="322"/>
                  </a:lnTo>
                  <a:lnTo>
                    <a:pt x="249" y="319"/>
                  </a:lnTo>
                  <a:lnTo>
                    <a:pt x="247" y="317"/>
                  </a:lnTo>
                  <a:lnTo>
                    <a:pt x="247" y="315"/>
                  </a:lnTo>
                  <a:lnTo>
                    <a:pt x="247" y="314"/>
                  </a:lnTo>
                  <a:lnTo>
                    <a:pt x="247" y="312"/>
                  </a:lnTo>
                  <a:lnTo>
                    <a:pt x="249" y="307"/>
                  </a:lnTo>
                  <a:lnTo>
                    <a:pt x="250" y="306"/>
                  </a:lnTo>
                  <a:lnTo>
                    <a:pt x="250" y="304"/>
                  </a:lnTo>
                  <a:lnTo>
                    <a:pt x="252" y="304"/>
                  </a:lnTo>
                  <a:lnTo>
                    <a:pt x="252" y="306"/>
                  </a:lnTo>
                  <a:lnTo>
                    <a:pt x="254" y="304"/>
                  </a:lnTo>
                  <a:lnTo>
                    <a:pt x="252" y="304"/>
                  </a:lnTo>
                  <a:lnTo>
                    <a:pt x="254" y="304"/>
                  </a:lnTo>
                  <a:lnTo>
                    <a:pt x="254" y="302"/>
                  </a:lnTo>
                  <a:lnTo>
                    <a:pt x="254" y="301"/>
                  </a:lnTo>
                  <a:lnTo>
                    <a:pt x="255" y="301"/>
                  </a:lnTo>
                  <a:lnTo>
                    <a:pt x="255" y="299"/>
                  </a:lnTo>
                  <a:lnTo>
                    <a:pt x="255" y="296"/>
                  </a:lnTo>
                  <a:lnTo>
                    <a:pt x="255" y="294"/>
                  </a:lnTo>
                  <a:lnTo>
                    <a:pt x="255" y="291"/>
                  </a:lnTo>
                  <a:lnTo>
                    <a:pt x="255" y="286"/>
                  </a:lnTo>
                  <a:lnTo>
                    <a:pt x="255" y="284"/>
                  </a:lnTo>
                  <a:lnTo>
                    <a:pt x="255" y="283"/>
                  </a:lnTo>
                  <a:lnTo>
                    <a:pt x="255" y="281"/>
                  </a:lnTo>
                  <a:lnTo>
                    <a:pt x="255" y="278"/>
                  </a:lnTo>
                  <a:lnTo>
                    <a:pt x="254" y="275"/>
                  </a:lnTo>
                  <a:lnTo>
                    <a:pt x="254" y="273"/>
                  </a:lnTo>
                  <a:lnTo>
                    <a:pt x="254" y="270"/>
                  </a:lnTo>
                  <a:lnTo>
                    <a:pt x="252" y="270"/>
                  </a:lnTo>
                  <a:lnTo>
                    <a:pt x="252" y="268"/>
                  </a:lnTo>
                  <a:lnTo>
                    <a:pt x="250" y="265"/>
                  </a:lnTo>
                  <a:lnTo>
                    <a:pt x="249" y="263"/>
                  </a:lnTo>
                  <a:lnTo>
                    <a:pt x="247" y="262"/>
                  </a:lnTo>
                  <a:lnTo>
                    <a:pt x="246" y="255"/>
                  </a:lnTo>
                  <a:lnTo>
                    <a:pt x="244" y="254"/>
                  </a:lnTo>
                  <a:lnTo>
                    <a:pt x="244" y="252"/>
                  </a:lnTo>
                  <a:lnTo>
                    <a:pt x="242" y="252"/>
                  </a:lnTo>
                  <a:lnTo>
                    <a:pt x="242" y="250"/>
                  </a:lnTo>
                  <a:lnTo>
                    <a:pt x="242" y="249"/>
                  </a:lnTo>
                  <a:lnTo>
                    <a:pt x="242" y="250"/>
                  </a:lnTo>
                  <a:lnTo>
                    <a:pt x="241" y="250"/>
                  </a:lnTo>
                  <a:lnTo>
                    <a:pt x="241" y="249"/>
                  </a:lnTo>
                  <a:lnTo>
                    <a:pt x="241" y="250"/>
                  </a:lnTo>
                  <a:lnTo>
                    <a:pt x="239" y="249"/>
                  </a:lnTo>
                  <a:lnTo>
                    <a:pt x="237" y="247"/>
                  </a:lnTo>
                  <a:lnTo>
                    <a:pt x="234" y="244"/>
                  </a:lnTo>
                  <a:lnTo>
                    <a:pt x="234" y="242"/>
                  </a:lnTo>
                  <a:lnTo>
                    <a:pt x="234" y="244"/>
                  </a:lnTo>
                  <a:lnTo>
                    <a:pt x="234" y="242"/>
                  </a:lnTo>
                  <a:lnTo>
                    <a:pt x="234" y="244"/>
                  </a:lnTo>
                  <a:lnTo>
                    <a:pt x="236" y="244"/>
                  </a:lnTo>
                  <a:lnTo>
                    <a:pt x="236" y="245"/>
                  </a:lnTo>
                  <a:lnTo>
                    <a:pt x="237" y="245"/>
                  </a:lnTo>
                  <a:lnTo>
                    <a:pt x="236" y="245"/>
                  </a:lnTo>
                  <a:lnTo>
                    <a:pt x="237" y="245"/>
                  </a:lnTo>
                  <a:lnTo>
                    <a:pt x="237" y="244"/>
                  </a:lnTo>
                  <a:lnTo>
                    <a:pt x="236" y="244"/>
                  </a:lnTo>
                  <a:lnTo>
                    <a:pt x="237" y="244"/>
                  </a:lnTo>
                  <a:lnTo>
                    <a:pt x="236" y="244"/>
                  </a:lnTo>
                  <a:lnTo>
                    <a:pt x="237" y="242"/>
                  </a:lnTo>
                  <a:lnTo>
                    <a:pt x="236" y="242"/>
                  </a:lnTo>
                  <a:lnTo>
                    <a:pt x="234" y="242"/>
                  </a:lnTo>
                  <a:lnTo>
                    <a:pt x="234" y="241"/>
                  </a:lnTo>
                  <a:lnTo>
                    <a:pt x="236" y="241"/>
                  </a:lnTo>
                  <a:lnTo>
                    <a:pt x="236" y="239"/>
                  </a:lnTo>
                  <a:lnTo>
                    <a:pt x="237" y="239"/>
                  </a:lnTo>
                  <a:lnTo>
                    <a:pt x="237" y="237"/>
                  </a:lnTo>
                  <a:lnTo>
                    <a:pt x="237" y="236"/>
                  </a:lnTo>
                  <a:lnTo>
                    <a:pt x="236" y="236"/>
                  </a:lnTo>
                  <a:lnTo>
                    <a:pt x="236" y="234"/>
                  </a:lnTo>
                  <a:lnTo>
                    <a:pt x="236" y="236"/>
                  </a:lnTo>
                  <a:lnTo>
                    <a:pt x="234" y="236"/>
                  </a:lnTo>
                  <a:lnTo>
                    <a:pt x="233" y="236"/>
                  </a:lnTo>
                  <a:lnTo>
                    <a:pt x="231" y="236"/>
                  </a:lnTo>
                  <a:lnTo>
                    <a:pt x="231" y="237"/>
                  </a:lnTo>
                  <a:lnTo>
                    <a:pt x="231" y="236"/>
                  </a:lnTo>
                  <a:lnTo>
                    <a:pt x="231" y="237"/>
                  </a:lnTo>
                  <a:lnTo>
                    <a:pt x="229" y="237"/>
                  </a:lnTo>
                  <a:lnTo>
                    <a:pt x="231" y="237"/>
                  </a:lnTo>
                  <a:lnTo>
                    <a:pt x="231" y="239"/>
                  </a:lnTo>
                  <a:lnTo>
                    <a:pt x="233" y="241"/>
                  </a:lnTo>
                  <a:lnTo>
                    <a:pt x="234" y="242"/>
                  </a:lnTo>
                  <a:lnTo>
                    <a:pt x="233" y="244"/>
                  </a:lnTo>
                  <a:lnTo>
                    <a:pt x="231" y="242"/>
                  </a:lnTo>
                  <a:lnTo>
                    <a:pt x="228" y="241"/>
                  </a:lnTo>
                  <a:lnTo>
                    <a:pt x="228" y="239"/>
                  </a:lnTo>
                  <a:lnTo>
                    <a:pt x="226" y="239"/>
                  </a:lnTo>
                  <a:lnTo>
                    <a:pt x="226" y="237"/>
                  </a:lnTo>
                  <a:lnTo>
                    <a:pt x="224" y="237"/>
                  </a:lnTo>
                  <a:lnTo>
                    <a:pt x="224" y="236"/>
                  </a:lnTo>
                  <a:lnTo>
                    <a:pt x="223" y="234"/>
                  </a:lnTo>
                  <a:lnTo>
                    <a:pt x="223" y="232"/>
                  </a:lnTo>
                  <a:lnTo>
                    <a:pt x="223" y="231"/>
                  </a:lnTo>
                  <a:lnTo>
                    <a:pt x="226" y="229"/>
                  </a:lnTo>
                  <a:lnTo>
                    <a:pt x="228" y="231"/>
                  </a:lnTo>
                  <a:lnTo>
                    <a:pt x="229" y="231"/>
                  </a:lnTo>
                  <a:lnTo>
                    <a:pt x="231" y="231"/>
                  </a:lnTo>
                  <a:lnTo>
                    <a:pt x="231" y="232"/>
                  </a:lnTo>
                  <a:lnTo>
                    <a:pt x="233" y="231"/>
                  </a:lnTo>
                  <a:lnTo>
                    <a:pt x="234" y="229"/>
                  </a:lnTo>
                  <a:lnTo>
                    <a:pt x="236" y="229"/>
                  </a:lnTo>
                  <a:lnTo>
                    <a:pt x="236" y="228"/>
                  </a:lnTo>
                  <a:lnTo>
                    <a:pt x="236" y="226"/>
                  </a:lnTo>
                  <a:lnTo>
                    <a:pt x="234" y="226"/>
                  </a:lnTo>
                  <a:lnTo>
                    <a:pt x="234" y="228"/>
                  </a:lnTo>
                  <a:lnTo>
                    <a:pt x="233" y="228"/>
                  </a:lnTo>
                  <a:lnTo>
                    <a:pt x="234" y="226"/>
                  </a:lnTo>
                  <a:lnTo>
                    <a:pt x="234" y="224"/>
                  </a:lnTo>
                  <a:lnTo>
                    <a:pt x="236" y="224"/>
                  </a:lnTo>
                  <a:lnTo>
                    <a:pt x="236" y="223"/>
                  </a:lnTo>
                  <a:lnTo>
                    <a:pt x="237" y="224"/>
                  </a:lnTo>
                  <a:lnTo>
                    <a:pt x="239" y="224"/>
                  </a:lnTo>
                  <a:lnTo>
                    <a:pt x="241" y="224"/>
                  </a:lnTo>
                  <a:lnTo>
                    <a:pt x="241" y="223"/>
                  </a:lnTo>
                  <a:lnTo>
                    <a:pt x="241" y="221"/>
                  </a:lnTo>
                  <a:lnTo>
                    <a:pt x="242" y="221"/>
                  </a:lnTo>
                  <a:lnTo>
                    <a:pt x="244" y="223"/>
                  </a:lnTo>
                  <a:lnTo>
                    <a:pt x="246" y="223"/>
                  </a:lnTo>
                  <a:lnTo>
                    <a:pt x="246" y="221"/>
                  </a:lnTo>
                  <a:lnTo>
                    <a:pt x="247" y="221"/>
                  </a:lnTo>
                  <a:lnTo>
                    <a:pt x="249" y="221"/>
                  </a:lnTo>
                  <a:lnTo>
                    <a:pt x="250" y="219"/>
                  </a:lnTo>
                  <a:lnTo>
                    <a:pt x="250" y="218"/>
                  </a:lnTo>
                  <a:lnTo>
                    <a:pt x="250" y="216"/>
                  </a:lnTo>
                  <a:lnTo>
                    <a:pt x="252" y="216"/>
                  </a:lnTo>
                  <a:lnTo>
                    <a:pt x="252" y="218"/>
                  </a:lnTo>
                  <a:lnTo>
                    <a:pt x="254" y="218"/>
                  </a:lnTo>
                  <a:lnTo>
                    <a:pt x="254" y="216"/>
                  </a:lnTo>
                  <a:lnTo>
                    <a:pt x="255" y="216"/>
                  </a:lnTo>
                  <a:lnTo>
                    <a:pt x="257" y="218"/>
                  </a:lnTo>
                  <a:lnTo>
                    <a:pt x="259" y="218"/>
                  </a:lnTo>
                  <a:lnTo>
                    <a:pt x="260" y="218"/>
                  </a:lnTo>
                  <a:lnTo>
                    <a:pt x="260" y="216"/>
                  </a:lnTo>
                  <a:lnTo>
                    <a:pt x="262" y="216"/>
                  </a:lnTo>
                  <a:lnTo>
                    <a:pt x="262" y="215"/>
                  </a:lnTo>
                  <a:lnTo>
                    <a:pt x="263" y="215"/>
                  </a:lnTo>
                  <a:lnTo>
                    <a:pt x="265" y="216"/>
                  </a:lnTo>
                  <a:lnTo>
                    <a:pt x="267" y="215"/>
                  </a:lnTo>
                  <a:lnTo>
                    <a:pt x="268" y="216"/>
                  </a:lnTo>
                  <a:lnTo>
                    <a:pt x="270" y="216"/>
                  </a:lnTo>
                  <a:lnTo>
                    <a:pt x="272" y="215"/>
                  </a:lnTo>
                  <a:lnTo>
                    <a:pt x="273" y="215"/>
                  </a:lnTo>
                  <a:lnTo>
                    <a:pt x="273" y="213"/>
                  </a:lnTo>
                  <a:lnTo>
                    <a:pt x="275" y="213"/>
                  </a:lnTo>
                  <a:lnTo>
                    <a:pt x="275" y="215"/>
                  </a:lnTo>
                  <a:lnTo>
                    <a:pt x="277" y="213"/>
                  </a:lnTo>
                  <a:lnTo>
                    <a:pt x="277" y="215"/>
                  </a:lnTo>
                  <a:lnTo>
                    <a:pt x="278" y="216"/>
                  </a:lnTo>
                  <a:lnTo>
                    <a:pt x="280" y="216"/>
                  </a:lnTo>
                  <a:lnTo>
                    <a:pt x="281" y="216"/>
                  </a:lnTo>
                  <a:lnTo>
                    <a:pt x="283" y="216"/>
                  </a:lnTo>
                  <a:lnTo>
                    <a:pt x="285" y="216"/>
                  </a:lnTo>
                  <a:lnTo>
                    <a:pt x="288" y="216"/>
                  </a:lnTo>
                  <a:lnTo>
                    <a:pt x="290" y="215"/>
                  </a:lnTo>
                  <a:lnTo>
                    <a:pt x="290" y="213"/>
                  </a:lnTo>
                  <a:lnTo>
                    <a:pt x="290" y="211"/>
                  </a:lnTo>
                  <a:lnTo>
                    <a:pt x="291" y="211"/>
                  </a:lnTo>
                  <a:lnTo>
                    <a:pt x="293" y="211"/>
                  </a:lnTo>
                  <a:lnTo>
                    <a:pt x="294" y="211"/>
                  </a:lnTo>
                  <a:lnTo>
                    <a:pt x="294" y="210"/>
                  </a:lnTo>
                  <a:lnTo>
                    <a:pt x="293" y="210"/>
                  </a:lnTo>
                  <a:lnTo>
                    <a:pt x="293" y="208"/>
                  </a:lnTo>
                  <a:lnTo>
                    <a:pt x="293" y="206"/>
                  </a:lnTo>
                  <a:lnTo>
                    <a:pt x="293" y="208"/>
                  </a:lnTo>
                  <a:lnTo>
                    <a:pt x="291" y="208"/>
                  </a:lnTo>
                  <a:lnTo>
                    <a:pt x="293" y="210"/>
                  </a:lnTo>
                  <a:lnTo>
                    <a:pt x="293" y="211"/>
                  </a:lnTo>
                  <a:lnTo>
                    <a:pt x="291" y="211"/>
                  </a:lnTo>
                  <a:lnTo>
                    <a:pt x="290" y="211"/>
                  </a:lnTo>
                  <a:lnTo>
                    <a:pt x="288" y="211"/>
                  </a:lnTo>
                  <a:lnTo>
                    <a:pt x="288" y="213"/>
                  </a:lnTo>
                  <a:lnTo>
                    <a:pt x="290" y="213"/>
                  </a:lnTo>
                  <a:lnTo>
                    <a:pt x="288" y="215"/>
                  </a:lnTo>
                  <a:lnTo>
                    <a:pt x="288" y="216"/>
                  </a:lnTo>
                  <a:lnTo>
                    <a:pt x="286" y="216"/>
                  </a:lnTo>
                  <a:lnTo>
                    <a:pt x="285" y="216"/>
                  </a:lnTo>
                  <a:lnTo>
                    <a:pt x="283" y="216"/>
                  </a:lnTo>
                  <a:lnTo>
                    <a:pt x="281" y="216"/>
                  </a:lnTo>
                  <a:lnTo>
                    <a:pt x="278" y="216"/>
                  </a:lnTo>
                  <a:lnTo>
                    <a:pt x="278" y="215"/>
                  </a:lnTo>
                  <a:lnTo>
                    <a:pt x="277" y="215"/>
                  </a:lnTo>
                  <a:lnTo>
                    <a:pt x="277" y="213"/>
                  </a:lnTo>
                  <a:lnTo>
                    <a:pt x="275" y="213"/>
                  </a:lnTo>
                  <a:lnTo>
                    <a:pt x="273" y="213"/>
                  </a:lnTo>
                  <a:lnTo>
                    <a:pt x="272" y="213"/>
                  </a:lnTo>
                  <a:lnTo>
                    <a:pt x="270" y="215"/>
                  </a:lnTo>
                  <a:lnTo>
                    <a:pt x="270" y="216"/>
                  </a:lnTo>
                  <a:lnTo>
                    <a:pt x="268" y="215"/>
                  </a:lnTo>
                  <a:lnTo>
                    <a:pt x="267" y="215"/>
                  </a:lnTo>
                  <a:lnTo>
                    <a:pt x="265" y="215"/>
                  </a:lnTo>
                  <a:lnTo>
                    <a:pt x="263" y="215"/>
                  </a:lnTo>
                  <a:lnTo>
                    <a:pt x="262" y="215"/>
                  </a:lnTo>
                  <a:lnTo>
                    <a:pt x="260" y="216"/>
                  </a:lnTo>
                  <a:lnTo>
                    <a:pt x="260" y="218"/>
                  </a:lnTo>
                  <a:lnTo>
                    <a:pt x="259" y="218"/>
                  </a:lnTo>
                  <a:lnTo>
                    <a:pt x="259" y="216"/>
                  </a:lnTo>
                  <a:lnTo>
                    <a:pt x="257" y="216"/>
                  </a:lnTo>
                  <a:lnTo>
                    <a:pt x="255" y="216"/>
                  </a:lnTo>
                  <a:lnTo>
                    <a:pt x="254" y="216"/>
                  </a:lnTo>
                  <a:lnTo>
                    <a:pt x="252" y="218"/>
                  </a:lnTo>
                  <a:lnTo>
                    <a:pt x="252" y="216"/>
                  </a:lnTo>
                  <a:lnTo>
                    <a:pt x="250" y="216"/>
                  </a:lnTo>
                  <a:lnTo>
                    <a:pt x="250" y="218"/>
                  </a:lnTo>
                  <a:lnTo>
                    <a:pt x="250" y="219"/>
                  </a:lnTo>
                  <a:lnTo>
                    <a:pt x="249" y="219"/>
                  </a:lnTo>
                  <a:lnTo>
                    <a:pt x="247" y="219"/>
                  </a:lnTo>
                  <a:lnTo>
                    <a:pt x="246" y="219"/>
                  </a:lnTo>
                  <a:lnTo>
                    <a:pt x="246" y="221"/>
                  </a:lnTo>
                  <a:lnTo>
                    <a:pt x="246" y="223"/>
                  </a:lnTo>
                  <a:lnTo>
                    <a:pt x="244" y="223"/>
                  </a:lnTo>
                  <a:lnTo>
                    <a:pt x="242" y="221"/>
                  </a:lnTo>
                  <a:lnTo>
                    <a:pt x="242" y="219"/>
                  </a:lnTo>
                  <a:lnTo>
                    <a:pt x="241" y="219"/>
                  </a:lnTo>
                  <a:lnTo>
                    <a:pt x="241" y="221"/>
                  </a:lnTo>
                  <a:lnTo>
                    <a:pt x="239" y="223"/>
                  </a:lnTo>
                  <a:lnTo>
                    <a:pt x="241" y="223"/>
                  </a:lnTo>
                  <a:lnTo>
                    <a:pt x="239" y="223"/>
                  </a:lnTo>
                  <a:lnTo>
                    <a:pt x="237" y="223"/>
                  </a:lnTo>
                  <a:lnTo>
                    <a:pt x="236" y="223"/>
                  </a:lnTo>
                  <a:lnTo>
                    <a:pt x="234" y="223"/>
                  </a:lnTo>
                  <a:lnTo>
                    <a:pt x="234" y="224"/>
                  </a:lnTo>
                  <a:lnTo>
                    <a:pt x="233" y="228"/>
                  </a:lnTo>
                  <a:lnTo>
                    <a:pt x="234" y="228"/>
                  </a:lnTo>
                  <a:lnTo>
                    <a:pt x="234" y="229"/>
                  </a:lnTo>
                  <a:lnTo>
                    <a:pt x="233" y="229"/>
                  </a:lnTo>
                  <a:lnTo>
                    <a:pt x="233" y="231"/>
                  </a:lnTo>
                  <a:lnTo>
                    <a:pt x="231" y="231"/>
                  </a:lnTo>
                  <a:lnTo>
                    <a:pt x="229" y="231"/>
                  </a:lnTo>
                  <a:lnTo>
                    <a:pt x="228" y="231"/>
                  </a:lnTo>
                  <a:lnTo>
                    <a:pt x="228" y="229"/>
                  </a:lnTo>
                  <a:lnTo>
                    <a:pt x="226" y="229"/>
                  </a:lnTo>
                  <a:lnTo>
                    <a:pt x="224" y="231"/>
                  </a:lnTo>
                  <a:lnTo>
                    <a:pt x="223" y="231"/>
                  </a:lnTo>
                  <a:lnTo>
                    <a:pt x="221" y="231"/>
                  </a:lnTo>
                  <a:lnTo>
                    <a:pt x="220" y="231"/>
                  </a:lnTo>
                  <a:lnTo>
                    <a:pt x="220" y="229"/>
                  </a:lnTo>
                  <a:lnTo>
                    <a:pt x="220" y="228"/>
                  </a:lnTo>
                  <a:lnTo>
                    <a:pt x="220" y="226"/>
                  </a:lnTo>
                  <a:lnTo>
                    <a:pt x="218" y="223"/>
                  </a:lnTo>
                  <a:lnTo>
                    <a:pt x="216" y="221"/>
                  </a:lnTo>
                  <a:lnTo>
                    <a:pt x="215" y="219"/>
                  </a:lnTo>
                  <a:lnTo>
                    <a:pt x="211" y="216"/>
                  </a:lnTo>
                  <a:lnTo>
                    <a:pt x="210" y="213"/>
                  </a:lnTo>
                  <a:lnTo>
                    <a:pt x="208" y="211"/>
                  </a:lnTo>
                  <a:lnTo>
                    <a:pt x="207" y="210"/>
                  </a:lnTo>
                  <a:lnTo>
                    <a:pt x="205" y="210"/>
                  </a:lnTo>
                  <a:lnTo>
                    <a:pt x="203" y="210"/>
                  </a:lnTo>
                  <a:lnTo>
                    <a:pt x="203" y="208"/>
                  </a:lnTo>
                  <a:close/>
                  <a:moveTo>
                    <a:pt x="220" y="231"/>
                  </a:moveTo>
                  <a:lnTo>
                    <a:pt x="221" y="231"/>
                  </a:lnTo>
                  <a:lnTo>
                    <a:pt x="223" y="231"/>
                  </a:lnTo>
                  <a:lnTo>
                    <a:pt x="223" y="232"/>
                  </a:lnTo>
                  <a:lnTo>
                    <a:pt x="221" y="232"/>
                  </a:lnTo>
                  <a:lnTo>
                    <a:pt x="221" y="234"/>
                  </a:lnTo>
                  <a:lnTo>
                    <a:pt x="221" y="232"/>
                  </a:lnTo>
                  <a:lnTo>
                    <a:pt x="221" y="231"/>
                  </a:lnTo>
                  <a:lnTo>
                    <a:pt x="220" y="231"/>
                  </a:lnTo>
                  <a:close/>
                  <a:moveTo>
                    <a:pt x="234" y="224"/>
                  </a:moveTo>
                  <a:lnTo>
                    <a:pt x="234" y="223"/>
                  </a:lnTo>
                  <a:lnTo>
                    <a:pt x="236" y="223"/>
                  </a:lnTo>
                  <a:lnTo>
                    <a:pt x="234" y="224"/>
                  </a:lnTo>
                  <a:close/>
                  <a:moveTo>
                    <a:pt x="249" y="221"/>
                  </a:moveTo>
                  <a:lnTo>
                    <a:pt x="247" y="221"/>
                  </a:lnTo>
                  <a:lnTo>
                    <a:pt x="249" y="221"/>
                  </a:lnTo>
                  <a:close/>
                </a:path>
              </a:pathLst>
            </a:custGeom>
            <a:solidFill>
              <a:srgbClr val="E5E5E5"/>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1181" name="Freeform 27">
              <a:extLst>
                <a:ext uri="{FF2B5EF4-FFF2-40B4-BE49-F238E27FC236}">
                  <a16:creationId xmlns:a16="http://schemas.microsoft.com/office/drawing/2014/main" id="{7D948404-F476-91E8-036A-063C669A5F6A}"/>
                </a:ext>
              </a:extLst>
            </p:cNvPr>
            <p:cNvSpPr>
              <a:spLocks noEditPoints="1"/>
            </p:cNvSpPr>
            <p:nvPr/>
          </p:nvSpPr>
          <p:spPr bwMode="auto">
            <a:xfrm>
              <a:off x="3027" y="3693"/>
              <a:ext cx="55" cy="47"/>
            </a:xfrm>
            <a:custGeom>
              <a:avLst/>
              <a:gdLst>
                <a:gd name="T0" fmla="*/ 16 w 55"/>
                <a:gd name="T1" fmla="*/ 29 h 47"/>
                <a:gd name="T2" fmla="*/ 18 w 55"/>
                <a:gd name="T3" fmla="*/ 29 h 47"/>
                <a:gd name="T4" fmla="*/ 18 w 55"/>
                <a:gd name="T5" fmla="*/ 31 h 47"/>
                <a:gd name="T6" fmla="*/ 16 w 55"/>
                <a:gd name="T7" fmla="*/ 32 h 47"/>
                <a:gd name="T8" fmla="*/ 14 w 55"/>
                <a:gd name="T9" fmla="*/ 34 h 47"/>
                <a:gd name="T10" fmla="*/ 14 w 55"/>
                <a:gd name="T11" fmla="*/ 36 h 47"/>
                <a:gd name="T12" fmla="*/ 14 w 55"/>
                <a:gd name="T13" fmla="*/ 37 h 47"/>
                <a:gd name="T14" fmla="*/ 13 w 55"/>
                <a:gd name="T15" fmla="*/ 39 h 47"/>
                <a:gd name="T16" fmla="*/ 13 w 55"/>
                <a:gd name="T17" fmla="*/ 40 h 47"/>
                <a:gd name="T18" fmla="*/ 11 w 55"/>
                <a:gd name="T19" fmla="*/ 40 h 47"/>
                <a:gd name="T20" fmla="*/ 8 w 55"/>
                <a:gd name="T21" fmla="*/ 40 h 47"/>
                <a:gd name="T22" fmla="*/ 6 w 55"/>
                <a:gd name="T23" fmla="*/ 40 h 47"/>
                <a:gd name="T24" fmla="*/ 5 w 55"/>
                <a:gd name="T25" fmla="*/ 39 h 47"/>
                <a:gd name="T26" fmla="*/ 1 w 55"/>
                <a:gd name="T27" fmla="*/ 39 h 47"/>
                <a:gd name="T28" fmla="*/ 0 w 55"/>
                <a:gd name="T29" fmla="*/ 36 h 47"/>
                <a:gd name="T30" fmla="*/ 1 w 55"/>
                <a:gd name="T31" fmla="*/ 37 h 47"/>
                <a:gd name="T32" fmla="*/ 3 w 55"/>
                <a:gd name="T33" fmla="*/ 34 h 47"/>
                <a:gd name="T34" fmla="*/ 3 w 55"/>
                <a:gd name="T35" fmla="*/ 32 h 47"/>
                <a:gd name="T36" fmla="*/ 5 w 55"/>
                <a:gd name="T37" fmla="*/ 32 h 47"/>
                <a:gd name="T38" fmla="*/ 6 w 55"/>
                <a:gd name="T39" fmla="*/ 34 h 47"/>
                <a:gd name="T40" fmla="*/ 8 w 55"/>
                <a:gd name="T41" fmla="*/ 32 h 47"/>
                <a:gd name="T42" fmla="*/ 9 w 55"/>
                <a:gd name="T43" fmla="*/ 31 h 47"/>
                <a:gd name="T44" fmla="*/ 9 w 55"/>
                <a:gd name="T45" fmla="*/ 31 h 47"/>
                <a:gd name="T46" fmla="*/ 11 w 55"/>
                <a:gd name="T47" fmla="*/ 29 h 47"/>
                <a:gd name="T48" fmla="*/ 13 w 55"/>
                <a:gd name="T49" fmla="*/ 29 h 47"/>
                <a:gd name="T50" fmla="*/ 14 w 55"/>
                <a:gd name="T51" fmla="*/ 29 h 47"/>
                <a:gd name="T52" fmla="*/ 14 w 55"/>
                <a:gd name="T53" fmla="*/ 27 h 47"/>
                <a:gd name="T54" fmla="*/ 53 w 55"/>
                <a:gd name="T55" fmla="*/ 3 h 47"/>
                <a:gd name="T56" fmla="*/ 53 w 55"/>
                <a:gd name="T57" fmla="*/ 5 h 47"/>
                <a:gd name="T58" fmla="*/ 52 w 55"/>
                <a:gd name="T59" fmla="*/ 5 h 47"/>
                <a:gd name="T60" fmla="*/ 48 w 55"/>
                <a:gd name="T61" fmla="*/ 6 h 47"/>
                <a:gd name="T62" fmla="*/ 47 w 55"/>
                <a:gd name="T63" fmla="*/ 5 h 47"/>
                <a:gd name="T64" fmla="*/ 48 w 55"/>
                <a:gd name="T65" fmla="*/ 5 h 47"/>
                <a:gd name="T66" fmla="*/ 50 w 55"/>
                <a:gd name="T67" fmla="*/ 3 h 47"/>
                <a:gd name="T68" fmla="*/ 50 w 55"/>
                <a:gd name="T69" fmla="*/ 3 h 47"/>
                <a:gd name="T70" fmla="*/ 53 w 55"/>
                <a:gd name="T71" fmla="*/ 3 h 47"/>
                <a:gd name="T72" fmla="*/ 29 w 55"/>
                <a:gd name="T73" fmla="*/ 40 h 47"/>
                <a:gd name="T74" fmla="*/ 31 w 55"/>
                <a:gd name="T75" fmla="*/ 42 h 47"/>
                <a:gd name="T76" fmla="*/ 29 w 55"/>
                <a:gd name="T77" fmla="*/ 44 h 47"/>
                <a:gd name="T78" fmla="*/ 27 w 55"/>
                <a:gd name="T79" fmla="*/ 45 h 47"/>
                <a:gd name="T80" fmla="*/ 27 w 55"/>
                <a:gd name="T81" fmla="*/ 44 h 47"/>
                <a:gd name="T82" fmla="*/ 27 w 55"/>
                <a:gd name="T83" fmla="*/ 42 h 47"/>
                <a:gd name="T84" fmla="*/ 29 w 55"/>
                <a:gd name="T85" fmla="*/ 40 h 47"/>
                <a:gd name="T86" fmla="*/ 21 w 55"/>
                <a:gd name="T87" fmla="*/ 36 h 47"/>
                <a:gd name="T88" fmla="*/ 22 w 55"/>
                <a:gd name="T89" fmla="*/ 34 h 47"/>
                <a:gd name="T90" fmla="*/ 26 w 55"/>
                <a:gd name="T91" fmla="*/ 42 h 47"/>
                <a:gd name="T92" fmla="*/ 26 w 55"/>
                <a:gd name="T93" fmla="*/ 42 h 47"/>
                <a:gd name="T94" fmla="*/ 45 w 55"/>
                <a:gd name="T95" fmla="*/ 1 h 47"/>
                <a:gd name="T96" fmla="*/ 47 w 55"/>
                <a:gd name="T97" fmla="*/ 1 h 47"/>
                <a:gd name="T98" fmla="*/ 1 w 55"/>
                <a:gd name="T99" fmla="*/ 32 h 47"/>
                <a:gd name="T100" fmla="*/ 21 w 55"/>
                <a:gd name="T101" fmla="*/ 36 h 47"/>
                <a:gd name="T102" fmla="*/ 47 w 55"/>
                <a:gd name="T103" fmla="*/ 5 h 47"/>
                <a:gd name="T104" fmla="*/ 34 w 55"/>
                <a:gd name="T105" fmla="*/ 1 h 47"/>
                <a:gd name="T106" fmla="*/ 18 w 55"/>
                <a:gd name="T107" fmla="*/ 31 h 47"/>
                <a:gd name="T108" fmla="*/ 44 w 55"/>
                <a:gd name="T109" fmla="*/ 0 h 47"/>
                <a:gd name="T110" fmla="*/ 1 w 55"/>
                <a:gd name="T111" fmla="*/ 32 h 47"/>
                <a:gd name="T112" fmla="*/ 53 w 55"/>
                <a:gd name="T113" fmla="*/ 5 h 47"/>
                <a:gd name="T114" fmla="*/ 27 w 55"/>
                <a:gd name="T115" fmla="*/ 47 h 47"/>
                <a:gd name="T116" fmla="*/ 31 w 55"/>
                <a:gd name="T117" fmla="*/ 42 h 47"/>
                <a:gd name="T118" fmla="*/ 48 w 55"/>
                <a:gd name="T119" fmla="*/ 6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5" h="47">
                  <a:moveTo>
                    <a:pt x="16" y="29"/>
                  </a:moveTo>
                  <a:lnTo>
                    <a:pt x="14" y="29"/>
                  </a:lnTo>
                  <a:lnTo>
                    <a:pt x="14" y="29"/>
                  </a:lnTo>
                  <a:lnTo>
                    <a:pt x="16" y="29"/>
                  </a:lnTo>
                  <a:lnTo>
                    <a:pt x="16" y="29"/>
                  </a:lnTo>
                  <a:lnTo>
                    <a:pt x="16" y="29"/>
                  </a:lnTo>
                  <a:lnTo>
                    <a:pt x="16" y="29"/>
                  </a:lnTo>
                  <a:lnTo>
                    <a:pt x="16" y="29"/>
                  </a:lnTo>
                  <a:lnTo>
                    <a:pt x="16" y="29"/>
                  </a:lnTo>
                  <a:lnTo>
                    <a:pt x="16" y="29"/>
                  </a:lnTo>
                  <a:lnTo>
                    <a:pt x="16" y="29"/>
                  </a:lnTo>
                  <a:lnTo>
                    <a:pt x="16" y="29"/>
                  </a:lnTo>
                  <a:lnTo>
                    <a:pt x="18" y="29"/>
                  </a:lnTo>
                  <a:lnTo>
                    <a:pt x="18" y="29"/>
                  </a:lnTo>
                  <a:lnTo>
                    <a:pt x="18" y="29"/>
                  </a:lnTo>
                  <a:lnTo>
                    <a:pt x="18" y="31"/>
                  </a:lnTo>
                  <a:lnTo>
                    <a:pt x="18" y="31"/>
                  </a:lnTo>
                  <a:lnTo>
                    <a:pt x="18" y="31"/>
                  </a:lnTo>
                  <a:lnTo>
                    <a:pt x="18" y="32"/>
                  </a:lnTo>
                  <a:lnTo>
                    <a:pt x="18" y="32"/>
                  </a:lnTo>
                  <a:lnTo>
                    <a:pt x="18" y="31"/>
                  </a:lnTo>
                  <a:lnTo>
                    <a:pt x="18" y="32"/>
                  </a:lnTo>
                  <a:lnTo>
                    <a:pt x="16" y="32"/>
                  </a:lnTo>
                  <a:lnTo>
                    <a:pt x="16" y="32"/>
                  </a:lnTo>
                  <a:lnTo>
                    <a:pt x="16" y="32"/>
                  </a:lnTo>
                  <a:lnTo>
                    <a:pt x="16" y="32"/>
                  </a:lnTo>
                  <a:lnTo>
                    <a:pt x="16" y="32"/>
                  </a:lnTo>
                  <a:lnTo>
                    <a:pt x="16" y="32"/>
                  </a:lnTo>
                  <a:lnTo>
                    <a:pt x="16" y="32"/>
                  </a:lnTo>
                  <a:lnTo>
                    <a:pt x="16" y="32"/>
                  </a:lnTo>
                  <a:lnTo>
                    <a:pt x="16" y="34"/>
                  </a:lnTo>
                  <a:lnTo>
                    <a:pt x="16" y="34"/>
                  </a:lnTo>
                  <a:lnTo>
                    <a:pt x="14" y="34"/>
                  </a:lnTo>
                  <a:lnTo>
                    <a:pt x="14" y="34"/>
                  </a:lnTo>
                  <a:lnTo>
                    <a:pt x="14" y="34"/>
                  </a:lnTo>
                  <a:lnTo>
                    <a:pt x="14" y="34"/>
                  </a:lnTo>
                  <a:lnTo>
                    <a:pt x="14" y="34"/>
                  </a:lnTo>
                  <a:lnTo>
                    <a:pt x="14" y="34"/>
                  </a:lnTo>
                  <a:lnTo>
                    <a:pt x="14" y="36"/>
                  </a:lnTo>
                  <a:lnTo>
                    <a:pt x="14" y="36"/>
                  </a:lnTo>
                  <a:lnTo>
                    <a:pt x="14" y="36"/>
                  </a:lnTo>
                  <a:lnTo>
                    <a:pt x="14" y="36"/>
                  </a:lnTo>
                  <a:lnTo>
                    <a:pt x="14" y="36"/>
                  </a:lnTo>
                  <a:lnTo>
                    <a:pt x="14" y="36"/>
                  </a:lnTo>
                  <a:lnTo>
                    <a:pt x="14" y="36"/>
                  </a:lnTo>
                  <a:lnTo>
                    <a:pt x="14" y="36"/>
                  </a:lnTo>
                  <a:lnTo>
                    <a:pt x="14" y="37"/>
                  </a:lnTo>
                  <a:lnTo>
                    <a:pt x="13" y="37"/>
                  </a:lnTo>
                  <a:lnTo>
                    <a:pt x="14" y="37"/>
                  </a:lnTo>
                  <a:lnTo>
                    <a:pt x="14" y="37"/>
                  </a:lnTo>
                  <a:lnTo>
                    <a:pt x="13" y="37"/>
                  </a:lnTo>
                  <a:lnTo>
                    <a:pt x="13" y="39"/>
                  </a:lnTo>
                  <a:lnTo>
                    <a:pt x="13" y="39"/>
                  </a:lnTo>
                  <a:lnTo>
                    <a:pt x="13" y="39"/>
                  </a:lnTo>
                  <a:lnTo>
                    <a:pt x="13" y="39"/>
                  </a:lnTo>
                  <a:lnTo>
                    <a:pt x="13" y="39"/>
                  </a:lnTo>
                  <a:lnTo>
                    <a:pt x="13" y="40"/>
                  </a:lnTo>
                  <a:lnTo>
                    <a:pt x="13" y="40"/>
                  </a:lnTo>
                  <a:lnTo>
                    <a:pt x="13" y="40"/>
                  </a:lnTo>
                  <a:lnTo>
                    <a:pt x="13" y="40"/>
                  </a:lnTo>
                  <a:lnTo>
                    <a:pt x="13" y="40"/>
                  </a:lnTo>
                  <a:lnTo>
                    <a:pt x="13" y="40"/>
                  </a:lnTo>
                  <a:lnTo>
                    <a:pt x="13" y="40"/>
                  </a:lnTo>
                  <a:lnTo>
                    <a:pt x="13" y="40"/>
                  </a:lnTo>
                  <a:lnTo>
                    <a:pt x="13" y="40"/>
                  </a:lnTo>
                  <a:lnTo>
                    <a:pt x="13" y="40"/>
                  </a:lnTo>
                  <a:lnTo>
                    <a:pt x="11" y="40"/>
                  </a:lnTo>
                  <a:lnTo>
                    <a:pt x="11" y="40"/>
                  </a:lnTo>
                  <a:lnTo>
                    <a:pt x="11" y="40"/>
                  </a:lnTo>
                  <a:lnTo>
                    <a:pt x="11" y="40"/>
                  </a:lnTo>
                  <a:lnTo>
                    <a:pt x="9" y="40"/>
                  </a:lnTo>
                  <a:lnTo>
                    <a:pt x="9" y="40"/>
                  </a:lnTo>
                  <a:lnTo>
                    <a:pt x="9" y="40"/>
                  </a:lnTo>
                  <a:lnTo>
                    <a:pt x="9" y="40"/>
                  </a:lnTo>
                  <a:lnTo>
                    <a:pt x="9" y="40"/>
                  </a:lnTo>
                  <a:lnTo>
                    <a:pt x="8" y="39"/>
                  </a:lnTo>
                  <a:lnTo>
                    <a:pt x="8" y="40"/>
                  </a:lnTo>
                  <a:lnTo>
                    <a:pt x="8" y="40"/>
                  </a:lnTo>
                  <a:lnTo>
                    <a:pt x="8" y="40"/>
                  </a:lnTo>
                  <a:lnTo>
                    <a:pt x="8" y="40"/>
                  </a:lnTo>
                  <a:lnTo>
                    <a:pt x="8" y="40"/>
                  </a:lnTo>
                  <a:lnTo>
                    <a:pt x="8" y="40"/>
                  </a:lnTo>
                  <a:lnTo>
                    <a:pt x="8" y="40"/>
                  </a:lnTo>
                  <a:lnTo>
                    <a:pt x="6" y="40"/>
                  </a:lnTo>
                  <a:lnTo>
                    <a:pt x="6" y="40"/>
                  </a:lnTo>
                  <a:lnTo>
                    <a:pt x="6" y="40"/>
                  </a:lnTo>
                  <a:lnTo>
                    <a:pt x="5" y="40"/>
                  </a:lnTo>
                  <a:lnTo>
                    <a:pt x="5" y="40"/>
                  </a:lnTo>
                  <a:lnTo>
                    <a:pt x="5" y="39"/>
                  </a:lnTo>
                  <a:lnTo>
                    <a:pt x="5" y="39"/>
                  </a:lnTo>
                  <a:lnTo>
                    <a:pt x="5" y="39"/>
                  </a:lnTo>
                  <a:lnTo>
                    <a:pt x="3" y="39"/>
                  </a:lnTo>
                  <a:lnTo>
                    <a:pt x="3" y="39"/>
                  </a:lnTo>
                  <a:lnTo>
                    <a:pt x="3" y="39"/>
                  </a:lnTo>
                  <a:lnTo>
                    <a:pt x="3" y="39"/>
                  </a:lnTo>
                  <a:lnTo>
                    <a:pt x="3" y="39"/>
                  </a:lnTo>
                  <a:lnTo>
                    <a:pt x="1" y="39"/>
                  </a:lnTo>
                  <a:lnTo>
                    <a:pt x="1" y="39"/>
                  </a:lnTo>
                  <a:lnTo>
                    <a:pt x="1" y="39"/>
                  </a:lnTo>
                  <a:lnTo>
                    <a:pt x="1" y="39"/>
                  </a:lnTo>
                  <a:lnTo>
                    <a:pt x="1" y="39"/>
                  </a:lnTo>
                  <a:lnTo>
                    <a:pt x="1" y="39"/>
                  </a:lnTo>
                  <a:lnTo>
                    <a:pt x="0" y="37"/>
                  </a:lnTo>
                  <a:lnTo>
                    <a:pt x="0" y="37"/>
                  </a:lnTo>
                  <a:lnTo>
                    <a:pt x="0" y="36"/>
                  </a:lnTo>
                  <a:lnTo>
                    <a:pt x="1" y="36"/>
                  </a:lnTo>
                  <a:lnTo>
                    <a:pt x="1" y="37"/>
                  </a:lnTo>
                  <a:lnTo>
                    <a:pt x="1" y="36"/>
                  </a:lnTo>
                  <a:lnTo>
                    <a:pt x="1" y="37"/>
                  </a:lnTo>
                  <a:lnTo>
                    <a:pt x="1" y="37"/>
                  </a:lnTo>
                  <a:lnTo>
                    <a:pt x="1" y="37"/>
                  </a:lnTo>
                  <a:lnTo>
                    <a:pt x="1" y="37"/>
                  </a:lnTo>
                  <a:lnTo>
                    <a:pt x="1" y="37"/>
                  </a:lnTo>
                  <a:lnTo>
                    <a:pt x="1" y="37"/>
                  </a:lnTo>
                  <a:lnTo>
                    <a:pt x="1" y="36"/>
                  </a:lnTo>
                  <a:lnTo>
                    <a:pt x="1" y="36"/>
                  </a:lnTo>
                  <a:lnTo>
                    <a:pt x="3" y="36"/>
                  </a:lnTo>
                  <a:lnTo>
                    <a:pt x="3" y="36"/>
                  </a:lnTo>
                  <a:lnTo>
                    <a:pt x="3" y="34"/>
                  </a:lnTo>
                  <a:lnTo>
                    <a:pt x="3" y="34"/>
                  </a:lnTo>
                  <a:lnTo>
                    <a:pt x="1" y="34"/>
                  </a:lnTo>
                  <a:lnTo>
                    <a:pt x="3" y="34"/>
                  </a:lnTo>
                  <a:lnTo>
                    <a:pt x="3" y="34"/>
                  </a:lnTo>
                  <a:lnTo>
                    <a:pt x="3" y="34"/>
                  </a:lnTo>
                  <a:lnTo>
                    <a:pt x="3" y="34"/>
                  </a:lnTo>
                  <a:lnTo>
                    <a:pt x="3" y="32"/>
                  </a:lnTo>
                  <a:lnTo>
                    <a:pt x="3" y="32"/>
                  </a:lnTo>
                  <a:lnTo>
                    <a:pt x="3" y="34"/>
                  </a:lnTo>
                  <a:lnTo>
                    <a:pt x="3" y="34"/>
                  </a:lnTo>
                  <a:lnTo>
                    <a:pt x="5" y="34"/>
                  </a:lnTo>
                  <a:lnTo>
                    <a:pt x="5" y="34"/>
                  </a:lnTo>
                  <a:lnTo>
                    <a:pt x="5" y="32"/>
                  </a:lnTo>
                  <a:lnTo>
                    <a:pt x="5" y="32"/>
                  </a:lnTo>
                  <a:lnTo>
                    <a:pt x="5" y="32"/>
                  </a:lnTo>
                  <a:lnTo>
                    <a:pt x="5" y="32"/>
                  </a:lnTo>
                  <a:lnTo>
                    <a:pt x="6" y="32"/>
                  </a:lnTo>
                  <a:lnTo>
                    <a:pt x="6" y="32"/>
                  </a:lnTo>
                  <a:lnTo>
                    <a:pt x="6" y="32"/>
                  </a:lnTo>
                  <a:lnTo>
                    <a:pt x="6" y="32"/>
                  </a:lnTo>
                  <a:lnTo>
                    <a:pt x="6" y="34"/>
                  </a:lnTo>
                  <a:lnTo>
                    <a:pt x="6" y="34"/>
                  </a:lnTo>
                  <a:lnTo>
                    <a:pt x="8" y="32"/>
                  </a:lnTo>
                  <a:lnTo>
                    <a:pt x="6" y="32"/>
                  </a:lnTo>
                  <a:lnTo>
                    <a:pt x="6" y="32"/>
                  </a:lnTo>
                  <a:lnTo>
                    <a:pt x="6" y="32"/>
                  </a:lnTo>
                  <a:lnTo>
                    <a:pt x="8" y="32"/>
                  </a:lnTo>
                  <a:lnTo>
                    <a:pt x="8" y="32"/>
                  </a:lnTo>
                  <a:lnTo>
                    <a:pt x="8" y="32"/>
                  </a:lnTo>
                  <a:lnTo>
                    <a:pt x="8" y="32"/>
                  </a:lnTo>
                  <a:lnTo>
                    <a:pt x="8" y="32"/>
                  </a:lnTo>
                  <a:lnTo>
                    <a:pt x="8" y="32"/>
                  </a:lnTo>
                  <a:lnTo>
                    <a:pt x="9" y="32"/>
                  </a:lnTo>
                  <a:lnTo>
                    <a:pt x="9" y="31"/>
                  </a:lnTo>
                  <a:lnTo>
                    <a:pt x="9" y="31"/>
                  </a:lnTo>
                  <a:lnTo>
                    <a:pt x="9" y="31"/>
                  </a:lnTo>
                  <a:lnTo>
                    <a:pt x="9" y="31"/>
                  </a:lnTo>
                  <a:lnTo>
                    <a:pt x="9" y="31"/>
                  </a:lnTo>
                  <a:lnTo>
                    <a:pt x="9" y="31"/>
                  </a:lnTo>
                  <a:lnTo>
                    <a:pt x="9" y="31"/>
                  </a:lnTo>
                  <a:lnTo>
                    <a:pt x="9" y="31"/>
                  </a:lnTo>
                  <a:lnTo>
                    <a:pt x="9" y="31"/>
                  </a:lnTo>
                  <a:lnTo>
                    <a:pt x="9" y="31"/>
                  </a:lnTo>
                  <a:lnTo>
                    <a:pt x="9" y="31"/>
                  </a:lnTo>
                  <a:lnTo>
                    <a:pt x="9" y="31"/>
                  </a:lnTo>
                  <a:lnTo>
                    <a:pt x="11" y="31"/>
                  </a:lnTo>
                  <a:lnTo>
                    <a:pt x="9" y="29"/>
                  </a:lnTo>
                  <a:lnTo>
                    <a:pt x="11" y="29"/>
                  </a:lnTo>
                  <a:lnTo>
                    <a:pt x="11" y="29"/>
                  </a:lnTo>
                  <a:lnTo>
                    <a:pt x="11" y="29"/>
                  </a:lnTo>
                  <a:lnTo>
                    <a:pt x="11" y="29"/>
                  </a:lnTo>
                  <a:lnTo>
                    <a:pt x="11" y="29"/>
                  </a:lnTo>
                  <a:lnTo>
                    <a:pt x="11" y="29"/>
                  </a:lnTo>
                  <a:lnTo>
                    <a:pt x="11" y="29"/>
                  </a:lnTo>
                  <a:lnTo>
                    <a:pt x="13" y="29"/>
                  </a:lnTo>
                  <a:lnTo>
                    <a:pt x="13" y="29"/>
                  </a:lnTo>
                  <a:lnTo>
                    <a:pt x="13" y="29"/>
                  </a:lnTo>
                  <a:lnTo>
                    <a:pt x="13" y="29"/>
                  </a:lnTo>
                  <a:lnTo>
                    <a:pt x="13" y="29"/>
                  </a:lnTo>
                  <a:lnTo>
                    <a:pt x="13" y="31"/>
                  </a:lnTo>
                  <a:lnTo>
                    <a:pt x="13" y="31"/>
                  </a:lnTo>
                  <a:lnTo>
                    <a:pt x="14" y="31"/>
                  </a:lnTo>
                  <a:lnTo>
                    <a:pt x="14" y="29"/>
                  </a:lnTo>
                  <a:lnTo>
                    <a:pt x="14" y="29"/>
                  </a:lnTo>
                  <a:lnTo>
                    <a:pt x="14" y="29"/>
                  </a:lnTo>
                  <a:lnTo>
                    <a:pt x="13" y="29"/>
                  </a:lnTo>
                  <a:lnTo>
                    <a:pt x="13" y="29"/>
                  </a:lnTo>
                  <a:lnTo>
                    <a:pt x="14" y="27"/>
                  </a:lnTo>
                  <a:lnTo>
                    <a:pt x="14" y="29"/>
                  </a:lnTo>
                  <a:lnTo>
                    <a:pt x="14" y="27"/>
                  </a:lnTo>
                  <a:lnTo>
                    <a:pt x="16" y="29"/>
                  </a:lnTo>
                  <a:close/>
                  <a:moveTo>
                    <a:pt x="53" y="3"/>
                  </a:moveTo>
                  <a:lnTo>
                    <a:pt x="53" y="3"/>
                  </a:lnTo>
                  <a:lnTo>
                    <a:pt x="53" y="3"/>
                  </a:lnTo>
                  <a:lnTo>
                    <a:pt x="53" y="3"/>
                  </a:lnTo>
                  <a:lnTo>
                    <a:pt x="53" y="3"/>
                  </a:lnTo>
                  <a:lnTo>
                    <a:pt x="53" y="3"/>
                  </a:lnTo>
                  <a:lnTo>
                    <a:pt x="53" y="3"/>
                  </a:lnTo>
                  <a:lnTo>
                    <a:pt x="55" y="3"/>
                  </a:lnTo>
                  <a:lnTo>
                    <a:pt x="55" y="3"/>
                  </a:lnTo>
                  <a:lnTo>
                    <a:pt x="55" y="3"/>
                  </a:lnTo>
                  <a:lnTo>
                    <a:pt x="55" y="3"/>
                  </a:lnTo>
                  <a:lnTo>
                    <a:pt x="53" y="3"/>
                  </a:lnTo>
                  <a:lnTo>
                    <a:pt x="53" y="5"/>
                  </a:lnTo>
                  <a:lnTo>
                    <a:pt x="53" y="3"/>
                  </a:lnTo>
                  <a:lnTo>
                    <a:pt x="53" y="3"/>
                  </a:lnTo>
                  <a:lnTo>
                    <a:pt x="53" y="5"/>
                  </a:lnTo>
                  <a:lnTo>
                    <a:pt x="53" y="5"/>
                  </a:lnTo>
                  <a:lnTo>
                    <a:pt x="52" y="5"/>
                  </a:lnTo>
                  <a:lnTo>
                    <a:pt x="52" y="5"/>
                  </a:lnTo>
                  <a:lnTo>
                    <a:pt x="52" y="5"/>
                  </a:lnTo>
                  <a:lnTo>
                    <a:pt x="52" y="5"/>
                  </a:lnTo>
                  <a:lnTo>
                    <a:pt x="50" y="6"/>
                  </a:lnTo>
                  <a:lnTo>
                    <a:pt x="50" y="6"/>
                  </a:lnTo>
                  <a:lnTo>
                    <a:pt x="50" y="6"/>
                  </a:lnTo>
                  <a:lnTo>
                    <a:pt x="48" y="6"/>
                  </a:lnTo>
                  <a:lnTo>
                    <a:pt x="48" y="6"/>
                  </a:lnTo>
                  <a:lnTo>
                    <a:pt x="48" y="6"/>
                  </a:lnTo>
                  <a:lnTo>
                    <a:pt x="48" y="6"/>
                  </a:lnTo>
                  <a:lnTo>
                    <a:pt x="47" y="6"/>
                  </a:lnTo>
                  <a:lnTo>
                    <a:pt x="47" y="6"/>
                  </a:lnTo>
                  <a:lnTo>
                    <a:pt x="47" y="6"/>
                  </a:lnTo>
                  <a:lnTo>
                    <a:pt x="47" y="6"/>
                  </a:lnTo>
                  <a:lnTo>
                    <a:pt x="47" y="5"/>
                  </a:lnTo>
                  <a:lnTo>
                    <a:pt x="47" y="5"/>
                  </a:lnTo>
                  <a:lnTo>
                    <a:pt x="47" y="5"/>
                  </a:lnTo>
                  <a:lnTo>
                    <a:pt x="47" y="5"/>
                  </a:lnTo>
                  <a:lnTo>
                    <a:pt x="47" y="5"/>
                  </a:lnTo>
                  <a:lnTo>
                    <a:pt x="47" y="5"/>
                  </a:lnTo>
                  <a:lnTo>
                    <a:pt x="47" y="5"/>
                  </a:lnTo>
                  <a:lnTo>
                    <a:pt x="47" y="3"/>
                  </a:lnTo>
                  <a:lnTo>
                    <a:pt x="48" y="5"/>
                  </a:lnTo>
                  <a:lnTo>
                    <a:pt x="48" y="3"/>
                  </a:lnTo>
                  <a:lnTo>
                    <a:pt x="48" y="3"/>
                  </a:lnTo>
                  <a:lnTo>
                    <a:pt x="48" y="3"/>
                  </a:lnTo>
                  <a:lnTo>
                    <a:pt x="48" y="3"/>
                  </a:lnTo>
                  <a:lnTo>
                    <a:pt x="50" y="3"/>
                  </a:lnTo>
                  <a:lnTo>
                    <a:pt x="50" y="3"/>
                  </a:lnTo>
                  <a:lnTo>
                    <a:pt x="50" y="3"/>
                  </a:lnTo>
                  <a:lnTo>
                    <a:pt x="50" y="3"/>
                  </a:lnTo>
                  <a:lnTo>
                    <a:pt x="50" y="3"/>
                  </a:lnTo>
                  <a:lnTo>
                    <a:pt x="50" y="3"/>
                  </a:lnTo>
                  <a:lnTo>
                    <a:pt x="50" y="3"/>
                  </a:lnTo>
                  <a:lnTo>
                    <a:pt x="50" y="3"/>
                  </a:lnTo>
                  <a:lnTo>
                    <a:pt x="50" y="3"/>
                  </a:lnTo>
                  <a:lnTo>
                    <a:pt x="50" y="3"/>
                  </a:lnTo>
                  <a:lnTo>
                    <a:pt x="52" y="3"/>
                  </a:lnTo>
                  <a:lnTo>
                    <a:pt x="52" y="3"/>
                  </a:lnTo>
                  <a:lnTo>
                    <a:pt x="52" y="3"/>
                  </a:lnTo>
                  <a:lnTo>
                    <a:pt x="52" y="3"/>
                  </a:lnTo>
                  <a:lnTo>
                    <a:pt x="52" y="1"/>
                  </a:lnTo>
                  <a:lnTo>
                    <a:pt x="52" y="3"/>
                  </a:lnTo>
                  <a:lnTo>
                    <a:pt x="53" y="3"/>
                  </a:lnTo>
                  <a:lnTo>
                    <a:pt x="52" y="3"/>
                  </a:lnTo>
                  <a:lnTo>
                    <a:pt x="53" y="1"/>
                  </a:lnTo>
                  <a:lnTo>
                    <a:pt x="53" y="3"/>
                  </a:lnTo>
                  <a:close/>
                  <a:moveTo>
                    <a:pt x="29" y="39"/>
                  </a:moveTo>
                  <a:lnTo>
                    <a:pt x="29" y="40"/>
                  </a:lnTo>
                  <a:lnTo>
                    <a:pt x="29" y="39"/>
                  </a:lnTo>
                  <a:lnTo>
                    <a:pt x="29" y="40"/>
                  </a:lnTo>
                  <a:lnTo>
                    <a:pt x="31" y="40"/>
                  </a:lnTo>
                  <a:lnTo>
                    <a:pt x="31" y="40"/>
                  </a:lnTo>
                  <a:lnTo>
                    <a:pt x="31" y="40"/>
                  </a:lnTo>
                  <a:lnTo>
                    <a:pt x="31" y="40"/>
                  </a:lnTo>
                  <a:lnTo>
                    <a:pt x="31" y="42"/>
                  </a:lnTo>
                  <a:lnTo>
                    <a:pt x="31" y="42"/>
                  </a:lnTo>
                  <a:lnTo>
                    <a:pt x="31" y="42"/>
                  </a:lnTo>
                  <a:lnTo>
                    <a:pt x="31" y="42"/>
                  </a:lnTo>
                  <a:lnTo>
                    <a:pt x="31" y="42"/>
                  </a:lnTo>
                  <a:lnTo>
                    <a:pt x="31" y="44"/>
                  </a:lnTo>
                  <a:lnTo>
                    <a:pt x="31" y="44"/>
                  </a:lnTo>
                  <a:lnTo>
                    <a:pt x="29" y="44"/>
                  </a:lnTo>
                  <a:lnTo>
                    <a:pt x="29" y="44"/>
                  </a:lnTo>
                  <a:lnTo>
                    <a:pt x="29" y="44"/>
                  </a:lnTo>
                  <a:lnTo>
                    <a:pt x="27" y="44"/>
                  </a:lnTo>
                  <a:lnTo>
                    <a:pt x="27" y="45"/>
                  </a:lnTo>
                  <a:lnTo>
                    <a:pt x="27" y="45"/>
                  </a:lnTo>
                  <a:lnTo>
                    <a:pt x="27" y="45"/>
                  </a:lnTo>
                  <a:lnTo>
                    <a:pt x="27" y="45"/>
                  </a:lnTo>
                  <a:lnTo>
                    <a:pt x="27" y="45"/>
                  </a:lnTo>
                  <a:lnTo>
                    <a:pt x="27" y="45"/>
                  </a:lnTo>
                  <a:lnTo>
                    <a:pt x="26" y="44"/>
                  </a:lnTo>
                  <a:lnTo>
                    <a:pt x="26" y="44"/>
                  </a:lnTo>
                  <a:lnTo>
                    <a:pt x="27" y="44"/>
                  </a:lnTo>
                  <a:lnTo>
                    <a:pt x="27" y="44"/>
                  </a:lnTo>
                  <a:lnTo>
                    <a:pt x="27" y="44"/>
                  </a:lnTo>
                  <a:lnTo>
                    <a:pt x="27" y="44"/>
                  </a:lnTo>
                  <a:lnTo>
                    <a:pt x="27" y="44"/>
                  </a:lnTo>
                  <a:lnTo>
                    <a:pt x="27" y="44"/>
                  </a:lnTo>
                  <a:lnTo>
                    <a:pt x="27" y="42"/>
                  </a:lnTo>
                  <a:lnTo>
                    <a:pt x="27" y="42"/>
                  </a:lnTo>
                  <a:lnTo>
                    <a:pt x="27" y="42"/>
                  </a:lnTo>
                  <a:lnTo>
                    <a:pt x="27" y="42"/>
                  </a:lnTo>
                  <a:lnTo>
                    <a:pt x="27" y="42"/>
                  </a:lnTo>
                  <a:lnTo>
                    <a:pt x="27" y="42"/>
                  </a:lnTo>
                  <a:lnTo>
                    <a:pt x="27" y="42"/>
                  </a:lnTo>
                  <a:lnTo>
                    <a:pt x="27" y="40"/>
                  </a:lnTo>
                  <a:lnTo>
                    <a:pt x="29" y="40"/>
                  </a:lnTo>
                  <a:lnTo>
                    <a:pt x="29" y="40"/>
                  </a:lnTo>
                  <a:lnTo>
                    <a:pt x="29" y="40"/>
                  </a:lnTo>
                  <a:lnTo>
                    <a:pt x="29" y="40"/>
                  </a:lnTo>
                  <a:lnTo>
                    <a:pt x="29" y="40"/>
                  </a:lnTo>
                  <a:lnTo>
                    <a:pt x="29" y="39"/>
                  </a:lnTo>
                  <a:lnTo>
                    <a:pt x="29" y="39"/>
                  </a:lnTo>
                  <a:lnTo>
                    <a:pt x="29" y="39"/>
                  </a:lnTo>
                  <a:close/>
                  <a:moveTo>
                    <a:pt x="22" y="36"/>
                  </a:moveTo>
                  <a:lnTo>
                    <a:pt x="21" y="36"/>
                  </a:lnTo>
                  <a:lnTo>
                    <a:pt x="21" y="36"/>
                  </a:lnTo>
                  <a:lnTo>
                    <a:pt x="21" y="36"/>
                  </a:lnTo>
                  <a:lnTo>
                    <a:pt x="21" y="36"/>
                  </a:lnTo>
                  <a:lnTo>
                    <a:pt x="21" y="34"/>
                  </a:lnTo>
                  <a:lnTo>
                    <a:pt x="21" y="34"/>
                  </a:lnTo>
                  <a:lnTo>
                    <a:pt x="21" y="34"/>
                  </a:lnTo>
                  <a:lnTo>
                    <a:pt x="22" y="34"/>
                  </a:lnTo>
                  <a:lnTo>
                    <a:pt x="22" y="34"/>
                  </a:lnTo>
                  <a:lnTo>
                    <a:pt x="22" y="34"/>
                  </a:lnTo>
                  <a:lnTo>
                    <a:pt x="22" y="36"/>
                  </a:lnTo>
                  <a:lnTo>
                    <a:pt x="22" y="36"/>
                  </a:lnTo>
                  <a:lnTo>
                    <a:pt x="22" y="36"/>
                  </a:lnTo>
                  <a:lnTo>
                    <a:pt x="22" y="36"/>
                  </a:lnTo>
                  <a:close/>
                  <a:moveTo>
                    <a:pt x="27" y="42"/>
                  </a:moveTo>
                  <a:lnTo>
                    <a:pt x="26" y="42"/>
                  </a:lnTo>
                  <a:lnTo>
                    <a:pt x="26" y="42"/>
                  </a:lnTo>
                  <a:lnTo>
                    <a:pt x="26" y="42"/>
                  </a:lnTo>
                  <a:lnTo>
                    <a:pt x="26" y="40"/>
                  </a:lnTo>
                  <a:lnTo>
                    <a:pt x="27" y="40"/>
                  </a:lnTo>
                  <a:lnTo>
                    <a:pt x="27" y="40"/>
                  </a:lnTo>
                  <a:lnTo>
                    <a:pt x="27" y="42"/>
                  </a:lnTo>
                  <a:lnTo>
                    <a:pt x="27" y="42"/>
                  </a:lnTo>
                  <a:lnTo>
                    <a:pt x="26" y="42"/>
                  </a:lnTo>
                  <a:lnTo>
                    <a:pt x="27" y="42"/>
                  </a:lnTo>
                  <a:close/>
                  <a:moveTo>
                    <a:pt x="47" y="1"/>
                  </a:moveTo>
                  <a:lnTo>
                    <a:pt x="47" y="1"/>
                  </a:lnTo>
                  <a:lnTo>
                    <a:pt x="45" y="1"/>
                  </a:lnTo>
                  <a:lnTo>
                    <a:pt x="45" y="1"/>
                  </a:lnTo>
                  <a:lnTo>
                    <a:pt x="45" y="1"/>
                  </a:lnTo>
                  <a:lnTo>
                    <a:pt x="45" y="1"/>
                  </a:lnTo>
                  <a:lnTo>
                    <a:pt x="45" y="1"/>
                  </a:lnTo>
                  <a:lnTo>
                    <a:pt x="45" y="1"/>
                  </a:lnTo>
                  <a:lnTo>
                    <a:pt x="45" y="1"/>
                  </a:lnTo>
                  <a:lnTo>
                    <a:pt x="45" y="1"/>
                  </a:lnTo>
                  <a:lnTo>
                    <a:pt x="47" y="1"/>
                  </a:lnTo>
                  <a:lnTo>
                    <a:pt x="47" y="1"/>
                  </a:lnTo>
                  <a:lnTo>
                    <a:pt x="47" y="1"/>
                  </a:lnTo>
                  <a:lnTo>
                    <a:pt x="47" y="1"/>
                  </a:lnTo>
                  <a:close/>
                  <a:moveTo>
                    <a:pt x="1" y="32"/>
                  </a:moveTo>
                  <a:lnTo>
                    <a:pt x="1" y="34"/>
                  </a:lnTo>
                  <a:lnTo>
                    <a:pt x="1" y="34"/>
                  </a:lnTo>
                  <a:lnTo>
                    <a:pt x="1" y="34"/>
                  </a:lnTo>
                  <a:lnTo>
                    <a:pt x="1" y="32"/>
                  </a:lnTo>
                  <a:lnTo>
                    <a:pt x="1" y="32"/>
                  </a:lnTo>
                  <a:lnTo>
                    <a:pt x="1" y="32"/>
                  </a:lnTo>
                  <a:lnTo>
                    <a:pt x="1" y="32"/>
                  </a:lnTo>
                  <a:close/>
                  <a:moveTo>
                    <a:pt x="21" y="37"/>
                  </a:moveTo>
                  <a:lnTo>
                    <a:pt x="19" y="37"/>
                  </a:lnTo>
                  <a:lnTo>
                    <a:pt x="19" y="37"/>
                  </a:lnTo>
                  <a:lnTo>
                    <a:pt x="19" y="36"/>
                  </a:lnTo>
                  <a:lnTo>
                    <a:pt x="21" y="36"/>
                  </a:lnTo>
                  <a:lnTo>
                    <a:pt x="21" y="36"/>
                  </a:lnTo>
                  <a:lnTo>
                    <a:pt x="21" y="37"/>
                  </a:lnTo>
                  <a:lnTo>
                    <a:pt x="21" y="37"/>
                  </a:lnTo>
                  <a:lnTo>
                    <a:pt x="21" y="37"/>
                  </a:lnTo>
                  <a:close/>
                  <a:moveTo>
                    <a:pt x="47" y="5"/>
                  </a:moveTo>
                  <a:lnTo>
                    <a:pt x="47" y="5"/>
                  </a:lnTo>
                  <a:lnTo>
                    <a:pt x="47" y="5"/>
                  </a:lnTo>
                  <a:lnTo>
                    <a:pt x="47" y="5"/>
                  </a:lnTo>
                  <a:lnTo>
                    <a:pt x="47" y="5"/>
                  </a:lnTo>
                  <a:lnTo>
                    <a:pt x="47" y="5"/>
                  </a:lnTo>
                  <a:lnTo>
                    <a:pt x="47" y="5"/>
                  </a:lnTo>
                  <a:close/>
                  <a:moveTo>
                    <a:pt x="34" y="1"/>
                  </a:moveTo>
                  <a:lnTo>
                    <a:pt x="34" y="1"/>
                  </a:lnTo>
                  <a:lnTo>
                    <a:pt x="34" y="1"/>
                  </a:lnTo>
                  <a:lnTo>
                    <a:pt x="34" y="0"/>
                  </a:lnTo>
                  <a:lnTo>
                    <a:pt x="35" y="0"/>
                  </a:lnTo>
                  <a:lnTo>
                    <a:pt x="34" y="1"/>
                  </a:lnTo>
                  <a:close/>
                  <a:moveTo>
                    <a:pt x="18" y="31"/>
                  </a:moveTo>
                  <a:lnTo>
                    <a:pt x="18" y="31"/>
                  </a:lnTo>
                  <a:lnTo>
                    <a:pt x="18" y="31"/>
                  </a:lnTo>
                  <a:lnTo>
                    <a:pt x="18" y="31"/>
                  </a:lnTo>
                  <a:lnTo>
                    <a:pt x="18" y="31"/>
                  </a:lnTo>
                  <a:lnTo>
                    <a:pt x="18" y="31"/>
                  </a:lnTo>
                  <a:close/>
                  <a:moveTo>
                    <a:pt x="44" y="0"/>
                  </a:moveTo>
                  <a:lnTo>
                    <a:pt x="44" y="0"/>
                  </a:lnTo>
                  <a:lnTo>
                    <a:pt x="44" y="0"/>
                  </a:lnTo>
                  <a:lnTo>
                    <a:pt x="44" y="0"/>
                  </a:lnTo>
                  <a:lnTo>
                    <a:pt x="44" y="0"/>
                  </a:lnTo>
                  <a:close/>
                  <a:moveTo>
                    <a:pt x="21" y="36"/>
                  </a:moveTo>
                  <a:lnTo>
                    <a:pt x="21" y="36"/>
                  </a:lnTo>
                  <a:lnTo>
                    <a:pt x="21" y="36"/>
                  </a:lnTo>
                  <a:lnTo>
                    <a:pt x="19" y="36"/>
                  </a:lnTo>
                  <a:lnTo>
                    <a:pt x="21" y="36"/>
                  </a:lnTo>
                  <a:lnTo>
                    <a:pt x="21" y="36"/>
                  </a:lnTo>
                  <a:close/>
                  <a:moveTo>
                    <a:pt x="1" y="32"/>
                  </a:moveTo>
                  <a:lnTo>
                    <a:pt x="1" y="32"/>
                  </a:lnTo>
                  <a:lnTo>
                    <a:pt x="0" y="32"/>
                  </a:lnTo>
                  <a:lnTo>
                    <a:pt x="1" y="32"/>
                  </a:lnTo>
                  <a:lnTo>
                    <a:pt x="1" y="32"/>
                  </a:lnTo>
                  <a:close/>
                  <a:moveTo>
                    <a:pt x="53" y="5"/>
                  </a:moveTo>
                  <a:lnTo>
                    <a:pt x="53" y="5"/>
                  </a:lnTo>
                  <a:lnTo>
                    <a:pt x="53" y="5"/>
                  </a:lnTo>
                  <a:lnTo>
                    <a:pt x="53" y="5"/>
                  </a:lnTo>
                  <a:lnTo>
                    <a:pt x="53" y="5"/>
                  </a:lnTo>
                  <a:close/>
                  <a:moveTo>
                    <a:pt x="27" y="47"/>
                  </a:moveTo>
                  <a:lnTo>
                    <a:pt x="27" y="47"/>
                  </a:lnTo>
                  <a:lnTo>
                    <a:pt x="27" y="45"/>
                  </a:lnTo>
                  <a:lnTo>
                    <a:pt x="27" y="45"/>
                  </a:lnTo>
                  <a:lnTo>
                    <a:pt x="27" y="47"/>
                  </a:lnTo>
                  <a:close/>
                  <a:moveTo>
                    <a:pt x="18" y="31"/>
                  </a:moveTo>
                  <a:lnTo>
                    <a:pt x="18" y="31"/>
                  </a:lnTo>
                  <a:lnTo>
                    <a:pt x="18" y="31"/>
                  </a:lnTo>
                  <a:lnTo>
                    <a:pt x="18" y="29"/>
                  </a:lnTo>
                  <a:lnTo>
                    <a:pt x="18" y="29"/>
                  </a:lnTo>
                  <a:lnTo>
                    <a:pt x="18" y="31"/>
                  </a:lnTo>
                  <a:close/>
                  <a:moveTo>
                    <a:pt x="31" y="42"/>
                  </a:moveTo>
                  <a:lnTo>
                    <a:pt x="31" y="42"/>
                  </a:lnTo>
                  <a:lnTo>
                    <a:pt x="31" y="42"/>
                  </a:lnTo>
                  <a:lnTo>
                    <a:pt x="31" y="40"/>
                  </a:lnTo>
                  <a:lnTo>
                    <a:pt x="31" y="42"/>
                  </a:lnTo>
                  <a:close/>
                  <a:moveTo>
                    <a:pt x="48" y="6"/>
                  </a:moveTo>
                  <a:lnTo>
                    <a:pt x="48" y="6"/>
                  </a:lnTo>
                  <a:lnTo>
                    <a:pt x="48" y="6"/>
                  </a:lnTo>
                  <a:lnTo>
                    <a:pt x="48" y="6"/>
                  </a:lnTo>
                  <a:close/>
                </a:path>
              </a:pathLst>
            </a:custGeom>
            <a:solidFill>
              <a:srgbClr val="E5E5E5"/>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1182" name="Freeform 28">
              <a:extLst>
                <a:ext uri="{FF2B5EF4-FFF2-40B4-BE49-F238E27FC236}">
                  <a16:creationId xmlns:a16="http://schemas.microsoft.com/office/drawing/2014/main" id="{735BD4BF-6127-335D-7CD3-5B66382F5772}"/>
                </a:ext>
              </a:extLst>
            </p:cNvPr>
            <p:cNvSpPr>
              <a:spLocks noEditPoints="1"/>
            </p:cNvSpPr>
            <p:nvPr/>
          </p:nvSpPr>
          <p:spPr bwMode="auto">
            <a:xfrm>
              <a:off x="2420" y="5547"/>
              <a:ext cx="3" cy="8"/>
            </a:xfrm>
            <a:custGeom>
              <a:avLst/>
              <a:gdLst>
                <a:gd name="T0" fmla="*/ 0 w 3"/>
                <a:gd name="T1" fmla="*/ 1 h 8"/>
                <a:gd name="T2" fmla="*/ 0 w 3"/>
                <a:gd name="T3" fmla="*/ 1 h 8"/>
                <a:gd name="T4" fmla="*/ 0 w 3"/>
                <a:gd name="T5" fmla="*/ 1 h 8"/>
                <a:gd name="T6" fmla="*/ 0 w 3"/>
                <a:gd name="T7" fmla="*/ 1 h 8"/>
                <a:gd name="T8" fmla="*/ 2 w 3"/>
                <a:gd name="T9" fmla="*/ 1 h 8"/>
                <a:gd name="T10" fmla="*/ 2 w 3"/>
                <a:gd name="T11" fmla="*/ 1 h 8"/>
                <a:gd name="T12" fmla="*/ 0 w 3"/>
                <a:gd name="T13" fmla="*/ 1 h 8"/>
                <a:gd name="T14" fmla="*/ 2 w 3"/>
                <a:gd name="T15" fmla="*/ 1 h 8"/>
                <a:gd name="T16" fmla="*/ 2 w 3"/>
                <a:gd name="T17" fmla="*/ 1 h 8"/>
                <a:gd name="T18" fmla="*/ 2 w 3"/>
                <a:gd name="T19" fmla="*/ 0 h 8"/>
                <a:gd name="T20" fmla="*/ 2 w 3"/>
                <a:gd name="T21" fmla="*/ 1 h 8"/>
                <a:gd name="T22" fmla="*/ 3 w 3"/>
                <a:gd name="T23" fmla="*/ 1 h 8"/>
                <a:gd name="T24" fmla="*/ 3 w 3"/>
                <a:gd name="T25" fmla="*/ 1 h 8"/>
                <a:gd name="T26" fmla="*/ 3 w 3"/>
                <a:gd name="T27" fmla="*/ 3 h 8"/>
                <a:gd name="T28" fmla="*/ 3 w 3"/>
                <a:gd name="T29" fmla="*/ 3 h 8"/>
                <a:gd name="T30" fmla="*/ 2 w 3"/>
                <a:gd name="T31" fmla="*/ 5 h 8"/>
                <a:gd name="T32" fmla="*/ 2 w 3"/>
                <a:gd name="T33" fmla="*/ 5 h 8"/>
                <a:gd name="T34" fmla="*/ 2 w 3"/>
                <a:gd name="T35" fmla="*/ 5 h 8"/>
                <a:gd name="T36" fmla="*/ 2 w 3"/>
                <a:gd name="T37" fmla="*/ 5 h 8"/>
                <a:gd name="T38" fmla="*/ 2 w 3"/>
                <a:gd name="T39" fmla="*/ 6 h 8"/>
                <a:gd name="T40" fmla="*/ 2 w 3"/>
                <a:gd name="T41" fmla="*/ 6 h 8"/>
                <a:gd name="T42" fmla="*/ 2 w 3"/>
                <a:gd name="T43" fmla="*/ 8 h 8"/>
                <a:gd name="T44" fmla="*/ 2 w 3"/>
                <a:gd name="T45" fmla="*/ 8 h 8"/>
                <a:gd name="T46" fmla="*/ 0 w 3"/>
                <a:gd name="T47" fmla="*/ 6 h 8"/>
                <a:gd name="T48" fmla="*/ 0 w 3"/>
                <a:gd name="T49" fmla="*/ 6 h 8"/>
                <a:gd name="T50" fmla="*/ 0 w 3"/>
                <a:gd name="T51" fmla="*/ 6 h 8"/>
                <a:gd name="T52" fmla="*/ 0 w 3"/>
                <a:gd name="T53" fmla="*/ 6 h 8"/>
                <a:gd name="T54" fmla="*/ 0 w 3"/>
                <a:gd name="T55" fmla="*/ 5 h 8"/>
                <a:gd name="T56" fmla="*/ 0 w 3"/>
                <a:gd name="T57" fmla="*/ 5 h 8"/>
                <a:gd name="T58" fmla="*/ 0 w 3"/>
                <a:gd name="T59" fmla="*/ 3 h 8"/>
                <a:gd name="T60" fmla="*/ 0 w 3"/>
                <a:gd name="T61" fmla="*/ 5 h 8"/>
                <a:gd name="T62" fmla="*/ 0 w 3"/>
                <a:gd name="T63" fmla="*/ 3 h 8"/>
                <a:gd name="T64" fmla="*/ 0 w 3"/>
                <a:gd name="T65" fmla="*/ 3 h 8"/>
                <a:gd name="T66" fmla="*/ 0 w 3"/>
                <a:gd name="T67" fmla="*/ 3 h 8"/>
                <a:gd name="T68" fmla="*/ 0 w 3"/>
                <a:gd name="T69" fmla="*/ 1 h 8"/>
                <a:gd name="T70" fmla="*/ 0 w 3"/>
                <a:gd name="T71" fmla="*/ 1 h 8"/>
                <a:gd name="T72" fmla="*/ 0 w 3"/>
                <a:gd name="T73" fmla="*/ 1 h 8"/>
                <a:gd name="T74" fmla="*/ 0 w 3"/>
                <a:gd name="T75" fmla="*/ 1 h 8"/>
                <a:gd name="T76" fmla="*/ 0 w 3"/>
                <a:gd name="T77" fmla="*/ 1 h 8"/>
                <a:gd name="T78" fmla="*/ 0 w 3"/>
                <a:gd name="T79" fmla="*/ 1 h 8"/>
                <a:gd name="T80" fmla="*/ 0 w 3"/>
                <a:gd name="T81" fmla="*/ 1 h 8"/>
                <a:gd name="T82" fmla="*/ 0 w 3"/>
                <a:gd name="T83" fmla="*/ 1 h 8"/>
                <a:gd name="T84" fmla="*/ 0 w 3"/>
                <a:gd name="T85" fmla="*/ 1 h 8"/>
                <a:gd name="T86" fmla="*/ 0 w 3"/>
                <a:gd name="T87" fmla="*/ 1 h 8"/>
                <a:gd name="T88" fmla="*/ 0 w 3"/>
                <a:gd name="T89" fmla="*/ 1 h 8"/>
                <a:gd name="T90" fmla="*/ 0 w 3"/>
                <a:gd name="T91" fmla="*/ 3 h 8"/>
                <a:gd name="T92" fmla="*/ 0 w 3"/>
                <a:gd name="T93" fmla="*/ 1 h 8"/>
                <a:gd name="T94" fmla="*/ 0 w 3"/>
                <a:gd name="T95" fmla="*/ 3 h 8"/>
                <a:gd name="T96" fmla="*/ 0 w 3"/>
                <a:gd name="T97" fmla="*/ 3 h 8"/>
                <a:gd name="T98" fmla="*/ 0 w 3"/>
                <a:gd name="T99" fmla="*/ 3 h 8"/>
                <a:gd name="T100" fmla="*/ 0 w 3"/>
                <a:gd name="T101" fmla="*/ 3 h 8"/>
                <a:gd name="T102" fmla="*/ 0 w 3"/>
                <a:gd name="T103" fmla="*/ 3 h 8"/>
                <a:gd name="T104" fmla="*/ 0 w 3"/>
                <a:gd name="T105" fmla="*/ 3 h 8"/>
                <a:gd name="T106" fmla="*/ 0 w 3"/>
                <a:gd name="T107" fmla="*/ 3 h 8"/>
                <a:gd name="T108" fmla="*/ 0 w 3"/>
                <a:gd name="T109" fmla="*/ 3 h 8"/>
                <a:gd name="T110" fmla="*/ 0 w 3"/>
                <a:gd name="T111" fmla="*/ 3 h 8"/>
                <a:gd name="T112" fmla="*/ 0 w 3"/>
                <a:gd name="T113" fmla="*/ 3 h 8"/>
                <a:gd name="T114" fmla="*/ 0 w 3"/>
                <a:gd name="T115" fmla="*/ 3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 h="8">
                  <a:moveTo>
                    <a:pt x="0" y="1"/>
                  </a:moveTo>
                  <a:lnTo>
                    <a:pt x="0" y="1"/>
                  </a:lnTo>
                  <a:lnTo>
                    <a:pt x="0" y="1"/>
                  </a:lnTo>
                  <a:lnTo>
                    <a:pt x="0" y="1"/>
                  </a:lnTo>
                  <a:lnTo>
                    <a:pt x="2" y="1"/>
                  </a:lnTo>
                  <a:lnTo>
                    <a:pt x="2" y="1"/>
                  </a:lnTo>
                  <a:lnTo>
                    <a:pt x="0" y="1"/>
                  </a:lnTo>
                  <a:lnTo>
                    <a:pt x="2" y="1"/>
                  </a:lnTo>
                  <a:lnTo>
                    <a:pt x="2" y="1"/>
                  </a:lnTo>
                  <a:lnTo>
                    <a:pt x="2" y="0"/>
                  </a:lnTo>
                  <a:lnTo>
                    <a:pt x="2" y="1"/>
                  </a:lnTo>
                  <a:lnTo>
                    <a:pt x="3" y="1"/>
                  </a:lnTo>
                  <a:lnTo>
                    <a:pt x="3" y="1"/>
                  </a:lnTo>
                  <a:lnTo>
                    <a:pt x="3" y="3"/>
                  </a:lnTo>
                  <a:lnTo>
                    <a:pt x="3" y="3"/>
                  </a:lnTo>
                  <a:lnTo>
                    <a:pt x="2" y="5"/>
                  </a:lnTo>
                  <a:lnTo>
                    <a:pt x="2" y="5"/>
                  </a:lnTo>
                  <a:lnTo>
                    <a:pt x="2" y="5"/>
                  </a:lnTo>
                  <a:lnTo>
                    <a:pt x="2" y="5"/>
                  </a:lnTo>
                  <a:lnTo>
                    <a:pt x="2" y="6"/>
                  </a:lnTo>
                  <a:lnTo>
                    <a:pt x="2" y="6"/>
                  </a:lnTo>
                  <a:lnTo>
                    <a:pt x="2" y="8"/>
                  </a:lnTo>
                  <a:lnTo>
                    <a:pt x="2" y="8"/>
                  </a:lnTo>
                  <a:lnTo>
                    <a:pt x="0" y="6"/>
                  </a:lnTo>
                  <a:lnTo>
                    <a:pt x="0" y="6"/>
                  </a:lnTo>
                  <a:lnTo>
                    <a:pt x="0" y="6"/>
                  </a:lnTo>
                  <a:lnTo>
                    <a:pt x="0" y="6"/>
                  </a:lnTo>
                  <a:lnTo>
                    <a:pt x="0" y="5"/>
                  </a:lnTo>
                  <a:lnTo>
                    <a:pt x="0" y="5"/>
                  </a:lnTo>
                  <a:lnTo>
                    <a:pt x="0" y="3"/>
                  </a:lnTo>
                  <a:lnTo>
                    <a:pt x="0" y="5"/>
                  </a:lnTo>
                  <a:lnTo>
                    <a:pt x="0" y="3"/>
                  </a:lnTo>
                  <a:lnTo>
                    <a:pt x="0" y="3"/>
                  </a:lnTo>
                  <a:lnTo>
                    <a:pt x="0" y="3"/>
                  </a:lnTo>
                  <a:lnTo>
                    <a:pt x="0" y="1"/>
                  </a:lnTo>
                  <a:lnTo>
                    <a:pt x="0" y="1"/>
                  </a:lnTo>
                  <a:lnTo>
                    <a:pt x="0" y="1"/>
                  </a:lnTo>
                  <a:lnTo>
                    <a:pt x="0" y="1"/>
                  </a:lnTo>
                  <a:lnTo>
                    <a:pt x="0" y="1"/>
                  </a:lnTo>
                  <a:close/>
                  <a:moveTo>
                    <a:pt x="0" y="1"/>
                  </a:moveTo>
                  <a:lnTo>
                    <a:pt x="0" y="1"/>
                  </a:lnTo>
                  <a:lnTo>
                    <a:pt x="0" y="1"/>
                  </a:lnTo>
                  <a:lnTo>
                    <a:pt x="0" y="1"/>
                  </a:lnTo>
                  <a:close/>
                  <a:moveTo>
                    <a:pt x="0" y="1"/>
                  </a:moveTo>
                  <a:lnTo>
                    <a:pt x="0" y="1"/>
                  </a:lnTo>
                  <a:lnTo>
                    <a:pt x="0" y="3"/>
                  </a:lnTo>
                  <a:lnTo>
                    <a:pt x="0" y="1"/>
                  </a:lnTo>
                  <a:close/>
                  <a:moveTo>
                    <a:pt x="0" y="3"/>
                  </a:moveTo>
                  <a:lnTo>
                    <a:pt x="0" y="3"/>
                  </a:lnTo>
                  <a:lnTo>
                    <a:pt x="0" y="3"/>
                  </a:lnTo>
                  <a:lnTo>
                    <a:pt x="0" y="3"/>
                  </a:lnTo>
                  <a:lnTo>
                    <a:pt x="0" y="3"/>
                  </a:lnTo>
                  <a:lnTo>
                    <a:pt x="0" y="3"/>
                  </a:lnTo>
                  <a:close/>
                  <a:moveTo>
                    <a:pt x="0" y="3"/>
                  </a:moveTo>
                  <a:lnTo>
                    <a:pt x="0" y="3"/>
                  </a:lnTo>
                  <a:lnTo>
                    <a:pt x="0" y="3"/>
                  </a:lnTo>
                  <a:lnTo>
                    <a:pt x="0" y="3"/>
                  </a:lnTo>
                  <a:lnTo>
                    <a:pt x="0" y="3"/>
                  </a:lnTo>
                  <a:close/>
                </a:path>
              </a:pathLst>
            </a:custGeom>
            <a:solidFill>
              <a:srgbClr val="E5E5E5"/>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1183" name="Freeform 29">
              <a:extLst>
                <a:ext uri="{FF2B5EF4-FFF2-40B4-BE49-F238E27FC236}">
                  <a16:creationId xmlns:a16="http://schemas.microsoft.com/office/drawing/2014/main" id="{B0C2959E-3935-E944-0385-F4EA3D119C4B}"/>
                </a:ext>
              </a:extLst>
            </p:cNvPr>
            <p:cNvSpPr>
              <a:spLocks noEditPoints="1"/>
            </p:cNvSpPr>
            <p:nvPr/>
          </p:nvSpPr>
          <p:spPr bwMode="auto">
            <a:xfrm>
              <a:off x="633" y="578"/>
              <a:ext cx="1237" cy="366"/>
            </a:xfrm>
            <a:custGeom>
              <a:avLst/>
              <a:gdLst>
                <a:gd name="T0" fmla="*/ 144 w 1237"/>
                <a:gd name="T1" fmla="*/ 358 h 366"/>
                <a:gd name="T2" fmla="*/ 179 w 1237"/>
                <a:gd name="T3" fmla="*/ 342 h 366"/>
                <a:gd name="T4" fmla="*/ 99 w 1237"/>
                <a:gd name="T5" fmla="*/ 322 h 366"/>
                <a:gd name="T6" fmla="*/ 101 w 1237"/>
                <a:gd name="T7" fmla="*/ 306 h 366"/>
                <a:gd name="T8" fmla="*/ 133 w 1237"/>
                <a:gd name="T9" fmla="*/ 324 h 366"/>
                <a:gd name="T10" fmla="*/ 115 w 1237"/>
                <a:gd name="T11" fmla="*/ 299 h 366"/>
                <a:gd name="T12" fmla="*/ 60 w 1237"/>
                <a:gd name="T13" fmla="*/ 280 h 366"/>
                <a:gd name="T14" fmla="*/ 284 w 1237"/>
                <a:gd name="T15" fmla="*/ 268 h 366"/>
                <a:gd name="T16" fmla="*/ 58 w 1237"/>
                <a:gd name="T17" fmla="*/ 259 h 366"/>
                <a:gd name="T18" fmla="*/ 63 w 1237"/>
                <a:gd name="T19" fmla="*/ 249 h 366"/>
                <a:gd name="T20" fmla="*/ 359 w 1237"/>
                <a:gd name="T21" fmla="*/ 233 h 366"/>
                <a:gd name="T22" fmla="*/ 401 w 1237"/>
                <a:gd name="T23" fmla="*/ 212 h 366"/>
                <a:gd name="T24" fmla="*/ 112 w 1237"/>
                <a:gd name="T25" fmla="*/ 195 h 366"/>
                <a:gd name="T26" fmla="*/ 83 w 1237"/>
                <a:gd name="T27" fmla="*/ 168 h 366"/>
                <a:gd name="T28" fmla="*/ 104 w 1237"/>
                <a:gd name="T29" fmla="*/ 147 h 366"/>
                <a:gd name="T30" fmla="*/ 89 w 1237"/>
                <a:gd name="T31" fmla="*/ 130 h 366"/>
                <a:gd name="T32" fmla="*/ 466 w 1237"/>
                <a:gd name="T33" fmla="*/ 122 h 366"/>
                <a:gd name="T34" fmla="*/ 505 w 1237"/>
                <a:gd name="T35" fmla="*/ 117 h 366"/>
                <a:gd name="T36" fmla="*/ 63 w 1237"/>
                <a:gd name="T37" fmla="*/ 112 h 366"/>
                <a:gd name="T38" fmla="*/ 61 w 1237"/>
                <a:gd name="T39" fmla="*/ 103 h 366"/>
                <a:gd name="T40" fmla="*/ 70 w 1237"/>
                <a:gd name="T41" fmla="*/ 101 h 366"/>
                <a:gd name="T42" fmla="*/ 572 w 1237"/>
                <a:gd name="T43" fmla="*/ 119 h 366"/>
                <a:gd name="T44" fmla="*/ 644 w 1237"/>
                <a:gd name="T45" fmla="*/ 94 h 366"/>
                <a:gd name="T46" fmla="*/ 63 w 1237"/>
                <a:gd name="T47" fmla="*/ 80 h 366"/>
                <a:gd name="T48" fmla="*/ 63 w 1237"/>
                <a:gd name="T49" fmla="*/ 68 h 366"/>
                <a:gd name="T50" fmla="*/ 61 w 1237"/>
                <a:gd name="T51" fmla="*/ 57 h 366"/>
                <a:gd name="T52" fmla="*/ 636 w 1237"/>
                <a:gd name="T53" fmla="*/ 51 h 366"/>
                <a:gd name="T54" fmla="*/ 740 w 1237"/>
                <a:gd name="T55" fmla="*/ 31 h 366"/>
                <a:gd name="T56" fmla="*/ 990 w 1237"/>
                <a:gd name="T57" fmla="*/ 21 h 366"/>
                <a:gd name="T58" fmla="*/ 26 w 1237"/>
                <a:gd name="T59" fmla="*/ 51 h 366"/>
                <a:gd name="T60" fmla="*/ 47 w 1237"/>
                <a:gd name="T61" fmla="*/ 21 h 366"/>
                <a:gd name="T62" fmla="*/ 32 w 1237"/>
                <a:gd name="T63" fmla="*/ 21 h 366"/>
                <a:gd name="T64" fmla="*/ 725 w 1237"/>
                <a:gd name="T65" fmla="*/ 8 h 366"/>
                <a:gd name="T66" fmla="*/ 714 w 1237"/>
                <a:gd name="T67" fmla="*/ 5 h 366"/>
                <a:gd name="T68" fmla="*/ 1032 w 1237"/>
                <a:gd name="T69" fmla="*/ 3 h 366"/>
                <a:gd name="T70" fmla="*/ 626 w 1237"/>
                <a:gd name="T71" fmla="*/ 28 h 366"/>
                <a:gd name="T72" fmla="*/ 608 w 1237"/>
                <a:gd name="T73" fmla="*/ 96 h 366"/>
                <a:gd name="T74" fmla="*/ 574 w 1237"/>
                <a:gd name="T75" fmla="*/ 54 h 366"/>
                <a:gd name="T76" fmla="*/ 538 w 1237"/>
                <a:gd name="T77" fmla="*/ 103 h 366"/>
                <a:gd name="T78" fmla="*/ 496 w 1237"/>
                <a:gd name="T79" fmla="*/ 107 h 366"/>
                <a:gd name="T80" fmla="*/ 458 w 1237"/>
                <a:gd name="T81" fmla="*/ 134 h 366"/>
                <a:gd name="T82" fmla="*/ 426 w 1237"/>
                <a:gd name="T83" fmla="*/ 171 h 366"/>
                <a:gd name="T84" fmla="*/ 361 w 1237"/>
                <a:gd name="T85" fmla="*/ 207 h 366"/>
                <a:gd name="T86" fmla="*/ 344 w 1237"/>
                <a:gd name="T87" fmla="*/ 238 h 366"/>
                <a:gd name="T88" fmla="*/ 294 w 1237"/>
                <a:gd name="T89" fmla="*/ 242 h 366"/>
                <a:gd name="T90" fmla="*/ 276 w 1237"/>
                <a:gd name="T91" fmla="*/ 282 h 366"/>
                <a:gd name="T92" fmla="*/ 245 w 1237"/>
                <a:gd name="T93" fmla="*/ 301 h 366"/>
                <a:gd name="T94" fmla="*/ 200 w 1237"/>
                <a:gd name="T95" fmla="*/ 301 h 366"/>
                <a:gd name="T96" fmla="*/ 195 w 1237"/>
                <a:gd name="T97" fmla="*/ 308 h 366"/>
                <a:gd name="T98" fmla="*/ 151 w 1237"/>
                <a:gd name="T99" fmla="*/ 319 h 366"/>
                <a:gd name="T100" fmla="*/ 81 w 1237"/>
                <a:gd name="T101" fmla="*/ 272 h 366"/>
                <a:gd name="T102" fmla="*/ 83 w 1237"/>
                <a:gd name="T103" fmla="*/ 241 h 366"/>
                <a:gd name="T104" fmla="*/ 135 w 1237"/>
                <a:gd name="T105" fmla="*/ 194 h 366"/>
                <a:gd name="T106" fmla="*/ 110 w 1237"/>
                <a:gd name="T107" fmla="*/ 168 h 366"/>
                <a:gd name="T108" fmla="*/ 143 w 1237"/>
                <a:gd name="T109" fmla="*/ 150 h 366"/>
                <a:gd name="T110" fmla="*/ 156 w 1237"/>
                <a:gd name="T111" fmla="*/ 138 h 366"/>
                <a:gd name="T112" fmla="*/ 172 w 1237"/>
                <a:gd name="T113" fmla="*/ 94 h 366"/>
                <a:gd name="T114" fmla="*/ 99 w 1237"/>
                <a:gd name="T115" fmla="*/ 90 h 366"/>
                <a:gd name="T116" fmla="*/ 76 w 1237"/>
                <a:gd name="T117" fmla="*/ 64 h 366"/>
                <a:gd name="T118" fmla="*/ 55 w 1237"/>
                <a:gd name="T119" fmla="*/ 21 h 366"/>
                <a:gd name="T120" fmla="*/ 673 w 1237"/>
                <a:gd name="T121" fmla="*/ 47 h 366"/>
                <a:gd name="T122" fmla="*/ 707 w 1237"/>
                <a:gd name="T123" fmla="*/ 2 h 366"/>
                <a:gd name="T124" fmla="*/ 1114 w 1237"/>
                <a:gd name="T125" fmla="*/ 5 h 3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237" h="366">
                  <a:moveTo>
                    <a:pt x="149" y="366"/>
                  </a:moveTo>
                  <a:lnTo>
                    <a:pt x="148" y="366"/>
                  </a:lnTo>
                  <a:lnTo>
                    <a:pt x="148" y="364"/>
                  </a:lnTo>
                  <a:lnTo>
                    <a:pt x="149" y="366"/>
                  </a:lnTo>
                  <a:close/>
                  <a:moveTo>
                    <a:pt x="146" y="363"/>
                  </a:moveTo>
                  <a:lnTo>
                    <a:pt x="148" y="363"/>
                  </a:lnTo>
                  <a:lnTo>
                    <a:pt x="146" y="363"/>
                  </a:lnTo>
                  <a:close/>
                  <a:moveTo>
                    <a:pt x="148" y="363"/>
                  </a:moveTo>
                  <a:lnTo>
                    <a:pt x="149" y="363"/>
                  </a:lnTo>
                  <a:lnTo>
                    <a:pt x="148" y="363"/>
                  </a:lnTo>
                  <a:close/>
                  <a:moveTo>
                    <a:pt x="143" y="361"/>
                  </a:moveTo>
                  <a:lnTo>
                    <a:pt x="141" y="361"/>
                  </a:lnTo>
                  <a:lnTo>
                    <a:pt x="143" y="361"/>
                  </a:lnTo>
                  <a:close/>
                  <a:moveTo>
                    <a:pt x="159" y="360"/>
                  </a:moveTo>
                  <a:lnTo>
                    <a:pt x="159" y="361"/>
                  </a:lnTo>
                  <a:lnTo>
                    <a:pt x="159" y="360"/>
                  </a:lnTo>
                  <a:close/>
                  <a:moveTo>
                    <a:pt x="138" y="361"/>
                  </a:moveTo>
                  <a:lnTo>
                    <a:pt x="138" y="360"/>
                  </a:lnTo>
                  <a:lnTo>
                    <a:pt x="138" y="361"/>
                  </a:lnTo>
                  <a:close/>
                  <a:moveTo>
                    <a:pt x="156" y="358"/>
                  </a:moveTo>
                  <a:lnTo>
                    <a:pt x="156" y="360"/>
                  </a:lnTo>
                  <a:lnTo>
                    <a:pt x="156" y="358"/>
                  </a:lnTo>
                  <a:close/>
                  <a:moveTo>
                    <a:pt x="159" y="360"/>
                  </a:moveTo>
                  <a:lnTo>
                    <a:pt x="159" y="358"/>
                  </a:lnTo>
                  <a:lnTo>
                    <a:pt x="159" y="360"/>
                  </a:lnTo>
                  <a:close/>
                  <a:moveTo>
                    <a:pt x="153" y="360"/>
                  </a:moveTo>
                  <a:lnTo>
                    <a:pt x="153" y="361"/>
                  </a:lnTo>
                  <a:lnTo>
                    <a:pt x="153" y="360"/>
                  </a:lnTo>
                  <a:lnTo>
                    <a:pt x="153" y="358"/>
                  </a:lnTo>
                  <a:lnTo>
                    <a:pt x="153" y="360"/>
                  </a:lnTo>
                  <a:lnTo>
                    <a:pt x="153" y="358"/>
                  </a:lnTo>
                  <a:lnTo>
                    <a:pt x="153" y="360"/>
                  </a:lnTo>
                  <a:close/>
                  <a:moveTo>
                    <a:pt x="164" y="360"/>
                  </a:moveTo>
                  <a:lnTo>
                    <a:pt x="164" y="358"/>
                  </a:lnTo>
                  <a:lnTo>
                    <a:pt x="164" y="360"/>
                  </a:lnTo>
                  <a:close/>
                  <a:moveTo>
                    <a:pt x="159" y="358"/>
                  </a:moveTo>
                  <a:lnTo>
                    <a:pt x="157" y="358"/>
                  </a:lnTo>
                  <a:lnTo>
                    <a:pt x="159" y="358"/>
                  </a:lnTo>
                  <a:close/>
                  <a:moveTo>
                    <a:pt x="162" y="358"/>
                  </a:moveTo>
                  <a:lnTo>
                    <a:pt x="162" y="360"/>
                  </a:lnTo>
                  <a:lnTo>
                    <a:pt x="162" y="358"/>
                  </a:lnTo>
                  <a:lnTo>
                    <a:pt x="164" y="358"/>
                  </a:lnTo>
                  <a:lnTo>
                    <a:pt x="162" y="358"/>
                  </a:lnTo>
                  <a:close/>
                  <a:moveTo>
                    <a:pt x="162" y="356"/>
                  </a:moveTo>
                  <a:lnTo>
                    <a:pt x="162" y="358"/>
                  </a:lnTo>
                  <a:lnTo>
                    <a:pt x="162" y="356"/>
                  </a:lnTo>
                  <a:close/>
                  <a:moveTo>
                    <a:pt x="162" y="356"/>
                  </a:moveTo>
                  <a:lnTo>
                    <a:pt x="161" y="356"/>
                  </a:lnTo>
                  <a:lnTo>
                    <a:pt x="162" y="356"/>
                  </a:lnTo>
                  <a:close/>
                  <a:moveTo>
                    <a:pt x="172" y="356"/>
                  </a:moveTo>
                  <a:lnTo>
                    <a:pt x="172" y="355"/>
                  </a:lnTo>
                  <a:lnTo>
                    <a:pt x="172" y="356"/>
                  </a:lnTo>
                  <a:close/>
                  <a:moveTo>
                    <a:pt x="123" y="355"/>
                  </a:moveTo>
                  <a:lnTo>
                    <a:pt x="123" y="356"/>
                  </a:lnTo>
                  <a:lnTo>
                    <a:pt x="123" y="355"/>
                  </a:lnTo>
                  <a:close/>
                  <a:moveTo>
                    <a:pt x="125" y="355"/>
                  </a:moveTo>
                  <a:lnTo>
                    <a:pt x="125" y="356"/>
                  </a:lnTo>
                  <a:lnTo>
                    <a:pt x="125" y="355"/>
                  </a:lnTo>
                  <a:close/>
                  <a:moveTo>
                    <a:pt x="174" y="355"/>
                  </a:moveTo>
                  <a:lnTo>
                    <a:pt x="172" y="355"/>
                  </a:lnTo>
                  <a:lnTo>
                    <a:pt x="174" y="355"/>
                  </a:lnTo>
                  <a:close/>
                  <a:moveTo>
                    <a:pt x="123" y="355"/>
                  </a:moveTo>
                  <a:lnTo>
                    <a:pt x="125" y="355"/>
                  </a:lnTo>
                  <a:lnTo>
                    <a:pt x="123" y="355"/>
                  </a:lnTo>
                  <a:close/>
                  <a:moveTo>
                    <a:pt x="127" y="355"/>
                  </a:moveTo>
                  <a:lnTo>
                    <a:pt x="125" y="355"/>
                  </a:lnTo>
                  <a:lnTo>
                    <a:pt x="127" y="355"/>
                  </a:lnTo>
                  <a:close/>
                  <a:moveTo>
                    <a:pt x="123" y="356"/>
                  </a:moveTo>
                  <a:lnTo>
                    <a:pt x="122" y="356"/>
                  </a:lnTo>
                  <a:lnTo>
                    <a:pt x="122" y="358"/>
                  </a:lnTo>
                  <a:lnTo>
                    <a:pt x="122" y="356"/>
                  </a:lnTo>
                  <a:lnTo>
                    <a:pt x="120" y="356"/>
                  </a:lnTo>
                  <a:lnTo>
                    <a:pt x="120" y="355"/>
                  </a:lnTo>
                  <a:lnTo>
                    <a:pt x="120" y="356"/>
                  </a:lnTo>
                  <a:lnTo>
                    <a:pt x="118" y="356"/>
                  </a:lnTo>
                  <a:lnTo>
                    <a:pt x="117" y="356"/>
                  </a:lnTo>
                  <a:lnTo>
                    <a:pt x="118" y="356"/>
                  </a:lnTo>
                  <a:lnTo>
                    <a:pt x="117" y="356"/>
                  </a:lnTo>
                  <a:lnTo>
                    <a:pt x="117" y="355"/>
                  </a:lnTo>
                  <a:lnTo>
                    <a:pt x="118" y="355"/>
                  </a:lnTo>
                  <a:lnTo>
                    <a:pt x="120" y="355"/>
                  </a:lnTo>
                  <a:lnTo>
                    <a:pt x="123" y="356"/>
                  </a:lnTo>
                  <a:lnTo>
                    <a:pt x="123" y="358"/>
                  </a:lnTo>
                  <a:lnTo>
                    <a:pt x="123" y="356"/>
                  </a:lnTo>
                  <a:close/>
                  <a:moveTo>
                    <a:pt x="131" y="355"/>
                  </a:moveTo>
                  <a:lnTo>
                    <a:pt x="131" y="353"/>
                  </a:lnTo>
                  <a:lnTo>
                    <a:pt x="131" y="355"/>
                  </a:lnTo>
                  <a:close/>
                  <a:moveTo>
                    <a:pt x="115" y="353"/>
                  </a:moveTo>
                  <a:lnTo>
                    <a:pt x="117" y="353"/>
                  </a:lnTo>
                  <a:lnTo>
                    <a:pt x="115" y="353"/>
                  </a:lnTo>
                  <a:close/>
                  <a:moveTo>
                    <a:pt x="125" y="353"/>
                  </a:moveTo>
                  <a:lnTo>
                    <a:pt x="127" y="353"/>
                  </a:lnTo>
                  <a:lnTo>
                    <a:pt x="125" y="353"/>
                  </a:lnTo>
                  <a:close/>
                  <a:moveTo>
                    <a:pt x="118" y="353"/>
                  </a:moveTo>
                  <a:lnTo>
                    <a:pt x="120" y="353"/>
                  </a:lnTo>
                  <a:lnTo>
                    <a:pt x="118" y="353"/>
                  </a:lnTo>
                  <a:close/>
                  <a:moveTo>
                    <a:pt x="170" y="353"/>
                  </a:moveTo>
                  <a:lnTo>
                    <a:pt x="170" y="355"/>
                  </a:lnTo>
                  <a:lnTo>
                    <a:pt x="170" y="353"/>
                  </a:lnTo>
                  <a:lnTo>
                    <a:pt x="169" y="353"/>
                  </a:lnTo>
                  <a:lnTo>
                    <a:pt x="170" y="353"/>
                  </a:lnTo>
                  <a:lnTo>
                    <a:pt x="172" y="353"/>
                  </a:lnTo>
                  <a:lnTo>
                    <a:pt x="170" y="353"/>
                  </a:lnTo>
                  <a:close/>
                  <a:moveTo>
                    <a:pt x="130" y="353"/>
                  </a:moveTo>
                  <a:lnTo>
                    <a:pt x="128" y="353"/>
                  </a:lnTo>
                  <a:lnTo>
                    <a:pt x="130" y="353"/>
                  </a:lnTo>
                  <a:close/>
                  <a:moveTo>
                    <a:pt x="169" y="353"/>
                  </a:moveTo>
                  <a:lnTo>
                    <a:pt x="170" y="353"/>
                  </a:lnTo>
                  <a:lnTo>
                    <a:pt x="169" y="353"/>
                  </a:lnTo>
                  <a:close/>
                  <a:moveTo>
                    <a:pt x="172" y="353"/>
                  </a:moveTo>
                  <a:lnTo>
                    <a:pt x="174" y="353"/>
                  </a:lnTo>
                  <a:lnTo>
                    <a:pt x="172" y="353"/>
                  </a:lnTo>
                  <a:close/>
                  <a:moveTo>
                    <a:pt x="102" y="351"/>
                  </a:moveTo>
                  <a:lnTo>
                    <a:pt x="102" y="353"/>
                  </a:lnTo>
                  <a:lnTo>
                    <a:pt x="102" y="351"/>
                  </a:lnTo>
                  <a:close/>
                  <a:moveTo>
                    <a:pt x="110" y="351"/>
                  </a:moveTo>
                  <a:lnTo>
                    <a:pt x="110" y="353"/>
                  </a:lnTo>
                  <a:lnTo>
                    <a:pt x="110" y="351"/>
                  </a:lnTo>
                  <a:close/>
                  <a:moveTo>
                    <a:pt x="123" y="353"/>
                  </a:moveTo>
                  <a:lnTo>
                    <a:pt x="125" y="353"/>
                  </a:lnTo>
                  <a:lnTo>
                    <a:pt x="125" y="355"/>
                  </a:lnTo>
                  <a:lnTo>
                    <a:pt x="123" y="355"/>
                  </a:lnTo>
                  <a:lnTo>
                    <a:pt x="125" y="355"/>
                  </a:lnTo>
                  <a:lnTo>
                    <a:pt x="123" y="355"/>
                  </a:lnTo>
                  <a:lnTo>
                    <a:pt x="122" y="355"/>
                  </a:lnTo>
                  <a:lnTo>
                    <a:pt x="120" y="355"/>
                  </a:lnTo>
                  <a:lnTo>
                    <a:pt x="120" y="353"/>
                  </a:lnTo>
                  <a:lnTo>
                    <a:pt x="118" y="353"/>
                  </a:lnTo>
                  <a:lnTo>
                    <a:pt x="120" y="351"/>
                  </a:lnTo>
                  <a:lnTo>
                    <a:pt x="120" y="353"/>
                  </a:lnTo>
                  <a:lnTo>
                    <a:pt x="122" y="353"/>
                  </a:lnTo>
                  <a:lnTo>
                    <a:pt x="122" y="351"/>
                  </a:lnTo>
                  <a:lnTo>
                    <a:pt x="123" y="351"/>
                  </a:lnTo>
                  <a:lnTo>
                    <a:pt x="125" y="351"/>
                  </a:lnTo>
                  <a:lnTo>
                    <a:pt x="125" y="353"/>
                  </a:lnTo>
                  <a:lnTo>
                    <a:pt x="123" y="353"/>
                  </a:lnTo>
                  <a:close/>
                  <a:moveTo>
                    <a:pt x="174" y="351"/>
                  </a:moveTo>
                  <a:lnTo>
                    <a:pt x="175" y="351"/>
                  </a:lnTo>
                  <a:lnTo>
                    <a:pt x="174" y="351"/>
                  </a:lnTo>
                  <a:close/>
                  <a:moveTo>
                    <a:pt x="118" y="351"/>
                  </a:moveTo>
                  <a:lnTo>
                    <a:pt x="117" y="351"/>
                  </a:lnTo>
                  <a:lnTo>
                    <a:pt x="118" y="351"/>
                  </a:lnTo>
                  <a:close/>
                  <a:moveTo>
                    <a:pt x="172" y="351"/>
                  </a:moveTo>
                  <a:lnTo>
                    <a:pt x="174" y="351"/>
                  </a:lnTo>
                  <a:lnTo>
                    <a:pt x="172" y="351"/>
                  </a:lnTo>
                  <a:close/>
                  <a:moveTo>
                    <a:pt x="115" y="351"/>
                  </a:moveTo>
                  <a:lnTo>
                    <a:pt x="115" y="350"/>
                  </a:lnTo>
                  <a:lnTo>
                    <a:pt x="117" y="351"/>
                  </a:lnTo>
                  <a:lnTo>
                    <a:pt x="115" y="351"/>
                  </a:lnTo>
                  <a:close/>
                  <a:moveTo>
                    <a:pt x="183" y="351"/>
                  </a:moveTo>
                  <a:lnTo>
                    <a:pt x="183" y="350"/>
                  </a:lnTo>
                  <a:lnTo>
                    <a:pt x="183" y="351"/>
                  </a:lnTo>
                  <a:close/>
                  <a:moveTo>
                    <a:pt x="125" y="350"/>
                  </a:moveTo>
                  <a:lnTo>
                    <a:pt x="125" y="351"/>
                  </a:lnTo>
                  <a:lnTo>
                    <a:pt x="123" y="351"/>
                  </a:lnTo>
                  <a:lnTo>
                    <a:pt x="123" y="350"/>
                  </a:lnTo>
                  <a:lnTo>
                    <a:pt x="125" y="350"/>
                  </a:lnTo>
                  <a:close/>
                  <a:moveTo>
                    <a:pt x="115" y="350"/>
                  </a:moveTo>
                  <a:lnTo>
                    <a:pt x="115" y="351"/>
                  </a:lnTo>
                  <a:lnTo>
                    <a:pt x="115" y="350"/>
                  </a:lnTo>
                  <a:close/>
                  <a:moveTo>
                    <a:pt x="114" y="350"/>
                  </a:moveTo>
                  <a:lnTo>
                    <a:pt x="112" y="350"/>
                  </a:lnTo>
                  <a:lnTo>
                    <a:pt x="114" y="350"/>
                  </a:lnTo>
                  <a:close/>
                  <a:moveTo>
                    <a:pt x="110" y="350"/>
                  </a:moveTo>
                  <a:lnTo>
                    <a:pt x="112" y="350"/>
                  </a:lnTo>
                  <a:lnTo>
                    <a:pt x="110" y="351"/>
                  </a:lnTo>
                  <a:lnTo>
                    <a:pt x="110" y="350"/>
                  </a:lnTo>
                  <a:close/>
                  <a:moveTo>
                    <a:pt x="149" y="353"/>
                  </a:moveTo>
                  <a:lnTo>
                    <a:pt x="151" y="355"/>
                  </a:lnTo>
                  <a:lnTo>
                    <a:pt x="149" y="355"/>
                  </a:lnTo>
                  <a:lnTo>
                    <a:pt x="151" y="355"/>
                  </a:lnTo>
                  <a:lnTo>
                    <a:pt x="151" y="356"/>
                  </a:lnTo>
                  <a:lnTo>
                    <a:pt x="151" y="358"/>
                  </a:lnTo>
                  <a:lnTo>
                    <a:pt x="153" y="360"/>
                  </a:lnTo>
                  <a:lnTo>
                    <a:pt x="153" y="361"/>
                  </a:lnTo>
                  <a:lnTo>
                    <a:pt x="151" y="361"/>
                  </a:lnTo>
                  <a:lnTo>
                    <a:pt x="151" y="360"/>
                  </a:lnTo>
                  <a:lnTo>
                    <a:pt x="149" y="360"/>
                  </a:lnTo>
                  <a:lnTo>
                    <a:pt x="149" y="358"/>
                  </a:lnTo>
                  <a:lnTo>
                    <a:pt x="149" y="356"/>
                  </a:lnTo>
                  <a:lnTo>
                    <a:pt x="148" y="358"/>
                  </a:lnTo>
                  <a:lnTo>
                    <a:pt x="146" y="360"/>
                  </a:lnTo>
                  <a:lnTo>
                    <a:pt x="148" y="360"/>
                  </a:lnTo>
                  <a:lnTo>
                    <a:pt x="148" y="358"/>
                  </a:lnTo>
                  <a:lnTo>
                    <a:pt x="148" y="360"/>
                  </a:lnTo>
                  <a:lnTo>
                    <a:pt x="149" y="360"/>
                  </a:lnTo>
                  <a:lnTo>
                    <a:pt x="148" y="360"/>
                  </a:lnTo>
                  <a:lnTo>
                    <a:pt x="149" y="360"/>
                  </a:lnTo>
                  <a:lnTo>
                    <a:pt x="149" y="361"/>
                  </a:lnTo>
                  <a:lnTo>
                    <a:pt x="149" y="360"/>
                  </a:lnTo>
                  <a:lnTo>
                    <a:pt x="149" y="361"/>
                  </a:lnTo>
                  <a:lnTo>
                    <a:pt x="148" y="361"/>
                  </a:lnTo>
                  <a:lnTo>
                    <a:pt x="148" y="363"/>
                  </a:lnTo>
                  <a:lnTo>
                    <a:pt x="146" y="363"/>
                  </a:lnTo>
                  <a:lnTo>
                    <a:pt x="146" y="361"/>
                  </a:lnTo>
                  <a:lnTo>
                    <a:pt x="144" y="360"/>
                  </a:lnTo>
                  <a:lnTo>
                    <a:pt x="144" y="358"/>
                  </a:lnTo>
                  <a:lnTo>
                    <a:pt x="144" y="360"/>
                  </a:lnTo>
                  <a:lnTo>
                    <a:pt x="143" y="360"/>
                  </a:lnTo>
                  <a:lnTo>
                    <a:pt x="141" y="361"/>
                  </a:lnTo>
                  <a:lnTo>
                    <a:pt x="141" y="360"/>
                  </a:lnTo>
                  <a:lnTo>
                    <a:pt x="143" y="360"/>
                  </a:lnTo>
                  <a:lnTo>
                    <a:pt x="143" y="358"/>
                  </a:lnTo>
                  <a:lnTo>
                    <a:pt x="144" y="358"/>
                  </a:lnTo>
                  <a:lnTo>
                    <a:pt x="144" y="356"/>
                  </a:lnTo>
                  <a:lnTo>
                    <a:pt x="146" y="356"/>
                  </a:lnTo>
                  <a:lnTo>
                    <a:pt x="146" y="355"/>
                  </a:lnTo>
                  <a:lnTo>
                    <a:pt x="146" y="353"/>
                  </a:lnTo>
                  <a:lnTo>
                    <a:pt x="146" y="355"/>
                  </a:lnTo>
                  <a:lnTo>
                    <a:pt x="144" y="355"/>
                  </a:lnTo>
                  <a:lnTo>
                    <a:pt x="143" y="356"/>
                  </a:lnTo>
                  <a:lnTo>
                    <a:pt x="141" y="358"/>
                  </a:lnTo>
                  <a:lnTo>
                    <a:pt x="140" y="358"/>
                  </a:lnTo>
                  <a:lnTo>
                    <a:pt x="138" y="360"/>
                  </a:lnTo>
                  <a:lnTo>
                    <a:pt x="138" y="358"/>
                  </a:lnTo>
                  <a:lnTo>
                    <a:pt x="138" y="360"/>
                  </a:lnTo>
                  <a:lnTo>
                    <a:pt x="138" y="358"/>
                  </a:lnTo>
                  <a:lnTo>
                    <a:pt x="136" y="358"/>
                  </a:lnTo>
                  <a:lnTo>
                    <a:pt x="136" y="356"/>
                  </a:lnTo>
                  <a:lnTo>
                    <a:pt x="138" y="356"/>
                  </a:lnTo>
                  <a:lnTo>
                    <a:pt x="140" y="356"/>
                  </a:lnTo>
                  <a:lnTo>
                    <a:pt x="140" y="355"/>
                  </a:lnTo>
                  <a:lnTo>
                    <a:pt x="140" y="356"/>
                  </a:lnTo>
                  <a:lnTo>
                    <a:pt x="141" y="355"/>
                  </a:lnTo>
                  <a:lnTo>
                    <a:pt x="143" y="355"/>
                  </a:lnTo>
                  <a:lnTo>
                    <a:pt x="143" y="353"/>
                  </a:lnTo>
                  <a:lnTo>
                    <a:pt x="144" y="353"/>
                  </a:lnTo>
                  <a:lnTo>
                    <a:pt x="146" y="351"/>
                  </a:lnTo>
                  <a:lnTo>
                    <a:pt x="146" y="353"/>
                  </a:lnTo>
                  <a:lnTo>
                    <a:pt x="146" y="351"/>
                  </a:lnTo>
                  <a:lnTo>
                    <a:pt x="148" y="351"/>
                  </a:lnTo>
                  <a:lnTo>
                    <a:pt x="146" y="351"/>
                  </a:lnTo>
                  <a:lnTo>
                    <a:pt x="148" y="351"/>
                  </a:lnTo>
                  <a:lnTo>
                    <a:pt x="149" y="351"/>
                  </a:lnTo>
                  <a:lnTo>
                    <a:pt x="149" y="350"/>
                  </a:lnTo>
                  <a:lnTo>
                    <a:pt x="151" y="350"/>
                  </a:lnTo>
                  <a:lnTo>
                    <a:pt x="151" y="351"/>
                  </a:lnTo>
                  <a:lnTo>
                    <a:pt x="149" y="351"/>
                  </a:lnTo>
                  <a:lnTo>
                    <a:pt x="151" y="353"/>
                  </a:lnTo>
                  <a:lnTo>
                    <a:pt x="149" y="353"/>
                  </a:lnTo>
                  <a:close/>
                  <a:moveTo>
                    <a:pt x="123" y="350"/>
                  </a:moveTo>
                  <a:lnTo>
                    <a:pt x="125" y="350"/>
                  </a:lnTo>
                  <a:lnTo>
                    <a:pt x="123" y="350"/>
                  </a:lnTo>
                  <a:lnTo>
                    <a:pt x="123" y="351"/>
                  </a:lnTo>
                  <a:lnTo>
                    <a:pt x="122" y="351"/>
                  </a:lnTo>
                  <a:lnTo>
                    <a:pt x="122" y="350"/>
                  </a:lnTo>
                  <a:lnTo>
                    <a:pt x="120" y="350"/>
                  </a:lnTo>
                  <a:lnTo>
                    <a:pt x="122" y="350"/>
                  </a:lnTo>
                  <a:lnTo>
                    <a:pt x="123" y="350"/>
                  </a:lnTo>
                  <a:close/>
                  <a:moveTo>
                    <a:pt x="115" y="350"/>
                  </a:moveTo>
                  <a:lnTo>
                    <a:pt x="114" y="350"/>
                  </a:lnTo>
                  <a:lnTo>
                    <a:pt x="115" y="348"/>
                  </a:lnTo>
                  <a:lnTo>
                    <a:pt x="115" y="350"/>
                  </a:lnTo>
                  <a:lnTo>
                    <a:pt x="115" y="348"/>
                  </a:lnTo>
                  <a:lnTo>
                    <a:pt x="115" y="350"/>
                  </a:lnTo>
                  <a:close/>
                  <a:moveTo>
                    <a:pt x="164" y="348"/>
                  </a:moveTo>
                  <a:lnTo>
                    <a:pt x="164" y="350"/>
                  </a:lnTo>
                  <a:lnTo>
                    <a:pt x="164" y="348"/>
                  </a:lnTo>
                  <a:close/>
                  <a:moveTo>
                    <a:pt x="174" y="348"/>
                  </a:moveTo>
                  <a:lnTo>
                    <a:pt x="174" y="350"/>
                  </a:lnTo>
                  <a:lnTo>
                    <a:pt x="174" y="348"/>
                  </a:lnTo>
                  <a:close/>
                  <a:moveTo>
                    <a:pt x="162" y="348"/>
                  </a:moveTo>
                  <a:lnTo>
                    <a:pt x="164" y="348"/>
                  </a:lnTo>
                  <a:lnTo>
                    <a:pt x="162" y="348"/>
                  </a:lnTo>
                  <a:close/>
                  <a:moveTo>
                    <a:pt x="101" y="348"/>
                  </a:moveTo>
                  <a:lnTo>
                    <a:pt x="99" y="348"/>
                  </a:lnTo>
                  <a:lnTo>
                    <a:pt x="101" y="348"/>
                  </a:lnTo>
                  <a:close/>
                  <a:moveTo>
                    <a:pt x="105" y="348"/>
                  </a:moveTo>
                  <a:lnTo>
                    <a:pt x="107" y="348"/>
                  </a:lnTo>
                  <a:lnTo>
                    <a:pt x="105" y="348"/>
                  </a:lnTo>
                  <a:close/>
                  <a:moveTo>
                    <a:pt x="110" y="348"/>
                  </a:moveTo>
                  <a:lnTo>
                    <a:pt x="109" y="348"/>
                  </a:lnTo>
                  <a:lnTo>
                    <a:pt x="110" y="347"/>
                  </a:lnTo>
                  <a:lnTo>
                    <a:pt x="110" y="348"/>
                  </a:lnTo>
                  <a:close/>
                  <a:moveTo>
                    <a:pt x="180" y="348"/>
                  </a:moveTo>
                  <a:lnTo>
                    <a:pt x="180" y="347"/>
                  </a:lnTo>
                  <a:lnTo>
                    <a:pt x="182" y="347"/>
                  </a:lnTo>
                  <a:lnTo>
                    <a:pt x="180" y="348"/>
                  </a:lnTo>
                  <a:close/>
                  <a:moveTo>
                    <a:pt x="122" y="347"/>
                  </a:moveTo>
                  <a:lnTo>
                    <a:pt x="123" y="347"/>
                  </a:lnTo>
                  <a:lnTo>
                    <a:pt x="122" y="347"/>
                  </a:lnTo>
                  <a:close/>
                  <a:moveTo>
                    <a:pt x="122" y="347"/>
                  </a:moveTo>
                  <a:lnTo>
                    <a:pt x="123" y="347"/>
                  </a:lnTo>
                  <a:lnTo>
                    <a:pt x="123" y="348"/>
                  </a:lnTo>
                  <a:lnTo>
                    <a:pt x="122" y="348"/>
                  </a:lnTo>
                  <a:lnTo>
                    <a:pt x="123" y="348"/>
                  </a:lnTo>
                  <a:lnTo>
                    <a:pt x="123" y="350"/>
                  </a:lnTo>
                  <a:lnTo>
                    <a:pt x="122" y="348"/>
                  </a:lnTo>
                  <a:lnTo>
                    <a:pt x="122" y="347"/>
                  </a:lnTo>
                  <a:lnTo>
                    <a:pt x="123" y="348"/>
                  </a:lnTo>
                  <a:lnTo>
                    <a:pt x="122" y="347"/>
                  </a:lnTo>
                  <a:close/>
                  <a:moveTo>
                    <a:pt x="131" y="347"/>
                  </a:moveTo>
                  <a:lnTo>
                    <a:pt x="133" y="347"/>
                  </a:lnTo>
                  <a:lnTo>
                    <a:pt x="131" y="347"/>
                  </a:lnTo>
                  <a:close/>
                  <a:moveTo>
                    <a:pt x="175" y="347"/>
                  </a:moveTo>
                  <a:lnTo>
                    <a:pt x="177" y="347"/>
                  </a:lnTo>
                  <a:lnTo>
                    <a:pt x="175" y="347"/>
                  </a:lnTo>
                  <a:close/>
                  <a:moveTo>
                    <a:pt x="183" y="347"/>
                  </a:moveTo>
                  <a:lnTo>
                    <a:pt x="182" y="347"/>
                  </a:lnTo>
                  <a:lnTo>
                    <a:pt x="183" y="347"/>
                  </a:lnTo>
                  <a:close/>
                  <a:moveTo>
                    <a:pt x="99" y="345"/>
                  </a:moveTo>
                  <a:lnTo>
                    <a:pt x="99" y="347"/>
                  </a:lnTo>
                  <a:lnTo>
                    <a:pt x="99" y="345"/>
                  </a:lnTo>
                  <a:close/>
                  <a:moveTo>
                    <a:pt x="122" y="347"/>
                  </a:moveTo>
                  <a:lnTo>
                    <a:pt x="122" y="345"/>
                  </a:lnTo>
                  <a:lnTo>
                    <a:pt x="122" y="347"/>
                  </a:lnTo>
                  <a:lnTo>
                    <a:pt x="122" y="345"/>
                  </a:lnTo>
                  <a:lnTo>
                    <a:pt x="122" y="347"/>
                  </a:lnTo>
                  <a:close/>
                  <a:moveTo>
                    <a:pt x="182" y="345"/>
                  </a:moveTo>
                  <a:lnTo>
                    <a:pt x="183" y="345"/>
                  </a:lnTo>
                  <a:lnTo>
                    <a:pt x="182" y="345"/>
                  </a:lnTo>
                  <a:close/>
                  <a:moveTo>
                    <a:pt x="97" y="345"/>
                  </a:moveTo>
                  <a:lnTo>
                    <a:pt x="96" y="345"/>
                  </a:lnTo>
                  <a:lnTo>
                    <a:pt x="97" y="345"/>
                  </a:lnTo>
                  <a:close/>
                  <a:moveTo>
                    <a:pt x="122" y="343"/>
                  </a:moveTo>
                  <a:lnTo>
                    <a:pt x="123" y="345"/>
                  </a:lnTo>
                  <a:lnTo>
                    <a:pt x="123" y="347"/>
                  </a:lnTo>
                  <a:lnTo>
                    <a:pt x="122" y="345"/>
                  </a:lnTo>
                  <a:lnTo>
                    <a:pt x="122" y="343"/>
                  </a:lnTo>
                  <a:lnTo>
                    <a:pt x="122" y="342"/>
                  </a:lnTo>
                  <a:lnTo>
                    <a:pt x="122" y="343"/>
                  </a:lnTo>
                  <a:close/>
                  <a:moveTo>
                    <a:pt x="141" y="340"/>
                  </a:moveTo>
                  <a:lnTo>
                    <a:pt x="143" y="342"/>
                  </a:lnTo>
                  <a:lnTo>
                    <a:pt x="144" y="340"/>
                  </a:lnTo>
                  <a:lnTo>
                    <a:pt x="146" y="340"/>
                  </a:lnTo>
                  <a:lnTo>
                    <a:pt x="146" y="338"/>
                  </a:lnTo>
                  <a:lnTo>
                    <a:pt x="148" y="338"/>
                  </a:lnTo>
                  <a:lnTo>
                    <a:pt x="148" y="340"/>
                  </a:lnTo>
                  <a:lnTo>
                    <a:pt x="146" y="340"/>
                  </a:lnTo>
                  <a:lnTo>
                    <a:pt x="148" y="342"/>
                  </a:lnTo>
                  <a:lnTo>
                    <a:pt x="148" y="343"/>
                  </a:lnTo>
                  <a:lnTo>
                    <a:pt x="148" y="345"/>
                  </a:lnTo>
                  <a:lnTo>
                    <a:pt x="149" y="345"/>
                  </a:lnTo>
                  <a:lnTo>
                    <a:pt x="149" y="347"/>
                  </a:lnTo>
                  <a:lnTo>
                    <a:pt x="149" y="348"/>
                  </a:lnTo>
                  <a:lnTo>
                    <a:pt x="149" y="350"/>
                  </a:lnTo>
                  <a:lnTo>
                    <a:pt x="148" y="351"/>
                  </a:lnTo>
                  <a:lnTo>
                    <a:pt x="148" y="350"/>
                  </a:lnTo>
                  <a:lnTo>
                    <a:pt x="148" y="348"/>
                  </a:lnTo>
                  <a:lnTo>
                    <a:pt x="146" y="348"/>
                  </a:lnTo>
                  <a:lnTo>
                    <a:pt x="144" y="347"/>
                  </a:lnTo>
                  <a:lnTo>
                    <a:pt x="144" y="348"/>
                  </a:lnTo>
                  <a:lnTo>
                    <a:pt x="146" y="348"/>
                  </a:lnTo>
                  <a:lnTo>
                    <a:pt x="146" y="350"/>
                  </a:lnTo>
                  <a:lnTo>
                    <a:pt x="144" y="351"/>
                  </a:lnTo>
                  <a:lnTo>
                    <a:pt x="143" y="351"/>
                  </a:lnTo>
                  <a:lnTo>
                    <a:pt x="141" y="353"/>
                  </a:lnTo>
                  <a:lnTo>
                    <a:pt x="140" y="353"/>
                  </a:lnTo>
                  <a:lnTo>
                    <a:pt x="138" y="353"/>
                  </a:lnTo>
                  <a:lnTo>
                    <a:pt x="136" y="351"/>
                  </a:lnTo>
                  <a:lnTo>
                    <a:pt x="135" y="353"/>
                  </a:lnTo>
                  <a:lnTo>
                    <a:pt x="135" y="351"/>
                  </a:lnTo>
                  <a:lnTo>
                    <a:pt x="136" y="351"/>
                  </a:lnTo>
                  <a:lnTo>
                    <a:pt x="136" y="350"/>
                  </a:lnTo>
                  <a:lnTo>
                    <a:pt x="138" y="350"/>
                  </a:lnTo>
                  <a:lnTo>
                    <a:pt x="140" y="350"/>
                  </a:lnTo>
                  <a:lnTo>
                    <a:pt x="138" y="350"/>
                  </a:lnTo>
                  <a:lnTo>
                    <a:pt x="138" y="348"/>
                  </a:lnTo>
                  <a:lnTo>
                    <a:pt x="136" y="348"/>
                  </a:lnTo>
                  <a:lnTo>
                    <a:pt x="136" y="350"/>
                  </a:lnTo>
                  <a:lnTo>
                    <a:pt x="135" y="350"/>
                  </a:lnTo>
                  <a:lnTo>
                    <a:pt x="133" y="350"/>
                  </a:lnTo>
                  <a:lnTo>
                    <a:pt x="133" y="351"/>
                  </a:lnTo>
                  <a:lnTo>
                    <a:pt x="131" y="351"/>
                  </a:lnTo>
                  <a:lnTo>
                    <a:pt x="130" y="351"/>
                  </a:lnTo>
                  <a:lnTo>
                    <a:pt x="130" y="350"/>
                  </a:lnTo>
                  <a:lnTo>
                    <a:pt x="131" y="350"/>
                  </a:lnTo>
                  <a:lnTo>
                    <a:pt x="131" y="348"/>
                  </a:lnTo>
                  <a:lnTo>
                    <a:pt x="133" y="348"/>
                  </a:lnTo>
                  <a:lnTo>
                    <a:pt x="135" y="348"/>
                  </a:lnTo>
                  <a:lnTo>
                    <a:pt x="135" y="347"/>
                  </a:lnTo>
                  <a:lnTo>
                    <a:pt x="138" y="345"/>
                  </a:lnTo>
                  <a:lnTo>
                    <a:pt x="140" y="345"/>
                  </a:lnTo>
                  <a:lnTo>
                    <a:pt x="141" y="345"/>
                  </a:lnTo>
                  <a:lnTo>
                    <a:pt x="140" y="343"/>
                  </a:lnTo>
                  <a:lnTo>
                    <a:pt x="141" y="343"/>
                  </a:lnTo>
                  <a:lnTo>
                    <a:pt x="141" y="342"/>
                  </a:lnTo>
                  <a:lnTo>
                    <a:pt x="141" y="340"/>
                  </a:lnTo>
                  <a:close/>
                  <a:moveTo>
                    <a:pt x="99" y="337"/>
                  </a:moveTo>
                  <a:lnTo>
                    <a:pt x="101" y="337"/>
                  </a:lnTo>
                  <a:lnTo>
                    <a:pt x="99" y="337"/>
                  </a:lnTo>
                  <a:close/>
                  <a:moveTo>
                    <a:pt x="94" y="337"/>
                  </a:moveTo>
                  <a:lnTo>
                    <a:pt x="94" y="335"/>
                  </a:lnTo>
                  <a:lnTo>
                    <a:pt x="94" y="337"/>
                  </a:lnTo>
                  <a:close/>
                  <a:moveTo>
                    <a:pt x="182" y="335"/>
                  </a:moveTo>
                  <a:lnTo>
                    <a:pt x="183" y="335"/>
                  </a:lnTo>
                  <a:lnTo>
                    <a:pt x="182" y="335"/>
                  </a:lnTo>
                  <a:close/>
                  <a:moveTo>
                    <a:pt x="182" y="334"/>
                  </a:moveTo>
                  <a:lnTo>
                    <a:pt x="183" y="334"/>
                  </a:lnTo>
                  <a:lnTo>
                    <a:pt x="182" y="334"/>
                  </a:lnTo>
                  <a:close/>
                  <a:moveTo>
                    <a:pt x="177" y="334"/>
                  </a:moveTo>
                  <a:lnTo>
                    <a:pt x="177" y="335"/>
                  </a:lnTo>
                  <a:lnTo>
                    <a:pt x="177" y="337"/>
                  </a:lnTo>
                  <a:lnTo>
                    <a:pt x="179" y="337"/>
                  </a:lnTo>
                  <a:lnTo>
                    <a:pt x="179" y="335"/>
                  </a:lnTo>
                  <a:lnTo>
                    <a:pt x="180" y="337"/>
                  </a:lnTo>
                  <a:lnTo>
                    <a:pt x="180" y="338"/>
                  </a:lnTo>
                  <a:lnTo>
                    <a:pt x="182" y="338"/>
                  </a:lnTo>
                  <a:lnTo>
                    <a:pt x="180" y="340"/>
                  </a:lnTo>
                  <a:lnTo>
                    <a:pt x="179" y="340"/>
                  </a:lnTo>
                  <a:lnTo>
                    <a:pt x="180" y="340"/>
                  </a:lnTo>
                  <a:lnTo>
                    <a:pt x="180" y="342"/>
                  </a:lnTo>
                  <a:lnTo>
                    <a:pt x="179" y="342"/>
                  </a:lnTo>
                  <a:lnTo>
                    <a:pt x="179" y="338"/>
                  </a:lnTo>
                  <a:lnTo>
                    <a:pt x="177" y="338"/>
                  </a:lnTo>
                  <a:lnTo>
                    <a:pt x="177" y="340"/>
                  </a:lnTo>
                  <a:lnTo>
                    <a:pt x="177" y="342"/>
                  </a:lnTo>
                  <a:lnTo>
                    <a:pt x="179" y="342"/>
                  </a:lnTo>
                  <a:lnTo>
                    <a:pt x="179" y="343"/>
                  </a:lnTo>
                  <a:lnTo>
                    <a:pt x="180" y="343"/>
                  </a:lnTo>
                  <a:lnTo>
                    <a:pt x="179" y="343"/>
                  </a:lnTo>
                  <a:lnTo>
                    <a:pt x="177" y="343"/>
                  </a:lnTo>
                  <a:lnTo>
                    <a:pt x="175" y="343"/>
                  </a:lnTo>
                  <a:lnTo>
                    <a:pt x="175" y="342"/>
                  </a:lnTo>
                  <a:lnTo>
                    <a:pt x="174" y="342"/>
                  </a:lnTo>
                  <a:lnTo>
                    <a:pt x="175" y="343"/>
                  </a:lnTo>
                  <a:lnTo>
                    <a:pt x="177" y="343"/>
                  </a:lnTo>
                  <a:lnTo>
                    <a:pt x="175" y="345"/>
                  </a:lnTo>
                  <a:lnTo>
                    <a:pt x="177" y="343"/>
                  </a:lnTo>
                  <a:lnTo>
                    <a:pt x="177" y="345"/>
                  </a:lnTo>
                  <a:lnTo>
                    <a:pt x="179" y="345"/>
                  </a:lnTo>
                  <a:lnTo>
                    <a:pt x="179" y="347"/>
                  </a:lnTo>
                  <a:lnTo>
                    <a:pt x="180" y="347"/>
                  </a:lnTo>
                  <a:lnTo>
                    <a:pt x="179" y="347"/>
                  </a:lnTo>
                  <a:lnTo>
                    <a:pt x="179" y="348"/>
                  </a:lnTo>
                  <a:lnTo>
                    <a:pt x="177" y="348"/>
                  </a:lnTo>
                  <a:lnTo>
                    <a:pt x="177" y="347"/>
                  </a:lnTo>
                  <a:lnTo>
                    <a:pt x="179" y="347"/>
                  </a:lnTo>
                  <a:lnTo>
                    <a:pt x="177" y="347"/>
                  </a:lnTo>
                  <a:lnTo>
                    <a:pt x="177" y="348"/>
                  </a:lnTo>
                  <a:lnTo>
                    <a:pt x="177" y="347"/>
                  </a:lnTo>
                  <a:lnTo>
                    <a:pt x="175" y="347"/>
                  </a:lnTo>
                  <a:lnTo>
                    <a:pt x="177" y="345"/>
                  </a:lnTo>
                  <a:lnTo>
                    <a:pt x="175" y="345"/>
                  </a:lnTo>
                  <a:lnTo>
                    <a:pt x="175" y="347"/>
                  </a:lnTo>
                  <a:lnTo>
                    <a:pt x="174" y="345"/>
                  </a:lnTo>
                  <a:lnTo>
                    <a:pt x="172" y="343"/>
                  </a:lnTo>
                  <a:lnTo>
                    <a:pt x="174" y="340"/>
                  </a:lnTo>
                  <a:lnTo>
                    <a:pt x="174" y="338"/>
                  </a:lnTo>
                  <a:lnTo>
                    <a:pt x="174" y="337"/>
                  </a:lnTo>
                  <a:lnTo>
                    <a:pt x="175" y="337"/>
                  </a:lnTo>
                  <a:lnTo>
                    <a:pt x="175" y="335"/>
                  </a:lnTo>
                  <a:lnTo>
                    <a:pt x="175" y="334"/>
                  </a:lnTo>
                  <a:lnTo>
                    <a:pt x="177" y="334"/>
                  </a:lnTo>
                  <a:close/>
                  <a:moveTo>
                    <a:pt x="118" y="332"/>
                  </a:moveTo>
                  <a:lnTo>
                    <a:pt x="120" y="332"/>
                  </a:lnTo>
                  <a:lnTo>
                    <a:pt x="118" y="332"/>
                  </a:lnTo>
                  <a:close/>
                  <a:moveTo>
                    <a:pt x="179" y="330"/>
                  </a:moveTo>
                  <a:lnTo>
                    <a:pt x="180" y="330"/>
                  </a:lnTo>
                  <a:lnTo>
                    <a:pt x="180" y="332"/>
                  </a:lnTo>
                  <a:lnTo>
                    <a:pt x="180" y="334"/>
                  </a:lnTo>
                  <a:lnTo>
                    <a:pt x="182" y="334"/>
                  </a:lnTo>
                  <a:lnTo>
                    <a:pt x="180" y="334"/>
                  </a:lnTo>
                  <a:lnTo>
                    <a:pt x="179" y="332"/>
                  </a:lnTo>
                  <a:lnTo>
                    <a:pt x="179" y="330"/>
                  </a:lnTo>
                  <a:close/>
                  <a:moveTo>
                    <a:pt x="192" y="322"/>
                  </a:moveTo>
                  <a:lnTo>
                    <a:pt x="192" y="324"/>
                  </a:lnTo>
                  <a:lnTo>
                    <a:pt x="192" y="322"/>
                  </a:lnTo>
                  <a:close/>
                  <a:moveTo>
                    <a:pt x="190" y="322"/>
                  </a:moveTo>
                  <a:lnTo>
                    <a:pt x="192" y="322"/>
                  </a:lnTo>
                  <a:lnTo>
                    <a:pt x="190" y="322"/>
                  </a:lnTo>
                  <a:close/>
                  <a:moveTo>
                    <a:pt x="200" y="324"/>
                  </a:moveTo>
                  <a:lnTo>
                    <a:pt x="200" y="322"/>
                  </a:lnTo>
                  <a:lnTo>
                    <a:pt x="200" y="324"/>
                  </a:lnTo>
                  <a:close/>
                  <a:moveTo>
                    <a:pt x="88" y="321"/>
                  </a:moveTo>
                  <a:lnTo>
                    <a:pt x="88" y="322"/>
                  </a:lnTo>
                  <a:lnTo>
                    <a:pt x="88" y="321"/>
                  </a:lnTo>
                  <a:close/>
                  <a:moveTo>
                    <a:pt x="198" y="322"/>
                  </a:moveTo>
                  <a:lnTo>
                    <a:pt x="198" y="324"/>
                  </a:lnTo>
                  <a:lnTo>
                    <a:pt x="198" y="325"/>
                  </a:lnTo>
                  <a:lnTo>
                    <a:pt x="196" y="324"/>
                  </a:lnTo>
                  <a:lnTo>
                    <a:pt x="195" y="324"/>
                  </a:lnTo>
                  <a:lnTo>
                    <a:pt x="195" y="322"/>
                  </a:lnTo>
                  <a:lnTo>
                    <a:pt x="196" y="321"/>
                  </a:lnTo>
                  <a:lnTo>
                    <a:pt x="196" y="322"/>
                  </a:lnTo>
                  <a:lnTo>
                    <a:pt x="198" y="322"/>
                  </a:lnTo>
                  <a:lnTo>
                    <a:pt x="200" y="322"/>
                  </a:lnTo>
                  <a:lnTo>
                    <a:pt x="198" y="322"/>
                  </a:lnTo>
                  <a:close/>
                  <a:moveTo>
                    <a:pt x="94" y="321"/>
                  </a:moveTo>
                  <a:lnTo>
                    <a:pt x="96" y="321"/>
                  </a:lnTo>
                  <a:lnTo>
                    <a:pt x="94" y="321"/>
                  </a:lnTo>
                  <a:close/>
                  <a:moveTo>
                    <a:pt x="107" y="321"/>
                  </a:moveTo>
                  <a:lnTo>
                    <a:pt x="105" y="321"/>
                  </a:lnTo>
                  <a:lnTo>
                    <a:pt x="107" y="321"/>
                  </a:lnTo>
                  <a:close/>
                  <a:moveTo>
                    <a:pt x="97" y="321"/>
                  </a:moveTo>
                  <a:lnTo>
                    <a:pt x="96" y="321"/>
                  </a:lnTo>
                  <a:lnTo>
                    <a:pt x="97" y="321"/>
                  </a:lnTo>
                  <a:close/>
                  <a:moveTo>
                    <a:pt x="96" y="321"/>
                  </a:moveTo>
                  <a:lnTo>
                    <a:pt x="97" y="321"/>
                  </a:lnTo>
                  <a:lnTo>
                    <a:pt x="96" y="321"/>
                  </a:lnTo>
                  <a:close/>
                  <a:moveTo>
                    <a:pt x="117" y="322"/>
                  </a:moveTo>
                  <a:lnTo>
                    <a:pt x="117" y="324"/>
                  </a:lnTo>
                  <a:lnTo>
                    <a:pt x="118" y="325"/>
                  </a:lnTo>
                  <a:lnTo>
                    <a:pt x="117" y="325"/>
                  </a:lnTo>
                  <a:lnTo>
                    <a:pt x="118" y="327"/>
                  </a:lnTo>
                  <a:lnTo>
                    <a:pt x="117" y="327"/>
                  </a:lnTo>
                  <a:lnTo>
                    <a:pt x="118" y="327"/>
                  </a:lnTo>
                  <a:lnTo>
                    <a:pt x="118" y="329"/>
                  </a:lnTo>
                  <a:lnTo>
                    <a:pt x="117" y="329"/>
                  </a:lnTo>
                  <a:lnTo>
                    <a:pt x="115" y="329"/>
                  </a:lnTo>
                  <a:lnTo>
                    <a:pt x="115" y="330"/>
                  </a:lnTo>
                  <a:lnTo>
                    <a:pt x="117" y="330"/>
                  </a:lnTo>
                  <a:lnTo>
                    <a:pt x="118" y="330"/>
                  </a:lnTo>
                  <a:lnTo>
                    <a:pt x="118" y="332"/>
                  </a:lnTo>
                  <a:lnTo>
                    <a:pt x="120" y="334"/>
                  </a:lnTo>
                  <a:lnTo>
                    <a:pt x="118" y="334"/>
                  </a:lnTo>
                  <a:lnTo>
                    <a:pt x="120" y="334"/>
                  </a:lnTo>
                  <a:lnTo>
                    <a:pt x="120" y="335"/>
                  </a:lnTo>
                  <a:lnTo>
                    <a:pt x="120" y="337"/>
                  </a:lnTo>
                  <a:lnTo>
                    <a:pt x="120" y="338"/>
                  </a:lnTo>
                  <a:lnTo>
                    <a:pt x="120" y="340"/>
                  </a:lnTo>
                  <a:lnTo>
                    <a:pt x="120" y="342"/>
                  </a:lnTo>
                  <a:lnTo>
                    <a:pt x="120" y="340"/>
                  </a:lnTo>
                  <a:lnTo>
                    <a:pt x="120" y="342"/>
                  </a:lnTo>
                  <a:lnTo>
                    <a:pt x="120" y="343"/>
                  </a:lnTo>
                  <a:lnTo>
                    <a:pt x="120" y="345"/>
                  </a:lnTo>
                  <a:lnTo>
                    <a:pt x="120" y="347"/>
                  </a:lnTo>
                  <a:lnTo>
                    <a:pt x="120" y="348"/>
                  </a:lnTo>
                  <a:lnTo>
                    <a:pt x="118" y="348"/>
                  </a:lnTo>
                  <a:lnTo>
                    <a:pt x="118" y="350"/>
                  </a:lnTo>
                  <a:lnTo>
                    <a:pt x="118" y="348"/>
                  </a:lnTo>
                  <a:lnTo>
                    <a:pt x="117" y="350"/>
                  </a:lnTo>
                  <a:lnTo>
                    <a:pt x="115" y="348"/>
                  </a:lnTo>
                  <a:lnTo>
                    <a:pt x="117" y="347"/>
                  </a:lnTo>
                  <a:lnTo>
                    <a:pt x="115" y="347"/>
                  </a:lnTo>
                  <a:lnTo>
                    <a:pt x="114" y="347"/>
                  </a:lnTo>
                  <a:lnTo>
                    <a:pt x="112" y="348"/>
                  </a:lnTo>
                  <a:lnTo>
                    <a:pt x="110" y="347"/>
                  </a:lnTo>
                  <a:lnTo>
                    <a:pt x="112" y="345"/>
                  </a:lnTo>
                  <a:lnTo>
                    <a:pt x="112" y="343"/>
                  </a:lnTo>
                  <a:lnTo>
                    <a:pt x="112" y="345"/>
                  </a:lnTo>
                  <a:lnTo>
                    <a:pt x="110" y="345"/>
                  </a:lnTo>
                  <a:lnTo>
                    <a:pt x="109" y="347"/>
                  </a:lnTo>
                  <a:lnTo>
                    <a:pt x="109" y="348"/>
                  </a:lnTo>
                  <a:lnTo>
                    <a:pt x="107" y="348"/>
                  </a:lnTo>
                  <a:lnTo>
                    <a:pt x="107" y="347"/>
                  </a:lnTo>
                  <a:lnTo>
                    <a:pt x="107" y="348"/>
                  </a:lnTo>
                  <a:lnTo>
                    <a:pt x="105" y="347"/>
                  </a:lnTo>
                  <a:lnTo>
                    <a:pt x="107" y="347"/>
                  </a:lnTo>
                  <a:lnTo>
                    <a:pt x="105" y="345"/>
                  </a:lnTo>
                  <a:lnTo>
                    <a:pt x="107" y="345"/>
                  </a:lnTo>
                  <a:lnTo>
                    <a:pt x="109" y="345"/>
                  </a:lnTo>
                  <a:lnTo>
                    <a:pt x="110" y="342"/>
                  </a:lnTo>
                  <a:lnTo>
                    <a:pt x="112" y="342"/>
                  </a:lnTo>
                  <a:lnTo>
                    <a:pt x="114" y="342"/>
                  </a:lnTo>
                  <a:lnTo>
                    <a:pt x="115" y="340"/>
                  </a:lnTo>
                  <a:lnTo>
                    <a:pt x="114" y="340"/>
                  </a:lnTo>
                  <a:lnTo>
                    <a:pt x="114" y="338"/>
                  </a:lnTo>
                  <a:lnTo>
                    <a:pt x="114" y="340"/>
                  </a:lnTo>
                  <a:lnTo>
                    <a:pt x="112" y="342"/>
                  </a:lnTo>
                  <a:lnTo>
                    <a:pt x="112" y="340"/>
                  </a:lnTo>
                  <a:lnTo>
                    <a:pt x="110" y="340"/>
                  </a:lnTo>
                  <a:lnTo>
                    <a:pt x="109" y="340"/>
                  </a:lnTo>
                  <a:lnTo>
                    <a:pt x="107" y="343"/>
                  </a:lnTo>
                  <a:lnTo>
                    <a:pt x="105" y="343"/>
                  </a:lnTo>
                  <a:lnTo>
                    <a:pt x="104" y="345"/>
                  </a:lnTo>
                  <a:lnTo>
                    <a:pt x="102" y="345"/>
                  </a:lnTo>
                  <a:lnTo>
                    <a:pt x="102" y="343"/>
                  </a:lnTo>
                  <a:lnTo>
                    <a:pt x="101" y="343"/>
                  </a:lnTo>
                  <a:lnTo>
                    <a:pt x="102" y="345"/>
                  </a:lnTo>
                  <a:lnTo>
                    <a:pt x="101" y="343"/>
                  </a:lnTo>
                  <a:lnTo>
                    <a:pt x="101" y="345"/>
                  </a:lnTo>
                  <a:lnTo>
                    <a:pt x="101" y="343"/>
                  </a:lnTo>
                  <a:lnTo>
                    <a:pt x="99" y="343"/>
                  </a:lnTo>
                  <a:lnTo>
                    <a:pt x="99" y="345"/>
                  </a:lnTo>
                  <a:lnTo>
                    <a:pt x="97" y="343"/>
                  </a:lnTo>
                  <a:lnTo>
                    <a:pt x="99" y="343"/>
                  </a:lnTo>
                  <a:lnTo>
                    <a:pt x="99" y="342"/>
                  </a:lnTo>
                  <a:lnTo>
                    <a:pt x="99" y="340"/>
                  </a:lnTo>
                  <a:lnTo>
                    <a:pt x="101" y="340"/>
                  </a:lnTo>
                  <a:lnTo>
                    <a:pt x="102" y="340"/>
                  </a:lnTo>
                  <a:lnTo>
                    <a:pt x="101" y="340"/>
                  </a:lnTo>
                  <a:lnTo>
                    <a:pt x="101" y="338"/>
                  </a:lnTo>
                  <a:lnTo>
                    <a:pt x="102" y="337"/>
                  </a:lnTo>
                  <a:lnTo>
                    <a:pt x="104" y="337"/>
                  </a:lnTo>
                  <a:lnTo>
                    <a:pt x="105" y="337"/>
                  </a:lnTo>
                  <a:lnTo>
                    <a:pt x="105" y="335"/>
                  </a:lnTo>
                  <a:lnTo>
                    <a:pt x="109" y="337"/>
                  </a:lnTo>
                  <a:lnTo>
                    <a:pt x="109" y="335"/>
                  </a:lnTo>
                  <a:lnTo>
                    <a:pt x="107" y="335"/>
                  </a:lnTo>
                  <a:lnTo>
                    <a:pt x="107" y="334"/>
                  </a:lnTo>
                  <a:lnTo>
                    <a:pt x="109" y="334"/>
                  </a:lnTo>
                  <a:lnTo>
                    <a:pt x="110" y="334"/>
                  </a:lnTo>
                  <a:lnTo>
                    <a:pt x="109" y="332"/>
                  </a:lnTo>
                  <a:lnTo>
                    <a:pt x="107" y="334"/>
                  </a:lnTo>
                  <a:lnTo>
                    <a:pt x="105" y="334"/>
                  </a:lnTo>
                  <a:lnTo>
                    <a:pt x="104" y="335"/>
                  </a:lnTo>
                  <a:lnTo>
                    <a:pt x="102" y="335"/>
                  </a:lnTo>
                  <a:lnTo>
                    <a:pt x="102" y="334"/>
                  </a:lnTo>
                  <a:lnTo>
                    <a:pt x="102" y="332"/>
                  </a:lnTo>
                  <a:lnTo>
                    <a:pt x="102" y="334"/>
                  </a:lnTo>
                  <a:lnTo>
                    <a:pt x="101" y="332"/>
                  </a:lnTo>
                  <a:lnTo>
                    <a:pt x="101" y="335"/>
                  </a:lnTo>
                  <a:lnTo>
                    <a:pt x="99" y="335"/>
                  </a:lnTo>
                  <a:lnTo>
                    <a:pt x="96" y="335"/>
                  </a:lnTo>
                  <a:lnTo>
                    <a:pt x="96" y="334"/>
                  </a:lnTo>
                  <a:lnTo>
                    <a:pt x="94" y="334"/>
                  </a:lnTo>
                  <a:lnTo>
                    <a:pt x="92" y="334"/>
                  </a:lnTo>
                  <a:lnTo>
                    <a:pt x="91" y="334"/>
                  </a:lnTo>
                  <a:lnTo>
                    <a:pt x="91" y="332"/>
                  </a:lnTo>
                  <a:lnTo>
                    <a:pt x="91" y="334"/>
                  </a:lnTo>
                  <a:lnTo>
                    <a:pt x="91" y="332"/>
                  </a:lnTo>
                  <a:lnTo>
                    <a:pt x="91" y="330"/>
                  </a:lnTo>
                  <a:lnTo>
                    <a:pt x="91" y="329"/>
                  </a:lnTo>
                  <a:lnTo>
                    <a:pt x="92" y="329"/>
                  </a:lnTo>
                  <a:lnTo>
                    <a:pt x="92" y="327"/>
                  </a:lnTo>
                  <a:lnTo>
                    <a:pt x="94" y="327"/>
                  </a:lnTo>
                  <a:lnTo>
                    <a:pt x="94" y="325"/>
                  </a:lnTo>
                  <a:lnTo>
                    <a:pt x="96" y="325"/>
                  </a:lnTo>
                  <a:lnTo>
                    <a:pt x="97" y="325"/>
                  </a:lnTo>
                  <a:lnTo>
                    <a:pt x="97" y="324"/>
                  </a:lnTo>
                  <a:lnTo>
                    <a:pt x="99" y="322"/>
                  </a:lnTo>
                  <a:lnTo>
                    <a:pt x="101" y="322"/>
                  </a:lnTo>
                  <a:lnTo>
                    <a:pt x="104" y="322"/>
                  </a:lnTo>
                  <a:lnTo>
                    <a:pt x="104" y="324"/>
                  </a:lnTo>
                  <a:lnTo>
                    <a:pt x="105" y="324"/>
                  </a:lnTo>
                  <a:lnTo>
                    <a:pt x="105" y="322"/>
                  </a:lnTo>
                  <a:lnTo>
                    <a:pt x="104" y="322"/>
                  </a:lnTo>
                  <a:lnTo>
                    <a:pt x="105" y="321"/>
                  </a:lnTo>
                  <a:lnTo>
                    <a:pt x="105" y="322"/>
                  </a:lnTo>
                  <a:lnTo>
                    <a:pt x="107" y="322"/>
                  </a:lnTo>
                  <a:lnTo>
                    <a:pt x="109" y="324"/>
                  </a:lnTo>
                  <a:lnTo>
                    <a:pt x="109" y="322"/>
                  </a:lnTo>
                  <a:lnTo>
                    <a:pt x="107" y="322"/>
                  </a:lnTo>
                  <a:lnTo>
                    <a:pt x="107" y="321"/>
                  </a:lnTo>
                  <a:lnTo>
                    <a:pt x="109" y="321"/>
                  </a:lnTo>
                  <a:lnTo>
                    <a:pt x="110" y="321"/>
                  </a:lnTo>
                  <a:lnTo>
                    <a:pt x="112" y="321"/>
                  </a:lnTo>
                  <a:lnTo>
                    <a:pt x="114" y="321"/>
                  </a:lnTo>
                  <a:lnTo>
                    <a:pt x="114" y="319"/>
                  </a:lnTo>
                  <a:lnTo>
                    <a:pt x="115" y="319"/>
                  </a:lnTo>
                  <a:lnTo>
                    <a:pt x="115" y="321"/>
                  </a:lnTo>
                  <a:lnTo>
                    <a:pt x="117" y="321"/>
                  </a:lnTo>
                  <a:lnTo>
                    <a:pt x="117" y="322"/>
                  </a:lnTo>
                  <a:close/>
                  <a:moveTo>
                    <a:pt x="86" y="319"/>
                  </a:moveTo>
                  <a:lnTo>
                    <a:pt x="88" y="319"/>
                  </a:lnTo>
                  <a:lnTo>
                    <a:pt x="86" y="319"/>
                  </a:lnTo>
                  <a:close/>
                  <a:moveTo>
                    <a:pt x="83" y="317"/>
                  </a:moveTo>
                  <a:lnTo>
                    <a:pt x="81" y="317"/>
                  </a:lnTo>
                  <a:lnTo>
                    <a:pt x="83" y="316"/>
                  </a:lnTo>
                  <a:lnTo>
                    <a:pt x="83" y="317"/>
                  </a:lnTo>
                  <a:close/>
                  <a:moveTo>
                    <a:pt x="83" y="316"/>
                  </a:moveTo>
                  <a:lnTo>
                    <a:pt x="84" y="316"/>
                  </a:lnTo>
                  <a:lnTo>
                    <a:pt x="84" y="317"/>
                  </a:lnTo>
                  <a:lnTo>
                    <a:pt x="84" y="316"/>
                  </a:lnTo>
                  <a:lnTo>
                    <a:pt x="83" y="316"/>
                  </a:lnTo>
                  <a:close/>
                  <a:moveTo>
                    <a:pt x="83" y="314"/>
                  </a:moveTo>
                  <a:lnTo>
                    <a:pt x="84" y="316"/>
                  </a:lnTo>
                  <a:lnTo>
                    <a:pt x="83" y="316"/>
                  </a:lnTo>
                  <a:lnTo>
                    <a:pt x="83" y="314"/>
                  </a:lnTo>
                  <a:close/>
                  <a:moveTo>
                    <a:pt x="84" y="316"/>
                  </a:moveTo>
                  <a:lnTo>
                    <a:pt x="84" y="314"/>
                  </a:lnTo>
                  <a:lnTo>
                    <a:pt x="84" y="316"/>
                  </a:lnTo>
                  <a:close/>
                  <a:moveTo>
                    <a:pt x="83" y="314"/>
                  </a:moveTo>
                  <a:lnTo>
                    <a:pt x="84" y="314"/>
                  </a:lnTo>
                  <a:lnTo>
                    <a:pt x="83" y="314"/>
                  </a:lnTo>
                  <a:close/>
                  <a:moveTo>
                    <a:pt x="232" y="314"/>
                  </a:moveTo>
                  <a:lnTo>
                    <a:pt x="234" y="314"/>
                  </a:lnTo>
                  <a:lnTo>
                    <a:pt x="232" y="314"/>
                  </a:lnTo>
                  <a:close/>
                  <a:moveTo>
                    <a:pt x="229" y="314"/>
                  </a:moveTo>
                  <a:lnTo>
                    <a:pt x="231" y="314"/>
                  </a:lnTo>
                  <a:lnTo>
                    <a:pt x="229" y="314"/>
                  </a:lnTo>
                  <a:close/>
                  <a:moveTo>
                    <a:pt x="187" y="314"/>
                  </a:moveTo>
                  <a:lnTo>
                    <a:pt x="187" y="312"/>
                  </a:lnTo>
                  <a:lnTo>
                    <a:pt x="187" y="314"/>
                  </a:lnTo>
                  <a:close/>
                  <a:moveTo>
                    <a:pt x="84" y="312"/>
                  </a:moveTo>
                  <a:lnTo>
                    <a:pt x="84" y="314"/>
                  </a:lnTo>
                  <a:lnTo>
                    <a:pt x="84" y="312"/>
                  </a:lnTo>
                  <a:close/>
                  <a:moveTo>
                    <a:pt x="83" y="312"/>
                  </a:moveTo>
                  <a:lnTo>
                    <a:pt x="84" y="312"/>
                  </a:lnTo>
                  <a:lnTo>
                    <a:pt x="84" y="314"/>
                  </a:lnTo>
                  <a:lnTo>
                    <a:pt x="83" y="314"/>
                  </a:lnTo>
                  <a:lnTo>
                    <a:pt x="83" y="312"/>
                  </a:lnTo>
                  <a:close/>
                  <a:moveTo>
                    <a:pt x="232" y="312"/>
                  </a:moveTo>
                  <a:lnTo>
                    <a:pt x="232" y="311"/>
                  </a:lnTo>
                  <a:lnTo>
                    <a:pt x="232" y="312"/>
                  </a:lnTo>
                  <a:close/>
                  <a:moveTo>
                    <a:pt x="218" y="311"/>
                  </a:moveTo>
                  <a:lnTo>
                    <a:pt x="219" y="311"/>
                  </a:lnTo>
                  <a:lnTo>
                    <a:pt x="218" y="311"/>
                  </a:lnTo>
                  <a:close/>
                  <a:moveTo>
                    <a:pt x="209" y="311"/>
                  </a:moveTo>
                  <a:lnTo>
                    <a:pt x="209" y="312"/>
                  </a:lnTo>
                  <a:lnTo>
                    <a:pt x="208" y="312"/>
                  </a:lnTo>
                  <a:lnTo>
                    <a:pt x="208" y="311"/>
                  </a:lnTo>
                  <a:lnTo>
                    <a:pt x="209" y="311"/>
                  </a:lnTo>
                  <a:close/>
                  <a:moveTo>
                    <a:pt x="240" y="308"/>
                  </a:moveTo>
                  <a:lnTo>
                    <a:pt x="242" y="308"/>
                  </a:lnTo>
                  <a:lnTo>
                    <a:pt x="240" y="308"/>
                  </a:lnTo>
                  <a:close/>
                  <a:moveTo>
                    <a:pt x="240" y="308"/>
                  </a:moveTo>
                  <a:lnTo>
                    <a:pt x="242" y="308"/>
                  </a:lnTo>
                  <a:lnTo>
                    <a:pt x="240" y="308"/>
                  </a:lnTo>
                  <a:close/>
                  <a:moveTo>
                    <a:pt x="196" y="314"/>
                  </a:moveTo>
                  <a:lnTo>
                    <a:pt x="198" y="314"/>
                  </a:lnTo>
                  <a:lnTo>
                    <a:pt x="198" y="316"/>
                  </a:lnTo>
                  <a:lnTo>
                    <a:pt x="200" y="316"/>
                  </a:lnTo>
                  <a:lnTo>
                    <a:pt x="198" y="317"/>
                  </a:lnTo>
                  <a:lnTo>
                    <a:pt x="196" y="317"/>
                  </a:lnTo>
                  <a:lnTo>
                    <a:pt x="195" y="317"/>
                  </a:lnTo>
                  <a:lnTo>
                    <a:pt x="195" y="316"/>
                  </a:lnTo>
                  <a:lnTo>
                    <a:pt x="195" y="317"/>
                  </a:lnTo>
                  <a:lnTo>
                    <a:pt x="196" y="319"/>
                  </a:lnTo>
                  <a:lnTo>
                    <a:pt x="195" y="321"/>
                  </a:lnTo>
                  <a:lnTo>
                    <a:pt x="195" y="322"/>
                  </a:lnTo>
                  <a:lnTo>
                    <a:pt x="193" y="322"/>
                  </a:lnTo>
                  <a:lnTo>
                    <a:pt x="193" y="321"/>
                  </a:lnTo>
                  <a:lnTo>
                    <a:pt x="192" y="319"/>
                  </a:lnTo>
                  <a:lnTo>
                    <a:pt x="192" y="317"/>
                  </a:lnTo>
                  <a:lnTo>
                    <a:pt x="190" y="317"/>
                  </a:lnTo>
                  <a:lnTo>
                    <a:pt x="190" y="316"/>
                  </a:lnTo>
                  <a:lnTo>
                    <a:pt x="190" y="314"/>
                  </a:lnTo>
                  <a:lnTo>
                    <a:pt x="188" y="312"/>
                  </a:lnTo>
                  <a:lnTo>
                    <a:pt x="188" y="311"/>
                  </a:lnTo>
                  <a:lnTo>
                    <a:pt x="187" y="309"/>
                  </a:lnTo>
                  <a:lnTo>
                    <a:pt x="185" y="309"/>
                  </a:lnTo>
                  <a:lnTo>
                    <a:pt x="187" y="309"/>
                  </a:lnTo>
                  <a:lnTo>
                    <a:pt x="187" y="311"/>
                  </a:lnTo>
                  <a:lnTo>
                    <a:pt x="185" y="311"/>
                  </a:lnTo>
                  <a:lnTo>
                    <a:pt x="183" y="309"/>
                  </a:lnTo>
                  <a:lnTo>
                    <a:pt x="183" y="308"/>
                  </a:lnTo>
                  <a:lnTo>
                    <a:pt x="185" y="308"/>
                  </a:lnTo>
                  <a:lnTo>
                    <a:pt x="187" y="308"/>
                  </a:lnTo>
                  <a:lnTo>
                    <a:pt x="188" y="308"/>
                  </a:lnTo>
                  <a:lnTo>
                    <a:pt x="188" y="309"/>
                  </a:lnTo>
                  <a:lnTo>
                    <a:pt x="190" y="309"/>
                  </a:lnTo>
                  <a:lnTo>
                    <a:pt x="190" y="311"/>
                  </a:lnTo>
                  <a:lnTo>
                    <a:pt x="192" y="309"/>
                  </a:lnTo>
                  <a:lnTo>
                    <a:pt x="192" y="311"/>
                  </a:lnTo>
                  <a:lnTo>
                    <a:pt x="193" y="311"/>
                  </a:lnTo>
                  <a:lnTo>
                    <a:pt x="193" y="312"/>
                  </a:lnTo>
                  <a:lnTo>
                    <a:pt x="195" y="312"/>
                  </a:lnTo>
                  <a:lnTo>
                    <a:pt x="196" y="312"/>
                  </a:lnTo>
                  <a:lnTo>
                    <a:pt x="196" y="314"/>
                  </a:lnTo>
                  <a:close/>
                  <a:moveTo>
                    <a:pt x="91" y="306"/>
                  </a:moveTo>
                  <a:lnTo>
                    <a:pt x="89" y="306"/>
                  </a:lnTo>
                  <a:lnTo>
                    <a:pt x="91" y="306"/>
                  </a:lnTo>
                  <a:close/>
                  <a:moveTo>
                    <a:pt x="96" y="306"/>
                  </a:moveTo>
                  <a:lnTo>
                    <a:pt x="97" y="306"/>
                  </a:lnTo>
                  <a:lnTo>
                    <a:pt x="96" y="306"/>
                  </a:lnTo>
                  <a:close/>
                  <a:moveTo>
                    <a:pt x="250" y="304"/>
                  </a:moveTo>
                  <a:lnTo>
                    <a:pt x="250" y="306"/>
                  </a:lnTo>
                  <a:lnTo>
                    <a:pt x="249" y="306"/>
                  </a:lnTo>
                  <a:lnTo>
                    <a:pt x="249" y="304"/>
                  </a:lnTo>
                  <a:lnTo>
                    <a:pt x="249" y="306"/>
                  </a:lnTo>
                  <a:lnTo>
                    <a:pt x="250" y="304"/>
                  </a:lnTo>
                  <a:close/>
                  <a:moveTo>
                    <a:pt x="110" y="304"/>
                  </a:moveTo>
                  <a:lnTo>
                    <a:pt x="110" y="306"/>
                  </a:lnTo>
                  <a:lnTo>
                    <a:pt x="110" y="308"/>
                  </a:lnTo>
                  <a:lnTo>
                    <a:pt x="112" y="308"/>
                  </a:lnTo>
                  <a:lnTo>
                    <a:pt x="114" y="309"/>
                  </a:lnTo>
                  <a:lnTo>
                    <a:pt x="114" y="311"/>
                  </a:lnTo>
                  <a:lnTo>
                    <a:pt x="115" y="311"/>
                  </a:lnTo>
                  <a:lnTo>
                    <a:pt x="117" y="312"/>
                  </a:lnTo>
                  <a:lnTo>
                    <a:pt x="117" y="314"/>
                  </a:lnTo>
                  <a:lnTo>
                    <a:pt x="117" y="316"/>
                  </a:lnTo>
                  <a:lnTo>
                    <a:pt x="117" y="317"/>
                  </a:lnTo>
                  <a:lnTo>
                    <a:pt x="115" y="317"/>
                  </a:lnTo>
                  <a:lnTo>
                    <a:pt x="114" y="317"/>
                  </a:lnTo>
                  <a:lnTo>
                    <a:pt x="112" y="317"/>
                  </a:lnTo>
                  <a:lnTo>
                    <a:pt x="110" y="319"/>
                  </a:lnTo>
                  <a:lnTo>
                    <a:pt x="109" y="319"/>
                  </a:lnTo>
                  <a:lnTo>
                    <a:pt x="107" y="319"/>
                  </a:lnTo>
                  <a:lnTo>
                    <a:pt x="105" y="319"/>
                  </a:lnTo>
                  <a:lnTo>
                    <a:pt x="104" y="319"/>
                  </a:lnTo>
                  <a:lnTo>
                    <a:pt x="102" y="319"/>
                  </a:lnTo>
                  <a:lnTo>
                    <a:pt x="102" y="321"/>
                  </a:lnTo>
                  <a:lnTo>
                    <a:pt x="101" y="319"/>
                  </a:lnTo>
                  <a:lnTo>
                    <a:pt x="101" y="321"/>
                  </a:lnTo>
                  <a:lnTo>
                    <a:pt x="99" y="321"/>
                  </a:lnTo>
                  <a:lnTo>
                    <a:pt x="99" y="319"/>
                  </a:lnTo>
                  <a:lnTo>
                    <a:pt x="101" y="317"/>
                  </a:lnTo>
                  <a:lnTo>
                    <a:pt x="102" y="316"/>
                  </a:lnTo>
                  <a:lnTo>
                    <a:pt x="104" y="316"/>
                  </a:lnTo>
                  <a:lnTo>
                    <a:pt x="104" y="314"/>
                  </a:lnTo>
                  <a:lnTo>
                    <a:pt x="105" y="312"/>
                  </a:lnTo>
                  <a:lnTo>
                    <a:pt x="107" y="312"/>
                  </a:lnTo>
                  <a:lnTo>
                    <a:pt x="107" y="311"/>
                  </a:lnTo>
                  <a:lnTo>
                    <a:pt x="109" y="311"/>
                  </a:lnTo>
                  <a:lnTo>
                    <a:pt x="109" y="309"/>
                  </a:lnTo>
                  <a:lnTo>
                    <a:pt x="110" y="308"/>
                  </a:lnTo>
                  <a:lnTo>
                    <a:pt x="109" y="308"/>
                  </a:lnTo>
                  <a:lnTo>
                    <a:pt x="109" y="309"/>
                  </a:lnTo>
                  <a:lnTo>
                    <a:pt x="107" y="311"/>
                  </a:lnTo>
                  <a:lnTo>
                    <a:pt x="105" y="312"/>
                  </a:lnTo>
                  <a:lnTo>
                    <a:pt x="104" y="312"/>
                  </a:lnTo>
                  <a:lnTo>
                    <a:pt x="104" y="314"/>
                  </a:lnTo>
                  <a:lnTo>
                    <a:pt x="102" y="314"/>
                  </a:lnTo>
                  <a:lnTo>
                    <a:pt x="101" y="316"/>
                  </a:lnTo>
                  <a:lnTo>
                    <a:pt x="97" y="317"/>
                  </a:lnTo>
                  <a:lnTo>
                    <a:pt x="96" y="319"/>
                  </a:lnTo>
                  <a:lnTo>
                    <a:pt x="96" y="317"/>
                  </a:lnTo>
                  <a:lnTo>
                    <a:pt x="94" y="319"/>
                  </a:lnTo>
                  <a:lnTo>
                    <a:pt x="94" y="317"/>
                  </a:lnTo>
                  <a:lnTo>
                    <a:pt x="92" y="317"/>
                  </a:lnTo>
                  <a:lnTo>
                    <a:pt x="91" y="317"/>
                  </a:lnTo>
                  <a:lnTo>
                    <a:pt x="91" y="316"/>
                  </a:lnTo>
                  <a:lnTo>
                    <a:pt x="89" y="316"/>
                  </a:lnTo>
                  <a:lnTo>
                    <a:pt x="88" y="316"/>
                  </a:lnTo>
                  <a:lnTo>
                    <a:pt x="86" y="312"/>
                  </a:lnTo>
                  <a:lnTo>
                    <a:pt x="86" y="311"/>
                  </a:lnTo>
                  <a:lnTo>
                    <a:pt x="88" y="311"/>
                  </a:lnTo>
                  <a:lnTo>
                    <a:pt x="88" y="309"/>
                  </a:lnTo>
                  <a:lnTo>
                    <a:pt x="88" y="308"/>
                  </a:lnTo>
                  <a:lnTo>
                    <a:pt x="86" y="308"/>
                  </a:lnTo>
                  <a:lnTo>
                    <a:pt x="88" y="306"/>
                  </a:lnTo>
                  <a:lnTo>
                    <a:pt x="89" y="308"/>
                  </a:lnTo>
                  <a:lnTo>
                    <a:pt x="91" y="308"/>
                  </a:lnTo>
                  <a:lnTo>
                    <a:pt x="91" y="306"/>
                  </a:lnTo>
                  <a:lnTo>
                    <a:pt x="92" y="306"/>
                  </a:lnTo>
                  <a:lnTo>
                    <a:pt x="92" y="308"/>
                  </a:lnTo>
                  <a:lnTo>
                    <a:pt x="94" y="306"/>
                  </a:lnTo>
                  <a:lnTo>
                    <a:pt x="96" y="308"/>
                  </a:lnTo>
                  <a:lnTo>
                    <a:pt x="96" y="306"/>
                  </a:lnTo>
                  <a:lnTo>
                    <a:pt x="97" y="306"/>
                  </a:lnTo>
                  <a:lnTo>
                    <a:pt x="99" y="306"/>
                  </a:lnTo>
                  <a:lnTo>
                    <a:pt x="99" y="304"/>
                  </a:lnTo>
                  <a:lnTo>
                    <a:pt x="99" y="306"/>
                  </a:lnTo>
                  <a:lnTo>
                    <a:pt x="101" y="306"/>
                  </a:lnTo>
                  <a:lnTo>
                    <a:pt x="102" y="306"/>
                  </a:lnTo>
                  <a:lnTo>
                    <a:pt x="102" y="304"/>
                  </a:lnTo>
                  <a:lnTo>
                    <a:pt x="104" y="304"/>
                  </a:lnTo>
                  <a:lnTo>
                    <a:pt x="105" y="304"/>
                  </a:lnTo>
                  <a:lnTo>
                    <a:pt x="107" y="304"/>
                  </a:lnTo>
                  <a:lnTo>
                    <a:pt x="109" y="304"/>
                  </a:lnTo>
                  <a:lnTo>
                    <a:pt x="110" y="304"/>
                  </a:lnTo>
                  <a:close/>
                  <a:moveTo>
                    <a:pt x="88" y="303"/>
                  </a:moveTo>
                  <a:lnTo>
                    <a:pt x="89" y="303"/>
                  </a:lnTo>
                  <a:lnTo>
                    <a:pt x="88" y="303"/>
                  </a:lnTo>
                  <a:close/>
                  <a:moveTo>
                    <a:pt x="91" y="303"/>
                  </a:moveTo>
                  <a:lnTo>
                    <a:pt x="91" y="301"/>
                  </a:lnTo>
                  <a:lnTo>
                    <a:pt x="91" y="303"/>
                  </a:lnTo>
                  <a:close/>
                  <a:moveTo>
                    <a:pt x="206" y="301"/>
                  </a:moveTo>
                  <a:lnTo>
                    <a:pt x="208" y="301"/>
                  </a:lnTo>
                  <a:lnTo>
                    <a:pt x="208" y="303"/>
                  </a:lnTo>
                  <a:lnTo>
                    <a:pt x="206" y="303"/>
                  </a:lnTo>
                  <a:lnTo>
                    <a:pt x="206" y="301"/>
                  </a:lnTo>
                  <a:close/>
                  <a:moveTo>
                    <a:pt x="91" y="301"/>
                  </a:moveTo>
                  <a:lnTo>
                    <a:pt x="89" y="301"/>
                  </a:lnTo>
                  <a:lnTo>
                    <a:pt x="91" y="301"/>
                  </a:lnTo>
                  <a:close/>
                  <a:moveTo>
                    <a:pt x="86" y="301"/>
                  </a:moveTo>
                  <a:lnTo>
                    <a:pt x="84" y="301"/>
                  </a:lnTo>
                  <a:lnTo>
                    <a:pt x="86" y="301"/>
                  </a:lnTo>
                  <a:close/>
                  <a:moveTo>
                    <a:pt x="209" y="306"/>
                  </a:moveTo>
                  <a:lnTo>
                    <a:pt x="211" y="306"/>
                  </a:lnTo>
                  <a:lnTo>
                    <a:pt x="209" y="308"/>
                  </a:lnTo>
                  <a:lnTo>
                    <a:pt x="209" y="306"/>
                  </a:lnTo>
                  <a:lnTo>
                    <a:pt x="209" y="304"/>
                  </a:lnTo>
                  <a:lnTo>
                    <a:pt x="209" y="303"/>
                  </a:lnTo>
                  <a:lnTo>
                    <a:pt x="209" y="301"/>
                  </a:lnTo>
                  <a:lnTo>
                    <a:pt x="211" y="303"/>
                  </a:lnTo>
                  <a:lnTo>
                    <a:pt x="211" y="304"/>
                  </a:lnTo>
                  <a:lnTo>
                    <a:pt x="209" y="306"/>
                  </a:lnTo>
                  <a:close/>
                  <a:moveTo>
                    <a:pt x="88" y="298"/>
                  </a:moveTo>
                  <a:lnTo>
                    <a:pt x="88" y="299"/>
                  </a:lnTo>
                  <a:lnTo>
                    <a:pt x="86" y="299"/>
                  </a:lnTo>
                  <a:lnTo>
                    <a:pt x="88" y="299"/>
                  </a:lnTo>
                  <a:lnTo>
                    <a:pt x="86" y="299"/>
                  </a:lnTo>
                  <a:lnTo>
                    <a:pt x="88" y="298"/>
                  </a:lnTo>
                  <a:close/>
                  <a:moveTo>
                    <a:pt x="88" y="298"/>
                  </a:moveTo>
                  <a:lnTo>
                    <a:pt x="89" y="298"/>
                  </a:lnTo>
                  <a:lnTo>
                    <a:pt x="88" y="298"/>
                  </a:lnTo>
                  <a:close/>
                  <a:moveTo>
                    <a:pt x="89" y="298"/>
                  </a:moveTo>
                  <a:lnTo>
                    <a:pt x="89" y="296"/>
                  </a:lnTo>
                  <a:lnTo>
                    <a:pt x="91" y="296"/>
                  </a:lnTo>
                  <a:lnTo>
                    <a:pt x="91" y="298"/>
                  </a:lnTo>
                  <a:lnTo>
                    <a:pt x="89" y="298"/>
                  </a:lnTo>
                  <a:close/>
                  <a:moveTo>
                    <a:pt x="89" y="298"/>
                  </a:moveTo>
                  <a:lnTo>
                    <a:pt x="89" y="296"/>
                  </a:lnTo>
                  <a:lnTo>
                    <a:pt x="89" y="298"/>
                  </a:lnTo>
                  <a:close/>
                  <a:moveTo>
                    <a:pt x="83" y="296"/>
                  </a:moveTo>
                  <a:lnTo>
                    <a:pt x="84" y="296"/>
                  </a:lnTo>
                  <a:lnTo>
                    <a:pt x="83" y="296"/>
                  </a:lnTo>
                  <a:close/>
                  <a:moveTo>
                    <a:pt x="84" y="295"/>
                  </a:moveTo>
                  <a:lnTo>
                    <a:pt x="84" y="296"/>
                  </a:lnTo>
                  <a:lnTo>
                    <a:pt x="84" y="295"/>
                  </a:lnTo>
                  <a:close/>
                  <a:moveTo>
                    <a:pt x="83" y="296"/>
                  </a:moveTo>
                  <a:lnTo>
                    <a:pt x="83" y="295"/>
                  </a:lnTo>
                  <a:lnTo>
                    <a:pt x="83" y="296"/>
                  </a:lnTo>
                  <a:close/>
                  <a:moveTo>
                    <a:pt x="94" y="295"/>
                  </a:moveTo>
                  <a:lnTo>
                    <a:pt x="92" y="295"/>
                  </a:lnTo>
                  <a:lnTo>
                    <a:pt x="94" y="295"/>
                  </a:lnTo>
                  <a:close/>
                  <a:moveTo>
                    <a:pt x="92" y="295"/>
                  </a:moveTo>
                  <a:lnTo>
                    <a:pt x="92" y="296"/>
                  </a:lnTo>
                  <a:lnTo>
                    <a:pt x="91" y="296"/>
                  </a:lnTo>
                  <a:lnTo>
                    <a:pt x="89" y="296"/>
                  </a:lnTo>
                  <a:lnTo>
                    <a:pt x="91" y="296"/>
                  </a:lnTo>
                  <a:lnTo>
                    <a:pt x="89" y="296"/>
                  </a:lnTo>
                  <a:lnTo>
                    <a:pt x="91" y="295"/>
                  </a:lnTo>
                  <a:lnTo>
                    <a:pt x="92" y="295"/>
                  </a:lnTo>
                  <a:close/>
                  <a:moveTo>
                    <a:pt x="159" y="360"/>
                  </a:moveTo>
                  <a:lnTo>
                    <a:pt x="157" y="360"/>
                  </a:lnTo>
                  <a:lnTo>
                    <a:pt x="157" y="358"/>
                  </a:lnTo>
                  <a:lnTo>
                    <a:pt x="159" y="358"/>
                  </a:lnTo>
                  <a:lnTo>
                    <a:pt x="157" y="358"/>
                  </a:lnTo>
                  <a:lnTo>
                    <a:pt x="156" y="358"/>
                  </a:lnTo>
                  <a:lnTo>
                    <a:pt x="156" y="360"/>
                  </a:lnTo>
                  <a:lnTo>
                    <a:pt x="156" y="358"/>
                  </a:lnTo>
                  <a:lnTo>
                    <a:pt x="154" y="358"/>
                  </a:lnTo>
                  <a:lnTo>
                    <a:pt x="153" y="358"/>
                  </a:lnTo>
                  <a:lnTo>
                    <a:pt x="153" y="356"/>
                  </a:lnTo>
                  <a:lnTo>
                    <a:pt x="153" y="355"/>
                  </a:lnTo>
                  <a:lnTo>
                    <a:pt x="154" y="355"/>
                  </a:lnTo>
                  <a:lnTo>
                    <a:pt x="153" y="355"/>
                  </a:lnTo>
                  <a:lnTo>
                    <a:pt x="154" y="356"/>
                  </a:lnTo>
                  <a:lnTo>
                    <a:pt x="153" y="356"/>
                  </a:lnTo>
                  <a:lnTo>
                    <a:pt x="154" y="356"/>
                  </a:lnTo>
                  <a:lnTo>
                    <a:pt x="154" y="355"/>
                  </a:lnTo>
                  <a:lnTo>
                    <a:pt x="153" y="355"/>
                  </a:lnTo>
                  <a:lnTo>
                    <a:pt x="154" y="355"/>
                  </a:lnTo>
                  <a:lnTo>
                    <a:pt x="153" y="353"/>
                  </a:lnTo>
                  <a:lnTo>
                    <a:pt x="154" y="353"/>
                  </a:lnTo>
                  <a:lnTo>
                    <a:pt x="157" y="351"/>
                  </a:lnTo>
                  <a:lnTo>
                    <a:pt x="159" y="350"/>
                  </a:lnTo>
                  <a:lnTo>
                    <a:pt x="157" y="350"/>
                  </a:lnTo>
                  <a:lnTo>
                    <a:pt x="156" y="350"/>
                  </a:lnTo>
                  <a:lnTo>
                    <a:pt x="156" y="351"/>
                  </a:lnTo>
                  <a:lnTo>
                    <a:pt x="156" y="353"/>
                  </a:lnTo>
                  <a:lnTo>
                    <a:pt x="154" y="353"/>
                  </a:lnTo>
                  <a:lnTo>
                    <a:pt x="153" y="353"/>
                  </a:lnTo>
                  <a:lnTo>
                    <a:pt x="153" y="351"/>
                  </a:lnTo>
                  <a:lnTo>
                    <a:pt x="153" y="353"/>
                  </a:lnTo>
                  <a:lnTo>
                    <a:pt x="153" y="351"/>
                  </a:lnTo>
                  <a:lnTo>
                    <a:pt x="151" y="348"/>
                  </a:lnTo>
                  <a:lnTo>
                    <a:pt x="151" y="347"/>
                  </a:lnTo>
                  <a:lnTo>
                    <a:pt x="151" y="345"/>
                  </a:lnTo>
                  <a:lnTo>
                    <a:pt x="153" y="345"/>
                  </a:lnTo>
                  <a:lnTo>
                    <a:pt x="154" y="343"/>
                  </a:lnTo>
                  <a:lnTo>
                    <a:pt x="154" y="342"/>
                  </a:lnTo>
                  <a:lnTo>
                    <a:pt x="153" y="342"/>
                  </a:lnTo>
                  <a:lnTo>
                    <a:pt x="153" y="343"/>
                  </a:lnTo>
                  <a:lnTo>
                    <a:pt x="151" y="343"/>
                  </a:lnTo>
                  <a:lnTo>
                    <a:pt x="151" y="345"/>
                  </a:lnTo>
                  <a:lnTo>
                    <a:pt x="151" y="343"/>
                  </a:lnTo>
                  <a:lnTo>
                    <a:pt x="149" y="340"/>
                  </a:lnTo>
                  <a:lnTo>
                    <a:pt x="148" y="338"/>
                  </a:lnTo>
                  <a:lnTo>
                    <a:pt x="148" y="337"/>
                  </a:lnTo>
                  <a:lnTo>
                    <a:pt x="148" y="334"/>
                  </a:lnTo>
                  <a:lnTo>
                    <a:pt x="148" y="332"/>
                  </a:lnTo>
                  <a:lnTo>
                    <a:pt x="146" y="332"/>
                  </a:lnTo>
                  <a:lnTo>
                    <a:pt x="146" y="330"/>
                  </a:lnTo>
                  <a:lnTo>
                    <a:pt x="144" y="330"/>
                  </a:lnTo>
                  <a:lnTo>
                    <a:pt x="144" y="329"/>
                  </a:lnTo>
                  <a:lnTo>
                    <a:pt x="143" y="329"/>
                  </a:lnTo>
                  <a:lnTo>
                    <a:pt x="141" y="329"/>
                  </a:lnTo>
                  <a:lnTo>
                    <a:pt x="143" y="329"/>
                  </a:lnTo>
                  <a:lnTo>
                    <a:pt x="143" y="330"/>
                  </a:lnTo>
                  <a:lnTo>
                    <a:pt x="144" y="330"/>
                  </a:lnTo>
                  <a:lnTo>
                    <a:pt x="146" y="332"/>
                  </a:lnTo>
                  <a:lnTo>
                    <a:pt x="144" y="332"/>
                  </a:lnTo>
                  <a:lnTo>
                    <a:pt x="146" y="334"/>
                  </a:lnTo>
                  <a:lnTo>
                    <a:pt x="146" y="335"/>
                  </a:lnTo>
                  <a:lnTo>
                    <a:pt x="146" y="337"/>
                  </a:lnTo>
                  <a:lnTo>
                    <a:pt x="148" y="338"/>
                  </a:lnTo>
                  <a:lnTo>
                    <a:pt x="146" y="338"/>
                  </a:lnTo>
                  <a:lnTo>
                    <a:pt x="144" y="338"/>
                  </a:lnTo>
                  <a:lnTo>
                    <a:pt x="143" y="340"/>
                  </a:lnTo>
                  <a:lnTo>
                    <a:pt x="141" y="340"/>
                  </a:lnTo>
                  <a:lnTo>
                    <a:pt x="141" y="342"/>
                  </a:lnTo>
                  <a:lnTo>
                    <a:pt x="140" y="342"/>
                  </a:lnTo>
                  <a:lnTo>
                    <a:pt x="138" y="343"/>
                  </a:lnTo>
                  <a:lnTo>
                    <a:pt x="138" y="342"/>
                  </a:lnTo>
                  <a:lnTo>
                    <a:pt x="138" y="343"/>
                  </a:lnTo>
                  <a:lnTo>
                    <a:pt x="136" y="342"/>
                  </a:lnTo>
                  <a:lnTo>
                    <a:pt x="138" y="342"/>
                  </a:lnTo>
                  <a:lnTo>
                    <a:pt x="136" y="342"/>
                  </a:lnTo>
                  <a:lnTo>
                    <a:pt x="136" y="343"/>
                  </a:lnTo>
                  <a:lnTo>
                    <a:pt x="135" y="345"/>
                  </a:lnTo>
                  <a:lnTo>
                    <a:pt x="135" y="347"/>
                  </a:lnTo>
                  <a:lnTo>
                    <a:pt x="133" y="347"/>
                  </a:lnTo>
                  <a:lnTo>
                    <a:pt x="133" y="345"/>
                  </a:lnTo>
                  <a:lnTo>
                    <a:pt x="133" y="343"/>
                  </a:lnTo>
                  <a:lnTo>
                    <a:pt x="133" y="345"/>
                  </a:lnTo>
                  <a:lnTo>
                    <a:pt x="131" y="345"/>
                  </a:lnTo>
                  <a:lnTo>
                    <a:pt x="130" y="347"/>
                  </a:lnTo>
                  <a:lnTo>
                    <a:pt x="130" y="348"/>
                  </a:lnTo>
                  <a:lnTo>
                    <a:pt x="128" y="347"/>
                  </a:lnTo>
                  <a:lnTo>
                    <a:pt x="128" y="348"/>
                  </a:lnTo>
                  <a:lnTo>
                    <a:pt x="128" y="347"/>
                  </a:lnTo>
                  <a:lnTo>
                    <a:pt x="127" y="347"/>
                  </a:lnTo>
                  <a:lnTo>
                    <a:pt x="127" y="345"/>
                  </a:lnTo>
                  <a:lnTo>
                    <a:pt x="127" y="343"/>
                  </a:lnTo>
                  <a:lnTo>
                    <a:pt x="127" y="342"/>
                  </a:lnTo>
                  <a:lnTo>
                    <a:pt x="127" y="340"/>
                  </a:lnTo>
                  <a:lnTo>
                    <a:pt x="128" y="338"/>
                  </a:lnTo>
                  <a:lnTo>
                    <a:pt x="130" y="337"/>
                  </a:lnTo>
                  <a:lnTo>
                    <a:pt x="128" y="337"/>
                  </a:lnTo>
                  <a:lnTo>
                    <a:pt x="130" y="337"/>
                  </a:lnTo>
                  <a:lnTo>
                    <a:pt x="130" y="335"/>
                  </a:lnTo>
                  <a:lnTo>
                    <a:pt x="131" y="335"/>
                  </a:lnTo>
                  <a:lnTo>
                    <a:pt x="131" y="334"/>
                  </a:lnTo>
                  <a:lnTo>
                    <a:pt x="133" y="334"/>
                  </a:lnTo>
                  <a:lnTo>
                    <a:pt x="131" y="332"/>
                  </a:lnTo>
                  <a:lnTo>
                    <a:pt x="130" y="334"/>
                  </a:lnTo>
                  <a:lnTo>
                    <a:pt x="128" y="335"/>
                  </a:lnTo>
                  <a:lnTo>
                    <a:pt x="128" y="337"/>
                  </a:lnTo>
                  <a:lnTo>
                    <a:pt x="127" y="337"/>
                  </a:lnTo>
                  <a:lnTo>
                    <a:pt x="127" y="338"/>
                  </a:lnTo>
                  <a:lnTo>
                    <a:pt x="125" y="338"/>
                  </a:lnTo>
                  <a:lnTo>
                    <a:pt x="125" y="337"/>
                  </a:lnTo>
                  <a:lnTo>
                    <a:pt x="123" y="335"/>
                  </a:lnTo>
                  <a:lnTo>
                    <a:pt x="123" y="334"/>
                  </a:lnTo>
                  <a:lnTo>
                    <a:pt x="123" y="332"/>
                  </a:lnTo>
                  <a:lnTo>
                    <a:pt x="122" y="330"/>
                  </a:lnTo>
                  <a:lnTo>
                    <a:pt x="122" y="329"/>
                  </a:lnTo>
                  <a:lnTo>
                    <a:pt x="122" y="327"/>
                  </a:lnTo>
                  <a:lnTo>
                    <a:pt x="122" y="325"/>
                  </a:lnTo>
                  <a:lnTo>
                    <a:pt x="123" y="325"/>
                  </a:lnTo>
                  <a:lnTo>
                    <a:pt x="123" y="324"/>
                  </a:lnTo>
                  <a:lnTo>
                    <a:pt x="122" y="324"/>
                  </a:lnTo>
                  <a:lnTo>
                    <a:pt x="122" y="325"/>
                  </a:lnTo>
                  <a:lnTo>
                    <a:pt x="122" y="324"/>
                  </a:lnTo>
                  <a:lnTo>
                    <a:pt x="122" y="322"/>
                  </a:lnTo>
                  <a:lnTo>
                    <a:pt x="120" y="321"/>
                  </a:lnTo>
                  <a:lnTo>
                    <a:pt x="120" y="319"/>
                  </a:lnTo>
                  <a:lnTo>
                    <a:pt x="122" y="319"/>
                  </a:lnTo>
                  <a:lnTo>
                    <a:pt x="123" y="319"/>
                  </a:lnTo>
                  <a:lnTo>
                    <a:pt x="127" y="321"/>
                  </a:lnTo>
                  <a:lnTo>
                    <a:pt x="128" y="321"/>
                  </a:lnTo>
                  <a:lnTo>
                    <a:pt x="128" y="322"/>
                  </a:lnTo>
                  <a:lnTo>
                    <a:pt x="130" y="322"/>
                  </a:lnTo>
                  <a:lnTo>
                    <a:pt x="131" y="322"/>
                  </a:lnTo>
                  <a:lnTo>
                    <a:pt x="133" y="324"/>
                  </a:lnTo>
                  <a:lnTo>
                    <a:pt x="135" y="324"/>
                  </a:lnTo>
                  <a:lnTo>
                    <a:pt x="136" y="324"/>
                  </a:lnTo>
                  <a:lnTo>
                    <a:pt x="136" y="325"/>
                  </a:lnTo>
                  <a:lnTo>
                    <a:pt x="136" y="324"/>
                  </a:lnTo>
                  <a:lnTo>
                    <a:pt x="135" y="324"/>
                  </a:lnTo>
                  <a:lnTo>
                    <a:pt x="135" y="322"/>
                  </a:lnTo>
                  <a:lnTo>
                    <a:pt x="133" y="322"/>
                  </a:lnTo>
                  <a:lnTo>
                    <a:pt x="131" y="322"/>
                  </a:lnTo>
                  <a:lnTo>
                    <a:pt x="131" y="321"/>
                  </a:lnTo>
                  <a:lnTo>
                    <a:pt x="133" y="321"/>
                  </a:lnTo>
                  <a:lnTo>
                    <a:pt x="135" y="319"/>
                  </a:lnTo>
                  <a:lnTo>
                    <a:pt x="136" y="319"/>
                  </a:lnTo>
                  <a:lnTo>
                    <a:pt x="136" y="317"/>
                  </a:lnTo>
                  <a:lnTo>
                    <a:pt x="135" y="317"/>
                  </a:lnTo>
                  <a:lnTo>
                    <a:pt x="133" y="319"/>
                  </a:lnTo>
                  <a:lnTo>
                    <a:pt x="135" y="319"/>
                  </a:lnTo>
                  <a:lnTo>
                    <a:pt x="133" y="319"/>
                  </a:lnTo>
                  <a:lnTo>
                    <a:pt x="131" y="321"/>
                  </a:lnTo>
                  <a:lnTo>
                    <a:pt x="130" y="321"/>
                  </a:lnTo>
                  <a:lnTo>
                    <a:pt x="128" y="321"/>
                  </a:lnTo>
                  <a:lnTo>
                    <a:pt x="128" y="319"/>
                  </a:lnTo>
                  <a:lnTo>
                    <a:pt x="127" y="319"/>
                  </a:lnTo>
                  <a:lnTo>
                    <a:pt x="125" y="319"/>
                  </a:lnTo>
                  <a:lnTo>
                    <a:pt x="127" y="317"/>
                  </a:lnTo>
                  <a:lnTo>
                    <a:pt x="128" y="317"/>
                  </a:lnTo>
                  <a:lnTo>
                    <a:pt x="130" y="317"/>
                  </a:lnTo>
                  <a:lnTo>
                    <a:pt x="131" y="317"/>
                  </a:lnTo>
                  <a:lnTo>
                    <a:pt x="133" y="317"/>
                  </a:lnTo>
                  <a:lnTo>
                    <a:pt x="131" y="317"/>
                  </a:lnTo>
                  <a:lnTo>
                    <a:pt x="130" y="317"/>
                  </a:lnTo>
                  <a:lnTo>
                    <a:pt x="128" y="317"/>
                  </a:lnTo>
                  <a:lnTo>
                    <a:pt x="127" y="317"/>
                  </a:lnTo>
                  <a:lnTo>
                    <a:pt x="125" y="317"/>
                  </a:lnTo>
                  <a:lnTo>
                    <a:pt x="125" y="316"/>
                  </a:lnTo>
                  <a:lnTo>
                    <a:pt x="123" y="316"/>
                  </a:lnTo>
                  <a:lnTo>
                    <a:pt x="123" y="314"/>
                  </a:lnTo>
                  <a:lnTo>
                    <a:pt x="123" y="311"/>
                  </a:lnTo>
                  <a:lnTo>
                    <a:pt x="125" y="311"/>
                  </a:lnTo>
                  <a:lnTo>
                    <a:pt x="125" y="309"/>
                  </a:lnTo>
                  <a:lnTo>
                    <a:pt x="123" y="309"/>
                  </a:lnTo>
                  <a:lnTo>
                    <a:pt x="123" y="308"/>
                  </a:lnTo>
                  <a:lnTo>
                    <a:pt x="123" y="306"/>
                  </a:lnTo>
                  <a:lnTo>
                    <a:pt x="123" y="304"/>
                  </a:lnTo>
                  <a:lnTo>
                    <a:pt x="123" y="301"/>
                  </a:lnTo>
                  <a:lnTo>
                    <a:pt x="122" y="301"/>
                  </a:lnTo>
                  <a:lnTo>
                    <a:pt x="122" y="299"/>
                  </a:lnTo>
                  <a:lnTo>
                    <a:pt x="123" y="298"/>
                  </a:lnTo>
                  <a:lnTo>
                    <a:pt x="125" y="296"/>
                  </a:lnTo>
                  <a:lnTo>
                    <a:pt x="125" y="295"/>
                  </a:lnTo>
                  <a:lnTo>
                    <a:pt x="127" y="295"/>
                  </a:lnTo>
                  <a:lnTo>
                    <a:pt x="128" y="293"/>
                  </a:lnTo>
                  <a:lnTo>
                    <a:pt x="130" y="293"/>
                  </a:lnTo>
                  <a:lnTo>
                    <a:pt x="130" y="295"/>
                  </a:lnTo>
                  <a:lnTo>
                    <a:pt x="131" y="295"/>
                  </a:lnTo>
                  <a:lnTo>
                    <a:pt x="131" y="296"/>
                  </a:lnTo>
                  <a:lnTo>
                    <a:pt x="133" y="296"/>
                  </a:lnTo>
                  <a:lnTo>
                    <a:pt x="133" y="298"/>
                  </a:lnTo>
                  <a:lnTo>
                    <a:pt x="135" y="299"/>
                  </a:lnTo>
                  <a:lnTo>
                    <a:pt x="135" y="301"/>
                  </a:lnTo>
                  <a:lnTo>
                    <a:pt x="136" y="301"/>
                  </a:lnTo>
                  <a:lnTo>
                    <a:pt x="136" y="303"/>
                  </a:lnTo>
                  <a:lnTo>
                    <a:pt x="136" y="304"/>
                  </a:lnTo>
                  <a:lnTo>
                    <a:pt x="138" y="304"/>
                  </a:lnTo>
                  <a:lnTo>
                    <a:pt x="140" y="308"/>
                  </a:lnTo>
                  <a:lnTo>
                    <a:pt x="140" y="309"/>
                  </a:lnTo>
                  <a:lnTo>
                    <a:pt x="141" y="311"/>
                  </a:lnTo>
                  <a:lnTo>
                    <a:pt x="141" y="312"/>
                  </a:lnTo>
                  <a:lnTo>
                    <a:pt x="143" y="312"/>
                  </a:lnTo>
                  <a:lnTo>
                    <a:pt x="144" y="316"/>
                  </a:lnTo>
                  <a:lnTo>
                    <a:pt x="144" y="319"/>
                  </a:lnTo>
                  <a:lnTo>
                    <a:pt x="146" y="321"/>
                  </a:lnTo>
                  <a:lnTo>
                    <a:pt x="148" y="322"/>
                  </a:lnTo>
                  <a:lnTo>
                    <a:pt x="148" y="325"/>
                  </a:lnTo>
                  <a:lnTo>
                    <a:pt x="149" y="327"/>
                  </a:lnTo>
                  <a:lnTo>
                    <a:pt x="151" y="329"/>
                  </a:lnTo>
                  <a:lnTo>
                    <a:pt x="151" y="330"/>
                  </a:lnTo>
                  <a:lnTo>
                    <a:pt x="153" y="330"/>
                  </a:lnTo>
                  <a:lnTo>
                    <a:pt x="153" y="332"/>
                  </a:lnTo>
                  <a:lnTo>
                    <a:pt x="153" y="334"/>
                  </a:lnTo>
                  <a:lnTo>
                    <a:pt x="154" y="335"/>
                  </a:lnTo>
                  <a:lnTo>
                    <a:pt x="154" y="337"/>
                  </a:lnTo>
                  <a:lnTo>
                    <a:pt x="156" y="338"/>
                  </a:lnTo>
                  <a:lnTo>
                    <a:pt x="156" y="340"/>
                  </a:lnTo>
                  <a:lnTo>
                    <a:pt x="157" y="342"/>
                  </a:lnTo>
                  <a:lnTo>
                    <a:pt x="159" y="343"/>
                  </a:lnTo>
                  <a:lnTo>
                    <a:pt x="159" y="345"/>
                  </a:lnTo>
                  <a:lnTo>
                    <a:pt x="161" y="345"/>
                  </a:lnTo>
                  <a:lnTo>
                    <a:pt x="162" y="348"/>
                  </a:lnTo>
                  <a:lnTo>
                    <a:pt x="162" y="350"/>
                  </a:lnTo>
                  <a:lnTo>
                    <a:pt x="162" y="351"/>
                  </a:lnTo>
                  <a:lnTo>
                    <a:pt x="164" y="351"/>
                  </a:lnTo>
                  <a:lnTo>
                    <a:pt x="164" y="353"/>
                  </a:lnTo>
                  <a:lnTo>
                    <a:pt x="164" y="355"/>
                  </a:lnTo>
                  <a:lnTo>
                    <a:pt x="162" y="355"/>
                  </a:lnTo>
                  <a:lnTo>
                    <a:pt x="161" y="355"/>
                  </a:lnTo>
                  <a:lnTo>
                    <a:pt x="162" y="353"/>
                  </a:lnTo>
                  <a:lnTo>
                    <a:pt x="161" y="353"/>
                  </a:lnTo>
                  <a:lnTo>
                    <a:pt x="161" y="355"/>
                  </a:lnTo>
                  <a:lnTo>
                    <a:pt x="162" y="355"/>
                  </a:lnTo>
                  <a:lnTo>
                    <a:pt x="162" y="356"/>
                  </a:lnTo>
                  <a:lnTo>
                    <a:pt x="161" y="356"/>
                  </a:lnTo>
                  <a:lnTo>
                    <a:pt x="159" y="358"/>
                  </a:lnTo>
                  <a:lnTo>
                    <a:pt x="161" y="358"/>
                  </a:lnTo>
                  <a:lnTo>
                    <a:pt x="161" y="356"/>
                  </a:lnTo>
                  <a:lnTo>
                    <a:pt x="162" y="356"/>
                  </a:lnTo>
                  <a:lnTo>
                    <a:pt x="161" y="358"/>
                  </a:lnTo>
                  <a:lnTo>
                    <a:pt x="162" y="358"/>
                  </a:lnTo>
                  <a:lnTo>
                    <a:pt x="161" y="358"/>
                  </a:lnTo>
                  <a:lnTo>
                    <a:pt x="161" y="360"/>
                  </a:lnTo>
                  <a:lnTo>
                    <a:pt x="159" y="360"/>
                  </a:lnTo>
                  <a:lnTo>
                    <a:pt x="159" y="358"/>
                  </a:lnTo>
                  <a:lnTo>
                    <a:pt x="161" y="358"/>
                  </a:lnTo>
                  <a:lnTo>
                    <a:pt x="159" y="358"/>
                  </a:lnTo>
                  <a:lnTo>
                    <a:pt x="159" y="360"/>
                  </a:lnTo>
                  <a:close/>
                  <a:moveTo>
                    <a:pt x="266" y="291"/>
                  </a:moveTo>
                  <a:lnTo>
                    <a:pt x="266" y="293"/>
                  </a:lnTo>
                  <a:lnTo>
                    <a:pt x="266" y="291"/>
                  </a:lnTo>
                  <a:close/>
                  <a:moveTo>
                    <a:pt x="265" y="291"/>
                  </a:moveTo>
                  <a:lnTo>
                    <a:pt x="266" y="291"/>
                  </a:lnTo>
                  <a:lnTo>
                    <a:pt x="265" y="291"/>
                  </a:lnTo>
                  <a:close/>
                  <a:moveTo>
                    <a:pt x="81" y="291"/>
                  </a:moveTo>
                  <a:lnTo>
                    <a:pt x="83" y="291"/>
                  </a:lnTo>
                  <a:lnTo>
                    <a:pt x="81" y="291"/>
                  </a:lnTo>
                  <a:close/>
                  <a:moveTo>
                    <a:pt x="249" y="291"/>
                  </a:moveTo>
                  <a:lnTo>
                    <a:pt x="250" y="290"/>
                  </a:lnTo>
                  <a:lnTo>
                    <a:pt x="250" y="291"/>
                  </a:lnTo>
                  <a:lnTo>
                    <a:pt x="249" y="291"/>
                  </a:lnTo>
                  <a:close/>
                  <a:moveTo>
                    <a:pt x="265" y="290"/>
                  </a:moveTo>
                  <a:lnTo>
                    <a:pt x="265" y="291"/>
                  </a:lnTo>
                  <a:lnTo>
                    <a:pt x="265" y="290"/>
                  </a:lnTo>
                  <a:close/>
                  <a:moveTo>
                    <a:pt x="66" y="290"/>
                  </a:moveTo>
                  <a:lnTo>
                    <a:pt x="66" y="291"/>
                  </a:lnTo>
                  <a:lnTo>
                    <a:pt x="66" y="290"/>
                  </a:lnTo>
                  <a:close/>
                  <a:moveTo>
                    <a:pt x="83" y="290"/>
                  </a:moveTo>
                  <a:lnTo>
                    <a:pt x="83" y="291"/>
                  </a:lnTo>
                  <a:lnTo>
                    <a:pt x="83" y="290"/>
                  </a:lnTo>
                  <a:lnTo>
                    <a:pt x="83" y="291"/>
                  </a:lnTo>
                  <a:lnTo>
                    <a:pt x="81" y="291"/>
                  </a:lnTo>
                  <a:lnTo>
                    <a:pt x="81" y="290"/>
                  </a:lnTo>
                  <a:lnTo>
                    <a:pt x="83" y="290"/>
                  </a:lnTo>
                  <a:close/>
                  <a:moveTo>
                    <a:pt x="275" y="290"/>
                  </a:moveTo>
                  <a:lnTo>
                    <a:pt x="276" y="290"/>
                  </a:lnTo>
                  <a:lnTo>
                    <a:pt x="275" y="290"/>
                  </a:lnTo>
                  <a:close/>
                  <a:moveTo>
                    <a:pt x="83" y="290"/>
                  </a:moveTo>
                  <a:lnTo>
                    <a:pt x="83" y="288"/>
                  </a:lnTo>
                  <a:lnTo>
                    <a:pt x="83" y="290"/>
                  </a:lnTo>
                  <a:close/>
                  <a:moveTo>
                    <a:pt x="89" y="293"/>
                  </a:moveTo>
                  <a:lnTo>
                    <a:pt x="88" y="295"/>
                  </a:lnTo>
                  <a:lnTo>
                    <a:pt x="86" y="295"/>
                  </a:lnTo>
                  <a:lnTo>
                    <a:pt x="86" y="296"/>
                  </a:lnTo>
                  <a:lnTo>
                    <a:pt x="86" y="295"/>
                  </a:lnTo>
                  <a:lnTo>
                    <a:pt x="86" y="296"/>
                  </a:lnTo>
                  <a:lnTo>
                    <a:pt x="84" y="295"/>
                  </a:lnTo>
                  <a:lnTo>
                    <a:pt x="83" y="295"/>
                  </a:lnTo>
                  <a:lnTo>
                    <a:pt x="83" y="293"/>
                  </a:lnTo>
                  <a:lnTo>
                    <a:pt x="83" y="295"/>
                  </a:lnTo>
                  <a:lnTo>
                    <a:pt x="84" y="293"/>
                  </a:lnTo>
                  <a:lnTo>
                    <a:pt x="83" y="293"/>
                  </a:lnTo>
                  <a:lnTo>
                    <a:pt x="84" y="293"/>
                  </a:lnTo>
                  <a:lnTo>
                    <a:pt x="83" y="293"/>
                  </a:lnTo>
                  <a:lnTo>
                    <a:pt x="83" y="291"/>
                  </a:lnTo>
                  <a:lnTo>
                    <a:pt x="84" y="291"/>
                  </a:lnTo>
                  <a:lnTo>
                    <a:pt x="84" y="290"/>
                  </a:lnTo>
                  <a:lnTo>
                    <a:pt x="84" y="288"/>
                  </a:lnTo>
                  <a:lnTo>
                    <a:pt x="84" y="290"/>
                  </a:lnTo>
                  <a:lnTo>
                    <a:pt x="84" y="288"/>
                  </a:lnTo>
                  <a:lnTo>
                    <a:pt x="86" y="288"/>
                  </a:lnTo>
                  <a:lnTo>
                    <a:pt x="86" y="290"/>
                  </a:lnTo>
                  <a:lnTo>
                    <a:pt x="88" y="290"/>
                  </a:lnTo>
                  <a:lnTo>
                    <a:pt x="89" y="290"/>
                  </a:lnTo>
                  <a:lnTo>
                    <a:pt x="91" y="290"/>
                  </a:lnTo>
                  <a:lnTo>
                    <a:pt x="91" y="291"/>
                  </a:lnTo>
                  <a:lnTo>
                    <a:pt x="89" y="293"/>
                  </a:lnTo>
                  <a:close/>
                  <a:moveTo>
                    <a:pt x="265" y="288"/>
                  </a:moveTo>
                  <a:lnTo>
                    <a:pt x="265" y="290"/>
                  </a:lnTo>
                  <a:lnTo>
                    <a:pt x="265" y="288"/>
                  </a:lnTo>
                  <a:close/>
                  <a:moveTo>
                    <a:pt x="125" y="288"/>
                  </a:moveTo>
                  <a:lnTo>
                    <a:pt x="125" y="290"/>
                  </a:lnTo>
                  <a:lnTo>
                    <a:pt x="123" y="291"/>
                  </a:lnTo>
                  <a:lnTo>
                    <a:pt x="123" y="293"/>
                  </a:lnTo>
                  <a:lnTo>
                    <a:pt x="123" y="295"/>
                  </a:lnTo>
                  <a:lnTo>
                    <a:pt x="122" y="295"/>
                  </a:lnTo>
                  <a:lnTo>
                    <a:pt x="122" y="296"/>
                  </a:lnTo>
                  <a:lnTo>
                    <a:pt x="120" y="296"/>
                  </a:lnTo>
                  <a:lnTo>
                    <a:pt x="120" y="298"/>
                  </a:lnTo>
                  <a:lnTo>
                    <a:pt x="118" y="301"/>
                  </a:lnTo>
                  <a:lnTo>
                    <a:pt x="118" y="303"/>
                  </a:lnTo>
                  <a:lnTo>
                    <a:pt x="120" y="303"/>
                  </a:lnTo>
                  <a:lnTo>
                    <a:pt x="118" y="304"/>
                  </a:lnTo>
                  <a:lnTo>
                    <a:pt x="118" y="306"/>
                  </a:lnTo>
                  <a:lnTo>
                    <a:pt x="120" y="309"/>
                  </a:lnTo>
                  <a:lnTo>
                    <a:pt x="120" y="311"/>
                  </a:lnTo>
                  <a:lnTo>
                    <a:pt x="120" y="312"/>
                  </a:lnTo>
                  <a:lnTo>
                    <a:pt x="118" y="312"/>
                  </a:lnTo>
                  <a:lnTo>
                    <a:pt x="118" y="311"/>
                  </a:lnTo>
                  <a:lnTo>
                    <a:pt x="117" y="311"/>
                  </a:lnTo>
                  <a:lnTo>
                    <a:pt x="115" y="309"/>
                  </a:lnTo>
                  <a:lnTo>
                    <a:pt x="115" y="308"/>
                  </a:lnTo>
                  <a:lnTo>
                    <a:pt x="114" y="308"/>
                  </a:lnTo>
                  <a:lnTo>
                    <a:pt x="114" y="306"/>
                  </a:lnTo>
                  <a:lnTo>
                    <a:pt x="114" y="304"/>
                  </a:lnTo>
                  <a:lnTo>
                    <a:pt x="115" y="304"/>
                  </a:lnTo>
                  <a:lnTo>
                    <a:pt x="115" y="303"/>
                  </a:lnTo>
                  <a:lnTo>
                    <a:pt x="115" y="299"/>
                  </a:lnTo>
                  <a:lnTo>
                    <a:pt x="117" y="298"/>
                  </a:lnTo>
                  <a:lnTo>
                    <a:pt x="117" y="296"/>
                  </a:lnTo>
                  <a:lnTo>
                    <a:pt x="118" y="295"/>
                  </a:lnTo>
                  <a:lnTo>
                    <a:pt x="118" y="293"/>
                  </a:lnTo>
                  <a:lnTo>
                    <a:pt x="117" y="293"/>
                  </a:lnTo>
                  <a:lnTo>
                    <a:pt x="117" y="291"/>
                  </a:lnTo>
                  <a:lnTo>
                    <a:pt x="120" y="290"/>
                  </a:lnTo>
                  <a:lnTo>
                    <a:pt x="118" y="290"/>
                  </a:lnTo>
                  <a:lnTo>
                    <a:pt x="120" y="288"/>
                  </a:lnTo>
                  <a:lnTo>
                    <a:pt x="122" y="288"/>
                  </a:lnTo>
                  <a:lnTo>
                    <a:pt x="123" y="288"/>
                  </a:lnTo>
                  <a:lnTo>
                    <a:pt x="125" y="288"/>
                  </a:lnTo>
                  <a:close/>
                  <a:moveTo>
                    <a:pt x="83" y="290"/>
                  </a:moveTo>
                  <a:lnTo>
                    <a:pt x="83" y="288"/>
                  </a:lnTo>
                  <a:lnTo>
                    <a:pt x="84" y="288"/>
                  </a:lnTo>
                  <a:lnTo>
                    <a:pt x="84" y="290"/>
                  </a:lnTo>
                  <a:lnTo>
                    <a:pt x="83" y="290"/>
                  </a:lnTo>
                  <a:close/>
                  <a:moveTo>
                    <a:pt x="263" y="286"/>
                  </a:moveTo>
                  <a:lnTo>
                    <a:pt x="263" y="288"/>
                  </a:lnTo>
                  <a:lnTo>
                    <a:pt x="263" y="286"/>
                  </a:lnTo>
                  <a:close/>
                  <a:moveTo>
                    <a:pt x="81" y="286"/>
                  </a:moveTo>
                  <a:lnTo>
                    <a:pt x="81" y="288"/>
                  </a:lnTo>
                  <a:lnTo>
                    <a:pt x="81" y="286"/>
                  </a:lnTo>
                  <a:close/>
                  <a:moveTo>
                    <a:pt x="58" y="285"/>
                  </a:moveTo>
                  <a:lnTo>
                    <a:pt x="58" y="283"/>
                  </a:lnTo>
                  <a:lnTo>
                    <a:pt x="58" y="285"/>
                  </a:lnTo>
                  <a:close/>
                  <a:moveTo>
                    <a:pt x="65" y="283"/>
                  </a:moveTo>
                  <a:lnTo>
                    <a:pt x="65" y="285"/>
                  </a:lnTo>
                  <a:lnTo>
                    <a:pt x="65" y="283"/>
                  </a:lnTo>
                  <a:close/>
                  <a:moveTo>
                    <a:pt x="283" y="283"/>
                  </a:moveTo>
                  <a:lnTo>
                    <a:pt x="284" y="283"/>
                  </a:lnTo>
                  <a:lnTo>
                    <a:pt x="283" y="283"/>
                  </a:lnTo>
                  <a:close/>
                  <a:moveTo>
                    <a:pt x="188" y="283"/>
                  </a:moveTo>
                  <a:lnTo>
                    <a:pt x="188" y="282"/>
                  </a:lnTo>
                  <a:lnTo>
                    <a:pt x="190" y="283"/>
                  </a:lnTo>
                  <a:lnTo>
                    <a:pt x="188" y="283"/>
                  </a:lnTo>
                  <a:close/>
                  <a:moveTo>
                    <a:pt x="57" y="282"/>
                  </a:moveTo>
                  <a:lnTo>
                    <a:pt x="57" y="283"/>
                  </a:lnTo>
                  <a:lnTo>
                    <a:pt x="57" y="282"/>
                  </a:lnTo>
                  <a:close/>
                  <a:moveTo>
                    <a:pt x="57" y="282"/>
                  </a:moveTo>
                  <a:lnTo>
                    <a:pt x="57" y="283"/>
                  </a:lnTo>
                  <a:lnTo>
                    <a:pt x="57" y="282"/>
                  </a:lnTo>
                  <a:close/>
                  <a:moveTo>
                    <a:pt x="58" y="282"/>
                  </a:moveTo>
                  <a:lnTo>
                    <a:pt x="60" y="282"/>
                  </a:lnTo>
                  <a:lnTo>
                    <a:pt x="58" y="282"/>
                  </a:lnTo>
                  <a:close/>
                  <a:moveTo>
                    <a:pt x="276" y="282"/>
                  </a:moveTo>
                  <a:lnTo>
                    <a:pt x="275" y="282"/>
                  </a:lnTo>
                  <a:lnTo>
                    <a:pt x="276" y="282"/>
                  </a:lnTo>
                  <a:close/>
                  <a:moveTo>
                    <a:pt x="55" y="282"/>
                  </a:moveTo>
                  <a:lnTo>
                    <a:pt x="53" y="282"/>
                  </a:lnTo>
                  <a:lnTo>
                    <a:pt x="55" y="282"/>
                  </a:lnTo>
                  <a:close/>
                  <a:moveTo>
                    <a:pt x="58" y="282"/>
                  </a:moveTo>
                  <a:lnTo>
                    <a:pt x="58" y="280"/>
                  </a:lnTo>
                  <a:lnTo>
                    <a:pt x="58" y="282"/>
                  </a:lnTo>
                  <a:close/>
                  <a:moveTo>
                    <a:pt x="63" y="280"/>
                  </a:moveTo>
                  <a:lnTo>
                    <a:pt x="65" y="280"/>
                  </a:lnTo>
                  <a:lnTo>
                    <a:pt x="65" y="282"/>
                  </a:lnTo>
                  <a:lnTo>
                    <a:pt x="63" y="280"/>
                  </a:lnTo>
                  <a:close/>
                  <a:moveTo>
                    <a:pt x="283" y="282"/>
                  </a:moveTo>
                  <a:lnTo>
                    <a:pt x="283" y="280"/>
                  </a:lnTo>
                  <a:lnTo>
                    <a:pt x="283" y="282"/>
                  </a:lnTo>
                  <a:close/>
                  <a:moveTo>
                    <a:pt x="86" y="282"/>
                  </a:moveTo>
                  <a:lnTo>
                    <a:pt x="86" y="280"/>
                  </a:lnTo>
                  <a:lnTo>
                    <a:pt x="86" y="282"/>
                  </a:lnTo>
                  <a:close/>
                  <a:moveTo>
                    <a:pt x="81" y="280"/>
                  </a:moveTo>
                  <a:lnTo>
                    <a:pt x="81" y="282"/>
                  </a:lnTo>
                  <a:lnTo>
                    <a:pt x="81" y="280"/>
                  </a:lnTo>
                  <a:close/>
                  <a:moveTo>
                    <a:pt x="61" y="280"/>
                  </a:moveTo>
                  <a:lnTo>
                    <a:pt x="61" y="282"/>
                  </a:lnTo>
                  <a:lnTo>
                    <a:pt x="61" y="280"/>
                  </a:lnTo>
                  <a:close/>
                  <a:moveTo>
                    <a:pt x="81" y="280"/>
                  </a:moveTo>
                  <a:lnTo>
                    <a:pt x="83" y="280"/>
                  </a:lnTo>
                  <a:lnTo>
                    <a:pt x="83" y="282"/>
                  </a:lnTo>
                  <a:lnTo>
                    <a:pt x="83" y="280"/>
                  </a:lnTo>
                  <a:lnTo>
                    <a:pt x="81" y="280"/>
                  </a:lnTo>
                  <a:close/>
                  <a:moveTo>
                    <a:pt x="91" y="301"/>
                  </a:moveTo>
                  <a:lnTo>
                    <a:pt x="91" y="299"/>
                  </a:lnTo>
                  <a:lnTo>
                    <a:pt x="91" y="298"/>
                  </a:lnTo>
                  <a:lnTo>
                    <a:pt x="92" y="298"/>
                  </a:lnTo>
                  <a:lnTo>
                    <a:pt x="94" y="298"/>
                  </a:lnTo>
                  <a:lnTo>
                    <a:pt x="92" y="298"/>
                  </a:lnTo>
                  <a:lnTo>
                    <a:pt x="94" y="296"/>
                  </a:lnTo>
                  <a:lnTo>
                    <a:pt x="96" y="296"/>
                  </a:lnTo>
                  <a:lnTo>
                    <a:pt x="96" y="295"/>
                  </a:lnTo>
                  <a:lnTo>
                    <a:pt x="96" y="296"/>
                  </a:lnTo>
                  <a:lnTo>
                    <a:pt x="97" y="296"/>
                  </a:lnTo>
                  <a:lnTo>
                    <a:pt x="97" y="295"/>
                  </a:lnTo>
                  <a:lnTo>
                    <a:pt x="96" y="295"/>
                  </a:lnTo>
                  <a:lnTo>
                    <a:pt x="97" y="295"/>
                  </a:lnTo>
                  <a:lnTo>
                    <a:pt x="99" y="293"/>
                  </a:lnTo>
                  <a:lnTo>
                    <a:pt x="101" y="293"/>
                  </a:lnTo>
                  <a:lnTo>
                    <a:pt x="101" y="291"/>
                  </a:lnTo>
                  <a:lnTo>
                    <a:pt x="102" y="291"/>
                  </a:lnTo>
                  <a:lnTo>
                    <a:pt x="104" y="291"/>
                  </a:lnTo>
                  <a:lnTo>
                    <a:pt x="104" y="290"/>
                  </a:lnTo>
                  <a:lnTo>
                    <a:pt x="105" y="290"/>
                  </a:lnTo>
                  <a:lnTo>
                    <a:pt x="107" y="290"/>
                  </a:lnTo>
                  <a:lnTo>
                    <a:pt x="109" y="288"/>
                  </a:lnTo>
                  <a:lnTo>
                    <a:pt x="107" y="288"/>
                  </a:lnTo>
                  <a:lnTo>
                    <a:pt x="105" y="290"/>
                  </a:lnTo>
                  <a:lnTo>
                    <a:pt x="104" y="290"/>
                  </a:lnTo>
                  <a:lnTo>
                    <a:pt x="105" y="290"/>
                  </a:lnTo>
                  <a:lnTo>
                    <a:pt x="105" y="288"/>
                  </a:lnTo>
                  <a:lnTo>
                    <a:pt x="104" y="290"/>
                  </a:lnTo>
                  <a:lnTo>
                    <a:pt x="102" y="290"/>
                  </a:lnTo>
                  <a:lnTo>
                    <a:pt x="101" y="291"/>
                  </a:lnTo>
                  <a:lnTo>
                    <a:pt x="99" y="291"/>
                  </a:lnTo>
                  <a:lnTo>
                    <a:pt x="99" y="293"/>
                  </a:lnTo>
                  <a:lnTo>
                    <a:pt x="97" y="293"/>
                  </a:lnTo>
                  <a:lnTo>
                    <a:pt x="96" y="293"/>
                  </a:lnTo>
                  <a:lnTo>
                    <a:pt x="96" y="295"/>
                  </a:lnTo>
                  <a:lnTo>
                    <a:pt x="94" y="295"/>
                  </a:lnTo>
                  <a:lnTo>
                    <a:pt x="94" y="293"/>
                  </a:lnTo>
                  <a:lnTo>
                    <a:pt x="92" y="293"/>
                  </a:lnTo>
                  <a:lnTo>
                    <a:pt x="92" y="291"/>
                  </a:lnTo>
                  <a:lnTo>
                    <a:pt x="94" y="290"/>
                  </a:lnTo>
                  <a:lnTo>
                    <a:pt x="94" y="288"/>
                  </a:lnTo>
                  <a:lnTo>
                    <a:pt x="96" y="288"/>
                  </a:lnTo>
                  <a:lnTo>
                    <a:pt x="97" y="288"/>
                  </a:lnTo>
                  <a:lnTo>
                    <a:pt x="99" y="286"/>
                  </a:lnTo>
                  <a:lnTo>
                    <a:pt x="101" y="286"/>
                  </a:lnTo>
                  <a:lnTo>
                    <a:pt x="102" y="286"/>
                  </a:lnTo>
                  <a:lnTo>
                    <a:pt x="104" y="285"/>
                  </a:lnTo>
                  <a:lnTo>
                    <a:pt x="105" y="283"/>
                  </a:lnTo>
                  <a:lnTo>
                    <a:pt x="104" y="283"/>
                  </a:lnTo>
                  <a:lnTo>
                    <a:pt x="105" y="282"/>
                  </a:lnTo>
                  <a:lnTo>
                    <a:pt x="107" y="282"/>
                  </a:lnTo>
                  <a:lnTo>
                    <a:pt x="109" y="282"/>
                  </a:lnTo>
                  <a:lnTo>
                    <a:pt x="109" y="280"/>
                  </a:lnTo>
                  <a:lnTo>
                    <a:pt x="112" y="280"/>
                  </a:lnTo>
                  <a:lnTo>
                    <a:pt x="114" y="282"/>
                  </a:lnTo>
                  <a:lnTo>
                    <a:pt x="114" y="283"/>
                  </a:lnTo>
                  <a:lnTo>
                    <a:pt x="114" y="285"/>
                  </a:lnTo>
                  <a:lnTo>
                    <a:pt x="115" y="286"/>
                  </a:lnTo>
                  <a:lnTo>
                    <a:pt x="115" y="288"/>
                  </a:lnTo>
                  <a:lnTo>
                    <a:pt x="115" y="290"/>
                  </a:lnTo>
                  <a:lnTo>
                    <a:pt x="117" y="290"/>
                  </a:lnTo>
                  <a:lnTo>
                    <a:pt x="115" y="290"/>
                  </a:lnTo>
                  <a:lnTo>
                    <a:pt x="115" y="291"/>
                  </a:lnTo>
                  <a:lnTo>
                    <a:pt x="115" y="293"/>
                  </a:lnTo>
                  <a:lnTo>
                    <a:pt x="115" y="295"/>
                  </a:lnTo>
                  <a:lnTo>
                    <a:pt x="114" y="295"/>
                  </a:lnTo>
                  <a:lnTo>
                    <a:pt x="114" y="296"/>
                  </a:lnTo>
                  <a:lnTo>
                    <a:pt x="114" y="295"/>
                  </a:lnTo>
                  <a:lnTo>
                    <a:pt x="114" y="296"/>
                  </a:lnTo>
                  <a:lnTo>
                    <a:pt x="112" y="296"/>
                  </a:lnTo>
                  <a:lnTo>
                    <a:pt x="112" y="298"/>
                  </a:lnTo>
                  <a:lnTo>
                    <a:pt x="112" y="299"/>
                  </a:lnTo>
                  <a:lnTo>
                    <a:pt x="112" y="298"/>
                  </a:lnTo>
                  <a:lnTo>
                    <a:pt x="112" y="301"/>
                  </a:lnTo>
                  <a:lnTo>
                    <a:pt x="112" y="303"/>
                  </a:lnTo>
                  <a:lnTo>
                    <a:pt x="110" y="303"/>
                  </a:lnTo>
                  <a:lnTo>
                    <a:pt x="112" y="303"/>
                  </a:lnTo>
                  <a:lnTo>
                    <a:pt x="110" y="301"/>
                  </a:lnTo>
                  <a:lnTo>
                    <a:pt x="110" y="303"/>
                  </a:lnTo>
                  <a:lnTo>
                    <a:pt x="109" y="303"/>
                  </a:lnTo>
                  <a:lnTo>
                    <a:pt x="107" y="303"/>
                  </a:lnTo>
                  <a:lnTo>
                    <a:pt x="105" y="303"/>
                  </a:lnTo>
                  <a:lnTo>
                    <a:pt x="105" y="301"/>
                  </a:lnTo>
                  <a:lnTo>
                    <a:pt x="104" y="301"/>
                  </a:lnTo>
                  <a:lnTo>
                    <a:pt x="102" y="303"/>
                  </a:lnTo>
                  <a:lnTo>
                    <a:pt x="101" y="303"/>
                  </a:lnTo>
                  <a:lnTo>
                    <a:pt x="97" y="304"/>
                  </a:lnTo>
                  <a:lnTo>
                    <a:pt x="97" y="303"/>
                  </a:lnTo>
                  <a:lnTo>
                    <a:pt x="99" y="301"/>
                  </a:lnTo>
                  <a:lnTo>
                    <a:pt x="97" y="301"/>
                  </a:lnTo>
                  <a:lnTo>
                    <a:pt x="99" y="301"/>
                  </a:lnTo>
                  <a:lnTo>
                    <a:pt x="97" y="301"/>
                  </a:lnTo>
                  <a:lnTo>
                    <a:pt x="99" y="299"/>
                  </a:lnTo>
                  <a:lnTo>
                    <a:pt x="97" y="299"/>
                  </a:lnTo>
                  <a:lnTo>
                    <a:pt x="99" y="299"/>
                  </a:lnTo>
                  <a:lnTo>
                    <a:pt x="99" y="298"/>
                  </a:lnTo>
                  <a:lnTo>
                    <a:pt x="101" y="298"/>
                  </a:lnTo>
                  <a:lnTo>
                    <a:pt x="99" y="298"/>
                  </a:lnTo>
                  <a:lnTo>
                    <a:pt x="101" y="298"/>
                  </a:lnTo>
                  <a:lnTo>
                    <a:pt x="102" y="298"/>
                  </a:lnTo>
                  <a:lnTo>
                    <a:pt x="104" y="298"/>
                  </a:lnTo>
                  <a:lnTo>
                    <a:pt x="105" y="296"/>
                  </a:lnTo>
                  <a:lnTo>
                    <a:pt x="104" y="296"/>
                  </a:lnTo>
                  <a:lnTo>
                    <a:pt x="102" y="296"/>
                  </a:lnTo>
                  <a:lnTo>
                    <a:pt x="101" y="296"/>
                  </a:lnTo>
                  <a:lnTo>
                    <a:pt x="99" y="296"/>
                  </a:lnTo>
                  <a:lnTo>
                    <a:pt x="99" y="298"/>
                  </a:lnTo>
                  <a:lnTo>
                    <a:pt x="99" y="296"/>
                  </a:lnTo>
                  <a:lnTo>
                    <a:pt x="99" y="298"/>
                  </a:lnTo>
                  <a:lnTo>
                    <a:pt x="97" y="298"/>
                  </a:lnTo>
                  <a:lnTo>
                    <a:pt x="99" y="299"/>
                  </a:lnTo>
                  <a:lnTo>
                    <a:pt x="97" y="299"/>
                  </a:lnTo>
                  <a:lnTo>
                    <a:pt x="97" y="301"/>
                  </a:lnTo>
                  <a:lnTo>
                    <a:pt x="97" y="303"/>
                  </a:lnTo>
                  <a:lnTo>
                    <a:pt x="96" y="303"/>
                  </a:lnTo>
                  <a:lnTo>
                    <a:pt x="94" y="303"/>
                  </a:lnTo>
                  <a:lnTo>
                    <a:pt x="96" y="303"/>
                  </a:lnTo>
                  <a:lnTo>
                    <a:pt x="94" y="301"/>
                  </a:lnTo>
                  <a:lnTo>
                    <a:pt x="92" y="301"/>
                  </a:lnTo>
                  <a:lnTo>
                    <a:pt x="92" y="303"/>
                  </a:lnTo>
                  <a:lnTo>
                    <a:pt x="91" y="303"/>
                  </a:lnTo>
                  <a:lnTo>
                    <a:pt x="91" y="301"/>
                  </a:lnTo>
                  <a:close/>
                  <a:moveTo>
                    <a:pt x="83" y="280"/>
                  </a:moveTo>
                  <a:lnTo>
                    <a:pt x="84" y="280"/>
                  </a:lnTo>
                  <a:lnTo>
                    <a:pt x="83" y="280"/>
                  </a:lnTo>
                  <a:close/>
                  <a:moveTo>
                    <a:pt x="60" y="278"/>
                  </a:moveTo>
                  <a:lnTo>
                    <a:pt x="61" y="280"/>
                  </a:lnTo>
                  <a:lnTo>
                    <a:pt x="60" y="280"/>
                  </a:lnTo>
                  <a:lnTo>
                    <a:pt x="60" y="278"/>
                  </a:lnTo>
                  <a:close/>
                  <a:moveTo>
                    <a:pt x="63" y="278"/>
                  </a:moveTo>
                  <a:lnTo>
                    <a:pt x="63" y="280"/>
                  </a:lnTo>
                  <a:lnTo>
                    <a:pt x="63" y="278"/>
                  </a:lnTo>
                  <a:close/>
                  <a:moveTo>
                    <a:pt x="61" y="278"/>
                  </a:moveTo>
                  <a:lnTo>
                    <a:pt x="60" y="278"/>
                  </a:lnTo>
                  <a:lnTo>
                    <a:pt x="61" y="278"/>
                  </a:lnTo>
                  <a:close/>
                  <a:moveTo>
                    <a:pt x="58" y="278"/>
                  </a:moveTo>
                  <a:lnTo>
                    <a:pt x="60" y="278"/>
                  </a:lnTo>
                  <a:lnTo>
                    <a:pt x="58" y="278"/>
                  </a:lnTo>
                  <a:close/>
                  <a:moveTo>
                    <a:pt x="58" y="277"/>
                  </a:moveTo>
                  <a:lnTo>
                    <a:pt x="58" y="278"/>
                  </a:lnTo>
                  <a:lnTo>
                    <a:pt x="58" y="277"/>
                  </a:lnTo>
                  <a:close/>
                  <a:moveTo>
                    <a:pt x="288" y="277"/>
                  </a:moveTo>
                  <a:lnTo>
                    <a:pt x="288" y="278"/>
                  </a:lnTo>
                  <a:lnTo>
                    <a:pt x="288" y="277"/>
                  </a:lnTo>
                  <a:close/>
                  <a:moveTo>
                    <a:pt x="60" y="278"/>
                  </a:moveTo>
                  <a:lnTo>
                    <a:pt x="61" y="277"/>
                  </a:lnTo>
                  <a:lnTo>
                    <a:pt x="61" y="278"/>
                  </a:lnTo>
                  <a:lnTo>
                    <a:pt x="60" y="278"/>
                  </a:lnTo>
                  <a:close/>
                  <a:moveTo>
                    <a:pt x="61" y="278"/>
                  </a:moveTo>
                  <a:lnTo>
                    <a:pt x="61" y="277"/>
                  </a:lnTo>
                  <a:lnTo>
                    <a:pt x="61" y="278"/>
                  </a:lnTo>
                  <a:close/>
                  <a:moveTo>
                    <a:pt x="60" y="277"/>
                  </a:moveTo>
                  <a:lnTo>
                    <a:pt x="60" y="278"/>
                  </a:lnTo>
                  <a:lnTo>
                    <a:pt x="58" y="277"/>
                  </a:lnTo>
                  <a:lnTo>
                    <a:pt x="60" y="277"/>
                  </a:lnTo>
                  <a:close/>
                  <a:moveTo>
                    <a:pt x="60" y="277"/>
                  </a:moveTo>
                  <a:lnTo>
                    <a:pt x="61" y="277"/>
                  </a:lnTo>
                  <a:lnTo>
                    <a:pt x="60" y="277"/>
                  </a:lnTo>
                  <a:close/>
                  <a:moveTo>
                    <a:pt x="68" y="277"/>
                  </a:moveTo>
                  <a:lnTo>
                    <a:pt x="68" y="275"/>
                  </a:lnTo>
                  <a:lnTo>
                    <a:pt x="68" y="277"/>
                  </a:lnTo>
                  <a:close/>
                  <a:moveTo>
                    <a:pt x="271" y="283"/>
                  </a:moveTo>
                  <a:lnTo>
                    <a:pt x="271" y="285"/>
                  </a:lnTo>
                  <a:lnTo>
                    <a:pt x="273" y="285"/>
                  </a:lnTo>
                  <a:lnTo>
                    <a:pt x="275" y="285"/>
                  </a:lnTo>
                  <a:lnTo>
                    <a:pt x="275" y="286"/>
                  </a:lnTo>
                  <a:lnTo>
                    <a:pt x="273" y="286"/>
                  </a:lnTo>
                  <a:lnTo>
                    <a:pt x="271" y="285"/>
                  </a:lnTo>
                  <a:lnTo>
                    <a:pt x="273" y="286"/>
                  </a:lnTo>
                  <a:lnTo>
                    <a:pt x="273" y="288"/>
                  </a:lnTo>
                  <a:lnTo>
                    <a:pt x="275" y="288"/>
                  </a:lnTo>
                  <a:lnTo>
                    <a:pt x="275" y="290"/>
                  </a:lnTo>
                  <a:lnTo>
                    <a:pt x="276" y="290"/>
                  </a:lnTo>
                  <a:lnTo>
                    <a:pt x="275" y="290"/>
                  </a:lnTo>
                  <a:lnTo>
                    <a:pt x="275" y="291"/>
                  </a:lnTo>
                  <a:lnTo>
                    <a:pt x="273" y="291"/>
                  </a:lnTo>
                  <a:lnTo>
                    <a:pt x="273" y="290"/>
                  </a:lnTo>
                  <a:lnTo>
                    <a:pt x="271" y="290"/>
                  </a:lnTo>
                  <a:lnTo>
                    <a:pt x="271" y="288"/>
                  </a:lnTo>
                  <a:lnTo>
                    <a:pt x="270" y="288"/>
                  </a:lnTo>
                  <a:lnTo>
                    <a:pt x="270" y="290"/>
                  </a:lnTo>
                  <a:lnTo>
                    <a:pt x="270" y="288"/>
                  </a:lnTo>
                  <a:lnTo>
                    <a:pt x="268" y="288"/>
                  </a:lnTo>
                  <a:lnTo>
                    <a:pt x="266" y="288"/>
                  </a:lnTo>
                  <a:lnTo>
                    <a:pt x="265" y="290"/>
                  </a:lnTo>
                  <a:lnTo>
                    <a:pt x="265" y="288"/>
                  </a:lnTo>
                  <a:lnTo>
                    <a:pt x="263" y="286"/>
                  </a:lnTo>
                  <a:lnTo>
                    <a:pt x="263" y="285"/>
                  </a:lnTo>
                  <a:lnTo>
                    <a:pt x="262" y="285"/>
                  </a:lnTo>
                  <a:lnTo>
                    <a:pt x="262" y="283"/>
                  </a:lnTo>
                  <a:lnTo>
                    <a:pt x="262" y="282"/>
                  </a:lnTo>
                  <a:lnTo>
                    <a:pt x="260" y="282"/>
                  </a:lnTo>
                  <a:lnTo>
                    <a:pt x="260" y="280"/>
                  </a:lnTo>
                  <a:lnTo>
                    <a:pt x="260" y="278"/>
                  </a:lnTo>
                  <a:lnTo>
                    <a:pt x="258" y="278"/>
                  </a:lnTo>
                  <a:lnTo>
                    <a:pt x="257" y="277"/>
                  </a:lnTo>
                  <a:lnTo>
                    <a:pt x="257" y="275"/>
                  </a:lnTo>
                  <a:lnTo>
                    <a:pt x="258" y="275"/>
                  </a:lnTo>
                  <a:lnTo>
                    <a:pt x="260" y="277"/>
                  </a:lnTo>
                  <a:lnTo>
                    <a:pt x="262" y="277"/>
                  </a:lnTo>
                  <a:lnTo>
                    <a:pt x="263" y="277"/>
                  </a:lnTo>
                  <a:lnTo>
                    <a:pt x="263" y="278"/>
                  </a:lnTo>
                  <a:lnTo>
                    <a:pt x="265" y="278"/>
                  </a:lnTo>
                  <a:lnTo>
                    <a:pt x="265" y="277"/>
                  </a:lnTo>
                  <a:lnTo>
                    <a:pt x="266" y="277"/>
                  </a:lnTo>
                  <a:lnTo>
                    <a:pt x="266" y="278"/>
                  </a:lnTo>
                  <a:lnTo>
                    <a:pt x="266" y="280"/>
                  </a:lnTo>
                  <a:lnTo>
                    <a:pt x="268" y="280"/>
                  </a:lnTo>
                  <a:lnTo>
                    <a:pt x="268" y="282"/>
                  </a:lnTo>
                  <a:lnTo>
                    <a:pt x="270" y="282"/>
                  </a:lnTo>
                  <a:lnTo>
                    <a:pt x="271" y="282"/>
                  </a:lnTo>
                  <a:lnTo>
                    <a:pt x="271" y="283"/>
                  </a:lnTo>
                  <a:close/>
                  <a:moveTo>
                    <a:pt x="76" y="272"/>
                  </a:moveTo>
                  <a:lnTo>
                    <a:pt x="76" y="273"/>
                  </a:lnTo>
                  <a:lnTo>
                    <a:pt x="76" y="272"/>
                  </a:lnTo>
                  <a:close/>
                  <a:moveTo>
                    <a:pt x="58" y="272"/>
                  </a:moveTo>
                  <a:lnTo>
                    <a:pt x="60" y="272"/>
                  </a:lnTo>
                  <a:lnTo>
                    <a:pt x="60" y="273"/>
                  </a:lnTo>
                  <a:lnTo>
                    <a:pt x="58" y="273"/>
                  </a:lnTo>
                  <a:lnTo>
                    <a:pt x="58" y="272"/>
                  </a:lnTo>
                  <a:close/>
                  <a:moveTo>
                    <a:pt x="76" y="273"/>
                  </a:moveTo>
                  <a:lnTo>
                    <a:pt x="75" y="272"/>
                  </a:lnTo>
                  <a:lnTo>
                    <a:pt x="76" y="272"/>
                  </a:lnTo>
                  <a:lnTo>
                    <a:pt x="76" y="273"/>
                  </a:lnTo>
                  <a:close/>
                  <a:moveTo>
                    <a:pt x="79" y="272"/>
                  </a:moveTo>
                  <a:lnTo>
                    <a:pt x="79" y="273"/>
                  </a:lnTo>
                  <a:lnTo>
                    <a:pt x="79" y="272"/>
                  </a:lnTo>
                  <a:close/>
                  <a:moveTo>
                    <a:pt x="279" y="272"/>
                  </a:moveTo>
                  <a:lnTo>
                    <a:pt x="279" y="273"/>
                  </a:lnTo>
                  <a:lnTo>
                    <a:pt x="279" y="272"/>
                  </a:lnTo>
                  <a:close/>
                  <a:moveTo>
                    <a:pt x="76" y="272"/>
                  </a:moveTo>
                  <a:lnTo>
                    <a:pt x="78" y="272"/>
                  </a:lnTo>
                  <a:lnTo>
                    <a:pt x="76" y="273"/>
                  </a:lnTo>
                  <a:lnTo>
                    <a:pt x="76" y="272"/>
                  </a:lnTo>
                  <a:close/>
                  <a:moveTo>
                    <a:pt x="78" y="272"/>
                  </a:moveTo>
                  <a:lnTo>
                    <a:pt x="78" y="270"/>
                  </a:lnTo>
                  <a:lnTo>
                    <a:pt x="78" y="272"/>
                  </a:lnTo>
                  <a:close/>
                  <a:moveTo>
                    <a:pt x="78" y="273"/>
                  </a:moveTo>
                  <a:lnTo>
                    <a:pt x="78" y="275"/>
                  </a:lnTo>
                  <a:lnTo>
                    <a:pt x="78" y="273"/>
                  </a:lnTo>
                  <a:lnTo>
                    <a:pt x="78" y="275"/>
                  </a:lnTo>
                  <a:lnTo>
                    <a:pt x="78" y="273"/>
                  </a:lnTo>
                  <a:lnTo>
                    <a:pt x="78" y="275"/>
                  </a:lnTo>
                  <a:lnTo>
                    <a:pt x="78" y="273"/>
                  </a:lnTo>
                  <a:lnTo>
                    <a:pt x="78" y="272"/>
                  </a:lnTo>
                  <a:lnTo>
                    <a:pt x="78" y="270"/>
                  </a:lnTo>
                  <a:lnTo>
                    <a:pt x="78" y="272"/>
                  </a:lnTo>
                  <a:lnTo>
                    <a:pt x="78" y="273"/>
                  </a:lnTo>
                  <a:close/>
                  <a:moveTo>
                    <a:pt x="55" y="270"/>
                  </a:moveTo>
                  <a:lnTo>
                    <a:pt x="57" y="270"/>
                  </a:lnTo>
                  <a:lnTo>
                    <a:pt x="55" y="272"/>
                  </a:lnTo>
                  <a:lnTo>
                    <a:pt x="55" y="270"/>
                  </a:lnTo>
                  <a:close/>
                  <a:moveTo>
                    <a:pt x="63" y="270"/>
                  </a:moveTo>
                  <a:lnTo>
                    <a:pt x="65" y="270"/>
                  </a:lnTo>
                  <a:lnTo>
                    <a:pt x="63" y="272"/>
                  </a:lnTo>
                  <a:lnTo>
                    <a:pt x="63" y="270"/>
                  </a:lnTo>
                  <a:close/>
                  <a:moveTo>
                    <a:pt x="63" y="270"/>
                  </a:moveTo>
                  <a:lnTo>
                    <a:pt x="63" y="272"/>
                  </a:lnTo>
                  <a:lnTo>
                    <a:pt x="63" y="270"/>
                  </a:lnTo>
                  <a:close/>
                  <a:moveTo>
                    <a:pt x="58" y="272"/>
                  </a:moveTo>
                  <a:lnTo>
                    <a:pt x="57" y="272"/>
                  </a:lnTo>
                  <a:lnTo>
                    <a:pt x="57" y="270"/>
                  </a:lnTo>
                  <a:lnTo>
                    <a:pt x="58" y="270"/>
                  </a:lnTo>
                  <a:lnTo>
                    <a:pt x="58" y="272"/>
                  </a:lnTo>
                  <a:close/>
                  <a:moveTo>
                    <a:pt x="60" y="272"/>
                  </a:moveTo>
                  <a:lnTo>
                    <a:pt x="58" y="272"/>
                  </a:lnTo>
                  <a:lnTo>
                    <a:pt x="58" y="270"/>
                  </a:lnTo>
                  <a:lnTo>
                    <a:pt x="60" y="270"/>
                  </a:lnTo>
                  <a:lnTo>
                    <a:pt x="60" y="272"/>
                  </a:lnTo>
                  <a:close/>
                  <a:moveTo>
                    <a:pt x="57" y="270"/>
                  </a:moveTo>
                  <a:lnTo>
                    <a:pt x="57" y="272"/>
                  </a:lnTo>
                  <a:lnTo>
                    <a:pt x="57" y="270"/>
                  </a:lnTo>
                  <a:close/>
                  <a:moveTo>
                    <a:pt x="76" y="270"/>
                  </a:moveTo>
                  <a:lnTo>
                    <a:pt x="76" y="272"/>
                  </a:lnTo>
                  <a:lnTo>
                    <a:pt x="76" y="270"/>
                  </a:lnTo>
                  <a:close/>
                  <a:moveTo>
                    <a:pt x="55" y="270"/>
                  </a:moveTo>
                  <a:lnTo>
                    <a:pt x="57" y="270"/>
                  </a:lnTo>
                  <a:lnTo>
                    <a:pt x="55" y="270"/>
                  </a:lnTo>
                  <a:close/>
                  <a:moveTo>
                    <a:pt x="78" y="270"/>
                  </a:moveTo>
                  <a:lnTo>
                    <a:pt x="76" y="270"/>
                  </a:lnTo>
                  <a:lnTo>
                    <a:pt x="78" y="270"/>
                  </a:lnTo>
                  <a:lnTo>
                    <a:pt x="76" y="270"/>
                  </a:lnTo>
                  <a:lnTo>
                    <a:pt x="78" y="270"/>
                  </a:lnTo>
                  <a:close/>
                  <a:moveTo>
                    <a:pt x="289" y="270"/>
                  </a:moveTo>
                  <a:lnTo>
                    <a:pt x="291" y="270"/>
                  </a:lnTo>
                  <a:lnTo>
                    <a:pt x="289" y="270"/>
                  </a:lnTo>
                  <a:close/>
                  <a:moveTo>
                    <a:pt x="66" y="270"/>
                  </a:moveTo>
                  <a:lnTo>
                    <a:pt x="66" y="272"/>
                  </a:lnTo>
                  <a:lnTo>
                    <a:pt x="65" y="270"/>
                  </a:lnTo>
                  <a:lnTo>
                    <a:pt x="66" y="270"/>
                  </a:lnTo>
                  <a:close/>
                  <a:moveTo>
                    <a:pt x="288" y="270"/>
                  </a:moveTo>
                  <a:lnTo>
                    <a:pt x="289" y="270"/>
                  </a:lnTo>
                  <a:lnTo>
                    <a:pt x="291" y="272"/>
                  </a:lnTo>
                  <a:lnTo>
                    <a:pt x="289" y="272"/>
                  </a:lnTo>
                  <a:lnTo>
                    <a:pt x="291" y="272"/>
                  </a:lnTo>
                  <a:lnTo>
                    <a:pt x="289" y="272"/>
                  </a:lnTo>
                  <a:lnTo>
                    <a:pt x="289" y="273"/>
                  </a:lnTo>
                  <a:lnTo>
                    <a:pt x="289" y="272"/>
                  </a:lnTo>
                  <a:lnTo>
                    <a:pt x="288" y="272"/>
                  </a:lnTo>
                  <a:lnTo>
                    <a:pt x="288" y="270"/>
                  </a:lnTo>
                  <a:lnTo>
                    <a:pt x="289" y="270"/>
                  </a:lnTo>
                  <a:lnTo>
                    <a:pt x="288" y="270"/>
                  </a:lnTo>
                  <a:close/>
                  <a:moveTo>
                    <a:pt x="76" y="268"/>
                  </a:moveTo>
                  <a:lnTo>
                    <a:pt x="76" y="270"/>
                  </a:lnTo>
                  <a:lnTo>
                    <a:pt x="76" y="268"/>
                  </a:lnTo>
                  <a:close/>
                  <a:moveTo>
                    <a:pt x="60" y="270"/>
                  </a:moveTo>
                  <a:lnTo>
                    <a:pt x="60" y="268"/>
                  </a:lnTo>
                  <a:lnTo>
                    <a:pt x="60" y="270"/>
                  </a:lnTo>
                  <a:close/>
                  <a:moveTo>
                    <a:pt x="76" y="268"/>
                  </a:moveTo>
                  <a:lnTo>
                    <a:pt x="76" y="270"/>
                  </a:lnTo>
                  <a:lnTo>
                    <a:pt x="76" y="268"/>
                  </a:lnTo>
                  <a:close/>
                  <a:moveTo>
                    <a:pt x="60" y="268"/>
                  </a:moveTo>
                  <a:lnTo>
                    <a:pt x="60" y="270"/>
                  </a:lnTo>
                  <a:lnTo>
                    <a:pt x="60" y="268"/>
                  </a:lnTo>
                  <a:close/>
                  <a:moveTo>
                    <a:pt x="76" y="268"/>
                  </a:moveTo>
                  <a:lnTo>
                    <a:pt x="76" y="270"/>
                  </a:lnTo>
                  <a:lnTo>
                    <a:pt x="76" y="268"/>
                  </a:lnTo>
                  <a:close/>
                  <a:moveTo>
                    <a:pt x="60" y="268"/>
                  </a:moveTo>
                  <a:lnTo>
                    <a:pt x="60" y="270"/>
                  </a:lnTo>
                  <a:lnTo>
                    <a:pt x="60" y="268"/>
                  </a:lnTo>
                  <a:close/>
                  <a:moveTo>
                    <a:pt x="61" y="270"/>
                  </a:moveTo>
                  <a:lnTo>
                    <a:pt x="61" y="268"/>
                  </a:lnTo>
                  <a:lnTo>
                    <a:pt x="61" y="270"/>
                  </a:lnTo>
                  <a:close/>
                  <a:moveTo>
                    <a:pt x="60" y="268"/>
                  </a:moveTo>
                  <a:lnTo>
                    <a:pt x="61" y="268"/>
                  </a:lnTo>
                  <a:lnTo>
                    <a:pt x="60" y="268"/>
                  </a:lnTo>
                  <a:close/>
                  <a:moveTo>
                    <a:pt x="288" y="268"/>
                  </a:moveTo>
                  <a:lnTo>
                    <a:pt x="288" y="270"/>
                  </a:lnTo>
                  <a:lnTo>
                    <a:pt x="288" y="268"/>
                  </a:lnTo>
                  <a:close/>
                  <a:moveTo>
                    <a:pt x="284" y="268"/>
                  </a:moveTo>
                  <a:lnTo>
                    <a:pt x="286" y="268"/>
                  </a:lnTo>
                  <a:lnTo>
                    <a:pt x="284" y="268"/>
                  </a:lnTo>
                  <a:close/>
                  <a:moveTo>
                    <a:pt x="286" y="267"/>
                  </a:moveTo>
                  <a:lnTo>
                    <a:pt x="286" y="268"/>
                  </a:lnTo>
                  <a:lnTo>
                    <a:pt x="286" y="267"/>
                  </a:lnTo>
                  <a:close/>
                  <a:moveTo>
                    <a:pt x="66" y="267"/>
                  </a:moveTo>
                  <a:lnTo>
                    <a:pt x="68" y="267"/>
                  </a:lnTo>
                  <a:lnTo>
                    <a:pt x="68" y="268"/>
                  </a:lnTo>
                  <a:lnTo>
                    <a:pt x="66" y="268"/>
                  </a:lnTo>
                  <a:lnTo>
                    <a:pt x="66" y="267"/>
                  </a:lnTo>
                  <a:close/>
                  <a:moveTo>
                    <a:pt x="75" y="267"/>
                  </a:moveTo>
                  <a:lnTo>
                    <a:pt x="76" y="268"/>
                  </a:lnTo>
                  <a:lnTo>
                    <a:pt x="75" y="268"/>
                  </a:lnTo>
                  <a:lnTo>
                    <a:pt x="75" y="267"/>
                  </a:lnTo>
                  <a:close/>
                  <a:moveTo>
                    <a:pt x="301" y="267"/>
                  </a:moveTo>
                  <a:lnTo>
                    <a:pt x="301" y="268"/>
                  </a:lnTo>
                  <a:lnTo>
                    <a:pt x="301" y="267"/>
                  </a:lnTo>
                  <a:close/>
                  <a:moveTo>
                    <a:pt x="61" y="267"/>
                  </a:moveTo>
                  <a:lnTo>
                    <a:pt x="63" y="268"/>
                  </a:lnTo>
                  <a:lnTo>
                    <a:pt x="61" y="267"/>
                  </a:lnTo>
                  <a:close/>
                  <a:moveTo>
                    <a:pt x="63" y="267"/>
                  </a:moveTo>
                  <a:lnTo>
                    <a:pt x="63" y="265"/>
                  </a:lnTo>
                  <a:lnTo>
                    <a:pt x="63" y="267"/>
                  </a:lnTo>
                  <a:lnTo>
                    <a:pt x="65" y="267"/>
                  </a:lnTo>
                  <a:lnTo>
                    <a:pt x="63" y="268"/>
                  </a:lnTo>
                  <a:lnTo>
                    <a:pt x="63" y="267"/>
                  </a:lnTo>
                  <a:close/>
                  <a:moveTo>
                    <a:pt x="60" y="268"/>
                  </a:moveTo>
                  <a:lnTo>
                    <a:pt x="60" y="267"/>
                  </a:lnTo>
                  <a:lnTo>
                    <a:pt x="60" y="268"/>
                  </a:lnTo>
                  <a:lnTo>
                    <a:pt x="60" y="267"/>
                  </a:lnTo>
                  <a:lnTo>
                    <a:pt x="58" y="267"/>
                  </a:lnTo>
                  <a:lnTo>
                    <a:pt x="60" y="267"/>
                  </a:lnTo>
                  <a:lnTo>
                    <a:pt x="60" y="265"/>
                  </a:lnTo>
                  <a:lnTo>
                    <a:pt x="60" y="267"/>
                  </a:lnTo>
                  <a:lnTo>
                    <a:pt x="60" y="268"/>
                  </a:lnTo>
                  <a:close/>
                  <a:moveTo>
                    <a:pt x="57" y="267"/>
                  </a:moveTo>
                  <a:lnTo>
                    <a:pt x="57" y="265"/>
                  </a:lnTo>
                  <a:lnTo>
                    <a:pt x="57" y="267"/>
                  </a:lnTo>
                  <a:close/>
                  <a:moveTo>
                    <a:pt x="61" y="265"/>
                  </a:moveTo>
                  <a:lnTo>
                    <a:pt x="61" y="267"/>
                  </a:lnTo>
                  <a:lnTo>
                    <a:pt x="63" y="268"/>
                  </a:lnTo>
                  <a:lnTo>
                    <a:pt x="61" y="267"/>
                  </a:lnTo>
                  <a:lnTo>
                    <a:pt x="61" y="265"/>
                  </a:lnTo>
                  <a:close/>
                  <a:moveTo>
                    <a:pt x="57" y="267"/>
                  </a:moveTo>
                  <a:lnTo>
                    <a:pt x="57" y="265"/>
                  </a:lnTo>
                  <a:lnTo>
                    <a:pt x="58" y="265"/>
                  </a:lnTo>
                  <a:lnTo>
                    <a:pt x="58" y="267"/>
                  </a:lnTo>
                  <a:lnTo>
                    <a:pt x="57" y="267"/>
                  </a:lnTo>
                  <a:close/>
                  <a:moveTo>
                    <a:pt x="60" y="265"/>
                  </a:moveTo>
                  <a:lnTo>
                    <a:pt x="60" y="267"/>
                  </a:lnTo>
                  <a:lnTo>
                    <a:pt x="60" y="265"/>
                  </a:lnTo>
                  <a:close/>
                  <a:moveTo>
                    <a:pt x="57" y="265"/>
                  </a:moveTo>
                  <a:lnTo>
                    <a:pt x="58" y="265"/>
                  </a:lnTo>
                  <a:lnTo>
                    <a:pt x="58" y="267"/>
                  </a:lnTo>
                  <a:lnTo>
                    <a:pt x="58" y="265"/>
                  </a:lnTo>
                  <a:lnTo>
                    <a:pt x="57" y="265"/>
                  </a:lnTo>
                  <a:close/>
                  <a:moveTo>
                    <a:pt x="58" y="265"/>
                  </a:moveTo>
                  <a:lnTo>
                    <a:pt x="60" y="265"/>
                  </a:lnTo>
                  <a:lnTo>
                    <a:pt x="58" y="265"/>
                  </a:lnTo>
                  <a:close/>
                  <a:moveTo>
                    <a:pt x="288" y="265"/>
                  </a:moveTo>
                  <a:lnTo>
                    <a:pt x="289" y="265"/>
                  </a:lnTo>
                  <a:lnTo>
                    <a:pt x="288" y="265"/>
                  </a:lnTo>
                  <a:close/>
                  <a:moveTo>
                    <a:pt x="60" y="264"/>
                  </a:moveTo>
                  <a:lnTo>
                    <a:pt x="60" y="265"/>
                  </a:lnTo>
                  <a:lnTo>
                    <a:pt x="60" y="264"/>
                  </a:lnTo>
                  <a:close/>
                  <a:moveTo>
                    <a:pt x="53" y="265"/>
                  </a:moveTo>
                  <a:lnTo>
                    <a:pt x="55" y="264"/>
                  </a:lnTo>
                  <a:lnTo>
                    <a:pt x="55" y="265"/>
                  </a:lnTo>
                  <a:lnTo>
                    <a:pt x="53" y="265"/>
                  </a:lnTo>
                  <a:close/>
                  <a:moveTo>
                    <a:pt x="58" y="264"/>
                  </a:moveTo>
                  <a:lnTo>
                    <a:pt x="60" y="264"/>
                  </a:lnTo>
                  <a:lnTo>
                    <a:pt x="60" y="265"/>
                  </a:lnTo>
                  <a:lnTo>
                    <a:pt x="58" y="265"/>
                  </a:lnTo>
                  <a:lnTo>
                    <a:pt x="58" y="264"/>
                  </a:lnTo>
                  <a:close/>
                  <a:moveTo>
                    <a:pt x="61" y="264"/>
                  </a:moveTo>
                  <a:lnTo>
                    <a:pt x="61" y="265"/>
                  </a:lnTo>
                  <a:lnTo>
                    <a:pt x="61" y="267"/>
                  </a:lnTo>
                  <a:lnTo>
                    <a:pt x="61" y="265"/>
                  </a:lnTo>
                  <a:lnTo>
                    <a:pt x="61" y="264"/>
                  </a:lnTo>
                  <a:close/>
                  <a:moveTo>
                    <a:pt x="60" y="264"/>
                  </a:moveTo>
                  <a:lnTo>
                    <a:pt x="60" y="265"/>
                  </a:lnTo>
                  <a:lnTo>
                    <a:pt x="60" y="264"/>
                  </a:lnTo>
                  <a:close/>
                  <a:moveTo>
                    <a:pt x="61" y="265"/>
                  </a:moveTo>
                  <a:lnTo>
                    <a:pt x="61" y="264"/>
                  </a:lnTo>
                  <a:lnTo>
                    <a:pt x="63" y="264"/>
                  </a:lnTo>
                  <a:lnTo>
                    <a:pt x="61" y="264"/>
                  </a:lnTo>
                  <a:lnTo>
                    <a:pt x="61" y="265"/>
                  </a:lnTo>
                  <a:close/>
                  <a:moveTo>
                    <a:pt x="63" y="264"/>
                  </a:moveTo>
                  <a:lnTo>
                    <a:pt x="65" y="264"/>
                  </a:lnTo>
                  <a:lnTo>
                    <a:pt x="65" y="265"/>
                  </a:lnTo>
                  <a:lnTo>
                    <a:pt x="65" y="267"/>
                  </a:lnTo>
                  <a:lnTo>
                    <a:pt x="63" y="265"/>
                  </a:lnTo>
                  <a:lnTo>
                    <a:pt x="61" y="265"/>
                  </a:lnTo>
                  <a:lnTo>
                    <a:pt x="63" y="264"/>
                  </a:lnTo>
                  <a:close/>
                  <a:moveTo>
                    <a:pt x="61" y="264"/>
                  </a:moveTo>
                  <a:lnTo>
                    <a:pt x="60" y="264"/>
                  </a:lnTo>
                  <a:lnTo>
                    <a:pt x="61" y="264"/>
                  </a:lnTo>
                  <a:close/>
                  <a:moveTo>
                    <a:pt x="75" y="264"/>
                  </a:moveTo>
                  <a:lnTo>
                    <a:pt x="75" y="265"/>
                  </a:lnTo>
                  <a:lnTo>
                    <a:pt x="75" y="264"/>
                  </a:lnTo>
                  <a:close/>
                  <a:moveTo>
                    <a:pt x="61" y="264"/>
                  </a:moveTo>
                  <a:lnTo>
                    <a:pt x="63" y="264"/>
                  </a:lnTo>
                  <a:lnTo>
                    <a:pt x="61" y="264"/>
                  </a:lnTo>
                  <a:close/>
                  <a:moveTo>
                    <a:pt x="286" y="264"/>
                  </a:moveTo>
                  <a:lnTo>
                    <a:pt x="286" y="262"/>
                  </a:lnTo>
                  <a:lnTo>
                    <a:pt x="286" y="264"/>
                  </a:lnTo>
                  <a:close/>
                  <a:moveTo>
                    <a:pt x="309" y="264"/>
                  </a:moveTo>
                  <a:lnTo>
                    <a:pt x="309" y="262"/>
                  </a:lnTo>
                  <a:lnTo>
                    <a:pt x="309" y="264"/>
                  </a:lnTo>
                  <a:close/>
                  <a:moveTo>
                    <a:pt x="57" y="262"/>
                  </a:moveTo>
                  <a:lnTo>
                    <a:pt x="57" y="264"/>
                  </a:lnTo>
                  <a:lnTo>
                    <a:pt x="57" y="262"/>
                  </a:lnTo>
                  <a:close/>
                  <a:moveTo>
                    <a:pt x="78" y="262"/>
                  </a:moveTo>
                  <a:lnTo>
                    <a:pt x="78" y="264"/>
                  </a:lnTo>
                  <a:lnTo>
                    <a:pt x="78" y="265"/>
                  </a:lnTo>
                  <a:lnTo>
                    <a:pt x="78" y="264"/>
                  </a:lnTo>
                  <a:lnTo>
                    <a:pt x="78" y="262"/>
                  </a:lnTo>
                  <a:close/>
                  <a:moveTo>
                    <a:pt x="78" y="262"/>
                  </a:moveTo>
                  <a:lnTo>
                    <a:pt x="78" y="264"/>
                  </a:lnTo>
                  <a:lnTo>
                    <a:pt x="78" y="262"/>
                  </a:lnTo>
                  <a:close/>
                  <a:moveTo>
                    <a:pt x="55" y="262"/>
                  </a:moveTo>
                  <a:lnTo>
                    <a:pt x="55" y="264"/>
                  </a:lnTo>
                  <a:lnTo>
                    <a:pt x="55" y="262"/>
                  </a:lnTo>
                  <a:close/>
                  <a:moveTo>
                    <a:pt x="75" y="262"/>
                  </a:moveTo>
                  <a:lnTo>
                    <a:pt x="75" y="264"/>
                  </a:lnTo>
                  <a:lnTo>
                    <a:pt x="75" y="265"/>
                  </a:lnTo>
                  <a:lnTo>
                    <a:pt x="75" y="264"/>
                  </a:lnTo>
                  <a:lnTo>
                    <a:pt x="75" y="262"/>
                  </a:lnTo>
                  <a:close/>
                  <a:moveTo>
                    <a:pt x="60" y="264"/>
                  </a:moveTo>
                  <a:lnTo>
                    <a:pt x="60" y="262"/>
                  </a:lnTo>
                  <a:lnTo>
                    <a:pt x="60" y="264"/>
                  </a:lnTo>
                  <a:close/>
                  <a:moveTo>
                    <a:pt x="76" y="262"/>
                  </a:moveTo>
                  <a:lnTo>
                    <a:pt x="78" y="262"/>
                  </a:lnTo>
                  <a:lnTo>
                    <a:pt x="76" y="262"/>
                  </a:lnTo>
                  <a:close/>
                  <a:moveTo>
                    <a:pt x="75" y="264"/>
                  </a:moveTo>
                  <a:lnTo>
                    <a:pt x="76" y="262"/>
                  </a:lnTo>
                  <a:lnTo>
                    <a:pt x="78" y="264"/>
                  </a:lnTo>
                  <a:lnTo>
                    <a:pt x="78" y="265"/>
                  </a:lnTo>
                  <a:lnTo>
                    <a:pt x="78" y="267"/>
                  </a:lnTo>
                  <a:lnTo>
                    <a:pt x="78" y="268"/>
                  </a:lnTo>
                  <a:lnTo>
                    <a:pt x="78" y="270"/>
                  </a:lnTo>
                  <a:lnTo>
                    <a:pt x="78" y="268"/>
                  </a:lnTo>
                  <a:lnTo>
                    <a:pt x="76" y="268"/>
                  </a:lnTo>
                  <a:lnTo>
                    <a:pt x="78" y="268"/>
                  </a:lnTo>
                  <a:lnTo>
                    <a:pt x="76" y="268"/>
                  </a:lnTo>
                  <a:lnTo>
                    <a:pt x="76" y="267"/>
                  </a:lnTo>
                  <a:lnTo>
                    <a:pt x="76" y="268"/>
                  </a:lnTo>
                  <a:lnTo>
                    <a:pt x="76" y="267"/>
                  </a:lnTo>
                  <a:lnTo>
                    <a:pt x="75" y="267"/>
                  </a:lnTo>
                  <a:lnTo>
                    <a:pt x="75" y="265"/>
                  </a:lnTo>
                  <a:lnTo>
                    <a:pt x="76" y="265"/>
                  </a:lnTo>
                  <a:lnTo>
                    <a:pt x="76" y="264"/>
                  </a:lnTo>
                  <a:lnTo>
                    <a:pt x="76" y="265"/>
                  </a:lnTo>
                  <a:lnTo>
                    <a:pt x="75" y="264"/>
                  </a:lnTo>
                  <a:close/>
                  <a:moveTo>
                    <a:pt x="55" y="262"/>
                  </a:moveTo>
                  <a:lnTo>
                    <a:pt x="57" y="262"/>
                  </a:lnTo>
                  <a:lnTo>
                    <a:pt x="55" y="262"/>
                  </a:lnTo>
                  <a:close/>
                  <a:moveTo>
                    <a:pt x="63" y="262"/>
                  </a:moveTo>
                  <a:lnTo>
                    <a:pt x="61" y="262"/>
                  </a:lnTo>
                  <a:lnTo>
                    <a:pt x="63" y="262"/>
                  </a:lnTo>
                  <a:lnTo>
                    <a:pt x="63" y="264"/>
                  </a:lnTo>
                  <a:lnTo>
                    <a:pt x="63" y="262"/>
                  </a:lnTo>
                  <a:close/>
                  <a:moveTo>
                    <a:pt x="60" y="262"/>
                  </a:moveTo>
                  <a:lnTo>
                    <a:pt x="61" y="262"/>
                  </a:lnTo>
                  <a:lnTo>
                    <a:pt x="60" y="262"/>
                  </a:lnTo>
                  <a:close/>
                  <a:moveTo>
                    <a:pt x="61" y="264"/>
                  </a:moveTo>
                  <a:lnTo>
                    <a:pt x="60" y="262"/>
                  </a:lnTo>
                  <a:lnTo>
                    <a:pt x="61" y="262"/>
                  </a:lnTo>
                  <a:lnTo>
                    <a:pt x="61" y="264"/>
                  </a:lnTo>
                  <a:close/>
                  <a:moveTo>
                    <a:pt x="307" y="260"/>
                  </a:moveTo>
                  <a:lnTo>
                    <a:pt x="307" y="262"/>
                  </a:lnTo>
                  <a:lnTo>
                    <a:pt x="307" y="260"/>
                  </a:lnTo>
                  <a:close/>
                  <a:moveTo>
                    <a:pt x="60" y="260"/>
                  </a:moveTo>
                  <a:lnTo>
                    <a:pt x="61" y="260"/>
                  </a:lnTo>
                  <a:lnTo>
                    <a:pt x="61" y="262"/>
                  </a:lnTo>
                  <a:lnTo>
                    <a:pt x="60" y="260"/>
                  </a:lnTo>
                  <a:close/>
                  <a:moveTo>
                    <a:pt x="61" y="260"/>
                  </a:moveTo>
                  <a:lnTo>
                    <a:pt x="61" y="262"/>
                  </a:lnTo>
                  <a:lnTo>
                    <a:pt x="61" y="260"/>
                  </a:lnTo>
                  <a:close/>
                  <a:moveTo>
                    <a:pt x="65" y="260"/>
                  </a:moveTo>
                  <a:lnTo>
                    <a:pt x="65" y="262"/>
                  </a:lnTo>
                  <a:lnTo>
                    <a:pt x="65" y="264"/>
                  </a:lnTo>
                  <a:lnTo>
                    <a:pt x="65" y="262"/>
                  </a:lnTo>
                  <a:lnTo>
                    <a:pt x="65" y="260"/>
                  </a:lnTo>
                  <a:close/>
                  <a:moveTo>
                    <a:pt x="76" y="260"/>
                  </a:moveTo>
                  <a:lnTo>
                    <a:pt x="75" y="260"/>
                  </a:lnTo>
                  <a:lnTo>
                    <a:pt x="76" y="260"/>
                  </a:lnTo>
                  <a:close/>
                  <a:moveTo>
                    <a:pt x="61" y="260"/>
                  </a:moveTo>
                  <a:lnTo>
                    <a:pt x="63" y="260"/>
                  </a:lnTo>
                  <a:lnTo>
                    <a:pt x="61" y="260"/>
                  </a:lnTo>
                  <a:close/>
                  <a:moveTo>
                    <a:pt x="55" y="260"/>
                  </a:moveTo>
                  <a:lnTo>
                    <a:pt x="57" y="260"/>
                  </a:lnTo>
                  <a:lnTo>
                    <a:pt x="55" y="260"/>
                  </a:lnTo>
                  <a:close/>
                  <a:moveTo>
                    <a:pt x="86" y="259"/>
                  </a:moveTo>
                  <a:lnTo>
                    <a:pt x="86" y="260"/>
                  </a:lnTo>
                  <a:lnTo>
                    <a:pt x="84" y="262"/>
                  </a:lnTo>
                  <a:lnTo>
                    <a:pt x="84" y="260"/>
                  </a:lnTo>
                  <a:lnTo>
                    <a:pt x="86" y="260"/>
                  </a:lnTo>
                  <a:lnTo>
                    <a:pt x="86" y="259"/>
                  </a:lnTo>
                  <a:close/>
                  <a:moveTo>
                    <a:pt x="75" y="259"/>
                  </a:moveTo>
                  <a:lnTo>
                    <a:pt x="75" y="260"/>
                  </a:lnTo>
                  <a:lnTo>
                    <a:pt x="75" y="259"/>
                  </a:lnTo>
                  <a:close/>
                  <a:moveTo>
                    <a:pt x="58" y="259"/>
                  </a:moveTo>
                  <a:lnTo>
                    <a:pt x="60" y="260"/>
                  </a:lnTo>
                  <a:lnTo>
                    <a:pt x="58" y="260"/>
                  </a:lnTo>
                  <a:lnTo>
                    <a:pt x="58" y="259"/>
                  </a:lnTo>
                  <a:close/>
                  <a:moveTo>
                    <a:pt x="65" y="260"/>
                  </a:moveTo>
                  <a:lnTo>
                    <a:pt x="66" y="260"/>
                  </a:lnTo>
                  <a:lnTo>
                    <a:pt x="65" y="260"/>
                  </a:lnTo>
                  <a:lnTo>
                    <a:pt x="65" y="259"/>
                  </a:lnTo>
                  <a:lnTo>
                    <a:pt x="66" y="259"/>
                  </a:lnTo>
                  <a:lnTo>
                    <a:pt x="66" y="260"/>
                  </a:lnTo>
                  <a:lnTo>
                    <a:pt x="66" y="262"/>
                  </a:lnTo>
                  <a:lnTo>
                    <a:pt x="66" y="264"/>
                  </a:lnTo>
                  <a:lnTo>
                    <a:pt x="66" y="262"/>
                  </a:lnTo>
                  <a:lnTo>
                    <a:pt x="65" y="262"/>
                  </a:lnTo>
                  <a:lnTo>
                    <a:pt x="66" y="262"/>
                  </a:lnTo>
                  <a:lnTo>
                    <a:pt x="65" y="262"/>
                  </a:lnTo>
                  <a:lnTo>
                    <a:pt x="66" y="262"/>
                  </a:lnTo>
                  <a:lnTo>
                    <a:pt x="66" y="260"/>
                  </a:lnTo>
                  <a:lnTo>
                    <a:pt x="65" y="260"/>
                  </a:lnTo>
                  <a:close/>
                  <a:moveTo>
                    <a:pt x="79" y="260"/>
                  </a:moveTo>
                  <a:lnTo>
                    <a:pt x="79" y="259"/>
                  </a:lnTo>
                  <a:lnTo>
                    <a:pt x="81" y="259"/>
                  </a:lnTo>
                  <a:lnTo>
                    <a:pt x="79" y="260"/>
                  </a:lnTo>
                  <a:close/>
                  <a:moveTo>
                    <a:pt x="75" y="259"/>
                  </a:moveTo>
                  <a:lnTo>
                    <a:pt x="76" y="259"/>
                  </a:lnTo>
                  <a:lnTo>
                    <a:pt x="75" y="259"/>
                  </a:lnTo>
                  <a:close/>
                  <a:moveTo>
                    <a:pt x="79" y="260"/>
                  </a:moveTo>
                  <a:lnTo>
                    <a:pt x="79" y="262"/>
                  </a:lnTo>
                  <a:lnTo>
                    <a:pt x="78" y="262"/>
                  </a:lnTo>
                  <a:lnTo>
                    <a:pt x="78" y="260"/>
                  </a:lnTo>
                  <a:lnTo>
                    <a:pt x="78" y="259"/>
                  </a:lnTo>
                  <a:lnTo>
                    <a:pt x="78" y="260"/>
                  </a:lnTo>
                  <a:lnTo>
                    <a:pt x="78" y="259"/>
                  </a:lnTo>
                  <a:lnTo>
                    <a:pt x="79" y="259"/>
                  </a:lnTo>
                  <a:lnTo>
                    <a:pt x="79" y="260"/>
                  </a:lnTo>
                  <a:close/>
                  <a:moveTo>
                    <a:pt x="86" y="257"/>
                  </a:moveTo>
                  <a:lnTo>
                    <a:pt x="86" y="259"/>
                  </a:lnTo>
                  <a:lnTo>
                    <a:pt x="86" y="257"/>
                  </a:lnTo>
                  <a:close/>
                  <a:moveTo>
                    <a:pt x="53" y="257"/>
                  </a:moveTo>
                  <a:lnTo>
                    <a:pt x="55" y="259"/>
                  </a:lnTo>
                  <a:lnTo>
                    <a:pt x="53" y="259"/>
                  </a:lnTo>
                  <a:lnTo>
                    <a:pt x="53" y="257"/>
                  </a:lnTo>
                  <a:close/>
                  <a:moveTo>
                    <a:pt x="57" y="257"/>
                  </a:moveTo>
                  <a:lnTo>
                    <a:pt x="57" y="259"/>
                  </a:lnTo>
                  <a:lnTo>
                    <a:pt x="57" y="257"/>
                  </a:lnTo>
                  <a:close/>
                  <a:moveTo>
                    <a:pt x="58" y="259"/>
                  </a:moveTo>
                  <a:lnTo>
                    <a:pt x="57" y="259"/>
                  </a:lnTo>
                  <a:lnTo>
                    <a:pt x="57" y="257"/>
                  </a:lnTo>
                  <a:lnTo>
                    <a:pt x="58" y="259"/>
                  </a:lnTo>
                  <a:close/>
                  <a:moveTo>
                    <a:pt x="79" y="259"/>
                  </a:moveTo>
                  <a:lnTo>
                    <a:pt x="78" y="259"/>
                  </a:lnTo>
                  <a:lnTo>
                    <a:pt x="79" y="257"/>
                  </a:lnTo>
                  <a:lnTo>
                    <a:pt x="79" y="259"/>
                  </a:lnTo>
                  <a:close/>
                  <a:moveTo>
                    <a:pt x="304" y="259"/>
                  </a:moveTo>
                  <a:lnTo>
                    <a:pt x="304" y="257"/>
                  </a:lnTo>
                  <a:lnTo>
                    <a:pt x="305" y="257"/>
                  </a:lnTo>
                  <a:lnTo>
                    <a:pt x="305" y="259"/>
                  </a:lnTo>
                  <a:lnTo>
                    <a:pt x="304" y="259"/>
                  </a:lnTo>
                  <a:close/>
                  <a:moveTo>
                    <a:pt x="57" y="257"/>
                  </a:moveTo>
                  <a:lnTo>
                    <a:pt x="58" y="257"/>
                  </a:lnTo>
                  <a:lnTo>
                    <a:pt x="57" y="257"/>
                  </a:lnTo>
                  <a:close/>
                  <a:moveTo>
                    <a:pt x="76" y="257"/>
                  </a:moveTo>
                  <a:lnTo>
                    <a:pt x="76" y="259"/>
                  </a:lnTo>
                  <a:lnTo>
                    <a:pt x="76" y="257"/>
                  </a:lnTo>
                  <a:close/>
                  <a:moveTo>
                    <a:pt x="89" y="257"/>
                  </a:moveTo>
                  <a:lnTo>
                    <a:pt x="91" y="257"/>
                  </a:lnTo>
                  <a:lnTo>
                    <a:pt x="89" y="257"/>
                  </a:lnTo>
                  <a:close/>
                  <a:moveTo>
                    <a:pt x="322" y="259"/>
                  </a:moveTo>
                  <a:lnTo>
                    <a:pt x="320" y="257"/>
                  </a:lnTo>
                  <a:lnTo>
                    <a:pt x="320" y="255"/>
                  </a:lnTo>
                  <a:lnTo>
                    <a:pt x="322" y="255"/>
                  </a:lnTo>
                  <a:lnTo>
                    <a:pt x="322" y="257"/>
                  </a:lnTo>
                  <a:lnTo>
                    <a:pt x="323" y="257"/>
                  </a:lnTo>
                  <a:lnTo>
                    <a:pt x="322" y="259"/>
                  </a:lnTo>
                  <a:close/>
                  <a:moveTo>
                    <a:pt x="286" y="255"/>
                  </a:moveTo>
                  <a:lnTo>
                    <a:pt x="286" y="257"/>
                  </a:lnTo>
                  <a:lnTo>
                    <a:pt x="284" y="257"/>
                  </a:lnTo>
                  <a:lnTo>
                    <a:pt x="284" y="255"/>
                  </a:lnTo>
                  <a:lnTo>
                    <a:pt x="286" y="255"/>
                  </a:lnTo>
                  <a:close/>
                  <a:moveTo>
                    <a:pt x="57" y="255"/>
                  </a:moveTo>
                  <a:lnTo>
                    <a:pt x="57" y="257"/>
                  </a:lnTo>
                  <a:lnTo>
                    <a:pt x="57" y="255"/>
                  </a:lnTo>
                  <a:close/>
                  <a:moveTo>
                    <a:pt x="304" y="255"/>
                  </a:moveTo>
                  <a:lnTo>
                    <a:pt x="302" y="255"/>
                  </a:lnTo>
                  <a:lnTo>
                    <a:pt x="304" y="255"/>
                  </a:lnTo>
                  <a:close/>
                  <a:moveTo>
                    <a:pt x="55" y="257"/>
                  </a:moveTo>
                  <a:lnTo>
                    <a:pt x="55" y="255"/>
                  </a:lnTo>
                  <a:lnTo>
                    <a:pt x="55" y="257"/>
                  </a:lnTo>
                  <a:close/>
                  <a:moveTo>
                    <a:pt x="61" y="255"/>
                  </a:moveTo>
                  <a:lnTo>
                    <a:pt x="63" y="255"/>
                  </a:lnTo>
                  <a:lnTo>
                    <a:pt x="61" y="255"/>
                  </a:lnTo>
                  <a:close/>
                  <a:moveTo>
                    <a:pt x="61" y="257"/>
                  </a:moveTo>
                  <a:lnTo>
                    <a:pt x="61" y="259"/>
                  </a:lnTo>
                  <a:lnTo>
                    <a:pt x="60" y="259"/>
                  </a:lnTo>
                  <a:lnTo>
                    <a:pt x="60" y="260"/>
                  </a:lnTo>
                  <a:lnTo>
                    <a:pt x="60" y="259"/>
                  </a:lnTo>
                  <a:lnTo>
                    <a:pt x="58" y="259"/>
                  </a:lnTo>
                  <a:lnTo>
                    <a:pt x="58" y="257"/>
                  </a:lnTo>
                  <a:lnTo>
                    <a:pt x="58" y="255"/>
                  </a:lnTo>
                  <a:lnTo>
                    <a:pt x="60" y="255"/>
                  </a:lnTo>
                  <a:lnTo>
                    <a:pt x="60" y="254"/>
                  </a:lnTo>
                  <a:lnTo>
                    <a:pt x="60" y="255"/>
                  </a:lnTo>
                  <a:lnTo>
                    <a:pt x="61" y="255"/>
                  </a:lnTo>
                  <a:lnTo>
                    <a:pt x="61" y="257"/>
                  </a:lnTo>
                  <a:close/>
                  <a:moveTo>
                    <a:pt x="302" y="254"/>
                  </a:moveTo>
                  <a:lnTo>
                    <a:pt x="302" y="255"/>
                  </a:lnTo>
                  <a:lnTo>
                    <a:pt x="302" y="254"/>
                  </a:lnTo>
                  <a:close/>
                  <a:moveTo>
                    <a:pt x="55" y="254"/>
                  </a:moveTo>
                  <a:lnTo>
                    <a:pt x="55" y="255"/>
                  </a:lnTo>
                  <a:lnTo>
                    <a:pt x="57" y="255"/>
                  </a:lnTo>
                  <a:lnTo>
                    <a:pt x="55" y="255"/>
                  </a:lnTo>
                  <a:lnTo>
                    <a:pt x="55" y="254"/>
                  </a:lnTo>
                  <a:close/>
                  <a:moveTo>
                    <a:pt x="71" y="254"/>
                  </a:moveTo>
                  <a:lnTo>
                    <a:pt x="71" y="255"/>
                  </a:lnTo>
                  <a:lnTo>
                    <a:pt x="71" y="254"/>
                  </a:lnTo>
                  <a:close/>
                  <a:moveTo>
                    <a:pt x="76" y="254"/>
                  </a:moveTo>
                  <a:lnTo>
                    <a:pt x="76" y="255"/>
                  </a:lnTo>
                  <a:lnTo>
                    <a:pt x="78" y="255"/>
                  </a:lnTo>
                  <a:lnTo>
                    <a:pt x="76" y="255"/>
                  </a:lnTo>
                  <a:lnTo>
                    <a:pt x="76" y="254"/>
                  </a:lnTo>
                  <a:close/>
                  <a:moveTo>
                    <a:pt x="75" y="255"/>
                  </a:moveTo>
                  <a:lnTo>
                    <a:pt x="73" y="255"/>
                  </a:lnTo>
                  <a:lnTo>
                    <a:pt x="71" y="255"/>
                  </a:lnTo>
                  <a:lnTo>
                    <a:pt x="73" y="254"/>
                  </a:lnTo>
                  <a:lnTo>
                    <a:pt x="73" y="255"/>
                  </a:lnTo>
                  <a:lnTo>
                    <a:pt x="75" y="255"/>
                  </a:lnTo>
                  <a:close/>
                  <a:moveTo>
                    <a:pt x="65" y="254"/>
                  </a:moveTo>
                  <a:lnTo>
                    <a:pt x="65" y="255"/>
                  </a:lnTo>
                  <a:lnTo>
                    <a:pt x="63" y="254"/>
                  </a:lnTo>
                  <a:lnTo>
                    <a:pt x="65" y="254"/>
                  </a:lnTo>
                  <a:close/>
                  <a:moveTo>
                    <a:pt x="57" y="254"/>
                  </a:moveTo>
                  <a:lnTo>
                    <a:pt x="55" y="254"/>
                  </a:lnTo>
                  <a:lnTo>
                    <a:pt x="57" y="254"/>
                  </a:lnTo>
                  <a:close/>
                  <a:moveTo>
                    <a:pt x="63" y="254"/>
                  </a:moveTo>
                  <a:lnTo>
                    <a:pt x="63" y="255"/>
                  </a:lnTo>
                  <a:lnTo>
                    <a:pt x="63" y="254"/>
                  </a:lnTo>
                  <a:close/>
                  <a:moveTo>
                    <a:pt x="61" y="254"/>
                  </a:moveTo>
                  <a:lnTo>
                    <a:pt x="63" y="254"/>
                  </a:lnTo>
                  <a:lnTo>
                    <a:pt x="61" y="254"/>
                  </a:lnTo>
                  <a:close/>
                  <a:moveTo>
                    <a:pt x="57" y="254"/>
                  </a:moveTo>
                  <a:lnTo>
                    <a:pt x="57" y="255"/>
                  </a:lnTo>
                  <a:lnTo>
                    <a:pt x="57" y="254"/>
                  </a:lnTo>
                  <a:close/>
                  <a:moveTo>
                    <a:pt x="63" y="252"/>
                  </a:moveTo>
                  <a:lnTo>
                    <a:pt x="63" y="254"/>
                  </a:lnTo>
                  <a:lnTo>
                    <a:pt x="63" y="252"/>
                  </a:lnTo>
                  <a:close/>
                  <a:moveTo>
                    <a:pt x="294" y="252"/>
                  </a:moveTo>
                  <a:lnTo>
                    <a:pt x="294" y="254"/>
                  </a:lnTo>
                  <a:lnTo>
                    <a:pt x="294" y="252"/>
                  </a:lnTo>
                  <a:close/>
                  <a:moveTo>
                    <a:pt x="57" y="252"/>
                  </a:moveTo>
                  <a:lnTo>
                    <a:pt x="57" y="254"/>
                  </a:lnTo>
                  <a:lnTo>
                    <a:pt x="57" y="252"/>
                  </a:lnTo>
                  <a:close/>
                  <a:moveTo>
                    <a:pt x="55" y="252"/>
                  </a:moveTo>
                  <a:lnTo>
                    <a:pt x="55" y="254"/>
                  </a:lnTo>
                  <a:lnTo>
                    <a:pt x="55" y="252"/>
                  </a:lnTo>
                  <a:close/>
                  <a:moveTo>
                    <a:pt x="320" y="252"/>
                  </a:moveTo>
                  <a:lnTo>
                    <a:pt x="322" y="252"/>
                  </a:lnTo>
                  <a:lnTo>
                    <a:pt x="322" y="254"/>
                  </a:lnTo>
                  <a:lnTo>
                    <a:pt x="320" y="254"/>
                  </a:lnTo>
                  <a:lnTo>
                    <a:pt x="320" y="252"/>
                  </a:lnTo>
                  <a:close/>
                  <a:moveTo>
                    <a:pt x="57" y="252"/>
                  </a:moveTo>
                  <a:lnTo>
                    <a:pt x="58" y="254"/>
                  </a:lnTo>
                  <a:lnTo>
                    <a:pt x="57" y="254"/>
                  </a:lnTo>
                  <a:lnTo>
                    <a:pt x="57" y="252"/>
                  </a:lnTo>
                  <a:close/>
                  <a:moveTo>
                    <a:pt x="312" y="252"/>
                  </a:moveTo>
                  <a:lnTo>
                    <a:pt x="314" y="252"/>
                  </a:lnTo>
                  <a:lnTo>
                    <a:pt x="312" y="252"/>
                  </a:lnTo>
                  <a:close/>
                  <a:moveTo>
                    <a:pt x="60" y="252"/>
                  </a:moveTo>
                  <a:lnTo>
                    <a:pt x="60" y="254"/>
                  </a:lnTo>
                  <a:lnTo>
                    <a:pt x="58" y="254"/>
                  </a:lnTo>
                  <a:lnTo>
                    <a:pt x="58" y="255"/>
                  </a:lnTo>
                  <a:lnTo>
                    <a:pt x="58" y="254"/>
                  </a:lnTo>
                  <a:lnTo>
                    <a:pt x="58" y="252"/>
                  </a:lnTo>
                  <a:lnTo>
                    <a:pt x="58" y="254"/>
                  </a:lnTo>
                  <a:lnTo>
                    <a:pt x="58" y="252"/>
                  </a:lnTo>
                  <a:lnTo>
                    <a:pt x="60" y="252"/>
                  </a:lnTo>
                  <a:close/>
                  <a:moveTo>
                    <a:pt x="73" y="252"/>
                  </a:moveTo>
                  <a:lnTo>
                    <a:pt x="75" y="252"/>
                  </a:lnTo>
                  <a:lnTo>
                    <a:pt x="73" y="252"/>
                  </a:lnTo>
                  <a:close/>
                  <a:moveTo>
                    <a:pt x="58" y="251"/>
                  </a:moveTo>
                  <a:lnTo>
                    <a:pt x="57" y="251"/>
                  </a:lnTo>
                  <a:lnTo>
                    <a:pt x="58" y="251"/>
                  </a:lnTo>
                  <a:close/>
                  <a:moveTo>
                    <a:pt x="312" y="251"/>
                  </a:moveTo>
                  <a:lnTo>
                    <a:pt x="314" y="252"/>
                  </a:lnTo>
                  <a:lnTo>
                    <a:pt x="312" y="252"/>
                  </a:lnTo>
                  <a:lnTo>
                    <a:pt x="312" y="251"/>
                  </a:lnTo>
                  <a:close/>
                  <a:moveTo>
                    <a:pt x="58" y="251"/>
                  </a:moveTo>
                  <a:lnTo>
                    <a:pt x="58" y="252"/>
                  </a:lnTo>
                  <a:lnTo>
                    <a:pt x="58" y="251"/>
                  </a:lnTo>
                  <a:close/>
                  <a:moveTo>
                    <a:pt x="61" y="251"/>
                  </a:moveTo>
                  <a:lnTo>
                    <a:pt x="63" y="251"/>
                  </a:lnTo>
                  <a:lnTo>
                    <a:pt x="61" y="251"/>
                  </a:lnTo>
                  <a:close/>
                  <a:moveTo>
                    <a:pt x="60" y="251"/>
                  </a:moveTo>
                  <a:lnTo>
                    <a:pt x="61" y="251"/>
                  </a:lnTo>
                  <a:lnTo>
                    <a:pt x="61" y="252"/>
                  </a:lnTo>
                  <a:lnTo>
                    <a:pt x="60" y="254"/>
                  </a:lnTo>
                  <a:lnTo>
                    <a:pt x="60" y="252"/>
                  </a:lnTo>
                  <a:lnTo>
                    <a:pt x="61" y="252"/>
                  </a:lnTo>
                  <a:lnTo>
                    <a:pt x="60" y="252"/>
                  </a:lnTo>
                  <a:lnTo>
                    <a:pt x="60" y="251"/>
                  </a:lnTo>
                  <a:close/>
                  <a:moveTo>
                    <a:pt x="61" y="251"/>
                  </a:moveTo>
                  <a:lnTo>
                    <a:pt x="63" y="251"/>
                  </a:lnTo>
                  <a:lnTo>
                    <a:pt x="61" y="251"/>
                  </a:lnTo>
                  <a:close/>
                  <a:moveTo>
                    <a:pt x="338" y="249"/>
                  </a:moveTo>
                  <a:lnTo>
                    <a:pt x="340" y="249"/>
                  </a:lnTo>
                  <a:lnTo>
                    <a:pt x="338" y="249"/>
                  </a:lnTo>
                  <a:close/>
                  <a:moveTo>
                    <a:pt x="63" y="249"/>
                  </a:moveTo>
                  <a:lnTo>
                    <a:pt x="63" y="251"/>
                  </a:lnTo>
                  <a:lnTo>
                    <a:pt x="63" y="249"/>
                  </a:lnTo>
                  <a:close/>
                  <a:moveTo>
                    <a:pt x="57" y="249"/>
                  </a:moveTo>
                  <a:lnTo>
                    <a:pt x="58" y="249"/>
                  </a:lnTo>
                  <a:lnTo>
                    <a:pt x="57" y="249"/>
                  </a:lnTo>
                  <a:close/>
                  <a:moveTo>
                    <a:pt x="63" y="249"/>
                  </a:moveTo>
                  <a:lnTo>
                    <a:pt x="61" y="249"/>
                  </a:lnTo>
                  <a:lnTo>
                    <a:pt x="63" y="249"/>
                  </a:lnTo>
                  <a:lnTo>
                    <a:pt x="61" y="249"/>
                  </a:lnTo>
                  <a:lnTo>
                    <a:pt x="63" y="249"/>
                  </a:lnTo>
                  <a:close/>
                  <a:moveTo>
                    <a:pt x="61" y="247"/>
                  </a:moveTo>
                  <a:lnTo>
                    <a:pt x="61" y="249"/>
                  </a:lnTo>
                  <a:lnTo>
                    <a:pt x="61" y="247"/>
                  </a:lnTo>
                  <a:close/>
                  <a:moveTo>
                    <a:pt x="63" y="247"/>
                  </a:moveTo>
                  <a:lnTo>
                    <a:pt x="61" y="247"/>
                  </a:lnTo>
                  <a:lnTo>
                    <a:pt x="63" y="247"/>
                  </a:lnTo>
                  <a:close/>
                  <a:moveTo>
                    <a:pt x="61" y="249"/>
                  </a:moveTo>
                  <a:lnTo>
                    <a:pt x="60" y="247"/>
                  </a:lnTo>
                  <a:lnTo>
                    <a:pt x="61" y="247"/>
                  </a:lnTo>
                  <a:lnTo>
                    <a:pt x="61" y="249"/>
                  </a:lnTo>
                  <a:close/>
                  <a:moveTo>
                    <a:pt x="57" y="249"/>
                  </a:moveTo>
                  <a:lnTo>
                    <a:pt x="57" y="247"/>
                  </a:lnTo>
                  <a:lnTo>
                    <a:pt x="58" y="247"/>
                  </a:lnTo>
                  <a:lnTo>
                    <a:pt x="57" y="249"/>
                  </a:lnTo>
                  <a:close/>
                  <a:moveTo>
                    <a:pt x="335" y="247"/>
                  </a:moveTo>
                  <a:lnTo>
                    <a:pt x="333" y="247"/>
                  </a:lnTo>
                  <a:lnTo>
                    <a:pt x="335" y="247"/>
                  </a:lnTo>
                  <a:close/>
                  <a:moveTo>
                    <a:pt x="61" y="247"/>
                  </a:moveTo>
                  <a:lnTo>
                    <a:pt x="60" y="247"/>
                  </a:lnTo>
                  <a:lnTo>
                    <a:pt x="61" y="247"/>
                  </a:lnTo>
                  <a:lnTo>
                    <a:pt x="60" y="247"/>
                  </a:lnTo>
                  <a:lnTo>
                    <a:pt x="61" y="247"/>
                  </a:lnTo>
                  <a:close/>
                  <a:moveTo>
                    <a:pt x="63" y="247"/>
                  </a:moveTo>
                  <a:lnTo>
                    <a:pt x="61" y="247"/>
                  </a:lnTo>
                  <a:lnTo>
                    <a:pt x="61" y="246"/>
                  </a:lnTo>
                  <a:lnTo>
                    <a:pt x="61" y="247"/>
                  </a:lnTo>
                  <a:lnTo>
                    <a:pt x="63" y="247"/>
                  </a:lnTo>
                  <a:close/>
                  <a:moveTo>
                    <a:pt x="57" y="246"/>
                  </a:moveTo>
                  <a:lnTo>
                    <a:pt x="57" y="247"/>
                  </a:lnTo>
                  <a:lnTo>
                    <a:pt x="57" y="246"/>
                  </a:lnTo>
                  <a:close/>
                  <a:moveTo>
                    <a:pt x="61" y="246"/>
                  </a:moveTo>
                  <a:lnTo>
                    <a:pt x="63" y="246"/>
                  </a:lnTo>
                  <a:lnTo>
                    <a:pt x="61" y="246"/>
                  </a:lnTo>
                  <a:close/>
                  <a:moveTo>
                    <a:pt x="61" y="246"/>
                  </a:moveTo>
                  <a:lnTo>
                    <a:pt x="60" y="246"/>
                  </a:lnTo>
                  <a:lnTo>
                    <a:pt x="61" y="246"/>
                  </a:lnTo>
                  <a:close/>
                  <a:moveTo>
                    <a:pt x="68" y="244"/>
                  </a:moveTo>
                  <a:lnTo>
                    <a:pt x="68" y="246"/>
                  </a:lnTo>
                  <a:lnTo>
                    <a:pt x="68" y="244"/>
                  </a:lnTo>
                  <a:close/>
                  <a:moveTo>
                    <a:pt x="70" y="244"/>
                  </a:moveTo>
                  <a:lnTo>
                    <a:pt x="70" y="246"/>
                  </a:lnTo>
                  <a:lnTo>
                    <a:pt x="68" y="246"/>
                  </a:lnTo>
                  <a:lnTo>
                    <a:pt x="68" y="244"/>
                  </a:lnTo>
                  <a:lnTo>
                    <a:pt x="70" y="244"/>
                  </a:lnTo>
                  <a:close/>
                  <a:moveTo>
                    <a:pt x="55" y="244"/>
                  </a:moveTo>
                  <a:lnTo>
                    <a:pt x="57" y="244"/>
                  </a:lnTo>
                  <a:lnTo>
                    <a:pt x="57" y="246"/>
                  </a:lnTo>
                  <a:lnTo>
                    <a:pt x="55" y="246"/>
                  </a:lnTo>
                  <a:lnTo>
                    <a:pt x="55" y="244"/>
                  </a:lnTo>
                  <a:close/>
                  <a:moveTo>
                    <a:pt x="70" y="242"/>
                  </a:moveTo>
                  <a:lnTo>
                    <a:pt x="70" y="244"/>
                  </a:lnTo>
                  <a:lnTo>
                    <a:pt x="70" y="242"/>
                  </a:lnTo>
                  <a:lnTo>
                    <a:pt x="70" y="244"/>
                  </a:lnTo>
                  <a:lnTo>
                    <a:pt x="70" y="242"/>
                  </a:lnTo>
                  <a:close/>
                  <a:moveTo>
                    <a:pt x="71" y="242"/>
                  </a:moveTo>
                  <a:lnTo>
                    <a:pt x="71" y="244"/>
                  </a:lnTo>
                  <a:lnTo>
                    <a:pt x="71" y="242"/>
                  </a:lnTo>
                  <a:close/>
                  <a:moveTo>
                    <a:pt x="68" y="242"/>
                  </a:moveTo>
                  <a:lnTo>
                    <a:pt x="68" y="244"/>
                  </a:lnTo>
                  <a:lnTo>
                    <a:pt x="68" y="242"/>
                  </a:lnTo>
                  <a:close/>
                  <a:moveTo>
                    <a:pt x="305" y="242"/>
                  </a:moveTo>
                  <a:lnTo>
                    <a:pt x="304" y="242"/>
                  </a:lnTo>
                  <a:lnTo>
                    <a:pt x="305" y="242"/>
                  </a:lnTo>
                  <a:close/>
                  <a:moveTo>
                    <a:pt x="343" y="241"/>
                  </a:moveTo>
                  <a:lnTo>
                    <a:pt x="341" y="241"/>
                  </a:lnTo>
                  <a:lnTo>
                    <a:pt x="343" y="241"/>
                  </a:lnTo>
                  <a:lnTo>
                    <a:pt x="343" y="239"/>
                  </a:lnTo>
                  <a:lnTo>
                    <a:pt x="344" y="241"/>
                  </a:lnTo>
                  <a:lnTo>
                    <a:pt x="343" y="241"/>
                  </a:lnTo>
                  <a:close/>
                  <a:moveTo>
                    <a:pt x="73" y="239"/>
                  </a:moveTo>
                  <a:lnTo>
                    <a:pt x="73" y="241"/>
                  </a:lnTo>
                  <a:lnTo>
                    <a:pt x="73" y="239"/>
                  </a:lnTo>
                  <a:close/>
                  <a:moveTo>
                    <a:pt x="356" y="238"/>
                  </a:moveTo>
                  <a:lnTo>
                    <a:pt x="357" y="238"/>
                  </a:lnTo>
                  <a:lnTo>
                    <a:pt x="356" y="238"/>
                  </a:lnTo>
                  <a:close/>
                  <a:moveTo>
                    <a:pt x="66" y="238"/>
                  </a:moveTo>
                  <a:lnTo>
                    <a:pt x="66" y="239"/>
                  </a:lnTo>
                  <a:lnTo>
                    <a:pt x="66" y="238"/>
                  </a:lnTo>
                  <a:close/>
                  <a:moveTo>
                    <a:pt x="71" y="239"/>
                  </a:moveTo>
                  <a:lnTo>
                    <a:pt x="71" y="241"/>
                  </a:lnTo>
                  <a:lnTo>
                    <a:pt x="70" y="241"/>
                  </a:lnTo>
                  <a:lnTo>
                    <a:pt x="71" y="239"/>
                  </a:lnTo>
                  <a:lnTo>
                    <a:pt x="70" y="239"/>
                  </a:lnTo>
                  <a:lnTo>
                    <a:pt x="70" y="241"/>
                  </a:lnTo>
                  <a:lnTo>
                    <a:pt x="70" y="239"/>
                  </a:lnTo>
                  <a:lnTo>
                    <a:pt x="70" y="238"/>
                  </a:lnTo>
                  <a:lnTo>
                    <a:pt x="71" y="238"/>
                  </a:lnTo>
                  <a:lnTo>
                    <a:pt x="71" y="239"/>
                  </a:lnTo>
                  <a:lnTo>
                    <a:pt x="71" y="238"/>
                  </a:lnTo>
                  <a:lnTo>
                    <a:pt x="73" y="238"/>
                  </a:lnTo>
                  <a:lnTo>
                    <a:pt x="71" y="239"/>
                  </a:lnTo>
                  <a:close/>
                  <a:moveTo>
                    <a:pt x="340" y="238"/>
                  </a:moveTo>
                  <a:lnTo>
                    <a:pt x="338" y="238"/>
                  </a:lnTo>
                  <a:lnTo>
                    <a:pt x="340" y="238"/>
                  </a:lnTo>
                  <a:close/>
                  <a:moveTo>
                    <a:pt x="75" y="238"/>
                  </a:moveTo>
                  <a:lnTo>
                    <a:pt x="76" y="238"/>
                  </a:lnTo>
                  <a:lnTo>
                    <a:pt x="75" y="238"/>
                  </a:lnTo>
                  <a:close/>
                  <a:moveTo>
                    <a:pt x="356" y="238"/>
                  </a:moveTo>
                  <a:lnTo>
                    <a:pt x="357" y="238"/>
                  </a:lnTo>
                  <a:lnTo>
                    <a:pt x="359" y="238"/>
                  </a:lnTo>
                  <a:lnTo>
                    <a:pt x="357" y="238"/>
                  </a:lnTo>
                  <a:lnTo>
                    <a:pt x="356" y="238"/>
                  </a:lnTo>
                  <a:close/>
                  <a:moveTo>
                    <a:pt x="364" y="238"/>
                  </a:moveTo>
                  <a:lnTo>
                    <a:pt x="364" y="239"/>
                  </a:lnTo>
                  <a:lnTo>
                    <a:pt x="362" y="238"/>
                  </a:lnTo>
                  <a:lnTo>
                    <a:pt x="362" y="239"/>
                  </a:lnTo>
                  <a:lnTo>
                    <a:pt x="362" y="241"/>
                  </a:lnTo>
                  <a:lnTo>
                    <a:pt x="361" y="241"/>
                  </a:lnTo>
                  <a:lnTo>
                    <a:pt x="361" y="239"/>
                  </a:lnTo>
                  <a:lnTo>
                    <a:pt x="359" y="239"/>
                  </a:lnTo>
                  <a:lnTo>
                    <a:pt x="361" y="238"/>
                  </a:lnTo>
                  <a:lnTo>
                    <a:pt x="361" y="236"/>
                  </a:lnTo>
                  <a:lnTo>
                    <a:pt x="359" y="238"/>
                  </a:lnTo>
                  <a:lnTo>
                    <a:pt x="357" y="238"/>
                  </a:lnTo>
                  <a:lnTo>
                    <a:pt x="357" y="236"/>
                  </a:lnTo>
                  <a:lnTo>
                    <a:pt x="359" y="236"/>
                  </a:lnTo>
                  <a:lnTo>
                    <a:pt x="361" y="236"/>
                  </a:lnTo>
                  <a:lnTo>
                    <a:pt x="362" y="236"/>
                  </a:lnTo>
                  <a:lnTo>
                    <a:pt x="362" y="238"/>
                  </a:lnTo>
                  <a:lnTo>
                    <a:pt x="364" y="238"/>
                  </a:lnTo>
                  <a:close/>
                  <a:moveTo>
                    <a:pt x="340" y="236"/>
                  </a:moveTo>
                  <a:lnTo>
                    <a:pt x="341" y="236"/>
                  </a:lnTo>
                  <a:lnTo>
                    <a:pt x="340" y="236"/>
                  </a:lnTo>
                  <a:close/>
                  <a:moveTo>
                    <a:pt x="343" y="236"/>
                  </a:moveTo>
                  <a:lnTo>
                    <a:pt x="344" y="236"/>
                  </a:lnTo>
                  <a:lnTo>
                    <a:pt x="343" y="236"/>
                  </a:lnTo>
                  <a:close/>
                  <a:moveTo>
                    <a:pt x="338" y="236"/>
                  </a:moveTo>
                  <a:lnTo>
                    <a:pt x="338" y="234"/>
                  </a:lnTo>
                  <a:lnTo>
                    <a:pt x="340" y="236"/>
                  </a:lnTo>
                  <a:lnTo>
                    <a:pt x="338" y="236"/>
                  </a:lnTo>
                  <a:close/>
                  <a:moveTo>
                    <a:pt x="70" y="234"/>
                  </a:moveTo>
                  <a:lnTo>
                    <a:pt x="70" y="233"/>
                  </a:lnTo>
                  <a:lnTo>
                    <a:pt x="68" y="234"/>
                  </a:lnTo>
                  <a:lnTo>
                    <a:pt x="70" y="234"/>
                  </a:lnTo>
                  <a:close/>
                  <a:moveTo>
                    <a:pt x="336" y="233"/>
                  </a:moveTo>
                  <a:lnTo>
                    <a:pt x="336" y="234"/>
                  </a:lnTo>
                  <a:lnTo>
                    <a:pt x="336" y="233"/>
                  </a:lnTo>
                  <a:lnTo>
                    <a:pt x="338" y="233"/>
                  </a:lnTo>
                  <a:lnTo>
                    <a:pt x="336" y="233"/>
                  </a:lnTo>
                  <a:close/>
                  <a:moveTo>
                    <a:pt x="68" y="233"/>
                  </a:moveTo>
                  <a:lnTo>
                    <a:pt x="70" y="233"/>
                  </a:lnTo>
                  <a:lnTo>
                    <a:pt x="68" y="233"/>
                  </a:lnTo>
                  <a:close/>
                  <a:moveTo>
                    <a:pt x="84" y="233"/>
                  </a:moveTo>
                  <a:lnTo>
                    <a:pt x="83" y="233"/>
                  </a:lnTo>
                  <a:lnTo>
                    <a:pt x="83" y="234"/>
                  </a:lnTo>
                  <a:lnTo>
                    <a:pt x="81" y="234"/>
                  </a:lnTo>
                  <a:lnTo>
                    <a:pt x="81" y="233"/>
                  </a:lnTo>
                  <a:lnTo>
                    <a:pt x="83" y="233"/>
                  </a:lnTo>
                  <a:lnTo>
                    <a:pt x="84" y="233"/>
                  </a:lnTo>
                  <a:close/>
                  <a:moveTo>
                    <a:pt x="76" y="233"/>
                  </a:moveTo>
                  <a:lnTo>
                    <a:pt x="76" y="234"/>
                  </a:lnTo>
                  <a:lnTo>
                    <a:pt x="76" y="236"/>
                  </a:lnTo>
                  <a:lnTo>
                    <a:pt x="78" y="236"/>
                  </a:lnTo>
                  <a:lnTo>
                    <a:pt x="76" y="236"/>
                  </a:lnTo>
                  <a:lnTo>
                    <a:pt x="75" y="238"/>
                  </a:lnTo>
                  <a:lnTo>
                    <a:pt x="75" y="239"/>
                  </a:lnTo>
                  <a:lnTo>
                    <a:pt x="76" y="239"/>
                  </a:lnTo>
                  <a:lnTo>
                    <a:pt x="75" y="239"/>
                  </a:lnTo>
                  <a:lnTo>
                    <a:pt x="75" y="238"/>
                  </a:lnTo>
                  <a:lnTo>
                    <a:pt x="73" y="239"/>
                  </a:lnTo>
                  <a:lnTo>
                    <a:pt x="73" y="238"/>
                  </a:lnTo>
                  <a:lnTo>
                    <a:pt x="71" y="238"/>
                  </a:lnTo>
                  <a:lnTo>
                    <a:pt x="70" y="238"/>
                  </a:lnTo>
                  <a:lnTo>
                    <a:pt x="68" y="238"/>
                  </a:lnTo>
                  <a:lnTo>
                    <a:pt x="68" y="236"/>
                  </a:lnTo>
                  <a:lnTo>
                    <a:pt x="70" y="234"/>
                  </a:lnTo>
                  <a:lnTo>
                    <a:pt x="71" y="233"/>
                  </a:lnTo>
                  <a:lnTo>
                    <a:pt x="73" y="233"/>
                  </a:lnTo>
                  <a:lnTo>
                    <a:pt x="75" y="233"/>
                  </a:lnTo>
                  <a:lnTo>
                    <a:pt x="76" y="233"/>
                  </a:lnTo>
                  <a:close/>
                  <a:moveTo>
                    <a:pt x="68" y="231"/>
                  </a:moveTo>
                  <a:lnTo>
                    <a:pt x="68" y="233"/>
                  </a:lnTo>
                  <a:lnTo>
                    <a:pt x="68" y="231"/>
                  </a:lnTo>
                  <a:close/>
                  <a:moveTo>
                    <a:pt x="81" y="233"/>
                  </a:moveTo>
                  <a:lnTo>
                    <a:pt x="79" y="233"/>
                  </a:lnTo>
                  <a:lnTo>
                    <a:pt x="81" y="233"/>
                  </a:lnTo>
                  <a:lnTo>
                    <a:pt x="79" y="233"/>
                  </a:lnTo>
                  <a:lnTo>
                    <a:pt x="81" y="231"/>
                  </a:lnTo>
                  <a:lnTo>
                    <a:pt x="79" y="231"/>
                  </a:lnTo>
                  <a:lnTo>
                    <a:pt x="81" y="231"/>
                  </a:lnTo>
                  <a:lnTo>
                    <a:pt x="81" y="233"/>
                  </a:lnTo>
                  <a:close/>
                  <a:moveTo>
                    <a:pt x="344" y="233"/>
                  </a:moveTo>
                  <a:lnTo>
                    <a:pt x="343" y="233"/>
                  </a:lnTo>
                  <a:lnTo>
                    <a:pt x="343" y="231"/>
                  </a:lnTo>
                  <a:lnTo>
                    <a:pt x="341" y="231"/>
                  </a:lnTo>
                  <a:lnTo>
                    <a:pt x="343" y="231"/>
                  </a:lnTo>
                  <a:lnTo>
                    <a:pt x="344" y="231"/>
                  </a:lnTo>
                  <a:lnTo>
                    <a:pt x="344" y="233"/>
                  </a:lnTo>
                  <a:lnTo>
                    <a:pt x="344" y="231"/>
                  </a:lnTo>
                  <a:lnTo>
                    <a:pt x="346" y="233"/>
                  </a:lnTo>
                  <a:lnTo>
                    <a:pt x="344" y="233"/>
                  </a:lnTo>
                  <a:close/>
                  <a:moveTo>
                    <a:pt x="361" y="233"/>
                  </a:moveTo>
                  <a:lnTo>
                    <a:pt x="361" y="234"/>
                  </a:lnTo>
                  <a:lnTo>
                    <a:pt x="359" y="233"/>
                  </a:lnTo>
                  <a:lnTo>
                    <a:pt x="361" y="233"/>
                  </a:lnTo>
                  <a:lnTo>
                    <a:pt x="359" y="233"/>
                  </a:lnTo>
                  <a:lnTo>
                    <a:pt x="357" y="233"/>
                  </a:lnTo>
                  <a:lnTo>
                    <a:pt x="357" y="231"/>
                  </a:lnTo>
                  <a:lnTo>
                    <a:pt x="359" y="231"/>
                  </a:lnTo>
                  <a:lnTo>
                    <a:pt x="361" y="231"/>
                  </a:lnTo>
                  <a:lnTo>
                    <a:pt x="361" y="233"/>
                  </a:lnTo>
                  <a:lnTo>
                    <a:pt x="362" y="233"/>
                  </a:lnTo>
                  <a:lnTo>
                    <a:pt x="361" y="233"/>
                  </a:lnTo>
                  <a:close/>
                  <a:moveTo>
                    <a:pt x="353" y="231"/>
                  </a:moveTo>
                  <a:lnTo>
                    <a:pt x="354" y="231"/>
                  </a:lnTo>
                  <a:lnTo>
                    <a:pt x="353" y="231"/>
                  </a:lnTo>
                  <a:close/>
                  <a:moveTo>
                    <a:pt x="367" y="231"/>
                  </a:moveTo>
                  <a:lnTo>
                    <a:pt x="367" y="233"/>
                  </a:lnTo>
                  <a:lnTo>
                    <a:pt x="366" y="233"/>
                  </a:lnTo>
                  <a:lnTo>
                    <a:pt x="366" y="231"/>
                  </a:lnTo>
                  <a:lnTo>
                    <a:pt x="364" y="231"/>
                  </a:lnTo>
                  <a:lnTo>
                    <a:pt x="362" y="231"/>
                  </a:lnTo>
                  <a:lnTo>
                    <a:pt x="364" y="231"/>
                  </a:lnTo>
                  <a:lnTo>
                    <a:pt x="364" y="229"/>
                  </a:lnTo>
                  <a:lnTo>
                    <a:pt x="366" y="229"/>
                  </a:lnTo>
                  <a:lnTo>
                    <a:pt x="366" y="231"/>
                  </a:lnTo>
                  <a:lnTo>
                    <a:pt x="366" y="229"/>
                  </a:lnTo>
                  <a:lnTo>
                    <a:pt x="366" y="231"/>
                  </a:lnTo>
                  <a:lnTo>
                    <a:pt x="367" y="231"/>
                  </a:lnTo>
                  <a:close/>
                  <a:moveTo>
                    <a:pt x="375" y="231"/>
                  </a:moveTo>
                  <a:lnTo>
                    <a:pt x="374" y="231"/>
                  </a:lnTo>
                  <a:lnTo>
                    <a:pt x="372" y="231"/>
                  </a:lnTo>
                  <a:lnTo>
                    <a:pt x="371" y="231"/>
                  </a:lnTo>
                  <a:lnTo>
                    <a:pt x="369" y="231"/>
                  </a:lnTo>
                  <a:lnTo>
                    <a:pt x="369" y="229"/>
                  </a:lnTo>
                  <a:lnTo>
                    <a:pt x="371" y="229"/>
                  </a:lnTo>
                  <a:lnTo>
                    <a:pt x="372" y="229"/>
                  </a:lnTo>
                  <a:lnTo>
                    <a:pt x="374" y="229"/>
                  </a:lnTo>
                  <a:lnTo>
                    <a:pt x="374" y="231"/>
                  </a:lnTo>
                  <a:lnTo>
                    <a:pt x="375" y="231"/>
                  </a:lnTo>
                  <a:close/>
                  <a:moveTo>
                    <a:pt x="353" y="229"/>
                  </a:moveTo>
                  <a:lnTo>
                    <a:pt x="354" y="229"/>
                  </a:lnTo>
                  <a:lnTo>
                    <a:pt x="353" y="229"/>
                  </a:lnTo>
                  <a:close/>
                  <a:moveTo>
                    <a:pt x="70" y="229"/>
                  </a:moveTo>
                  <a:lnTo>
                    <a:pt x="70" y="228"/>
                  </a:lnTo>
                  <a:lnTo>
                    <a:pt x="70" y="229"/>
                  </a:lnTo>
                  <a:close/>
                  <a:moveTo>
                    <a:pt x="346" y="228"/>
                  </a:moveTo>
                  <a:lnTo>
                    <a:pt x="348" y="228"/>
                  </a:lnTo>
                  <a:lnTo>
                    <a:pt x="346" y="228"/>
                  </a:lnTo>
                  <a:close/>
                  <a:moveTo>
                    <a:pt x="371" y="223"/>
                  </a:moveTo>
                  <a:lnTo>
                    <a:pt x="371" y="225"/>
                  </a:lnTo>
                  <a:lnTo>
                    <a:pt x="371" y="223"/>
                  </a:lnTo>
                  <a:close/>
                  <a:moveTo>
                    <a:pt x="110" y="223"/>
                  </a:moveTo>
                  <a:lnTo>
                    <a:pt x="112" y="223"/>
                  </a:lnTo>
                  <a:lnTo>
                    <a:pt x="110" y="223"/>
                  </a:lnTo>
                  <a:close/>
                  <a:moveTo>
                    <a:pt x="102" y="234"/>
                  </a:moveTo>
                  <a:lnTo>
                    <a:pt x="107" y="229"/>
                  </a:lnTo>
                  <a:lnTo>
                    <a:pt x="105" y="229"/>
                  </a:lnTo>
                  <a:lnTo>
                    <a:pt x="104" y="229"/>
                  </a:lnTo>
                  <a:lnTo>
                    <a:pt x="102" y="229"/>
                  </a:lnTo>
                  <a:lnTo>
                    <a:pt x="99" y="229"/>
                  </a:lnTo>
                  <a:lnTo>
                    <a:pt x="97" y="229"/>
                  </a:lnTo>
                  <a:lnTo>
                    <a:pt x="96" y="229"/>
                  </a:lnTo>
                  <a:lnTo>
                    <a:pt x="94" y="229"/>
                  </a:lnTo>
                  <a:lnTo>
                    <a:pt x="96" y="228"/>
                  </a:lnTo>
                  <a:lnTo>
                    <a:pt x="97" y="228"/>
                  </a:lnTo>
                  <a:lnTo>
                    <a:pt x="99" y="228"/>
                  </a:lnTo>
                  <a:lnTo>
                    <a:pt x="101" y="226"/>
                  </a:lnTo>
                  <a:lnTo>
                    <a:pt x="102" y="226"/>
                  </a:lnTo>
                  <a:lnTo>
                    <a:pt x="102" y="225"/>
                  </a:lnTo>
                  <a:lnTo>
                    <a:pt x="104" y="225"/>
                  </a:lnTo>
                  <a:lnTo>
                    <a:pt x="104" y="226"/>
                  </a:lnTo>
                  <a:lnTo>
                    <a:pt x="105" y="226"/>
                  </a:lnTo>
                  <a:lnTo>
                    <a:pt x="107" y="226"/>
                  </a:lnTo>
                  <a:lnTo>
                    <a:pt x="105" y="226"/>
                  </a:lnTo>
                  <a:lnTo>
                    <a:pt x="107" y="226"/>
                  </a:lnTo>
                  <a:lnTo>
                    <a:pt x="109" y="226"/>
                  </a:lnTo>
                  <a:lnTo>
                    <a:pt x="110" y="226"/>
                  </a:lnTo>
                  <a:lnTo>
                    <a:pt x="112" y="226"/>
                  </a:lnTo>
                  <a:lnTo>
                    <a:pt x="112" y="225"/>
                  </a:lnTo>
                  <a:lnTo>
                    <a:pt x="115" y="223"/>
                  </a:lnTo>
                  <a:lnTo>
                    <a:pt x="115" y="221"/>
                  </a:lnTo>
                  <a:lnTo>
                    <a:pt x="117" y="221"/>
                  </a:lnTo>
                  <a:lnTo>
                    <a:pt x="118" y="221"/>
                  </a:lnTo>
                  <a:lnTo>
                    <a:pt x="120" y="221"/>
                  </a:lnTo>
                  <a:lnTo>
                    <a:pt x="118" y="225"/>
                  </a:lnTo>
                  <a:lnTo>
                    <a:pt x="117" y="225"/>
                  </a:lnTo>
                  <a:lnTo>
                    <a:pt x="117" y="226"/>
                  </a:lnTo>
                  <a:lnTo>
                    <a:pt x="115" y="226"/>
                  </a:lnTo>
                  <a:lnTo>
                    <a:pt x="112" y="228"/>
                  </a:lnTo>
                  <a:lnTo>
                    <a:pt x="110" y="228"/>
                  </a:lnTo>
                  <a:lnTo>
                    <a:pt x="109" y="229"/>
                  </a:lnTo>
                  <a:lnTo>
                    <a:pt x="107" y="229"/>
                  </a:lnTo>
                  <a:lnTo>
                    <a:pt x="102" y="234"/>
                  </a:lnTo>
                  <a:close/>
                  <a:moveTo>
                    <a:pt x="372" y="220"/>
                  </a:moveTo>
                  <a:lnTo>
                    <a:pt x="372" y="221"/>
                  </a:lnTo>
                  <a:lnTo>
                    <a:pt x="372" y="220"/>
                  </a:lnTo>
                  <a:close/>
                  <a:moveTo>
                    <a:pt x="369" y="220"/>
                  </a:moveTo>
                  <a:lnTo>
                    <a:pt x="371" y="220"/>
                  </a:lnTo>
                  <a:lnTo>
                    <a:pt x="369" y="221"/>
                  </a:lnTo>
                  <a:lnTo>
                    <a:pt x="369" y="220"/>
                  </a:lnTo>
                  <a:lnTo>
                    <a:pt x="369" y="218"/>
                  </a:lnTo>
                  <a:lnTo>
                    <a:pt x="369" y="220"/>
                  </a:lnTo>
                  <a:close/>
                  <a:moveTo>
                    <a:pt x="369" y="216"/>
                  </a:moveTo>
                  <a:lnTo>
                    <a:pt x="371" y="216"/>
                  </a:lnTo>
                  <a:lnTo>
                    <a:pt x="369" y="216"/>
                  </a:lnTo>
                  <a:close/>
                  <a:moveTo>
                    <a:pt x="372" y="216"/>
                  </a:moveTo>
                  <a:lnTo>
                    <a:pt x="371" y="216"/>
                  </a:lnTo>
                  <a:lnTo>
                    <a:pt x="371" y="215"/>
                  </a:lnTo>
                  <a:lnTo>
                    <a:pt x="372" y="215"/>
                  </a:lnTo>
                  <a:lnTo>
                    <a:pt x="372" y="216"/>
                  </a:lnTo>
                  <a:close/>
                  <a:moveTo>
                    <a:pt x="371" y="215"/>
                  </a:moveTo>
                  <a:lnTo>
                    <a:pt x="371" y="216"/>
                  </a:lnTo>
                  <a:lnTo>
                    <a:pt x="371" y="215"/>
                  </a:lnTo>
                  <a:close/>
                  <a:moveTo>
                    <a:pt x="372" y="215"/>
                  </a:moveTo>
                  <a:lnTo>
                    <a:pt x="371" y="215"/>
                  </a:lnTo>
                  <a:lnTo>
                    <a:pt x="372" y="215"/>
                  </a:lnTo>
                  <a:close/>
                  <a:moveTo>
                    <a:pt x="76" y="213"/>
                  </a:moveTo>
                  <a:lnTo>
                    <a:pt x="76" y="215"/>
                  </a:lnTo>
                  <a:lnTo>
                    <a:pt x="76" y="213"/>
                  </a:lnTo>
                  <a:close/>
                  <a:moveTo>
                    <a:pt x="105" y="213"/>
                  </a:moveTo>
                  <a:lnTo>
                    <a:pt x="105" y="215"/>
                  </a:lnTo>
                  <a:lnTo>
                    <a:pt x="105" y="213"/>
                  </a:lnTo>
                  <a:close/>
                  <a:moveTo>
                    <a:pt x="390" y="213"/>
                  </a:moveTo>
                  <a:lnTo>
                    <a:pt x="392" y="213"/>
                  </a:lnTo>
                  <a:lnTo>
                    <a:pt x="390" y="213"/>
                  </a:lnTo>
                  <a:close/>
                  <a:moveTo>
                    <a:pt x="104" y="213"/>
                  </a:moveTo>
                  <a:lnTo>
                    <a:pt x="104" y="215"/>
                  </a:lnTo>
                  <a:lnTo>
                    <a:pt x="104" y="213"/>
                  </a:lnTo>
                  <a:lnTo>
                    <a:pt x="102" y="213"/>
                  </a:lnTo>
                  <a:lnTo>
                    <a:pt x="104" y="213"/>
                  </a:lnTo>
                  <a:close/>
                  <a:moveTo>
                    <a:pt x="112" y="216"/>
                  </a:moveTo>
                  <a:lnTo>
                    <a:pt x="114" y="218"/>
                  </a:lnTo>
                  <a:lnTo>
                    <a:pt x="115" y="218"/>
                  </a:lnTo>
                  <a:lnTo>
                    <a:pt x="115" y="220"/>
                  </a:lnTo>
                  <a:lnTo>
                    <a:pt x="115" y="221"/>
                  </a:lnTo>
                  <a:lnTo>
                    <a:pt x="114" y="221"/>
                  </a:lnTo>
                  <a:lnTo>
                    <a:pt x="110" y="223"/>
                  </a:lnTo>
                  <a:lnTo>
                    <a:pt x="109" y="225"/>
                  </a:lnTo>
                  <a:lnTo>
                    <a:pt x="107" y="225"/>
                  </a:lnTo>
                  <a:lnTo>
                    <a:pt x="105" y="225"/>
                  </a:lnTo>
                  <a:lnTo>
                    <a:pt x="105" y="223"/>
                  </a:lnTo>
                  <a:lnTo>
                    <a:pt x="104" y="225"/>
                  </a:lnTo>
                  <a:lnTo>
                    <a:pt x="104" y="223"/>
                  </a:lnTo>
                  <a:lnTo>
                    <a:pt x="104" y="221"/>
                  </a:lnTo>
                  <a:lnTo>
                    <a:pt x="104" y="220"/>
                  </a:lnTo>
                  <a:lnTo>
                    <a:pt x="105" y="218"/>
                  </a:lnTo>
                  <a:lnTo>
                    <a:pt x="105" y="216"/>
                  </a:lnTo>
                  <a:lnTo>
                    <a:pt x="109" y="215"/>
                  </a:lnTo>
                  <a:lnTo>
                    <a:pt x="109" y="213"/>
                  </a:lnTo>
                  <a:lnTo>
                    <a:pt x="110" y="213"/>
                  </a:lnTo>
                  <a:lnTo>
                    <a:pt x="110" y="215"/>
                  </a:lnTo>
                  <a:lnTo>
                    <a:pt x="112" y="215"/>
                  </a:lnTo>
                  <a:lnTo>
                    <a:pt x="112" y="216"/>
                  </a:lnTo>
                  <a:close/>
                  <a:moveTo>
                    <a:pt x="387" y="213"/>
                  </a:moveTo>
                  <a:lnTo>
                    <a:pt x="388" y="213"/>
                  </a:lnTo>
                  <a:lnTo>
                    <a:pt x="387" y="213"/>
                  </a:lnTo>
                  <a:close/>
                  <a:moveTo>
                    <a:pt x="78" y="213"/>
                  </a:moveTo>
                  <a:lnTo>
                    <a:pt x="76" y="213"/>
                  </a:lnTo>
                  <a:lnTo>
                    <a:pt x="76" y="215"/>
                  </a:lnTo>
                  <a:lnTo>
                    <a:pt x="76" y="213"/>
                  </a:lnTo>
                  <a:lnTo>
                    <a:pt x="78" y="213"/>
                  </a:lnTo>
                  <a:lnTo>
                    <a:pt x="76" y="213"/>
                  </a:lnTo>
                  <a:lnTo>
                    <a:pt x="78" y="213"/>
                  </a:lnTo>
                  <a:close/>
                  <a:moveTo>
                    <a:pt x="78" y="213"/>
                  </a:moveTo>
                  <a:lnTo>
                    <a:pt x="78" y="212"/>
                  </a:lnTo>
                  <a:lnTo>
                    <a:pt x="78" y="213"/>
                  </a:lnTo>
                  <a:close/>
                  <a:moveTo>
                    <a:pt x="388" y="212"/>
                  </a:moveTo>
                  <a:lnTo>
                    <a:pt x="388" y="213"/>
                  </a:lnTo>
                  <a:lnTo>
                    <a:pt x="388" y="212"/>
                  </a:lnTo>
                  <a:close/>
                  <a:moveTo>
                    <a:pt x="76" y="212"/>
                  </a:moveTo>
                  <a:lnTo>
                    <a:pt x="78" y="213"/>
                  </a:lnTo>
                  <a:lnTo>
                    <a:pt x="76" y="213"/>
                  </a:lnTo>
                  <a:lnTo>
                    <a:pt x="76" y="212"/>
                  </a:lnTo>
                  <a:close/>
                  <a:moveTo>
                    <a:pt x="387" y="212"/>
                  </a:moveTo>
                  <a:lnTo>
                    <a:pt x="387" y="213"/>
                  </a:lnTo>
                  <a:lnTo>
                    <a:pt x="387" y="212"/>
                  </a:lnTo>
                  <a:close/>
                  <a:moveTo>
                    <a:pt x="76" y="212"/>
                  </a:moveTo>
                  <a:lnTo>
                    <a:pt x="78" y="212"/>
                  </a:lnTo>
                  <a:lnTo>
                    <a:pt x="76" y="212"/>
                  </a:lnTo>
                  <a:close/>
                  <a:moveTo>
                    <a:pt x="97" y="212"/>
                  </a:moveTo>
                  <a:lnTo>
                    <a:pt x="99" y="212"/>
                  </a:lnTo>
                  <a:lnTo>
                    <a:pt x="97" y="212"/>
                  </a:lnTo>
                  <a:lnTo>
                    <a:pt x="97" y="213"/>
                  </a:lnTo>
                  <a:lnTo>
                    <a:pt x="97" y="212"/>
                  </a:lnTo>
                  <a:close/>
                  <a:moveTo>
                    <a:pt x="392" y="212"/>
                  </a:moveTo>
                  <a:lnTo>
                    <a:pt x="390" y="212"/>
                  </a:lnTo>
                  <a:lnTo>
                    <a:pt x="392" y="210"/>
                  </a:lnTo>
                  <a:lnTo>
                    <a:pt x="393" y="212"/>
                  </a:lnTo>
                  <a:lnTo>
                    <a:pt x="392" y="212"/>
                  </a:lnTo>
                  <a:close/>
                  <a:moveTo>
                    <a:pt x="104" y="210"/>
                  </a:moveTo>
                  <a:lnTo>
                    <a:pt x="102" y="210"/>
                  </a:lnTo>
                  <a:lnTo>
                    <a:pt x="104" y="210"/>
                  </a:lnTo>
                  <a:close/>
                  <a:moveTo>
                    <a:pt x="105" y="213"/>
                  </a:moveTo>
                  <a:lnTo>
                    <a:pt x="104" y="213"/>
                  </a:lnTo>
                  <a:lnTo>
                    <a:pt x="102" y="213"/>
                  </a:lnTo>
                  <a:lnTo>
                    <a:pt x="102" y="212"/>
                  </a:lnTo>
                  <a:lnTo>
                    <a:pt x="102" y="213"/>
                  </a:lnTo>
                  <a:lnTo>
                    <a:pt x="102" y="212"/>
                  </a:lnTo>
                  <a:lnTo>
                    <a:pt x="102" y="210"/>
                  </a:lnTo>
                  <a:lnTo>
                    <a:pt x="102" y="212"/>
                  </a:lnTo>
                  <a:lnTo>
                    <a:pt x="104" y="212"/>
                  </a:lnTo>
                  <a:lnTo>
                    <a:pt x="105" y="213"/>
                  </a:lnTo>
                  <a:lnTo>
                    <a:pt x="104" y="213"/>
                  </a:lnTo>
                  <a:lnTo>
                    <a:pt x="105" y="213"/>
                  </a:lnTo>
                  <a:lnTo>
                    <a:pt x="107" y="213"/>
                  </a:lnTo>
                  <a:lnTo>
                    <a:pt x="105" y="213"/>
                  </a:lnTo>
                  <a:close/>
                  <a:moveTo>
                    <a:pt x="401" y="210"/>
                  </a:moveTo>
                  <a:lnTo>
                    <a:pt x="403" y="212"/>
                  </a:lnTo>
                  <a:lnTo>
                    <a:pt x="401" y="212"/>
                  </a:lnTo>
                  <a:lnTo>
                    <a:pt x="401" y="213"/>
                  </a:lnTo>
                  <a:lnTo>
                    <a:pt x="400" y="213"/>
                  </a:lnTo>
                  <a:lnTo>
                    <a:pt x="400" y="212"/>
                  </a:lnTo>
                  <a:lnTo>
                    <a:pt x="400" y="213"/>
                  </a:lnTo>
                  <a:lnTo>
                    <a:pt x="398" y="213"/>
                  </a:lnTo>
                  <a:lnTo>
                    <a:pt x="397" y="213"/>
                  </a:lnTo>
                  <a:lnTo>
                    <a:pt x="395" y="213"/>
                  </a:lnTo>
                  <a:lnTo>
                    <a:pt x="395" y="215"/>
                  </a:lnTo>
                  <a:lnTo>
                    <a:pt x="397" y="215"/>
                  </a:lnTo>
                  <a:lnTo>
                    <a:pt x="398" y="215"/>
                  </a:lnTo>
                  <a:lnTo>
                    <a:pt x="400" y="215"/>
                  </a:lnTo>
                  <a:lnTo>
                    <a:pt x="398" y="215"/>
                  </a:lnTo>
                  <a:lnTo>
                    <a:pt x="398" y="216"/>
                  </a:lnTo>
                  <a:lnTo>
                    <a:pt x="398" y="218"/>
                  </a:lnTo>
                  <a:lnTo>
                    <a:pt x="397" y="218"/>
                  </a:lnTo>
                  <a:lnTo>
                    <a:pt x="397" y="216"/>
                  </a:lnTo>
                  <a:lnTo>
                    <a:pt x="397" y="218"/>
                  </a:lnTo>
                  <a:lnTo>
                    <a:pt x="395" y="218"/>
                  </a:lnTo>
                  <a:lnTo>
                    <a:pt x="395" y="216"/>
                  </a:lnTo>
                  <a:lnTo>
                    <a:pt x="395" y="218"/>
                  </a:lnTo>
                  <a:lnTo>
                    <a:pt x="393" y="216"/>
                  </a:lnTo>
                  <a:lnTo>
                    <a:pt x="392" y="216"/>
                  </a:lnTo>
                  <a:lnTo>
                    <a:pt x="390" y="215"/>
                  </a:lnTo>
                  <a:lnTo>
                    <a:pt x="390" y="216"/>
                  </a:lnTo>
                  <a:lnTo>
                    <a:pt x="392" y="218"/>
                  </a:lnTo>
                  <a:lnTo>
                    <a:pt x="390" y="218"/>
                  </a:lnTo>
                  <a:lnTo>
                    <a:pt x="392" y="218"/>
                  </a:lnTo>
                  <a:lnTo>
                    <a:pt x="392" y="220"/>
                  </a:lnTo>
                  <a:lnTo>
                    <a:pt x="393" y="220"/>
                  </a:lnTo>
                  <a:lnTo>
                    <a:pt x="392" y="220"/>
                  </a:lnTo>
                  <a:lnTo>
                    <a:pt x="392" y="221"/>
                  </a:lnTo>
                  <a:lnTo>
                    <a:pt x="392" y="220"/>
                  </a:lnTo>
                  <a:lnTo>
                    <a:pt x="392" y="221"/>
                  </a:lnTo>
                  <a:lnTo>
                    <a:pt x="390" y="221"/>
                  </a:lnTo>
                  <a:lnTo>
                    <a:pt x="388" y="220"/>
                  </a:lnTo>
                  <a:lnTo>
                    <a:pt x="387" y="220"/>
                  </a:lnTo>
                  <a:lnTo>
                    <a:pt x="387" y="218"/>
                  </a:lnTo>
                  <a:lnTo>
                    <a:pt x="387" y="216"/>
                  </a:lnTo>
                  <a:lnTo>
                    <a:pt x="385" y="216"/>
                  </a:lnTo>
                  <a:lnTo>
                    <a:pt x="384" y="216"/>
                  </a:lnTo>
                  <a:lnTo>
                    <a:pt x="382" y="215"/>
                  </a:lnTo>
                  <a:lnTo>
                    <a:pt x="380" y="215"/>
                  </a:lnTo>
                  <a:lnTo>
                    <a:pt x="380" y="213"/>
                  </a:lnTo>
                  <a:lnTo>
                    <a:pt x="382" y="213"/>
                  </a:lnTo>
                  <a:lnTo>
                    <a:pt x="384" y="213"/>
                  </a:lnTo>
                  <a:lnTo>
                    <a:pt x="385" y="213"/>
                  </a:lnTo>
                  <a:lnTo>
                    <a:pt x="387" y="213"/>
                  </a:lnTo>
                  <a:lnTo>
                    <a:pt x="388" y="213"/>
                  </a:lnTo>
                  <a:lnTo>
                    <a:pt x="390" y="215"/>
                  </a:lnTo>
                  <a:lnTo>
                    <a:pt x="392" y="215"/>
                  </a:lnTo>
                  <a:lnTo>
                    <a:pt x="392" y="213"/>
                  </a:lnTo>
                  <a:lnTo>
                    <a:pt x="392" y="212"/>
                  </a:lnTo>
                  <a:lnTo>
                    <a:pt x="393" y="212"/>
                  </a:lnTo>
                  <a:lnTo>
                    <a:pt x="393" y="213"/>
                  </a:lnTo>
                  <a:lnTo>
                    <a:pt x="395" y="212"/>
                  </a:lnTo>
                  <a:lnTo>
                    <a:pt x="395" y="213"/>
                  </a:lnTo>
                  <a:lnTo>
                    <a:pt x="395" y="212"/>
                  </a:lnTo>
                  <a:lnTo>
                    <a:pt x="395" y="210"/>
                  </a:lnTo>
                  <a:lnTo>
                    <a:pt x="398" y="210"/>
                  </a:lnTo>
                  <a:lnTo>
                    <a:pt x="400" y="210"/>
                  </a:lnTo>
                  <a:lnTo>
                    <a:pt x="401" y="210"/>
                  </a:lnTo>
                  <a:close/>
                  <a:moveTo>
                    <a:pt x="101" y="210"/>
                  </a:moveTo>
                  <a:lnTo>
                    <a:pt x="101" y="208"/>
                  </a:lnTo>
                  <a:lnTo>
                    <a:pt x="102" y="210"/>
                  </a:lnTo>
                  <a:lnTo>
                    <a:pt x="101" y="210"/>
                  </a:lnTo>
                  <a:close/>
                  <a:moveTo>
                    <a:pt x="395" y="208"/>
                  </a:moveTo>
                  <a:lnTo>
                    <a:pt x="397" y="208"/>
                  </a:lnTo>
                  <a:lnTo>
                    <a:pt x="395" y="208"/>
                  </a:lnTo>
                  <a:close/>
                  <a:moveTo>
                    <a:pt x="83" y="208"/>
                  </a:moveTo>
                  <a:lnTo>
                    <a:pt x="84" y="208"/>
                  </a:lnTo>
                  <a:lnTo>
                    <a:pt x="83" y="208"/>
                  </a:lnTo>
                  <a:close/>
                  <a:moveTo>
                    <a:pt x="94" y="208"/>
                  </a:moveTo>
                  <a:lnTo>
                    <a:pt x="96" y="210"/>
                  </a:lnTo>
                  <a:lnTo>
                    <a:pt x="97" y="212"/>
                  </a:lnTo>
                  <a:lnTo>
                    <a:pt x="97" y="213"/>
                  </a:lnTo>
                  <a:lnTo>
                    <a:pt x="96" y="215"/>
                  </a:lnTo>
                  <a:lnTo>
                    <a:pt x="96" y="216"/>
                  </a:lnTo>
                  <a:lnTo>
                    <a:pt x="97" y="216"/>
                  </a:lnTo>
                  <a:lnTo>
                    <a:pt x="97" y="215"/>
                  </a:lnTo>
                  <a:lnTo>
                    <a:pt x="99" y="215"/>
                  </a:lnTo>
                  <a:lnTo>
                    <a:pt x="101" y="215"/>
                  </a:lnTo>
                  <a:lnTo>
                    <a:pt x="102" y="216"/>
                  </a:lnTo>
                  <a:lnTo>
                    <a:pt x="102" y="218"/>
                  </a:lnTo>
                  <a:lnTo>
                    <a:pt x="102" y="220"/>
                  </a:lnTo>
                  <a:lnTo>
                    <a:pt x="102" y="221"/>
                  </a:lnTo>
                  <a:lnTo>
                    <a:pt x="101" y="221"/>
                  </a:lnTo>
                  <a:lnTo>
                    <a:pt x="101" y="223"/>
                  </a:lnTo>
                  <a:lnTo>
                    <a:pt x="99" y="223"/>
                  </a:lnTo>
                  <a:lnTo>
                    <a:pt x="99" y="225"/>
                  </a:lnTo>
                  <a:lnTo>
                    <a:pt x="97" y="225"/>
                  </a:lnTo>
                  <a:lnTo>
                    <a:pt x="96" y="225"/>
                  </a:lnTo>
                  <a:lnTo>
                    <a:pt x="94" y="225"/>
                  </a:lnTo>
                  <a:lnTo>
                    <a:pt x="92" y="226"/>
                  </a:lnTo>
                  <a:lnTo>
                    <a:pt x="91" y="228"/>
                  </a:lnTo>
                  <a:lnTo>
                    <a:pt x="89" y="229"/>
                  </a:lnTo>
                  <a:lnTo>
                    <a:pt x="88" y="229"/>
                  </a:lnTo>
                  <a:lnTo>
                    <a:pt x="86" y="229"/>
                  </a:lnTo>
                  <a:lnTo>
                    <a:pt x="84" y="229"/>
                  </a:lnTo>
                  <a:lnTo>
                    <a:pt x="84" y="228"/>
                  </a:lnTo>
                  <a:lnTo>
                    <a:pt x="83" y="228"/>
                  </a:lnTo>
                  <a:lnTo>
                    <a:pt x="81" y="228"/>
                  </a:lnTo>
                  <a:lnTo>
                    <a:pt x="79" y="228"/>
                  </a:lnTo>
                  <a:lnTo>
                    <a:pt x="78" y="228"/>
                  </a:lnTo>
                  <a:lnTo>
                    <a:pt x="76" y="228"/>
                  </a:lnTo>
                  <a:lnTo>
                    <a:pt x="75" y="228"/>
                  </a:lnTo>
                  <a:lnTo>
                    <a:pt x="73" y="228"/>
                  </a:lnTo>
                  <a:lnTo>
                    <a:pt x="71" y="228"/>
                  </a:lnTo>
                  <a:lnTo>
                    <a:pt x="70" y="228"/>
                  </a:lnTo>
                  <a:lnTo>
                    <a:pt x="70" y="226"/>
                  </a:lnTo>
                  <a:lnTo>
                    <a:pt x="68" y="226"/>
                  </a:lnTo>
                  <a:lnTo>
                    <a:pt x="70" y="225"/>
                  </a:lnTo>
                  <a:lnTo>
                    <a:pt x="71" y="225"/>
                  </a:lnTo>
                  <a:lnTo>
                    <a:pt x="75" y="226"/>
                  </a:lnTo>
                  <a:lnTo>
                    <a:pt x="75" y="225"/>
                  </a:lnTo>
                  <a:lnTo>
                    <a:pt x="73" y="225"/>
                  </a:lnTo>
                  <a:lnTo>
                    <a:pt x="73" y="223"/>
                  </a:lnTo>
                  <a:lnTo>
                    <a:pt x="75" y="223"/>
                  </a:lnTo>
                  <a:lnTo>
                    <a:pt x="76" y="221"/>
                  </a:lnTo>
                  <a:lnTo>
                    <a:pt x="76" y="220"/>
                  </a:lnTo>
                  <a:lnTo>
                    <a:pt x="81" y="218"/>
                  </a:lnTo>
                  <a:lnTo>
                    <a:pt x="83" y="218"/>
                  </a:lnTo>
                  <a:lnTo>
                    <a:pt x="83" y="216"/>
                  </a:lnTo>
                  <a:lnTo>
                    <a:pt x="84" y="216"/>
                  </a:lnTo>
                  <a:lnTo>
                    <a:pt x="86" y="215"/>
                  </a:lnTo>
                  <a:lnTo>
                    <a:pt x="88" y="213"/>
                  </a:lnTo>
                  <a:lnTo>
                    <a:pt x="89" y="212"/>
                  </a:lnTo>
                  <a:lnTo>
                    <a:pt x="91" y="210"/>
                  </a:lnTo>
                  <a:lnTo>
                    <a:pt x="91" y="208"/>
                  </a:lnTo>
                  <a:lnTo>
                    <a:pt x="92" y="208"/>
                  </a:lnTo>
                  <a:lnTo>
                    <a:pt x="94" y="208"/>
                  </a:lnTo>
                  <a:close/>
                  <a:moveTo>
                    <a:pt x="102" y="210"/>
                  </a:moveTo>
                  <a:lnTo>
                    <a:pt x="102" y="208"/>
                  </a:lnTo>
                  <a:lnTo>
                    <a:pt x="102" y="207"/>
                  </a:lnTo>
                  <a:lnTo>
                    <a:pt x="104" y="208"/>
                  </a:lnTo>
                  <a:lnTo>
                    <a:pt x="102" y="210"/>
                  </a:lnTo>
                  <a:close/>
                  <a:moveTo>
                    <a:pt x="84" y="207"/>
                  </a:moveTo>
                  <a:lnTo>
                    <a:pt x="84" y="208"/>
                  </a:lnTo>
                  <a:lnTo>
                    <a:pt x="84" y="207"/>
                  </a:lnTo>
                  <a:close/>
                  <a:moveTo>
                    <a:pt x="92" y="207"/>
                  </a:moveTo>
                  <a:lnTo>
                    <a:pt x="94" y="207"/>
                  </a:lnTo>
                  <a:lnTo>
                    <a:pt x="94" y="208"/>
                  </a:lnTo>
                  <a:lnTo>
                    <a:pt x="94" y="207"/>
                  </a:lnTo>
                  <a:lnTo>
                    <a:pt x="92" y="207"/>
                  </a:lnTo>
                  <a:close/>
                  <a:moveTo>
                    <a:pt x="398" y="203"/>
                  </a:moveTo>
                  <a:lnTo>
                    <a:pt x="400" y="203"/>
                  </a:lnTo>
                  <a:lnTo>
                    <a:pt x="398" y="203"/>
                  </a:lnTo>
                  <a:close/>
                  <a:moveTo>
                    <a:pt x="88" y="207"/>
                  </a:moveTo>
                  <a:lnTo>
                    <a:pt x="86" y="208"/>
                  </a:lnTo>
                  <a:lnTo>
                    <a:pt x="86" y="207"/>
                  </a:lnTo>
                  <a:lnTo>
                    <a:pt x="86" y="208"/>
                  </a:lnTo>
                  <a:lnTo>
                    <a:pt x="86" y="210"/>
                  </a:lnTo>
                  <a:lnTo>
                    <a:pt x="84" y="212"/>
                  </a:lnTo>
                  <a:lnTo>
                    <a:pt x="84" y="210"/>
                  </a:lnTo>
                  <a:lnTo>
                    <a:pt x="84" y="208"/>
                  </a:lnTo>
                  <a:lnTo>
                    <a:pt x="84" y="207"/>
                  </a:lnTo>
                  <a:lnTo>
                    <a:pt x="86" y="205"/>
                  </a:lnTo>
                  <a:lnTo>
                    <a:pt x="88" y="203"/>
                  </a:lnTo>
                  <a:lnTo>
                    <a:pt x="89" y="203"/>
                  </a:lnTo>
                  <a:lnTo>
                    <a:pt x="89" y="205"/>
                  </a:lnTo>
                  <a:lnTo>
                    <a:pt x="88" y="205"/>
                  </a:lnTo>
                  <a:lnTo>
                    <a:pt x="88" y="207"/>
                  </a:lnTo>
                  <a:close/>
                  <a:moveTo>
                    <a:pt x="397" y="203"/>
                  </a:moveTo>
                  <a:lnTo>
                    <a:pt x="398" y="203"/>
                  </a:lnTo>
                  <a:lnTo>
                    <a:pt x="397" y="203"/>
                  </a:lnTo>
                  <a:close/>
                  <a:moveTo>
                    <a:pt x="406" y="200"/>
                  </a:moveTo>
                  <a:lnTo>
                    <a:pt x="406" y="202"/>
                  </a:lnTo>
                  <a:lnTo>
                    <a:pt x="406" y="200"/>
                  </a:lnTo>
                  <a:close/>
                  <a:moveTo>
                    <a:pt x="102" y="197"/>
                  </a:moveTo>
                  <a:lnTo>
                    <a:pt x="104" y="199"/>
                  </a:lnTo>
                  <a:lnTo>
                    <a:pt x="102" y="200"/>
                  </a:lnTo>
                  <a:lnTo>
                    <a:pt x="101" y="202"/>
                  </a:lnTo>
                  <a:lnTo>
                    <a:pt x="99" y="202"/>
                  </a:lnTo>
                  <a:lnTo>
                    <a:pt x="97" y="202"/>
                  </a:lnTo>
                  <a:lnTo>
                    <a:pt x="97" y="200"/>
                  </a:lnTo>
                  <a:lnTo>
                    <a:pt x="97" y="202"/>
                  </a:lnTo>
                  <a:lnTo>
                    <a:pt x="96" y="202"/>
                  </a:lnTo>
                  <a:lnTo>
                    <a:pt x="94" y="202"/>
                  </a:lnTo>
                  <a:lnTo>
                    <a:pt x="94" y="200"/>
                  </a:lnTo>
                  <a:lnTo>
                    <a:pt x="94" y="199"/>
                  </a:lnTo>
                  <a:lnTo>
                    <a:pt x="96" y="199"/>
                  </a:lnTo>
                  <a:lnTo>
                    <a:pt x="97" y="199"/>
                  </a:lnTo>
                  <a:lnTo>
                    <a:pt x="99" y="200"/>
                  </a:lnTo>
                  <a:lnTo>
                    <a:pt x="99" y="199"/>
                  </a:lnTo>
                  <a:lnTo>
                    <a:pt x="101" y="197"/>
                  </a:lnTo>
                  <a:lnTo>
                    <a:pt x="102" y="197"/>
                  </a:lnTo>
                  <a:close/>
                  <a:moveTo>
                    <a:pt x="84" y="197"/>
                  </a:moveTo>
                  <a:lnTo>
                    <a:pt x="83" y="197"/>
                  </a:lnTo>
                  <a:lnTo>
                    <a:pt x="84" y="197"/>
                  </a:lnTo>
                  <a:close/>
                  <a:moveTo>
                    <a:pt x="83" y="197"/>
                  </a:moveTo>
                  <a:lnTo>
                    <a:pt x="81" y="197"/>
                  </a:lnTo>
                  <a:lnTo>
                    <a:pt x="81" y="195"/>
                  </a:lnTo>
                  <a:lnTo>
                    <a:pt x="83" y="195"/>
                  </a:lnTo>
                  <a:lnTo>
                    <a:pt x="83" y="197"/>
                  </a:lnTo>
                  <a:close/>
                  <a:moveTo>
                    <a:pt x="361" y="195"/>
                  </a:moveTo>
                  <a:lnTo>
                    <a:pt x="362" y="195"/>
                  </a:lnTo>
                  <a:lnTo>
                    <a:pt x="361" y="195"/>
                  </a:lnTo>
                  <a:close/>
                  <a:moveTo>
                    <a:pt x="83" y="197"/>
                  </a:moveTo>
                  <a:lnTo>
                    <a:pt x="83" y="195"/>
                  </a:lnTo>
                  <a:lnTo>
                    <a:pt x="83" y="197"/>
                  </a:lnTo>
                  <a:close/>
                  <a:moveTo>
                    <a:pt x="110" y="195"/>
                  </a:moveTo>
                  <a:lnTo>
                    <a:pt x="112" y="195"/>
                  </a:lnTo>
                  <a:lnTo>
                    <a:pt x="110" y="195"/>
                  </a:lnTo>
                  <a:close/>
                  <a:moveTo>
                    <a:pt x="110" y="195"/>
                  </a:moveTo>
                  <a:lnTo>
                    <a:pt x="112" y="195"/>
                  </a:lnTo>
                  <a:lnTo>
                    <a:pt x="112" y="197"/>
                  </a:lnTo>
                  <a:lnTo>
                    <a:pt x="110" y="197"/>
                  </a:lnTo>
                  <a:lnTo>
                    <a:pt x="109" y="197"/>
                  </a:lnTo>
                  <a:lnTo>
                    <a:pt x="107" y="199"/>
                  </a:lnTo>
                  <a:lnTo>
                    <a:pt x="105" y="199"/>
                  </a:lnTo>
                  <a:lnTo>
                    <a:pt x="105" y="197"/>
                  </a:lnTo>
                  <a:lnTo>
                    <a:pt x="105" y="195"/>
                  </a:lnTo>
                  <a:lnTo>
                    <a:pt x="107" y="195"/>
                  </a:lnTo>
                  <a:lnTo>
                    <a:pt x="109" y="195"/>
                  </a:lnTo>
                  <a:lnTo>
                    <a:pt x="110" y="195"/>
                  </a:lnTo>
                  <a:close/>
                  <a:moveTo>
                    <a:pt x="361" y="195"/>
                  </a:moveTo>
                  <a:lnTo>
                    <a:pt x="362" y="195"/>
                  </a:lnTo>
                  <a:lnTo>
                    <a:pt x="361" y="195"/>
                  </a:lnTo>
                  <a:close/>
                  <a:moveTo>
                    <a:pt x="81" y="194"/>
                  </a:moveTo>
                  <a:lnTo>
                    <a:pt x="81" y="192"/>
                  </a:lnTo>
                  <a:lnTo>
                    <a:pt x="81" y="194"/>
                  </a:lnTo>
                  <a:close/>
                  <a:moveTo>
                    <a:pt x="88" y="194"/>
                  </a:moveTo>
                  <a:lnTo>
                    <a:pt x="88" y="192"/>
                  </a:lnTo>
                  <a:lnTo>
                    <a:pt x="89" y="192"/>
                  </a:lnTo>
                  <a:lnTo>
                    <a:pt x="88" y="194"/>
                  </a:lnTo>
                  <a:close/>
                  <a:moveTo>
                    <a:pt x="81" y="192"/>
                  </a:moveTo>
                  <a:lnTo>
                    <a:pt x="83" y="192"/>
                  </a:lnTo>
                  <a:lnTo>
                    <a:pt x="83" y="194"/>
                  </a:lnTo>
                  <a:lnTo>
                    <a:pt x="81" y="194"/>
                  </a:lnTo>
                  <a:lnTo>
                    <a:pt x="81" y="192"/>
                  </a:lnTo>
                  <a:lnTo>
                    <a:pt x="81" y="194"/>
                  </a:lnTo>
                  <a:lnTo>
                    <a:pt x="79" y="194"/>
                  </a:lnTo>
                  <a:lnTo>
                    <a:pt x="79" y="192"/>
                  </a:lnTo>
                  <a:lnTo>
                    <a:pt x="81" y="192"/>
                  </a:lnTo>
                  <a:close/>
                  <a:moveTo>
                    <a:pt x="88" y="192"/>
                  </a:moveTo>
                  <a:lnTo>
                    <a:pt x="89" y="192"/>
                  </a:lnTo>
                  <a:lnTo>
                    <a:pt x="88" y="192"/>
                  </a:lnTo>
                  <a:close/>
                  <a:moveTo>
                    <a:pt x="89" y="190"/>
                  </a:moveTo>
                  <a:lnTo>
                    <a:pt x="89" y="192"/>
                  </a:lnTo>
                  <a:lnTo>
                    <a:pt x="88" y="192"/>
                  </a:lnTo>
                  <a:lnTo>
                    <a:pt x="88" y="190"/>
                  </a:lnTo>
                  <a:lnTo>
                    <a:pt x="89" y="190"/>
                  </a:lnTo>
                  <a:close/>
                  <a:moveTo>
                    <a:pt x="86" y="189"/>
                  </a:moveTo>
                  <a:lnTo>
                    <a:pt x="86" y="187"/>
                  </a:lnTo>
                  <a:lnTo>
                    <a:pt x="86" y="189"/>
                  </a:lnTo>
                  <a:close/>
                  <a:moveTo>
                    <a:pt x="91" y="187"/>
                  </a:moveTo>
                  <a:lnTo>
                    <a:pt x="92" y="187"/>
                  </a:lnTo>
                  <a:lnTo>
                    <a:pt x="91" y="187"/>
                  </a:lnTo>
                  <a:close/>
                  <a:moveTo>
                    <a:pt x="410" y="186"/>
                  </a:moveTo>
                  <a:lnTo>
                    <a:pt x="408" y="187"/>
                  </a:lnTo>
                  <a:lnTo>
                    <a:pt x="408" y="186"/>
                  </a:lnTo>
                  <a:lnTo>
                    <a:pt x="410" y="186"/>
                  </a:lnTo>
                  <a:close/>
                  <a:moveTo>
                    <a:pt x="416" y="186"/>
                  </a:moveTo>
                  <a:lnTo>
                    <a:pt x="418" y="184"/>
                  </a:lnTo>
                  <a:lnTo>
                    <a:pt x="419" y="184"/>
                  </a:lnTo>
                  <a:lnTo>
                    <a:pt x="419" y="186"/>
                  </a:lnTo>
                  <a:lnTo>
                    <a:pt x="418" y="186"/>
                  </a:lnTo>
                  <a:lnTo>
                    <a:pt x="416" y="186"/>
                  </a:lnTo>
                  <a:close/>
                  <a:moveTo>
                    <a:pt x="419" y="182"/>
                  </a:moveTo>
                  <a:lnTo>
                    <a:pt x="419" y="184"/>
                  </a:lnTo>
                  <a:lnTo>
                    <a:pt x="419" y="182"/>
                  </a:lnTo>
                  <a:close/>
                  <a:moveTo>
                    <a:pt x="86" y="184"/>
                  </a:moveTo>
                  <a:lnTo>
                    <a:pt x="88" y="182"/>
                  </a:lnTo>
                  <a:lnTo>
                    <a:pt x="88" y="184"/>
                  </a:lnTo>
                  <a:lnTo>
                    <a:pt x="86" y="184"/>
                  </a:lnTo>
                  <a:close/>
                  <a:moveTo>
                    <a:pt x="89" y="182"/>
                  </a:moveTo>
                  <a:lnTo>
                    <a:pt x="91" y="182"/>
                  </a:lnTo>
                  <a:lnTo>
                    <a:pt x="91" y="184"/>
                  </a:lnTo>
                  <a:lnTo>
                    <a:pt x="89" y="184"/>
                  </a:lnTo>
                  <a:lnTo>
                    <a:pt x="89" y="182"/>
                  </a:lnTo>
                  <a:close/>
                  <a:moveTo>
                    <a:pt x="76" y="181"/>
                  </a:moveTo>
                  <a:lnTo>
                    <a:pt x="78" y="182"/>
                  </a:lnTo>
                  <a:lnTo>
                    <a:pt x="76" y="182"/>
                  </a:lnTo>
                  <a:lnTo>
                    <a:pt x="76" y="181"/>
                  </a:lnTo>
                  <a:close/>
                  <a:moveTo>
                    <a:pt x="81" y="181"/>
                  </a:moveTo>
                  <a:lnTo>
                    <a:pt x="83" y="181"/>
                  </a:lnTo>
                  <a:lnTo>
                    <a:pt x="81" y="181"/>
                  </a:lnTo>
                  <a:close/>
                  <a:moveTo>
                    <a:pt x="79" y="182"/>
                  </a:moveTo>
                  <a:lnTo>
                    <a:pt x="79" y="181"/>
                  </a:lnTo>
                  <a:lnTo>
                    <a:pt x="81" y="181"/>
                  </a:lnTo>
                  <a:lnTo>
                    <a:pt x="81" y="182"/>
                  </a:lnTo>
                  <a:lnTo>
                    <a:pt x="81" y="184"/>
                  </a:lnTo>
                  <a:lnTo>
                    <a:pt x="81" y="182"/>
                  </a:lnTo>
                  <a:lnTo>
                    <a:pt x="79" y="182"/>
                  </a:lnTo>
                  <a:lnTo>
                    <a:pt x="79" y="184"/>
                  </a:lnTo>
                  <a:lnTo>
                    <a:pt x="79" y="182"/>
                  </a:lnTo>
                  <a:close/>
                  <a:moveTo>
                    <a:pt x="78" y="182"/>
                  </a:moveTo>
                  <a:lnTo>
                    <a:pt x="76" y="182"/>
                  </a:lnTo>
                  <a:lnTo>
                    <a:pt x="78" y="182"/>
                  </a:lnTo>
                  <a:lnTo>
                    <a:pt x="78" y="181"/>
                  </a:lnTo>
                  <a:lnTo>
                    <a:pt x="78" y="182"/>
                  </a:lnTo>
                  <a:lnTo>
                    <a:pt x="78" y="181"/>
                  </a:lnTo>
                  <a:lnTo>
                    <a:pt x="78" y="182"/>
                  </a:lnTo>
                  <a:lnTo>
                    <a:pt x="78" y="181"/>
                  </a:lnTo>
                  <a:lnTo>
                    <a:pt x="79" y="181"/>
                  </a:lnTo>
                  <a:lnTo>
                    <a:pt x="79" y="182"/>
                  </a:lnTo>
                  <a:lnTo>
                    <a:pt x="78" y="182"/>
                  </a:lnTo>
                  <a:close/>
                  <a:moveTo>
                    <a:pt x="92" y="179"/>
                  </a:moveTo>
                  <a:lnTo>
                    <a:pt x="94" y="179"/>
                  </a:lnTo>
                  <a:lnTo>
                    <a:pt x="94" y="181"/>
                  </a:lnTo>
                  <a:lnTo>
                    <a:pt x="92" y="179"/>
                  </a:lnTo>
                  <a:close/>
                  <a:moveTo>
                    <a:pt x="76" y="179"/>
                  </a:moveTo>
                  <a:lnTo>
                    <a:pt x="78" y="179"/>
                  </a:lnTo>
                  <a:lnTo>
                    <a:pt x="78" y="181"/>
                  </a:lnTo>
                  <a:lnTo>
                    <a:pt x="76" y="181"/>
                  </a:lnTo>
                  <a:lnTo>
                    <a:pt x="76" y="179"/>
                  </a:lnTo>
                  <a:close/>
                  <a:moveTo>
                    <a:pt x="424" y="181"/>
                  </a:moveTo>
                  <a:lnTo>
                    <a:pt x="424" y="182"/>
                  </a:lnTo>
                  <a:lnTo>
                    <a:pt x="426" y="182"/>
                  </a:lnTo>
                  <a:lnTo>
                    <a:pt x="426" y="184"/>
                  </a:lnTo>
                  <a:lnTo>
                    <a:pt x="424" y="184"/>
                  </a:lnTo>
                  <a:lnTo>
                    <a:pt x="423" y="184"/>
                  </a:lnTo>
                  <a:lnTo>
                    <a:pt x="423" y="186"/>
                  </a:lnTo>
                  <a:lnTo>
                    <a:pt x="423" y="187"/>
                  </a:lnTo>
                  <a:lnTo>
                    <a:pt x="421" y="187"/>
                  </a:lnTo>
                  <a:lnTo>
                    <a:pt x="421" y="189"/>
                  </a:lnTo>
                  <a:lnTo>
                    <a:pt x="423" y="190"/>
                  </a:lnTo>
                  <a:lnTo>
                    <a:pt x="421" y="190"/>
                  </a:lnTo>
                  <a:lnTo>
                    <a:pt x="419" y="190"/>
                  </a:lnTo>
                  <a:lnTo>
                    <a:pt x="419" y="189"/>
                  </a:lnTo>
                  <a:lnTo>
                    <a:pt x="419" y="190"/>
                  </a:lnTo>
                  <a:lnTo>
                    <a:pt x="418" y="189"/>
                  </a:lnTo>
                  <a:lnTo>
                    <a:pt x="418" y="187"/>
                  </a:lnTo>
                  <a:lnTo>
                    <a:pt x="419" y="187"/>
                  </a:lnTo>
                  <a:lnTo>
                    <a:pt x="419" y="186"/>
                  </a:lnTo>
                  <a:lnTo>
                    <a:pt x="421" y="186"/>
                  </a:lnTo>
                  <a:lnTo>
                    <a:pt x="421" y="187"/>
                  </a:lnTo>
                  <a:lnTo>
                    <a:pt x="423" y="186"/>
                  </a:lnTo>
                  <a:lnTo>
                    <a:pt x="421" y="186"/>
                  </a:lnTo>
                  <a:lnTo>
                    <a:pt x="421" y="184"/>
                  </a:lnTo>
                  <a:lnTo>
                    <a:pt x="423" y="184"/>
                  </a:lnTo>
                  <a:lnTo>
                    <a:pt x="421" y="184"/>
                  </a:lnTo>
                  <a:lnTo>
                    <a:pt x="421" y="182"/>
                  </a:lnTo>
                  <a:lnTo>
                    <a:pt x="421" y="181"/>
                  </a:lnTo>
                  <a:lnTo>
                    <a:pt x="421" y="179"/>
                  </a:lnTo>
                  <a:lnTo>
                    <a:pt x="421" y="181"/>
                  </a:lnTo>
                  <a:lnTo>
                    <a:pt x="421" y="179"/>
                  </a:lnTo>
                  <a:lnTo>
                    <a:pt x="423" y="179"/>
                  </a:lnTo>
                  <a:lnTo>
                    <a:pt x="424" y="179"/>
                  </a:lnTo>
                  <a:lnTo>
                    <a:pt x="424" y="181"/>
                  </a:lnTo>
                  <a:close/>
                  <a:moveTo>
                    <a:pt x="83" y="179"/>
                  </a:moveTo>
                  <a:lnTo>
                    <a:pt x="84" y="179"/>
                  </a:lnTo>
                  <a:lnTo>
                    <a:pt x="83" y="179"/>
                  </a:lnTo>
                  <a:close/>
                  <a:moveTo>
                    <a:pt x="84" y="177"/>
                  </a:moveTo>
                  <a:lnTo>
                    <a:pt x="84" y="179"/>
                  </a:lnTo>
                  <a:lnTo>
                    <a:pt x="84" y="177"/>
                  </a:lnTo>
                  <a:close/>
                  <a:moveTo>
                    <a:pt x="84" y="177"/>
                  </a:moveTo>
                  <a:lnTo>
                    <a:pt x="84" y="179"/>
                  </a:lnTo>
                  <a:lnTo>
                    <a:pt x="84" y="177"/>
                  </a:lnTo>
                  <a:close/>
                  <a:moveTo>
                    <a:pt x="76" y="176"/>
                  </a:moveTo>
                  <a:lnTo>
                    <a:pt x="78" y="176"/>
                  </a:lnTo>
                  <a:lnTo>
                    <a:pt x="76" y="176"/>
                  </a:lnTo>
                  <a:close/>
                  <a:moveTo>
                    <a:pt x="81" y="176"/>
                  </a:moveTo>
                  <a:lnTo>
                    <a:pt x="81" y="177"/>
                  </a:lnTo>
                  <a:lnTo>
                    <a:pt x="81" y="179"/>
                  </a:lnTo>
                  <a:lnTo>
                    <a:pt x="81" y="177"/>
                  </a:lnTo>
                  <a:lnTo>
                    <a:pt x="81" y="179"/>
                  </a:lnTo>
                  <a:lnTo>
                    <a:pt x="81" y="177"/>
                  </a:lnTo>
                  <a:lnTo>
                    <a:pt x="81" y="179"/>
                  </a:lnTo>
                  <a:lnTo>
                    <a:pt x="79" y="177"/>
                  </a:lnTo>
                  <a:lnTo>
                    <a:pt x="79" y="176"/>
                  </a:lnTo>
                  <a:lnTo>
                    <a:pt x="81" y="176"/>
                  </a:lnTo>
                  <a:close/>
                  <a:moveTo>
                    <a:pt x="78" y="174"/>
                  </a:moveTo>
                  <a:lnTo>
                    <a:pt x="79" y="174"/>
                  </a:lnTo>
                  <a:lnTo>
                    <a:pt x="79" y="176"/>
                  </a:lnTo>
                  <a:lnTo>
                    <a:pt x="78" y="176"/>
                  </a:lnTo>
                  <a:lnTo>
                    <a:pt x="79" y="176"/>
                  </a:lnTo>
                  <a:lnTo>
                    <a:pt x="78" y="174"/>
                  </a:lnTo>
                  <a:close/>
                  <a:moveTo>
                    <a:pt x="88" y="173"/>
                  </a:moveTo>
                  <a:lnTo>
                    <a:pt x="88" y="174"/>
                  </a:lnTo>
                  <a:lnTo>
                    <a:pt x="88" y="173"/>
                  </a:lnTo>
                  <a:close/>
                  <a:moveTo>
                    <a:pt x="442" y="173"/>
                  </a:moveTo>
                  <a:lnTo>
                    <a:pt x="442" y="171"/>
                  </a:lnTo>
                  <a:lnTo>
                    <a:pt x="442" y="173"/>
                  </a:lnTo>
                  <a:close/>
                  <a:moveTo>
                    <a:pt x="91" y="171"/>
                  </a:moveTo>
                  <a:lnTo>
                    <a:pt x="91" y="173"/>
                  </a:lnTo>
                  <a:lnTo>
                    <a:pt x="92" y="173"/>
                  </a:lnTo>
                  <a:lnTo>
                    <a:pt x="92" y="174"/>
                  </a:lnTo>
                  <a:lnTo>
                    <a:pt x="92" y="176"/>
                  </a:lnTo>
                  <a:lnTo>
                    <a:pt x="91" y="177"/>
                  </a:lnTo>
                  <a:lnTo>
                    <a:pt x="89" y="176"/>
                  </a:lnTo>
                  <a:lnTo>
                    <a:pt x="89" y="174"/>
                  </a:lnTo>
                  <a:lnTo>
                    <a:pt x="89" y="173"/>
                  </a:lnTo>
                  <a:lnTo>
                    <a:pt x="88" y="173"/>
                  </a:lnTo>
                  <a:lnTo>
                    <a:pt x="88" y="171"/>
                  </a:lnTo>
                  <a:lnTo>
                    <a:pt x="89" y="171"/>
                  </a:lnTo>
                  <a:lnTo>
                    <a:pt x="91" y="171"/>
                  </a:lnTo>
                  <a:close/>
                  <a:moveTo>
                    <a:pt x="86" y="171"/>
                  </a:moveTo>
                  <a:lnTo>
                    <a:pt x="86" y="173"/>
                  </a:lnTo>
                  <a:lnTo>
                    <a:pt x="86" y="171"/>
                  </a:lnTo>
                  <a:close/>
                  <a:moveTo>
                    <a:pt x="81" y="171"/>
                  </a:moveTo>
                  <a:lnTo>
                    <a:pt x="79" y="169"/>
                  </a:lnTo>
                  <a:lnTo>
                    <a:pt x="81" y="171"/>
                  </a:lnTo>
                  <a:close/>
                  <a:moveTo>
                    <a:pt x="79" y="169"/>
                  </a:moveTo>
                  <a:lnTo>
                    <a:pt x="79" y="168"/>
                  </a:lnTo>
                  <a:lnTo>
                    <a:pt x="79" y="169"/>
                  </a:lnTo>
                  <a:close/>
                  <a:moveTo>
                    <a:pt x="78" y="168"/>
                  </a:moveTo>
                  <a:lnTo>
                    <a:pt x="79" y="168"/>
                  </a:lnTo>
                  <a:lnTo>
                    <a:pt x="79" y="169"/>
                  </a:lnTo>
                  <a:lnTo>
                    <a:pt x="78" y="168"/>
                  </a:lnTo>
                  <a:lnTo>
                    <a:pt x="79" y="168"/>
                  </a:lnTo>
                  <a:lnTo>
                    <a:pt x="78" y="168"/>
                  </a:lnTo>
                  <a:close/>
                  <a:moveTo>
                    <a:pt x="83" y="168"/>
                  </a:moveTo>
                  <a:lnTo>
                    <a:pt x="83" y="169"/>
                  </a:lnTo>
                  <a:lnTo>
                    <a:pt x="83" y="171"/>
                  </a:lnTo>
                  <a:lnTo>
                    <a:pt x="83" y="169"/>
                  </a:lnTo>
                  <a:lnTo>
                    <a:pt x="81" y="169"/>
                  </a:lnTo>
                  <a:lnTo>
                    <a:pt x="81" y="168"/>
                  </a:lnTo>
                  <a:lnTo>
                    <a:pt x="83" y="168"/>
                  </a:lnTo>
                  <a:close/>
                  <a:moveTo>
                    <a:pt x="81" y="169"/>
                  </a:moveTo>
                  <a:lnTo>
                    <a:pt x="79" y="169"/>
                  </a:lnTo>
                  <a:lnTo>
                    <a:pt x="79" y="168"/>
                  </a:lnTo>
                  <a:lnTo>
                    <a:pt x="81" y="168"/>
                  </a:lnTo>
                  <a:lnTo>
                    <a:pt x="81" y="169"/>
                  </a:lnTo>
                  <a:lnTo>
                    <a:pt x="81" y="171"/>
                  </a:lnTo>
                  <a:lnTo>
                    <a:pt x="81" y="169"/>
                  </a:lnTo>
                  <a:close/>
                  <a:moveTo>
                    <a:pt x="91" y="166"/>
                  </a:moveTo>
                  <a:lnTo>
                    <a:pt x="89" y="166"/>
                  </a:lnTo>
                  <a:lnTo>
                    <a:pt x="91" y="166"/>
                  </a:lnTo>
                  <a:close/>
                  <a:moveTo>
                    <a:pt x="102" y="166"/>
                  </a:moveTo>
                  <a:lnTo>
                    <a:pt x="101" y="166"/>
                  </a:lnTo>
                  <a:lnTo>
                    <a:pt x="101" y="164"/>
                  </a:lnTo>
                  <a:lnTo>
                    <a:pt x="102" y="166"/>
                  </a:lnTo>
                  <a:close/>
                  <a:moveTo>
                    <a:pt x="445" y="166"/>
                  </a:moveTo>
                  <a:lnTo>
                    <a:pt x="447" y="166"/>
                  </a:lnTo>
                  <a:lnTo>
                    <a:pt x="447" y="168"/>
                  </a:lnTo>
                  <a:lnTo>
                    <a:pt x="447" y="169"/>
                  </a:lnTo>
                  <a:lnTo>
                    <a:pt x="445" y="169"/>
                  </a:lnTo>
                  <a:lnTo>
                    <a:pt x="445" y="168"/>
                  </a:lnTo>
                  <a:lnTo>
                    <a:pt x="445" y="169"/>
                  </a:lnTo>
                  <a:lnTo>
                    <a:pt x="444" y="169"/>
                  </a:lnTo>
                  <a:lnTo>
                    <a:pt x="444" y="171"/>
                  </a:lnTo>
                  <a:lnTo>
                    <a:pt x="445" y="171"/>
                  </a:lnTo>
                  <a:lnTo>
                    <a:pt x="445" y="173"/>
                  </a:lnTo>
                  <a:lnTo>
                    <a:pt x="444" y="173"/>
                  </a:lnTo>
                  <a:lnTo>
                    <a:pt x="444" y="171"/>
                  </a:lnTo>
                  <a:lnTo>
                    <a:pt x="442" y="171"/>
                  </a:lnTo>
                  <a:lnTo>
                    <a:pt x="442" y="169"/>
                  </a:lnTo>
                  <a:lnTo>
                    <a:pt x="442" y="168"/>
                  </a:lnTo>
                  <a:lnTo>
                    <a:pt x="442" y="166"/>
                  </a:lnTo>
                  <a:lnTo>
                    <a:pt x="444" y="166"/>
                  </a:lnTo>
                  <a:lnTo>
                    <a:pt x="444" y="164"/>
                  </a:lnTo>
                  <a:lnTo>
                    <a:pt x="445" y="166"/>
                  </a:lnTo>
                  <a:close/>
                  <a:moveTo>
                    <a:pt x="96" y="166"/>
                  </a:moveTo>
                  <a:lnTo>
                    <a:pt x="96" y="164"/>
                  </a:lnTo>
                  <a:lnTo>
                    <a:pt x="96" y="166"/>
                  </a:lnTo>
                  <a:close/>
                  <a:moveTo>
                    <a:pt x="437" y="164"/>
                  </a:moveTo>
                  <a:lnTo>
                    <a:pt x="439" y="164"/>
                  </a:lnTo>
                  <a:lnTo>
                    <a:pt x="437" y="164"/>
                  </a:lnTo>
                  <a:close/>
                  <a:moveTo>
                    <a:pt x="79" y="163"/>
                  </a:moveTo>
                  <a:lnTo>
                    <a:pt x="78" y="163"/>
                  </a:lnTo>
                  <a:lnTo>
                    <a:pt x="79" y="163"/>
                  </a:lnTo>
                  <a:close/>
                  <a:moveTo>
                    <a:pt x="99" y="163"/>
                  </a:moveTo>
                  <a:lnTo>
                    <a:pt x="101" y="163"/>
                  </a:lnTo>
                  <a:lnTo>
                    <a:pt x="101" y="164"/>
                  </a:lnTo>
                  <a:lnTo>
                    <a:pt x="101" y="163"/>
                  </a:lnTo>
                  <a:lnTo>
                    <a:pt x="99" y="163"/>
                  </a:lnTo>
                  <a:close/>
                  <a:moveTo>
                    <a:pt x="101" y="163"/>
                  </a:moveTo>
                  <a:lnTo>
                    <a:pt x="101" y="161"/>
                  </a:lnTo>
                  <a:lnTo>
                    <a:pt x="101" y="163"/>
                  </a:lnTo>
                  <a:close/>
                  <a:moveTo>
                    <a:pt x="104" y="160"/>
                  </a:moveTo>
                  <a:lnTo>
                    <a:pt x="105" y="160"/>
                  </a:lnTo>
                  <a:lnTo>
                    <a:pt x="104" y="160"/>
                  </a:lnTo>
                  <a:close/>
                  <a:moveTo>
                    <a:pt x="102" y="160"/>
                  </a:moveTo>
                  <a:lnTo>
                    <a:pt x="104" y="160"/>
                  </a:lnTo>
                  <a:lnTo>
                    <a:pt x="102" y="160"/>
                  </a:lnTo>
                  <a:close/>
                  <a:moveTo>
                    <a:pt x="86" y="160"/>
                  </a:moveTo>
                  <a:lnTo>
                    <a:pt x="86" y="161"/>
                  </a:lnTo>
                  <a:lnTo>
                    <a:pt x="86" y="163"/>
                  </a:lnTo>
                  <a:lnTo>
                    <a:pt x="86" y="164"/>
                  </a:lnTo>
                  <a:lnTo>
                    <a:pt x="84" y="164"/>
                  </a:lnTo>
                  <a:lnTo>
                    <a:pt x="84" y="163"/>
                  </a:lnTo>
                  <a:lnTo>
                    <a:pt x="83" y="163"/>
                  </a:lnTo>
                  <a:lnTo>
                    <a:pt x="81" y="161"/>
                  </a:lnTo>
                  <a:lnTo>
                    <a:pt x="83" y="161"/>
                  </a:lnTo>
                  <a:lnTo>
                    <a:pt x="84" y="161"/>
                  </a:lnTo>
                  <a:lnTo>
                    <a:pt x="84" y="160"/>
                  </a:lnTo>
                  <a:lnTo>
                    <a:pt x="83" y="160"/>
                  </a:lnTo>
                  <a:lnTo>
                    <a:pt x="84" y="160"/>
                  </a:lnTo>
                  <a:lnTo>
                    <a:pt x="86" y="160"/>
                  </a:lnTo>
                  <a:close/>
                  <a:moveTo>
                    <a:pt x="81" y="160"/>
                  </a:moveTo>
                  <a:lnTo>
                    <a:pt x="81" y="158"/>
                  </a:lnTo>
                  <a:lnTo>
                    <a:pt x="83" y="160"/>
                  </a:lnTo>
                  <a:lnTo>
                    <a:pt x="81" y="160"/>
                  </a:lnTo>
                  <a:close/>
                  <a:moveTo>
                    <a:pt x="86" y="160"/>
                  </a:moveTo>
                  <a:lnTo>
                    <a:pt x="86" y="158"/>
                  </a:lnTo>
                  <a:lnTo>
                    <a:pt x="86" y="160"/>
                  </a:lnTo>
                  <a:close/>
                  <a:moveTo>
                    <a:pt x="104" y="158"/>
                  </a:moveTo>
                  <a:lnTo>
                    <a:pt x="104" y="160"/>
                  </a:lnTo>
                  <a:lnTo>
                    <a:pt x="105" y="160"/>
                  </a:lnTo>
                  <a:lnTo>
                    <a:pt x="104" y="160"/>
                  </a:lnTo>
                  <a:lnTo>
                    <a:pt x="104" y="158"/>
                  </a:lnTo>
                  <a:close/>
                  <a:moveTo>
                    <a:pt x="79" y="158"/>
                  </a:moveTo>
                  <a:lnTo>
                    <a:pt x="79" y="156"/>
                  </a:lnTo>
                  <a:lnTo>
                    <a:pt x="81" y="158"/>
                  </a:lnTo>
                  <a:lnTo>
                    <a:pt x="79" y="158"/>
                  </a:lnTo>
                  <a:close/>
                  <a:moveTo>
                    <a:pt x="81" y="158"/>
                  </a:moveTo>
                  <a:lnTo>
                    <a:pt x="81" y="156"/>
                  </a:lnTo>
                  <a:lnTo>
                    <a:pt x="83" y="156"/>
                  </a:lnTo>
                  <a:lnTo>
                    <a:pt x="83" y="158"/>
                  </a:lnTo>
                  <a:lnTo>
                    <a:pt x="83" y="156"/>
                  </a:lnTo>
                  <a:lnTo>
                    <a:pt x="84" y="158"/>
                  </a:lnTo>
                  <a:lnTo>
                    <a:pt x="84" y="156"/>
                  </a:lnTo>
                  <a:lnTo>
                    <a:pt x="84" y="158"/>
                  </a:lnTo>
                  <a:lnTo>
                    <a:pt x="83" y="158"/>
                  </a:lnTo>
                  <a:lnTo>
                    <a:pt x="81" y="158"/>
                  </a:lnTo>
                  <a:close/>
                  <a:moveTo>
                    <a:pt x="83" y="156"/>
                  </a:moveTo>
                  <a:lnTo>
                    <a:pt x="84" y="156"/>
                  </a:lnTo>
                  <a:lnTo>
                    <a:pt x="83" y="156"/>
                  </a:lnTo>
                  <a:close/>
                  <a:moveTo>
                    <a:pt x="84" y="156"/>
                  </a:moveTo>
                  <a:lnTo>
                    <a:pt x="86" y="156"/>
                  </a:lnTo>
                  <a:lnTo>
                    <a:pt x="84" y="156"/>
                  </a:lnTo>
                  <a:close/>
                  <a:moveTo>
                    <a:pt x="104" y="153"/>
                  </a:moveTo>
                  <a:lnTo>
                    <a:pt x="105" y="153"/>
                  </a:lnTo>
                  <a:lnTo>
                    <a:pt x="104" y="153"/>
                  </a:lnTo>
                  <a:close/>
                  <a:moveTo>
                    <a:pt x="104" y="151"/>
                  </a:moveTo>
                  <a:lnTo>
                    <a:pt x="104" y="150"/>
                  </a:lnTo>
                  <a:lnTo>
                    <a:pt x="104" y="151"/>
                  </a:lnTo>
                  <a:close/>
                  <a:moveTo>
                    <a:pt x="88" y="150"/>
                  </a:moveTo>
                  <a:lnTo>
                    <a:pt x="88" y="151"/>
                  </a:lnTo>
                  <a:lnTo>
                    <a:pt x="88" y="150"/>
                  </a:lnTo>
                  <a:close/>
                  <a:moveTo>
                    <a:pt x="458" y="151"/>
                  </a:moveTo>
                  <a:lnTo>
                    <a:pt x="458" y="150"/>
                  </a:lnTo>
                  <a:lnTo>
                    <a:pt x="460" y="151"/>
                  </a:lnTo>
                  <a:lnTo>
                    <a:pt x="458" y="151"/>
                  </a:lnTo>
                  <a:close/>
                  <a:moveTo>
                    <a:pt x="89" y="151"/>
                  </a:moveTo>
                  <a:lnTo>
                    <a:pt x="89" y="150"/>
                  </a:lnTo>
                  <a:lnTo>
                    <a:pt x="89" y="151"/>
                  </a:lnTo>
                  <a:close/>
                  <a:moveTo>
                    <a:pt x="458" y="150"/>
                  </a:moveTo>
                  <a:lnTo>
                    <a:pt x="460" y="150"/>
                  </a:lnTo>
                  <a:lnTo>
                    <a:pt x="458" y="150"/>
                  </a:lnTo>
                  <a:close/>
                  <a:moveTo>
                    <a:pt x="89" y="150"/>
                  </a:moveTo>
                  <a:lnTo>
                    <a:pt x="91" y="150"/>
                  </a:lnTo>
                  <a:lnTo>
                    <a:pt x="89" y="150"/>
                  </a:lnTo>
                  <a:close/>
                  <a:moveTo>
                    <a:pt x="99" y="151"/>
                  </a:moveTo>
                  <a:lnTo>
                    <a:pt x="101" y="151"/>
                  </a:lnTo>
                  <a:lnTo>
                    <a:pt x="102" y="153"/>
                  </a:lnTo>
                  <a:lnTo>
                    <a:pt x="102" y="155"/>
                  </a:lnTo>
                  <a:lnTo>
                    <a:pt x="104" y="155"/>
                  </a:lnTo>
                  <a:lnTo>
                    <a:pt x="104" y="156"/>
                  </a:lnTo>
                  <a:lnTo>
                    <a:pt x="104" y="158"/>
                  </a:lnTo>
                  <a:lnTo>
                    <a:pt x="102" y="158"/>
                  </a:lnTo>
                  <a:lnTo>
                    <a:pt x="102" y="160"/>
                  </a:lnTo>
                  <a:lnTo>
                    <a:pt x="101" y="160"/>
                  </a:lnTo>
                  <a:lnTo>
                    <a:pt x="99" y="158"/>
                  </a:lnTo>
                  <a:lnTo>
                    <a:pt x="99" y="156"/>
                  </a:lnTo>
                  <a:lnTo>
                    <a:pt x="97" y="156"/>
                  </a:lnTo>
                  <a:lnTo>
                    <a:pt x="96" y="156"/>
                  </a:lnTo>
                  <a:lnTo>
                    <a:pt x="96" y="155"/>
                  </a:lnTo>
                  <a:lnTo>
                    <a:pt x="94" y="155"/>
                  </a:lnTo>
                  <a:lnTo>
                    <a:pt x="92" y="155"/>
                  </a:lnTo>
                  <a:lnTo>
                    <a:pt x="91" y="155"/>
                  </a:lnTo>
                  <a:lnTo>
                    <a:pt x="91" y="153"/>
                  </a:lnTo>
                  <a:lnTo>
                    <a:pt x="89" y="153"/>
                  </a:lnTo>
                  <a:lnTo>
                    <a:pt x="89" y="151"/>
                  </a:lnTo>
                  <a:lnTo>
                    <a:pt x="91" y="151"/>
                  </a:lnTo>
                  <a:lnTo>
                    <a:pt x="91" y="150"/>
                  </a:lnTo>
                  <a:lnTo>
                    <a:pt x="92" y="150"/>
                  </a:lnTo>
                  <a:lnTo>
                    <a:pt x="91" y="150"/>
                  </a:lnTo>
                  <a:lnTo>
                    <a:pt x="92" y="150"/>
                  </a:lnTo>
                  <a:lnTo>
                    <a:pt x="92" y="148"/>
                  </a:lnTo>
                  <a:lnTo>
                    <a:pt x="94" y="148"/>
                  </a:lnTo>
                  <a:lnTo>
                    <a:pt x="96" y="150"/>
                  </a:lnTo>
                  <a:lnTo>
                    <a:pt x="96" y="148"/>
                  </a:lnTo>
                  <a:lnTo>
                    <a:pt x="96" y="150"/>
                  </a:lnTo>
                  <a:lnTo>
                    <a:pt x="97" y="150"/>
                  </a:lnTo>
                  <a:lnTo>
                    <a:pt x="99" y="151"/>
                  </a:lnTo>
                  <a:close/>
                  <a:moveTo>
                    <a:pt x="102" y="148"/>
                  </a:moveTo>
                  <a:lnTo>
                    <a:pt x="104" y="148"/>
                  </a:lnTo>
                  <a:lnTo>
                    <a:pt x="102" y="148"/>
                  </a:lnTo>
                  <a:close/>
                  <a:moveTo>
                    <a:pt x="91" y="148"/>
                  </a:moveTo>
                  <a:lnTo>
                    <a:pt x="92" y="148"/>
                  </a:lnTo>
                  <a:lnTo>
                    <a:pt x="91" y="148"/>
                  </a:lnTo>
                  <a:close/>
                  <a:moveTo>
                    <a:pt x="91" y="148"/>
                  </a:moveTo>
                  <a:lnTo>
                    <a:pt x="91" y="150"/>
                  </a:lnTo>
                  <a:lnTo>
                    <a:pt x="89" y="150"/>
                  </a:lnTo>
                  <a:lnTo>
                    <a:pt x="89" y="148"/>
                  </a:lnTo>
                  <a:lnTo>
                    <a:pt x="89" y="150"/>
                  </a:lnTo>
                  <a:lnTo>
                    <a:pt x="88" y="150"/>
                  </a:lnTo>
                  <a:lnTo>
                    <a:pt x="86" y="150"/>
                  </a:lnTo>
                  <a:lnTo>
                    <a:pt x="86" y="148"/>
                  </a:lnTo>
                  <a:lnTo>
                    <a:pt x="88" y="148"/>
                  </a:lnTo>
                  <a:lnTo>
                    <a:pt x="91" y="148"/>
                  </a:lnTo>
                  <a:close/>
                  <a:moveTo>
                    <a:pt x="84" y="148"/>
                  </a:moveTo>
                  <a:lnTo>
                    <a:pt x="86" y="148"/>
                  </a:lnTo>
                  <a:lnTo>
                    <a:pt x="84" y="148"/>
                  </a:lnTo>
                  <a:close/>
                  <a:moveTo>
                    <a:pt x="455" y="147"/>
                  </a:moveTo>
                  <a:lnTo>
                    <a:pt x="455" y="148"/>
                  </a:lnTo>
                  <a:lnTo>
                    <a:pt x="457" y="148"/>
                  </a:lnTo>
                  <a:lnTo>
                    <a:pt x="457" y="150"/>
                  </a:lnTo>
                  <a:lnTo>
                    <a:pt x="457" y="151"/>
                  </a:lnTo>
                  <a:lnTo>
                    <a:pt x="457" y="153"/>
                  </a:lnTo>
                  <a:lnTo>
                    <a:pt x="455" y="153"/>
                  </a:lnTo>
                  <a:lnTo>
                    <a:pt x="453" y="153"/>
                  </a:lnTo>
                  <a:lnTo>
                    <a:pt x="452" y="153"/>
                  </a:lnTo>
                  <a:lnTo>
                    <a:pt x="452" y="151"/>
                  </a:lnTo>
                  <a:lnTo>
                    <a:pt x="452" y="150"/>
                  </a:lnTo>
                  <a:lnTo>
                    <a:pt x="453" y="150"/>
                  </a:lnTo>
                  <a:lnTo>
                    <a:pt x="453" y="148"/>
                  </a:lnTo>
                  <a:lnTo>
                    <a:pt x="453" y="150"/>
                  </a:lnTo>
                  <a:lnTo>
                    <a:pt x="455" y="150"/>
                  </a:lnTo>
                  <a:lnTo>
                    <a:pt x="455" y="148"/>
                  </a:lnTo>
                  <a:lnTo>
                    <a:pt x="455" y="147"/>
                  </a:lnTo>
                  <a:close/>
                  <a:moveTo>
                    <a:pt x="110" y="148"/>
                  </a:moveTo>
                  <a:lnTo>
                    <a:pt x="112" y="148"/>
                  </a:lnTo>
                  <a:lnTo>
                    <a:pt x="112" y="150"/>
                  </a:lnTo>
                  <a:lnTo>
                    <a:pt x="110" y="150"/>
                  </a:lnTo>
                  <a:lnTo>
                    <a:pt x="109" y="150"/>
                  </a:lnTo>
                  <a:lnTo>
                    <a:pt x="109" y="148"/>
                  </a:lnTo>
                  <a:lnTo>
                    <a:pt x="109" y="147"/>
                  </a:lnTo>
                  <a:lnTo>
                    <a:pt x="110" y="148"/>
                  </a:lnTo>
                  <a:close/>
                  <a:moveTo>
                    <a:pt x="102" y="147"/>
                  </a:moveTo>
                  <a:lnTo>
                    <a:pt x="104" y="147"/>
                  </a:lnTo>
                  <a:lnTo>
                    <a:pt x="102" y="147"/>
                  </a:lnTo>
                  <a:close/>
                  <a:moveTo>
                    <a:pt x="92" y="147"/>
                  </a:moveTo>
                  <a:lnTo>
                    <a:pt x="94" y="147"/>
                  </a:lnTo>
                  <a:lnTo>
                    <a:pt x="94" y="148"/>
                  </a:lnTo>
                  <a:lnTo>
                    <a:pt x="92" y="148"/>
                  </a:lnTo>
                  <a:lnTo>
                    <a:pt x="92" y="147"/>
                  </a:lnTo>
                  <a:close/>
                  <a:moveTo>
                    <a:pt x="99" y="148"/>
                  </a:moveTo>
                  <a:lnTo>
                    <a:pt x="97" y="148"/>
                  </a:lnTo>
                  <a:lnTo>
                    <a:pt x="97" y="150"/>
                  </a:lnTo>
                  <a:lnTo>
                    <a:pt x="96" y="148"/>
                  </a:lnTo>
                  <a:lnTo>
                    <a:pt x="94" y="148"/>
                  </a:lnTo>
                  <a:lnTo>
                    <a:pt x="96" y="147"/>
                  </a:lnTo>
                  <a:lnTo>
                    <a:pt x="96" y="148"/>
                  </a:lnTo>
                  <a:lnTo>
                    <a:pt x="97" y="148"/>
                  </a:lnTo>
                  <a:lnTo>
                    <a:pt x="97" y="147"/>
                  </a:lnTo>
                  <a:lnTo>
                    <a:pt x="99" y="148"/>
                  </a:lnTo>
                  <a:close/>
                  <a:moveTo>
                    <a:pt x="78" y="147"/>
                  </a:moveTo>
                  <a:lnTo>
                    <a:pt x="79" y="147"/>
                  </a:lnTo>
                  <a:lnTo>
                    <a:pt x="78" y="147"/>
                  </a:lnTo>
                  <a:close/>
                  <a:moveTo>
                    <a:pt x="81" y="147"/>
                  </a:moveTo>
                  <a:lnTo>
                    <a:pt x="81" y="145"/>
                  </a:lnTo>
                  <a:lnTo>
                    <a:pt x="81" y="147"/>
                  </a:lnTo>
                  <a:close/>
                  <a:moveTo>
                    <a:pt x="79" y="147"/>
                  </a:moveTo>
                  <a:lnTo>
                    <a:pt x="81" y="147"/>
                  </a:lnTo>
                  <a:lnTo>
                    <a:pt x="83" y="148"/>
                  </a:lnTo>
                  <a:lnTo>
                    <a:pt x="81" y="148"/>
                  </a:lnTo>
                  <a:lnTo>
                    <a:pt x="79" y="148"/>
                  </a:lnTo>
                  <a:lnTo>
                    <a:pt x="79" y="147"/>
                  </a:lnTo>
                  <a:lnTo>
                    <a:pt x="79" y="145"/>
                  </a:lnTo>
                  <a:lnTo>
                    <a:pt x="79" y="147"/>
                  </a:lnTo>
                  <a:close/>
                  <a:moveTo>
                    <a:pt x="97" y="145"/>
                  </a:moveTo>
                  <a:lnTo>
                    <a:pt x="99" y="145"/>
                  </a:lnTo>
                  <a:lnTo>
                    <a:pt x="99" y="147"/>
                  </a:lnTo>
                  <a:lnTo>
                    <a:pt x="97" y="145"/>
                  </a:lnTo>
                  <a:close/>
                  <a:moveTo>
                    <a:pt x="81" y="145"/>
                  </a:moveTo>
                  <a:lnTo>
                    <a:pt x="79" y="145"/>
                  </a:lnTo>
                  <a:lnTo>
                    <a:pt x="81" y="145"/>
                  </a:lnTo>
                  <a:close/>
                  <a:moveTo>
                    <a:pt x="452" y="145"/>
                  </a:moveTo>
                  <a:lnTo>
                    <a:pt x="452" y="143"/>
                  </a:lnTo>
                  <a:lnTo>
                    <a:pt x="453" y="143"/>
                  </a:lnTo>
                  <a:lnTo>
                    <a:pt x="453" y="145"/>
                  </a:lnTo>
                  <a:lnTo>
                    <a:pt x="453" y="147"/>
                  </a:lnTo>
                  <a:lnTo>
                    <a:pt x="453" y="145"/>
                  </a:lnTo>
                  <a:lnTo>
                    <a:pt x="452" y="145"/>
                  </a:lnTo>
                  <a:close/>
                  <a:moveTo>
                    <a:pt x="104" y="145"/>
                  </a:moveTo>
                  <a:lnTo>
                    <a:pt x="102" y="145"/>
                  </a:lnTo>
                  <a:lnTo>
                    <a:pt x="102" y="143"/>
                  </a:lnTo>
                  <a:lnTo>
                    <a:pt x="105" y="143"/>
                  </a:lnTo>
                  <a:lnTo>
                    <a:pt x="107" y="143"/>
                  </a:lnTo>
                  <a:lnTo>
                    <a:pt x="107" y="145"/>
                  </a:lnTo>
                  <a:lnTo>
                    <a:pt x="105" y="145"/>
                  </a:lnTo>
                  <a:lnTo>
                    <a:pt x="104" y="145"/>
                  </a:lnTo>
                  <a:close/>
                  <a:moveTo>
                    <a:pt x="471" y="142"/>
                  </a:moveTo>
                  <a:lnTo>
                    <a:pt x="470" y="142"/>
                  </a:lnTo>
                  <a:lnTo>
                    <a:pt x="471" y="142"/>
                  </a:lnTo>
                  <a:close/>
                  <a:moveTo>
                    <a:pt x="81" y="142"/>
                  </a:moveTo>
                  <a:lnTo>
                    <a:pt x="81" y="140"/>
                  </a:lnTo>
                  <a:lnTo>
                    <a:pt x="81" y="142"/>
                  </a:lnTo>
                  <a:close/>
                  <a:moveTo>
                    <a:pt x="470" y="140"/>
                  </a:moveTo>
                  <a:lnTo>
                    <a:pt x="470" y="142"/>
                  </a:lnTo>
                  <a:lnTo>
                    <a:pt x="470" y="140"/>
                  </a:lnTo>
                  <a:close/>
                  <a:moveTo>
                    <a:pt x="471" y="142"/>
                  </a:moveTo>
                  <a:lnTo>
                    <a:pt x="471" y="140"/>
                  </a:lnTo>
                  <a:lnTo>
                    <a:pt x="471" y="142"/>
                  </a:lnTo>
                  <a:close/>
                  <a:moveTo>
                    <a:pt x="432" y="142"/>
                  </a:moveTo>
                  <a:lnTo>
                    <a:pt x="431" y="142"/>
                  </a:lnTo>
                  <a:lnTo>
                    <a:pt x="431" y="140"/>
                  </a:lnTo>
                  <a:lnTo>
                    <a:pt x="432" y="140"/>
                  </a:lnTo>
                  <a:lnTo>
                    <a:pt x="432" y="142"/>
                  </a:lnTo>
                  <a:close/>
                  <a:moveTo>
                    <a:pt x="84" y="140"/>
                  </a:moveTo>
                  <a:lnTo>
                    <a:pt x="84" y="142"/>
                  </a:lnTo>
                  <a:lnTo>
                    <a:pt x="84" y="140"/>
                  </a:lnTo>
                  <a:close/>
                  <a:moveTo>
                    <a:pt x="84" y="140"/>
                  </a:moveTo>
                  <a:lnTo>
                    <a:pt x="84" y="138"/>
                  </a:lnTo>
                  <a:lnTo>
                    <a:pt x="84" y="140"/>
                  </a:lnTo>
                  <a:close/>
                  <a:moveTo>
                    <a:pt x="88" y="140"/>
                  </a:moveTo>
                  <a:lnTo>
                    <a:pt x="86" y="140"/>
                  </a:lnTo>
                  <a:lnTo>
                    <a:pt x="86" y="138"/>
                  </a:lnTo>
                  <a:lnTo>
                    <a:pt x="88" y="140"/>
                  </a:lnTo>
                  <a:close/>
                  <a:moveTo>
                    <a:pt x="86" y="138"/>
                  </a:moveTo>
                  <a:lnTo>
                    <a:pt x="84" y="138"/>
                  </a:lnTo>
                  <a:lnTo>
                    <a:pt x="86" y="138"/>
                  </a:lnTo>
                  <a:close/>
                  <a:moveTo>
                    <a:pt x="84" y="138"/>
                  </a:moveTo>
                  <a:lnTo>
                    <a:pt x="86" y="138"/>
                  </a:lnTo>
                  <a:lnTo>
                    <a:pt x="84" y="138"/>
                  </a:lnTo>
                  <a:close/>
                  <a:moveTo>
                    <a:pt x="468" y="138"/>
                  </a:moveTo>
                  <a:lnTo>
                    <a:pt x="468" y="137"/>
                  </a:lnTo>
                  <a:lnTo>
                    <a:pt x="468" y="138"/>
                  </a:lnTo>
                  <a:close/>
                  <a:moveTo>
                    <a:pt x="86" y="137"/>
                  </a:moveTo>
                  <a:lnTo>
                    <a:pt x="86" y="138"/>
                  </a:lnTo>
                  <a:lnTo>
                    <a:pt x="86" y="137"/>
                  </a:lnTo>
                  <a:close/>
                  <a:moveTo>
                    <a:pt x="97" y="143"/>
                  </a:moveTo>
                  <a:lnTo>
                    <a:pt x="99" y="143"/>
                  </a:lnTo>
                  <a:lnTo>
                    <a:pt x="101" y="145"/>
                  </a:lnTo>
                  <a:lnTo>
                    <a:pt x="101" y="147"/>
                  </a:lnTo>
                  <a:lnTo>
                    <a:pt x="102" y="147"/>
                  </a:lnTo>
                  <a:lnTo>
                    <a:pt x="102" y="148"/>
                  </a:lnTo>
                  <a:lnTo>
                    <a:pt x="104" y="150"/>
                  </a:lnTo>
                  <a:lnTo>
                    <a:pt x="102" y="150"/>
                  </a:lnTo>
                  <a:lnTo>
                    <a:pt x="101" y="150"/>
                  </a:lnTo>
                  <a:lnTo>
                    <a:pt x="101" y="148"/>
                  </a:lnTo>
                  <a:lnTo>
                    <a:pt x="101" y="147"/>
                  </a:lnTo>
                  <a:lnTo>
                    <a:pt x="97" y="145"/>
                  </a:lnTo>
                  <a:lnTo>
                    <a:pt x="97" y="143"/>
                  </a:lnTo>
                  <a:lnTo>
                    <a:pt x="97" y="145"/>
                  </a:lnTo>
                  <a:lnTo>
                    <a:pt x="96" y="147"/>
                  </a:lnTo>
                  <a:lnTo>
                    <a:pt x="94" y="147"/>
                  </a:lnTo>
                  <a:lnTo>
                    <a:pt x="92" y="147"/>
                  </a:lnTo>
                  <a:lnTo>
                    <a:pt x="91" y="147"/>
                  </a:lnTo>
                  <a:lnTo>
                    <a:pt x="91" y="145"/>
                  </a:lnTo>
                  <a:lnTo>
                    <a:pt x="89" y="147"/>
                  </a:lnTo>
                  <a:lnTo>
                    <a:pt x="88" y="147"/>
                  </a:lnTo>
                  <a:lnTo>
                    <a:pt x="88" y="145"/>
                  </a:lnTo>
                  <a:lnTo>
                    <a:pt x="86" y="145"/>
                  </a:lnTo>
                  <a:lnTo>
                    <a:pt x="86" y="143"/>
                  </a:lnTo>
                  <a:lnTo>
                    <a:pt x="88" y="143"/>
                  </a:lnTo>
                  <a:lnTo>
                    <a:pt x="88" y="142"/>
                  </a:lnTo>
                  <a:lnTo>
                    <a:pt x="89" y="142"/>
                  </a:lnTo>
                  <a:lnTo>
                    <a:pt x="89" y="140"/>
                  </a:lnTo>
                  <a:lnTo>
                    <a:pt x="88" y="142"/>
                  </a:lnTo>
                  <a:lnTo>
                    <a:pt x="86" y="140"/>
                  </a:lnTo>
                  <a:lnTo>
                    <a:pt x="88" y="142"/>
                  </a:lnTo>
                  <a:lnTo>
                    <a:pt x="86" y="142"/>
                  </a:lnTo>
                  <a:lnTo>
                    <a:pt x="86" y="140"/>
                  </a:lnTo>
                  <a:lnTo>
                    <a:pt x="86" y="142"/>
                  </a:lnTo>
                  <a:lnTo>
                    <a:pt x="86" y="138"/>
                  </a:lnTo>
                  <a:lnTo>
                    <a:pt x="86" y="140"/>
                  </a:lnTo>
                  <a:lnTo>
                    <a:pt x="88" y="140"/>
                  </a:lnTo>
                  <a:lnTo>
                    <a:pt x="88" y="138"/>
                  </a:lnTo>
                  <a:lnTo>
                    <a:pt x="86" y="138"/>
                  </a:lnTo>
                  <a:lnTo>
                    <a:pt x="86" y="137"/>
                  </a:lnTo>
                  <a:lnTo>
                    <a:pt x="86" y="135"/>
                  </a:lnTo>
                  <a:lnTo>
                    <a:pt x="88" y="135"/>
                  </a:lnTo>
                  <a:lnTo>
                    <a:pt x="88" y="137"/>
                  </a:lnTo>
                  <a:lnTo>
                    <a:pt x="89" y="137"/>
                  </a:lnTo>
                  <a:lnTo>
                    <a:pt x="91" y="138"/>
                  </a:lnTo>
                  <a:lnTo>
                    <a:pt x="92" y="138"/>
                  </a:lnTo>
                  <a:lnTo>
                    <a:pt x="92" y="140"/>
                  </a:lnTo>
                  <a:lnTo>
                    <a:pt x="94" y="140"/>
                  </a:lnTo>
                  <a:lnTo>
                    <a:pt x="94" y="142"/>
                  </a:lnTo>
                  <a:lnTo>
                    <a:pt x="96" y="142"/>
                  </a:lnTo>
                  <a:lnTo>
                    <a:pt x="97" y="142"/>
                  </a:lnTo>
                  <a:lnTo>
                    <a:pt x="97" y="143"/>
                  </a:lnTo>
                  <a:close/>
                  <a:moveTo>
                    <a:pt x="112" y="135"/>
                  </a:moveTo>
                  <a:lnTo>
                    <a:pt x="114" y="135"/>
                  </a:lnTo>
                  <a:lnTo>
                    <a:pt x="115" y="135"/>
                  </a:lnTo>
                  <a:lnTo>
                    <a:pt x="115" y="137"/>
                  </a:lnTo>
                  <a:lnTo>
                    <a:pt x="117" y="138"/>
                  </a:lnTo>
                  <a:lnTo>
                    <a:pt x="115" y="138"/>
                  </a:lnTo>
                  <a:lnTo>
                    <a:pt x="117" y="138"/>
                  </a:lnTo>
                  <a:lnTo>
                    <a:pt x="115" y="138"/>
                  </a:lnTo>
                  <a:lnTo>
                    <a:pt x="115" y="140"/>
                  </a:lnTo>
                  <a:lnTo>
                    <a:pt x="114" y="140"/>
                  </a:lnTo>
                  <a:lnTo>
                    <a:pt x="112" y="140"/>
                  </a:lnTo>
                  <a:lnTo>
                    <a:pt x="110" y="140"/>
                  </a:lnTo>
                  <a:lnTo>
                    <a:pt x="110" y="138"/>
                  </a:lnTo>
                  <a:lnTo>
                    <a:pt x="109" y="140"/>
                  </a:lnTo>
                  <a:lnTo>
                    <a:pt x="109" y="142"/>
                  </a:lnTo>
                  <a:lnTo>
                    <a:pt x="109" y="140"/>
                  </a:lnTo>
                  <a:lnTo>
                    <a:pt x="109" y="138"/>
                  </a:lnTo>
                  <a:lnTo>
                    <a:pt x="110" y="137"/>
                  </a:lnTo>
                  <a:lnTo>
                    <a:pt x="112" y="137"/>
                  </a:lnTo>
                  <a:lnTo>
                    <a:pt x="112" y="135"/>
                  </a:lnTo>
                  <a:close/>
                  <a:moveTo>
                    <a:pt x="436" y="138"/>
                  </a:moveTo>
                  <a:lnTo>
                    <a:pt x="436" y="140"/>
                  </a:lnTo>
                  <a:lnTo>
                    <a:pt x="436" y="142"/>
                  </a:lnTo>
                  <a:lnTo>
                    <a:pt x="434" y="142"/>
                  </a:lnTo>
                  <a:lnTo>
                    <a:pt x="434" y="140"/>
                  </a:lnTo>
                  <a:lnTo>
                    <a:pt x="434" y="138"/>
                  </a:lnTo>
                  <a:lnTo>
                    <a:pt x="432" y="137"/>
                  </a:lnTo>
                  <a:lnTo>
                    <a:pt x="432" y="135"/>
                  </a:lnTo>
                  <a:lnTo>
                    <a:pt x="432" y="134"/>
                  </a:lnTo>
                  <a:lnTo>
                    <a:pt x="432" y="132"/>
                  </a:lnTo>
                  <a:lnTo>
                    <a:pt x="434" y="132"/>
                  </a:lnTo>
                  <a:lnTo>
                    <a:pt x="436" y="134"/>
                  </a:lnTo>
                  <a:lnTo>
                    <a:pt x="436" y="135"/>
                  </a:lnTo>
                  <a:lnTo>
                    <a:pt x="436" y="137"/>
                  </a:lnTo>
                  <a:lnTo>
                    <a:pt x="436" y="138"/>
                  </a:lnTo>
                  <a:close/>
                  <a:moveTo>
                    <a:pt x="468" y="132"/>
                  </a:moveTo>
                  <a:lnTo>
                    <a:pt x="470" y="132"/>
                  </a:lnTo>
                  <a:lnTo>
                    <a:pt x="468" y="132"/>
                  </a:lnTo>
                  <a:close/>
                  <a:moveTo>
                    <a:pt x="79" y="129"/>
                  </a:moveTo>
                  <a:lnTo>
                    <a:pt x="79" y="130"/>
                  </a:lnTo>
                  <a:lnTo>
                    <a:pt x="79" y="129"/>
                  </a:lnTo>
                  <a:close/>
                  <a:moveTo>
                    <a:pt x="514" y="129"/>
                  </a:moveTo>
                  <a:lnTo>
                    <a:pt x="515" y="130"/>
                  </a:lnTo>
                  <a:lnTo>
                    <a:pt x="514" y="130"/>
                  </a:lnTo>
                  <a:lnTo>
                    <a:pt x="514" y="129"/>
                  </a:lnTo>
                  <a:close/>
                  <a:moveTo>
                    <a:pt x="86" y="129"/>
                  </a:moveTo>
                  <a:lnTo>
                    <a:pt x="86" y="130"/>
                  </a:lnTo>
                  <a:lnTo>
                    <a:pt x="88" y="132"/>
                  </a:lnTo>
                  <a:lnTo>
                    <a:pt x="86" y="132"/>
                  </a:lnTo>
                  <a:lnTo>
                    <a:pt x="86" y="130"/>
                  </a:lnTo>
                  <a:lnTo>
                    <a:pt x="86" y="129"/>
                  </a:lnTo>
                  <a:close/>
                  <a:moveTo>
                    <a:pt x="109" y="129"/>
                  </a:moveTo>
                  <a:lnTo>
                    <a:pt x="109" y="130"/>
                  </a:lnTo>
                  <a:lnTo>
                    <a:pt x="109" y="129"/>
                  </a:lnTo>
                  <a:lnTo>
                    <a:pt x="109" y="130"/>
                  </a:lnTo>
                  <a:lnTo>
                    <a:pt x="109" y="129"/>
                  </a:lnTo>
                  <a:lnTo>
                    <a:pt x="107" y="130"/>
                  </a:lnTo>
                  <a:lnTo>
                    <a:pt x="107" y="129"/>
                  </a:lnTo>
                  <a:lnTo>
                    <a:pt x="109" y="129"/>
                  </a:lnTo>
                  <a:close/>
                  <a:moveTo>
                    <a:pt x="88" y="130"/>
                  </a:moveTo>
                  <a:lnTo>
                    <a:pt x="89" y="130"/>
                  </a:lnTo>
                  <a:lnTo>
                    <a:pt x="89" y="132"/>
                  </a:lnTo>
                  <a:lnTo>
                    <a:pt x="91" y="132"/>
                  </a:lnTo>
                  <a:lnTo>
                    <a:pt x="91" y="134"/>
                  </a:lnTo>
                  <a:lnTo>
                    <a:pt x="89" y="134"/>
                  </a:lnTo>
                  <a:lnTo>
                    <a:pt x="89" y="132"/>
                  </a:lnTo>
                  <a:lnTo>
                    <a:pt x="88" y="132"/>
                  </a:lnTo>
                  <a:lnTo>
                    <a:pt x="88" y="130"/>
                  </a:lnTo>
                  <a:lnTo>
                    <a:pt x="86" y="130"/>
                  </a:lnTo>
                  <a:lnTo>
                    <a:pt x="88" y="129"/>
                  </a:lnTo>
                  <a:lnTo>
                    <a:pt x="86" y="129"/>
                  </a:lnTo>
                  <a:lnTo>
                    <a:pt x="88" y="129"/>
                  </a:lnTo>
                  <a:lnTo>
                    <a:pt x="89" y="129"/>
                  </a:lnTo>
                  <a:lnTo>
                    <a:pt x="89" y="130"/>
                  </a:lnTo>
                  <a:lnTo>
                    <a:pt x="88" y="130"/>
                  </a:lnTo>
                  <a:close/>
                  <a:moveTo>
                    <a:pt x="528" y="130"/>
                  </a:moveTo>
                  <a:lnTo>
                    <a:pt x="528" y="129"/>
                  </a:lnTo>
                  <a:lnTo>
                    <a:pt x="528" y="130"/>
                  </a:lnTo>
                  <a:lnTo>
                    <a:pt x="528" y="129"/>
                  </a:lnTo>
                  <a:lnTo>
                    <a:pt x="530" y="129"/>
                  </a:lnTo>
                  <a:lnTo>
                    <a:pt x="530" y="130"/>
                  </a:lnTo>
                  <a:lnTo>
                    <a:pt x="528" y="130"/>
                  </a:lnTo>
                  <a:close/>
                  <a:moveTo>
                    <a:pt x="83" y="129"/>
                  </a:moveTo>
                  <a:lnTo>
                    <a:pt x="84" y="129"/>
                  </a:lnTo>
                  <a:lnTo>
                    <a:pt x="86" y="129"/>
                  </a:lnTo>
                  <a:lnTo>
                    <a:pt x="86" y="130"/>
                  </a:lnTo>
                  <a:lnTo>
                    <a:pt x="84" y="132"/>
                  </a:lnTo>
                  <a:lnTo>
                    <a:pt x="84" y="130"/>
                  </a:lnTo>
                  <a:lnTo>
                    <a:pt x="83" y="130"/>
                  </a:lnTo>
                  <a:lnTo>
                    <a:pt x="84" y="130"/>
                  </a:lnTo>
                  <a:lnTo>
                    <a:pt x="84" y="129"/>
                  </a:lnTo>
                  <a:lnTo>
                    <a:pt x="83" y="129"/>
                  </a:lnTo>
                  <a:close/>
                  <a:moveTo>
                    <a:pt x="525" y="129"/>
                  </a:moveTo>
                  <a:lnTo>
                    <a:pt x="527" y="129"/>
                  </a:lnTo>
                  <a:lnTo>
                    <a:pt x="525" y="129"/>
                  </a:lnTo>
                  <a:close/>
                  <a:moveTo>
                    <a:pt x="528" y="127"/>
                  </a:moveTo>
                  <a:lnTo>
                    <a:pt x="528" y="129"/>
                  </a:lnTo>
                  <a:lnTo>
                    <a:pt x="528" y="127"/>
                  </a:lnTo>
                  <a:close/>
                  <a:moveTo>
                    <a:pt x="496" y="127"/>
                  </a:moveTo>
                  <a:lnTo>
                    <a:pt x="496" y="129"/>
                  </a:lnTo>
                  <a:lnTo>
                    <a:pt x="496" y="127"/>
                  </a:lnTo>
                  <a:close/>
                  <a:moveTo>
                    <a:pt x="527" y="127"/>
                  </a:moveTo>
                  <a:lnTo>
                    <a:pt x="527" y="129"/>
                  </a:lnTo>
                  <a:lnTo>
                    <a:pt x="527" y="127"/>
                  </a:lnTo>
                  <a:close/>
                  <a:moveTo>
                    <a:pt x="491" y="127"/>
                  </a:moveTo>
                  <a:lnTo>
                    <a:pt x="492" y="127"/>
                  </a:lnTo>
                  <a:lnTo>
                    <a:pt x="491" y="127"/>
                  </a:lnTo>
                  <a:close/>
                  <a:moveTo>
                    <a:pt x="471" y="132"/>
                  </a:moveTo>
                  <a:lnTo>
                    <a:pt x="473" y="134"/>
                  </a:lnTo>
                  <a:lnTo>
                    <a:pt x="473" y="135"/>
                  </a:lnTo>
                  <a:lnTo>
                    <a:pt x="471" y="137"/>
                  </a:lnTo>
                  <a:lnTo>
                    <a:pt x="473" y="137"/>
                  </a:lnTo>
                  <a:lnTo>
                    <a:pt x="471" y="137"/>
                  </a:lnTo>
                  <a:lnTo>
                    <a:pt x="473" y="138"/>
                  </a:lnTo>
                  <a:lnTo>
                    <a:pt x="471" y="138"/>
                  </a:lnTo>
                  <a:lnTo>
                    <a:pt x="470" y="137"/>
                  </a:lnTo>
                  <a:lnTo>
                    <a:pt x="470" y="138"/>
                  </a:lnTo>
                  <a:lnTo>
                    <a:pt x="470" y="137"/>
                  </a:lnTo>
                  <a:lnTo>
                    <a:pt x="470" y="138"/>
                  </a:lnTo>
                  <a:lnTo>
                    <a:pt x="470" y="140"/>
                  </a:lnTo>
                  <a:lnTo>
                    <a:pt x="470" y="138"/>
                  </a:lnTo>
                  <a:lnTo>
                    <a:pt x="468" y="138"/>
                  </a:lnTo>
                  <a:lnTo>
                    <a:pt x="468" y="137"/>
                  </a:lnTo>
                  <a:lnTo>
                    <a:pt x="466" y="137"/>
                  </a:lnTo>
                  <a:lnTo>
                    <a:pt x="466" y="138"/>
                  </a:lnTo>
                  <a:lnTo>
                    <a:pt x="468" y="138"/>
                  </a:lnTo>
                  <a:lnTo>
                    <a:pt x="468" y="140"/>
                  </a:lnTo>
                  <a:lnTo>
                    <a:pt x="466" y="140"/>
                  </a:lnTo>
                  <a:lnTo>
                    <a:pt x="465" y="140"/>
                  </a:lnTo>
                  <a:lnTo>
                    <a:pt x="466" y="142"/>
                  </a:lnTo>
                  <a:lnTo>
                    <a:pt x="466" y="143"/>
                  </a:lnTo>
                  <a:lnTo>
                    <a:pt x="465" y="143"/>
                  </a:lnTo>
                  <a:lnTo>
                    <a:pt x="463" y="143"/>
                  </a:lnTo>
                  <a:lnTo>
                    <a:pt x="462" y="143"/>
                  </a:lnTo>
                  <a:lnTo>
                    <a:pt x="460" y="143"/>
                  </a:lnTo>
                  <a:lnTo>
                    <a:pt x="460" y="142"/>
                  </a:lnTo>
                  <a:lnTo>
                    <a:pt x="458" y="142"/>
                  </a:lnTo>
                  <a:lnTo>
                    <a:pt x="458" y="140"/>
                  </a:lnTo>
                  <a:lnTo>
                    <a:pt x="460" y="140"/>
                  </a:lnTo>
                  <a:lnTo>
                    <a:pt x="462" y="138"/>
                  </a:lnTo>
                  <a:lnTo>
                    <a:pt x="460" y="138"/>
                  </a:lnTo>
                  <a:lnTo>
                    <a:pt x="458" y="138"/>
                  </a:lnTo>
                  <a:lnTo>
                    <a:pt x="460" y="138"/>
                  </a:lnTo>
                  <a:lnTo>
                    <a:pt x="460" y="137"/>
                  </a:lnTo>
                  <a:lnTo>
                    <a:pt x="460" y="135"/>
                  </a:lnTo>
                  <a:lnTo>
                    <a:pt x="460" y="134"/>
                  </a:lnTo>
                  <a:lnTo>
                    <a:pt x="462" y="134"/>
                  </a:lnTo>
                  <a:lnTo>
                    <a:pt x="462" y="132"/>
                  </a:lnTo>
                  <a:lnTo>
                    <a:pt x="463" y="132"/>
                  </a:lnTo>
                  <a:lnTo>
                    <a:pt x="463" y="130"/>
                  </a:lnTo>
                  <a:lnTo>
                    <a:pt x="465" y="130"/>
                  </a:lnTo>
                  <a:lnTo>
                    <a:pt x="465" y="129"/>
                  </a:lnTo>
                  <a:lnTo>
                    <a:pt x="465" y="127"/>
                  </a:lnTo>
                  <a:lnTo>
                    <a:pt x="466" y="129"/>
                  </a:lnTo>
                  <a:lnTo>
                    <a:pt x="468" y="130"/>
                  </a:lnTo>
                  <a:lnTo>
                    <a:pt x="466" y="130"/>
                  </a:lnTo>
                  <a:lnTo>
                    <a:pt x="468" y="130"/>
                  </a:lnTo>
                  <a:lnTo>
                    <a:pt x="466" y="130"/>
                  </a:lnTo>
                  <a:lnTo>
                    <a:pt x="468" y="130"/>
                  </a:lnTo>
                  <a:lnTo>
                    <a:pt x="468" y="132"/>
                  </a:lnTo>
                  <a:lnTo>
                    <a:pt x="466" y="132"/>
                  </a:lnTo>
                  <a:lnTo>
                    <a:pt x="466" y="130"/>
                  </a:lnTo>
                  <a:lnTo>
                    <a:pt x="465" y="130"/>
                  </a:lnTo>
                  <a:lnTo>
                    <a:pt x="465" y="132"/>
                  </a:lnTo>
                  <a:lnTo>
                    <a:pt x="466" y="132"/>
                  </a:lnTo>
                  <a:lnTo>
                    <a:pt x="465" y="134"/>
                  </a:lnTo>
                  <a:lnTo>
                    <a:pt x="466" y="134"/>
                  </a:lnTo>
                  <a:lnTo>
                    <a:pt x="468" y="134"/>
                  </a:lnTo>
                  <a:lnTo>
                    <a:pt x="466" y="134"/>
                  </a:lnTo>
                  <a:lnTo>
                    <a:pt x="466" y="135"/>
                  </a:lnTo>
                  <a:lnTo>
                    <a:pt x="468" y="135"/>
                  </a:lnTo>
                  <a:lnTo>
                    <a:pt x="468" y="134"/>
                  </a:lnTo>
                  <a:lnTo>
                    <a:pt x="466" y="132"/>
                  </a:lnTo>
                  <a:lnTo>
                    <a:pt x="468" y="132"/>
                  </a:lnTo>
                  <a:lnTo>
                    <a:pt x="468" y="134"/>
                  </a:lnTo>
                  <a:lnTo>
                    <a:pt x="470" y="132"/>
                  </a:lnTo>
                  <a:lnTo>
                    <a:pt x="471" y="132"/>
                  </a:lnTo>
                  <a:lnTo>
                    <a:pt x="470" y="132"/>
                  </a:lnTo>
                  <a:lnTo>
                    <a:pt x="471" y="132"/>
                  </a:lnTo>
                  <a:lnTo>
                    <a:pt x="470" y="132"/>
                  </a:lnTo>
                  <a:lnTo>
                    <a:pt x="470" y="134"/>
                  </a:lnTo>
                  <a:lnTo>
                    <a:pt x="471" y="134"/>
                  </a:lnTo>
                  <a:lnTo>
                    <a:pt x="471" y="132"/>
                  </a:lnTo>
                  <a:close/>
                  <a:moveTo>
                    <a:pt x="91" y="127"/>
                  </a:moveTo>
                  <a:lnTo>
                    <a:pt x="92" y="127"/>
                  </a:lnTo>
                  <a:lnTo>
                    <a:pt x="92" y="129"/>
                  </a:lnTo>
                  <a:lnTo>
                    <a:pt x="91" y="129"/>
                  </a:lnTo>
                  <a:lnTo>
                    <a:pt x="91" y="130"/>
                  </a:lnTo>
                  <a:lnTo>
                    <a:pt x="89" y="129"/>
                  </a:lnTo>
                  <a:lnTo>
                    <a:pt x="89" y="127"/>
                  </a:lnTo>
                  <a:lnTo>
                    <a:pt x="91" y="127"/>
                  </a:lnTo>
                  <a:close/>
                  <a:moveTo>
                    <a:pt x="434" y="127"/>
                  </a:moveTo>
                  <a:lnTo>
                    <a:pt x="434" y="129"/>
                  </a:lnTo>
                  <a:lnTo>
                    <a:pt x="434" y="127"/>
                  </a:lnTo>
                  <a:lnTo>
                    <a:pt x="434" y="129"/>
                  </a:lnTo>
                  <a:lnTo>
                    <a:pt x="434" y="130"/>
                  </a:lnTo>
                  <a:lnTo>
                    <a:pt x="432" y="130"/>
                  </a:lnTo>
                  <a:lnTo>
                    <a:pt x="432" y="127"/>
                  </a:lnTo>
                  <a:lnTo>
                    <a:pt x="434" y="127"/>
                  </a:lnTo>
                  <a:close/>
                  <a:moveTo>
                    <a:pt x="479" y="127"/>
                  </a:moveTo>
                  <a:lnTo>
                    <a:pt x="479" y="125"/>
                  </a:lnTo>
                  <a:lnTo>
                    <a:pt x="479" y="127"/>
                  </a:lnTo>
                  <a:close/>
                  <a:moveTo>
                    <a:pt x="81" y="127"/>
                  </a:moveTo>
                  <a:lnTo>
                    <a:pt x="81" y="125"/>
                  </a:lnTo>
                  <a:lnTo>
                    <a:pt x="81" y="127"/>
                  </a:lnTo>
                  <a:close/>
                  <a:moveTo>
                    <a:pt x="479" y="125"/>
                  </a:moveTo>
                  <a:lnTo>
                    <a:pt x="479" y="127"/>
                  </a:lnTo>
                  <a:lnTo>
                    <a:pt x="479" y="125"/>
                  </a:lnTo>
                  <a:close/>
                  <a:moveTo>
                    <a:pt x="528" y="125"/>
                  </a:moveTo>
                  <a:lnTo>
                    <a:pt x="530" y="125"/>
                  </a:lnTo>
                  <a:lnTo>
                    <a:pt x="528" y="125"/>
                  </a:lnTo>
                  <a:close/>
                  <a:moveTo>
                    <a:pt x="94" y="127"/>
                  </a:moveTo>
                  <a:lnTo>
                    <a:pt x="94" y="125"/>
                  </a:lnTo>
                  <a:lnTo>
                    <a:pt x="94" y="127"/>
                  </a:lnTo>
                  <a:lnTo>
                    <a:pt x="94" y="125"/>
                  </a:lnTo>
                  <a:lnTo>
                    <a:pt x="94" y="127"/>
                  </a:lnTo>
                  <a:lnTo>
                    <a:pt x="94" y="125"/>
                  </a:lnTo>
                  <a:lnTo>
                    <a:pt x="94" y="127"/>
                  </a:lnTo>
                  <a:close/>
                  <a:moveTo>
                    <a:pt x="501" y="125"/>
                  </a:moveTo>
                  <a:lnTo>
                    <a:pt x="501" y="127"/>
                  </a:lnTo>
                  <a:lnTo>
                    <a:pt x="499" y="127"/>
                  </a:lnTo>
                  <a:lnTo>
                    <a:pt x="499" y="125"/>
                  </a:lnTo>
                  <a:lnTo>
                    <a:pt x="501" y="125"/>
                  </a:lnTo>
                  <a:lnTo>
                    <a:pt x="501" y="127"/>
                  </a:lnTo>
                  <a:lnTo>
                    <a:pt x="501" y="125"/>
                  </a:lnTo>
                  <a:close/>
                  <a:moveTo>
                    <a:pt x="494" y="125"/>
                  </a:moveTo>
                  <a:lnTo>
                    <a:pt x="492" y="125"/>
                  </a:lnTo>
                  <a:lnTo>
                    <a:pt x="494" y="125"/>
                  </a:lnTo>
                  <a:close/>
                  <a:moveTo>
                    <a:pt x="512" y="125"/>
                  </a:moveTo>
                  <a:lnTo>
                    <a:pt x="512" y="124"/>
                  </a:lnTo>
                  <a:lnTo>
                    <a:pt x="514" y="124"/>
                  </a:lnTo>
                  <a:lnTo>
                    <a:pt x="514" y="125"/>
                  </a:lnTo>
                  <a:lnTo>
                    <a:pt x="512" y="125"/>
                  </a:lnTo>
                  <a:close/>
                  <a:moveTo>
                    <a:pt x="528" y="125"/>
                  </a:moveTo>
                  <a:lnTo>
                    <a:pt x="527" y="127"/>
                  </a:lnTo>
                  <a:lnTo>
                    <a:pt x="525" y="127"/>
                  </a:lnTo>
                  <a:lnTo>
                    <a:pt x="527" y="124"/>
                  </a:lnTo>
                  <a:lnTo>
                    <a:pt x="528" y="124"/>
                  </a:lnTo>
                  <a:lnTo>
                    <a:pt x="528" y="125"/>
                  </a:lnTo>
                  <a:close/>
                  <a:moveTo>
                    <a:pt x="528" y="125"/>
                  </a:moveTo>
                  <a:lnTo>
                    <a:pt x="528" y="124"/>
                  </a:lnTo>
                  <a:lnTo>
                    <a:pt x="530" y="124"/>
                  </a:lnTo>
                  <a:lnTo>
                    <a:pt x="532" y="125"/>
                  </a:lnTo>
                  <a:lnTo>
                    <a:pt x="530" y="125"/>
                  </a:lnTo>
                  <a:lnTo>
                    <a:pt x="528" y="125"/>
                  </a:lnTo>
                  <a:close/>
                  <a:moveTo>
                    <a:pt x="532" y="124"/>
                  </a:moveTo>
                  <a:lnTo>
                    <a:pt x="530" y="124"/>
                  </a:lnTo>
                  <a:lnTo>
                    <a:pt x="532" y="124"/>
                  </a:lnTo>
                  <a:close/>
                  <a:moveTo>
                    <a:pt x="75" y="122"/>
                  </a:moveTo>
                  <a:lnTo>
                    <a:pt x="76" y="122"/>
                  </a:lnTo>
                  <a:lnTo>
                    <a:pt x="75" y="122"/>
                  </a:lnTo>
                  <a:close/>
                  <a:moveTo>
                    <a:pt x="548" y="122"/>
                  </a:moveTo>
                  <a:lnTo>
                    <a:pt x="549" y="122"/>
                  </a:lnTo>
                  <a:lnTo>
                    <a:pt x="548" y="122"/>
                  </a:lnTo>
                  <a:close/>
                  <a:moveTo>
                    <a:pt x="76" y="124"/>
                  </a:moveTo>
                  <a:lnTo>
                    <a:pt x="76" y="122"/>
                  </a:lnTo>
                  <a:lnTo>
                    <a:pt x="75" y="122"/>
                  </a:lnTo>
                  <a:lnTo>
                    <a:pt x="76" y="120"/>
                  </a:lnTo>
                  <a:lnTo>
                    <a:pt x="76" y="122"/>
                  </a:lnTo>
                  <a:lnTo>
                    <a:pt x="78" y="124"/>
                  </a:lnTo>
                  <a:lnTo>
                    <a:pt x="76" y="124"/>
                  </a:lnTo>
                  <a:close/>
                  <a:moveTo>
                    <a:pt x="465" y="120"/>
                  </a:moveTo>
                  <a:lnTo>
                    <a:pt x="465" y="122"/>
                  </a:lnTo>
                  <a:lnTo>
                    <a:pt x="465" y="120"/>
                  </a:lnTo>
                  <a:close/>
                  <a:moveTo>
                    <a:pt x="466" y="122"/>
                  </a:moveTo>
                  <a:lnTo>
                    <a:pt x="466" y="120"/>
                  </a:lnTo>
                  <a:lnTo>
                    <a:pt x="468" y="122"/>
                  </a:lnTo>
                  <a:lnTo>
                    <a:pt x="466" y="122"/>
                  </a:lnTo>
                  <a:close/>
                  <a:moveTo>
                    <a:pt x="468" y="120"/>
                  </a:moveTo>
                  <a:lnTo>
                    <a:pt x="468" y="122"/>
                  </a:lnTo>
                  <a:lnTo>
                    <a:pt x="466" y="120"/>
                  </a:lnTo>
                  <a:lnTo>
                    <a:pt x="468" y="120"/>
                  </a:lnTo>
                  <a:close/>
                  <a:moveTo>
                    <a:pt x="75" y="122"/>
                  </a:moveTo>
                  <a:lnTo>
                    <a:pt x="75" y="120"/>
                  </a:lnTo>
                  <a:lnTo>
                    <a:pt x="76" y="120"/>
                  </a:lnTo>
                  <a:lnTo>
                    <a:pt x="75" y="120"/>
                  </a:lnTo>
                  <a:lnTo>
                    <a:pt x="75" y="122"/>
                  </a:lnTo>
                  <a:close/>
                  <a:moveTo>
                    <a:pt x="463" y="119"/>
                  </a:moveTo>
                  <a:lnTo>
                    <a:pt x="463" y="120"/>
                  </a:lnTo>
                  <a:lnTo>
                    <a:pt x="463" y="119"/>
                  </a:lnTo>
                  <a:close/>
                  <a:moveTo>
                    <a:pt x="437" y="120"/>
                  </a:moveTo>
                  <a:lnTo>
                    <a:pt x="436" y="120"/>
                  </a:lnTo>
                  <a:lnTo>
                    <a:pt x="436" y="119"/>
                  </a:lnTo>
                  <a:lnTo>
                    <a:pt x="437" y="119"/>
                  </a:lnTo>
                  <a:lnTo>
                    <a:pt x="437" y="120"/>
                  </a:lnTo>
                  <a:close/>
                  <a:moveTo>
                    <a:pt x="463" y="119"/>
                  </a:moveTo>
                  <a:lnTo>
                    <a:pt x="465" y="119"/>
                  </a:lnTo>
                  <a:lnTo>
                    <a:pt x="463" y="119"/>
                  </a:lnTo>
                  <a:close/>
                  <a:moveTo>
                    <a:pt x="437" y="120"/>
                  </a:moveTo>
                  <a:lnTo>
                    <a:pt x="437" y="119"/>
                  </a:lnTo>
                  <a:lnTo>
                    <a:pt x="437" y="120"/>
                  </a:lnTo>
                  <a:close/>
                  <a:moveTo>
                    <a:pt x="525" y="119"/>
                  </a:moveTo>
                  <a:lnTo>
                    <a:pt x="525" y="120"/>
                  </a:lnTo>
                  <a:lnTo>
                    <a:pt x="523" y="120"/>
                  </a:lnTo>
                  <a:lnTo>
                    <a:pt x="525" y="119"/>
                  </a:lnTo>
                  <a:close/>
                  <a:moveTo>
                    <a:pt x="118" y="119"/>
                  </a:moveTo>
                  <a:lnTo>
                    <a:pt x="120" y="119"/>
                  </a:lnTo>
                  <a:lnTo>
                    <a:pt x="118" y="119"/>
                  </a:lnTo>
                  <a:close/>
                  <a:moveTo>
                    <a:pt x="465" y="119"/>
                  </a:moveTo>
                  <a:lnTo>
                    <a:pt x="463" y="119"/>
                  </a:lnTo>
                  <a:lnTo>
                    <a:pt x="465" y="119"/>
                  </a:lnTo>
                  <a:close/>
                  <a:moveTo>
                    <a:pt x="481" y="119"/>
                  </a:moveTo>
                  <a:lnTo>
                    <a:pt x="483" y="119"/>
                  </a:lnTo>
                  <a:lnTo>
                    <a:pt x="484" y="120"/>
                  </a:lnTo>
                  <a:lnTo>
                    <a:pt x="483" y="122"/>
                  </a:lnTo>
                  <a:lnTo>
                    <a:pt x="481" y="122"/>
                  </a:lnTo>
                  <a:lnTo>
                    <a:pt x="481" y="124"/>
                  </a:lnTo>
                  <a:lnTo>
                    <a:pt x="481" y="122"/>
                  </a:lnTo>
                  <a:lnTo>
                    <a:pt x="479" y="122"/>
                  </a:lnTo>
                  <a:lnTo>
                    <a:pt x="479" y="124"/>
                  </a:lnTo>
                  <a:lnTo>
                    <a:pt x="478" y="122"/>
                  </a:lnTo>
                  <a:lnTo>
                    <a:pt x="478" y="120"/>
                  </a:lnTo>
                  <a:lnTo>
                    <a:pt x="476" y="120"/>
                  </a:lnTo>
                  <a:lnTo>
                    <a:pt x="476" y="122"/>
                  </a:lnTo>
                  <a:lnTo>
                    <a:pt x="478" y="124"/>
                  </a:lnTo>
                  <a:lnTo>
                    <a:pt x="478" y="125"/>
                  </a:lnTo>
                  <a:lnTo>
                    <a:pt x="479" y="125"/>
                  </a:lnTo>
                  <a:lnTo>
                    <a:pt x="478" y="125"/>
                  </a:lnTo>
                  <a:lnTo>
                    <a:pt x="479" y="127"/>
                  </a:lnTo>
                  <a:lnTo>
                    <a:pt x="481" y="127"/>
                  </a:lnTo>
                  <a:lnTo>
                    <a:pt x="481" y="129"/>
                  </a:lnTo>
                  <a:lnTo>
                    <a:pt x="479" y="129"/>
                  </a:lnTo>
                  <a:lnTo>
                    <a:pt x="478" y="129"/>
                  </a:lnTo>
                  <a:lnTo>
                    <a:pt x="478" y="127"/>
                  </a:lnTo>
                  <a:lnTo>
                    <a:pt x="476" y="127"/>
                  </a:lnTo>
                  <a:lnTo>
                    <a:pt x="476" y="125"/>
                  </a:lnTo>
                  <a:lnTo>
                    <a:pt x="475" y="124"/>
                  </a:lnTo>
                  <a:lnTo>
                    <a:pt x="475" y="122"/>
                  </a:lnTo>
                  <a:lnTo>
                    <a:pt x="475" y="120"/>
                  </a:lnTo>
                  <a:lnTo>
                    <a:pt x="475" y="119"/>
                  </a:lnTo>
                  <a:lnTo>
                    <a:pt x="475" y="120"/>
                  </a:lnTo>
                  <a:lnTo>
                    <a:pt x="475" y="119"/>
                  </a:lnTo>
                  <a:lnTo>
                    <a:pt x="476" y="119"/>
                  </a:lnTo>
                  <a:lnTo>
                    <a:pt x="478" y="119"/>
                  </a:lnTo>
                  <a:lnTo>
                    <a:pt x="479" y="119"/>
                  </a:lnTo>
                  <a:lnTo>
                    <a:pt x="481" y="120"/>
                  </a:lnTo>
                  <a:lnTo>
                    <a:pt x="481" y="119"/>
                  </a:lnTo>
                  <a:close/>
                  <a:moveTo>
                    <a:pt x="115" y="117"/>
                  </a:moveTo>
                  <a:lnTo>
                    <a:pt x="115" y="119"/>
                  </a:lnTo>
                  <a:lnTo>
                    <a:pt x="117" y="119"/>
                  </a:lnTo>
                  <a:lnTo>
                    <a:pt x="115" y="120"/>
                  </a:lnTo>
                  <a:lnTo>
                    <a:pt x="114" y="120"/>
                  </a:lnTo>
                  <a:lnTo>
                    <a:pt x="112" y="119"/>
                  </a:lnTo>
                  <a:lnTo>
                    <a:pt x="110" y="119"/>
                  </a:lnTo>
                  <a:lnTo>
                    <a:pt x="112" y="117"/>
                  </a:lnTo>
                  <a:lnTo>
                    <a:pt x="114" y="117"/>
                  </a:lnTo>
                  <a:lnTo>
                    <a:pt x="115" y="117"/>
                  </a:lnTo>
                  <a:close/>
                  <a:moveTo>
                    <a:pt x="476" y="119"/>
                  </a:moveTo>
                  <a:lnTo>
                    <a:pt x="476" y="117"/>
                  </a:lnTo>
                  <a:lnTo>
                    <a:pt x="478" y="117"/>
                  </a:lnTo>
                  <a:lnTo>
                    <a:pt x="478" y="119"/>
                  </a:lnTo>
                  <a:lnTo>
                    <a:pt x="476" y="117"/>
                  </a:lnTo>
                  <a:lnTo>
                    <a:pt x="476" y="119"/>
                  </a:lnTo>
                  <a:close/>
                  <a:moveTo>
                    <a:pt x="562" y="117"/>
                  </a:moveTo>
                  <a:lnTo>
                    <a:pt x="564" y="117"/>
                  </a:lnTo>
                  <a:lnTo>
                    <a:pt x="562" y="117"/>
                  </a:lnTo>
                  <a:close/>
                  <a:moveTo>
                    <a:pt x="81" y="122"/>
                  </a:moveTo>
                  <a:lnTo>
                    <a:pt x="83" y="124"/>
                  </a:lnTo>
                  <a:lnTo>
                    <a:pt x="81" y="125"/>
                  </a:lnTo>
                  <a:lnTo>
                    <a:pt x="79" y="127"/>
                  </a:lnTo>
                  <a:lnTo>
                    <a:pt x="79" y="129"/>
                  </a:lnTo>
                  <a:lnTo>
                    <a:pt x="79" y="130"/>
                  </a:lnTo>
                  <a:lnTo>
                    <a:pt x="78" y="129"/>
                  </a:lnTo>
                  <a:lnTo>
                    <a:pt x="78" y="127"/>
                  </a:lnTo>
                  <a:lnTo>
                    <a:pt x="78" y="125"/>
                  </a:lnTo>
                  <a:lnTo>
                    <a:pt x="78" y="124"/>
                  </a:lnTo>
                  <a:lnTo>
                    <a:pt x="78" y="122"/>
                  </a:lnTo>
                  <a:lnTo>
                    <a:pt x="76" y="120"/>
                  </a:lnTo>
                  <a:lnTo>
                    <a:pt x="78" y="120"/>
                  </a:lnTo>
                  <a:lnTo>
                    <a:pt x="76" y="120"/>
                  </a:lnTo>
                  <a:lnTo>
                    <a:pt x="76" y="119"/>
                  </a:lnTo>
                  <a:lnTo>
                    <a:pt x="76" y="117"/>
                  </a:lnTo>
                  <a:lnTo>
                    <a:pt x="78" y="117"/>
                  </a:lnTo>
                  <a:lnTo>
                    <a:pt x="79" y="117"/>
                  </a:lnTo>
                  <a:lnTo>
                    <a:pt x="83" y="120"/>
                  </a:lnTo>
                  <a:lnTo>
                    <a:pt x="83" y="122"/>
                  </a:lnTo>
                  <a:lnTo>
                    <a:pt x="81" y="122"/>
                  </a:lnTo>
                  <a:close/>
                  <a:moveTo>
                    <a:pt x="110" y="117"/>
                  </a:moveTo>
                  <a:lnTo>
                    <a:pt x="110" y="119"/>
                  </a:lnTo>
                  <a:lnTo>
                    <a:pt x="109" y="117"/>
                  </a:lnTo>
                  <a:lnTo>
                    <a:pt x="110" y="117"/>
                  </a:lnTo>
                  <a:close/>
                  <a:moveTo>
                    <a:pt x="115" y="117"/>
                  </a:moveTo>
                  <a:lnTo>
                    <a:pt x="114" y="117"/>
                  </a:lnTo>
                  <a:lnTo>
                    <a:pt x="115" y="117"/>
                  </a:lnTo>
                  <a:close/>
                  <a:moveTo>
                    <a:pt x="112" y="117"/>
                  </a:moveTo>
                  <a:lnTo>
                    <a:pt x="110" y="117"/>
                  </a:lnTo>
                  <a:lnTo>
                    <a:pt x="112" y="116"/>
                  </a:lnTo>
                  <a:lnTo>
                    <a:pt x="112" y="117"/>
                  </a:lnTo>
                  <a:close/>
                  <a:moveTo>
                    <a:pt x="97" y="124"/>
                  </a:moveTo>
                  <a:lnTo>
                    <a:pt x="96" y="122"/>
                  </a:lnTo>
                  <a:lnTo>
                    <a:pt x="94" y="122"/>
                  </a:lnTo>
                  <a:lnTo>
                    <a:pt x="94" y="120"/>
                  </a:lnTo>
                  <a:lnTo>
                    <a:pt x="94" y="122"/>
                  </a:lnTo>
                  <a:lnTo>
                    <a:pt x="92" y="125"/>
                  </a:lnTo>
                  <a:lnTo>
                    <a:pt x="91" y="125"/>
                  </a:lnTo>
                  <a:lnTo>
                    <a:pt x="92" y="125"/>
                  </a:lnTo>
                  <a:lnTo>
                    <a:pt x="89" y="125"/>
                  </a:lnTo>
                  <a:lnTo>
                    <a:pt x="88" y="125"/>
                  </a:lnTo>
                  <a:lnTo>
                    <a:pt x="88" y="124"/>
                  </a:lnTo>
                  <a:lnTo>
                    <a:pt x="86" y="124"/>
                  </a:lnTo>
                  <a:lnTo>
                    <a:pt x="84" y="124"/>
                  </a:lnTo>
                  <a:lnTo>
                    <a:pt x="84" y="125"/>
                  </a:lnTo>
                  <a:lnTo>
                    <a:pt x="83" y="125"/>
                  </a:lnTo>
                  <a:lnTo>
                    <a:pt x="83" y="124"/>
                  </a:lnTo>
                  <a:lnTo>
                    <a:pt x="83" y="122"/>
                  </a:lnTo>
                  <a:lnTo>
                    <a:pt x="84" y="124"/>
                  </a:lnTo>
                  <a:lnTo>
                    <a:pt x="84" y="122"/>
                  </a:lnTo>
                  <a:lnTo>
                    <a:pt x="83" y="120"/>
                  </a:lnTo>
                  <a:lnTo>
                    <a:pt x="83" y="119"/>
                  </a:lnTo>
                  <a:lnTo>
                    <a:pt x="83" y="120"/>
                  </a:lnTo>
                  <a:lnTo>
                    <a:pt x="81" y="119"/>
                  </a:lnTo>
                  <a:lnTo>
                    <a:pt x="81" y="117"/>
                  </a:lnTo>
                  <a:lnTo>
                    <a:pt x="79" y="117"/>
                  </a:lnTo>
                  <a:lnTo>
                    <a:pt x="79" y="116"/>
                  </a:lnTo>
                  <a:lnTo>
                    <a:pt x="81" y="117"/>
                  </a:lnTo>
                  <a:lnTo>
                    <a:pt x="83" y="116"/>
                  </a:lnTo>
                  <a:lnTo>
                    <a:pt x="84" y="116"/>
                  </a:lnTo>
                  <a:lnTo>
                    <a:pt x="84" y="117"/>
                  </a:lnTo>
                  <a:lnTo>
                    <a:pt x="86" y="117"/>
                  </a:lnTo>
                  <a:lnTo>
                    <a:pt x="86" y="119"/>
                  </a:lnTo>
                  <a:lnTo>
                    <a:pt x="88" y="119"/>
                  </a:lnTo>
                  <a:lnTo>
                    <a:pt x="89" y="119"/>
                  </a:lnTo>
                  <a:lnTo>
                    <a:pt x="91" y="119"/>
                  </a:lnTo>
                  <a:lnTo>
                    <a:pt x="92" y="120"/>
                  </a:lnTo>
                  <a:lnTo>
                    <a:pt x="92" y="119"/>
                  </a:lnTo>
                  <a:lnTo>
                    <a:pt x="94" y="119"/>
                  </a:lnTo>
                  <a:lnTo>
                    <a:pt x="94" y="120"/>
                  </a:lnTo>
                  <a:lnTo>
                    <a:pt x="96" y="120"/>
                  </a:lnTo>
                  <a:lnTo>
                    <a:pt x="97" y="120"/>
                  </a:lnTo>
                  <a:lnTo>
                    <a:pt x="99" y="120"/>
                  </a:lnTo>
                  <a:lnTo>
                    <a:pt x="99" y="122"/>
                  </a:lnTo>
                  <a:lnTo>
                    <a:pt x="99" y="124"/>
                  </a:lnTo>
                  <a:lnTo>
                    <a:pt x="97" y="124"/>
                  </a:lnTo>
                  <a:close/>
                  <a:moveTo>
                    <a:pt x="473" y="116"/>
                  </a:moveTo>
                  <a:lnTo>
                    <a:pt x="473" y="117"/>
                  </a:lnTo>
                  <a:lnTo>
                    <a:pt x="473" y="116"/>
                  </a:lnTo>
                  <a:close/>
                  <a:moveTo>
                    <a:pt x="562" y="117"/>
                  </a:moveTo>
                  <a:lnTo>
                    <a:pt x="562" y="116"/>
                  </a:lnTo>
                  <a:lnTo>
                    <a:pt x="564" y="116"/>
                  </a:lnTo>
                  <a:lnTo>
                    <a:pt x="562" y="117"/>
                  </a:lnTo>
                  <a:close/>
                  <a:moveTo>
                    <a:pt x="510" y="116"/>
                  </a:moveTo>
                  <a:lnTo>
                    <a:pt x="510" y="117"/>
                  </a:lnTo>
                  <a:lnTo>
                    <a:pt x="510" y="119"/>
                  </a:lnTo>
                  <a:lnTo>
                    <a:pt x="510" y="120"/>
                  </a:lnTo>
                  <a:lnTo>
                    <a:pt x="510" y="122"/>
                  </a:lnTo>
                  <a:lnTo>
                    <a:pt x="509" y="122"/>
                  </a:lnTo>
                  <a:lnTo>
                    <a:pt x="507" y="120"/>
                  </a:lnTo>
                  <a:lnTo>
                    <a:pt x="507" y="124"/>
                  </a:lnTo>
                  <a:lnTo>
                    <a:pt x="509" y="124"/>
                  </a:lnTo>
                  <a:lnTo>
                    <a:pt x="509" y="125"/>
                  </a:lnTo>
                  <a:lnTo>
                    <a:pt x="509" y="124"/>
                  </a:lnTo>
                  <a:lnTo>
                    <a:pt x="510" y="127"/>
                  </a:lnTo>
                  <a:lnTo>
                    <a:pt x="512" y="127"/>
                  </a:lnTo>
                  <a:lnTo>
                    <a:pt x="514" y="127"/>
                  </a:lnTo>
                  <a:lnTo>
                    <a:pt x="512" y="127"/>
                  </a:lnTo>
                  <a:lnTo>
                    <a:pt x="510" y="127"/>
                  </a:lnTo>
                  <a:lnTo>
                    <a:pt x="509" y="127"/>
                  </a:lnTo>
                  <a:lnTo>
                    <a:pt x="507" y="127"/>
                  </a:lnTo>
                  <a:lnTo>
                    <a:pt x="507" y="125"/>
                  </a:lnTo>
                  <a:lnTo>
                    <a:pt x="505" y="127"/>
                  </a:lnTo>
                  <a:lnTo>
                    <a:pt x="505" y="125"/>
                  </a:lnTo>
                  <a:lnTo>
                    <a:pt x="504" y="125"/>
                  </a:lnTo>
                  <a:lnTo>
                    <a:pt x="504" y="124"/>
                  </a:lnTo>
                  <a:lnTo>
                    <a:pt x="502" y="124"/>
                  </a:lnTo>
                  <a:lnTo>
                    <a:pt x="502" y="122"/>
                  </a:lnTo>
                  <a:lnTo>
                    <a:pt x="504" y="120"/>
                  </a:lnTo>
                  <a:lnTo>
                    <a:pt x="504" y="119"/>
                  </a:lnTo>
                  <a:lnTo>
                    <a:pt x="505" y="119"/>
                  </a:lnTo>
                  <a:lnTo>
                    <a:pt x="505" y="117"/>
                  </a:lnTo>
                  <a:lnTo>
                    <a:pt x="507" y="116"/>
                  </a:lnTo>
                  <a:lnTo>
                    <a:pt x="509" y="116"/>
                  </a:lnTo>
                  <a:lnTo>
                    <a:pt x="510" y="116"/>
                  </a:lnTo>
                  <a:close/>
                  <a:moveTo>
                    <a:pt x="546" y="117"/>
                  </a:moveTo>
                  <a:lnTo>
                    <a:pt x="548" y="117"/>
                  </a:lnTo>
                  <a:lnTo>
                    <a:pt x="546" y="119"/>
                  </a:lnTo>
                  <a:lnTo>
                    <a:pt x="548" y="119"/>
                  </a:lnTo>
                  <a:lnTo>
                    <a:pt x="548" y="117"/>
                  </a:lnTo>
                  <a:lnTo>
                    <a:pt x="548" y="119"/>
                  </a:lnTo>
                  <a:lnTo>
                    <a:pt x="549" y="119"/>
                  </a:lnTo>
                  <a:lnTo>
                    <a:pt x="549" y="120"/>
                  </a:lnTo>
                  <a:lnTo>
                    <a:pt x="548" y="122"/>
                  </a:lnTo>
                  <a:lnTo>
                    <a:pt x="546" y="122"/>
                  </a:lnTo>
                  <a:lnTo>
                    <a:pt x="545" y="124"/>
                  </a:lnTo>
                  <a:lnTo>
                    <a:pt x="546" y="124"/>
                  </a:lnTo>
                  <a:lnTo>
                    <a:pt x="545" y="125"/>
                  </a:lnTo>
                  <a:lnTo>
                    <a:pt x="543" y="125"/>
                  </a:lnTo>
                  <a:lnTo>
                    <a:pt x="541" y="125"/>
                  </a:lnTo>
                  <a:lnTo>
                    <a:pt x="541" y="127"/>
                  </a:lnTo>
                  <a:lnTo>
                    <a:pt x="540" y="127"/>
                  </a:lnTo>
                  <a:lnTo>
                    <a:pt x="540" y="125"/>
                  </a:lnTo>
                  <a:lnTo>
                    <a:pt x="541" y="125"/>
                  </a:lnTo>
                  <a:lnTo>
                    <a:pt x="541" y="124"/>
                  </a:lnTo>
                  <a:lnTo>
                    <a:pt x="543" y="124"/>
                  </a:lnTo>
                  <a:lnTo>
                    <a:pt x="545" y="124"/>
                  </a:lnTo>
                  <a:lnTo>
                    <a:pt x="545" y="122"/>
                  </a:lnTo>
                  <a:lnTo>
                    <a:pt x="543" y="122"/>
                  </a:lnTo>
                  <a:lnTo>
                    <a:pt x="543" y="124"/>
                  </a:lnTo>
                  <a:lnTo>
                    <a:pt x="541" y="124"/>
                  </a:lnTo>
                  <a:lnTo>
                    <a:pt x="541" y="125"/>
                  </a:lnTo>
                  <a:lnTo>
                    <a:pt x="540" y="125"/>
                  </a:lnTo>
                  <a:lnTo>
                    <a:pt x="538" y="125"/>
                  </a:lnTo>
                  <a:lnTo>
                    <a:pt x="538" y="127"/>
                  </a:lnTo>
                  <a:lnTo>
                    <a:pt x="538" y="125"/>
                  </a:lnTo>
                  <a:lnTo>
                    <a:pt x="536" y="127"/>
                  </a:lnTo>
                  <a:lnTo>
                    <a:pt x="533" y="127"/>
                  </a:lnTo>
                  <a:lnTo>
                    <a:pt x="533" y="129"/>
                  </a:lnTo>
                  <a:lnTo>
                    <a:pt x="532" y="129"/>
                  </a:lnTo>
                  <a:lnTo>
                    <a:pt x="530" y="129"/>
                  </a:lnTo>
                  <a:lnTo>
                    <a:pt x="530" y="127"/>
                  </a:lnTo>
                  <a:lnTo>
                    <a:pt x="532" y="127"/>
                  </a:lnTo>
                  <a:lnTo>
                    <a:pt x="533" y="125"/>
                  </a:lnTo>
                  <a:lnTo>
                    <a:pt x="535" y="127"/>
                  </a:lnTo>
                  <a:lnTo>
                    <a:pt x="535" y="125"/>
                  </a:lnTo>
                  <a:lnTo>
                    <a:pt x="536" y="125"/>
                  </a:lnTo>
                  <a:lnTo>
                    <a:pt x="538" y="124"/>
                  </a:lnTo>
                  <a:lnTo>
                    <a:pt x="538" y="122"/>
                  </a:lnTo>
                  <a:lnTo>
                    <a:pt x="538" y="120"/>
                  </a:lnTo>
                  <a:lnTo>
                    <a:pt x="536" y="120"/>
                  </a:lnTo>
                  <a:lnTo>
                    <a:pt x="536" y="122"/>
                  </a:lnTo>
                  <a:lnTo>
                    <a:pt x="538" y="124"/>
                  </a:lnTo>
                  <a:lnTo>
                    <a:pt x="536" y="124"/>
                  </a:lnTo>
                  <a:lnTo>
                    <a:pt x="536" y="125"/>
                  </a:lnTo>
                  <a:lnTo>
                    <a:pt x="535" y="124"/>
                  </a:lnTo>
                  <a:lnTo>
                    <a:pt x="533" y="124"/>
                  </a:lnTo>
                  <a:lnTo>
                    <a:pt x="532" y="125"/>
                  </a:lnTo>
                  <a:lnTo>
                    <a:pt x="532" y="124"/>
                  </a:lnTo>
                  <a:lnTo>
                    <a:pt x="533" y="122"/>
                  </a:lnTo>
                  <a:lnTo>
                    <a:pt x="535" y="122"/>
                  </a:lnTo>
                  <a:lnTo>
                    <a:pt x="538" y="120"/>
                  </a:lnTo>
                  <a:lnTo>
                    <a:pt x="538" y="119"/>
                  </a:lnTo>
                  <a:lnTo>
                    <a:pt x="540" y="119"/>
                  </a:lnTo>
                  <a:lnTo>
                    <a:pt x="541" y="117"/>
                  </a:lnTo>
                  <a:lnTo>
                    <a:pt x="541" y="116"/>
                  </a:lnTo>
                  <a:lnTo>
                    <a:pt x="543" y="116"/>
                  </a:lnTo>
                  <a:lnTo>
                    <a:pt x="545" y="116"/>
                  </a:lnTo>
                  <a:lnTo>
                    <a:pt x="545" y="117"/>
                  </a:lnTo>
                  <a:lnTo>
                    <a:pt x="546" y="117"/>
                  </a:lnTo>
                  <a:close/>
                  <a:moveTo>
                    <a:pt x="105" y="114"/>
                  </a:moveTo>
                  <a:lnTo>
                    <a:pt x="107" y="116"/>
                  </a:lnTo>
                  <a:lnTo>
                    <a:pt x="105" y="116"/>
                  </a:lnTo>
                  <a:lnTo>
                    <a:pt x="105" y="114"/>
                  </a:lnTo>
                  <a:close/>
                  <a:moveTo>
                    <a:pt x="105" y="114"/>
                  </a:moveTo>
                  <a:lnTo>
                    <a:pt x="105" y="116"/>
                  </a:lnTo>
                  <a:lnTo>
                    <a:pt x="105" y="114"/>
                  </a:lnTo>
                  <a:close/>
                  <a:moveTo>
                    <a:pt x="564" y="114"/>
                  </a:moveTo>
                  <a:lnTo>
                    <a:pt x="564" y="116"/>
                  </a:lnTo>
                  <a:lnTo>
                    <a:pt x="564" y="114"/>
                  </a:lnTo>
                  <a:close/>
                  <a:moveTo>
                    <a:pt x="475" y="116"/>
                  </a:moveTo>
                  <a:lnTo>
                    <a:pt x="475" y="114"/>
                  </a:lnTo>
                  <a:lnTo>
                    <a:pt x="475" y="116"/>
                  </a:lnTo>
                  <a:close/>
                  <a:moveTo>
                    <a:pt x="65" y="114"/>
                  </a:moveTo>
                  <a:lnTo>
                    <a:pt x="66" y="114"/>
                  </a:lnTo>
                  <a:lnTo>
                    <a:pt x="65" y="114"/>
                  </a:lnTo>
                  <a:close/>
                  <a:moveTo>
                    <a:pt x="105" y="117"/>
                  </a:moveTo>
                  <a:lnTo>
                    <a:pt x="105" y="119"/>
                  </a:lnTo>
                  <a:lnTo>
                    <a:pt x="104" y="119"/>
                  </a:lnTo>
                  <a:lnTo>
                    <a:pt x="104" y="117"/>
                  </a:lnTo>
                  <a:lnTo>
                    <a:pt x="105" y="117"/>
                  </a:lnTo>
                  <a:lnTo>
                    <a:pt x="104" y="117"/>
                  </a:lnTo>
                  <a:lnTo>
                    <a:pt x="102" y="117"/>
                  </a:lnTo>
                  <a:lnTo>
                    <a:pt x="101" y="117"/>
                  </a:lnTo>
                  <a:lnTo>
                    <a:pt x="99" y="117"/>
                  </a:lnTo>
                  <a:lnTo>
                    <a:pt x="99" y="116"/>
                  </a:lnTo>
                  <a:lnTo>
                    <a:pt x="99" y="114"/>
                  </a:lnTo>
                  <a:lnTo>
                    <a:pt x="101" y="114"/>
                  </a:lnTo>
                  <a:lnTo>
                    <a:pt x="102" y="116"/>
                  </a:lnTo>
                  <a:lnTo>
                    <a:pt x="104" y="116"/>
                  </a:lnTo>
                  <a:lnTo>
                    <a:pt x="104" y="117"/>
                  </a:lnTo>
                  <a:lnTo>
                    <a:pt x="104" y="116"/>
                  </a:lnTo>
                  <a:lnTo>
                    <a:pt x="105" y="116"/>
                  </a:lnTo>
                  <a:lnTo>
                    <a:pt x="105" y="117"/>
                  </a:lnTo>
                  <a:close/>
                  <a:moveTo>
                    <a:pt x="564" y="114"/>
                  </a:moveTo>
                  <a:lnTo>
                    <a:pt x="566" y="114"/>
                  </a:lnTo>
                  <a:lnTo>
                    <a:pt x="566" y="116"/>
                  </a:lnTo>
                  <a:lnTo>
                    <a:pt x="564" y="116"/>
                  </a:lnTo>
                  <a:lnTo>
                    <a:pt x="564" y="117"/>
                  </a:lnTo>
                  <a:lnTo>
                    <a:pt x="564" y="116"/>
                  </a:lnTo>
                  <a:lnTo>
                    <a:pt x="566" y="117"/>
                  </a:lnTo>
                  <a:lnTo>
                    <a:pt x="564" y="117"/>
                  </a:lnTo>
                  <a:lnTo>
                    <a:pt x="566" y="117"/>
                  </a:lnTo>
                  <a:lnTo>
                    <a:pt x="564" y="117"/>
                  </a:lnTo>
                  <a:lnTo>
                    <a:pt x="564" y="116"/>
                  </a:lnTo>
                  <a:lnTo>
                    <a:pt x="564" y="114"/>
                  </a:lnTo>
                  <a:close/>
                  <a:moveTo>
                    <a:pt x="473" y="114"/>
                  </a:moveTo>
                  <a:lnTo>
                    <a:pt x="473" y="116"/>
                  </a:lnTo>
                  <a:lnTo>
                    <a:pt x="471" y="116"/>
                  </a:lnTo>
                  <a:lnTo>
                    <a:pt x="471" y="114"/>
                  </a:lnTo>
                  <a:lnTo>
                    <a:pt x="473" y="114"/>
                  </a:lnTo>
                  <a:close/>
                  <a:moveTo>
                    <a:pt x="101" y="114"/>
                  </a:moveTo>
                  <a:lnTo>
                    <a:pt x="102" y="114"/>
                  </a:lnTo>
                  <a:lnTo>
                    <a:pt x="101" y="114"/>
                  </a:lnTo>
                  <a:close/>
                  <a:moveTo>
                    <a:pt x="88" y="114"/>
                  </a:moveTo>
                  <a:lnTo>
                    <a:pt x="89" y="112"/>
                  </a:lnTo>
                  <a:lnTo>
                    <a:pt x="89" y="114"/>
                  </a:lnTo>
                  <a:lnTo>
                    <a:pt x="88" y="114"/>
                  </a:lnTo>
                  <a:close/>
                  <a:moveTo>
                    <a:pt x="66" y="114"/>
                  </a:moveTo>
                  <a:lnTo>
                    <a:pt x="65" y="114"/>
                  </a:lnTo>
                  <a:lnTo>
                    <a:pt x="66" y="112"/>
                  </a:lnTo>
                  <a:lnTo>
                    <a:pt x="66" y="114"/>
                  </a:lnTo>
                  <a:close/>
                  <a:moveTo>
                    <a:pt x="462" y="112"/>
                  </a:moveTo>
                  <a:lnTo>
                    <a:pt x="462" y="114"/>
                  </a:lnTo>
                  <a:lnTo>
                    <a:pt x="462" y="116"/>
                  </a:lnTo>
                  <a:lnTo>
                    <a:pt x="462" y="117"/>
                  </a:lnTo>
                  <a:lnTo>
                    <a:pt x="460" y="116"/>
                  </a:lnTo>
                  <a:lnTo>
                    <a:pt x="462" y="114"/>
                  </a:lnTo>
                  <a:lnTo>
                    <a:pt x="460" y="114"/>
                  </a:lnTo>
                  <a:lnTo>
                    <a:pt x="462" y="114"/>
                  </a:lnTo>
                  <a:lnTo>
                    <a:pt x="462" y="112"/>
                  </a:lnTo>
                  <a:close/>
                  <a:moveTo>
                    <a:pt x="60" y="112"/>
                  </a:moveTo>
                  <a:lnTo>
                    <a:pt x="60" y="114"/>
                  </a:lnTo>
                  <a:lnTo>
                    <a:pt x="60" y="112"/>
                  </a:lnTo>
                  <a:close/>
                  <a:moveTo>
                    <a:pt x="582" y="112"/>
                  </a:moveTo>
                  <a:lnTo>
                    <a:pt x="584" y="112"/>
                  </a:lnTo>
                  <a:lnTo>
                    <a:pt x="582" y="112"/>
                  </a:lnTo>
                  <a:close/>
                  <a:moveTo>
                    <a:pt x="580" y="112"/>
                  </a:moveTo>
                  <a:lnTo>
                    <a:pt x="582" y="112"/>
                  </a:lnTo>
                  <a:lnTo>
                    <a:pt x="580" y="112"/>
                  </a:lnTo>
                  <a:close/>
                  <a:moveTo>
                    <a:pt x="70" y="112"/>
                  </a:moveTo>
                  <a:lnTo>
                    <a:pt x="71" y="112"/>
                  </a:lnTo>
                  <a:lnTo>
                    <a:pt x="70" y="112"/>
                  </a:lnTo>
                  <a:close/>
                  <a:moveTo>
                    <a:pt x="71" y="112"/>
                  </a:moveTo>
                  <a:lnTo>
                    <a:pt x="73" y="112"/>
                  </a:lnTo>
                  <a:lnTo>
                    <a:pt x="75" y="114"/>
                  </a:lnTo>
                  <a:lnTo>
                    <a:pt x="75" y="116"/>
                  </a:lnTo>
                  <a:lnTo>
                    <a:pt x="73" y="116"/>
                  </a:lnTo>
                  <a:lnTo>
                    <a:pt x="71" y="114"/>
                  </a:lnTo>
                  <a:lnTo>
                    <a:pt x="73" y="116"/>
                  </a:lnTo>
                  <a:lnTo>
                    <a:pt x="71" y="116"/>
                  </a:lnTo>
                  <a:lnTo>
                    <a:pt x="71" y="114"/>
                  </a:lnTo>
                  <a:lnTo>
                    <a:pt x="71" y="116"/>
                  </a:lnTo>
                  <a:lnTo>
                    <a:pt x="70" y="116"/>
                  </a:lnTo>
                  <a:lnTo>
                    <a:pt x="70" y="114"/>
                  </a:lnTo>
                  <a:lnTo>
                    <a:pt x="71" y="114"/>
                  </a:lnTo>
                  <a:lnTo>
                    <a:pt x="70" y="114"/>
                  </a:lnTo>
                  <a:lnTo>
                    <a:pt x="71" y="114"/>
                  </a:lnTo>
                  <a:lnTo>
                    <a:pt x="70" y="114"/>
                  </a:lnTo>
                  <a:lnTo>
                    <a:pt x="71" y="112"/>
                  </a:lnTo>
                  <a:close/>
                  <a:moveTo>
                    <a:pt x="584" y="112"/>
                  </a:moveTo>
                  <a:lnTo>
                    <a:pt x="585" y="112"/>
                  </a:lnTo>
                  <a:lnTo>
                    <a:pt x="584" y="112"/>
                  </a:lnTo>
                  <a:close/>
                  <a:moveTo>
                    <a:pt x="68" y="112"/>
                  </a:moveTo>
                  <a:lnTo>
                    <a:pt x="66" y="112"/>
                  </a:lnTo>
                  <a:lnTo>
                    <a:pt x="68" y="112"/>
                  </a:lnTo>
                  <a:close/>
                  <a:moveTo>
                    <a:pt x="96" y="112"/>
                  </a:moveTo>
                  <a:lnTo>
                    <a:pt x="97" y="116"/>
                  </a:lnTo>
                  <a:lnTo>
                    <a:pt x="97" y="117"/>
                  </a:lnTo>
                  <a:lnTo>
                    <a:pt x="97" y="116"/>
                  </a:lnTo>
                  <a:lnTo>
                    <a:pt x="96" y="116"/>
                  </a:lnTo>
                  <a:lnTo>
                    <a:pt x="96" y="117"/>
                  </a:lnTo>
                  <a:lnTo>
                    <a:pt x="94" y="117"/>
                  </a:lnTo>
                  <a:lnTo>
                    <a:pt x="92" y="117"/>
                  </a:lnTo>
                  <a:lnTo>
                    <a:pt x="91" y="116"/>
                  </a:lnTo>
                  <a:lnTo>
                    <a:pt x="89" y="116"/>
                  </a:lnTo>
                  <a:lnTo>
                    <a:pt x="89" y="117"/>
                  </a:lnTo>
                  <a:lnTo>
                    <a:pt x="89" y="116"/>
                  </a:lnTo>
                  <a:lnTo>
                    <a:pt x="89" y="114"/>
                  </a:lnTo>
                  <a:lnTo>
                    <a:pt x="88" y="114"/>
                  </a:lnTo>
                  <a:lnTo>
                    <a:pt x="89" y="112"/>
                  </a:lnTo>
                  <a:lnTo>
                    <a:pt x="91" y="112"/>
                  </a:lnTo>
                  <a:lnTo>
                    <a:pt x="92" y="112"/>
                  </a:lnTo>
                  <a:lnTo>
                    <a:pt x="96" y="112"/>
                  </a:lnTo>
                  <a:close/>
                  <a:moveTo>
                    <a:pt x="68" y="111"/>
                  </a:moveTo>
                  <a:lnTo>
                    <a:pt x="70" y="111"/>
                  </a:lnTo>
                  <a:lnTo>
                    <a:pt x="68" y="112"/>
                  </a:lnTo>
                  <a:lnTo>
                    <a:pt x="68" y="111"/>
                  </a:lnTo>
                  <a:close/>
                  <a:moveTo>
                    <a:pt x="70" y="112"/>
                  </a:moveTo>
                  <a:lnTo>
                    <a:pt x="70" y="111"/>
                  </a:lnTo>
                  <a:lnTo>
                    <a:pt x="70" y="112"/>
                  </a:lnTo>
                  <a:close/>
                  <a:moveTo>
                    <a:pt x="68" y="111"/>
                  </a:moveTo>
                  <a:lnTo>
                    <a:pt x="68" y="112"/>
                  </a:lnTo>
                  <a:lnTo>
                    <a:pt x="68" y="111"/>
                  </a:lnTo>
                  <a:close/>
                  <a:moveTo>
                    <a:pt x="63" y="111"/>
                  </a:moveTo>
                  <a:lnTo>
                    <a:pt x="63" y="112"/>
                  </a:lnTo>
                  <a:lnTo>
                    <a:pt x="63" y="111"/>
                  </a:lnTo>
                  <a:close/>
                  <a:moveTo>
                    <a:pt x="65" y="111"/>
                  </a:moveTo>
                  <a:lnTo>
                    <a:pt x="65" y="112"/>
                  </a:lnTo>
                  <a:lnTo>
                    <a:pt x="66" y="112"/>
                  </a:lnTo>
                  <a:lnTo>
                    <a:pt x="65" y="112"/>
                  </a:lnTo>
                  <a:lnTo>
                    <a:pt x="66" y="112"/>
                  </a:lnTo>
                  <a:lnTo>
                    <a:pt x="65" y="112"/>
                  </a:lnTo>
                  <a:lnTo>
                    <a:pt x="65" y="111"/>
                  </a:lnTo>
                  <a:close/>
                  <a:moveTo>
                    <a:pt x="96" y="112"/>
                  </a:moveTo>
                  <a:lnTo>
                    <a:pt x="96" y="111"/>
                  </a:lnTo>
                  <a:lnTo>
                    <a:pt x="97" y="111"/>
                  </a:lnTo>
                  <a:lnTo>
                    <a:pt x="97" y="112"/>
                  </a:lnTo>
                  <a:lnTo>
                    <a:pt x="96" y="112"/>
                  </a:lnTo>
                  <a:close/>
                  <a:moveTo>
                    <a:pt x="600" y="111"/>
                  </a:moveTo>
                  <a:lnTo>
                    <a:pt x="598" y="111"/>
                  </a:lnTo>
                  <a:lnTo>
                    <a:pt x="600" y="111"/>
                  </a:lnTo>
                  <a:close/>
                  <a:moveTo>
                    <a:pt x="84" y="109"/>
                  </a:moveTo>
                  <a:lnTo>
                    <a:pt x="83" y="109"/>
                  </a:lnTo>
                  <a:lnTo>
                    <a:pt x="84" y="109"/>
                  </a:lnTo>
                  <a:close/>
                  <a:moveTo>
                    <a:pt x="562" y="109"/>
                  </a:moveTo>
                  <a:lnTo>
                    <a:pt x="564" y="111"/>
                  </a:lnTo>
                  <a:lnTo>
                    <a:pt x="562" y="111"/>
                  </a:lnTo>
                  <a:lnTo>
                    <a:pt x="562" y="109"/>
                  </a:lnTo>
                  <a:close/>
                  <a:moveTo>
                    <a:pt x="88" y="111"/>
                  </a:moveTo>
                  <a:lnTo>
                    <a:pt x="88" y="112"/>
                  </a:lnTo>
                  <a:lnTo>
                    <a:pt x="86" y="112"/>
                  </a:lnTo>
                  <a:lnTo>
                    <a:pt x="84" y="112"/>
                  </a:lnTo>
                  <a:lnTo>
                    <a:pt x="84" y="111"/>
                  </a:lnTo>
                  <a:lnTo>
                    <a:pt x="84" y="109"/>
                  </a:lnTo>
                  <a:lnTo>
                    <a:pt x="86" y="109"/>
                  </a:lnTo>
                  <a:lnTo>
                    <a:pt x="88" y="111"/>
                  </a:lnTo>
                  <a:close/>
                  <a:moveTo>
                    <a:pt x="582" y="109"/>
                  </a:moveTo>
                  <a:lnTo>
                    <a:pt x="582" y="111"/>
                  </a:lnTo>
                  <a:lnTo>
                    <a:pt x="582" y="112"/>
                  </a:lnTo>
                  <a:lnTo>
                    <a:pt x="580" y="112"/>
                  </a:lnTo>
                  <a:lnTo>
                    <a:pt x="579" y="111"/>
                  </a:lnTo>
                  <a:lnTo>
                    <a:pt x="579" y="109"/>
                  </a:lnTo>
                  <a:lnTo>
                    <a:pt x="580" y="109"/>
                  </a:lnTo>
                  <a:lnTo>
                    <a:pt x="582" y="109"/>
                  </a:lnTo>
                  <a:lnTo>
                    <a:pt x="580" y="109"/>
                  </a:lnTo>
                  <a:lnTo>
                    <a:pt x="582" y="109"/>
                  </a:lnTo>
                  <a:lnTo>
                    <a:pt x="580" y="109"/>
                  </a:lnTo>
                  <a:lnTo>
                    <a:pt x="580" y="107"/>
                  </a:lnTo>
                  <a:lnTo>
                    <a:pt x="582" y="107"/>
                  </a:lnTo>
                  <a:lnTo>
                    <a:pt x="584" y="107"/>
                  </a:lnTo>
                  <a:lnTo>
                    <a:pt x="584" y="109"/>
                  </a:lnTo>
                  <a:lnTo>
                    <a:pt x="582" y="109"/>
                  </a:lnTo>
                  <a:close/>
                  <a:moveTo>
                    <a:pt x="590" y="107"/>
                  </a:moveTo>
                  <a:lnTo>
                    <a:pt x="592" y="107"/>
                  </a:lnTo>
                  <a:lnTo>
                    <a:pt x="590" y="107"/>
                  </a:lnTo>
                  <a:close/>
                  <a:moveTo>
                    <a:pt x="71" y="107"/>
                  </a:moveTo>
                  <a:lnTo>
                    <a:pt x="73" y="107"/>
                  </a:lnTo>
                  <a:lnTo>
                    <a:pt x="71" y="107"/>
                  </a:lnTo>
                  <a:lnTo>
                    <a:pt x="73" y="107"/>
                  </a:lnTo>
                  <a:lnTo>
                    <a:pt x="71" y="107"/>
                  </a:lnTo>
                  <a:close/>
                  <a:moveTo>
                    <a:pt x="593" y="107"/>
                  </a:moveTo>
                  <a:lnTo>
                    <a:pt x="595" y="107"/>
                  </a:lnTo>
                  <a:lnTo>
                    <a:pt x="593" y="109"/>
                  </a:lnTo>
                  <a:lnTo>
                    <a:pt x="595" y="107"/>
                  </a:lnTo>
                  <a:lnTo>
                    <a:pt x="593" y="107"/>
                  </a:lnTo>
                  <a:close/>
                  <a:moveTo>
                    <a:pt x="148" y="107"/>
                  </a:moveTo>
                  <a:lnTo>
                    <a:pt x="149" y="107"/>
                  </a:lnTo>
                  <a:lnTo>
                    <a:pt x="148" y="107"/>
                  </a:lnTo>
                  <a:close/>
                  <a:moveTo>
                    <a:pt x="592" y="106"/>
                  </a:moveTo>
                  <a:lnTo>
                    <a:pt x="592" y="107"/>
                  </a:lnTo>
                  <a:lnTo>
                    <a:pt x="590" y="107"/>
                  </a:lnTo>
                  <a:lnTo>
                    <a:pt x="592" y="106"/>
                  </a:lnTo>
                  <a:close/>
                  <a:moveTo>
                    <a:pt x="68" y="107"/>
                  </a:moveTo>
                  <a:lnTo>
                    <a:pt x="68" y="106"/>
                  </a:lnTo>
                  <a:lnTo>
                    <a:pt x="68" y="107"/>
                  </a:lnTo>
                  <a:close/>
                  <a:moveTo>
                    <a:pt x="598" y="109"/>
                  </a:moveTo>
                  <a:lnTo>
                    <a:pt x="598" y="111"/>
                  </a:lnTo>
                  <a:lnTo>
                    <a:pt x="597" y="111"/>
                  </a:lnTo>
                  <a:lnTo>
                    <a:pt x="598" y="111"/>
                  </a:lnTo>
                  <a:lnTo>
                    <a:pt x="597" y="111"/>
                  </a:lnTo>
                  <a:lnTo>
                    <a:pt x="597" y="109"/>
                  </a:lnTo>
                  <a:lnTo>
                    <a:pt x="597" y="107"/>
                  </a:lnTo>
                  <a:lnTo>
                    <a:pt x="598" y="106"/>
                  </a:lnTo>
                  <a:lnTo>
                    <a:pt x="598" y="107"/>
                  </a:lnTo>
                  <a:lnTo>
                    <a:pt x="598" y="109"/>
                  </a:lnTo>
                  <a:close/>
                  <a:moveTo>
                    <a:pt x="463" y="107"/>
                  </a:moveTo>
                  <a:lnTo>
                    <a:pt x="463" y="109"/>
                  </a:lnTo>
                  <a:lnTo>
                    <a:pt x="465" y="111"/>
                  </a:lnTo>
                  <a:lnTo>
                    <a:pt x="465" y="112"/>
                  </a:lnTo>
                  <a:lnTo>
                    <a:pt x="465" y="111"/>
                  </a:lnTo>
                  <a:lnTo>
                    <a:pt x="466" y="112"/>
                  </a:lnTo>
                  <a:lnTo>
                    <a:pt x="466" y="114"/>
                  </a:lnTo>
                  <a:lnTo>
                    <a:pt x="466" y="112"/>
                  </a:lnTo>
                  <a:lnTo>
                    <a:pt x="465" y="112"/>
                  </a:lnTo>
                  <a:lnTo>
                    <a:pt x="465" y="114"/>
                  </a:lnTo>
                  <a:lnTo>
                    <a:pt x="465" y="116"/>
                  </a:lnTo>
                  <a:lnTo>
                    <a:pt x="466" y="116"/>
                  </a:lnTo>
                  <a:lnTo>
                    <a:pt x="466" y="117"/>
                  </a:lnTo>
                  <a:lnTo>
                    <a:pt x="466" y="119"/>
                  </a:lnTo>
                  <a:lnTo>
                    <a:pt x="466" y="122"/>
                  </a:lnTo>
                  <a:lnTo>
                    <a:pt x="465" y="120"/>
                  </a:lnTo>
                  <a:lnTo>
                    <a:pt x="465" y="119"/>
                  </a:lnTo>
                  <a:lnTo>
                    <a:pt x="465" y="117"/>
                  </a:lnTo>
                  <a:lnTo>
                    <a:pt x="463" y="119"/>
                  </a:lnTo>
                  <a:lnTo>
                    <a:pt x="463" y="117"/>
                  </a:lnTo>
                  <a:lnTo>
                    <a:pt x="463" y="116"/>
                  </a:lnTo>
                  <a:lnTo>
                    <a:pt x="463" y="114"/>
                  </a:lnTo>
                  <a:lnTo>
                    <a:pt x="462" y="112"/>
                  </a:lnTo>
                  <a:lnTo>
                    <a:pt x="462" y="111"/>
                  </a:lnTo>
                  <a:lnTo>
                    <a:pt x="462" y="109"/>
                  </a:lnTo>
                  <a:lnTo>
                    <a:pt x="460" y="107"/>
                  </a:lnTo>
                  <a:lnTo>
                    <a:pt x="462" y="107"/>
                  </a:lnTo>
                  <a:lnTo>
                    <a:pt x="462" y="106"/>
                  </a:lnTo>
                  <a:lnTo>
                    <a:pt x="463" y="106"/>
                  </a:lnTo>
                  <a:lnTo>
                    <a:pt x="465" y="106"/>
                  </a:lnTo>
                  <a:lnTo>
                    <a:pt x="465" y="107"/>
                  </a:lnTo>
                  <a:lnTo>
                    <a:pt x="463" y="107"/>
                  </a:lnTo>
                  <a:close/>
                  <a:moveTo>
                    <a:pt x="541" y="106"/>
                  </a:moveTo>
                  <a:lnTo>
                    <a:pt x="543" y="106"/>
                  </a:lnTo>
                  <a:lnTo>
                    <a:pt x="543" y="107"/>
                  </a:lnTo>
                  <a:lnTo>
                    <a:pt x="543" y="109"/>
                  </a:lnTo>
                  <a:lnTo>
                    <a:pt x="543" y="111"/>
                  </a:lnTo>
                  <a:lnTo>
                    <a:pt x="541" y="111"/>
                  </a:lnTo>
                  <a:lnTo>
                    <a:pt x="540" y="107"/>
                  </a:lnTo>
                  <a:lnTo>
                    <a:pt x="540" y="106"/>
                  </a:lnTo>
                  <a:lnTo>
                    <a:pt x="541" y="106"/>
                  </a:lnTo>
                  <a:close/>
                  <a:moveTo>
                    <a:pt x="79" y="106"/>
                  </a:moveTo>
                  <a:lnTo>
                    <a:pt x="81" y="106"/>
                  </a:lnTo>
                  <a:lnTo>
                    <a:pt x="81" y="107"/>
                  </a:lnTo>
                  <a:lnTo>
                    <a:pt x="83" y="107"/>
                  </a:lnTo>
                  <a:lnTo>
                    <a:pt x="83" y="109"/>
                  </a:lnTo>
                  <a:lnTo>
                    <a:pt x="81" y="109"/>
                  </a:lnTo>
                  <a:lnTo>
                    <a:pt x="83" y="111"/>
                  </a:lnTo>
                  <a:lnTo>
                    <a:pt x="83" y="112"/>
                  </a:lnTo>
                  <a:lnTo>
                    <a:pt x="81" y="112"/>
                  </a:lnTo>
                  <a:lnTo>
                    <a:pt x="79" y="112"/>
                  </a:lnTo>
                  <a:lnTo>
                    <a:pt x="79" y="111"/>
                  </a:lnTo>
                  <a:lnTo>
                    <a:pt x="78" y="111"/>
                  </a:lnTo>
                  <a:lnTo>
                    <a:pt x="76" y="111"/>
                  </a:lnTo>
                  <a:lnTo>
                    <a:pt x="75" y="109"/>
                  </a:lnTo>
                  <a:lnTo>
                    <a:pt x="75" y="107"/>
                  </a:lnTo>
                  <a:lnTo>
                    <a:pt x="75" y="109"/>
                  </a:lnTo>
                  <a:lnTo>
                    <a:pt x="73" y="109"/>
                  </a:lnTo>
                  <a:lnTo>
                    <a:pt x="73" y="107"/>
                  </a:lnTo>
                  <a:lnTo>
                    <a:pt x="73" y="106"/>
                  </a:lnTo>
                  <a:lnTo>
                    <a:pt x="75" y="106"/>
                  </a:lnTo>
                  <a:lnTo>
                    <a:pt x="76" y="106"/>
                  </a:lnTo>
                  <a:lnTo>
                    <a:pt x="76" y="104"/>
                  </a:lnTo>
                  <a:lnTo>
                    <a:pt x="76" y="106"/>
                  </a:lnTo>
                  <a:lnTo>
                    <a:pt x="78" y="106"/>
                  </a:lnTo>
                  <a:lnTo>
                    <a:pt x="79" y="106"/>
                  </a:lnTo>
                  <a:close/>
                  <a:moveTo>
                    <a:pt x="131" y="104"/>
                  </a:moveTo>
                  <a:lnTo>
                    <a:pt x="131" y="106"/>
                  </a:lnTo>
                  <a:lnTo>
                    <a:pt x="131" y="104"/>
                  </a:lnTo>
                  <a:close/>
                  <a:moveTo>
                    <a:pt x="60" y="104"/>
                  </a:moveTo>
                  <a:lnTo>
                    <a:pt x="61" y="104"/>
                  </a:lnTo>
                  <a:lnTo>
                    <a:pt x="60" y="104"/>
                  </a:lnTo>
                  <a:close/>
                  <a:moveTo>
                    <a:pt x="71" y="104"/>
                  </a:moveTo>
                  <a:lnTo>
                    <a:pt x="73" y="106"/>
                  </a:lnTo>
                  <a:lnTo>
                    <a:pt x="71" y="107"/>
                  </a:lnTo>
                  <a:lnTo>
                    <a:pt x="71" y="106"/>
                  </a:lnTo>
                  <a:lnTo>
                    <a:pt x="71" y="104"/>
                  </a:lnTo>
                  <a:lnTo>
                    <a:pt x="70" y="104"/>
                  </a:lnTo>
                  <a:lnTo>
                    <a:pt x="71" y="104"/>
                  </a:lnTo>
                  <a:close/>
                  <a:moveTo>
                    <a:pt x="76" y="104"/>
                  </a:moveTo>
                  <a:lnTo>
                    <a:pt x="78" y="104"/>
                  </a:lnTo>
                  <a:lnTo>
                    <a:pt x="76" y="104"/>
                  </a:lnTo>
                  <a:close/>
                  <a:moveTo>
                    <a:pt x="71" y="104"/>
                  </a:moveTo>
                  <a:lnTo>
                    <a:pt x="73" y="104"/>
                  </a:lnTo>
                  <a:lnTo>
                    <a:pt x="71" y="104"/>
                  </a:lnTo>
                  <a:close/>
                  <a:moveTo>
                    <a:pt x="595" y="106"/>
                  </a:moveTo>
                  <a:lnTo>
                    <a:pt x="595" y="107"/>
                  </a:lnTo>
                  <a:lnTo>
                    <a:pt x="595" y="106"/>
                  </a:lnTo>
                  <a:lnTo>
                    <a:pt x="595" y="104"/>
                  </a:lnTo>
                  <a:lnTo>
                    <a:pt x="595" y="106"/>
                  </a:lnTo>
                  <a:close/>
                  <a:moveTo>
                    <a:pt x="605" y="104"/>
                  </a:moveTo>
                  <a:lnTo>
                    <a:pt x="605" y="106"/>
                  </a:lnTo>
                  <a:lnTo>
                    <a:pt x="605" y="104"/>
                  </a:lnTo>
                  <a:close/>
                  <a:moveTo>
                    <a:pt x="551" y="103"/>
                  </a:moveTo>
                  <a:lnTo>
                    <a:pt x="551" y="104"/>
                  </a:lnTo>
                  <a:lnTo>
                    <a:pt x="551" y="103"/>
                  </a:lnTo>
                  <a:close/>
                  <a:moveTo>
                    <a:pt x="63" y="103"/>
                  </a:moveTo>
                  <a:lnTo>
                    <a:pt x="63" y="104"/>
                  </a:lnTo>
                  <a:lnTo>
                    <a:pt x="63" y="103"/>
                  </a:lnTo>
                  <a:close/>
                  <a:moveTo>
                    <a:pt x="608" y="103"/>
                  </a:moveTo>
                  <a:lnTo>
                    <a:pt x="608" y="104"/>
                  </a:lnTo>
                  <a:lnTo>
                    <a:pt x="608" y="103"/>
                  </a:lnTo>
                  <a:close/>
                  <a:moveTo>
                    <a:pt x="457" y="106"/>
                  </a:moveTo>
                  <a:lnTo>
                    <a:pt x="455" y="104"/>
                  </a:lnTo>
                  <a:lnTo>
                    <a:pt x="453" y="104"/>
                  </a:lnTo>
                  <a:lnTo>
                    <a:pt x="455" y="103"/>
                  </a:lnTo>
                  <a:lnTo>
                    <a:pt x="457" y="104"/>
                  </a:lnTo>
                  <a:lnTo>
                    <a:pt x="458" y="106"/>
                  </a:lnTo>
                  <a:lnTo>
                    <a:pt x="457" y="106"/>
                  </a:lnTo>
                  <a:close/>
                  <a:moveTo>
                    <a:pt x="66" y="103"/>
                  </a:moveTo>
                  <a:lnTo>
                    <a:pt x="66" y="104"/>
                  </a:lnTo>
                  <a:lnTo>
                    <a:pt x="66" y="103"/>
                  </a:lnTo>
                  <a:close/>
                  <a:moveTo>
                    <a:pt x="68" y="103"/>
                  </a:moveTo>
                  <a:lnTo>
                    <a:pt x="70" y="103"/>
                  </a:lnTo>
                  <a:lnTo>
                    <a:pt x="70" y="106"/>
                  </a:lnTo>
                  <a:lnTo>
                    <a:pt x="68" y="106"/>
                  </a:lnTo>
                  <a:lnTo>
                    <a:pt x="70" y="104"/>
                  </a:lnTo>
                  <a:lnTo>
                    <a:pt x="68" y="104"/>
                  </a:lnTo>
                  <a:lnTo>
                    <a:pt x="66" y="104"/>
                  </a:lnTo>
                  <a:lnTo>
                    <a:pt x="66" y="103"/>
                  </a:lnTo>
                  <a:lnTo>
                    <a:pt x="68" y="103"/>
                  </a:lnTo>
                  <a:close/>
                  <a:moveTo>
                    <a:pt x="61" y="103"/>
                  </a:moveTo>
                  <a:lnTo>
                    <a:pt x="61" y="104"/>
                  </a:lnTo>
                  <a:lnTo>
                    <a:pt x="61" y="103"/>
                  </a:lnTo>
                  <a:close/>
                  <a:moveTo>
                    <a:pt x="61" y="103"/>
                  </a:moveTo>
                  <a:lnTo>
                    <a:pt x="60" y="103"/>
                  </a:lnTo>
                  <a:lnTo>
                    <a:pt x="61" y="103"/>
                  </a:lnTo>
                  <a:close/>
                  <a:moveTo>
                    <a:pt x="605" y="103"/>
                  </a:moveTo>
                  <a:lnTo>
                    <a:pt x="606" y="103"/>
                  </a:lnTo>
                  <a:lnTo>
                    <a:pt x="605" y="103"/>
                  </a:lnTo>
                  <a:close/>
                  <a:moveTo>
                    <a:pt x="71" y="101"/>
                  </a:moveTo>
                  <a:lnTo>
                    <a:pt x="71" y="103"/>
                  </a:lnTo>
                  <a:lnTo>
                    <a:pt x="71" y="101"/>
                  </a:lnTo>
                  <a:close/>
                  <a:moveTo>
                    <a:pt x="58" y="101"/>
                  </a:moveTo>
                  <a:lnTo>
                    <a:pt x="58" y="103"/>
                  </a:lnTo>
                  <a:lnTo>
                    <a:pt x="58" y="101"/>
                  </a:lnTo>
                  <a:close/>
                  <a:moveTo>
                    <a:pt x="68" y="103"/>
                  </a:moveTo>
                  <a:lnTo>
                    <a:pt x="68" y="101"/>
                  </a:lnTo>
                  <a:lnTo>
                    <a:pt x="68" y="103"/>
                  </a:lnTo>
                  <a:close/>
                  <a:moveTo>
                    <a:pt x="478" y="103"/>
                  </a:moveTo>
                  <a:lnTo>
                    <a:pt x="478" y="101"/>
                  </a:lnTo>
                  <a:lnTo>
                    <a:pt x="478" y="103"/>
                  </a:lnTo>
                  <a:close/>
                  <a:moveTo>
                    <a:pt x="533" y="101"/>
                  </a:moveTo>
                  <a:lnTo>
                    <a:pt x="535" y="101"/>
                  </a:lnTo>
                  <a:lnTo>
                    <a:pt x="533" y="101"/>
                  </a:lnTo>
                  <a:close/>
                  <a:moveTo>
                    <a:pt x="614" y="104"/>
                  </a:moveTo>
                  <a:lnTo>
                    <a:pt x="614" y="103"/>
                  </a:lnTo>
                  <a:lnTo>
                    <a:pt x="616" y="103"/>
                  </a:lnTo>
                  <a:lnTo>
                    <a:pt x="616" y="101"/>
                  </a:lnTo>
                  <a:lnTo>
                    <a:pt x="618" y="103"/>
                  </a:lnTo>
                  <a:lnTo>
                    <a:pt x="616" y="103"/>
                  </a:lnTo>
                  <a:lnTo>
                    <a:pt x="616" y="104"/>
                  </a:lnTo>
                  <a:lnTo>
                    <a:pt x="614" y="104"/>
                  </a:lnTo>
                  <a:close/>
                  <a:moveTo>
                    <a:pt x="78" y="101"/>
                  </a:moveTo>
                  <a:lnTo>
                    <a:pt x="76" y="101"/>
                  </a:lnTo>
                  <a:lnTo>
                    <a:pt x="78" y="101"/>
                  </a:lnTo>
                  <a:close/>
                  <a:moveTo>
                    <a:pt x="616" y="101"/>
                  </a:moveTo>
                  <a:lnTo>
                    <a:pt x="618" y="101"/>
                  </a:lnTo>
                  <a:lnTo>
                    <a:pt x="616" y="101"/>
                  </a:lnTo>
                  <a:close/>
                  <a:moveTo>
                    <a:pt x="76" y="101"/>
                  </a:moveTo>
                  <a:lnTo>
                    <a:pt x="76" y="103"/>
                  </a:lnTo>
                  <a:lnTo>
                    <a:pt x="78" y="103"/>
                  </a:lnTo>
                  <a:lnTo>
                    <a:pt x="76" y="103"/>
                  </a:lnTo>
                  <a:lnTo>
                    <a:pt x="75" y="101"/>
                  </a:lnTo>
                  <a:lnTo>
                    <a:pt x="75" y="103"/>
                  </a:lnTo>
                  <a:lnTo>
                    <a:pt x="75" y="101"/>
                  </a:lnTo>
                  <a:lnTo>
                    <a:pt x="76" y="101"/>
                  </a:lnTo>
                  <a:lnTo>
                    <a:pt x="76" y="103"/>
                  </a:lnTo>
                  <a:lnTo>
                    <a:pt x="76" y="101"/>
                  </a:lnTo>
                  <a:close/>
                  <a:moveTo>
                    <a:pt x="616" y="101"/>
                  </a:moveTo>
                  <a:lnTo>
                    <a:pt x="618" y="101"/>
                  </a:lnTo>
                  <a:lnTo>
                    <a:pt x="616" y="101"/>
                  </a:lnTo>
                  <a:close/>
                  <a:moveTo>
                    <a:pt x="613" y="101"/>
                  </a:moveTo>
                  <a:lnTo>
                    <a:pt x="614" y="101"/>
                  </a:lnTo>
                  <a:lnTo>
                    <a:pt x="613" y="101"/>
                  </a:lnTo>
                  <a:lnTo>
                    <a:pt x="613" y="103"/>
                  </a:lnTo>
                  <a:lnTo>
                    <a:pt x="613" y="101"/>
                  </a:lnTo>
                  <a:close/>
                  <a:moveTo>
                    <a:pt x="491" y="104"/>
                  </a:moveTo>
                  <a:lnTo>
                    <a:pt x="492" y="106"/>
                  </a:lnTo>
                  <a:lnTo>
                    <a:pt x="494" y="106"/>
                  </a:lnTo>
                  <a:lnTo>
                    <a:pt x="492" y="107"/>
                  </a:lnTo>
                  <a:lnTo>
                    <a:pt x="494" y="109"/>
                  </a:lnTo>
                  <a:lnTo>
                    <a:pt x="496" y="109"/>
                  </a:lnTo>
                  <a:lnTo>
                    <a:pt x="496" y="111"/>
                  </a:lnTo>
                  <a:lnTo>
                    <a:pt x="496" y="112"/>
                  </a:lnTo>
                  <a:lnTo>
                    <a:pt x="496" y="114"/>
                  </a:lnTo>
                  <a:lnTo>
                    <a:pt x="497" y="114"/>
                  </a:lnTo>
                  <a:lnTo>
                    <a:pt x="497" y="116"/>
                  </a:lnTo>
                  <a:lnTo>
                    <a:pt x="497" y="117"/>
                  </a:lnTo>
                  <a:lnTo>
                    <a:pt x="499" y="117"/>
                  </a:lnTo>
                  <a:lnTo>
                    <a:pt x="499" y="119"/>
                  </a:lnTo>
                  <a:lnTo>
                    <a:pt x="499" y="120"/>
                  </a:lnTo>
                  <a:lnTo>
                    <a:pt x="501" y="120"/>
                  </a:lnTo>
                  <a:lnTo>
                    <a:pt x="499" y="120"/>
                  </a:lnTo>
                  <a:lnTo>
                    <a:pt x="501" y="122"/>
                  </a:lnTo>
                  <a:lnTo>
                    <a:pt x="499" y="124"/>
                  </a:lnTo>
                  <a:lnTo>
                    <a:pt x="501" y="124"/>
                  </a:lnTo>
                  <a:lnTo>
                    <a:pt x="501" y="125"/>
                  </a:lnTo>
                  <a:lnTo>
                    <a:pt x="499" y="125"/>
                  </a:lnTo>
                  <a:lnTo>
                    <a:pt x="499" y="124"/>
                  </a:lnTo>
                  <a:lnTo>
                    <a:pt x="499" y="125"/>
                  </a:lnTo>
                  <a:lnTo>
                    <a:pt x="497" y="125"/>
                  </a:lnTo>
                  <a:lnTo>
                    <a:pt x="499" y="127"/>
                  </a:lnTo>
                  <a:lnTo>
                    <a:pt x="499" y="129"/>
                  </a:lnTo>
                  <a:lnTo>
                    <a:pt x="501" y="129"/>
                  </a:lnTo>
                  <a:lnTo>
                    <a:pt x="502" y="129"/>
                  </a:lnTo>
                  <a:lnTo>
                    <a:pt x="502" y="130"/>
                  </a:lnTo>
                  <a:lnTo>
                    <a:pt x="504" y="130"/>
                  </a:lnTo>
                  <a:lnTo>
                    <a:pt x="502" y="130"/>
                  </a:lnTo>
                  <a:lnTo>
                    <a:pt x="504" y="130"/>
                  </a:lnTo>
                  <a:lnTo>
                    <a:pt x="502" y="130"/>
                  </a:lnTo>
                  <a:lnTo>
                    <a:pt x="502" y="132"/>
                  </a:lnTo>
                  <a:lnTo>
                    <a:pt x="501" y="130"/>
                  </a:lnTo>
                  <a:lnTo>
                    <a:pt x="499" y="130"/>
                  </a:lnTo>
                  <a:lnTo>
                    <a:pt x="499" y="132"/>
                  </a:lnTo>
                  <a:lnTo>
                    <a:pt x="497" y="130"/>
                  </a:lnTo>
                  <a:lnTo>
                    <a:pt x="497" y="129"/>
                  </a:lnTo>
                  <a:lnTo>
                    <a:pt x="496" y="129"/>
                  </a:lnTo>
                  <a:lnTo>
                    <a:pt x="496" y="127"/>
                  </a:lnTo>
                  <a:lnTo>
                    <a:pt x="496" y="125"/>
                  </a:lnTo>
                  <a:lnTo>
                    <a:pt x="497" y="125"/>
                  </a:lnTo>
                  <a:lnTo>
                    <a:pt x="497" y="124"/>
                  </a:lnTo>
                  <a:lnTo>
                    <a:pt x="496" y="122"/>
                  </a:lnTo>
                  <a:lnTo>
                    <a:pt x="494" y="120"/>
                  </a:lnTo>
                  <a:lnTo>
                    <a:pt x="492" y="120"/>
                  </a:lnTo>
                  <a:lnTo>
                    <a:pt x="491" y="119"/>
                  </a:lnTo>
                  <a:lnTo>
                    <a:pt x="489" y="119"/>
                  </a:lnTo>
                  <a:lnTo>
                    <a:pt x="488" y="117"/>
                  </a:lnTo>
                  <a:lnTo>
                    <a:pt x="488" y="116"/>
                  </a:lnTo>
                  <a:lnTo>
                    <a:pt x="486" y="116"/>
                  </a:lnTo>
                  <a:lnTo>
                    <a:pt x="484" y="116"/>
                  </a:lnTo>
                  <a:lnTo>
                    <a:pt x="486" y="116"/>
                  </a:lnTo>
                  <a:lnTo>
                    <a:pt x="486" y="117"/>
                  </a:lnTo>
                  <a:lnTo>
                    <a:pt x="488" y="117"/>
                  </a:lnTo>
                  <a:lnTo>
                    <a:pt x="488" y="119"/>
                  </a:lnTo>
                  <a:lnTo>
                    <a:pt x="489" y="119"/>
                  </a:lnTo>
                  <a:lnTo>
                    <a:pt x="489" y="120"/>
                  </a:lnTo>
                  <a:lnTo>
                    <a:pt x="491" y="120"/>
                  </a:lnTo>
                  <a:lnTo>
                    <a:pt x="492" y="120"/>
                  </a:lnTo>
                  <a:lnTo>
                    <a:pt x="492" y="122"/>
                  </a:lnTo>
                  <a:lnTo>
                    <a:pt x="494" y="122"/>
                  </a:lnTo>
                  <a:lnTo>
                    <a:pt x="494" y="124"/>
                  </a:lnTo>
                  <a:lnTo>
                    <a:pt x="492" y="125"/>
                  </a:lnTo>
                  <a:lnTo>
                    <a:pt x="492" y="127"/>
                  </a:lnTo>
                  <a:lnTo>
                    <a:pt x="491" y="127"/>
                  </a:lnTo>
                  <a:lnTo>
                    <a:pt x="489" y="127"/>
                  </a:lnTo>
                  <a:lnTo>
                    <a:pt x="489" y="125"/>
                  </a:lnTo>
                  <a:lnTo>
                    <a:pt x="488" y="125"/>
                  </a:lnTo>
                  <a:lnTo>
                    <a:pt x="488" y="127"/>
                  </a:lnTo>
                  <a:lnTo>
                    <a:pt x="489" y="127"/>
                  </a:lnTo>
                  <a:lnTo>
                    <a:pt x="489" y="129"/>
                  </a:lnTo>
                  <a:lnTo>
                    <a:pt x="488" y="129"/>
                  </a:lnTo>
                  <a:lnTo>
                    <a:pt x="486" y="129"/>
                  </a:lnTo>
                  <a:lnTo>
                    <a:pt x="486" y="127"/>
                  </a:lnTo>
                  <a:lnTo>
                    <a:pt x="488" y="127"/>
                  </a:lnTo>
                  <a:lnTo>
                    <a:pt x="486" y="127"/>
                  </a:lnTo>
                  <a:lnTo>
                    <a:pt x="486" y="125"/>
                  </a:lnTo>
                  <a:lnTo>
                    <a:pt x="484" y="125"/>
                  </a:lnTo>
                  <a:lnTo>
                    <a:pt x="484" y="124"/>
                  </a:lnTo>
                  <a:lnTo>
                    <a:pt x="484" y="122"/>
                  </a:lnTo>
                  <a:lnTo>
                    <a:pt x="486" y="120"/>
                  </a:lnTo>
                  <a:lnTo>
                    <a:pt x="484" y="119"/>
                  </a:lnTo>
                  <a:lnTo>
                    <a:pt x="484" y="117"/>
                  </a:lnTo>
                  <a:lnTo>
                    <a:pt x="483" y="117"/>
                  </a:lnTo>
                  <a:lnTo>
                    <a:pt x="483" y="116"/>
                  </a:lnTo>
                  <a:lnTo>
                    <a:pt x="483" y="117"/>
                  </a:lnTo>
                  <a:lnTo>
                    <a:pt x="481" y="119"/>
                  </a:lnTo>
                  <a:lnTo>
                    <a:pt x="481" y="117"/>
                  </a:lnTo>
                  <a:lnTo>
                    <a:pt x="479" y="117"/>
                  </a:lnTo>
                  <a:lnTo>
                    <a:pt x="479" y="116"/>
                  </a:lnTo>
                  <a:lnTo>
                    <a:pt x="481" y="114"/>
                  </a:lnTo>
                  <a:lnTo>
                    <a:pt x="483" y="114"/>
                  </a:lnTo>
                  <a:lnTo>
                    <a:pt x="481" y="112"/>
                  </a:lnTo>
                  <a:lnTo>
                    <a:pt x="479" y="114"/>
                  </a:lnTo>
                  <a:lnTo>
                    <a:pt x="479" y="116"/>
                  </a:lnTo>
                  <a:lnTo>
                    <a:pt x="478" y="114"/>
                  </a:lnTo>
                  <a:lnTo>
                    <a:pt x="476" y="114"/>
                  </a:lnTo>
                  <a:lnTo>
                    <a:pt x="478" y="112"/>
                  </a:lnTo>
                  <a:lnTo>
                    <a:pt x="476" y="112"/>
                  </a:lnTo>
                  <a:lnTo>
                    <a:pt x="475" y="112"/>
                  </a:lnTo>
                  <a:lnTo>
                    <a:pt x="473" y="114"/>
                  </a:lnTo>
                  <a:lnTo>
                    <a:pt x="475" y="112"/>
                  </a:lnTo>
                  <a:lnTo>
                    <a:pt x="473" y="112"/>
                  </a:lnTo>
                  <a:lnTo>
                    <a:pt x="473" y="109"/>
                  </a:lnTo>
                  <a:lnTo>
                    <a:pt x="475" y="109"/>
                  </a:lnTo>
                  <a:lnTo>
                    <a:pt x="475" y="107"/>
                  </a:lnTo>
                  <a:lnTo>
                    <a:pt x="476" y="106"/>
                  </a:lnTo>
                  <a:lnTo>
                    <a:pt x="478" y="104"/>
                  </a:lnTo>
                  <a:lnTo>
                    <a:pt x="479" y="104"/>
                  </a:lnTo>
                  <a:lnTo>
                    <a:pt x="479" y="103"/>
                  </a:lnTo>
                  <a:lnTo>
                    <a:pt x="478" y="103"/>
                  </a:lnTo>
                  <a:lnTo>
                    <a:pt x="479" y="101"/>
                  </a:lnTo>
                  <a:lnTo>
                    <a:pt x="481" y="101"/>
                  </a:lnTo>
                  <a:lnTo>
                    <a:pt x="483" y="101"/>
                  </a:lnTo>
                  <a:lnTo>
                    <a:pt x="484" y="101"/>
                  </a:lnTo>
                  <a:lnTo>
                    <a:pt x="486" y="101"/>
                  </a:lnTo>
                  <a:lnTo>
                    <a:pt x="488" y="101"/>
                  </a:lnTo>
                  <a:lnTo>
                    <a:pt x="488" y="103"/>
                  </a:lnTo>
                  <a:lnTo>
                    <a:pt x="489" y="103"/>
                  </a:lnTo>
                  <a:lnTo>
                    <a:pt x="489" y="104"/>
                  </a:lnTo>
                  <a:lnTo>
                    <a:pt x="491" y="104"/>
                  </a:lnTo>
                  <a:close/>
                  <a:moveTo>
                    <a:pt x="65" y="101"/>
                  </a:moveTo>
                  <a:lnTo>
                    <a:pt x="66" y="101"/>
                  </a:lnTo>
                  <a:lnTo>
                    <a:pt x="65" y="101"/>
                  </a:lnTo>
                  <a:close/>
                  <a:moveTo>
                    <a:pt x="616" y="101"/>
                  </a:moveTo>
                  <a:lnTo>
                    <a:pt x="618" y="99"/>
                  </a:lnTo>
                  <a:lnTo>
                    <a:pt x="618" y="101"/>
                  </a:lnTo>
                  <a:lnTo>
                    <a:pt x="616" y="101"/>
                  </a:lnTo>
                  <a:close/>
                  <a:moveTo>
                    <a:pt x="61" y="99"/>
                  </a:moveTo>
                  <a:lnTo>
                    <a:pt x="61" y="101"/>
                  </a:lnTo>
                  <a:lnTo>
                    <a:pt x="61" y="99"/>
                  </a:lnTo>
                  <a:close/>
                  <a:moveTo>
                    <a:pt x="78" y="99"/>
                  </a:moveTo>
                  <a:lnTo>
                    <a:pt x="78" y="101"/>
                  </a:lnTo>
                  <a:lnTo>
                    <a:pt x="78" y="99"/>
                  </a:lnTo>
                  <a:close/>
                  <a:moveTo>
                    <a:pt x="60" y="99"/>
                  </a:moveTo>
                  <a:lnTo>
                    <a:pt x="60" y="101"/>
                  </a:lnTo>
                  <a:lnTo>
                    <a:pt x="60" y="99"/>
                  </a:lnTo>
                  <a:close/>
                  <a:moveTo>
                    <a:pt x="621" y="99"/>
                  </a:moveTo>
                  <a:lnTo>
                    <a:pt x="621" y="101"/>
                  </a:lnTo>
                  <a:lnTo>
                    <a:pt x="619" y="101"/>
                  </a:lnTo>
                  <a:lnTo>
                    <a:pt x="619" y="99"/>
                  </a:lnTo>
                  <a:lnTo>
                    <a:pt x="621" y="99"/>
                  </a:lnTo>
                  <a:close/>
                  <a:moveTo>
                    <a:pt x="68" y="99"/>
                  </a:moveTo>
                  <a:lnTo>
                    <a:pt x="70" y="99"/>
                  </a:lnTo>
                  <a:lnTo>
                    <a:pt x="71" y="101"/>
                  </a:lnTo>
                  <a:lnTo>
                    <a:pt x="70" y="101"/>
                  </a:lnTo>
                  <a:lnTo>
                    <a:pt x="70" y="99"/>
                  </a:lnTo>
                  <a:lnTo>
                    <a:pt x="70" y="101"/>
                  </a:lnTo>
                  <a:lnTo>
                    <a:pt x="70" y="99"/>
                  </a:lnTo>
                  <a:lnTo>
                    <a:pt x="70" y="101"/>
                  </a:lnTo>
                  <a:lnTo>
                    <a:pt x="70" y="99"/>
                  </a:lnTo>
                  <a:lnTo>
                    <a:pt x="68" y="99"/>
                  </a:lnTo>
                  <a:close/>
                  <a:moveTo>
                    <a:pt x="574" y="98"/>
                  </a:moveTo>
                  <a:lnTo>
                    <a:pt x="574" y="99"/>
                  </a:lnTo>
                  <a:lnTo>
                    <a:pt x="574" y="98"/>
                  </a:lnTo>
                  <a:close/>
                  <a:moveTo>
                    <a:pt x="63" y="98"/>
                  </a:moveTo>
                  <a:lnTo>
                    <a:pt x="65" y="99"/>
                  </a:lnTo>
                  <a:lnTo>
                    <a:pt x="65" y="101"/>
                  </a:lnTo>
                  <a:lnTo>
                    <a:pt x="63" y="101"/>
                  </a:lnTo>
                  <a:lnTo>
                    <a:pt x="63" y="99"/>
                  </a:lnTo>
                  <a:lnTo>
                    <a:pt x="63" y="98"/>
                  </a:lnTo>
                  <a:close/>
                  <a:moveTo>
                    <a:pt x="600" y="98"/>
                  </a:moveTo>
                  <a:lnTo>
                    <a:pt x="598" y="98"/>
                  </a:lnTo>
                  <a:lnTo>
                    <a:pt x="600" y="98"/>
                  </a:lnTo>
                  <a:close/>
                  <a:moveTo>
                    <a:pt x="63" y="98"/>
                  </a:moveTo>
                  <a:lnTo>
                    <a:pt x="63" y="99"/>
                  </a:lnTo>
                  <a:lnTo>
                    <a:pt x="63" y="101"/>
                  </a:lnTo>
                  <a:lnTo>
                    <a:pt x="61" y="101"/>
                  </a:lnTo>
                  <a:lnTo>
                    <a:pt x="61" y="99"/>
                  </a:lnTo>
                  <a:lnTo>
                    <a:pt x="61" y="98"/>
                  </a:lnTo>
                  <a:lnTo>
                    <a:pt x="63" y="98"/>
                  </a:lnTo>
                  <a:close/>
                  <a:moveTo>
                    <a:pt x="110" y="101"/>
                  </a:moveTo>
                  <a:lnTo>
                    <a:pt x="110" y="99"/>
                  </a:lnTo>
                  <a:lnTo>
                    <a:pt x="110" y="98"/>
                  </a:lnTo>
                  <a:lnTo>
                    <a:pt x="112" y="98"/>
                  </a:lnTo>
                  <a:lnTo>
                    <a:pt x="114" y="99"/>
                  </a:lnTo>
                  <a:lnTo>
                    <a:pt x="115" y="98"/>
                  </a:lnTo>
                  <a:lnTo>
                    <a:pt x="117" y="98"/>
                  </a:lnTo>
                  <a:lnTo>
                    <a:pt x="118" y="98"/>
                  </a:lnTo>
                  <a:lnTo>
                    <a:pt x="118" y="99"/>
                  </a:lnTo>
                  <a:lnTo>
                    <a:pt x="117" y="101"/>
                  </a:lnTo>
                  <a:lnTo>
                    <a:pt x="115" y="99"/>
                  </a:lnTo>
                  <a:lnTo>
                    <a:pt x="115" y="101"/>
                  </a:lnTo>
                  <a:lnTo>
                    <a:pt x="114" y="101"/>
                  </a:lnTo>
                  <a:lnTo>
                    <a:pt x="112" y="101"/>
                  </a:lnTo>
                  <a:lnTo>
                    <a:pt x="110" y="101"/>
                  </a:lnTo>
                  <a:close/>
                  <a:moveTo>
                    <a:pt x="60" y="98"/>
                  </a:moveTo>
                  <a:lnTo>
                    <a:pt x="61" y="98"/>
                  </a:lnTo>
                  <a:lnTo>
                    <a:pt x="61" y="99"/>
                  </a:lnTo>
                  <a:lnTo>
                    <a:pt x="60" y="99"/>
                  </a:lnTo>
                  <a:lnTo>
                    <a:pt x="60" y="98"/>
                  </a:lnTo>
                  <a:close/>
                  <a:moveTo>
                    <a:pt x="60" y="98"/>
                  </a:moveTo>
                  <a:lnTo>
                    <a:pt x="58" y="98"/>
                  </a:lnTo>
                  <a:lnTo>
                    <a:pt x="60" y="98"/>
                  </a:lnTo>
                  <a:close/>
                  <a:moveTo>
                    <a:pt x="55" y="98"/>
                  </a:moveTo>
                  <a:lnTo>
                    <a:pt x="57" y="98"/>
                  </a:lnTo>
                  <a:lnTo>
                    <a:pt x="55" y="98"/>
                  </a:lnTo>
                  <a:close/>
                  <a:moveTo>
                    <a:pt x="78" y="99"/>
                  </a:moveTo>
                  <a:lnTo>
                    <a:pt x="78" y="98"/>
                  </a:lnTo>
                  <a:lnTo>
                    <a:pt x="79" y="99"/>
                  </a:lnTo>
                  <a:lnTo>
                    <a:pt x="81" y="99"/>
                  </a:lnTo>
                  <a:lnTo>
                    <a:pt x="81" y="98"/>
                  </a:lnTo>
                  <a:lnTo>
                    <a:pt x="79" y="98"/>
                  </a:lnTo>
                  <a:lnTo>
                    <a:pt x="81" y="98"/>
                  </a:lnTo>
                  <a:lnTo>
                    <a:pt x="83" y="98"/>
                  </a:lnTo>
                  <a:lnTo>
                    <a:pt x="84" y="98"/>
                  </a:lnTo>
                  <a:lnTo>
                    <a:pt x="86" y="98"/>
                  </a:lnTo>
                  <a:lnTo>
                    <a:pt x="86" y="99"/>
                  </a:lnTo>
                  <a:lnTo>
                    <a:pt x="88" y="99"/>
                  </a:lnTo>
                  <a:lnTo>
                    <a:pt x="88" y="101"/>
                  </a:lnTo>
                  <a:lnTo>
                    <a:pt x="88" y="98"/>
                  </a:lnTo>
                  <a:lnTo>
                    <a:pt x="89" y="99"/>
                  </a:lnTo>
                  <a:lnTo>
                    <a:pt x="91" y="99"/>
                  </a:lnTo>
                  <a:lnTo>
                    <a:pt x="91" y="101"/>
                  </a:lnTo>
                  <a:lnTo>
                    <a:pt x="89" y="101"/>
                  </a:lnTo>
                  <a:lnTo>
                    <a:pt x="91" y="101"/>
                  </a:lnTo>
                  <a:lnTo>
                    <a:pt x="91" y="103"/>
                  </a:lnTo>
                  <a:lnTo>
                    <a:pt x="91" y="101"/>
                  </a:lnTo>
                  <a:lnTo>
                    <a:pt x="92" y="101"/>
                  </a:lnTo>
                  <a:lnTo>
                    <a:pt x="91" y="101"/>
                  </a:lnTo>
                  <a:lnTo>
                    <a:pt x="92" y="99"/>
                  </a:lnTo>
                  <a:lnTo>
                    <a:pt x="91" y="99"/>
                  </a:lnTo>
                  <a:lnTo>
                    <a:pt x="92" y="99"/>
                  </a:lnTo>
                  <a:lnTo>
                    <a:pt x="94" y="99"/>
                  </a:lnTo>
                  <a:lnTo>
                    <a:pt x="96" y="99"/>
                  </a:lnTo>
                  <a:lnTo>
                    <a:pt x="97" y="101"/>
                  </a:lnTo>
                  <a:lnTo>
                    <a:pt x="99" y="101"/>
                  </a:lnTo>
                  <a:lnTo>
                    <a:pt x="99" y="103"/>
                  </a:lnTo>
                  <a:lnTo>
                    <a:pt x="99" y="101"/>
                  </a:lnTo>
                  <a:lnTo>
                    <a:pt x="101" y="101"/>
                  </a:lnTo>
                  <a:lnTo>
                    <a:pt x="102" y="103"/>
                  </a:lnTo>
                  <a:lnTo>
                    <a:pt x="105" y="104"/>
                  </a:lnTo>
                  <a:lnTo>
                    <a:pt x="107" y="104"/>
                  </a:lnTo>
                  <a:lnTo>
                    <a:pt x="109" y="104"/>
                  </a:lnTo>
                  <a:lnTo>
                    <a:pt x="110" y="104"/>
                  </a:lnTo>
                  <a:lnTo>
                    <a:pt x="114" y="106"/>
                  </a:lnTo>
                  <a:lnTo>
                    <a:pt x="115" y="106"/>
                  </a:lnTo>
                  <a:lnTo>
                    <a:pt x="117" y="107"/>
                  </a:lnTo>
                  <a:lnTo>
                    <a:pt x="117" y="109"/>
                  </a:lnTo>
                  <a:lnTo>
                    <a:pt x="115" y="109"/>
                  </a:lnTo>
                  <a:lnTo>
                    <a:pt x="114" y="109"/>
                  </a:lnTo>
                  <a:lnTo>
                    <a:pt x="114" y="111"/>
                  </a:lnTo>
                  <a:lnTo>
                    <a:pt x="115" y="112"/>
                  </a:lnTo>
                  <a:lnTo>
                    <a:pt x="115" y="114"/>
                  </a:lnTo>
                  <a:lnTo>
                    <a:pt x="114" y="114"/>
                  </a:lnTo>
                  <a:lnTo>
                    <a:pt x="112" y="114"/>
                  </a:lnTo>
                  <a:lnTo>
                    <a:pt x="110" y="116"/>
                  </a:lnTo>
                  <a:lnTo>
                    <a:pt x="110" y="114"/>
                  </a:lnTo>
                  <a:lnTo>
                    <a:pt x="109" y="114"/>
                  </a:lnTo>
                  <a:lnTo>
                    <a:pt x="109" y="112"/>
                  </a:lnTo>
                  <a:lnTo>
                    <a:pt x="107" y="112"/>
                  </a:lnTo>
                  <a:lnTo>
                    <a:pt x="107" y="114"/>
                  </a:lnTo>
                  <a:lnTo>
                    <a:pt x="107" y="112"/>
                  </a:lnTo>
                  <a:lnTo>
                    <a:pt x="105" y="112"/>
                  </a:lnTo>
                  <a:lnTo>
                    <a:pt x="104" y="112"/>
                  </a:lnTo>
                  <a:lnTo>
                    <a:pt x="102" y="112"/>
                  </a:lnTo>
                  <a:lnTo>
                    <a:pt x="101" y="112"/>
                  </a:lnTo>
                  <a:lnTo>
                    <a:pt x="99" y="112"/>
                  </a:lnTo>
                  <a:lnTo>
                    <a:pt x="97" y="112"/>
                  </a:lnTo>
                  <a:lnTo>
                    <a:pt x="97" y="111"/>
                  </a:lnTo>
                  <a:lnTo>
                    <a:pt x="97" y="109"/>
                  </a:lnTo>
                  <a:lnTo>
                    <a:pt x="97" y="107"/>
                  </a:lnTo>
                  <a:lnTo>
                    <a:pt x="99" y="107"/>
                  </a:lnTo>
                  <a:lnTo>
                    <a:pt x="97" y="106"/>
                  </a:lnTo>
                  <a:lnTo>
                    <a:pt x="97" y="104"/>
                  </a:lnTo>
                  <a:lnTo>
                    <a:pt x="97" y="106"/>
                  </a:lnTo>
                  <a:lnTo>
                    <a:pt x="97" y="107"/>
                  </a:lnTo>
                  <a:lnTo>
                    <a:pt x="97" y="109"/>
                  </a:lnTo>
                  <a:lnTo>
                    <a:pt x="96" y="109"/>
                  </a:lnTo>
                  <a:lnTo>
                    <a:pt x="94" y="109"/>
                  </a:lnTo>
                  <a:lnTo>
                    <a:pt x="96" y="107"/>
                  </a:lnTo>
                  <a:lnTo>
                    <a:pt x="94" y="107"/>
                  </a:lnTo>
                  <a:lnTo>
                    <a:pt x="92" y="107"/>
                  </a:lnTo>
                  <a:lnTo>
                    <a:pt x="92" y="109"/>
                  </a:lnTo>
                  <a:lnTo>
                    <a:pt x="91" y="109"/>
                  </a:lnTo>
                  <a:lnTo>
                    <a:pt x="91" y="111"/>
                  </a:lnTo>
                  <a:lnTo>
                    <a:pt x="89" y="109"/>
                  </a:lnTo>
                  <a:lnTo>
                    <a:pt x="88" y="109"/>
                  </a:lnTo>
                  <a:lnTo>
                    <a:pt x="86" y="109"/>
                  </a:lnTo>
                  <a:lnTo>
                    <a:pt x="86" y="107"/>
                  </a:lnTo>
                  <a:lnTo>
                    <a:pt x="88" y="109"/>
                  </a:lnTo>
                  <a:lnTo>
                    <a:pt x="88" y="107"/>
                  </a:lnTo>
                  <a:lnTo>
                    <a:pt x="86" y="107"/>
                  </a:lnTo>
                  <a:lnTo>
                    <a:pt x="86" y="106"/>
                  </a:lnTo>
                  <a:lnTo>
                    <a:pt x="84" y="106"/>
                  </a:lnTo>
                  <a:lnTo>
                    <a:pt x="83" y="106"/>
                  </a:lnTo>
                  <a:lnTo>
                    <a:pt x="81" y="106"/>
                  </a:lnTo>
                  <a:lnTo>
                    <a:pt x="79" y="104"/>
                  </a:lnTo>
                  <a:lnTo>
                    <a:pt x="79" y="103"/>
                  </a:lnTo>
                  <a:lnTo>
                    <a:pt x="79" y="101"/>
                  </a:lnTo>
                  <a:lnTo>
                    <a:pt x="79" y="99"/>
                  </a:lnTo>
                  <a:lnTo>
                    <a:pt x="78" y="99"/>
                  </a:lnTo>
                  <a:close/>
                  <a:moveTo>
                    <a:pt x="58" y="98"/>
                  </a:moveTo>
                  <a:lnTo>
                    <a:pt x="58" y="96"/>
                  </a:lnTo>
                  <a:lnTo>
                    <a:pt x="58" y="98"/>
                  </a:lnTo>
                  <a:close/>
                  <a:moveTo>
                    <a:pt x="600" y="96"/>
                  </a:moveTo>
                  <a:lnTo>
                    <a:pt x="600" y="98"/>
                  </a:lnTo>
                  <a:lnTo>
                    <a:pt x="598" y="98"/>
                  </a:lnTo>
                  <a:lnTo>
                    <a:pt x="600" y="96"/>
                  </a:lnTo>
                  <a:close/>
                  <a:moveTo>
                    <a:pt x="569" y="98"/>
                  </a:moveTo>
                  <a:lnTo>
                    <a:pt x="571" y="96"/>
                  </a:lnTo>
                  <a:lnTo>
                    <a:pt x="571" y="98"/>
                  </a:lnTo>
                  <a:lnTo>
                    <a:pt x="571" y="99"/>
                  </a:lnTo>
                  <a:lnTo>
                    <a:pt x="571" y="101"/>
                  </a:lnTo>
                  <a:lnTo>
                    <a:pt x="572" y="101"/>
                  </a:lnTo>
                  <a:lnTo>
                    <a:pt x="572" y="103"/>
                  </a:lnTo>
                  <a:lnTo>
                    <a:pt x="574" y="103"/>
                  </a:lnTo>
                  <a:lnTo>
                    <a:pt x="574" y="104"/>
                  </a:lnTo>
                  <a:lnTo>
                    <a:pt x="575" y="104"/>
                  </a:lnTo>
                  <a:lnTo>
                    <a:pt x="574" y="106"/>
                  </a:lnTo>
                  <a:lnTo>
                    <a:pt x="574" y="107"/>
                  </a:lnTo>
                  <a:lnTo>
                    <a:pt x="574" y="106"/>
                  </a:lnTo>
                  <a:lnTo>
                    <a:pt x="574" y="107"/>
                  </a:lnTo>
                  <a:lnTo>
                    <a:pt x="572" y="107"/>
                  </a:lnTo>
                  <a:lnTo>
                    <a:pt x="574" y="109"/>
                  </a:lnTo>
                  <a:lnTo>
                    <a:pt x="572" y="109"/>
                  </a:lnTo>
                  <a:lnTo>
                    <a:pt x="574" y="109"/>
                  </a:lnTo>
                  <a:lnTo>
                    <a:pt x="574" y="107"/>
                  </a:lnTo>
                  <a:lnTo>
                    <a:pt x="574" y="106"/>
                  </a:lnTo>
                  <a:lnTo>
                    <a:pt x="575" y="106"/>
                  </a:lnTo>
                  <a:lnTo>
                    <a:pt x="575" y="107"/>
                  </a:lnTo>
                  <a:lnTo>
                    <a:pt x="575" y="109"/>
                  </a:lnTo>
                  <a:lnTo>
                    <a:pt x="575" y="111"/>
                  </a:lnTo>
                  <a:lnTo>
                    <a:pt x="575" y="112"/>
                  </a:lnTo>
                  <a:lnTo>
                    <a:pt x="575" y="114"/>
                  </a:lnTo>
                  <a:lnTo>
                    <a:pt x="575" y="116"/>
                  </a:lnTo>
                  <a:lnTo>
                    <a:pt x="574" y="116"/>
                  </a:lnTo>
                  <a:lnTo>
                    <a:pt x="574" y="114"/>
                  </a:lnTo>
                  <a:lnTo>
                    <a:pt x="574" y="116"/>
                  </a:lnTo>
                  <a:lnTo>
                    <a:pt x="574" y="114"/>
                  </a:lnTo>
                  <a:lnTo>
                    <a:pt x="572" y="112"/>
                  </a:lnTo>
                  <a:lnTo>
                    <a:pt x="572" y="111"/>
                  </a:lnTo>
                  <a:lnTo>
                    <a:pt x="571" y="111"/>
                  </a:lnTo>
                  <a:lnTo>
                    <a:pt x="571" y="109"/>
                  </a:lnTo>
                  <a:lnTo>
                    <a:pt x="569" y="109"/>
                  </a:lnTo>
                  <a:lnTo>
                    <a:pt x="569" y="107"/>
                  </a:lnTo>
                  <a:lnTo>
                    <a:pt x="569" y="106"/>
                  </a:lnTo>
                  <a:lnTo>
                    <a:pt x="569" y="107"/>
                  </a:lnTo>
                  <a:lnTo>
                    <a:pt x="569" y="106"/>
                  </a:lnTo>
                  <a:lnTo>
                    <a:pt x="569" y="107"/>
                  </a:lnTo>
                  <a:lnTo>
                    <a:pt x="569" y="109"/>
                  </a:lnTo>
                  <a:lnTo>
                    <a:pt x="569" y="111"/>
                  </a:lnTo>
                  <a:lnTo>
                    <a:pt x="571" y="111"/>
                  </a:lnTo>
                  <a:lnTo>
                    <a:pt x="571" y="112"/>
                  </a:lnTo>
                  <a:lnTo>
                    <a:pt x="572" y="112"/>
                  </a:lnTo>
                  <a:lnTo>
                    <a:pt x="572" y="114"/>
                  </a:lnTo>
                  <a:lnTo>
                    <a:pt x="571" y="114"/>
                  </a:lnTo>
                  <a:lnTo>
                    <a:pt x="572" y="116"/>
                  </a:lnTo>
                  <a:lnTo>
                    <a:pt x="572" y="117"/>
                  </a:lnTo>
                  <a:lnTo>
                    <a:pt x="572" y="119"/>
                  </a:lnTo>
                  <a:lnTo>
                    <a:pt x="574" y="119"/>
                  </a:lnTo>
                  <a:lnTo>
                    <a:pt x="572" y="119"/>
                  </a:lnTo>
                  <a:lnTo>
                    <a:pt x="572" y="120"/>
                  </a:lnTo>
                  <a:lnTo>
                    <a:pt x="572" y="119"/>
                  </a:lnTo>
                  <a:lnTo>
                    <a:pt x="571" y="119"/>
                  </a:lnTo>
                  <a:lnTo>
                    <a:pt x="569" y="119"/>
                  </a:lnTo>
                  <a:lnTo>
                    <a:pt x="569" y="117"/>
                  </a:lnTo>
                  <a:lnTo>
                    <a:pt x="567" y="117"/>
                  </a:lnTo>
                  <a:lnTo>
                    <a:pt x="567" y="116"/>
                  </a:lnTo>
                  <a:lnTo>
                    <a:pt x="567" y="114"/>
                  </a:lnTo>
                  <a:lnTo>
                    <a:pt x="566" y="114"/>
                  </a:lnTo>
                  <a:lnTo>
                    <a:pt x="567" y="114"/>
                  </a:lnTo>
                  <a:lnTo>
                    <a:pt x="566" y="112"/>
                  </a:lnTo>
                  <a:lnTo>
                    <a:pt x="567" y="112"/>
                  </a:lnTo>
                  <a:lnTo>
                    <a:pt x="566" y="112"/>
                  </a:lnTo>
                  <a:lnTo>
                    <a:pt x="566" y="111"/>
                  </a:lnTo>
                  <a:lnTo>
                    <a:pt x="564" y="111"/>
                  </a:lnTo>
                  <a:lnTo>
                    <a:pt x="564" y="109"/>
                  </a:lnTo>
                  <a:lnTo>
                    <a:pt x="562" y="109"/>
                  </a:lnTo>
                  <a:lnTo>
                    <a:pt x="562" y="107"/>
                  </a:lnTo>
                  <a:lnTo>
                    <a:pt x="564" y="107"/>
                  </a:lnTo>
                  <a:lnTo>
                    <a:pt x="562" y="106"/>
                  </a:lnTo>
                  <a:lnTo>
                    <a:pt x="564" y="104"/>
                  </a:lnTo>
                  <a:lnTo>
                    <a:pt x="564" y="103"/>
                  </a:lnTo>
                  <a:lnTo>
                    <a:pt x="564" y="99"/>
                  </a:lnTo>
                  <a:lnTo>
                    <a:pt x="566" y="99"/>
                  </a:lnTo>
                  <a:lnTo>
                    <a:pt x="567" y="99"/>
                  </a:lnTo>
                  <a:lnTo>
                    <a:pt x="569" y="99"/>
                  </a:lnTo>
                  <a:lnTo>
                    <a:pt x="569" y="98"/>
                  </a:lnTo>
                  <a:close/>
                  <a:moveTo>
                    <a:pt x="63" y="98"/>
                  </a:moveTo>
                  <a:lnTo>
                    <a:pt x="63" y="96"/>
                  </a:lnTo>
                  <a:lnTo>
                    <a:pt x="63" y="98"/>
                  </a:lnTo>
                  <a:lnTo>
                    <a:pt x="65" y="98"/>
                  </a:lnTo>
                  <a:lnTo>
                    <a:pt x="63" y="98"/>
                  </a:lnTo>
                  <a:close/>
                  <a:moveTo>
                    <a:pt x="61" y="96"/>
                  </a:moveTo>
                  <a:lnTo>
                    <a:pt x="61" y="98"/>
                  </a:lnTo>
                  <a:lnTo>
                    <a:pt x="60" y="98"/>
                  </a:lnTo>
                  <a:lnTo>
                    <a:pt x="60" y="96"/>
                  </a:lnTo>
                  <a:lnTo>
                    <a:pt x="60" y="98"/>
                  </a:lnTo>
                  <a:lnTo>
                    <a:pt x="60" y="96"/>
                  </a:lnTo>
                  <a:lnTo>
                    <a:pt x="61" y="96"/>
                  </a:lnTo>
                  <a:close/>
                  <a:moveTo>
                    <a:pt x="78" y="98"/>
                  </a:moveTo>
                  <a:lnTo>
                    <a:pt x="78" y="96"/>
                  </a:lnTo>
                  <a:lnTo>
                    <a:pt x="79" y="96"/>
                  </a:lnTo>
                  <a:lnTo>
                    <a:pt x="81" y="96"/>
                  </a:lnTo>
                  <a:lnTo>
                    <a:pt x="81" y="98"/>
                  </a:lnTo>
                  <a:lnTo>
                    <a:pt x="79" y="98"/>
                  </a:lnTo>
                  <a:lnTo>
                    <a:pt x="78" y="98"/>
                  </a:lnTo>
                  <a:close/>
                  <a:moveTo>
                    <a:pt x="610" y="103"/>
                  </a:moveTo>
                  <a:lnTo>
                    <a:pt x="610" y="101"/>
                  </a:lnTo>
                  <a:lnTo>
                    <a:pt x="608" y="101"/>
                  </a:lnTo>
                  <a:lnTo>
                    <a:pt x="608" y="103"/>
                  </a:lnTo>
                  <a:lnTo>
                    <a:pt x="608" y="104"/>
                  </a:lnTo>
                  <a:lnTo>
                    <a:pt x="606" y="104"/>
                  </a:lnTo>
                  <a:lnTo>
                    <a:pt x="606" y="103"/>
                  </a:lnTo>
                  <a:lnTo>
                    <a:pt x="606" y="101"/>
                  </a:lnTo>
                  <a:lnTo>
                    <a:pt x="606" y="99"/>
                  </a:lnTo>
                  <a:lnTo>
                    <a:pt x="608" y="98"/>
                  </a:lnTo>
                  <a:lnTo>
                    <a:pt x="606" y="98"/>
                  </a:lnTo>
                  <a:lnTo>
                    <a:pt x="606" y="96"/>
                  </a:lnTo>
                  <a:lnTo>
                    <a:pt x="608" y="96"/>
                  </a:lnTo>
                  <a:lnTo>
                    <a:pt x="610" y="98"/>
                  </a:lnTo>
                  <a:lnTo>
                    <a:pt x="608" y="99"/>
                  </a:lnTo>
                  <a:lnTo>
                    <a:pt x="606" y="99"/>
                  </a:lnTo>
                  <a:lnTo>
                    <a:pt x="608" y="99"/>
                  </a:lnTo>
                  <a:lnTo>
                    <a:pt x="610" y="99"/>
                  </a:lnTo>
                  <a:lnTo>
                    <a:pt x="610" y="98"/>
                  </a:lnTo>
                  <a:lnTo>
                    <a:pt x="611" y="98"/>
                  </a:lnTo>
                  <a:lnTo>
                    <a:pt x="611" y="99"/>
                  </a:lnTo>
                  <a:lnTo>
                    <a:pt x="611" y="101"/>
                  </a:lnTo>
                  <a:lnTo>
                    <a:pt x="611" y="103"/>
                  </a:lnTo>
                  <a:lnTo>
                    <a:pt x="610" y="103"/>
                  </a:lnTo>
                  <a:close/>
                  <a:moveTo>
                    <a:pt x="78" y="96"/>
                  </a:moveTo>
                  <a:lnTo>
                    <a:pt x="79" y="96"/>
                  </a:lnTo>
                  <a:lnTo>
                    <a:pt x="78" y="96"/>
                  </a:lnTo>
                  <a:close/>
                  <a:moveTo>
                    <a:pt x="66" y="96"/>
                  </a:moveTo>
                  <a:lnTo>
                    <a:pt x="68" y="96"/>
                  </a:lnTo>
                  <a:lnTo>
                    <a:pt x="68" y="98"/>
                  </a:lnTo>
                  <a:lnTo>
                    <a:pt x="68" y="96"/>
                  </a:lnTo>
                  <a:lnTo>
                    <a:pt x="66" y="96"/>
                  </a:lnTo>
                  <a:close/>
                  <a:moveTo>
                    <a:pt x="61" y="96"/>
                  </a:moveTo>
                  <a:lnTo>
                    <a:pt x="63" y="96"/>
                  </a:lnTo>
                  <a:lnTo>
                    <a:pt x="63" y="98"/>
                  </a:lnTo>
                  <a:lnTo>
                    <a:pt x="61" y="98"/>
                  </a:lnTo>
                  <a:lnTo>
                    <a:pt x="61" y="96"/>
                  </a:lnTo>
                  <a:close/>
                  <a:moveTo>
                    <a:pt x="618" y="96"/>
                  </a:moveTo>
                  <a:lnTo>
                    <a:pt x="618" y="98"/>
                  </a:lnTo>
                  <a:lnTo>
                    <a:pt x="618" y="99"/>
                  </a:lnTo>
                  <a:lnTo>
                    <a:pt x="616" y="99"/>
                  </a:lnTo>
                  <a:lnTo>
                    <a:pt x="614" y="99"/>
                  </a:lnTo>
                  <a:lnTo>
                    <a:pt x="614" y="98"/>
                  </a:lnTo>
                  <a:lnTo>
                    <a:pt x="614" y="96"/>
                  </a:lnTo>
                  <a:lnTo>
                    <a:pt x="614" y="94"/>
                  </a:lnTo>
                  <a:lnTo>
                    <a:pt x="616" y="96"/>
                  </a:lnTo>
                  <a:lnTo>
                    <a:pt x="618" y="96"/>
                  </a:lnTo>
                  <a:close/>
                  <a:moveTo>
                    <a:pt x="634" y="94"/>
                  </a:moveTo>
                  <a:lnTo>
                    <a:pt x="634" y="96"/>
                  </a:lnTo>
                  <a:lnTo>
                    <a:pt x="634" y="94"/>
                  </a:lnTo>
                  <a:close/>
                  <a:moveTo>
                    <a:pt x="57" y="94"/>
                  </a:moveTo>
                  <a:lnTo>
                    <a:pt x="57" y="96"/>
                  </a:lnTo>
                  <a:lnTo>
                    <a:pt x="57" y="94"/>
                  </a:lnTo>
                  <a:close/>
                  <a:moveTo>
                    <a:pt x="626" y="96"/>
                  </a:moveTo>
                  <a:lnTo>
                    <a:pt x="624" y="96"/>
                  </a:lnTo>
                  <a:lnTo>
                    <a:pt x="624" y="94"/>
                  </a:lnTo>
                  <a:lnTo>
                    <a:pt x="626" y="94"/>
                  </a:lnTo>
                  <a:lnTo>
                    <a:pt x="626" y="96"/>
                  </a:lnTo>
                  <a:close/>
                  <a:moveTo>
                    <a:pt x="66" y="98"/>
                  </a:moveTo>
                  <a:lnTo>
                    <a:pt x="65" y="98"/>
                  </a:lnTo>
                  <a:lnTo>
                    <a:pt x="66" y="98"/>
                  </a:lnTo>
                  <a:lnTo>
                    <a:pt x="65" y="98"/>
                  </a:lnTo>
                  <a:lnTo>
                    <a:pt x="65" y="96"/>
                  </a:lnTo>
                  <a:lnTo>
                    <a:pt x="63" y="94"/>
                  </a:lnTo>
                  <a:lnTo>
                    <a:pt x="65" y="94"/>
                  </a:lnTo>
                  <a:lnTo>
                    <a:pt x="66" y="96"/>
                  </a:lnTo>
                  <a:lnTo>
                    <a:pt x="66" y="98"/>
                  </a:lnTo>
                  <a:close/>
                  <a:moveTo>
                    <a:pt x="68" y="96"/>
                  </a:moveTo>
                  <a:lnTo>
                    <a:pt x="66" y="94"/>
                  </a:lnTo>
                  <a:lnTo>
                    <a:pt x="68" y="96"/>
                  </a:lnTo>
                  <a:close/>
                  <a:moveTo>
                    <a:pt x="57" y="94"/>
                  </a:moveTo>
                  <a:lnTo>
                    <a:pt x="58" y="94"/>
                  </a:lnTo>
                  <a:lnTo>
                    <a:pt x="57" y="94"/>
                  </a:lnTo>
                  <a:close/>
                  <a:moveTo>
                    <a:pt x="118" y="94"/>
                  </a:moveTo>
                  <a:lnTo>
                    <a:pt x="120" y="94"/>
                  </a:lnTo>
                  <a:lnTo>
                    <a:pt x="122" y="96"/>
                  </a:lnTo>
                  <a:lnTo>
                    <a:pt x="120" y="96"/>
                  </a:lnTo>
                  <a:lnTo>
                    <a:pt x="118" y="96"/>
                  </a:lnTo>
                  <a:lnTo>
                    <a:pt x="117" y="96"/>
                  </a:lnTo>
                  <a:lnTo>
                    <a:pt x="117" y="94"/>
                  </a:lnTo>
                  <a:lnTo>
                    <a:pt x="118" y="94"/>
                  </a:lnTo>
                  <a:close/>
                  <a:moveTo>
                    <a:pt x="65" y="94"/>
                  </a:moveTo>
                  <a:lnTo>
                    <a:pt x="66" y="94"/>
                  </a:lnTo>
                  <a:lnTo>
                    <a:pt x="65" y="94"/>
                  </a:lnTo>
                  <a:close/>
                  <a:moveTo>
                    <a:pt x="640" y="94"/>
                  </a:moveTo>
                  <a:lnTo>
                    <a:pt x="639" y="94"/>
                  </a:lnTo>
                  <a:lnTo>
                    <a:pt x="640" y="94"/>
                  </a:lnTo>
                  <a:close/>
                  <a:moveTo>
                    <a:pt x="60" y="94"/>
                  </a:moveTo>
                  <a:lnTo>
                    <a:pt x="60" y="96"/>
                  </a:lnTo>
                  <a:lnTo>
                    <a:pt x="60" y="98"/>
                  </a:lnTo>
                  <a:lnTo>
                    <a:pt x="58" y="98"/>
                  </a:lnTo>
                  <a:lnTo>
                    <a:pt x="58" y="96"/>
                  </a:lnTo>
                  <a:lnTo>
                    <a:pt x="60" y="94"/>
                  </a:lnTo>
                  <a:lnTo>
                    <a:pt x="58" y="94"/>
                  </a:lnTo>
                  <a:lnTo>
                    <a:pt x="60" y="94"/>
                  </a:lnTo>
                  <a:lnTo>
                    <a:pt x="60" y="93"/>
                  </a:lnTo>
                  <a:lnTo>
                    <a:pt x="60" y="94"/>
                  </a:lnTo>
                  <a:close/>
                  <a:moveTo>
                    <a:pt x="61" y="96"/>
                  </a:moveTo>
                  <a:lnTo>
                    <a:pt x="60" y="96"/>
                  </a:lnTo>
                  <a:lnTo>
                    <a:pt x="61" y="94"/>
                  </a:lnTo>
                  <a:lnTo>
                    <a:pt x="61" y="93"/>
                  </a:lnTo>
                  <a:lnTo>
                    <a:pt x="61" y="94"/>
                  </a:lnTo>
                  <a:lnTo>
                    <a:pt x="61" y="96"/>
                  </a:lnTo>
                  <a:close/>
                  <a:moveTo>
                    <a:pt x="78" y="96"/>
                  </a:moveTo>
                  <a:lnTo>
                    <a:pt x="76" y="96"/>
                  </a:lnTo>
                  <a:lnTo>
                    <a:pt x="78" y="96"/>
                  </a:lnTo>
                  <a:lnTo>
                    <a:pt x="76" y="98"/>
                  </a:lnTo>
                  <a:lnTo>
                    <a:pt x="75" y="98"/>
                  </a:lnTo>
                  <a:lnTo>
                    <a:pt x="73" y="98"/>
                  </a:lnTo>
                  <a:lnTo>
                    <a:pt x="75" y="98"/>
                  </a:lnTo>
                  <a:lnTo>
                    <a:pt x="73" y="98"/>
                  </a:lnTo>
                  <a:lnTo>
                    <a:pt x="71" y="98"/>
                  </a:lnTo>
                  <a:lnTo>
                    <a:pt x="75" y="98"/>
                  </a:lnTo>
                  <a:lnTo>
                    <a:pt x="76" y="98"/>
                  </a:lnTo>
                  <a:lnTo>
                    <a:pt x="76" y="99"/>
                  </a:lnTo>
                  <a:lnTo>
                    <a:pt x="76" y="101"/>
                  </a:lnTo>
                  <a:lnTo>
                    <a:pt x="75" y="101"/>
                  </a:lnTo>
                  <a:lnTo>
                    <a:pt x="76" y="101"/>
                  </a:lnTo>
                  <a:lnTo>
                    <a:pt x="76" y="99"/>
                  </a:lnTo>
                  <a:lnTo>
                    <a:pt x="76" y="101"/>
                  </a:lnTo>
                  <a:lnTo>
                    <a:pt x="76" y="99"/>
                  </a:lnTo>
                  <a:lnTo>
                    <a:pt x="75" y="99"/>
                  </a:lnTo>
                  <a:lnTo>
                    <a:pt x="75" y="98"/>
                  </a:lnTo>
                  <a:lnTo>
                    <a:pt x="75" y="99"/>
                  </a:lnTo>
                  <a:lnTo>
                    <a:pt x="75" y="101"/>
                  </a:lnTo>
                  <a:lnTo>
                    <a:pt x="75" y="103"/>
                  </a:lnTo>
                  <a:lnTo>
                    <a:pt x="73" y="103"/>
                  </a:lnTo>
                  <a:lnTo>
                    <a:pt x="73" y="101"/>
                  </a:lnTo>
                  <a:lnTo>
                    <a:pt x="71" y="101"/>
                  </a:lnTo>
                  <a:lnTo>
                    <a:pt x="71" y="99"/>
                  </a:lnTo>
                  <a:lnTo>
                    <a:pt x="70" y="99"/>
                  </a:lnTo>
                  <a:lnTo>
                    <a:pt x="70" y="98"/>
                  </a:lnTo>
                  <a:lnTo>
                    <a:pt x="68" y="98"/>
                  </a:lnTo>
                  <a:lnTo>
                    <a:pt x="68" y="94"/>
                  </a:lnTo>
                  <a:lnTo>
                    <a:pt x="66" y="94"/>
                  </a:lnTo>
                  <a:lnTo>
                    <a:pt x="66" y="93"/>
                  </a:lnTo>
                  <a:lnTo>
                    <a:pt x="68" y="94"/>
                  </a:lnTo>
                  <a:lnTo>
                    <a:pt x="70" y="94"/>
                  </a:lnTo>
                  <a:lnTo>
                    <a:pt x="71" y="94"/>
                  </a:lnTo>
                  <a:lnTo>
                    <a:pt x="73" y="94"/>
                  </a:lnTo>
                  <a:lnTo>
                    <a:pt x="73" y="96"/>
                  </a:lnTo>
                  <a:lnTo>
                    <a:pt x="75" y="96"/>
                  </a:lnTo>
                  <a:lnTo>
                    <a:pt x="75" y="94"/>
                  </a:lnTo>
                  <a:lnTo>
                    <a:pt x="76" y="94"/>
                  </a:lnTo>
                  <a:lnTo>
                    <a:pt x="78" y="96"/>
                  </a:lnTo>
                  <a:close/>
                  <a:moveTo>
                    <a:pt x="629" y="93"/>
                  </a:moveTo>
                  <a:lnTo>
                    <a:pt x="629" y="94"/>
                  </a:lnTo>
                  <a:lnTo>
                    <a:pt x="627" y="94"/>
                  </a:lnTo>
                  <a:lnTo>
                    <a:pt x="629" y="93"/>
                  </a:lnTo>
                  <a:close/>
                  <a:moveTo>
                    <a:pt x="639" y="93"/>
                  </a:moveTo>
                  <a:lnTo>
                    <a:pt x="640" y="93"/>
                  </a:lnTo>
                  <a:lnTo>
                    <a:pt x="639" y="93"/>
                  </a:lnTo>
                  <a:close/>
                  <a:moveTo>
                    <a:pt x="574" y="93"/>
                  </a:moveTo>
                  <a:lnTo>
                    <a:pt x="574" y="94"/>
                  </a:lnTo>
                  <a:lnTo>
                    <a:pt x="574" y="93"/>
                  </a:lnTo>
                  <a:close/>
                  <a:moveTo>
                    <a:pt x="640" y="93"/>
                  </a:moveTo>
                  <a:lnTo>
                    <a:pt x="642" y="93"/>
                  </a:lnTo>
                  <a:lnTo>
                    <a:pt x="644" y="94"/>
                  </a:lnTo>
                  <a:lnTo>
                    <a:pt x="642" y="94"/>
                  </a:lnTo>
                  <a:lnTo>
                    <a:pt x="644" y="94"/>
                  </a:lnTo>
                  <a:lnTo>
                    <a:pt x="644" y="96"/>
                  </a:lnTo>
                  <a:lnTo>
                    <a:pt x="642" y="96"/>
                  </a:lnTo>
                  <a:lnTo>
                    <a:pt x="642" y="98"/>
                  </a:lnTo>
                  <a:lnTo>
                    <a:pt x="640" y="98"/>
                  </a:lnTo>
                  <a:lnTo>
                    <a:pt x="640" y="96"/>
                  </a:lnTo>
                  <a:lnTo>
                    <a:pt x="640" y="94"/>
                  </a:lnTo>
                  <a:lnTo>
                    <a:pt x="640" y="93"/>
                  </a:lnTo>
                  <a:close/>
                  <a:moveTo>
                    <a:pt x="644" y="93"/>
                  </a:moveTo>
                  <a:lnTo>
                    <a:pt x="642" y="93"/>
                  </a:lnTo>
                  <a:lnTo>
                    <a:pt x="644" y="93"/>
                  </a:lnTo>
                  <a:close/>
                  <a:moveTo>
                    <a:pt x="60" y="93"/>
                  </a:moveTo>
                  <a:lnTo>
                    <a:pt x="61" y="93"/>
                  </a:lnTo>
                  <a:lnTo>
                    <a:pt x="60" y="93"/>
                  </a:lnTo>
                  <a:close/>
                  <a:moveTo>
                    <a:pt x="645" y="93"/>
                  </a:moveTo>
                  <a:lnTo>
                    <a:pt x="647" y="93"/>
                  </a:lnTo>
                  <a:lnTo>
                    <a:pt x="645" y="93"/>
                  </a:lnTo>
                  <a:close/>
                  <a:moveTo>
                    <a:pt x="88" y="91"/>
                  </a:moveTo>
                  <a:lnTo>
                    <a:pt x="88" y="93"/>
                  </a:lnTo>
                  <a:lnTo>
                    <a:pt x="88" y="91"/>
                  </a:lnTo>
                  <a:close/>
                  <a:moveTo>
                    <a:pt x="86" y="93"/>
                  </a:moveTo>
                  <a:lnTo>
                    <a:pt x="86" y="91"/>
                  </a:lnTo>
                  <a:lnTo>
                    <a:pt x="86" y="93"/>
                  </a:lnTo>
                  <a:close/>
                  <a:moveTo>
                    <a:pt x="63" y="93"/>
                  </a:moveTo>
                  <a:lnTo>
                    <a:pt x="65" y="93"/>
                  </a:lnTo>
                  <a:lnTo>
                    <a:pt x="63" y="93"/>
                  </a:lnTo>
                  <a:lnTo>
                    <a:pt x="61" y="93"/>
                  </a:lnTo>
                  <a:lnTo>
                    <a:pt x="61" y="91"/>
                  </a:lnTo>
                  <a:lnTo>
                    <a:pt x="63" y="91"/>
                  </a:lnTo>
                  <a:lnTo>
                    <a:pt x="63" y="93"/>
                  </a:lnTo>
                  <a:close/>
                  <a:moveTo>
                    <a:pt x="650" y="91"/>
                  </a:moveTo>
                  <a:lnTo>
                    <a:pt x="652" y="91"/>
                  </a:lnTo>
                  <a:lnTo>
                    <a:pt x="650" y="93"/>
                  </a:lnTo>
                  <a:lnTo>
                    <a:pt x="650" y="91"/>
                  </a:lnTo>
                  <a:lnTo>
                    <a:pt x="650" y="93"/>
                  </a:lnTo>
                  <a:lnTo>
                    <a:pt x="650" y="91"/>
                  </a:lnTo>
                  <a:close/>
                  <a:moveTo>
                    <a:pt x="57" y="91"/>
                  </a:moveTo>
                  <a:lnTo>
                    <a:pt x="58" y="91"/>
                  </a:lnTo>
                  <a:lnTo>
                    <a:pt x="57" y="91"/>
                  </a:lnTo>
                  <a:close/>
                  <a:moveTo>
                    <a:pt x="61" y="91"/>
                  </a:moveTo>
                  <a:lnTo>
                    <a:pt x="63" y="91"/>
                  </a:lnTo>
                  <a:lnTo>
                    <a:pt x="61" y="91"/>
                  </a:lnTo>
                  <a:close/>
                  <a:moveTo>
                    <a:pt x="645" y="91"/>
                  </a:moveTo>
                  <a:lnTo>
                    <a:pt x="644" y="91"/>
                  </a:lnTo>
                  <a:lnTo>
                    <a:pt x="644" y="93"/>
                  </a:lnTo>
                  <a:lnTo>
                    <a:pt x="642" y="93"/>
                  </a:lnTo>
                  <a:lnTo>
                    <a:pt x="642" y="91"/>
                  </a:lnTo>
                  <a:lnTo>
                    <a:pt x="644" y="91"/>
                  </a:lnTo>
                  <a:lnTo>
                    <a:pt x="645" y="91"/>
                  </a:lnTo>
                  <a:close/>
                  <a:moveTo>
                    <a:pt x="653" y="90"/>
                  </a:moveTo>
                  <a:lnTo>
                    <a:pt x="653" y="91"/>
                  </a:lnTo>
                  <a:lnTo>
                    <a:pt x="653" y="90"/>
                  </a:lnTo>
                  <a:close/>
                  <a:moveTo>
                    <a:pt x="655" y="90"/>
                  </a:moveTo>
                  <a:lnTo>
                    <a:pt x="655" y="91"/>
                  </a:lnTo>
                  <a:lnTo>
                    <a:pt x="655" y="90"/>
                  </a:lnTo>
                  <a:close/>
                  <a:moveTo>
                    <a:pt x="91" y="90"/>
                  </a:moveTo>
                  <a:lnTo>
                    <a:pt x="91" y="91"/>
                  </a:lnTo>
                  <a:lnTo>
                    <a:pt x="91" y="90"/>
                  </a:lnTo>
                  <a:close/>
                  <a:moveTo>
                    <a:pt x="97" y="94"/>
                  </a:moveTo>
                  <a:lnTo>
                    <a:pt x="97" y="93"/>
                  </a:lnTo>
                  <a:lnTo>
                    <a:pt x="99" y="90"/>
                  </a:lnTo>
                  <a:lnTo>
                    <a:pt x="99" y="91"/>
                  </a:lnTo>
                  <a:lnTo>
                    <a:pt x="97" y="94"/>
                  </a:lnTo>
                  <a:lnTo>
                    <a:pt x="97" y="96"/>
                  </a:lnTo>
                  <a:lnTo>
                    <a:pt x="97" y="94"/>
                  </a:lnTo>
                  <a:close/>
                  <a:moveTo>
                    <a:pt x="58" y="90"/>
                  </a:moveTo>
                  <a:lnTo>
                    <a:pt x="58" y="91"/>
                  </a:lnTo>
                  <a:lnTo>
                    <a:pt x="58" y="90"/>
                  </a:lnTo>
                  <a:close/>
                  <a:moveTo>
                    <a:pt x="653" y="90"/>
                  </a:moveTo>
                  <a:lnTo>
                    <a:pt x="655" y="90"/>
                  </a:lnTo>
                  <a:lnTo>
                    <a:pt x="653" y="90"/>
                  </a:lnTo>
                  <a:close/>
                  <a:moveTo>
                    <a:pt x="73" y="90"/>
                  </a:moveTo>
                  <a:lnTo>
                    <a:pt x="75" y="90"/>
                  </a:lnTo>
                  <a:lnTo>
                    <a:pt x="73" y="90"/>
                  </a:lnTo>
                  <a:close/>
                  <a:moveTo>
                    <a:pt x="618" y="94"/>
                  </a:moveTo>
                  <a:lnTo>
                    <a:pt x="618" y="91"/>
                  </a:lnTo>
                  <a:lnTo>
                    <a:pt x="619" y="91"/>
                  </a:lnTo>
                  <a:lnTo>
                    <a:pt x="619" y="90"/>
                  </a:lnTo>
                  <a:lnTo>
                    <a:pt x="621" y="90"/>
                  </a:lnTo>
                  <a:lnTo>
                    <a:pt x="623" y="90"/>
                  </a:lnTo>
                  <a:lnTo>
                    <a:pt x="623" y="91"/>
                  </a:lnTo>
                  <a:lnTo>
                    <a:pt x="623" y="93"/>
                  </a:lnTo>
                  <a:lnTo>
                    <a:pt x="623" y="94"/>
                  </a:lnTo>
                  <a:lnTo>
                    <a:pt x="624" y="94"/>
                  </a:lnTo>
                  <a:lnTo>
                    <a:pt x="624" y="96"/>
                  </a:lnTo>
                  <a:lnTo>
                    <a:pt x="623" y="98"/>
                  </a:lnTo>
                  <a:lnTo>
                    <a:pt x="623" y="96"/>
                  </a:lnTo>
                  <a:lnTo>
                    <a:pt x="621" y="96"/>
                  </a:lnTo>
                  <a:lnTo>
                    <a:pt x="621" y="94"/>
                  </a:lnTo>
                  <a:lnTo>
                    <a:pt x="619" y="94"/>
                  </a:lnTo>
                  <a:lnTo>
                    <a:pt x="619" y="93"/>
                  </a:lnTo>
                  <a:lnTo>
                    <a:pt x="619" y="94"/>
                  </a:lnTo>
                  <a:lnTo>
                    <a:pt x="618" y="94"/>
                  </a:lnTo>
                  <a:close/>
                  <a:moveTo>
                    <a:pt x="642" y="88"/>
                  </a:moveTo>
                  <a:lnTo>
                    <a:pt x="644" y="88"/>
                  </a:lnTo>
                  <a:lnTo>
                    <a:pt x="642" y="90"/>
                  </a:lnTo>
                  <a:lnTo>
                    <a:pt x="642" y="88"/>
                  </a:lnTo>
                  <a:close/>
                  <a:moveTo>
                    <a:pt x="640" y="88"/>
                  </a:moveTo>
                  <a:lnTo>
                    <a:pt x="640" y="86"/>
                  </a:lnTo>
                  <a:lnTo>
                    <a:pt x="640" y="88"/>
                  </a:lnTo>
                  <a:close/>
                  <a:moveTo>
                    <a:pt x="660" y="86"/>
                  </a:moveTo>
                  <a:lnTo>
                    <a:pt x="662" y="88"/>
                  </a:lnTo>
                  <a:lnTo>
                    <a:pt x="660" y="88"/>
                  </a:lnTo>
                  <a:lnTo>
                    <a:pt x="660" y="86"/>
                  </a:lnTo>
                  <a:close/>
                  <a:moveTo>
                    <a:pt x="649" y="88"/>
                  </a:moveTo>
                  <a:lnTo>
                    <a:pt x="650" y="86"/>
                  </a:lnTo>
                  <a:lnTo>
                    <a:pt x="652" y="86"/>
                  </a:lnTo>
                  <a:lnTo>
                    <a:pt x="652" y="88"/>
                  </a:lnTo>
                  <a:lnTo>
                    <a:pt x="650" y="88"/>
                  </a:lnTo>
                  <a:lnTo>
                    <a:pt x="652" y="88"/>
                  </a:lnTo>
                  <a:lnTo>
                    <a:pt x="652" y="90"/>
                  </a:lnTo>
                  <a:lnTo>
                    <a:pt x="650" y="90"/>
                  </a:lnTo>
                  <a:lnTo>
                    <a:pt x="650" y="88"/>
                  </a:lnTo>
                  <a:lnTo>
                    <a:pt x="649" y="88"/>
                  </a:lnTo>
                  <a:close/>
                  <a:moveTo>
                    <a:pt x="653" y="86"/>
                  </a:moveTo>
                  <a:lnTo>
                    <a:pt x="653" y="88"/>
                  </a:lnTo>
                  <a:lnTo>
                    <a:pt x="655" y="88"/>
                  </a:lnTo>
                  <a:lnTo>
                    <a:pt x="653" y="90"/>
                  </a:lnTo>
                  <a:lnTo>
                    <a:pt x="652" y="90"/>
                  </a:lnTo>
                  <a:lnTo>
                    <a:pt x="652" y="88"/>
                  </a:lnTo>
                  <a:lnTo>
                    <a:pt x="652" y="86"/>
                  </a:lnTo>
                  <a:lnTo>
                    <a:pt x="653" y="86"/>
                  </a:lnTo>
                  <a:close/>
                  <a:moveTo>
                    <a:pt x="597" y="86"/>
                  </a:moveTo>
                  <a:lnTo>
                    <a:pt x="597" y="88"/>
                  </a:lnTo>
                  <a:lnTo>
                    <a:pt x="597" y="86"/>
                  </a:lnTo>
                  <a:close/>
                  <a:moveTo>
                    <a:pt x="110" y="86"/>
                  </a:moveTo>
                  <a:lnTo>
                    <a:pt x="109" y="86"/>
                  </a:lnTo>
                  <a:lnTo>
                    <a:pt x="110" y="86"/>
                  </a:lnTo>
                  <a:close/>
                  <a:moveTo>
                    <a:pt x="109" y="94"/>
                  </a:moveTo>
                  <a:lnTo>
                    <a:pt x="107" y="94"/>
                  </a:lnTo>
                  <a:lnTo>
                    <a:pt x="105" y="98"/>
                  </a:lnTo>
                  <a:lnTo>
                    <a:pt x="104" y="98"/>
                  </a:lnTo>
                  <a:lnTo>
                    <a:pt x="102" y="98"/>
                  </a:lnTo>
                  <a:lnTo>
                    <a:pt x="101" y="96"/>
                  </a:lnTo>
                  <a:lnTo>
                    <a:pt x="101" y="94"/>
                  </a:lnTo>
                  <a:lnTo>
                    <a:pt x="101" y="93"/>
                  </a:lnTo>
                  <a:lnTo>
                    <a:pt x="102" y="93"/>
                  </a:lnTo>
                  <a:lnTo>
                    <a:pt x="104" y="91"/>
                  </a:lnTo>
                  <a:lnTo>
                    <a:pt x="104" y="90"/>
                  </a:lnTo>
                  <a:lnTo>
                    <a:pt x="105" y="90"/>
                  </a:lnTo>
                  <a:lnTo>
                    <a:pt x="105" y="88"/>
                  </a:lnTo>
                  <a:lnTo>
                    <a:pt x="107" y="88"/>
                  </a:lnTo>
                  <a:lnTo>
                    <a:pt x="107" y="86"/>
                  </a:lnTo>
                  <a:lnTo>
                    <a:pt x="109" y="86"/>
                  </a:lnTo>
                  <a:lnTo>
                    <a:pt x="109" y="90"/>
                  </a:lnTo>
                  <a:lnTo>
                    <a:pt x="109" y="91"/>
                  </a:lnTo>
                  <a:lnTo>
                    <a:pt x="110" y="93"/>
                  </a:lnTo>
                  <a:lnTo>
                    <a:pt x="110" y="94"/>
                  </a:lnTo>
                  <a:lnTo>
                    <a:pt x="109" y="94"/>
                  </a:lnTo>
                  <a:close/>
                  <a:moveTo>
                    <a:pt x="66" y="86"/>
                  </a:moveTo>
                  <a:lnTo>
                    <a:pt x="66" y="88"/>
                  </a:lnTo>
                  <a:lnTo>
                    <a:pt x="68" y="88"/>
                  </a:lnTo>
                  <a:lnTo>
                    <a:pt x="68" y="86"/>
                  </a:lnTo>
                  <a:lnTo>
                    <a:pt x="68" y="88"/>
                  </a:lnTo>
                  <a:lnTo>
                    <a:pt x="70" y="88"/>
                  </a:lnTo>
                  <a:lnTo>
                    <a:pt x="68" y="90"/>
                  </a:lnTo>
                  <a:lnTo>
                    <a:pt x="66" y="88"/>
                  </a:lnTo>
                  <a:lnTo>
                    <a:pt x="65" y="88"/>
                  </a:lnTo>
                  <a:lnTo>
                    <a:pt x="65" y="86"/>
                  </a:lnTo>
                  <a:lnTo>
                    <a:pt x="63" y="86"/>
                  </a:lnTo>
                  <a:lnTo>
                    <a:pt x="65" y="85"/>
                  </a:lnTo>
                  <a:lnTo>
                    <a:pt x="66" y="85"/>
                  </a:lnTo>
                  <a:lnTo>
                    <a:pt x="66" y="86"/>
                  </a:lnTo>
                  <a:close/>
                  <a:moveTo>
                    <a:pt x="60" y="85"/>
                  </a:moveTo>
                  <a:lnTo>
                    <a:pt x="61" y="83"/>
                  </a:lnTo>
                  <a:lnTo>
                    <a:pt x="61" y="85"/>
                  </a:lnTo>
                  <a:lnTo>
                    <a:pt x="60" y="85"/>
                  </a:lnTo>
                  <a:close/>
                  <a:moveTo>
                    <a:pt x="611" y="83"/>
                  </a:moveTo>
                  <a:lnTo>
                    <a:pt x="611" y="85"/>
                  </a:lnTo>
                  <a:lnTo>
                    <a:pt x="611" y="83"/>
                  </a:lnTo>
                  <a:close/>
                  <a:moveTo>
                    <a:pt x="61" y="83"/>
                  </a:moveTo>
                  <a:lnTo>
                    <a:pt x="65" y="83"/>
                  </a:lnTo>
                  <a:lnTo>
                    <a:pt x="63" y="85"/>
                  </a:lnTo>
                  <a:lnTo>
                    <a:pt x="63" y="86"/>
                  </a:lnTo>
                  <a:lnTo>
                    <a:pt x="61" y="86"/>
                  </a:lnTo>
                  <a:lnTo>
                    <a:pt x="61" y="85"/>
                  </a:lnTo>
                  <a:lnTo>
                    <a:pt x="61" y="83"/>
                  </a:lnTo>
                  <a:close/>
                  <a:moveTo>
                    <a:pt x="60" y="83"/>
                  </a:moveTo>
                  <a:lnTo>
                    <a:pt x="61" y="83"/>
                  </a:lnTo>
                  <a:lnTo>
                    <a:pt x="60" y="83"/>
                  </a:lnTo>
                  <a:close/>
                  <a:moveTo>
                    <a:pt x="65" y="81"/>
                  </a:moveTo>
                  <a:lnTo>
                    <a:pt x="66" y="81"/>
                  </a:lnTo>
                  <a:lnTo>
                    <a:pt x="65" y="81"/>
                  </a:lnTo>
                  <a:close/>
                  <a:moveTo>
                    <a:pt x="653" y="81"/>
                  </a:moveTo>
                  <a:lnTo>
                    <a:pt x="655" y="81"/>
                  </a:lnTo>
                  <a:lnTo>
                    <a:pt x="653" y="81"/>
                  </a:lnTo>
                  <a:close/>
                  <a:moveTo>
                    <a:pt x="75" y="81"/>
                  </a:moveTo>
                  <a:lnTo>
                    <a:pt x="76" y="80"/>
                  </a:lnTo>
                  <a:lnTo>
                    <a:pt x="76" y="81"/>
                  </a:lnTo>
                  <a:lnTo>
                    <a:pt x="75" y="81"/>
                  </a:lnTo>
                  <a:close/>
                  <a:moveTo>
                    <a:pt x="65" y="81"/>
                  </a:moveTo>
                  <a:lnTo>
                    <a:pt x="65" y="83"/>
                  </a:lnTo>
                  <a:lnTo>
                    <a:pt x="63" y="83"/>
                  </a:lnTo>
                  <a:lnTo>
                    <a:pt x="61" y="83"/>
                  </a:lnTo>
                  <a:lnTo>
                    <a:pt x="61" y="81"/>
                  </a:lnTo>
                  <a:lnTo>
                    <a:pt x="63" y="81"/>
                  </a:lnTo>
                  <a:lnTo>
                    <a:pt x="63" y="80"/>
                  </a:lnTo>
                  <a:lnTo>
                    <a:pt x="65" y="80"/>
                  </a:lnTo>
                  <a:lnTo>
                    <a:pt x="66" y="80"/>
                  </a:lnTo>
                  <a:lnTo>
                    <a:pt x="65" y="81"/>
                  </a:lnTo>
                  <a:lnTo>
                    <a:pt x="66" y="81"/>
                  </a:lnTo>
                  <a:lnTo>
                    <a:pt x="65" y="81"/>
                  </a:lnTo>
                  <a:close/>
                  <a:moveTo>
                    <a:pt x="63" y="80"/>
                  </a:moveTo>
                  <a:lnTo>
                    <a:pt x="63" y="78"/>
                  </a:lnTo>
                  <a:lnTo>
                    <a:pt x="63" y="80"/>
                  </a:lnTo>
                  <a:lnTo>
                    <a:pt x="61" y="80"/>
                  </a:lnTo>
                  <a:lnTo>
                    <a:pt x="63" y="80"/>
                  </a:lnTo>
                  <a:close/>
                  <a:moveTo>
                    <a:pt x="71" y="80"/>
                  </a:moveTo>
                  <a:lnTo>
                    <a:pt x="73" y="80"/>
                  </a:lnTo>
                  <a:lnTo>
                    <a:pt x="71" y="80"/>
                  </a:lnTo>
                  <a:lnTo>
                    <a:pt x="71" y="78"/>
                  </a:lnTo>
                  <a:lnTo>
                    <a:pt x="71" y="80"/>
                  </a:lnTo>
                  <a:close/>
                  <a:moveTo>
                    <a:pt x="53" y="80"/>
                  </a:moveTo>
                  <a:lnTo>
                    <a:pt x="53" y="78"/>
                  </a:lnTo>
                  <a:lnTo>
                    <a:pt x="53" y="80"/>
                  </a:lnTo>
                  <a:close/>
                  <a:moveTo>
                    <a:pt x="53" y="78"/>
                  </a:moveTo>
                  <a:lnTo>
                    <a:pt x="53" y="80"/>
                  </a:lnTo>
                  <a:lnTo>
                    <a:pt x="53" y="78"/>
                  </a:lnTo>
                  <a:close/>
                  <a:moveTo>
                    <a:pt x="650" y="85"/>
                  </a:moveTo>
                  <a:lnTo>
                    <a:pt x="650" y="86"/>
                  </a:lnTo>
                  <a:lnTo>
                    <a:pt x="650" y="85"/>
                  </a:lnTo>
                  <a:lnTo>
                    <a:pt x="650" y="86"/>
                  </a:lnTo>
                  <a:lnTo>
                    <a:pt x="649" y="88"/>
                  </a:lnTo>
                  <a:lnTo>
                    <a:pt x="647" y="88"/>
                  </a:lnTo>
                  <a:lnTo>
                    <a:pt x="647" y="86"/>
                  </a:lnTo>
                  <a:lnTo>
                    <a:pt x="647" y="85"/>
                  </a:lnTo>
                  <a:lnTo>
                    <a:pt x="647" y="88"/>
                  </a:lnTo>
                  <a:lnTo>
                    <a:pt x="645" y="88"/>
                  </a:lnTo>
                  <a:lnTo>
                    <a:pt x="644" y="86"/>
                  </a:lnTo>
                  <a:lnTo>
                    <a:pt x="642" y="86"/>
                  </a:lnTo>
                  <a:lnTo>
                    <a:pt x="640" y="86"/>
                  </a:lnTo>
                  <a:lnTo>
                    <a:pt x="640" y="85"/>
                  </a:lnTo>
                  <a:lnTo>
                    <a:pt x="640" y="86"/>
                  </a:lnTo>
                  <a:lnTo>
                    <a:pt x="640" y="85"/>
                  </a:lnTo>
                  <a:lnTo>
                    <a:pt x="640" y="86"/>
                  </a:lnTo>
                  <a:lnTo>
                    <a:pt x="640" y="85"/>
                  </a:lnTo>
                  <a:lnTo>
                    <a:pt x="639" y="85"/>
                  </a:lnTo>
                  <a:lnTo>
                    <a:pt x="639" y="86"/>
                  </a:lnTo>
                  <a:lnTo>
                    <a:pt x="639" y="85"/>
                  </a:lnTo>
                  <a:lnTo>
                    <a:pt x="640" y="85"/>
                  </a:lnTo>
                  <a:lnTo>
                    <a:pt x="639" y="85"/>
                  </a:lnTo>
                  <a:lnTo>
                    <a:pt x="640" y="83"/>
                  </a:lnTo>
                  <a:lnTo>
                    <a:pt x="639" y="83"/>
                  </a:lnTo>
                  <a:lnTo>
                    <a:pt x="639" y="85"/>
                  </a:lnTo>
                  <a:lnTo>
                    <a:pt x="639" y="83"/>
                  </a:lnTo>
                  <a:lnTo>
                    <a:pt x="639" y="81"/>
                  </a:lnTo>
                  <a:lnTo>
                    <a:pt x="640" y="81"/>
                  </a:lnTo>
                  <a:lnTo>
                    <a:pt x="639" y="81"/>
                  </a:lnTo>
                  <a:lnTo>
                    <a:pt x="640" y="80"/>
                  </a:lnTo>
                  <a:lnTo>
                    <a:pt x="640" y="78"/>
                  </a:lnTo>
                  <a:lnTo>
                    <a:pt x="642" y="78"/>
                  </a:lnTo>
                  <a:lnTo>
                    <a:pt x="644" y="78"/>
                  </a:lnTo>
                  <a:lnTo>
                    <a:pt x="644" y="80"/>
                  </a:lnTo>
                  <a:lnTo>
                    <a:pt x="645" y="81"/>
                  </a:lnTo>
                  <a:lnTo>
                    <a:pt x="647" y="81"/>
                  </a:lnTo>
                  <a:lnTo>
                    <a:pt x="645" y="83"/>
                  </a:lnTo>
                  <a:lnTo>
                    <a:pt x="647" y="83"/>
                  </a:lnTo>
                  <a:lnTo>
                    <a:pt x="649" y="83"/>
                  </a:lnTo>
                  <a:lnTo>
                    <a:pt x="649" y="85"/>
                  </a:lnTo>
                  <a:lnTo>
                    <a:pt x="650" y="85"/>
                  </a:lnTo>
                  <a:close/>
                  <a:moveTo>
                    <a:pt x="65" y="78"/>
                  </a:moveTo>
                  <a:lnTo>
                    <a:pt x="66" y="78"/>
                  </a:lnTo>
                  <a:lnTo>
                    <a:pt x="65" y="78"/>
                  </a:lnTo>
                  <a:close/>
                  <a:moveTo>
                    <a:pt x="52" y="78"/>
                  </a:moveTo>
                  <a:lnTo>
                    <a:pt x="53" y="78"/>
                  </a:lnTo>
                  <a:lnTo>
                    <a:pt x="52" y="78"/>
                  </a:lnTo>
                  <a:close/>
                  <a:moveTo>
                    <a:pt x="57" y="78"/>
                  </a:moveTo>
                  <a:lnTo>
                    <a:pt x="58" y="78"/>
                  </a:lnTo>
                  <a:lnTo>
                    <a:pt x="57" y="78"/>
                  </a:lnTo>
                  <a:close/>
                  <a:moveTo>
                    <a:pt x="57" y="77"/>
                  </a:moveTo>
                  <a:lnTo>
                    <a:pt x="57" y="78"/>
                  </a:lnTo>
                  <a:lnTo>
                    <a:pt x="57" y="77"/>
                  </a:lnTo>
                  <a:close/>
                  <a:moveTo>
                    <a:pt x="50" y="78"/>
                  </a:moveTo>
                  <a:lnTo>
                    <a:pt x="50" y="77"/>
                  </a:lnTo>
                  <a:lnTo>
                    <a:pt x="52" y="78"/>
                  </a:lnTo>
                  <a:lnTo>
                    <a:pt x="50" y="78"/>
                  </a:lnTo>
                  <a:close/>
                  <a:moveTo>
                    <a:pt x="667" y="78"/>
                  </a:moveTo>
                  <a:lnTo>
                    <a:pt x="667" y="77"/>
                  </a:lnTo>
                  <a:lnTo>
                    <a:pt x="668" y="77"/>
                  </a:lnTo>
                  <a:lnTo>
                    <a:pt x="668" y="78"/>
                  </a:lnTo>
                  <a:lnTo>
                    <a:pt x="667" y="78"/>
                  </a:lnTo>
                  <a:close/>
                  <a:moveTo>
                    <a:pt x="60" y="77"/>
                  </a:moveTo>
                  <a:lnTo>
                    <a:pt x="58" y="77"/>
                  </a:lnTo>
                  <a:lnTo>
                    <a:pt x="60" y="77"/>
                  </a:lnTo>
                  <a:lnTo>
                    <a:pt x="58" y="77"/>
                  </a:lnTo>
                  <a:lnTo>
                    <a:pt x="58" y="75"/>
                  </a:lnTo>
                  <a:lnTo>
                    <a:pt x="60" y="77"/>
                  </a:lnTo>
                  <a:close/>
                  <a:moveTo>
                    <a:pt x="668" y="77"/>
                  </a:moveTo>
                  <a:lnTo>
                    <a:pt x="668" y="75"/>
                  </a:lnTo>
                  <a:lnTo>
                    <a:pt x="668" y="77"/>
                  </a:lnTo>
                  <a:close/>
                  <a:moveTo>
                    <a:pt x="57" y="73"/>
                  </a:moveTo>
                  <a:lnTo>
                    <a:pt x="57" y="75"/>
                  </a:lnTo>
                  <a:lnTo>
                    <a:pt x="55" y="75"/>
                  </a:lnTo>
                  <a:lnTo>
                    <a:pt x="57" y="73"/>
                  </a:lnTo>
                  <a:close/>
                  <a:moveTo>
                    <a:pt x="57" y="73"/>
                  </a:moveTo>
                  <a:lnTo>
                    <a:pt x="58" y="75"/>
                  </a:lnTo>
                  <a:lnTo>
                    <a:pt x="58" y="77"/>
                  </a:lnTo>
                  <a:lnTo>
                    <a:pt x="57" y="77"/>
                  </a:lnTo>
                  <a:lnTo>
                    <a:pt x="57" y="75"/>
                  </a:lnTo>
                  <a:lnTo>
                    <a:pt x="57" y="73"/>
                  </a:lnTo>
                  <a:close/>
                  <a:moveTo>
                    <a:pt x="670" y="75"/>
                  </a:moveTo>
                  <a:lnTo>
                    <a:pt x="668" y="75"/>
                  </a:lnTo>
                  <a:lnTo>
                    <a:pt x="670" y="73"/>
                  </a:lnTo>
                  <a:lnTo>
                    <a:pt x="670" y="75"/>
                  </a:lnTo>
                  <a:close/>
                  <a:moveTo>
                    <a:pt x="53" y="73"/>
                  </a:moveTo>
                  <a:lnTo>
                    <a:pt x="53" y="75"/>
                  </a:lnTo>
                  <a:lnTo>
                    <a:pt x="53" y="73"/>
                  </a:lnTo>
                  <a:close/>
                  <a:moveTo>
                    <a:pt x="53" y="72"/>
                  </a:moveTo>
                  <a:lnTo>
                    <a:pt x="53" y="73"/>
                  </a:lnTo>
                  <a:lnTo>
                    <a:pt x="53" y="72"/>
                  </a:lnTo>
                  <a:close/>
                  <a:moveTo>
                    <a:pt x="81" y="72"/>
                  </a:moveTo>
                  <a:lnTo>
                    <a:pt x="83" y="72"/>
                  </a:lnTo>
                  <a:lnTo>
                    <a:pt x="81" y="72"/>
                  </a:lnTo>
                  <a:close/>
                  <a:moveTo>
                    <a:pt x="48" y="72"/>
                  </a:moveTo>
                  <a:lnTo>
                    <a:pt x="48" y="70"/>
                  </a:lnTo>
                  <a:lnTo>
                    <a:pt x="48" y="72"/>
                  </a:lnTo>
                  <a:close/>
                  <a:moveTo>
                    <a:pt x="671" y="70"/>
                  </a:moveTo>
                  <a:lnTo>
                    <a:pt x="673" y="70"/>
                  </a:lnTo>
                  <a:lnTo>
                    <a:pt x="673" y="72"/>
                  </a:lnTo>
                  <a:lnTo>
                    <a:pt x="671" y="72"/>
                  </a:lnTo>
                  <a:lnTo>
                    <a:pt x="671" y="70"/>
                  </a:lnTo>
                  <a:close/>
                  <a:moveTo>
                    <a:pt x="57" y="70"/>
                  </a:moveTo>
                  <a:lnTo>
                    <a:pt x="57" y="72"/>
                  </a:lnTo>
                  <a:lnTo>
                    <a:pt x="57" y="70"/>
                  </a:lnTo>
                  <a:close/>
                  <a:moveTo>
                    <a:pt x="673" y="70"/>
                  </a:moveTo>
                  <a:lnTo>
                    <a:pt x="673" y="72"/>
                  </a:lnTo>
                  <a:lnTo>
                    <a:pt x="673" y="70"/>
                  </a:lnTo>
                  <a:close/>
                  <a:moveTo>
                    <a:pt x="48" y="72"/>
                  </a:moveTo>
                  <a:lnTo>
                    <a:pt x="48" y="70"/>
                  </a:lnTo>
                  <a:lnTo>
                    <a:pt x="47" y="70"/>
                  </a:lnTo>
                  <a:lnTo>
                    <a:pt x="48" y="70"/>
                  </a:lnTo>
                  <a:lnTo>
                    <a:pt x="48" y="72"/>
                  </a:lnTo>
                  <a:close/>
                  <a:moveTo>
                    <a:pt x="83" y="72"/>
                  </a:moveTo>
                  <a:lnTo>
                    <a:pt x="83" y="70"/>
                  </a:lnTo>
                  <a:lnTo>
                    <a:pt x="83" y="72"/>
                  </a:lnTo>
                  <a:close/>
                  <a:moveTo>
                    <a:pt x="675" y="70"/>
                  </a:moveTo>
                  <a:lnTo>
                    <a:pt x="676" y="70"/>
                  </a:lnTo>
                  <a:lnTo>
                    <a:pt x="675" y="70"/>
                  </a:lnTo>
                  <a:close/>
                  <a:moveTo>
                    <a:pt x="65" y="70"/>
                  </a:moveTo>
                  <a:lnTo>
                    <a:pt x="65" y="68"/>
                  </a:lnTo>
                  <a:lnTo>
                    <a:pt x="66" y="68"/>
                  </a:lnTo>
                  <a:lnTo>
                    <a:pt x="65" y="70"/>
                  </a:lnTo>
                  <a:close/>
                  <a:moveTo>
                    <a:pt x="79" y="70"/>
                  </a:moveTo>
                  <a:lnTo>
                    <a:pt x="81" y="70"/>
                  </a:lnTo>
                  <a:lnTo>
                    <a:pt x="81" y="72"/>
                  </a:lnTo>
                  <a:lnTo>
                    <a:pt x="79" y="72"/>
                  </a:lnTo>
                  <a:lnTo>
                    <a:pt x="78" y="72"/>
                  </a:lnTo>
                  <a:lnTo>
                    <a:pt x="76" y="72"/>
                  </a:lnTo>
                  <a:lnTo>
                    <a:pt x="75" y="72"/>
                  </a:lnTo>
                  <a:lnTo>
                    <a:pt x="75" y="70"/>
                  </a:lnTo>
                  <a:lnTo>
                    <a:pt x="73" y="70"/>
                  </a:lnTo>
                  <a:lnTo>
                    <a:pt x="75" y="70"/>
                  </a:lnTo>
                  <a:lnTo>
                    <a:pt x="75" y="68"/>
                  </a:lnTo>
                  <a:lnTo>
                    <a:pt x="76" y="68"/>
                  </a:lnTo>
                  <a:lnTo>
                    <a:pt x="78" y="70"/>
                  </a:lnTo>
                  <a:lnTo>
                    <a:pt x="79" y="70"/>
                  </a:lnTo>
                  <a:lnTo>
                    <a:pt x="79" y="68"/>
                  </a:lnTo>
                  <a:lnTo>
                    <a:pt x="81" y="68"/>
                  </a:lnTo>
                  <a:lnTo>
                    <a:pt x="81" y="70"/>
                  </a:lnTo>
                  <a:lnTo>
                    <a:pt x="79" y="70"/>
                  </a:lnTo>
                  <a:close/>
                  <a:moveTo>
                    <a:pt x="76" y="68"/>
                  </a:moveTo>
                  <a:lnTo>
                    <a:pt x="75" y="68"/>
                  </a:lnTo>
                  <a:lnTo>
                    <a:pt x="76" y="68"/>
                  </a:lnTo>
                  <a:close/>
                  <a:moveTo>
                    <a:pt x="47" y="68"/>
                  </a:moveTo>
                  <a:lnTo>
                    <a:pt x="47" y="70"/>
                  </a:lnTo>
                  <a:lnTo>
                    <a:pt x="47" y="68"/>
                  </a:lnTo>
                  <a:close/>
                  <a:moveTo>
                    <a:pt x="68" y="70"/>
                  </a:moveTo>
                  <a:lnTo>
                    <a:pt x="68" y="68"/>
                  </a:lnTo>
                  <a:lnTo>
                    <a:pt x="70" y="68"/>
                  </a:lnTo>
                  <a:lnTo>
                    <a:pt x="70" y="70"/>
                  </a:lnTo>
                  <a:lnTo>
                    <a:pt x="68" y="70"/>
                  </a:lnTo>
                  <a:close/>
                  <a:moveTo>
                    <a:pt x="57" y="68"/>
                  </a:moveTo>
                  <a:lnTo>
                    <a:pt x="57" y="70"/>
                  </a:lnTo>
                  <a:lnTo>
                    <a:pt x="55" y="70"/>
                  </a:lnTo>
                  <a:lnTo>
                    <a:pt x="55" y="68"/>
                  </a:lnTo>
                  <a:lnTo>
                    <a:pt x="55" y="70"/>
                  </a:lnTo>
                  <a:lnTo>
                    <a:pt x="57" y="72"/>
                  </a:lnTo>
                  <a:lnTo>
                    <a:pt x="55" y="72"/>
                  </a:lnTo>
                  <a:lnTo>
                    <a:pt x="55" y="70"/>
                  </a:lnTo>
                  <a:lnTo>
                    <a:pt x="55" y="68"/>
                  </a:lnTo>
                  <a:lnTo>
                    <a:pt x="57" y="68"/>
                  </a:lnTo>
                  <a:close/>
                  <a:moveTo>
                    <a:pt x="66" y="72"/>
                  </a:moveTo>
                  <a:lnTo>
                    <a:pt x="66" y="73"/>
                  </a:lnTo>
                  <a:lnTo>
                    <a:pt x="65" y="73"/>
                  </a:lnTo>
                  <a:lnTo>
                    <a:pt x="65" y="75"/>
                  </a:lnTo>
                  <a:lnTo>
                    <a:pt x="65" y="73"/>
                  </a:lnTo>
                  <a:lnTo>
                    <a:pt x="65" y="75"/>
                  </a:lnTo>
                  <a:lnTo>
                    <a:pt x="63" y="75"/>
                  </a:lnTo>
                  <a:lnTo>
                    <a:pt x="63" y="73"/>
                  </a:lnTo>
                  <a:lnTo>
                    <a:pt x="61" y="73"/>
                  </a:lnTo>
                  <a:lnTo>
                    <a:pt x="61" y="72"/>
                  </a:lnTo>
                  <a:lnTo>
                    <a:pt x="60" y="70"/>
                  </a:lnTo>
                  <a:lnTo>
                    <a:pt x="60" y="72"/>
                  </a:lnTo>
                  <a:lnTo>
                    <a:pt x="60" y="73"/>
                  </a:lnTo>
                  <a:lnTo>
                    <a:pt x="58" y="73"/>
                  </a:lnTo>
                  <a:lnTo>
                    <a:pt x="57" y="73"/>
                  </a:lnTo>
                  <a:lnTo>
                    <a:pt x="57" y="72"/>
                  </a:lnTo>
                  <a:lnTo>
                    <a:pt x="58" y="72"/>
                  </a:lnTo>
                  <a:lnTo>
                    <a:pt x="57" y="72"/>
                  </a:lnTo>
                  <a:lnTo>
                    <a:pt x="57" y="70"/>
                  </a:lnTo>
                  <a:lnTo>
                    <a:pt x="57" y="68"/>
                  </a:lnTo>
                  <a:lnTo>
                    <a:pt x="58" y="68"/>
                  </a:lnTo>
                  <a:lnTo>
                    <a:pt x="60" y="68"/>
                  </a:lnTo>
                  <a:lnTo>
                    <a:pt x="61" y="68"/>
                  </a:lnTo>
                  <a:lnTo>
                    <a:pt x="63" y="68"/>
                  </a:lnTo>
                  <a:lnTo>
                    <a:pt x="63" y="70"/>
                  </a:lnTo>
                  <a:lnTo>
                    <a:pt x="63" y="68"/>
                  </a:lnTo>
                  <a:lnTo>
                    <a:pt x="65" y="70"/>
                  </a:lnTo>
                  <a:lnTo>
                    <a:pt x="66" y="70"/>
                  </a:lnTo>
                  <a:lnTo>
                    <a:pt x="68" y="70"/>
                  </a:lnTo>
                  <a:lnTo>
                    <a:pt x="70" y="70"/>
                  </a:lnTo>
                  <a:lnTo>
                    <a:pt x="70" y="72"/>
                  </a:lnTo>
                  <a:lnTo>
                    <a:pt x="66" y="72"/>
                  </a:lnTo>
                  <a:close/>
                  <a:moveTo>
                    <a:pt x="66" y="68"/>
                  </a:moveTo>
                  <a:lnTo>
                    <a:pt x="66" y="67"/>
                  </a:lnTo>
                  <a:lnTo>
                    <a:pt x="66" y="68"/>
                  </a:lnTo>
                  <a:close/>
                  <a:moveTo>
                    <a:pt x="45" y="68"/>
                  </a:moveTo>
                  <a:lnTo>
                    <a:pt x="47" y="68"/>
                  </a:lnTo>
                  <a:lnTo>
                    <a:pt x="47" y="70"/>
                  </a:lnTo>
                  <a:lnTo>
                    <a:pt x="45" y="70"/>
                  </a:lnTo>
                  <a:lnTo>
                    <a:pt x="45" y="68"/>
                  </a:lnTo>
                  <a:lnTo>
                    <a:pt x="44" y="68"/>
                  </a:lnTo>
                  <a:lnTo>
                    <a:pt x="45" y="68"/>
                  </a:lnTo>
                  <a:lnTo>
                    <a:pt x="44" y="68"/>
                  </a:lnTo>
                  <a:lnTo>
                    <a:pt x="44" y="67"/>
                  </a:lnTo>
                  <a:lnTo>
                    <a:pt x="45" y="68"/>
                  </a:lnTo>
                  <a:close/>
                  <a:moveTo>
                    <a:pt x="42" y="67"/>
                  </a:moveTo>
                  <a:lnTo>
                    <a:pt x="44" y="67"/>
                  </a:lnTo>
                  <a:lnTo>
                    <a:pt x="42" y="68"/>
                  </a:lnTo>
                  <a:lnTo>
                    <a:pt x="42" y="67"/>
                  </a:lnTo>
                  <a:close/>
                  <a:moveTo>
                    <a:pt x="66" y="67"/>
                  </a:moveTo>
                  <a:lnTo>
                    <a:pt x="65" y="67"/>
                  </a:lnTo>
                  <a:lnTo>
                    <a:pt x="66" y="67"/>
                  </a:lnTo>
                  <a:close/>
                  <a:moveTo>
                    <a:pt x="55" y="68"/>
                  </a:moveTo>
                  <a:lnTo>
                    <a:pt x="55" y="70"/>
                  </a:lnTo>
                  <a:lnTo>
                    <a:pt x="53" y="70"/>
                  </a:lnTo>
                  <a:lnTo>
                    <a:pt x="53" y="68"/>
                  </a:lnTo>
                  <a:lnTo>
                    <a:pt x="53" y="67"/>
                  </a:lnTo>
                  <a:lnTo>
                    <a:pt x="55" y="67"/>
                  </a:lnTo>
                  <a:lnTo>
                    <a:pt x="55" y="68"/>
                  </a:lnTo>
                  <a:close/>
                  <a:moveTo>
                    <a:pt x="52" y="67"/>
                  </a:moveTo>
                  <a:lnTo>
                    <a:pt x="50" y="67"/>
                  </a:lnTo>
                  <a:lnTo>
                    <a:pt x="52" y="65"/>
                  </a:lnTo>
                  <a:lnTo>
                    <a:pt x="52" y="67"/>
                  </a:lnTo>
                  <a:close/>
                  <a:moveTo>
                    <a:pt x="44" y="67"/>
                  </a:moveTo>
                  <a:lnTo>
                    <a:pt x="44" y="65"/>
                  </a:lnTo>
                  <a:lnTo>
                    <a:pt x="44" y="67"/>
                  </a:lnTo>
                  <a:close/>
                  <a:moveTo>
                    <a:pt x="58" y="65"/>
                  </a:moveTo>
                  <a:lnTo>
                    <a:pt x="57" y="65"/>
                  </a:lnTo>
                  <a:lnTo>
                    <a:pt x="58" y="65"/>
                  </a:lnTo>
                  <a:close/>
                  <a:moveTo>
                    <a:pt x="600" y="65"/>
                  </a:moveTo>
                  <a:lnTo>
                    <a:pt x="601" y="64"/>
                  </a:lnTo>
                  <a:lnTo>
                    <a:pt x="601" y="65"/>
                  </a:lnTo>
                  <a:lnTo>
                    <a:pt x="600" y="65"/>
                  </a:lnTo>
                  <a:close/>
                  <a:moveTo>
                    <a:pt x="44" y="65"/>
                  </a:moveTo>
                  <a:lnTo>
                    <a:pt x="44" y="64"/>
                  </a:lnTo>
                  <a:lnTo>
                    <a:pt x="44" y="65"/>
                  </a:lnTo>
                  <a:close/>
                  <a:moveTo>
                    <a:pt x="52" y="64"/>
                  </a:moveTo>
                  <a:lnTo>
                    <a:pt x="53" y="64"/>
                  </a:lnTo>
                  <a:lnTo>
                    <a:pt x="53" y="65"/>
                  </a:lnTo>
                  <a:lnTo>
                    <a:pt x="52" y="65"/>
                  </a:lnTo>
                  <a:lnTo>
                    <a:pt x="50" y="65"/>
                  </a:lnTo>
                  <a:lnTo>
                    <a:pt x="50" y="67"/>
                  </a:lnTo>
                  <a:lnTo>
                    <a:pt x="52" y="68"/>
                  </a:lnTo>
                  <a:lnTo>
                    <a:pt x="52" y="67"/>
                  </a:lnTo>
                  <a:lnTo>
                    <a:pt x="53" y="67"/>
                  </a:lnTo>
                  <a:lnTo>
                    <a:pt x="53" y="68"/>
                  </a:lnTo>
                  <a:lnTo>
                    <a:pt x="53" y="70"/>
                  </a:lnTo>
                  <a:lnTo>
                    <a:pt x="53" y="72"/>
                  </a:lnTo>
                  <a:lnTo>
                    <a:pt x="53" y="73"/>
                  </a:lnTo>
                  <a:lnTo>
                    <a:pt x="53" y="75"/>
                  </a:lnTo>
                  <a:lnTo>
                    <a:pt x="52" y="75"/>
                  </a:lnTo>
                  <a:lnTo>
                    <a:pt x="52" y="73"/>
                  </a:lnTo>
                  <a:lnTo>
                    <a:pt x="50" y="73"/>
                  </a:lnTo>
                  <a:lnTo>
                    <a:pt x="50" y="72"/>
                  </a:lnTo>
                  <a:lnTo>
                    <a:pt x="50" y="70"/>
                  </a:lnTo>
                  <a:lnTo>
                    <a:pt x="50" y="72"/>
                  </a:lnTo>
                  <a:lnTo>
                    <a:pt x="48" y="72"/>
                  </a:lnTo>
                  <a:lnTo>
                    <a:pt x="48" y="70"/>
                  </a:lnTo>
                  <a:lnTo>
                    <a:pt x="50" y="70"/>
                  </a:lnTo>
                  <a:lnTo>
                    <a:pt x="48" y="70"/>
                  </a:lnTo>
                  <a:lnTo>
                    <a:pt x="48" y="68"/>
                  </a:lnTo>
                  <a:lnTo>
                    <a:pt x="50" y="68"/>
                  </a:lnTo>
                  <a:lnTo>
                    <a:pt x="50" y="67"/>
                  </a:lnTo>
                  <a:lnTo>
                    <a:pt x="50" y="68"/>
                  </a:lnTo>
                  <a:lnTo>
                    <a:pt x="48" y="68"/>
                  </a:lnTo>
                  <a:lnTo>
                    <a:pt x="48" y="67"/>
                  </a:lnTo>
                  <a:lnTo>
                    <a:pt x="48" y="65"/>
                  </a:lnTo>
                  <a:lnTo>
                    <a:pt x="48" y="64"/>
                  </a:lnTo>
                  <a:lnTo>
                    <a:pt x="48" y="65"/>
                  </a:lnTo>
                  <a:lnTo>
                    <a:pt x="48" y="64"/>
                  </a:lnTo>
                  <a:lnTo>
                    <a:pt x="48" y="65"/>
                  </a:lnTo>
                  <a:lnTo>
                    <a:pt x="47" y="64"/>
                  </a:lnTo>
                  <a:lnTo>
                    <a:pt x="48" y="64"/>
                  </a:lnTo>
                  <a:lnTo>
                    <a:pt x="50" y="64"/>
                  </a:lnTo>
                  <a:lnTo>
                    <a:pt x="52" y="64"/>
                  </a:lnTo>
                  <a:close/>
                  <a:moveTo>
                    <a:pt x="45" y="64"/>
                  </a:moveTo>
                  <a:lnTo>
                    <a:pt x="47" y="65"/>
                  </a:lnTo>
                  <a:lnTo>
                    <a:pt x="47" y="67"/>
                  </a:lnTo>
                  <a:lnTo>
                    <a:pt x="48" y="68"/>
                  </a:lnTo>
                  <a:lnTo>
                    <a:pt x="47" y="68"/>
                  </a:lnTo>
                  <a:lnTo>
                    <a:pt x="47" y="70"/>
                  </a:lnTo>
                  <a:lnTo>
                    <a:pt x="47" y="68"/>
                  </a:lnTo>
                  <a:lnTo>
                    <a:pt x="45" y="68"/>
                  </a:lnTo>
                  <a:lnTo>
                    <a:pt x="45" y="67"/>
                  </a:lnTo>
                  <a:lnTo>
                    <a:pt x="44" y="67"/>
                  </a:lnTo>
                  <a:lnTo>
                    <a:pt x="44" y="65"/>
                  </a:lnTo>
                  <a:lnTo>
                    <a:pt x="44" y="64"/>
                  </a:lnTo>
                  <a:lnTo>
                    <a:pt x="45" y="64"/>
                  </a:lnTo>
                  <a:close/>
                  <a:moveTo>
                    <a:pt x="58" y="64"/>
                  </a:moveTo>
                  <a:lnTo>
                    <a:pt x="58" y="65"/>
                  </a:lnTo>
                  <a:lnTo>
                    <a:pt x="58" y="64"/>
                  </a:lnTo>
                  <a:lnTo>
                    <a:pt x="57" y="64"/>
                  </a:lnTo>
                  <a:lnTo>
                    <a:pt x="58" y="64"/>
                  </a:lnTo>
                  <a:close/>
                  <a:moveTo>
                    <a:pt x="683" y="62"/>
                  </a:moveTo>
                  <a:lnTo>
                    <a:pt x="683" y="64"/>
                  </a:lnTo>
                  <a:lnTo>
                    <a:pt x="683" y="62"/>
                  </a:lnTo>
                  <a:close/>
                  <a:moveTo>
                    <a:pt x="65" y="64"/>
                  </a:moveTo>
                  <a:lnTo>
                    <a:pt x="66" y="64"/>
                  </a:lnTo>
                  <a:lnTo>
                    <a:pt x="66" y="65"/>
                  </a:lnTo>
                  <a:lnTo>
                    <a:pt x="65" y="65"/>
                  </a:lnTo>
                  <a:lnTo>
                    <a:pt x="65" y="67"/>
                  </a:lnTo>
                  <a:lnTo>
                    <a:pt x="63" y="65"/>
                  </a:lnTo>
                  <a:lnTo>
                    <a:pt x="61" y="65"/>
                  </a:lnTo>
                  <a:lnTo>
                    <a:pt x="61" y="67"/>
                  </a:lnTo>
                  <a:lnTo>
                    <a:pt x="60" y="67"/>
                  </a:lnTo>
                  <a:lnTo>
                    <a:pt x="58" y="65"/>
                  </a:lnTo>
                  <a:lnTo>
                    <a:pt x="58" y="64"/>
                  </a:lnTo>
                  <a:lnTo>
                    <a:pt x="60" y="62"/>
                  </a:lnTo>
                  <a:lnTo>
                    <a:pt x="61" y="62"/>
                  </a:lnTo>
                  <a:lnTo>
                    <a:pt x="63" y="62"/>
                  </a:lnTo>
                  <a:lnTo>
                    <a:pt x="65" y="64"/>
                  </a:lnTo>
                  <a:lnTo>
                    <a:pt x="66" y="64"/>
                  </a:lnTo>
                  <a:lnTo>
                    <a:pt x="65" y="64"/>
                  </a:lnTo>
                  <a:close/>
                  <a:moveTo>
                    <a:pt x="44" y="62"/>
                  </a:moveTo>
                  <a:lnTo>
                    <a:pt x="44" y="64"/>
                  </a:lnTo>
                  <a:lnTo>
                    <a:pt x="42" y="64"/>
                  </a:lnTo>
                  <a:lnTo>
                    <a:pt x="44" y="64"/>
                  </a:lnTo>
                  <a:lnTo>
                    <a:pt x="44" y="62"/>
                  </a:lnTo>
                  <a:close/>
                  <a:moveTo>
                    <a:pt x="50" y="64"/>
                  </a:moveTo>
                  <a:lnTo>
                    <a:pt x="50" y="62"/>
                  </a:lnTo>
                  <a:lnTo>
                    <a:pt x="50" y="64"/>
                  </a:lnTo>
                  <a:lnTo>
                    <a:pt x="48" y="62"/>
                  </a:lnTo>
                  <a:lnTo>
                    <a:pt x="50" y="62"/>
                  </a:lnTo>
                  <a:lnTo>
                    <a:pt x="50" y="60"/>
                  </a:lnTo>
                  <a:lnTo>
                    <a:pt x="52" y="64"/>
                  </a:lnTo>
                  <a:lnTo>
                    <a:pt x="50" y="64"/>
                  </a:lnTo>
                  <a:close/>
                  <a:moveTo>
                    <a:pt x="683" y="60"/>
                  </a:moveTo>
                  <a:lnTo>
                    <a:pt x="683" y="62"/>
                  </a:lnTo>
                  <a:lnTo>
                    <a:pt x="683" y="60"/>
                  </a:lnTo>
                  <a:close/>
                  <a:moveTo>
                    <a:pt x="47" y="64"/>
                  </a:moveTo>
                  <a:lnTo>
                    <a:pt x="47" y="62"/>
                  </a:lnTo>
                  <a:lnTo>
                    <a:pt x="47" y="60"/>
                  </a:lnTo>
                  <a:lnTo>
                    <a:pt x="48" y="60"/>
                  </a:lnTo>
                  <a:lnTo>
                    <a:pt x="48" y="62"/>
                  </a:lnTo>
                  <a:lnTo>
                    <a:pt x="48" y="64"/>
                  </a:lnTo>
                  <a:lnTo>
                    <a:pt x="47" y="64"/>
                  </a:lnTo>
                  <a:close/>
                  <a:moveTo>
                    <a:pt x="45" y="60"/>
                  </a:moveTo>
                  <a:lnTo>
                    <a:pt x="45" y="62"/>
                  </a:lnTo>
                  <a:lnTo>
                    <a:pt x="45" y="60"/>
                  </a:lnTo>
                  <a:close/>
                  <a:moveTo>
                    <a:pt x="70" y="60"/>
                  </a:moveTo>
                  <a:lnTo>
                    <a:pt x="71" y="60"/>
                  </a:lnTo>
                  <a:lnTo>
                    <a:pt x="70" y="60"/>
                  </a:lnTo>
                  <a:close/>
                  <a:moveTo>
                    <a:pt x="53" y="62"/>
                  </a:moveTo>
                  <a:lnTo>
                    <a:pt x="55" y="62"/>
                  </a:lnTo>
                  <a:lnTo>
                    <a:pt x="55" y="64"/>
                  </a:lnTo>
                  <a:lnTo>
                    <a:pt x="55" y="62"/>
                  </a:lnTo>
                  <a:lnTo>
                    <a:pt x="57" y="62"/>
                  </a:lnTo>
                  <a:lnTo>
                    <a:pt x="57" y="64"/>
                  </a:lnTo>
                  <a:lnTo>
                    <a:pt x="55" y="65"/>
                  </a:lnTo>
                  <a:lnTo>
                    <a:pt x="55" y="64"/>
                  </a:lnTo>
                  <a:lnTo>
                    <a:pt x="53" y="64"/>
                  </a:lnTo>
                  <a:lnTo>
                    <a:pt x="52" y="64"/>
                  </a:lnTo>
                  <a:lnTo>
                    <a:pt x="52" y="62"/>
                  </a:lnTo>
                  <a:lnTo>
                    <a:pt x="50" y="62"/>
                  </a:lnTo>
                  <a:lnTo>
                    <a:pt x="50" y="60"/>
                  </a:lnTo>
                  <a:lnTo>
                    <a:pt x="50" y="62"/>
                  </a:lnTo>
                  <a:lnTo>
                    <a:pt x="50" y="60"/>
                  </a:lnTo>
                  <a:lnTo>
                    <a:pt x="48" y="60"/>
                  </a:lnTo>
                  <a:lnTo>
                    <a:pt x="50" y="60"/>
                  </a:lnTo>
                  <a:lnTo>
                    <a:pt x="52" y="60"/>
                  </a:lnTo>
                  <a:lnTo>
                    <a:pt x="52" y="62"/>
                  </a:lnTo>
                  <a:lnTo>
                    <a:pt x="53" y="62"/>
                  </a:lnTo>
                  <a:close/>
                  <a:moveTo>
                    <a:pt x="683" y="59"/>
                  </a:moveTo>
                  <a:lnTo>
                    <a:pt x="683" y="57"/>
                  </a:lnTo>
                  <a:lnTo>
                    <a:pt x="683" y="59"/>
                  </a:lnTo>
                  <a:close/>
                  <a:moveTo>
                    <a:pt x="48" y="57"/>
                  </a:moveTo>
                  <a:lnTo>
                    <a:pt x="47" y="57"/>
                  </a:lnTo>
                  <a:lnTo>
                    <a:pt x="47" y="55"/>
                  </a:lnTo>
                  <a:lnTo>
                    <a:pt x="47" y="57"/>
                  </a:lnTo>
                  <a:lnTo>
                    <a:pt x="48" y="57"/>
                  </a:lnTo>
                  <a:close/>
                  <a:moveTo>
                    <a:pt x="37" y="55"/>
                  </a:moveTo>
                  <a:lnTo>
                    <a:pt x="37" y="54"/>
                  </a:lnTo>
                  <a:lnTo>
                    <a:pt x="39" y="55"/>
                  </a:lnTo>
                  <a:lnTo>
                    <a:pt x="37" y="55"/>
                  </a:lnTo>
                  <a:close/>
                  <a:moveTo>
                    <a:pt x="40" y="54"/>
                  </a:moveTo>
                  <a:lnTo>
                    <a:pt x="40" y="55"/>
                  </a:lnTo>
                  <a:lnTo>
                    <a:pt x="40" y="54"/>
                  </a:lnTo>
                  <a:close/>
                  <a:moveTo>
                    <a:pt x="39" y="55"/>
                  </a:moveTo>
                  <a:lnTo>
                    <a:pt x="39" y="54"/>
                  </a:lnTo>
                  <a:lnTo>
                    <a:pt x="39" y="55"/>
                  </a:lnTo>
                  <a:close/>
                  <a:moveTo>
                    <a:pt x="24" y="54"/>
                  </a:moveTo>
                  <a:lnTo>
                    <a:pt x="24" y="55"/>
                  </a:lnTo>
                  <a:lnTo>
                    <a:pt x="24" y="54"/>
                  </a:lnTo>
                  <a:close/>
                  <a:moveTo>
                    <a:pt x="39" y="55"/>
                  </a:moveTo>
                  <a:lnTo>
                    <a:pt x="39" y="54"/>
                  </a:lnTo>
                  <a:lnTo>
                    <a:pt x="39" y="55"/>
                  </a:lnTo>
                  <a:close/>
                  <a:moveTo>
                    <a:pt x="63" y="54"/>
                  </a:moveTo>
                  <a:lnTo>
                    <a:pt x="63" y="55"/>
                  </a:lnTo>
                  <a:lnTo>
                    <a:pt x="63" y="57"/>
                  </a:lnTo>
                  <a:lnTo>
                    <a:pt x="61" y="57"/>
                  </a:lnTo>
                  <a:lnTo>
                    <a:pt x="61" y="55"/>
                  </a:lnTo>
                  <a:lnTo>
                    <a:pt x="63" y="55"/>
                  </a:lnTo>
                  <a:lnTo>
                    <a:pt x="63" y="54"/>
                  </a:lnTo>
                  <a:close/>
                  <a:moveTo>
                    <a:pt x="686" y="54"/>
                  </a:moveTo>
                  <a:lnTo>
                    <a:pt x="684" y="54"/>
                  </a:lnTo>
                  <a:lnTo>
                    <a:pt x="686" y="54"/>
                  </a:lnTo>
                  <a:close/>
                  <a:moveTo>
                    <a:pt x="47" y="54"/>
                  </a:moveTo>
                  <a:lnTo>
                    <a:pt x="47" y="55"/>
                  </a:lnTo>
                  <a:lnTo>
                    <a:pt x="45" y="55"/>
                  </a:lnTo>
                  <a:lnTo>
                    <a:pt x="45" y="54"/>
                  </a:lnTo>
                  <a:lnTo>
                    <a:pt x="47" y="54"/>
                  </a:lnTo>
                  <a:close/>
                  <a:moveTo>
                    <a:pt x="37" y="54"/>
                  </a:moveTo>
                  <a:lnTo>
                    <a:pt x="39" y="54"/>
                  </a:lnTo>
                  <a:lnTo>
                    <a:pt x="37" y="54"/>
                  </a:lnTo>
                  <a:close/>
                  <a:moveTo>
                    <a:pt x="37" y="54"/>
                  </a:moveTo>
                  <a:lnTo>
                    <a:pt x="39" y="54"/>
                  </a:lnTo>
                  <a:lnTo>
                    <a:pt x="37" y="54"/>
                  </a:lnTo>
                  <a:close/>
                  <a:moveTo>
                    <a:pt x="60" y="54"/>
                  </a:moveTo>
                  <a:lnTo>
                    <a:pt x="61" y="54"/>
                  </a:lnTo>
                  <a:lnTo>
                    <a:pt x="61" y="55"/>
                  </a:lnTo>
                  <a:lnTo>
                    <a:pt x="60" y="55"/>
                  </a:lnTo>
                  <a:lnTo>
                    <a:pt x="60" y="57"/>
                  </a:lnTo>
                  <a:lnTo>
                    <a:pt x="60" y="59"/>
                  </a:lnTo>
                  <a:lnTo>
                    <a:pt x="60" y="57"/>
                  </a:lnTo>
                  <a:lnTo>
                    <a:pt x="60" y="55"/>
                  </a:lnTo>
                  <a:lnTo>
                    <a:pt x="60" y="54"/>
                  </a:lnTo>
                  <a:lnTo>
                    <a:pt x="60" y="55"/>
                  </a:lnTo>
                  <a:lnTo>
                    <a:pt x="60" y="54"/>
                  </a:lnTo>
                  <a:close/>
                  <a:moveTo>
                    <a:pt x="680" y="52"/>
                  </a:moveTo>
                  <a:lnTo>
                    <a:pt x="680" y="54"/>
                  </a:lnTo>
                  <a:lnTo>
                    <a:pt x="681" y="54"/>
                  </a:lnTo>
                  <a:lnTo>
                    <a:pt x="680" y="55"/>
                  </a:lnTo>
                  <a:lnTo>
                    <a:pt x="680" y="54"/>
                  </a:lnTo>
                  <a:lnTo>
                    <a:pt x="678" y="54"/>
                  </a:lnTo>
                  <a:lnTo>
                    <a:pt x="680" y="54"/>
                  </a:lnTo>
                  <a:lnTo>
                    <a:pt x="680" y="52"/>
                  </a:lnTo>
                  <a:close/>
                  <a:moveTo>
                    <a:pt x="61" y="54"/>
                  </a:moveTo>
                  <a:lnTo>
                    <a:pt x="63" y="52"/>
                  </a:lnTo>
                  <a:lnTo>
                    <a:pt x="63" y="54"/>
                  </a:lnTo>
                  <a:lnTo>
                    <a:pt x="61" y="54"/>
                  </a:lnTo>
                  <a:close/>
                  <a:moveTo>
                    <a:pt x="40" y="54"/>
                  </a:moveTo>
                  <a:lnTo>
                    <a:pt x="40" y="52"/>
                  </a:lnTo>
                  <a:lnTo>
                    <a:pt x="40" y="54"/>
                  </a:lnTo>
                  <a:close/>
                  <a:moveTo>
                    <a:pt x="21" y="54"/>
                  </a:moveTo>
                  <a:lnTo>
                    <a:pt x="21" y="52"/>
                  </a:lnTo>
                  <a:lnTo>
                    <a:pt x="21" y="54"/>
                  </a:lnTo>
                  <a:lnTo>
                    <a:pt x="21" y="52"/>
                  </a:lnTo>
                  <a:lnTo>
                    <a:pt x="22" y="54"/>
                  </a:lnTo>
                  <a:lnTo>
                    <a:pt x="21" y="54"/>
                  </a:lnTo>
                  <a:close/>
                  <a:moveTo>
                    <a:pt x="35" y="52"/>
                  </a:moveTo>
                  <a:lnTo>
                    <a:pt x="35" y="54"/>
                  </a:lnTo>
                  <a:lnTo>
                    <a:pt x="35" y="52"/>
                  </a:lnTo>
                  <a:lnTo>
                    <a:pt x="35" y="54"/>
                  </a:lnTo>
                  <a:lnTo>
                    <a:pt x="34" y="54"/>
                  </a:lnTo>
                  <a:lnTo>
                    <a:pt x="34" y="52"/>
                  </a:lnTo>
                  <a:lnTo>
                    <a:pt x="35" y="52"/>
                  </a:lnTo>
                  <a:close/>
                  <a:moveTo>
                    <a:pt x="584" y="52"/>
                  </a:moveTo>
                  <a:lnTo>
                    <a:pt x="585" y="54"/>
                  </a:lnTo>
                  <a:lnTo>
                    <a:pt x="587" y="54"/>
                  </a:lnTo>
                  <a:lnTo>
                    <a:pt x="587" y="55"/>
                  </a:lnTo>
                  <a:lnTo>
                    <a:pt x="588" y="55"/>
                  </a:lnTo>
                  <a:lnTo>
                    <a:pt x="588" y="57"/>
                  </a:lnTo>
                  <a:lnTo>
                    <a:pt x="588" y="59"/>
                  </a:lnTo>
                  <a:lnTo>
                    <a:pt x="588" y="60"/>
                  </a:lnTo>
                  <a:lnTo>
                    <a:pt x="588" y="62"/>
                  </a:lnTo>
                  <a:lnTo>
                    <a:pt x="588" y="64"/>
                  </a:lnTo>
                  <a:lnTo>
                    <a:pt x="588" y="65"/>
                  </a:lnTo>
                  <a:lnTo>
                    <a:pt x="588" y="67"/>
                  </a:lnTo>
                  <a:lnTo>
                    <a:pt x="587" y="67"/>
                  </a:lnTo>
                  <a:lnTo>
                    <a:pt x="585" y="67"/>
                  </a:lnTo>
                  <a:lnTo>
                    <a:pt x="585" y="68"/>
                  </a:lnTo>
                  <a:lnTo>
                    <a:pt x="585" y="70"/>
                  </a:lnTo>
                  <a:lnTo>
                    <a:pt x="587" y="70"/>
                  </a:lnTo>
                  <a:lnTo>
                    <a:pt x="587" y="72"/>
                  </a:lnTo>
                  <a:lnTo>
                    <a:pt x="587" y="73"/>
                  </a:lnTo>
                  <a:lnTo>
                    <a:pt x="588" y="73"/>
                  </a:lnTo>
                  <a:lnTo>
                    <a:pt x="588" y="75"/>
                  </a:lnTo>
                  <a:lnTo>
                    <a:pt x="590" y="75"/>
                  </a:lnTo>
                  <a:lnTo>
                    <a:pt x="588" y="75"/>
                  </a:lnTo>
                  <a:lnTo>
                    <a:pt x="590" y="75"/>
                  </a:lnTo>
                  <a:lnTo>
                    <a:pt x="590" y="77"/>
                  </a:lnTo>
                  <a:lnTo>
                    <a:pt x="590" y="80"/>
                  </a:lnTo>
                  <a:lnTo>
                    <a:pt x="588" y="80"/>
                  </a:lnTo>
                  <a:lnTo>
                    <a:pt x="588" y="81"/>
                  </a:lnTo>
                  <a:lnTo>
                    <a:pt x="588" y="83"/>
                  </a:lnTo>
                  <a:lnTo>
                    <a:pt x="587" y="83"/>
                  </a:lnTo>
                  <a:lnTo>
                    <a:pt x="585" y="83"/>
                  </a:lnTo>
                  <a:lnTo>
                    <a:pt x="584" y="83"/>
                  </a:lnTo>
                  <a:lnTo>
                    <a:pt x="585" y="85"/>
                  </a:lnTo>
                  <a:lnTo>
                    <a:pt x="587" y="85"/>
                  </a:lnTo>
                  <a:lnTo>
                    <a:pt x="588" y="86"/>
                  </a:lnTo>
                  <a:lnTo>
                    <a:pt x="590" y="86"/>
                  </a:lnTo>
                  <a:lnTo>
                    <a:pt x="592" y="88"/>
                  </a:lnTo>
                  <a:lnTo>
                    <a:pt x="592" y="90"/>
                  </a:lnTo>
                  <a:lnTo>
                    <a:pt x="592" y="91"/>
                  </a:lnTo>
                  <a:lnTo>
                    <a:pt x="592" y="93"/>
                  </a:lnTo>
                  <a:lnTo>
                    <a:pt x="592" y="94"/>
                  </a:lnTo>
                  <a:lnTo>
                    <a:pt x="593" y="94"/>
                  </a:lnTo>
                  <a:lnTo>
                    <a:pt x="592" y="94"/>
                  </a:lnTo>
                  <a:lnTo>
                    <a:pt x="592" y="98"/>
                  </a:lnTo>
                  <a:lnTo>
                    <a:pt x="592" y="99"/>
                  </a:lnTo>
                  <a:lnTo>
                    <a:pt x="592" y="101"/>
                  </a:lnTo>
                  <a:lnTo>
                    <a:pt x="590" y="103"/>
                  </a:lnTo>
                  <a:lnTo>
                    <a:pt x="592" y="103"/>
                  </a:lnTo>
                  <a:lnTo>
                    <a:pt x="592" y="104"/>
                  </a:lnTo>
                  <a:lnTo>
                    <a:pt x="590" y="104"/>
                  </a:lnTo>
                  <a:lnTo>
                    <a:pt x="592" y="106"/>
                  </a:lnTo>
                  <a:lnTo>
                    <a:pt x="590" y="106"/>
                  </a:lnTo>
                  <a:lnTo>
                    <a:pt x="590" y="107"/>
                  </a:lnTo>
                  <a:lnTo>
                    <a:pt x="590" y="109"/>
                  </a:lnTo>
                  <a:lnTo>
                    <a:pt x="590" y="111"/>
                  </a:lnTo>
                  <a:lnTo>
                    <a:pt x="588" y="111"/>
                  </a:lnTo>
                  <a:lnTo>
                    <a:pt x="587" y="112"/>
                  </a:lnTo>
                  <a:lnTo>
                    <a:pt x="587" y="114"/>
                  </a:lnTo>
                  <a:lnTo>
                    <a:pt x="585" y="114"/>
                  </a:lnTo>
                  <a:lnTo>
                    <a:pt x="585" y="112"/>
                  </a:lnTo>
                  <a:lnTo>
                    <a:pt x="585" y="114"/>
                  </a:lnTo>
                  <a:lnTo>
                    <a:pt x="585" y="112"/>
                  </a:lnTo>
                  <a:lnTo>
                    <a:pt x="585" y="111"/>
                  </a:lnTo>
                  <a:lnTo>
                    <a:pt x="584" y="111"/>
                  </a:lnTo>
                  <a:lnTo>
                    <a:pt x="584" y="109"/>
                  </a:lnTo>
                  <a:lnTo>
                    <a:pt x="585" y="107"/>
                  </a:lnTo>
                  <a:lnTo>
                    <a:pt x="584" y="107"/>
                  </a:lnTo>
                  <a:lnTo>
                    <a:pt x="585" y="107"/>
                  </a:lnTo>
                  <a:lnTo>
                    <a:pt x="585" y="106"/>
                  </a:lnTo>
                  <a:lnTo>
                    <a:pt x="587" y="104"/>
                  </a:lnTo>
                  <a:lnTo>
                    <a:pt x="587" y="103"/>
                  </a:lnTo>
                  <a:lnTo>
                    <a:pt x="587" y="101"/>
                  </a:lnTo>
                  <a:lnTo>
                    <a:pt x="587" y="99"/>
                  </a:lnTo>
                  <a:lnTo>
                    <a:pt x="585" y="101"/>
                  </a:lnTo>
                  <a:lnTo>
                    <a:pt x="585" y="103"/>
                  </a:lnTo>
                  <a:lnTo>
                    <a:pt x="584" y="104"/>
                  </a:lnTo>
                  <a:lnTo>
                    <a:pt x="584" y="106"/>
                  </a:lnTo>
                  <a:lnTo>
                    <a:pt x="582" y="107"/>
                  </a:lnTo>
                  <a:lnTo>
                    <a:pt x="580" y="107"/>
                  </a:lnTo>
                  <a:lnTo>
                    <a:pt x="579" y="107"/>
                  </a:lnTo>
                  <a:lnTo>
                    <a:pt x="579" y="106"/>
                  </a:lnTo>
                  <a:lnTo>
                    <a:pt x="579" y="104"/>
                  </a:lnTo>
                  <a:lnTo>
                    <a:pt x="579" y="103"/>
                  </a:lnTo>
                  <a:lnTo>
                    <a:pt x="579" y="101"/>
                  </a:lnTo>
                  <a:lnTo>
                    <a:pt x="580" y="99"/>
                  </a:lnTo>
                  <a:lnTo>
                    <a:pt x="580" y="98"/>
                  </a:lnTo>
                  <a:lnTo>
                    <a:pt x="582" y="98"/>
                  </a:lnTo>
                  <a:lnTo>
                    <a:pt x="582" y="96"/>
                  </a:lnTo>
                  <a:lnTo>
                    <a:pt x="584" y="94"/>
                  </a:lnTo>
                  <a:lnTo>
                    <a:pt x="582" y="94"/>
                  </a:lnTo>
                  <a:lnTo>
                    <a:pt x="582" y="93"/>
                  </a:lnTo>
                  <a:lnTo>
                    <a:pt x="580" y="93"/>
                  </a:lnTo>
                  <a:lnTo>
                    <a:pt x="582" y="94"/>
                  </a:lnTo>
                  <a:lnTo>
                    <a:pt x="580" y="96"/>
                  </a:lnTo>
                  <a:lnTo>
                    <a:pt x="579" y="98"/>
                  </a:lnTo>
                  <a:lnTo>
                    <a:pt x="579" y="99"/>
                  </a:lnTo>
                  <a:lnTo>
                    <a:pt x="577" y="99"/>
                  </a:lnTo>
                  <a:lnTo>
                    <a:pt x="577" y="101"/>
                  </a:lnTo>
                  <a:lnTo>
                    <a:pt x="575" y="101"/>
                  </a:lnTo>
                  <a:lnTo>
                    <a:pt x="575" y="99"/>
                  </a:lnTo>
                  <a:lnTo>
                    <a:pt x="574" y="99"/>
                  </a:lnTo>
                  <a:lnTo>
                    <a:pt x="574" y="98"/>
                  </a:lnTo>
                  <a:lnTo>
                    <a:pt x="574" y="96"/>
                  </a:lnTo>
                  <a:lnTo>
                    <a:pt x="572" y="96"/>
                  </a:lnTo>
                  <a:lnTo>
                    <a:pt x="574" y="94"/>
                  </a:lnTo>
                  <a:lnTo>
                    <a:pt x="575" y="94"/>
                  </a:lnTo>
                  <a:lnTo>
                    <a:pt x="574" y="93"/>
                  </a:lnTo>
                  <a:lnTo>
                    <a:pt x="574" y="91"/>
                  </a:lnTo>
                  <a:lnTo>
                    <a:pt x="574" y="90"/>
                  </a:lnTo>
                  <a:lnTo>
                    <a:pt x="574" y="88"/>
                  </a:lnTo>
                  <a:lnTo>
                    <a:pt x="574" y="86"/>
                  </a:lnTo>
                  <a:lnTo>
                    <a:pt x="574" y="85"/>
                  </a:lnTo>
                  <a:lnTo>
                    <a:pt x="575" y="85"/>
                  </a:lnTo>
                  <a:lnTo>
                    <a:pt x="575" y="83"/>
                  </a:lnTo>
                  <a:lnTo>
                    <a:pt x="574" y="85"/>
                  </a:lnTo>
                  <a:lnTo>
                    <a:pt x="575" y="81"/>
                  </a:lnTo>
                  <a:lnTo>
                    <a:pt x="575" y="80"/>
                  </a:lnTo>
                  <a:lnTo>
                    <a:pt x="575" y="78"/>
                  </a:lnTo>
                  <a:lnTo>
                    <a:pt x="575" y="77"/>
                  </a:lnTo>
                  <a:lnTo>
                    <a:pt x="575" y="73"/>
                  </a:lnTo>
                  <a:lnTo>
                    <a:pt x="575" y="72"/>
                  </a:lnTo>
                  <a:lnTo>
                    <a:pt x="575" y="70"/>
                  </a:lnTo>
                  <a:lnTo>
                    <a:pt x="575" y="68"/>
                  </a:lnTo>
                  <a:lnTo>
                    <a:pt x="575" y="67"/>
                  </a:lnTo>
                  <a:lnTo>
                    <a:pt x="575" y="65"/>
                  </a:lnTo>
                  <a:lnTo>
                    <a:pt x="575" y="64"/>
                  </a:lnTo>
                  <a:lnTo>
                    <a:pt x="574" y="64"/>
                  </a:lnTo>
                  <a:lnTo>
                    <a:pt x="574" y="62"/>
                  </a:lnTo>
                  <a:lnTo>
                    <a:pt x="575" y="60"/>
                  </a:lnTo>
                  <a:lnTo>
                    <a:pt x="575" y="57"/>
                  </a:lnTo>
                  <a:lnTo>
                    <a:pt x="575" y="55"/>
                  </a:lnTo>
                  <a:lnTo>
                    <a:pt x="575" y="54"/>
                  </a:lnTo>
                  <a:lnTo>
                    <a:pt x="577" y="54"/>
                  </a:lnTo>
                  <a:lnTo>
                    <a:pt x="577" y="52"/>
                  </a:lnTo>
                  <a:lnTo>
                    <a:pt x="579" y="52"/>
                  </a:lnTo>
                  <a:lnTo>
                    <a:pt x="580" y="52"/>
                  </a:lnTo>
                  <a:lnTo>
                    <a:pt x="582" y="52"/>
                  </a:lnTo>
                  <a:lnTo>
                    <a:pt x="584" y="52"/>
                  </a:lnTo>
                  <a:close/>
                  <a:moveTo>
                    <a:pt x="688" y="52"/>
                  </a:moveTo>
                  <a:lnTo>
                    <a:pt x="689" y="52"/>
                  </a:lnTo>
                  <a:lnTo>
                    <a:pt x="689" y="54"/>
                  </a:lnTo>
                  <a:lnTo>
                    <a:pt x="688" y="52"/>
                  </a:lnTo>
                  <a:close/>
                  <a:moveTo>
                    <a:pt x="45" y="52"/>
                  </a:moveTo>
                  <a:lnTo>
                    <a:pt x="47" y="52"/>
                  </a:lnTo>
                  <a:lnTo>
                    <a:pt x="45" y="52"/>
                  </a:lnTo>
                  <a:close/>
                  <a:moveTo>
                    <a:pt x="637" y="52"/>
                  </a:moveTo>
                  <a:lnTo>
                    <a:pt x="636" y="52"/>
                  </a:lnTo>
                  <a:lnTo>
                    <a:pt x="636" y="51"/>
                  </a:lnTo>
                  <a:lnTo>
                    <a:pt x="637" y="52"/>
                  </a:lnTo>
                  <a:close/>
                  <a:moveTo>
                    <a:pt x="39" y="51"/>
                  </a:moveTo>
                  <a:lnTo>
                    <a:pt x="40" y="52"/>
                  </a:lnTo>
                  <a:lnTo>
                    <a:pt x="39" y="51"/>
                  </a:lnTo>
                  <a:close/>
                  <a:moveTo>
                    <a:pt x="634" y="54"/>
                  </a:moveTo>
                  <a:lnTo>
                    <a:pt x="634" y="52"/>
                  </a:lnTo>
                  <a:lnTo>
                    <a:pt x="634" y="51"/>
                  </a:lnTo>
                  <a:lnTo>
                    <a:pt x="636" y="51"/>
                  </a:lnTo>
                  <a:lnTo>
                    <a:pt x="636" y="54"/>
                  </a:lnTo>
                  <a:lnTo>
                    <a:pt x="636" y="55"/>
                  </a:lnTo>
                  <a:lnTo>
                    <a:pt x="636" y="54"/>
                  </a:lnTo>
                  <a:lnTo>
                    <a:pt x="634" y="54"/>
                  </a:lnTo>
                  <a:close/>
                  <a:moveTo>
                    <a:pt x="35" y="51"/>
                  </a:moveTo>
                  <a:lnTo>
                    <a:pt x="37" y="52"/>
                  </a:lnTo>
                  <a:lnTo>
                    <a:pt x="35" y="52"/>
                  </a:lnTo>
                  <a:lnTo>
                    <a:pt x="35" y="51"/>
                  </a:lnTo>
                  <a:close/>
                  <a:moveTo>
                    <a:pt x="9" y="51"/>
                  </a:moveTo>
                  <a:lnTo>
                    <a:pt x="11" y="51"/>
                  </a:lnTo>
                  <a:lnTo>
                    <a:pt x="9" y="51"/>
                  </a:lnTo>
                  <a:close/>
                  <a:moveTo>
                    <a:pt x="32" y="51"/>
                  </a:moveTo>
                  <a:lnTo>
                    <a:pt x="32" y="52"/>
                  </a:lnTo>
                  <a:lnTo>
                    <a:pt x="32" y="51"/>
                  </a:lnTo>
                  <a:lnTo>
                    <a:pt x="32" y="52"/>
                  </a:lnTo>
                  <a:lnTo>
                    <a:pt x="32" y="54"/>
                  </a:lnTo>
                  <a:lnTo>
                    <a:pt x="32" y="52"/>
                  </a:lnTo>
                  <a:lnTo>
                    <a:pt x="31" y="52"/>
                  </a:lnTo>
                  <a:lnTo>
                    <a:pt x="31" y="51"/>
                  </a:lnTo>
                  <a:lnTo>
                    <a:pt x="32" y="51"/>
                  </a:lnTo>
                  <a:close/>
                  <a:moveTo>
                    <a:pt x="11" y="51"/>
                  </a:moveTo>
                  <a:lnTo>
                    <a:pt x="9" y="51"/>
                  </a:lnTo>
                  <a:lnTo>
                    <a:pt x="11" y="51"/>
                  </a:lnTo>
                  <a:close/>
                  <a:moveTo>
                    <a:pt x="40" y="51"/>
                  </a:moveTo>
                  <a:lnTo>
                    <a:pt x="42" y="51"/>
                  </a:lnTo>
                  <a:lnTo>
                    <a:pt x="40" y="51"/>
                  </a:lnTo>
                  <a:lnTo>
                    <a:pt x="40" y="49"/>
                  </a:lnTo>
                  <a:lnTo>
                    <a:pt x="42" y="51"/>
                  </a:lnTo>
                  <a:lnTo>
                    <a:pt x="40" y="51"/>
                  </a:lnTo>
                  <a:close/>
                  <a:moveTo>
                    <a:pt x="31" y="49"/>
                  </a:moveTo>
                  <a:lnTo>
                    <a:pt x="32" y="51"/>
                  </a:lnTo>
                  <a:lnTo>
                    <a:pt x="31" y="51"/>
                  </a:lnTo>
                  <a:lnTo>
                    <a:pt x="31" y="49"/>
                  </a:lnTo>
                  <a:close/>
                  <a:moveTo>
                    <a:pt x="65" y="51"/>
                  </a:moveTo>
                  <a:lnTo>
                    <a:pt x="66" y="51"/>
                  </a:lnTo>
                  <a:lnTo>
                    <a:pt x="65" y="51"/>
                  </a:lnTo>
                  <a:lnTo>
                    <a:pt x="65" y="52"/>
                  </a:lnTo>
                  <a:lnTo>
                    <a:pt x="63" y="52"/>
                  </a:lnTo>
                  <a:lnTo>
                    <a:pt x="63" y="51"/>
                  </a:lnTo>
                  <a:lnTo>
                    <a:pt x="63" y="49"/>
                  </a:lnTo>
                  <a:lnTo>
                    <a:pt x="65" y="51"/>
                  </a:lnTo>
                  <a:close/>
                  <a:moveTo>
                    <a:pt x="61" y="49"/>
                  </a:moveTo>
                  <a:lnTo>
                    <a:pt x="61" y="51"/>
                  </a:lnTo>
                  <a:lnTo>
                    <a:pt x="63" y="51"/>
                  </a:lnTo>
                  <a:lnTo>
                    <a:pt x="61" y="51"/>
                  </a:lnTo>
                  <a:lnTo>
                    <a:pt x="63" y="51"/>
                  </a:lnTo>
                  <a:lnTo>
                    <a:pt x="61" y="51"/>
                  </a:lnTo>
                  <a:lnTo>
                    <a:pt x="61" y="52"/>
                  </a:lnTo>
                  <a:lnTo>
                    <a:pt x="60" y="52"/>
                  </a:lnTo>
                  <a:lnTo>
                    <a:pt x="60" y="51"/>
                  </a:lnTo>
                  <a:lnTo>
                    <a:pt x="60" y="49"/>
                  </a:lnTo>
                  <a:lnTo>
                    <a:pt x="61" y="49"/>
                  </a:lnTo>
                  <a:close/>
                  <a:moveTo>
                    <a:pt x="32" y="49"/>
                  </a:moveTo>
                  <a:lnTo>
                    <a:pt x="32" y="47"/>
                  </a:lnTo>
                  <a:lnTo>
                    <a:pt x="32" y="49"/>
                  </a:lnTo>
                  <a:close/>
                  <a:moveTo>
                    <a:pt x="34" y="47"/>
                  </a:moveTo>
                  <a:lnTo>
                    <a:pt x="35" y="47"/>
                  </a:lnTo>
                  <a:lnTo>
                    <a:pt x="34" y="47"/>
                  </a:lnTo>
                  <a:close/>
                  <a:moveTo>
                    <a:pt x="26" y="47"/>
                  </a:moveTo>
                  <a:lnTo>
                    <a:pt x="26" y="49"/>
                  </a:lnTo>
                  <a:lnTo>
                    <a:pt x="26" y="47"/>
                  </a:lnTo>
                  <a:close/>
                  <a:moveTo>
                    <a:pt x="34" y="47"/>
                  </a:moveTo>
                  <a:lnTo>
                    <a:pt x="35" y="47"/>
                  </a:lnTo>
                  <a:lnTo>
                    <a:pt x="34" y="47"/>
                  </a:lnTo>
                  <a:close/>
                  <a:moveTo>
                    <a:pt x="35" y="47"/>
                  </a:moveTo>
                  <a:lnTo>
                    <a:pt x="37" y="47"/>
                  </a:lnTo>
                  <a:lnTo>
                    <a:pt x="37" y="49"/>
                  </a:lnTo>
                  <a:lnTo>
                    <a:pt x="39" y="51"/>
                  </a:lnTo>
                  <a:lnTo>
                    <a:pt x="39" y="52"/>
                  </a:lnTo>
                  <a:lnTo>
                    <a:pt x="37" y="52"/>
                  </a:lnTo>
                  <a:lnTo>
                    <a:pt x="39" y="52"/>
                  </a:lnTo>
                  <a:lnTo>
                    <a:pt x="40" y="54"/>
                  </a:lnTo>
                  <a:lnTo>
                    <a:pt x="39" y="54"/>
                  </a:lnTo>
                  <a:lnTo>
                    <a:pt x="37" y="52"/>
                  </a:lnTo>
                  <a:lnTo>
                    <a:pt x="37" y="51"/>
                  </a:lnTo>
                  <a:lnTo>
                    <a:pt x="35" y="51"/>
                  </a:lnTo>
                  <a:lnTo>
                    <a:pt x="35" y="49"/>
                  </a:lnTo>
                  <a:lnTo>
                    <a:pt x="35" y="47"/>
                  </a:lnTo>
                  <a:close/>
                  <a:moveTo>
                    <a:pt x="31" y="46"/>
                  </a:moveTo>
                  <a:lnTo>
                    <a:pt x="31" y="47"/>
                  </a:lnTo>
                  <a:lnTo>
                    <a:pt x="32" y="47"/>
                  </a:lnTo>
                  <a:lnTo>
                    <a:pt x="31" y="47"/>
                  </a:lnTo>
                  <a:lnTo>
                    <a:pt x="31" y="46"/>
                  </a:lnTo>
                  <a:close/>
                  <a:moveTo>
                    <a:pt x="57" y="46"/>
                  </a:moveTo>
                  <a:lnTo>
                    <a:pt x="57" y="47"/>
                  </a:lnTo>
                  <a:lnTo>
                    <a:pt x="57" y="46"/>
                  </a:lnTo>
                  <a:close/>
                  <a:moveTo>
                    <a:pt x="57" y="47"/>
                  </a:moveTo>
                  <a:lnTo>
                    <a:pt x="57" y="46"/>
                  </a:lnTo>
                  <a:lnTo>
                    <a:pt x="57" y="47"/>
                  </a:lnTo>
                  <a:close/>
                  <a:moveTo>
                    <a:pt x="31" y="46"/>
                  </a:moveTo>
                  <a:lnTo>
                    <a:pt x="31" y="47"/>
                  </a:lnTo>
                  <a:lnTo>
                    <a:pt x="31" y="49"/>
                  </a:lnTo>
                  <a:lnTo>
                    <a:pt x="29" y="49"/>
                  </a:lnTo>
                  <a:lnTo>
                    <a:pt x="29" y="47"/>
                  </a:lnTo>
                  <a:lnTo>
                    <a:pt x="31" y="47"/>
                  </a:lnTo>
                  <a:lnTo>
                    <a:pt x="29" y="47"/>
                  </a:lnTo>
                  <a:lnTo>
                    <a:pt x="31" y="47"/>
                  </a:lnTo>
                  <a:lnTo>
                    <a:pt x="31" y="46"/>
                  </a:lnTo>
                  <a:close/>
                  <a:moveTo>
                    <a:pt x="9" y="46"/>
                  </a:moveTo>
                  <a:lnTo>
                    <a:pt x="11" y="46"/>
                  </a:lnTo>
                  <a:lnTo>
                    <a:pt x="9" y="46"/>
                  </a:lnTo>
                  <a:close/>
                  <a:moveTo>
                    <a:pt x="9" y="46"/>
                  </a:moveTo>
                  <a:lnTo>
                    <a:pt x="9" y="47"/>
                  </a:lnTo>
                  <a:lnTo>
                    <a:pt x="9" y="46"/>
                  </a:lnTo>
                  <a:close/>
                  <a:moveTo>
                    <a:pt x="32" y="46"/>
                  </a:moveTo>
                  <a:lnTo>
                    <a:pt x="34" y="46"/>
                  </a:lnTo>
                  <a:lnTo>
                    <a:pt x="32" y="46"/>
                  </a:lnTo>
                  <a:close/>
                  <a:moveTo>
                    <a:pt x="34" y="44"/>
                  </a:moveTo>
                  <a:lnTo>
                    <a:pt x="35" y="44"/>
                  </a:lnTo>
                  <a:lnTo>
                    <a:pt x="35" y="46"/>
                  </a:lnTo>
                  <a:lnTo>
                    <a:pt x="34" y="46"/>
                  </a:lnTo>
                  <a:lnTo>
                    <a:pt x="35" y="46"/>
                  </a:lnTo>
                  <a:lnTo>
                    <a:pt x="34" y="46"/>
                  </a:lnTo>
                  <a:lnTo>
                    <a:pt x="34" y="44"/>
                  </a:lnTo>
                  <a:lnTo>
                    <a:pt x="34" y="46"/>
                  </a:lnTo>
                  <a:lnTo>
                    <a:pt x="32" y="46"/>
                  </a:lnTo>
                  <a:lnTo>
                    <a:pt x="32" y="44"/>
                  </a:lnTo>
                  <a:lnTo>
                    <a:pt x="34" y="44"/>
                  </a:lnTo>
                  <a:close/>
                  <a:moveTo>
                    <a:pt x="29" y="44"/>
                  </a:moveTo>
                  <a:lnTo>
                    <a:pt x="31" y="44"/>
                  </a:lnTo>
                  <a:lnTo>
                    <a:pt x="31" y="46"/>
                  </a:lnTo>
                  <a:lnTo>
                    <a:pt x="29" y="46"/>
                  </a:lnTo>
                  <a:lnTo>
                    <a:pt x="29" y="44"/>
                  </a:lnTo>
                  <a:close/>
                  <a:moveTo>
                    <a:pt x="32" y="42"/>
                  </a:moveTo>
                  <a:lnTo>
                    <a:pt x="32" y="44"/>
                  </a:lnTo>
                  <a:lnTo>
                    <a:pt x="32" y="46"/>
                  </a:lnTo>
                  <a:lnTo>
                    <a:pt x="32" y="47"/>
                  </a:lnTo>
                  <a:lnTo>
                    <a:pt x="32" y="46"/>
                  </a:lnTo>
                  <a:lnTo>
                    <a:pt x="32" y="47"/>
                  </a:lnTo>
                  <a:lnTo>
                    <a:pt x="31" y="47"/>
                  </a:lnTo>
                  <a:lnTo>
                    <a:pt x="31" y="46"/>
                  </a:lnTo>
                  <a:lnTo>
                    <a:pt x="29" y="44"/>
                  </a:lnTo>
                  <a:lnTo>
                    <a:pt x="31" y="44"/>
                  </a:lnTo>
                  <a:lnTo>
                    <a:pt x="29" y="44"/>
                  </a:lnTo>
                  <a:lnTo>
                    <a:pt x="29" y="42"/>
                  </a:lnTo>
                  <a:lnTo>
                    <a:pt x="31" y="42"/>
                  </a:lnTo>
                  <a:lnTo>
                    <a:pt x="31" y="44"/>
                  </a:lnTo>
                  <a:lnTo>
                    <a:pt x="32" y="42"/>
                  </a:lnTo>
                  <a:close/>
                  <a:moveTo>
                    <a:pt x="6" y="41"/>
                  </a:moveTo>
                  <a:lnTo>
                    <a:pt x="6" y="42"/>
                  </a:lnTo>
                  <a:lnTo>
                    <a:pt x="6" y="41"/>
                  </a:lnTo>
                  <a:close/>
                  <a:moveTo>
                    <a:pt x="6" y="41"/>
                  </a:moveTo>
                  <a:lnTo>
                    <a:pt x="6" y="42"/>
                  </a:lnTo>
                  <a:lnTo>
                    <a:pt x="6" y="41"/>
                  </a:lnTo>
                  <a:close/>
                  <a:moveTo>
                    <a:pt x="706" y="39"/>
                  </a:moveTo>
                  <a:lnTo>
                    <a:pt x="707" y="39"/>
                  </a:lnTo>
                  <a:lnTo>
                    <a:pt x="706" y="39"/>
                  </a:lnTo>
                  <a:close/>
                  <a:moveTo>
                    <a:pt x="27" y="36"/>
                  </a:moveTo>
                  <a:lnTo>
                    <a:pt x="29" y="36"/>
                  </a:lnTo>
                  <a:lnTo>
                    <a:pt x="27" y="36"/>
                  </a:lnTo>
                  <a:close/>
                  <a:moveTo>
                    <a:pt x="1062" y="36"/>
                  </a:moveTo>
                  <a:lnTo>
                    <a:pt x="1060" y="36"/>
                  </a:lnTo>
                  <a:lnTo>
                    <a:pt x="1062" y="36"/>
                  </a:lnTo>
                  <a:close/>
                  <a:moveTo>
                    <a:pt x="1021" y="34"/>
                  </a:moveTo>
                  <a:lnTo>
                    <a:pt x="1021" y="36"/>
                  </a:lnTo>
                  <a:lnTo>
                    <a:pt x="1019" y="34"/>
                  </a:lnTo>
                  <a:lnTo>
                    <a:pt x="1021" y="34"/>
                  </a:lnTo>
                  <a:close/>
                  <a:moveTo>
                    <a:pt x="27" y="36"/>
                  </a:moveTo>
                  <a:lnTo>
                    <a:pt x="27" y="34"/>
                  </a:lnTo>
                  <a:lnTo>
                    <a:pt x="29" y="34"/>
                  </a:lnTo>
                  <a:lnTo>
                    <a:pt x="29" y="36"/>
                  </a:lnTo>
                  <a:lnTo>
                    <a:pt x="29" y="34"/>
                  </a:lnTo>
                  <a:lnTo>
                    <a:pt x="27" y="34"/>
                  </a:lnTo>
                  <a:lnTo>
                    <a:pt x="27" y="36"/>
                  </a:lnTo>
                  <a:close/>
                  <a:moveTo>
                    <a:pt x="5" y="36"/>
                  </a:moveTo>
                  <a:lnTo>
                    <a:pt x="5" y="34"/>
                  </a:lnTo>
                  <a:lnTo>
                    <a:pt x="6" y="34"/>
                  </a:lnTo>
                  <a:lnTo>
                    <a:pt x="6" y="36"/>
                  </a:lnTo>
                  <a:lnTo>
                    <a:pt x="5" y="36"/>
                  </a:lnTo>
                  <a:close/>
                  <a:moveTo>
                    <a:pt x="1060" y="34"/>
                  </a:moveTo>
                  <a:lnTo>
                    <a:pt x="1060" y="33"/>
                  </a:lnTo>
                  <a:lnTo>
                    <a:pt x="1062" y="34"/>
                  </a:lnTo>
                  <a:lnTo>
                    <a:pt x="1060" y="34"/>
                  </a:lnTo>
                  <a:close/>
                  <a:moveTo>
                    <a:pt x="1065" y="33"/>
                  </a:moveTo>
                  <a:lnTo>
                    <a:pt x="1063" y="33"/>
                  </a:lnTo>
                  <a:lnTo>
                    <a:pt x="1065" y="33"/>
                  </a:lnTo>
                  <a:close/>
                  <a:moveTo>
                    <a:pt x="6" y="31"/>
                  </a:moveTo>
                  <a:lnTo>
                    <a:pt x="6" y="33"/>
                  </a:lnTo>
                  <a:lnTo>
                    <a:pt x="6" y="31"/>
                  </a:lnTo>
                  <a:close/>
                  <a:moveTo>
                    <a:pt x="740" y="31"/>
                  </a:moveTo>
                  <a:lnTo>
                    <a:pt x="740" y="33"/>
                  </a:lnTo>
                  <a:lnTo>
                    <a:pt x="738" y="33"/>
                  </a:lnTo>
                  <a:lnTo>
                    <a:pt x="740" y="31"/>
                  </a:lnTo>
                  <a:close/>
                  <a:moveTo>
                    <a:pt x="738" y="31"/>
                  </a:moveTo>
                  <a:lnTo>
                    <a:pt x="740" y="31"/>
                  </a:lnTo>
                  <a:lnTo>
                    <a:pt x="738" y="31"/>
                  </a:lnTo>
                  <a:close/>
                  <a:moveTo>
                    <a:pt x="1031" y="31"/>
                  </a:moveTo>
                  <a:lnTo>
                    <a:pt x="1029" y="31"/>
                  </a:lnTo>
                  <a:lnTo>
                    <a:pt x="1031" y="31"/>
                  </a:lnTo>
                  <a:close/>
                  <a:moveTo>
                    <a:pt x="1063" y="31"/>
                  </a:moveTo>
                  <a:lnTo>
                    <a:pt x="1062" y="31"/>
                  </a:lnTo>
                  <a:lnTo>
                    <a:pt x="1062" y="29"/>
                  </a:lnTo>
                  <a:lnTo>
                    <a:pt x="1063" y="29"/>
                  </a:lnTo>
                  <a:lnTo>
                    <a:pt x="1063" y="31"/>
                  </a:lnTo>
                  <a:close/>
                  <a:moveTo>
                    <a:pt x="741" y="31"/>
                  </a:moveTo>
                  <a:lnTo>
                    <a:pt x="740" y="31"/>
                  </a:lnTo>
                  <a:lnTo>
                    <a:pt x="738" y="31"/>
                  </a:lnTo>
                  <a:lnTo>
                    <a:pt x="738" y="29"/>
                  </a:lnTo>
                  <a:lnTo>
                    <a:pt x="740" y="29"/>
                  </a:lnTo>
                  <a:lnTo>
                    <a:pt x="741" y="29"/>
                  </a:lnTo>
                  <a:lnTo>
                    <a:pt x="741" y="31"/>
                  </a:lnTo>
                  <a:close/>
                  <a:moveTo>
                    <a:pt x="1055" y="31"/>
                  </a:moveTo>
                  <a:lnTo>
                    <a:pt x="1055" y="29"/>
                  </a:lnTo>
                  <a:lnTo>
                    <a:pt x="1055" y="31"/>
                  </a:lnTo>
                  <a:close/>
                  <a:moveTo>
                    <a:pt x="735" y="29"/>
                  </a:moveTo>
                  <a:lnTo>
                    <a:pt x="736" y="29"/>
                  </a:lnTo>
                  <a:lnTo>
                    <a:pt x="735" y="29"/>
                  </a:lnTo>
                  <a:close/>
                  <a:moveTo>
                    <a:pt x="1023" y="29"/>
                  </a:moveTo>
                  <a:lnTo>
                    <a:pt x="1023" y="28"/>
                  </a:lnTo>
                  <a:lnTo>
                    <a:pt x="1024" y="28"/>
                  </a:lnTo>
                  <a:lnTo>
                    <a:pt x="1024" y="29"/>
                  </a:lnTo>
                  <a:lnTo>
                    <a:pt x="1023" y="29"/>
                  </a:lnTo>
                  <a:close/>
                  <a:moveTo>
                    <a:pt x="741" y="28"/>
                  </a:moveTo>
                  <a:lnTo>
                    <a:pt x="743" y="28"/>
                  </a:lnTo>
                  <a:lnTo>
                    <a:pt x="743" y="29"/>
                  </a:lnTo>
                  <a:lnTo>
                    <a:pt x="743" y="31"/>
                  </a:lnTo>
                  <a:lnTo>
                    <a:pt x="741" y="29"/>
                  </a:lnTo>
                  <a:lnTo>
                    <a:pt x="741" y="28"/>
                  </a:lnTo>
                  <a:lnTo>
                    <a:pt x="743" y="28"/>
                  </a:lnTo>
                  <a:lnTo>
                    <a:pt x="741" y="28"/>
                  </a:lnTo>
                  <a:close/>
                  <a:moveTo>
                    <a:pt x="740" y="28"/>
                  </a:moveTo>
                  <a:lnTo>
                    <a:pt x="740" y="29"/>
                  </a:lnTo>
                  <a:lnTo>
                    <a:pt x="740" y="28"/>
                  </a:lnTo>
                  <a:close/>
                  <a:moveTo>
                    <a:pt x="707" y="29"/>
                  </a:moveTo>
                  <a:lnTo>
                    <a:pt x="707" y="28"/>
                  </a:lnTo>
                  <a:lnTo>
                    <a:pt x="709" y="28"/>
                  </a:lnTo>
                  <a:lnTo>
                    <a:pt x="707" y="28"/>
                  </a:lnTo>
                  <a:lnTo>
                    <a:pt x="707" y="29"/>
                  </a:lnTo>
                  <a:close/>
                  <a:moveTo>
                    <a:pt x="732" y="28"/>
                  </a:moveTo>
                  <a:lnTo>
                    <a:pt x="733" y="28"/>
                  </a:lnTo>
                  <a:lnTo>
                    <a:pt x="732" y="28"/>
                  </a:lnTo>
                  <a:close/>
                  <a:moveTo>
                    <a:pt x="1026" y="29"/>
                  </a:moveTo>
                  <a:lnTo>
                    <a:pt x="1024" y="29"/>
                  </a:lnTo>
                  <a:lnTo>
                    <a:pt x="1024" y="28"/>
                  </a:lnTo>
                  <a:lnTo>
                    <a:pt x="1026" y="28"/>
                  </a:lnTo>
                  <a:lnTo>
                    <a:pt x="1028" y="28"/>
                  </a:lnTo>
                  <a:lnTo>
                    <a:pt x="1026" y="28"/>
                  </a:lnTo>
                  <a:lnTo>
                    <a:pt x="1028" y="29"/>
                  </a:lnTo>
                  <a:lnTo>
                    <a:pt x="1026" y="29"/>
                  </a:lnTo>
                  <a:close/>
                  <a:moveTo>
                    <a:pt x="1021" y="28"/>
                  </a:moveTo>
                  <a:lnTo>
                    <a:pt x="1019" y="28"/>
                  </a:lnTo>
                  <a:lnTo>
                    <a:pt x="1021" y="28"/>
                  </a:lnTo>
                  <a:close/>
                  <a:moveTo>
                    <a:pt x="730" y="28"/>
                  </a:moveTo>
                  <a:lnTo>
                    <a:pt x="728" y="28"/>
                  </a:lnTo>
                  <a:lnTo>
                    <a:pt x="730" y="26"/>
                  </a:lnTo>
                  <a:lnTo>
                    <a:pt x="730" y="28"/>
                  </a:lnTo>
                  <a:close/>
                  <a:moveTo>
                    <a:pt x="1065" y="26"/>
                  </a:moveTo>
                  <a:lnTo>
                    <a:pt x="1065" y="28"/>
                  </a:lnTo>
                  <a:lnTo>
                    <a:pt x="1063" y="28"/>
                  </a:lnTo>
                  <a:lnTo>
                    <a:pt x="1065" y="26"/>
                  </a:lnTo>
                  <a:close/>
                  <a:moveTo>
                    <a:pt x="1065" y="26"/>
                  </a:moveTo>
                  <a:lnTo>
                    <a:pt x="1065" y="28"/>
                  </a:lnTo>
                  <a:lnTo>
                    <a:pt x="1067" y="28"/>
                  </a:lnTo>
                  <a:lnTo>
                    <a:pt x="1065" y="28"/>
                  </a:lnTo>
                  <a:lnTo>
                    <a:pt x="1065" y="26"/>
                  </a:lnTo>
                  <a:close/>
                  <a:moveTo>
                    <a:pt x="728" y="26"/>
                  </a:moveTo>
                  <a:lnTo>
                    <a:pt x="730" y="26"/>
                  </a:lnTo>
                  <a:lnTo>
                    <a:pt x="728" y="26"/>
                  </a:lnTo>
                  <a:close/>
                  <a:moveTo>
                    <a:pt x="710" y="26"/>
                  </a:moveTo>
                  <a:lnTo>
                    <a:pt x="710" y="28"/>
                  </a:lnTo>
                  <a:lnTo>
                    <a:pt x="712" y="28"/>
                  </a:lnTo>
                  <a:lnTo>
                    <a:pt x="710" y="28"/>
                  </a:lnTo>
                  <a:lnTo>
                    <a:pt x="709" y="28"/>
                  </a:lnTo>
                  <a:lnTo>
                    <a:pt x="709" y="26"/>
                  </a:lnTo>
                  <a:lnTo>
                    <a:pt x="709" y="28"/>
                  </a:lnTo>
                  <a:lnTo>
                    <a:pt x="709" y="26"/>
                  </a:lnTo>
                  <a:lnTo>
                    <a:pt x="710" y="26"/>
                  </a:lnTo>
                  <a:lnTo>
                    <a:pt x="712" y="26"/>
                  </a:lnTo>
                  <a:lnTo>
                    <a:pt x="710" y="26"/>
                  </a:lnTo>
                  <a:close/>
                  <a:moveTo>
                    <a:pt x="27" y="26"/>
                  </a:moveTo>
                  <a:lnTo>
                    <a:pt x="27" y="25"/>
                  </a:lnTo>
                  <a:lnTo>
                    <a:pt x="27" y="26"/>
                  </a:lnTo>
                  <a:close/>
                  <a:moveTo>
                    <a:pt x="730" y="26"/>
                  </a:moveTo>
                  <a:lnTo>
                    <a:pt x="730" y="25"/>
                  </a:lnTo>
                  <a:lnTo>
                    <a:pt x="730" y="26"/>
                  </a:lnTo>
                  <a:close/>
                  <a:moveTo>
                    <a:pt x="709" y="26"/>
                  </a:moveTo>
                  <a:lnTo>
                    <a:pt x="709" y="25"/>
                  </a:lnTo>
                  <a:lnTo>
                    <a:pt x="709" y="26"/>
                  </a:lnTo>
                  <a:close/>
                  <a:moveTo>
                    <a:pt x="710" y="25"/>
                  </a:moveTo>
                  <a:lnTo>
                    <a:pt x="712" y="25"/>
                  </a:lnTo>
                  <a:lnTo>
                    <a:pt x="710" y="25"/>
                  </a:lnTo>
                  <a:close/>
                  <a:moveTo>
                    <a:pt x="1044" y="23"/>
                  </a:moveTo>
                  <a:lnTo>
                    <a:pt x="1044" y="25"/>
                  </a:lnTo>
                  <a:lnTo>
                    <a:pt x="1044" y="23"/>
                  </a:lnTo>
                  <a:close/>
                  <a:moveTo>
                    <a:pt x="1024" y="23"/>
                  </a:moveTo>
                  <a:lnTo>
                    <a:pt x="1024" y="25"/>
                  </a:lnTo>
                  <a:lnTo>
                    <a:pt x="1024" y="23"/>
                  </a:lnTo>
                  <a:close/>
                  <a:moveTo>
                    <a:pt x="995" y="23"/>
                  </a:moveTo>
                  <a:lnTo>
                    <a:pt x="995" y="25"/>
                  </a:lnTo>
                  <a:lnTo>
                    <a:pt x="995" y="23"/>
                  </a:lnTo>
                  <a:close/>
                  <a:moveTo>
                    <a:pt x="1006" y="23"/>
                  </a:moveTo>
                  <a:lnTo>
                    <a:pt x="1006" y="25"/>
                  </a:lnTo>
                  <a:lnTo>
                    <a:pt x="1006" y="23"/>
                  </a:lnTo>
                  <a:close/>
                  <a:moveTo>
                    <a:pt x="740" y="23"/>
                  </a:moveTo>
                  <a:lnTo>
                    <a:pt x="741" y="23"/>
                  </a:lnTo>
                  <a:lnTo>
                    <a:pt x="741" y="25"/>
                  </a:lnTo>
                  <a:lnTo>
                    <a:pt x="741" y="26"/>
                  </a:lnTo>
                  <a:lnTo>
                    <a:pt x="740" y="26"/>
                  </a:lnTo>
                  <a:lnTo>
                    <a:pt x="740" y="28"/>
                  </a:lnTo>
                  <a:lnTo>
                    <a:pt x="740" y="26"/>
                  </a:lnTo>
                  <a:lnTo>
                    <a:pt x="738" y="28"/>
                  </a:lnTo>
                  <a:lnTo>
                    <a:pt x="736" y="28"/>
                  </a:lnTo>
                  <a:lnTo>
                    <a:pt x="736" y="26"/>
                  </a:lnTo>
                  <a:lnTo>
                    <a:pt x="736" y="28"/>
                  </a:lnTo>
                  <a:lnTo>
                    <a:pt x="736" y="29"/>
                  </a:lnTo>
                  <a:lnTo>
                    <a:pt x="735" y="29"/>
                  </a:lnTo>
                  <a:lnTo>
                    <a:pt x="735" y="28"/>
                  </a:lnTo>
                  <a:lnTo>
                    <a:pt x="735" y="29"/>
                  </a:lnTo>
                  <a:lnTo>
                    <a:pt x="735" y="28"/>
                  </a:lnTo>
                  <a:lnTo>
                    <a:pt x="733" y="29"/>
                  </a:lnTo>
                  <a:lnTo>
                    <a:pt x="733" y="28"/>
                  </a:lnTo>
                  <a:lnTo>
                    <a:pt x="732" y="26"/>
                  </a:lnTo>
                  <a:lnTo>
                    <a:pt x="732" y="28"/>
                  </a:lnTo>
                  <a:lnTo>
                    <a:pt x="732" y="26"/>
                  </a:lnTo>
                  <a:lnTo>
                    <a:pt x="730" y="26"/>
                  </a:lnTo>
                  <a:lnTo>
                    <a:pt x="732" y="25"/>
                  </a:lnTo>
                  <a:lnTo>
                    <a:pt x="733" y="25"/>
                  </a:lnTo>
                  <a:lnTo>
                    <a:pt x="735" y="25"/>
                  </a:lnTo>
                  <a:lnTo>
                    <a:pt x="736" y="25"/>
                  </a:lnTo>
                  <a:lnTo>
                    <a:pt x="738" y="25"/>
                  </a:lnTo>
                  <a:lnTo>
                    <a:pt x="738" y="26"/>
                  </a:lnTo>
                  <a:lnTo>
                    <a:pt x="736" y="26"/>
                  </a:lnTo>
                  <a:lnTo>
                    <a:pt x="738" y="26"/>
                  </a:lnTo>
                  <a:lnTo>
                    <a:pt x="738" y="25"/>
                  </a:lnTo>
                  <a:lnTo>
                    <a:pt x="740" y="25"/>
                  </a:lnTo>
                  <a:lnTo>
                    <a:pt x="740" y="23"/>
                  </a:lnTo>
                  <a:close/>
                  <a:moveTo>
                    <a:pt x="1031" y="23"/>
                  </a:moveTo>
                  <a:lnTo>
                    <a:pt x="1032" y="23"/>
                  </a:lnTo>
                  <a:lnTo>
                    <a:pt x="1031" y="23"/>
                  </a:lnTo>
                  <a:close/>
                  <a:moveTo>
                    <a:pt x="47" y="23"/>
                  </a:moveTo>
                  <a:lnTo>
                    <a:pt x="47" y="21"/>
                  </a:lnTo>
                  <a:lnTo>
                    <a:pt x="48" y="23"/>
                  </a:lnTo>
                  <a:lnTo>
                    <a:pt x="47" y="23"/>
                  </a:lnTo>
                  <a:close/>
                  <a:moveTo>
                    <a:pt x="8" y="21"/>
                  </a:moveTo>
                  <a:lnTo>
                    <a:pt x="8" y="23"/>
                  </a:lnTo>
                  <a:lnTo>
                    <a:pt x="8" y="21"/>
                  </a:lnTo>
                  <a:close/>
                  <a:moveTo>
                    <a:pt x="1062" y="26"/>
                  </a:moveTo>
                  <a:lnTo>
                    <a:pt x="1062" y="28"/>
                  </a:lnTo>
                  <a:lnTo>
                    <a:pt x="1060" y="26"/>
                  </a:lnTo>
                  <a:lnTo>
                    <a:pt x="1060" y="28"/>
                  </a:lnTo>
                  <a:lnTo>
                    <a:pt x="1060" y="29"/>
                  </a:lnTo>
                  <a:lnTo>
                    <a:pt x="1062" y="29"/>
                  </a:lnTo>
                  <a:lnTo>
                    <a:pt x="1062" y="31"/>
                  </a:lnTo>
                  <a:lnTo>
                    <a:pt x="1062" y="33"/>
                  </a:lnTo>
                  <a:lnTo>
                    <a:pt x="1060" y="33"/>
                  </a:lnTo>
                  <a:lnTo>
                    <a:pt x="1058" y="33"/>
                  </a:lnTo>
                  <a:lnTo>
                    <a:pt x="1058" y="31"/>
                  </a:lnTo>
                  <a:lnTo>
                    <a:pt x="1058" y="29"/>
                  </a:lnTo>
                  <a:lnTo>
                    <a:pt x="1057" y="29"/>
                  </a:lnTo>
                  <a:lnTo>
                    <a:pt x="1058" y="29"/>
                  </a:lnTo>
                  <a:lnTo>
                    <a:pt x="1058" y="28"/>
                  </a:lnTo>
                  <a:lnTo>
                    <a:pt x="1058" y="26"/>
                  </a:lnTo>
                  <a:lnTo>
                    <a:pt x="1058" y="25"/>
                  </a:lnTo>
                  <a:lnTo>
                    <a:pt x="1060" y="23"/>
                  </a:lnTo>
                  <a:lnTo>
                    <a:pt x="1062" y="23"/>
                  </a:lnTo>
                  <a:lnTo>
                    <a:pt x="1063" y="23"/>
                  </a:lnTo>
                  <a:lnTo>
                    <a:pt x="1063" y="21"/>
                  </a:lnTo>
                  <a:lnTo>
                    <a:pt x="1065" y="23"/>
                  </a:lnTo>
                  <a:lnTo>
                    <a:pt x="1063" y="23"/>
                  </a:lnTo>
                  <a:lnTo>
                    <a:pt x="1063" y="25"/>
                  </a:lnTo>
                  <a:lnTo>
                    <a:pt x="1062" y="26"/>
                  </a:lnTo>
                  <a:close/>
                  <a:moveTo>
                    <a:pt x="9" y="21"/>
                  </a:moveTo>
                  <a:lnTo>
                    <a:pt x="9" y="23"/>
                  </a:lnTo>
                  <a:lnTo>
                    <a:pt x="9" y="21"/>
                  </a:lnTo>
                  <a:close/>
                  <a:moveTo>
                    <a:pt x="725" y="23"/>
                  </a:moveTo>
                  <a:lnTo>
                    <a:pt x="727" y="21"/>
                  </a:lnTo>
                  <a:lnTo>
                    <a:pt x="725" y="23"/>
                  </a:lnTo>
                  <a:close/>
                  <a:moveTo>
                    <a:pt x="1068" y="23"/>
                  </a:moveTo>
                  <a:lnTo>
                    <a:pt x="1070" y="23"/>
                  </a:lnTo>
                  <a:lnTo>
                    <a:pt x="1068" y="25"/>
                  </a:lnTo>
                  <a:lnTo>
                    <a:pt x="1067" y="26"/>
                  </a:lnTo>
                  <a:lnTo>
                    <a:pt x="1067" y="25"/>
                  </a:lnTo>
                  <a:lnTo>
                    <a:pt x="1065" y="25"/>
                  </a:lnTo>
                  <a:lnTo>
                    <a:pt x="1065" y="23"/>
                  </a:lnTo>
                  <a:lnTo>
                    <a:pt x="1067" y="23"/>
                  </a:lnTo>
                  <a:lnTo>
                    <a:pt x="1068" y="23"/>
                  </a:lnTo>
                  <a:lnTo>
                    <a:pt x="1068" y="21"/>
                  </a:lnTo>
                  <a:lnTo>
                    <a:pt x="1068" y="23"/>
                  </a:lnTo>
                  <a:close/>
                  <a:moveTo>
                    <a:pt x="1016" y="21"/>
                  </a:moveTo>
                  <a:lnTo>
                    <a:pt x="1016" y="23"/>
                  </a:lnTo>
                  <a:lnTo>
                    <a:pt x="1016" y="21"/>
                  </a:lnTo>
                  <a:close/>
                  <a:moveTo>
                    <a:pt x="740" y="23"/>
                  </a:moveTo>
                  <a:lnTo>
                    <a:pt x="741" y="21"/>
                  </a:lnTo>
                  <a:lnTo>
                    <a:pt x="741" y="23"/>
                  </a:lnTo>
                  <a:lnTo>
                    <a:pt x="740" y="23"/>
                  </a:lnTo>
                  <a:close/>
                  <a:moveTo>
                    <a:pt x="993" y="21"/>
                  </a:moveTo>
                  <a:lnTo>
                    <a:pt x="992" y="21"/>
                  </a:lnTo>
                  <a:lnTo>
                    <a:pt x="993" y="21"/>
                  </a:lnTo>
                  <a:close/>
                  <a:moveTo>
                    <a:pt x="740" y="23"/>
                  </a:moveTo>
                  <a:lnTo>
                    <a:pt x="740" y="21"/>
                  </a:lnTo>
                  <a:lnTo>
                    <a:pt x="740" y="23"/>
                  </a:lnTo>
                  <a:close/>
                  <a:moveTo>
                    <a:pt x="741" y="21"/>
                  </a:moveTo>
                  <a:lnTo>
                    <a:pt x="743" y="21"/>
                  </a:lnTo>
                  <a:lnTo>
                    <a:pt x="741" y="21"/>
                  </a:lnTo>
                  <a:close/>
                  <a:moveTo>
                    <a:pt x="1071" y="21"/>
                  </a:moveTo>
                  <a:lnTo>
                    <a:pt x="1073" y="21"/>
                  </a:lnTo>
                  <a:lnTo>
                    <a:pt x="1073" y="23"/>
                  </a:lnTo>
                  <a:lnTo>
                    <a:pt x="1071" y="21"/>
                  </a:lnTo>
                  <a:close/>
                  <a:moveTo>
                    <a:pt x="992" y="21"/>
                  </a:moveTo>
                  <a:lnTo>
                    <a:pt x="990" y="21"/>
                  </a:lnTo>
                  <a:lnTo>
                    <a:pt x="992" y="21"/>
                  </a:lnTo>
                  <a:close/>
                  <a:moveTo>
                    <a:pt x="1055" y="21"/>
                  </a:moveTo>
                  <a:lnTo>
                    <a:pt x="1057" y="21"/>
                  </a:lnTo>
                  <a:lnTo>
                    <a:pt x="1055" y="21"/>
                  </a:lnTo>
                  <a:close/>
                  <a:moveTo>
                    <a:pt x="1015" y="25"/>
                  </a:moveTo>
                  <a:lnTo>
                    <a:pt x="1016" y="25"/>
                  </a:lnTo>
                  <a:lnTo>
                    <a:pt x="1016" y="26"/>
                  </a:lnTo>
                  <a:lnTo>
                    <a:pt x="1015" y="26"/>
                  </a:lnTo>
                  <a:lnTo>
                    <a:pt x="1013" y="28"/>
                  </a:lnTo>
                  <a:lnTo>
                    <a:pt x="1011" y="28"/>
                  </a:lnTo>
                  <a:lnTo>
                    <a:pt x="1010" y="28"/>
                  </a:lnTo>
                  <a:lnTo>
                    <a:pt x="1010" y="26"/>
                  </a:lnTo>
                  <a:lnTo>
                    <a:pt x="1011" y="26"/>
                  </a:lnTo>
                  <a:lnTo>
                    <a:pt x="1011" y="25"/>
                  </a:lnTo>
                  <a:lnTo>
                    <a:pt x="1010" y="25"/>
                  </a:lnTo>
                  <a:lnTo>
                    <a:pt x="1010" y="23"/>
                  </a:lnTo>
                  <a:lnTo>
                    <a:pt x="1011" y="23"/>
                  </a:lnTo>
                  <a:lnTo>
                    <a:pt x="1013" y="21"/>
                  </a:lnTo>
                  <a:lnTo>
                    <a:pt x="1015" y="21"/>
                  </a:lnTo>
                  <a:lnTo>
                    <a:pt x="1016" y="21"/>
                  </a:lnTo>
                  <a:lnTo>
                    <a:pt x="1016" y="23"/>
                  </a:lnTo>
                  <a:lnTo>
                    <a:pt x="1016" y="25"/>
                  </a:lnTo>
                  <a:lnTo>
                    <a:pt x="1015" y="25"/>
                  </a:lnTo>
                  <a:close/>
                  <a:moveTo>
                    <a:pt x="740" y="21"/>
                  </a:moveTo>
                  <a:lnTo>
                    <a:pt x="741" y="21"/>
                  </a:lnTo>
                  <a:lnTo>
                    <a:pt x="740" y="21"/>
                  </a:lnTo>
                  <a:close/>
                  <a:moveTo>
                    <a:pt x="1057" y="21"/>
                  </a:moveTo>
                  <a:lnTo>
                    <a:pt x="1055" y="21"/>
                  </a:lnTo>
                  <a:lnTo>
                    <a:pt x="1057" y="20"/>
                  </a:lnTo>
                  <a:lnTo>
                    <a:pt x="1057" y="21"/>
                  </a:lnTo>
                  <a:close/>
                  <a:moveTo>
                    <a:pt x="1057" y="21"/>
                  </a:moveTo>
                  <a:lnTo>
                    <a:pt x="1057" y="20"/>
                  </a:lnTo>
                  <a:lnTo>
                    <a:pt x="1058" y="21"/>
                  </a:lnTo>
                  <a:lnTo>
                    <a:pt x="1057" y="23"/>
                  </a:lnTo>
                  <a:lnTo>
                    <a:pt x="1055" y="26"/>
                  </a:lnTo>
                  <a:lnTo>
                    <a:pt x="1055" y="25"/>
                  </a:lnTo>
                  <a:lnTo>
                    <a:pt x="1055" y="23"/>
                  </a:lnTo>
                  <a:lnTo>
                    <a:pt x="1055" y="21"/>
                  </a:lnTo>
                  <a:lnTo>
                    <a:pt x="1057" y="21"/>
                  </a:lnTo>
                  <a:close/>
                  <a:moveTo>
                    <a:pt x="1117" y="21"/>
                  </a:moveTo>
                  <a:lnTo>
                    <a:pt x="1117" y="20"/>
                  </a:lnTo>
                  <a:lnTo>
                    <a:pt x="1117" y="21"/>
                  </a:lnTo>
                  <a:close/>
                  <a:moveTo>
                    <a:pt x="1081" y="21"/>
                  </a:moveTo>
                  <a:lnTo>
                    <a:pt x="1081" y="20"/>
                  </a:lnTo>
                  <a:lnTo>
                    <a:pt x="1083" y="20"/>
                  </a:lnTo>
                  <a:lnTo>
                    <a:pt x="1083" y="21"/>
                  </a:lnTo>
                  <a:lnTo>
                    <a:pt x="1081" y="21"/>
                  </a:lnTo>
                  <a:close/>
                  <a:moveTo>
                    <a:pt x="8" y="20"/>
                  </a:moveTo>
                  <a:lnTo>
                    <a:pt x="8" y="21"/>
                  </a:lnTo>
                  <a:lnTo>
                    <a:pt x="8" y="20"/>
                  </a:lnTo>
                  <a:close/>
                  <a:moveTo>
                    <a:pt x="1011" y="21"/>
                  </a:moveTo>
                  <a:lnTo>
                    <a:pt x="1010" y="21"/>
                  </a:lnTo>
                  <a:lnTo>
                    <a:pt x="1011" y="20"/>
                  </a:lnTo>
                  <a:lnTo>
                    <a:pt x="1011" y="21"/>
                  </a:lnTo>
                  <a:close/>
                  <a:moveTo>
                    <a:pt x="1031" y="20"/>
                  </a:moveTo>
                  <a:lnTo>
                    <a:pt x="1031" y="21"/>
                  </a:lnTo>
                  <a:lnTo>
                    <a:pt x="1029" y="21"/>
                  </a:lnTo>
                  <a:lnTo>
                    <a:pt x="1031" y="20"/>
                  </a:lnTo>
                  <a:close/>
                  <a:moveTo>
                    <a:pt x="1084" y="20"/>
                  </a:moveTo>
                  <a:lnTo>
                    <a:pt x="1084" y="21"/>
                  </a:lnTo>
                  <a:lnTo>
                    <a:pt x="1084" y="23"/>
                  </a:lnTo>
                  <a:lnTo>
                    <a:pt x="1083" y="23"/>
                  </a:lnTo>
                  <a:lnTo>
                    <a:pt x="1083" y="21"/>
                  </a:lnTo>
                  <a:lnTo>
                    <a:pt x="1083" y="20"/>
                  </a:lnTo>
                  <a:lnTo>
                    <a:pt x="1084" y="20"/>
                  </a:lnTo>
                  <a:close/>
                  <a:moveTo>
                    <a:pt x="1109" y="26"/>
                  </a:moveTo>
                  <a:lnTo>
                    <a:pt x="1109" y="25"/>
                  </a:lnTo>
                  <a:lnTo>
                    <a:pt x="1109" y="23"/>
                  </a:lnTo>
                  <a:lnTo>
                    <a:pt x="1111" y="23"/>
                  </a:lnTo>
                  <a:lnTo>
                    <a:pt x="1112" y="23"/>
                  </a:lnTo>
                  <a:lnTo>
                    <a:pt x="1112" y="21"/>
                  </a:lnTo>
                  <a:lnTo>
                    <a:pt x="1112" y="20"/>
                  </a:lnTo>
                  <a:lnTo>
                    <a:pt x="1112" y="21"/>
                  </a:lnTo>
                  <a:lnTo>
                    <a:pt x="1114" y="21"/>
                  </a:lnTo>
                  <a:lnTo>
                    <a:pt x="1112" y="21"/>
                  </a:lnTo>
                  <a:lnTo>
                    <a:pt x="1112" y="23"/>
                  </a:lnTo>
                  <a:lnTo>
                    <a:pt x="1111" y="25"/>
                  </a:lnTo>
                  <a:lnTo>
                    <a:pt x="1109" y="25"/>
                  </a:lnTo>
                  <a:lnTo>
                    <a:pt x="1111" y="25"/>
                  </a:lnTo>
                  <a:lnTo>
                    <a:pt x="1111" y="26"/>
                  </a:lnTo>
                  <a:lnTo>
                    <a:pt x="1109" y="26"/>
                  </a:lnTo>
                  <a:close/>
                  <a:moveTo>
                    <a:pt x="992" y="20"/>
                  </a:moveTo>
                  <a:lnTo>
                    <a:pt x="990" y="20"/>
                  </a:lnTo>
                  <a:lnTo>
                    <a:pt x="992" y="20"/>
                  </a:lnTo>
                  <a:close/>
                  <a:moveTo>
                    <a:pt x="1086" y="20"/>
                  </a:moveTo>
                  <a:lnTo>
                    <a:pt x="1088" y="20"/>
                  </a:lnTo>
                  <a:lnTo>
                    <a:pt x="1086" y="20"/>
                  </a:lnTo>
                  <a:close/>
                  <a:moveTo>
                    <a:pt x="993" y="20"/>
                  </a:moveTo>
                  <a:lnTo>
                    <a:pt x="992" y="21"/>
                  </a:lnTo>
                  <a:lnTo>
                    <a:pt x="992" y="20"/>
                  </a:lnTo>
                  <a:lnTo>
                    <a:pt x="993" y="20"/>
                  </a:lnTo>
                  <a:lnTo>
                    <a:pt x="992" y="20"/>
                  </a:lnTo>
                  <a:lnTo>
                    <a:pt x="993" y="20"/>
                  </a:lnTo>
                  <a:close/>
                  <a:moveTo>
                    <a:pt x="52" y="21"/>
                  </a:moveTo>
                  <a:lnTo>
                    <a:pt x="53" y="23"/>
                  </a:lnTo>
                  <a:lnTo>
                    <a:pt x="52" y="23"/>
                  </a:lnTo>
                  <a:lnTo>
                    <a:pt x="52" y="21"/>
                  </a:lnTo>
                  <a:lnTo>
                    <a:pt x="50" y="21"/>
                  </a:lnTo>
                  <a:lnTo>
                    <a:pt x="48" y="21"/>
                  </a:lnTo>
                  <a:lnTo>
                    <a:pt x="47" y="20"/>
                  </a:lnTo>
                  <a:lnTo>
                    <a:pt x="48" y="20"/>
                  </a:lnTo>
                  <a:lnTo>
                    <a:pt x="50" y="20"/>
                  </a:lnTo>
                  <a:lnTo>
                    <a:pt x="52" y="21"/>
                  </a:lnTo>
                  <a:close/>
                  <a:moveTo>
                    <a:pt x="1107" y="20"/>
                  </a:moveTo>
                  <a:lnTo>
                    <a:pt x="1109" y="20"/>
                  </a:lnTo>
                  <a:lnTo>
                    <a:pt x="1107" y="20"/>
                  </a:lnTo>
                  <a:close/>
                  <a:moveTo>
                    <a:pt x="1088" y="20"/>
                  </a:moveTo>
                  <a:lnTo>
                    <a:pt x="1086" y="20"/>
                  </a:lnTo>
                  <a:lnTo>
                    <a:pt x="1088" y="20"/>
                  </a:lnTo>
                  <a:close/>
                  <a:moveTo>
                    <a:pt x="8" y="20"/>
                  </a:moveTo>
                  <a:lnTo>
                    <a:pt x="9" y="20"/>
                  </a:lnTo>
                  <a:lnTo>
                    <a:pt x="8" y="20"/>
                  </a:lnTo>
                  <a:close/>
                  <a:moveTo>
                    <a:pt x="1169" y="20"/>
                  </a:moveTo>
                  <a:lnTo>
                    <a:pt x="1167" y="20"/>
                  </a:lnTo>
                  <a:lnTo>
                    <a:pt x="1169" y="20"/>
                  </a:lnTo>
                  <a:close/>
                  <a:moveTo>
                    <a:pt x="993" y="20"/>
                  </a:moveTo>
                  <a:lnTo>
                    <a:pt x="993" y="18"/>
                  </a:lnTo>
                  <a:lnTo>
                    <a:pt x="993" y="20"/>
                  </a:lnTo>
                  <a:close/>
                  <a:moveTo>
                    <a:pt x="1041" y="20"/>
                  </a:moveTo>
                  <a:lnTo>
                    <a:pt x="1041" y="18"/>
                  </a:lnTo>
                  <a:lnTo>
                    <a:pt x="1041" y="20"/>
                  </a:lnTo>
                  <a:close/>
                  <a:moveTo>
                    <a:pt x="1041" y="20"/>
                  </a:moveTo>
                  <a:lnTo>
                    <a:pt x="1041" y="18"/>
                  </a:lnTo>
                  <a:lnTo>
                    <a:pt x="1041" y="20"/>
                  </a:lnTo>
                  <a:close/>
                  <a:moveTo>
                    <a:pt x="1047" y="18"/>
                  </a:moveTo>
                  <a:lnTo>
                    <a:pt x="1047" y="20"/>
                  </a:lnTo>
                  <a:lnTo>
                    <a:pt x="1047" y="18"/>
                  </a:lnTo>
                  <a:close/>
                  <a:moveTo>
                    <a:pt x="993" y="18"/>
                  </a:moveTo>
                  <a:lnTo>
                    <a:pt x="995" y="18"/>
                  </a:lnTo>
                  <a:lnTo>
                    <a:pt x="995" y="20"/>
                  </a:lnTo>
                  <a:lnTo>
                    <a:pt x="993" y="20"/>
                  </a:lnTo>
                  <a:lnTo>
                    <a:pt x="993" y="18"/>
                  </a:lnTo>
                  <a:close/>
                  <a:moveTo>
                    <a:pt x="1097" y="20"/>
                  </a:moveTo>
                  <a:lnTo>
                    <a:pt x="1097" y="18"/>
                  </a:lnTo>
                  <a:lnTo>
                    <a:pt x="1099" y="18"/>
                  </a:lnTo>
                  <a:lnTo>
                    <a:pt x="1099" y="20"/>
                  </a:lnTo>
                  <a:lnTo>
                    <a:pt x="1097" y="20"/>
                  </a:lnTo>
                  <a:close/>
                  <a:moveTo>
                    <a:pt x="8" y="18"/>
                  </a:moveTo>
                  <a:lnTo>
                    <a:pt x="9" y="18"/>
                  </a:lnTo>
                  <a:lnTo>
                    <a:pt x="8" y="18"/>
                  </a:lnTo>
                  <a:close/>
                  <a:moveTo>
                    <a:pt x="1032" y="21"/>
                  </a:moveTo>
                  <a:lnTo>
                    <a:pt x="1032" y="20"/>
                  </a:lnTo>
                  <a:lnTo>
                    <a:pt x="1034" y="20"/>
                  </a:lnTo>
                  <a:lnTo>
                    <a:pt x="1036" y="18"/>
                  </a:lnTo>
                  <a:lnTo>
                    <a:pt x="1036" y="20"/>
                  </a:lnTo>
                  <a:lnTo>
                    <a:pt x="1034" y="20"/>
                  </a:lnTo>
                  <a:lnTo>
                    <a:pt x="1034" y="21"/>
                  </a:lnTo>
                  <a:lnTo>
                    <a:pt x="1032" y="21"/>
                  </a:lnTo>
                  <a:close/>
                  <a:moveTo>
                    <a:pt x="1045" y="18"/>
                  </a:moveTo>
                  <a:lnTo>
                    <a:pt x="1047" y="18"/>
                  </a:lnTo>
                  <a:lnTo>
                    <a:pt x="1045" y="18"/>
                  </a:lnTo>
                  <a:close/>
                  <a:moveTo>
                    <a:pt x="26" y="28"/>
                  </a:moveTo>
                  <a:lnTo>
                    <a:pt x="27" y="28"/>
                  </a:lnTo>
                  <a:lnTo>
                    <a:pt x="27" y="29"/>
                  </a:lnTo>
                  <a:lnTo>
                    <a:pt x="29" y="29"/>
                  </a:lnTo>
                  <a:lnTo>
                    <a:pt x="27" y="29"/>
                  </a:lnTo>
                  <a:lnTo>
                    <a:pt x="27" y="31"/>
                  </a:lnTo>
                  <a:lnTo>
                    <a:pt x="29" y="31"/>
                  </a:lnTo>
                  <a:lnTo>
                    <a:pt x="29" y="33"/>
                  </a:lnTo>
                  <a:lnTo>
                    <a:pt x="27" y="33"/>
                  </a:lnTo>
                  <a:lnTo>
                    <a:pt x="27" y="34"/>
                  </a:lnTo>
                  <a:lnTo>
                    <a:pt x="26" y="34"/>
                  </a:lnTo>
                  <a:lnTo>
                    <a:pt x="27" y="34"/>
                  </a:lnTo>
                  <a:lnTo>
                    <a:pt x="26" y="34"/>
                  </a:lnTo>
                  <a:lnTo>
                    <a:pt x="26" y="36"/>
                  </a:lnTo>
                  <a:lnTo>
                    <a:pt x="26" y="38"/>
                  </a:lnTo>
                  <a:lnTo>
                    <a:pt x="27" y="38"/>
                  </a:lnTo>
                  <a:lnTo>
                    <a:pt x="27" y="36"/>
                  </a:lnTo>
                  <a:lnTo>
                    <a:pt x="29" y="36"/>
                  </a:lnTo>
                  <a:lnTo>
                    <a:pt x="31" y="36"/>
                  </a:lnTo>
                  <a:lnTo>
                    <a:pt x="31" y="38"/>
                  </a:lnTo>
                  <a:lnTo>
                    <a:pt x="32" y="39"/>
                  </a:lnTo>
                  <a:lnTo>
                    <a:pt x="31" y="39"/>
                  </a:lnTo>
                  <a:lnTo>
                    <a:pt x="32" y="41"/>
                  </a:lnTo>
                  <a:lnTo>
                    <a:pt x="32" y="42"/>
                  </a:lnTo>
                  <a:lnTo>
                    <a:pt x="34" y="42"/>
                  </a:lnTo>
                  <a:lnTo>
                    <a:pt x="34" y="44"/>
                  </a:lnTo>
                  <a:lnTo>
                    <a:pt x="32" y="44"/>
                  </a:lnTo>
                  <a:lnTo>
                    <a:pt x="34" y="42"/>
                  </a:lnTo>
                  <a:lnTo>
                    <a:pt x="32" y="42"/>
                  </a:lnTo>
                  <a:lnTo>
                    <a:pt x="31" y="42"/>
                  </a:lnTo>
                  <a:lnTo>
                    <a:pt x="29" y="42"/>
                  </a:lnTo>
                  <a:lnTo>
                    <a:pt x="27" y="42"/>
                  </a:lnTo>
                  <a:lnTo>
                    <a:pt x="27" y="44"/>
                  </a:lnTo>
                  <a:lnTo>
                    <a:pt x="29" y="44"/>
                  </a:lnTo>
                  <a:lnTo>
                    <a:pt x="27" y="46"/>
                  </a:lnTo>
                  <a:lnTo>
                    <a:pt x="29" y="46"/>
                  </a:lnTo>
                  <a:lnTo>
                    <a:pt x="27" y="46"/>
                  </a:lnTo>
                  <a:lnTo>
                    <a:pt x="26" y="46"/>
                  </a:lnTo>
                  <a:lnTo>
                    <a:pt x="27" y="46"/>
                  </a:lnTo>
                  <a:lnTo>
                    <a:pt x="27" y="44"/>
                  </a:lnTo>
                  <a:lnTo>
                    <a:pt x="26" y="44"/>
                  </a:lnTo>
                  <a:lnTo>
                    <a:pt x="24" y="44"/>
                  </a:lnTo>
                  <a:lnTo>
                    <a:pt x="24" y="46"/>
                  </a:lnTo>
                  <a:lnTo>
                    <a:pt x="22" y="46"/>
                  </a:lnTo>
                  <a:lnTo>
                    <a:pt x="24" y="46"/>
                  </a:lnTo>
                  <a:lnTo>
                    <a:pt x="26" y="46"/>
                  </a:lnTo>
                  <a:lnTo>
                    <a:pt x="26" y="47"/>
                  </a:lnTo>
                  <a:lnTo>
                    <a:pt x="24" y="47"/>
                  </a:lnTo>
                  <a:lnTo>
                    <a:pt x="26" y="47"/>
                  </a:lnTo>
                  <a:lnTo>
                    <a:pt x="26" y="49"/>
                  </a:lnTo>
                  <a:lnTo>
                    <a:pt x="24" y="49"/>
                  </a:lnTo>
                  <a:lnTo>
                    <a:pt x="26" y="49"/>
                  </a:lnTo>
                  <a:lnTo>
                    <a:pt x="26" y="51"/>
                  </a:lnTo>
                  <a:lnTo>
                    <a:pt x="26" y="49"/>
                  </a:lnTo>
                  <a:lnTo>
                    <a:pt x="27" y="49"/>
                  </a:lnTo>
                  <a:lnTo>
                    <a:pt x="27" y="47"/>
                  </a:lnTo>
                  <a:lnTo>
                    <a:pt x="27" y="49"/>
                  </a:lnTo>
                  <a:lnTo>
                    <a:pt x="29" y="49"/>
                  </a:lnTo>
                  <a:lnTo>
                    <a:pt x="29" y="47"/>
                  </a:lnTo>
                  <a:lnTo>
                    <a:pt x="29" y="49"/>
                  </a:lnTo>
                  <a:lnTo>
                    <a:pt x="29" y="51"/>
                  </a:lnTo>
                  <a:lnTo>
                    <a:pt x="31" y="51"/>
                  </a:lnTo>
                  <a:lnTo>
                    <a:pt x="31" y="52"/>
                  </a:lnTo>
                  <a:lnTo>
                    <a:pt x="29" y="54"/>
                  </a:lnTo>
                  <a:lnTo>
                    <a:pt x="29" y="52"/>
                  </a:lnTo>
                  <a:lnTo>
                    <a:pt x="29" y="54"/>
                  </a:lnTo>
                  <a:lnTo>
                    <a:pt x="27" y="54"/>
                  </a:lnTo>
                  <a:lnTo>
                    <a:pt x="26" y="52"/>
                  </a:lnTo>
                  <a:lnTo>
                    <a:pt x="24" y="52"/>
                  </a:lnTo>
                  <a:lnTo>
                    <a:pt x="24" y="51"/>
                  </a:lnTo>
                  <a:lnTo>
                    <a:pt x="22" y="51"/>
                  </a:lnTo>
                  <a:lnTo>
                    <a:pt x="22" y="49"/>
                  </a:lnTo>
                  <a:lnTo>
                    <a:pt x="21" y="49"/>
                  </a:lnTo>
                  <a:lnTo>
                    <a:pt x="21" y="51"/>
                  </a:lnTo>
                  <a:lnTo>
                    <a:pt x="19" y="51"/>
                  </a:lnTo>
                  <a:lnTo>
                    <a:pt x="19" y="49"/>
                  </a:lnTo>
                  <a:lnTo>
                    <a:pt x="21" y="49"/>
                  </a:lnTo>
                  <a:lnTo>
                    <a:pt x="21" y="47"/>
                  </a:lnTo>
                  <a:lnTo>
                    <a:pt x="19" y="47"/>
                  </a:lnTo>
                  <a:lnTo>
                    <a:pt x="19" y="49"/>
                  </a:lnTo>
                  <a:lnTo>
                    <a:pt x="19" y="47"/>
                  </a:lnTo>
                  <a:lnTo>
                    <a:pt x="19" y="49"/>
                  </a:lnTo>
                  <a:lnTo>
                    <a:pt x="18" y="49"/>
                  </a:lnTo>
                  <a:lnTo>
                    <a:pt x="18" y="47"/>
                  </a:lnTo>
                  <a:lnTo>
                    <a:pt x="16" y="47"/>
                  </a:lnTo>
                  <a:lnTo>
                    <a:pt x="18" y="47"/>
                  </a:lnTo>
                  <a:lnTo>
                    <a:pt x="16" y="47"/>
                  </a:lnTo>
                  <a:lnTo>
                    <a:pt x="18" y="49"/>
                  </a:lnTo>
                  <a:lnTo>
                    <a:pt x="16" y="49"/>
                  </a:lnTo>
                  <a:lnTo>
                    <a:pt x="16" y="51"/>
                  </a:lnTo>
                  <a:lnTo>
                    <a:pt x="16" y="49"/>
                  </a:lnTo>
                  <a:lnTo>
                    <a:pt x="14" y="49"/>
                  </a:lnTo>
                  <a:lnTo>
                    <a:pt x="13" y="49"/>
                  </a:lnTo>
                  <a:lnTo>
                    <a:pt x="11" y="49"/>
                  </a:lnTo>
                  <a:lnTo>
                    <a:pt x="13" y="49"/>
                  </a:lnTo>
                  <a:lnTo>
                    <a:pt x="11" y="51"/>
                  </a:lnTo>
                  <a:lnTo>
                    <a:pt x="11" y="49"/>
                  </a:lnTo>
                  <a:lnTo>
                    <a:pt x="13" y="49"/>
                  </a:lnTo>
                  <a:lnTo>
                    <a:pt x="11" y="47"/>
                  </a:lnTo>
                  <a:lnTo>
                    <a:pt x="13" y="47"/>
                  </a:lnTo>
                  <a:lnTo>
                    <a:pt x="13" y="46"/>
                  </a:lnTo>
                  <a:lnTo>
                    <a:pt x="13" y="44"/>
                  </a:lnTo>
                  <a:lnTo>
                    <a:pt x="14" y="44"/>
                  </a:lnTo>
                  <a:lnTo>
                    <a:pt x="16" y="44"/>
                  </a:lnTo>
                  <a:lnTo>
                    <a:pt x="18" y="44"/>
                  </a:lnTo>
                  <a:lnTo>
                    <a:pt x="18" y="46"/>
                  </a:lnTo>
                  <a:lnTo>
                    <a:pt x="18" y="47"/>
                  </a:lnTo>
                  <a:lnTo>
                    <a:pt x="19" y="47"/>
                  </a:lnTo>
                  <a:lnTo>
                    <a:pt x="19" y="46"/>
                  </a:lnTo>
                  <a:lnTo>
                    <a:pt x="18" y="46"/>
                  </a:lnTo>
                  <a:lnTo>
                    <a:pt x="18" y="44"/>
                  </a:lnTo>
                  <a:lnTo>
                    <a:pt x="16" y="44"/>
                  </a:lnTo>
                  <a:lnTo>
                    <a:pt x="14" y="42"/>
                  </a:lnTo>
                  <a:lnTo>
                    <a:pt x="16" y="42"/>
                  </a:lnTo>
                  <a:lnTo>
                    <a:pt x="14" y="42"/>
                  </a:lnTo>
                  <a:lnTo>
                    <a:pt x="14" y="41"/>
                  </a:lnTo>
                  <a:lnTo>
                    <a:pt x="13" y="41"/>
                  </a:lnTo>
                  <a:lnTo>
                    <a:pt x="14" y="42"/>
                  </a:lnTo>
                  <a:lnTo>
                    <a:pt x="13" y="42"/>
                  </a:lnTo>
                  <a:lnTo>
                    <a:pt x="13" y="44"/>
                  </a:lnTo>
                  <a:lnTo>
                    <a:pt x="13" y="46"/>
                  </a:lnTo>
                  <a:lnTo>
                    <a:pt x="11" y="44"/>
                  </a:lnTo>
                  <a:lnTo>
                    <a:pt x="11" y="46"/>
                  </a:lnTo>
                  <a:lnTo>
                    <a:pt x="11" y="44"/>
                  </a:lnTo>
                  <a:lnTo>
                    <a:pt x="9" y="44"/>
                  </a:lnTo>
                  <a:lnTo>
                    <a:pt x="9" y="46"/>
                  </a:lnTo>
                  <a:lnTo>
                    <a:pt x="9" y="44"/>
                  </a:lnTo>
                  <a:lnTo>
                    <a:pt x="9" y="42"/>
                  </a:lnTo>
                  <a:lnTo>
                    <a:pt x="8" y="42"/>
                  </a:lnTo>
                  <a:lnTo>
                    <a:pt x="8" y="41"/>
                  </a:lnTo>
                  <a:lnTo>
                    <a:pt x="8" y="42"/>
                  </a:lnTo>
                  <a:lnTo>
                    <a:pt x="6" y="41"/>
                  </a:lnTo>
                  <a:lnTo>
                    <a:pt x="6" y="39"/>
                  </a:lnTo>
                  <a:lnTo>
                    <a:pt x="8" y="39"/>
                  </a:lnTo>
                  <a:lnTo>
                    <a:pt x="6" y="39"/>
                  </a:lnTo>
                  <a:lnTo>
                    <a:pt x="6" y="38"/>
                  </a:lnTo>
                  <a:lnTo>
                    <a:pt x="6" y="36"/>
                  </a:lnTo>
                  <a:lnTo>
                    <a:pt x="6" y="34"/>
                  </a:lnTo>
                  <a:lnTo>
                    <a:pt x="8" y="33"/>
                  </a:lnTo>
                  <a:lnTo>
                    <a:pt x="8" y="31"/>
                  </a:lnTo>
                  <a:lnTo>
                    <a:pt x="9" y="31"/>
                  </a:lnTo>
                  <a:lnTo>
                    <a:pt x="11" y="31"/>
                  </a:lnTo>
                  <a:lnTo>
                    <a:pt x="9" y="29"/>
                  </a:lnTo>
                  <a:lnTo>
                    <a:pt x="8" y="29"/>
                  </a:lnTo>
                  <a:lnTo>
                    <a:pt x="8" y="28"/>
                  </a:lnTo>
                  <a:lnTo>
                    <a:pt x="8" y="26"/>
                  </a:lnTo>
                  <a:lnTo>
                    <a:pt x="9" y="26"/>
                  </a:lnTo>
                  <a:lnTo>
                    <a:pt x="9" y="25"/>
                  </a:lnTo>
                  <a:lnTo>
                    <a:pt x="9" y="26"/>
                  </a:lnTo>
                  <a:lnTo>
                    <a:pt x="9" y="25"/>
                  </a:lnTo>
                  <a:lnTo>
                    <a:pt x="11" y="25"/>
                  </a:lnTo>
                  <a:lnTo>
                    <a:pt x="11" y="23"/>
                  </a:lnTo>
                  <a:lnTo>
                    <a:pt x="11" y="21"/>
                  </a:lnTo>
                  <a:lnTo>
                    <a:pt x="13" y="21"/>
                  </a:lnTo>
                  <a:lnTo>
                    <a:pt x="11" y="21"/>
                  </a:lnTo>
                  <a:lnTo>
                    <a:pt x="13" y="21"/>
                  </a:lnTo>
                  <a:lnTo>
                    <a:pt x="13" y="20"/>
                  </a:lnTo>
                  <a:lnTo>
                    <a:pt x="11" y="21"/>
                  </a:lnTo>
                  <a:lnTo>
                    <a:pt x="9" y="21"/>
                  </a:lnTo>
                  <a:lnTo>
                    <a:pt x="9" y="20"/>
                  </a:lnTo>
                  <a:lnTo>
                    <a:pt x="11" y="20"/>
                  </a:lnTo>
                  <a:lnTo>
                    <a:pt x="11" y="18"/>
                  </a:lnTo>
                  <a:lnTo>
                    <a:pt x="9" y="18"/>
                  </a:lnTo>
                  <a:lnTo>
                    <a:pt x="11" y="18"/>
                  </a:lnTo>
                  <a:lnTo>
                    <a:pt x="14" y="21"/>
                  </a:lnTo>
                  <a:lnTo>
                    <a:pt x="16" y="21"/>
                  </a:lnTo>
                  <a:lnTo>
                    <a:pt x="18" y="23"/>
                  </a:lnTo>
                  <a:lnTo>
                    <a:pt x="19" y="25"/>
                  </a:lnTo>
                  <a:lnTo>
                    <a:pt x="21" y="25"/>
                  </a:lnTo>
                  <a:lnTo>
                    <a:pt x="22" y="26"/>
                  </a:lnTo>
                  <a:lnTo>
                    <a:pt x="21" y="25"/>
                  </a:lnTo>
                  <a:lnTo>
                    <a:pt x="22" y="26"/>
                  </a:lnTo>
                  <a:lnTo>
                    <a:pt x="24" y="26"/>
                  </a:lnTo>
                  <a:lnTo>
                    <a:pt x="26" y="26"/>
                  </a:lnTo>
                  <a:lnTo>
                    <a:pt x="26" y="28"/>
                  </a:lnTo>
                  <a:close/>
                  <a:moveTo>
                    <a:pt x="1102" y="18"/>
                  </a:moveTo>
                  <a:lnTo>
                    <a:pt x="1104" y="18"/>
                  </a:lnTo>
                  <a:lnTo>
                    <a:pt x="1106" y="18"/>
                  </a:lnTo>
                  <a:lnTo>
                    <a:pt x="1106" y="20"/>
                  </a:lnTo>
                  <a:lnTo>
                    <a:pt x="1106" y="21"/>
                  </a:lnTo>
                  <a:lnTo>
                    <a:pt x="1104" y="21"/>
                  </a:lnTo>
                  <a:lnTo>
                    <a:pt x="1104" y="23"/>
                  </a:lnTo>
                  <a:lnTo>
                    <a:pt x="1104" y="21"/>
                  </a:lnTo>
                  <a:lnTo>
                    <a:pt x="1104" y="20"/>
                  </a:lnTo>
                  <a:lnTo>
                    <a:pt x="1102" y="20"/>
                  </a:lnTo>
                  <a:lnTo>
                    <a:pt x="1102" y="18"/>
                  </a:lnTo>
                  <a:close/>
                  <a:moveTo>
                    <a:pt x="1119" y="18"/>
                  </a:moveTo>
                  <a:lnTo>
                    <a:pt x="1117" y="18"/>
                  </a:lnTo>
                  <a:lnTo>
                    <a:pt x="1119" y="18"/>
                  </a:lnTo>
                  <a:close/>
                  <a:moveTo>
                    <a:pt x="995" y="18"/>
                  </a:moveTo>
                  <a:lnTo>
                    <a:pt x="993" y="18"/>
                  </a:lnTo>
                  <a:lnTo>
                    <a:pt x="995" y="18"/>
                  </a:lnTo>
                  <a:close/>
                  <a:moveTo>
                    <a:pt x="1047" y="18"/>
                  </a:moveTo>
                  <a:lnTo>
                    <a:pt x="1049" y="18"/>
                  </a:lnTo>
                  <a:lnTo>
                    <a:pt x="1047" y="18"/>
                  </a:lnTo>
                  <a:close/>
                  <a:moveTo>
                    <a:pt x="1023" y="18"/>
                  </a:moveTo>
                  <a:lnTo>
                    <a:pt x="1024" y="20"/>
                  </a:lnTo>
                  <a:lnTo>
                    <a:pt x="1024" y="21"/>
                  </a:lnTo>
                  <a:lnTo>
                    <a:pt x="1024" y="23"/>
                  </a:lnTo>
                  <a:lnTo>
                    <a:pt x="1024" y="21"/>
                  </a:lnTo>
                  <a:lnTo>
                    <a:pt x="1023" y="21"/>
                  </a:lnTo>
                  <a:lnTo>
                    <a:pt x="1021" y="21"/>
                  </a:lnTo>
                  <a:lnTo>
                    <a:pt x="1023" y="21"/>
                  </a:lnTo>
                  <a:lnTo>
                    <a:pt x="1023" y="23"/>
                  </a:lnTo>
                  <a:lnTo>
                    <a:pt x="1021" y="23"/>
                  </a:lnTo>
                  <a:lnTo>
                    <a:pt x="1021" y="25"/>
                  </a:lnTo>
                  <a:lnTo>
                    <a:pt x="1021" y="26"/>
                  </a:lnTo>
                  <a:lnTo>
                    <a:pt x="1019" y="28"/>
                  </a:lnTo>
                  <a:lnTo>
                    <a:pt x="1018" y="28"/>
                  </a:lnTo>
                  <a:lnTo>
                    <a:pt x="1018" y="26"/>
                  </a:lnTo>
                  <a:lnTo>
                    <a:pt x="1019" y="26"/>
                  </a:lnTo>
                  <a:lnTo>
                    <a:pt x="1019" y="25"/>
                  </a:lnTo>
                  <a:lnTo>
                    <a:pt x="1018" y="25"/>
                  </a:lnTo>
                  <a:lnTo>
                    <a:pt x="1019" y="25"/>
                  </a:lnTo>
                  <a:lnTo>
                    <a:pt x="1019" y="23"/>
                  </a:lnTo>
                  <a:lnTo>
                    <a:pt x="1018" y="23"/>
                  </a:lnTo>
                  <a:lnTo>
                    <a:pt x="1019" y="23"/>
                  </a:lnTo>
                  <a:lnTo>
                    <a:pt x="1019" y="21"/>
                  </a:lnTo>
                  <a:lnTo>
                    <a:pt x="1021" y="20"/>
                  </a:lnTo>
                  <a:lnTo>
                    <a:pt x="1021" y="18"/>
                  </a:lnTo>
                  <a:lnTo>
                    <a:pt x="1023" y="16"/>
                  </a:lnTo>
                  <a:lnTo>
                    <a:pt x="1023" y="18"/>
                  </a:lnTo>
                  <a:close/>
                  <a:moveTo>
                    <a:pt x="995" y="18"/>
                  </a:moveTo>
                  <a:lnTo>
                    <a:pt x="995" y="16"/>
                  </a:lnTo>
                  <a:lnTo>
                    <a:pt x="995" y="18"/>
                  </a:lnTo>
                  <a:close/>
                  <a:moveTo>
                    <a:pt x="1003" y="16"/>
                  </a:moveTo>
                  <a:lnTo>
                    <a:pt x="1003" y="18"/>
                  </a:lnTo>
                  <a:lnTo>
                    <a:pt x="1003" y="16"/>
                  </a:lnTo>
                  <a:close/>
                  <a:moveTo>
                    <a:pt x="14" y="18"/>
                  </a:moveTo>
                  <a:lnTo>
                    <a:pt x="13" y="18"/>
                  </a:lnTo>
                  <a:lnTo>
                    <a:pt x="13" y="16"/>
                  </a:lnTo>
                  <a:lnTo>
                    <a:pt x="13" y="18"/>
                  </a:lnTo>
                  <a:lnTo>
                    <a:pt x="14" y="18"/>
                  </a:lnTo>
                  <a:close/>
                  <a:moveTo>
                    <a:pt x="1164" y="16"/>
                  </a:moveTo>
                  <a:lnTo>
                    <a:pt x="1164" y="18"/>
                  </a:lnTo>
                  <a:lnTo>
                    <a:pt x="1163" y="18"/>
                  </a:lnTo>
                  <a:lnTo>
                    <a:pt x="1163" y="16"/>
                  </a:lnTo>
                  <a:lnTo>
                    <a:pt x="1164" y="16"/>
                  </a:lnTo>
                  <a:close/>
                  <a:moveTo>
                    <a:pt x="1094" y="16"/>
                  </a:moveTo>
                  <a:lnTo>
                    <a:pt x="1094" y="18"/>
                  </a:lnTo>
                  <a:lnTo>
                    <a:pt x="1096" y="20"/>
                  </a:lnTo>
                  <a:lnTo>
                    <a:pt x="1096" y="21"/>
                  </a:lnTo>
                  <a:lnTo>
                    <a:pt x="1094" y="21"/>
                  </a:lnTo>
                  <a:lnTo>
                    <a:pt x="1093" y="23"/>
                  </a:lnTo>
                  <a:lnTo>
                    <a:pt x="1093" y="21"/>
                  </a:lnTo>
                  <a:lnTo>
                    <a:pt x="1091" y="21"/>
                  </a:lnTo>
                  <a:lnTo>
                    <a:pt x="1093" y="20"/>
                  </a:lnTo>
                  <a:lnTo>
                    <a:pt x="1091" y="20"/>
                  </a:lnTo>
                  <a:lnTo>
                    <a:pt x="1091" y="18"/>
                  </a:lnTo>
                  <a:lnTo>
                    <a:pt x="1093" y="18"/>
                  </a:lnTo>
                  <a:lnTo>
                    <a:pt x="1093" y="16"/>
                  </a:lnTo>
                  <a:lnTo>
                    <a:pt x="1094" y="16"/>
                  </a:lnTo>
                  <a:close/>
                  <a:moveTo>
                    <a:pt x="995" y="16"/>
                  </a:moveTo>
                  <a:lnTo>
                    <a:pt x="993" y="16"/>
                  </a:lnTo>
                  <a:lnTo>
                    <a:pt x="995" y="16"/>
                  </a:lnTo>
                  <a:close/>
                  <a:moveTo>
                    <a:pt x="48" y="21"/>
                  </a:moveTo>
                  <a:lnTo>
                    <a:pt x="47" y="21"/>
                  </a:lnTo>
                  <a:lnTo>
                    <a:pt x="45" y="20"/>
                  </a:lnTo>
                  <a:lnTo>
                    <a:pt x="45" y="21"/>
                  </a:lnTo>
                  <a:lnTo>
                    <a:pt x="44" y="20"/>
                  </a:lnTo>
                  <a:lnTo>
                    <a:pt x="42" y="20"/>
                  </a:lnTo>
                  <a:lnTo>
                    <a:pt x="40" y="20"/>
                  </a:lnTo>
                  <a:lnTo>
                    <a:pt x="40" y="18"/>
                  </a:lnTo>
                  <a:lnTo>
                    <a:pt x="39" y="18"/>
                  </a:lnTo>
                  <a:lnTo>
                    <a:pt x="39" y="16"/>
                  </a:lnTo>
                  <a:lnTo>
                    <a:pt x="40" y="16"/>
                  </a:lnTo>
                  <a:lnTo>
                    <a:pt x="39" y="16"/>
                  </a:lnTo>
                  <a:lnTo>
                    <a:pt x="40" y="16"/>
                  </a:lnTo>
                  <a:lnTo>
                    <a:pt x="42" y="16"/>
                  </a:lnTo>
                  <a:lnTo>
                    <a:pt x="42" y="18"/>
                  </a:lnTo>
                  <a:lnTo>
                    <a:pt x="42" y="16"/>
                  </a:lnTo>
                  <a:lnTo>
                    <a:pt x="44" y="16"/>
                  </a:lnTo>
                  <a:lnTo>
                    <a:pt x="44" y="18"/>
                  </a:lnTo>
                  <a:lnTo>
                    <a:pt x="44" y="16"/>
                  </a:lnTo>
                  <a:lnTo>
                    <a:pt x="45" y="16"/>
                  </a:lnTo>
                  <a:lnTo>
                    <a:pt x="45" y="18"/>
                  </a:lnTo>
                  <a:lnTo>
                    <a:pt x="45" y="20"/>
                  </a:lnTo>
                  <a:lnTo>
                    <a:pt x="47" y="20"/>
                  </a:lnTo>
                  <a:lnTo>
                    <a:pt x="47" y="18"/>
                  </a:lnTo>
                  <a:lnTo>
                    <a:pt x="47" y="20"/>
                  </a:lnTo>
                  <a:lnTo>
                    <a:pt x="48" y="21"/>
                  </a:lnTo>
                  <a:close/>
                  <a:moveTo>
                    <a:pt x="1021" y="16"/>
                  </a:moveTo>
                  <a:lnTo>
                    <a:pt x="1021" y="18"/>
                  </a:lnTo>
                  <a:lnTo>
                    <a:pt x="1019" y="16"/>
                  </a:lnTo>
                  <a:lnTo>
                    <a:pt x="1021" y="16"/>
                  </a:lnTo>
                  <a:close/>
                  <a:moveTo>
                    <a:pt x="759" y="16"/>
                  </a:moveTo>
                  <a:lnTo>
                    <a:pt x="761" y="16"/>
                  </a:lnTo>
                  <a:lnTo>
                    <a:pt x="759" y="16"/>
                  </a:lnTo>
                  <a:close/>
                  <a:moveTo>
                    <a:pt x="48" y="16"/>
                  </a:moveTo>
                  <a:lnTo>
                    <a:pt x="47" y="16"/>
                  </a:lnTo>
                  <a:lnTo>
                    <a:pt x="47" y="15"/>
                  </a:lnTo>
                  <a:lnTo>
                    <a:pt x="48" y="16"/>
                  </a:lnTo>
                  <a:close/>
                  <a:moveTo>
                    <a:pt x="1002" y="16"/>
                  </a:moveTo>
                  <a:lnTo>
                    <a:pt x="1003" y="16"/>
                  </a:lnTo>
                  <a:lnTo>
                    <a:pt x="1003" y="18"/>
                  </a:lnTo>
                  <a:lnTo>
                    <a:pt x="1003" y="20"/>
                  </a:lnTo>
                  <a:lnTo>
                    <a:pt x="1003" y="21"/>
                  </a:lnTo>
                  <a:lnTo>
                    <a:pt x="1003" y="23"/>
                  </a:lnTo>
                  <a:lnTo>
                    <a:pt x="1005" y="23"/>
                  </a:lnTo>
                  <a:lnTo>
                    <a:pt x="1003" y="25"/>
                  </a:lnTo>
                  <a:lnTo>
                    <a:pt x="1005" y="25"/>
                  </a:lnTo>
                  <a:lnTo>
                    <a:pt x="1003" y="25"/>
                  </a:lnTo>
                  <a:lnTo>
                    <a:pt x="1003" y="26"/>
                  </a:lnTo>
                  <a:lnTo>
                    <a:pt x="1002" y="28"/>
                  </a:lnTo>
                  <a:lnTo>
                    <a:pt x="1002" y="26"/>
                  </a:lnTo>
                  <a:lnTo>
                    <a:pt x="1000" y="25"/>
                  </a:lnTo>
                  <a:lnTo>
                    <a:pt x="1002" y="25"/>
                  </a:lnTo>
                  <a:lnTo>
                    <a:pt x="1000" y="25"/>
                  </a:lnTo>
                  <a:lnTo>
                    <a:pt x="1002" y="23"/>
                  </a:lnTo>
                  <a:lnTo>
                    <a:pt x="1000" y="23"/>
                  </a:lnTo>
                  <a:lnTo>
                    <a:pt x="998" y="23"/>
                  </a:lnTo>
                  <a:lnTo>
                    <a:pt x="997" y="23"/>
                  </a:lnTo>
                  <a:lnTo>
                    <a:pt x="995" y="23"/>
                  </a:lnTo>
                  <a:lnTo>
                    <a:pt x="993" y="23"/>
                  </a:lnTo>
                  <a:lnTo>
                    <a:pt x="993" y="21"/>
                  </a:lnTo>
                  <a:lnTo>
                    <a:pt x="995" y="21"/>
                  </a:lnTo>
                  <a:lnTo>
                    <a:pt x="995" y="20"/>
                  </a:lnTo>
                  <a:lnTo>
                    <a:pt x="995" y="18"/>
                  </a:lnTo>
                  <a:lnTo>
                    <a:pt x="997" y="18"/>
                  </a:lnTo>
                  <a:lnTo>
                    <a:pt x="995" y="18"/>
                  </a:lnTo>
                  <a:lnTo>
                    <a:pt x="997" y="16"/>
                  </a:lnTo>
                  <a:lnTo>
                    <a:pt x="997" y="18"/>
                  </a:lnTo>
                  <a:lnTo>
                    <a:pt x="997" y="16"/>
                  </a:lnTo>
                  <a:lnTo>
                    <a:pt x="998" y="16"/>
                  </a:lnTo>
                  <a:lnTo>
                    <a:pt x="997" y="16"/>
                  </a:lnTo>
                  <a:lnTo>
                    <a:pt x="997" y="15"/>
                  </a:lnTo>
                  <a:lnTo>
                    <a:pt x="998" y="15"/>
                  </a:lnTo>
                  <a:lnTo>
                    <a:pt x="998" y="16"/>
                  </a:lnTo>
                  <a:lnTo>
                    <a:pt x="1000" y="15"/>
                  </a:lnTo>
                  <a:lnTo>
                    <a:pt x="1000" y="16"/>
                  </a:lnTo>
                  <a:lnTo>
                    <a:pt x="1002" y="16"/>
                  </a:lnTo>
                  <a:close/>
                  <a:moveTo>
                    <a:pt x="35" y="15"/>
                  </a:moveTo>
                  <a:lnTo>
                    <a:pt x="37" y="15"/>
                  </a:lnTo>
                  <a:lnTo>
                    <a:pt x="37" y="16"/>
                  </a:lnTo>
                  <a:lnTo>
                    <a:pt x="37" y="18"/>
                  </a:lnTo>
                  <a:lnTo>
                    <a:pt x="35" y="16"/>
                  </a:lnTo>
                  <a:lnTo>
                    <a:pt x="34" y="16"/>
                  </a:lnTo>
                  <a:lnTo>
                    <a:pt x="35" y="15"/>
                  </a:lnTo>
                  <a:lnTo>
                    <a:pt x="35" y="16"/>
                  </a:lnTo>
                  <a:lnTo>
                    <a:pt x="37" y="16"/>
                  </a:lnTo>
                  <a:lnTo>
                    <a:pt x="37" y="15"/>
                  </a:lnTo>
                  <a:lnTo>
                    <a:pt x="35" y="15"/>
                  </a:lnTo>
                  <a:close/>
                  <a:moveTo>
                    <a:pt x="1023" y="15"/>
                  </a:moveTo>
                  <a:lnTo>
                    <a:pt x="1021" y="15"/>
                  </a:lnTo>
                  <a:lnTo>
                    <a:pt x="1023" y="15"/>
                  </a:lnTo>
                  <a:close/>
                  <a:moveTo>
                    <a:pt x="40" y="15"/>
                  </a:moveTo>
                  <a:lnTo>
                    <a:pt x="40" y="16"/>
                  </a:lnTo>
                  <a:lnTo>
                    <a:pt x="39" y="16"/>
                  </a:lnTo>
                  <a:lnTo>
                    <a:pt x="39" y="15"/>
                  </a:lnTo>
                  <a:lnTo>
                    <a:pt x="40" y="16"/>
                  </a:lnTo>
                  <a:lnTo>
                    <a:pt x="40" y="15"/>
                  </a:lnTo>
                  <a:close/>
                  <a:moveTo>
                    <a:pt x="1101" y="15"/>
                  </a:moveTo>
                  <a:lnTo>
                    <a:pt x="1101" y="16"/>
                  </a:lnTo>
                  <a:lnTo>
                    <a:pt x="1099" y="16"/>
                  </a:lnTo>
                  <a:lnTo>
                    <a:pt x="1099" y="15"/>
                  </a:lnTo>
                  <a:lnTo>
                    <a:pt x="1101" y="15"/>
                  </a:lnTo>
                  <a:close/>
                  <a:moveTo>
                    <a:pt x="741" y="15"/>
                  </a:moveTo>
                  <a:lnTo>
                    <a:pt x="743" y="15"/>
                  </a:lnTo>
                  <a:lnTo>
                    <a:pt x="741" y="15"/>
                  </a:lnTo>
                  <a:close/>
                  <a:moveTo>
                    <a:pt x="1080" y="15"/>
                  </a:moveTo>
                  <a:lnTo>
                    <a:pt x="1081" y="15"/>
                  </a:lnTo>
                  <a:lnTo>
                    <a:pt x="1080" y="15"/>
                  </a:lnTo>
                  <a:close/>
                  <a:moveTo>
                    <a:pt x="1010" y="15"/>
                  </a:moveTo>
                  <a:lnTo>
                    <a:pt x="1008" y="15"/>
                  </a:lnTo>
                  <a:lnTo>
                    <a:pt x="1010" y="15"/>
                  </a:lnTo>
                  <a:close/>
                  <a:moveTo>
                    <a:pt x="1124" y="16"/>
                  </a:moveTo>
                  <a:lnTo>
                    <a:pt x="1124" y="15"/>
                  </a:lnTo>
                  <a:lnTo>
                    <a:pt x="1124" y="16"/>
                  </a:lnTo>
                  <a:close/>
                  <a:moveTo>
                    <a:pt x="1026" y="16"/>
                  </a:moveTo>
                  <a:lnTo>
                    <a:pt x="1024" y="16"/>
                  </a:lnTo>
                  <a:lnTo>
                    <a:pt x="1024" y="15"/>
                  </a:lnTo>
                  <a:lnTo>
                    <a:pt x="1026" y="15"/>
                  </a:lnTo>
                  <a:lnTo>
                    <a:pt x="1028" y="15"/>
                  </a:lnTo>
                  <a:lnTo>
                    <a:pt x="1029" y="15"/>
                  </a:lnTo>
                  <a:lnTo>
                    <a:pt x="1031" y="16"/>
                  </a:lnTo>
                  <a:lnTo>
                    <a:pt x="1029" y="16"/>
                  </a:lnTo>
                  <a:lnTo>
                    <a:pt x="1028" y="18"/>
                  </a:lnTo>
                  <a:lnTo>
                    <a:pt x="1026" y="16"/>
                  </a:lnTo>
                  <a:close/>
                  <a:moveTo>
                    <a:pt x="1054" y="16"/>
                  </a:moveTo>
                  <a:lnTo>
                    <a:pt x="1052" y="16"/>
                  </a:lnTo>
                  <a:lnTo>
                    <a:pt x="1050" y="16"/>
                  </a:lnTo>
                  <a:lnTo>
                    <a:pt x="1049" y="16"/>
                  </a:lnTo>
                  <a:lnTo>
                    <a:pt x="1050" y="16"/>
                  </a:lnTo>
                  <a:lnTo>
                    <a:pt x="1049" y="16"/>
                  </a:lnTo>
                  <a:lnTo>
                    <a:pt x="1050" y="15"/>
                  </a:lnTo>
                  <a:lnTo>
                    <a:pt x="1050" y="16"/>
                  </a:lnTo>
                  <a:lnTo>
                    <a:pt x="1050" y="15"/>
                  </a:lnTo>
                  <a:lnTo>
                    <a:pt x="1052" y="15"/>
                  </a:lnTo>
                  <a:lnTo>
                    <a:pt x="1054" y="15"/>
                  </a:lnTo>
                  <a:lnTo>
                    <a:pt x="1055" y="15"/>
                  </a:lnTo>
                  <a:lnTo>
                    <a:pt x="1054" y="16"/>
                  </a:lnTo>
                  <a:close/>
                  <a:moveTo>
                    <a:pt x="29" y="15"/>
                  </a:moveTo>
                  <a:lnTo>
                    <a:pt x="29" y="13"/>
                  </a:lnTo>
                  <a:lnTo>
                    <a:pt x="29" y="15"/>
                  </a:lnTo>
                  <a:close/>
                  <a:moveTo>
                    <a:pt x="34" y="15"/>
                  </a:moveTo>
                  <a:lnTo>
                    <a:pt x="34" y="13"/>
                  </a:lnTo>
                  <a:lnTo>
                    <a:pt x="34" y="15"/>
                  </a:lnTo>
                  <a:close/>
                  <a:moveTo>
                    <a:pt x="1005" y="13"/>
                  </a:moveTo>
                  <a:lnTo>
                    <a:pt x="1005" y="15"/>
                  </a:lnTo>
                  <a:lnTo>
                    <a:pt x="1005" y="13"/>
                  </a:lnTo>
                  <a:close/>
                  <a:moveTo>
                    <a:pt x="1107" y="15"/>
                  </a:moveTo>
                  <a:lnTo>
                    <a:pt x="1106" y="15"/>
                  </a:lnTo>
                  <a:lnTo>
                    <a:pt x="1106" y="13"/>
                  </a:lnTo>
                  <a:lnTo>
                    <a:pt x="1107" y="15"/>
                  </a:lnTo>
                  <a:close/>
                  <a:moveTo>
                    <a:pt x="998" y="15"/>
                  </a:moveTo>
                  <a:lnTo>
                    <a:pt x="998" y="13"/>
                  </a:lnTo>
                  <a:lnTo>
                    <a:pt x="1000" y="15"/>
                  </a:lnTo>
                  <a:lnTo>
                    <a:pt x="998" y="15"/>
                  </a:lnTo>
                  <a:close/>
                  <a:moveTo>
                    <a:pt x="35" y="15"/>
                  </a:moveTo>
                  <a:lnTo>
                    <a:pt x="35" y="13"/>
                  </a:lnTo>
                  <a:lnTo>
                    <a:pt x="35" y="15"/>
                  </a:lnTo>
                  <a:close/>
                  <a:moveTo>
                    <a:pt x="14" y="18"/>
                  </a:moveTo>
                  <a:lnTo>
                    <a:pt x="14" y="16"/>
                  </a:lnTo>
                  <a:lnTo>
                    <a:pt x="13" y="16"/>
                  </a:lnTo>
                  <a:lnTo>
                    <a:pt x="13" y="15"/>
                  </a:lnTo>
                  <a:lnTo>
                    <a:pt x="14" y="15"/>
                  </a:lnTo>
                  <a:lnTo>
                    <a:pt x="14" y="16"/>
                  </a:lnTo>
                  <a:lnTo>
                    <a:pt x="14" y="15"/>
                  </a:lnTo>
                  <a:lnTo>
                    <a:pt x="16" y="15"/>
                  </a:lnTo>
                  <a:lnTo>
                    <a:pt x="16" y="13"/>
                  </a:lnTo>
                  <a:lnTo>
                    <a:pt x="18" y="13"/>
                  </a:lnTo>
                  <a:lnTo>
                    <a:pt x="18" y="15"/>
                  </a:lnTo>
                  <a:lnTo>
                    <a:pt x="19" y="16"/>
                  </a:lnTo>
                  <a:lnTo>
                    <a:pt x="19" y="15"/>
                  </a:lnTo>
                  <a:lnTo>
                    <a:pt x="19" y="13"/>
                  </a:lnTo>
                  <a:lnTo>
                    <a:pt x="21" y="15"/>
                  </a:lnTo>
                  <a:lnTo>
                    <a:pt x="21" y="13"/>
                  </a:lnTo>
                  <a:lnTo>
                    <a:pt x="22" y="15"/>
                  </a:lnTo>
                  <a:lnTo>
                    <a:pt x="24" y="15"/>
                  </a:lnTo>
                  <a:lnTo>
                    <a:pt x="24" y="16"/>
                  </a:lnTo>
                  <a:lnTo>
                    <a:pt x="26" y="16"/>
                  </a:lnTo>
                  <a:lnTo>
                    <a:pt x="27" y="16"/>
                  </a:lnTo>
                  <a:lnTo>
                    <a:pt x="29" y="16"/>
                  </a:lnTo>
                  <a:lnTo>
                    <a:pt x="32" y="18"/>
                  </a:lnTo>
                  <a:lnTo>
                    <a:pt x="34" y="18"/>
                  </a:lnTo>
                  <a:lnTo>
                    <a:pt x="35" y="18"/>
                  </a:lnTo>
                  <a:lnTo>
                    <a:pt x="35" y="20"/>
                  </a:lnTo>
                  <a:lnTo>
                    <a:pt x="34" y="18"/>
                  </a:lnTo>
                  <a:lnTo>
                    <a:pt x="34" y="20"/>
                  </a:lnTo>
                  <a:lnTo>
                    <a:pt x="35" y="20"/>
                  </a:lnTo>
                  <a:lnTo>
                    <a:pt x="37" y="20"/>
                  </a:lnTo>
                  <a:lnTo>
                    <a:pt x="39" y="21"/>
                  </a:lnTo>
                  <a:lnTo>
                    <a:pt x="37" y="21"/>
                  </a:lnTo>
                  <a:lnTo>
                    <a:pt x="35" y="21"/>
                  </a:lnTo>
                  <a:lnTo>
                    <a:pt x="35" y="23"/>
                  </a:lnTo>
                  <a:lnTo>
                    <a:pt x="34" y="23"/>
                  </a:lnTo>
                  <a:lnTo>
                    <a:pt x="32" y="25"/>
                  </a:lnTo>
                  <a:lnTo>
                    <a:pt x="31" y="25"/>
                  </a:lnTo>
                  <a:lnTo>
                    <a:pt x="29" y="25"/>
                  </a:lnTo>
                  <a:lnTo>
                    <a:pt x="29" y="23"/>
                  </a:lnTo>
                  <a:lnTo>
                    <a:pt x="31" y="23"/>
                  </a:lnTo>
                  <a:lnTo>
                    <a:pt x="32" y="21"/>
                  </a:lnTo>
                  <a:lnTo>
                    <a:pt x="34" y="21"/>
                  </a:lnTo>
                  <a:lnTo>
                    <a:pt x="35" y="21"/>
                  </a:lnTo>
                  <a:lnTo>
                    <a:pt x="34" y="21"/>
                  </a:lnTo>
                  <a:lnTo>
                    <a:pt x="34" y="20"/>
                  </a:lnTo>
                  <a:lnTo>
                    <a:pt x="32" y="20"/>
                  </a:lnTo>
                  <a:lnTo>
                    <a:pt x="34" y="18"/>
                  </a:lnTo>
                  <a:lnTo>
                    <a:pt x="32" y="18"/>
                  </a:lnTo>
                  <a:lnTo>
                    <a:pt x="32" y="20"/>
                  </a:lnTo>
                  <a:lnTo>
                    <a:pt x="32" y="21"/>
                  </a:lnTo>
                  <a:lnTo>
                    <a:pt x="31" y="21"/>
                  </a:lnTo>
                  <a:lnTo>
                    <a:pt x="32" y="21"/>
                  </a:lnTo>
                  <a:lnTo>
                    <a:pt x="31" y="21"/>
                  </a:lnTo>
                  <a:lnTo>
                    <a:pt x="29" y="23"/>
                  </a:lnTo>
                  <a:lnTo>
                    <a:pt x="27" y="23"/>
                  </a:lnTo>
                  <a:lnTo>
                    <a:pt x="27" y="25"/>
                  </a:lnTo>
                  <a:lnTo>
                    <a:pt x="26" y="25"/>
                  </a:lnTo>
                  <a:lnTo>
                    <a:pt x="26" y="26"/>
                  </a:lnTo>
                  <a:lnTo>
                    <a:pt x="24" y="26"/>
                  </a:lnTo>
                  <a:lnTo>
                    <a:pt x="22" y="25"/>
                  </a:lnTo>
                  <a:lnTo>
                    <a:pt x="21" y="25"/>
                  </a:lnTo>
                  <a:lnTo>
                    <a:pt x="19" y="23"/>
                  </a:lnTo>
                  <a:lnTo>
                    <a:pt x="18" y="23"/>
                  </a:lnTo>
                  <a:lnTo>
                    <a:pt x="18" y="21"/>
                  </a:lnTo>
                  <a:lnTo>
                    <a:pt x="16" y="21"/>
                  </a:lnTo>
                  <a:lnTo>
                    <a:pt x="16" y="20"/>
                  </a:lnTo>
                  <a:lnTo>
                    <a:pt x="14" y="18"/>
                  </a:lnTo>
                  <a:close/>
                  <a:moveTo>
                    <a:pt x="34" y="13"/>
                  </a:moveTo>
                  <a:lnTo>
                    <a:pt x="34" y="16"/>
                  </a:lnTo>
                  <a:lnTo>
                    <a:pt x="32" y="15"/>
                  </a:lnTo>
                  <a:lnTo>
                    <a:pt x="32" y="13"/>
                  </a:lnTo>
                  <a:lnTo>
                    <a:pt x="34" y="13"/>
                  </a:lnTo>
                  <a:close/>
                  <a:moveTo>
                    <a:pt x="728" y="13"/>
                  </a:moveTo>
                  <a:lnTo>
                    <a:pt x="727" y="13"/>
                  </a:lnTo>
                  <a:lnTo>
                    <a:pt x="728" y="13"/>
                  </a:lnTo>
                  <a:close/>
                  <a:moveTo>
                    <a:pt x="1044" y="15"/>
                  </a:moveTo>
                  <a:lnTo>
                    <a:pt x="1045" y="15"/>
                  </a:lnTo>
                  <a:lnTo>
                    <a:pt x="1044" y="15"/>
                  </a:lnTo>
                  <a:lnTo>
                    <a:pt x="1042" y="15"/>
                  </a:lnTo>
                  <a:lnTo>
                    <a:pt x="1044" y="15"/>
                  </a:lnTo>
                  <a:lnTo>
                    <a:pt x="1042" y="13"/>
                  </a:lnTo>
                  <a:lnTo>
                    <a:pt x="1044" y="13"/>
                  </a:lnTo>
                  <a:lnTo>
                    <a:pt x="1044" y="15"/>
                  </a:lnTo>
                  <a:close/>
                  <a:moveTo>
                    <a:pt x="14" y="13"/>
                  </a:moveTo>
                  <a:lnTo>
                    <a:pt x="16" y="13"/>
                  </a:lnTo>
                  <a:lnTo>
                    <a:pt x="14" y="13"/>
                  </a:lnTo>
                  <a:close/>
                  <a:moveTo>
                    <a:pt x="34" y="13"/>
                  </a:moveTo>
                  <a:lnTo>
                    <a:pt x="32" y="13"/>
                  </a:lnTo>
                  <a:lnTo>
                    <a:pt x="34" y="13"/>
                  </a:lnTo>
                  <a:close/>
                  <a:moveTo>
                    <a:pt x="1073" y="13"/>
                  </a:moveTo>
                  <a:lnTo>
                    <a:pt x="1075" y="13"/>
                  </a:lnTo>
                  <a:lnTo>
                    <a:pt x="1073" y="13"/>
                  </a:lnTo>
                  <a:close/>
                  <a:moveTo>
                    <a:pt x="1036" y="15"/>
                  </a:moveTo>
                  <a:lnTo>
                    <a:pt x="1034" y="16"/>
                  </a:lnTo>
                  <a:lnTo>
                    <a:pt x="1032" y="18"/>
                  </a:lnTo>
                  <a:lnTo>
                    <a:pt x="1032" y="20"/>
                  </a:lnTo>
                  <a:lnTo>
                    <a:pt x="1031" y="20"/>
                  </a:lnTo>
                  <a:lnTo>
                    <a:pt x="1031" y="18"/>
                  </a:lnTo>
                  <a:lnTo>
                    <a:pt x="1032" y="18"/>
                  </a:lnTo>
                  <a:lnTo>
                    <a:pt x="1032" y="16"/>
                  </a:lnTo>
                  <a:lnTo>
                    <a:pt x="1034" y="15"/>
                  </a:lnTo>
                  <a:lnTo>
                    <a:pt x="1034" y="16"/>
                  </a:lnTo>
                  <a:lnTo>
                    <a:pt x="1034" y="15"/>
                  </a:lnTo>
                  <a:lnTo>
                    <a:pt x="1034" y="13"/>
                  </a:lnTo>
                  <a:lnTo>
                    <a:pt x="1036" y="13"/>
                  </a:lnTo>
                  <a:lnTo>
                    <a:pt x="1037" y="13"/>
                  </a:lnTo>
                  <a:lnTo>
                    <a:pt x="1037" y="15"/>
                  </a:lnTo>
                  <a:lnTo>
                    <a:pt x="1036" y="15"/>
                  </a:lnTo>
                  <a:close/>
                  <a:moveTo>
                    <a:pt x="746" y="13"/>
                  </a:moveTo>
                  <a:lnTo>
                    <a:pt x="748" y="13"/>
                  </a:lnTo>
                  <a:lnTo>
                    <a:pt x="746" y="13"/>
                  </a:lnTo>
                  <a:close/>
                  <a:moveTo>
                    <a:pt x="34" y="13"/>
                  </a:moveTo>
                  <a:lnTo>
                    <a:pt x="35" y="13"/>
                  </a:lnTo>
                  <a:lnTo>
                    <a:pt x="34" y="13"/>
                  </a:lnTo>
                  <a:close/>
                  <a:moveTo>
                    <a:pt x="1106" y="13"/>
                  </a:moveTo>
                  <a:lnTo>
                    <a:pt x="1104" y="13"/>
                  </a:lnTo>
                  <a:lnTo>
                    <a:pt x="1106" y="13"/>
                  </a:lnTo>
                  <a:close/>
                  <a:moveTo>
                    <a:pt x="1119" y="13"/>
                  </a:moveTo>
                  <a:lnTo>
                    <a:pt x="1120" y="13"/>
                  </a:lnTo>
                  <a:lnTo>
                    <a:pt x="1119" y="15"/>
                  </a:lnTo>
                  <a:lnTo>
                    <a:pt x="1119" y="16"/>
                  </a:lnTo>
                  <a:lnTo>
                    <a:pt x="1119" y="15"/>
                  </a:lnTo>
                  <a:lnTo>
                    <a:pt x="1119" y="13"/>
                  </a:lnTo>
                  <a:close/>
                  <a:moveTo>
                    <a:pt x="34" y="13"/>
                  </a:moveTo>
                  <a:lnTo>
                    <a:pt x="32" y="13"/>
                  </a:lnTo>
                  <a:lnTo>
                    <a:pt x="34" y="13"/>
                  </a:lnTo>
                  <a:close/>
                  <a:moveTo>
                    <a:pt x="722" y="13"/>
                  </a:moveTo>
                  <a:lnTo>
                    <a:pt x="722" y="12"/>
                  </a:lnTo>
                  <a:lnTo>
                    <a:pt x="722" y="13"/>
                  </a:lnTo>
                  <a:close/>
                  <a:moveTo>
                    <a:pt x="722" y="12"/>
                  </a:moveTo>
                  <a:lnTo>
                    <a:pt x="723" y="12"/>
                  </a:lnTo>
                  <a:lnTo>
                    <a:pt x="722" y="12"/>
                  </a:lnTo>
                  <a:close/>
                  <a:moveTo>
                    <a:pt x="37" y="12"/>
                  </a:moveTo>
                  <a:lnTo>
                    <a:pt x="37" y="13"/>
                  </a:lnTo>
                  <a:lnTo>
                    <a:pt x="39" y="13"/>
                  </a:lnTo>
                  <a:lnTo>
                    <a:pt x="39" y="15"/>
                  </a:lnTo>
                  <a:lnTo>
                    <a:pt x="39" y="16"/>
                  </a:lnTo>
                  <a:lnTo>
                    <a:pt x="37" y="16"/>
                  </a:lnTo>
                  <a:lnTo>
                    <a:pt x="39" y="18"/>
                  </a:lnTo>
                  <a:lnTo>
                    <a:pt x="39" y="20"/>
                  </a:lnTo>
                  <a:lnTo>
                    <a:pt x="37" y="18"/>
                  </a:lnTo>
                  <a:lnTo>
                    <a:pt x="39" y="18"/>
                  </a:lnTo>
                  <a:lnTo>
                    <a:pt x="37" y="18"/>
                  </a:lnTo>
                  <a:lnTo>
                    <a:pt x="37" y="16"/>
                  </a:lnTo>
                  <a:lnTo>
                    <a:pt x="37" y="15"/>
                  </a:lnTo>
                  <a:lnTo>
                    <a:pt x="35" y="15"/>
                  </a:lnTo>
                  <a:lnTo>
                    <a:pt x="37" y="15"/>
                  </a:lnTo>
                  <a:lnTo>
                    <a:pt x="37" y="13"/>
                  </a:lnTo>
                  <a:lnTo>
                    <a:pt x="37" y="15"/>
                  </a:lnTo>
                  <a:lnTo>
                    <a:pt x="37" y="13"/>
                  </a:lnTo>
                  <a:lnTo>
                    <a:pt x="35" y="13"/>
                  </a:lnTo>
                  <a:lnTo>
                    <a:pt x="35" y="12"/>
                  </a:lnTo>
                  <a:lnTo>
                    <a:pt x="37" y="13"/>
                  </a:lnTo>
                  <a:lnTo>
                    <a:pt x="37" y="12"/>
                  </a:lnTo>
                  <a:close/>
                  <a:moveTo>
                    <a:pt x="21" y="12"/>
                  </a:moveTo>
                  <a:lnTo>
                    <a:pt x="21" y="13"/>
                  </a:lnTo>
                  <a:lnTo>
                    <a:pt x="21" y="12"/>
                  </a:lnTo>
                  <a:close/>
                  <a:moveTo>
                    <a:pt x="728" y="13"/>
                  </a:moveTo>
                  <a:lnTo>
                    <a:pt x="727" y="13"/>
                  </a:lnTo>
                  <a:lnTo>
                    <a:pt x="728" y="13"/>
                  </a:lnTo>
                  <a:lnTo>
                    <a:pt x="728" y="12"/>
                  </a:lnTo>
                  <a:lnTo>
                    <a:pt x="728" y="13"/>
                  </a:lnTo>
                  <a:close/>
                  <a:moveTo>
                    <a:pt x="998" y="12"/>
                  </a:moveTo>
                  <a:lnTo>
                    <a:pt x="1000" y="12"/>
                  </a:lnTo>
                  <a:lnTo>
                    <a:pt x="1000" y="13"/>
                  </a:lnTo>
                  <a:lnTo>
                    <a:pt x="998" y="13"/>
                  </a:lnTo>
                  <a:lnTo>
                    <a:pt x="998" y="12"/>
                  </a:lnTo>
                  <a:close/>
                  <a:moveTo>
                    <a:pt x="1068" y="13"/>
                  </a:moveTo>
                  <a:lnTo>
                    <a:pt x="1070" y="13"/>
                  </a:lnTo>
                  <a:lnTo>
                    <a:pt x="1071" y="12"/>
                  </a:lnTo>
                  <a:lnTo>
                    <a:pt x="1073" y="12"/>
                  </a:lnTo>
                  <a:lnTo>
                    <a:pt x="1073" y="13"/>
                  </a:lnTo>
                  <a:lnTo>
                    <a:pt x="1073" y="15"/>
                  </a:lnTo>
                  <a:lnTo>
                    <a:pt x="1071" y="15"/>
                  </a:lnTo>
                  <a:lnTo>
                    <a:pt x="1070" y="15"/>
                  </a:lnTo>
                  <a:lnTo>
                    <a:pt x="1071" y="16"/>
                  </a:lnTo>
                  <a:lnTo>
                    <a:pt x="1073" y="16"/>
                  </a:lnTo>
                  <a:lnTo>
                    <a:pt x="1071" y="18"/>
                  </a:lnTo>
                  <a:lnTo>
                    <a:pt x="1073" y="18"/>
                  </a:lnTo>
                  <a:lnTo>
                    <a:pt x="1073" y="20"/>
                  </a:lnTo>
                  <a:lnTo>
                    <a:pt x="1071" y="20"/>
                  </a:lnTo>
                  <a:lnTo>
                    <a:pt x="1070" y="21"/>
                  </a:lnTo>
                  <a:lnTo>
                    <a:pt x="1068" y="21"/>
                  </a:lnTo>
                  <a:lnTo>
                    <a:pt x="1067" y="21"/>
                  </a:lnTo>
                  <a:lnTo>
                    <a:pt x="1068" y="20"/>
                  </a:lnTo>
                  <a:lnTo>
                    <a:pt x="1070" y="18"/>
                  </a:lnTo>
                  <a:lnTo>
                    <a:pt x="1068" y="18"/>
                  </a:lnTo>
                  <a:lnTo>
                    <a:pt x="1067" y="20"/>
                  </a:lnTo>
                  <a:lnTo>
                    <a:pt x="1065" y="20"/>
                  </a:lnTo>
                  <a:lnTo>
                    <a:pt x="1065" y="18"/>
                  </a:lnTo>
                  <a:lnTo>
                    <a:pt x="1065" y="20"/>
                  </a:lnTo>
                  <a:lnTo>
                    <a:pt x="1063" y="21"/>
                  </a:lnTo>
                  <a:lnTo>
                    <a:pt x="1063" y="20"/>
                  </a:lnTo>
                  <a:lnTo>
                    <a:pt x="1062" y="20"/>
                  </a:lnTo>
                  <a:lnTo>
                    <a:pt x="1062" y="21"/>
                  </a:lnTo>
                  <a:lnTo>
                    <a:pt x="1060" y="21"/>
                  </a:lnTo>
                  <a:lnTo>
                    <a:pt x="1058" y="20"/>
                  </a:lnTo>
                  <a:lnTo>
                    <a:pt x="1060" y="20"/>
                  </a:lnTo>
                  <a:lnTo>
                    <a:pt x="1060" y="18"/>
                  </a:lnTo>
                  <a:lnTo>
                    <a:pt x="1062" y="18"/>
                  </a:lnTo>
                  <a:lnTo>
                    <a:pt x="1062" y="16"/>
                  </a:lnTo>
                  <a:lnTo>
                    <a:pt x="1062" y="15"/>
                  </a:lnTo>
                  <a:lnTo>
                    <a:pt x="1063" y="15"/>
                  </a:lnTo>
                  <a:lnTo>
                    <a:pt x="1063" y="13"/>
                  </a:lnTo>
                  <a:lnTo>
                    <a:pt x="1065" y="13"/>
                  </a:lnTo>
                  <a:lnTo>
                    <a:pt x="1065" y="12"/>
                  </a:lnTo>
                  <a:lnTo>
                    <a:pt x="1067" y="13"/>
                  </a:lnTo>
                  <a:lnTo>
                    <a:pt x="1068" y="13"/>
                  </a:lnTo>
                  <a:lnTo>
                    <a:pt x="1068" y="15"/>
                  </a:lnTo>
                  <a:lnTo>
                    <a:pt x="1068" y="13"/>
                  </a:lnTo>
                  <a:close/>
                  <a:moveTo>
                    <a:pt x="35" y="12"/>
                  </a:moveTo>
                  <a:lnTo>
                    <a:pt x="35" y="10"/>
                  </a:lnTo>
                  <a:lnTo>
                    <a:pt x="35" y="12"/>
                  </a:lnTo>
                  <a:close/>
                  <a:moveTo>
                    <a:pt x="1058" y="10"/>
                  </a:moveTo>
                  <a:lnTo>
                    <a:pt x="1058" y="12"/>
                  </a:lnTo>
                  <a:lnTo>
                    <a:pt x="1058" y="10"/>
                  </a:lnTo>
                  <a:close/>
                  <a:moveTo>
                    <a:pt x="1000" y="10"/>
                  </a:moveTo>
                  <a:lnTo>
                    <a:pt x="1000" y="12"/>
                  </a:lnTo>
                  <a:lnTo>
                    <a:pt x="1000" y="10"/>
                  </a:lnTo>
                  <a:close/>
                  <a:moveTo>
                    <a:pt x="761" y="10"/>
                  </a:moveTo>
                  <a:lnTo>
                    <a:pt x="761" y="12"/>
                  </a:lnTo>
                  <a:lnTo>
                    <a:pt x="761" y="10"/>
                  </a:lnTo>
                  <a:close/>
                  <a:moveTo>
                    <a:pt x="1050" y="12"/>
                  </a:moveTo>
                  <a:lnTo>
                    <a:pt x="1052" y="12"/>
                  </a:lnTo>
                  <a:lnTo>
                    <a:pt x="1052" y="10"/>
                  </a:lnTo>
                  <a:lnTo>
                    <a:pt x="1052" y="12"/>
                  </a:lnTo>
                  <a:lnTo>
                    <a:pt x="1050" y="12"/>
                  </a:lnTo>
                  <a:close/>
                  <a:moveTo>
                    <a:pt x="746" y="10"/>
                  </a:moveTo>
                  <a:lnTo>
                    <a:pt x="746" y="12"/>
                  </a:lnTo>
                  <a:lnTo>
                    <a:pt x="746" y="10"/>
                  </a:lnTo>
                  <a:close/>
                  <a:moveTo>
                    <a:pt x="19" y="10"/>
                  </a:moveTo>
                  <a:lnTo>
                    <a:pt x="21" y="10"/>
                  </a:lnTo>
                  <a:lnTo>
                    <a:pt x="21" y="12"/>
                  </a:lnTo>
                  <a:lnTo>
                    <a:pt x="19" y="12"/>
                  </a:lnTo>
                  <a:lnTo>
                    <a:pt x="19" y="10"/>
                  </a:lnTo>
                  <a:close/>
                  <a:moveTo>
                    <a:pt x="0" y="12"/>
                  </a:moveTo>
                  <a:lnTo>
                    <a:pt x="0" y="10"/>
                  </a:lnTo>
                  <a:lnTo>
                    <a:pt x="0" y="12"/>
                  </a:lnTo>
                  <a:close/>
                  <a:moveTo>
                    <a:pt x="34" y="12"/>
                  </a:moveTo>
                  <a:lnTo>
                    <a:pt x="34" y="10"/>
                  </a:lnTo>
                  <a:lnTo>
                    <a:pt x="32" y="10"/>
                  </a:lnTo>
                  <a:lnTo>
                    <a:pt x="34" y="10"/>
                  </a:lnTo>
                  <a:lnTo>
                    <a:pt x="35" y="10"/>
                  </a:lnTo>
                  <a:lnTo>
                    <a:pt x="35" y="12"/>
                  </a:lnTo>
                  <a:lnTo>
                    <a:pt x="34" y="12"/>
                  </a:lnTo>
                  <a:close/>
                  <a:moveTo>
                    <a:pt x="31" y="10"/>
                  </a:moveTo>
                  <a:lnTo>
                    <a:pt x="32" y="10"/>
                  </a:lnTo>
                  <a:lnTo>
                    <a:pt x="31" y="10"/>
                  </a:lnTo>
                  <a:close/>
                  <a:moveTo>
                    <a:pt x="1067" y="10"/>
                  </a:moveTo>
                  <a:lnTo>
                    <a:pt x="1067" y="8"/>
                  </a:lnTo>
                  <a:lnTo>
                    <a:pt x="1067" y="10"/>
                  </a:lnTo>
                  <a:close/>
                  <a:moveTo>
                    <a:pt x="725" y="8"/>
                  </a:moveTo>
                  <a:lnTo>
                    <a:pt x="725" y="10"/>
                  </a:lnTo>
                  <a:lnTo>
                    <a:pt x="725" y="8"/>
                  </a:lnTo>
                  <a:close/>
                  <a:moveTo>
                    <a:pt x="722" y="8"/>
                  </a:moveTo>
                  <a:lnTo>
                    <a:pt x="722" y="10"/>
                  </a:lnTo>
                  <a:lnTo>
                    <a:pt x="722" y="8"/>
                  </a:lnTo>
                  <a:close/>
                  <a:moveTo>
                    <a:pt x="32" y="8"/>
                  </a:moveTo>
                  <a:lnTo>
                    <a:pt x="32" y="10"/>
                  </a:lnTo>
                  <a:lnTo>
                    <a:pt x="32" y="8"/>
                  </a:lnTo>
                  <a:close/>
                  <a:moveTo>
                    <a:pt x="1000" y="8"/>
                  </a:moveTo>
                  <a:lnTo>
                    <a:pt x="1000" y="10"/>
                  </a:lnTo>
                  <a:lnTo>
                    <a:pt x="1000" y="8"/>
                  </a:lnTo>
                  <a:close/>
                  <a:moveTo>
                    <a:pt x="1000" y="8"/>
                  </a:moveTo>
                  <a:lnTo>
                    <a:pt x="1000" y="10"/>
                  </a:lnTo>
                  <a:lnTo>
                    <a:pt x="1000" y="8"/>
                  </a:lnTo>
                  <a:close/>
                  <a:moveTo>
                    <a:pt x="1000" y="8"/>
                  </a:moveTo>
                  <a:lnTo>
                    <a:pt x="1000" y="10"/>
                  </a:lnTo>
                  <a:lnTo>
                    <a:pt x="1000" y="8"/>
                  </a:lnTo>
                  <a:close/>
                  <a:moveTo>
                    <a:pt x="32" y="8"/>
                  </a:moveTo>
                  <a:lnTo>
                    <a:pt x="34" y="10"/>
                  </a:lnTo>
                  <a:lnTo>
                    <a:pt x="32" y="10"/>
                  </a:lnTo>
                  <a:lnTo>
                    <a:pt x="32" y="8"/>
                  </a:lnTo>
                  <a:close/>
                  <a:moveTo>
                    <a:pt x="1003" y="8"/>
                  </a:moveTo>
                  <a:lnTo>
                    <a:pt x="1003" y="10"/>
                  </a:lnTo>
                  <a:lnTo>
                    <a:pt x="1002" y="12"/>
                  </a:lnTo>
                  <a:lnTo>
                    <a:pt x="1003" y="12"/>
                  </a:lnTo>
                  <a:lnTo>
                    <a:pt x="1003" y="13"/>
                  </a:lnTo>
                  <a:lnTo>
                    <a:pt x="1002" y="13"/>
                  </a:lnTo>
                  <a:lnTo>
                    <a:pt x="1000" y="13"/>
                  </a:lnTo>
                  <a:lnTo>
                    <a:pt x="998" y="13"/>
                  </a:lnTo>
                  <a:lnTo>
                    <a:pt x="1000" y="13"/>
                  </a:lnTo>
                  <a:lnTo>
                    <a:pt x="1000" y="12"/>
                  </a:lnTo>
                  <a:lnTo>
                    <a:pt x="1000" y="10"/>
                  </a:lnTo>
                  <a:lnTo>
                    <a:pt x="998" y="10"/>
                  </a:lnTo>
                  <a:lnTo>
                    <a:pt x="1000" y="10"/>
                  </a:lnTo>
                  <a:lnTo>
                    <a:pt x="1002" y="10"/>
                  </a:lnTo>
                  <a:lnTo>
                    <a:pt x="1002" y="8"/>
                  </a:lnTo>
                  <a:lnTo>
                    <a:pt x="1003" y="10"/>
                  </a:lnTo>
                  <a:lnTo>
                    <a:pt x="1003" y="8"/>
                  </a:lnTo>
                  <a:close/>
                  <a:moveTo>
                    <a:pt x="1140" y="8"/>
                  </a:moveTo>
                  <a:lnTo>
                    <a:pt x="1141" y="8"/>
                  </a:lnTo>
                  <a:lnTo>
                    <a:pt x="1141" y="10"/>
                  </a:lnTo>
                  <a:lnTo>
                    <a:pt x="1140" y="10"/>
                  </a:lnTo>
                  <a:lnTo>
                    <a:pt x="1140" y="8"/>
                  </a:lnTo>
                  <a:close/>
                  <a:moveTo>
                    <a:pt x="1006" y="8"/>
                  </a:moveTo>
                  <a:lnTo>
                    <a:pt x="1006" y="7"/>
                  </a:lnTo>
                  <a:lnTo>
                    <a:pt x="1006" y="8"/>
                  </a:lnTo>
                  <a:close/>
                  <a:moveTo>
                    <a:pt x="1037" y="7"/>
                  </a:moveTo>
                  <a:lnTo>
                    <a:pt x="1037" y="8"/>
                  </a:lnTo>
                  <a:lnTo>
                    <a:pt x="1037" y="7"/>
                  </a:lnTo>
                  <a:close/>
                  <a:moveTo>
                    <a:pt x="722" y="7"/>
                  </a:moveTo>
                  <a:lnTo>
                    <a:pt x="722" y="8"/>
                  </a:lnTo>
                  <a:lnTo>
                    <a:pt x="722" y="7"/>
                  </a:lnTo>
                  <a:close/>
                  <a:moveTo>
                    <a:pt x="1006" y="8"/>
                  </a:moveTo>
                  <a:lnTo>
                    <a:pt x="1006" y="7"/>
                  </a:lnTo>
                  <a:lnTo>
                    <a:pt x="1006" y="8"/>
                  </a:lnTo>
                  <a:close/>
                  <a:moveTo>
                    <a:pt x="1002" y="7"/>
                  </a:moveTo>
                  <a:lnTo>
                    <a:pt x="1002" y="8"/>
                  </a:lnTo>
                  <a:lnTo>
                    <a:pt x="1002" y="7"/>
                  </a:lnTo>
                  <a:close/>
                  <a:moveTo>
                    <a:pt x="722" y="7"/>
                  </a:moveTo>
                  <a:lnTo>
                    <a:pt x="723" y="7"/>
                  </a:lnTo>
                  <a:lnTo>
                    <a:pt x="722" y="7"/>
                  </a:lnTo>
                  <a:close/>
                  <a:moveTo>
                    <a:pt x="55" y="7"/>
                  </a:moveTo>
                  <a:lnTo>
                    <a:pt x="57" y="7"/>
                  </a:lnTo>
                  <a:lnTo>
                    <a:pt x="55" y="7"/>
                  </a:lnTo>
                  <a:close/>
                  <a:moveTo>
                    <a:pt x="723" y="7"/>
                  </a:moveTo>
                  <a:lnTo>
                    <a:pt x="725" y="7"/>
                  </a:lnTo>
                  <a:lnTo>
                    <a:pt x="723" y="7"/>
                  </a:lnTo>
                  <a:close/>
                  <a:moveTo>
                    <a:pt x="1039" y="7"/>
                  </a:moveTo>
                  <a:lnTo>
                    <a:pt x="1037" y="7"/>
                  </a:lnTo>
                  <a:lnTo>
                    <a:pt x="1039" y="7"/>
                  </a:lnTo>
                  <a:close/>
                  <a:moveTo>
                    <a:pt x="1039" y="5"/>
                  </a:moveTo>
                  <a:lnTo>
                    <a:pt x="1039" y="7"/>
                  </a:lnTo>
                  <a:lnTo>
                    <a:pt x="1039" y="5"/>
                  </a:lnTo>
                  <a:close/>
                  <a:moveTo>
                    <a:pt x="1028" y="5"/>
                  </a:moveTo>
                  <a:lnTo>
                    <a:pt x="1028" y="7"/>
                  </a:lnTo>
                  <a:lnTo>
                    <a:pt x="1029" y="7"/>
                  </a:lnTo>
                  <a:lnTo>
                    <a:pt x="1029" y="8"/>
                  </a:lnTo>
                  <a:lnTo>
                    <a:pt x="1028" y="8"/>
                  </a:lnTo>
                  <a:lnTo>
                    <a:pt x="1028" y="10"/>
                  </a:lnTo>
                  <a:lnTo>
                    <a:pt x="1028" y="12"/>
                  </a:lnTo>
                  <a:lnTo>
                    <a:pt x="1028" y="13"/>
                  </a:lnTo>
                  <a:lnTo>
                    <a:pt x="1024" y="15"/>
                  </a:lnTo>
                  <a:lnTo>
                    <a:pt x="1023" y="15"/>
                  </a:lnTo>
                  <a:lnTo>
                    <a:pt x="1023" y="13"/>
                  </a:lnTo>
                  <a:lnTo>
                    <a:pt x="1023" y="12"/>
                  </a:lnTo>
                  <a:lnTo>
                    <a:pt x="1024" y="12"/>
                  </a:lnTo>
                  <a:lnTo>
                    <a:pt x="1024" y="10"/>
                  </a:lnTo>
                  <a:lnTo>
                    <a:pt x="1026" y="7"/>
                  </a:lnTo>
                  <a:lnTo>
                    <a:pt x="1028" y="7"/>
                  </a:lnTo>
                  <a:lnTo>
                    <a:pt x="1028" y="5"/>
                  </a:lnTo>
                  <a:close/>
                  <a:moveTo>
                    <a:pt x="723" y="7"/>
                  </a:moveTo>
                  <a:lnTo>
                    <a:pt x="723" y="5"/>
                  </a:lnTo>
                  <a:lnTo>
                    <a:pt x="725" y="5"/>
                  </a:lnTo>
                  <a:lnTo>
                    <a:pt x="725" y="7"/>
                  </a:lnTo>
                  <a:lnTo>
                    <a:pt x="723" y="7"/>
                  </a:lnTo>
                  <a:close/>
                  <a:moveTo>
                    <a:pt x="11" y="5"/>
                  </a:moveTo>
                  <a:lnTo>
                    <a:pt x="13" y="5"/>
                  </a:lnTo>
                  <a:lnTo>
                    <a:pt x="11" y="5"/>
                  </a:lnTo>
                  <a:close/>
                  <a:moveTo>
                    <a:pt x="34" y="5"/>
                  </a:moveTo>
                  <a:lnTo>
                    <a:pt x="35" y="5"/>
                  </a:lnTo>
                  <a:lnTo>
                    <a:pt x="34" y="5"/>
                  </a:lnTo>
                  <a:close/>
                  <a:moveTo>
                    <a:pt x="723" y="5"/>
                  </a:moveTo>
                  <a:lnTo>
                    <a:pt x="725" y="5"/>
                  </a:lnTo>
                  <a:lnTo>
                    <a:pt x="723" y="5"/>
                  </a:lnTo>
                  <a:close/>
                  <a:moveTo>
                    <a:pt x="55" y="5"/>
                  </a:moveTo>
                  <a:lnTo>
                    <a:pt x="53" y="5"/>
                  </a:lnTo>
                  <a:lnTo>
                    <a:pt x="55" y="5"/>
                  </a:lnTo>
                  <a:close/>
                  <a:moveTo>
                    <a:pt x="1070" y="5"/>
                  </a:moveTo>
                  <a:lnTo>
                    <a:pt x="1071" y="5"/>
                  </a:lnTo>
                  <a:lnTo>
                    <a:pt x="1070" y="5"/>
                  </a:lnTo>
                  <a:close/>
                  <a:moveTo>
                    <a:pt x="34" y="3"/>
                  </a:moveTo>
                  <a:lnTo>
                    <a:pt x="34" y="5"/>
                  </a:lnTo>
                  <a:lnTo>
                    <a:pt x="34" y="3"/>
                  </a:lnTo>
                  <a:close/>
                  <a:moveTo>
                    <a:pt x="1006" y="5"/>
                  </a:moveTo>
                  <a:lnTo>
                    <a:pt x="1006" y="3"/>
                  </a:lnTo>
                  <a:lnTo>
                    <a:pt x="1006" y="5"/>
                  </a:lnTo>
                  <a:close/>
                  <a:moveTo>
                    <a:pt x="1215" y="3"/>
                  </a:moveTo>
                  <a:lnTo>
                    <a:pt x="1215" y="5"/>
                  </a:lnTo>
                  <a:lnTo>
                    <a:pt x="1215" y="3"/>
                  </a:lnTo>
                  <a:close/>
                  <a:moveTo>
                    <a:pt x="712" y="10"/>
                  </a:moveTo>
                  <a:lnTo>
                    <a:pt x="714" y="10"/>
                  </a:lnTo>
                  <a:lnTo>
                    <a:pt x="715" y="12"/>
                  </a:lnTo>
                  <a:lnTo>
                    <a:pt x="715" y="13"/>
                  </a:lnTo>
                  <a:lnTo>
                    <a:pt x="717" y="13"/>
                  </a:lnTo>
                  <a:lnTo>
                    <a:pt x="715" y="13"/>
                  </a:lnTo>
                  <a:lnTo>
                    <a:pt x="717" y="15"/>
                  </a:lnTo>
                  <a:lnTo>
                    <a:pt x="717" y="16"/>
                  </a:lnTo>
                  <a:lnTo>
                    <a:pt x="719" y="16"/>
                  </a:lnTo>
                  <a:lnTo>
                    <a:pt x="717" y="16"/>
                  </a:lnTo>
                  <a:lnTo>
                    <a:pt x="715" y="16"/>
                  </a:lnTo>
                  <a:lnTo>
                    <a:pt x="714" y="16"/>
                  </a:lnTo>
                  <a:lnTo>
                    <a:pt x="714" y="18"/>
                  </a:lnTo>
                  <a:lnTo>
                    <a:pt x="714" y="20"/>
                  </a:lnTo>
                  <a:lnTo>
                    <a:pt x="712" y="20"/>
                  </a:lnTo>
                  <a:lnTo>
                    <a:pt x="712" y="18"/>
                  </a:lnTo>
                  <a:lnTo>
                    <a:pt x="710" y="18"/>
                  </a:lnTo>
                  <a:lnTo>
                    <a:pt x="710" y="20"/>
                  </a:lnTo>
                  <a:lnTo>
                    <a:pt x="710" y="21"/>
                  </a:lnTo>
                  <a:lnTo>
                    <a:pt x="709" y="21"/>
                  </a:lnTo>
                  <a:lnTo>
                    <a:pt x="707" y="21"/>
                  </a:lnTo>
                  <a:lnTo>
                    <a:pt x="707" y="20"/>
                  </a:lnTo>
                  <a:lnTo>
                    <a:pt x="707" y="21"/>
                  </a:lnTo>
                  <a:lnTo>
                    <a:pt x="709" y="23"/>
                  </a:lnTo>
                  <a:lnTo>
                    <a:pt x="707" y="23"/>
                  </a:lnTo>
                  <a:lnTo>
                    <a:pt x="709" y="23"/>
                  </a:lnTo>
                  <a:lnTo>
                    <a:pt x="710" y="23"/>
                  </a:lnTo>
                  <a:lnTo>
                    <a:pt x="710" y="25"/>
                  </a:lnTo>
                  <a:lnTo>
                    <a:pt x="709" y="25"/>
                  </a:lnTo>
                  <a:lnTo>
                    <a:pt x="707" y="25"/>
                  </a:lnTo>
                  <a:lnTo>
                    <a:pt x="706" y="23"/>
                  </a:lnTo>
                  <a:lnTo>
                    <a:pt x="704" y="23"/>
                  </a:lnTo>
                  <a:lnTo>
                    <a:pt x="702" y="21"/>
                  </a:lnTo>
                  <a:lnTo>
                    <a:pt x="702" y="20"/>
                  </a:lnTo>
                  <a:lnTo>
                    <a:pt x="701" y="20"/>
                  </a:lnTo>
                  <a:lnTo>
                    <a:pt x="699" y="18"/>
                  </a:lnTo>
                  <a:lnTo>
                    <a:pt x="697" y="16"/>
                  </a:lnTo>
                  <a:lnTo>
                    <a:pt x="697" y="15"/>
                  </a:lnTo>
                  <a:lnTo>
                    <a:pt x="696" y="15"/>
                  </a:lnTo>
                  <a:lnTo>
                    <a:pt x="696" y="13"/>
                  </a:lnTo>
                  <a:lnTo>
                    <a:pt x="694" y="13"/>
                  </a:lnTo>
                  <a:lnTo>
                    <a:pt x="694" y="12"/>
                  </a:lnTo>
                  <a:lnTo>
                    <a:pt x="693" y="12"/>
                  </a:lnTo>
                  <a:lnTo>
                    <a:pt x="693" y="13"/>
                  </a:lnTo>
                  <a:lnTo>
                    <a:pt x="693" y="12"/>
                  </a:lnTo>
                  <a:lnTo>
                    <a:pt x="693" y="13"/>
                  </a:lnTo>
                  <a:lnTo>
                    <a:pt x="691" y="13"/>
                  </a:lnTo>
                  <a:lnTo>
                    <a:pt x="691" y="15"/>
                  </a:lnTo>
                  <a:lnTo>
                    <a:pt x="691" y="13"/>
                  </a:lnTo>
                  <a:lnTo>
                    <a:pt x="691" y="12"/>
                  </a:lnTo>
                  <a:lnTo>
                    <a:pt x="693" y="12"/>
                  </a:lnTo>
                  <a:lnTo>
                    <a:pt x="693" y="10"/>
                  </a:lnTo>
                  <a:lnTo>
                    <a:pt x="693" y="12"/>
                  </a:lnTo>
                  <a:lnTo>
                    <a:pt x="693" y="10"/>
                  </a:lnTo>
                  <a:lnTo>
                    <a:pt x="694" y="10"/>
                  </a:lnTo>
                  <a:lnTo>
                    <a:pt x="693" y="8"/>
                  </a:lnTo>
                  <a:lnTo>
                    <a:pt x="694" y="8"/>
                  </a:lnTo>
                  <a:lnTo>
                    <a:pt x="693" y="8"/>
                  </a:lnTo>
                  <a:lnTo>
                    <a:pt x="693" y="7"/>
                  </a:lnTo>
                  <a:lnTo>
                    <a:pt x="693" y="5"/>
                  </a:lnTo>
                  <a:lnTo>
                    <a:pt x="694" y="5"/>
                  </a:lnTo>
                  <a:lnTo>
                    <a:pt x="694" y="7"/>
                  </a:lnTo>
                  <a:lnTo>
                    <a:pt x="696" y="7"/>
                  </a:lnTo>
                  <a:lnTo>
                    <a:pt x="696" y="5"/>
                  </a:lnTo>
                  <a:lnTo>
                    <a:pt x="697" y="5"/>
                  </a:lnTo>
                  <a:lnTo>
                    <a:pt x="699" y="5"/>
                  </a:lnTo>
                  <a:lnTo>
                    <a:pt x="699" y="7"/>
                  </a:lnTo>
                  <a:lnTo>
                    <a:pt x="701" y="7"/>
                  </a:lnTo>
                  <a:lnTo>
                    <a:pt x="702" y="5"/>
                  </a:lnTo>
                  <a:lnTo>
                    <a:pt x="702" y="3"/>
                  </a:lnTo>
                  <a:lnTo>
                    <a:pt x="704" y="5"/>
                  </a:lnTo>
                  <a:lnTo>
                    <a:pt x="706" y="7"/>
                  </a:lnTo>
                  <a:lnTo>
                    <a:pt x="707" y="7"/>
                  </a:lnTo>
                  <a:lnTo>
                    <a:pt x="709" y="7"/>
                  </a:lnTo>
                  <a:lnTo>
                    <a:pt x="712" y="8"/>
                  </a:lnTo>
                  <a:lnTo>
                    <a:pt x="712" y="10"/>
                  </a:lnTo>
                  <a:close/>
                  <a:moveTo>
                    <a:pt x="34" y="3"/>
                  </a:moveTo>
                  <a:lnTo>
                    <a:pt x="35" y="3"/>
                  </a:lnTo>
                  <a:lnTo>
                    <a:pt x="34" y="3"/>
                  </a:lnTo>
                  <a:close/>
                  <a:moveTo>
                    <a:pt x="714" y="3"/>
                  </a:moveTo>
                  <a:lnTo>
                    <a:pt x="715" y="3"/>
                  </a:lnTo>
                  <a:lnTo>
                    <a:pt x="715" y="5"/>
                  </a:lnTo>
                  <a:lnTo>
                    <a:pt x="714" y="5"/>
                  </a:lnTo>
                  <a:lnTo>
                    <a:pt x="715" y="5"/>
                  </a:lnTo>
                  <a:lnTo>
                    <a:pt x="714" y="5"/>
                  </a:lnTo>
                  <a:lnTo>
                    <a:pt x="714" y="3"/>
                  </a:lnTo>
                  <a:lnTo>
                    <a:pt x="714" y="5"/>
                  </a:lnTo>
                  <a:lnTo>
                    <a:pt x="714" y="3"/>
                  </a:lnTo>
                  <a:close/>
                  <a:moveTo>
                    <a:pt x="1010" y="15"/>
                  </a:moveTo>
                  <a:lnTo>
                    <a:pt x="1010" y="13"/>
                  </a:lnTo>
                  <a:lnTo>
                    <a:pt x="1010" y="12"/>
                  </a:lnTo>
                  <a:lnTo>
                    <a:pt x="1008" y="13"/>
                  </a:lnTo>
                  <a:lnTo>
                    <a:pt x="1006" y="13"/>
                  </a:lnTo>
                  <a:lnTo>
                    <a:pt x="1006" y="12"/>
                  </a:lnTo>
                  <a:lnTo>
                    <a:pt x="1006" y="10"/>
                  </a:lnTo>
                  <a:lnTo>
                    <a:pt x="1008" y="8"/>
                  </a:lnTo>
                  <a:lnTo>
                    <a:pt x="1006" y="8"/>
                  </a:lnTo>
                  <a:lnTo>
                    <a:pt x="1008" y="8"/>
                  </a:lnTo>
                  <a:lnTo>
                    <a:pt x="1010" y="8"/>
                  </a:lnTo>
                  <a:lnTo>
                    <a:pt x="1011" y="8"/>
                  </a:lnTo>
                  <a:lnTo>
                    <a:pt x="1013" y="8"/>
                  </a:lnTo>
                  <a:lnTo>
                    <a:pt x="1013" y="7"/>
                  </a:lnTo>
                  <a:lnTo>
                    <a:pt x="1011" y="7"/>
                  </a:lnTo>
                  <a:lnTo>
                    <a:pt x="1010" y="7"/>
                  </a:lnTo>
                  <a:lnTo>
                    <a:pt x="1008" y="8"/>
                  </a:lnTo>
                  <a:lnTo>
                    <a:pt x="1008" y="7"/>
                  </a:lnTo>
                  <a:lnTo>
                    <a:pt x="1006" y="7"/>
                  </a:lnTo>
                  <a:lnTo>
                    <a:pt x="1006" y="5"/>
                  </a:lnTo>
                  <a:lnTo>
                    <a:pt x="1008" y="5"/>
                  </a:lnTo>
                  <a:lnTo>
                    <a:pt x="1008" y="3"/>
                  </a:lnTo>
                  <a:lnTo>
                    <a:pt x="1010" y="3"/>
                  </a:lnTo>
                  <a:lnTo>
                    <a:pt x="1013" y="3"/>
                  </a:lnTo>
                  <a:lnTo>
                    <a:pt x="1013" y="5"/>
                  </a:lnTo>
                  <a:lnTo>
                    <a:pt x="1015" y="3"/>
                  </a:lnTo>
                  <a:lnTo>
                    <a:pt x="1016" y="3"/>
                  </a:lnTo>
                  <a:lnTo>
                    <a:pt x="1016" y="5"/>
                  </a:lnTo>
                  <a:lnTo>
                    <a:pt x="1018" y="5"/>
                  </a:lnTo>
                  <a:lnTo>
                    <a:pt x="1018" y="3"/>
                  </a:lnTo>
                  <a:lnTo>
                    <a:pt x="1019" y="3"/>
                  </a:lnTo>
                  <a:lnTo>
                    <a:pt x="1019" y="5"/>
                  </a:lnTo>
                  <a:lnTo>
                    <a:pt x="1018" y="5"/>
                  </a:lnTo>
                  <a:lnTo>
                    <a:pt x="1015" y="7"/>
                  </a:lnTo>
                  <a:lnTo>
                    <a:pt x="1016" y="7"/>
                  </a:lnTo>
                  <a:lnTo>
                    <a:pt x="1018" y="7"/>
                  </a:lnTo>
                  <a:lnTo>
                    <a:pt x="1019" y="5"/>
                  </a:lnTo>
                  <a:lnTo>
                    <a:pt x="1019" y="7"/>
                  </a:lnTo>
                  <a:lnTo>
                    <a:pt x="1019" y="8"/>
                  </a:lnTo>
                  <a:lnTo>
                    <a:pt x="1019" y="10"/>
                  </a:lnTo>
                  <a:lnTo>
                    <a:pt x="1019" y="12"/>
                  </a:lnTo>
                  <a:lnTo>
                    <a:pt x="1018" y="10"/>
                  </a:lnTo>
                  <a:lnTo>
                    <a:pt x="1018" y="12"/>
                  </a:lnTo>
                  <a:lnTo>
                    <a:pt x="1019" y="13"/>
                  </a:lnTo>
                  <a:lnTo>
                    <a:pt x="1019" y="15"/>
                  </a:lnTo>
                  <a:lnTo>
                    <a:pt x="1018" y="15"/>
                  </a:lnTo>
                  <a:lnTo>
                    <a:pt x="1018" y="16"/>
                  </a:lnTo>
                  <a:lnTo>
                    <a:pt x="1018" y="18"/>
                  </a:lnTo>
                  <a:lnTo>
                    <a:pt x="1016" y="20"/>
                  </a:lnTo>
                  <a:lnTo>
                    <a:pt x="1015" y="20"/>
                  </a:lnTo>
                  <a:lnTo>
                    <a:pt x="1013" y="20"/>
                  </a:lnTo>
                  <a:lnTo>
                    <a:pt x="1015" y="21"/>
                  </a:lnTo>
                  <a:lnTo>
                    <a:pt x="1013" y="21"/>
                  </a:lnTo>
                  <a:lnTo>
                    <a:pt x="1013" y="20"/>
                  </a:lnTo>
                  <a:lnTo>
                    <a:pt x="1013" y="18"/>
                  </a:lnTo>
                  <a:lnTo>
                    <a:pt x="1011" y="18"/>
                  </a:lnTo>
                  <a:lnTo>
                    <a:pt x="1011" y="20"/>
                  </a:lnTo>
                  <a:lnTo>
                    <a:pt x="1010" y="20"/>
                  </a:lnTo>
                  <a:lnTo>
                    <a:pt x="1010" y="21"/>
                  </a:lnTo>
                  <a:lnTo>
                    <a:pt x="1008" y="23"/>
                  </a:lnTo>
                  <a:lnTo>
                    <a:pt x="1006" y="25"/>
                  </a:lnTo>
                  <a:lnTo>
                    <a:pt x="1006" y="23"/>
                  </a:lnTo>
                  <a:lnTo>
                    <a:pt x="1006" y="21"/>
                  </a:lnTo>
                  <a:lnTo>
                    <a:pt x="1006" y="20"/>
                  </a:lnTo>
                  <a:lnTo>
                    <a:pt x="1005" y="18"/>
                  </a:lnTo>
                  <a:lnTo>
                    <a:pt x="1005" y="16"/>
                  </a:lnTo>
                  <a:lnTo>
                    <a:pt x="1005" y="15"/>
                  </a:lnTo>
                  <a:lnTo>
                    <a:pt x="1006" y="15"/>
                  </a:lnTo>
                  <a:lnTo>
                    <a:pt x="1008" y="15"/>
                  </a:lnTo>
                  <a:lnTo>
                    <a:pt x="1008" y="16"/>
                  </a:lnTo>
                  <a:lnTo>
                    <a:pt x="1010" y="15"/>
                  </a:lnTo>
                  <a:close/>
                  <a:moveTo>
                    <a:pt x="1138" y="3"/>
                  </a:moveTo>
                  <a:lnTo>
                    <a:pt x="1140" y="5"/>
                  </a:lnTo>
                  <a:lnTo>
                    <a:pt x="1141" y="7"/>
                  </a:lnTo>
                  <a:lnTo>
                    <a:pt x="1140" y="7"/>
                  </a:lnTo>
                  <a:lnTo>
                    <a:pt x="1140" y="5"/>
                  </a:lnTo>
                  <a:lnTo>
                    <a:pt x="1138" y="5"/>
                  </a:lnTo>
                  <a:lnTo>
                    <a:pt x="1138" y="7"/>
                  </a:lnTo>
                  <a:lnTo>
                    <a:pt x="1137" y="7"/>
                  </a:lnTo>
                  <a:lnTo>
                    <a:pt x="1137" y="8"/>
                  </a:lnTo>
                  <a:lnTo>
                    <a:pt x="1137" y="10"/>
                  </a:lnTo>
                  <a:lnTo>
                    <a:pt x="1135" y="10"/>
                  </a:lnTo>
                  <a:lnTo>
                    <a:pt x="1135" y="8"/>
                  </a:lnTo>
                  <a:lnTo>
                    <a:pt x="1133" y="10"/>
                  </a:lnTo>
                  <a:lnTo>
                    <a:pt x="1132" y="10"/>
                  </a:lnTo>
                  <a:lnTo>
                    <a:pt x="1130" y="12"/>
                  </a:lnTo>
                  <a:lnTo>
                    <a:pt x="1128" y="12"/>
                  </a:lnTo>
                  <a:lnTo>
                    <a:pt x="1130" y="12"/>
                  </a:lnTo>
                  <a:lnTo>
                    <a:pt x="1130" y="10"/>
                  </a:lnTo>
                  <a:lnTo>
                    <a:pt x="1130" y="8"/>
                  </a:lnTo>
                  <a:lnTo>
                    <a:pt x="1130" y="10"/>
                  </a:lnTo>
                  <a:lnTo>
                    <a:pt x="1128" y="10"/>
                  </a:lnTo>
                  <a:lnTo>
                    <a:pt x="1128" y="8"/>
                  </a:lnTo>
                  <a:lnTo>
                    <a:pt x="1128" y="7"/>
                  </a:lnTo>
                  <a:lnTo>
                    <a:pt x="1130" y="7"/>
                  </a:lnTo>
                  <a:lnTo>
                    <a:pt x="1130" y="5"/>
                  </a:lnTo>
                  <a:lnTo>
                    <a:pt x="1132" y="3"/>
                  </a:lnTo>
                  <a:lnTo>
                    <a:pt x="1133" y="3"/>
                  </a:lnTo>
                  <a:lnTo>
                    <a:pt x="1135" y="3"/>
                  </a:lnTo>
                  <a:lnTo>
                    <a:pt x="1137" y="3"/>
                  </a:lnTo>
                  <a:lnTo>
                    <a:pt x="1138" y="3"/>
                  </a:lnTo>
                  <a:close/>
                  <a:moveTo>
                    <a:pt x="1016" y="3"/>
                  </a:moveTo>
                  <a:lnTo>
                    <a:pt x="1018" y="3"/>
                  </a:lnTo>
                  <a:lnTo>
                    <a:pt x="1016" y="3"/>
                  </a:lnTo>
                  <a:close/>
                  <a:moveTo>
                    <a:pt x="998" y="3"/>
                  </a:moveTo>
                  <a:lnTo>
                    <a:pt x="998" y="2"/>
                  </a:lnTo>
                  <a:lnTo>
                    <a:pt x="998" y="3"/>
                  </a:lnTo>
                  <a:close/>
                  <a:moveTo>
                    <a:pt x="712" y="3"/>
                  </a:moveTo>
                  <a:lnTo>
                    <a:pt x="710" y="3"/>
                  </a:lnTo>
                  <a:lnTo>
                    <a:pt x="710" y="2"/>
                  </a:lnTo>
                  <a:lnTo>
                    <a:pt x="712" y="3"/>
                  </a:lnTo>
                  <a:close/>
                  <a:moveTo>
                    <a:pt x="47" y="2"/>
                  </a:moveTo>
                  <a:lnTo>
                    <a:pt x="47" y="3"/>
                  </a:lnTo>
                  <a:lnTo>
                    <a:pt x="47" y="2"/>
                  </a:lnTo>
                  <a:close/>
                  <a:moveTo>
                    <a:pt x="1112" y="3"/>
                  </a:moveTo>
                  <a:lnTo>
                    <a:pt x="1112" y="2"/>
                  </a:lnTo>
                  <a:lnTo>
                    <a:pt x="1112" y="3"/>
                  </a:lnTo>
                  <a:close/>
                  <a:moveTo>
                    <a:pt x="993" y="2"/>
                  </a:moveTo>
                  <a:lnTo>
                    <a:pt x="995" y="2"/>
                  </a:lnTo>
                  <a:lnTo>
                    <a:pt x="993" y="3"/>
                  </a:lnTo>
                  <a:lnTo>
                    <a:pt x="993" y="2"/>
                  </a:lnTo>
                  <a:close/>
                  <a:moveTo>
                    <a:pt x="53" y="2"/>
                  </a:moveTo>
                  <a:lnTo>
                    <a:pt x="53" y="3"/>
                  </a:lnTo>
                  <a:lnTo>
                    <a:pt x="55" y="3"/>
                  </a:lnTo>
                  <a:lnTo>
                    <a:pt x="53" y="3"/>
                  </a:lnTo>
                  <a:lnTo>
                    <a:pt x="53" y="5"/>
                  </a:lnTo>
                  <a:lnTo>
                    <a:pt x="52" y="5"/>
                  </a:lnTo>
                  <a:lnTo>
                    <a:pt x="53" y="5"/>
                  </a:lnTo>
                  <a:lnTo>
                    <a:pt x="52" y="5"/>
                  </a:lnTo>
                  <a:lnTo>
                    <a:pt x="50" y="5"/>
                  </a:lnTo>
                  <a:lnTo>
                    <a:pt x="52" y="5"/>
                  </a:lnTo>
                  <a:lnTo>
                    <a:pt x="52" y="3"/>
                  </a:lnTo>
                  <a:lnTo>
                    <a:pt x="52" y="2"/>
                  </a:lnTo>
                  <a:lnTo>
                    <a:pt x="53" y="2"/>
                  </a:lnTo>
                  <a:close/>
                  <a:moveTo>
                    <a:pt x="32" y="2"/>
                  </a:moveTo>
                  <a:lnTo>
                    <a:pt x="32" y="3"/>
                  </a:lnTo>
                  <a:lnTo>
                    <a:pt x="34" y="3"/>
                  </a:lnTo>
                  <a:lnTo>
                    <a:pt x="34" y="5"/>
                  </a:lnTo>
                  <a:lnTo>
                    <a:pt x="34" y="7"/>
                  </a:lnTo>
                  <a:lnTo>
                    <a:pt x="32" y="5"/>
                  </a:lnTo>
                  <a:lnTo>
                    <a:pt x="34" y="5"/>
                  </a:lnTo>
                  <a:lnTo>
                    <a:pt x="32" y="3"/>
                  </a:lnTo>
                  <a:lnTo>
                    <a:pt x="32" y="5"/>
                  </a:lnTo>
                  <a:lnTo>
                    <a:pt x="32" y="3"/>
                  </a:lnTo>
                  <a:lnTo>
                    <a:pt x="32" y="2"/>
                  </a:lnTo>
                  <a:close/>
                  <a:moveTo>
                    <a:pt x="1058" y="5"/>
                  </a:moveTo>
                  <a:lnTo>
                    <a:pt x="1057" y="7"/>
                  </a:lnTo>
                  <a:lnTo>
                    <a:pt x="1055" y="7"/>
                  </a:lnTo>
                  <a:lnTo>
                    <a:pt x="1055" y="3"/>
                  </a:lnTo>
                  <a:lnTo>
                    <a:pt x="1054" y="3"/>
                  </a:lnTo>
                  <a:lnTo>
                    <a:pt x="1054" y="5"/>
                  </a:lnTo>
                  <a:lnTo>
                    <a:pt x="1054" y="7"/>
                  </a:lnTo>
                  <a:lnTo>
                    <a:pt x="1054" y="8"/>
                  </a:lnTo>
                  <a:lnTo>
                    <a:pt x="1052" y="10"/>
                  </a:lnTo>
                  <a:lnTo>
                    <a:pt x="1050" y="10"/>
                  </a:lnTo>
                  <a:lnTo>
                    <a:pt x="1049" y="12"/>
                  </a:lnTo>
                  <a:lnTo>
                    <a:pt x="1047" y="13"/>
                  </a:lnTo>
                  <a:lnTo>
                    <a:pt x="1045" y="13"/>
                  </a:lnTo>
                  <a:lnTo>
                    <a:pt x="1045" y="12"/>
                  </a:lnTo>
                  <a:lnTo>
                    <a:pt x="1044" y="12"/>
                  </a:lnTo>
                  <a:lnTo>
                    <a:pt x="1042" y="12"/>
                  </a:lnTo>
                  <a:lnTo>
                    <a:pt x="1042" y="10"/>
                  </a:lnTo>
                  <a:lnTo>
                    <a:pt x="1041" y="12"/>
                  </a:lnTo>
                  <a:lnTo>
                    <a:pt x="1041" y="10"/>
                  </a:lnTo>
                  <a:lnTo>
                    <a:pt x="1042" y="8"/>
                  </a:lnTo>
                  <a:lnTo>
                    <a:pt x="1044" y="7"/>
                  </a:lnTo>
                  <a:lnTo>
                    <a:pt x="1044" y="8"/>
                  </a:lnTo>
                  <a:lnTo>
                    <a:pt x="1044" y="7"/>
                  </a:lnTo>
                  <a:lnTo>
                    <a:pt x="1045" y="8"/>
                  </a:lnTo>
                  <a:lnTo>
                    <a:pt x="1045" y="7"/>
                  </a:lnTo>
                  <a:lnTo>
                    <a:pt x="1047" y="8"/>
                  </a:lnTo>
                  <a:lnTo>
                    <a:pt x="1047" y="7"/>
                  </a:lnTo>
                  <a:lnTo>
                    <a:pt x="1047" y="5"/>
                  </a:lnTo>
                  <a:lnTo>
                    <a:pt x="1049" y="5"/>
                  </a:lnTo>
                  <a:lnTo>
                    <a:pt x="1049" y="3"/>
                  </a:lnTo>
                  <a:lnTo>
                    <a:pt x="1050" y="2"/>
                  </a:lnTo>
                  <a:lnTo>
                    <a:pt x="1063" y="2"/>
                  </a:lnTo>
                  <a:lnTo>
                    <a:pt x="1062" y="5"/>
                  </a:lnTo>
                  <a:lnTo>
                    <a:pt x="1060" y="5"/>
                  </a:lnTo>
                  <a:lnTo>
                    <a:pt x="1058" y="5"/>
                  </a:lnTo>
                  <a:close/>
                  <a:moveTo>
                    <a:pt x="52" y="2"/>
                  </a:moveTo>
                  <a:lnTo>
                    <a:pt x="52" y="3"/>
                  </a:lnTo>
                  <a:lnTo>
                    <a:pt x="52" y="2"/>
                  </a:lnTo>
                  <a:close/>
                  <a:moveTo>
                    <a:pt x="1042" y="5"/>
                  </a:moveTo>
                  <a:lnTo>
                    <a:pt x="1041" y="5"/>
                  </a:lnTo>
                  <a:lnTo>
                    <a:pt x="1041" y="3"/>
                  </a:lnTo>
                  <a:lnTo>
                    <a:pt x="1039" y="3"/>
                  </a:lnTo>
                  <a:lnTo>
                    <a:pt x="1039" y="5"/>
                  </a:lnTo>
                  <a:lnTo>
                    <a:pt x="1037" y="5"/>
                  </a:lnTo>
                  <a:lnTo>
                    <a:pt x="1037" y="7"/>
                  </a:lnTo>
                  <a:lnTo>
                    <a:pt x="1036" y="8"/>
                  </a:lnTo>
                  <a:lnTo>
                    <a:pt x="1036" y="10"/>
                  </a:lnTo>
                  <a:lnTo>
                    <a:pt x="1032" y="12"/>
                  </a:lnTo>
                  <a:lnTo>
                    <a:pt x="1032" y="13"/>
                  </a:lnTo>
                  <a:lnTo>
                    <a:pt x="1031" y="12"/>
                  </a:lnTo>
                  <a:lnTo>
                    <a:pt x="1029" y="13"/>
                  </a:lnTo>
                  <a:lnTo>
                    <a:pt x="1029" y="12"/>
                  </a:lnTo>
                  <a:lnTo>
                    <a:pt x="1029" y="10"/>
                  </a:lnTo>
                  <a:lnTo>
                    <a:pt x="1031" y="8"/>
                  </a:lnTo>
                  <a:lnTo>
                    <a:pt x="1031" y="7"/>
                  </a:lnTo>
                  <a:lnTo>
                    <a:pt x="1029" y="5"/>
                  </a:lnTo>
                  <a:lnTo>
                    <a:pt x="1031" y="3"/>
                  </a:lnTo>
                  <a:lnTo>
                    <a:pt x="1032" y="3"/>
                  </a:lnTo>
                  <a:lnTo>
                    <a:pt x="1034" y="3"/>
                  </a:lnTo>
                  <a:lnTo>
                    <a:pt x="1034" y="2"/>
                  </a:lnTo>
                  <a:lnTo>
                    <a:pt x="1032" y="2"/>
                  </a:lnTo>
                  <a:lnTo>
                    <a:pt x="1044" y="2"/>
                  </a:lnTo>
                  <a:lnTo>
                    <a:pt x="1044" y="3"/>
                  </a:lnTo>
                  <a:lnTo>
                    <a:pt x="1042" y="5"/>
                  </a:lnTo>
                  <a:close/>
                  <a:moveTo>
                    <a:pt x="1029" y="2"/>
                  </a:moveTo>
                  <a:lnTo>
                    <a:pt x="1028" y="5"/>
                  </a:lnTo>
                  <a:lnTo>
                    <a:pt x="1028" y="3"/>
                  </a:lnTo>
                  <a:lnTo>
                    <a:pt x="1028" y="2"/>
                  </a:lnTo>
                  <a:lnTo>
                    <a:pt x="1029" y="2"/>
                  </a:lnTo>
                  <a:close/>
                  <a:moveTo>
                    <a:pt x="1026" y="2"/>
                  </a:moveTo>
                  <a:lnTo>
                    <a:pt x="1026" y="3"/>
                  </a:lnTo>
                  <a:lnTo>
                    <a:pt x="1026" y="7"/>
                  </a:lnTo>
                  <a:lnTo>
                    <a:pt x="1024" y="7"/>
                  </a:lnTo>
                  <a:lnTo>
                    <a:pt x="1024" y="10"/>
                  </a:lnTo>
                  <a:lnTo>
                    <a:pt x="1021" y="12"/>
                  </a:lnTo>
                  <a:lnTo>
                    <a:pt x="1021" y="10"/>
                  </a:lnTo>
                  <a:lnTo>
                    <a:pt x="1021" y="8"/>
                  </a:lnTo>
                  <a:lnTo>
                    <a:pt x="1021" y="7"/>
                  </a:lnTo>
                  <a:lnTo>
                    <a:pt x="1021" y="5"/>
                  </a:lnTo>
                  <a:lnTo>
                    <a:pt x="1021" y="3"/>
                  </a:lnTo>
                  <a:lnTo>
                    <a:pt x="1021" y="2"/>
                  </a:lnTo>
                  <a:lnTo>
                    <a:pt x="1026" y="2"/>
                  </a:lnTo>
                  <a:close/>
                  <a:moveTo>
                    <a:pt x="689" y="3"/>
                  </a:moveTo>
                  <a:lnTo>
                    <a:pt x="691" y="3"/>
                  </a:lnTo>
                  <a:lnTo>
                    <a:pt x="691" y="5"/>
                  </a:lnTo>
                  <a:lnTo>
                    <a:pt x="691" y="7"/>
                  </a:lnTo>
                  <a:lnTo>
                    <a:pt x="691" y="8"/>
                  </a:lnTo>
                  <a:lnTo>
                    <a:pt x="691" y="10"/>
                  </a:lnTo>
                  <a:lnTo>
                    <a:pt x="689" y="10"/>
                  </a:lnTo>
                  <a:lnTo>
                    <a:pt x="688" y="10"/>
                  </a:lnTo>
                  <a:lnTo>
                    <a:pt x="688" y="8"/>
                  </a:lnTo>
                  <a:lnTo>
                    <a:pt x="688" y="7"/>
                  </a:lnTo>
                  <a:lnTo>
                    <a:pt x="688" y="5"/>
                  </a:lnTo>
                  <a:lnTo>
                    <a:pt x="688" y="3"/>
                  </a:lnTo>
                  <a:lnTo>
                    <a:pt x="688" y="2"/>
                  </a:lnTo>
                  <a:lnTo>
                    <a:pt x="689" y="2"/>
                  </a:lnTo>
                  <a:lnTo>
                    <a:pt x="689" y="3"/>
                  </a:lnTo>
                  <a:close/>
                  <a:moveTo>
                    <a:pt x="998" y="2"/>
                  </a:moveTo>
                  <a:lnTo>
                    <a:pt x="1000" y="2"/>
                  </a:lnTo>
                  <a:lnTo>
                    <a:pt x="1000" y="3"/>
                  </a:lnTo>
                  <a:lnTo>
                    <a:pt x="998" y="3"/>
                  </a:lnTo>
                  <a:lnTo>
                    <a:pt x="998" y="2"/>
                  </a:lnTo>
                  <a:close/>
                  <a:moveTo>
                    <a:pt x="998" y="2"/>
                  </a:moveTo>
                  <a:lnTo>
                    <a:pt x="997" y="3"/>
                  </a:lnTo>
                  <a:lnTo>
                    <a:pt x="995" y="3"/>
                  </a:lnTo>
                  <a:lnTo>
                    <a:pt x="995" y="2"/>
                  </a:lnTo>
                  <a:lnTo>
                    <a:pt x="998" y="2"/>
                  </a:lnTo>
                  <a:close/>
                  <a:moveTo>
                    <a:pt x="989" y="2"/>
                  </a:moveTo>
                  <a:lnTo>
                    <a:pt x="987" y="2"/>
                  </a:lnTo>
                  <a:lnTo>
                    <a:pt x="989" y="2"/>
                  </a:lnTo>
                  <a:close/>
                  <a:moveTo>
                    <a:pt x="1002" y="2"/>
                  </a:moveTo>
                  <a:lnTo>
                    <a:pt x="1000" y="2"/>
                  </a:lnTo>
                  <a:lnTo>
                    <a:pt x="1002" y="2"/>
                  </a:lnTo>
                  <a:close/>
                  <a:moveTo>
                    <a:pt x="694" y="2"/>
                  </a:moveTo>
                  <a:lnTo>
                    <a:pt x="696" y="2"/>
                  </a:lnTo>
                  <a:lnTo>
                    <a:pt x="694" y="2"/>
                  </a:lnTo>
                  <a:close/>
                  <a:moveTo>
                    <a:pt x="761" y="0"/>
                  </a:moveTo>
                  <a:lnTo>
                    <a:pt x="761" y="2"/>
                  </a:lnTo>
                  <a:lnTo>
                    <a:pt x="761" y="0"/>
                  </a:lnTo>
                  <a:close/>
                  <a:moveTo>
                    <a:pt x="754" y="0"/>
                  </a:moveTo>
                  <a:lnTo>
                    <a:pt x="754" y="2"/>
                  </a:lnTo>
                  <a:lnTo>
                    <a:pt x="756" y="3"/>
                  </a:lnTo>
                  <a:lnTo>
                    <a:pt x="758" y="5"/>
                  </a:lnTo>
                  <a:lnTo>
                    <a:pt x="758" y="7"/>
                  </a:lnTo>
                  <a:lnTo>
                    <a:pt x="758" y="8"/>
                  </a:lnTo>
                  <a:lnTo>
                    <a:pt x="759" y="8"/>
                  </a:lnTo>
                  <a:lnTo>
                    <a:pt x="759" y="10"/>
                  </a:lnTo>
                  <a:lnTo>
                    <a:pt x="759" y="12"/>
                  </a:lnTo>
                  <a:lnTo>
                    <a:pt x="759" y="13"/>
                  </a:lnTo>
                  <a:lnTo>
                    <a:pt x="759" y="15"/>
                  </a:lnTo>
                  <a:lnTo>
                    <a:pt x="759" y="16"/>
                  </a:lnTo>
                  <a:lnTo>
                    <a:pt x="759" y="18"/>
                  </a:lnTo>
                  <a:lnTo>
                    <a:pt x="759" y="20"/>
                  </a:lnTo>
                  <a:lnTo>
                    <a:pt x="758" y="18"/>
                  </a:lnTo>
                  <a:lnTo>
                    <a:pt x="758" y="20"/>
                  </a:lnTo>
                  <a:lnTo>
                    <a:pt x="756" y="20"/>
                  </a:lnTo>
                  <a:lnTo>
                    <a:pt x="754" y="20"/>
                  </a:lnTo>
                  <a:lnTo>
                    <a:pt x="754" y="21"/>
                  </a:lnTo>
                  <a:lnTo>
                    <a:pt x="753" y="21"/>
                  </a:lnTo>
                  <a:lnTo>
                    <a:pt x="753" y="23"/>
                  </a:lnTo>
                  <a:lnTo>
                    <a:pt x="753" y="21"/>
                  </a:lnTo>
                  <a:lnTo>
                    <a:pt x="751" y="21"/>
                  </a:lnTo>
                  <a:lnTo>
                    <a:pt x="753" y="20"/>
                  </a:lnTo>
                  <a:lnTo>
                    <a:pt x="751" y="20"/>
                  </a:lnTo>
                  <a:lnTo>
                    <a:pt x="751" y="18"/>
                  </a:lnTo>
                  <a:lnTo>
                    <a:pt x="751" y="16"/>
                  </a:lnTo>
                  <a:lnTo>
                    <a:pt x="749" y="16"/>
                  </a:lnTo>
                  <a:lnTo>
                    <a:pt x="751" y="16"/>
                  </a:lnTo>
                  <a:lnTo>
                    <a:pt x="749" y="15"/>
                  </a:lnTo>
                  <a:lnTo>
                    <a:pt x="748" y="13"/>
                  </a:lnTo>
                  <a:lnTo>
                    <a:pt x="748" y="12"/>
                  </a:lnTo>
                  <a:lnTo>
                    <a:pt x="746" y="12"/>
                  </a:lnTo>
                  <a:lnTo>
                    <a:pt x="746" y="10"/>
                  </a:lnTo>
                  <a:lnTo>
                    <a:pt x="745" y="8"/>
                  </a:lnTo>
                  <a:lnTo>
                    <a:pt x="746" y="8"/>
                  </a:lnTo>
                  <a:lnTo>
                    <a:pt x="745" y="7"/>
                  </a:lnTo>
                  <a:lnTo>
                    <a:pt x="746" y="7"/>
                  </a:lnTo>
                  <a:lnTo>
                    <a:pt x="746" y="5"/>
                  </a:lnTo>
                  <a:lnTo>
                    <a:pt x="745" y="5"/>
                  </a:lnTo>
                  <a:lnTo>
                    <a:pt x="745" y="3"/>
                  </a:lnTo>
                  <a:lnTo>
                    <a:pt x="745" y="2"/>
                  </a:lnTo>
                  <a:lnTo>
                    <a:pt x="746" y="2"/>
                  </a:lnTo>
                  <a:lnTo>
                    <a:pt x="748" y="0"/>
                  </a:lnTo>
                  <a:lnTo>
                    <a:pt x="754" y="0"/>
                  </a:lnTo>
                  <a:close/>
                  <a:moveTo>
                    <a:pt x="667" y="78"/>
                  </a:moveTo>
                  <a:lnTo>
                    <a:pt x="668" y="78"/>
                  </a:lnTo>
                  <a:lnTo>
                    <a:pt x="668" y="80"/>
                  </a:lnTo>
                  <a:lnTo>
                    <a:pt x="667" y="80"/>
                  </a:lnTo>
                  <a:lnTo>
                    <a:pt x="667" y="81"/>
                  </a:lnTo>
                  <a:lnTo>
                    <a:pt x="667" y="83"/>
                  </a:lnTo>
                  <a:lnTo>
                    <a:pt x="665" y="83"/>
                  </a:lnTo>
                  <a:lnTo>
                    <a:pt x="665" y="85"/>
                  </a:lnTo>
                  <a:lnTo>
                    <a:pt x="665" y="86"/>
                  </a:lnTo>
                  <a:lnTo>
                    <a:pt x="663" y="86"/>
                  </a:lnTo>
                  <a:lnTo>
                    <a:pt x="663" y="88"/>
                  </a:lnTo>
                  <a:lnTo>
                    <a:pt x="663" y="86"/>
                  </a:lnTo>
                  <a:lnTo>
                    <a:pt x="663" y="88"/>
                  </a:lnTo>
                  <a:lnTo>
                    <a:pt x="662" y="88"/>
                  </a:lnTo>
                  <a:lnTo>
                    <a:pt x="662" y="86"/>
                  </a:lnTo>
                  <a:lnTo>
                    <a:pt x="660" y="86"/>
                  </a:lnTo>
                  <a:lnTo>
                    <a:pt x="658" y="86"/>
                  </a:lnTo>
                  <a:lnTo>
                    <a:pt x="657" y="86"/>
                  </a:lnTo>
                  <a:lnTo>
                    <a:pt x="657" y="85"/>
                  </a:lnTo>
                  <a:lnTo>
                    <a:pt x="658" y="85"/>
                  </a:lnTo>
                  <a:lnTo>
                    <a:pt x="657" y="85"/>
                  </a:lnTo>
                  <a:lnTo>
                    <a:pt x="655" y="85"/>
                  </a:lnTo>
                  <a:lnTo>
                    <a:pt x="655" y="83"/>
                  </a:lnTo>
                  <a:lnTo>
                    <a:pt x="655" y="81"/>
                  </a:lnTo>
                  <a:lnTo>
                    <a:pt x="657" y="81"/>
                  </a:lnTo>
                  <a:lnTo>
                    <a:pt x="655" y="81"/>
                  </a:lnTo>
                  <a:lnTo>
                    <a:pt x="657" y="81"/>
                  </a:lnTo>
                  <a:lnTo>
                    <a:pt x="658" y="81"/>
                  </a:lnTo>
                  <a:lnTo>
                    <a:pt x="657" y="81"/>
                  </a:lnTo>
                  <a:lnTo>
                    <a:pt x="658" y="81"/>
                  </a:lnTo>
                  <a:lnTo>
                    <a:pt x="658" y="80"/>
                  </a:lnTo>
                  <a:lnTo>
                    <a:pt x="660" y="80"/>
                  </a:lnTo>
                  <a:lnTo>
                    <a:pt x="658" y="80"/>
                  </a:lnTo>
                  <a:lnTo>
                    <a:pt x="658" y="78"/>
                  </a:lnTo>
                  <a:lnTo>
                    <a:pt x="657" y="78"/>
                  </a:lnTo>
                  <a:lnTo>
                    <a:pt x="655" y="78"/>
                  </a:lnTo>
                  <a:lnTo>
                    <a:pt x="653" y="78"/>
                  </a:lnTo>
                  <a:lnTo>
                    <a:pt x="653" y="80"/>
                  </a:lnTo>
                  <a:lnTo>
                    <a:pt x="652" y="80"/>
                  </a:lnTo>
                  <a:lnTo>
                    <a:pt x="652" y="81"/>
                  </a:lnTo>
                  <a:lnTo>
                    <a:pt x="653" y="81"/>
                  </a:lnTo>
                  <a:lnTo>
                    <a:pt x="653" y="80"/>
                  </a:lnTo>
                  <a:lnTo>
                    <a:pt x="653" y="81"/>
                  </a:lnTo>
                  <a:lnTo>
                    <a:pt x="652" y="81"/>
                  </a:lnTo>
                  <a:lnTo>
                    <a:pt x="650" y="81"/>
                  </a:lnTo>
                  <a:lnTo>
                    <a:pt x="650" y="80"/>
                  </a:lnTo>
                  <a:lnTo>
                    <a:pt x="652" y="80"/>
                  </a:lnTo>
                  <a:lnTo>
                    <a:pt x="649" y="78"/>
                  </a:lnTo>
                  <a:lnTo>
                    <a:pt x="649" y="77"/>
                  </a:lnTo>
                  <a:lnTo>
                    <a:pt x="647" y="77"/>
                  </a:lnTo>
                  <a:lnTo>
                    <a:pt x="647" y="75"/>
                  </a:lnTo>
                  <a:lnTo>
                    <a:pt x="647" y="73"/>
                  </a:lnTo>
                  <a:lnTo>
                    <a:pt x="645" y="73"/>
                  </a:lnTo>
                  <a:lnTo>
                    <a:pt x="645" y="72"/>
                  </a:lnTo>
                  <a:lnTo>
                    <a:pt x="645" y="70"/>
                  </a:lnTo>
                  <a:lnTo>
                    <a:pt x="644" y="70"/>
                  </a:lnTo>
                  <a:lnTo>
                    <a:pt x="644" y="68"/>
                  </a:lnTo>
                  <a:lnTo>
                    <a:pt x="642" y="68"/>
                  </a:lnTo>
                  <a:lnTo>
                    <a:pt x="642" y="67"/>
                  </a:lnTo>
                  <a:lnTo>
                    <a:pt x="640" y="65"/>
                  </a:lnTo>
                  <a:lnTo>
                    <a:pt x="640" y="64"/>
                  </a:lnTo>
                  <a:lnTo>
                    <a:pt x="642" y="64"/>
                  </a:lnTo>
                  <a:lnTo>
                    <a:pt x="640" y="64"/>
                  </a:lnTo>
                  <a:lnTo>
                    <a:pt x="640" y="62"/>
                  </a:lnTo>
                  <a:lnTo>
                    <a:pt x="640" y="60"/>
                  </a:lnTo>
                  <a:lnTo>
                    <a:pt x="640" y="59"/>
                  </a:lnTo>
                  <a:lnTo>
                    <a:pt x="639" y="55"/>
                  </a:lnTo>
                  <a:lnTo>
                    <a:pt x="639" y="54"/>
                  </a:lnTo>
                  <a:lnTo>
                    <a:pt x="637" y="54"/>
                  </a:lnTo>
                  <a:lnTo>
                    <a:pt x="637" y="52"/>
                  </a:lnTo>
                  <a:lnTo>
                    <a:pt x="637" y="51"/>
                  </a:lnTo>
                  <a:lnTo>
                    <a:pt x="637" y="49"/>
                  </a:lnTo>
                  <a:lnTo>
                    <a:pt x="636" y="49"/>
                  </a:lnTo>
                  <a:lnTo>
                    <a:pt x="636" y="47"/>
                  </a:lnTo>
                  <a:lnTo>
                    <a:pt x="634" y="46"/>
                  </a:lnTo>
                  <a:lnTo>
                    <a:pt x="634" y="44"/>
                  </a:lnTo>
                  <a:lnTo>
                    <a:pt x="634" y="41"/>
                  </a:lnTo>
                  <a:lnTo>
                    <a:pt x="634" y="39"/>
                  </a:lnTo>
                  <a:lnTo>
                    <a:pt x="636" y="38"/>
                  </a:lnTo>
                  <a:lnTo>
                    <a:pt x="636" y="36"/>
                  </a:lnTo>
                  <a:lnTo>
                    <a:pt x="636" y="34"/>
                  </a:lnTo>
                  <a:lnTo>
                    <a:pt x="637" y="34"/>
                  </a:lnTo>
                  <a:lnTo>
                    <a:pt x="637" y="33"/>
                  </a:lnTo>
                  <a:lnTo>
                    <a:pt x="637" y="31"/>
                  </a:lnTo>
                  <a:lnTo>
                    <a:pt x="639" y="29"/>
                  </a:lnTo>
                  <a:lnTo>
                    <a:pt x="640" y="28"/>
                  </a:lnTo>
                  <a:lnTo>
                    <a:pt x="639" y="28"/>
                  </a:lnTo>
                  <a:lnTo>
                    <a:pt x="637" y="28"/>
                  </a:lnTo>
                  <a:lnTo>
                    <a:pt x="637" y="26"/>
                  </a:lnTo>
                  <a:lnTo>
                    <a:pt x="636" y="26"/>
                  </a:lnTo>
                  <a:lnTo>
                    <a:pt x="636" y="28"/>
                  </a:lnTo>
                  <a:lnTo>
                    <a:pt x="634" y="31"/>
                  </a:lnTo>
                  <a:lnTo>
                    <a:pt x="632" y="31"/>
                  </a:lnTo>
                  <a:lnTo>
                    <a:pt x="631" y="31"/>
                  </a:lnTo>
                  <a:lnTo>
                    <a:pt x="629" y="31"/>
                  </a:lnTo>
                  <a:lnTo>
                    <a:pt x="627" y="29"/>
                  </a:lnTo>
                  <a:lnTo>
                    <a:pt x="626" y="29"/>
                  </a:lnTo>
                  <a:lnTo>
                    <a:pt x="626" y="28"/>
                  </a:lnTo>
                  <a:lnTo>
                    <a:pt x="626" y="26"/>
                  </a:lnTo>
                  <a:lnTo>
                    <a:pt x="626" y="25"/>
                  </a:lnTo>
                  <a:lnTo>
                    <a:pt x="624" y="25"/>
                  </a:lnTo>
                  <a:lnTo>
                    <a:pt x="623" y="25"/>
                  </a:lnTo>
                  <a:lnTo>
                    <a:pt x="623" y="26"/>
                  </a:lnTo>
                  <a:lnTo>
                    <a:pt x="621" y="26"/>
                  </a:lnTo>
                  <a:lnTo>
                    <a:pt x="619" y="28"/>
                  </a:lnTo>
                  <a:lnTo>
                    <a:pt x="619" y="29"/>
                  </a:lnTo>
                  <a:lnTo>
                    <a:pt x="619" y="31"/>
                  </a:lnTo>
                  <a:lnTo>
                    <a:pt x="619" y="33"/>
                  </a:lnTo>
                  <a:lnTo>
                    <a:pt x="621" y="33"/>
                  </a:lnTo>
                  <a:lnTo>
                    <a:pt x="621" y="34"/>
                  </a:lnTo>
                  <a:lnTo>
                    <a:pt x="621" y="36"/>
                  </a:lnTo>
                  <a:lnTo>
                    <a:pt x="623" y="36"/>
                  </a:lnTo>
                  <a:lnTo>
                    <a:pt x="624" y="36"/>
                  </a:lnTo>
                  <a:lnTo>
                    <a:pt x="626" y="36"/>
                  </a:lnTo>
                  <a:lnTo>
                    <a:pt x="626" y="38"/>
                  </a:lnTo>
                  <a:lnTo>
                    <a:pt x="627" y="38"/>
                  </a:lnTo>
                  <a:lnTo>
                    <a:pt x="627" y="39"/>
                  </a:lnTo>
                  <a:lnTo>
                    <a:pt x="627" y="41"/>
                  </a:lnTo>
                  <a:lnTo>
                    <a:pt x="627" y="42"/>
                  </a:lnTo>
                  <a:lnTo>
                    <a:pt x="627" y="44"/>
                  </a:lnTo>
                  <a:lnTo>
                    <a:pt x="627" y="46"/>
                  </a:lnTo>
                  <a:lnTo>
                    <a:pt x="629" y="46"/>
                  </a:lnTo>
                  <a:lnTo>
                    <a:pt x="629" y="49"/>
                  </a:lnTo>
                  <a:lnTo>
                    <a:pt x="629" y="51"/>
                  </a:lnTo>
                  <a:lnTo>
                    <a:pt x="629" y="52"/>
                  </a:lnTo>
                  <a:lnTo>
                    <a:pt x="629" y="54"/>
                  </a:lnTo>
                  <a:lnTo>
                    <a:pt x="629" y="55"/>
                  </a:lnTo>
                  <a:lnTo>
                    <a:pt x="629" y="57"/>
                  </a:lnTo>
                  <a:lnTo>
                    <a:pt x="631" y="57"/>
                  </a:lnTo>
                  <a:lnTo>
                    <a:pt x="631" y="59"/>
                  </a:lnTo>
                  <a:lnTo>
                    <a:pt x="632" y="60"/>
                  </a:lnTo>
                  <a:lnTo>
                    <a:pt x="632" y="62"/>
                  </a:lnTo>
                  <a:lnTo>
                    <a:pt x="634" y="62"/>
                  </a:lnTo>
                  <a:lnTo>
                    <a:pt x="634" y="60"/>
                  </a:lnTo>
                  <a:lnTo>
                    <a:pt x="636" y="62"/>
                  </a:lnTo>
                  <a:lnTo>
                    <a:pt x="637" y="64"/>
                  </a:lnTo>
                  <a:lnTo>
                    <a:pt x="636" y="64"/>
                  </a:lnTo>
                  <a:lnTo>
                    <a:pt x="636" y="65"/>
                  </a:lnTo>
                  <a:lnTo>
                    <a:pt x="637" y="65"/>
                  </a:lnTo>
                  <a:lnTo>
                    <a:pt x="637" y="67"/>
                  </a:lnTo>
                  <a:lnTo>
                    <a:pt x="639" y="68"/>
                  </a:lnTo>
                  <a:lnTo>
                    <a:pt x="639" y="70"/>
                  </a:lnTo>
                  <a:lnTo>
                    <a:pt x="640" y="70"/>
                  </a:lnTo>
                  <a:lnTo>
                    <a:pt x="640" y="72"/>
                  </a:lnTo>
                  <a:lnTo>
                    <a:pt x="642" y="73"/>
                  </a:lnTo>
                  <a:lnTo>
                    <a:pt x="642" y="75"/>
                  </a:lnTo>
                  <a:lnTo>
                    <a:pt x="642" y="77"/>
                  </a:lnTo>
                  <a:lnTo>
                    <a:pt x="640" y="77"/>
                  </a:lnTo>
                  <a:lnTo>
                    <a:pt x="640" y="78"/>
                  </a:lnTo>
                  <a:lnTo>
                    <a:pt x="642" y="78"/>
                  </a:lnTo>
                  <a:lnTo>
                    <a:pt x="640" y="78"/>
                  </a:lnTo>
                  <a:lnTo>
                    <a:pt x="640" y="80"/>
                  </a:lnTo>
                  <a:lnTo>
                    <a:pt x="639" y="80"/>
                  </a:lnTo>
                  <a:lnTo>
                    <a:pt x="639" y="81"/>
                  </a:lnTo>
                  <a:lnTo>
                    <a:pt x="639" y="83"/>
                  </a:lnTo>
                  <a:lnTo>
                    <a:pt x="637" y="83"/>
                  </a:lnTo>
                  <a:lnTo>
                    <a:pt x="637" y="85"/>
                  </a:lnTo>
                  <a:lnTo>
                    <a:pt x="639" y="85"/>
                  </a:lnTo>
                  <a:lnTo>
                    <a:pt x="639" y="86"/>
                  </a:lnTo>
                  <a:lnTo>
                    <a:pt x="639" y="85"/>
                  </a:lnTo>
                  <a:lnTo>
                    <a:pt x="637" y="86"/>
                  </a:lnTo>
                  <a:lnTo>
                    <a:pt x="637" y="85"/>
                  </a:lnTo>
                  <a:lnTo>
                    <a:pt x="636" y="85"/>
                  </a:lnTo>
                  <a:lnTo>
                    <a:pt x="636" y="83"/>
                  </a:lnTo>
                  <a:lnTo>
                    <a:pt x="634" y="83"/>
                  </a:lnTo>
                  <a:lnTo>
                    <a:pt x="634" y="81"/>
                  </a:lnTo>
                  <a:lnTo>
                    <a:pt x="634" y="83"/>
                  </a:lnTo>
                  <a:lnTo>
                    <a:pt x="634" y="85"/>
                  </a:lnTo>
                  <a:lnTo>
                    <a:pt x="636" y="86"/>
                  </a:lnTo>
                  <a:lnTo>
                    <a:pt x="636" y="88"/>
                  </a:lnTo>
                  <a:lnTo>
                    <a:pt x="637" y="88"/>
                  </a:lnTo>
                  <a:lnTo>
                    <a:pt x="639" y="88"/>
                  </a:lnTo>
                  <a:lnTo>
                    <a:pt x="640" y="88"/>
                  </a:lnTo>
                  <a:lnTo>
                    <a:pt x="640" y="90"/>
                  </a:lnTo>
                  <a:lnTo>
                    <a:pt x="642" y="90"/>
                  </a:lnTo>
                  <a:lnTo>
                    <a:pt x="640" y="90"/>
                  </a:lnTo>
                  <a:lnTo>
                    <a:pt x="639" y="90"/>
                  </a:lnTo>
                  <a:lnTo>
                    <a:pt x="639" y="91"/>
                  </a:lnTo>
                  <a:lnTo>
                    <a:pt x="637" y="91"/>
                  </a:lnTo>
                  <a:lnTo>
                    <a:pt x="636" y="91"/>
                  </a:lnTo>
                  <a:lnTo>
                    <a:pt x="634" y="91"/>
                  </a:lnTo>
                  <a:lnTo>
                    <a:pt x="636" y="93"/>
                  </a:lnTo>
                  <a:lnTo>
                    <a:pt x="637" y="91"/>
                  </a:lnTo>
                  <a:lnTo>
                    <a:pt x="637" y="93"/>
                  </a:lnTo>
                  <a:lnTo>
                    <a:pt x="637" y="91"/>
                  </a:lnTo>
                  <a:lnTo>
                    <a:pt x="636" y="94"/>
                  </a:lnTo>
                  <a:lnTo>
                    <a:pt x="634" y="94"/>
                  </a:lnTo>
                  <a:lnTo>
                    <a:pt x="634" y="96"/>
                  </a:lnTo>
                  <a:lnTo>
                    <a:pt x="632" y="98"/>
                  </a:lnTo>
                  <a:lnTo>
                    <a:pt x="631" y="98"/>
                  </a:lnTo>
                  <a:lnTo>
                    <a:pt x="629" y="96"/>
                  </a:lnTo>
                  <a:lnTo>
                    <a:pt x="629" y="94"/>
                  </a:lnTo>
                  <a:lnTo>
                    <a:pt x="629" y="96"/>
                  </a:lnTo>
                  <a:lnTo>
                    <a:pt x="629" y="94"/>
                  </a:lnTo>
                  <a:lnTo>
                    <a:pt x="629" y="93"/>
                  </a:lnTo>
                  <a:lnTo>
                    <a:pt x="631" y="91"/>
                  </a:lnTo>
                  <a:lnTo>
                    <a:pt x="631" y="90"/>
                  </a:lnTo>
                  <a:lnTo>
                    <a:pt x="629" y="90"/>
                  </a:lnTo>
                  <a:lnTo>
                    <a:pt x="629" y="91"/>
                  </a:lnTo>
                  <a:lnTo>
                    <a:pt x="627" y="91"/>
                  </a:lnTo>
                  <a:lnTo>
                    <a:pt x="627" y="90"/>
                  </a:lnTo>
                  <a:lnTo>
                    <a:pt x="627" y="91"/>
                  </a:lnTo>
                  <a:lnTo>
                    <a:pt x="627" y="90"/>
                  </a:lnTo>
                  <a:lnTo>
                    <a:pt x="627" y="91"/>
                  </a:lnTo>
                  <a:lnTo>
                    <a:pt x="627" y="93"/>
                  </a:lnTo>
                  <a:lnTo>
                    <a:pt x="626" y="94"/>
                  </a:lnTo>
                  <a:lnTo>
                    <a:pt x="627" y="94"/>
                  </a:lnTo>
                  <a:lnTo>
                    <a:pt x="626" y="94"/>
                  </a:lnTo>
                  <a:lnTo>
                    <a:pt x="626" y="93"/>
                  </a:lnTo>
                  <a:lnTo>
                    <a:pt x="626" y="91"/>
                  </a:lnTo>
                  <a:lnTo>
                    <a:pt x="626" y="90"/>
                  </a:lnTo>
                  <a:lnTo>
                    <a:pt x="624" y="90"/>
                  </a:lnTo>
                  <a:lnTo>
                    <a:pt x="626" y="90"/>
                  </a:lnTo>
                  <a:lnTo>
                    <a:pt x="626" y="88"/>
                  </a:lnTo>
                  <a:lnTo>
                    <a:pt x="627" y="88"/>
                  </a:lnTo>
                  <a:lnTo>
                    <a:pt x="626" y="88"/>
                  </a:lnTo>
                  <a:lnTo>
                    <a:pt x="626" y="86"/>
                  </a:lnTo>
                  <a:lnTo>
                    <a:pt x="627" y="85"/>
                  </a:lnTo>
                  <a:lnTo>
                    <a:pt x="627" y="83"/>
                  </a:lnTo>
                  <a:lnTo>
                    <a:pt x="626" y="83"/>
                  </a:lnTo>
                  <a:lnTo>
                    <a:pt x="626" y="85"/>
                  </a:lnTo>
                  <a:lnTo>
                    <a:pt x="626" y="86"/>
                  </a:lnTo>
                  <a:lnTo>
                    <a:pt x="626" y="88"/>
                  </a:lnTo>
                  <a:lnTo>
                    <a:pt x="624" y="88"/>
                  </a:lnTo>
                  <a:lnTo>
                    <a:pt x="623" y="88"/>
                  </a:lnTo>
                  <a:lnTo>
                    <a:pt x="623" y="86"/>
                  </a:lnTo>
                  <a:lnTo>
                    <a:pt x="624" y="86"/>
                  </a:lnTo>
                  <a:lnTo>
                    <a:pt x="624" y="85"/>
                  </a:lnTo>
                  <a:lnTo>
                    <a:pt x="624" y="83"/>
                  </a:lnTo>
                  <a:lnTo>
                    <a:pt x="626" y="83"/>
                  </a:lnTo>
                  <a:lnTo>
                    <a:pt x="626" y="81"/>
                  </a:lnTo>
                  <a:lnTo>
                    <a:pt x="626" y="80"/>
                  </a:lnTo>
                  <a:lnTo>
                    <a:pt x="624" y="80"/>
                  </a:lnTo>
                  <a:lnTo>
                    <a:pt x="624" y="81"/>
                  </a:lnTo>
                  <a:lnTo>
                    <a:pt x="623" y="83"/>
                  </a:lnTo>
                  <a:lnTo>
                    <a:pt x="623" y="85"/>
                  </a:lnTo>
                  <a:lnTo>
                    <a:pt x="621" y="86"/>
                  </a:lnTo>
                  <a:lnTo>
                    <a:pt x="621" y="85"/>
                  </a:lnTo>
                  <a:lnTo>
                    <a:pt x="619" y="85"/>
                  </a:lnTo>
                  <a:lnTo>
                    <a:pt x="618" y="85"/>
                  </a:lnTo>
                  <a:lnTo>
                    <a:pt x="618" y="83"/>
                  </a:lnTo>
                  <a:lnTo>
                    <a:pt x="618" y="81"/>
                  </a:lnTo>
                  <a:lnTo>
                    <a:pt x="618" y="80"/>
                  </a:lnTo>
                  <a:lnTo>
                    <a:pt x="616" y="80"/>
                  </a:lnTo>
                  <a:lnTo>
                    <a:pt x="616" y="78"/>
                  </a:lnTo>
                  <a:lnTo>
                    <a:pt x="616" y="80"/>
                  </a:lnTo>
                  <a:lnTo>
                    <a:pt x="616" y="81"/>
                  </a:lnTo>
                  <a:lnTo>
                    <a:pt x="616" y="83"/>
                  </a:lnTo>
                  <a:lnTo>
                    <a:pt x="618" y="83"/>
                  </a:lnTo>
                  <a:lnTo>
                    <a:pt x="618" y="85"/>
                  </a:lnTo>
                  <a:lnTo>
                    <a:pt x="618" y="86"/>
                  </a:lnTo>
                  <a:lnTo>
                    <a:pt x="618" y="88"/>
                  </a:lnTo>
                  <a:lnTo>
                    <a:pt x="616" y="90"/>
                  </a:lnTo>
                  <a:lnTo>
                    <a:pt x="616" y="91"/>
                  </a:lnTo>
                  <a:lnTo>
                    <a:pt x="616" y="93"/>
                  </a:lnTo>
                  <a:lnTo>
                    <a:pt x="614" y="93"/>
                  </a:lnTo>
                  <a:lnTo>
                    <a:pt x="614" y="91"/>
                  </a:lnTo>
                  <a:lnTo>
                    <a:pt x="613" y="91"/>
                  </a:lnTo>
                  <a:lnTo>
                    <a:pt x="613" y="90"/>
                  </a:lnTo>
                  <a:lnTo>
                    <a:pt x="611" y="90"/>
                  </a:lnTo>
                  <a:lnTo>
                    <a:pt x="611" y="88"/>
                  </a:lnTo>
                  <a:lnTo>
                    <a:pt x="611" y="86"/>
                  </a:lnTo>
                  <a:lnTo>
                    <a:pt x="611" y="85"/>
                  </a:lnTo>
                  <a:lnTo>
                    <a:pt x="613" y="81"/>
                  </a:lnTo>
                  <a:lnTo>
                    <a:pt x="613" y="80"/>
                  </a:lnTo>
                  <a:lnTo>
                    <a:pt x="614" y="78"/>
                  </a:lnTo>
                  <a:lnTo>
                    <a:pt x="614" y="77"/>
                  </a:lnTo>
                  <a:lnTo>
                    <a:pt x="614" y="75"/>
                  </a:lnTo>
                  <a:lnTo>
                    <a:pt x="614" y="73"/>
                  </a:lnTo>
                  <a:lnTo>
                    <a:pt x="614" y="72"/>
                  </a:lnTo>
                  <a:lnTo>
                    <a:pt x="614" y="70"/>
                  </a:lnTo>
                  <a:lnTo>
                    <a:pt x="614" y="68"/>
                  </a:lnTo>
                  <a:lnTo>
                    <a:pt x="616" y="68"/>
                  </a:lnTo>
                  <a:lnTo>
                    <a:pt x="616" y="67"/>
                  </a:lnTo>
                  <a:lnTo>
                    <a:pt x="614" y="67"/>
                  </a:lnTo>
                  <a:lnTo>
                    <a:pt x="614" y="68"/>
                  </a:lnTo>
                  <a:lnTo>
                    <a:pt x="614" y="67"/>
                  </a:lnTo>
                  <a:lnTo>
                    <a:pt x="613" y="68"/>
                  </a:lnTo>
                  <a:lnTo>
                    <a:pt x="613" y="70"/>
                  </a:lnTo>
                  <a:lnTo>
                    <a:pt x="611" y="70"/>
                  </a:lnTo>
                  <a:lnTo>
                    <a:pt x="610" y="72"/>
                  </a:lnTo>
                  <a:lnTo>
                    <a:pt x="611" y="72"/>
                  </a:lnTo>
                  <a:lnTo>
                    <a:pt x="611" y="73"/>
                  </a:lnTo>
                  <a:lnTo>
                    <a:pt x="611" y="75"/>
                  </a:lnTo>
                  <a:lnTo>
                    <a:pt x="611" y="77"/>
                  </a:lnTo>
                  <a:lnTo>
                    <a:pt x="611" y="78"/>
                  </a:lnTo>
                  <a:lnTo>
                    <a:pt x="611" y="80"/>
                  </a:lnTo>
                  <a:lnTo>
                    <a:pt x="611" y="81"/>
                  </a:lnTo>
                  <a:lnTo>
                    <a:pt x="611" y="83"/>
                  </a:lnTo>
                  <a:lnTo>
                    <a:pt x="610" y="83"/>
                  </a:lnTo>
                  <a:lnTo>
                    <a:pt x="608" y="85"/>
                  </a:lnTo>
                  <a:lnTo>
                    <a:pt x="608" y="86"/>
                  </a:lnTo>
                  <a:lnTo>
                    <a:pt x="608" y="90"/>
                  </a:lnTo>
                  <a:lnTo>
                    <a:pt x="608" y="91"/>
                  </a:lnTo>
                  <a:lnTo>
                    <a:pt x="610" y="91"/>
                  </a:lnTo>
                  <a:lnTo>
                    <a:pt x="610" y="93"/>
                  </a:lnTo>
                  <a:lnTo>
                    <a:pt x="613" y="94"/>
                  </a:lnTo>
                  <a:lnTo>
                    <a:pt x="611" y="96"/>
                  </a:lnTo>
                  <a:lnTo>
                    <a:pt x="611" y="98"/>
                  </a:lnTo>
                  <a:lnTo>
                    <a:pt x="610" y="98"/>
                  </a:lnTo>
                  <a:lnTo>
                    <a:pt x="610" y="96"/>
                  </a:lnTo>
                  <a:lnTo>
                    <a:pt x="608" y="96"/>
                  </a:lnTo>
                  <a:lnTo>
                    <a:pt x="608" y="94"/>
                  </a:lnTo>
                  <a:lnTo>
                    <a:pt x="606" y="94"/>
                  </a:lnTo>
                  <a:lnTo>
                    <a:pt x="605" y="93"/>
                  </a:lnTo>
                  <a:lnTo>
                    <a:pt x="605" y="94"/>
                  </a:lnTo>
                  <a:lnTo>
                    <a:pt x="605" y="96"/>
                  </a:lnTo>
                  <a:lnTo>
                    <a:pt x="605" y="98"/>
                  </a:lnTo>
                  <a:lnTo>
                    <a:pt x="605" y="99"/>
                  </a:lnTo>
                  <a:lnTo>
                    <a:pt x="605" y="101"/>
                  </a:lnTo>
                  <a:lnTo>
                    <a:pt x="605" y="103"/>
                  </a:lnTo>
                  <a:lnTo>
                    <a:pt x="603" y="103"/>
                  </a:lnTo>
                  <a:lnTo>
                    <a:pt x="605" y="103"/>
                  </a:lnTo>
                  <a:lnTo>
                    <a:pt x="605" y="104"/>
                  </a:lnTo>
                  <a:lnTo>
                    <a:pt x="603" y="103"/>
                  </a:lnTo>
                  <a:lnTo>
                    <a:pt x="603" y="104"/>
                  </a:lnTo>
                  <a:lnTo>
                    <a:pt x="601" y="104"/>
                  </a:lnTo>
                  <a:lnTo>
                    <a:pt x="601" y="103"/>
                  </a:lnTo>
                  <a:lnTo>
                    <a:pt x="601" y="101"/>
                  </a:lnTo>
                  <a:lnTo>
                    <a:pt x="601" y="99"/>
                  </a:lnTo>
                  <a:lnTo>
                    <a:pt x="601" y="98"/>
                  </a:lnTo>
                  <a:lnTo>
                    <a:pt x="601" y="96"/>
                  </a:lnTo>
                  <a:lnTo>
                    <a:pt x="601" y="94"/>
                  </a:lnTo>
                  <a:lnTo>
                    <a:pt x="603" y="94"/>
                  </a:lnTo>
                  <a:lnTo>
                    <a:pt x="603" y="96"/>
                  </a:lnTo>
                  <a:lnTo>
                    <a:pt x="603" y="94"/>
                  </a:lnTo>
                  <a:lnTo>
                    <a:pt x="605" y="94"/>
                  </a:lnTo>
                  <a:lnTo>
                    <a:pt x="603" y="93"/>
                  </a:lnTo>
                  <a:lnTo>
                    <a:pt x="601" y="91"/>
                  </a:lnTo>
                  <a:lnTo>
                    <a:pt x="601" y="90"/>
                  </a:lnTo>
                  <a:lnTo>
                    <a:pt x="603" y="86"/>
                  </a:lnTo>
                  <a:lnTo>
                    <a:pt x="605" y="86"/>
                  </a:lnTo>
                  <a:lnTo>
                    <a:pt x="605" y="85"/>
                  </a:lnTo>
                  <a:lnTo>
                    <a:pt x="605" y="83"/>
                  </a:lnTo>
                  <a:lnTo>
                    <a:pt x="605" y="81"/>
                  </a:lnTo>
                  <a:lnTo>
                    <a:pt x="605" y="80"/>
                  </a:lnTo>
                  <a:lnTo>
                    <a:pt x="605" y="78"/>
                  </a:lnTo>
                  <a:lnTo>
                    <a:pt x="606" y="78"/>
                  </a:lnTo>
                  <a:lnTo>
                    <a:pt x="606" y="77"/>
                  </a:lnTo>
                  <a:lnTo>
                    <a:pt x="606" y="73"/>
                  </a:lnTo>
                  <a:lnTo>
                    <a:pt x="606" y="72"/>
                  </a:lnTo>
                  <a:lnTo>
                    <a:pt x="606" y="70"/>
                  </a:lnTo>
                  <a:lnTo>
                    <a:pt x="608" y="70"/>
                  </a:lnTo>
                  <a:lnTo>
                    <a:pt x="608" y="68"/>
                  </a:lnTo>
                  <a:lnTo>
                    <a:pt x="608" y="67"/>
                  </a:lnTo>
                  <a:lnTo>
                    <a:pt x="608" y="65"/>
                  </a:lnTo>
                  <a:lnTo>
                    <a:pt x="610" y="65"/>
                  </a:lnTo>
                  <a:lnTo>
                    <a:pt x="608" y="64"/>
                  </a:lnTo>
                  <a:lnTo>
                    <a:pt x="610" y="62"/>
                  </a:lnTo>
                  <a:lnTo>
                    <a:pt x="608" y="62"/>
                  </a:lnTo>
                  <a:lnTo>
                    <a:pt x="610" y="62"/>
                  </a:lnTo>
                  <a:lnTo>
                    <a:pt x="608" y="60"/>
                  </a:lnTo>
                  <a:lnTo>
                    <a:pt x="608" y="62"/>
                  </a:lnTo>
                  <a:lnTo>
                    <a:pt x="606" y="62"/>
                  </a:lnTo>
                  <a:lnTo>
                    <a:pt x="606" y="64"/>
                  </a:lnTo>
                  <a:lnTo>
                    <a:pt x="606" y="65"/>
                  </a:lnTo>
                  <a:lnTo>
                    <a:pt x="606" y="67"/>
                  </a:lnTo>
                  <a:lnTo>
                    <a:pt x="606" y="68"/>
                  </a:lnTo>
                  <a:lnTo>
                    <a:pt x="605" y="68"/>
                  </a:lnTo>
                  <a:lnTo>
                    <a:pt x="606" y="70"/>
                  </a:lnTo>
                  <a:lnTo>
                    <a:pt x="605" y="70"/>
                  </a:lnTo>
                  <a:lnTo>
                    <a:pt x="605" y="72"/>
                  </a:lnTo>
                  <a:lnTo>
                    <a:pt x="605" y="73"/>
                  </a:lnTo>
                  <a:lnTo>
                    <a:pt x="605" y="75"/>
                  </a:lnTo>
                  <a:lnTo>
                    <a:pt x="605" y="77"/>
                  </a:lnTo>
                  <a:lnTo>
                    <a:pt x="603" y="78"/>
                  </a:lnTo>
                  <a:lnTo>
                    <a:pt x="603" y="80"/>
                  </a:lnTo>
                  <a:lnTo>
                    <a:pt x="603" y="81"/>
                  </a:lnTo>
                  <a:lnTo>
                    <a:pt x="603" y="83"/>
                  </a:lnTo>
                  <a:lnTo>
                    <a:pt x="601" y="83"/>
                  </a:lnTo>
                  <a:lnTo>
                    <a:pt x="601" y="85"/>
                  </a:lnTo>
                  <a:lnTo>
                    <a:pt x="600" y="86"/>
                  </a:lnTo>
                  <a:lnTo>
                    <a:pt x="598" y="85"/>
                  </a:lnTo>
                  <a:lnTo>
                    <a:pt x="600" y="85"/>
                  </a:lnTo>
                  <a:lnTo>
                    <a:pt x="600" y="83"/>
                  </a:lnTo>
                  <a:lnTo>
                    <a:pt x="600" y="81"/>
                  </a:lnTo>
                  <a:lnTo>
                    <a:pt x="598" y="80"/>
                  </a:lnTo>
                  <a:lnTo>
                    <a:pt x="600" y="78"/>
                  </a:lnTo>
                  <a:lnTo>
                    <a:pt x="598" y="78"/>
                  </a:lnTo>
                  <a:lnTo>
                    <a:pt x="600" y="77"/>
                  </a:lnTo>
                  <a:lnTo>
                    <a:pt x="600" y="75"/>
                  </a:lnTo>
                  <a:lnTo>
                    <a:pt x="598" y="75"/>
                  </a:lnTo>
                  <a:lnTo>
                    <a:pt x="598" y="72"/>
                  </a:lnTo>
                  <a:lnTo>
                    <a:pt x="598" y="70"/>
                  </a:lnTo>
                  <a:lnTo>
                    <a:pt x="600" y="68"/>
                  </a:lnTo>
                  <a:lnTo>
                    <a:pt x="600" y="67"/>
                  </a:lnTo>
                  <a:lnTo>
                    <a:pt x="601" y="67"/>
                  </a:lnTo>
                  <a:lnTo>
                    <a:pt x="601" y="65"/>
                  </a:lnTo>
                  <a:lnTo>
                    <a:pt x="601" y="64"/>
                  </a:lnTo>
                  <a:lnTo>
                    <a:pt x="601" y="62"/>
                  </a:lnTo>
                  <a:lnTo>
                    <a:pt x="603" y="62"/>
                  </a:lnTo>
                  <a:lnTo>
                    <a:pt x="601" y="62"/>
                  </a:lnTo>
                  <a:lnTo>
                    <a:pt x="601" y="60"/>
                  </a:lnTo>
                  <a:lnTo>
                    <a:pt x="601" y="62"/>
                  </a:lnTo>
                  <a:lnTo>
                    <a:pt x="601" y="64"/>
                  </a:lnTo>
                  <a:lnTo>
                    <a:pt x="601" y="62"/>
                  </a:lnTo>
                  <a:lnTo>
                    <a:pt x="600" y="62"/>
                  </a:lnTo>
                  <a:lnTo>
                    <a:pt x="600" y="64"/>
                  </a:lnTo>
                  <a:lnTo>
                    <a:pt x="600" y="65"/>
                  </a:lnTo>
                  <a:lnTo>
                    <a:pt x="598" y="65"/>
                  </a:lnTo>
                  <a:lnTo>
                    <a:pt x="598" y="67"/>
                  </a:lnTo>
                  <a:lnTo>
                    <a:pt x="597" y="67"/>
                  </a:lnTo>
                  <a:lnTo>
                    <a:pt x="597" y="68"/>
                  </a:lnTo>
                  <a:lnTo>
                    <a:pt x="595" y="68"/>
                  </a:lnTo>
                  <a:lnTo>
                    <a:pt x="595" y="67"/>
                  </a:lnTo>
                  <a:lnTo>
                    <a:pt x="595" y="65"/>
                  </a:lnTo>
                  <a:lnTo>
                    <a:pt x="595" y="64"/>
                  </a:lnTo>
                  <a:lnTo>
                    <a:pt x="593" y="62"/>
                  </a:lnTo>
                  <a:lnTo>
                    <a:pt x="593" y="64"/>
                  </a:lnTo>
                  <a:lnTo>
                    <a:pt x="593" y="65"/>
                  </a:lnTo>
                  <a:lnTo>
                    <a:pt x="593" y="67"/>
                  </a:lnTo>
                  <a:lnTo>
                    <a:pt x="593" y="68"/>
                  </a:lnTo>
                  <a:lnTo>
                    <a:pt x="595" y="70"/>
                  </a:lnTo>
                  <a:lnTo>
                    <a:pt x="595" y="72"/>
                  </a:lnTo>
                  <a:lnTo>
                    <a:pt x="595" y="73"/>
                  </a:lnTo>
                  <a:lnTo>
                    <a:pt x="597" y="73"/>
                  </a:lnTo>
                  <a:lnTo>
                    <a:pt x="597" y="75"/>
                  </a:lnTo>
                  <a:lnTo>
                    <a:pt x="597" y="77"/>
                  </a:lnTo>
                  <a:lnTo>
                    <a:pt x="597" y="80"/>
                  </a:lnTo>
                  <a:lnTo>
                    <a:pt x="597" y="83"/>
                  </a:lnTo>
                  <a:lnTo>
                    <a:pt x="597" y="88"/>
                  </a:lnTo>
                  <a:lnTo>
                    <a:pt x="595" y="86"/>
                  </a:lnTo>
                  <a:lnTo>
                    <a:pt x="595" y="88"/>
                  </a:lnTo>
                  <a:lnTo>
                    <a:pt x="597" y="88"/>
                  </a:lnTo>
                  <a:lnTo>
                    <a:pt x="595" y="88"/>
                  </a:lnTo>
                  <a:lnTo>
                    <a:pt x="597" y="90"/>
                  </a:lnTo>
                  <a:lnTo>
                    <a:pt x="597" y="91"/>
                  </a:lnTo>
                  <a:lnTo>
                    <a:pt x="598" y="93"/>
                  </a:lnTo>
                  <a:lnTo>
                    <a:pt x="598" y="94"/>
                  </a:lnTo>
                  <a:lnTo>
                    <a:pt x="598" y="96"/>
                  </a:lnTo>
                  <a:lnTo>
                    <a:pt x="597" y="96"/>
                  </a:lnTo>
                  <a:lnTo>
                    <a:pt x="598" y="96"/>
                  </a:lnTo>
                  <a:lnTo>
                    <a:pt x="598" y="98"/>
                  </a:lnTo>
                  <a:lnTo>
                    <a:pt x="598" y="99"/>
                  </a:lnTo>
                  <a:lnTo>
                    <a:pt x="597" y="99"/>
                  </a:lnTo>
                  <a:lnTo>
                    <a:pt x="597" y="101"/>
                  </a:lnTo>
                  <a:lnTo>
                    <a:pt x="597" y="103"/>
                  </a:lnTo>
                  <a:lnTo>
                    <a:pt x="595" y="103"/>
                  </a:lnTo>
                  <a:lnTo>
                    <a:pt x="595" y="101"/>
                  </a:lnTo>
                  <a:lnTo>
                    <a:pt x="595" y="99"/>
                  </a:lnTo>
                  <a:lnTo>
                    <a:pt x="595" y="98"/>
                  </a:lnTo>
                  <a:lnTo>
                    <a:pt x="595" y="96"/>
                  </a:lnTo>
                  <a:lnTo>
                    <a:pt x="597" y="96"/>
                  </a:lnTo>
                  <a:lnTo>
                    <a:pt x="595" y="96"/>
                  </a:lnTo>
                  <a:lnTo>
                    <a:pt x="597" y="94"/>
                  </a:lnTo>
                  <a:lnTo>
                    <a:pt x="595" y="94"/>
                  </a:lnTo>
                  <a:lnTo>
                    <a:pt x="597" y="94"/>
                  </a:lnTo>
                  <a:lnTo>
                    <a:pt x="595" y="94"/>
                  </a:lnTo>
                  <a:lnTo>
                    <a:pt x="595" y="93"/>
                  </a:lnTo>
                  <a:lnTo>
                    <a:pt x="595" y="91"/>
                  </a:lnTo>
                  <a:lnTo>
                    <a:pt x="593" y="91"/>
                  </a:lnTo>
                  <a:lnTo>
                    <a:pt x="593" y="90"/>
                  </a:lnTo>
                  <a:lnTo>
                    <a:pt x="593" y="88"/>
                  </a:lnTo>
                  <a:lnTo>
                    <a:pt x="593" y="86"/>
                  </a:lnTo>
                  <a:lnTo>
                    <a:pt x="592" y="86"/>
                  </a:lnTo>
                  <a:lnTo>
                    <a:pt x="592" y="85"/>
                  </a:lnTo>
                  <a:lnTo>
                    <a:pt x="590" y="85"/>
                  </a:lnTo>
                  <a:lnTo>
                    <a:pt x="590" y="83"/>
                  </a:lnTo>
                  <a:lnTo>
                    <a:pt x="592" y="81"/>
                  </a:lnTo>
                  <a:lnTo>
                    <a:pt x="592" y="80"/>
                  </a:lnTo>
                  <a:lnTo>
                    <a:pt x="593" y="80"/>
                  </a:lnTo>
                  <a:lnTo>
                    <a:pt x="593" y="81"/>
                  </a:lnTo>
                  <a:lnTo>
                    <a:pt x="593" y="80"/>
                  </a:lnTo>
                  <a:lnTo>
                    <a:pt x="593" y="81"/>
                  </a:lnTo>
                  <a:lnTo>
                    <a:pt x="593" y="80"/>
                  </a:lnTo>
                  <a:lnTo>
                    <a:pt x="593" y="78"/>
                  </a:lnTo>
                  <a:lnTo>
                    <a:pt x="595" y="77"/>
                  </a:lnTo>
                  <a:lnTo>
                    <a:pt x="593" y="77"/>
                  </a:lnTo>
                  <a:lnTo>
                    <a:pt x="593" y="75"/>
                  </a:lnTo>
                  <a:lnTo>
                    <a:pt x="592" y="73"/>
                  </a:lnTo>
                  <a:lnTo>
                    <a:pt x="590" y="73"/>
                  </a:lnTo>
                  <a:lnTo>
                    <a:pt x="590" y="72"/>
                  </a:lnTo>
                  <a:lnTo>
                    <a:pt x="588" y="72"/>
                  </a:lnTo>
                  <a:lnTo>
                    <a:pt x="588" y="70"/>
                  </a:lnTo>
                  <a:lnTo>
                    <a:pt x="590" y="68"/>
                  </a:lnTo>
                  <a:lnTo>
                    <a:pt x="590" y="67"/>
                  </a:lnTo>
                  <a:lnTo>
                    <a:pt x="590" y="65"/>
                  </a:lnTo>
                  <a:lnTo>
                    <a:pt x="592" y="64"/>
                  </a:lnTo>
                  <a:lnTo>
                    <a:pt x="590" y="64"/>
                  </a:lnTo>
                  <a:lnTo>
                    <a:pt x="590" y="62"/>
                  </a:lnTo>
                  <a:lnTo>
                    <a:pt x="592" y="60"/>
                  </a:lnTo>
                  <a:lnTo>
                    <a:pt x="592" y="59"/>
                  </a:lnTo>
                  <a:lnTo>
                    <a:pt x="592" y="57"/>
                  </a:lnTo>
                  <a:lnTo>
                    <a:pt x="593" y="54"/>
                  </a:lnTo>
                  <a:lnTo>
                    <a:pt x="595" y="54"/>
                  </a:lnTo>
                  <a:lnTo>
                    <a:pt x="595" y="52"/>
                  </a:lnTo>
                  <a:lnTo>
                    <a:pt x="595" y="51"/>
                  </a:lnTo>
                  <a:lnTo>
                    <a:pt x="595" y="47"/>
                  </a:lnTo>
                  <a:lnTo>
                    <a:pt x="593" y="49"/>
                  </a:lnTo>
                  <a:lnTo>
                    <a:pt x="592" y="49"/>
                  </a:lnTo>
                  <a:lnTo>
                    <a:pt x="592" y="52"/>
                  </a:lnTo>
                  <a:lnTo>
                    <a:pt x="590" y="52"/>
                  </a:lnTo>
                  <a:lnTo>
                    <a:pt x="590" y="54"/>
                  </a:lnTo>
                  <a:lnTo>
                    <a:pt x="588" y="52"/>
                  </a:lnTo>
                  <a:lnTo>
                    <a:pt x="587" y="52"/>
                  </a:lnTo>
                  <a:lnTo>
                    <a:pt x="585" y="52"/>
                  </a:lnTo>
                  <a:lnTo>
                    <a:pt x="584" y="52"/>
                  </a:lnTo>
                  <a:lnTo>
                    <a:pt x="582" y="51"/>
                  </a:lnTo>
                  <a:lnTo>
                    <a:pt x="580" y="51"/>
                  </a:lnTo>
                  <a:lnTo>
                    <a:pt x="579" y="51"/>
                  </a:lnTo>
                  <a:lnTo>
                    <a:pt x="577" y="49"/>
                  </a:lnTo>
                  <a:lnTo>
                    <a:pt x="577" y="51"/>
                  </a:lnTo>
                  <a:lnTo>
                    <a:pt x="577" y="52"/>
                  </a:lnTo>
                  <a:lnTo>
                    <a:pt x="575" y="52"/>
                  </a:lnTo>
                  <a:lnTo>
                    <a:pt x="574" y="52"/>
                  </a:lnTo>
                  <a:lnTo>
                    <a:pt x="574" y="54"/>
                  </a:lnTo>
                  <a:lnTo>
                    <a:pt x="574" y="55"/>
                  </a:lnTo>
                  <a:lnTo>
                    <a:pt x="574" y="57"/>
                  </a:lnTo>
                  <a:lnTo>
                    <a:pt x="572" y="59"/>
                  </a:lnTo>
                  <a:lnTo>
                    <a:pt x="574" y="59"/>
                  </a:lnTo>
                  <a:lnTo>
                    <a:pt x="572" y="59"/>
                  </a:lnTo>
                  <a:lnTo>
                    <a:pt x="572" y="60"/>
                  </a:lnTo>
                  <a:lnTo>
                    <a:pt x="572" y="62"/>
                  </a:lnTo>
                  <a:lnTo>
                    <a:pt x="572" y="64"/>
                  </a:lnTo>
                  <a:lnTo>
                    <a:pt x="572" y="65"/>
                  </a:lnTo>
                  <a:lnTo>
                    <a:pt x="574" y="65"/>
                  </a:lnTo>
                  <a:lnTo>
                    <a:pt x="574" y="67"/>
                  </a:lnTo>
                  <a:lnTo>
                    <a:pt x="574" y="68"/>
                  </a:lnTo>
                  <a:lnTo>
                    <a:pt x="574" y="70"/>
                  </a:lnTo>
                  <a:lnTo>
                    <a:pt x="574" y="72"/>
                  </a:lnTo>
                  <a:lnTo>
                    <a:pt x="574" y="73"/>
                  </a:lnTo>
                  <a:lnTo>
                    <a:pt x="574" y="75"/>
                  </a:lnTo>
                  <a:lnTo>
                    <a:pt x="572" y="75"/>
                  </a:lnTo>
                  <a:lnTo>
                    <a:pt x="571" y="75"/>
                  </a:lnTo>
                  <a:lnTo>
                    <a:pt x="571" y="73"/>
                  </a:lnTo>
                  <a:lnTo>
                    <a:pt x="571" y="72"/>
                  </a:lnTo>
                  <a:lnTo>
                    <a:pt x="569" y="70"/>
                  </a:lnTo>
                  <a:lnTo>
                    <a:pt x="569" y="68"/>
                  </a:lnTo>
                  <a:lnTo>
                    <a:pt x="567" y="68"/>
                  </a:lnTo>
                  <a:lnTo>
                    <a:pt x="567" y="70"/>
                  </a:lnTo>
                  <a:lnTo>
                    <a:pt x="567" y="72"/>
                  </a:lnTo>
                  <a:lnTo>
                    <a:pt x="567" y="73"/>
                  </a:lnTo>
                  <a:lnTo>
                    <a:pt x="566" y="75"/>
                  </a:lnTo>
                  <a:lnTo>
                    <a:pt x="566" y="73"/>
                  </a:lnTo>
                  <a:lnTo>
                    <a:pt x="564" y="73"/>
                  </a:lnTo>
                  <a:lnTo>
                    <a:pt x="564" y="75"/>
                  </a:lnTo>
                  <a:lnTo>
                    <a:pt x="566" y="75"/>
                  </a:lnTo>
                  <a:lnTo>
                    <a:pt x="569" y="77"/>
                  </a:lnTo>
                  <a:lnTo>
                    <a:pt x="569" y="78"/>
                  </a:lnTo>
                  <a:lnTo>
                    <a:pt x="571" y="78"/>
                  </a:lnTo>
                  <a:lnTo>
                    <a:pt x="572" y="78"/>
                  </a:lnTo>
                  <a:lnTo>
                    <a:pt x="572" y="81"/>
                  </a:lnTo>
                  <a:lnTo>
                    <a:pt x="572" y="83"/>
                  </a:lnTo>
                  <a:lnTo>
                    <a:pt x="572" y="85"/>
                  </a:lnTo>
                  <a:lnTo>
                    <a:pt x="571" y="88"/>
                  </a:lnTo>
                  <a:lnTo>
                    <a:pt x="569" y="86"/>
                  </a:lnTo>
                  <a:lnTo>
                    <a:pt x="567" y="85"/>
                  </a:lnTo>
                  <a:lnTo>
                    <a:pt x="567" y="86"/>
                  </a:lnTo>
                  <a:lnTo>
                    <a:pt x="569" y="86"/>
                  </a:lnTo>
                  <a:lnTo>
                    <a:pt x="569" y="88"/>
                  </a:lnTo>
                  <a:lnTo>
                    <a:pt x="569" y="90"/>
                  </a:lnTo>
                  <a:lnTo>
                    <a:pt x="571" y="90"/>
                  </a:lnTo>
                  <a:lnTo>
                    <a:pt x="571" y="93"/>
                  </a:lnTo>
                  <a:lnTo>
                    <a:pt x="569" y="94"/>
                  </a:lnTo>
                  <a:lnTo>
                    <a:pt x="571" y="94"/>
                  </a:lnTo>
                  <a:lnTo>
                    <a:pt x="571" y="96"/>
                  </a:lnTo>
                  <a:lnTo>
                    <a:pt x="569" y="98"/>
                  </a:lnTo>
                  <a:lnTo>
                    <a:pt x="567" y="98"/>
                  </a:lnTo>
                  <a:lnTo>
                    <a:pt x="566" y="98"/>
                  </a:lnTo>
                  <a:lnTo>
                    <a:pt x="566" y="99"/>
                  </a:lnTo>
                  <a:lnTo>
                    <a:pt x="564" y="99"/>
                  </a:lnTo>
                  <a:lnTo>
                    <a:pt x="564" y="101"/>
                  </a:lnTo>
                  <a:lnTo>
                    <a:pt x="562" y="103"/>
                  </a:lnTo>
                  <a:lnTo>
                    <a:pt x="564" y="104"/>
                  </a:lnTo>
                  <a:lnTo>
                    <a:pt x="564" y="106"/>
                  </a:lnTo>
                  <a:lnTo>
                    <a:pt x="562" y="106"/>
                  </a:lnTo>
                  <a:lnTo>
                    <a:pt x="562" y="107"/>
                  </a:lnTo>
                  <a:lnTo>
                    <a:pt x="561" y="107"/>
                  </a:lnTo>
                  <a:lnTo>
                    <a:pt x="562" y="107"/>
                  </a:lnTo>
                  <a:lnTo>
                    <a:pt x="562" y="109"/>
                  </a:lnTo>
                  <a:lnTo>
                    <a:pt x="561" y="109"/>
                  </a:lnTo>
                  <a:lnTo>
                    <a:pt x="561" y="111"/>
                  </a:lnTo>
                  <a:lnTo>
                    <a:pt x="564" y="111"/>
                  </a:lnTo>
                  <a:lnTo>
                    <a:pt x="564" y="112"/>
                  </a:lnTo>
                  <a:lnTo>
                    <a:pt x="564" y="114"/>
                  </a:lnTo>
                  <a:lnTo>
                    <a:pt x="562" y="112"/>
                  </a:lnTo>
                  <a:lnTo>
                    <a:pt x="562" y="114"/>
                  </a:lnTo>
                  <a:lnTo>
                    <a:pt x="562" y="116"/>
                  </a:lnTo>
                  <a:lnTo>
                    <a:pt x="561" y="117"/>
                  </a:lnTo>
                  <a:lnTo>
                    <a:pt x="561" y="116"/>
                  </a:lnTo>
                  <a:lnTo>
                    <a:pt x="561" y="117"/>
                  </a:lnTo>
                  <a:lnTo>
                    <a:pt x="562" y="117"/>
                  </a:lnTo>
                  <a:lnTo>
                    <a:pt x="562" y="119"/>
                  </a:lnTo>
                  <a:lnTo>
                    <a:pt x="562" y="120"/>
                  </a:lnTo>
                  <a:lnTo>
                    <a:pt x="561" y="120"/>
                  </a:lnTo>
                  <a:lnTo>
                    <a:pt x="562" y="120"/>
                  </a:lnTo>
                  <a:lnTo>
                    <a:pt x="561" y="120"/>
                  </a:lnTo>
                  <a:lnTo>
                    <a:pt x="561" y="119"/>
                  </a:lnTo>
                  <a:lnTo>
                    <a:pt x="559" y="119"/>
                  </a:lnTo>
                  <a:lnTo>
                    <a:pt x="561" y="119"/>
                  </a:lnTo>
                  <a:lnTo>
                    <a:pt x="559" y="120"/>
                  </a:lnTo>
                  <a:lnTo>
                    <a:pt x="559" y="119"/>
                  </a:lnTo>
                  <a:lnTo>
                    <a:pt x="558" y="119"/>
                  </a:lnTo>
                  <a:lnTo>
                    <a:pt x="556" y="119"/>
                  </a:lnTo>
                  <a:lnTo>
                    <a:pt x="554" y="117"/>
                  </a:lnTo>
                  <a:lnTo>
                    <a:pt x="553" y="117"/>
                  </a:lnTo>
                  <a:lnTo>
                    <a:pt x="553" y="116"/>
                  </a:lnTo>
                  <a:lnTo>
                    <a:pt x="553" y="114"/>
                  </a:lnTo>
                  <a:lnTo>
                    <a:pt x="551" y="112"/>
                  </a:lnTo>
                  <a:lnTo>
                    <a:pt x="551" y="111"/>
                  </a:lnTo>
                  <a:lnTo>
                    <a:pt x="551" y="109"/>
                  </a:lnTo>
                  <a:lnTo>
                    <a:pt x="553" y="109"/>
                  </a:lnTo>
                  <a:lnTo>
                    <a:pt x="553" y="107"/>
                  </a:lnTo>
                  <a:lnTo>
                    <a:pt x="554" y="107"/>
                  </a:lnTo>
                  <a:lnTo>
                    <a:pt x="558" y="107"/>
                  </a:lnTo>
                  <a:lnTo>
                    <a:pt x="559" y="109"/>
                  </a:lnTo>
                  <a:lnTo>
                    <a:pt x="561" y="109"/>
                  </a:lnTo>
                  <a:lnTo>
                    <a:pt x="559" y="107"/>
                  </a:lnTo>
                  <a:lnTo>
                    <a:pt x="558" y="107"/>
                  </a:lnTo>
                  <a:lnTo>
                    <a:pt x="559" y="107"/>
                  </a:lnTo>
                  <a:lnTo>
                    <a:pt x="558" y="107"/>
                  </a:lnTo>
                  <a:lnTo>
                    <a:pt x="558" y="106"/>
                  </a:lnTo>
                  <a:lnTo>
                    <a:pt x="558" y="107"/>
                  </a:lnTo>
                  <a:lnTo>
                    <a:pt x="554" y="107"/>
                  </a:lnTo>
                  <a:lnTo>
                    <a:pt x="554" y="106"/>
                  </a:lnTo>
                  <a:lnTo>
                    <a:pt x="554" y="104"/>
                  </a:lnTo>
                  <a:lnTo>
                    <a:pt x="554" y="103"/>
                  </a:lnTo>
                  <a:lnTo>
                    <a:pt x="554" y="101"/>
                  </a:lnTo>
                  <a:lnTo>
                    <a:pt x="554" y="99"/>
                  </a:lnTo>
                  <a:lnTo>
                    <a:pt x="556" y="99"/>
                  </a:lnTo>
                  <a:lnTo>
                    <a:pt x="556" y="96"/>
                  </a:lnTo>
                  <a:lnTo>
                    <a:pt x="556" y="98"/>
                  </a:lnTo>
                  <a:lnTo>
                    <a:pt x="556" y="96"/>
                  </a:lnTo>
                  <a:lnTo>
                    <a:pt x="556" y="94"/>
                  </a:lnTo>
                  <a:lnTo>
                    <a:pt x="554" y="93"/>
                  </a:lnTo>
                  <a:lnTo>
                    <a:pt x="554" y="91"/>
                  </a:lnTo>
                  <a:lnTo>
                    <a:pt x="554" y="90"/>
                  </a:lnTo>
                  <a:lnTo>
                    <a:pt x="554" y="85"/>
                  </a:lnTo>
                  <a:lnTo>
                    <a:pt x="554" y="83"/>
                  </a:lnTo>
                  <a:lnTo>
                    <a:pt x="554" y="81"/>
                  </a:lnTo>
                  <a:lnTo>
                    <a:pt x="554" y="80"/>
                  </a:lnTo>
                  <a:lnTo>
                    <a:pt x="554" y="78"/>
                  </a:lnTo>
                  <a:lnTo>
                    <a:pt x="553" y="78"/>
                  </a:lnTo>
                  <a:lnTo>
                    <a:pt x="553" y="77"/>
                  </a:lnTo>
                  <a:lnTo>
                    <a:pt x="551" y="77"/>
                  </a:lnTo>
                  <a:lnTo>
                    <a:pt x="551" y="75"/>
                  </a:lnTo>
                  <a:lnTo>
                    <a:pt x="551" y="73"/>
                  </a:lnTo>
                  <a:lnTo>
                    <a:pt x="551" y="70"/>
                  </a:lnTo>
                  <a:lnTo>
                    <a:pt x="549" y="70"/>
                  </a:lnTo>
                  <a:lnTo>
                    <a:pt x="549" y="68"/>
                  </a:lnTo>
                  <a:lnTo>
                    <a:pt x="549" y="67"/>
                  </a:lnTo>
                  <a:lnTo>
                    <a:pt x="548" y="65"/>
                  </a:lnTo>
                  <a:lnTo>
                    <a:pt x="548" y="64"/>
                  </a:lnTo>
                  <a:lnTo>
                    <a:pt x="546" y="64"/>
                  </a:lnTo>
                  <a:lnTo>
                    <a:pt x="546" y="65"/>
                  </a:lnTo>
                  <a:lnTo>
                    <a:pt x="548" y="67"/>
                  </a:lnTo>
                  <a:lnTo>
                    <a:pt x="549" y="68"/>
                  </a:lnTo>
                  <a:lnTo>
                    <a:pt x="548" y="68"/>
                  </a:lnTo>
                  <a:lnTo>
                    <a:pt x="548" y="70"/>
                  </a:lnTo>
                  <a:lnTo>
                    <a:pt x="548" y="72"/>
                  </a:lnTo>
                  <a:lnTo>
                    <a:pt x="548" y="73"/>
                  </a:lnTo>
                  <a:lnTo>
                    <a:pt x="549" y="73"/>
                  </a:lnTo>
                  <a:lnTo>
                    <a:pt x="549" y="75"/>
                  </a:lnTo>
                  <a:lnTo>
                    <a:pt x="549" y="77"/>
                  </a:lnTo>
                  <a:lnTo>
                    <a:pt x="549" y="78"/>
                  </a:lnTo>
                  <a:lnTo>
                    <a:pt x="549" y="80"/>
                  </a:lnTo>
                  <a:lnTo>
                    <a:pt x="551" y="80"/>
                  </a:lnTo>
                  <a:lnTo>
                    <a:pt x="551" y="81"/>
                  </a:lnTo>
                  <a:lnTo>
                    <a:pt x="551" y="83"/>
                  </a:lnTo>
                  <a:lnTo>
                    <a:pt x="551" y="85"/>
                  </a:lnTo>
                  <a:lnTo>
                    <a:pt x="551" y="90"/>
                  </a:lnTo>
                  <a:lnTo>
                    <a:pt x="551" y="91"/>
                  </a:lnTo>
                  <a:lnTo>
                    <a:pt x="551" y="93"/>
                  </a:lnTo>
                  <a:lnTo>
                    <a:pt x="551" y="94"/>
                  </a:lnTo>
                  <a:lnTo>
                    <a:pt x="553" y="94"/>
                  </a:lnTo>
                  <a:lnTo>
                    <a:pt x="553" y="96"/>
                  </a:lnTo>
                  <a:lnTo>
                    <a:pt x="551" y="96"/>
                  </a:lnTo>
                  <a:lnTo>
                    <a:pt x="551" y="98"/>
                  </a:lnTo>
                  <a:lnTo>
                    <a:pt x="551" y="99"/>
                  </a:lnTo>
                  <a:lnTo>
                    <a:pt x="551" y="98"/>
                  </a:lnTo>
                  <a:lnTo>
                    <a:pt x="551" y="99"/>
                  </a:lnTo>
                  <a:lnTo>
                    <a:pt x="551" y="101"/>
                  </a:lnTo>
                  <a:lnTo>
                    <a:pt x="551" y="103"/>
                  </a:lnTo>
                  <a:lnTo>
                    <a:pt x="551" y="104"/>
                  </a:lnTo>
                  <a:lnTo>
                    <a:pt x="549" y="104"/>
                  </a:lnTo>
                  <a:lnTo>
                    <a:pt x="549" y="106"/>
                  </a:lnTo>
                  <a:lnTo>
                    <a:pt x="549" y="107"/>
                  </a:lnTo>
                  <a:lnTo>
                    <a:pt x="549" y="109"/>
                  </a:lnTo>
                  <a:lnTo>
                    <a:pt x="549" y="111"/>
                  </a:lnTo>
                  <a:lnTo>
                    <a:pt x="549" y="112"/>
                  </a:lnTo>
                  <a:lnTo>
                    <a:pt x="548" y="112"/>
                  </a:lnTo>
                  <a:lnTo>
                    <a:pt x="546" y="112"/>
                  </a:lnTo>
                  <a:lnTo>
                    <a:pt x="546" y="111"/>
                  </a:lnTo>
                  <a:lnTo>
                    <a:pt x="546" y="109"/>
                  </a:lnTo>
                  <a:lnTo>
                    <a:pt x="545" y="109"/>
                  </a:lnTo>
                  <a:lnTo>
                    <a:pt x="545" y="107"/>
                  </a:lnTo>
                  <a:lnTo>
                    <a:pt x="543" y="107"/>
                  </a:lnTo>
                  <a:lnTo>
                    <a:pt x="543" y="106"/>
                  </a:lnTo>
                  <a:lnTo>
                    <a:pt x="543" y="104"/>
                  </a:lnTo>
                  <a:lnTo>
                    <a:pt x="541" y="106"/>
                  </a:lnTo>
                  <a:lnTo>
                    <a:pt x="541" y="104"/>
                  </a:lnTo>
                  <a:lnTo>
                    <a:pt x="543" y="104"/>
                  </a:lnTo>
                  <a:lnTo>
                    <a:pt x="543" y="103"/>
                  </a:lnTo>
                  <a:lnTo>
                    <a:pt x="541" y="101"/>
                  </a:lnTo>
                  <a:lnTo>
                    <a:pt x="543" y="99"/>
                  </a:lnTo>
                  <a:lnTo>
                    <a:pt x="541" y="99"/>
                  </a:lnTo>
                  <a:lnTo>
                    <a:pt x="541" y="98"/>
                  </a:lnTo>
                  <a:lnTo>
                    <a:pt x="540" y="98"/>
                  </a:lnTo>
                  <a:lnTo>
                    <a:pt x="541" y="99"/>
                  </a:lnTo>
                  <a:lnTo>
                    <a:pt x="541" y="101"/>
                  </a:lnTo>
                  <a:lnTo>
                    <a:pt x="541" y="103"/>
                  </a:lnTo>
                  <a:lnTo>
                    <a:pt x="540" y="103"/>
                  </a:lnTo>
                  <a:lnTo>
                    <a:pt x="541" y="103"/>
                  </a:lnTo>
                  <a:lnTo>
                    <a:pt x="541" y="101"/>
                  </a:lnTo>
                  <a:lnTo>
                    <a:pt x="541" y="103"/>
                  </a:lnTo>
                  <a:lnTo>
                    <a:pt x="543" y="103"/>
                  </a:lnTo>
                  <a:lnTo>
                    <a:pt x="541" y="103"/>
                  </a:lnTo>
                  <a:lnTo>
                    <a:pt x="541" y="104"/>
                  </a:lnTo>
                  <a:lnTo>
                    <a:pt x="540" y="104"/>
                  </a:lnTo>
                  <a:lnTo>
                    <a:pt x="538" y="103"/>
                  </a:lnTo>
                  <a:lnTo>
                    <a:pt x="538" y="101"/>
                  </a:lnTo>
                  <a:lnTo>
                    <a:pt x="536" y="99"/>
                  </a:lnTo>
                  <a:lnTo>
                    <a:pt x="536" y="98"/>
                  </a:lnTo>
                  <a:lnTo>
                    <a:pt x="536" y="96"/>
                  </a:lnTo>
                  <a:lnTo>
                    <a:pt x="536" y="94"/>
                  </a:lnTo>
                  <a:lnTo>
                    <a:pt x="538" y="93"/>
                  </a:lnTo>
                  <a:lnTo>
                    <a:pt x="540" y="91"/>
                  </a:lnTo>
                  <a:lnTo>
                    <a:pt x="540" y="90"/>
                  </a:lnTo>
                  <a:lnTo>
                    <a:pt x="540" y="88"/>
                  </a:lnTo>
                  <a:lnTo>
                    <a:pt x="538" y="88"/>
                  </a:lnTo>
                  <a:lnTo>
                    <a:pt x="536" y="88"/>
                  </a:lnTo>
                  <a:lnTo>
                    <a:pt x="538" y="90"/>
                  </a:lnTo>
                  <a:lnTo>
                    <a:pt x="536" y="90"/>
                  </a:lnTo>
                  <a:lnTo>
                    <a:pt x="536" y="88"/>
                  </a:lnTo>
                  <a:lnTo>
                    <a:pt x="536" y="86"/>
                  </a:lnTo>
                  <a:lnTo>
                    <a:pt x="536" y="85"/>
                  </a:lnTo>
                  <a:lnTo>
                    <a:pt x="535" y="86"/>
                  </a:lnTo>
                  <a:lnTo>
                    <a:pt x="535" y="88"/>
                  </a:lnTo>
                  <a:lnTo>
                    <a:pt x="535" y="90"/>
                  </a:lnTo>
                  <a:lnTo>
                    <a:pt x="535" y="91"/>
                  </a:lnTo>
                  <a:lnTo>
                    <a:pt x="535" y="90"/>
                  </a:lnTo>
                  <a:lnTo>
                    <a:pt x="533" y="90"/>
                  </a:lnTo>
                  <a:lnTo>
                    <a:pt x="533" y="91"/>
                  </a:lnTo>
                  <a:lnTo>
                    <a:pt x="532" y="91"/>
                  </a:lnTo>
                  <a:lnTo>
                    <a:pt x="533" y="90"/>
                  </a:lnTo>
                  <a:lnTo>
                    <a:pt x="533" y="88"/>
                  </a:lnTo>
                  <a:lnTo>
                    <a:pt x="535" y="86"/>
                  </a:lnTo>
                  <a:lnTo>
                    <a:pt x="535" y="85"/>
                  </a:lnTo>
                  <a:lnTo>
                    <a:pt x="535" y="81"/>
                  </a:lnTo>
                  <a:lnTo>
                    <a:pt x="535" y="80"/>
                  </a:lnTo>
                  <a:lnTo>
                    <a:pt x="536" y="78"/>
                  </a:lnTo>
                  <a:lnTo>
                    <a:pt x="538" y="77"/>
                  </a:lnTo>
                  <a:lnTo>
                    <a:pt x="538" y="75"/>
                  </a:lnTo>
                  <a:lnTo>
                    <a:pt x="540" y="75"/>
                  </a:lnTo>
                  <a:lnTo>
                    <a:pt x="541" y="68"/>
                  </a:lnTo>
                  <a:lnTo>
                    <a:pt x="541" y="67"/>
                  </a:lnTo>
                  <a:lnTo>
                    <a:pt x="540" y="67"/>
                  </a:lnTo>
                  <a:lnTo>
                    <a:pt x="538" y="65"/>
                  </a:lnTo>
                  <a:lnTo>
                    <a:pt x="536" y="67"/>
                  </a:lnTo>
                  <a:lnTo>
                    <a:pt x="536" y="68"/>
                  </a:lnTo>
                  <a:lnTo>
                    <a:pt x="535" y="70"/>
                  </a:lnTo>
                  <a:lnTo>
                    <a:pt x="535" y="72"/>
                  </a:lnTo>
                  <a:lnTo>
                    <a:pt x="533" y="73"/>
                  </a:lnTo>
                  <a:lnTo>
                    <a:pt x="533" y="75"/>
                  </a:lnTo>
                  <a:lnTo>
                    <a:pt x="532" y="77"/>
                  </a:lnTo>
                  <a:lnTo>
                    <a:pt x="530" y="77"/>
                  </a:lnTo>
                  <a:lnTo>
                    <a:pt x="528" y="77"/>
                  </a:lnTo>
                  <a:lnTo>
                    <a:pt x="527" y="77"/>
                  </a:lnTo>
                  <a:lnTo>
                    <a:pt x="527" y="75"/>
                  </a:lnTo>
                  <a:lnTo>
                    <a:pt x="525" y="75"/>
                  </a:lnTo>
                  <a:lnTo>
                    <a:pt x="525" y="77"/>
                  </a:lnTo>
                  <a:lnTo>
                    <a:pt x="527" y="78"/>
                  </a:lnTo>
                  <a:lnTo>
                    <a:pt x="528" y="78"/>
                  </a:lnTo>
                  <a:lnTo>
                    <a:pt x="528" y="80"/>
                  </a:lnTo>
                  <a:lnTo>
                    <a:pt x="528" y="81"/>
                  </a:lnTo>
                  <a:lnTo>
                    <a:pt x="528" y="83"/>
                  </a:lnTo>
                  <a:lnTo>
                    <a:pt x="530" y="86"/>
                  </a:lnTo>
                  <a:lnTo>
                    <a:pt x="530" y="88"/>
                  </a:lnTo>
                  <a:lnTo>
                    <a:pt x="530" y="90"/>
                  </a:lnTo>
                  <a:lnTo>
                    <a:pt x="528" y="91"/>
                  </a:lnTo>
                  <a:lnTo>
                    <a:pt x="527" y="93"/>
                  </a:lnTo>
                  <a:lnTo>
                    <a:pt x="527" y="91"/>
                  </a:lnTo>
                  <a:lnTo>
                    <a:pt x="525" y="93"/>
                  </a:lnTo>
                  <a:lnTo>
                    <a:pt x="525" y="91"/>
                  </a:lnTo>
                  <a:lnTo>
                    <a:pt x="523" y="90"/>
                  </a:lnTo>
                  <a:lnTo>
                    <a:pt x="523" y="88"/>
                  </a:lnTo>
                  <a:lnTo>
                    <a:pt x="522" y="86"/>
                  </a:lnTo>
                  <a:lnTo>
                    <a:pt x="520" y="85"/>
                  </a:lnTo>
                  <a:lnTo>
                    <a:pt x="519" y="85"/>
                  </a:lnTo>
                  <a:lnTo>
                    <a:pt x="519" y="86"/>
                  </a:lnTo>
                  <a:lnTo>
                    <a:pt x="519" y="88"/>
                  </a:lnTo>
                  <a:lnTo>
                    <a:pt x="519" y="90"/>
                  </a:lnTo>
                  <a:lnTo>
                    <a:pt x="520" y="90"/>
                  </a:lnTo>
                  <a:lnTo>
                    <a:pt x="520" y="91"/>
                  </a:lnTo>
                  <a:lnTo>
                    <a:pt x="522" y="91"/>
                  </a:lnTo>
                  <a:lnTo>
                    <a:pt x="522" y="93"/>
                  </a:lnTo>
                  <a:lnTo>
                    <a:pt x="523" y="91"/>
                  </a:lnTo>
                  <a:lnTo>
                    <a:pt x="523" y="93"/>
                  </a:lnTo>
                  <a:lnTo>
                    <a:pt x="525" y="94"/>
                  </a:lnTo>
                  <a:lnTo>
                    <a:pt x="525" y="96"/>
                  </a:lnTo>
                  <a:lnTo>
                    <a:pt x="527" y="96"/>
                  </a:lnTo>
                  <a:lnTo>
                    <a:pt x="527" y="98"/>
                  </a:lnTo>
                  <a:lnTo>
                    <a:pt x="525" y="98"/>
                  </a:lnTo>
                  <a:lnTo>
                    <a:pt x="525" y="99"/>
                  </a:lnTo>
                  <a:lnTo>
                    <a:pt x="527" y="98"/>
                  </a:lnTo>
                  <a:lnTo>
                    <a:pt x="528" y="94"/>
                  </a:lnTo>
                  <a:lnTo>
                    <a:pt x="530" y="96"/>
                  </a:lnTo>
                  <a:lnTo>
                    <a:pt x="530" y="98"/>
                  </a:lnTo>
                  <a:lnTo>
                    <a:pt x="532" y="98"/>
                  </a:lnTo>
                  <a:lnTo>
                    <a:pt x="532" y="99"/>
                  </a:lnTo>
                  <a:lnTo>
                    <a:pt x="533" y="99"/>
                  </a:lnTo>
                  <a:lnTo>
                    <a:pt x="533" y="101"/>
                  </a:lnTo>
                  <a:lnTo>
                    <a:pt x="533" y="103"/>
                  </a:lnTo>
                  <a:lnTo>
                    <a:pt x="533" y="101"/>
                  </a:lnTo>
                  <a:lnTo>
                    <a:pt x="535" y="101"/>
                  </a:lnTo>
                  <a:lnTo>
                    <a:pt x="535" y="103"/>
                  </a:lnTo>
                  <a:lnTo>
                    <a:pt x="535" y="104"/>
                  </a:lnTo>
                  <a:lnTo>
                    <a:pt x="535" y="106"/>
                  </a:lnTo>
                  <a:lnTo>
                    <a:pt x="535" y="107"/>
                  </a:lnTo>
                  <a:lnTo>
                    <a:pt x="536" y="107"/>
                  </a:lnTo>
                  <a:lnTo>
                    <a:pt x="536" y="109"/>
                  </a:lnTo>
                  <a:lnTo>
                    <a:pt x="536" y="111"/>
                  </a:lnTo>
                  <a:lnTo>
                    <a:pt x="536" y="109"/>
                  </a:lnTo>
                  <a:lnTo>
                    <a:pt x="538" y="111"/>
                  </a:lnTo>
                  <a:lnTo>
                    <a:pt x="536" y="111"/>
                  </a:lnTo>
                  <a:lnTo>
                    <a:pt x="536" y="112"/>
                  </a:lnTo>
                  <a:lnTo>
                    <a:pt x="538" y="112"/>
                  </a:lnTo>
                  <a:lnTo>
                    <a:pt x="540" y="114"/>
                  </a:lnTo>
                  <a:lnTo>
                    <a:pt x="541" y="114"/>
                  </a:lnTo>
                  <a:lnTo>
                    <a:pt x="540" y="116"/>
                  </a:lnTo>
                  <a:lnTo>
                    <a:pt x="541" y="116"/>
                  </a:lnTo>
                  <a:lnTo>
                    <a:pt x="540" y="116"/>
                  </a:lnTo>
                  <a:lnTo>
                    <a:pt x="538" y="117"/>
                  </a:lnTo>
                  <a:lnTo>
                    <a:pt x="536" y="117"/>
                  </a:lnTo>
                  <a:lnTo>
                    <a:pt x="538" y="117"/>
                  </a:lnTo>
                  <a:lnTo>
                    <a:pt x="536" y="119"/>
                  </a:lnTo>
                  <a:lnTo>
                    <a:pt x="536" y="120"/>
                  </a:lnTo>
                  <a:lnTo>
                    <a:pt x="536" y="119"/>
                  </a:lnTo>
                  <a:lnTo>
                    <a:pt x="536" y="120"/>
                  </a:lnTo>
                  <a:lnTo>
                    <a:pt x="535" y="122"/>
                  </a:lnTo>
                  <a:lnTo>
                    <a:pt x="533" y="122"/>
                  </a:lnTo>
                  <a:lnTo>
                    <a:pt x="532" y="122"/>
                  </a:lnTo>
                  <a:lnTo>
                    <a:pt x="532" y="120"/>
                  </a:lnTo>
                  <a:lnTo>
                    <a:pt x="533" y="120"/>
                  </a:lnTo>
                  <a:lnTo>
                    <a:pt x="532" y="120"/>
                  </a:lnTo>
                  <a:lnTo>
                    <a:pt x="532" y="122"/>
                  </a:lnTo>
                  <a:lnTo>
                    <a:pt x="530" y="122"/>
                  </a:lnTo>
                  <a:lnTo>
                    <a:pt x="527" y="122"/>
                  </a:lnTo>
                  <a:lnTo>
                    <a:pt x="527" y="120"/>
                  </a:lnTo>
                  <a:lnTo>
                    <a:pt x="527" y="119"/>
                  </a:lnTo>
                  <a:lnTo>
                    <a:pt x="527" y="117"/>
                  </a:lnTo>
                  <a:lnTo>
                    <a:pt x="527" y="116"/>
                  </a:lnTo>
                  <a:lnTo>
                    <a:pt x="528" y="114"/>
                  </a:lnTo>
                  <a:lnTo>
                    <a:pt x="527" y="114"/>
                  </a:lnTo>
                  <a:lnTo>
                    <a:pt x="525" y="114"/>
                  </a:lnTo>
                  <a:lnTo>
                    <a:pt x="525" y="116"/>
                  </a:lnTo>
                  <a:lnTo>
                    <a:pt x="523" y="117"/>
                  </a:lnTo>
                  <a:lnTo>
                    <a:pt x="523" y="119"/>
                  </a:lnTo>
                  <a:lnTo>
                    <a:pt x="522" y="119"/>
                  </a:lnTo>
                  <a:lnTo>
                    <a:pt x="522" y="120"/>
                  </a:lnTo>
                  <a:lnTo>
                    <a:pt x="523" y="120"/>
                  </a:lnTo>
                  <a:lnTo>
                    <a:pt x="522" y="120"/>
                  </a:lnTo>
                  <a:lnTo>
                    <a:pt x="520" y="120"/>
                  </a:lnTo>
                  <a:lnTo>
                    <a:pt x="520" y="119"/>
                  </a:lnTo>
                  <a:lnTo>
                    <a:pt x="519" y="119"/>
                  </a:lnTo>
                  <a:lnTo>
                    <a:pt x="519" y="120"/>
                  </a:lnTo>
                  <a:lnTo>
                    <a:pt x="520" y="122"/>
                  </a:lnTo>
                  <a:lnTo>
                    <a:pt x="520" y="124"/>
                  </a:lnTo>
                  <a:lnTo>
                    <a:pt x="519" y="124"/>
                  </a:lnTo>
                  <a:lnTo>
                    <a:pt x="519" y="125"/>
                  </a:lnTo>
                  <a:lnTo>
                    <a:pt x="519" y="124"/>
                  </a:lnTo>
                  <a:lnTo>
                    <a:pt x="517" y="124"/>
                  </a:lnTo>
                  <a:lnTo>
                    <a:pt x="517" y="125"/>
                  </a:lnTo>
                  <a:lnTo>
                    <a:pt x="515" y="124"/>
                  </a:lnTo>
                  <a:lnTo>
                    <a:pt x="515" y="122"/>
                  </a:lnTo>
                  <a:lnTo>
                    <a:pt x="514" y="124"/>
                  </a:lnTo>
                  <a:lnTo>
                    <a:pt x="512" y="124"/>
                  </a:lnTo>
                  <a:lnTo>
                    <a:pt x="512" y="122"/>
                  </a:lnTo>
                  <a:lnTo>
                    <a:pt x="512" y="120"/>
                  </a:lnTo>
                  <a:lnTo>
                    <a:pt x="512" y="119"/>
                  </a:lnTo>
                  <a:lnTo>
                    <a:pt x="512" y="117"/>
                  </a:lnTo>
                  <a:lnTo>
                    <a:pt x="510" y="117"/>
                  </a:lnTo>
                  <a:lnTo>
                    <a:pt x="512" y="117"/>
                  </a:lnTo>
                  <a:lnTo>
                    <a:pt x="510" y="116"/>
                  </a:lnTo>
                  <a:lnTo>
                    <a:pt x="509" y="116"/>
                  </a:lnTo>
                  <a:lnTo>
                    <a:pt x="509" y="114"/>
                  </a:lnTo>
                  <a:lnTo>
                    <a:pt x="509" y="112"/>
                  </a:lnTo>
                  <a:lnTo>
                    <a:pt x="510" y="112"/>
                  </a:lnTo>
                  <a:lnTo>
                    <a:pt x="509" y="112"/>
                  </a:lnTo>
                  <a:lnTo>
                    <a:pt x="510" y="111"/>
                  </a:lnTo>
                  <a:lnTo>
                    <a:pt x="512" y="111"/>
                  </a:lnTo>
                  <a:lnTo>
                    <a:pt x="514" y="109"/>
                  </a:lnTo>
                  <a:lnTo>
                    <a:pt x="515" y="109"/>
                  </a:lnTo>
                  <a:lnTo>
                    <a:pt x="517" y="109"/>
                  </a:lnTo>
                  <a:lnTo>
                    <a:pt x="515" y="109"/>
                  </a:lnTo>
                  <a:lnTo>
                    <a:pt x="517" y="109"/>
                  </a:lnTo>
                  <a:lnTo>
                    <a:pt x="515" y="109"/>
                  </a:lnTo>
                  <a:lnTo>
                    <a:pt x="514" y="109"/>
                  </a:lnTo>
                  <a:lnTo>
                    <a:pt x="514" y="107"/>
                  </a:lnTo>
                  <a:lnTo>
                    <a:pt x="512" y="109"/>
                  </a:lnTo>
                  <a:lnTo>
                    <a:pt x="510" y="109"/>
                  </a:lnTo>
                  <a:lnTo>
                    <a:pt x="510" y="107"/>
                  </a:lnTo>
                  <a:lnTo>
                    <a:pt x="509" y="107"/>
                  </a:lnTo>
                  <a:lnTo>
                    <a:pt x="509" y="109"/>
                  </a:lnTo>
                  <a:lnTo>
                    <a:pt x="509" y="111"/>
                  </a:lnTo>
                  <a:lnTo>
                    <a:pt x="507" y="111"/>
                  </a:lnTo>
                  <a:lnTo>
                    <a:pt x="507" y="112"/>
                  </a:lnTo>
                  <a:lnTo>
                    <a:pt x="507" y="114"/>
                  </a:lnTo>
                  <a:lnTo>
                    <a:pt x="505" y="114"/>
                  </a:lnTo>
                  <a:lnTo>
                    <a:pt x="505" y="116"/>
                  </a:lnTo>
                  <a:lnTo>
                    <a:pt x="504" y="116"/>
                  </a:lnTo>
                  <a:lnTo>
                    <a:pt x="504" y="117"/>
                  </a:lnTo>
                  <a:lnTo>
                    <a:pt x="504" y="119"/>
                  </a:lnTo>
                  <a:lnTo>
                    <a:pt x="502" y="119"/>
                  </a:lnTo>
                  <a:lnTo>
                    <a:pt x="502" y="117"/>
                  </a:lnTo>
                  <a:lnTo>
                    <a:pt x="501" y="119"/>
                  </a:lnTo>
                  <a:lnTo>
                    <a:pt x="499" y="117"/>
                  </a:lnTo>
                  <a:lnTo>
                    <a:pt x="499" y="116"/>
                  </a:lnTo>
                  <a:lnTo>
                    <a:pt x="499" y="114"/>
                  </a:lnTo>
                  <a:lnTo>
                    <a:pt x="499" y="112"/>
                  </a:lnTo>
                  <a:lnTo>
                    <a:pt x="497" y="111"/>
                  </a:lnTo>
                  <a:lnTo>
                    <a:pt x="497" y="109"/>
                  </a:lnTo>
                  <a:lnTo>
                    <a:pt x="497" y="107"/>
                  </a:lnTo>
                  <a:lnTo>
                    <a:pt x="496" y="107"/>
                  </a:lnTo>
                  <a:lnTo>
                    <a:pt x="494" y="107"/>
                  </a:lnTo>
                  <a:lnTo>
                    <a:pt x="496" y="106"/>
                  </a:lnTo>
                  <a:lnTo>
                    <a:pt x="496" y="104"/>
                  </a:lnTo>
                  <a:lnTo>
                    <a:pt x="494" y="104"/>
                  </a:lnTo>
                  <a:lnTo>
                    <a:pt x="492" y="104"/>
                  </a:lnTo>
                  <a:lnTo>
                    <a:pt x="491" y="104"/>
                  </a:lnTo>
                  <a:lnTo>
                    <a:pt x="491" y="103"/>
                  </a:lnTo>
                  <a:lnTo>
                    <a:pt x="489" y="103"/>
                  </a:lnTo>
                  <a:lnTo>
                    <a:pt x="489" y="101"/>
                  </a:lnTo>
                  <a:lnTo>
                    <a:pt x="489" y="99"/>
                  </a:lnTo>
                  <a:lnTo>
                    <a:pt x="491" y="98"/>
                  </a:lnTo>
                  <a:lnTo>
                    <a:pt x="491" y="96"/>
                  </a:lnTo>
                  <a:lnTo>
                    <a:pt x="492" y="94"/>
                  </a:lnTo>
                  <a:lnTo>
                    <a:pt x="494" y="94"/>
                  </a:lnTo>
                  <a:lnTo>
                    <a:pt x="496" y="96"/>
                  </a:lnTo>
                  <a:lnTo>
                    <a:pt x="497" y="96"/>
                  </a:lnTo>
                  <a:lnTo>
                    <a:pt x="499" y="96"/>
                  </a:lnTo>
                  <a:lnTo>
                    <a:pt x="501" y="98"/>
                  </a:lnTo>
                  <a:lnTo>
                    <a:pt x="501" y="99"/>
                  </a:lnTo>
                  <a:lnTo>
                    <a:pt x="501" y="98"/>
                  </a:lnTo>
                  <a:lnTo>
                    <a:pt x="501" y="96"/>
                  </a:lnTo>
                  <a:lnTo>
                    <a:pt x="499" y="94"/>
                  </a:lnTo>
                  <a:lnTo>
                    <a:pt x="496" y="93"/>
                  </a:lnTo>
                  <a:lnTo>
                    <a:pt x="496" y="91"/>
                  </a:lnTo>
                  <a:lnTo>
                    <a:pt x="497" y="91"/>
                  </a:lnTo>
                  <a:lnTo>
                    <a:pt x="499" y="91"/>
                  </a:lnTo>
                  <a:lnTo>
                    <a:pt x="502" y="91"/>
                  </a:lnTo>
                  <a:lnTo>
                    <a:pt x="502" y="90"/>
                  </a:lnTo>
                  <a:lnTo>
                    <a:pt x="504" y="90"/>
                  </a:lnTo>
                  <a:lnTo>
                    <a:pt x="505" y="90"/>
                  </a:lnTo>
                  <a:lnTo>
                    <a:pt x="507" y="91"/>
                  </a:lnTo>
                  <a:lnTo>
                    <a:pt x="507" y="90"/>
                  </a:lnTo>
                  <a:lnTo>
                    <a:pt x="505" y="90"/>
                  </a:lnTo>
                  <a:lnTo>
                    <a:pt x="504" y="90"/>
                  </a:lnTo>
                  <a:lnTo>
                    <a:pt x="504" y="88"/>
                  </a:lnTo>
                  <a:lnTo>
                    <a:pt x="502" y="88"/>
                  </a:lnTo>
                  <a:lnTo>
                    <a:pt x="499" y="88"/>
                  </a:lnTo>
                  <a:lnTo>
                    <a:pt x="497" y="88"/>
                  </a:lnTo>
                  <a:lnTo>
                    <a:pt x="496" y="85"/>
                  </a:lnTo>
                  <a:lnTo>
                    <a:pt x="496" y="86"/>
                  </a:lnTo>
                  <a:lnTo>
                    <a:pt x="494" y="86"/>
                  </a:lnTo>
                  <a:lnTo>
                    <a:pt x="494" y="88"/>
                  </a:lnTo>
                  <a:lnTo>
                    <a:pt x="492" y="91"/>
                  </a:lnTo>
                  <a:lnTo>
                    <a:pt x="491" y="91"/>
                  </a:lnTo>
                  <a:lnTo>
                    <a:pt x="489" y="90"/>
                  </a:lnTo>
                  <a:lnTo>
                    <a:pt x="488" y="90"/>
                  </a:lnTo>
                  <a:lnTo>
                    <a:pt x="488" y="88"/>
                  </a:lnTo>
                  <a:lnTo>
                    <a:pt x="486" y="86"/>
                  </a:lnTo>
                  <a:lnTo>
                    <a:pt x="486" y="85"/>
                  </a:lnTo>
                  <a:lnTo>
                    <a:pt x="486" y="83"/>
                  </a:lnTo>
                  <a:lnTo>
                    <a:pt x="483" y="85"/>
                  </a:lnTo>
                  <a:lnTo>
                    <a:pt x="483" y="86"/>
                  </a:lnTo>
                  <a:lnTo>
                    <a:pt x="484" y="88"/>
                  </a:lnTo>
                  <a:lnTo>
                    <a:pt x="486" y="91"/>
                  </a:lnTo>
                  <a:lnTo>
                    <a:pt x="488" y="93"/>
                  </a:lnTo>
                  <a:lnTo>
                    <a:pt x="488" y="94"/>
                  </a:lnTo>
                  <a:lnTo>
                    <a:pt x="488" y="96"/>
                  </a:lnTo>
                  <a:lnTo>
                    <a:pt x="488" y="98"/>
                  </a:lnTo>
                  <a:lnTo>
                    <a:pt x="486" y="98"/>
                  </a:lnTo>
                  <a:lnTo>
                    <a:pt x="484" y="99"/>
                  </a:lnTo>
                  <a:lnTo>
                    <a:pt x="484" y="98"/>
                  </a:lnTo>
                  <a:lnTo>
                    <a:pt x="483" y="98"/>
                  </a:lnTo>
                  <a:lnTo>
                    <a:pt x="481" y="98"/>
                  </a:lnTo>
                  <a:lnTo>
                    <a:pt x="479" y="98"/>
                  </a:lnTo>
                  <a:lnTo>
                    <a:pt x="478" y="98"/>
                  </a:lnTo>
                  <a:lnTo>
                    <a:pt x="478" y="96"/>
                  </a:lnTo>
                  <a:lnTo>
                    <a:pt x="479" y="94"/>
                  </a:lnTo>
                  <a:lnTo>
                    <a:pt x="479" y="93"/>
                  </a:lnTo>
                  <a:lnTo>
                    <a:pt x="481" y="91"/>
                  </a:lnTo>
                  <a:lnTo>
                    <a:pt x="481" y="90"/>
                  </a:lnTo>
                  <a:lnTo>
                    <a:pt x="481" y="88"/>
                  </a:lnTo>
                  <a:lnTo>
                    <a:pt x="479" y="90"/>
                  </a:lnTo>
                  <a:lnTo>
                    <a:pt x="478" y="90"/>
                  </a:lnTo>
                  <a:lnTo>
                    <a:pt x="478" y="91"/>
                  </a:lnTo>
                  <a:lnTo>
                    <a:pt x="478" y="93"/>
                  </a:lnTo>
                  <a:lnTo>
                    <a:pt x="476" y="93"/>
                  </a:lnTo>
                  <a:lnTo>
                    <a:pt x="476" y="94"/>
                  </a:lnTo>
                  <a:lnTo>
                    <a:pt x="475" y="98"/>
                  </a:lnTo>
                  <a:lnTo>
                    <a:pt x="475" y="99"/>
                  </a:lnTo>
                  <a:lnTo>
                    <a:pt x="473" y="101"/>
                  </a:lnTo>
                  <a:lnTo>
                    <a:pt x="473" y="103"/>
                  </a:lnTo>
                  <a:lnTo>
                    <a:pt x="471" y="104"/>
                  </a:lnTo>
                  <a:lnTo>
                    <a:pt x="471" y="106"/>
                  </a:lnTo>
                  <a:lnTo>
                    <a:pt x="470" y="106"/>
                  </a:lnTo>
                  <a:lnTo>
                    <a:pt x="470" y="104"/>
                  </a:lnTo>
                  <a:lnTo>
                    <a:pt x="471" y="103"/>
                  </a:lnTo>
                  <a:lnTo>
                    <a:pt x="471" y="101"/>
                  </a:lnTo>
                  <a:lnTo>
                    <a:pt x="473" y="101"/>
                  </a:lnTo>
                  <a:lnTo>
                    <a:pt x="471" y="101"/>
                  </a:lnTo>
                  <a:lnTo>
                    <a:pt x="471" y="99"/>
                  </a:lnTo>
                  <a:lnTo>
                    <a:pt x="471" y="98"/>
                  </a:lnTo>
                  <a:lnTo>
                    <a:pt x="473" y="96"/>
                  </a:lnTo>
                  <a:lnTo>
                    <a:pt x="473" y="94"/>
                  </a:lnTo>
                  <a:lnTo>
                    <a:pt x="471" y="94"/>
                  </a:lnTo>
                  <a:lnTo>
                    <a:pt x="470" y="96"/>
                  </a:lnTo>
                  <a:lnTo>
                    <a:pt x="468" y="96"/>
                  </a:lnTo>
                  <a:lnTo>
                    <a:pt x="468" y="98"/>
                  </a:lnTo>
                  <a:lnTo>
                    <a:pt x="468" y="101"/>
                  </a:lnTo>
                  <a:lnTo>
                    <a:pt x="468" y="103"/>
                  </a:lnTo>
                  <a:lnTo>
                    <a:pt x="466" y="103"/>
                  </a:lnTo>
                  <a:lnTo>
                    <a:pt x="463" y="103"/>
                  </a:lnTo>
                  <a:lnTo>
                    <a:pt x="462" y="101"/>
                  </a:lnTo>
                  <a:lnTo>
                    <a:pt x="462" y="99"/>
                  </a:lnTo>
                  <a:lnTo>
                    <a:pt x="465" y="99"/>
                  </a:lnTo>
                  <a:lnTo>
                    <a:pt x="466" y="96"/>
                  </a:lnTo>
                  <a:lnTo>
                    <a:pt x="468" y="94"/>
                  </a:lnTo>
                  <a:lnTo>
                    <a:pt x="468" y="93"/>
                  </a:lnTo>
                  <a:lnTo>
                    <a:pt x="468" y="91"/>
                  </a:lnTo>
                  <a:lnTo>
                    <a:pt x="470" y="88"/>
                  </a:lnTo>
                  <a:lnTo>
                    <a:pt x="471" y="88"/>
                  </a:lnTo>
                  <a:lnTo>
                    <a:pt x="471" y="86"/>
                  </a:lnTo>
                  <a:lnTo>
                    <a:pt x="470" y="86"/>
                  </a:lnTo>
                  <a:lnTo>
                    <a:pt x="468" y="86"/>
                  </a:lnTo>
                  <a:lnTo>
                    <a:pt x="468" y="88"/>
                  </a:lnTo>
                  <a:lnTo>
                    <a:pt x="466" y="90"/>
                  </a:lnTo>
                  <a:lnTo>
                    <a:pt x="466" y="91"/>
                  </a:lnTo>
                  <a:lnTo>
                    <a:pt x="465" y="91"/>
                  </a:lnTo>
                  <a:lnTo>
                    <a:pt x="465" y="96"/>
                  </a:lnTo>
                  <a:lnTo>
                    <a:pt x="463" y="98"/>
                  </a:lnTo>
                  <a:lnTo>
                    <a:pt x="462" y="98"/>
                  </a:lnTo>
                  <a:lnTo>
                    <a:pt x="460" y="99"/>
                  </a:lnTo>
                  <a:lnTo>
                    <a:pt x="458" y="99"/>
                  </a:lnTo>
                  <a:lnTo>
                    <a:pt x="458" y="98"/>
                  </a:lnTo>
                  <a:lnTo>
                    <a:pt x="458" y="96"/>
                  </a:lnTo>
                  <a:lnTo>
                    <a:pt x="458" y="94"/>
                  </a:lnTo>
                  <a:lnTo>
                    <a:pt x="458" y="93"/>
                  </a:lnTo>
                  <a:lnTo>
                    <a:pt x="458" y="91"/>
                  </a:lnTo>
                  <a:lnTo>
                    <a:pt x="457" y="91"/>
                  </a:lnTo>
                  <a:lnTo>
                    <a:pt x="457" y="90"/>
                  </a:lnTo>
                  <a:lnTo>
                    <a:pt x="455" y="90"/>
                  </a:lnTo>
                  <a:lnTo>
                    <a:pt x="453" y="88"/>
                  </a:lnTo>
                  <a:lnTo>
                    <a:pt x="453" y="86"/>
                  </a:lnTo>
                  <a:lnTo>
                    <a:pt x="453" y="85"/>
                  </a:lnTo>
                  <a:lnTo>
                    <a:pt x="452" y="85"/>
                  </a:lnTo>
                  <a:lnTo>
                    <a:pt x="452" y="83"/>
                  </a:lnTo>
                  <a:lnTo>
                    <a:pt x="452" y="81"/>
                  </a:lnTo>
                  <a:lnTo>
                    <a:pt x="450" y="81"/>
                  </a:lnTo>
                  <a:lnTo>
                    <a:pt x="450" y="80"/>
                  </a:lnTo>
                  <a:lnTo>
                    <a:pt x="449" y="80"/>
                  </a:lnTo>
                  <a:lnTo>
                    <a:pt x="449" y="78"/>
                  </a:lnTo>
                  <a:lnTo>
                    <a:pt x="449" y="77"/>
                  </a:lnTo>
                  <a:lnTo>
                    <a:pt x="450" y="73"/>
                  </a:lnTo>
                  <a:lnTo>
                    <a:pt x="449" y="72"/>
                  </a:lnTo>
                  <a:lnTo>
                    <a:pt x="449" y="70"/>
                  </a:lnTo>
                  <a:lnTo>
                    <a:pt x="447" y="70"/>
                  </a:lnTo>
                  <a:lnTo>
                    <a:pt x="447" y="72"/>
                  </a:lnTo>
                  <a:lnTo>
                    <a:pt x="447" y="73"/>
                  </a:lnTo>
                  <a:lnTo>
                    <a:pt x="445" y="75"/>
                  </a:lnTo>
                  <a:lnTo>
                    <a:pt x="445" y="77"/>
                  </a:lnTo>
                  <a:lnTo>
                    <a:pt x="444" y="77"/>
                  </a:lnTo>
                  <a:lnTo>
                    <a:pt x="442" y="77"/>
                  </a:lnTo>
                  <a:lnTo>
                    <a:pt x="442" y="78"/>
                  </a:lnTo>
                  <a:lnTo>
                    <a:pt x="442" y="80"/>
                  </a:lnTo>
                  <a:lnTo>
                    <a:pt x="444" y="80"/>
                  </a:lnTo>
                  <a:lnTo>
                    <a:pt x="447" y="83"/>
                  </a:lnTo>
                  <a:lnTo>
                    <a:pt x="447" y="85"/>
                  </a:lnTo>
                  <a:lnTo>
                    <a:pt x="449" y="86"/>
                  </a:lnTo>
                  <a:lnTo>
                    <a:pt x="449" y="90"/>
                  </a:lnTo>
                  <a:lnTo>
                    <a:pt x="450" y="91"/>
                  </a:lnTo>
                  <a:lnTo>
                    <a:pt x="450" y="93"/>
                  </a:lnTo>
                  <a:lnTo>
                    <a:pt x="452" y="94"/>
                  </a:lnTo>
                  <a:lnTo>
                    <a:pt x="452" y="96"/>
                  </a:lnTo>
                  <a:lnTo>
                    <a:pt x="453" y="98"/>
                  </a:lnTo>
                  <a:lnTo>
                    <a:pt x="453" y="99"/>
                  </a:lnTo>
                  <a:lnTo>
                    <a:pt x="453" y="101"/>
                  </a:lnTo>
                  <a:lnTo>
                    <a:pt x="453" y="103"/>
                  </a:lnTo>
                  <a:lnTo>
                    <a:pt x="453" y="104"/>
                  </a:lnTo>
                  <a:lnTo>
                    <a:pt x="453" y="103"/>
                  </a:lnTo>
                  <a:lnTo>
                    <a:pt x="452" y="104"/>
                  </a:lnTo>
                  <a:lnTo>
                    <a:pt x="452" y="103"/>
                  </a:lnTo>
                  <a:lnTo>
                    <a:pt x="452" y="104"/>
                  </a:lnTo>
                  <a:lnTo>
                    <a:pt x="450" y="106"/>
                  </a:lnTo>
                  <a:lnTo>
                    <a:pt x="450" y="107"/>
                  </a:lnTo>
                  <a:lnTo>
                    <a:pt x="450" y="109"/>
                  </a:lnTo>
                  <a:lnTo>
                    <a:pt x="450" y="111"/>
                  </a:lnTo>
                  <a:lnTo>
                    <a:pt x="452" y="111"/>
                  </a:lnTo>
                  <a:lnTo>
                    <a:pt x="453" y="107"/>
                  </a:lnTo>
                  <a:lnTo>
                    <a:pt x="453" y="106"/>
                  </a:lnTo>
                  <a:lnTo>
                    <a:pt x="457" y="107"/>
                  </a:lnTo>
                  <a:lnTo>
                    <a:pt x="458" y="107"/>
                  </a:lnTo>
                  <a:lnTo>
                    <a:pt x="458" y="109"/>
                  </a:lnTo>
                  <a:lnTo>
                    <a:pt x="458" y="111"/>
                  </a:lnTo>
                  <a:lnTo>
                    <a:pt x="460" y="112"/>
                  </a:lnTo>
                  <a:lnTo>
                    <a:pt x="460" y="116"/>
                  </a:lnTo>
                  <a:lnTo>
                    <a:pt x="460" y="117"/>
                  </a:lnTo>
                  <a:lnTo>
                    <a:pt x="460" y="119"/>
                  </a:lnTo>
                  <a:lnTo>
                    <a:pt x="460" y="120"/>
                  </a:lnTo>
                  <a:lnTo>
                    <a:pt x="458" y="120"/>
                  </a:lnTo>
                  <a:lnTo>
                    <a:pt x="460" y="120"/>
                  </a:lnTo>
                  <a:lnTo>
                    <a:pt x="460" y="122"/>
                  </a:lnTo>
                  <a:lnTo>
                    <a:pt x="458" y="122"/>
                  </a:lnTo>
                  <a:lnTo>
                    <a:pt x="458" y="124"/>
                  </a:lnTo>
                  <a:lnTo>
                    <a:pt x="458" y="122"/>
                  </a:lnTo>
                  <a:lnTo>
                    <a:pt x="458" y="124"/>
                  </a:lnTo>
                  <a:lnTo>
                    <a:pt x="460" y="124"/>
                  </a:lnTo>
                  <a:lnTo>
                    <a:pt x="462" y="124"/>
                  </a:lnTo>
                  <a:lnTo>
                    <a:pt x="462" y="125"/>
                  </a:lnTo>
                  <a:lnTo>
                    <a:pt x="462" y="127"/>
                  </a:lnTo>
                  <a:lnTo>
                    <a:pt x="462" y="129"/>
                  </a:lnTo>
                  <a:lnTo>
                    <a:pt x="460" y="130"/>
                  </a:lnTo>
                  <a:lnTo>
                    <a:pt x="458" y="132"/>
                  </a:lnTo>
                  <a:lnTo>
                    <a:pt x="457" y="132"/>
                  </a:lnTo>
                  <a:lnTo>
                    <a:pt x="458" y="132"/>
                  </a:lnTo>
                  <a:lnTo>
                    <a:pt x="458" y="134"/>
                  </a:lnTo>
                  <a:lnTo>
                    <a:pt x="457" y="135"/>
                  </a:lnTo>
                  <a:lnTo>
                    <a:pt x="457" y="137"/>
                  </a:lnTo>
                  <a:lnTo>
                    <a:pt x="457" y="135"/>
                  </a:lnTo>
                  <a:lnTo>
                    <a:pt x="455" y="135"/>
                  </a:lnTo>
                  <a:lnTo>
                    <a:pt x="455" y="137"/>
                  </a:lnTo>
                  <a:lnTo>
                    <a:pt x="455" y="138"/>
                  </a:lnTo>
                  <a:lnTo>
                    <a:pt x="453" y="138"/>
                  </a:lnTo>
                  <a:lnTo>
                    <a:pt x="453" y="137"/>
                  </a:lnTo>
                  <a:lnTo>
                    <a:pt x="452" y="137"/>
                  </a:lnTo>
                  <a:lnTo>
                    <a:pt x="450" y="137"/>
                  </a:lnTo>
                  <a:lnTo>
                    <a:pt x="452" y="135"/>
                  </a:lnTo>
                  <a:lnTo>
                    <a:pt x="450" y="135"/>
                  </a:lnTo>
                  <a:lnTo>
                    <a:pt x="449" y="135"/>
                  </a:lnTo>
                  <a:lnTo>
                    <a:pt x="450" y="134"/>
                  </a:lnTo>
                  <a:lnTo>
                    <a:pt x="449" y="134"/>
                  </a:lnTo>
                  <a:lnTo>
                    <a:pt x="450" y="130"/>
                  </a:lnTo>
                  <a:lnTo>
                    <a:pt x="450" y="127"/>
                  </a:lnTo>
                  <a:lnTo>
                    <a:pt x="450" y="125"/>
                  </a:lnTo>
                  <a:lnTo>
                    <a:pt x="450" y="124"/>
                  </a:lnTo>
                  <a:lnTo>
                    <a:pt x="452" y="122"/>
                  </a:lnTo>
                  <a:lnTo>
                    <a:pt x="452" y="120"/>
                  </a:lnTo>
                  <a:lnTo>
                    <a:pt x="450" y="120"/>
                  </a:lnTo>
                  <a:lnTo>
                    <a:pt x="450" y="122"/>
                  </a:lnTo>
                  <a:lnTo>
                    <a:pt x="450" y="124"/>
                  </a:lnTo>
                  <a:lnTo>
                    <a:pt x="450" y="125"/>
                  </a:lnTo>
                  <a:lnTo>
                    <a:pt x="449" y="127"/>
                  </a:lnTo>
                  <a:lnTo>
                    <a:pt x="449" y="129"/>
                  </a:lnTo>
                  <a:lnTo>
                    <a:pt x="449" y="130"/>
                  </a:lnTo>
                  <a:lnTo>
                    <a:pt x="449" y="132"/>
                  </a:lnTo>
                  <a:lnTo>
                    <a:pt x="447" y="132"/>
                  </a:lnTo>
                  <a:lnTo>
                    <a:pt x="447" y="130"/>
                  </a:lnTo>
                  <a:lnTo>
                    <a:pt x="445" y="130"/>
                  </a:lnTo>
                  <a:lnTo>
                    <a:pt x="445" y="129"/>
                  </a:lnTo>
                  <a:lnTo>
                    <a:pt x="445" y="127"/>
                  </a:lnTo>
                  <a:lnTo>
                    <a:pt x="445" y="125"/>
                  </a:lnTo>
                  <a:lnTo>
                    <a:pt x="445" y="127"/>
                  </a:lnTo>
                  <a:lnTo>
                    <a:pt x="444" y="127"/>
                  </a:lnTo>
                  <a:lnTo>
                    <a:pt x="444" y="129"/>
                  </a:lnTo>
                  <a:lnTo>
                    <a:pt x="445" y="130"/>
                  </a:lnTo>
                  <a:lnTo>
                    <a:pt x="445" y="132"/>
                  </a:lnTo>
                  <a:lnTo>
                    <a:pt x="445" y="134"/>
                  </a:lnTo>
                  <a:lnTo>
                    <a:pt x="445" y="137"/>
                  </a:lnTo>
                  <a:lnTo>
                    <a:pt x="445" y="138"/>
                  </a:lnTo>
                  <a:lnTo>
                    <a:pt x="447" y="140"/>
                  </a:lnTo>
                  <a:lnTo>
                    <a:pt x="445" y="142"/>
                  </a:lnTo>
                  <a:lnTo>
                    <a:pt x="444" y="142"/>
                  </a:lnTo>
                  <a:lnTo>
                    <a:pt x="445" y="142"/>
                  </a:lnTo>
                  <a:lnTo>
                    <a:pt x="447" y="142"/>
                  </a:lnTo>
                  <a:lnTo>
                    <a:pt x="447" y="143"/>
                  </a:lnTo>
                  <a:lnTo>
                    <a:pt x="447" y="142"/>
                  </a:lnTo>
                  <a:lnTo>
                    <a:pt x="449" y="142"/>
                  </a:lnTo>
                  <a:lnTo>
                    <a:pt x="449" y="140"/>
                  </a:lnTo>
                  <a:lnTo>
                    <a:pt x="450" y="140"/>
                  </a:lnTo>
                  <a:lnTo>
                    <a:pt x="450" y="142"/>
                  </a:lnTo>
                  <a:lnTo>
                    <a:pt x="450" y="143"/>
                  </a:lnTo>
                  <a:lnTo>
                    <a:pt x="452" y="142"/>
                  </a:lnTo>
                  <a:lnTo>
                    <a:pt x="452" y="143"/>
                  </a:lnTo>
                  <a:lnTo>
                    <a:pt x="452" y="145"/>
                  </a:lnTo>
                  <a:lnTo>
                    <a:pt x="452" y="147"/>
                  </a:lnTo>
                  <a:lnTo>
                    <a:pt x="453" y="147"/>
                  </a:lnTo>
                  <a:lnTo>
                    <a:pt x="452" y="147"/>
                  </a:lnTo>
                  <a:lnTo>
                    <a:pt x="452" y="148"/>
                  </a:lnTo>
                  <a:lnTo>
                    <a:pt x="450" y="148"/>
                  </a:lnTo>
                  <a:lnTo>
                    <a:pt x="450" y="150"/>
                  </a:lnTo>
                  <a:lnTo>
                    <a:pt x="449" y="150"/>
                  </a:lnTo>
                  <a:lnTo>
                    <a:pt x="447" y="150"/>
                  </a:lnTo>
                  <a:lnTo>
                    <a:pt x="450" y="151"/>
                  </a:lnTo>
                  <a:lnTo>
                    <a:pt x="450" y="153"/>
                  </a:lnTo>
                  <a:lnTo>
                    <a:pt x="452" y="153"/>
                  </a:lnTo>
                  <a:lnTo>
                    <a:pt x="453" y="155"/>
                  </a:lnTo>
                  <a:lnTo>
                    <a:pt x="452" y="155"/>
                  </a:lnTo>
                  <a:lnTo>
                    <a:pt x="450" y="155"/>
                  </a:lnTo>
                  <a:lnTo>
                    <a:pt x="449" y="155"/>
                  </a:lnTo>
                  <a:lnTo>
                    <a:pt x="449" y="153"/>
                  </a:lnTo>
                  <a:lnTo>
                    <a:pt x="447" y="153"/>
                  </a:lnTo>
                  <a:lnTo>
                    <a:pt x="445" y="153"/>
                  </a:lnTo>
                  <a:lnTo>
                    <a:pt x="445" y="151"/>
                  </a:lnTo>
                  <a:lnTo>
                    <a:pt x="445" y="148"/>
                  </a:lnTo>
                  <a:lnTo>
                    <a:pt x="444" y="151"/>
                  </a:lnTo>
                  <a:lnTo>
                    <a:pt x="444" y="150"/>
                  </a:lnTo>
                  <a:lnTo>
                    <a:pt x="444" y="151"/>
                  </a:lnTo>
                  <a:lnTo>
                    <a:pt x="442" y="150"/>
                  </a:lnTo>
                  <a:lnTo>
                    <a:pt x="442" y="148"/>
                  </a:lnTo>
                  <a:lnTo>
                    <a:pt x="442" y="147"/>
                  </a:lnTo>
                  <a:lnTo>
                    <a:pt x="442" y="145"/>
                  </a:lnTo>
                  <a:lnTo>
                    <a:pt x="442" y="143"/>
                  </a:lnTo>
                  <a:lnTo>
                    <a:pt x="440" y="143"/>
                  </a:lnTo>
                  <a:lnTo>
                    <a:pt x="440" y="140"/>
                  </a:lnTo>
                  <a:lnTo>
                    <a:pt x="440" y="138"/>
                  </a:lnTo>
                  <a:lnTo>
                    <a:pt x="440" y="137"/>
                  </a:lnTo>
                  <a:lnTo>
                    <a:pt x="442" y="138"/>
                  </a:lnTo>
                  <a:lnTo>
                    <a:pt x="440" y="135"/>
                  </a:lnTo>
                  <a:lnTo>
                    <a:pt x="442" y="135"/>
                  </a:lnTo>
                  <a:lnTo>
                    <a:pt x="440" y="135"/>
                  </a:lnTo>
                  <a:lnTo>
                    <a:pt x="439" y="135"/>
                  </a:lnTo>
                  <a:lnTo>
                    <a:pt x="439" y="134"/>
                  </a:lnTo>
                  <a:lnTo>
                    <a:pt x="439" y="132"/>
                  </a:lnTo>
                  <a:lnTo>
                    <a:pt x="437" y="130"/>
                  </a:lnTo>
                  <a:lnTo>
                    <a:pt x="437" y="129"/>
                  </a:lnTo>
                  <a:lnTo>
                    <a:pt x="439" y="129"/>
                  </a:lnTo>
                  <a:lnTo>
                    <a:pt x="439" y="127"/>
                  </a:lnTo>
                  <a:lnTo>
                    <a:pt x="439" y="125"/>
                  </a:lnTo>
                  <a:lnTo>
                    <a:pt x="437" y="124"/>
                  </a:lnTo>
                  <a:lnTo>
                    <a:pt x="437" y="120"/>
                  </a:lnTo>
                  <a:lnTo>
                    <a:pt x="439" y="120"/>
                  </a:lnTo>
                  <a:lnTo>
                    <a:pt x="439" y="119"/>
                  </a:lnTo>
                  <a:lnTo>
                    <a:pt x="440" y="119"/>
                  </a:lnTo>
                  <a:lnTo>
                    <a:pt x="439" y="117"/>
                  </a:lnTo>
                  <a:lnTo>
                    <a:pt x="437" y="116"/>
                  </a:lnTo>
                  <a:lnTo>
                    <a:pt x="436" y="116"/>
                  </a:lnTo>
                  <a:lnTo>
                    <a:pt x="434" y="116"/>
                  </a:lnTo>
                  <a:lnTo>
                    <a:pt x="434" y="117"/>
                  </a:lnTo>
                  <a:lnTo>
                    <a:pt x="434" y="116"/>
                  </a:lnTo>
                  <a:lnTo>
                    <a:pt x="434" y="114"/>
                  </a:lnTo>
                  <a:lnTo>
                    <a:pt x="436" y="114"/>
                  </a:lnTo>
                  <a:lnTo>
                    <a:pt x="434" y="111"/>
                  </a:lnTo>
                  <a:lnTo>
                    <a:pt x="434" y="109"/>
                  </a:lnTo>
                  <a:lnTo>
                    <a:pt x="432" y="109"/>
                  </a:lnTo>
                  <a:lnTo>
                    <a:pt x="431" y="109"/>
                  </a:lnTo>
                  <a:lnTo>
                    <a:pt x="431" y="106"/>
                  </a:lnTo>
                  <a:lnTo>
                    <a:pt x="431" y="103"/>
                  </a:lnTo>
                  <a:lnTo>
                    <a:pt x="429" y="101"/>
                  </a:lnTo>
                  <a:lnTo>
                    <a:pt x="427" y="101"/>
                  </a:lnTo>
                  <a:lnTo>
                    <a:pt x="427" y="104"/>
                  </a:lnTo>
                  <a:lnTo>
                    <a:pt x="427" y="106"/>
                  </a:lnTo>
                  <a:lnTo>
                    <a:pt x="427" y="107"/>
                  </a:lnTo>
                  <a:lnTo>
                    <a:pt x="426" y="107"/>
                  </a:lnTo>
                  <a:lnTo>
                    <a:pt x="424" y="107"/>
                  </a:lnTo>
                  <a:lnTo>
                    <a:pt x="423" y="109"/>
                  </a:lnTo>
                  <a:lnTo>
                    <a:pt x="423" y="111"/>
                  </a:lnTo>
                  <a:lnTo>
                    <a:pt x="424" y="111"/>
                  </a:lnTo>
                  <a:lnTo>
                    <a:pt x="426" y="111"/>
                  </a:lnTo>
                  <a:lnTo>
                    <a:pt x="427" y="111"/>
                  </a:lnTo>
                  <a:lnTo>
                    <a:pt x="427" y="112"/>
                  </a:lnTo>
                  <a:lnTo>
                    <a:pt x="427" y="116"/>
                  </a:lnTo>
                  <a:lnTo>
                    <a:pt x="427" y="117"/>
                  </a:lnTo>
                  <a:lnTo>
                    <a:pt x="429" y="117"/>
                  </a:lnTo>
                  <a:lnTo>
                    <a:pt x="429" y="119"/>
                  </a:lnTo>
                  <a:lnTo>
                    <a:pt x="429" y="120"/>
                  </a:lnTo>
                  <a:lnTo>
                    <a:pt x="431" y="120"/>
                  </a:lnTo>
                  <a:lnTo>
                    <a:pt x="429" y="120"/>
                  </a:lnTo>
                  <a:lnTo>
                    <a:pt x="431" y="122"/>
                  </a:lnTo>
                  <a:lnTo>
                    <a:pt x="429" y="122"/>
                  </a:lnTo>
                  <a:lnTo>
                    <a:pt x="431" y="124"/>
                  </a:lnTo>
                  <a:lnTo>
                    <a:pt x="429" y="124"/>
                  </a:lnTo>
                  <a:lnTo>
                    <a:pt x="431" y="125"/>
                  </a:lnTo>
                  <a:lnTo>
                    <a:pt x="431" y="127"/>
                  </a:lnTo>
                  <a:lnTo>
                    <a:pt x="429" y="129"/>
                  </a:lnTo>
                  <a:lnTo>
                    <a:pt x="429" y="132"/>
                  </a:lnTo>
                  <a:lnTo>
                    <a:pt x="429" y="134"/>
                  </a:lnTo>
                  <a:lnTo>
                    <a:pt x="429" y="135"/>
                  </a:lnTo>
                  <a:lnTo>
                    <a:pt x="429" y="137"/>
                  </a:lnTo>
                  <a:lnTo>
                    <a:pt x="427" y="137"/>
                  </a:lnTo>
                  <a:lnTo>
                    <a:pt x="426" y="138"/>
                  </a:lnTo>
                  <a:lnTo>
                    <a:pt x="426" y="140"/>
                  </a:lnTo>
                  <a:lnTo>
                    <a:pt x="427" y="140"/>
                  </a:lnTo>
                  <a:lnTo>
                    <a:pt x="427" y="142"/>
                  </a:lnTo>
                  <a:lnTo>
                    <a:pt x="429" y="142"/>
                  </a:lnTo>
                  <a:lnTo>
                    <a:pt x="431" y="143"/>
                  </a:lnTo>
                  <a:lnTo>
                    <a:pt x="431" y="145"/>
                  </a:lnTo>
                  <a:lnTo>
                    <a:pt x="432" y="145"/>
                  </a:lnTo>
                  <a:lnTo>
                    <a:pt x="434" y="145"/>
                  </a:lnTo>
                  <a:lnTo>
                    <a:pt x="434" y="147"/>
                  </a:lnTo>
                  <a:lnTo>
                    <a:pt x="436" y="147"/>
                  </a:lnTo>
                  <a:lnTo>
                    <a:pt x="436" y="148"/>
                  </a:lnTo>
                  <a:lnTo>
                    <a:pt x="437" y="150"/>
                  </a:lnTo>
                  <a:lnTo>
                    <a:pt x="437" y="151"/>
                  </a:lnTo>
                  <a:lnTo>
                    <a:pt x="437" y="153"/>
                  </a:lnTo>
                  <a:lnTo>
                    <a:pt x="437" y="155"/>
                  </a:lnTo>
                  <a:lnTo>
                    <a:pt x="437" y="156"/>
                  </a:lnTo>
                  <a:lnTo>
                    <a:pt x="439" y="156"/>
                  </a:lnTo>
                  <a:lnTo>
                    <a:pt x="439" y="158"/>
                  </a:lnTo>
                  <a:lnTo>
                    <a:pt x="439" y="160"/>
                  </a:lnTo>
                  <a:lnTo>
                    <a:pt x="437" y="160"/>
                  </a:lnTo>
                  <a:lnTo>
                    <a:pt x="436" y="160"/>
                  </a:lnTo>
                  <a:lnTo>
                    <a:pt x="436" y="158"/>
                  </a:lnTo>
                  <a:lnTo>
                    <a:pt x="434" y="160"/>
                  </a:lnTo>
                  <a:lnTo>
                    <a:pt x="434" y="161"/>
                  </a:lnTo>
                  <a:lnTo>
                    <a:pt x="432" y="161"/>
                  </a:lnTo>
                  <a:lnTo>
                    <a:pt x="432" y="160"/>
                  </a:lnTo>
                  <a:lnTo>
                    <a:pt x="431" y="161"/>
                  </a:lnTo>
                  <a:lnTo>
                    <a:pt x="432" y="161"/>
                  </a:lnTo>
                  <a:lnTo>
                    <a:pt x="431" y="161"/>
                  </a:lnTo>
                  <a:lnTo>
                    <a:pt x="432" y="163"/>
                  </a:lnTo>
                  <a:lnTo>
                    <a:pt x="434" y="163"/>
                  </a:lnTo>
                  <a:lnTo>
                    <a:pt x="432" y="163"/>
                  </a:lnTo>
                  <a:lnTo>
                    <a:pt x="434" y="163"/>
                  </a:lnTo>
                  <a:lnTo>
                    <a:pt x="434" y="164"/>
                  </a:lnTo>
                  <a:lnTo>
                    <a:pt x="432" y="164"/>
                  </a:lnTo>
                  <a:lnTo>
                    <a:pt x="434" y="164"/>
                  </a:lnTo>
                  <a:lnTo>
                    <a:pt x="432" y="164"/>
                  </a:lnTo>
                  <a:lnTo>
                    <a:pt x="432" y="166"/>
                  </a:lnTo>
                  <a:lnTo>
                    <a:pt x="434" y="166"/>
                  </a:lnTo>
                  <a:lnTo>
                    <a:pt x="432" y="166"/>
                  </a:lnTo>
                  <a:lnTo>
                    <a:pt x="431" y="166"/>
                  </a:lnTo>
                  <a:lnTo>
                    <a:pt x="432" y="168"/>
                  </a:lnTo>
                  <a:lnTo>
                    <a:pt x="431" y="168"/>
                  </a:lnTo>
                  <a:lnTo>
                    <a:pt x="429" y="168"/>
                  </a:lnTo>
                  <a:lnTo>
                    <a:pt x="429" y="169"/>
                  </a:lnTo>
                  <a:lnTo>
                    <a:pt x="431" y="169"/>
                  </a:lnTo>
                  <a:lnTo>
                    <a:pt x="429" y="169"/>
                  </a:lnTo>
                  <a:lnTo>
                    <a:pt x="427" y="169"/>
                  </a:lnTo>
                  <a:lnTo>
                    <a:pt x="427" y="171"/>
                  </a:lnTo>
                  <a:lnTo>
                    <a:pt x="426" y="171"/>
                  </a:lnTo>
                  <a:lnTo>
                    <a:pt x="427" y="171"/>
                  </a:lnTo>
                  <a:lnTo>
                    <a:pt x="426" y="171"/>
                  </a:lnTo>
                  <a:lnTo>
                    <a:pt x="424" y="171"/>
                  </a:lnTo>
                  <a:lnTo>
                    <a:pt x="423" y="171"/>
                  </a:lnTo>
                  <a:lnTo>
                    <a:pt x="423" y="173"/>
                  </a:lnTo>
                  <a:lnTo>
                    <a:pt x="423" y="171"/>
                  </a:lnTo>
                  <a:lnTo>
                    <a:pt x="421" y="171"/>
                  </a:lnTo>
                  <a:lnTo>
                    <a:pt x="419" y="173"/>
                  </a:lnTo>
                  <a:lnTo>
                    <a:pt x="418" y="173"/>
                  </a:lnTo>
                  <a:lnTo>
                    <a:pt x="418" y="174"/>
                  </a:lnTo>
                  <a:lnTo>
                    <a:pt x="419" y="174"/>
                  </a:lnTo>
                  <a:lnTo>
                    <a:pt x="419" y="176"/>
                  </a:lnTo>
                  <a:lnTo>
                    <a:pt x="418" y="176"/>
                  </a:lnTo>
                  <a:lnTo>
                    <a:pt x="419" y="176"/>
                  </a:lnTo>
                  <a:lnTo>
                    <a:pt x="419" y="177"/>
                  </a:lnTo>
                  <a:lnTo>
                    <a:pt x="418" y="177"/>
                  </a:lnTo>
                  <a:lnTo>
                    <a:pt x="416" y="177"/>
                  </a:lnTo>
                  <a:lnTo>
                    <a:pt x="416" y="179"/>
                  </a:lnTo>
                  <a:lnTo>
                    <a:pt x="416" y="177"/>
                  </a:lnTo>
                  <a:lnTo>
                    <a:pt x="414" y="179"/>
                  </a:lnTo>
                  <a:lnTo>
                    <a:pt x="413" y="177"/>
                  </a:lnTo>
                  <a:lnTo>
                    <a:pt x="411" y="176"/>
                  </a:lnTo>
                  <a:lnTo>
                    <a:pt x="411" y="174"/>
                  </a:lnTo>
                  <a:lnTo>
                    <a:pt x="410" y="176"/>
                  </a:lnTo>
                  <a:lnTo>
                    <a:pt x="410" y="177"/>
                  </a:lnTo>
                  <a:lnTo>
                    <a:pt x="408" y="179"/>
                  </a:lnTo>
                  <a:lnTo>
                    <a:pt x="406" y="181"/>
                  </a:lnTo>
                  <a:lnTo>
                    <a:pt x="406" y="179"/>
                  </a:lnTo>
                  <a:lnTo>
                    <a:pt x="405" y="179"/>
                  </a:lnTo>
                  <a:lnTo>
                    <a:pt x="403" y="177"/>
                  </a:lnTo>
                  <a:lnTo>
                    <a:pt x="405" y="177"/>
                  </a:lnTo>
                  <a:lnTo>
                    <a:pt x="403" y="177"/>
                  </a:lnTo>
                  <a:lnTo>
                    <a:pt x="401" y="176"/>
                  </a:lnTo>
                  <a:lnTo>
                    <a:pt x="401" y="174"/>
                  </a:lnTo>
                  <a:lnTo>
                    <a:pt x="400" y="174"/>
                  </a:lnTo>
                  <a:lnTo>
                    <a:pt x="400" y="173"/>
                  </a:lnTo>
                  <a:lnTo>
                    <a:pt x="398" y="174"/>
                  </a:lnTo>
                  <a:lnTo>
                    <a:pt x="398" y="176"/>
                  </a:lnTo>
                  <a:lnTo>
                    <a:pt x="400" y="177"/>
                  </a:lnTo>
                  <a:lnTo>
                    <a:pt x="401" y="177"/>
                  </a:lnTo>
                  <a:lnTo>
                    <a:pt x="401" y="181"/>
                  </a:lnTo>
                  <a:lnTo>
                    <a:pt x="403" y="181"/>
                  </a:lnTo>
                  <a:lnTo>
                    <a:pt x="403" y="182"/>
                  </a:lnTo>
                  <a:lnTo>
                    <a:pt x="403" y="181"/>
                  </a:lnTo>
                  <a:lnTo>
                    <a:pt x="401" y="182"/>
                  </a:lnTo>
                  <a:lnTo>
                    <a:pt x="400" y="182"/>
                  </a:lnTo>
                  <a:lnTo>
                    <a:pt x="398" y="182"/>
                  </a:lnTo>
                  <a:lnTo>
                    <a:pt x="400" y="182"/>
                  </a:lnTo>
                  <a:lnTo>
                    <a:pt x="398" y="182"/>
                  </a:lnTo>
                  <a:lnTo>
                    <a:pt x="397" y="182"/>
                  </a:lnTo>
                  <a:lnTo>
                    <a:pt x="395" y="182"/>
                  </a:lnTo>
                  <a:lnTo>
                    <a:pt x="393" y="182"/>
                  </a:lnTo>
                  <a:lnTo>
                    <a:pt x="392" y="184"/>
                  </a:lnTo>
                  <a:lnTo>
                    <a:pt x="390" y="182"/>
                  </a:lnTo>
                  <a:lnTo>
                    <a:pt x="390" y="184"/>
                  </a:lnTo>
                  <a:lnTo>
                    <a:pt x="388" y="184"/>
                  </a:lnTo>
                  <a:lnTo>
                    <a:pt x="390" y="186"/>
                  </a:lnTo>
                  <a:lnTo>
                    <a:pt x="392" y="186"/>
                  </a:lnTo>
                  <a:lnTo>
                    <a:pt x="393" y="186"/>
                  </a:lnTo>
                  <a:lnTo>
                    <a:pt x="395" y="186"/>
                  </a:lnTo>
                  <a:lnTo>
                    <a:pt x="397" y="186"/>
                  </a:lnTo>
                  <a:lnTo>
                    <a:pt x="398" y="186"/>
                  </a:lnTo>
                  <a:lnTo>
                    <a:pt x="400" y="186"/>
                  </a:lnTo>
                  <a:lnTo>
                    <a:pt x="401" y="186"/>
                  </a:lnTo>
                  <a:lnTo>
                    <a:pt x="403" y="186"/>
                  </a:lnTo>
                  <a:lnTo>
                    <a:pt x="405" y="186"/>
                  </a:lnTo>
                  <a:lnTo>
                    <a:pt x="406" y="186"/>
                  </a:lnTo>
                  <a:lnTo>
                    <a:pt x="408" y="186"/>
                  </a:lnTo>
                  <a:lnTo>
                    <a:pt x="408" y="187"/>
                  </a:lnTo>
                  <a:lnTo>
                    <a:pt x="410" y="187"/>
                  </a:lnTo>
                  <a:lnTo>
                    <a:pt x="410" y="189"/>
                  </a:lnTo>
                  <a:lnTo>
                    <a:pt x="411" y="189"/>
                  </a:lnTo>
                  <a:lnTo>
                    <a:pt x="413" y="189"/>
                  </a:lnTo>
                  <a:lnTo>
                    <a:pt x="413" y="190"/>
                  </a:lnTo>
                  <a:lnTo>
                    <a:pt x="411" y="192"/>
                  </a:lnTo>
                  <a:lnTo>
                    <a:pt x="413" y="192"/>
                  </a:lnTo>
                  <a:lnTo>
                    <a:pt x="413" y="194"/>
                  </a:lnTo>
                  <a:lnTo>
                    <a:pt x="414" y="192"/>
                  </a:lnTo>
                  <a:lnTo>
                    <a:pt x="414" y="194"/>
                  </a:lnTo>
                  <a:lnTo>
                    <a:pt x="416" y="194"/>
                  </a:lnTo>
                  <a:lnTo>
                    <a:pt x="416" y="195"/>
                  </a:lnTo>
                  <a:lnTo>
                    <a:pt x="416" y="197"/>
                  </a:lnTo>
                  <a:lnTo>
                    <a:pt x="414" y="197"/>
                  </a:lnTo>
                  <a:lnTo>
                    <a:pt x="413" y="197"/>
                  </a:lnTo>
                  <a:lnTo>
                    <a:pt x="413" y="199"/>
                  </a:lnTo>
                  <a:lnTo>
                    <a:pt x="411" y="199"/>
                  </a:lnTo>
                  <a:lnTo>
                    <a:pt x="410" y="199"/>
                  </a:lnTo>
                  <a:lnTo>
                    <a:pt x="408" y="200"/>
                  </a:lnTo>
                  <a:lnTo>
                    <a:pt x="410" y="200"/>
                  </a:lnTo>
                  <a:lnTo>
                    <a:pt x="408" y="200"/>
                  </a:lnTo>
                  <a:lnTo>
                    <a:pt x="406" y="200"/>
                  </a:lnTo>
                  <a:lnTo>
                    <a:pt x="405" y="200"/>
                  </a:lnTo>
                  <a:lnTo>
                    <a:pt x="405" y="202"/>
                  </a:lnTo>
                  <a:lnTo>
                    <a:pt x="403" y="202"/>
                  </a:lnTo>
                  <a:lnTo>
                    <a:pt x="401" y="200"/>
                  </a:lnTo>
                  <a:lnTo>
                    <a:pt x="401" y="202"/>
                  </a:lnTo>
                  <a:lnTo>
                    <a:pt x="400" y="202"/>
                  </a:lnTo>
                  <a:lnTo>
                    <a:pt x="398" y="200"/>
                  </a:lnTo>
                  <a:lnTo>
                    <a:pt x="398" y="199"/>
                  </a:lnTo>
                  <a:lnTo>
                    <a:pt x="397" y="197"/>
                  </a:lnTo>
                  <a:lnTo>
                    <a:pt x="397" y="195"/>
                  </a:lnTo>
                  <a:lnTo>
                    <a:pt x="395" y="195"/>
                  </a:lnTo>
                  <a:lnTo>
                    <a:pt x="393" y="195"/>
                  </a:lnTo>
                  <a:lnTo>
                    <a:pt x="393" y="194"/>
                  </a:lnTo>
                  <a:lnTo>
                    <a:pt x="393" y="192"/>
                  </a:lnTo>
                  <a:lnTo>
                    <a:pt x="392" y="192"/>
                  </a:lnTo>
                  <a:lnTo>
                    <a:pt x="390" y="192"/>
                  </a:lnTo>
                  <a:lnTo>
                    <a:pt x="392" y="194"/>
                  </a:lnTo>
                  <a:lnTo>
                    <a:pt x="392" y="195"/>
                  </a:lnTo>
                  <a:lnTo>
                    <a:pt x="393" y="197"/>
                  </a:lnTo>
                  <a:lnTo>
                    <a:pt x="393" y="199"/>
                  </a:lnTo>
                  <a:lnTo>
                    <a:pt x="395" y="200"/>
                  </a:lnTo>
                  <a:lnTo>
                    <a:pt x="395" y="202"/>
                  </a:lnTo>
                  <a:lnTo>
                    <a:pt x="397" y="203"/>
                  </a:lnTo>
                  <a:lnTo>
                    <a:pt x="398" y="203"/>
                  </a:lnTo>
                  <a:lnTo>
                    <a:pt x="398" y="205"/>
                  </a:lnTo>
                  <a:lnTo>
                    <a:pt x="397" y="205"/>
                  </a:lnTo>
                  <a:lnTo>
                    <a:pt x="395" y="205"/>
                  </a:lnTo>
                  <a:lnTo>
                    <a:pt x="395" y="203"/>
                  </a:lnTo>
                  <a:lnTo>
                    <a:pt x="393" y="203"/>
                  </a:lnTo>
                  <a:lnTo>
                    <a:pt x="393" y="205"/>
                  </a:lnTo>
                  <a:lnTo>
                    <a:pt x="395" y="205"/>
                  </a:lnTo>
                  <a:lnTo>
                    <a:pt x="395" y="207"/>
                  </a:lnTo>
                  <a:lnTo>
                    <a:pt x="397" y="207"/>
                  </a:lnTo>
                  <a:lnTo>
                    <a:pt x="397" y="208"/>
                  </a:lnTo>
                  <a:lnTo>
                    <a:pt x="395" y="208"/>
                  </a:lnTo>
                  <a:lnTo>
                    <a:pt x="393" y="208"/>
                  </a:lnTo>
                  <a:lnTo>
                    <a:pt x="392" y="208"/>
                  </a:lnTo>
                  <a:lnTo>
                    <a:pt x="392" y="210"/>
                  </a:lnTo>
                  <a:lnTo>
                    <a:pt x="393" y="208"/>
                  </a:lnTo>
                  <a:lnTo>
                    <a:pt x="393" y="210"/>
                  </a:lnTo>
                  <a:lnTo>
                    <a:pt x="392" y="210"/>
                  </a:lnTo>
                  <a:lnTo>
                    <a:pt x="390" y="210"/>
                  </a:lnTo>
                  <a:lnTo>
                    <a:pt x="388" y="210"/>
                  </a:lnTo>
                  <a:lnTo>
                    <a:pt x="387" y="210"/>
                  </a:lnTo>
                  <a:lnTo>
                    <a:pt x="387" y="212"/>
                  </a:lnTo>
                  <a:lnTo>
                    <a:pt x="387" y="210"/>
                  </a:lnTo>
                  <a:lnTo>
                    <a:pt x="385" y="210"/>
                  </a:lnTo>
                  <a:lnTo>
                    <a:pt x="385" y="212"/>
                  </a:lnTo>
                  <a:lnTo>
                    <a:pt x="385" y="213"/>
                  </a:lnTo>
                  <a:lnTo>
                    <a:pt x="384" y="213"/>
                  </a:lnTo>
                  <a:lnTo>
                    <a:pt x="382" y="213"/>
                  </a:lnTo>
                  <a:lnTo>
                    <a:pt x="380" y="212"/>
                  </a:lnTo>
                  <a:lnTo>
                    <a:pt x="379" y="212"/>
                  </a:lnTo>
                  <a:lnTo>
                    <a:pt x="377" y="212"/>
                  </a:lnTo>
                  <a:lnTo>
                    <a:pt x="375" y="212"/>
                  </a:lnTo>
                  <a:lnTo>
                    <a:pt x="374" y="210"/>
                  </a:lnTo>
                  <a:lnTo>
                    <a:pt x="374" y="208"/>
                  </a:lnTo>
                  <a:lnTo>
                    <a:pt x="372" y="208"/>
                  </a:lnTo>
                  <a:lnTo>
                    <a:pt x="371" y="208"/>
                  </a:lnTo>
                  <a:lnTo>
                    <a:pt x="369" y="207"/>
                  </a:lnTo>
                  <a:lnTo>
                    <a:pt x="367" y="205"/>
                  </a:lnTo>
                  <a:lnTo>
                    <a:pt x="366" y="205"/>
                  </a:lnTo>
                  <a:lnTo>
                    <a:pt x="366" y="203"/>
                  </a:lnTo>
                  <a:lnTo>
                    <a:pt x="364" y="203"/>
                  </a:lnTo>
                  <a:lnTo>
                    <a:pt x="364" y="202"/>
                  </a:lnTo>
                  <a:lnTo>
                    <a:pt x="364" y="200"/>
                  </a:lnTo>
                  <a:lnTo>
                    <a:pt x="364" y="202"/>
                  </a:lnTo>
                  <a:lnTo>
                    <a:pt x="364" y="200"/>
                  </a:lnTo>
                  <a:lnTo>
                    <a:pt x="364" y="199"/>
                  </a:lnTo>
                  <a:lnTo>
                    <a:pt x="366" y="199"/>
                  </a:lnTo>
                  <a:lnTo>
                    <a:pt x="364" y="199"/>
                  </a:lnTo>
                  <a:lnTo>
                    <a:pt x="364" y="197"/>
                  </a:lnTo>
                  <a:lnTo>
                    <a:pt x="366" y="195"/>
                  </a:lnTo>
                  <a:lnTo>
                    <a:pt x="364" y="195"/>
                  </a:lnTo>
                  <a:lnTo>
                    <a:pt x="364" y="194"/>
                  </a:lnTo>
                  <a:lnTo>
                    <a:pt x="364" y="192"/>
                  </a:lnTo>
                  <a:lnTo>
                    <a:pt x="364" y="190"/>
                  </a:lnTo>
                  <a:lnTo>
                    <a:pt x="364" y="189"/>
                  </a:lnTo>
                  <a:lnTo>
                    <a:pt x="366" y="187"/>
                  </a:lnTo>
                  <a:lnTo>
                    <a:pt x="366" y="186"/>
                  </a:lnTo>
                  <a:lnTo>
                    <a:pt x="364" y="186"/>
                  </a:lnTo>
                  <a:lnTo>
                    <a:pt x="362" y="186"/>
                  </a:lnTo>
                  <a:lnTo>
                    <a:pt x="361" y="186"/>
                  </a:lnTo>
                  <a:lnTo>
                    <a:pt x="359" y="186"/>
                  </a:lnTo>
                  <a:lnTo>
                    <a:pt x="357" y="186"/>
                  </a:lnTo>
                  <a:lnTo>
                    <a:pt x="356" y="186"/>
                  </a:lnTo>
                  <a:lnTo>
                    <a:pt x="356" y="187"/>
                  </a:lnTo>
                  <a:lnTo>
                    <a:pt x="354" y="187"/>
                  </a:lnTo>
                  <a:lnTo>
                    <a:pt x="356" y="189"/>
                  </a:lnTo>
                  <a:lnTo>
                    <a:pt x="357" y="189"/>
                  </a:lnTo>
                  <a:lnTo>
                    <a:pt x="359" y="187"/>
                  </a:lnTo>
                  <a:lnTo>
                    <a:pt x="361" y="189"/>
                  </a:lnTo>
                  <a:lnTo>
                    <a:pt x="362" y="189"/>
                  </a:lnTo>
                  <a:lnTo>
                    <a:pt x="362" y="190"/>
                  </a:lnTo>
                  <a:lnTo>
                    <a:pt x="361" y="190"/>
                  </a:lnTo>
                  <a:lnTo>
                    <a:pt x="361" y="192"/>
                  </a:lnTo>
                  <a:lnTo>
                    <a:pt x="361" y="194"/>
                  </a:lnTo>
                  <a:lnTo>
                    <a:pt x="362" y="194"/>
                  </a:lnTo>
                  <a:lnTo>
                    <a:pt x="361" y="194"/>
                  </a:lnTo>
                  <a:lnTo>
                    <a:pt x="361" y="195"/>
                  </a:lnTo>
                  <a:lnTo>
                    <a:pt x="359" y="194"/>
                  </a:lnTo>
                  <a:lnTo>
                    <a:pt x="359" y="195"/>
                  </a:lnTo>
                  <a:lnTo>
                    <a:pt x="361" y="195"/>
                  </a:lnTo>
                  <a:lnTo>
                    <a:pt x="361" y="197"/>
                  </a:lnTo>
                  <a:lnTo>
                    <a:pt x="361" y="195"/>
                  </a:lnTo>
                  <a:lnTo>
                    <a:pt x="362" y="199"/>
                  </a:lnTo>
                  <a:lnTo>
                    <a:pt x="361" y="200"/>
                  </a:lnTo>
                  <a:lnTo>
                    <a:pt x="362" y="200"/>
                  </a:lnTo>
                  <a:lnTo>
                    <a:pt x="362" y="202"/>
                  </a:lnTo>
                  <a:lnTo>
                    <a:pt x="361" y="202"/>
                  </a:lnTo>
                  <a:lnTo>
                    <a:pt x="361" y="203"/>
                  </a:lnTo>
                  <a:lnTo>
                    <a:pt x="361" y="205"/>
                  </a:lnTo>
                  <a:lnTo>
                    <a:pt x="361" y="207"/>
                  </a:lnTo>
                  <a:lnTo>
                    <a:pt x="362" y="207"/>
                  </a:lnTo>
                  <a:lnTo>
                    <a:pt x="364" y="208"/>
                  </a:lnTo>
                  <a:lnTo>
                    <a:pt x="366" y="208"/>
                  </a:lnTo>
                  <a:lnTo>
                    <a:pt x="364" y="208"/>
                  </a:lnTo>
                  <a:lnTo>
                    <a:pt x="366" y="208"/>
                  </a:lnTo>
                  <a:lnTo>
                    <a:pt x="366" y="210"/>
                  </a:lnTo>
                  <a:lnTo>
                    <a:pt x="367" y="210"/>
                  </a:lnTo>
                  <a:lnTo>
                    <a:pt x="366" y="210"/>
                  </a:lnTo>
                  <a:lnTo>
                    <a:pt x="366" y="212"/>
                  </a:lnTo>
                  <a:lnTo>
                    <a:pt x="367" y="212"/>
                  </a:lnTo>
                  <a:lnTo>
                    <a:pt x="367" y="213"/>
                  </a:lnTo>
                  <a:lnTo>
                    <a:pt x="367" y="215"/>
                  </a:lnTo>
                  <a:lnTo>
                    <a:pt x="369" y="215"/>
                  </a:lnTo>
                  <a:lnTo>
                    <a:pt x="369" y="216"/>
                  </a:lnTo>
                  <a:lnTo>
                    <a:pt x="367" y="216"/>
                  </a:lnTo>
                  <a:lnTo>
                    <a:pt x="369" y="216"/>
                  </a:lnTo>
                  <a:lnTo>
                    <a:pt x="371" y="216"/>
                  </a:lnTo>
                  <a:lnTo>
                    <a:pt x="371" y="218"/>
                  </a:lnTo>
                  <a:lnTo>
                    <a:pt x="372" y="218"/>
                  </a:lnTo>
                  <a:lnTo>
                    <a:pt x="374" y="218"/>
                  </a:lnTo>
                  <a:lnTo>
                    <a:pt x="372" y="218"/>
                  </a:lnTo>
                  <a:lnTo>
                    <a:pt x="374" y="218"/>
                  </a:lnTo>
                  <a:lnTo>
                    <a:pt x="374" y="216"/>
                  </a:lnTo>
                  <a:lnTo>
                    <a:pt x="375" y="216"/>
                  </a:lnTo>
                  <a:lnTo>
                    <a:pt x="375" y="218"/>
                  </a:lnTo>
                  <a:lnTo>
                    <a:pt x="375" y="216"/>
                  </a:lnTo>
                  <a:lnTo>
                    <a:pt x="377" y="218"/>
                  </a:lnTo>
                  <a:lnTo>
                    <a:pt x="377" y="216"/>
                  </a:lnTo>
                  <a:lnTo>
                    <a:pt x="377" y="218"/>
                  </a:lnTo>
                  <a:lnTo>
                    <a:pt x="379" y="218"/>
                  </a:lnTo>
                  <a:lnTo>
                    <a:pt x="380" y="220"/>
                  </a:lnTo>
                  <a:lnTo>
                    <a:pt x="379" y="220"/>
                  </a:lnTo>
                  <a:lnTo>
                    <a:pt x="380" y="220"/>
                  </a:lnTo>
                  <a:lnTo>
                    <a:pt x="380" y="221"/>
                  </a:lnTo>
                  <a:lnTo>
                    <a:pt x="379" y="223"/>
                  </a:lnTo>
                  <a:lnTo>
                    <a:pt x="377" y="223"/>
                  </a:lnTo>
                  <a:lnTo>
                    <a:pt x="377" y="221"/>
                  </a:lnTo>
                  <a:lnTo>
                    <a:pt x="375" y="221"/>
                  </a:lnTo>
                  <a:lnTo>
                    <a:pt x="375" y="220"/>
                  </a:lnTo>
                  <a:lnTo>
                    <a:pt x="375" y="218"/>
                  </a:lnTo>
                  <a:lnTo>
                    <a:pt x="374" y="218"/>
                  </a:lnTo>
                  <a:lnTo>
                    <a:pt x="374" y="220"/>
                  </a:lnTo>
                  <a:lnTo>
                    <a:pt x="375" y="220"/>
                  </a:lnTo>
                  <a:lnTo>
                    <a:pt x="375" y="221"/>
                  </a:lnTo>
                  <a:lnTo>
                    <a:pt x="374" y="221"/>
                  </a:lnTo>
                  <a:lnTo>
                    <a:pt x="375" y="221"/>
                  </a:lnTo>
                  <a:lnTo>
                    <a:pt x="375" y="223"/>
                  </a:lnTo>
                  <a:lnTo>
                    <a:pt x="374" y="223"/>
                  </a:lnTo>
                  <a:lnTo>
                    <a:pt x="374" y="221"/>
                  </a:lnTo>
                  <a:lnTo>
                    <a:pt x="374" y="220"/>
                  </a:lnTo>
                  <a:lnTo>
                    <a:pt x="372" y="220"/>
                  </a:lnTo>
                  <a:lnTo>
                    <a:pt x="372" y="218"/>
                  </a:lnTo>
                  <a:lnTo>
                    <a:pt x="371" y="218"/>
                  </a:lnTo>
                  <a:lnTo>
                    <a:pt x="371" y="220"/>
                  </a:lnTo>
                  <a:lnTo>
                    <a:pt x="369" y="218"/>
                  </a:lnTo>
                  <a:lnTo>
                    <a:pt x="367" y="218"/>
                  </a:lnTo>
                  <a:lnTo>
                    <a:pt x="367" y="220"/>
                  </a:lnTo>
                  <a:lnTo>
                    <a:pt x="367" y="221"/>
                  </a:lnTo>
                  <a:lnTo>
                    <a:pt x="367" y="220"/>
                  </a:lnTo>
                  <a:lnTo>
                    <a:pt x="366" y="220"/>
                  </a:lnTo>
                  <a:lnTo>
                    <a:pt x="364" y="221"/>
                  </a:lnTo>
                  <a:lnTo>
                    <a:pt x="366" y="221"/>
                  </a:lnTo>
                  <a:lnTo>
                    <a:pt x="367" y="223"/>
                  </a:lnTo>
                  <a:lnTo>
                    <a:pt x="369" y="223"/>
                  </a:lnTo>
                  <a:lnTo>
                    <a:pt x="369" y="225"/>
                  </a:lnTo>
                  <a:lnTo>
                    <a:pt x="369" y="226"/>
                  </a:lnTo>
                  <a:lnTo>
                    <a:pt x="367" y="226"/>
                  </a:lnTo>
                  <a:lnTo>
                    <a:pt x="366" y="226"/>
                  </a:lnTo>
                  <a:lnTo>
                    <a:pt x="364" y="226"/>
                  </a:lnTo>
                  <a:lnTo>
                    <a:pt x="364" y="225"/>
                  </a:lnTo>
                  <a:lnTo>
                    <a:pt x="362" y="223"/>
                  </a:lnTo>
                  <a:lnTo>
                    <a:pt x="362" y="221"/>
                  </a:lnTo>
                  <a:lnTo>
                    <a:pt x="362" y="220"/>
                  </a:lnTo>
                  <a:lnTo>
                    <a:pt x="362" y="221"/>
                  </a:lnTo>
                  <a:lnTo>
                    <a:pt x="361" y="223"/>
                  </a:lnTo>
                  <a:lnTo>
                    <a:pt x="362" y="225"/>
                  </a:lnTo>
                  <a:lnTo>
                    <a:pt x="362" y="226"/>
                  </a:lnTo>
                  <a:lnTo>
                    <a:pt x="362" y="228"/>
                  </a:lnTo>
                  <a:lnTo>
                    <a:pt x="361" y="228"/>
                  </a:lnTo>
                  <a:lnTo>
                    <a:pt x="361" y="226"/>
                  </a:lnTo>
                  <a:lnTo>
                    <a:pt x="359" y="225"/>
                  </a:lnTo>
                  <a:lnTo>
                    <a:pt x="359" y="223"/>
                  </a:lnTo>
                  <a:lnTo>
                    <a:pt x="359" y="221"/>
                  </a:lnTo>
                  <a:lnTo>
                    <a:pt x="359" y="220"/>
                  </a:lnTo>
                  <a:lnTo>
                    <a:pt x="357" y="220"/>
                  </a:lnTo>
                  <a:lnTo>
                    <a:pt x="359" y="220"/>
                  </a:lnTo>
                  <a:lnTo>
                    <a:pt x="357" y="221"/>
                  </a:lnTo>
                  <a:lnTo>
                    <a:pt x="357" y="223"/>
                  </a:lnTo>
                  <a:lnTo>
                    <a:pt x="357" y="226"/>
                  </a:lnTo>
                  <a:lnTo>
                    <a:pt x="356" y="226"/>
                  </a:lnTo>
                  <a:lnTo>
                    <a:pt x="357" y="228"/>
                  </a:lnTo>
                  <a:lnTo>
                    <a:pt x="356" y="228"/>
                  </a:lnTo>
                  <a:lnTo>
                    <a:pt x="356" y="229"/>
                  </a:lnTo>
                  <a:lnTo>
                    <a:pt x="354" y="229"/>
                  </a:lnTo>
                  <a:lnTo>
                    <a:pt x="353" y="229"/>
                  </a:lnTo>
                  <a:lnTo>
                    <a:pt x="353" y="228"/>
                  </a:lnTo>
                  <a:lnTo>
                    <a:pt x="351" y="228"/>
                  </a:lnTo>
                  <a:lnTo>
                    <a:pt x="353" y="228"/>
                  </a:lnTo>
                  <a:lnTo>
                    <a:pt x="353" y="226"/>
                  </a:lnTo>
                  <a:lnTo>
                    <a:pt x="353" y="225"/>
                  </a:lnTo>
                  <a:lnTo>
                    <a:pt x="353" y="226"/>
                  </a:lnTo>
                  <a:lnTo>
                    <a:pt x="351" y="226"/>
                  </a:lnTo>
                  <a:lnTo>
                    <a:pt x="351" y="225"/>
                  </a:lnTo>
                  <a:lnTo>
                    <a:pt x="349" y="225"/>
                  </a:lnTo>
                  <a:lnTo>
                    <a:pt x="348" y="225"/>
                  </a:lnTo>
                  <a:lnTo>
                    <a:pt x="346" y="223"/>
                  </a:lnTo>
                  <a:lnTo>
                    <a:pt x="344" y="223"/>
                  </a:lnTo>
                  <a:lnTo>
                    <a:pt x="344" y="221"/>
                  </a:lnTo>
                  <a:lnTo>
                    <a:pt x="343" y="220"/>
                  </a:lnTo>
                  <a:lnTo>
                    <a:pt x="343" y="218"/>
                  </a:lnTo>
                  <a:lnTo>
                    <a:pt x="343" y="216"/>
                  </a:lnTo>
                  <a:lnTo>
                    <a:pt x="341" y="216"/>
                  </a:lnTo>
                  <a:lnTo>
                    <a:pt x="341" y="215"/>
                  </a:lnTo>
                  <a:lnTo>
                    <a:pt x="340" y="215"/>
                  </a:lnTo>
                  <a:lnTo>
                    <a:pt x="340" y="213"/>
                  </a:lnTo>
                  <a:lnTo>
                    <a:pt x="338" y="213"/>
                  </a:lnTo>
                  <a:lnTo>
                    <a:pt x="338" y="212"/>
                  </a:lnTo>
                  <a:lnTo>
                    <a:pt x="336" y="210"/>
                  </a:lnTo>
                  <a:lnTo>
                    <a:pt x="336" y="208"/>
                  </a:lnTo>
                  <a:lnTo>
                    <a:pt x="335" y="208"/>
                  </a:lnTo>
                  <a:lnTo>
                    <a:pt x="335" y="207"/>
                  </a:lnTo>
                  <a:lnTo>
                    <a:pt x="333" y="203"/>
                  </a:lnTo>
                  <a:lnTo>
                    <a:pt x="331" y="202"/>
                  </a:lnTo>
                  <a:lnTo>
                    <a:pt x="331" y="200"/>
                  </a:lnTo>
                  <a:lnTo>
                    <a:pt x="331" y="199"/>
                  </a:lnTo>
                  <a:lnTo>
                    <a:pt x="330" y="195"/>
                  </a:lnTo>
                  <a:lnTo>
                    <a:pt x="328" y="195"/>
                  </a:lnTo>
                  <a:lnTo>
                    <a:pt x="328" y="197"/>
                  </a:lnTo>
                  <a:lnTo>
                    <a:pt x="327" y="197"/>
                  </a:lnTo>
                  <a:lnTo>
                    <a:pt x="328" y="199"/>
                  </a:lnTo>
                  <a:lnTo>
                    <a:pt x="328" y="200"/>
                  </a:lnTo>
                  <a:lnTo>
                    <a:pt x="328" y="202"/>
                  </a:lnTo>
                  <a:lnTo>
                    <a:pt x="330" y="202"/>
                  </a:lnTo>
                  <a:lnTo>
                    <a:pt x="330" y="203"/>
                  </a:lnTo>
                  <a:lnTo>
                    <a:pt x="330" y="205"/>
                  </a:lnTo>
                  <a:lnTo>
                    <a:pt x="328" y="205"/>
                  </a:lnTo>
                  <a:lnTo>
                    <a:pt x="328" y="207"/>
                  </a:lnTo>
                  <a:lnTo>
                    <a:pt x="327" y="208"/>
                  </a:lnTo>
                  <a:lnTo>
                    <a:pt x="327" y="210"/>
                  </a:lnTo>
                  <a:lnTo>
                    <a:pt x="328" y="210"/>
                  </a:lnTo>
                  <a:lnTo>
                    <a:pt x="330" y="210"/>
                  </a:lnTo>
                  <a:lnTo>
                    <a:pt x="331" y="212"/>
                  </a:lnTo>
                  <a:lnTo>
                    <a:pt x="333" y="212"/>
                  </a:lnTo>
                  <a:lnTo>
                    <a:pt x="333" y="213"/>
                  </a:lnTo>
                  <a:lnTo>
                    <a:pt x="333" y="215"/>
                  </a:lnTo>
                  <a:lnTo>
                    <a:pt x="335" y="215"/>
                  </a:lnTo>
                  <a:lnTo>
                    <a:pt x="335" y="216"/>
                  </a:lnTo>
                  <a:lnTo>
                    <a:pt x="336" y="216"/>
                  </a:lnTo>
                  <a:lnTo>
                    <a:pt x="338" y="218"/>
                  </a:lnTo>
                  <a:lnTo>
                    <a:pt x="340" y="220"/>
                  </a:lnTo>
                  <a:lnTo>
                    <a:pt x="340" y="221"/>
                  </a:lnTo>
                  <a:lnTo>
                    <a:pt x="341" y="221"/>
                  </a:lnTo>
                  <a:lnTo>
                    <a:pt x="341" y="223"/>
                  </a:lnTo>
                  <a:lnTo>
                    <a:pt x="341" y="225"/>
                  </a:lnTo>
                  <a:lnTo>
                    <a:pt x="343" y="225"/>
                  </a:lnTo>
                  <a:lnTo>
                    <a:pt x="344" y="226"/>
                  </a:lnTo>
                  <a:lnTo>
                    <a:pt x="346" y="226"/>
                  </a:lnTo>
                  <a:lnTo>
                    <a:pt x="346" y="228"/>
                  </a:lnTo>
                  <a:lnTo>
                    <a:pt x="346" y="229"/>
                  </a:lnTo>
                  <a:lnTo>
                    <a:pt x="346" y="228"/>
                  </a:lnTo>
                  <a:lnTo>
                    <a:pt x="344" y="228"/>
                  </a:lnTo>
                  <a:lnTo>
                    <a:pt x="343" y="228"/>
                  </a:lnTo>
                  <a:lnTo>
                    <a:pt x="343" y="226"/>
                  </a:lnTo>
                  <a:lnTo>
                    <a:pt x="343" y="228"/>
                  </a:lnTo>
                  <a:lnTo>
                    <a:pt x="344" y="228"/>
                  </a:lnTo>
                  <a:lnTo>
                    <a:pt x="344" y="229"/>
                  </a:lnTo>
                  <a:lnTo>
                    <a:pt x="344" y="231"/>
                  </a:lnTo>
                  <a:lnTo>
                    <a:pt x="344" y="229"/>
                  </a:lnTo>
                  <a:lnTo>
                    <a:pt x="343" y="229"/>
                  </a:lnTo>
                  <a:lnTo>
                    <a:pt x="341" y="229"/>
                  </a:lnTo>
                  <a:lnTo>
                    <a:pt x="341" y="231"/>
                  </a:lnTo>
                  <a:lnTo>
                    <a:pt x="340" y="229"/>
                  </a:lnTo>
                  <a:lnTo>
                    <a:pt x="338" y="229"/>
                  </a:lnTo>
                  <a:lnTo>
                    <a:pt x="338" y="231"/>
                  </a:lnTo>
                  <a:lnTo>
                    <a:pt x="336" y="231"/>
                  </a:lnTo>
                  <a:lnTo>
                    <a:pt x="336" y="233"/>
                  </a:lnTo>
                  <a:lnTo>
                    <a:pt x="336" y="234"/>
                  </a:lnTo>
                  <a:lnTo>
                    <a:pt x="338" y="233"/>
                  </a:lnTo>
                  <a:lnTo>
                    <a:pt x="338" y="234"/>
                  </a:lnTo>
                  <a:lnTo>
                    <a:pt x="336" y="234"/>
                  </a:lnTo>
                  <a:lnTo>
                    <a:pt x="338" y="236"/>
                  </a:lnTo>
                  <a:lnTo>
                    <a:pt x="340" y="236"/>
                  </a:lnTo>
                  <a:lnTo>
                    <a:pt x="340" y="238"/>
                  </a:lnTo>
                  <a:lnTo>
                    <a:pt x="340" y="236"/>
                  </a:lnTo>
                  <a:lnTo>
                    <a:pt x="340" y="238"/>
                  </a:lnTo>
                  <a:lnTo>
                    <a:pt x="338" y="238"/>
                  </a:lnTo>
                  <a:lnTo>
                    <a:pt x="338" y="239"/>
                  </a:lnTo>
                  <a:lnTo>
                    <a:pt x="338" y="241"/>
                  </a:lnTo>
                  <a:lnTo>
                    <a:pt x="338" y="239"/>
                  </a:lnTo>
                  <a:lnTo>
                    <a:pt x="341" y="238"/>
                  </a:lnTo>
                  <a:lnTo>
                    <a:pt x="341" y="236"/>
                  </a:lnTo>
                  <a:lnTo>
                    <a:pt x="343" y="236"/>
                  </a:lnTo>
                  <a:lnTo>
                    <a:pt x="343" y="238"/>
                  </a:lnTo>
                  <a:lnTo>
                    <a:pt x="344" y="238"/>
                  </a:lnTo>
                  <a:lnTo>
                    <a:pt x="344" y="236"/>
                  </a:lnTo>
                  <a:lnTo>
                    <a:pt x="346" y="236"/>
                  </a:lnTo>
                  <a:lnTo>
                    <a:pt x="346" y="234"/>
                  </a:lnTo>
                  <a:lnTo>
                    <a:pt x="348" y="234"/>
                  </a:lnTo>
                  <a:lnTo>
                    <a:pt x="348" y="236"/>
                  </a:lnTo>
                  <a:lnTo>
                    <a:pt x="349" y="236"/>
                  </a:lnTo>
                  <a:lnTo>
                    <a:pt x="349" y="238"/>
                  </a:lnTo>
                  <a:lnTo>
                    <a:pt x="348" y="238"/>
                  </a:lnTo>
                  <a:lnTo>
                    <a:pt x="346" y="238"/>
                  </a:lnTo>
                  <a:lnTo>
                    <a:pt x="344" y="238"/>
                  </a:lnTo>
                  <a:lnTo>
                    <a:pt x="346" y="239"/>
                  </a:lnTo>
                  <a:lnTo>
                    <a:pt x="344" y="239"/>
                  </a:lnTo>
                  <a:lnTo>
                    <a:pt x="343" y="239"/>
                  </a:lnTo>
                  <a:lnTo>
                    <a:pt x="341" y="239"/>
                  </a:lnTo>
                  <a:lnTo>
                    <a:pt x="343" y="239"/>
                  </a:lnTo>
                  <a:lnTo>
                    <a:pt x="341" y="241"/>
                  </a:lnTo>
                  <a:lnTo>
                    <a:pt x="341" y="239"/>
                  </a:lnTo>
                  <a:lnTo>
                    <a:pt x="341" y="241"/>
                  </a:lnTo>
                  <a:lnTo>
                    <a:pt x="340" y="241"/>
                  </a:lnTo>
                  <a:lnTo>
                    <a:pt x="340" y="239"/>
                  </a:lnTo>
                  <a:lnTo>
                    <a:pt x="340" y="241"/>
                  </a:lnTo>
                  <a:lnTo>
                    <a:pt x="338" y="241"/>
                  </a:lnTo>
                  <a:lnTo>
                    <a:pt x="340" y="242"/>
                  </a:lnTo>
                  <a:lnTo>
                    <a:pt x="341" y="241"/>
                  </a:lnTo>
                  <a:lnTo>
                    <a:pt x="343" y="241"/>
                  </a:lnTo>
                  <a:lnTo>
                    <a:pt x="341" y="241"/>
                  </a:lnTo>
                  <a:lnTo>
                    <a:pt x="343" y="242"/>
                  </a:lnTo>
                  <a:lnTo>
                    <a:pt x="343" y="244"/>
                  </a:lnTo>
                  <a:lnTo>
                    <a:pt x="341" y="244"/>
                  </a:lnTo>
                  <a:lnTo>
                    <a:pt x="341" y="246"/>
                  </a:lnTo>
                  <a:lnTo>
                    <a:pt x="340" y="246"/>
                  </a:lnTo>
                  <a:lnTo>
                    <a:pt x="340" y="247"/>
                  </a:lnTo>
                  <a:lnTo>
                    <a:pt x="338" y="247"/>
                  </a:lnTo>
                  <a:lnTo>
                    <a:pt x="338" y="246"/>
                  </a:lnTo>
                  <a:lnTo>
                    <a:pt x="338" y="244"/>
                  </a:lnTo>
                  <a:lnTo>
                    <a:pt x="340" y="244"/>
                  </a:lnTo>
                  <a:lnTo>
                    <a:pt x="338" y="244"/>
                  </a:lnTo>
                  <a:lnTo>
                    <a:pt x="336" y="242"/>
                  </a:lnTo>
                  <a:lnTo>
                    <a:pt x="336" y="244"/>
                  </a:lnTo>
                  <a:lnTo>
                    <a:pt x="335" y="244"/>
                  </a:lnTo>
                  <a:lnTo>
                    <a:pt x="335" y="246"/>
                  </a:lnTo>
                  <a:lnTo>
                    <a:pt x="333" y="244"/>
                  </a:lnTo>
                  <a:lnTo>
                    <a:pt x="333" y="246"/>
                  </a:lnTo>
                  <a:lnTo>
                    <a:pt x="333" y="247"/>
                  </a:lnTo>
                  <a:lnTo>
                    <a:pt x="333" y="246"/>
                  </a:lnTo>
                  <a:lnTo>
                    <a:pt x="331" y="246"/>
                  </a:lnTo>
                  <a:lnTo>
                    <a:pt x="331" y="244"/>
                  </a:lnTo>
                  <a:lnTo>
                    <a:pt x="330" y="244"/>
                  </a:lnTo>
                  <a:lnTo>
                    <a:pt x="330" y="246"/>
                  </a:lnTo>
                  <a:lnTo>
                    <a:pt x="330" y="247"/>
                  </a:lnTo>
                  <a:lnTo>
                    <a:pt x="328" y="247"/>
                  </a:lnTo>
                  <a:lnTo>
                    <a:pt x="330" y="247"/>
                  </a:lnTo>
                  <a:lnTo>
                    <a:pt x="328" y="247"/>
                  </a:lnTo>
                  <a:lnTo>
                    <a:pt x="328" y="246"/>
                  </a:lnTo>
                  <a:lnTo>
                    <a:pt x="327" y="247"/>
                  </a:lnTo>
                  <a:lnTo>
                    <a:pt x="327" y="246"/>
                  </a:lnTo>
                  <a:lnTo>
                    <a:pt x="327" y="244"/>
                  </a:lnTo>
                  <a:lnTo>
                    <a:pt x="325" y="244"/>
                  </a:lnTo>
                  <a:lnTo>
                    <a:pt x="323" y="244"/>
                  </a:lnTo>
                  <a:lnTo>
                    <a:pt x="323" y="246"/>
                  </a:lnTo>
                  <a:lnTo>
                    <a:pt x="323" y="247"/>
                  </a:lnTo>
                  <a:lnTo>
                    <a:pt x="322" y="247"/>
                  </a:lnTo>
                  <a:lnTo>
                    <a:pt x="322" y="246"/>
                  </a:lnTo>
                  <a:lnTo>
                    <a:pt x="320" y="247"/>
                  </a:lnTo>
                  <a:lnTo>
                    <a:pt x="320" y="246"/>
                  </a:lnTo>
                  <a:lnTo>
                    <a:pt x="318" y="244"/>
                  </a:lnTo>
                  <a:lnTo>
                    <a:pt x="318" y="242"/>
                  </a:lnTo>
                  <a:lnTo>
                    <a:pt x="317" y="242"/>
                  </a:lnTo>
                  <a:lnTo>
                    <a:pt x="317" y="244"/>
                  </a:lnTo>
                  <a:lnTo>
                    <a:pt x="317" y="242"/>
                  </a:lnTo>
                  <a:lnTo>
                    <a:pt x="315" y="242"/>
                  </a:lnTo>
                  <a:lnTo>
                    <a:pt x="317" y="244"/>
                  </a:lnTo>
                  <a:lnTo>
                    <a:pt x="315" y="244"/>
                  </a:lnTo>
                  <a:lnTo>
                    <a:pt x="315" y="242"/>
                  </a:lnTo>
                  <a:lnTo>
                    <a:pt x="315" y="244"/>
                  </a:lnTo>
                  <a:lnTo>
                    <a:pt x="317" y="244"/>
                  </a:lnTo>
                  <a:lnTo>
                    <a:pt x="317" y="246"/>
                  </a:lnTo>
                  <a:lnTo>
                    <a:pt x="317" y="247"/>
                  </a:lnTo>
                  <a:lnTo>
                    <a:pt x="318" y="247"/>
                  </a:lnTo>
                  <a:lnTo>
                    <a:pt x="317" y="247"/>
                  </a:lnTo>
                  <a:lnTo>
                    <a:pt x="315" y="247"/>
                  </a:lnTo>
                  <a:lnTo>
                    <a:pt x="315" y="246"/>
                  </a:lnTo>
                  <a:lnTo>
                    <a:pt x="315" y="244"/>
                  </a:lnTo>
                  <a:lnTo>
                    <a:pt x="314" y="244"/>
                  </a:lnTo>
                  <a:lnTo>
                    <a:pt x="314" y="242"/>
                  </a:lnTo>
                  <a:lnTo>
                    <a:pt x="312" y="242"/>
                  </a:lnTo>
                  <a:lnTo>
                    <a:pt x="312" y="241"/>
                  </a:lnTo>
                  <a:lnTo>
                    <a:pt x="312" y="239"/>
                  </a:lnTo>
                  <a:lnTo>
                    <a:pt x="312" y="238"/>
                  </a:lnTo>
                  <a:lnTo>
                    <a:pt x="312" y="236"/>
                  </a:lnTo>
                  <a:lnTo>
                    <a:pt x="312" y="234"/>
                  </a:lnTo>
                  <a:lnTo>
                    <a:pt x="310" y="233"/>
                  </a:lnTo>
                  <a:lnTo>
                    <a:pt x="312" y="233"/>
                  </a:lnTo>
                  <a:lnTo>
                    <a:pt x="312" y="231"/>
                  </a:lnTo>
                  <a:lnTo>
                    <a:pt x="310" y="231"/>
                  </a:lnTo>
                  <a:lnTo>
                    <a:pt x="312" y="231"/>
                  </a:lnTo>
                  <a:lnTo>
                    <a:pt x="310" y="229"/>
                  </a:lnTo>
                  <a:lnTo>
                    <a:pt x="309" y="229"/>
                  </a:lnTo>
                  <a:lnTo>
                    <a:pt x="307" y="229"/>
                  </a:lnTo>
                  <a:lnTo>
                    <a:pt x="307" y="228"/>
                  </a:lnTo>
                  <a:lnTo>
                    <a:pt x="305" y="228"/>
                  </a:lnTo>
                  <a:lnTo>
                    <a:pt x="305" y="226"/>
                  </a:lnTo>
                  <a:lnTo>
                    <a:pt x="305" y="225"/>
                  </a:lnTo>
                  <a:lnTo>
                    <a:pt x="304" y="225"/>
                  </a:lnTo>
                  <a:lnTo>
                    <a:pt x="302" y="223"/>
                  </a:lnTo>
                  <a:lnTo>
                    <a:pt x="301" y="221"/>
                  </a:lnTo>
                  <a:lnTo>
                    <a:pt x="299" y="221"/>
                  </a:lnTo>
                  <a:lnTo>
                    <a:pt x="299" y="220"/>
                  </a:lnTo>
                  <a:lnTo>
                    <a:pt x="297" y="218"/>
                  </a:lnTo>
                  <a:lnTo>
                    <a:pt x="296" y="216"/>
                  </a:lnTo>
                  <a:lnTo>
                    <a:pt x="296" y="215"/>
                  </a:lnTo>
                  <a:lnTo>
                    <a:pt x="294" y="215"/>
                  </a:lnTo>
                  <a:lnTo>
                    <a:pt x="292" y="215"/>
                  </a:lnTo>
                  <a:lnTo>
                    <a:pt x="292" y="216"/>
                  </a:lnTo>
                  <a:lnTo>
                    <a:pt x="294" y="218"/>
                  </a:lnTo>
                  <a:lnTo>
                    <a:pt x="296" y="218"/>
                  </a:lnTo>
                  <a:lnTo>
                    <a:pt x="297" y="221"/>
                  </a:lnTo>
                  <a:lnTo>
                    <a:pt x="297" y="223"/>
                  </a:lnTo>
                  <a:lnTo>
                    <a:pt x="299" y="223"/>
                  </a:lnTo>
                  <a:lnTo>
                    <a:pt x="299" y="225"/>
                  </a:lnTo>
                  <a:lnTo>
                    <a:pt x="301" y="226"/>
                  </a:lnTo>
                  <a:lnTo>
                    <a:pt x="302" y="226"/>
                  </a:lnTo>
                  <a:lnTo>
                    <a:pt x="302" y="228"/>
                  </a:lnTo>
                  <a:lnTo>
                    <a:pt x="302" y="229"/>
                  </a:lnTo>
                  <a:lnTo>
                    <a:pt x="304" y="231"/>
                  </a:lnTo>
                  <a:lnTo>
                    <a:pt x="305" y="233"/>
                  </a:lnTo>
                  <a:lnTo>
                    <a:pt x="304" y="233"/>
                  </a:lnTo>
                  <a:lnTo>
                    <a:pt x="305" y="233"/>
                  </a:lnTo>
                  <a:lnTo>
                    <a:pt x="305" y="234"/>
                  </a:lnTo>
                  <a:lnTo>
                    <a:pt x="307" y="234"/>
                  </a:lnTo>
                  <a:lnTo>
                    <a:pt x="307" y="236"/>
                  </a:lnTo>
                  <a:lnTo>
                    <a:pt x="309" y="239"/>
                  </a:lnTo>
                  <a:lnTo>
                    <a:pt x="309" y="241"/>
                  </a:lnTo>
                  <a:lnTo>
                    <a:pt x="309" y="242"/>
                  </a:lnTo>
                  <a:lnTo>
                    <a:pt x="309" y="244"/>
                  </a:lnTo>
                  <a:lnTo>
                    <a:pt x="310" y="244"/>
                  </a:lnTo>
                  <a:lnTo>
                    <a:pt x="309" y="244"/>
                  </a:lnTo>
                  <a:lnTo>
                    <a:pt x="307" y="244"/>
                  </a:lnTo>
                  <a:lnTo>
                    <a:pt x="307" y="242"/>
                  </a:lnTo>
                  <a:lnTo>
                    <a:pt x="305" y="242"/>
                  </a:lnTo>
                  <a:lnTo>
                    <a:pt x="305" y="241"/>
                  </a:lnTo>
                  <a:lnTo>
                    <a:pt x="304" y="239"/>
                  </a:lnTo>
                  <a:lnTo>
                    <a:pt x="302" y="239"/>
                  </a:lnTo>
                  <a:lnTo>
                    <a:pt x="301" y="238"/>
                  </a:lnTo>
                  <a:lnTo>
                    <a:pt x="301" y="239"/>
                  </a:lnTo>
                  <a:lnTo>
                    <a:pt x="299" y="239"/>
                  </a:lnTo>
                  <a:lnTo>
                    <a:pt x="299" y="241"/>
                  </a:lnTo>
                  <a:lnTo>
                    <a:pt x="301" y="241"/>
                  </a:lnTo>
                  <a:lnTo>
                    <a:pt x="302" y="241"/>
                  </a:lnTo>
                  <a:lnTo>
                    <a:pt x="302" y="242"/>
                  </a:lnTo>
                  <a:lnTo>
                    <a:pt x="304" y="242"/>
                  </a:lnTo>
                  <a:lnTo>
                    <a:pt x="304" y="244"/>
                  </a:lnTo>
                  <a:lnTo>
                    <a:pt x="304" y="242"/>
                  </a:lnTo>
                  <a:lnTo>
                    <a:pt x="304" y="244"/>
                  </a:lnTo>
                  <a:lnTo>
                    <a:pt x="305" y="246"/>
                  </a:lnTo>
                  <a:lnTo>
                    <a:pt x="305" y="247"/>
                  </a:lnTo>
                  <a:lnTo>
                    <a:pt x="305" y="246"/>
                  </a:lnTo>
                  <a:lnTo>
                    <a:pt x="307" y="246"/>
                  </a:lnTo>
                  <a:lnTo>
                    <a:pt x="305" y="246"/>
                  </a:lnTo>
                  <a:lnTo>
                    <a:pt x="307" y="246"/>
                  </a:lnTo>
                  <a:lnTo>
                    <a:pt x="309" y="246"/>
                  </a:lnTo>
                  <a:lnTo>
                    <a:pt x="310" y="247"/>
                  </a:lnTo>
                  <a:lnTo>
                    <a:pt x="310" y="246"/>
                  </a:lnTo>
                  <a:lnTo>
                    <a:pt x="312" y="247"/>
                  </a:lnTo>
                  <a:lnTo>
                    <a:pt x="312" y="249"/>
                  </a:lnTo>
                  <a:lnTo>
                    <a:pt x="312" y="251"/>
                  </a:lnTo>
                  <a:lnTo>
                    <a:pt x="312" y="249"/>
                  </a:lnTo>
                  <a:lnTo>
                    <a:pt x="310" y="251"/>
                  </a:lnTo>
                  <a:lnTo>
                    <a:pt x="310" y="249"/>
                  </a:lnTo>
                  <a:lnTo>
                    <a:pt x="310" y="251"/>
                  </a:lnTo>
                  <a:lnTo>
                    <a:pt x="310" y="252"/>
                  </a:lnTo>
                  <a:lnTo>
                    <a:pt x="312" y="252"/>
                  </a:lnTo>
                  <a:lnTo>
                    <a:pt x="312" y="254"/>
                  </a:lnTo>
                  <a:lnTo>
                    <a:pt x="310" y="254"/>
                  </a:lnTo>
                  <a:lnTo>
                    <a:pt x="312" y="254"/>
                  </a:lnTo>
                  <a:lnTo>
                    <a:pt x="310" y="254"/>
                  </a:lnTo>
                  <a:lnTo>
                    <a:pt x="310" y="255"/>
                  </a:lnTo>
                  <a:lnTo>
                    <a:pt x="309" y="255"/>
                  </a:lnTo>
                  <a:lnTo>
                    <a:pt x="310" y="255"/>
                  </a:lnTo>
                  <a:lnTo>
                    <a:pt x="310" y="257"/>
                  </a:lnTo>
                  <a:lnTo>
                    <a:pt x="312" y="257"/>
                  </a:lnTo>
                  <a:lnTo>
                    <a:pt x="312" y="259"/>
                  </a:lnTo>
                  <a:lnTo>
                    <a:pt x="312" y="260"/>
                  </a:lnTo>
                  <a:lnTo>
                    <a:pt x="310" y="260"/>
                  </a:lnTo>
                  <a:lnTo>
                    <a:pt x="310" y="262"/>
                  </a:lnTo>
                  <a:lnTo>
                    <a:pt x="309" y="262"/>
                  </a:lnTo>
                  <a:lnTo>
                    <a:pt x="309" y="260"/>
                  </a:lnTo>
                  <a:lnTo>
                    <a:pt x="307" y="260"/>
                  </a:lnTo>
                  <a:lnTo>
                    <a:pt x="307" y="259"/>
                  </a:lnTo>
                  <a:lnTo>
                    <a:pt x="307" y="257"/>
                  </a:lnTo>
                  <a:lnTo>
                    <a:pt x="305" y="257"/>
                  </a:lnTo>
                  <a:lnTo>
                    <a:pt x="304" y="255"/>
                  </a:lnTo>
                  <a:lnTo>
                    <a:pt x="302" y="255"/>
                  </a:lnTo>
                  <a:lnTo>
                    <a:pt x="304" y="254"/>
                  </a:lnTo>
                  <a:lnTo>
                    <a:pt x="302" y="254"/>
                  </a:lnTo>
                  <a:lnTo>
                    <a:pt x="301" y="254"/>
                  </a:lnTo>
                  <a:lnTo>
                    <a:pt x="299" y="252"/>
                  </a:lnTo>
                  <a:lnTo>
                    <a:pt x="299" y="251"/>
                  </a:lnTo>
                  <a:lnTo>
                    <a:pt x="297" y="251"/>
                  </a:lnTo>
                  <a:lnTo>
                    <a:pt x="297" y="249"/>
                  </a:lnTo>
                  <a:lnTo>
                    <a:pt x="297" y="247"/>
                  </a:lnTo>
                  <a:lnTo>
                    <a:pt x="297" y="246"/>
                  </a:lnTo>
                  <a:lnTo>
                    <a:pt x="299" y="246"/>
                  </a:lnTo>
                  <a:lnTo>
                    <a:pt x="297" y="246"/>
                  </a:lnTo>
                  <a:lnTo>
                    <a:pt x="297" y="244"/>
                  </a:lnTo>
                  <a:lnTo>
                    <a:pt x="297" y="246"/>
                  </a:lnTo>
                  <a:lnTo>
                    <a:pt x="297" y="244"/>
                  </a:lnTo>
                  <a:lnTo>
                    <a:pt x="296" y="244"/>
                  </a:lnTo>
                  <a:lnTo>
                    <a:pt x="296" y="242"/>
                  </a:lnTo>
                  <a:lnTo>
                    <a:pt x="294" y="242"/>
                  </a:lnTo>
                  <a:lnTo>
                    <a:pt x="296" y="242"/>
                  </a:lnTo>
                  <a:lnTo>
                    <a:pt x="296" y="241"/>
                  </a:lnTo>
                  <a:lnTo>
                    <a:pt x="294" y="241"/>
                  </a:lnTo>
                  <a:lnTo>
                    <a:pt x="294" y="242"/>
                  </a:lnTo>
                  <a:lnTo>
                    <a:pt x="292" y="242"/>
                  </a:lnTo>
                  <a:lnTo>
                    <a:pt x="292" y="241"/>
                  </a:lnTo>
                  <a:lnTo>
                    <a:pt x="291" y="239"/>
                  </a:lnTo>
                  <a:lnTo>
                    <a:pt x="288" y="238"/>
                  </a:lnTo>
                  <a:lnTo>
                    <a:pt x="288" y="236"/>
                  </a:lnTo>
                  <a:lnTo>
                    <a:pt x="288" y="234"/>
                  </a:lnTo>
                  <a:lnTo>
                    <a:pt x="286" y="234"/>
                  </a:lnTo>
                  <a:lnTo>
                    <a:pt x="286" y="233"/>
                  </a:lnTo>
                  <a:lnTo>
                    <a:pt x="284" y="231"/>
                  </a:lnTo>
                  <a:lnTo>
                    <a:pt x="283" y="231"/>
                  </a:lnTo>
                  <a:lnTo>
                    <a:pt x="284" y="233"/>
                  </a:lnTo>
                  <a:lnTo>
                    <a:pt x="284" y="234"/>
                  </a:lnTo>
                  <a:lnTo>
                    <a:pt x="286" y="236"/>
                  </a:lnTo>
                  <a:lnTo>
                    <a:pt x="286" y="238"/>
                  </a:lnTo>
                  <a:lnTo>
                    <a:pt x="286" y="239"/>
                  </a:lnTo>
                  <a:lnTo>
                    <a:pt x="288" y="239"/>
                  </a:lnTo>
                  <a:lnTo>
                    <a:pt x="289" y="242"/>
                  </a:lnTo>
                  <a:lnTo>
                    <a:pt x="289" y="244"/>
                  </a:lnTo>
                  <a:lnTo>
                    <a:pt x="291" y="244"/>
                  </a:lnTo>
                  <a:lnTo>
                    <a:pt x="291" y="246"/>
                  </a:lnTo>
                  <a:lnTo>
                    <a:pt x="292" y="247"/>
                  </a:lnTo>
                  <a:lnTo>
                    <a:pt x="292" y="249"/>
                  </a:lnTo>
                  <a:lnTo>
                    <a:pt x="292" y="251"/>
                  </a:lnTo>
                  <a:lnTo>
                    <a:pt x="294" y="251"/>
                  </a:lnTo>
                  <a:lnTo>
                    <a:pt x="294" y="252"/>
                  </a:lnTo>
                  <a:lnTo>
                    <a:pt x="292" y="254"/>
                  </a:lnTo>
                  <a:lnTo>
                    <a:pt x="294" y="254"/>
                  </a:lnTo>
                  <a:lnTo>
                    <a:pt x="296" y="255"/>
                  </a:lnTo>
                  <a:lnTo>
                    <a:pt x="296" y="257"/>
                  </a:lnTo>
                  <a:lnTo>
                    <a:pt x="296" y="259"/>
                  </a:lnTo>
                  <a:lnTo>
                    <a:pt x="297" y="259"/>
                  </a:lnTo>
                  <a:lnTo>
                    <a:pt x="299" y="260"/>
                  </a:lnTo>
                  <a:lnTo>
                    <a:pt x="299" y="262"/>
                  </a:lnTo>
                  <a:lnTo>
                    <a:pt x="297" y="260"/>
                  </a:lnTo>
                  <a:lnTo>
                    <a:pt x="296" y="262"/>
                  </a:lnTo>
                  <a:lnTo>
                    <a:pt x="297" y="264"/>
                  </a:lnTo>
                  <a:lnTo>
                    <a:pt x="297" y="265"/>
                  </a:lnTo>
                  <a:lnTo>
                    <a:pt x="297" y="267"/>
                  </a:lnTo>
                  <a:lnTo>
                    <a:pt x="296" y="267"/>
                  </a:lnTo>
                  <a:lnTo>
                    <a:pt x="296" y="268"/>
                  </a:lnTo>
                  <a:lnTo>
                    <a:pt x="296" y="267"/>
                  </a:lnTo>
                  <a:lnTo>
                    <a:pt x="294" y="267"/>
                  </a:lnTo>
                  <a:lnTo>
                    <a:pt x="296" y="267"/>
                  </a:lnTo>
                  <a:lnTo>
                    <a:pt x="296" y="265"/>
                  </a:lnTo>
                  <a:lnTo>
                    <a:pt x="294" y="265"/>
                  </a:lnTo>
                  <a:lnTo>
                    <a:pt x="294" y="264"/>
                  </a:lnTo>
                  <a:lnTo>
                    <a:pt x="292" y="264"/>
                  </a:lnTo>
                  <a:lnTo>
                    <a:pt x="294" y="264"/>
                  </a:lnTo>
                  <a:lnTo>
                    <a:pt x="292" y="264"/>
                  </a:lnTo>
                  <a:lnTo>
                    <a:pt x="291" y="262"/>
                  </a:lnTo>
                  <a:lnTo>
                    <a:pt x="291" y="260"/>
                  </a:lnTo>
                  <a:lnTo>
                    <a:pt x="289" y="260"/>
                  </a:lnTo>
                  <a:lnTo>
                    <a:pt x="289" y="259"/>
                  </a:lnTo>
                  <a:lnTo>
                    <a:pt x="289" y="257"/>
                  </a:lnTo>
                  <a:lnTo>
                    <a:pt x="291" y="257"/>
                  </a:lnTo>
                  <a:lnTo>
                    <a:pt x="289" y="257"/>
                  </a:lnTo>
                  <a:lnTo>
                    <a:pt x="289" y="255"/>
                  </a:lnTo>
                  <a:lnTo>
                    <a:pt x="288" y="255"/>
                  </a:lnTo>
                  <a:lnTo>
                    <a:pt x="288" y="254"/>
                  </a:lnTo>
                  <a:lnTo>
                    <a:pt x="286" y="252"/>
                  </a:lnTo>
                  <a:lnTo>
                    <a:pt x="286" y="251"/>
                  </a:lnTo>
                  <a:lnTo>
                    <a:pt x="286" y="252"/>
                  </a:lnTo>
                  <a:lnTo>
                    <a:pt x="284" y="252"/>
                  </a:lnTo>
                  <a:lnTo>
                    <a:pt x="284" y="254"/>
                  </a:lnTo>
                  <a:lnTo>
                    <a:pt x="284" y="255"/>
                  </a:lnTo>
                  <a:lnTo>
                    <a:pt x="286" y="255"/>
                  </a:lnTo>
                  <a:lnTo>
                    <a:pt x="284" y="255"/>
                  </a:lnTo>
                  <a:lnTo>
                    <a:pt x="284" y="254"/>
                  </a:lnTo>
                  <a:lnTo>
                    <a:pt x="283" y="252"/>
                  </a:lnTo>
                  <a:lnTo>
                    <a:pt x="281" y="251"/>
                  </a:lnTo>
                  <a:lnTo>
                    <a:pt x="279" y="247"/>
                  </a:lnTo>
                  <a:lnTo>
                    <a:pt x="279" y="246"/>
                  </a:lnTo>
                  <a:lnTo>
                    <a:pt x="278" y="246"/>
                  </a:lnTo>
                  <a:lnTo>
                    <a:pt x="278" y="244"/>
                  </a:lnTo>
                  <a:lnTo>
                    <a:pt x="276" y="242"/>
                  </a:lnTo>
                  <a:lnTo>
                    <a:pt x="278" y="242"/>
                  </a:lnTo>
                  <a:lnTo>
                    <a:pt x="276" y="242"/>
                  </a:lnTo>
                  <a:lnTo>
                    <a:pt x="276" y="241"/>
                  </a:lnTo>
                  <a:lnTo>
                    <a:pt x="276" y="239"/>
                  </a:lnTo>
                  <a:lnTo>
                    <a:pt x="273" y="239"/>
                  </a:lnTo>
                  <a:lnTo>
                    <a:pt x="271" y="238"/>
                  </a:lnTo>
                  <a:lnTo>
                    <a:pt x="271" y="236"/>
                  </a:lnTo>
                  <a:lnTo>
                    <a:pt x="268" y="236"/>
                  </a:lnTo>
                  <a:lnTo>
                    <a:pt x="268" y="234"/>
                  </a:lnTo>
                  <a:lnTo>
                    <a:pt x="266" y="234"/>
                  </a:lnTo>
                  <a:lnTo>
                    <a:pt x="266" y="233"/>
                  </a:lnTo>
                  <a:lnTo>
                    <a:pt x="265" y="231"/>
                  </a:lnTo>
                  <a:lnTo>
                    <a:pt x="263" y="228"/>
                  </a:lnTo>
                  <a:lnTo>
                    <a:pt x="263" y="226"/>
                  </a:lnTo>
                  <a:lnTo>
                    <a:pt x="262" y="225"/>
                  </a:lnTo>
                  <a:lnTo>
                    <a:pt x="258" y="220"/>
                  </a:lnTo>
                  <a:lnTo>
                    <a:pt x="257" y="220"/>
                  </a:lnTo>
                  <a:lnTo>
                    <a:pt x="257" y="218"/>
                  </a:lnTo>
                  <a:lnTo>
                    <a:pt x="255" y="218"/>
                  </a:lnTo>
                  <a:lnTo>
                    <a:pt x="253" y="216"/>
                  </a:lnTo>
                  <a:lnTo>
                    <a:pt x="252" y="218"/>
                  </a:lnTo>
                  <a:lnTo>
                    <a:pt x="253" y="220"/>
                  </a:lnTo>
                  <a:lnTo>
                    <a:pt x="255" y="220"/>
                  </a:lnTo>
                  <a:lnTo>
                    <a:pt x="257" y="221"/>
                  </a:lnTo>
                  <a:lnTo>
                    <a:pt x="257" y="223"/>
                  </a:lnTo>
                  <a:lnTo>
                    <a:pt x="258" y="223"/>
                  </a:lnTo>
                  <a:lnTo>
                    <a:pt x="258" y="225"/>
                  </a:lnTo>
                  <a:lnTo>
                    <a:pt x="260" y="225"/>
                  </a:lnTo>
                  <a:lnTo>
                    <a:pt x="260" y="226"/>
                  </a:lnTo>
                  <a:lnTo>
                    <a:pt x="262" y="228"/>
                  </a:lnTo>
                  <a:lnTo>
                    <a:pt x="262" y="229"/>
                  </a:lnTo>
                  <a:lnTo>
                    <a:pt x="263" y="229"/>
                  </a:lnTo>
                  <a:lnTo>
                    <a:pt x="263" y="231"/>
                  </a:lnTo>
                  <a:lnTo>
                    <a:pt x="263" y="233"/>
                  </a:lnTo>
                  <a:lnTo>
                    <a:pt x="263" y="234"/>
                  </a:lnTo>
                  <a:lnTo>
                    <a:pt x="265" y="236"/>
                  </a:lnTo>
                  <a:lnTo>
                    <a:pt x="266" y="236"/>
                  </a:lnTo>
                  <a:lnTo>
                    <a:pt x="270" y="239"/>
                  </a:lnTo>
                  <a:lnTo>
                    <a:pt x="270" y="241"/>
                  </a:lnTo>
                  <a:lnTo>
                    <a:pt x="271" y="241"/>
                  </a:lnTo>
                  <a:lnTo>
                    <a:pt x="273" y="241"/>
                  </a:lnTo>
                  <a:lnTo>
                    <a:pt x="273" y="242"/>
                  </a:lnTo>
                  <a:lnTo>
                    <a:pt x="275" y="242"/>
                  </a:lnTo>
                  <a:lnTo>
                    <a:pt x="273" y="242"/>
                  </a:lnTo>
                  <a:lnTo>
                    <a:pt x="273" y="244"/>
                  </a:lnTo>
                  <a:lnTo>
                    <a:pt x="271" y="244"/>
                  </a:lnTo>
                  <a:lnTo>
                    <a:pt x="271" y="246"/>
                  </a:lnTo>
                  <a:lnTo>
                    <a:pt x="273" y="246"/>
                  </a:lnTo>
                  <a:lnTo>
                    <a:pt x="275" y="246"/>
                  </a:lnTo>
                  <a:lnTo>
                    <a:pt x="276" y="247"/>
                  </a:lnTo>
                  <a:lnTo>
                    <a:pt x="276" y="249"/>
                  </a:lnTo>
                  <a:lnTo>
                    <a:pt x="278" y="249"/>
                  </a:lnTo>
                  <a:lnTo>
                    <a:pt x="278" y="251"/>
                  </a:lnTo>
                  <a:lnTo>
                    <a:pt x="279" y="252"/>
                  </a:lnTo>
                  <a:lnTo>
                    <a:pt x="279" y="254"/>
                  </a:lnTo>
                  <a:lnTo>
                    <a:pt x="278" y="254"/>
                  </a:lnTo>
                  <a:lnTo>
                    <a:pt x="273" y="255"/>
                  </a:lnTo>
                  <a:lnTo>
                    <a:pt x="273" y="257"/>
                  </a:lnTo>
                  <a:lnTo>
                    <a:pt x="275" y="255"/>
                  </a:lnTo>
                  <a:lnTo>
                    <a:pt x="275" y="257"/>
                  </a:lnTo>
                  <a:lnTo>
                    <a:pt x="276" y="255"/>
                  </a:lnTo>
                  <a:lnTo>
                    <a:pt x="279" y="255"/>
                  </a:lnTo>
                  <a:lnTo>
                    <a:pt x="281" y="255"/>
                  </a:lnTo>
                  <a:lnTo>
                    <a:pt x="281" y="257"/>
                  </a:lnTo>
                  <a:lnTo>
                    <a:pt x="281" y="259"/>
                  </a:lnTo>
                  <a:lnTo>
                    <a:pt x="279" y="259"/>
                  </a:lnTo>
                  <a:lnTo>
                    <a:pt x="279" y="260"/>
                  </a:lnTo>
                  <a:lnTo>
                    <a:pt x="281" y="260"/>
                  </a:lnTo>
                  <a:lnTo>
                    <a:pt x="281" y="259"/>
                  </a:lnTo>
                  <a:lnTo>
                    <a:pt x="283" y="259"/>
                  </a:lnTo>
                  <a:lnTo>
                    <a:pt x="283" y="260"/>
                  </a:lnTo>
                  <a:lnTo>
                    <a:pt x="284" y="260"/>
                  </a:lnTo>
                  <a:lnTo>
                    <a:pt x="284" y="262"/>
                  </a:lnTo>
                  <a:lnTo>
                    <a:pt x="284" y="264"/>
                  </a:lnTo>
                  <a:lnTo>
                    <a:pt x="283" y="264"/>
                  </a:lnTo>
                  <a:lnTo>
                    <a:pt x="283" y="265"/>
                  </a:lnTo>
                  <a:lnTo>
                    <a:pt x="284" y="264"/>
                  </a:lnTo>
                  <a:lnTo>
                    <a:pt x="286" y="264"/>
                  </a:lnTo>
                  <a:lnTo>
                    <a:pt x="286" y="265"/>
                  </a:lnTo>
                  <a:lnTo>
                    <a:pt x="288" y="265"/>
                  </a:lnTo>
                  <a:lnTo>
                    <a:pt x="289" y="267"/>
                  </a:lnTo>
                  <a:lnTo>
                    <a:pt x="289" y="268"/>
                  </a:lnTo>
                  <a:lnTo>
                    <a:pt x="288" y="268"/>
                  </a:lnTo>
                  <a:lnTo>
                    <a:pt x="289" y="268"/>
                  </a:lnTo>
                  <a:lnTo>
                    <a:pt x="289" y="270"/>
                  </a:lnTo>
                  <a:lnTo>
                    <a:pt x="289" y="268"/>
                  </a:lnTo>
                  <a:lnTo>
                    <a:pt x="289" y="270"/>
                  </a:lnTo>
                  <a:lnTo>
                    <a:pt x="289" y="268"/>
                  </a:lnTo>
                  <a:lnTo>
                    <a:pt x="288" y="268"/>
                  </a:lnTo>
                  <a:lnTo>
                    <a:pt x="288" y="267"/>
                  </a:lnTo>
                  <a:lnTo>
                    <a:pt x="288" y="268"/>
                  </a:lnTo>
                  <a:lnTo>
                    <a:pt x="286" y="268"/>
                  </a:lnTo>
                  <a:lnTo>
                    <a:pt x="286" y="267"/>
                  </a:lnTo>
                  <a:lnTo>
                    <a:pt x="284" y="267"/>
                  </a:lnTo>
                  <a:lnTo>
                    <a:pt x="284" y="268"/>
                  </a:lnTo>
                  <a:lnTo>
                    <a:pt x="284" y="270"/>
                  </a:lnTo>
                  <a:lnTo>
                    <a:pt x="286" y="270"/>
                  </a:lnTo>
                  <a:lnTo>
                    <a:pt x="286" y="272"/>
                  </a:lnTo>
                  <a:lnTo>
                    <a:pt x="288" y="273"/>
                  </a:lnTo>
                  <a:lnTo>
                    <a:pt x="288" y="275"/>
                  </a:lnTo>
                  <a:lnTo>
                    <a:pt x="286" y="275"/>
                  </a:lnTo>
                  <a:lnTo>
                    <a:pt x="288" y="275"/>
                  </a:lnTo>
                  <a:lnTo>
                    <a:pt x="286" y="275"/>
                  </a:lnTo>
                  <a:lnTo>
                    <a:pt x="284" y="275"/>
                  </a:lnTo>
                  <a:lnTo>
                    <a:pt x="283" y="275"/>
                  </a:lnTo>
                  <a:lnTo>
                    <a:pt x="284" y="277"/>
                  </a:lnTo>
                  <a:lnTo>
                    <a:pt x="284" y="278"/>
                  </a:lnTo>
                  <a:lnTo>
                    <a:pt x="283" y="278"/>
                  </a:lnTo>
                  <a:lnTo>
                    <a:pt x="281" y="278"/>
                  </a:lnTo>
                  <a:lnTo>
                    <a:pt x="281" y="277"/>
                  </a:lnTo>
                  <a:lnTo>
                    <a:pt x="281" y="275"/>
                  </a:lnTo>
                  <a:lnTo>
                    <a:pt x="281" y="273"/>
                  </a:lnTo>
                  <a:lnTo>
                    <a:pt x="283" y="272"/>
                  </a:lnTo>
                  <a:lnTo>
                    <a:pt x="281" y="270"/>
                  </a:lnTo>
                  <a:lnTo>
                    <a:pt x="283" y="270"/>
                  </a:lnTo>
                  <a:lnTo>
                    <a:pt x="281" y="268"/>
                  </a:lnTo>
                  <a:lnTo>
                    <a:pt x="279" y="268"/>
                  </a:lnTo>
                  <a:lnTo>
                    <a:pt x="279" y="270"/>
                  </a:lnTo>
                  <a:lnTo>
                    <a:pt x="278" y="270"/>
                  </a:lnTo>
                  <a:lnTo>
                    <a:pt x="278" y="272"/>
                  </a:lnTo>
                  <a:lnTo>
                    <a:pt x="278" y="273"/>
                  </a:lnTo>
                  <a:lnTo>
                    <a:pt x="278" y="275"/>
                  </a:lnTo>
                  <a:lnTo>
                    <a:pt x="276" y="275"/>
                  </a:lnTo>
                  <a:lnTo>
                    <a:pt x="275" y="275"/>
                  </a:lnTo>
                  <a:lnTo>
                    <a:pt x="273" y="277"/>
                  </a:lnTo>
                  <a:lnTo>
                    <a:pt x="275" y="278"/>
                  </a:lnTo>
                  <a:lnTo>
                    <a:pt x="275" y="280"/>
                  </a:lnTo>
                  <a:lnTo>
                    <a:pt x="276" y="280"/>
                  </a:lnTo>
                  <a:lnTo>
                    <a:pt x="276" y="282"/>
                  </a:lnTo>
                  <a:lnTo>
                    <a:pt x="275" y="280"/>
                  </a:lnTo>
                  <a:lnTo>
                    <a:pt x="273" y="280"/>
                  </a:lnTo>
                  <a:lnTo>
                    <a:pt x="271" y="280"/>
                  </a:lnTo>
                  <a:lnTo>
                    <a:pt x="270" y="278"/>
                  </a:lnTo>
                  <a:lnTo>
                    <a:pt x="268" y="277"/>
                  </a:lnTo>
                  <a:lnTo>
                    <a:pt x="266" y="277"/>
                  </a:lnTo>
                  <a:lnTo>
                    <a:pt x="265" y="275"/>
                  </a:lnTo>
                  <a:lnTo>
                    <a:pt x="263" y="275"/>
                  </a:lnTo>
                  <a:lnTo>
                    <a:pt x="262" y="275"/>
                  </a:lnTo>
                  <a:lnTo>
                    <a:pt x="263" y="275"/>
                  </a:lnTo>
                  <a:lnTo>
                    <a:pt x="262" y="275"/>
                  </a:lnTo>
                  <a:lnTo>
                    <a:pt x="262" y="273"/>
                  </a:lnTo>
                  <a:lnTo>
                    <a:pt x="260" y="273"/>
                  </a:lnTo>
                  <a:lnTo>
                    <a:pt x="258" y="273"/>
                  </a:lnTo>
                  <a:lnTo>
                    <a:pt x="260" y="275"/>
                  </a:lnTo>
                  <a:lnTo>
                    <a:pt x="258" y="275"/>
                  </a:lnTo>
                  <a:lnTo>
                    <a:pt x="258" y="273"/>
                  </a:lnTo>
                  <a:lnTo>
                    <a:pt x="257" y="272"/>
                  </a:lnTo>
                  <a:lnTo>
                    <a:pt x="255" y="272"/>
                  </a:lnTo>
                  <a:lnTo>
                    <a:pt x="255" y="270"/>
                  </a:lnTo>
                  <a:lnTo>
                    <a:pt x="253" y="268"/>
                  </a:lnTo>
                  <a:lnTo>
                    <a:pt x="255" y="268"/>
                  </a:lnTo>
                  <a:lnTo>
                    <a:pt x="253" y="268"/>
                  </a:lnTo>
                  <a:lnTo>
                    <a:pt x="253" y="267"/>
                  </a:lnTo>
                  <a:lnTo>
                    <a:pt x="252" y="264"/>
                  </a:lnTo>
                  <a:lnTo>
                    <a:pt x="250" y="262"/>
                  </a:lnTo>
                  <a:lnTo>
                    <a:pt x="252" y="260"/>
                  </a:lnTo>
                  <a:lnTo>
                    <a:pt x="250" y="260"/>
                  </a:lnTo>
                  <a:lnTo>
                    <a:pt x="249" y="260"/>
                  </a:lnTo>
                  <a:lnTo>
                    <a:pt x="249" y="259"/>
                  </a:lnTo>
                  <a:lnTo>
                    <a:pt x="249" y="257"/>
                  </a:lnTo>
                  <a:lnTo>
                    <a:pt x="247" y="255"/>
                  </a:lnTo>
                  <a:lnTo>
                    <a:pt x="245" y="255"/>
                  </a:lnTo>
                  <a:lnTo>
                    <a:pt x="247" y="254"/>
                  </a:lnTo>
                  <a:lnTo>
                    <a:pt x="245" y="254"/>
                  </a:lnTo>
                  <a:lnTo>
                    <a:pt x="244" y="252"/>
                  </a:lnTo>
                  <a:lnTo>
                    <a:pt x="244" y="251"/>
                  </a:lnTo>
                  <a:lnTo>
                    <a:pt x="244" y="249"/>
                  </a:lnTo>
                  <a:lnTo>
                    <a:pt x="244" y="247"/>
                  </a:lnTo>
                  <a:lnTo>
                    <a:pt x="242" y="246"/>
                  </a:lnTo>
                  <a:lnTo>
                    <a:pt x="240" y="244"/>
                  </a:lnTo>
                  <a:lnTo>
                    <a:pt x="240" y="246"/>
                  </a:lnTo>
                  <a:lnTo>
                    <a:pt x="239" y="246"/>
                  </a:lnTo>
                  <a:lnTo>
                    <a:pt x="239" y="247"/>
                  </a:lnTo>
                  <a:lnTo>
                    <a:pt x="239" y="246"/>
                  </a:lnTo>
                  <a:lnTo>
                    <a:pt x="237" y="246"/>
                  </a:lnTo>
                  <a:lnTo>
                    <a:pt x="237" y="247"/>
                  </a:lnTo>
                  <a:lnTo>
                    <a:pt x="239" y="249"/>
                  </a:lnTo>
                  <a:lnTo>
                    <a:pt x="240" y="251"/>
                  </a:lnTo>
                  <a:lnTo>
                    <a:pt x="240" y="252"/>
                  </a:lnTo>
                  <a:lnTo>
                    <a:pt x="242" y="254"/>
                  </a:lnTo>
                  <a:lnTo>
                    <a:pt x="240" y="254"/>
                  </a:lnTo>
                  <a:lnTo>
                    <a:pt x="242" y="254"/>
                  </a:lnTo>
                  <a:lnTo>
                    <a:pt x="242" y="255"/>
                  </a:lnTo>
                  <a:lnTo>
                    <a:pt x="244" y="255"/>
                  </a:lnTo>
                  <a:lnTo>
                    <a:pt x="244" y="257"/>
                  </a:lnTo>
                  <a:lnTo>
                    <a:pt x="245" y="257"/>
                  </a:lnTo>
                  <a:lnTo>
                    <a:pt x="245" y="259"/>
                  </a:lnTo>
                  <a:lnTo>
                    <a:pt x="247" y="260"/>
                  </a:lnTo>
                  <a:lnTo>
                    <a:pt x="247" y="262"/>
                  </a:lnTo>
                  <a:lnTo>
                    <a:pt x="249" y="264"/>
                  </a:lnTo>
                  <a:lnTo>
                    <a:pt x="249" y="265"/>
                  </a:lnTo>
                  <a:lnTo>
                    <a:pt x="249" y="267"/>
                  </a:lnTo>
                  <a:lnTo>
                    <a:pt x="250" y="267"/>
                  </a:lnTo>
                  <a:lnTo>
                    <a:pt x="250" y="268"/>
                  </a:lnTo>
                  <a:lnTo>
                    <a:pt x="252" y="270"/>
                  </a:lnTo>
                  <a:lnTo>
                    <a:pt x="252" y="272"/>
                  </a:lnTo>
                  <a:lnTo>
                    <a:pt x="250" y="272"/>
                  </a:lnTo>
                  <a:lnTo>
                    <a:pt x="249" y="270"/>
                  </a:lnTo>
                  <a:lnTo>
                    <a:pt x="249" y="272"/>
                  </a:lnTo>
                  <a:lnTo>
                    <a:pt x="247" y="272"/>
                  </a:lnTo>
                  <a:lnTo>
                    <a:pt x="249" y="273"/>
                  </a:lnTo>
                  <a:lnTo>
                    <a:pt x="252" y="273"/>
                  </a:lnTo>
                  <a:lnTo>
                    <a:pt x="253" y="273"/>
                  </a:lnTo>
                  <a:lnTo>
                    <a:pt x="253" y="275"/>
                  </a:lnTo>
                  <a:lnTo>
                    <a:pt x="253" y="277"/>
                  </a:lnTo>
                  <a:lnTo>
                    <a:pt x="255" y="277"/>
                  </a:lnTo>
                  <a:lnTo>
                    <a:pt x="255" y="278"/>
                  </a:lnTo>
                  <a:lnTo>
                    <a:pt x="255" y="280"/>
                  </a:lnTo>
                  <a:lnTo>
                    <a:pt x="257" y="280"/>
                  </a:lnTo>
                  <a:lnTo>
                    <a:pt x="257" y="282"/>
                  </a:lnTo>
                  <a:lnTo>
                    <a:pt x="258" y="283"/>
                  </a:lnTo>
                  <a:lnTo>
                    <a:pt x="257" y="283"/>
                  </a:lnTo>
                  <a:lnTo>
                    <a:pt x="258" y="283"/>
                  </a:lnTo>
                  <a:lnTo>
                    <a:pt x="258" y="285"/>
                  </a:lnTo>
                  <a:lnTo>
                    <a:pt x="260" y="286"/>
                  </a:lnTo>
                  <a:lnTo>
                    <a:pt x="258" y="286"/>
                  </a:lnTo>
                  <a:lnTo>
                    <a:pt x="257" y="286"/>
                  </a:lnTo>
                  <a:lnTo>
                    <a:pt x="255" y="286"/>
                  </a:lnTo>
                  <a:lnTo>
                    <a:pt x="253" y="286"/>
                  </a:lnTo>
                  <a:lnTo>
                    <a:pt x="255" y="286"/>
                  </a:lnTo>
                  <a:lnTo>
                    <a:pt x="257" y="286"/>
                  </a:lnTo>
                  <a:lnTo>
                    <a:pt x="257" y="288"/>
                  </a:lnTo>
                  <a:lnTo>
                    <a:pt x="258" y="286"/>
                  </a:lnTo>
                  <a:lnTo>
                    <a:pt x="258" y="288"/>
                  </a:lnTo>
                  <a:lnTo>
                    <a:pt x="260" y="288"/>
                  </a:lnTo>
                  <a:lnTo>
                    <a:pt x="262" y="290"/>
                  </a:lnTo>
                  <a:lnTo>
                    <a:pt x="260" y="290"/>
                  </a:lnTo>
                  <a:lnTo>
                    <a:pt x="262" y="291"/>
                  </a:lnTo>
                  <a:lnTo>
                    <a:pt x="260" y="290"/>
                  </a:lnTo>
                  <a:lnTo>
                    <a:pt x="260" y="291"/>
                  </a:lnTo>
                  <a:lnTo>
                    <a:pt x="258" y="291"/>
                  </a:lnTo>
                  <a:lnTo>
                    <a:pt x="258" y="293"/>
                  </a:lnTo>
                  <a:lnTo>
                    <a:pt x="257" y="291"/>
                  </a:lnTo>
                  <a:lnTo>
                    <a:pt x="255" y="291"/>
                  </a:lnTo>
                  <a:lnTo>
                    <a:pt x="255" y="290"/>
                  </a:lnTo>
                  <a:lnTo>
                    <a:pt x="253" y="290"/>
                  </a:lnTo>
                  <a:lnTo>
                    <a:pt x="253" y="288"/>
                  </a:lnTo>
                  <a:lnTo>
                    <a:pt x="252" y="288"/>
                  </a:lnTo>
                  <a:lnTo>
                    <a:pt x="250" y="288"/>
                  </a:lnTo>
                  <a:lnTo>
                    <a:pt x="250" y="285"/>
                  </a:lnTo>
                  <a:lnTo>
                    <a:pt x="249" y="283"/>
                  </a:lnTo>
                  <a:lnTo>
                    <a:pt x="249" y="282"/>
                  </a:lnTo>
                  <a:lnTo>
                    <a:pt x="247" y="280"/>
                  </a:lnTo>
                  <a:lnTo>
                    <a:pt x="247" y="278"/>
                  </a:lnTo>
                  <a:lnTo>
                    <a:pt x="245" y="278"/>
                  </a:lnTo>
                  <a:lnTo>
                    <a:pt x="247" y="277"/>
                  </a:lnTo>
                  <a:lnTo>
                    <a:pt x="245" y="277"/>
                  </a:lnTo>
                  <a:lnTo>
                    <a:pt x="245" y="275"/>
                  </a:lnTo>
                  <a:lnTo>
                    <a:pt x="244" y="273"/>
                  </a:lnTo>
                  <a:lnTo>
                    <a:pt x="242" y="272"/>
                  </a:lnTo>
                  <a:lnTo>
                    <a:pt x="240" y="270"/>
                  </a:lnTo>
                  <a:lnTo>
                    <a:pt x="239" y="268"/>
                  </a:lnTo>
                  <a:lnTo>
                    <a:pt x="239" y="267"/>
                  </a:lnTo>
                  <a:lnTo>
                    <a:pt x="237" y="265"/>
                  </a:lnTo>
                  <a:lnTo>
                    <a:pt x="236" y="264"/>
                  </a:lnTo>
                  <a:lnTo>
                    <a:pt x="236" y="262"/>
                  </a:lnTo>
                  <a:lnTo>
                    <a:pt x="236" y="260"/>
                  </a:lnTo>
                  <a:lnTo>
                    <a:pt x="234" y="260"/>
                  </a:lnTo>
                  <a:lnTo>
                    <a:pt x="234" y="259"/>
                  </a:lnTo>
                  <a:lnTo>
                    <a:pt x="232" y="259"/>
                  </a:lnTo>
                  <a:lnTo>
                    <a:pt x="232" y="257"/>
                  </a:lnTo>
                  <a:lnTo>
                    <a:pt x="231" y="257"/>
                  </a:lnTo>
                  <a:lnTo>
                    <a:pt x="231" y="255"/>
                  </a:lnTo>
                  <a:lnTo>
                    <a:pt x="232" y="255"/>
                  </a:lnTo>
                  <a:lnTo>
                    <a:pt x="231" y="254"/>
                  </a:lnTo>
                  <a:lnTo>
                    <a:pt x="229" y="252"/>
                  </a:lnTo>
                  <a:lnTo>
                    <a:pt x="229" y="251"/>
                  </a:lnTo>
                  <a:lnTo>
                    <a:pt x="227" y="251"/>
                  </a:lnTo>
                  <a:lnTo>
                    <a:pt x="227" y="249"/>
                  </a:lnTo>
                  <a:lnTo>
                    <a:pt x="226" y="251"/>
                  </a:lnTo>
                  <a:lnTo>
                    <a:pt x="226" y="252"/>
                  </a:lnTo>
                  <a:lnTo>
                    <a:pt x="227" y="252"/>
                  </a:lnTo>
                  <a:lnTo>
                    <a:pt x="227" y="254"/>
                  </a:lnTo>
                  <a:lnTo>
                    <a:pt x="227" y="255"/>
                  </a:lnTo>
                  <a:lnTo>
                    <a:pt x="229" y="255"/>
                  </a:lnTo>
                  <a:lnTo>
                    <a:pt x="231" y="257"/>
                  </a:lnTo>
                  <a:lnTo>
                    <a:pt x="231" y="259"/>
                  </a:lnTo>
                  <a:lnTo>
                    <a:pt x="231" y="260"/>
                  </a:lnTo>
                  <a:lnTo>
                    <a:pt x="232" y="260"/>
                  </a:lnTo>
                  <a:lnTo>
                    <a:pt x="232" y="262"/>
                  </a:lnTo>
                  <a:lnTo>
                    <a:pt x="232" y="264"/>
                  </a:lnTo>
                  <a:lnTo>
                    <a:pt x="234" y="264"/>
                  </a:lnTo>
                  <a:lnTo>
                    <a:pt x="234" y="265"/>
                  </a:lnTo>
                  <a:lnTo>
                    <a:pt x="236" y="267"/>
                  </a:lnTo>
                  <a:lnTo>
                    <a:pt x="236" y="268"/>
                  </a:lnTo>
                  <a:lnTo>
                    <a:pt x="236" y="270"/>
                  </a:lnTo>
                  <a:lnTo>
                    <a:pt x="234" y="272"/>
                  </a:lnTo>
                  <a:lnTo>
                    <a:pt x="237" y="272"/>
                  </a:lnTo>
                  <a:lnTo>
                    <a:pt x="239" y="273"/>
                  </a:lnTo>
                  <a:lnTo>
                    <a:pt x="240" y="275"/>
                  </a:lnTo>
                  <a:lnTo>
                    <a:pt x="240" y="277"/>
                  </a:lnTo>
                  <a:lnTo>
                    <a:pt x="242" y="277"/>
                  </a:lnTo>
                  <a:lnTo>
                    <a:pt x="244" y="278"/>
                  </a:lnTo>
                  <a:lnTo>
                    <a:pt x="244" y="280"/>
                  </a:lnTo>
                  <a:lnTo>
                    <a:pt x="245" y="282"/>
                  </a:lnTo>
                  <a:lnTo>
                    <a:pt x="245" y="283"/>
                  </a:lnTo>
                  <a:lnTo>
                    <a:pt x="245" y="282"/>
                  </a:lnTo>
                  <a:lnTo>
                    <a:pt x="245" y="283"/>
                  </a:lnTo>
                  <a:lnTo>
                    <a:pt x="247" y="283"/>
                  </a:lnTo>
                  <a:lnTo>
                    <a:pt x="247" y="285"/>
                  </a:lnTo>
                  <a:lnTo>
                    <a:pt x="247" y="286"/>
                  </a:lnTo>
                  <a:lnTo>
                    <a:pt x="249" y="288"/>
                  </a:lnTo>
                  <a:lnTo>
                    <a:pt x="247" y="288"/>
                  </a:lnTo>
                  <a:lnTo>
                    <a:pt x="247" y="290"/>
                  </a:lnTo>
                  <a:lnTo>
                    <a:pt x="247" y="291"/>
                  </a:lnTo>
                  <a:lnTo>
                    <a:pt x="249" y="291"/>
                  </a:lnTo>
                  <a:lnTo>
                    <a:pt x="250" y="291"/>
                  </a:lnTo>
                  <a:lnTo>
                    <a:pt x="250" y="293"/>
                  </a:lnTo>
                  <a:lnTo>
                    <a:pt x="252" y="295"/>
                  </a:lnTo>
                  <a:lnTo>
                    <a:pt x="250" y="295"/>
                  </a:lnTo>
                  <a:lnTo>
                    <a:pt x="252" y="295"/>
                  </a:lnTo>
                  <a:lnTo>
                    <a:pt x="250" y="296"/>
                  </a:lnTo>
                  <a:lnTo>
                    <a:pt x="252" y="296"/>
                  </a:lnTo>
                  <a:lnTo>
                    <a:pt x="253" y="296"/>
                  </a:lnTo>
                  <a:lnTo>
                    <a:pt x="253" y="298"/>
                  </a:lnTo>
                  <a:lnTo>
                    <a:pt x="252" y="298"/>
                  </a:lnTo>
                  <a:lnTo>
                    <a:pt x="253" y="298"/>
                  </a:lnTo>
                  <a:lnTo>
                    <a:pt x="253" y="299"/>
                  </a:lnTo>
                  <a:lnTo>
                    <a:pt x="252" y="299"/>
                  </a:lnTo>
                  <a:lnTo>
                    <a:pt x="253" y="301"/>
                  </a:lnTo>
                  <a:lnTo>
                    <a:pt x="252" y="303"/>
                  </a:lnTo>
                  <a:lnTo>
                    <a:pt x="253" y="303"/>
                  </a:lnTo>
                  <a:lnTo>
                    <a:pt x="252" y="303"/>
                  </a:lnTo>
                  <a:lnTo>
                    <a:pt x="252" y="301"/>
                  </a:lnTo>
                  <a:lnTo>
                    <a:pt x="252" y="303"/>
                  </a:lnTo>
                  <a:lnTo>
                    <a:pt x="250" y="303"/>
                  </a:lnTo>
                  <a:lnTo>
                    <a:pt x="249" y="301"/>
                  </a:lnTo>
                  <a:lnTo>
                    <a:pt x="249" y="299"/>
                  </a:lnTo>
                  <a:lnTo>
                    <a:pt x="249" y="301"/>
                  </a:lnTo>
                  <a:lnTo>
                    <a:pt x="247" y="303"/>
                  </a:lnTo>
                  <a:lnTo>
                    <a:pt x="249" y="303"/>
                  </a:lnTo>
                  <a:lnTo>
                    <a:pt x="247" y="303"/>
                  </a:lnTo>
                  <a:lnTo>
                    <a:pt x="245" y="301"/>
                  </a:lnTo>
                  <a:lnTo>
                    <a:pt x="245" y="303"/>
                  </a:lnTo>
                  <a:lnTo>
                    <a:pt x="244" y="303"/>
                  </a:lnTo>
                  <a:lnTo>
                    <a:pt x="242" y="303"/>
                  </a:lnTo>
                  <a:lnTo>
                    <a:pt x="242" y="301"/>
                  </a:lnTo>
                  <a:lnTo>
                    <a:pt x="240" y="303"/>
                  </a:lnTo>
                  <a:lnTo>
                    <a:pt x="239" y="303"/>
                  </a:lnTo>
                  <a:lnTo>
                    <a:pt x="237" y="303"/>
                  </a:lnTo>
                  <a:lnTo>
                    <a:pt x="237" y="301"/>
                  </a:lnTo>
                  <a:lnTo>
                    <a:pt x="236" y="301"/>
                  </a:lnTo>
                  <a:lnTo>
                    <a:pt x="234" y="301"/>
                  </a:lnTo>
                  <a:lnTo>
                    <a:pt x="232" y="299"/>
                  </a:lnTo>
                  <a:lnTo>
                    <a:pt x="232" y="296"/>
                  </a:lnTo>
                  <a:lnTo>
                    <a:pt x="232" y="295"/>
                  </a:lnTo>
                  <a:lnTo>
                    <a:pt x="232" y="296"/>
                  </a:lnTo>
                  <a:lnTo>
                    <a:pt x="231" y="295"/>
                  </a:lnTo>
                  <a:lnTo>
                    <a:pt x="229" y="293"/>
                  </a:lnTo>
                  <a:lnTo>
                    <a:pt x="229" y="291"/>
                  </a:lnTo>
                  <a:lnTo>
                    <a:pt x="229" y="290"/>
                  </a:lnTo>
                  <a:lnTo>
                    <a:pt x="227" y="290"/>
                  </a:lnTo>
                  <a:lnTo>
                    <a:pt x="227" y="288"/>
                  </a:lnTo>
                  <a:lnTo>
                    <a:pt x="226" y="288"/>
                  </a:lnTo>
                  <a:lnTo>
                    <a:pt x="226" y="286"/>
                  </a:lnTo>
                  <a:lnTo>
                    <a:pt x="224" y="285"/>
                  </a:lnTo>
                  <a:lnTo>
                    <a:pt x="224" y="283"/>
                  </a:lnTo>
                  <a:lnTo>
                    <a:pt x="223" y="282"/>
                  </a:lnTo>
                  <a:lnTo>
                    <a:pt x="221" y="282"/>
                  </a:lnTo>
                  <a:lnTo>
                    <a:pt x="223" y="283"/>
                  </a:lnTo>
                  <a:lnTo>
                    <a:pt x="223" y="285"/>
                  </a:lnTo>
                  <a:lnTo>
                    <a:pt x="223" y="286"/>
                  </a:lnTo>
                  <a:lnTo>
                    <a:pt x="221" y="286"/>
                  </a:lnTo>
                  <a:lnTo>
                    <a:pt x="223" y="288"/>
                  </a:lnTo>
                  <a:lnTo>
                    <a:pt x="224" y="288"/>
                  </a:lnTo>
                  <a:lnTo>
                    <a:pt x="226" y="290"/>
                  </a:lnTo>
                  <a:lnTo>
                    <a:pt x="226" y="291"/>
                  </a:lnTo>
                  <a:lnTo>
                    <a:pt x="227" y="291"/>
                  </a:lnTo>
                  <a:lnTo>
                    <a:pt x="227" y="293"/>
                  </a:lnTo>
                  <a:lnTo>
                    <a:pt x="227" y="296"/>
                  </a:lnTo>
                  <a:lnTo>
                    <a:pt x="229" y="298"/>
                  </a:lnTo>
                  <a:lnTo>
                    <a:pt x="231" y="299"/>
                  </a:lnTo>
                  <a:lnTo>
                    <a:pt x="231" y="301"/>
                  </a:lnTo>
                  <a:lnTo>
                    <a:pt x="232" y="304"/>
                  </a:lnTo>
                  <a:lnTo>
                    <a:pt x="232" y="306"/>
                  </a:lnTo>
                  <a:lnTo>
                    <a:pt x="234" y="306"/>
                  </a:lnTo>
                  <a:lnTo>
                    <a:pt x="236" y="308"/>
                  </a:lnTo>
                  <a:lnTo>
                    <a:pt x="236" y="306"/>
                  </a:lnTo>
                  <a:lnTo>
                    <a:pt x="234" y="303"/>
                  </a:lnTo>
                  <a:lnTo>
                    <a:pt x="234" y="301"/>
                  </a:lnTo>
                  <a:lnTo>
                    <a:pt x="234" y="303"/>
                  </a:lnTo>
                  <a:lnTo>
                    <a:pt x="236" y="303"/>
                  </a:lnTo>
                  <a:lnTo>
                    <a:pt x="237" y="303"/>
                  </a:lnTo>
                  <a:lnTo>
                    <a:pt x="239" y="303"/>
                  </a:lnTo>
                  <a:lnTo>
                    <a:pt x="240" y="303"/>
                  </a:lnTo>
                  <a:lnTo>
                    <a:pt x="242" y="304"/>
                  </a:lnTo>
                  <a:lnTo>
                    <a:pt x="244" y="303"/>
                  </a:lnTo>
                  <a:lnTo>
                    <a:pt x="244" y="304"/>
                  </a:lnTo>
                  <a:lnTo>
                    <a:pt x="245" y="303"/>
                  </a:lnTo>
                  <a:lnTo>
                    <a:pt x="245" y="304"/>
                  </a:lnTo>
                  <a:lnTo>
                    <a:pt x="247" y="304"/>
                  </a:lnTo>
                  <a:lnTo>
                    <a:pt x="249" y="304"/>
                  </a:lnTo>
                  <a:lnTo>
                    <a:pt x="249" y="306"/>
                  </a:lnTo>
                  <a:lnTo>
                    <a:pt x="247" y="306"/>
                  </a:lnTo>
                  <a:lnTo>
                    <a:pt x="245" y="306"/>
                  </a:lnTo>
                  <a:lnTo>
                    <a:pt x="245" y="308"/>
                  </a:lnTo>
                  <a:lnTo>
                    <a:pt x="244" y="308"/>
                  </a:lnTo>
                  <a:lnTo>
                    <a:pt x="244" y="306"/>
                  </a:lnTo>
                  <a:lnTo>
                    <a:pt x="244" y="308"/>
                  </a:lnTo>
                  <a:lnTo>
                    <a:pt x="242" y="308"/>
                  </a:lnTo>
                  <a:lnTo>
                    <a:pt x="240" y="306"/>
                  </a:lnTo>
                  <a:lnTo>
                    <a:pt x="239" y="306"/>
                  </a:lnTo>
                  <a:lnTo>
                    <a:pt x="239" y="308"/>
                  </a:lnTo>
                  <a:lnTo>
                    <a:pt x="240" y="308"/>
                  </a:lnTo>
                  <a:lnTo>
                    <a:pt x="240" y="309"/>
                  </a:lnTo>
                  <a:lnTo>
                    <a:pt x="239" y="309"/>
                  </a:lnTo>
                  <a:lnTo>
                    <a:pt x="239" y="311"/>
                  </a:lnTo>
                  <a:lnTo>
                    <a:pt x="239" y="309"/>
                  </a:lnTo>
                  <a:lnTo>
                    <a:pt x="237" y="309"/>
                  </a:lnTo>
                  <a:lnTo>
                    <a:pt x="239" y="309"/>
                  </a:lnTo>
                  <a:lnTo>
                    <a:pt x="239" y="311"/>
                  </a:lnTo>
                  <a:lnTo>
                    <a:pt x="237" y="311"/>
                  </a:lnTo>
                  <a:lnTo>
                    <a:pt x="236" y="309"/>
                  </a:lnTo>
                  <a:lnTo>
                    <a:pt x="237" y="311"/>
                  </a:lnTo>
                  <a:lnTo>
                    <a:pt x="236" y="311"/>
                  </a:lnTo>
                  <a:lnTo>
                    <a:pt x="236" y="312"/>
                  </a:lnTo>
                  <a:lnTo>
                    <a:pt x="236" y="311"/>
                  </a:lnTo>
                  <a:lnTo>
                    <a:pt x="236" y="309"/>
                  </a:lnTo>
                  <a:lnTo>
                    <a:pt x="234" y="309"/>
                  </a:lnTo>
                  <a:lnTo>
                    <a:pt x="232" y="309"/>
                  </a:lnTo>
                  <a:lnTo>
                    <a:pt x="232" y="308"/>
                  </a:lnTo>
                  <a:lnTo>
                    <a:pt x="232" y="306"/>
                  </a:lnTo>
                  <a:lnTo>
                    <a:pt x="231" y="306"/>
                  </a:lnTo>
                  <a:lnTo>
                    <a:pt x="231" y="308"/>
                  </a:lnTo>
                  <a:lnTo>
                    <a:pt x="229" y="306"/>
                  </a:lnTo>
                  <a:lnTo>
                    <a:pt x="231" y="306"/>
                  </a:lnTo>
                  <a:lnTo>
                    <a:pt x="229" y="306"/>
                  </a:lnTo>
                  <a:lnTo>
                    <a:pt x="229" y="304"/>
                  </a:lnTo>
                  <a:lnTo>
                    <a:pt x="227" y="304"/>
                  </a:lnTo>
                  <a:lnTo>
                    <a:pt x="227" y="303"/>
                  </a:lnTo>
                  <a:lnTo>
                    <a:pt x="226" y="303"/>
                  </a:lnTo>
                  <a:lnTo>
                    <a:pt x="226" y="301"/>
                  </a:lnTo>
                  <a:lnTo>
                    <a:pt x="224" y="299"/>
                  </a:lnTo>
                  <a:lnTo>
                    <a:pt x="224" y="298"/>
                  </a:lnTo>
                  <a:lnTo>
                    <a:pt x="223" y="298"/>
                  </a:lnTo>
                  <a:lnTo>
                    <a:pt x="223" y="296"/>
                  </a:lnTo>
                  <a:lnTo>
                    <a:pt x="221" y="296"/>
                  </a:lnTo>
                  <a:lnTo>
                    <a:pt x="219" y="296"/>
                  </a:lnTo>
                  <a:lnTo>
                    <a:pt x="221" y="298"/>
                  </a:lnTo>
                  <a:lnTo>
                    <a:pt x="223" y="299"/>
                  </a:lnTo>
                  <a:lnTo>
                    <a:pt x="223" y="301"/>
                  </a:lnTo>
                  <a:lnTo>
                    <a:pt x="224" y="301"/>
                  </a:lnTo>
                  <a:lnTo>
                    <a:pt x="224" y="303"/>
                  </a:lnTo>
                  <a:lnTo>
                    <a:pt x="226" y="304"/>
                  </a:lnTo>
                  <a:lnTo>
                    <a:pt x="229" y="306"/>
                  </a:lnTo>
                  <a:lnTo>
                    <a:pt x="229" y="308"/>
                  </a:lnTo>
                  <a:lnTo>
                    <a:pt x="231" y="308"/>
                  </a:lnTo>
                  <a:lnTo>
                    <a:pt x="231" y="309"/>
                  </a:lnTo>
                  <a:lnTo>
                    <a:pt x="232" y="311"/>
                  </a:lnTo>
                  <a:lnTo>
                    <a:pt x="232" y="312"/>
                  </a:lnTo>
                  <a:lnTo>
                    <a:pt x="234" y="312"/>
                  </a:lnTo>
                  <a:lnTo>
                    <a:pt x="232" y="314"/>
                  </a:lnTo>
                  <a:lnTo>
                    <a:pt x="231" y="314"/>
                  </a:lnTo>
                  <a:lnTo>
                    <a:pt x="229" y="314"/>
                  </a:lnTo>
                  <a:lnTo>
                    <a:pt x="229" y="312"/>
                  </a:lnTo>
                  <a:lnTo>
                    <a:pt x="231" y="312"/>
                  </a:lnTo>
                  <a:lnTo>
                    <a:pt x="231" y="311"/>
                  </a:lnTo>
                  <a:lnTo>
                    <a:pt x="229" y="311"/>
                  </a:lnTo>
                  <a:lnTo>
                    <a:pt x="227" y="311"/>
                  </a:lnTo>
                  <a:lnTo>
                    <a:pt x="227" y="309"/>
                  </a:lnTo>
                  <a:lnTo>
                    <a:pt x="226" y="311"/>
                  </a:lnTo>
                  <a:lnTo>
                    <a:pt x="224" y="311"/>
                  </a:lnTo>
                  <a:lnTo>
                    <a:pt x="223" y="311"/>
                  </a:lnTo>
                  <a:lnTo>
                    <a:pt x="221" y="309"/>
                  </a:lnTo>
                  <a:lnTo>
                    <a:pt x="221" y="308"/>
                  </a:lnTo>
                  <a:lnTo>
                    <a:pt x="219" y="308"/>
                  </a:lnTo>
                  <a:lnTo>
                    <a:pt x="219" y="306"/>
                  </a:lnTo>
                  <a:lnTo>
                    <a:pt x="219" y="308"/>
                  </a:lnTo>
                  <a:lnTo>
                    <a:pt x="218" y="306"/>
                  </a:lnTo>
                  <a:lnTo>
                    <a:pt x="216" y="304"/>
                  </a:lnTo>
                  <a:lnTo>
                    <a:pt x="216" y="303"/>
                  </a:lnTo>
                  <a:lnTo>
                    <a:pt x="214" y="303"/>
                  </a:lnTo>
                  <a:lnTo>
                    <a:pt x="213" y="303"/>
                  </a:lnTo>
                  <a:lnTo>
                    <a:pt x="214" y="303"/>
                  </a:lnTo>
                  <a:lnTo>
                    <a:pt x="213" y="303"/>
                  </a:lnTo>
                  <a:lnTo>
                    <a:pt x="213" y="304"/>
                  </a:lnTo>
                  <a:lnTo>
                    <a:pt x="214" y="304"/>
                  </a:lnTo>
                  <a:lnTo>
                    <a:pt x="214" y="306"/>
                  </a:lnTo>
                  <a:lnTo>
                    <a:pt x="216" y="306"/>
                  </a:lnTo>
                  <a:lnTo>
                    <a:pt x="216" y="308"/>
                  </a:lnTo>
                  <a:lnTo>
                    <a:pt x="218" y="309"/>
                  </a:lnTo>
                  <a:lnTo>
                    <a:pt x="218" y="311"/>
                  </a:lnTo>
                  <a:lnTo>
                    <a:pt x="218" y="309"/>
                  </a:lnTo>
                  <a:lnTo>
                    <a:pt x="216" y="309"/>
                  </a:lnTo>
                  <a:lnTo>
                    <a:pt x="214" y="309"/>
                  </a:lnTo>
                  <a:lnTo>
                    <a:pt x="214" y="311"/>
                  </a:lnTo>
                  <a:lnTo>
                    <a:pt x="213" y="309"/>
                  </a:lnTo>
                  <a:lnTo>
                    <a:pt x="211" y="308"/>
                  </a:lnTo>
                  <a:lnTo>
                    <a:pt x="211" y="306"/>
                  </a:lnTo>
                  <a:lnTo>
                    <a:pt x="211" y="304"/>
                  </a:lnTo>
                  <a:lnTo>
                    <a:pt x="211" y="303"/>
                  </a:lnTo>
                  <a:lnTo>
                    <a:pt x="211" y="301"/>
                  </a:lnTo>
                  <a:lnTo>
                    <a:pt x="213" y="299"/>
                  </a:lnTo>
                  <a:lnTo>
                    <a:pt x="213" y="298"/>
                  </a:lnTo>
                  <a:lnTo>
                    <a:pt x="214" y="299"/>
                  </a:lnTo>
                  <a:lnTo>
                    <a:pt x="214" y="298"/>
                  </a:lnTo>
                  <a:lnTo>
                    <a:pt x="213" y="298"/>
                  </a:lnTo>
                  <a:lnTo>
                    <a:pt x="211" y="298"/>
                  </a:lnTo>
                  <a:lnTo>
                    <a:pt x="209" y="298"/>
                  </a:lnTo>
                  <a:lnTo>
                    <a:pt x="208" y="296"/>
                  </a:lnTo>
                  <a:lnTo>
                    <a:pt x="208" y="295"/>
                  </a:lnTo>
                  <a:lnTo>
                    <a:pt x="208" y="293"/>
                  </a:lnTo>
                  <a:lnTo>
                    <a:pt x="206" y="293"/>
                  </a:lnTo>
                  <a:lnTo>
                    <a:pt x="208" y="293"/>
                  </a:lnTo>
                  <a:lnTo>
                    <a:pt x="206" y="295"/>
                  </a:lnTo>
                  <a:lnTo>
                    <a:pt x="206" y="296"/>
                  </a:lnTo>
                  <a:lnTo>
                    <a:pt x="206" y="298"/>
                  </a:lnTo>
                  <a:lnTo>
                    <a:pt x="206" y="296"/>
                  </a:lnTo>
                  <a:lnTo>
                    <a:pt x="206" y="298"/>
                  </a:lnTo>
                  <a:lnTo>
                    <a:pt x="206" y="299"/>
                  </a:lnTo>
                  <a:lnTo>
                    <a:pt x="206" y="301"/>
                  </a:lnTo>
                  <a:lnTo>
                    <a:pt x="206" y="303"/>
                  </a:lnTo>
                  <a:lnTo>
                    <a:pt x="208" y="304"/>
                  </a:lnTo>
                  <a:lnTo>
                    <a:pt x="208" y="306"/>
                  </a:lnTo>
                  <a:lnTo>
                    <a:pt x="209" y="308"/>
                  </a:lnTo>
                  <a:lnTo>
                    <a:pt x="208" y="308"/>
                  </a:lnTo>
                  <a:lnTo>
                    <a:pt x="208" y="309"/>
                  </a:lnTo>
                  <a:lnTo>
                    <a:pt x="208" y="311"/>
                  </a:lnTo>
                  <a:lnTo>
                    <a:pt x="208" y="309"/>
                  </a:lnTo>
                  <a:lnTo>
                    <a:pt x="206" y="309"/>
                  </a:lnTo>
                  <a:lnTo>
                    <a:pt x="205" y="308"/>
                  </a:lnTo>
                  <a:lnTo>
                    <a:pt x="205" y="306"/>
                  </a:lnTo>
                  <a:lnTo>
                    <a:pt x="205" y="304"/>
                  </a:lnTo>
                  <a:lnTo>
                    <a:pt x="203" y="303"/>
                  </a:lnTo>
                  <a:lnTo>
                    <a:pt x="203" y="304"/>
                  </a:lnTo>
                  <a:lnTo>
                    <a:pt x="205" y="306"/>
                  </a:lnTo>
                  <a:lnTo>
                    <a:pt x="205" y="308"/>
                  </a:lnTo>
                  <a:lnTo>
                    <a:pt x="205" y="309"/>
                  </a:lnTo>
                  <a:lnTo>
                    <a:pt x="203" y="308"/>
                  </a:lnTo>
                  <a:lnTo>
                    <a:pt x="203" y="309"/>
                  </a:lnTo>
                  <a:lnTo>
                    <a:pt x="203" y="308"/>
                  </a:lnTo>
                  <a:lnTo>
                    <a:pt x="201" y="308"/>
                  </a:lnTo>
                  <a:lnTo>
                    <a:pt x="201" y="306"/>
                  </a:lnTo>
                  <a:lnTo>
                    <a:pt x="201" y="304"/>
                  </a:lnTo>
                  <a:lnTo>
                    <a:pt x="201" y="303"/>
                  </a:lnTo>
                  <a:lnTo>
                    <a:pt x="200" y="303"/>
                  </a:lnTo>
                  <a:lnTo>
                    <a:pt x="200" y="301"/>
                  </a:lnTo>
                  <a:lnTo>
                    <a:pt x="201" y="301"/>
                  </a:lnTo>
                  <a:lnTo>
                    <a:pt x="203" y="301"/>
                  </a:lnTo>
                  <a:lnTo>
                    <a:pt x="201" y="301"/>
                  </a:lnTo>
                  <a:lnTo>
                    <a:pt x="200" y="301"/>
                  </a:lnTo>
                  <a:lnTo>
                    <a:pt x="200" y="299"/>
                  </a:lnTo>
                  <a:lnTo>
                    <a:pt x="200" y="298"/>
                  </a:lnTo>
                  <a:lnTo>
                    <a:pt x="198" y="298"/>
                  </a:lnTo>
                  <a:lnTo>
                    <a:pt x="198" y="296"/>
                  </a:lnTo>
                  <a:lnTo>
                    <a:pt x="198" y="295"/>
                  </a:lnTo>
                  <a:lnTo>
                    <a:pt x="198" y="293"/>
                  </a:lnTo>
                  <a:lnTo>
                    <a:pt x="198" y="291"/>
                  </a:lnTo>
                  <a:lnTo>
                    <a:pt x="196" y="291"/>
                  </a:lnTo>
                  <a:lnTo>
                    <a:pt x="196" y="290"/>
                  </a:lnTo>
                  <a:lnTo>
                    <a:pt x="196" y="288"/>
                  </a:lnTo>
                  <a:lnTo>
                    <a:pt x="195" y="288"/>
                  </a:lnTo>
                  <a:lnTo>
                    <a:pt x="196" y="288"/>
                  </a:lnTo>
                  <a:lnTo>
                    <a:pt x="195" y="286"/>
                  </a:lnTo>
                  <a:lnTo>
                    <a:pt x="195" y="285"/>
                  </a:lnTo>
                  <a:lnTo>
                    <a:pt x="193" y="285"/>
                  </a:lnTo>
                  <a:lnTo>
                    <a:pt x="193" y="283"/>
                  </a:lnTo>
                  <a:lnTo>
                    <a:pt x="193" y="282"/>
                  </a:lnTo>
                  <a:lnTo>
                    <a:pt x="195" y="280"/>
                  </a:lnTo>
                  <a:lnTo>
                    <a:pt x="196" y="277"/>
                  </a:lnTo>
                  <a:lnTo>
                    <a:pt x="196" y="275"/>
                  </a:lnTo>
                  <a:lnTo>
                    <a:pt x="198" y="273"/>
                  </a:lnTo>
                  <a:lnTo>
                    <a:pt x="198" y="272"/>
                  </a:lnTo>
                  <a:lnTo>
                    <a:pt x="200" y="270"/>
                  </a:lnTo>
                  <a:lnTo>
                    <a:pt x="200" y="268"/>
                  </a:lnTo>
                  <a:lnTo>
                    <a:pt x="201" y="267"/>
                  </a:lnTo>
                  <a:lnTo>
                    <a:pt x="201" y="265"/>
                  </a:lnTo>
                  <a:lnTo>
                    <a:pt x="203" y="265"/>
                  </a:lnTo>
                  <a:lnTo>
                    <a:pt x="203" y="264"/>
                  </a:lnTo>
                  <a:lnTo>
                    <a:pt x="205" y="264"/>
                  </a:lnTo>
                  <a:lnTo>
                    <a:pt x="205" y="262"/>
                  </a:lnTo>
                  <a:lnTo>
                    <a:pt x="205" y="260"/>
                  </a:lnTo>
                  <a:lnTo>
                    <a:pt x="206" y="260"/>
                  </a:lnTo>
                  <a:lnTo>
                    <a:pt x="208" y="262"/>
                  </a:lnTo>
                  <a:lnTo>
                    <a:pt x="209" y="264"/>
                  </a:lnTo>
                  <a:lnTo>
                    <a:pt x="209" y="262"/>
                  </a:lnTo>
                  <a:lnTo>
                    <a:pt x="209" y="260"/>
                  </a:lnTo>
                  <a:lnTo>
                    <a:pt x="208" y="259"/>
                  </a:lnTo>
                  <a:lnTo>
                    <a:pt x="208" y="257"/>
                  </a:lnTo>
                  <a:lnTo>
                    <a:pt x="206" y="255"/>
                  </a:lnTo>
                  <a:lnTo>
                    <a:pt x="205" y="255"/>
                  </a:lnTo>
                  <a:lnTo>
                    <a:pt x="205" y="257"/>
                  </a:lnTo>
                  <a:lnTo>
                    <a:pt x="203" y="259"/>
                  </a:lnTo>
                  <a:lnTo>
                    <a:pt x="203" y="260"/>
                  </a:lnTo>
                  <a:lnTo>
                    <a:pt x="201" y="260"/>
                  </a:lnTo>
                  <a:lnTo>
                    <a:pt x="200" y="262"/>
                  </a:lnTo>
                  <a:lnTo>
                    <a:pt x="200" y="264"/>
                  </a:lnTo>
                  <a:lnTo>
                    <a:pt x="198" y="265"/>
                  </a:lnTo>
                  <a:lnTo>
                    <a:pt x="196" y="265"/>
                  </a:lnTo>
                  <a:lnTo>
                    <a:pt x="196" y="267"/>
                  </a:lnTo>
                  <a:lnTo>
                    <a:pt x="198" y="267"/>
                  </a:lnTo>
                  <a:lnTo>
                    <a:pt x="196" y="268"/>
                  </a:lnTo>
                  <a:lnTo>
                    <a:pt x="196" y="270"/>
                  </a:lnTo>
                  <a:lnTo>
                    <a:pt x="196" y="272"/>
                  </a:lnTo>
                  <a:lnTo>
                    <a:pt x="196" y="273"/>
                  </a:lnTo>
                  <a:lnTo>
                    <a:pt x="195" y="273"/>
                  </a:lnTo>
                  <a:lnTo>
                    <a:pt x="195" y="275"/>
                  </a:lnTo>
                  <a:lnTo>
                    <a:pt x="195" y="277"/>
                  </a:lnTo>
                  <a:lnTo>
                    <a:pt x="193" y="277"/>
                  </a:lnTo>
                  <a:lnTo>
                    <a:pt x="192" y="278"/>
                  </a:lnTo>
                  <a:lnTo>
                    <a:pt x="190" y="277"/>
                  </a:lnTo>
                  <a:lnTo>
                    <a:pt x="190" y="273"/>
                  </a:lnTo>
                  <a:lnTo>
                    <a:pt x="188" y="273"/>
                  </a:lnTo>
                  <a:lnTo>
                    <a:pt x="187" y="272"/>
                  </a:lnTo>
                  <a:lnTo>
                    <a:pt x="187" y="270"/>
                  </a:lnTo>
                  <a:lnTo>
                    <a:pt x="187" y="268"/>
                  </a:lnTo>
                  <a:lnTo>
                    <a:pt x="185" y="267"/>
                  </a:lnTo>
                  <a:lnTo>
                    <a:pt x="183" y="267"/>
                  </a:lnTo>
                  <a:lnTo>
                    <a:pt x="183" y="265"/>
                  </a:lnTo>
                  <a:lnTo>
                    <a:pt x="183" y="264"/>
                  </a:lnTo>
                  <a:lnTo>
                    <a:pt x="183" y="262"/>
                  </a:lnTo>
                  <a:lnTo>
                    <a:pt x="182" y="260"/>
                  </a:lnTo>
                  <a:lnTo>
                    <a:pt x="182" y="259"/>
                  </a:lnTo>
                  <a:lnTo>
                    <a:pt x="182" y="257"/>
                  </a:lnTo>
                  <a:lnTo>
                    <a:pt x="180" y="257"/>
                  </a:lnTo>
                  <a:lnTo>
                    <a:pt x="179" y="257"/>
                  </a:lnTo>
                  <a:lnTo>
                    <a:pt x="177" y="255"/>
                  </a:lnTo>
                  <a:lnTo>
                    <a:pt x="177" y="254"/>
                  </a:lnTo>
                  <a:lnTo>
                    <a:pt x="175" y="252"/>
                  </a:lnTo>
                  <a:lnTo>
                    <a:pt x="175" y="251"/>
                  </a:lnTo>
                  <a:lnTo>
                    <a:pt x="177" y="251"/>
                  </a:lnTo>
                  <a:lnTo>
                    <a:pt x="177" y="249"/>
                  </a:lnTo>
                  <a:lnTo>
                    <a:pt x="175" y="249"/>
                  </a:lnTo>
                  <a:lnTo>
                    <a:pt x="175" y="251"/>
                  </a:lnTo>
                  <a:lnTo>
                    <a:pt x="174" y="249"/>
                  </a:lnTo>
                  <a:lnTo>
                    <a:pt x="175" y="247"/>
                  </a:lnTo>
                  <a:lnTo>
                    <a:pt x="175" y="246"/>
                  </a:lnTo>
                  <a:lnTo>
                    <a:pt x="177" y="246"/>
                  </a:lnTo>
                  <a:lnTo>
                    <a:pt x="177" y="242"/>
                  </a:lnTo>
                  <a:lnTo>
                    <a:pt x="175" y="241"/>
                  </a:lnTo>
                  <a:lnTo>
                    <a:pt x="174" y="241"/>
                  </a:lnTo>
                  <a:lnTo>
                    <a:pt x="174" y="242"/>
                  </a:lnTo>
                  <a:lnTo>
                    <a:pt x="175" y="242"/>
                  </a:lnTo>
                  <a:lnTo>
                    <a:pt x="174" y="244"/>
                  </a:lnTo>
                  <a:lnTo>
                    <a:pt x="175" y="244"/>
                  </a:lnTo>
                  <a:lnTo>
                    <a:pt x="174" y="246"/>
                  </a:lnTo>
                  <a:lnTo>
                    <a:pt x="174" y="247"/>
                  </a:lnTo>
                  <a:lnTo>
                    <a:pt x="172" y="247"/>
                  </a:lnTo>
                  <a:lnTo>
                    <a:pt x="172" y="246"/>
                  </a:lnTo>
                  <a:lnTo>
                    <a:pt x="172" y="244"/>
                  </a:lnTo>
                  <a:lnTo>
                    <a:pt x="170" y="244"/>
                  </a:lnTo>
                  <a:lnTo>
                    <a:pt x="170" y="246"/>
                  </a:lnTo>
                  <a:lnTo>
                    <a:pt x="169" y="247"/>
                  </a:lnTo>
                  <a:lnTo>
                    <a:pt x="170" y="247"/>
                  </a:lnTo>
                  <a:lnTo>
                    <a:pt x="172" y="247"/>
                  </a:lnTo>
                  <a:lnTo>
                    <a:pt x="172" y="249"/>
                  </a:lnTo>
                  <a:lnTo>
                    <a:pt x="172" y="251"/>
                  </a:lnTo>
                  <a:lnTo>
                    <a:pt x="174" y="251"/>
                  </a:lnTo>
                  <a:lnTo>
                    <a:pt x="174" y="252"/>
                  </a:lnTo>
                  <a:lnTo>
                    <a:pt x="174" y="254"/>
                  </a:lnTo>
                  <a:lnTo>
                    <a:pt x="175" y="254"/>
                  </a:lnTo>
                  <a:lnTo>
                    <a:pt x="175" y="255"/>
                  </a:lnTo>
                  <a:lnTo>
                    <a:pt x="177" y="257"/>
                  </a:lnTo>
                  <a:lnTo>
                    <a:pt x="177" y="259"/>
                  </a:lnTo>
                  <a:lnTo>
                    <a:pt x="179" y="259"/>
                  </a:lnTo>
                  <a:lnTo>
                    <a:pt x="179" y="260"/>
                  </a:lnTo>
                  <a:lnTo>
                    <a:pt x="180" y="262"/>
                  </a:lnTo>
                  <a:lnTo>
                    <a:pt x="179" y="262"/>
                  </a:lnTo>
                  <a:lnTo>
                    <a:pt x="180" y="264"/>
                  </a:lnTo>
                  <a:lnTo>
                    <a:pt x="180" y="265"/>
                  </a:lnTo>
                  <a:lnTo>
                    <a:pt x="180" y="267"/>
                  </a:lnTo>
                  <a:lnTo>
                    <a:pt x="179" y="267"/>
                  </a:lnTo>
                  <a:lnTo>
                    <a:pt x="177" y="267"/>
                  </a:lnTo>
                  <a:lnTo>
                    <a:pt x="175" y="268"/>
                  </a:lnTo>
                  <a:lnTo>
                    <a:pt x="177" y="268"/>
                  </a:lnTo>
                  <a:lnTo>
                    <a:pt x="179" y="268"/>
                  </a:lnTo>
                  <a:lnTo>
                    <a:pt x="180" y="267"/>
                  </a:lnTo>
                  <a:lnTo>
                    <a:pt x="182" y="268"/>
                  </a:lnTo>
                  <a:lnTo>
                    <a:pt x="182" y="270"/>
                  </a:lnTo>
                  <a:lnTo>
                    <a:pt x="180" y="270"/>
                  </a:lnTo>
                  <a:lnTo>
                    <a:pt x="179" y="273"/>
                  </a:lnTo>
                  <a:lnTo>
                    <a:pt x="179" y="275"/>
                  </a:lnTo>
                  <a:lnTo>
                    <a:pt x="177" y="277"/>
                  </a:lnTo>
                  <a:lnTo>
                    <a:pt x="177" y="278"/>
                  </a:lnTo>
                  <a:lnTo>
                    <a:pt x="175" y="278"/>
                  </a:lnTo>
                  <a:lnTo>
                    <a:pt x="174" y="278"/>
                  </a:lnTo>
                  <a:lnTo>
                    <a:pt x="174" y="277"/>
                  </a:lnTo>
                  <a:lnTo>
                    <a:pt x="172" y="278"/>
                  </a:lnTo>
                  <a:lnTo>
                    <a:pt x="174" y="278"/>
                  </a:lnTo>
                  <a:lnTo>
                    <a:pt x="172" y="280"/>
                  </a:lnTo>
                  <a:lnTo>
                    <a:pt x="174" y="280"/>
                  </a:lnTo>
                  <a:lnTo>
                    <a:pt x="175" y="282"/>
                  </a:lnTo>
                  <a:lnTo>
                    <a:pt x="177" y="280"/>
                  </a:lnTo>
                  <a:lnTo>
                    <a:pt x="177" y="278"/>
                  </a:lnTo>
                  <a:lnTo>
                    <a:pt x="179" y="277"/>
                  </a:lnTo>
                  <a:lnTo>
                    <a:pt x="180" y="275"/>
                  </a:lnTo>
                  <a:lnTo>
                    <a:pt x="180" y="273"/>
                  </a:lnTo>
                  <a:lnTo>
                    <a:pt x="182" y="272"/>
                  </a:lnTo>
                  <a:lnTo>
                    <a:pt x="183" y="273"/>
                  </a:lnTo>
                  <a:lnTo>
                    <a:pt x="183" y="275"/>
                  </a:lnTo>
                  <a:lnTo>
                    <a:pt x="185" y="275"/>
                  </a:lnTo>
                  <a:lnTo>
                    <a:pt x="185" y="277"/>
                  </a:lnTo>
                  <a:lnTo>
                    <a:pt x="185" y="278"/>
                  </a:lnTo>
                  <a:lnTo>
                    <a:pt x="187" y="278"/>
                  </a:lnTo>
                  <a:lnTo>
                    <a:pt x="188" y="282"/>
                  </a:lnTo>
                  <a:lnTo>
                    <a:pt x="187" y="282"/>
                  </a:lnTo>
                  <a:lnTo>
                    <a:pt x="185" y="282"/>
                  </a:lnTo>
                  <a:lnTo>
                    <a:pt x="183" y="282"/>
                  </a:lnTo>
                  <a:lnTo>
                    <a:pt x="185" y="282"/>
                  </a:lnTo>
                  <a:lnTo>
                    <a:pt x="185" y="283"/>
                  </a:lnTo>
                  <a:lnTo>
                    <a:pt x="187" y="283"/>
                  </a:lnTo>
                  <a:lnTo>
                    <a:pt x="188" y="283"/>
                  </a:lnTo>
                  <a:lnTo>
                    <a:pt x="190" y="283"/>
                  </a:lnTo>
                  <a:lnTo>
                    <a:pt x="190" y="285"/>
                  </a:lnTo>
                  <a:lnTo>
                    <a:pt x="190" y="286"/>
                  </a:lnTo>
                  <a:lnTo>
                    <a:pt x="192" y="288"/>
                  </a:lnTo>
                  <a:lnTo>
                    <a:pt x="192" y="291"/>
                  </a:lnTo>
                  <a:lnTo>
                    <a:pt x="193" y="291"/>
                  </a:lnTo>
                  <a:lnTo>
                    <a:pt x="193" y="293"/>
                  </a:lnTo>
                  <a:lnTo>
                    <a:pt x="193" y="295"/>
                  </a:lnTo>
                  <a:lnTo>
                    <a:pt x="195" y="295"/>
                  </a:lnTo>
                  <a:lnTo>
                    <a:pt x="195" y="296"/>
                  </a:lnTo>
                  <a:lnTo>
                    <a:pt x="195" y="298"/>
                  </a:lnTo>
                  <a:lnTo>
                    <a:pt x="193" y="298"/>
                  </a:lnTo>
                  <a:lnTo>
                    <a:pt x="193" y="299"/>
                  </a:lnTo>
                  <a:lnTo>
                    <a:pt x="195" y="299"/>
                  </a:lnTo>
                  <a:lnTo>
                    <a:pt x="195" y="301"/>
                  </a:lnTo>
                  <a:lnTo>
                    <a:pt x="193" y="301"/>
                  </a:lnTo>
                  <a:lnTo>
                    <a:pt x="193" y="303"/>
                  </a:lnTo>
                  <a:lnTo>
                    <a:pt x="192" y="303"/>
                  </a:lnTo>
                  <a:lnTo>
                    <a:pt x="193" y="303"/>
                  </a:lnTo>
                  <a:lnTo>
                    <a:pt x="195" y="299"/>
                  </a:lnTo>
                  <a:lnTo>
                    <a:pt x="196" y="299"/>
                  </a:lnTo>
                  <a:lnTo>
                    <a:pt x="196" y="301"/>
                  </a:lnTo>
                  <a:lnTo>
                    <a:pt x="196" y="303"/>
                  </a:lnTo>
                  <a:lnTo>
                    <a:pt x="196" y="304"/>
                  </a:lnTo>
                  <a:lnTo>
                    <a:pt x="195" y="304"/>
                  </a:lnTo>
                  <a:lnTo>
                    <a:pt x="196" y="304"/>
                  </a:lnTo>
                  <a:lnTo>
                    <a:pt x="196" y="306"/>
                  </a:lnTo>
                  <a:lnTo>
                    <a:pt x="198" y="306"/>
                  </a:lnTo>
                  <a:lnTo>
                    <a:pt x="198" y="308"/>
                  </a:lnTo>
                  <a:lnTo>
                    <a:pt x="196" y="309"/>
                  </a:lnTo>
                  <a:lnTo>
                    <a:pt x="195" y="309"/>
                  </a:lnTo>
                  <a:lnTo>
                    <a:pt x="195" y="308"/>
                  </a:lnTo>
                  <a:lnTo>
                    <a:pt x="193" y="308"/>
                  </a:lnTo>
                  <a:lnTo>
                    <a:pt x="192" y="308"/>
                  </a:lnTo>
                  <a:lnTo>
                    <a:pt x="190" y="308"/>
                  </a:lnTo>
                  <a:lnTo>
                    <a:pt x="190" y="306"/>
                  </a:lnTo>
                  <a:lnTo>
                    <a:pt x="192" y="306"/>
                  </a:lnTo>
                  <a:lnTo>
                    <a:pt x="193" y="308"/>
                  </a:lnTo>
                  <a:lnTo>
                    <a:pt x="195" y="308"/>
                  </a:lnTo>
                  <a:lnTo>
                    <a:pt x="196" y="306"/>
                  </a:lnTo>
                  <a:lnTo>
                    <a:pt x="195" y="304"/>
                  </a:lnTo>
                  <a:lnTo>
                    <a:pt x="195" y="306"/>
                  </a:lnTo>
                  <a:lnTo>
                    <a:pt x="196" y="306"/>
                  </a:lnTo>
                  <a:lnTo>
                    <a:pt x="195" y="308"/>
                  </a:lnTo>
                  <a:lnTo>
                    <a:pt x="193" y="306"/>
                  </a:lnTo>
                  <a:lnTo>
                    <a:pt x="193" y="304"/>
                  </a:lnTo>
                  <a:lnTo>
                    <a:pt x="192" y="304"/>
                  </a:lnTo>
                  <a:lnTo>
                    <a:pt x="190" y="304"/>
                  </a:lnTo>
                  <a:lnTo>
                    <a:pt x="190" y="306"/>
                  </a:lnTo>
                  <a:lnTo>
                    <a:pt x="188" y="304"/>
                  </a:lnTo>
                  <a:lnTo>
                    <a:pt x="187" y="304"/>
                  </a:lnTo>
                  <a:lnTo>
                    <a:pt x="185" y="304"/>
                  </a:lnTo>
                  <a:lnTo>
                    <a:pt x="185" y="303"/>
                  </a:lnTo>
                  <a:lnTo>
                    <a:pt x="183" y="303"/>
                  </a:lnTo>
                  <a:lnTo>
                    <a:pt x="182" y="301"/>
                  </a:lnTo>
                  <a:lnTo>
                    <a:pt x="182" y="299"/>
                  </a:lnTo>
                  <a:lnTo>
                    <a:pt x="180" y="301"/>
                  </a:lnTo>
                  <a:lnTo>
                    <a:pt x="182" y="301"/>
                  </a:lnTo>
                  <a:lnTo>
                    <a:pt x="182" y="303"/>
                  </a:lnTo>
                  <a:lnTo>
                    <a:pt x="182" y="304"/>
                  </a:lnTo>
                  <a:lnTo>
                    <a:pt x="182" y="306"/>
                  </a:lnTo>
                  <a:lnTo>
                    <a:pt x="180" y="306"/>
                  </a:lnTo>
                  <a:lnTo>
                    <a:pt x="177" y="304"/>
                  </a:lnTo>
                  <a:lnTo>
                    <a:pt x="175" y="306"/>
                  </a:lnTo>
                  <a:lnTo>
                    <a:pt x="175" y="304"/>
                  </a:lnTo>
                  <a:lnTo>
                    <a:pt x="174" y="304"/>
                  </a:lnTo>
                  <a:lnTo>
                    <a:pt x="172" y="304"/>
                  </a:lnTo>
                  <a:lnTo>
                    <a:pt x="170" y="304"/>
                  </a:lnTo>
                  <a:lnTo>
                    <a:pt x="169" y="304"/>
                  </a:lnTo>
                  <a:lnTo>
                    <a:pt x="167" y="304"/>
                  </a:lnTo>
                  <a:lnTo>
                    <a:pt x="167" y="306"/>
                  </a:lnTo>
                  <a:lnTo>
                    <a:pt x="169" y="306"/>
                  </a:lnTo>
                  <a:lnTo>
                    <a:pt x="170" y="306"/>
                  </a:lnTo>
                  <a:lnTo>
                    <a:pt x="172" y="306"/>
                  </a:lnTo>
                  <a:lnTo>
                    <a:pt x="174" y="306"/>
                  </a:lnTo>
                  <a:lnTo>
                    <a:pt x="174" y="308"/>
                  </a:lnTo>
                  <a:lnTo>
                    <a:pt x="175" y="308"/>
                  </a:lnTo>
                  <a:lnTo>
                    <a:pt x="177" y="308"/>
                  </a:lnTo>
                  <a:lnTo>
                    <a:pt x="179" y="308"/>
                  </a:lnTo>
                  <a:lnTo>
                    <a:pt x="180" y="308"/>
                  </a:lnTo>
                  <a:lnTo>
                    <a:pt x="182" y="308"/>
                  </a:lnTo>
                  <a:lnTo>
                    <a:pt x="183" y="308"/>
                  </a:lnTo>
                  <a:lnTo>
                    <a:pt x="182" y="309"/>
                  </a:lnTo>
                  <a:lnTo>
                    <a:pt x="182" y="311"/>
                  </a:lnTo>
                  <a:lnTo>
                    <a:pt x="182" y="312"/>
                  </a:lnTo>
                  <a:lnTo>
                    <a:pt x="182" y="314"/>
                  </a:lnTo>
                  <a:lnTo>
                    <a:pt x="182" y="316"/>
                  </a:lnTo>
                  <a:lnTo>
                    <a:pt x="182" y="314"/>
                  </a:lnTo>
                  <a:lnTo>
                    <a:pt x="183" y="312"/>
                  </a:lnTo>
                  <a:lnTo>
                    <a:pt x="182" y="311"/>
                  </a:lnTo>
                  <a:lnTo>
                    <a:pt x="183" y="311"/>
                  </a:lnTo>
                  <a:lnTo>
                    <a:pt x="185" y="311"/>
                  </a:lnTo>
                  <a:lnTo>
                    <a:pt x="187" y="311"/>
                  </a:lnTo>
                  <a:lnTo>
                    <a:pt x="187" y="312"/>
                  </a:lnTo>
                  <a:lnTo>
                    <a:pt x="187" y="314"/>
                  </a:lnTo>
                  <a:lnTo>
                    <a:pt x="185" y="314"/>
                  </a:lnTo>
                  <a:lnTo>
                    <a:pt x="183" y="317"/>
                  </a:lnTo>
                  <a:lnTo>
                    <a:pt x="185" y="317"/>
                  </a:lnTo>
                  <a:lnTo>
                    <a:pt x="185" y="316"/>
                  </a:lnTo>
                  <a:lnTo>
                    <a:pt x="187" y="314"/>
                  </a:lnTo>
                  <a:lnTo>
                    <a:pt x="188" y="314"/>
                  </a:lnTo>
                  <a:lnTo>
                    <a:pt x="188" y="316"/>
                  </a:lnTo>
                  <a:lnTo>
                    <a:pt x="187" y="316"/>
                  </a:lnTo>
                  <a:lnTo>
                    <a:pt x="188" y="316"/>
                  </a:lnTo>
                  <a:lnTo>
                    <a:pt x="188" y="317"/>
                  </a:lnTo>
                  <a:lnTo>
                    <a:pt x="188" y="319"/>
                  </a:lnTo>
                  <a:lnTo>
                    <a:pt x="190" y="319"/>
                  </a:lnTo>
                  <a:lnTo>
                    <a:pt x="190" y="321"/>
                  </a:lnTo>
                  <a:lnTo>
                    <a:pt x="188" y="321"/>
                  </a:lnTo>
                  <a:lnTo>
                    <a:pt x="190" y="322"/>
                  </a:lnTo>
                  <a:lnTo>
                    <a:pt x="192" y="324"/>
                  </a:lnTo>
                  <a:lnTo>
                    <a:pt x="190" y="324"/>
                  </a:lnTo>
                  <a:lnTo>
                    <a:pt x="188" y="324"/>
                  </a:lnTo>
                  <a:lnTo>
                    <a:pt x="188" y="325"/>
                  </a:lnTo>
                  <a:lnTo>
                    <a:pt x="188" y="327"/>
                  </a:lnTo>
                  <a:lnTo>
                    <a:pt x="188" y="325"/>
                  </a:lnTo>
                  <a:lnTo>
                    <a:pt x="190" y="325"/>
                  </a:lnTo>
                  <a:lnTo>
                    <a:pt x="192" y="325"/>
                  </a:lnTo>
                  <a:lnTo>
                    <a:pt x="193" y="325"/>
                  </a:lnTo>
                  <a:lnTo>
                    <a:pt x="193" y="327"/>
                  </a:lnTo>
                  <a:lnTo>
                    <a:pt x="193" y="329"/>
                  </a:lnTo>
                  <a:lnTo>
                    <a:pt x="192" y="329"/>
                  </a:lnTo>
                  <a:lnTo>
                    <a:pt x="193" y="329"/>
                  </a:lnTo>
                  <a:lnTo>
                    <a:pt x="193" y="330"/>
                  </a:lnTo>
                  <a:lnTo>
                    <a:pt x="192" y="330"/>
                  </a:lnTo>
                  <a:lnTo>
                    <a:pt x="192" y="329"/>
                  </a:lnTo>
                  <a:lnTo>
                    <a:pt x="190" y="330"/>
                  </a:lnTo>
                  <a:lnTo>
                    <a:pt x="190" y="332"/>
                  </a:lnTo>
                  <a:lnTo>
                    <a:pt x="188" y="332"/>
                  </a:lnTo>
                  <a:lnTo>
                    <a:pt x="188" y="330"/>
                  </a:lnTo>
                  <a:lnTo>
                    <a:pt x="188" y="332"/>
                  </a:lnTo>
                  <a:lnTo>
                    <a:pt x="187" y="332"/>
                  </a:lnTo>
                  <a:lnTo>
                    <a:pt x="187" y="330"/>
                  </a:lnTo>
                  <a:lnTo>
                    <a:pt x="185" y="329"/>
                  </a:lnTo>
                  <a:lnTo>
                    <a:pt x="185" y="330"/>
                  </a:lnTo>
                  <a:lnTo>
                    <a:pt x="183" y="329"/>
                  </a:lnTo>
                  <a:lnTo>
                    <a:pt x="183" y="330"/>
                  </a:lnTo>
                  <a:lnTo>
                    <a:pt x="185" y="330"/>
                  </a:lnTo>
                  <a:lnTo>
                    <a:pt x="187" y="330"/>
                  </a:lnTo>
                  <a:lnTo>
                    <a:pt x="187" y="332"/>
                  </a:lnTo>
                  <a:lnTo>
                    <a:pt x="187" y="334"/>
                  </a:lnTo>
                  <a:lnTo>
                    <a:pt x="188" y="334"/>
                  </a:lnTo>
                  <a:lnTo>
                    <a:pt x="188" y="335"/>
                  </a:lnTo>
                  <a:lnTo>
                    <a:pt x="188" y="337"/>
                  </a:lnTo>
                  <a:lnTo>
                    <a:pt x="187" y="335"/>
                  </a:lnTo>
                  <a:lnTo>
                    <a:pt x="187" y="337"/>
                  </a:lnTo>
                  <a:lnTo>
                    <a:pt x="187" y="335"/>
                  </a:lnTo>
                  <a:lnTo>
                    <a:pt x="185" y="335"/>
                  </a:lnTo>
                  <a:lnTo>
                    <a:pt x="185" y="337"/>
                  </a:lnTo>
                  <a:lnTo>
                    <a:pt x="183" y="337"/>
                  </a:lnTo>
                  <a:lnTo>
                    <a:pt x="183" y="335"/>
                  </a:lnTo>
                  <a:lnTo>
                    <a:pt x="185" y="335"/>
                  </a:lnTo>
                  <a:lnTo>
                    <a:pt x="185" y="334"/>
                  </a:lnTo>
                  <a:lnTo>
                    <a:pt x="183" y="334"/>
                  </a:lnTo>
                  <a:lnTo>
                    <a:pt x="182" y="334"/>
                  </a:lnTo>
                  <a:lnTo>
                    <a:pt x="182" y="332"/>
                  </a:lnTo>
                  <a:lnTo>
                    <a:pt x="182" y="330"/>
                  </a:lnTo>
                  <a:lnTo>
                    <a:pt x="180" y="330"/>
                  </a:lnTo>
                  <a:lnTo>
                    <a:pt x="182" y="329"/>
                  </a:lnTo>
                  <a:lnTo>
                    <a:pt x="180" y="329"/>
                  </a:lnTo>
                  <a:lnTo>
                    <a:pt x="179" y="329"/>
                  </a:lnTo>
                  <a:lnTo>
                    <a:pt x="177" y="330"/>
                  </a:lnTo>
                  <a:lnTo>
                    <a:pt x="177" y="329"/>
                  </a:lnTo>
                  <a:lnTo>
                    <a:pt x="177" y="330"/>
                  </a:lnTo>
                  <a:lnTo>
                    <a:pt x="175" y="330"/>
                  </a:lnTo>
                  <a:lnTo>
                    <a:pt x="174" y="329"/>
                  </a:lnTo>
                  <a:lnTo>
                    <a:pt x="174" y="327"/>
                  </a:lnTo>
                  <a:lnTo>
                    <a:pt x="172" y="327"/>
                  </a:lnTo>
                  <a:lnTo>
                    <a:pt x="172" y="329"/>
                  </a:lnTo>
                  <a:lnTo>
                    <a:pt x="174" y="329"/>
                  </a:lnTo>
                  <a:lnTo>
                    <a:pt x="174" y="330"/>
                  </a:lnTo>
                  <a:lnTo>
                    <a:pt x="175" y="332"/>
                  </a:lnTo>
                  <a:lnTo>
                    <a:pt x="175" y="334"/>
                  </a:lnTo>
                  <a:lnTo>
                    <a:pt x="175" y="335"/>
                  </a:lnTo>
                  <a:lnTo>
                    <a:pt x="174" y="337"/>
                  </a:lnTo>
                  <a:lnTo>
                    <a:pt x="174" y="338"/>
                  </a:lnTo>
                  <a:lnTo>
                    <a:pt x="172" y="338"/>
                  </a:lnTo>
                  <a:lnTo>
                    <a:pt x="174" y="340"/>
                  </a:lnTo>
                  <a:lnTo>
                    <a:pt x="172" y="340"/>
                  </a:lnTo>
                  <a:lnTo>
                    <a:pt x="170" y="342"/>
                  </a:lnTo>
                  <a:lnTo>
                    <a:pt x="170" y="343"/>
                  </a:lnTo>
                  <a:lnTo>
                    <a:pt x="169" y="342"/>
                  </a:lnTo>
                  <a:lnTo>
                    <a:pt x="169" y="343"/>
                  </a:lnTo>
                  <a:lnTo>
                    <a:pt x="169" y="345"/>
                  </a:lnTo>
                  <a:lnTo>
                    <a:pt x="170" y="345"/>
                  </a:lnTo>
                  <a:lnTo>
                    <a:pt x="170" y="347"/>
                  </a:lnTo>
                  <a:lnTo>
                    <a:pt x="170" y="348"/>
                  </a:lnTo>
                  <a:lnTo>
                    <a:pt x="169" y="348"/>
                  </a:lnTo>
                  <a:lnTo>
                    <a:pt x="170" y="348"/>
                  </a:lnTo>
                  <a:lnTo>
                    <a:pt x="170" y="347"/>
                  </a:lnTo>
                  <a:lnTo>
                    <a:pt x="172" y="347"/>
                  </a:lnTo>
                  <a:lnTo>
                    <a:pt x="174" y="348"/>
                  </a:lnTo>
                  <a:lnTo>
                    <a:pt x="172" y="348"/>
                  </a:lnTo>
                  <a:lnTo>
                    <a:pt x="170" y="348"/>
                  </a:lnTo>
                  <a:lnTo>
                    <a:pt x="172" y="348"/>
                  </a:lnTo>
                  <a:lnTo>
                    <a:pt x="172" y="350"/>
                  </a:lnTo>
                  <a:lnTo>
                    <a:pt x="174" y="350"/>
                  </a:lnTo>
                  <a:lnTo>
                    <a:pt x="174" y="351"/>
                  </a:lnTo>
                  <a:lnTo>
                    <a:pt x="172" y="351"/>
                  </a:lnTo>
                  <a:lnTo>
                    <a:pt x="170" y="351"/>
                  </a:lnTo>
                  <a:lnTo>
                    <a:pt x="170" y="353"/>
                  </a:lnTo>
                  <a:lnTo>
                    <a:pt x="169" y="353"/>
                  </a:lnTo>
                  <a:lnTo>
                    <a:pt x="169" y="351"/>
                  </a:lnTo>
                  <a:lnTo>
                    <a:pt x="169" y="350"/>
                  </a:lnTo>
                  <a:lnTo>
                    <a:pt x="169" y="351"/>
                  </a:lnTo>
                  <a:lnTo>
                    <a:pt x="167" y="353"/>
                  </a:lnTo>
                  <a:lnTo>
                    <a:pt x="166" y="351"/>
                  </a:lnTo>
                  <a:lnTo>
                    <a:pt x="166" y="350"/>
                  </a:lnTo>
                  <a:lnTo>
                    <a:pt x="164" y="348"/>
                  </a:lnTo>
                  <a:lnTo>
                    <a:pt x="164" y="347"/>
                  </a:lnTo>
                  <a:lnTo>
                    <a:pt x="162" y="347"/>
                  </a:lnTo>
                  <a:lnTo>
                    <a:pt x="161" y="345"/>
                  </a:lnTo>
                  <a:lnTo>
                    <a:pt x="161" y="343"/>
                  </a:lnTo>
                  <a:lnTo>
                    <a:pt x="159" y="342"/>
                  </a:lnTo>
                  <a:lnTo>
                    <a:pt x="159" y="340"/>
                  </a:lnTo>
                  <a:lnTo>
                    <a:pt x="157" y="340"/>
                  </a:lnTo>
                  <a:lnTo>
                    <a:pt x="157" y="338"/>
                  </a:lnTo>
                  <a:lnTo>
                    <a:pt x="159" y="338"/>
                  </a:lnTo>
                  <a:lnTo>
                    <a:pt x="159" y="337"/>
                  </a:lnTo>
                  <a:lnTo>
                    <a:pt x="157" y="337"/>
                  </a:lnTo>
                  <a:lnTo>
                    <a:pt x="157" y="338"/>
                  </a:lnTo>
                  <a:lnTo>
                    <a:pt x="157" y="337"/>
                  </a:lnTo>
                  <a:lnTo>
                    <a:pt x="156" y="335"/>
                  </a:lnTo>
                  <a:lnTo>
                    <a:pt x="156" y="334"/>
                  </a:lnTo>
                  <a:lnTo>
                    <a:pt x="156" y="332"/>
                  </a:lnTo>
                  <a:lnTo>
                    <a:pt x="156" y="330"/>
                  </a:lnTo>
                  <a:lnTo>
                    <a:pt x="154" y="330"/>
                  </a:lnTo>
                  <a:lnTo>
                    <a:pt x="154" y="329"/>
                  </a:lnTo>
                  <a:lnTo>
                    <a:pt x="153" y="327"/>
                  </a:lnTo>
                  <a:lnTo>
                    <a:pt x="153" y="325"/>
                  </a:lnTo>
                  <a:lnTo>
                    <a:pt x="151" y="324"/>
                  </a:lnTo>
                  <a:lnTo>
                    <a:pt x="149" y="324"/>
                  </a:lnTo>
                  <a:lnTo>
                    <a:pt x="149" y="322"/>
                  </a:lnTo>
                  <a:lnTo>
                    <a:pt x="149" y="321"/>
                  </a:lnTo>
                  <a:lnTo>
                    <a:pt x="151" y="322"/>
                  </a:lnTo>
                  <a:lnTo>
                    <a:pt x="151" y="321"/>
                  </a:lnTo>
                  <a:lnTo>
                    <a:pt x="153" y="319"/>
                  </a:lnTo>
                  <a:lnTo>
                    <a:pt x="153" y="317"/>
                  </a:lnTo>
                  <a:lnTo>
                    <a:pt x="154" y="317"/>
                  </a:lnTo>
                  <a:lnTo>
                    <a:pt x="154" y="316"/>
                  </a:lnTo>
                  <a:lnTo>
                    <a:pt x="153" y="317"/>
                  </a:lnTo>
                  <a:lnTo>
                    <a:pt x="151" y="317"/>
                  </a:lnTo>
                  <a:lnTo>
                    <a:pt x="151" y="319"/>
                  </a:lnTo>
                  <a:lnTo>
                    <a:pt x="149" y="319"/>
                  </a:lnTo>
                  <a:lnTo>
                    <a:pt x="148" y="319"/>
                  </a:lnTo>
                  <a:lnTo>
                    <a:pt x="148" y="317"/>
                  </a:lnTo>
                  <a:lnTo>
                    <a:pt x="146" y="316"/>
                  </a:lnTo>
                  <a:lnTo>
                    <a:pt x="146" y="314"/>
                  </a:lnTo>
                  <a:lnTo>
                    <a:pt x="146" y="312"/>
                  </a:lnTo>
                  <a:lnTo>
                    <a:pt x="144" y="312"/>
                  </a:lnTo>
                  <a:lnTo>
                    <a:pt x="143" y="311"/>
                  </a:lnTo>
                  <a:lnTo>
                    <a:pt x="141" y="311"/>
                  </a:lnTo>
                  <a:lnTo>
                    <a:pt x="141" y="309"/>
                  </a:lnTo>
                  <a:lnTo>
                    <a:pt x="140" y="308"/>
                  </a:lnTo>
                  <a:lnTo>
                    <a:pt x="138" y="304"/>
                  </a:lnTo>
                  <a:lnTo>
                    <a:pt x="138" y="303"/>
                  </a:lnTo>
                  <a:lnTo>
                    <a:pt x="138" y="301"/>
                  </a:lnTo>
                  <a:lnTo>
                    <a:pt x="136" y="301"/>
                  </a:lnTo>
                  <a:lnTo>
                    <a:pt x="136" y="299"/>
                  </a:lnTo>
                  <a:lnTo>
                    <a:pt x="136" y="298"/>
                  </a:lnTo>
                  <a:lnTo>
                    <a:pt x="135" y="296"/>
                  </a:lnTo>
                  <a:lnTo>
                    <a:pt x="133" y="295"/>
                  </a:lnTo>
                  <a:lnTo>
                    <a:pt x="133" y="293"/>
                  </a:lnTo>
                  <a:lnTo>
                    <a:pt x="131" y="293"/>
                  </a:lnTo>
                  <a:lnTo>
                    <a:pt x="131" y="291"/>
                  </a:lnTo>
                  <a:lnTo>
                    <a:pt x="130" y="291"/>
                  </a:lnTo>
                  <a:lnTo>
                    <a:pt x="130" y="290"/>
                  </a:lnTo>
                  <a:lnTo>
                    <a:pt x="130" y="291"/>
                  </a:lnTo>
                  <a:lnTo>
                    <a:pt x="128" y="291"/>
                  </a:lnTo>
                  <a:lnTo>
                    <a:pt x="127" y="291"/>
                  </a:lnTo>
                  <a:lnTo>
                    <a:pt x="125" y="293"/>
                  </a:lnTo>
                  <a:lnTo>
                    <a:pt x="125" y="291"/>
                  </a:lnTo>
                  <a:lnTo>
                    <a:pt x="127" y="290"/>
                  </a:lnTo>
                  <a:lnTo>
                    <a:pt x="128" y="288"/>
                  </a:lnTo>
                  <a:lnTo>
                    <a:pt x="133" y="285"/>
                  </a:lnTo>
                  <a:lnTo>
                    <a:pt x="135" y="285"/>
                  </a:lnTo>
                  <a:lnTo>
                    <a:pt x="136" y="285"/>
                  </a:lnTo>
                  <a:lnTo>
                    <a:pt x="138" y="286"/>
                  </a:lnTo>
                  <a:lnTo>
                    <a:pt x="140" y="285"/>
                  </a:lnTo>
                  <a:lnTo>
                    <a:pt x="141" y="285"/>
                  </a:lnTo>
                  <a:lnTo>
                    <a:pt x="143" y="285"/>
                  </a:lnTo>
                  <a:lnTo>
                    <a:pt x="146" y="285"/>
                  </a:lnTo>
                  <a:lnTo>
                    <a:pt x="148" y="285"/>
                  </a:lnTo>
                  <a:lnTo>
                    <a:pt x="149" y="285"/>
                  </a:lnTo>
                  <a:lnTo>
                    <a:pt x="149" y="286"/>
                  </a:lnTo>
                  <a:lnTo>
                    <a:pt x="151" y="286"/>
                  </a:lnTo>
                  <a:lnTo>
                    <a:pt x="153" y="288"/>
                  </a:lnTo>
                  <a:lnTo>
                    <a:pt x="154" y="288"/>
                  </a:lnTo>
                  <a:lnTo>
                    <a:pt x="156" y="288"/>
                  </a:lnTo>
                  <a:lnTo>
                    <a:pt x="156" y="286"/>
                  </a:lnTo>
                  <a:lnTo>
                    <a:pt x="154" y="286"/>
                  </a:lnTo>
                  <a:lnTo>
                    <a:pt x="153" y="285"/>
                  </a:lnTo>
                  <a:lnTo>
                    <a:pt x="151" y="285"/>
                  </a:lnTo>
                  <a:lnTo>
                    <a:pt x="149" y="283"/>
                  </a:lnTo>
                  <a:lnTo>
                    <a:pt x="148" y="283"/>
                  </a:lnTo>
                  <a:lnTo>
                    <a:pt x="146" y="283"/>
                  </a:lnTo>
                  <a:lnTo>
                    <a:pt x="146" y="282"/>
                  </a:lnTo>
                  <a:lnTo>
                    <a:pt x="148" y="280"/>
                  </a:lnTo>
                  <a:lnTo>
                    <a:pt x="149" y="278"/>
                  </a:lnTo>
                  <a:lnTo>
                    <a:pt x="149" y="277"/>
                  </a:lnTo>
                  <a:lnTo>
                    <a:pt x="151" y="277"/>
                  </a:lnTo>
                  <a:lnTo>
                    <a:pt x="153" y="277"/>
                  </a:lnTo>
                  <a:lnTo>
                    <a:pt x="153" y="275"/>
                  </a:lnTo>
                  <a:lnTo>
                    <a:pt x="153" y="273"/>
                  </a:lnTo>
                  <a:lnTo>
                    <a:pt x="153" y="272"/>
                  </a:lnTo>
                  <a:lnTo>
                    <a:pt x="154" y="272"/>
                  </a:lnTo>
                  <a:lnTo>
                    <a:pt x="154" y="268"/>
                  </a:lnTo>
                  <a:lnTo>
                    <a:pt x="153" y="268"/>
                  </a:lnTo>
                  <a:lnTo>
                    <a:pt x="153" y="270"/>
                  </a:lnTo>
                  <a:lnTo>
                    <a:pt x="153" y="272"/>
                  </a:lnTo>
                  <a:lnTo>
                    <a:pt x="151" y="272"/>
                  </a:lnTo>
                  <a:lnTo>
                    <a:pt x="151" y="273"/>
                  </a:lnTo>
                  <a:lnTo>
                    <a:pt x="149" y="273"/>
                  </a:lnTo>
                  <a:lnTo>
                    <a:pt x="149" y="275"/>
                  </a:lnTo>
                  <a:lnTo>
                    <a:pt x="148" y="277"/>
                  </a:lnTo>
                  <a:lnTo>
                    <a:pt x="146" y="278"/>
                  </a:lnTo>
                  <a:lnTo>
                    <a:pt x="144" y="280"/>
                  </a:lnTo>
                  <a:lnTo>
                    <a:pt x="143" y="280"/>
                  </a:lnTo>
                  <a:lnTo>
                    <a:pt x="143" y="282"/>
                  </a:lnTo>
                  <a:lnTo>
                    <a:pt x="143" y="283"/>
                  </a:lnTo>
                  <a:lnTo>
                    <a:pt x="141" y="283"/>
                  </a:lnTo>
                  <a:lnTo>
                    <a:pt x="140" y="283"/>
                  </a:lnTo>
                  <a:lnTo>
                    <a:pt x="140" y="282"/>
                  </a:lnTo>
                  <a:lnTo>
                    <a:pt x="138" y="282"/>
                  </a:lnTo>
                  <a:lnTo>
                    <a:pt x="135" y="283"/>
                  </a:lnTo>
                  <a:lnTo>
                    <a:pt x="133" y="283"/>
                  </a:lnTo>
                  <a:lnTo>
                    <a:pt x="135" y="283"/>
                  </a:lnTo>
                  <a:lnTo>
                    <a:pt x="135" y="282"/>
                  </a:lnTo>
                  <a:lnTo>
                    <a:pt x="136" y="280"/>
                  </a:lnTo>
                  <a:lnTo>
                    <a:pt x="138" y="280"/>
                  </a:lnTo>
                  <a:lnTo>
                    <a:pt x="138" y="278"/>
                  </a:lnTo>
                  <a:lnTo>
                    <a:pt x="138" y="277"/>
                  </a:lnTo>
                  <a:lnTo>
                    <a:pt x="138" y="275"/>
                  </a:lnTo>
                  <a:lnTo>
                    <a:pt x="138" y="273"/>
                  </a:lnTo>
                  <a:lnTo>
                    <a:pt x="140" y="272"/>
                  </a:lnTo>
                  <a:lnTo>
                    <a:pt x="140" y="270"/>
                  </a:lnTo>
                  <a:lnTo>
                    <a:pt x="140" y="268"/>
                  </a:lnTo>
                  <a:lnTo>
                    <a:pt x="138" y="268"/>
                  </a:lnTo>
                  <a:lnTo>
                    <a:pt x="136" y="272"/>
                  </a:lnTo>
                  <a:lnTo>
                    <a:pt x="136" y="273"/>
                  </a:lnTo>
                  <a:lnTo>
                    <a:pt x="136" y="275"/>
                  </a:lnTo>
                  <a:lnTo>
                    <a:pt x="136" y="277"/>
                  </a:lnTo>
                  <a:lnTo>
                    <a:pt x="133" y="278"/>
                  </a:lnTo>
                  <a:lnTo>
                    <a:pt x="133" y="280"/>
                  </a:lnTo>
                  <a:lnTo>
                    <a:pt x="131" y="282"/>
                  </a:lnTo>
                  <a:lnTo>
                    <a:pt x="130" y="283"/>
                  </a:lnTo>
                  <a:lnTo>
                    <a:pt x="130" y="282"/>
                  </a:lnTo>
                  <a:lnTo>
                    <a:pt x="128" y="282"/>
                  </a:lnTo>
                  <a:lnTo>
                    <a:pt x="127" y="280"/>
                  </a:lnTo>
                  <a:lnTo>
                    <a:pt x="127" y="278"/>
                  </a:lnTo>
                  <a:lnTo>
                    <a:pt x="127" y="277"/>
                  </a:lnTo>
                  <a:lnTo>
                    <a:pt x="127" y="275"/>
                  </a:lnTo>
                  <a:lnTo>
                    <a:pt x="127" y="277"/>
                  </a:lnTo>
                  <a:lnTo>
                    <a:pt x="125" y="275"/>
                  </a:lnTo>
                  <a:lnTo>
                    <a:pt x="125" y="277"/>
                  </a:lnTo>
                  <a:lnTo>
                    <a:pt x="125" y="278"/>
                  </a:lnTo>
                  <a:lnTo>
                    <a:pt x="125" y="280"/>
                  </a:lnTo>
                  <a:lnTo>
                    <a:pt x="125" y="282"/>
                  </a:lnTo>
                  <a:lnTo>
                    <a:pt x="125" y="283"/>
                  </a:lnTo>
                  <a:lnTo>
                    <a:pt x="123" y="283"/>
                  </a:lnTo>
                  <a:lnTo>
                    <a:pt x="122" y="285"/>
                  </a:lnTo>
                  <a:lnTo>
                    <a:pt x="120" y="285"/>
                  </a:lnTo>
                  <a:lnTo>
                    <a:pt x="120" y="286"/>
                  </a:lnTo>
                  <a:lnTo>
                    <a:pt x="118" y="286"/>
                  </a:lnTo>
                  <a:lnTo>
                    <a:pt x="117" y="286"/>
                  </a:lnTo>
                  <a:lnTo>
                    <a:pt x="117" y="285"/>
                  </a:lnTo>
                  <a:lnTo>
                    <a:pt x="117" y="283"/>
                  </a:lnTo>
                  <a:lnTo>
                    <a:pt x="115" y="283"/>
                  </a:lnTo>
                  <a:lnTo>
                    <a:pt x="114" y="280"/>
                  </a:lnTo>
                  <a:lnTo>
                    <a:pt x="114" y="278"/>
                  </a:lnTo>
                  <a:lnTo>
                    <a:pt x="112" y="278"/>
                  </a:lnTo>
                  <a:lnTo>
                    <a:pt x="114" y="277"/>
                  </a:lnTo>
                  <a:lnTo>
                    <a:pt x="114" y="275"/>
                  </a:lnTo>
                  <a:lnTo>
                    <a:pt x="112" y="277"/>
                  </a:lnTo>
                  <a:lnTo>
                    <a:pt x="112" y="275"/>
                  </a:lnTo>
                  <a:lnTo>
                    <a:pt x="112" y="277"/>
                  </a:lnTo>
                  <a:lnTo>
                    <a:pt x="112" y="278"/>
                  </a:lnTo>
                  <a:lnTo>
                    <a:pt x="110" y="278"/>
                  </a:lnTo>
                  <a:lnTo>
                    <a:pt x="109" y="278"/>
                  </a:lnTo>
                  <a:lnTo>
                    <a:pt x="107" y="278"/>
                  </a:lnTo>
                  <a:lnTo>
                    <a:pt x="104" y="280"/>
                  </a:lnTo>
                  <a:lnTo>
                    <a:pt x="102" y="282"/>
                  </a:lnTo>
                  <a:lnTo>
                    <a:pt x="101" y="283"/>
                  </a:lnTo>
                  <a:lnTo>
                    <a:pt x="99" y="283"/>
                  </a:lnTo>
                  <a:lnTo>
                    <a:pt x="97" y="285"/>
                  </a:lnTo>
                  <a:lnTo>
                    <a:pt x="97" y="286"/>
                  </a:lnTo>
                  <a:lnTo>
                    <a:pt x="96" y="286"/>
                  </a:lnTo>
                  <a:lnTo>
                    <a:pt x="94" y="286"/>
                  </a:lnTo>
                  <a:lnTo>
                    <a:pt x="92" y="288"/>
                  </a:lnTo>
                  <a:lnTo>
                    <a:pt x="91" y="288"/>
                  </a:lnTo>
                  <a:lnTo>
                    <a:pt x="89" y="288"/>
                  </a:lnTo>
                  <a:lnTo>
                    <a:pt x="88" y="288"/>
                  </a:lnTo>
                  <a:lnTo>
                    <a:pt x="86" y="288"/>
                  </a:lnTo>
                  <a:lnTo>
                    <a:pt x="86" y="286"/>
                  </a:lnTo>
                  <a:lnTo>
                    <a:pt x="84" y="286"/>
                  </a:lnTo>
                  <a:lnTo>
                    <a:pt x="84" y="285"/>
                  </a:lnTo>
                  <a:lnTo>
                    <a:pt x="84" y="283"/>
                  </a:lnTo>
                  <a:lnTo>
                    <a:pt x="86" y="283"/>
                  </a:lnTo>
                  <a:lnTo>
                    <a:pt x="86" y="282"/>
                  </a:lnTo>
                  <a:lnTo>
                    <a:pt x="86" y="280"/>
                  </a:lnTo>
                  <a:lnTo>
                    <a:pt x="88" y="280"/>
                  </a:lnTo>
                  <a:lnTo>
                    <a:pt x="88" y="278"/>
                  </a:lnTo>
                  <a:lnTo>
                    <a:pt x="89" y="278"/>
                  </a:lnTo>
                  <a:lnTo>
                    <a:pt x="88" y="278"/>
                  </a:lnTo>
                  <a:lnTo>
                    <a:pt x="89" y="278"/>
                  </a:lnTo>
                  <a:lnTo>
                    <a:pt x="89" y="277"/>
                  </a:lnTo>
                  <a:lnTo>
                    <a:pt x="91" y="275"/>
                  </a:lnTo>
                  <a:lnTo>
                    <a:pt x="92" y="275"/>
                  </a:lnTo>
                  <a:lnTo>
                    <a:pt x="92" y="273"/>
                  </a:lnTo>
                  <a:lnTo>
                    <a:pt x="94" y="273"/>
                  </a:lnTo>
                  <a:lnTo>
                    <a:pt x="96" y="273"/>
                  </a:lnTo>
                  <a:lnTo>
                    <a:pt x="96" y="272"/>
                  </a:lnTo>
                  <a:lnTo>
                    <a:pt x="94" y="272"/>
                  </a:lnTo>
                  <a:lnTo>
                    <a:pt x="94" y="270"/>
                  </a:lnTo>
                  <a:lnTo>
                    <a:pt x="96" y="270"/>
                  </a:lnTo>
                  <a:lnTo>
                    <a:pt x="96" y="268"/>
                  </a:lnTo>
                  <a:lnTo>
                    <a:pt x="96" y="267"/>
                  </a:lnTo>
                  <a:lnTo>
                    <a:pt x="96" y="265"/>
                  </a:lnTo>
                  <a:lnTo>
                    <a:pt x="94" y="267"/>
                  </a:lnTo>
                  <a:lnTo>
                    <a:pt x="94" y="268"/>
                  </a:lnTo>
                  <a:lnTo>
                    <a:pt x="94" y="270"/>
                  </a:lnTo>
                  <a:lnTo>
                    <a:pt x="94" y="272"/>
                  </a:lnTo>
                  <a:lnTo>
                    <a:pt x="92" y="272"/>
                  </a:lnTo>
                  <a:lnTo>
                    <a:pt x="91" y="272"/>
                  </a:lnTo>
                  <a:lnTo>
                    <a:pt x="89" y="273"/>
                  </a:lnTo>
                  <a:lnTo>
                    <a:pt x="88" y="275"/>
                  </a:lnTo>
                  <a:lnTo>
                    <a:pt x="88" y="277"/>
                  </a:lnTo>
                  <a:lnTo>
                    <a:pt x="86" y="277"/>
                  </a:lnTo>
                  <a:lnTo>
                    <a:pt x="86" y="278"/>
                  </a:lnTo>
                  <a:lnTo>
                    <a:pt x="84" y="280"/>
                  </a:lnTo>
                  <a:lnTo>
                    <a:pt x="83" y="280"/>
                  </a:lnTo>
                  <a:lnTo>
                    <a:pt x="81" y="280"/>
                  </a:lnTo>
                  <a:lnTo>
                    <a:pt x="79" y="280"/>
                  </a:lnTo>
                  <a:lnTo>
                    <a:pt x="79" y="278"/>
                  </a:lnTo>
                  <a:lnTo>
                    <a:pt x="79" y="277"/>
                  </a:lnTo>
                  <a:lnTo>
                    <a:pt x="81" y="277"/>
                  </a:lnTo>
                  <a:lnTo>
                    <a:pt x="79" y="277"/>
                  </a:lnTo>
                  <a:lnTo>
                    <a:pt x="79" y="275"/>
                  </a:lnTo>
                  <a:lnTo>
                    <a:pt x="79" y="277"/>
                  </a:lnTo>
                  <a:lnTo>
                    <a:pt x="78" y="277"/>
                  </a:lnTo>
                  <a:lnTo>
                    <a:pt x="78" y="275"/>
                  </a:lnTo>
                  <a:lnTo>
                    <a:pt x="78" y="273"/>
                  </a:lnTo>
                  <a:lnTo>
                    <a:pt x="79" y="273"/>
                  </a:lnTo>
                  <a:lnTo>
                    <a:pt x="79" y="275"/>
                  </a:lnTo>
                  <a:lnTo>
                    <a:pt x="79" y="273"/>
                  </a:lnTo>
                  <a:lnTo>
                    <a:pt x="81" y="273"/>
                  </a:lnTo>
                  <a:lnTo>
                    <a:pt x="81" y="272"/>
                  </a:lnTo>
                  <a:lnTo>
                    <a:pt x="83" y="267"/>
                  </a:lnTo>
                  <a:lnTo>
                    <a:pt x="84" y="264"/>
                  </a:lnTo>
                  <a:lnTo>
                    <a:pt x="86" y="264"/>
                  </a:lnTo>
                  <a:lnTo>
                    <a:pt x="86" y="262"/>
                  </a:lnTo>
                  <a:lnTo>
                    <a:pt x="88" y="260"/>
                  </a:lnTo>
                  <a:lnTo>
                    <a:pt x="86" y="260"/>
                  </a:lnTo>
                  <a:lnTo>
                    <a:pt x="86" y="259"/>
                  </a:lnTo>
                  <a:lnTo>
                    <a:pt x="88" y="259"/>
                  </a:lnTo>
                  <a:lnTo>
                    <a:pt x="89" y="259"/>
                  </a:lnTo>
                  <a:lnTo>
                    <a:pt x="89" y="257"/>
                  </a:lnTo>
                  <a:lnTo>
                    <a:pt x="91" y="257"/>
                  </a:lnTo>
                  <a:lnTo>
                    <a:pt x="92" y="257"/>
                  </a:lnTo>
                  <a:lnTo>
                    <a:pt x="91" y="257"/>
                  </a:lnTo>
                  <a:lnTo>
                    <a:pt x="92" y="255"/>
                  </a:lnTo>
                  <a:lnTo>
                    <a:pt x="91" y="255"/>
                  </a:lnTo>
                  <a:lnTo>
                    <a:pt x="89" y="255"/>
                  </a:lnTo>
                  <a:lnTo>
                    <a:pt x="88" y="255"/>
                  </a:lnTo>
                  <a:lnTo>
                    <a:pt x="88" y="257"/>
                  </a:lnTo>
                  <a:lnTo>
                    <a:pt x="86" y="257"/>
                  </a:lnTo>
                  <a:lnTo>
                    <a:pt x="84" y="257"/>
                  </a:lnTo>
                  <a:lnTo>
                    <a:pt x="84" y="259"/>
                  </a:lnTo>
                  <a:lnTo>
                    <a:pt x="84" y="260"/>
                  </a:lnTo>
                  <a:lnTo>
                    <a:pt x="84" y="259"/>
                  </a:lnTo>
                  <a:lnTo>
                    <a:pt x="84" y="260"/>
                  </a:lnTo>
                  <a:lnTo>
                    <a:pt x="83" y="260"/>
                  </a:lnTo>
                  <a:lnTo>
                    <a:pt x="81" y="260"/>
                  </a:lnTo>
                  <a:lnTo>
                    <a:pt x="83" y="260"/>
                  </a:lnTo>
                  <a:lnTo>
                    <a:pt x="83" y="262"/>
                  </a:lnTo>
                  <a:lnTo>
                    <a:pt x="83" y="260"/>
                  </a:lnTo>
                  <a:lnTo>
                    <a:pt x="83" y="262"/>
                  </a:lnTo>
                  <a:lnTo>
                    <a:pt x="83" y="264"/>
                  </a:lnTo>
                  <a:lnTo>
                    <a:pt x="81" y="265"/>
                  </a:lnTo>
                  <a:lnTo>
                    <a:pt x="81" y="267"/>
                  </a:lnTo>
                  <a:lnTo>
                    <a:pt x="81" y="268"/>
                  </a:lnTo>
                  <a:lnTo>
                    <a:pt x="81" y="270"/>
                  </a:lnTo>
                  <a:lnTo>
                    <a:pt x="79" y="272"/>
                  </a:lnTo>
                  <a:lnTo>
                    <a:pt x="78" y="272"/>
                  </a:lnTo>
                  <a:lnTo>
                    <a:pt x="78" y="270"/>
                  </a:lnTo>
                  <a:lnTo>
                    <a:pt x="79" y="270"/>
                  </a:lnTo>
                  <a:lnTo>
                    <a:pt x="78" y="270"/>
                  </a:lnTo>
                  <a:lnTo>
                    <a:pt x="78" y="268"/>
                  </a:lnTo>
                  <a:lnTo>
                    <a:pt x="78" y="267"/>
                  </a:lnTo>
                  <a:lnTo>
                    <a:pt x="78" y="265"/>
                  </a:lnTo>
                  <a:lnTo>
                    <a:pt x="79" y="264"/>
                  </a:lnTo>
                  <a:lnTo>
                    <a:pt x="78" y="264"/>
                  </a:lnTo>
                  <a:lnTo>
                    <a:pt x="79" y="262"/>
                  </a:lnTo>
                  <a:lnTo>
                    <a:pt x="78" y="262"/>
                  </a:lnTo>
                  <a:lnTo>
                    <a:pt x="79" y="262"/>
                  </a:lnTo>
                  <a:lnTo>
                    <a:pt x="79" y="260"/>
                  </a:lnTo>
                  <a:lnTo>
                    <a:pt x="81" y="260"/>
                  </a:lnTo>
                  <a:lnTo>
                    <a:pt x="81" y="259"/>
                  </a:lnTo>
                  <a:lnTo>
                    <a:pt x="79" y="259"/>
                  </a:lnTo>
                  <a:lnTo>
                    <a:pt x="79" y="257"/>
                  </a:lnTo>
                  <a:lnTo>
                    <a:pt x="79" y="259"/>
                  </a:lnTo>
                  <a:lnTo>
                    <a:pt x="79" y="257"/>
                  </a:lnTo>
                  <a:lnTo>
                    <a:pt x="79" y="255"/>
                  </a:lnTo>
                  <a:lnTo>
                    <a:pt x="79" y="254"/>
                  </a:lnTo>
                  <a:lnTo>
                    <a:pt x="79" y="252"/>
                  </a:lnTo>
                  <a:lnTo>
                    <a:pt x="78" y="252"/>
                  </a:lnTo>
                  <a:lnTo>
                    <a:pt x="78" y="254"/>
                  </a:lnTo>
                  <a:lnTo>
                    <a:pt x="76" y="254"/>
                  </a:lnTo>
                  <a:lnTo>
                    <a:pt x="75" y="254"/>
                  </a:lnTo>
                  <a:lnTo>
                    <a:pt x="75" y="252"/>
                  </a:lnTo>
                  <a:lnTo>
                    <a:pt x="76" y="252"/>
                  </a:lnTo>
                  <a:lnTo>
                    <a:pt x="75" y="251"/>
                  </a:lnTo>
                  <a:lnTo>
                    <a:pt x="75" y="249"/>
                  </a:lnTo>
                  <a:lnTo>
                    <a:pt x="73" y="251"/>
                  </a:lnTo>
                  <a:lnTo>
                    <a:pt x="73" y="252"/>
                  </a:lnTo>
                  <a:lnTo>
                    <a:pt x="73" y="254"/>
                  </a:lnTo>
                  <a:lnTo>
                    <a:pt x="71" y="254"/>
                  </a:lnTo>
                  <a:lnTo>
                    <a:pt x="70" y="251"/>
                  </a:lnTo>
                  <a:lnTo>
                    <a:pt x="70" y="249"/>
                  </a:lnTo>
                  <a:lnTo>
                    <a:pt x="71" y="249"/>
                  </a:lnTo>
                  <a:lnTo>
                    <a:pt x="70" y="249"/>
                  </a:lnTo>
                  <a:lnTo>
                    <a:pt x="71" y="247"/>
                  </a:lnTo>
                  <a:lnTo>
                    <a:pt x="73" y="247"/>
                  </a:lnTo>
                  <a:lnTo>
                    <a:pt x="73" y="249"/>
                  </a:lnTo>
                  <a:lnTo>
                    <a:pt x="75" y="249"/>
                  </a:lnTo>
                  <a:lnTo>
                    <a:pt x="75" y="247"/>
                  </a:lnTo>
                  <a:lnTo>
                    <a:pt x="76" y="247"/>
                  </a:lnTo>
                  <a:lnTo>
                    <a:pt x="78" y="247"/>
                  </a:lnTo>
                  <a:lnTo>
                    <a:pt x="79" y="249"/>
                  </a:lnTo>
                  <a:lnTo>
                    <a:pt x="78" y="251"/>
                  </a:lnTo>
                  <a:lnTo>
                    <a:pt x="78" y="252"/>
                  </a:lnTo>
                  <a:lnTo>
                    <a:pt x="78" y="251"/>
                  </a:lnTo>
                  <a:lnTo>
                    <a:pt x="78" y="249"/>
                  </a:lnTo>
                  <a:lnTo>
                    <a:pt x="79" y="249"/>
                  </a:lnTo>
                  <a:lnTo>
                    <a:pt x="79" y="247"/>
                  </a:lnTo>
                  <a:lnTo>
                    <a:pt x="81" y="247"/>
                  </a:lnTo>
                  <a:lnTo>
                    <a:pt x="79" y="247"/>
                  </a:lnTo>
                  <a:lnTo>
                    <a:pt x="79" y="246"/>
                  </a:lnTo>
                  <a:lnTo>
                    <a:pt x="81" y="246"/>
                  </a:lnTo>
                  <a:lnTo>
                    <a:pt x="83" y="246"/>
                  </a:lnTo>
                  <a:lnTo>
                    <a:pt x="83" y="244"/>
                  </a:lnTo>
                  <a:lnTo>
                    <a:pt x="84" y="244"/>
                  </a:lnTo>
                  <a:lnTo>
                    <a:pt x="84" y="246"/>
                  </a:lnTo>
                  <a:lnTo>
                    <a:pt x="83" y="247"/>
                  </a:lnTo>
                  <a:lnTo>
                    <a:pt x="84" y="247"/>
                  </a:lnTo>
                  <a:lnTo>
                    <a:pt x="86" y="249"/>
                  </a:lnTo>
                  <a:lnTo>
                    <a:pt x="88" y="249"/>
                  </a:lnTo>
                  <a:lnTo>
                    <a:pt x="89" y="251"/>
                  </a:lnTo>
                  <a:lnTo>
                    <a:pt x="91" y="252"/>
                  </a:lnTo>
                  <a:lnTo>
                    <a:pt x="92" y="252"/>
                  </a:lnTo>
                  <a:lnTo>
                    <a:pt x="94" y="252"/>
                  </a:lnTo>
                  <a:lnTo>
                    <a:pt x="96" y="252"/>
                  </a:lnTo>
                  <a:lnTo>
                    <a:pt x="97" y="254"/>
                  </a:lnTo>
                  <a:lnTo>
                    <a:pt x="99" y="254"/>
                  </a:lnTo>
                  <a:lnTo>
                    <a:pt x="99" y="255"/>
                  </a:lnTo>
                  <a:lnTo>
                    <a:pt x="101" y="255"/>
                  </a:lnTo>
                  <a:lnTo>
                    <a:pt x="101" y="257"/>
                  </a:lnTo>
                  <a:lnTo>
                    <a:pt x="102" y="257"/>
                  </a:lnTo>
                  <a:lnTo>
                    <a:pt x="104" y="255"/>
                  </a:lnTo>
                  <a:lnTo>
                    <a:pt x="104" y="254"/>
                  </a:lnTo>
                  <a:lnTo>
                    <a:pt x="101" y="254"/>
                  </a:lnTo>
                  <a:lnTo>
                    <a:pt x="99" y="255"/>
                  </a:lnTo>
                  <a:lnTo>
                    <a:pt x="99" y="254"/>
                  </a:lnTo>
                  <a:lnTo>
                    <a:pt x="99" y="252"/>
                  </a:lnTo>
                  <a:lnTo>
                    <a:pt x="101" y="252"/>
                  </a:lnTo>
                  <a:lnTo>
                    <a:pt x="101" y="251"/>
                  </a:lnTo>
                  <a:lnTo>
                    <a:pt x="102" y="251"/>
                  </a:lnTo>
                  <a:lnTo>
                    <a:pt x="104" y="249"/>
                  </a:lnTo>
                  <a:lnTo>
                    <a:pt x="105" y="251"/>
                  </a:lnTo>
                  <a:lnTo>
                    <a:pt x="109" y="251"/>
                  </a:lnTo>
                  <a:lnTo>
                    <a:pt x="109" y="249"/>
                  </a:lnTo>
                  <a:lnTo>
                    <a:pt x="110" y="251"/>
                  </a:lnTo>
                  <a:lnTo>
                    <a:pt x="110" y="252"/>
                  </a:lnTo>
                  <a:lnTo>
                    <a:pt x="112" y="251"/>
                  </a:lnTo>
                  <a:lnTo>
                    <a:pt x="112" y="249"/>
                  </a:lnTo>
                  <a:lnTo>
                    <a:pt x="114" y="249"/>
                  </a:lnTo>
                  <a:lnTo>
                    <a:pt x="115" y="247"/>
                  </a:lnTo>
                  <a:lnTo>
                    <a:pt x="118" y="246"/>
                  </a:lnTo>
                  <a:lnTo>
                    <a:pt x="120" y="246"/>
                  </a:lnTo>
                  <a:lnTo>
                    <a:pt x="122" y="246"/>
                  </a:lnTo>
                  <a:lnTo>
                    <a:pt x="123" y="246"/>
                  </a:lnTo>
                  <a:lnTo>
                    <a:pt x="125" y="246"/>
                  </a:lnTo>
                  <a:lnTo>
                    <a:pt x="128" y="246"/>
                  </a:lnTo>
                  <a:lnTo>
                    <a:pt x="130" y="244"/>
                  </a:lnTo>
                  <a:lnTo>
                    <a:pt x="131" y="244"/>
                  </a:lnTo>
                  <a:lnTo>
                    <a:pt x="133" y="242"/>
                  </a:lnTo>
                  <a:lnTo>
                    <a:pt x="135" y="242"/>
                  </a:lnTo>
                  <a:lnTo>
                    <a:pt x="135" y="241"/>
                  </a:lnTo>
                  <a:lnTo>
                    <a:pt x="136" y="241"/>
                  </a:lnTo>
                  <a:lnTo>
                    <a:pt x="140" y="242"/>
                  </a:lnTo>
                  <a:lnTo>
                    <a:pt x="140" y="241"/>
                  </a:lnTo>
                  <a:lnTo>
                    <a:pt x="141" y="241"/>
                  </a:lnTo>
                  <a:lnTo>
                    <a:pt x="143" y="241"/>
                  </a:lnTo>
                  <a:lnTo>
                    <a:pt x="144" y="241"/>
                  </a:lnTo>
                  <a:lnTo>
                    <a:pt x="148" y="239"/>
                  </a:lnTo>
                  <a:lnTo>
                    <a:pt x="149" y="238"/>
                  </a:lnTo>
                  <a:lnTo>
                    <a:pt x="151" y="238"/>
                  </a:lnTo>
                  <a:lnTo>
                    <a:pt x="153" y="236"/>
                  </a:lnTo>
                  <a:lnTo>
                    <a:pt x="154" y="234"/>
                  </a:lnTo>
                  <a:lnTo>
                    <a:pt x="153" y="234"/>
                  </a:lnTo>
                  <a:lnTo>
                    <a:pt x="153" y="236"/>
                  </a:lnTo>
                  <a:lnTo>
                    <a:pt x="151" y="234"/>
                  </a:lnTo>
                  <a:lnTo>
                    <a:pt x="149" y="236"/>
                  </a:lnTo>
                  <a:lnTo>
                    <a:pt x="148" y="236"/>
                  </a:lnTo>
                  <a:lnTo>
                    <a:pt x="148" y="238"/>
                  </a:lnTo>
                  <a:lnTo>
                    <a:pt x="146" y="238"/>
                  </a:lnTo>
                  <a:lnTo>
                    <a:pt x="144" y="238"/>
                  </a:lnTo>
                  <a:lnTo>
                    <a:pt x="143" y="239"/>
                  </a:lnTo>
                  <a:lnTo>
                    <a:pt x="143" y="238"/>
                  </a:lnTo>
                  <a:lnTo>
                    <a:pt x="140" y="239"/>
                  </a:lnTo>
                  <a:lnTo>
                    <a:pt x="138" y="238"/>
                  </a:lnTo>
                  <a:lnTo>
                    <a:pt x="136" y="238"/>
                  </a:lnTo>
                  <a:lnTo>
                    <a:pt x="135" y="239"/>
                  </a:lnTo>
                  <a:lnTo>
                    <a:pt x="133" y="239"/>
                  </a:lnTo>
                  <a:lnTo>
                    <a:pt x="131" y="239"/>
                  </a:lnTo>
                  <a:lnTo>
                    <a:pt x="131" y="241"/>
                  </a:lnTo>
                  <a:lnTo>
                    <a:pt x="128" y="242"/>
                  </a:lnTo>
                  <a:lnTo>
                    <a:pt x="127" y="242"/>
                  </a:lnTo>
                  <a:lnTo>
                    <a:pt x="125" y="242"/>
                  </a:lnTo>
                  <a:lnTo>
                    <a:pt x="123" y="242"/>
                  </a:lnTo>
                  <a:lnTo>
                    <a:pt x="122" y="242"/>
                  </a:lnTo>
                  <a:lnTo>
                    <a:pt x="118" y="242"/>
                  </a:lnTo>
                  <a:lnTo>
                    <a:pt x="115" y="244"/>
                  </a:lnTo>
                  <a:lnTo>
                    <a:pt x="114" y="244"/>
                  </a:lnTo>
                  <a:lnTo>
                    <a:pt x="112" y="246"/>
                  </a:lnTo>
                  <a:lnTo>
                    <a:pt x="110" y="247"/>
                  </a:lnTo>
                  <a:lnTo>
                    <a:pt x="109" y="247"/>
                  </a:lnTo>
                  <a:lnTo>
                    <a:pt x="109" y="246"/>
                  </a:lnTo>
                  <a:lnTo>
                    <a:pt x="107" y="246"/>
                  </a:lnTo>
                  <a:lnTo>
                    <a:pt x="105" y="246"/>
                  </a:lnTo>
                  <a:lnTo>
                    <a:pt x="104" y="246"/>
                  </a:lnTo>
                  <a:lnTo>
                    <a:pt x="102" y="247"/>
                  </a:lnTo>
                  <a:lnTo>
                    <a:pt x="101" y="249"/>
                  </a:lnTo>
                  <a:lnTo>
                    <a:pt x="99" y="249"/>
                  </a:lnTo>
                  <a:lnTo>
                    <a:pt x="99" y="251"/>
                  </a:lnTo>
                  <a:lnTo>
                    <a:pt x="97" y="251"/>
                  </a:lnTo>
                  <a:lnTo>
                    <a:pt x="97" y="249"/>
                  </a:lnTo>
                  <a:lnTo>
                    <a:pt x="96" y="249"/>
                  </a:lnTo>
                  <a:lnTo>
                    <a:pt x="97" y="247"/>
                  </a:lnTo>
                  <a:lnTo>
                    <a:pt x="96" y="249"/>
                  </a:lnTo>
                  <a:lnTo>
                    <a:pt x="94" y="249"/>
                  </a:lnTo>
                  <a:lnTo>
                    <a:pt x="92" y="249"/>
                  </a:lnTo>
                  <a:lnTo>
                    <a:pt x="91" y="247"/>
                  </a:lnTo>
                  <a:lnTo>
                    <a:pt x="89" y="246"/>
                  </a:lnTo>
                  <a:lnTo>
                    <a:pt x="88" y="242"/>
                  </a:lnTo>
                  <a:lnTo>
                    <a:pt x="86" y="242"/>
                  </a:lnTo>
                  <a:lnTo>
                    <a:pt x="86" y="241"/>
                  </a:lnTo>
                  <a:lnTo>
                    <a:pt x="88" y="241"/>
                  </a:lnTo>
                  <a:lnTo>
                    <a:pt x="86" y="241"/>
                  </a:lnTo>
                  <a:lnTo>
                    <a:pt x="84" y="241"/>
                  </a:lnTo>
                  <a:lnTo>
                    <a:pt x="83" y="241"/>
                  </a:lnTo>
                  <a:lnTo>
                    <a:pt x="83" y="242"/>
                  </a:lnTo>
                  <a:lnTo>
                    <a:pt x="83" y="241"/>
                  </a:lnTo>
                  <a:lnTo>
                    <a:pt x="83" y="242"/>
                  </a:lnTo>
                  <a:lnTo>
                    <a:pt x="83" y="241"/>
                  </a:lnTo>
                  <a:lnTo>
                    <a:pt x="83" y="242"/>
                  </a:lnTo>
                  <a:lnTo>
                    <a:pt x="81" y="242"/>
                  </a:lnTo>
                  <a:lnTo>
                    <a:pt x="81" y="244"/>
                  </a:lnTo>
                  <a:lnTo>
                    <a:pt x="81" y="242"/>
                  </a:lnTo>
                  <a:lnTo>
                    <a:pt x="81" y="244"/>
                  </a:lnTo>
                  <a:lnTo>
                    <a:pt x="81" y="242"/>
                  </a:lnTo>
                  <a:lnTo>
                    <a:pt x="83" y="242"/>
                  </a:lnTo>
                  <a:lnTo>
                    <a:pt x="83" y="241"/>
                  </a:lnTo>
                  <a:lnTo>
                    <a:pt x="81" y="241"/>
                  </a:lnTo>
                  <a:lnTo>
                    <a:pt x="81" y="242"/>
                  </a:lnTo>
                  <a:lnTo>
                    <a:pt x="79" y="242"/>
                  </a:lnTo>
                  <a:lnTo>
                    <a:pt x="78" y="244"/>
                  </a:lnTo>
                  <a:lnTo>
                    <a:pt x="76" y="244"/>
                  </a:lnTo>
                  <a:lnTo>
                    <a:pt x="75" y="244"/>
                  </a:lnTo>
                  <a:lnTo>
                    <a:pt x="73" y="242"/>
                  </a:lnTo>
                  <a:lnTo>
                    <a:pt x="75" y="241"/>
                  </a:lnTo>
                  <a:lnTo>
                    <a:pt x="76" y="241"/>
                  </a:lnTo>
                  <a:lnTo>
                    <a:pt x="76" y="239"/>
                  </a:lnTo>
                  <a:lnTo>
                    <a:pt x="78" y="239"/>
                  </a:lnTo>
                  <a:lnTo>
                    <a:pt x="78" y="241"/>
                  </a:lnTo>
                  <a:lnTo>
                    <a:pt x="79" y="239"/>
                  </a:lnTo>
                  <a:lnTo>
                    <a:pt x="81" y="239"/>
                  </a:lnTo>
                  <a:lnTo>
                    <a:pt x="81" y="238"/>
                  </a:lnTo>
                  <a:lnTo>
                    <a:pt x="79" y="238"/>
                  </a:lnTo>
                  <a:lnTo>
                    <a:pt x="78" y="238"/>
                  </a:lnTo>
                  <a:lnTo>
                    <a:pt x="76" y="238"/>
                  </a:lnTo>
                  <a:lnTo>
                    <a:pt x="78" y="236"/>
                  </a:lnTo>
                  <a:lnTo>
                    <a:pt x="79" y="236"/>
                  </a:lnTo>
                  <a:lnTo>
                    <a:pt x="81" y="234"/>
                  </a:lnTo>
                  <a:lnTo>
                    <a:pt x="81" y="236"/>
                  </a:lnTo>
                  <a:lnTo>
                    <a:pt x="83" y="234"/>
                  </a:lnTo>
                  <a:lnTo>
                    <a:pt x="84" y="234"/>
                  </a:lnTo>
                  <a:lnTo>
                    <a:pt x="84" y="233"/>
                  </a:lnTo>
                  <a:lnTo>
                    <a:pt x="86" y="234"/>
                  </a:lnTo>
                  <a:lnTo>
                    <a:pt x="86" y="233"/>
                  </a:lnTo>
                  <a:lnTo>
                    <a:pt x="86" y="234"/>
                  </a:lnTo>
                  <a:lnTo>
                    <a:pt x="86" y="233"/>
                  </a:lnTo>
                  <a:lnTo>
                    <a:pt x="88" y="234"/>
                  </a:lnTo>
                  <a:lnTo>
                    <a:pt x="88" y="233"/>
                  </a:lnTo>
                  <a:lnTo>
                    <a:pt x="89" y="234"/>
                  </a:lnTo>
                  <a:lnTo>
                    <a:pt x="91" y="233"/>
                  </a:lnTo>
                  <a:lnTo>
                    <a:pt x="94" y="233"/>
                  </a:lnTo>
                  <a:lnTo>
                    <a:pt x="97" y="233"/>
                  </a:lnTo>
                  <a:lnTo>
                    <a:pt x="101" y="233"/>
                  </a:lnTo>
                  <a:lnTo>
                    <a:pt x="102" y="234"/>
                  </a:lnTo>
                  <a:lnTo>
                    <a:pt x="104" y="234"/>
                  </a:lnTo>
                  <a:lnTo>
                    <a:pt x="105" y="234"/>
                  </a:lnTo>
                  <a:lnTo>
                    <a:pt x="105" y="236"/>
                  </a:lnTo>
                  <a:lnTo>
                    <a:pt x="107" y="236"/>
                  </a:lnTo>
                  <a:lnTo>
                    <a:pt x="109" y="236"/>
                  </a:lnTo>
                  <a:lnTo>
                    <a:pt x="107" y="233"/>
                  </a:lnTo>
                  <a:lnTo>
                    <a:pt x="109" y="233"/>
                  </a:lnTo>
                  <a:lnTo>
                    <a:pt x="110" y="233"/>
                  </a:lnTo>
                  <a:lnTo>
                    <a:pt x="112" y="231"/>
                  </a:lnTo>
                  <a:lnTo>
                    <a:pt x="115" y="229"/>
                  </a:lnTo>
                  <a:lnTo>
                    <a:pt x="118" y="228"/>
                  </a:lnTo>
                  <a:lnTo>
                    <a:pt x="120" y="228"/>
                  </a:lnTo>
                  <a:lnTo>
                    <a:pt x="122" y="226"/>
                  </a:lnTo>
                  <a:lnTo>
                    <a:pt x="123" y="226"/>
                  </a:lnTo>
                  <a:lnTo>
                    <a:pt x="125" y="226"/>
                  </a:lnTo>
                  <a:lnTo>
                    <a:pt x="127" y="226"/>
                  </a:lnTo>
                  <a:lnTo>
                    <a:pt x="127" y="225"/>
                  </a:lnTo>
                  <a:lnTo>
                    <a:pt x="125" y="225"/>
                  </a:lnTo>
                  <a:lnTo>
                    <a:pt x="123" y="225"/>
                  </a:lnTo>
                  <a:lnTo>
                    <a:pt x="122" y="225"/>
                  </a:lnTo>
                  <a:lnTo>
                    <a:pt x="122" y="223"/>
                  </a:lnTo>
                  <a:lnTo>
                    <a:pt x="120" y="221"/>
                  </a:lnTo>
                  <a:lnTo>
                    <a:pt x="120" y="220"/>
                  </a:lnTo>
                  <a:lnTo>
                    <a:pt x="122" y="220"/>
                  </a:lnTo>
                  <a:lnTo>
                    <a:pt x="122" y="218"/>
                  </a:lnTo>
                  <a:lnTo>
                    <a:pt x="123" y="218"/>
                  </a:lnTo>
                  <a:lnTo>
                    <a:pt x="123" y="220"/>
                  </a:lnTo>
                  <a:lnTo>
                    <a:pt x="123" y="218"/>
                  </a:lnTo>
                  <a:lnTo>
                    <a:pt x="123" y="220"/>
                  </a:lnTo>
                  <a:lnTo>
                    <a:pt x="125" y="218"/>
                  </a:lnTo>
                  <a:lnTo>
                    <a:pt x="125" y="220"/>
                  </a:lnTo>
                  <a:lnTo>
                    <a:pt x="127" y="220"/>
                  </a:lnTo>
                  <a:lnTo>
                    <a:pt x="127" y="218"/>
                  </a:lnTo>
                  <a:lnTo>
                    <a:pt x="128" y="218"/>
                  </a:lnTo>
                  <a:lnTo>
                    <a:pt x="130" y="218"/>
                  </a:lnTo>
                  <a:lnTo>
                    <a:pt x="131" y="218"/>
                  </a:lnTo>
                  <a:lnTo>
                    <a:pt x="133" y="218"/>
                  </a:lnTo>
                  <a:lnTo>
                    <a:pt x="135" y="218"/>
                  </a:lnTo>
                  <a:lnTo>
                    <a:pt x="136" y="218"/>
                  </a:lnTo>
                  <a:lnTo>
                    <a:pt x="138" y="218"/>
                  </a:lnTo>
                  <a:lnTo>
                    <a:pt x="140" y="216"/>
                  </a:lnTo>
                  <a:lnTo>
                    <a:pt x="141" y="216"/>
                  </a:lnTo>
                  <a:lnTo>
                    <a:pt x="146" y="215"/>
                  </a:lnTo>
                  <a:lnTo>
                    <a:pt x="148" y="213"/>
                  </a:lnTo>
                  <a:lnTo>
                    <a:pt x="149" y="213"/>
                  </a:lnTo>
                  <a:lnTo>
                    <a:pt x="148" y="213"/>
                  </a:lnTo>
                  <a:lnTo>
                    <a:pt x="148" y="212"/>
                  </a:lnTo>
                  <a:lnTo>
                    <a:pt x="149" y="210"/>
                  </a:lnTo>
                  <a:lnTo>
                    <a:pt x="151" y="210"/>
                  </a:lnTo>
                  <a:lnTo>
                    <a:pt x="153" y="210"/>
                  </a:lnTo>
                  <a:lnTo>
                    <a:pt x="156" y="210"/>
                  </a:lnTo>
                  <a:lnTo>
                    <a:pt x="159" y="210"/>
                  </a:lnTo>
                  <a:lnTo>
                    <a:pt x="159" y="208"/>
                  </a:lnTo>
                  <a:lnTo>
                    <a:pt x="161" y="208"/>
                  </a:lnTo>
                  <a:lnTo>
                    <a:pt x="161" y="210"/>
                  </a:lnTo>
                  <a:lnTo>
                    <a:pt x="162" y="210"/>
                  </a:lnTo>
                  <a:lnTo>
                    <a:pt x="164" y="210"/>
                  </a:lnTo>
                  <a:lnTo>
                    <a:pt x="166" y="210"/>
                  </a:lnTo>
                  <a:lnTo>
                    <a:pt x="166" y="212"/>
                  </a:lnTo>
                  <a:lnTo>
                    <a:pt x="167" y="212"/>
                  </a:lnTo>
                  <a:lnTo>
                    <a:pt x="169" y="212"/>
                  </a:lnTo>
                  <a:lnTo>
                    <a:pt x="170" y="212"/>
                  </a:lnTo>
                  <a:lnTo>
                    <a:pt x="170" y="210"/>
                  </a:lnTo>
                  <a:lnTo>
                    <a:pt x="172" y="210"/>
                  </a:lnTo>
                  <a:lnTo>
                    <a:pt x="174" y="210"/>
                  </a:lnTo>
                  <a:lnTo>
                    <a:pt x="175" y="210"/>
                  </a:lnTo>
                  <a:lnTo>
                    <a:pt x="177" y="210"/>
                  </a:lnTo>
                  <a:lnTo>
                    <a:pt x="177" y="208"/>
                  </a:lnTo>
                  <a:lnTo>
                    <a:pt x="175" y="208"/>
                  </a:lnTo>
                  <a:lnTo>
                    <a:pt x="172" y="208"/>
                  </a:lnTo>
                  <a:lnTo>
                    <a:pt x="170" y="208"/>
                  </a:lnTo>
                  <a:lnTo>
                    <a:pt x="169" y="208"/>
                  </a:lnTo>
                  <a:lnTo>
                    <a:pt x="167" y="208"/>
                  </a:lnTo>
                  <a:lnTo>
                    <a:pt x="166" y="208"/>
                  </a:lnTo>
                  <a:lnTo>
                    <a:pt x="164" y="208"/>
                  </a:lnTo>
                  <a:lnTo>
                    <a:pt x="162" y="208"/>
                  </a:lnTo>
                  <a:lnTo>
                    <a:pt x="162" y="207"/>
                  </a:lnTo>
                  <a:lnTo>
                    <a:pt x="161" y="207"/>
                  </a:lnTo>
                  <a:lnTo>
                    <a:pt x="159" y="205"/>
                  </a:lnTo>
                  <a:lnTo>
                    <a:pt x="159" y="207"/>
                  </a:lnTo>
                  <a:lnTo>
                    <a:pt x="157" y="207"/>
                  </a:lnTo>
                  <a:lnTo>
                    <a:pt x="156" y="208"/>
                  </a:lnTo>
                  <a:lnTo>
                    <a:pt x="154" y="208"/>
                  </a:lnTo>
                  <a:lnTo>
                    <a:pt x="154" y="207"/>
                  </a:lnTo>
                  <a:lnTo>
                    <a:pt x="153" y="207"/>
                  </a:lnTo>
                  <a:lnTo>
                    <a:pt x="151" y="207"/>
                  </a:lnTo>
                  <a:lnTo>
                    <a:pt x="149" y="207"/>
                  </a:lnTo>
                  <a:lnTo>
                    <a:pt x="148" y="207"/>
                  </a:lnTo>
                  <a:lnTo>
                    <a:pt x="144" y="208"/>
                  </a:lnTo>
                  <a:lnTo>
                    <a:pt x="144" y="210"/>
                  </a:lnTo>
                  <a:lnTo>
                    <a:pt x="143" y="210"/>
                  </a:lnTo>
                  <a:lnTo>
                    <a:pt x="143" y="212"/>
                  </a:lnTo>
                  <a:lnTo>
                    <a:pt x="140" y="212"/>
                  </a:lnTo>
                  <a:lnTo>
                    <a:pt x="138" y="213"/>
                  </a:lnTo>
                  <a:lnTo>
                    <a:pt x="136" y="213"/>
                  </a:lnTo>
                  <a:lnTo>
                    <a:pt x="135" y="213"/>
                  </a:lnTo>
                  <a:lnTo>
                    <a:pt x="133" y="213"/>
                  </a:lnTo>
                  <a:lnTo>
                    <a:pt x="133" y="215"/>
                  </a:lnTo>
                  <a:lnTo>
                    <a:pt x="131" y="215"/>
                  </a:lnTo>
                  <a:lnTo>
                    <a:pt x="128" y="215"/>
                  </a:lnTo>
                  <a:lnTo>
                    <a:pt x="127" y="215"/>
                  </a:lnTo>
                  <a:lnTo>
                    <a:pt x="125" y="215"/>
                  </a:lnTo>
                  <a:lnTo>
                    <a:pt x="123" y="215"/>
                  </a:lnTo>
                  <a:lnTo>
                    <a:pt x="122" y="215"/>
                  </a:lnTo>
                  <a:lnTo>
                    <a:pt x="120" y="215"/>
                  </a:lnTo>
                  <a:lnTo>
                    <a:pt x="120" y="216"/>
                  </a:lnTo>
                  <a:lnTo>
                    <a:pt x="118" y="216"/>
                  </a:lnTo>
                  <a:lnTo>
                    <a:pt x="118" y="215"/>
                  </a:lnTo>
                  <a:lnTo>
                    <a:pt x="117" y="215"/>
                  </a:lnTo>
                  <a:lnTo>
                    <a:pt x="115" y="215"/>
                  </a:lnTo>
                  <a:lnTo>
                    <a:pt x="115" y="213"/>
                  </a:lnTo>
                  <a:lnTo>
                    <a:pt x="114" y="213"/>
                  </a:lnTo>
                  <a:lnTo>
                    <a:pt x="114" y="212"/>
                  </a:lnTo>
                  <a:lnTo>
                    <a:pt x="112" y="212"/>
                  </a:lnTo>
                  <a:lnTo>
                    <a:pt x="110" y="212"/>
                  </a:lnTo>
                  <a:lnTo>
                    <a:pt x="110" y="210"/>
                  </a:lnTo>
                  <a:lnTo>
                    <a:pt x="109" y="208"/>
                  </a:lnTo>
                  <a:lnTo>
                    <a:pt x="109" y="210"/>
                  </a:lnTo>
                  <a:lnTo>
                    <a:pt x="109" y="212"/>
                  </a:lnTo>
                  <a:lnTo>
                    <a:pt x="107" y="212"/>
                  </a:lnTo>
                  <a:lnTo>
                    <a:pt x="105" y="212"/>
                  </a:lnTo>
                  <a:lnTo>
                    <a:pt x="105" y="210"/>
                  </a:lnTo>
                  <a:lnTo>
                    <a:pt x="105" y="212"/>
                  </a:lnTo>
                  <a:lnTo>
                    <a:pt x="104" y="210"/>
                  </a:lnTo>
                  <a:lnTo>
                    <a:pt x="105" y="210"/>
                  </a:lnTo>
                  <a:lnTo>
                    <a:pt x="105" y="208"/>
                  </a:lnTo>
                  <a:lnTo>
                    <a:pt x="105" y="207"/>
                  </a:lnTo>
                  <a:lnTo>
                    <a:pt x="105" y="208"/>
                  </a:lnTo>
                  <a:lnTo>
                    <a:pt x="104" y="208"/>
                  </a:lnTo>
                  <a:lnTo>
                    <a:pt x="104" y="207"/>
                  </a:lnTo>
                  <a:lnTo>
                    <a:pt x="105" y="207"/>
                  </a:lnTo>
                  <a:lnTo>
                    <a:pt x="104" y="205"/>
                  </a:lnTo>
                  <a:lnTo>
                    <a:pt x="105" y="205"/>
                  </a:lnTo>
                  <a:lnTo>
                    <a:pt x="105" y="203"/>
                  </a:lnTo>
                  <a:lnTo>
                    <a:pt x="107" y="203"/>
                  </a:lnTo>
                  <a:lnTo>
                    <a:pt x="109" y="203"/>
                  </a:lnTo>
                  <a:lnTo>
                    <a:pt x="109" y="202"/>
                  </a:lnTo>
                  <a:lnTo>
                    <a:pt x="110" y="200"/>
                  </a:lnTo>
                  <a:lnTo>
                    <a:pt x="109" y="200"/>
                  </a:lnTo>
                  <a:lnTo>
                    <a:pt x="110" y="200"/>
                  </a:lnTo>
                  <a:lnTo>
                    <a:pt x="114" y="200"/>
                  </a:lnTo>
                  <a:lnTo>
                    <a:pt x="115" y="199"/>
                  </a:lnTo>
                  <a:lnTo>
                    <a:pt x="117" y="199"/>
                  </a:lnTo>
                  <a:lnTo>
                    <a:pt x="117" y="197"/>
                  </a:lnTo>
                  <a:lnTo>
                    <a:pt x="118" y="197"/>
                  </a:lnTo>
                  <a:lnTo>
                    <a:pt x="122" y="197"/>
                  </a:lnTo>
                  <a:lnTo>
                    <a:pt x="123" y="197"/>
                  </a:lnTo>
                  <a:lnTo>
                    <a:pt x="127" y="195"/>
                  </a:lnTo>
                  <a:lnTo>
                    <a:pt x="128" y="195"/>
                  </a:lnTo>
                  <a:lnTo>
                    <a:pt x="130" y="195"/>
                  </a:lnTo>
                  <a:lnTo>
                    <a:pt x="131" y="195"/>
                  </a:lnTo>
                  <a:lnTo>
                    <a:pt x="133" y="195"/>
                  </a:lnTo>
                  <a:lnTo>
                    <a:pt x="136" y="195"/>
                  </a:lnTo>
                  <a:lnTo>
                    <a:pt x="136" y="194"/>
                  </a:lnTo>
                  <a:lnTo>
                    <a:pt x="135" y="194"/>
                  </a:lnTo>
                  <a:lnTo>
                    <a:pt x="133" y="194"/>
                  </a:lnTo>
                  <a:lnTo>
                    <a:pt x="131" y="194"/>
                  </a:lnTo>
                  <a:lnTo>
                    <a:pt x="130" y="194"/>
                  </a:lnTo>
                  <a:lnTo>
                    <a:pt x="128" y="194"/>
                  </a:lnTo>
                  <a:lnTo>
                    <a:pt x="127" y="194"/>
                  </a:lnTo>
                  <a:lnTo>
                    <a:pt x="127" y="192"/>
                  </a:lnTo>
                  <a:lnTo>
                    <a:pt x="127" y="190"/>
                  </a:lnTo>
                  <a:lnTo>
                    <a:pt x="125" y="189"/>
                  </a:lnTo>
                  <a:lnTo>
                    <a:pt x="125" y="190"/>
                  </a:lnTo>
                  <a:lnTo>
                    <a:pt x="125" y="192"/>
                  </a:lnTo>
                  <a:lnTo>
                    <a:pt x="125" y="194"/>
                  </a:lnTo>
                  <a:lnTo>
                    <a:pt x="123" y="194"/>
                  </a:lnTo>
                  <a:lnTo>
                    <a:pt x="123" y="195"/>
                  </a:lnTo>
                  <a:lnTo>
                    <a:pt x="122" y="195"/>
                  </a:lnTo>
                  <a:lnTo>
                    <a:pt x="120" y="195"/>
                  </a:lnTo>
                  <a:lnTo>
                    <a:pt x="120" y="194"/>
                  </a:lnTo>
                  <a:lnTo>
                    <a:pt x="120" y="192"/>
                  </a:lnTo>
                  <a:lnTo>
                    <a:pt x="120" y="190"/>
                  </a:lnTo>
                  <a:lnTo>
                    <a:pt x="120" y="192"/>
                  </a:lnTo>
                  <a:lnTo>
                    <a:pt x="117" y="192"/>
                  </a:lnTo>
                  <a:lnTo>
                    <a:pt x="115" y="194"/>
                  </a:lnTo>
                  <a:lnTo>
                    <a:pt x="115" y="195"/>
                  </a:lnTo>
                  <a:lnTo>
                    <a:pt x="114" y="195"/>
                  </a:lnTo>
                  <a:lnTo>
                    <a:pt x="114" y="194"/>
                  </a:lnTo>
                  <a:lnTo>
                    <a:pt x="114" y="195"/>
                  </a:lnTo>
                  <a:lnTo>
                    <a:pt x="114" y="194"/>
                  </a:lnTo>
                  <a:lnTo>
                    <a:pt x="112" y="195"/>
                  </a:lnTo>
                  <a:lnTo>
                    <a:pt x="112" y="194"/>
                  </a:lnTo>
                  <a:lnTo>
                    <a:pt x="110" y="194"/>
                  </a:lnTo>
                  <a:lnTo>
                    <a:pt x="109" y="194"/>
                  </a:lnTo>
                  <a:lnTo>
                    <a:pt x="107" y="194"/>
                  </a:lnTo>
                  <a:lnTo>
                    <a:pt x="105" y="192"/>
                  </a:lnTo>
                  <a:lnTo>
                    <a:pt x="104" y="192"/>
                  </a:lnTo>
                  <a:lnTo>
                    <a:pt x="102" y="192"/>
                  </a:lnTo>
                  <a:lnTo>
                    <a:pt x="102" y="194"/>
                  </a:lnTo>
                  <a:lnTo>
                    <a:pt x="102" y="192"/>
                  </a:lnTo>
                  <a:lnTo>
                    <a:pt x="101" y="192"/>
                  </a:lnTo>
                  <a:lnTo>
                    <a:pt x="99" y="190"/>
                  </a:lnTo>
                  <a:lnTo>
                    <a:pt x="99" y="192"/>
                  </a:lnTo>
                  <a:lnTo>
                    <a:pt x="99" y="190"/>
                  </a:lnTo>
                  <a:lnTo>
                    <a:pt x="97" y="190"/>
                  </a:lnTo>
                  <a:lnTo>
                    <a:pt x="99" y="189"/>
                  </a:lnTo>
                  <a:lnTo>
                    <a:pt x="101" y="189"/>
                  </a:lnTo>
                  <a:lnTo>
                    <a:pt x="102" y="189"/>
                  </a:lnTo>
                  <a:lnTo>
                    <a:pt x="104" y="189"/>
                  </a:lnTo>
                  <a:lnTo>
                    <a:pt x="107" y="189"/>
                  </a:lnTo>
                  <a:lnTo>
                    <a:pt x="109" y="189"/>
                  </a:lnTo>
                  <a:lnTo>
                    <a:pt x="110" y="189"/>
                  </a:lnTo>
                  <a:lnTo>
                    <a:pt x="110" y="187"/>
                  </a:lnTo>
                  <a:lnTo>
                    <a:pt x="112" y="187"/>
                  </a:lnTo>
                  <a:lnTo>
                    <a:pt x="114" y="187"/>
                  </a:lnTo>
                  <a:lnTo>
                    <a:pt x="115" y="187"/>
                  </a:lnTo>
                  <a:lnTo>
                    <a:pt x="117" y="187"/>
                  </a:lnTo>
                  <a:lnTo>
                    <a:pt x="115" y="186"/>
                  </a:lnTo>
                  <a:lnTo>
                    <a:pt x="114" y="186"/>
                  </a:lnTo>
                  <a:lnTo>
                    <a:pt x="114" y="187"/>
                  </a:lnTo>
                  <a:lnTo>
                    <a:pt x="114" y="186"/>
                  </a:lnTo>
                  <a:lnTo>
                    <a:pt x="115" y="184"/>
                  </a:lnTo>
                  <a:lnTo>
                    <a:pt x="117" y="184"/>
                  </a:lnTo>
                  <a:lnTo>
                    <a:pt x="117" y="186"/>
                  </a:lnTo>
                  <a:lnTo>
                    <a:pt x="118" y="186"/>
                  </a:lnTo>
                  <a:lnTo>
                    <a:pt x="120" y="186"/>
                  </a:lnTo>
                  <a:lnTo>
                    <a:pt x="122" y="186"/>
                  </a:lnTo>
                  <a:lnTo>
                    <a:pt x="123" y="186"/>
                  </a:lnTo>
                  <a:lnTo>
                    <a:pt x="125" y="186"/>
                  </a:lnTo>
                  <a:lnTo>
                    <a:pt x="127" y="186"/>
                  </a:lnTo>
                  <a:lnTo>
                    <a:pt x="128" y="186"/>
                  </a:lnTo>
                  <a:lnTo>
                    <a:pt x="130" y="187"/>
                  </a:lnTo>
                  <a:lnTo>
                    <a:pt x="130" y="186"/>
                  </a:lnTo>
                  <a:lnTo>
                    <a:pt x="130" y="187"/>
                  </a:lnTo>
                  <a:lnTo>
                    <a:pt x="131" y="187"/>
                  </a:lnTo>
                  <a:lnTo>
                    <a:pt x="133" y="189"/>
                  </a:lnTo>
                  <a:lnTo>
                    <a:pt x="136" y="189"/>
                  </a:lnTo>
                  <a:lnTo>
                    <a:pt x="136" y="187"/>
                  </a:lnTo>
                  <a:lnTo>
                    <a:pt x="136" y="189"/>
                  </a:lnTo>
                  <a:lnTo>
                    <a:pt x="138" y="187"/>
                  </a:lnTo>
                  <a:lnTo>
                    <a:pt x="140" y="187"/>
                  </a:lnTo>
                  <a:lnTo>
                    <a:pt x="141" y="186"/>
                  </a:lnTo>
                  <a:lnTo>
                    <a:pt x="140" y="186"/>
                  </a:lnTo>
                  <a:lnTo>
                    <a:pt x="140" y="184"/>
                  </a:lnTo>
                  <a:lnTo>
                    <a:pt x="140" y="186"/>
                  </a:lnTo>
                  <a:lnTo>
                    <a:pt x="138" y="186"/>
                  </a:lnTo>
                  <a:lnTo>
                    <a:pt x="136" y="186"/>
                  </a:lnTo>
                  <a:lnTo>
                    <a:pt x="135" y="186"/>
                  </a:lnTo>
                  <a:lnTo>
                    <a:pt x="131" y="186"/>
                  </a:lnTo>
                  <a:lnTo>
                    <a:pt x="130" y="186"/>
                  </a:lnTo>
                  <a:lnTo>
                    <a:pt x="128" y="184"/>
                  </a:lnTo>
                  <a:lnTo>
                    <a:pt x="128" y="182"/>
                  </a:lnTo>
                  <a:lnTo>
                    <a:pt x="125" y="182"/>
                  </a:lnTo>
                  <a:lnTo>
                    <a:pt x="127" y="182"/>
                  </a:lnTo>
                  <a:lnTo>
                    <a:pt x="127" y="181"/>
                  </a:lnTo>
                  <a:lnTo>
                    <a:pt x="128" y="181"/>
                  </a:lnTo>
                  <a:lnTo>
                    <a:pt x="128" y="179"/>
                  </a:lnTo>
                  <a:lnTo>
                    <a:pt x="128" y="177"/>
                  </a:lnTo>
                  <a:lnTo>
                    <a:pt x="130" y="177"/>
                  </a:lnTo>
                  <a:lnTo>
                    <a:pt x="131" y="179"/>
                  </a:lnTo>
                  <a:lnTo>
                    <a:pt x="133" y="179"/>
                  </a:lnTo>
                  <a:lnTo>
                    <a:pt x="133" y="177"/>
                  </a:lnTo>
                  <a:lnTo>
                    <a:pt x="135" y="177"/>
                  </a:lnTo>
                  <a:lnTo>
                    <a:pt x="138" y="179"/>
                  </a:lnTo>
                  <a:lnTo>
                    <a:pt x="140" y="179"/>
                  </a:lnTo>
                  <a:lnTo>
                    <a:pt x="140" y="177"/>
                  </a:lnTo>
                  <a:lnTo>
                    <a:pt x="141" y="177"/>
                  </a:lnTo>
                  <a:lnTo>
                    <a:pt x="141" y="176"/>
                  </a:lnTo>
                  <a:lnTo>
                    <a:pt x="141" y="177"/>
                  </a:lnTo>
                  <a:lnTo>
                    <a:pt x="140" y="177"/>
                  </a:lnTo>
                  <a:lnTo>
                    <a:pt x="138" y="177"/>
                  </a:lnTo>
                  <a:lnTo>
                    <a:pt x="136" y="177"/>
                  </a:lnTo>
                  <a:lnTo>
                    <a:pt x="135" y="177"/>
                  </a:lnTo>
                  <a:lnTo>
                    <a:pt x="133" y="177"/>
                  </a:lnTo>
                  <a:lnTo>
                    <a:pt x="131" y="177"/>
                  </a:lnTo>
                  <a:lnTo>
                    <a:pt x="131" y="176"/>
                  </a:lnTo>
                  <a:lnTo>
                    <a:pt x="131" y="174"/>
                  </a:lnTo>
                  <a:lnTo>
                    <a:pt x="130" y="174"/>
                  </a:lnTo>
                  <a:lnTo>
                    <a:pt x="128" y="174"/>
                  </a:lnTo>
                  <a:lnTo>
                    <a:pt x="127" y="174"/>
                  </a:lnTo>
                  <a:lnTo>
                    <a:pt x="125" y="176"/>
                  </a:lnTo>
                  <a:lnTo>
                    <a:pt x="125" y="177"/>
                  </a:lnTo>
                  <a:lnTo>
                    <a:pt x="123" y="181"/>
                  </a:lnTo>
                  <a:lnTo>
                    <a:pt x="122" y="181"/>
                  </a:lnTo>
                  <a:lnTo>
                    <a:pt x="122" y="182"/>
                  </a:lnTo>
                  <a:lnTo>
                    <a:pt x="120" y="181"/>
                  </a:lnTo>
                  <a:lnTo>
                    <a:pt x="118" y="181"/>
                  </a:lnTo>
                  <a:lnTo>
                    <a:pt x="118" y="179"/>
                  </a:lnTo>
                  <a:lnTo>
                    <a:pt x="117" y="179"/>
                  </a:lnTo>
                  <a:lnTo>
                    <a:pt x="115" y="177"/>
                  </a:lnTo>
                  <a:lnTo>
                    <a:pt x="115" y="179"/>
                  </a:lnTo>
                  <a:lnTo>
                    <a:pt x="114" y="179"/>
                  </a:lnTo>
                  <a:lnTo>
                    <a:pt x="110" y="181"/>
                  </a:lnTo>
                  <a:lnTo>
                    <a:pt x="110" y="182"/>
                  </a:lnTo>
                  <a:lnTo>
                    <a:pt x="109" y="182"/>
                  </a:lnTo>
                  <a:lnTo>
                    <a:pt x="109" y="184"/>
                  </a:lnTo>
                  <a:lnTo>
                    <a:pt x="107" y="186"/>
                  </a:lnTo>
                  <a:lnTo>
                    <a:pt x="107" y="184"/>
                  </a:lnTo>
                  <a:lnTo>
                    <a:pt x="107" y="182"/>
                  </a:lnTo>
                  <a:lnTo>
                    <a:pt x="109" y="182"/>
                  </a:lnTo>
                  <a:lnTo>
                    <a:pt x="109" y="181"/>
                  </a:lnTo>
                  <a:lnTo>
                    <a:pt x="107" y="181"/>
                  </a:lnTo>
                  <a:lnTo>
                    <a:pt x="107" y="182"/>
                  </a:lnTo>
                  <a:lnTo>
                    <a:pt x="105" y="182"/>
                  </a:lnTo>
                  <a:lnTo>
                    <a:pt x="104" y="182"/>
                  </a:lnTo>
                  <a:lnTo>
                    <a:pt x="104" y="184"/>
                  </a:lnTo>
                  <a:lnTo>
                    <a:pt x="102" y="184"/>
                  </a:lnTo>
                  <a:lnTo>
                    <a:pt x="102" y="186"/>
                  </a:lnTo>
                  <a:lnTo>
                    <a:pt x="101" y="186"/>
                  </a:lnTo>
                  <a:lnTo>
                    <a:pt x="99" y="186"/>
                  </a:lnTo>
                  <a:lnTo>
                    <a:pt x="97" y="187"/>
                  </a:lnTo>
                  <a:lnTo>
                    <a:pt x="96" y="187"/>
                  </a:lnTo>
                  <a:lnTo>
                    <a:pt x="94" y="187"/>
                  </a:lnTo>
                  <a:lnTo>
                    <a:pt x="94" y="189"/>
                  </a:lnTo>
                  <a:lnTo>
                    <a:pt x="92" y="189"/>
                  </a:lnTo>
                  <a:lnTo>
                    <a:pt x="92" y="187"/>
                  </a:lnTo>
                  <a:lnTo>
                    <a:pt x="92" y="186"/>
                  </a:lnTo>
                  <a:lnTo>
                    <a:pt x="94" y="187"/>
                  </a:lnTo>
                  <a:lnTo>
                    <a:pt x="94" y="186"/>
                  </a:lnTo>
                  <a:lnTo>
                    <a:pt x="96" y="186"/>
                  </a:lnTo>
                  <a:lnTo>
                    <a:pt x="96" y="187"/>
                  </a:lnTo>
                  <a:lnTo>
                    <a:pt x="96" y="186"/>
                  </a:lnTo>
                  <a:lnTo>
                    <a:pt x="94" y="186"/>
                  </a:lnTo>
                  <a:lnTo>
                    <a:pt x="94" y="184"/>
                  </a:lnTo>
                  <a:lnTo>
                    <a:pt x="94" y="182"/>
                  </a:lnTo>
                  <a:lnTo>
                    <a:pt x="96" y="182"/>
                  </a:lnTo>
                  <a:lnTo>
                    <a:pt x="96" y="181"/>
                  </a:lnTo>
                  <a:lnTo>
                    <a:pt x="97" y="181"/>
                  </a:lnTo>
                  <a:lnTo>
                    <a:pt x="99" y="182"/>
                  </a:lnTo>
                  <a:lnTo>
                    <a:pt x="99" y="181"/>
                  </a:lnTo>
                  <a:lnTo>
                    <a:pt x="99" y="179"/>
                  </a:lnTo>
                  <a:lnTo>
                    <a:pt x="97" y="179"/>
                  </a:lnTo>
                  <a:lnTo>
                    <a:pt x="96" y="179"/>
                  </a:lnTo>
                  <a:lnTo>
                    <a:pt x="94" y="179"/>
                  </a:lnTo>
                  <a:lnTo>
                    <a:pt x="94" y="177"/>
                  </a:lnTo>
                  <a:lnTo>
                    <a:pt x="96" y="176"/>
                  </a:lnTo>
                  <a:lnTo>
                    <a:pt x="99" y="176"/>
                  </a:lnTo>
                  <a:lnTo>
                    <a:pt x="101" y="176"/>
                  </a:lnTo>
                  <a:lnTo>
                    <a:pt x="101" y="177"/>
                  </a:lnTo>
                  <a:lnTo>
                    <a:pt x="102" y="177"/>
                  </a:lnTo>
                  <a:lnTo>
                    <a:pt x="104" y="176"/>
                  </a:lnTo>
                  <a:lnTo>
                    <a:pt x="104" y="174"/>
                  </a:lnTo>
                  <a:lnTo>
                    <a:pt x="105" y="173"/>
                  </a:lnTo>
                  <a:lnTo>
                    <a:pt x="105" y="171"/>
                  </a:lnTo>
                  <a:lnTo>
                    <a:pt x="104" y="171"/>
                  </a:lnTo>
                  <a:lnTo>
                    <a:pt x="104" y="173"/>
                  </a:lnTo>
                  <a:lnTo>
                    <a:pt x="102" y="176"/>
                  </a:lnTo>
                  <a:lnTo>
                    <a:pt x="101" y="176"/>
                  </a:lnTo>
                  <a:lnTo>
                    <a:pt x="99" y="174"/>
                  </a:lnTo>
                  <a:lnTo>
                    <a:pt x="97" y="174"/>
                  </a:lnTo>
                  <a:lnTo>
                    <a:pt x="97" y="173"/>
                  </a:lnTo>
                  <a:lnTo>
                    <a:pt x="97" y="171"/>
                  </a:lnTo>
                  <a:lnTo>
                    <a:pt x="97" y="169"/>
                  </a:lnTo>
                  <a:lnTo>
                    <a:pt x="97" y="168"/>
                  </a:lnTo>
                  <a:lnTo>
                    <a:pt x="97" y="169"/>
                  </a:lnTo>
                  <a:lnTo>
                    <a:pt x="97" y="168"/>
                  </a:lnTo>
                  <a:lnTo>
                    <a:pt x="99" y="168"/>
                  </a:lnTo>
                  <a:lnTo>
                    <a:pt x="99" y="166"/>
                  </a:lnTo>
                  <a:lnTo>
                    <a:pt x="101" y="168"/>
                  </a:lnTo>
                  <a:lnTo>
                    <a:pt x="102" y="168"/>
                  </a:lnTo>
                  <a:lnTo>
                    <a:pt x="102" y="166"/>
                  </a:lnTo>
                  <a:lnTo>
                    <a:pt x="104" y="168"/>
                  </a:lnTo>
                  <a:lnTo>
                    <a:pt x="105" y="168"/>
                  </a:lnTo>
                  <a:lnTo>
                    <a:pt x="107" y="168"/>
                  </a:lnTo>
                  <a:lnTo>
                    <a:pt x="107" y="169"/>
                  </a:lnTo>
                  <a:lnTo>
                    <a:pt x="109" y="169"/>
                  </a:lnTo>
                  <a:lnTo>
                    <a:pt x="110" y="169"/>
                  </a:lnTo>
                  <a:lnTo>
                    <a:pt x="110" y="168"/>
                  </a:lnTo>
                  <a:lnTo>
                    <a:pt x="109" y="168"/>
                  </a:lnTo>
                  <a:lnTo>
                    <a:pt x="107" y="168"/>
                  </a:lnTo>
                  <a:lnTo>
                    <a:pt x="107" y="166"/>
                  </a:lnTo>
                  <a:lnTo>
                    <a:pt x="105" y="166"/>
                  </a:lnTo>
                  <a:lnTo>
                    <a:pt x="104" y="164"/>
                  </a:lnTo>
                  <a:lnTo>
                    <a:pt x="102" y="164"/>
                  </a:lnTo>
                  <a:lnTo>
                    <a:pt x="104" y="164"/>
                  </a:lnTo>
                  <a:lnTo>
                    <a:pt x="104" y="163"/>
                  </a:lnTo>
                  <a:lnTo>
                    <a:pt x="102" y="164"/>
                  </a:lnTo>
                  <a:lnTo>
                    <a:pt x="102" y="163"/>
                  </a:lnTo>
                  <a:lnTo>
                    <a:pt x="104" y="163"/>
                  </a:lnTo>
                  <a:lnTo>
                    <a:pt x="102" y="161"/>
                  </a:lnTo>
                  <a:lnTo>
                    <a:pt x="102" y="163"/>
                  </a:lnTo>
                  <a:lnTo>
                    <a:pt x="101" y="161"/>
                  </a:lnTo>
                  <a:lnTo>
                    <a:pt x="102" y="161"/>
                  </a:lnTo>
                  <a:lnTo>
                    <a:pt x="101" y="161"/>
                  </a:lnTo>
                  <a:lnTo>
                    <a:pt x="99" y="161"/>
                  </a:lnTo>
                  <a:lnTo>
                    <a:pt x="99" y="163"/>
                  </a:lnTo>
                  <a:lnTo>
                    <a:pt x="99" y="161"/>
                  </a:lnTo>
                  <a:lnTo>
                    <a:pt x="99" y="163"/>
                  </a:lnTo>
                  <a:lnTo>
                    <a:pt x="97" y="163"/>
                  </a:lnTo>
                  <a:lnTo>
                    <a:pt x="96" y="163"/>
                  </a:lnTo>
                  <a:lnTo>
                    <a:pt x="96" y="164"/>
                  </a:lnTo>
                  <a:lnTo>
                    <a:pt x="94" y="164"/>
                  </a:lnTo>
                  <a:lnTo>
                    <a:pt x="96" y="164"/>
                  </a:lnTo>
                  <a:lnTo>
                    <a:pt x="96" y="166"/>
                  </a:lnTo>
                  <a:lnTo>
                    <a:pt x="94" y="166"/>
                  </a:lnTo>
                  <a:lnTo>
                    <a:pt x="92" y="166"/>
                  </a:lnTo>
                  <a:lnTo>
                    <a:pt x="92" y="168"/>
                  </a:lnTo>
                  <a:lnTo>
                    <a:pt x="91" y="168"/>
                  </a:lnTo>
                  <a:lnTo>
                    <a:pt x="89" y="166"/>
                  </a:lnTo>
                  <a:lnTo>
                    <a:pt x="91" y="166"/>
                  </a:lnTo>
                  <a:lnTo>
                    <a:pt x="92" y="166"/>
                  </a:lnTo>
                  <a:lnTo>
                    <a:pt x="91" y="166"/>
                  </a:lnTo>
                  <a:lnTo>
                    <a:pt x="91" y="164"/>
                  </a:lnTo>
                  <a:lnTo>
                    <a:pt x="89" y="164"/>
                  </a:lnTo>
                  <a:lnTo>
                    <a:pt x="91" y="164"/>
                  </a:lnTo>
                  <a:lnTo>
                    <a:pt x="89" y="164"/>
                  </a:lnTo>
                  <a:lnTo>
                    <a:pt x="88" y="164"/>
                  </a:lnTo>
                  <a:lnTo>
                    <a:pt x="88" y="166"/>
                  </a:lnTo>
                  <a:lnTo>
                    <a:pt x="86" y="168"/>
                  </a:lnTo>
                  <a:lnTo>
                    <a:pt x="88" y="168"/>
                  </a:lnTo>
                  <a:lnTo>
                    <a:pt x="86" y="168"/>
                  </a:lnTo>
                  <a:lnTo>
                    <a:pt x="84" y="169"/>
                  </a:lnTo>
                  <a:lnTo>
                    <a:pt x="84" y="168"/>
                  </a:lnTo>
                  <a:lnTo>
                    <a:pt x="84" y="169"/>
                  </a:lnTo>
                  <a:lnTo>
                    <a:pt x="84" y="168"/>
                  </a:lnTo>
                  <a:lnTo>
                    <a:pt x="84" y="166"/>
                  </a:lnTo>
                  <a:lnTo>
                    <a:pt x="86" y="166"/>
                  </a:lnTo>
                  <a:lnTo>
                    <a:pt x="86" y="164"/>
                  </a:lnTo>
                  <a:lnTo>
                    <a:pt x="88" y="164"/>
                  </a:lnTo>
                  <a:lnTo>
                    <a:pt x="88" y="163"/>
                  </a:lnTo>
                  <a:lnTo>
                    <a:pt x="89" y="163"/>
                  </a:lnTo>
                  <a:lnTo>
                    <a:pt x="89" y="161"/>
                  </a:lnTo>
                  <a:lnTo>
                    <a:pt x="88" y="161"/>
                  </a:lnTo>
                  <a:lnTo>
                    <a:pt x="88" y="160"/>
                  </a:lnTo>
                  <a:lnTo>
                    <a:pt x="88" y="161"/>
                  </a:lnTo>
                  <a:lnTo>
                    <a:pt x="88" y="160"/>
                  </a:lnTo>
                  <a:lnTo>
                    <a:pt x="88" y="158"/>
                  </a:lnTo>
                  <a:lnTo>
                    <a:pt x="86" y="158"/>
                  </a:lnTo>
                  <a:lnTo>
                    <a:pt x="84" y="158"/>
                  </a:lnTo>
                  <a:lnTo>
                    <a:pt x="86" y="158"/>
                  </a:lnTo>
                  <a:lnTo>
                    <a:pt x="86" y="156"/>
                  </a:lnTo>
                  <a:lnTo>
                    <a:pt x="86" y="158"/>
                  </a:lnTo>
                  <a:lnTo>
                    <a:pt x="86" y="156"/>
                  </a:lnTo>
                  <a:lnTo>
                    <a:pt x="88" y="156"/>
                  </a:lnTo>
                  <a:lnTo>
                    <a:pt x="89" y="156"/>
                  </a:lnTo>
                  <a:lnTo>
                    <a:pt x="89" y="158"/>
                  </a:lnTo>
                  <a:lnTo>
                    <a:pt x="91" y="158"/>
                  </a:lnTo>
                  <a:lnTo>
                    <a:pt x="89" y="158"/>
                  </a:lnTo>
                  <a:lnTo>
                    <a:pt x="89" y="156"/>
                  </a:lnTo>
                  <a:lnTo>
                    <a:pt x="91" y="156"/>
                  </a:lnTo>
                  <a:lnTo>
                    <a:pt x="94" y="158"/>
                  </a:lnTo>
                  <a:lnTo>
                    <a:pt x="96" y="158"/>
                  </a:lnTo>
                  <a:lnTo>
                    <a:pt x="96" y="160"/>
                  </a:lnTo>
                  <a:lnTo>
                    <a:pt x="92" y="160"/>
                  </a:lnTo>
                  <a:lnTo>
                    <a:pt x="91" y="160"/>
                  </a:lnTo>
                  <a:lnTo>
                    <a:pt x="89" y="160"/>
                  </a:lnTo>
                  <a:lnTo>
                    <a:pt x="89" y="158"/>
                  </a:lnTo>
                  <a:lnTo>
                    <a:pt x="88" y="160"/>
                  </a:lnTo>
                  <a:lnTo>
                    <a:pt x="89" y="160"/>
                  </a:lnTo>
                  <a:lnTo>
                    <a:pt x="91" y="160"/>
                  </a:lnTo>
                  <a:lnTo>
                    <a:pt x="92" y="160"/>
                  </a:lnTo>
                  <a:lnTo>
                    <a:pt x="94" y="160"/>
                  </a:lnTo>
                  <a:lnTo>
                    <a:pt x="96" y="161"/>
                  </a:lnTo>
                  <a:lnTo>
                    <a:pt x="96" y="160"/>
                  </a:lnTo>
                  <a:lnTo>
                    <a:pt x="97" y="160"/>
                  </a:lnTo>
                  <a:lnTo>
                    <a:pt x="99" y="160"/>
                  </a:lnTo>
                  <a:lnTo>
                    <a:pt x="99" y="161"/>
                  </a:lnTo>
                  <a:lnTo>
                    <a:pt x="101" y="161"/>
                  </a:lnTo>
                  <a:lnTo>
                    <a:pt x="102" y="161"/>
                  </a:lnTo>
                  <a:lnTo>
                    <a:pt x="101" y="161"/>
                  </a:lnTo>
                  <a:lnTo>
                    <a:pt x="101" y="160"/>
                  </a:lnTo>
                  <a:lnTo>
                    <a:pt x="102" y="160"/>
                  </a:lnTo>
                  <a:lnTo>
                    <a:pt x="104" y="161"/>
                  </a:lnTo>
                  <a:lnTo>
                    <a:pt x="105" y="161"/>
                  </a:lnTo>
                  <a:lnTo>
                    <a:pt x="107" y="163"/>
                  </a:lnTo>
                  <a:lnTo>
                    <a:pt x="107" y="161"/>
                  </a:lnTo>
                  <a:lnTo>
                    <a:pt x="107" y="163"/>
                  </a:lnTo>
                  <a:lnTo>
                    <a:pt x="110" y="163"/>
                  </a:lnTo>
                  <a:lnTo>
                    <a:pt x="112" y="163"/>
                  </a:lnTo>
                  <a:lnTo>
                    <a:pt x="114" y="164"/>
                  </a:lnTo>
                  <a:lnTo>
                    <a:pt x="115" y="164"/>
                  </a:lnTo>
                  <a:lnTo>
                    <a:pt x="117" y="164"/>
                  </a:lnTo>
                  <a:lnTo>
                    <a:pt x="118" y="164"/>
                  </a:lnTo>
                  <a:lnTo>
                    <a:pt x="118" y="163"/>
                  </a:lnTo>
                  <a:lnTo>
                    <a:pt x="117" y="163"/>
                  </a:lnTo>
                  <a:lnTo>
                    <a:pt x="115" y="163"/>
                  </a:lnTo>
                  <a:lnTo>
                    <a:pt x="114" y="161"/>
                  </a:lnTo>
                  <a:lnTo>
                    <a:pt x="112" y="163"/>
                  </a:lnTo>
                  <a:lnTo>
                    <a:pt x="112" y="161"/>
                  </a:lnTo>
                  <a:lnTo>
                    <a:pt x="112" y="163"/>
                  </a:lnTo>
                  <a:lnTo>
                    <a:pt x="112" y="161"/>
                  </a:lnTo>
                  <a:lnTo>
                    <a:pt x="110" y="161"/>
                  </a:lnTo>
                  <a:lnTo>
                    <a:pt x="112" y="161"/>
                  </a:lnTo>
                  <a:lnTo>
                    <a:pt x="109" y="161"/>
                  </a:lnTo>
                  <a:lnTo>
                    <a:pt x="109" y="160"/>
                  </a:lnTo>
                  <a:lnTo>
                    <a:pt x="107" y="160"/>
                  </a:lnTo>
                  <a:lnTo>
                    <a:pt x="105" y="160"/>
                  </a:lnTo>
                  <a:lnTo>
                    <a:pt x="105" y="158"/>
                  </a:lnTo>
                  <a:lnTo>
                    <a:pt x="107" y="158"/>
                  </a:lnTo>
                  <a:lnTo>
                    <a:pt x="107" y="156"/>
                  </a:lnTo>
                  <a:lnTo>
                    <a:pt x="105" y="156"/>
                  </a:lnTo>
                  <a:lnTo>
                    <a:pt x="105" y="155"/>
                  </a:lnTo>
                  <a:lnTo>
                    <a:pt x="104" y="155"/>
                  </a:lnTo>
                  <a:lnTo>
                    <a:pt x="105" y="155"/>
                  </a:lnTo>
                  <a:lnTo>
                    <a:pt x="105" y="153"/>
                  </a:lnTo>
                  <a:lnTo>
                    <a:pt x="104" y="153"/>
                  </a:lnTo>
                  <a:lnTo>
                    <a:pt x="104" y="151"/>
                  </a:lnTo>
                  <a:lnTo>
                    <a:pt x="105" y="151"/>
                  </a:lnTo>
                  <a:lnTo>
                    <a:pt x="107" y="153"/>
                  </a:lnTo>
                  <a:lnTo>
                    <a:pt x="109" y="153"/>
                  </a:lnTo>
                  <a:lnTo>
                    <a:pt x="110" y="155"/>
                  </a:lnTo>
                  <a:lnTo>
                    <a:pt x="110" y="153"/>
                  </a:lnTo>
                  <a:lnTo>
                    <a:pt x="112" y="153"/>
                  </a:lnTo>
                  <a:lnTo>
                    <a:pt x="114" y="153"/>
                  </a:lnTo>
                  <a:lnTo>
                    <a:pt x="115" y="153"/>
                  </a:lnTo>
                  <a:lnTo>
                    <a:pt x="118" y="155"/>
                  </a:lnTo>
                  <a:lnTo>
                    <a:pt x="120" y="156"/>
                  </a:lnTo>
                  <a:lnTo>
                    <a:pt x="123" y="158"/>
                  </a:lnTo>
                  <a:lnTo>
                    <a:pt x="125" y="158"/>
                  </a:lnTo>
                  <a:lnTo>
                    <a:pt x="127" y="158"/>
                  </a:lnTo>
                  <a:lnTo>
                    <a:pt x="125" y="158"/>
                  </a:lnTo>
                  <a:lnTo>
                    <a:pt x="125" y="156"/>
                  </a:lnTo>
                  <a:lnTo>
                    <a:pt x="123" y="156"/>
                  </a:lnTo>
                  <a:lnTo>
                    <a:pt x="123" y="155"/>
                  </a:lnTo>
                  <a:lnTo>
                    <a:pt x="125" y="153"/>
                  </a:lnTo>
                  <a:lnTo>
                    <a:pt x="125" y="155"/>
                  </a:lnTo>
                  <a:lnTo>
                    <a:pt x="127" y="155"/>
                  </a:lnTo>
                  <a:lnTo>
                    <a:pt x="128" y="155"/>
                  </a:lnTo>
                  <a:lnTo>
                    <a:pt x="130" y="155"/>
                  </a:lnTo>
                  <a:lnTo>
                    <a:pt x="131" y="155"/>
                  </a:lnTo>
                  <a:lnTo>
                    <a:pt x="133" y="155"/>
                  </a:lnTo>
                  <a:lnTo>
                    <a:pt x="135" y="155"/>
                  </a:lnTo>
                  <a:lnTo>
                    <a:pt x="136" y="155"/>
                  </a:lnTo>
                  <a:lnTo>
                    <a:pt x="138" y="155"/>
                  </a:lnTo>
                  <a:lnTo>
                    <a:pt x="140" y="155"/>
                  </a:lnTo>
                  <a:lnTo>
                    <a:pt x="141" y="155"/>
                  </a:lnTo>
                  <a:lnTo>
                    <a:pt x="143" y="155"/>
                  </a:lnTo>
                  <a:lnTo>
                    <a:pt x="144" y="155"/>
                  </a:lnTo>
                  <a:lnTo>
                    <a:pt x="144" y="153"/>
                  </a:lnTo>
                  <a:lnTo>
                    <a:pt x="146" y="153"/>
                  </a:lnTo>
                  <a:lnTo>
                    <a:pt x="148" y="155"/>
                  </a:lnTo>
                  <a:lnTo>
                    <a:pt x="149" y="155"/>
                  </a:lnTo>
                  <a:lnTo>
                    <a:pt x="151" y="156"/>
                  </a:lnTo>
                  <a:lnTo>
                    <a:pt x="153" y="158"/>
                  </a:lnTo>
                  <a:lnTo>
                    <a:pt x="154" y="160"/>
                  </a:lnTo>
                  <a:lnTo>
                    <a:pt x="156" y="160"/>
                  </a:lnTo>
                  <a:lnTo>
                    <a:pt x="156" y="158"/>
                  </a:lnTo>
                  <a:lnTo>
                    <a:pt x="157" y="158"/>
                  </a:lnTo>
                  <a:lnTo>
                    <a:pt x="156" y="158"/>
                  </a:lnTo>
                  <a:lnTo>
                    <a:pt x="156" y="156"/>
                  </a:lnTo>
                  <a:lnTo>
                    <a:pt x="154" y="156"/>
                  </a:lnTo>
                  <a:lnTo>
                    <a:pt x="156" y="156"/>
                  </a:lnTo>
                  <a:lnTo>
                    <a:pt x="156" y="155"/>
                  </a:lnTo>
                  <a:lnTo>
                    <a:pt x="154" y="155"/>
                  </a:lnTo>
                  <a:lnTo>
                    <a:pt x="153" y="155"/>
                  </a:lnTo>
                  <a:lnTo>
                    <a:pt x="151" y="155"/>
                  </a:lnTo>
                  <a:lnTo>
                    <a:pt x="151" y="153"/>
                  </a:lnTo>
                  <a:lnTo>
                    <a:pt x="153" y="153"/>
                  </a:lnTo>
                  <a:lnTo>
                    <a:pt x="151" y="153"/>
                  </a:lnTo>
                  <a:lnTo>
                    <a:pt x="153" y="151"/>
                  </a:lnTo>
                  <a:lnTo>
                    <a:pt x="154" y="151"/>
                  </a:lnTo>
                  <a:lnTo>
                    <a:pt x="156" y="151"/>
                  </a:lnTo>
                  <a:lnTo>
                    <a:pt x="157" y="151"/>
                  </a:lnTo>
                  <a:lnTo>
                    <a:pt x="157" y="150"/>
                  </a:lnTo>
                  <a:lnTo>
                    <a:pt x="159" y="148"/>
                  </a:lnTo>
                  <a:lnTo>
                    <a:pt x="159" y="147"/>
                  </a:lnTo>
                  <a:lnTo>
                    <a:pt x="159" y="145"/>
                  </a:lnTo>
                  <a:lnTo>
                    <a:pt x="157" y="145"/>
                  </a:lnTo>
                  <a:lnTo>
                    <a:pt x="159" y="145"/>
                  </a:lnTo>
                  <a:lnTo>
                    <a:pt x="159" y="143"/>
                  </a:lnTo>
                  <a:lnTo>
                    <a:pt x="159" y="142"/>
                  </a:lnTo>
                  <a:lnTo>
                    <a:pt x="157" y="142"/>
                  </a:lnTo>
                  <a:lnTo>
                    <a:pt x="157" y="143"/>
                  </a:lnTo>
                  <a:lnTo>
                    <a:pt x="156" y="145"/>
                  </a:lnTo>
                  <a:lnTo>
                    <a:pt x="156" y="147"/>
                  </a:lnTo>
                  <a:lnTo>
                    <a:pt x="154" y="148"/>
                  </a:lnTo>
                  <a:lnTo>
                    <a:pt x="153" y="148"/>
                  </a:lnTo>
                  <a:lnTo>
                    <a:pt x="151" y="148"/>
                  </a:lnTo>
                  <a:lnTo>
                    <a:pt x="149" y="148"/>
                  </a:lnTo>
                  <a:lnTo>
                    <a:pt x="148" y="148"/>
                  </a:lnTo>
                  <a:lnTo>
                    <a:pt x="146" y="148"/>
                  </a:lnTo>
                  <a:lnTo>
                    <a:pt x="143" y="150"/>
                  </a:lnTo>
                  <a:lnTo>
                    <a:pt x="141" y="150"/>
                  </a:lnTo>
                  <a:lnTo>
                    <a:pt x="141" y="151"/>
                  </a:lnTo>
                  <a:lnTo>
                    <a:pt x="140" y="151"/>
                  </a:lnTo>
                  <a:lnTo>
                    <a:pt x="138" y="151"/>
                  </a:lnTo>
                  <a:lnTo>
                    <a:pt x="136" y="150"/>
                  </a:lnTo>
                  <a:lnTo>
                    <a:pt x="133" y="151"/>
                  </a:lnTo>
                  <a:lnTo>
                    <a:pt x="131" y="150"/>
                  </a:lnTo>
                  <a:lnTo>
                    <a:pt x="131" y="151"/>
                  </a:lnTo>
                  <a:lnTo>
                    <a:pt x="130" y="151"/>
                  </a:lnTo>
                  <a:lnTo>
                    <a:pt x="128" y="151"/>
                  </a:lnTo>
                  <a:lnTo>
                    <a:pt x="125" y="150"/>
                  </a:lnTo>
                  <a:lnTo>
                    <a:pt x="123" y="150"/>
                  </a:lnTo>
                  <a:lnTo>
                    <a:pt x="122" y="150"/>
                  </a:lnTo>
                  <a:lnTo>
                    <a:pt x="122" y="151"/>
                  </a:lnTo>
                  <a:lnTo>
                    <a:pt x="120" y="151"/>
                  </a:lnTo>
                  <a:lnTo>
                    <a:pt x="117" y="150"/>
                  </a:lnTo>
                  <a:lnTo>
                    <a:pt x="118" y="148"/>
                  </a:lnTo>
                  <a:lnTo>
                    <a:pt x="117" y="148"/>
                  </a:lnTo>
                  <a:lnTo>
                    <a:pt x="115" y="148"/>
                  </a:lnTo>
                  <a:lnTo>
                    <a:pt x="114" y="148"/>
                  </a:lnTo>
                  <a:lnTo>
                    <a:pt x="112" y="148"/>
                  </a:lnTo>
                  <a:lnTo>
                    <a:pt x="112" y="147"/>
                  </a:lnTo>
                  <a:lnTo>
                    <a:pt x="110" y="145"/>
                  </a:lnTo>
                  <a:lnTo>
                    <a:pt x="109" y="145"/>
                  </a:lnTo>
                  <a:lnTo>
                    <a:pt x="109" y="143"/>
                  </a:lnTo>
                  <a:lnTo>
                    <a:pt x="110" y="143"/>
                  </a:lnTo>
                  <a:lnTo>
                    <a:pt x="110" y="142"/>
                  </a:lnTo>
                  <a:lnTo>
                    <a:pt x="110" y="140"/>
                  </a:lnTo>
                  <a:lnTo>
                    <a:pt x="112" y="140"/>
                  </a:lnTo>
                  <a:lnTo>
                    <a:pt x="114" y="142"/>
                  </a:lnTo>
                  <a:lnTo>
                    <a:pt x="114" y="140"/>
                  </a:lnTo>
                  <a:lnTo>
                    <a:pt x="114" y="142"/>
                  </a:lnTo>
                  <a:lnTo>
                    <a:pt x="115" y="142"/>
                  </a:lnTo>
                  <a:lnTo>
                    <a:pt x="117" y="142"/>
                  </a:lnTo>
                  <a:lnTo>
                    <a:pt x="118" y="142"/>
                  </a:lnTo>
                  <a:lnTo>
                    <a:pt x="120" y="142"/>
                  </a:lnTo>
                  <a:lnTo>
                    <a:pt x="122" y="142"/>
                  </a:lnTo>
                  <a:lnTo>
                    <a:pt x="123" y="143"/>
                  </a:lnTo>
                  <a:lnTo>
                    <a:pt x="123" y="142"/>
                  </a:lnTo>
                  <a:lnTo>
                    <a:pt x="123" y="143"/>
                  </a:lnTo>
                  <a:lnTo>
                    <a:pt x="125" y="143"/>
                  </a:lnTo>
                  <a:lnTo>
                    <a:pt x="125" y="145"/>
                  </a:lnTo>
                  <a:lnTo>
                    <a:pt x="127" y="145"/>
                  </a:lnTo>
                  <a:lnTo>
                    <a:pt x="128" y="145"/>
                  </a:lnTo>
                  <a:lnTo>
                    <a:pt x="128" y="143"/>
                  </a:lnTo>
                  <a:lnTo>
                    <a:pt x="127" y="143"/>
                  </a:lnTo>
                  <a:lnTo>
                    <a:pt x="125" y="143"/>
                  </a:lnTo>
                  <a:lnTo>
                    <a:pt x="123" y="142"/>
                  </a:lnTo>
                  <a:lnTo>
                    <a:pt x="123" y="140"/>
                  </a:lnTo>
                  <a:lnTo>
                    <a:pt x="123" y="138"/>
                  </a:lnTo>
                  <a:lnTo>
                    <a:pt x="122" y="138"/>
                  </a:lnTo>
                  <a:lnTo>
                    <a:pt x="120" y="137"/>
                  </a:lnTo>
                  <a:lnTo>
                    <a:pt x="120" y="135"/>
                  </a:lnTo>
                  <a:lnTo>
                    <a:pt x="118" y="135"/>
                  </a:lnTo>
                  <a:lnTo>
                    <a:pt x="117" y="135"/>
                  </a:lnTo>
                  <a:lnTo>
                    <a:pt x="115" y="135"/>
                  </a:lnTo>
                  <a:lnTo>
                    <a:pt x="115" y="134"/>
                  </a:lnTo>
                  <a:lnTo>
                    <a:pt x="117" y="134"/>
                  </a:lnTo>
                  <a:lnTo>
                    <a:pt x="118" y="134"/>
                  </a:lnTo>
                  <a:lnTo>
                    <a:pt x="118" y="132"/>
                  </a:lnTo>
                  <a:lnTo>
                    <a:pt x="117" y="132"/>
                  </a:lnTo>
                  <a:lnTo>
                    <a:pt x="115" y="132"/>
                  </a:lnTo>
                  <a:lnTo>
                    <a:pt x="114" y="132"/>
                  </a:lnTo>
                  <a:lnTo>
                    <a:pt x="112" y="130"/>
                  </a:lnTo>
                  <a:lnTo>
                    <a:pt x="114" y="132"/>
                  </a:lnTo>
                  <a:lnTo>
                    <a:pt x="114" y="134"/>
                  </a:lnTo>
                  <a:lnTo>
                    <a:pt x="112" y="134"/>
                  </a:lnTo>
                  <a:lnTo>
                    <a:pt x="110" y="134"/>
                  </a:lnTo>
                  <a:lnTo>
                    <a:pt x="109" y="134"/>
                  </a:lnTo>
                  <a:lnTo>
                    <a:pt x="107" y="135"/>
                  </a:lnTo>
                  <a:lnTo>
                    <a:pt x="107" y="137"/>
                  </a:lnTo>
                  <a:lnTo>
                    <a:pt x="105" y="137"/>
                  </a:lnTo>
                  <a:lnTo>
                    <a:pt x="104" y="138"/>
                  </a:lnTo>
                  <a:lnTo>
                    <a:pt x="104" y="137"/>
                  </a:lnTo>
                  <a:lnTo>
                    <a:pt x="102" y="138"/>
                  </a:lnTo>
                  <a:lnTo>
                    <a:pt x="102" y="140"/>
                  </a:lnTo>
                  <a:lnTo>
                    <a:pt x="101" y="140"/>
                  </a:lnTo>
                  <a:lnTo>
                    <a:pt x="99" y="140"/>
                  </a:lnTo>
                  <a:lnTo>
                    <a:pt x="101" y="138"/>
                  </a:lnTo>
                  <a:lnTo>
                    <a:pt x="99" y="138"/>
                  </a:lnTo>
                  <a:lnTo>
                    <a:pt x="97" y="138"/>
                  </a:lnTo>
                  <a:lnTo>
                    <a:pt x="97" y="137"/>
                  </a:lnTo>
                  <a:lnTo>
                    <a:pt x="96" y="135"/>
                  </a:lnTo>
                  <a:lnTo>
                    <a:pt x="97" y="135"/>
                  </a:lnTo>
                  <a:lnTo>
                    <a:pt x="96" y="134"/>
                  </a:lnTo>
                  <a:lnTo>
                    <a:pt x="97" y="134"/>
                  </a:lnTo>
                  <a:lnTo>
                    <a:pt x="96" y="134"/>
                  </a:lnTo>
                  <a:lnTo>
                    <a:pt x="94" y="134"/>
                  </a:lnTo>
                  <a:lnTo>
                    <a:pt x="94" y="132"/>
                  </a:lnTo>
                  <a:lnTo>
                    <a:pt x="92" y="132"/>
                  </a:lnTo>
                  <a:lnTo>
                    <a:pt x="94" y="132"/>
                  </a:lnTo>
                  <a:lnTo>
                    <a:pt x="92" y="132"/>
                  </a:lnTo>
                  <a:lnTo>
                    <a:pt x="94" y="132"/>
                  </a:lnTo>
                  <a:lnTo>
                    <a:pt x="94" y="130"/>
                  </a:lnTo>
                  <a:lnTo>
                    <a:pt x="94" y="129"/>
                  </a:lnTo>
                  <a:lnTo>
                    <a:pt x="92" y="129"/>
                  </a:lnTo>
                  <a:lnTo>
                    <a:pt x="94" y="129"/>
                  </a:lnTo>
                  <a:lnTo>
                    <a:pt x="92" y="127"/>
                  </a:lnTo>
                  <a:lnTo>
                    <a:pt x="94" y="127"/>
                  </a:lnTo>
                  <a:lnTo>
                    <a:pt x="92" y="127"/>
                  </a:lnTo>
                  <a:lnTo>
                    <a:pt x="94" y="127"/>
                  </a:lnTo>
                  <a:lnTo>
                    <a:pt x="96" y="127"/>
                  </a:lnTo>
                  <a:lnTo>
                    <a:pt x="96" y="125"/>
                  </a:lnTo>
                  <a:lnTo>
                    <a:pt x="96" y="124"/>
                  </a:lnTo>
                  <a:lnTo>
                    <a:pt x="97" y="124"/>
                  </a:lnTo>
                  <a:lnTo>
                    <a:pt x="97" y="125"/>
                  </a:lnTo>
                  <a:lnTo>
                    <a:pt x="99" y="125"/>
                  </a:lnTo>
                  <a:lnTo>
                    <a:pt x="101" y="125"/>
                  </a:lnTo>
                  <a:lnTo>
                    <a:pt x="101" y="127"/>
                  </a:lnTo>
                  <a:lnTo>
                    <a:pt x="101" y="125"/>
                  </a:lnTo>
                  <a:lnTo>
                    <a:pt x="101" y="127"/>
                  </a:lnTo>
                  <a:lnTo>
                    <a:pt x="102" y="127"/>
                  </a:lnTo>
                  <a:lnTo>
                    <a:pt x="102" y="129"/>
                  </a:lnTo>
                  <a:lnTo>
                    <a:pt x="102" y="127"/>
                  </a:lnTo>
                  <a:lnTo>
                    <a:pt x="104" y="127"/>
                  </a:lnTo>
                  <a:lnTo>
                    <a:pt x="105" y="129"/>
                  </a:lnTo>
                  <a:lnTo>
                    <a:pt x="105" y="130"/>
                  </a:lnTo>
                  <a:lnTo>
                    <a:pt x="109" y="132"/>
                  </a:lnTo>
                  <a:lnTo>
                    <a:pt x="109" y="130"/>
                  </a:lnTo>
                  <a:lnTo>
                    <a:pt x="110" y="130"/>
                  </a:lnTo>
                  <a:lnTo>
                    <a:pt x="110" y="129"/>
                  </a:lnTo>
                  <a:lnTo>
                    <a:pt x="112" y="129"/>
                  </a:lnTo>
                  <a:lnTo>
                    <a:pt x="112" y="130"/>
                  </a:lnTo>
                  <a:lnTo>
                    <a:pt x="112" y="129"/>
                  </a:lnTo>
                  <a:lnTo>
                    <a:pt x="112" y="130"/>
                  </a:lnTo>
                  <a:lnTo>
                    <a:pt x="115" y="130"/>
                  </a:lnTo>
                  <a:lnTo>
                    <a:pt x="118" y="130"/>
                  </a:lnTo>
                  <a:lnTo>
                    <a:pt x="120" y="132"/>
                  </a:lnTo>
                  <a:lnTo>
                    <a:pt x="122" y="132"/>
                  </a:lnTo>
                  <a:lnTo>
                    <a:pt x="123" y="132"/>
                  </a:lnTo>
                  <a:lnTo>
                    <a:pt x="125" y="132"/>
                  </a:lnTo>
                  <a:lnTo>
                    <a:pt x="127" y="132"/>
                  </a:lnTo>
                  <a:lnTo>
                    <a:pt x="127" y="130"/>
                  </a:lnTo>
                  <a:lnTo>
                    <a:pt x="125" y="130"/>
                  </a:lnTo>
                  <a:lnTo>
                    <a:pt x="123" y="130"/>
                  </a:lnTo>
                  <a:lnTo>
                    <a:pt x="122" y="129"/>
                  </a:lnTo>
                  <a:lnTo>
                    <a:pt x="120" y="129"/>
                  </a:lnTo>
                  <a:lnTo>
                    <a:pt x="118" y="129"/>
                  </a:lnTo>
                  <a:lnTo>
                    <a:pt x="117" y="127"/>
                  </a:lnTo>
                  <a:lnTo>
                    <a:pt x="118" y="127"/>
                  </a:lnTo>
                  <a:lnTo>
                    <a:pt x="118" y="125"/>
                  </a:lnTo>
                  <a:lnTo>
                    <a:pt x="120" y="125"/>
                  </a:lnTo>
                  <a:lnTo>
                    <a:pt x="118" y="125"/>
                  </a:lnTo>
                  <a:lnTo>
                    <a:pt x="117" y="125"/>
                  </a:lnTo>
                  <a:lnTo>
                    <a:pt x="117" y="127"/>
                  </a:lnTo>
                  <a:lnTo>
                    <a:pt x="115" y="127"/>
                  </a:lnTo>
                  <a:lnTo>
                    <a:pt x="114" y="127"/>
                  </a:lnTo>
                  <a:lnTo>
                    <a:pt x="112" y="127"/>
                  </a:lnTo>
                  <a:lnTo>
                    <a:pt x="110" y="127"/>
                  </a:lnTo>
                  <a:lnTo>
                    <a:pt x="109" y="127"/>
                  </a:lnTo>
                  <a:lnTo>
                    <a:pt x="107" y="127"/>
                  </a:lnTo>
                  <a:lnTo>
                    <a:pt x="107" y="125"/>
                  </a:lnTo>
                  <a:lnTo>
                    <a:pt x="107" y="124"/>
                  </a:lnTo>
                  <a:lnTo>
                    <a:pt x="105" y="124"/>
                  </a:lnTo>
                  <a:lnTo>
                    <a:pt x="105" y="125"/>
                  </a:lnTo>
                  <a:lnTo>
                    <a:pt x="105" y="127"/>
                  </a:lnTo>
                  <a:lnTo>
                    <a:pt x="105" y="125"/>
                  </a:lnTo>
                  <a:lnTo>
                    <a:pt x="104" y="127"/>
                  </a:lnTo>
                  <a:lnTo>
                    <a:pt x="104" y="125"/>
                  </a:lnTo>
                  <a:lnTo>
                    <a:pt x="102" y="125"/>
                  </a:lnTo>
                  <a:lnTo>
                    <a:pt x="102" y="124"/>
                  </a:lnTo>
                  <a:lnTo>
                    <a:pt x="101" y="122"/>
                  </a:lnTo>
                  <a:lnTo>
                    <a:pt x="102" y="122"/>
                  </a:lnTo>
                  <a:lnTo>
                    <a:pt x="101" y="122"/>
                  </a:lnTo>
                  <a:lnTo>
                    <a:pt x="102" y="120"/>
                  </a:lnTo>
                  <a:lnTo>
                    <a:pt x="104" y="120"/>
                  </a:lnTo>
                  <a:lnTo>
                    <a:pt x="105" y="120"/>
                  </a:lnTo>
                  <a:lnTo>
                    <a:pt x="105" y="122"/>
                  </a:lnTo>
                  <a:lnTo>
                    <a:pt x="105" y="120"/>
                  </a:lnTo>
                  <a:lnTo>
                    <a:pt x="107" y="122"/>
                  </a:lnTo>
                  <a:lnTo>
                    <a:pt x="109" y="122"/>
                  </a:lnTo>
                  <a:lnTo>
                    <a:pt x="110" y="122"/>
                  </a:lnTo>
                  <a:lnTo>
                    <a:pt x="112" y="122"/>
                  </a:lnTo>
                  <a:lnTo>
                    <a:pt x="114" y="122"/>
                  </a:lnTo>
                  <a:lnTo>
                    <a:pt x="115" y="124"/>
                  </a:lnTo>
                  <a:lnTo>
                    <a:pt x="115" y="122"/>
                  </a:lnTo>
                  <a:lnTo>
                    <a:pt x="117" y="124"/>
                  </a:lnTo>
                  <a:lnTo>
                    <a:pt x="118" y="124"/>
                  </a:lnTo>
                  <a:lnTo>
                    <a:pt x="120" y="124"/>
                  </a:lnTo>
                  <a:lnTo>
                    <a:pt x="122" y="124"/>
                  </a:lnTo>
                  <a:lnTo>
                    <a:pt x="122" y="125"/>
                  </a:lnTo>
                  <a:lnTo>
                    <a:pt x="123" y="125"/>
                  </a:lnTo>
                  <a:lnTo>
                    <a:pt x="125" y="125"/>
                  </a:lnTo>
                  <a:lnTo>
                    <a:pt x="127" y="125"/>
                  </a:lnTo>
                  <a:lnTo>
                    <a:pt x="128" y="125"/>
                  </a:lnTo>
                  <a:lnTo>
                    <a:pt x="128" y="127"/>
                  </a:lnTo>
                  <a:lnTo>
                    <a:pt x="130" y="127"/>
                  </a:lnTo>
                  <a:lnTo>
                    <a:pt x="128" y="127"/>
                  </a:lnTo>
                  <a:lnTo>
                    <a:pt x="130" y="127"/>
                  </a:lnTo>
                  <a:lnTo>
                    <a:pt x="131" y="127"/>
                  </a:lnTo>
                  <a:lnTo>
                    <a:pt x="131" y="129"/>
                  </a:lnTo>
                  <a:lnTo>
                    <a:pt x="133" y="129"/>
                  </a:lnTo>
                  <a:lnTo>
                    <a:pt x="135" y="130"/>
                  </a:lnTo>
                  <a:lnTo>
                    <a:pt x="135" y="132"/>
                  </a:lnTo>
                  <a:lnTo>
                    <a:pt x="136" y="134"/>
                  </a:lnTo>
                  <a:lnTo>
                    <a:pt x="138" y="134"/>
                  </a:lnTo>
                  <a:lnTo>
                    <a:pt x="140" y="135"/>
                  </a:lnTo>
                  <a:lnTo>
                    <a:pt x="143" y="137"/>
                  </a:lnTo>
                  <a:lnTo>
                    <a:pt x="146" y="137"/>
                  </a:lnTo>
                  <a:lnTo>
                    <a:pt x="148" y="137"/>
                  </a:lnTo>
                  <a:lnTo>
                    <a:pt x="151" y="138"/>
                  </a:lnTo>
                  <a:lnTo>
                    <a:pt x="153" y="140"/>
                  </a:lnTo>
                  <a:lnTo>
                    <a:pt x="154" y="140"/>
                  </a:lnTo>
                  <a:lnTo>
                    <a:pt x="156" y="138"/>
                  </a:lnTo>
                  <a:lnTo>
                    <a:pt x="157" y="138"/>
                  </a:lnTo>
                  <a:lnTo>
                    <a:pt x="156" y="138"/>
                  </a:lnTo>
                  <a:lnTo>
                    <a:pt x="157" y="138"/>
                  </a:lnTo>
                  <a:lnTo>
                    <a:pt x="159" y="138"/>
                  </a:lnTo>
                  <a:lnTo>
                    <a:pt x="159" y="137"/>
                  </a:lnTo>
                  <a:lnTo>
                    <a:pt x="157" y="137"/>
                  </a:lnTo>
                  <a:lnTo>
                    <a:pt x="159" y="137"/>
                  </a:lnTo>
                  <a:lnTo>
                    <a:pt x="161" y="137"/>
                  </a:lnTo>
                  <a:lnTo>
                    <a:pt x="162" y="138"/>
                  </a:lnTo>
                  <a:lnTo>
                    <a:pt x="164" y="138"/>
                  </a:lnTo>
                  <a:lnTo>
                    <a:pt x="164" y="137"/>
                  </a:lnTo>
                  <a:lnTo>
                    <a:pt x="166" y="138"/>
                  </a:lnTo>
                  <a:lnTo>
                    <a:pt x="167" y="138"/>
                  </a:lnTo>
                  <a:lnTo>
                    <a:pt x="169" y="138"/>
                  </a:lnTo>
                  <a:lnTo>
                    <a:pt x="172" y="138"/>
                  </a:lnTo>
                  <a:lnTo>
                    <a:pt x="174" y="138"/>
                  </a:lnTo>
                  <a:lnTo>
                    <a:pt x="175" y="138"/>
                  </a:lnTo>
                  <a:lnTo>
                    <a:pt x="175" y="140"/>
                  </a:lnTo>
                  <a:lnTo>
                    <a:pt x="177" y="140"/>
                  </a:lnTo>
                  <a:lnTo>
                    <a:pt x="177" y="138"/>
                  </a:lnTo>
                  <a:lnTo>
                    <a:pt x="179" y="138"/>
                  </a:lnTo>
                  <a:lnTo>
                    <a:pt x="179" y="137"/>
                  </a:lnTo>
                  <a:lnTo>
                    <a:pt x="180" y="135"/>
                  </a:lnTo>
                  <a:lnTo>
                    <a:pt x="182" y="135"/>
                  </a:lnTo>
                  <a:lnTo>
                    <a:pt x="183" y="135"/>
                  </a:lnTo>
                  <a:lnTo>
                    <a:pt x="185" y="135"/>
                  </a:lnTo>
                  <a:lnTo>
                    <a:pt x="187" y="135"/>
                  </a:lnTo>
                  <a:lnTo>
                    <a:pt x="187" y="134"/>
                  </a:lnTo>
                  <a:lnTo>
                    <a:pt x="188" y="134"/>
                  </a:lnTo>
                  <a:lnTo>
                    <a:pt x="188" y="132"/>
                  </a:lnTo>
                  <a:lnTo>
                    <a:pt x="187" y="130"/>
                  </a:lnTo>
                  <a:lnTo>
                    <a:pt x="185" y="132"/>
                  </a:lnTo>
                  <a:lnTo>
                    <a:pt x="183" y="132"/>
                  </a:lnTo>
                  <a:lnTo>
                    <a:pt x="182" y="132"/>
                  </a:lnTo>
                  <a:lnTo>
                    <a:pt x="180" y="134"/>
                  </a:lnTo>
                  <a:lnTo>
                    <a:pt x="177" y="134"/>
                  </a:lnTo>
                  <a:lnTo>
                    <a:pt x="175" y="135"/>
                  </a:lnTo>
                  <a:lnTo>
                    <a:pt x="174" y="137"/>
                  </a:lnTo>
                  <a:lnTo>
                    <a:pt x="172" y="137"/>
                  </a:lnTo>
                  <a:lnTo>
                    <a:pt x="170" y="137"/>
                  </a:lnTo>
                  <a:lnTo>
                    <a:pt x="169" y="135"/>
                  </a:lnTo>
                  <a:lnTo>
                    <a:pt x="169" y="134"/>
                  </a:lnTo>
                  <a:lnTo>
                    <a:pt x="170" y="132"/>
                  </a:lnTo>
                  <a:lnTo>
                    <a:pt x="172" y="129"/>
                  </a:lnTo>
                  <a:lnTo>
                    <a:pt x="172" y="127"/>
                  </a:lnTo>
                  <a:lnTo>
                    <a:pt x="174" y="125"/>
                  </a:lnTo>
                  <a:lnTo>
                    <a:pt x="174" y="124"/>
                  </a:lnTo>
                  <a:lnTo>
                    <a:pt x="175" y="124"/>
                  </a:lnTo>
                  <a:lnTo>
                    <a:pt x="177" y="124"/>
                  </a:lnTo>
                  <a:lnTo>
                    <a:pt x="179" y="124"/>
                  </a:lnTo>
                  <a:lnTo>
                    <a:pt x="177" y="124"/>
                  </a:lnTo>
                  <a:lnTo>
                    <a:pt x="175" y="124"/>
                  </a:lnTo>
                  <a:lnTo>
                    <a:pt x="177" y="124"/>
                  </a:lnTo>
                  <a:lnTo>
                    <a:pt x="177" y="122"/>
                  </a:lnTo>
                  <a:lnTo>
                    <a:pt x="177" y="120"/>
                  </a:lnTo>
                  <a:lnTo>
                    <a:pt x="179" y="120"/>
                  </a:lnTo>
                  <a:lnTo>
                    <a:pt x="179" y="119"/>
                  </a:lnTo>
                  <a:lnTo>
                    <a:pt x="177" y="119"/>
                  </a:lnTo>
                  <a:lnTo>
                    <a:pt x="177" y="117"/>
                  </a:lnTo>
                  <a:lnTo>
                    <a:pt x="179" y="117"/>
                  </a:lnTo>
                  <a:lnTo>
                    <a:pt x="179" y="116"/>
                  </a:lnTo>
                  <a:lnTo>
                    <a:pt x="179" y="114"/>
                  </a:lnTo>
                  <a:lnTo>
                    <a:pt x="180" y="114"/>
                  </a:lnTo>
                  <a:lnTo>
                    <a:pt x="180" y="112"/>
                  </a:lnTo>
                  <a:lnTo>
                    <a:pt x="182" y="112"/>
                  </a:lnTo>
                  <a:lnTo>
                    <a:pt x="180" y="112"/>
                  </a:lnTo>
                  <a:lnTo>
                    <a:pt x="179" y="114"/>
                  </a:lnTo>
                  <a:lnTo>
                    <a:pt x="177" y="116"/>
                  </a:lnTo>
                  <a:lnTo>
                    <a:pt x="175" y="117"/>
                  </a:lnTo>
                  <a:lnTo>
                    <a:pt x="175" y="119"/>
                  </a:lnTo>
                  <a:lnTo>
                    <a:pt x="172" y="120"/>
                  </a:lnTo>
                  <a:lnTo>
                    <a:pt x="170" y="122"/>
                  </a:lnTo>
                  <a:lnTo>
                    <a:pt x="169" y="124"/>
                  </a:lnTo>
                  <a:lnTo>
                    <a:pt x="169" y="125"/>
                  </a:lnTo>
                  <a:lnTo>
                    <a:pt x="169" y="127"/>
                  </a:lnTo>
                  <a:lnTo>
                    <a:pt x="167" y="129"/>
                  </a:lnTo>
                  <a:lnTo>
                    <a:pt x="167" y="127"/>
                  </a:lnTo>
                  <a:lnTo>
                    <a:pt x="167" y="129"/>
                  </a:lnTo>
                  <a:lnTo>
                    <a:pt x="166" y="129"/>
                  </a:lnTo>
                  <a:lnTo>
                    <a:pt x="164" y="129"/>
                  </a:lnTo>
                  <a:lnTo>
                    <a:pt x="162" y="129"/>
                  </a:lnTo>
                  <a:lnTo>
                    <a:pt x="161" y="130"/>
                  </a:lnTo>
                  <a:lnTo>
                    <a:pt x="161" y="129"/>
                  </a:lnTo>
                  <a:lnTo>
                    <a:pt x="159" y="129"/>
                  </a:lnTo>
                  <a:lnTo>
                    <a:pt x="159" y="130"/>
                  </a:lnTo>
                  <a:lnTo>
                    <a:pt x="157" y="130"/>
                  </a:lnTo>
                  <a:lnTo>
                    <a:pt x="154" y="130"/>
                  </a:lnTo>
                  <a:lnTo>
                    <a:pt x="151" y="132"/>
                  </a:lnTo>
                  <a:lnTo>
                    <a:pt x="149" y="132"/>
                  </a:lnTo>
                  <a:lnTo>
                    <a:pt x="148" y="132"/>
                  </a:lnTo>
                  <a:lnTo>
                    <a:pt x="146" y="130"/>
                  </a:lnTo>
                  <a:lnTo>
                    <a:pt x="143" y="130"/>
                  </a:lnTo>
                  <a:lnTo>
                    <a:pt x="140" y="129"/>
                  </a:lnTo>
                  <a:lnTo>
                    <a:pt x="138" y="129"/>
                  </a:lnTo>
                  <a:lnTo>
                    <a:pt x="136" y="129"/>
                  </a:lnTo>
                  <a:lnTo>
                    <a:pt x="136" y="127"/>
                  </a:lnTo>
                  <a:lnTo>
                    <a:pt x="135" y="127"/>
                  </a:lnTo>
                  <a:lnTo>
                    <a:pt x="133" y="127"/>
                  </a:lnTo>
                  <a:lnTo>
                    <a:pt x="135" y="125"/>
                  </a:lnTo>
                  <a:lnTo>
                    <a:pt x="135" y="127"/>
                  </a:lnTo>
                  <a:lnTo>
                    <a:pt x="135" y="125"/>
                  </a:lnTo>
                  <a:lnTo>
                    <a:pt x="136" y="125"/>
                  </a:lnTo>
                  <a:lnTo>
                    <a:pt x="138" y="125"/>
                  </a:lnTo>
                  <a:lnTo>
                    <a:pt x="136" y="125"/>
                  </a:lnTo>
                  <a:lnTo>
                    <a:pt x="135" y="125"/>
                  </a:lnTo>
                  <a:lnTo>
                    <a:pt x="133" y="124"/>
                  </a:lnTo>
                  <a:lnTo>
                    <a:pt x="131" y="124"/>
                  </a:lnTo>
                  <a:lnTo>
                    <a:pt x="130" y="124"/>
                  </a:lnTo>
                  <a:lnTo>
                    <a:pt x="128" y="122"/>
                  </a:lnTo>
                  <a:lnTo>
                    <a:pt x="127" y="122"/>
                  </a:lnTo>
                  <a:lnTo>
                    <a:pt x="125" y="122"/>
                  </a:lnTo>
                  <a:lnTo>
                    <a:pt x="123" y="122"/>
                  </a:lnTo>
                  <a:lnTo>
                    <a:pt x="122" y="122"/>
                  </a:lnTo>
                  <a:lnTo>
                    <a:pt x="120" y="122"/>
                  </a:lnTo>
                  <a:lnTo>
                    <a:pt x="120" y="120"/>
                  </a:lnTo>
                  <a:lnTo>
                    <a:pt x="120" y="119"/>
                  </a:lnTo>
                  <a:lnTo>
                    <a:pt x="120" y="117"/>
                  </a:lnTo>
                  <a:lnTo>
                    <a:pt x="120" y="116"/>
                  </a:lnTo>
                  <a:lnTo>
                    <a:pt x="122" y="116"/>
                  </a:lnTo>
                  <a:lnTo>
                    <a:pt x="122" y="117"/>
                  </a:lnTo>
                  <a:lnTo>
                    <a:pt x="120" y="117"/>
                  </a:lnTo>
                  <a:lnTo>
                    <a:pt x="122" y="117"/>
                  </a:lnTo>
                  <a:lnTo>
                    <a:pt x="123" y="117"/>
                  </a:lnTo>
                  <a:lnTo>
                    <a:pt x="123" y="116"/>
                  </a:lnTo>
                  <a:lnTo>
                    <a:pt x="122" y="116"/>
                  </a:lnTo>
                  <a:lnTo>
                    <a:pt x="122" y="114"/>
                  </a:lnTo>
                  <a:lnTo>
                    <a:pt x="122" y="112"/>
                  </a:lnTo>
                  <a:lnTo>
                    <a:pt x="123" y="112"/>
                  </a:lnTo>
                  <a:lnTo>
                    <a:pt x="123" y="111"/>
                  </a:lnTo>
                  <a:lnTo>
                    <a:pt x="125" y="111"/>
                  </a:lnTo>
                  <a:lnTo>
                    <a:pt x="128" y="111"/>
                  </a:lnTo>
                  <a:lnTo>
                    <a:pt x="131" y="112"/>
                  </a:lnTo>
                  <a:lnTo>
                    <a:pt x="136" y="114"/>
                  </a:lnTo>
                  <a:lnTo>
                    <a:pt x="140" y="114"/>
                  </a:lnTo>
                  <a:lnTo>
                    <a:pt x="141" y="116"/>
                  </a:lnTo>
                  <a:lnTo>
                    <a:pt x="146" y="117"/>
                  </a:lnTo>
                  <a:lnTo>
                    <a:pt x="148" y="117"/>
                  </a:lnTo>
                  <a:lnTo>
                    <a:pt x="148" y="119"/>
                  </a:lnTo>
                  <a:lnTo>
                    <a:pt x="151" y="120"/>
                  </a:lnTo>
                  <a:lnTo>
                    <a:pt x="153" y="120"/>
                  </a:lnTo>
                  <a:lnTo>
                    <a:pt x="153" y="122"/>
                  </a:lnTo>
                  <a:lnTo>
                    <a:pt x="153" y="120"/>
                  </a:lnTo>
                  <a:lnTo>
                    <a:pt x="154" y="120"/>
                  </a:lnTo>
                  <a:lnTo>
                    <a:pt x="156" y="120"/>
                  </a:lnTo>
                  <a:lnTo>
                    <a:pt x="154" y="119"/>
                  </a:lnTo>
                  <a:lnTo>
                    <a:pt x="154" y="117"/>
                  </a:lnTo>
                  <a:lnTo>
                    <a:pt x="153" y="117"/>
                  </a:lnTo>
                  <a:lnTo>
                    <a:pt x="153" y="116"/>
                  </a:lnTo>
                  <a:lnTo>
                    <a:pt x="151" y="116"/>
                  </a:lnTo>
                  <a:lnTo>
                    <a:pt x="153" y="114"/>
                  </a:lnTo>
                  <a:lnTo>
                    <a:pt x="154" y="114"/>
                  </a:lnTo>
                  <a:lnTo>
                    <a:pt x="156" y="116"/>
                  </a:lnTo>
                  <a:lnTo>
                    <a:pt x="154" y="116"/>
                  </a:lnTo>
                  <a:lnTo>
                    <a:pt x="156" y="116"/>
                  </a:lnTo>
                  <a:lnTo>
                    <a:pt x="157" y="116"/>
                  </a:lnTo>
                  <a:lnTo>
                    <a:pt x="157" y="117"/>
                  </a:lnTo>
                  <a:lnTo>
                    <a:pt x="161" y="119"/>
                  </a:lnTo>
                  <a:lnTo>
                    <a:pt x="159" y="117"/>
                  </a:lnTo>
                  <a:lnTo>
                    <a:pt x="159" y="116"/>
                  </a:lnTo>
                  <a:lnTo>
                    <a:pt x="157" y="116"/>
                  </a:lnTo>
                  <a:lnTo>
                    <a:pt x="157" y="114"/>
                  </a:lnTo>
                  <a:lnTo>
                    <a:pt x="159" y="114"/>
                  </a:lnTo>
                  <a:lnTo>
                    <a:pt x="159" y="112"/>
                  </a:lnTo>
                  <a:lnTo>
                    <a:pt x="161" y="112"/>
                  </a:lnTo>
                  <a:lnTo>
                    <a:pt x="162" y="114"/>
                  </a:lnTo>
                  <a:lnTo>
                    <a:pt x="162" y="116"/>
                  </a:lnTo>
                  <a:lnTo>
                    <a:pt x="162" y="114"/>
                  </a:lnTo>
                  <a:lnTo>
                    <a:pt x="164" y="114"/>
                  </a:lnTo>
                  <a:lnTo>
                    <a:pt x="164" y="116"/>
                  </a:lnTo>
                  <a:lnTo>
                    <a:pt x="164" y="117"/>
                  </a:lnTo>
                  <a:lnTo>
                    <a:pt x="162" y="117"/>
                  </a:lnTo>
                  <a:lnTo>
                    <a:pt x="164" y="117"/>
                  </a:lnTo>
                  <a:lnTo>
                    <a:pt x="162" y="116"/>
                  </a:lnTo>
                  <a:lnTo>
                    <a:pt x="162" y="117"/>
                  </a:lnTo>
                  <a:lnTo>
                    <a:pt x="164" y="117"/>
                  </a:lnTo>
                  <a:lnTo>
                    <a:pt x="166" y="117"/>
                  </a:lnTo>
                  <a:lnTo>
                    <a:pt x="164" y="117"/>
                  </a:lnTo>
                  <a:lnTo>
                    <a:pt x="164" y="116"/>
                  </a:lnTo>
                  <a:lnTo>
                    <a:pt x="164" y="114"/>
                  </a:lnTo>
                  <a:lnTo>
                    <a:pt x="166" y="114"/>
                  </a:lnTo>
                  <a:lnTo>
                    <a:pt x="164" y="114"/>
                  </a:lnTo>
                  <a:lnTo>
                    <a:pt x="164" y="112"/>
                  </a:lnTo>
                  <a:lnTo>
                    <a:pt x="164" y="111"/>
                  </a:lnTo>
                  <a:lnTo>
                    <a:pt x="162" y="109"/>
                  </a:lnTo>
                  <a:lnTo>
                    <a:pt x="161" y="109"/>
                  </a:lnTo>
                  <a:lnTo>
                    <a:pt x="159" y="111"/>
                  </a:lnTo>
                  <a:lnTo>
                    <a:pt x="157" y="111"/>
                  </a:lnTo>
                  <a:lnTo>
                    <a:pt x="157" y="109"/>
                  </a:lnTo>
                  <a:lnTo>
                    <a:pt x="159" y="107"/>
                  </a:lnTo>
                  <a:lnTo>
                    <a:pt x="159" y="106"/>
                  </a:lnTo>
                  <a:lnTo>
                    <a:pt x="159" y="107"/>
                  </a:lnTo>
                  <a:lnTo>
                    <a:pt x="161" y="107"/>
                  </a:lnTo>
                  <a:lnTo>
                    <a:pt x="161" y="106"/>
                  </a:lnTo>
                  <a:lnTo>
                    <a:pt x="161" y="104"/>
                  </a:lnTo>
                  <a:lnTo>
                    <a:pt x="162" y="104"/>
                  </a:lnTo>
                  <a:lnTo>
                    <a:pt x="162" y="103"/>
                  </a:lnTo>
                  <a:lnTo>
                    <a:pt x="161" y="101"/>
                  </a:lnTo>
                  <a:lnTo>
                    <a:pt x="161" y="99"/>
                  </a:lnTo>
                  <a:lnTo>
                    <a:pt x="161" y="98"/>
                  </a:lnTo>
                  <a:lnTo>
                    <a:pt x="162" y="96"/>
                  </a:lnTo>
                  <a:lnTo>
                    <a:pt x="166" y="96"/>
                  </a:lnTo>
                  <a:lnTo>
                    <a:pt x="169" y="94"/>
                  </a:lnTo>
                  <a:lnTo>
                    <a:pt x="170" y="94"/>
                  </a:lnTo>
                  <a:lnTo>
                    <a:pt x="172" y="94"/>
                  </a:lnTo>
                  <a:lnTo>
                    <a:pt x="172" y="93"/>
                  </a:lnTo>
                  <a:lnTo>
                    <a:pt x="174" y="94"/>
                  </a:lnTo>
                  <a:lnTo>
                    <a:pt x="175" y="94"/>
                  </a:lnTo>
                  <a:lnTo>
                    <a:pt x="177" y="96"/>
                  </a:lnTo>
                  <a:lnTo>
                    <a:pt x="179" y="96"/>
                  </a:lnTo>
                  <a:lnTo>
                    <a:pt x="179" y="94"/>
                  </a:lnTo>
                  <a:lnTo>
                    <a:pt x="177" y="93"/>
                  </a:lnTo>
                  <a:lnTo>
                    <a:pt x="177" y="91"/>
                  </a:lnTo>
                  <a:lnTo>
                    <a:pt x="177" y="90"/>
                  </a:lnTo>
                  <a:lnTo>
                    <a:pt x="175" y="90"/>
                  </a:lnTo>
                  <a:lnTo>
                    <a:pt x="174" y="90"/>
                  </a:lnTo>
                  <a:lnTo>
                    <a:pt x="172" y="90"/>
                  </a:lnTo>
                  <a:lnTo>
                    <a:pt x="170" y="91"/>
                  </a:lnTo>
                  <a:lnTo>
                    <a:pt x="170" y="90"/>
                  </a:lnTo>
                  <a:lnTo>
                    <a:pt x="169" y="90"/>
                  </a:lnTo>
                  <a:lnTo>
                    <a:pt x="169" y="91"/>
                  </a:lnTo>
                  <a:lnTo>
                    <a:pt x="167" y="91"/>
                  </a:lnTo>
                  <a:lnTo>
                    <a:pt x="164" y="93"/>
                  </a:lnTo>
                  <a:lnTo>
                    <a:pt x="162" y="93"/>
                  </a:lnTo>
                  <a:lnTo>
                    <a:pt x="161" y="93"/>
                  </a:lnTo>
                  <a:lnTo>
                    <a:pt x="161" y="94"/>
                  </a:lnTo>
                  <a:lnTo>
                    <a:pt x="159" y="94"/>
                  </a:lnTo>
                  <a:lnTo>
                    <a:pt x="157" y="93"/>
                  </a:lnTo>
                  <a:lnTo>
                    <a:pt x="159" y="91"/>
                  </a:lnTo>
                  <a:lnTo>
                    <a:pt x="157" y="88"/>
                  </a:lnTo>
                  <a:lnTo>
                    <a:pt x="157" y="85"/>
                  </a:lnTo>
                  <a:lnTo>
                    <a:pt x="157" y="83"/>
                  </a:lnTo>
                  <a:lnTo>
                    <a:pt x="156" y="85"/>
                  </a:lnTo>
                  <a:lnTo>
                    <a:pt x="154" y="83"/>
                  </a:lnTo>
                  <a:lnTo>
                    <a:pt x="154" y="81"/>
                  </a:lnTo>
                  <a:lnTo>
                    <a:pt x="154" y="83"/>
                  </a:lnTo>
                  <a:lnTo>
                    <a:pt x="154" y="86"/>
                  </a:lnTo>
                  <a:lnTo>
                    <a:pt x="156" y="88"/>
                  </a:lnTo>
                  <a:lnTo>
                    <a:pt x="156" y="90"/>
                  </a:lnTo>
                  <a:lnTo>
                    <a:pt x="156" y="94"/>
                  </a:lnTo>
                  <a:lnTo>
                    <a:pt x="156" y="96"/>
                  </a:lnTo>
                  <a:lnTo>
                    <a:pt x="154" y="96"/>
                  </a:lnTo>
                  <a:lnTo>
                    <a:pt x="153" y="96"/>
                  </a:lnTo>
                  <a:lnTo>
                    <a:pt x="154" y="98"/>
                  </a:lnTo>
                  <a:lnTo>
                    <a:pt x="156" y="98"/>
                  </a:lnTo>
                  <a:lnTo>
                    <a:pt x="157" y="98"/>
                  </a:lnTo>
                  <a:lnTo>
                    <a:pt x="157" y="99"/>
                  </a:lnTo>
                  <a:lnTo>
                    <a:pt x="157" y="101"/>
                  </a:lnTo>
                  <a:lnTo>
                    <a:pt x="157" y="103"/>
                  </a:lnTo>
                  <a:lnTo>
                    <a:pt x="157" y="104"/>
                  </a:lnTo>
                  <a:lnTo>
                    <a:pt x="156" y="104"/>
                  </a:lnTo>
                  <a:lnTo>
                    <a:pt x="154" y="106"/>
                  </a:lnTo>
                  <a:lnTo>
                    <a:pt x="154" y="107"/>
                  </a:lnTo>
                  <a:lnTo>
                    <a:pt x="154" y="109"/>
                  </a:lnTo>
                  <a:lnTo>
                    <a:pt x="153" y="109"/>
                  </a:lnTo>
                  <a:lnTo>
                    <a:pt x="153" y="107"/>
                  </a:lnTo>
                  <a:lnTo>
                    <a:pt x="151" y="107"/>
                  </a:lnTo>
                  <a:lnTo>
                    <a:pt x="151" y="106"/>
                  </a:lnTo>
                  <a:lnTo>
                    <a:pt x="151" y="104"/>
                  </a:lnTo>
                  <a:lnTo>
                    <a:pt x="149" y="103"/>
                  </a:lnTo>
                  <a:lnTo>
                    <a:pt x="148" y="103"/>
                  </a:lnTo>
                  <a:lnTo>
                    <a:pt x="148" y="104"/>
                  </a:lnTo>
                  <a:lnTo>
                    <a:pt x="146" y="107"/>
                  </a:lnTo>
                  <a:lnTo>
                    <a:pt x="144" y="109"/>
                  </a:lnTo>
                  <a:lnTo>
                    <a:pt x="144" y="107"/>
                  </a:lnTo>
                  <a:lnTo>
                    <a:pt x="143" y="109"/>
                  </a:lnTo>
                  <a:lnTo>
                    <a:pt x="141" y="107"/>
                  </a:lnTo>
                  <a:lnTo>
                    <a:pt x="140" y="107"/>
                  </a:lnTo>
                  <a:lnTo>
                    <a:pt x="138" y="107"/>
                  </a:lnTo>
                  <a:lnTo>
                    <a:pt x="136" y="107"/>
                  </a:lnTo>
                  <a:lnTo>
                    <a:pt x="135" y="106"/>
                  </a:lnTo>
                  <a:lnTo>
                    <a:pt x="133" y="106"/>
                  </a:lnTo>
                  <a:lnTo>
                    <a:pt x="133" y="104"/>
                  </a:lnTo>
                  <a:lnTo>
                    <a:pt x="131" y="103"/>
                  </a:lnTo>
                  <a:lnTo>
                    <a:pt x="131" y="101"/>
                  </a:lnTo>
                  <a:lnTo>
                    <a:pt x="130" y="101"/>
                  </a:lnTo>
                  <a:lnTo>
                    <a:pt x="131" y="99"/>
                  </a:lnTo>
                  <a:lnTo>
                    <a:pt x="131" y="98"/>
                  </a:lnTo>
                  <a:lnTo>
                    <a:pt x="131" y="96"/>
                  </a:lnTo>
                  <a:lnTo>
                    <a:pt x="133" y="96"/>
                  </a:lnTo>
                  <a:lnTo>
                    <a:pt x="133" y="94"/>
                  </a:lnTo>
                  <a:lnTo>
                    <a:pt x="131" y="96"/>
                  </a:lnTo>
                  <a:lnTo>
                    <a:pt x="131" y="94"/>
                  </a:lnTo>
                  <a:lnTo>
                    <a:pt x="133" y="94"/>
                  </a:lnTo>
                  <a:lnTo>
                    <a:pt x="133" y="93"/>
                  </a:lnTo>
                  <a:lnTo>
                    <a:pt x="131" y="93"/>
                  </a:lnTo>
                  <a:lnTo>
                    <a:pt x="130" y="93"/>
                  </a:lnTo>
                  <a:lnTo>
                    <a:pt x="130" y="91"/>
                  </a:lnTo>
                  <a:lnTo>
                    <a:pt x="130" y="93"/>
                  </a:lnTo>
                  <a:lnTo>
                    <a:pt x="130" y="91"/>
                  </a:lnTo>
                  <a:lnTo>
                    <a:pt x="128" y="91"/>
                  </a:lnTo>
                  <a:lnTo>
                    <a:pt x="127" y="91"/>
                  </a:lnTo>
                  <a:lnTo>
                    <a:pt x="127" y="90"/>
                  </a:lnTo>
                  <a:lnTo>
                    <a:pt x="127" y="91"/>
                  </a:lnTo>
                  <a:lnTo>
                    <a:pt x="125" y="91"/>
                  </a:lnTo>
                  <a:lnTo>
                    <a:pt x="127" y="93"/>
                  </a:lnTo>
                  <a:lnTo>
                    <a:pt x="128" y="93"/>
                  </a:lnTo>
                  <a:lnTo>
                    <a:pt x="128" y="94"/>
                  </a:lnTo>
                  <a:lnTo>
                    <a:pt x="128" y="96"/>
                  </a:lnTo>
                  <a:lnTo>
                    <a:pt x="128" y="99"/>
                  </a:lnTo>
                  <a:lnTo>
                    <a:pt x="128" y="101"/>
                  </a:lnTo>
                  <a:lnTo>
                    <a:pt x="128" y="103"/>
                  </a:lnTo>
                  <a:lnTo>
                    <a:pt x="128" y="104"/>
                  </a:lnTo>
                  <a:lnTo>
                    <a:pt x="128" y="106"/>
                  </a:lnTo>
                  <a:lnTo>
                    <a:pt x="127" y="106"/>
                  </a:lnTo>
                  <a:lnTo>
                    <a:pt x="125" y="106"/>
                  </a:lnTo>
                  <a:lnTo>
                    <a:pt x="123" y="106"/>
                  </a:lnTo>
                  <a:lnTo>
                    <a:pt x="122" y="106"/>
                  </a:lnTo>
                  <a:lnTo>
                    <a:pt x="122" y="104"/>
                  </a:lnTo>
                  <a:lnTo>
                    <a:pt x="120" y="104"/>
                  </a:lnTo>
                  <a:lnTo>
                    <a:pt x="118" y="104"/>
                  </a:lnTo>
                  <a:lnTo>
                    <a:pt x="118" y="103"/>
                  </a:lnTo>
                  <a:lnTo>
                    <a:pt x="118" y="101"/>
                  </a:lnTo>
                  <a:lnTo>
                    <a:pt x="120" y="101"/>
                  </a:lnTo>
                  <a:lnTo>
                    <a:pt x="120" y="99"/>
                  </a:lnTo>
                  <a:lnTo>
                    <a:pt x="122" y="99"/>
                  </a:lnTo>
                  <a:lnTo>
                    <a:pt x="122" y="98"/>
                  </a:lnTo>
                  <a:lnTo>
                    <a:pt x="123" y="98"/>
                  </a:lnTo>
                  <a:lnTo>
                    <a:pt x="123" y="96"/>
                  </a:lnTo>
                  <a:lnTo>
                    <a:pt x="125" y="96"/>
                  </a:lnTo>
                  <a:lnTo>
                    <a:pt x="125" y="94"/>
                  </a:lnTo>
                  <a:lnTo>
                    <a:pt x="123" y="94"/>
                  </a:lnTo>
                  <a:lnTo>
                    <a:pt x="122" y="94"/>
                  </a:lnTo>
                  <a:lnTo>
                    <a:pt x="123" y="93"/>
                  </a:lnTo>
                  <a:lnTo>
                    <a:pt x="122" y="93"/>
                  </a:lnTo>
                  <a:lnTo>
                    <a:pt x="123" y="91"/>
                  </a:lnTo>
                  <a:lnTo>
                    <a:pt x="125" y="90"/>
                  </a:lnTo>
                  <a:lnTo>
                    <a:pt x="125" y="88"/>
                  </a:lnTo>
                  <a:lnTo>
                    <a:pt x="123" y="88"/>
                  </a:lnTo>
                  <a:lnTo>
                    <a:pt x="123" y="86"/>
                  </a:lnTo>
                  <a:lnTo>
                    <a:pt x="123" y="88"/>
                  </a:lnTo>
                  <a:lnTo>
                    <a:pt x="122" y="88"/>
                  </a:lnTo>
                  <a:lnTo>
                    <a:pt x="123" y="86"/>
                  </a:lnTo>
                  <a:lnTo>
                    <a:pt x="123" y="85"/>
                  </a:lnTo>
                  <a:lnTo>
                    <a:pt x="123" y="83"/>
                  </a:lnTo>
                  <a:lnTo>
                    <a:pt x="122" y="85"/>
                  </a:lnTo>
                  <a:lnTo>
                    <a:pt x="122" y="86"/>
                  </a:lnTo>
                  <a:lnTo>
                    <a:pt x="122" y="88"/>
                  </a:lnTo>
                  <a:lnTo>
                    <a:pt x="120" y="88"/>
                  </a:lnTo>
                  <a:lnTo>
                    <a:pt x="120" y="90"/>
                  </a:lnTo>
                  <a:lnTo>
                    <a:pt x="118" y="90"/>
                  </a:lnTo>
                  <a:lnTo>
                    <a:pt x="117" y="90"/>
                  </a:lnTo>
                  <a:lnTo>
                    <a:pt x="117" y="88"/>
                  </a:lnTo>
                  <a:lnTo>
                    <a:pt x="118" y="86"/>
                  </a:lnTo>
                  <a:lnTo>
                    <a:pt x="118" y="85"/>
                  </a:lnTo>
                  <a:lnTo>
                    <a:pt x="118" y="83"/>
                  </a:lnTo>
                  <a:lnTo>
                    <a:pt x="117" y="83"/>
                  </a:lnTo>
                  <a:lnTo>
                    <a:pt x="117" y="85"/>
                  </a:lnTo>
                  <a:lnTo>
                    <a:pt x="117" y="86"/>
                  </a:lnTo>
                  <a:lnTo>
                    <a:pt x="115" y="86"/>
                  </a:lnTo>
                  <a:lnTo>
                    <a:pt x="115" y="88"/>
                  </a:lnTo>
                  <a:lnTo>
                    <a:pt x="115" y="90"/>
                  </a:lnTo>
                  <a:lnTo>
                    <a:pt x="115" y="91"/>
                  </a:lnTo>
                  <a:lnTo>
                    <a:pt x="114" y="93"/>
                  </a:lnTo>
                  <a:lnTo>
                    <a:pt x="112" y="93"/>
                  </a:lnTo>
                  <a:lnTo>
                    <a:pt x="114" y="91"/>
                  </a:lnTo>
                  <a:lnTo>
                    <a:pt x="112" y="91"/>
                  </a:lnTo>
                  <a:lnTo>
                    <a:pt x="110" y="90"/>
                  </a:lnTo>
                  <a:lnTo>
                    <a:pt x="110" y="88"/>
                  </a:lnTo>
                  <a:lnTo>
                    <a:pt x="112" y="86"/>
                  </a:lnTo>
                  <a:lnTo>
                    <a:pt x="110" y="86"/>
                  </a:lnTo>
                  <a:lnTo>
                    <a:pt x="110" y="85"/>
                  </a:lnTo>
                  <a:lnTo>
                    <a:pt x="110" y="83"/>
                  </a:lnTo>
                  <a:lnTo>
                    <a:pt x="110" y="81"/>
                  </a:lnTo>
                  <a:lnTo>
                    <a:pt x="110" y="83"/>
                  </a:lnTo>
                  <a:lnTo>
                    <a:pt x="109" y="85"/>
                  </a:lnTo>
                  <a:lnTo>
                    <a:pt x="109" y="83"/>
                  </a:lnTo>
                  <a:lnTo>
                    <a:pt x="107" y="83"/>
                  </a:lnTo>
                  <a:lnTo>
                    <a:pt x="107" y="81"/>
                  </a:lnTo>
                  <a:lnTo>
                    <a:pt x="107" y="83"/>
                  </a:lnTo>
                  <a:lnTo>
                    <a:pt x="107" y="85"/>
                  </a:lnTo>
                  <a:lnTo>
                    <a:pt x="105" y="86"/>
                  </a:lnTo>
                  <a:lnTo>
                    <a:pt x="105" y="88"/>
                  </a:lnTo>
                  <a:lnTo>
                    <a:pt x="105" y="90"/>
                  </a:lnTo>
                  <a:lnTo>
                    <a:pt x="104" y="90"/>
                  </a:lnTo>
                  <a:lnTo>
                    <a:pt x="102" y="90"/>
                  </a:lnTo>
                  <a:lnTo>
                    <a:pt x="102" y="91"/>
                  </a:lnTo>
                  <a:lnTo>
                    <a:pt x="101" y="91"/>
                  </a:lnTo>
                  <a:lnTo>
                    <a:pt x="101" y="90"/>
                  </a:lnTo>
                  <a:lnTo>
                    <a:pt x="101" y="88"/>
                  </a:lnTo>
                  <a:lnTo>
                    <a:pt x="102" y="86"/>
                  </a:lnTo>
                  <a:lnTo>
                    <a:pt x="102" y="85"/>
                  </a:lnTo>
                  <a:lnTo>
                    <a:pt x="104" y="83"/>
                  </a:lnTo>
                  <a:lnTo>
                    <a:pt x="104" y="80"/>
                  </a:lnTo>
                  <a:lnTo>
                    <a:pt x="105" y="80"/>
                  </a:lnTo>
                  <a:lnTo>
                    <a:pt x="105" y="81"/>
                  </a:lnTo>
                  <a:lnTo>
                    <a:pt x="105" y="80"/>
                  </a:lnTo>
                  <a:lnTo>
                    <a:pt x="107" y="80"/>
                  </a:lnTo>
                  <a:lnTo>
                    <a:pt x="107" y="78"/>
                  </a:lnTo>
                  <a:lnTo>
                    <a:pt x="105" y="78"/>
                  </a:lnTo>
                  <a:lnTo>
                    <a:pt x="104" y="78"/>
                  </a:lnTo>
                  <a:lnTo>
                    <a:pt x="104" y="77"/>
                  </a:lnTo>
                  <a:lnTo>
                    <a:pt x="105" y="75"/>
                  </a:lnTo>
                  <a:lnTo>
                    <a:pt x="105" y="73"/>
                  </a:lnTo>
                  <a:lnTo>
                    <a:pt x="104" y="73"/>
                  </a:lnTo>
                  <a:lnTo>
                    <a:pt x="102" y="73"/>
                  </a:lnTo>
                  <a:lnTo>
                    <a:pt x="102" y="75"/>
                  </a:lnTo>
                  <a:lnTo>
                    <a:pt x="102" y="77"/>
                  </a:lnTo>
                  <a:lnTo>
                    <a:pt x="102" y="78"/>
                  </a:lnTo>
                  <a:lnTo>
                    <a:pt x="101" y="78"/>
                  </a:lnTo>
                  <a:lnTo>
                    <a:pt x="101" y="80"/>
                  </a:lnTo>
                  <a:lnTo>
                    <a:pt x="102" y="80"/>
                  </a:lnTo>
                  <a:lnTo>
                    <a:pt x="101" y="81"/>
                  </a:lnTo>
                  <a:lnTo>
                    <a:pt x="101" y="83"/>
                  </a:lnTo>
                  <a:lnTo>
                    <a:pt x="101" y="85"/>
                  </a:lnTo>
                  <a:lnTo>
                    <a:pt x="101" y="86"/>
                  </a:lnTo>
                  <a:lnTo>
                    <a:pt x="99" y="86"/>
                  </a:lnTo>
                  <a:lnTo>
                    <a:pt x="99" y="88"/>
                  </a:lnTo>
                  <a:lnTo>
                    <a:pt x="99" y="90"/>
                  </a:lnTo>
                  <a:lnTo>
                    <a:pt x="96" y="94"/>
                  </a:lnTo>
                  <a:lnTo>
                    <a:pt x="94" y="93"/>
                  </a:lnTo>
                  <a:lnTo>
                    <a:pt x="96" y="91"/>
                  </a:lnTo>
                  <a:lnTo>
                    <a:pt x="96" y="90"/>
                  </a:lnTo>
                  <a:lnTo>
                    <a:pt x="97" y="90"/>
                  </a:lnTo>
                  <a:lnTo>
                    <a:pt x="97" y="88"/>
                  </a:lnTo>
                  <a:lnTo>
                    <a:pt x="97" y="86"/>
                  </a:lnTo>
                  <a:lnTo>
                    <a:pt x="99" y="85"/>
                  </a:lnTo>
                  <a:lnTo>
                    <a:pt x="99" y="86"/>
                  </a:lnTo>
                  <a:lnTo>
                    <a:pt x="97" y="86"/>
                  </a:lnTo>
                  <a:lnTo>
                    <a:pt x="96" y="86"/>
                  </a:lnTo>
                  <a:lnTo>
                    <a:pt x="97" y="86"/>
                  </a:lnTo>
                  <a:lnTo>
                    <a:pt x="97" y="88"/>
                  </a:lnTo>
                  <a:lnTo>
                    <a:pt x="96" y="88"/>
                  </a:lnTo>
                  <a:lnTo>
                    <a:pt x="96" y="90"/>
                  </a:lnTo>
                  <a:lnTo>
                    <a:pt x="94" y="90"/>
                  </a:lnTo>
                  <a:lnTo>
                    <a:pt x="94" y="91"/>
                  </a:lnTo>
                  <a:lnTo>
                    <a:pt x="92" y="91"/>
                  </a:lnTo>
                  <a:lnTo>
                    <a:pt x="94" y="90"/>
                  </a:lnTo>
                  <a:lnTo>
                    <a:pt x="94" y="88"/>
                  </a:lnTo>
                  <a:lnTo>
                    <a:pt x="94" y="90"/>
                  </a:lnTo>
                  <a:lnTo>
                    <a:pt x="92" y="90"/>
                  </a:lnTo>
                  <a:lnTo>
                    <a:pt x="92" y="91"/>
                  </a:lnTo>
                  <a:lnTo>
                    <a:pt x="92" y="90"/>
                  </a:lnTo>
                  <a:lnTo>
                    <a:pt x="91" y="88"/>
                  </a:lnTo>
                  <a:lnTo>
                    <a:pt x="91" y="86"/>
                  </a:lnTo>
                  <a:lnTo>
                    <a:pt x="92" y="85"/>
                  </a:lnTo>
                  <a:lnTo>
                    <a:pt x="92" y="83"/>
                  </a:lnTo>
                  <a:lnTo>
                    <a:pt x="92" y="81"/>
                  </a:lnTo>
                  <a:lnTo>
                    <a:pt x="92" y="80"/>
                  </a:lnTo>
                  <a:lnTo>
                    <a:pt x="92" y="81"/>
                  </a:lnTo>
                  <a:lnTo>
                    <a:pt x="92" y="80"/>
                  </a:lnTo>
                  <a:lnTo>
                    <a:pt x="92" y="78"/>
                  </a:lnTo>
                  <a:lnTo>
                    <a:pt x="92" y="80"/>
                  </a:lnTo>
                  <a:lnTo>
                    <a:pt x="92" y="81"/>
                  </a:lnTo>
                  <a:lnTo>
                    <a:pt x="91" y="81"/>
                  </a:lnTo>
                  <a:lnTo>
                    <a:pt x="91" y="83"/>
                  </a:lnTo>
                  <a:lnTo>
                    <a:pt x="91" y="85"/>
                  </a:lnTo>
                  <a:lnTo>
                    <a:pt x="91" y="88"/>
                  </a:lnTo>
                  <a:lnTo>
                    <a:pt x="89" y="88"/>
                  </a:lnTo>
                  <a:lnTo>
                    <a:pt x="89" y="86"/>
                  </a:lnTo>
                  <a:lnTo>
                    <a:pt x="89" y="85"/>
                  </a:lnTo>
                  <a:lnTo>
                    <a:pt x="89" y="81"/>
                  </a:lnTo>
                  <a:lnTo>
                    <a:pt x="89" y="80"/>
                  </a:lnTo>
                  <a:lnTo>
                    <a:pt x="88" y="78"/>
                  </a:lnTo>
                  <a:lnTo>
                    <a:pt x="86" y="78"/>
                  </a:lnTo>
                  <a:lnTo>
                    <a:pt x="86" y="77"/>
                  </a:lnTo>
                  <a:lnTo>
                    <a:pt x="86" y="75"/>
                  </a:lnTo>
                  <a:lnTo>
                    <a:pt x="86" y="73"/>
                  </a:lnTo>
                  <a:lnTo>
                    <a:pt x="84" y="73"/>
                  </a:lnTo>
                  <a:lnTo>
                    <a:pt x="84" y="77"/>
                  </a:lnTo>
                  <a:lnTo>
                    <a:pt x="86" y="77"/>
                  </a:lnTo>
                  <a:lnTo>
                    <a:pt x="86" y="78"/>
                  </a:lnTo>
                  <a:lnTo>
                    <a:pt x="88" y="80"/>
                  </a:lnTo>
                  <a:lnTo>
                    <a:pt x="88" y="81"/>
                  </a:lnTo>
                  <a:lnTo>
                    <a:pt x="88" y="85"/>
                  </a:lnTo>
                  <a:lnTo>
                    <a:pt x="88" y="86"/>
                  </a:lnTo>
                  <a:lnTo>
                    <a:pt x="88" y="88"/>
                  </a:lnTo>
                  <a:lnTo>
                    <a:pt x="88" y="90"/>
                  </a:lnTo>
                  <a:lnTo>
                    <a:pt x="86" y="90"/>
                  </a:lnTo>
                  <a:lnTo>
                    <a:pt x="84" y="88"/>
                  </a:lnTo>
                  <a:lnTo>
                    <a:pt x="86" y="90"/>
                  </a:lnTo>
                  <a:lnTo>
                    <a:pt x="84" y="90"/>
                  </a:lnTo>
                  <a:lnTo>
                    <a:pt x="84" y="91"/>
                  </a:lnTo>
                  <a:lnTo>
                    <a:pt x="84" y="93"/>
                  </a:lnTo>
                  <a:lnTo>
                    <a:pt x="83" y="91"/>
                  </a:lnTo>
                  <a:lnTo>
                    <a:pt x="81" y="91"/>
                  </a:lnTo>
                  <a:lnTo>
                    <a:pt x="79" y="91"/>
                  </a:lnTo>
                  <a:lnTo>
                    <a:pt x="78" y="91"/>
                  </a:lnTo>
                  <a:lnTo>
                    <a:pt x="78" y="90"/>
                  </a:lnTo>
                  <a:lnTo>
                    <a:pt x="78" y="91"/>
                  </a:lnTo>
                  <a:lnTo>
                    <a:pt x="78" y="90"/>
                  </a:lnTo>
                  <a:lnTo>
                    <a:pt x="76" y="91"/>
                  </a:lnTo>
                  <a:lnTo>
                    <a:pt x="76" y="90"/>
                  </a:lnTo>
                  <a:lnTo>
                    <a:pt x="78" y="88"/>
                  </a:lnTo>
                  <a:lnTo>
                    <a:pt x="76" y="88"/>
                  </a:lnTo>
                  <a:lnTo>
                    <a:pt x="76" y="90"/>
                  </a:lnTo>
                  <a:lnTo>
                    <a:pt x="75" y="90"/>
                  </a:lnTo>
                  <a:lnTo>
                    <a:pt x="76" y="90"/>
                  </a:lnTo>
                  <a:lnTo>
                    <a:pt x="75" y="90"/>
                  </a:lnTo>
                  <a:lnTo>
                    <a:pt x="75" y="88"/>
                  </a:lnTo>
                  <a:lnTo>
                    <a:pt x="75" y="90"/>
                  </a:lnTo>
                  <a:lnTo>
                    <a:pt x="73" y="88"/>
                  </a:lnTo>
                  <a:lnTo>
                    <a:pt x="73" y="90"/>
                  </a:lnTo>
                  <a:lnTo>
                    <a:pt x="71" y="90"/>
                  </a:lnTo>
                  <a:lnTo>
                    <a:pt x="70" y="90"/>
                  </a:lnTo>
                  <a:lnTo>
                    <a:pt x="70" y="88"/>
                  </a:lnTo>
                  <a:lnTo>
                    <a:pt x="70" y="86"/>
                  </a:lnTo>
                  <a:lnTo>
                    <a:pt x="68" y="86"/>
                  </a:lnTo>
                  <a:lnTo>
                    <a:pt x="66" y="86"/>
                  </a:lnTo>
                  <a:lnTo>
                    <a:pt x="66" y="85"/>
                  </a:lnTo>
                  <a:lnTo>
                    <a:pt x="68" y="85"/>
                  </a:lnTo>
                  <a:lnTo>
                    <a:pt x="70" y="85"/>
                  </a:lnTo>
                  <a:lnTo>
                    <a:pt x="71" y="85"/>
                  </a:lnTo>
                  <a:lnTo>
                    <a:pt x="73" y="85"/>
                  </a:lnTo>
                  <a:lnTo>
                    <a:pt x="73" y="86"/>
                  </a:lnTo>
                  <a:lnTo>
                    <a:pt x="75" y="85"/>
                  </a:lnTo>
                  <a:lnTo>
                    <a:pt x="73" y="85"/>
                  </a:lnTo>
                  <a:lnTo>
                    <a:pt x="71" y="85"/>
                  </a:lnTo>
                  <a:lnTo>
                    <a:pt x="71" y="83"/>
                  </a:lnTo>
                  <a:lnTo>
                    <a:pt x="70" y="85"/>
                  </a:lnTo>
                  <a:lnTo>
                    <a:pt x="70" y="83"/>
                  </a:lnTo>
                  <a:lnTo>
                    <a:pt x="68" y="83"/>
                  </a:lnTo>
                  <a:lnTo>
                    <a:pt x="68" y="85"/>
                  </a:lnTo>
                  <a:lnTo>
                    <a:pt x="68" y="83"/>
                  </a:lnTo>
                  <a:lnTo>
                    <a:pt x="66" y="83"/>
                  </a:lnTo>
                  <a:lnTo>
                    <a:pt x="66" y="81"/>
                  </a:lnTo>
                  <a:lnTo>
                    <a:pt x="68" y="81"/>
                  </a:lnTo>
                  <a:lnTo>
                    <a:pt x="68" y="80"/>
                  </a:lnTo>
                  <a:lnTo>
                    <a:pt x="70" y="80"/>
                  </a:lnTo>
                  <a:lnTo>
                    <a:pt x="70" y="81"/>
                  </a:lnTo>
                  <a:lnTo>
                    <a:pt x="71" y="80"/>
                  </a:lnTo>
                  <a:lnTo>
                    <a:pt x="71" y="81"/>
                  </a:lnTo>
                  <a:lnTo>
                    <a:pt x="73" y="81"/>
                  </a:lnTo>
                  <a:lnTo>
                    <a:pt x="75" y="81"/>
                  </a:lnTo>
                  <a:lnTo>
                    <a:pt x="73" y="81"/>
                  </a:lnTo>
                  <a:lnTo>
                    <a:pt x="75" y="81"/>
                  </a:lnTo>
                  <a:lnTo>
                    <a:pt x="76" y="81"/>
                  </a:lnTo>
                  <a:lnTo>
                    <a:pt x="78" y="81"/>
                  </a:lnTo>
                  <a:lnTo>
                    <a:pt x="79" y="81"/>
                  </a:lnTo>
                  <a:lnTo>
                    <a:pt x="81" y="83"/>
                  </a:lnTo>
                  <a:lnTo>
                    <a:pt x="81" y="81"/>
                  </a:lnTo>
                  <a:lnTo>
                    <a:pt x="79" y="81"/>
                  </a:lnTo>
                  <a:lnTo>
                    <a:pt x="78" y="81"/>
                  </a:lnTo>
                  <a:lnTo>
                    <a:pt x="76" y="81"/>
                  </a:lnTo>
                  <a:lnTo>
                    <a:pt x="76" y="80"/>
                  </a:lnTo>
                  <a:lnTo>
                    <a:pt x="76" y="81"/>
                  </a:lnTo>
                  <a:lnTo>
                    <a:pt x="76" y="80"/>
                  </a:lnTo>
                  <a:lnTo>
                    <a:pt x="75" y="80"/>
                  </a:lnTo>
                  <a:lnTo>
                    <a:pt x="73" y="80"/>
                  </a:lnTo>
                  <a:lnTo>
                    <a:pt x="75" y="80"/>
                  </a:lnTo>
                  <a:lnTo>
                    <a:pt x="73" y="78"/>
                  </a:lnTo>
                  <a:lnTo>
                    <a:pt x="75" y="78"/>
                  </a:lnTo>
                  <a:lnTo>
                    <a:pt x="73" y="78"/>
                  </a:lnTo>
                  <a:lnTo>
                    <a:pt x="73" y="77"/>
                  </a:lnTo>
                  <a:lnTo>
                    <a:pt x="73" y="78"/>
                  </a:lnTo>
                  <a:lnTo>
                    <a:pt x="71" y="78"/>
                  </a:lnTo>
                  <a:lnTo>
                    <a:pt x="71" y="77"/>
                  </a:lnTo>
                  <a:lnTo>
                    <a:pt x="71" y="78"/>
                  </a:lnTo>
                  <a:lnTo>
                    <a:pt x="70" y="77"/>
                  </a:lnTo>
                  <a:lnTo>
                    <a:pt x="70" y="78"/>
                  </a:lnTo>
                  <a:lnTo>
                    <a:pt x="68" y="77"/>
                  </a:lnTo>
                  <a:lnTo>
                    <a:pt x="68" y="78"/>
                  </a:lnTo>
                  <a:lnTo>
                    <a:pt x="70" y="78"/>
                  </a:lnTo>
                  <a:lnTo>
                    <a:pt x="70" y="80"/>
                  </a:lnTo>
                  <a:lnTo>
                    <a:pt x="68" y="80"/>
                  </a:lnTo>
                  <a:lnTo>
                    <a:pt x="68" y="78"/>
                  </a:lnTo>
                  <a:lnTo>
                    <a:pt x="66" y="78"/>
                  </a:lnTo>
                  <a:lnTo>
                    <a:pt x="66" y="77"/>
                  </a:lnTo>
                  <a:lnTo>
                    <a:pt x="68" y="77"/>
                  </a:lnTo>
                  <a:lnTo>
                    <a:pt x="68" y="75"/>
                  </a:lnTo>
                  <a:lnTo>
                    <a:pt x="68" y="73"/>
                  </a:lnTo>
                  <a:lnTo>
                    <a:pt x="70" y="73"/>
                  </a:lnTo>
                  <a:lnTo>
                    <a:pt x="70" y="72"/>
                  </a:lnTo>
                  <a:lnTo>
                    <a:pt x="71" y="72"/>
                  </a:lnTo>
                  <a:lnTo>
                    <a:pt x="71" y="73"/>
                  </a:lnTo>
                  <a:lnTo>
                    <a:pt x="71" y="72"/>
                  </a:lnTo>
                  <a:lnTo>
                    <a:pt x="73" y="72"/>
                  </a:lnTo>
                  <a:lnTo>
                    <a:pt x="75" y="72"/>
                  </a:lnTo>
                  <a:lnTo>
                    <a:pt x="76" y="72"/>
                  </a:lnTo>
                  <a:lnTo>
                    <a:pt x="78" y="73"/>
                  </a:lnTo>
                  <a:lnTo>
                    <a:pt x="79" y="73"/>
                  </a:lnTo>
                  <a:lnTo>
                    <a:pt x="81" y="72"/>
                  </a:lnTo>
                  <a:lnTo>
                    <a:pt x="83" y="73"/>
                  </a:lnTo>
                  <a:lnTo>
                    <a:pt x="83" y="75"/>
                  </a:lnTo>
                  <a:lnTo>
                    <a:pt x="83" y="73"/>
                  </a:lnTo>
                  <a:lnTo>
                    <a:pt x="84" y="72"/>
                  </a:lnTo>
                  <a:lnTo>
                    <a:pt x="83" y="72"/>
                  </a:lnTo>
                  <a:lnTo>
                    <a:pt x="84" y="72"/>
                  </a:lnTo>
                  <a:lnTo>
                    <a:pt x="84" y="70"/>
                  </a:lnTo>
                  <a:lnTo>
                    <a:pt x="84" y="68"/>
                  </a:lnTo>
                  <a:lnTo>
                    <a:pt x="86" y="68"/>
                  </a:lnTo>
                  <a:lnTo>
                    <a:pt x="84" y="68"/>
                  </a:lnTo>
                  <a:lnTo>
                    <a:pt x="83" y="68"/>
                  </a:lnTo>
                  <a:lnTo>
                    <a:pt x="83" y="67"/>
                  </a:lnTo>
                  <a:lnTo>
                    <a:pt x="81" y="67"/>
                  </a:lnTo>
                  <a:lnTo>
                    <a:pt x="79" y="67"/>
                  </a:lnTo>
                  <a:lnTo>
                    <a:pt x="78" y="67"/>
                  </a:lnTo>
                  <a:lnTo>
                    <a:pt x="76" y="65"/>
                  </a:lnTo>
                  <a:lnTo>
                    <a:pt x="75" y="67"/>
                  </a:lnTo>
                  <a:lnTo>
                    <a:pt x="75" y="65"/>
                  </a:lnTo>
                  <a:lnTo>
                    <a:pt x="75" y="67"/>
                  </a:lnTo>
                  <a:lnTo>
                    <a:pt x="73" y="67"/>
                  </a:lnTo>
                  <a:lnTo>
                    <a:pt x="73" y="68"/>
                  </a:lnTo>
                  <a:lnTo>
                    <a:pt x="73" y="67"/>
                  </a:lnTo>
                  <a:lnTo>
                    <a:pt x="71" y="67"/>
                  </a:lnTo>
                  <a:lnTo>
                    <a:pt x="70" y="67"/>
                  </a:lnTo>
                  <a:lnTo>
                    <a:pt x="68" y="68"/>
                  </a:lnTo>
                  <a:lnTo>
                    <a:pt x="68" y="67"/>
                  </a:lnTo>
                  <a:lnTo>
                    <a:pt x="66" y="65"/>
                  </a:lnTo>
                  <a:lnTo>
                    <a:pt x="68" y="65"/>
                  </a:lnTo>
                  <a:lnTo>
                    <a:pt x="68" y="64"/>
                  </a:lnTo>
                  <a:lnTo>
                    <a:pt x="70" y="64"/>
                  </a:lnTo>
                  <a:lnTo>
                    <a:pt x="70" y="65"/>
                  </a:lnTo>
                  <a:lnTo>
                    <a:pt x="70" y="64"/>
                  </a:lnTo>
                  <a:lnTo>
                    <a:pt x="71" y="64"/>
                  </a:lnTo>
                  <a:lnTo>
                    <a:pt x="73" y="65"/>
                  </a:lnTo>
                  <a:lnTo>
                    <a:pt x="75" y="65"/>
                  </a:lnTo>
                  <a:lnTo>
                    <a:pt x="73" y="65"/>
                  </a:lnTo>
                  <a:lnTo>
                    <a:pt x="73" y="64"/>
                  </a:lnTo>
                  <a:lnTo>
                    <a:pt x="75" y="64"/>
                  </a:lnTo>
                  <a:lnTo>
                    <a:pt x="73" y="64"/>
                  </a:lnTo>
                  <a:lnTo>
                    <a:pt x="75" y="64"/>
                  </a:lnTo>
                  <a:lnTo>
                    <a:pt x="76" y="64"/>
                  </a:lnTo>
                  <a:lnTo>
                    <a:pt x="76" y="65"/>
                  </a:lnTo>
                  <a:lnTo>
                    <a:pt x="76" y="64"/>
                  </a:lnTo>
                  <a:lnTo>
                    <a:pt x="76" y="65"/>
                  </a:lnTo>
                  <a:lnTo>
                    <a:pt x="76" y="64"/>
                  </a:lnTo>
                  <a:lnTo>
                    <a:pt x="78" y="64"/>
                  </a:lnTo>
                  <a:lnTo>
                    <a:pt x="83" y="65"/>
                  </a:lnTo>
                  <a:lnTo>
                    <a:pt x="84" y="65"/>
                  </a:lnTo>
                  <a:lnTo>
                    <a:pt x="86" y="65"/>
                  </a:lnTo>
                  <a:lnTo>
                    <a:pt x="88" y="65"/>
                  </a:lnTo>
                  <a:lnTo>
                    <a:pt x="89" y="65"/>
                  </a:lnTo>
                  <a:lnTo>
                    <a:pt x="89" y="64"/>
                  </a:lnTo>
                  <a:lnTo>
                    <a:pt x="89" y="62"/>
                  </a:lnTo>
                  <a:lnTo>
                    <a:pt x="88" y="62"/>
                  </a:lnTo>
                  <a:lnTo>
                    <a:pt x="86" y="62"/>
                  </a:lnTo>
                  <a:lnTo>
                    <a:pt x="84" y="62"/>
                  </a:lnTo>
                  <a:lnTo>
                    <a:pt x="84" y="64"/>
                  </a:lnTo>
                  <a:lnTo>
                    <a:pt x="84" y="62"/>
                  </a:lnTo>
                  <a:lnTo>
                    <a:pt x="83" y="62"/>
                  </a:lnTo>
                  <a:lnTo>
                    <a:pt x="81" y="62"/>
                  </a:lnTo>
                  <a:lnTo>
                    <a:pt x="79" y="62"/>
                  </a:lnTo>
                  <a:lnTo>
                    <a:pt x="78" y="62"/>
                  </a:lnTo>
                  <a:lnTo>
                    <a:pt x="76" y="62"/>
                  </a:lnTo>
                  <a:lnTo>
                    <a:pt x="76" y="60"/>
                  </a:lnTo>
                  <a:lnTo>
                    <a:pt x="76" y="62"/>
                  </a:lnTo>
                  <a:lnTo>
                    <a:pt x="75" y="62"/>
                  </a:lnTo>
                  <a:lnTo>
                    <a:pt x="75" y="60"/>
                  </a:lnTo>
                  <a:lnTo>
                    <a:pt x="73" y="60"/>
                  </a:lnTo>
                  <a:lnTo>
                    <a:pt x="73" y="59"/>
                  </a:lnTo>
                  <a:lnTo>
                    <a:pt x="71" y="59"/>
                  </a:lnTo>
                  <a:lnTo>
                    <a:pt x="71" y="60"/>
                  </a:lnTo>
                  <a:lnTo>
                    <a:pt x="70" y="60"/>
                  </a:lnTo>
                  <a:lnTo>
                    <a:pt x="68" y="60"/>
                  </a:lnTo>
                  <a:lnTo>
                    <a:pt x="66" y="60"/>
                  </a:lnTo>
                  <a:lnTo>
                    <a:pt x="65" y="60"/>
                  </a:lnTo>
                  <a:lnTo>
                    <a:pt x="63" y="60"/>
                  </a:lnTo>
                  <a:lnTo>
                    <a:pt x="63" y="59"/>
                  </a:lnTo>
                  <a:lnTo>
                    <a:pt x="65" y="59"/>
                  </a:lnTo>
                  <a:lnTo>
                    <a:pt x="65" y="57"/>
                  </a:lnTo>
                  <a:lnTo>
                    <a:pt x="66" y="55"/>
                  </a:lnTo>
                  <a:lnTo>
                    <a:pt x="66" y="57"/>
                  </a:lnTo>
                  <a:lnTo>
                    <a:pt x="66" y="55"/>
                  </a:lnTo>
                  <a:lnTo>
                    <a:pt x="66" y="57"/>
                  </a:lnTo>
                  <a:lnTo>
                    <a:pt x="68" y="57"/>
                  </a:lnTo>
                  <a:lnTo>
                    <a:pt x="66" y="57"/>
                  </a:lnTo>
                  <a:lnTo>
                    <a:pt x="66" y="55"/>
                  </a:lnTo>
                  <a:lnTo>
                    <a:pt x="68" y="55"/>
                  </a:lnTo>
                  <a:lnTo>
                    <a:pt x="68" y="54"/>
                  </a:lnTo>
                  <a:lnTo>
                    <a:pt x="66" y="54"/>
                  </a:lnTo>
                  <a:lnTo>
                    <a:pt x="68" y="54"/>
                  </a:lnTo>
                  <a:lnTo>
                    <a:pt x="68" y="52"/>
                  </a:lnTo>
                  <a:lnTo>
                    <a:pt x="70" y="52"/>
                  </a:lnTo>
                  <a:lnTo>
                    <a:pt x="70" y="51"/>
                  </a:lnTo>
                  <a:lnTo>
                    <a:pt x="68" y="51"/>
                  </a:lnTo>
                  <a:lnTo>
                    <a:pt x="68" y="49"/>
                  </a:lnTo>
                  <a:lnTo>
                    <a:pt x="70" y="49"/>
                  </a:lnTo>
                  <a:lnTo>
                    <a:pt x="70" y="47"/>
                  </a:lnTo>
                  <a:lnTo>
                    <a:pt x="71" y="47"/>
                  </a:lnTo>
                  <a:lnTo>
                    <a:pt x="71" y="46"/>
                  </a:lnTo>
                  <a:lnTo>
                    <a:pt x="70" y="46"/>
                  </a:lnTo>
                  <a:lnTo>
                    <a:pt x="70" y="47"/>
                  </a:lnTo>
                  <a:lnTo>
                    <a:pt x="68" y="47"/>
                  </a:lnTo>
                  <a:lnTo>
                    <a:pt x="68" y="49"/>
                  </a:lnTo>
                  <a:lnTo>
                    <a:pt x="68" y="51"/>
                  </a:lnTo>
                  <a:lnTo>
                    <a:pt x="66" y="51"/>
                  </a:lnTo>
                  <a:lnTo>
                    <a:pt x="65" y="49"/>
                  </a:lnTo>
                  <a:lnTo>
                    <a:pt x="63" y="49"/>
                  </a:lnTo>
                  <a:lnTo>
                    <a:pt x="61" y="47"/>
                  </a:lnTo>
                  <a:lnTo>
                    <a:pt x="61" y="46"/>
                  </a:lnTo>
                  <a:lnTo>
                    <a:pt x="61" y="44"/>
                  </a:lnTo>
                  <a:lnTo>
                    <a:pt x="60" y="44"/>
                  </a:lnTo>
                  <a:lnTo>
                    <a:pt x="58" y="46"/>
                  </a:lnTo>
                  <a:lnTo>
                    <a:pt x="60" y="46"/>
                  </a:lnTo>
                  <a:lnTo>
                    <a:pt x="58" y="46"/>
                  </a:lnTo>
                  <a:lnTo>
                    <a:pt x="57" y="44"/>
                  </a:lnTo>
                  <a:lnTo>
                    <a:pt x="57" y="42"/>
                  </a:lnTo>
                  <a:lnTo>
                    <a:pt x="55" y="42"/>
                  </a:lnTo>
                  <a:lnTo>
                    <a:pt x="55" y="44"/>
                  </a:lnTo>
                  <a:lnTo>
                    <a:pt x="53" y="42"/>
                  </a:lnTo>
                  <a:lnTo>
                    <a:pt x="53" y="44"/>
                  </a:lnTo>
                  <a:lnTo>
                    <a:pt x="55" y="44"/>
                  </a:lnTo>
                  <a:lnTo>
                    <a:pt x="55" y="46"/>
                  </a:lnTo>
                  <a:lnTo>
                    <a:pt x="55" y="47"/>
                  </a:lnTo>
                  <a:lnTo>
                    <a:pt x="53" y="47"/>
                  </a:lnTo>
                  <a:lnTo>
                    <a:pt x="53" y="46"/>
                  </a:lnTo>
                  <a:lnTo>
                    <a:pt x="52" y="46"/>
                  </a:lnTo>
                  <a:lnTo>
                    <a:pt x="50" y="44"/>
                  </a:lnTo>
                  <a:lnTo>
                    <a:pt x="50" y="42"/>
                  </a:lnTo>
                  <a:lnTo>
                    <a:pt x="48" y="42"/>
                  </a:lnTo>
                  <a:lnTo>
                    <a:pt x="47" y="41"/>
                  </a:lnTo>
                  <a:lnTo>
                    <a:pt x="48" y="42"/>
                  </a:lnTo>
                  <a:lnTo>
                    <a:pt x="50" y="44"/>
                  </a:lnTo>
                  <a:lnTo>
                    <a:pt x="50" y="46"/>
                  </a:lnTo>
                  <a:lnTo>
                    <a:pt x="53" y="47"/>
                  </a:lnTo>
                  <a:lnTo>
                    <a:pt x="55" y="47"/>
                  </a:lnTo>
                  <a:lnTo>
                    <a:pt x="55" y="49"/>
                  </a:lnTo>
                  <a:lnTo>
                    <a:pt x="57" y="49"/>
                  </a:lnTo>
                  <a:lnTo>
                    <a:pt x="57" y="51"/>
                  </a:lnTo>
                  <a:lnTo>
                    <a:pt x="57" y="52"/>
                  </a:lnTo>
                  <a:lnTo>
                    <a:pt x="58" y="52"/>
                  </a:lnTo>
                  <a:lnTo>
                    <a:pt x="57" y="54"/>
                  </a:lnTo>
                  <a:lnTo>
                    <a:pt x="58" y="54"/>
                  </a:lnTo>
                  <a:lnTo>
                    <a:pt x="58" y="55"/>
                  </a:lnTo>
                  <a:lnTo>
                    <a:pt x="58" y="57"/>
                  </a:lnTo>
                  <a:lnTo>
                    <a:pt x="60" y="59"/>
                  </a:lnTo>
                  <a:lnTo>
                    <a:pt x="58" y="59"/>
                  </a:lnTo>
                  <a:lnTo>
                    <a:pt x="57" y="59"/>
                  </a:lnTo>
                  <a:lnTo>
                    <a:pt x="55" y="59"/>
                  </a:lnTo>
                  <a:lnTo>
                    <a:pt x="57" y="59"/>
                  </a:lnTo>
                  <a:lnTo>
                    <a:pt x="55" y="59"/>
                  </a:lnTo>
                  <a:lnTo>
                    <a:pt x="55" y="57"/>
                  </a:lnTo>
                  <a:lnTo>
                    <a:pt x="55" y="59"/>
                  </a:lnTo>
                  <a:lnTo>
                    <a:pt x="53" y="57"/>
                  </a:lnTo>
                  <a:lnTo>
                    <a:pt x="53" y="59"/>
                  </a:lnTo>
                  <a:lnTo>
                    <a:pt x="52" y="59"/>
                  </a:lnTo>
                  <a:lnTo>
                    <a:pt x="52" y="57"/>
                  </a:lnTo>
                  <a:lnTo>
                    <a:pt x="50" y="57"/>
                  </a:lnTo>
                  <a:lnTo>
                    <a:pt x="50" y="55"/>
                  </a:lnTo>
                  <a:lnTo>
                    <a:pt x="50" y="57"/>
                  </a:lnTo>
                  <a:lnTo>
                    <a:pt x="50" y="55"/>
                  </a:lnTo>
                  <a:lnTo>
                    <a:pt x="50" y="57"/>
                  </a:lnTo>
                  <a:lnTo>
                    <a:pt x="48" y="57"/>
                  </a:lnTo>
                  <a:lnTo>
                    <a:pt x="50" y="57"/>
                  </a:lnTo>
                  <a:lnTo>
                    <a:pt x="48" y="57"/>
                  </a:lnTo>
                  <a:lnTo>
                    <a:pt x="48" y="55"/>
                  </a:lnTo>
                  <a:lnTo>
                    <a:pt x="48" y="54"/>
                  </a:lnTo>
                  <a:lnTo>
                    <a:pt x="47" y="54"/>
                  </a:lnTo>
                  <a:lnTo>
                    <a:pt x="47" y="52"/>
                  </a:lnTo>
                  <a:lnTo>
                    <a:pt x="47" y="51"/>
                  </a:lnTo>
                  <a:lnTo>
                    <a:pt x="47" y="52"/>
                  </a:lnTo>
                  <a:lnTo>
                    <a:pt x="45" y="52"/>
                  </a:lnTo>
                  <a:lnTo>
                    <a:pt x="45" y="51"/>
                  </a:lnTo>
                  <a:lnTo>
                    <a:pt x="45" y="49"/>
                  </a:lnTo>
                  <a:lnTo>
                    <a:pt x="44" y="51"/>
                  </a:lnTo>
                  <a:lnTo>
                    <a:pt x="42" y="51"/>
                  </a:lnTo>
                  <a:lnTo>
                    <a:pt x="42" y="49"/>
                  </a:lnTo>
                  <a:lnTo>
                    <a:pt x="40" y="49"/>
                  </a:lnTo>
                  <a:lnTo>
                    <a:pt x="39" y="49"/>
                  </a:lnTo>
                  <a:lnTo>
                    <a:pt x="39" y="47"/>
                  </a:lnTo>
                  <a:lnTo>
                    <a:pt x="37" y="47"/>
                  </a:lnTo>
                  <a:lnTo>
                    <a:pt x="37" y="46"/>
                  </a:lnTo>
                  <a:lnTo>
                    <a:pt x="35" y="46"/>
                  </a:lnTo>
                  <a:lnTo>
                    <a:pt x="37" y="44"/>
                  </a:lnTo>
                  <a:lnTo>
                    <a:pt x="35" y="44"/>
                  </a:lnTo>
                  <a:lnTo>
                    <a:pt x="35" y="42"/>
                  </a:lnTo>
                  <a:lnTo>
                    <a:pt x="37" y="42"/>
                  </a:lnTo>
                  <a:lnTo>
                    <a:pt x="35" y="41"/>
                  </a:lnTo>
                  <a:lnTo>
                    <a:pt x="37" y="41"/>
                  </a:lnTo>
                  <a:lnTo>
                    <a:pt x="35" y="39"/>
                  </a:lnTo>
                  <a:lnTo>
                    <a:pt x="35" y="38"/>
                  </a:lnTo>
                  <a:lnTo>
                    <a:pt x="34" y="39"/>
                  </a:lnTo>
                  <a:lnTo>
                    <a:pt x="32" y="38"/>
                  </a:lnTo>
                  <a:lnTo>
                    <a:pt x="32" y="36"/>
                  </a:lnTo>
                  <a:lnTo>
                    <a:pt x="32" y="34"/>
                  </a:lnTo>
                  <a:lnTo>
                    <a:pt x="32" y="33"/>
                  </a:lnTo>
                  <a:lnTo>
                    <a:pt x="32" y="31"/>
                  </a:lnTo>
                  <a:lnTo>
                    <a:pt x="31" y="31"/>
                  </a:lnTo>
                  <a:lnTo>
                    <a:pt x="29" y="31"/>
                  </a:lnTo>
                  <a:lnTo>
                    <a:pt x="29" y="29"/>
                  </a:lnTo>
                  <a:lnTo>
                    <a:pt x="27" y="29"/>
                  </a:lnTo>
                  <a:lnTo>
                    <a:pt x="29" y="28"/>
                  </a:lnTo>
                  <a:lnTo>
                    <a:pt x="27" y="28"/>
                  </a:lnTo>
                  <a:lnTo>
                    <a:pt x="31" y="28"/>
                  </a:lnTo>
                  <a:lnTo>
                    <a:pt x="32" y="26"/>
                  </a:lnTo>
                  <a:lnTo>
                    <a:pt x="32" y="28"/>
                  </a:lnTo>
                  <a:lnTo>
                    <a:pt x="32" y="26"/>
                  </a:lnTo>
                  <a:lnTo>
                    <a:pt x="34" y="26"/>
                  </a:lnTo>
                  <a:lnTo>
                    <a:pt x="35" y="28"/>
                  </a:lnTo>
                  <a:lnTo>
                    <a:pt x="37" y="26"/>
                  </a:lnTo>
                  <a:lnTo>
                    <a:pt x="35" y="26"/>
                  </a:lnTo>
                  <a:lnTo>
                    <a:pt x="34" y="26"/>
                  </a:lnTo>
                  <a:lnTo>
                    <a:pt x="34" y="25"/>
                  </a:lnTo>
                  <a:lnTo>
                    <a:pt x="32" y="25"/>
                  </a:lnTo>
                  <a:lnTo>
                    <a:pt x="34" y="25"/>
                  </a:lnTo>
                  <a:lnTo>
                    <a:pt x="34" y="23"/>
                  </a:lnTo>
                  <a:lnTo>
                    <a:pt x="35" y="21"/>
                  </a:lnTo>
                  <a:lnTo>
                    <a:pt x="37" y="21"/>
                  </a:lnTo>
                  <a:lnTo>
                    <a:pt x="37" y="23"/>
                  </a:lnTo>
                  <a:lnTo>
                    <a:pt x="37" y="21"/>
                  </a:lnTo>
                  <a:lnTo>
                    <a:pt x="39" y="21"/>
                  </a:lnTo>
                  <a:lnTo>
                    <a:pt x="40" y="21"/>
                  </a:lnTo>
                  <a:lnTo>
                    <a:pt x="42" y="21"/>
                  </a:lnTo>
                  <a:lnTo>
                    <a:pt x="44" y="21"/>
                  </a:lnTo>
                  <a:lnTo>
                    <a:pt x="45" y="21"/>
                  </a:lnTo>
                  <a:lnTo>
                    <a:pt x="44" y="21"/>
                  </a:lnTo>
                  <a:lnTo>
                    <a:pt x="45" y="23"/>
                  </a:lnTo>
                  <a:lnTo>
                    <a:pt x="47" y="23"/>
                  </a:lnTo>
                  <a:lnTo>
                    <a:pt x="47" y="25"/>
                  </a:lnTo>
                  <a:lnTo>
                    <a:pt x="48" y="25"/>
                  </a:lnTo>
                  <a:lnTo>
                    <a:pt x="47" y="23"/>
                  </a:lnTo>
                  <a:lnTo>
                    <a:pt x="48" y="23"/>
                  </a:lnTo>
                  <a:lnTo>
                    <a:pt x="50" y="25"/>
                  </a:lnTo>
                  <a:lnTo>
                    <a:pt x="52" y="25"/>
                  </a:lnTo>
                  <a:lnTo>
                    <a:pt x="53" y="25"/>
                  </a:lnTo>
                  <a:lnTo>
                    <a:pt x="53" y="26"/>
                  </a:lnTo>
                  <a:lnTo>
                    <a:pt x="55" y="26"/>
                  </a:lnTo>
                  <a:lnTo>
                    <a:pt x="57" y="26"/>
                  </a:lnTo>
                  <a:lnTo>
                    <a:pt x="53" y="25"/>
                  </a:lnTo>
                  <a:lnTo>
                    <a:pt x="55" y="25"/>
                  </a:lnTo>
                  <a:lnTo>
                    <a:pt x="57" y="25"/>
                  </a:lnTo>
                  <a:lnTo>
                    <a:pt x="57" y="26"/>
                  </a:lnTo>
                  <a:lnTo>
                    <a:pt x="58" y="26"/>
                  </a:lnTo>
                  <a:lnTo>
                    <a:pt x="58" y="25"/>
                  </a:lnTo>
                  <a:lnTo>
                    <a:pt x="57" y="25"/>
                  </a:lnTo>
                  <a:lnTo>
                    <a:pt x="55" y="21"/>
                  </a:lnTo>
                  <a:lnTo>
                    <a:pt x="53" y="21"/>
                  </a:lnTo>
                  <a:lnTo>
                    <a:pt x="53" y="20"/>
                  </a:lnTo>
                  <a:lnTo>
                    <a:pt x="52" y="18"/>
                  </a:lnTo>
                  <a:lnTo>
                    <a:pt x="50" y="18"/>
                  </a:lnTo>
                  <a:lnTo>
                    <a:pt x="50" y="16"/>
                  </a:lnTo>
                  <a:lnTo>
                    <a:pt x="48" y="15"/>
                  </a:lnTo>
                  <a:lnTo>
                    <a:pt x="50" y="15"/>
                  </a:lnTo>
                  <a:lnTo>
                    <a:pt x="52" y="15"/>
                  </a:lnTo>
                  <a:lnTo>
                    <a:pt x="50" y="15"/>
                  </a:lnTo>
                  <a:lnTo>
                    <a:pt x="50" y="13"/>
                  </a:lnTo>
                  <a:lnTo>
                    <a:pt x="48" y="13"/>
                  </a:lnTo>
                  <a:lnTo>
                    <a:pt x="47" y="13"/>
                  </a:lnTo>
                  <a:lnTo>
                    <a:pt x="45" y="13"/>
                  </a:lnTo>
                  <a:lnTo>
                    <a:pt x="47" y="13"/>
                  </a:lnTo>
                  <a:lnTo>
                    <a:pt x="47" y="15"/>
                  </a:lnTo>
                  <a:lnTo>
                    <a:pt x="45" y="13"/>
                  </a:lnTo>
                  <a:lnTo>
                    <a:pt x="44" y="13"/>
                  </a:lnTo>
                  <a:lnTo>
                    <a:pt x="44" y="12"/>
                  </a:lnTo>
                  <a:lnTo>
                    <a:pt x="42" y="12"/>
                  </a:lnTo>
                  <a:lnTo>
                    <a:pt x="40" y="12"/>
                  </a:lnTo>
                  <a:lnTo>
                    <a:pt x="42" y="10"/>
                  </a:lnTo>
                  <a:lnTo>
                    <a:pt x="42" y="12"/>
                  </a:lnTo>
                  <a:lnTo>
                    <a:pt x="44" y="12"/>
                  </a:lnTo>
                  <a:lnTo>
                    <a:pt x="44" y="13"/>
                  </a:lnTo>
                  <a:lnTo>
                    <a:pt x="45" y="12"/>
                  </a:lnTo>
                  <a:lnTo>
                    <a:pt x="44" y="10"/>
                  </a:lnTo>
                  <a:lnTo>
                    <a:pt x="42" y="10"/>
                  </a:lnTo>
                  <a:lnTo>
                    <a:pt x="44" y="10"/>
                  </a:lnTo>
                  <a:lnTo>
                    <a:pt x="42" y="10"/>
                  </a:lnTo>
                  <a:lnTo>
                    <a:pt x="40" y="10"/>
                  </a:lnTo>
                  <a:lnTo>
                    <a:pt x="39" y="10"/>
                  </a:lnTo>
                  <a:lnTo>
                    <a:pt x="37" y="8"/>
                  </a:lnTo>
                  <a:lnTo>
                    <a:pt x="39" y="8"/>
                  </a:lnTo>
                  <a:lnTo>
                    <a:pt x="39" y="7"/>
                  </a:lnTo>
                  <a:lnTo>
                    <a:pt x="37" y="7"/>
                  </a:lnTo>
                  <a:lnTo>
                    <a:pt x="35" y="7"/>
                  </a:lnTo>
                  <a:lnTo>
                    <a:pt x="34" y="5"/>
                  </a:lnTo>
                  <a:lnTo>
                    <a:pt x="35" y="5"/>
                  </a:lnTo>
                  <a:lnTo>
                    <a:pt x="35" y="3"/>
                  </a:lnTo>
                  <a:lnTo>
                    <a:pt x="35" y="5"/>
                  </a:lnTo>
                  <a:lnTo>
                    <a:pt x="37" y="5"/>
                  </a:lnTo>
                  <a:lnTo>
                    <a:pt x="35" y="3"/>
                  </a:lnTo>
                  <a:lnTo>
                    <a:pt x="35" y="2"/>
                  </a:lnTo>
                  <a:lnTo>
                    <a:pt x="34" y="2"/>
                  </a:lnTo>
                  <a:lnTo>
                    <a:pt x="35" y="2"/>
                  </a:lnTo>
                  <a:lnTo>
                    <a:pt x="39" y="2"/>
                  </a:lnTo>
                  <a:lnTo>
                    <a:pt x="40" y="2"/>
                  </a:lnTo>
                  <a:lnTo>
                    <a:pt x="40" y="3"/>
                  </a:lnTo>
                  <a:lnTo>
                    <a:pt x="40" y="2"/>
                  </a:lnTo>
                  <a:lnTo>
                    <a:pt x="42" y="3"/>
                  </a:lnTo>
                  <a:lnTo>
                    <a:pt x="42" y="5"/>
                  </a:lnTo>
                  <a:lnTo>
                    <a:pt x="44" y="5"/>
                  </a:lnTo>
                  <a:lnTo>
                    <a:pt x="42" y="3"/>
                  </a:lnTo>
                  <a:lnTo>
                    <a:pt x="42" y="2"/>
                  </a:lnTo>
                  <a:lnTo>
                    <a:pt x="44" y="2"/>
                  </a:lnTo>
                  <a:lnTo>
                    <a:pt x="45" y="3"/>
                  </a:lnTo>
                  <a:lnTo>
                    <a:pt x="47" y="3"/>
                  </a:lnTo>
                  <a:lnTo>
                    <a:pt x="48" y="5"/>
                  </a:lnTo>
                  <a:lnTo>
                    <a:pt x="48" y="7"/>
                  </a:lnTo>
                  <a:lnTo>
                    <a:pt x="50" y="8"/>
                  </a:lnTo>
                  <a:lnTo>
                    <a:pt x="50" y="10"/>
                  </a:lnTo>
                  <a:lnTo>
                    <a:pt x="52" y="12"/>
                  </a:lnTo>
                  <a:lnTo>
                    <a:pt x="52" y="13"/>
                  </a:lnTo>
                  <a:lnTo>
                    <a:pt x="53" y="13"/>
                  </a:lnTo>
                  <a:lnTo>
                    <a:pt x="53" y="15"/>
                  </a:lnTo>
                  <a:lnTo>
                    <a:pt x="55" y="15"/>
                  </a:lnTo>
                  <a:lnTo>
                    <a:pt x="58" y="13"/>
                  </a:lnTo>
                  <a:lnTo>
                    <a:pt x="57" y="13"/>
                  </a:lnTo>
                  <a:lnTo>
                    <a:pt x="58" y="13"/>
                  </a:lnTo>
                  <a:lnTo>
                    <a:pt x="58" y="12"/>
                  </a:lnTo>
                  <a:lnTo>
                    <a:pt x="58" y="10"/>
                  </a:lnTo>
                  <a:lnTo>
                    <a:pt x="60" y="10"/>
                  </a:lnTo>
                  <a:lnTo>
                    <a:pt x="58" y="10"/>
                  </a:lnTo>
                  <a:lnTo>
                    <a:pt x="57" y="10"/>
                  </a:lnTo>
                  <a:lnTo>
                    <a:pt x="55" y="10"/>
                  </a:lnTo>
                  <a:lnTo>
                    <a:pt x="55" y="8"/>
                  </a:lnTo>
                  <a:lnTo>
                    <a:pt x="57" y="8"/>
                  </a:lnTo>
                  <a:lnTo>
                    <a:pt x="57" y="7"/>
                  </a:lnTo>
                  <a:lnTo>
                    <a:pt x="60" y="7"/>
                  </a:lnTo>
                  <a:lnTo>
                    <a:pt x="61" y="5"/>
                  </a:lnTo>
                  <a:lnTo>
                    <a:pt x="63" y="7"/>
                  </a:lnTo>
                  <a:lnTo>
                    <a:pt x="65" y="7"/>
                  </a:lnTo>
                  <a:lnTo>
                    <a:pt x="66" y="5"/>
                  </a:lnTo>
                  <a:lnTo>
                    <a:pt x="68" y="3"/>
                  </a:lnTo>
                  <a:lnTo>
                    <a:pt x="66" y="3"/>
                  </a:lnTo>
                  <a:lnTo>
                    <a:pt x="65" y="5"/>
                  </a:lnTo>
                  <a:lnTo>
                    <a:pt x="63" y="5"/>
                  </a:lnTo>
                  <a:lnTo>
                    <a:pt x="61" y="5"/>
                  </a:lnTo>
                  <a:lnTo>
                    <a:pt x="61" y="3"/>
                  </a:lnTo>
                  <a:lnTo>
                    <a:pt x="60" y="5"/>
                  </a:lnTo>
                  <a:lnTo>
                    <a:pt x="58" y="3"/>
                  </a:lnTo>
                  <a:lnTo>
                    <a:pt x="57" y="3"/>
                  </a:lnTo>
                  <a:lnTo>
                    <a:pt x="55" y="3"/>
                  </a:lnTo>
                  <a:lnTo>
                    <a:pt x="55" y="2"/>
                  </a:lnTo>
                  <a:lnTo>
                    <a:pt x="57" y="2"/>
                  </a:lnTo>
                  <a:lnTo>
                    <a:pt x="55" y="2"/>
                  </a:lnTo>
                  <a:lnTo>
                    <a:pt x="694" y="0"/>
                  </a:lnTo>
                  <a:lnTo>
                    <a:pt x="694" y="2"/>
                  </a:lnTo>
                  <a:lnTo>
                    <a:pt x="676" y="2"/>
                  </a:lnTo>
                  <a:lnTo>
                    <a:pt x="678" y="3"/>
                  </a:lnTo>
                  <a:lnTo>
                    <a:pt x="676" y="3"/>
                  </a:lnTo>
                  <a:lnTo>
                    <a:pt x="678" y="5"/>
                  </a:lnTo>
                  <a:lnTo>
                    <a:pt x="678" y="7"/>
                  </a:lnTo>
                  <a:lnTo>
                    <a:pt x="680" y="7"/>
                  </a:lnTo>
                  <a:lnTo>
                    <a:pt x="681" y="7"/>
                  </a:lnTo>
                  <a:lnTo>
                    <a:pt x="681" y="8"/>
                  </a:lnTo>
                  <a:lnTo>
                    <a:pt x="681" y="10"/>
                  </a:lnTo>
                  <a:lnTo>
                    <a:pt x="683" y="12"/>
                  </a:lnTo>
                  <a:lnTo>
                    <a:pt x="683" y="13"/>
                  </a:lnTo>
                  <a:lnTo>
                    <a:pt x="684" y="15"/>
                  </a:lnTo>
                  <a:lnTo>
                    <a:pt x="684" y="16"/>
                  </a:lnTo>
                  <a:lnTo>
                    <a:pt x="684" y="18"/>
                  </a:lnTo>
                  <a:lnTo>
                    <a:pt x="683" y="18"/>
                  </a:lnTo>
                  <a:lnTo>
                    <a:pt x="683" y="20"/>
                  </a:lnTo>
                  <a:lnTo>
                    <a:pt x="683" y="21"/>
                  </a:lnTo>
                  <a:lnTo>
                    <a:pt x="681" y="21"/>
                  </a:lnTo>
                  <a:lnTo>
                    <a:pt x="681" y="23"/>
                  </a:lnTo>
                  <a:lnTo>
                    <a:pt x="681" y="25"/>
                  </a:lnTo>
                  <a:lnTo>
                    <a:pt x="681" y="26"/>
                  </a:lnTo>
                  <a:lnTo>
                    <a:pt x="683" y="28"/>
                  </a:lnTo>
                  <a:lnTo>
                    <a:pt x="683" y="26"/>
                  </a:lnTo>
                  <a:lnTo>
                    <a:pt x="684" y="26"/>
                  </a:lnTo>
                  <a:lnTo>
                    <a:pt x="684" y="25"/>
                  </a:lnTo>
                  <a:lnTo>
                    <a:pt x="686" y="26"/>
                  </a:lnTo>
                  <a:lnTo>
                    <a:pt x="686" y="25"/>
                  </a:lnTo>
                  <a:lnTo>
                    <a:pt x="688" y="25"/>
                  </a:lnTo>
                  <a:lnTo>
                    <a:pt x="686" y="21"/>
                  </a:lnTo>
                  <a:lnTo>
                    <a:pt x="688" y="21"/>
                  </a:lnTo>
                  <a:lnTo>
                    <a:pt x="689" y="21"/>
                  </a:lnTo>
                  <a:lnTo>
                    <a:pt x="689" y="20"/>
                  </a:lnTo>
                  <a:lnTo>
                    <a:pt x="691" y="20"/>
                  </a:lnTo>
                  <a:lnTo>
                    <a:pt x="693" y="20"/>
                  </a:lnTo>
                  <a:lnTo>
                    <a:pt x="694" y="20"/>
                  </a:lnTo>
                  <a:lnTo>
                    <a:pt x="694" y="21"/>
                  </a:lnTo>
                  <a:lnTo>
                    <a:pt x="696" y="21"/>
                  </a:lnTo>
                  <a:lnTo>
                    <a:pt x="697" y="23"/>
                  </a:lnTo>
                  <a:lnTo>
                    <a:pt x="699" y="25"/>
                  </a:lnTo>
                  <a:lnTo>
                    <a:pt x="701" y="26"/>
                  </a:lnTo>
                  <a:lnTo>
                    <a:pt x="699" y="26"/>
                  </a:lnTo>
                  <a:lnTo>
                    <a:pt x="699" y="28"/>
                  </a:lnTo>
                  <a:lnTo>
                    <a:pt x="699" y="26"/>
                  </a:lnTo>
                  <a:lnTo>
                    <a:pt x="699" y="28"/>
                  </a:lnTo>
                  <a:lnTo>
                    <a:pt x="701" y="28"/>
                  </a:lnTo>
                  <a:lnTo>
                    <a:pt x="701" y="29"/>
                  </a:lnTo>
                  <a:lnTo>
                    <a:pt x="701" y="31"/>
                  </a:lnTo>
                  <a:lnTo>
                    <a:pt x="699" y="31"/>
                  </a:lnTo>
                  <a:lnTo>
                    <a:pt x="699" y="33"/>
                  </a:lnTo>
                  <a:lnTo>
                    <a:pt x="699" y="34"/>
                  </a:lnTo>
                  <a:lnTo>
                    <a:pt x="701" y="36"/>
                  </a:lnTo>
                  <a:lnTo>
                    <a:pt x="702" y="38"/>
                  </a:lnTo>
                  <a:lnTo>
                    <a:pt x="702" y="39"/>
                  </a:lnTo>
                  <a:lnTo>
                    <a:pt x="702" y="41"/>
                  </a:lnTo>
                  <a:lnTo>
                    <a:pt x="702" y="42"/>
                  </a:lnTo>
                  <a:lnTo>
                    <a:pt x="701" y="42"/>
                  </a:lnTo>
                  <a:lnTo>
                    <a:pt x="701" y="44"/>
                  </a:lnTo>
                  <a:lnTo>
                    <a:pt x="701" y="46"/>
                  </a:lnTo>
                  <a:lnTo>
                    <a:pt x="701" y="44"/>
                  </a:lnTo>
                  <a:lnTo>
                    <a:pt x="699" y="44"/>
                  </a:lnTo>
                  <a:lnTo>
                    <a:pt x="701" y="46"/>
                  </a:lnTo>
                  <a:lnTo>
                    <a:pt x="699" y="46"/>
                  </a:lnTo>
                  <a:lnTo>
                    <a:pt x="699" y="47"/>
                  </a:lnTo>
                  <a:lnTo>
                    <a:pt x="697" y="47"/>
                  </a:lnTo>
                  <a:lnTo>
                    <a:pt x="696" y="47"/>
                  </a:lnTo>
                  <a:lnTo>
                    <a:pt x="694" y="47"/>
                  </a:lnTo>
                  <a:lnTo>
                    <a:pt x="693" y="47"/>
                  </a:lnTo>
                  <a:lnTo>
                    <a:pt x="693" y="49"/>
                  </a:lnTo>
                  <a:lnTo>
                    <a:pt x="691" y="47"/>
                  </a:lnTo>
                  <a:lnTo>
                    <a:pt x="691" y="49"/>
                  </a:lnTo>
                  <a:lnTo>
                    <a:pt x="689" y="49"/>
                  </a:lnTo>
                  <a:lnTo>
                    <a:pt x="688" y="49"/>
                  </a:lnTo>
                  <a:lnTo>
                    <a:pt x="688" y="51"/>
                  </a:lnTo>
                  <a:lnTo>
                    <a:pt x="688" y="52"/>
                  </a:lnTo>
                  <a:lnTo>
                    <a:pt x="688" y="54"/>
                  </a:lnTo>
                  <a:lnTo>
                    <a:pt x="686" y="54"/>
                  </a:lnTo>
                  <a:lnTo>
                    <a:pt x="684" y="54"/>
                  </a:lnTo>
                  <a:lnTo>
                    <a:pt x="684" y="52"/>
                  </a:lnTo>
                  <a:lnTo>
                    <a:pt x="683" y="52"/>
                  </a:lnTo>
                  <a:lnTo>
                    <a:pt x="683" y="51"/>
                  </a:lnTo>
                  <a:lnTo>
                    <a:pt x="683" y="49"/>
                  </a:lnTo>
                  <a:lnTo>
                    <a:pt x="681" y="47"/>
                  </a:lnTo>
                  <a:lnTo>
                    <a:pt x="683" y="47"/>
                  </a:lnTo>
                  <a:lnTo>
                    <a:pt x="684" y="47"/>
                  </a:lnTo>
                  <a:lnTo>
                    <a:pt x="686" y="47"/>
                  </a:lnTo>
                  <a:lnTo>
                    <a:pt x="686" y="49"/>
                  </a:lnTo>
                  <a:lnTo>
                    <a:pt x="686" y="47"/>
                  </a:lnTo>
                  <a:lnTo>
                    <a:pt x="684" y="47"/>
                  </a:lnTo>
                  <a:lnTo>
                    <a:pt x="683" y="47"/>
                  </a:lnTo>
                  <a:lnTo>
                    <a:pt x="683" y="46"/>
                  </a:lnTo>
                  <a:lnTo>
                    <a:pt x="681" y="47"/>
                  </a:lnTo>
                  <a:lnTo>
                    <a:pt x="681" y="46"/>
                  </a:lnTo>
                  <a:lnTo>
                    <a:pt x="681" y="44"/>
                  </a:lnTo>
                  <a:lnTo>
                    <a:pt x="680" y="44"/>
                  </a:lnTo>
                  <a:lnTo>
                    <a:pt x="680" y="46"/>
                  </a:lnTo>
                  <a:lnTo>
                    <a:pt x="680" y="47"/>
                  </a:lnTo>
                  <a:lnTo>
                    <a:pt x="681" y="47"/>
                  </a:lnTo>
                  <a:lnTo>
                    <a:pt x="681" y="49"/>
                  </a:lnTo>
                  <a:lnTo>
                    <a:pt x="681" y="51"/>
                  </a:lnTo>
                  <a:lnTo>
                    <a:pt x="680" y="51"/>
                  </a:lnTo>
                  <a:lnTo>
                    <a:pt x="680" y="49"/>
                  </a:lnTo>
                  <a:lnTo>
                    <a:pt x="678" y="49"/>
                  </a:lnTo>
                  <a:lnTo>
                    <a:pt x="676" y="49"/>
                  </a:lnTo>
                  <a:lnTo>
                    <a:pt x="676" y="47"/>
                  </a:lnTo>
                  <a:lnTo>
                    <a:pt x="675" y="47"/>
                  </a:lnTo>
                  <a:lnTo>
                    <a:pt x="673" y="47"/>
                  </a:lnTo>
                  <a:lnTo>
                    <a:pt x="675" y="47"/>
                  </a:lnTo>
                  <a:lnTo>
                    <a:pt x="675" y="49"/>
                  </a:lnTo>
                  <a:lnTo>
                    <a:pt x="676" y="51"/>
                  </a:lnTo>
                  <a:lnTo>
                    <a:pt x="675" y="51"/>
                  </a:lnTo>
                  <a:lnTo>
                    <a:pt x="676" y="51"/>
                  </a:lnTo>
                  <a:lnTo>
                    <a:pt x="678" y="51"/>
                  </a:lnTo>
                  <a:lnTo>
                    <a:pt x="678" y="52"/>
                  </a:lnTo>
                  <a:lnTo>
                    <a:pt x="678" y="54"/>
                  </a:lnTo>
                  <a:lnTo>
                    <a:pt x="678" y="55"/>
                  </a:lnTo>
                  <a:lnTo>
                    <a:pt x="676" y="57"/>
                  </a:lnTo>
                  <a:lnTo>
                    <a:pt x="678" y="57"/>
                  </a:lnTo>
                  <a:lnTo>
                    <a:pt x="681" y="55"/>
                  </a:lnTo>
                  <a:lnTo>
                    <a:pt x="681" y="57"/>
                  </a:lnTo>
                  <a:lnTo>
                    <a:pt x="681" y="59"/>
                  </a:lnTo>
                  <a:lnTo>
                    <a:pt x="680" y="59"/>
                  </a:lnTo>
                  <a:lnTo>
                    <a:pt x="680" y="60"/>
                  </a:lnTo>
                  <a:lnTo>
                    <a:pt x="680" y="62"/>
                  </a:lnTo>
                  <a:lnTo>
                    <a:pt x="678" y="62"/>
                  </a:lnTo>
                  <a:lnTo>
                    <a:pt x="678" y="60"/>
                  </a:lnTo>
                  <a:lnTo>
                    <a:pt x="678" y="62"/>
                  </a:lnTo>
                  <a:lnTo>
                    <a:pt x="678" y="64"/>
                  </a:lnTo>
                  <a:lnTo>
                    <a:pt x="678" y="62"/>
                  </a:lnTo>
                  <a:lnTo>
                    <a:pt x="680" y="62"/>
                  </a:lnTo>
                  <a:lnTo>
                    <a:pt x="680" y="64"/>
                  </a:lnTo>
                  <a:lnTo>
                    <a:pt x="678" y="64"/>
                  </a:lnTo>
                  <a:lnTo>
                    <a:pt x="678" y="65"/>
                  </a:lnTo>
                  <a:lnTo>
                    <a:pt x="676" y="64"/>
                  </a:lnTo>
                  <a:lnTo>
                    <a:pt x="676" y="65"/>
                  </a:lnTo>
                  <a:lnTo>
                    <a:pt x="675" y="65"/>
                  </a:lnTo>
                  <a:lnTo>
                    <a:pt x="675" y="67"/>
                  </a:lnTo>
                  <a:lnTo>
                    <a:pt x="675" y="68"/>
                  </a:lnTo>
                  <a:lnTo>
                    <a:pt x="673" y="68"/>
                  </a:lnTo>
                  <a:lnTo>
                    <a:pt x="673" y="70"/>
                  </a:lnTo>
                  <a:lnTo>
                    <a:pt x="675" y="70"/>
                  </a:lnTo>
                  <a:lnTo>
                    <a:pt x="673" y="70"/>
                  </a:lnTo>
                  <a:lnTo>
                    <a:pt x="671" y="70"/>
                  </a:lnTo>
                  <a:lnTo>
                    <a:pt x="670" y="70"/>
                  </a:lnTo>
                  <a:lnTo>
                    <a:pt x="668" y="70"/>
                  </a:lnTo>
                  <a:lnTo>
                    <a:pt x="667" y="70"/>
                  </a:lnTo>
                  <a:lnTo>
                    <a:pt x="667" y="72"/>
                  </a:lnTo>
                  <a:lnTo>
                    <a:pt x="668" y="72"/>
                  </a:lnTo>
                  <a:lnTo>
                    <a:pt x="668" y="73"/>
                  </a:lnTo>
                  <a:lnTo>
                    <a:pt x="670" y="73"/>
                  </a:lnTo>
                  <a:lnTo>
                    <a:pt x="668" y="73"/>
                  </a:lnTo>
                  <a:lnTo>
                    <a:pt x="667" y="73"/>
                  </a:lnTo>
                  <a:lnTo>
                    <a:pt x="667" y="75"/>
                  </a:lnTo>
                  <a:lnTo>
                    <a:pt x="668" y="75"/>
                  </a:lnTo>
                  <a:lnTo>
                    <a:pt x="667" y="75"/>
                  </a:lnTo>
                  <a:lnTo>
                    <a:pt x="667" y="77"/>
                  </a:lnTo>
                  <a:lnTo>
                    <a:pt x="665" y="77"/>
                  </a:lnTo>
                  <a:lnTo>
                    <a:pt x="665" y="78"/>
                  </a:lnTo>
                  <a:lnTo>
                    <a:pt x="667" y="78"/>
                  </a:lnTo>
                  <a:close/>
                  <a:moveTo>
                    <a:pt x="696" y="2"/>
                  </a:moveTo>
                  <a:lnTo>
                    <a:pt x="696" y="0"/>
                  </a:lnTo>
                  <a:lnTo>
                    <a:pt x="738" y="0"/>
                  </a:lnTo>
                  <a:lnTo>
                    <a:pt x="738" y="2"/>
                  </a:lnTo>
                  <a:lnTo>
                    <a:pt x="736" y="0"/>
                  </a:lnTo>
                  <a:lnTo>
                    <a:pt x="736" y="2"/>
                  </a:lnTo>
                  <a:lnTo>
                    <a:pt x="738" y="3"/>
                  </a:lnTo>
                  <a:lnTo>
                    <a:pt x="738" y="5"/>
                  </a:lnTo>
                  <a:lnTo>
                    <a:pt x="740" y="7"/>
                  </a:lnTo>
                  <a:lnTo>
                    <a:pt x="740" y="8"/>
                  </a:lnTo>
                  <a:lnTo>
                    <a:pt x="741" y="8"/>
                  </a:lnTo>
                  <a:lnTo>
                    <a:pt x="741" y="12"/>
                  </a:lnTo>
                  <a:lnTo>
                    <a:pt x="741" y="13"/>
                  </a:lnTo>
                  <a:lnTo>
                    <a:pt x="741" y="15"/>
                  </a:lnTo>
                  <a:lnTo>
                    <a:pt x="741" y="16"/>
                  </a:lnTo>
                  <a:lnTo>
                    <a:pt x="743" y="16"/>
                  </a:lnTo>
                  <a:lnTo>
                    <a:pt x="743" y="18"/>
                  </a:lnTo>
                  <a:lnTo>
                    <a:pt x="741" y="18"/>
                  </a:lnTo>
                  <a:lnTo>
                    <a:pt x="740" y="18"/>
                  </a:lnTo>
                  <a:lnTo>
                    <a:pt x="741" y="18"/>
                  </a:lnTo>
                  <a:lnTo>
                    <a:pt x="741" y="20"/>
                  </a:lnTo>
                  <a:lnTo>
                    <a:pt x="740" y="20"/>
                  </a:lnTo>
                  <a:lnTo>
                    <a:pt x="741" y="20"/>
                  </a:lnTo>
                  <a:lnTo>
                    <a:pt x="741" y="21"/>
                  </a:lnTo>
                  <a:lnTo>
                    <a:pt x="741" y="20"/>
                  </a:lnTo>
                  <a:lnTo>
                    <a:pt x="740" y="21"/>
                  </a:lnTo>
                  <a:lnTo>
                    <a:pt x="740" y="23"/>
                  </a:lnTo>
                  <a:lnTo>
                    <a:pt x="740" y="21"/>
                  </a:lnTo>
                  <a:lnTo>
                    <a:pt x="738" y="23"/>
                  </a:lnTo>
                  <a:lnTo>
                    <a:pt x="740" y="23"/>
                  </a:lnTo>
                  <a:lnTo>
                    <a:pt x="738" y="23"/>
                  </a:lnTo>
                  <a:lnTo>
                    <a:pt x="736" y="23"/>
                  </a:lnTo>
                  <a:lnTo>
                    <a:pt x="738" y="23"/>
                  </a:lnTo>
                  <a:lnTo>
                    <a:pt x="738" y="25"/>
                  </a:lnTo>
                  <a:lnTo>
                    <a:pt x="738" y="23"/>
                  </a:lnTo>
                  <a:lnTo>
                    <a:pt x="738" y="25"/>
                  </a:lnTo>
                  <a:lnTo>
                    <a:pt x="736" y="25"/>
                  </a:lnTo>
                  <a:lnTo>
                    <a:pt x="735" y="23"/>
                  </a:lnTo>
                  <a:lnTo>
                    <a:pt x="733" y="23"/>
                  </a:lnTo>
                  <a:lnTo>
                    <a:pt x="732" y="21"/>
                  </a:lnTo>
                  <a:lnTo>
                    <a:pt x="733" y="21"/>
                  </a:lnTo>
                  <a:lnTo>
                    <a:pt x="733" y="20"/>
                  </a:lnTo>
                  <a:lnTo>
                    <a:pt x="735" y="18"/>
                  </a:lnTo>
                  <a:lnTo>
                    <a:pt x="733" y="18"/>
                  </a:lnTo>
                  <a:lnTo>
                    <a:pt x="733" y="20"/>
                  </a:lnTo>
                  <a:lnTo>
                    <a:pt x="732" y="20"/>
                  </a:lnTo>
                  <a:lnTo>
                    <a:pt x="730" y="20"/>
                  </a:lnTo>
                  <a:lnTo>
                    <a:pt x="732" y="18"/>
                  </a:lnTo>
                  <a:lnTo>
                    <a:pt x="730" y="18"/>
                  </a:lnTo>
                  <a:lnTo>
                    <a:pt x="728" y="18"/>
                  </a:lnTo>
                  <a:lnTo>
                    <a:pt x="728" y="20"/>
                  </a:lnTo>
                  <a:lnTo>
                    <a:pt x="727" y="20"/>
                  </a:lnTo>
                  <a:lnTo>
                    <a:pt x="728" y="18"/>
                  </a:lnTo>
                  <a:lnTo>
                    <a:pt x="727" y="18"/>
                  </a:lnTo>
                  <a:lnTo>
                    <a:pt x="727" y="20"/>
                  </a:lnTo>
                  <a:lnTo>
                    <a:pt x="725" y="18"/>
                  </a:lnTo>
                  <a:lnTo>
                    <a:pt x="725" y="16"/>
                  </a:lnTo>
                  <a:lnTo>
                    <a:pt x="727" y="18"/>
                  </a:lnTo>
                  <a:lnTo>
                    <a:pt x="727" y="16"/>
                  </a:lnTo>
                  <a:lnTo>
                    <a:pt x="727" y="15"/>
                  </a:lnTo>
                  <a:lnTo>
                    <a:pt x="727" y="16"/>
                  </a:lnTo>
                  <a:lnTo>
                    <a:pt x="728" y="16"/>
                  </a:lnTo>
                  <a:lnTo>
                    <a:pt x="728" y="15"/>
                  </a:lnTo>
                  <a:lnTo>
                    <a:pt x="728" y="16"/>
                  </a:lnTo>
                  <a:lnTo>
                    <a:pt x="727" y="15"/>
                  </a:lnTo>
                  <a:lnTo>
                    <a:pt x="728" y="15"/>
                  </a:lnTo>
                  <a:lnTo>
                    <a:pt x="727" y="15"/>
                  </a:lnTo>
                  <a:lnTo>
                    <a:pt x="728" y="15"/>
                  </a:lnTo>
                  <a:lnTo>
                    <a:pt x="730" y="15"/>
                  </a:lnTo>
                  <a:lnTo>
                    <a:pt x="730" y="13"/>
                  </a:lnTo>
                  <a:lnTo>
                    <a:pt x="730" y="12"/>
                  </a:lnTo>
                  <a:lnTo>
                    <a:pt x="728" y="12"/>
                  </a:lnTo>
                  <a:lnTo>
                    <a:pt x="730" y="12"/>
                  </a:lnTo>
                  <a:lnTo>
                    <a:pt x="728" y="12"/>
                  </a:lnTo>
                  <a:lnTo>
                    <a:pt x="728" y="10"/>
                  </a:lnTo>
                  <a:lnTo>
                    <a:pt x="730" y="10"/>
                  </a:lnTo>
                  <a:lnTo>
                    <a:pt x="730" y="8"/>
                  </a:lnTo>
                  <a:lnTo>
                    <a:pt x="730" y="7"/>
                  </a:lnTo>
                  <a:lnTo>
                    <a:pt x="728" y="7"/>
                  </a:lnTo>
                  <a:lnTo>
                    <a:pt x="728" y="8"/>
                  </a:lnTo>
                  <a:lnTo>
                    <a:pt x="727" y="10"/>
                  </a:lnTo>
                  <a:lnTo>
                    <a:pt x="727" y="8"/>
                  </a:lnTo>
                  <a:lnTo>
                    <a:pt x="725" y="8"/>
                  </a:lnTo>
                  <a:lnTo>
                    <a:pt x="725" y="7"/>
                  </a:lnTo>
                  <a:lnTo>
                    <a:pt x="725" y="5"/>
                  </a:lnTo>
                  <a:lnTo>
                    <a:pt x="725" y="3"/>
                  </a:lnTo>
                  <a:lnTo>
                    <a:pt x="723" y="3"/>
                  </a:lnTo>
                  <a:lnTo>
                    <a:pt x="723" y="5"/>
                  </a:lnTo>
                  <a:lnTo>
                    <a:pt x="723" y="7"/>
                  </a:lnTo>
                  <a:lnTo>
                    <a:pt x="722" y="5"/>
                  </a:lnTo>
                  <a:lnTo>
                    <a:pt x="722" y="7"/>
                  </a:lnTo>
                  <a:lnTo>
                    <a:pt x="720" y="5"/>
                  </a:lnTo>
                  <a:lnTo>
                    <a:pt x="719" y="5"/>
                  </a:lnTo>
                  <a:lnTo>
                    <a:pt x="719" y="3"/>
                  </a:lnTo>
                  <a:lnTo>
                    <a:pt x="720" y="3"/>
                  </a:lnTo>
                  <a:lnTo>
                    <a:pt x="722" y="5"/>
                  </a:lnTo>
                  <a:lnTo>
                    <a:pt x="722" y="3"/>
                  </a:lnTo>
                  <a:lnTo>
                    <a:pt x="722" y="2"/>
                  </a:lnTo>
                  <a:lnTo>
                    <a:pt x="720" y="2"/>
                  </a:lnTo>
                  <a:lnTo>
                    <a:pt x="719" y="2"/>
                  </a:lnTo>
                  <a:lnTo>
                    <a:pt x="717" y="0"/>
                  </a:lnTo>
                  <a:lnTo>
                    <a:pt x="717" y="2"/>
                  </a:lnTo>
                  <a:lnTo>
                    <a:pt x="715" y="2"/>
                  </a:lnTo>
                  <a:lnTo>
                    <a:pt x="714" y="2"/>
                  </a:lnTo>
                  <a:lnTo>
                    <a:pt x="712" y="2"/>
                  </a:lnTo>
                  <a:lnTo>
                    <a:pt x="710" y="2"/>
                  </a:lnTo>
                  <a:lnTo>
                    <a:pt x="710" y="3"/>
                  </a:lnTo>
                  <a:lnTo>
                    <a:pt x="710" y="5"/>
                  </a:lnTo>
                  <a:lnTo>
                    <a:pt x="712" y="5"/>
                  </a:lnTo>
                  <a:lnTo>
                    <a:pt x="714" y="5"/>
                  </a:lnTo>
                  <a:lnTo>
                    <a:pt x="714" y="7"/>
                  </a:lnTo>
                  <a:lnTo>
                    <a:pt x="715" y="7"/>
                  </a:lnTo>
                  <a:lnTo>
                    <a:pt x="717" y="7"/>
                  </a:lnTo>
                  <a:lnTo>
                    <a:pt x="719" y="7"/>
                  </a:lnTo>
                  <a:lnTo>
                    <a:pt x="719" y="8"/>
                  </a:lnTo>
                  <a:lnTo>
                    <a:pt x="720" y="8"/>
                  </a:lnTo>
                  <a:lnTo>
                    <a:pt x="722" y="8"/>
                  </a:lnTo>
                  <a:lnTo>
                    <a:pt x="722" y="10"/>
                  </a:lnTo>
                  <a:lnTo>
                    <a:pt x="720" y="8"/>
                  </a:lnTo>
                  <a:lnTo>
                    <a:pt x="720" y="10"/>
                  </a:lnTo>
                  <a:lnTo>
                    <a:pt x="719" y="10"/>
                  </a:lnTo>
                  <a:lnTo>
                    <a:pt x="720" y="10"/>
                  </a:lnTo>
                  <a:lnTo>
                    <a:pt x="720" y="12"/>
                  </a:lnTo>
                  <a:lnTo>
                    <a:pt x="720" y="10"/>
                  </a:lnTo>
                  <a:lnTo>
                    <a:pt x="722" y="10"/>
                  </a:lnTo>
                  <a:lnTo>
                    <a:pt x="723" y="10"/>
                  </a:lnTo>
                  <a:lnTo>
                    <a:pt x="723" y="12"/>
                  </a:lnTo>
                  <a:lnTo>
                    <a:pt x="722" y="12"/>
                  </a:lnTo>
                  <a:lnTo>
                    <a:pt x="722" y="13"/>
                  </a:lnTo>
                  <a:lnTo>
                    <a:pt x="720" y="13"/>
                  </a:lnTo>
                  <a:lnTo>
                    <a:pt x="722" y="13"/>
                  </a:lnTo>
                  <a:lnTo>
                    <a:pt x="720" y="13"/>
                  </a:lnTo>
                  <a:lnTo>
                    <a:pt x="719" y="12"/>
                  </a:lnTo>
                  <a:lnTo>
                    <a:pt x="719" y="13"/>
                  </a:lnTo>
                  <a:lnTo>
                    <a:pt x="717" y="13"/>
                  </a:lnTo>
                  <a:lnTo>
                    <a:pt x="717" y="12"/>
                  </a:lnTo>
                  <a:lnTo>
                    <a:pt x="714" y="10"/>
                  </a:lnTo>
                  <a:lnTo>
                    <a:pt x="714" y="8"/>
                  </a:lnTo>
                  <a:lnTo>
                    <a:pt x="712" y="8"/>
                  </a:lnTo>
                  <a:lnTo>
                    <a:pt x="712" y="7"/>
                  </a:lnTo>
                  <a:lnTo>
                    <a:pt x="710" y="7"/>
                  </a:lnTo>
                  <a:lnTo>
                    <a:pt x="712" y="7"/>
                  </a:lnTo>
                  <a:lnTo>
                    <a:pt x="714" y="8"/>
                  </a:lnTo>
                  <a:lnTo>
                    <a:pt x="715" y="8"/>
                  </a:lnTo>
                  <a:lnTo>
                    <a:pt x="715" y="7"/>
                  </a:lnTo>
                  <a:lnTo>
                    <a:pt x="714" y="8"/>
                  </a:lnTo>
                  <a:lnTo>
                    <a:pt x="712" y="7"/>
                  </a:lnTo>
                  <a:lnTo>
                    <a:pt x="710" y="5"/>
                  </a:lnTo>
                  <a:lnTo>
                    <a:pt x="710" y="3"/>
                  </a:lnTo>
                  <a:lnTo>
                    <a:pt x="709" y="3"/>
                  </a:lnTo>
                  <a:lnTo>
                    <a:pt x="709" y="2"/>
                  </a:lnTo>
                  <a:lnTo>
                    <a:pt x="707" y="2"/>
                  </a:lnTo>
                  <a:lnTo>
                    <a:pt x="706" y="2"/>
                  </a:lnTo>
                  <a:lnTo>
                    <a:pt x="696" y="2"/>
                  </a:lnTo>
                  <a:close/>
                  <a:moveTo>
                    <a:pt x="748" y="0"/>
                  </a:moveTo>
                  <a:lnTo>
                    <a:pt x="738" y="0"/>
                  </a:lnTo>
                  <a:lnTo>
                    <a:pt x="748" y="0"/>
                  </a:lnTo>
                  <a:close/>
                  <a:moveTo>
                    <a:pt x="761" y="0"/>
                  </a:moveTo>
                  <a:lnTo>
                    <a:pt x="754" y="0"/>
                  </a:lnTo>
                  <a:lnTo>
                    <a:pt x="761" y="0"/>
                  </a:lnTo>
                  <a:close/>
                  <a:moveTo>
                    <a:pt x="50" y="2"/>
                  </a:moveTo>
                  <a:lnTo>
                    <a:pt x="50" y="3"/>
                  </a:lnTo>
                  <a:lnTo>
                    <a:pt x="50" y="2"/>
                  </a:lnTo>
                  <a:lnTo>
                    <a:pt x="48" y="2"/>
                  </a:lnTo>
                  <a:lnTo>
                    <a:pt x="48" y="3"/>
                  </a:lnTo>
                  <a:lnTo>
                    <a:pt x="48" y="2"/>
                  </a:lnTo>
                  <a:lnTo>
                    <a:pt x="48" y="3"/>
                  </a:lnTo>
                  <a:lnTo>
                    <a:pt x="48" y="2"/>
                  </a:lnTo>
                  <a:lnTo>
                    <a:pt x="48" y="3"/>
                  </a:lnTo>
                  <a:lnTo>
                    <a:pt x="47" y="0"/>
                  </a:lnTo>
                  <a:lnTo>
                    <a:pt x="50" y="2"/>
                  </a:lnTo>
                  <a:close/>
                  <a:moveTo>
                    <a:pt x="995" y="2"/>
                  </a:moveTo>
                  <a:lnTo>
                    <a:pt x="989" y="2"/>
                  </a:lnTo>
                  <a:lnTo>
                    <a:pt x="990" y="2"/>
                  </a:lnTo>
                  <a:lnTo>
                    <a:pt x="992" y="2"/>
                  </a:lnTo>
                  <a:lnTo>
                    <a:pt x="993" y="2"/>
                  </a:lnTo>
                  <a:lnTo>
                    <a:pt x="995" y="0"/>
                  </a:lnTo>
                  <a:lnTo>
                    <a:pt x="997" y="2"/>
                  </a:lnTo>
                  <a:lnTo>
                    <a:pt x="995" y="2"/>
                  </a:lnTo>
                  <a:close/>
                  <a:moveTo>
                    <a:pt x="1000" y="2"/>
                  </a:moveTo>
                  <a:lnTo>
                    <a:pt x="998" y="2"/>
                  </a:lnTo>
                  <a:lnTo>
                    <a:pt x="998" y="0"/>
                  </a:lnTo>
                  <a:lnTo>
                    <a:pt x="1000" y="2"/>
                  </a:lnTo>
                  <a:close/>
                  <a:moveTo>
                    <a:pt x="998" y="0"/>
                  </a:moveTo>
                  <a:lnTo>
                    <a:pt x="989" y="0"/>
                  </a:lnTo>
                  <a:lnTo>
                    <a:pt x="989" y="2"/>
                  </a:lnTo>
                  <a:lnTo>
                    <a:pt x="761" y="0"/>
                  </a:lnTo>
                  <a:lnTo>
                    <a:pt x="998" y="0"/>
                  </a:lnTo>
                  <a:close/>
                  <a:moveTo>
                    <a:pt x="1029" y="2"/>
                  </a:moveTo>
                  <a:lnTo>
                    <a:pt x="1028" y="2"/>
                  </a:lnTo>
                  <a:lnTo>
                    <a:pt x="1026" y="2"/>
                  </a:lnTo>
                  <a:lnTo>
                    <a:pt x="1024" y="2"/>
                  </a:lnTo>
                  <a:lnTo>
                    <a:pt x="1023" y="0"/>
                  </a:lnTo>
                  <a:lnTo>
                    <a:pt x="1023" y="2"/>
                  </a:lnTo>
                  <a:lnTo>
                    <a:pt x="1021" y="2"/>
                  </a:lnTo>
                  <a:lnTo>
                    <a:pt x="1002" y="2"/>
                  </a:lnTo>
                  <a:lnTo>
                    <a:pt x="1005" y="0"/>
                  </a:lnTo>
                  <a:lnTo>
                    <a:pt x="998" y="0"/>
                  </a:lnTo>
                  <a:lnTo>
                    <a:pt x="1044" y="0"/>
                  </a:lnTo>
                  <a:lnTo>
                    <a:pt x="1031" y="2"/>
                  </a:lnTo>
                  <a:lnTo>
                    <a:pt x="1032" y="2"/>
                  </a:lnTo>
                  <a:lnTo>
                    <a:pt x="1029" y="2"/>
                  </a:lnTo>
                  <a:close/>
                  <a:moveTo>
                    <a:pt x="1063" y="2"/>
                  </a:moveTo>
                  <a:lnTo>
                    <a:pt x="1065" y="2"/>
                  </a:lnTo>
                  <a:lnTo>
                    <a:pt x="1050" y="2"/>
                  </a:lnTo>
                  <a:lnTo>
                    <a:pt x="1044" y="2"/>
                  </a:lnTo>
                  <a:lnTo>
                    <a:pt x="1045" y="0"/>
                  </a:lnTo>
                  <a:lnTo>
                    <a:pt x="1112" y="0"/>
                  </a:lnTo>
                  <a:lnTo>
                    <a:pt x="1111" y="0"/>
                  </a:lnTo>
                  <a:lnTo>
                    <a:pt x="1111" y="2"/>
                  </a:lnTo>
                  <a:lnTo>
                    <a:pt x="1107" y="2"/>
                  </a:lnTo>
                  <a:lnTo>
                    <a:pt x="1106" y="2"/>
                  </a:lnTo>
                  <a:lnTo>
                    <a:pt x="1104" y="2"/>
                  </a:lnTo>
                  <a:lnTo>
                    <a:pt x="1104" y="0"/>
                  </a:lnTo>
                  <a:lnTo>
                    <a:pt x="1102" y="0"/>
                  </a:lnTo>
                  <a:lnTo>
                    <a:pt x="1102" y="2"/>
                  </a:lnTo>
                  <a:lnTo>
                    <a:pt x="1102" y="3"/>
                  </a:lnTo>
                  <a:lnTo>
                    <a:pt x="1104" y="3"/>
                  </a:lnTo>
                  <a:lnTo>
                    <a:pt x="1106" y="3"/>
                  </a:lnTo>
                  <a:lnTo>
                    <a:pt x="1106" y="5"/>
                  </a:lnTo>
                  <a:lnTo>
                    <a:pt x="1107" y="3"/>
                  </a:lnTo>
                  <a:lnTo>
                    <a:pt x="1109" y="3"/>
                  </a:lnTo>
                  <a:lnTo>
                    <a:pt x="1111" y="3"/>
                  </a:lnTo>
                  <a:lnTo>
                    <a:pt x="1111" y="5"/>
                  </a:lnTo>
                  <a:lnTo>
                    <a:pt x="1111" y="7"/>
                  </a:lnTo>
                  <a:lnTo>
                    <a:pt x="1111" y="8"/>
                  </a:lnTo>
                  <a:lnTo>
                    <a:pt x="1112" y="8"/>
                  </a:lnTo>
                  <a:lnTo>
                    <a:pt x="1112" y="10"/>
                  </a:lnTo>
                  <a:lnTo>
                    <a:pt x="1114" y="12"/>
                  </a:lnTo>
                  <a:lnTo>
                    <a:pt x="1112" y="12"/>
                  </a:lnTo>
                  <a:lnTo>
                    <a:pt x="1114" y="13"/>
                  </a:lnTo>
                  <a:lnTo>
                    <a:pt x="1112" y="13"/>
                  </a:lnTo>
                  <a:lnTo>
                    <a:pt x="1111" y="13"/>
                  </a:lnTo>
                  <a:lnTo>
                    <a:pt x="1109" y="12"/>
                  </a:lnTo>
                  <a:lnTo>
                    <a:pt x="1107" y="10"/>
                  </a:lnTo>
                  <a:lnTo>
                    <a:pt x="1107" y="8"/>
                  </a:lnTo>
                  <a:lnTo>
                    <a:pt x="1106" y="8"/>
                  </a:lnTo>
                  <a:lnTo>
                    <a:pt x="1107" y="8"/>
                  </a:lnTo>
                  <a:lnTo>
                    <a:pt x="1107" y="7"/>
                  </a:lnTo>
                  <a:lnTo>
                    <a:pt x="1106" y="5"/>
                  </a:lnTo>
                  <a:lnTo>
                    <a:pt x="1104" y="5"/>
                  </a:lnTo>
                  <a:lnTo>
                    <a:pt x="1104" y="7"/>
                  </a:lnTo>
                  <a:lnTo>
                    <a:pt x="1106" y="7"/>
                  </a:lnTo>
                  <a:lnTo>
                    <a:pt x="1104" y="7"/>
                  </a:lnTo>
                  <a:lnTo>
                    <a:pt x="1104" y="8"/>
                  </a:lnTo>
                  <a:lnTo>
                    <a:pt x="1104" y="7"/>
                  </a:lnTo>
                  <a:lnTo>
                    <a:pt x="1102" y="5"/>
                  </a:lnTo>
                  <a:lnTo>
                    <a:pt x="1101" y="5"/>
                  </a:lnTo>
                  <a:lnTo>
                    <a:pt x="1101" y="7"/>
                  </a:lnTo>
                  <a:lnTo>
                    <a:pt x="1102" y="8"/>
                  </a:lnTo>
                  <a:lnTo>
                    <a:pt x="1102" y="10"/>
                  </a:lnTo>
                  <a:lnTo>
                    <a:pt x="1104" y="10"/>
                  </a:lnTo>
                  <a:lnTo>
                    <a:pt x="1104" y="12"/>
                  </a:lnTo>
                  <a:lnTo>
                    <a:pt x="1102" y="12"/>
                  </a:lnTo>
                  <a:lnTo>
                    <a:pt x="1101" y="12"/>
                  </a:lnTo>
                  <a:lnTo>
                    <a:pt x="1101" y="10"/>
                  </a:lnTo>
                  <a:lnTo>
                    <a:pt x="1099" y="12"/>
                  </a:lnTo>
                  <a:lnTo>
                    <a:pt x="1097" y="13"/>
                  </a:lnTo>
                  <a:lnTo>
                    <a:pt x="1099" y="13"/>
                  </a:lnTo>
                  <a:lnTo>
                    <a:pt x="1099" y="15"/>
                  </a:lnTo>
                  <a:lnTo>
                    <a:pt x="1097" y="15"/>
                  </a:lnTo>
                  <a:lnTo>
                    <a:pt x="1096" y="15"/>
                  </a:lnTo>
                  <a:lnTo>
                    <a:pt x="1094" y="15"/>
                  </a:lnTo>
                  <a:lnTo>
                    <a:pt x="1094" y="16"/>
                  </a:lnTo>
                  <a:lnTo>
                    <a:pt x="1093" y="16"/>
                  </a:lnTo>
                  <a:lnTo>
                    <a:pt x="1093" y="15"/>
                  </a:lnTo>
                  <a:lnTo>
                    <a:pt x="1091" y="15"/>
                  </a:lnTo>
                  <a:lnTo>
                    <a:pt x="1089" y="15"/>
                  </a:lnTo>
                  <a:lnTo>
                    <a:pt x="1088" y="15"/>
                  </a:lnTo>
                  <a:lnTo>
                    <a:pt x="1086" y="15"/>
                  </a:lnTo>
                  <a:lnTo>
                    <a:pt x="1086" y="13"/>
                  </a:lnTo>
                  <a:lnTo>
                    <a:pt x="1086" y="15"/>
                  </a:lnTo>
                  <a:lnTo>
                    <a:pt x="1086" y="16"/>
                  </a:lnTo>
                  <a:lnTo>
                    <a:pt x="1086" y="18"/>
                  </a:lnTo>
                  <a:lnTo>
                    <a:pt x="1088" y="18"/>
                  </a:lnTo>
                  <a:lnTo>
                    <a:pt x="1086" y="18"/>
                  </a:lnTo>
                  <a:lnTo>
                    <a:pt x="1086" y="16"/>
                  </a:lnTo>
                  <a:lnTo>
                    <a:pt x="1084" y="18"/>
                  </a:lnTo>
                  <a:lnTo>
                    <a:pt x="1083" y="18"/>
                  </a:lnTo>
                  <a:lnTo>
                    <a:pt x="1081" y="18"/>
                  </a:lnTo>
                  <a:lnTo>
                    <a:pt x="1081" y="16"/>
                  </a:lnTo>
                  <a:lnTo>
                    <a:pt x="1081" y="15"/>
                  </a:lnTo>
                  <a:lnTo>
                    <a:pt x="1083" y="13"/>
                  </a:lnTo>
                  <a:lnTo>
                    <a:pt x="1084" y="13"/>
                  </a:lnTo>
                  <a:lnTo>
                    <a:pt x="1083" y="13"/>
                  </a:lnTo>
                  <a:lnTo>
                    <a:pt x="1084" y="12"/>
                  </a:lnTo>
                  <a:lnTo>
                    <a:pt x="1083" y="12"/>
                  </a:lnTo>
                  <a:lnTo>
                    <a:pt x="1083" y="13"/>
                  </a:lnTo>
                  <a:lnTo>
                    <a:pt x="1081" y="13"/>
                  </a:lnTo>
                  <a:lnTo>
                    <a:pt x="1081" y="12"/>
                  </a:lnTo>
                  <a:lnTo>
                    <a:pt x="1081" y="13"/>
                  </a:lnTo>
                  <a:lnTo>
                    <a:pt x="1080" y="13"/>
                  </a:lnTo>
                  <a:lnTo>
                    <a:pt x="1078" y="15"/>
                  </a:lnTo>
                  <a:lnTo>
                    <a:pt x="1078" y="13"/>
                  </a:lnTo>
                  <a:lnTo>
                    <a:pt x="1076" y="13"/>
                  </a:lnTo>
                  <a:lnTo>
                    <a:pt x="1076" y="12"/>
                  </a:lnTo>
                  <a:lnTo>
                    <a:pt x="1075" y="12"/>
                  </a:lnTo>
                  <a:lnTo>
                    <a:pt x="1076" y="12"/>
                  </a:lnTo>
                  <a:lnTo>
                    <a:pt x="1078" y="12"/>
                  </a:lnTo>
                  <a:lnTo>
                    <a:pt x="1080" y="12"/>
                  </a:lnTo>
                  <a:lnTo>
                    <a:pt x="1080" y="10"/>
                  </a:lnTo>
                  <a:lnTo>
                    <a:pt x="1081" y="10"/>
                  </a:lnTo>
                  <a:lnTo>
                    <a:pt x="1081" y="8"/>
                  </a:lnTo>
                  <a:lnTo>
                    <a:pt x="1081" y="7"/>
                  </a:lnTo>
                  <a:lnTo>
                    <a:pt x="1083" y="7"/>
                  </a:lnTo>
                  <a:lnTo>
                    <a:pt x="1081" y="7"/>
                  </a:lnTo>
                  <a:lnTo>
                    <a:pt x="1081" y="8"/>
                  </a:lnTo>
                  <a:lnTo>
                    <a:pt x="1080" y="8"/>
                  </a:lnTo>
                  <a:lnTo>
                    <a:pt x="1078" y="10"/>
                  </a:lnTo>
                  <a:lnTo>
                    <a:pt x="1076" y="10"/>
                  </a:lnTo>
                  <a:lnTo>
                    <a:pt x="1075" y="10"/>
                  </a:lnTo>
                  <a:lnTo>
                    <a:pt x="1076" y="8"/>
                  </a:lnTo>
                  <a:lnTo>
                    <a:pt x="1078" y="8"/>
                  </a:lnTo>
                  <a:lnTo>
                    <a:pt x="1078" y="7"/>
                  </a:lnTo>
                  <a:lnTo>
                    <a:pt x="1080" y="5"/>
                  </a:lnTo>
                  <a:lnTo>
                    <a:pt x="1081" y="3"/>
                  </a:lnTo>
                  <a:lnTo>
                    <a:pt x="1083" y="3"/>
                  </a:lnTo>
                  <a:lnTo>
                    <a:pt x="1083" y="2"/>
                  </a:lnTo>
                  <a:lnTo>
                    <a:pt x="1081" y="2"/>
                  </a:lnTo>
                  <a:lnTo>
                    <a:pt x="1080" y="3"/>
                  </a:lnTo>
                  <a:lnTo>
                    <a:pt x="1078" y="5"/>
                  </a:lnTo>
                  <a:lnTo>
                    <a:pt x="1076" y="3"/>
                  </a:lnTo>
                  <a:lnTo>
                    <a:pt x="1075" y="3"/>
                  </a:lnTo>
                  <a:lnTo>
                    <a:pt x="1075" y="2"/>
                  </a:lnTo>
                  <a:lnTo>
                    <a:pt x="1075" y="3"/>
                  </a:lnTo>
                  <a:lnTo>
                    <a:pt x="1076" y="5"/>
                  </a:lnTo>
                  <a:lnTo>
                    <a:pt x="1075" y="5"/>
                  </a:lnTo>
                  <a:lnTo>
                    <a:pt x="1073" y="7"/>
                  </a:lnTo>
                  <a:lnTo>
                    <a:pt x="1071" y="10"/>
                  </a:lnTo>
                  <a:lnTo>
                    <a:pt x="1070" y="10"/>
                  </a:lnTo>
                  <a:lnTo>
                    <a:pt x="1070" y="12"/>
                  </a:lnTo>
                  <a:lnTo>
                    <a:pt x="1068" y="12"/>
                  </a:lnTo>
                  <a:lnTo>
                    <a:pt x="1068" y="10"/>
                  </a:lnTo>
                  <a:lnTo>
                    <a:pt x="1067" y="10"/>
                  </a:lnTo>
                  <a:lnTo>
                    <a:pt x="1067" y="8"/>
                  </a:lnTo>
                  <a:lnTo>
                    <a:pt x="1068" y="8"/>
                  </a:lnTo>
                  <a:lnTo>
                    <a:pt x="1068" y="7"/>
                  </a:lnTo>
                  <a:lnTo>
                    <a:pt x="1070" y="5"/>
                  </a:lnTo>
                  <a:lnTo>
                    <a:pt x="1071" y="5"/>
                  </a:lnTo>
                  <a:lnTo>
                    <a:pt x="1071" y="3"/>
                  </a:lnTo>
                  <a:lnTo>
                    <a:pt x="1073" y="2"/>
                  </a:lnTo>
                  <a:lnTo>
                    <a:pt x="1063" y="2"/>
                  </a:lnTo>
                  <a:close/>
                  <a:moveTo>
                    <a:pt x="1112" y="0"/>
                  </a:moveTo>
                  <a:lnTo>
                    <a:pt x="1122" y="0"/>
                  </a:lnTo>
                  <a:lnTo>
                    <a:pt x="1122" y="2"/>
                  </a:lnTo>
                  <a:lnTo>
                    <a:pt x="1124" y="2"/>
                  </a:lnTo>
                  <a:lnTo>
                    <a:pt x="1124" y="3"/>
                  </a:lnTo>
                  <a:lnTo>
                    <a:pt x="1122" y="3"/>
                  </a:lnTo>
                  <a:lnTo>
                    <a:pt x="1120" y="7"/>
                  </a:lnTo>
                  <a:lnTo>
                    <a:pt x="1120" y="8"/>
                  </a:lnTo>
                  <a:lnTo>
                    <a:pt x="1119" y="10"/>
                  </a:lnTo>
                  <a:lnTo>
                    <a:pt x="1117" y="10"/>
                  </a:lnTo>
                  <a:lnTo>
                    <a:pt x="1117" y="8"/>
                  </a:lnTo>
                  <a:lnTo>
                    <a:pt x="1115" y="7"/>
                  </a:lnTo>
                  <a:lnTo>
                    <a:pt x="1115" y="5"/>
                  </a:lnTo>
                  <a:lnTo>
                    <a:pt x="1114" y="5"/>
                  </a:lnTo>
                  <a:lnTo>
                    <a:pt x="1114" y="3"/>
                  </a:lnTo>
                  <a:lnTo>
                    <a:pt x="1114" y="2"/>
                  </a:lnTo>
                  <a:lnTo>
                    <a:pt x="1112" y="0"/>
                  </a:lnTo>
                  <a:close/>
                  <a:moveTo>
                    <a:pt x="1122" y="0"/>
                  </a:moveTo>
                  <a:lnTo>
                    <a:pt x="1137" y="0"/>
                  </a:lnTo>
                  <a:lnTo>
                    <a:pt x="1130" y="2"/>
                  </a:lnTo>
                  <a:lnTo>
                    <a:pt x="1128" y="3"/>
                  </a:lnTo>
                  <a:lnTo>
                    <a:pt x="1128" y="7"/>
                  </a:lnTo>
                  <a:lnTo>
                    <a:pt x="1127" y="8"/>
                  </a:lnTo>
                  <a:lnTo>
                    <a:pt x="1127" y="12"/>
                  </a:lnTo>
                  <a:lnTo>
                    <a:pt x="1125" y="12"/>
                  </a:lnTo>
                  <a:lnTo>
                    <a:pt x="1125" y="13"/>
                  </a:lnTo>
                  <a:lnTo>
                    <a:pt x="1124" y="13"/>
                  </a:lnTo>
                  <a:lnTo>
                    <a:pt x="1124" y="12"/>
                  </a:lnTo>
                  <a:lnTo>
                    <a:pt x="1124" y="13"/>
                  </a:lnTo>
                  <a:lnTo>
                    <a:pt x="1122" y="13"/>
                  </a:lnTo>
                  <a:lnTo>
                    <a:pt x="1120" y="13"/>
                  </a:lnTo>
                  <a:lnTo>
                    <a:pt x="1122" y="13"/>
                  </a:lnTo>
                  <a:lnTo>
                    <a:pt x="1120" y="12"/>
                  </a:lnTo>
                  <a:lnTo>
                    <a:pt x="1122" y="12"/>
                  </a:lnTo>
                  <a:lnTo>
                    <a:pt x="1124" y="10"/>
                  </a:lnTo>
                  <a:lnTo>
                    <a:pt x="1124" y="8"/>
                  </a:lnTo>
                  <a:lnTo>
                    <a:pt x="1124" y="7"/>
                  </a:lnTo>
                  <a:lnTo>
                    <a:pt x="1124" y="5"/>
                  </a:lnTo>
                  <a:lnTo>
                    <a:pt x="1125" y="3"/>
                  </a:lnTo>
                  <a:lnTo>
                    <a:pt x="1125" y="2"/>
                  </a:lnTo>
                  <a:lnTo>
                    <a:pt x="1122" y="0"/>
                  </a:lnTo>
                  <a:close/>
                  <a:moveTo>
                    <a:pt x="754" y="0"/>
                  </a:moveTo>
                  <a:lnTo>
                    <a:pt x="748" y="0"/>
                  </a:lnTo>
                  <a:lnTo>
                    <a:pt x="754" y="0"/>
                  </a:lnTo>
                  <a:close/>
                  <a:moveTo>
                    <a:pt x="696" y="0"/>
                  </a:moveTo>
                  <a:lnTo>
                    <a:pt x="694" y="0"/>
                  </a:lnTo>
                  <a:lnTo>
                    <a:pt x="696" y="0"/>
                  </a:lnTo>
                  <a:close/>
                  <a:moveTo>
                    <a:pt x="1138" y="0"/>
                  </a:moveTo>
                  <a:lnTo>
                    <a:pt x="1219" y="0"/>
                  </a:lnTo>
                  <a:lnTo>
                    <a:pt x="1211" y="2"/>
                  </a:lnTo>
                  <a:lnTo>
                    <a:pt x="1213" y="2"/>
                  </a:lnTo>
                  <a:lnTo>
                    <a:pt x="1213" y="3"/>
                  </a:lnTo>
                  <a:lnTo>
                    <a:pt x="1213" y="5"/>
                  </a:lnTo>
                  <a:lnTo>
                    <a:pt x="1213" y="7"/>
                  </a:lnTo>
                  <a:lnTo>
                    <a:pt x="1211" y="8"/>
                  </a:lnTo>
                  <a:lnTo>
                    <a:pt x="1210" y="10"/>
                  </a:lnTo>
                  <a:lnTo>
                    <a:pt x="1208" y="10"/>
                  </a:lnTo>
                  <a:lnTo>
                    <a:pt x="1208" y="12"/>
                  </a:lnTo>
                  <a:lnTo>
                    <a:pt x="1206" y="12"/>
                  </a:lnTo>
                  <a:lnTo>
                    <a:pt x="1206" y="10"/>
                  </a:lnTo>
                  <a:lnTo>
                    <a:pt x="1205" y="10"/>
                  </a:lnTo>
                  <a:lnTo>
                    <a:pt x="1205" y="8"/>
                  </a:lnTo>
                  <a:lnTo>
                    <a:pt x="1203" y="8"/>
                  </a:lnTo>
                  <a:lnTo>
                    <a:pt x="1200" y="10"/>
                  </a:lnTo>
                  <a:lnTo>
                    <a:pt x="1198" y="12"/>
                  </a:lnTo>
                  <a:lnTo>
                    <a:pt x="1197" y="13"/>
                  </a:lnTo>
                  <a:lnTo>
                    <a:pt x="1197" y="12"/>
                  </a:lnTo>
                  <a:lnTo>
                    <a:pt x="1197" y="10"/>
                  </a:lnTo>
                  <a:lnTo>
                    <a:pt x="1195" y="10"/>
                  </a:lnTo>
                  <a:lnTo>
                    <a:pt x="1193" y="10"/>
                  </a:lnTo>
                  <a:lnTo>
                    <a:pt x="1192" y="10"/>
                  </a:lnTo>
                  <a:lnTo>
                    <a:pt x="1190" y="10"/>
                  </a:lnTo>
                  <a:lnTo>
                    <a:pt x="1189" y="12"/>
                  </a:lnTo>
                  <a:lnTo>
                    <a:pt x="1187" y="12"/>
                  </a:lnTo>
                  <a:lnTo>
                    <a:pt x="1185" y="13"/>
                  </a:lnTo>
                  <a:lnTo>
                    <a:pt x="1187" y="13"/>
                  </a:lnTo>
                  <a:lnTo>
                    <a:pt x="1189" y="13"/>
                  </a:lnTo>
                  <a:lnTo>
                    <a:pt x="1189" y="12"/>
                  </a:lnTo>
                  <a:lnTo>
                    <a:pt x="1190" y="12"/>
                  </a:lnTo>
                  <a:lnTo>
                    <a:pt x="1190" y="13"/>
                  </a:lnTo>
                  <a:lnTo>
                    <a:pt x="1190" y="15"/>
                  </a:lnTo>
                  <a:lnTo>
                    <a:pt x="1189" y="15"/>
                  </a:lnTo>
                  <a:lnTo>
                    <a:pt x="1189" y="16"/>
                  </a:lnTo>
                  <a:lnTo>
                    <a:pt x="1187" y="16"/>
                  </a:lnTo>
                  <a:lnTo>
                    <a:pt x="1187" y="18"/>
                  </a:lnTo>
                  <a:lnTo>
                    <a:pt x="1185" y="18"/>
                  </a:lnTo>
                  <a:lnTo>
                    <a:pt x="1184" y="18"/>
                  </a:lnTo>
                  <a:lnTo>
                    <a:pt x="1182" y="18"/>
                  </a:lnTo>
                  <a:lnTo>
                    <a:pt x="1184" y="16"/>
                  </a:lnTo>
                  <a:lnTo>
                    <a:pt x="1184" y="15"/>
                  </a:lnTo>
                  <a:lnTo>
                    <a:pt x="1185" y="13"/>
                  </a:lnTo>
                  <a:lnTo>
                    <a:pt x="1185" y="12"/>
                  </a:lnTo>
                  <a:lnTo>
                    <a:pt x="1184" y="12"/>
                  </a:lnTo>
                  <a:lnTo>
                    <a:pt x="1184" y="13"/>
                  </a:lnTo>
                  <a:lnTo>
                    <a:pt x="1182" y="15"/>
                  </a:lnTo>
                  <a:lnTo>
                    <a:pt x="1182" y="16"/>
                  </a:lnTo>
                  <a:lnTo>
                    <a:pt x="1180" y="16"/>
                  </a:lnTo>
                  <a:lnTo>
                    <a:pt x="1179" y="20"/>
                  </a:lnTo>
                  <a:lnTo>
                    <a:pt x="1179" y="18"/>
                  </a:lnTo>
                  <a:lnTo>
                    <a:pt x="1179" y="16"/>
                  </a:lnTo>
                  <a:lnTo>
                    <a:pt x="1177" y="16"/>
                  </a:lnTo>
                  <a:lnTo>
                    <a:pt x="1177" y="18"/>
                  </a:lnTo>
                  <a:lnTo>
                    <a:pt x="1176" y="20"/>
                  </a:lnTo>
                  <a:lnTo>
                    <a:pt x="1174" y="20"/>
                  </a:lnTo>
                  <a:lnTo>
                    <a:pt x="1172" y="18"/>
                  </a:lnTo>
                  <a:lnTo>
                    <a:pt x="1172" y="16"/>
                  </a:lnTo>
                  <a:lnTo>
                    <a:pt x="1174" y="16"/>
                  </a:lnTo>
                  <a:lnTo>
                    <a:pt x="1176" y="15"/>
                  </a:lnTo>
                  <a:lnTo>
                    <a:pt x="1176" y="13"/>
                  </a:lnTo>
                  <a:lnTo>
                    <a:pt x="1177" y="12"/>
                  </a:lnTo>
                  <a:lnTo>
                    <a:pt x="1176" y="12"/>
                  </a:lnTo>
                  <a:lnTo>
                    <a:pt x="1174" y="13"/>
                  </a:lnTo>
                  <a:lnTo>
                    <a:pt x="1172" y="13"/>
                  </a:lnTo>
                  <a:lnTo>
                    <a:pt x="1172" y="12"/>
                  </a:lnTo>
                  <a:lnTo>
                    <a:pt x="1171" y="12"/>
                  </a:lnTo>
                  <a:lnTo>
                    <a:pt x="1171" y="10"/>
                  </a:lnTo>
                  <a:lnTo>
                    <a:pt x="1171" y="12"/>
                  </a:lnTo>
                  <a:lnTo>
                    <a:pt x="1171" y="13"/>
                  </a:lnTo>
                  <a:lnTo>
                    <a:pt x="1171" y="15"/>
                  </a:lnTo>
                  <a:lnTo>
                    <a:pt x="1169" y="15"/>
                  </a:lnTo>
                  <a:lnTo>
                    <a:pt x="1169" y="16"/>
                  </a:lnTo>
                  <a:lnTo>
                    <a:pt x="1167" y="16"/>
                  </a:lnTo>
                  <a:lnTo>
                    <a:pt x="1167" y="18"/>
                  </a:lnTo>
                  <a:lnTo>
                    <a:pt x="1166" y="18"/>
                  </a:lnTo>
                  <a:lnTo>
                    <a:pt x="1166" y="16"/>
                  </a:lnTo>
                  <a:lnTo>
                    <a:pt x="1164" y="16"/>
                  </a:lnTo>
                  <a:lnTo>
                    <a:pt x="1164" y="15"/>
                  </a:lnTo>
                  <a:lnTo>
                    <a:pt x="1164" y="13"/>
                  </a:lnTo>
                  <a:lnTo>
                    <a:pt x="1163" y="13"/>
                  </a:lnTo>
                  <a:lnTo>
                    <a:pt x="1163" y="12"/>
                  </a:lnTo>
                  <a:lnTo>
                    <a:pt x="1163" y="10"/>
                  </a:lnTo>
                  <a:lnTo>
                    <a:pt x="1161" y="8"/>
                  </a:lnTo>
                  <a:lnTo>
                    <a:pt x="1161" y="7"/>
                  </a:lnTo>
                  <a:lnTo>
                    <a:pt x="1161" y="5"/>
                  </a:lnTo>
                  <a:lnTo>
                    <a:pt x="1163" y="5"/>
                  </a:lnTo>
                  <a:lnTo>
                    <a:pt x="1164" y="3"/>
                  </a:lnTo>
                  <a:lnTo>
                    <a:pt x="1166" y="3"/>
                  </a:lnTo>
                  <a:lnTo>
                    <a:pt x="1166" y="2"/>
                  </a:lnTo>
                  <a:lnTo>
                    <a:pt x="1159" y="0"/>
                  </a:lnTo>
                  <a:lnTo>
                    <a:pt x="1159" y="2"/>
                  </a:lnTo>
                  <a:lnTo>
                    <a:pt x="1158" y="2"/>
                  </a:lnTo>
                  <a:lnTo>
                    <a:pt x="1158" y="3"/>
                  </a:lnTo>
                  <a:lnTo>
                    <a:pt x="1156" y="3"/>
                  </a:lnTo>
                  <a:lnTo>
                    <a:pt x="1156" y="5"/>
                  </a:lnTo>
                  <a:lnTo>
                    <a:pt x="1156" y="7"/>
                  </a:lnTo>
                  <a:lnTo>
                    <a:pt x="1158" y="7"/>
                  </a:lnTo>
                  <a:lnTo>
                    <a:pt x="1156" y="8"/>
                  </a:lnTo>
                  <a:lnTo>
                    <a:pt x="1158" y="12"/>
                  </a:lnTo>
                  <a:lnTo>
                    <a:pt x="1158" y="13"/>
                  </a:lnTo>
                  <a:lnTo>
                    <a:pt x="1159" y="13"/>
                  </a:lnTo>
                  <a:lnTo>
                    <a:pt x="1159" y="15"/>
                  </a:lnTo>
                  <a:lnTo>
                    <a:pt x="1159" y="16"/>
                  </a:lnTo>
                  <a:lnTo>
                    <a:pt x="1158" y="16"/>
                  </a:lnTo>
                  <a:lnTo>
                    <a:pt x="1156" y="16"/>
                  </a:lnTo>
                  <a:lnTo>
                    <a:pt x="1154" y="16"/>
                  </a:lnTo>
                  <a:lnTo>
                    <a:pt x="1153" y="16"/>
                  </a:lnTo>
                  <a:lnTo>
                    <a:pt x="1153" y="15"/>
                  </a:lnTo>
                  <a:lnTo>
                    <a:pt x="1151" y="15"/>
                  </a:lnTo>
                  <a:lnTo>
                    <a:pt x="1151" y="13"/>
                  </a:lnTo>
                  <a:lnTo>
                    <a:pt x="1150" y="12"/>
                  </a:lnTo>
                  <a:lnTo>
                    <a:pt x="1150" y="10"/>
                  </a:lnTo>
                  <a:lnTo>
                    <a:pt x="1150" y="8"/>
                  </a:lnTo>
                  <a:lnTo>
                    <a:pt x="1150" y="7"/>
                  </a:lnTo>
                  <a:lnTo>
                    <a:pt x="1148" y="7"/>
                  </a:lnTo>
                  <a:lnTo>
                    <a:pt x="1148" y="5"/>
                  </a:lnTo>
                  <a:lnTo>
                    <a:pt x="1148" y="3"/>
                  </a:lnTo>
                  <a:lnTo>
                    <a:pt x="1146" y="3"/>
                  </a:lnTo>
                  <a:lnTo>
                    <a:pt x="1146" y="2"/>
                  </a:lnTo>
                  <a:lnTo>
                    <a:pt x="1145" y="0"/>
                  </a:lnTo>
                  <a:lnTo>
                    <a:pt x="1138" y="0"/>
                  </a:lnTo>
                  <a:close/>
                  <a:moveTo>
                    <a:pt x="1237" y="0"/>
                  </a:moveTo>
                  <a:lnTo>
                    <a:pt x="1237" y="2"/>
                  </a:lnTo>
                  <a:lnTo>
                    <a:pt x="1236" y="3"/>
                  </a:lnTo>
                  <a:lnTo>
                    <a:pt x="1236" y="5"/>
                  </a:lnTo>
                  <a:lnTo>
                    <a:pt x="1234" y="5"/>
                  </a:lnTo>
                  <a:lnTo>
                    <a:pt x="1234" y="3"/>
                  </a:lnTo>
                  <a:lnTo>
                    <a:pt x="1232" y="5"/>
                  </a:lnTo>
                  <a:lnTo>
                    <a:pt x="1231" y="3"/>
                  </a:lnTo>
                  <a:lnTo>
                    <a:pt x="1231" y="5"/>
                  </a:lnTo>
                  <a:lnTo>
                    <a:pt x="1229" y="5"/>
                  </a:lnTo>
                  <a:lnTo>
                    <a:pt x="1228" y="7"/>
                  </a:lnTo>
                  <a:lnTo>
                    <a:pt x="1228" y="8"/>
                  </a:lnTo>
                  <a:lnTo>
                    <a:pt x="1226" y="8"/>
                  </a:lnTo>
                  <a:lnTo>
                    <a:pt x="1226" y="7"/>
                  </a:lnTo>
                  <a:lnTo>
                    <a:pt x="1224" y="8"/>
                  </a:lnTo>
                  <a:lnTo>
                    <a:pt x="1223" y="8"/>
                  </a:lnTo>
                  <a:lnTo>
                    <a:pt x="1221" y="8"/>
                  </a:lnTo>
                  <a:lnTo>
                    <a:pt x="1219" y="8"/>
                  </a:lnTo>
                  <a:lnTo>
                    <a:pt x="1219" y="7"/>
                  </a:lnTo>
                  <a:lnTo>
                    <a:pt x="1221" y="7"/>
                  </a:lnTo>
                  <a:lnTo>
                    <a:pt x="1228" y="3"/>
                  </a:lnTo>
                  <a:lnTo>
                    <a:pt x="1229" y="3"/>
                  </a:lnTo>
                  <a:lnTo>
                    <a:pt x="1231" y="0"/>
                  </a:lnTo>
                  <a:lnTo>
                    <a:pt x="1228" y="0"/>
                  </a:lnTo>
                  <a:lnTo>
                    <a:pt x="1224" y="2"/>
                  </a:lnTo>
                  <a:lnTo>
                    <a:pt x="1223" y="2"/>
                  </a:lnTo>
                  <a:lnTo>
                    <a:pt x="1223" y="3"/>
                  </a:lnTo>
                  <a:lnTo>
                    <a:pt x="1221" y="3"/>
                  </a:lnTo>
                  <a:lnTo>
                    <a:pt x="1219" y="3"/>
                  </a:lnTo>
                  <a:lnTo>
                    <a:pt x="1218" y="2"/>
                  </a:lnTo>
                  <a:lnTo>
                    <a:pt x="1219" y="0"/>
                  </a:lnTo>
                  <a:lnTo>
                    <a:pt x="1237" y="0"/>
                  </a:lnTo>
                  <a:close/>
                  <a:moveTo>
                    <a:pt x="1138" y="0"/>
                  </a:moveTo>
                  <a:lnTo>
                    <a:pt x="1137" y="0"/>
                  </a:lnTo>
                  <a:lnTo>
                    <a:pt x="1138" y="0"/>
                  </a:lnTo>
                  <a:close/>
                  <a:moveTo>
                    <a:pt x="50" y="2"/>
                  </a:moveTo>
                  <a:lnTo>
                    <a:pt x="50" y="0"/>
                  </a:lnTo>
                  <a:lnTo>
                    <a:pt x="50" y="2"/>
                  </a:lnTo>
                  <a:close/>
                  <a:moveTo>
                    <a:pt x="1045" y="0"/>
                  </a:moveTo>
                  <a:lnTo>
                    <a:pt x="1044" y="0"/>
                  </a:lnTo>
                  <a:lnTo>
                    <a:pt x="1045" y="0"/>
                  </a:lnTo>
                  <a:close/>
                </a:path>
              </a:pathLst>
            </a:custGeom>
            <a:solidFill>
              <a:srgbClr val="E5E5E5"/>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1184" name="Freeform 30">
              <a:extLst>
                <a:ext uri="{FF2B5EF4-FFF2-40B4-BE49-F238E27FC236}">
                  <a16:creationId xmlns:a16="http://schemas.microsoft.com/office/drawing/2014/main" id="{48826979-795B-6347-3AE6-74109D4C8D1F}"/>
                </a:ext>
              </a:extLst>
            </p:cNvPr>
            <p:cNvSpPr>
              <a:spLocks noEditPoints="1"/>
            </p:cNvSpPr>
            <p:nvPr/>
          </p:nvSpPr>
          <p:spPr bwMode="auto">
            <a:xfrm>
              <a:off x="5242" y="4745"/>
              <a:ext cx="1237" cy="1020"/>
            </a:xfrm>
            <a:custGeom>
              <a:avLst/>
              <a:gdLst>
                <a:gd name="T0" fmla="*/ 206 w 1237"/>
                <a:gd name="T1" fmla="*/ 481 h 1020"/>
                <a:gd name="T2" fmla="*/ 99 w 1237"/>
                <a:gd name="T3" fmla="*/ 428 h 1020"/>
                <a:gd name="T4" fmla="*/ 192 w 1237"/>
                <a:gd name="T5" fmla="*/ 220 h 1020"/>
                <a:gd name="T6" fmla="*/ 478 w 1237"/>
                <a:gd name="T7" fmla="*/ 73 h 1020"/>
                <a:gd name="T8" fmla="*/ 683 w 1237"/>
                <a:gd name="T9" fmla="*/ 7 h 1020"/>
                <a:gd name="T10" fmla="*/ 673 w 1237"/>
                <a:gd name="T11" fmla="*/ 135 h 1020"/>
                <a:gd name="T12" fmla="*/ 501 w 1237"/>
                <a:gd name="T13" fmla="*/ 185 h 1020"/>
                <a:gd name="T14" fmla="*/ 493 w 1237"/>
                <a:gd name="T15" fmla="*/ 247 h 1020"/>
                <a:gd name="T16" fmla="*/ 444 w 1237"/>
                <a:gd name="T17" fmla="*/ 296 h 1020"/>
                <a:gd name="T18" fmla="*/ 341 w 1237"/>
                <a:gd name="T19" fmla="*/ 252 h 1020"/>
                <a:gd name="T20" fmla="*/ 431 w 1237"/>
                <a:gd name="T21" fmla="*/ 433 h 1020"/>
                <a:gd name="T22" fmla="*/ 371 w 1237"/>
                <a:gd name="T23" fmla="*/ 483 h 1020"/>
                <a:gd name="T24" fmla="*/ 553 w 1237"/>
                <a:gd name="T25" fmla="*/ 551 h 1020"/>
                <a:gd name="T26" fmla="*/ 488 w 1237"/>
                <a:gd name="T27" fmla="*/ 582 h 1020"/>
                <a:gd name="T28" fmla="*/ 390 w 1237"/>
                <a:gd name="T29" fmla="*/ 550 h 1020"/>
                <a:gd name="T30" fmla="*/ 254 w 1237"/>
                <a:gd name="T31" fmla="*/ 569 h 1020"/>
                <a:gd name="T32" fmla="*/ 164 w 1237"/>
                <a:gd name="T33" fmla="*/ 516 h 1020"/>
                <a:gd name="T34" fmla="*/ 465 w 1237"/>
                <a:gd name="T35" fmla="*/ 639 h 1020"/>
                <a:gd name="T36" fmla="*/ 441 w 1237"/>
                <a:gd name="T37" fmla="*/ 660 h 1020"/>
                <a:gd name="T38" fmla="*/ 484 w 1237"/>
                <a:gd name="T39" fmla="*/ 812 h 1020"/>
                <a:gd name="T40" fmla="*/ 382 w 1237"/>
                <a:gd name="T41" fmla="*/ 773 h 1020"/>
                <a:gd name="T42" fmla="*/ 237 w 1237"/>
                <a:gd name="T43" fmla="*/ 651 h 1020"/>
                <a:gd name="T44" fmla="*/ 704 w 1237"/>
                <a:gd name="T45" fmla="*/ 919 h 1020"/>
                <a:gd name="T46" fmla="*/ 880 w 1237"/>
                <a:gd name="T47" fmla="*/ 899 h 1020"/>
                <a:gd name="T48" fmla="*/ 681 w 1237"/>
                <a:gd name="T49" fmla="*/ 966 h 1020"/>
                <a:gd name="T50" fmla="*/ 556 w 1237"/>
                <a:gd name="T51" fmla="*/ 533 h 1020"/>
                <a:gd name="T52" fmla="*/ 444 w 1237"/>
                <a:gd name="T53" fmla="*/ 444 h 1020"/>
                <a:gd name="T54" fmla="*/ 608 w 1237"/>
                <a:gd name="T55" fmla="*/ 542 h 1020"/>
                <a:gd name="T56" fmla="*/ 807 w 1237"/>
                <a:gd name="T57" fmla="*/ 374 h 1020"/>
                <a:gd name="T58" fmla="*/ 754 w 1237"/>
                <a:gd name="T59" fmla="*/ 340 h 1020"/>
                <a:gd name="T60" fmla="*/ 776 w 1237"/>
                <a:gd name="T61" fmla="*/ 449 h 1020"/>
                <a:gd name="T62" fmla="*/ 184 w 1237"/>
                <a:gd name="T63" fmla="*/ 610 h 1020"/>
                <a:gd name="T64" fmla="*/ 65 w 1237"/>
                <a:gd name="T65" fmla="*/ 423 h 1020"/>
                <a:gd name="T66" fmla="*/ 631 w 1237"/>
                <a:gd name="T67" fmla="*/ 296 h 1020"/>
                <a:gd name="T68" fmla="*/ 868 w 1237"/>
                <a:gd name="T69" fmla="*/ 555 h 1020"/>
                <a:gd name="T70" fmla="*/ 198 w 1237"/>
                <a:gd name="T71" fmla="*/ 681 h 1020"/>
                <a:gd name="T72" fmla="*/ 667 w 1237"/>
                <a:gd name="T73" fmla="*/ 584 h 1020"/>
                <a:gd name="T74" fmla="*/ 963 w 1237"/>
                <a:gd name="T75" fmla="*/ 826 h 1020"/>
                <a:gd name="T76" fmla="*/ 815 w 1237"/>
                <a:gd name="T77" fmla="*/ 577 h 1020"/>
                <a:gd name="T78" fmla="*/ 715 w 1237"/>
                <a:gd name="T79" fmla="*/ 680 h 1020"/>
                <a:gd name="T80" fmla="*/ 641 w 1237"/>
                <a:gd name="T81" fmla="*/ 738 h 1020"/>
                <a:gd name="T82" fmla="*/ 792 w 1237"/>
                <a:gd name="T83" fmla="*/ 690 h 1020"/>
                <a:gd name="T84" fmla="*/ 610 w 1237"/>
                <a:gd name="T85" fmla="*/ 649 h 1020"/>
                <a:gd name="T86" fmla="*/ 852 w 1237"/>
                <a:gd name="T87" fmla="*/ 724 h 1020"/>
                <a:gd name="T88" fmla="*/ 714 w 1237"/>
                <a:gd name="T89" fmla="*/ 628 h 1020"/>
                <a:gd name="T90" fmla="*/ 751 w 1237"/>
                <a:gd name="T91" fmla="*/ 774 h 1020"/>
                <a:gd name="T92" fmla="*/ 979 w 1237"/>
                <a:gd name="T93" fmla="*/ 719 h 1020"/>
                <a:gd name="T94" fmla="*/ 463 w 1237"/>
                <a:gd name="T95" fmla="*/ 415 h 1020"/>
                <a:gd name="T96" fmla="*/ 641 w 1237"/>
                <a:gd name="T97" fmla="*/ 735 h 1020"/>
                <a:gd name="T98" fmla="*/ 636 w 1237"/>
                <a:gd name="T99" fmla="*/ 1020 h 1020"/>
                <a:gd name="T100" fmla="*/ 179 w 1237"/>
                <a:gd name="T101" fmla="*/ 538 h 1020"/>
                <a:gd name="T102" fmla="*/ 878 w 1237"/>
                <a:gd name="T103" fmla="*/ 610 h 1020"/>
                <a:gd name="T104" fmla="*/ 538 w 1237"/>
                <a:gd name="T105" fmla="*/ 376 h 1020"/>
                <a:gd name="T106" fmla="*/ 746 w 1237"/>
                <a:gd name="T107" fmla="*/ 696 h 1020"/>
                <a:gd name="T108" fmla="*/ 706 w 1237"/>
                <a:gd name="T109" fmla="*/ 465 h 1020"/>
                <a:gd name="T110" fmla="*/ 310 w 1237"/>
                <a:gd name="T111" fmla="*/ 771 h 1020"/>
                <a:gd name="T112" fmla="*/ 621 w 1237"/>
                <a:gd name="T113" fmla="*/ 1005 h 1020"/>
                <a:gd name="T114" fmla="*/ 493 w 1237"/>
                <a:gd name="T115" fmla="*/ 628 h 1020"/>
                <a:gd name="T116" fmla="*/ 842 w 1237"/>
                <a:gd name="T117" fmla="*/ 586 h 1020"/>
                <a:gd name="T118" fmla="*/ 579 w 1237"/>
                <a:gd name="T119" fmla="*/ 442 h 1020"/>
                <a:gd name="T120" fmla="*/ 701 w 1237"/>
                <a:gd name="T121" fmla="*/ 140 h 1020"/>
                <a:gd name="T122" fmla="*/ 841 w 1237"/>
                <a:gd name="T123" fmla="*/ 662 h 1020"/>
                <a:gd name="T124" fmla="*/ 1018 w 1237"/>
                <a:gd name="T125" fmla="*/ 750 h 10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237" h="1020">
                  <a:moveTo>
                    <a:pt x="166" y="516"/>
                  </a:moveTo>
                  <a:lnTo>
                    <a:pt x="166" y="517"/>
                  </a:lnTo>
                  <a:lnTo>
                    <a:pt x="166" y="516"/>
                  </a:lnTo>
                  <a:lnTo>
                    <a:pt x="166" y="517"/>
                  </a:lnTo>
                  <a:lnTo>
                    <a:pt x="167" y="517"/>
                  </a:lnTo>
                  <a:lnTo>
                    <a:pt x="167" y="519"/>
                  </a:lnTo>
                  <a:lnTo>
                    <a:pt x="167" y="520"/>
                  </a:lnTo>
                  <a:lnTo>
                    <a:pt x="169" y="520"/>
                  </a:lnTo>
                  <a:lnTo>
                    <a:pt x="167" y="520"/>
                  </a:lnTo>
                  <a:lnTo>
                    <a:pt x="167" y="522"/>
                  </a:lnTo>
                  <a:lnTo>
                    <a:pt x="167" y="524"/>
                  </a:lnTo>
                  <a:lnTo>
                    <a:pt x="169" y="525"/>
                  </a:lnTo>
                  <a:lnTo>
                    <a:pt x="167" y="525"/>
                  </a:lnTo>
                  <a:lnTo>
                    <a:pt x="167" y="527"/>
                  </a:lnTo>
                  <a:lnTo>
                    <a:pt x="169" y="527"/>
                  </a:lnTo>
                  <a:lnTo>
                    <a:pt x="169" y="529"/>
                  </a:lnTo>
                  <a:lnTo>
                    <a:pt x="171" y="529"/>
                  </a:lnTo>
                  <a:lnTo>
                    <a:pt x="171" y="530"/>
                  </a:lnTo>
                  <a:lnTo>
                    <a:pt x="171" y="532"/>
                  </a:lnTo>
                  <a:lnTo>
                    <a:pt x="169" y="532"/>
                  </a:lnTo>
                  <a:lnTo>
                    <a:pt x="169" y="533"/>
                  </a:lnTo>
                  <a:lnTo>
                    <a:pt x="167" y="535"/>
                  </a:lnTo>
                  <a:lnTo>
                    <a:pt x="167" y="537"/>
                  </a:lnTo>
                  <a:lnTo>
                    <a:pt x="167" y="538"/>
                  </a:lnTo>
                  <a:lnTo>
                    <a:pt x="169" y="538"/>
                  </a:lnTo>
                  <a:lnTo>
                    <a:pt x="169" y="537"/>
                  </a:lnTo>
                  <a:lnTo>
                    <a:pt x="167" y="535"/>
                  </a:lnTo>
                  <a:lnTo>
                    <a:pt x="169" y="535"/>
                  </a:lnTo>
                  <a:lnTo>
                    <a:pt x="171" y="535"/>
                  </a:lnTo>
                  <a:lnTo>
                    <a:pt x="169" y="537"/>
                  </a:lnTo>
                  <a:lnTo>
                    <a:pt x="171" y="537"/>
                  </a:lnTo>
                  <a:lnTo>
                    <a:pt x="171" y="538"/>
                  </a:lnTo>
                  <a:lnTo>
                    <a:pt x="171" y="540"/>
                  </a:lnTo>
                  <a:lnTo>
                    <a:pt x="169" y="540"/>
                  </a:lnTo>
                  <a:lnTo>
                    <a:pt x="169" y="538"/>
                  </a:lnTo>
                  <a:lnTo>
                    <a:pt x="169" y="540"/>
                  </a:lnTo>
                  <a:lnTo>
                    <a:pt x="171" y="543"/>
                  </a:lnTo>
                  <a:lnTo>
                    <a:pt x="171" y="545"/>
                  </a:lnTo>
                  <a:lnTo>
                    <a:pt x="171" y="547"/>
                  </a:lnTo>
                  <a:lnTo>
                    <a:pt x="169" y="547"/>
                  </a:lnTo>
                  <a:lnTo>
                    <a:pt x="169" y="545"/>
                  </a:lnTo>
                  <a:lnTo>
                    <a:pt x="167" y="545"/>
                  </a:lnTo>
                  <a:lnTo>
                    <a:pt x="167" y="547"/>
                  </a:lnTo>
                  <a:lnTo>
                    <a:pt x="169" y="547"/>
                  </a:lnTo>
                  <a:lnTo>
                    <a:pt x="167" y="548"/>
                  </a:lnTo>
                  <a:lnTo>
                    <a:pt x="167" y="547"/>
                  </a:lnTo>
                  <a:lnTo>
                    <a:pt x="166" y="547"/>
                  </a:lnTo>
                  <a:lnTo>
                    <a:pt x="167" y="547"/>
                  </a:lnTo>
                  <a:lnTo>
                    <a:pt x="167" y="548"/>
                  </a:lnTo>
                  <a:lnTo>
                    <a:pt x="167" y="550"/>
                  </a:lnTo>
                  <a:lnTo>
                    <a:pt x="166" y="550"/>
                  </a:lnTo>
                  <a:lnTo>
                    <a:pt x="164" y="550"/>
                  </a:lnTo>
                  <a:lnTo>
                    <a:pt x="162" y="550"/>
                  </a:lnTo>
                  <a:lnTo>
                    <a:pt x="162" y="551"/>
                  </a:lnTo>
                  <a:lnTo>
                    <a:pt x="164" y="553"/>
                  </a:lnTo>
                  <a:lnTo>
                    <a:pt x="162" y="553"/>
                  </a:lnTo>
                  <a:lnTo>
                    <a:pt x="161" y="553"/>
                  </a:lnTo>
                  <a:lnTo>
                    <a:pt x="161" y="551"/>
                  </a:lnTo>
                  <a:lnTo>
                    <a:pt x="161" y="550"/>
                  </a:lnTo>
                  <a:lnTo>
                    <a:pt x="159" y="551"/>
                  </a:lnTo>
                  <a:lnTo>
                    <a:pt x="159" y="550"/>
                  </a:lnTo>
                  <a:lnTo>
                    <a:pt x="158" y="548"/>
                  </a:lnTo>
                  <a:lnTo>
                    <a:pt x="158" y="547"/>
                  </a:lnTo>
                  <a:lnTo>
                    <a:pt x="156" y="547"/>
                  </a:lnTo>
                  <a:lnTo>
                    <a:pt x="156" y="548"/>
                  </a:lnTo>
                  <a:lnTo>
                    <a:pt x="156" y="550"/>
                  </a:lnTo>
                  <a:lnTo>
                    <a:pt x="154" y="551"/>
                  </a:lnTo>
                  <a:lnTo>
                    <a:pt x="154" y="553"/>
                  </a:lnTo>
                  <a:lnTo>
                    <a:pt x="154" y="555"/>
                  </a:lnTo>
                  <a:lnTo>
                    <a:pt x="153" y="555"/>
                  </a:lnTo>
                  <a:lnTo>
                    <a:pt x="153" y="556"/>
                  </a:lnTo>
                  <a:lnTo>
                    <a:pt x="151" y="558"/>
                  </a:lnTo>
                  <a:lnTo>
                    <a:pt x="153" y="556"/>
                  </a:lnTo>
                  <a:lnTo>
                    <a:pt x="151" y="556"/>
                  </a:lnTo>
                  <a:lnTo>
                    <a:pt x="153" y="556"/>
                  </a:lnTo>
                  <a:lnTo>
                    <a:pt x="153" y="555"/>
                  </a:lnTo>
                  <a:lnTo>
                    <a:pt x="151" y="555"/>
                  </a:lnTo>
                  <a:lnTo>
                    <a:pt x="151" y="553"/>
                  </a:lnTo>
                  <a:lnTo>
                    <a:pt x="153" y="553"/>
                  </a:lnTo>
                  <a:lnTo>
                    <a:pt x="151" y="551"/>
                  </a:lnTo>
                  <a:lnTo>
                    <a:pt x="153" y="551"/>
                  </a:lnTo>
                  <a:lnTo>
                    <a:pt x="153" y="550"/>
                  </a:lnTo>
                  <a:lnTo>
                    <a:pt x="153" y="548"/>
                  </a:lnTo>
                  <a:lnTo>
                    <a:pt x="153" y="547"/>
                  </a:lnTo>
                  <a:lnTo>
                    <a:pt x="153" y="545"/>
                  </a:lnTo>
                  <a:lnTo>
                    <a:pt x="151" y="545"/>
                  </a:lnTo>
                  <a:lnTo>
                    <a:pt x="153" y="545"/>
                  </a:lnTo>
                  <a:lnTo>
                    <a:pt x="151" y="543"/>
                  </a:lnTo>
                  <a:lnTo>
                    <a:pt x="151" y="542"/>
                  </a:lnTo>
                  <a:lnTo>
                    <a:pt x="151" y="540"/>
                  </a:lnTo>
                  <a:lnTo>
                    <a:pt x="151" y="538"/>
                  </a:lnTo>
                  <a:lnTo>
                    <a:pt x="153" y="538"/>
                  </a:lnTo>
                  <a:lnTo>
                    <a:pt x="153" y="537"/>
                  </a:lnTo>
                  <a:lnTo>
                    <a:pt x="153" y="533"/>
                  </a:lnTo>
                  <a:lnTo>
                    <a:pt x="153" y="532"/>
                  </a:lnTo>
                  <a:lnTo>
                    <a:pt x="153" y="530"/>
                  </a:lnTo>
                  <a:lnTo>
                    <a:pt x="154" y="527"/>
                  </a:lnTo>
                  <a:lnTo>
                    <a:pt x="154" y="525"/>
                  </a:lnTo>
                  <a:lnTo>
                    <a:pt x="154" y="524"/>
                  </a:lnTo>
                  <a:lnTo>
                    <a:pt x="156" y="524"/>
                  </a:lnTo>
                  <a:lnTo>
                    <a:pt x="158" y="522"/>
                  </a:lnTo>
                  <a:lnTo>
                    <a:pt x="158" y="520"/>
                  </a:lnTo>
                  <a:lnTo>
                    <a:pt x="158" y="519"/>
                  </a:lnTo>
                  <a:lnTo>
                    <a:pt x="159" y="517"/>
                  </a:lnTo>
                  <a:lnTo>
                    <a:pt x="161" y="517"/>
                  </a:lnTo>
                  <a:lnTo>
                    <a:pt x="162" y="517"/>
                  </a:lnTo>
                  <a:lnTo>
                    <a:pt x="162" y="516"/>
                  </a:lnTo>
                  <a:lnTo>
                    <a:pt x="162" y="514"/>
                  </a:lnTo>
                  <a:lnTo>
                    <a:pt x="164" y="514"/>
                  </a:lnTo>
                  <a:lnTo>
                    <a:pt x="166" y="514"/>
                  </a:lnTo>
                  <a:lnTo>
                    <a:pt x="167" y="514"/>
                  </a:lnTo>
                  <a:lnTo>
                    <a:pt x="166" y="514"/>
                  </a:lnTo>
                  <a:lnTo>
                    <a:pt x="167" y="514"/>
                  </a:lnTo>
                  <a:lnTo>
                    <a:pt x="169" y="512"/>
                  </a:lnTo>
                  <a:lnTo>
                    <a:pt x="169" y="514"/>
                  </a:lnTo>
                  <a:lnTo>
                    <a:pt x="169" y="512"/>
                  </a:lnTo>
                  <a:lnTo>
                    <a:pt x="171" y="512"/>
                  </a:lnTo>
                  <a:lnTo>
                    <a:pt x="172" y="511"/>
                  </a:lnTo>
                  <a:lnTo>
                    <a:pt x="174" y="511"/>
                  </a:lnTo>
                  <a:lnTo>
                    <a:pt x="175" y="511"/>
                  </a:lnTo>
                  <a:lnTo>
                    <a:pt x="175" y="509"/>
                  </a:lnTo>
                  <a:lnTo>
                    <a:pt x="174" y="509"/>
                  </a:lnTo>
                  <a:lnTo>
                    <a:pt x="172" y="509"/>
                  </a:lnTo>
                  <a:lnTo>
                    <a:pt x="174" y="509"/>
                  </a:lnTo>
                  <a:lnTo>
                    <a:pt x="172" y="509"/>
                  </a:lnTo>
                  <a:lnTo>
                    <a:pt x="172" y="507"/>
                  </a:lnTo>
                  <a:lnTo>
                    <a:pt x="171" y="507"/>
                  </a:lnTo>
                  <a:lnTo>
                    <a:pt x="169" y="506"/>
                  </a:lnTo>
                  <a:lnTo>
                    <a:pt x="169" y="503"/>
                  </a:lnTo>
                  <a:lnTo>
                    <a:pt x="171" y="503"/>
                  </a:lnTo>
                  <a:lnTo>
                    <a:pt x="169" y="503"/>
                  </a:lnTo>
                  <a:lnTo>
                    <a:pt x="169" y="501"/>
                  </a:lnTo>
                  <a:lnTo>
                    <a:pt x="169" y="499"/>
                  </a:lnTo>
                  <a:lnTo>
                    <a:pt x="169" y="498"/>
                  </a:lnTo>
                  <a:lnTo>
                    <a:pt x="171" y="499"/>
                  </a:lnTo>
                  <a:lnTo>
                    <a:pt x="172" y="503"/>
                  </a:lnTo>
                  <a:lnTo>
                    <a:pt x="174" y="503"/>
                  </a:lnTo>
                  <a:lnTo>
                    <a:pt x="175" y="503"/>
                  </a:lnTo>
                  <a:lnTo>
                    <a:pt x="177" y="503"/>
                  </a:lnTo>
                  <a:lnTo>
                    <a:pt x="179" y="503"/>
                  </a:lnTo>
                  <a:lnTo>
                    <a:pt x="179" y="501"/>
                  </a:lnTo>
                  <a:lnTo>
                    <a:pt x="179" y="499"/>
                  </a:lnTo>
                  <a:lnTo>
                    <a:pt x="180" y="499"/>
                  </a:lnTo>
                  <a:lnTo>
                    <a:pt x="180" y="498"/>
                  </a:lnTo>
                  <a:lnTo>
                    <a:pt x="180" y="496"/>
                  </a:lnTo>
                  <a:lnTo>
                    <a:pt x="182" y="498"/>
                  </a:lnTo>
                  <a:lnTo>
                    <a:pt x="180" y="498"/>
                  </a:lnTo>
                  <a:lnTo>
                    <a:pt x="182" y="499"/>
                  </a:lnTo>
                  <a:lnTo>
                    <a:pt x="180" y="499"/>
                  </a:lnTo>
                  <a:lnTo>
                    <a:pt x="182" y="499"/>
                  </a:lnTo>
                  <a:lnTo>
                    <a:pt x="182" y="501"/>
                  </a:lnTo>
                  <a:lnTo>
                    <a:pt x="184" y="501"/>
                  </a:lnTo>
                  <a:lnTo>
                    <a:pt x="185" y="501"/>
                  </a:lnTo>
                  <a:lnTo>
                    <a:pt x="187" y="499"/>
                  </a:lnTo>
                  <a:lnTo>
                    <a:pt x="187" y="498"/>
                  </a:lnTo>
                  <a:lnTo>
                    <a:pt x="188" y="498"/>
                  </a:lnTo>
                  <a:lnTo>
                    <a:pt x="188" y="499"/>
                  </a:lnTo>
                  <a:lnTo>
                    <a:pt x="190" y="499"/>
                  </a:lnTo>
                  <a:lnTo>
                    <a:pt x="192" y="498"/>
                  </a:lnTo>
                  <a:lnTo>
                    <a:pt x="193" y="496"/>
                  </a:lnTo>
                  <a:lnTo>
                    <a:pt x="193" y="498"/>
                  </a:lnTo>
                  <a:lnTo>
                    <a:pt x="195" y="496"/>
                  </a:lnTo>
                  <a:lnTo>
                    <a:pt x="195" y="498"/>
                  </a:lnTo>
                  <a:lnTo>
                    <a:pt x="195" y="499"/>
                  </a:lnTo>
                  <a:lnTo>
                    <a:pt x="195" y="501"/>
                  </a:lnTo>
                  <a:lnTo>
                    <a:pt x="197" y="501"/>
                  </a:lnTo>
                  <a:lnTo>
                    <a:pt x="197" y="499"/>
                  </a:lnTo>
                  <a:lnTo>
                    <a:pt x="195" y="499"/>
                  </a:lnTo>
                  <a:lnTo>
                    <a:pt x="197" y="499"/>
                  </a:lnTo>
                  <a:lnTo>
                    <a:pt x="198" y="498"/>
                  </a:lnTo>
                  <a:lnTo>
                    <a:pt x="198" y="499"/>
                  </a:lnTo>
                  <a:lnTo>
                    <a:pt x="200" y="499"/>
                  </a:lnTo>
                  <a:lnTo>
                    <a:pt x="200" y="501"/>
                  </a:lnTo>
                  <a:lnTo>
                    <a:pt x="198" y="501"/>
                  </a:lnTo>
                  <a:lnTo>
                    <a:pt x="198" y="503"/>
                  </a:lnTo>
                  <a:lnTo>
                    <a:pt x="200" y="503"/>
                  </a:lnTo>
                  <a:lnTo>
                    <a:pt x="201" y="503"/>
                  </a:lnTo>
                  <a:lnTo>
                    <a:pt x="201" y="504"/>
                  </a:lnTo>
                  <a:lnTo>
                    <a:pt x="203" y="504"/>
                  </a:lnTo>
                  <a:lnTo>
                    <a:pt x="205" y="504"/>
                  </a:lnTo>
                  <a:lnTo>
                    <a:pt x="206" y="506"/>
                  </a:lnTo>
                  <a:lnTo>
                    <a:pt x="206" y="504"/>
                  </a:lnTo>
                  <a:lnTo>
                    <a:pt x="208" y="504"/>
                  </a:lnTo>
                  <a:lnTo>
                    <a:pt x="206" y="503"/>
                  </a:lnTo>
                  <a:lnTo>
                    <a:pt x="206" y="501"/>
                  </a:lnTo>
                  <a:lnTo>
                    <a:pt x="206" y="499"/>
                  </a:lnTo>
                  <a:lnTo>
                    <a:pt x="208" y="499"/>
                  </a:lnTo>
                  <a:lnTo>
                    <a:pt x="206" y="499"/>
                  </a:lnTo>
                  <a:lnTo>
                    <a:pt x="208" y="499"/>
                  </a:lnTo>
                  <a:lnTo>
                    <a:pt x="210" y="499"/>
                  </a:lnTo>
                  <a:lnTo>
                    <a:pt x="211" y="499"/>
                  </a:lnTo>
                  <a:lnTo>
                    <a:pt x="210" y="501"/>
                  </a:lnTo>
                  <a:lnTo>
                    <a:pt x="211" y="501"/>
                  </a:lnTo>
                  <a:lnTo>
                    <a:pt x="213" y="501"/>
                  </a:lnTo>
                  <a:lnTo>
                    <a:pt x="215" y="504"/>
                  </a:lnTo>
                  <a:lnTo>
                    <a:pt x="216" y="504"/>
                  </a:lnTo>
                  <a:lnTo>
                    <a:pt x="216" y="503"/>
                  </a:lnTo>
                  <a:lnTo>
                    <a:pt x="216" y="501"/>
                  </a:lnTo>
                  <a:lnTo>
                    <a:pt x="215" y="499"/>
                  </a:lnTo>
                  <a:lnTo>
                    <a:pt x="213" y="498"/>
                  </a:lnTo>
                  <a:lnTo>
                    <a:pt x="211" y="498"/>
                  </a:lnTo>
                  <a:lnTo>
                    <a:pt x="211" y="496"/>
                  </a:lnTo>
                  <a:lnTo>
                    <a:pt x="211" y="494"/>
                  </a:lnTo>
                  <a:lnTo>
                    <a:pt x="211" y="491"/>
                  </a:lnTo>
                  <a:lnTo>
                    <a:pt x="211" y="490"/>
                  </a:lnTo>
                  <a:lnTo>
                    <a:pt x="213" y="490"/>
                  </a:lnTo>
                  <a:lnTo>
                    <a:pt x="211" y="488"/>
                  </a:lnTo>
                  <a:lnTo>
                    <a:pt x="211" y="486"/>
                  </a:lnTo>
                  <a:lnTo>
                    <a:pt x="210" y="485"/>
                  </a:lnTo>
                  <a:lnTo>
                    <a:pt x="210" y="483"/>
                  </a:lnTo>
                  <a:lnTo>
                    <a:pt x="208" y="483"/>
                  </a:lnTo>
                  <a:lnTo>
                    <a:pt x="208" y="481"/>
                  </a:lnTo>
                  <a:lnTo>
                    <a:pt x="206" y="481"/>
                  </a:lnTo>
                  <a:lnTo>
                    <a:pt x="206" y="480"/>
                  </a:lnTo>
                  <a:lnTo>
                    <a:pt x="205" y="480"/>
                  </a:lnTo>
                  <a:lnTo>
                    <a:pt x="203" y="480"/>
                  </a:lnTo>
                  <a:lnTo>
                    <a:pt x="201" y="480"/>
                  </a:lnTo>
                  <a:lnTo>
                    <a:pt x="201" y="481"/>
                  </a:lnTo>
                  <a:lnTo>
                    <a:pt x="203" y="481"/>
                  </a:lnTo>
                  <a:lnTo>
                    <a:pt x="203" y="483"/>
                  </a:lnTo>
                  <a:lnTo>
                    <a:pt x="201" y="483"/>
                  </a:lnTo>
                  <a:lnTo>
                    <a:pt x="201" y="481"/>
                  </a:lnTo>
                  <a:lnTo>
                    <a:pt x="200" y="480"/>
                  </a:lnTo>
                  <a:lnTo>
                    <a:pt x="200" y="481"/>
                  </a:lnTo>
                  <a:lnTo>
                    <a:pt x="200" y="480"/>
                  </a:lnTo>
                  <a:lnTo>
                    <a:pt x="200" y="481"/>
                  </a:lnTo>
                  <a:lnTo>
                    <a:pt x="200" y="483"/>
                  </a:lnTo>
                  <a:lnTo>
                    <a:pt x="200" y="481"/>
                  </a:lnTo>
                  <a:lnTo>
                    <a:pt x="201" y="483"/>
                  </a:lnTo>
                  <a:lnTo>
                    <a:pt x="200" y="483"/>
                  </a:lnTo>
                  <a:lnTo>
                    <a:pt x="200" y="485"/>
                  </a:lnTo>
                  <a:lnTo>
                    <a:pt x="201" y="485"/>
                  </a:lnTo>
                  <a:lnTo>
                    <a:pt x="203" y="485"/>
                  </a:lnTo>
                  <a:lnTo>
                    <a:pt x="201" y="485"/>
                  </a:lnTo>
                  <a:lnTo>
                    <a:pt x="200" y="485"/>
                  </a:lnTo>
                  <a:lnTo>
                    <a:pt x="201" y="486"/>
                  </a:lnTo>
                  <a:lnTo>
                    <a:pt x="203" y="485"/>
                  </a:lnTo>
                  <a:lnTo>
                    <a:pt x="203" y="486"/>
                  </a:lnTo>
                  <a:lnTo>
                    <a:pt x="200" y="486"/>
                  </a:lnTo>
                  <a:lnTo>
                    <a:pt x="200" y="485"/>
                  </a:lnTo>
                  <a:lnTo>
                    <a:pt x="198" y="485"/>
                  </a:lnTo>
                  <a:lnTo>
                    <a:pt x="198" y="486"/>
                  </a:lnTo>
                  <a:lnTo>
                    <a:pt x="198" y="485"/>
                  </a:lnTo>
                  <a:lnTo>
                    <a:pt x="198" y="486"/>
                  </a:lnTo>
                  <a:lnTo>
                    <a:pt x="197" y="486"/>
                  </a:lnTo>
                  <a:lnTo>
                    <a:pt x="198" y="486"/>
                  </a:lnTo>
                  <a:lnTo>
                    <a:pt x="198" y="488"/>
                  </a:lnTo>
                  <a:lnTo>
                    <a:pt x="197" y="486"/>
                  </a:lnTo>
                  <a:lnTo>
                    <a:pt x="195" y="485"/>
                  </a:lnTo>
                  <a:lnTo>
                    <a:pt x="195" y="486"/>
                  </a:lnTo>
                  <a:lnTo>
                    <a:pt x="193" y="488"/>
                  </a:lnTo>
                  <a:lnTo>
                    <a:pt x="192" y="486"/>
                  </a:lnTo>
                  <a:lnTo>
                    <a:pt x="193" y="488"/>
                  </a:lnTo>
                  <a:lnTo>
                    <a:pt x="192" y="486"/>
                  </a:lnTo>
                  <a:lnTo>
                    <a:pt x="193" y="486"/>
                  </a:lnTo>
                  <a:lnTo>
                    <a:pt x="193" y="488"/>
                  </a:lnTo>
                  <a:lnTo>
                    <a:pt x="195" y="486"/>
                  </a:lnTo>
                  <a:lnTo>
                    <a:pt x="193" y="486"/>
                  </a:lnTo>
                  <a:lnTo>
                    <a:pt x="192" y="486"/>
                  </a:lnTo>
                  <a:lnTo>
                    <a:pt x="192" y="485"/>
                  </a:lnTo>
                  <a:lnTo>
                    <a:pt x="192" y="486"/>
                  </a:lnTo>
                  <a:lnTo>
                    <a:pt x="192" y="485"/>
                  </a:lnTo>
                  <a:lnTo>
                    <a:pt x="190" y="485"/>
                  </a:lnTo>
                  <a:lnTo>
                    <a:pt x="190" y="483"/>
                  </a:lnTo>
                  <a:lnTo>
                    <a:pt x="190" y="485"/>
                  </a:lnTo>
                  <a:lnTo>
                    <a:pt x="188" y="485"/>
                  </a:lnTo>
                  <a:lnTo>
                    <a:pt x="187" y="486"/>
                  </a:lnTo>
                  <a:lnTo>
                    <a:pt x="187" y="488"/>
                  </a:lnTo>
                  <a:lnTo>
                    <a:pt x="185" y="488"/>
                  </a:lnTo>
                  <a:lnTo>
                    <a:pt x="185" y="490"/>
                  </a:lnTo>
                  <a:lnTo>
                    <a:pt x="187" y="488"/>
                  </a:lnTo>
                  <a:lnTo>
                    <a:pt x="187" y="490"/>
                  </a:lnTo>
                  <a:lnTo>
                    <a:pt x="185" y="490"/>
                  </a:lnTo>
                  <a:lnTo>
                    <a:pt x="185" y="488"/>
                  </a:lnTo>
                  <a:lnTo>
                    <a:pt x="184" y="486"/>
                  </a:lnTo>
                  <a:lnTo>
                    <a:pt x="182" y="485"/>
                  </a:lnTo>
                  <a:lnTo>
                    <a:pt x="182" y="486"/>
                  </a:lnTo>
                  <a:lnTo>
                    <a:pt x="180" y="485"/>
                  </a:lnTo>
                  <a:lnTo>
                    <a:pt x="180" y="486"/>
                  </a:lnTo>
                  <a:lnTo>
                    <a:pt x="179" y="486"/>
                  </a:lnTo>
                  <a:lnTo>
                    <a:pt x="177" y="486"/>
                  </a:lnTo>
                  <a:lnTo>
                    <a:pt x="175" y="486"/>
                  </a:lnTo>
                  <a:lnTo>
                    <a:pt x="174" y="485"/>
                  </a:lnTo>
                  <a:lnTo>
                    <a:pt x="174" y="483"/>
                  </a:lnTo>
                  <a:lnTo>
                    <a:pt x="172" y="483"/>
                  </a:lnTo>
                  <a:lnTo>
                    <a:pt x="171" y="483"/>
                  </a:lnTo>
                  <a:lnTo>
                    <a:pt x="171" y="485"/>
                  </a:lnTo>
                  <a:lnTo>
                    <a:pt x="169" y="485"/>
                  </a:lnTo>
                  <a:lnTo>
                    <a:pt x="169" y="486"/>
                  </a:lnTo>
                  <a:lnTo>
                    <a:pt x="167" y="486"/>
                  </a:lnTo>
                  <a:lnTo>
                    <a:pt x="167" y="488"/>
                  </a:lnTo>
                  <a:lnTo>
                    <a:pt x="167" y="490"/>
                  </a:lnTo>
                  <a:lnTo>
                    <a:pt x="167" y="491"/>
                  </a:lnTo>
                  <a:lnTo>
                    <a:pt x="169" y="493"/>
                  </a:lnTo>
                  <a:lnTo>
                    <a:pt x="171" y="493"/>
                  </a:lnTo>
                  <a:lnTo>
                    <a:pt x="172" y="493"/>
                  </a:lnTo>
                  <a:lnTo>
                    <a:pt x="174" y="494"/>
                  </a:lnTo>
                  <a:lnTo>
                    <a:pt x="175" y="494"/>
                  </a:lnTo>
                  <a:lnTo>
                    <a:pt x="175" y="496"/>
                  </a:lnTo>
                  <a:lnTo>
                    <a:pt x="177" y="496"/>
                  </a:lnTo>
                  <a:lnTo>
                    <a:pt x="177" y="498"/>
                  </a:lnTo>
                  <a:lnTo>
                    <a:pt x="175" y="498"/>
                  </a:lnTo>
                  <a:lnTo>
                    <a:pt x="174" y="496"/>
                  </a:lnTo>
                  <a:lnTo>
                    <a:pt x="174" y="498"/>
                  </a:lnTo>
                  <a:lnTo>
                    <a:pt x="174" y="496"/>
                  </a:lnTo>
                  <a:lnTo>
                    <a:pt x="172" y="496"/>
                  </a:lnTo>
                  <a:lnTo>
                    <a:pt x="171" y="496"/>
                  </a:lnTo>
                  <a:lnTo>
                    <a:pt x="169" y="496"/>
                  </a:lnTo>
                  <a:lnTo>
                    <a:pt x="167" y="496"/>
                  </a:lnTo>
                  <a:lnTo>
                    <a:pt x="169" y="496"/>
                  </a:lnTo>
                  <a:lnTo>
                    <a:pt x="169" y="494"/>
                  </a:lnTo>
                  <a:lnTo>
                    <a:pt x="167" y="494"/>
                  </a:lnTo>
                  <a:lnTo>
                    <a:pt x="167" y="496"/>
                  </a:lnTo>
                  <a:lnTo>
                    <a:pt x="169" y="496"/>
                  </a:lnTo>
                  <a:lnTo>
                    <a:pt x="169" y="498"/>
                  </a:lnTo>
                  <a:lnTo>
                    <a:pt x="169" y="499"/>
                  </a:lnTo>
                  <a:lnTo>
                    <a:pt x="167" y="501"/>
                  </a:lnTo>
                  <a:lnTo>
                    <a:pt x="166" y="499"/>
                  </a:lnTo>
                  <a:lnTo>
                    <a:pt x="162" y="496"/>
                  </a:lnTo>
                  <a:lnTo>
                    <a:pt x="162" y="494"/>
                  </a:lnTo>
                  <a:lnTo>
                    <a:pt x="161" y="493"/>
                  </a:lnTo>
                  <a:lnTo>
                    <a:pt x="162" y="493"/>
                  </a:lnTo>
                  <a:lnTo>
                    <a:pt x="162" y="491"/>
                  </a:lnTo>
                  <a:lnTo>
                    <a:pt x="162" y="490"/>
                  </a:lnTo>
                  <a:lnTo>
                    <a:pt x="162" y="488"/>
                  </a:lnTo>
                  <a:lnTo>
                    <a:pt x="161" y="486"/>
                  </a:lnTo>
                  <a:lnTo>
                    <a:pt x="161" y="485"/>
                  </a:lnTo>
                  <a:lnTo>
                    <a:pt x="159" y="483"/>
                  </a:lnTo>
                  <a:lnTo>
                    <a:pt x="158" y="483"/>
                  </a:lnTo>
                  <a:lnTo>
                    <a:pt x="156" y="481"/>
                  </a:lnTo>
                  <a:lnTo>
                    <a:pt x="154" y="481"/>
                  </a:lnTo>
                  <a:lnTo>
                    <a:pt x="154" y="480"/>
                  </a:lnTo>
                  <a:lnTo>
                    <a:pt x="153" y="481"/>
                  </a:lnTo>
                  <a:lnTo>
                    <a:pt x="153" y="480"/>
                  </a:lnTo>
                  <a:lnTo>
                    <a:pt x="151" y="480"/>
                  </a:lnTo>
                  <a:lnTo>
                    <a:pt x="151" y="478"/>
                  </a:lnTo>
                  <a:lnTo>
                    <a:pt x="149" y="478"/>
                  </a:lnTo>
                  <a:lnTo>
                    <a:pt x="146" y="475"/>
                  </a:lnTo>
                  <a:lnTo>
                    <a:pt x="145" y="475"/>
                  </a:lnTo>
                  <a:lnTo>
                    <a:pt x="145" y="473"/>
                  </a:lnTo>
                  <a:lnTo>
                    <a:pt x="143" y="473"/>
                  </a:lnTo>
                  <a:lnTo>
                    <a:pt x="143" y="472"/>
                  </a:lnTo>
                  <a:lnTo>
                    <a:pt x="141" y="472"/>
                  </a:lnTo>
                  <a:lnTo>
                    <a:pt x="141" y="470"/>
                  </a:lnTo>
                  <a:lnTo>
                    <a:pt x="140" y="468"/>
                  </a:lnTo>
                  <a:lnTo>
                    <a:pt x="138" y="468"/>
                  </a:lnTo>
                  <a:lnTo>
                    <a:pt x="136" y="468"/>
                  </a:lnTo>
                  <a:lnTo>
                    <a:pt x="136" y="467"/>
                  </a:lnTo>
                  <a:lnTo>
                    <a:pt x="135" y="467"/>
                  </a:lnTo>
                  <a:lnTo>
                    <a:pt x="133" y="467"/>
                  </a:lnTo>
                  <a:lnTo>
                    <a:pt x="135" y="467"/>
                  </a:lnTo>
                  <a:lnTo>
                    <a:pt x="133" y="465"/>
                  </a:lnTo>
                  <a:lnTo>
                    <a:pt x="133" y="467"/>
                  </a:lnTo>
                  <a:lnTo>
                    <a:pt x="133" y="465"/>
                  </a:lnTo>
                  <a:lnTo>
                    <a:pt x="132" y="465"/>
                  </a:lnTo>
                  <a:lnTo>
                    <a:pt x="132" y="464"/>
                  </a:lnTo>
                  <a:lnTo>
                    <a:pt x="133" y="464"/>
                  </a:lnTo>
                  <a:lnTo>
                    <a:pt x="133" y="462"/>
                  </a:lnTo>
                  <a:lnTo>
                    <a:pt x="132" y="464"/>
                  </a:lnTo>
                  <a:lnTo>
                    <a:pt x="132" y="462"/>
                  </a:lnTo>
                  <a:lnTo>
                    <a:pt x="132" y="460"/>
                  </a:lnTo>
                  <a:lnTo>
                    <a:pt x="132" y="459"/>
                  </a:lnTo>
                  <a:lnTo>
                    <a:pt x="132" y="457"/>
                  </a:lnTo>
                  <a:lnTo>
                    <a:pt x="130" y="457"/>
                  </a:lnTo>
                  <a:lnTo>
                    <a:pt x="130" y="459"/>
                  </a:lnTo>
                  <a:lnTo>
                    <a:pt x="128" y="459"/>
                  </a:lnTo>
                  <a:lnTo>
                    <a:pt x="128" y="457"/>
                  </a:lnTo>
                  <a:lnTo>
                    <a:pt x="127" y="457"/>
                  </a:lnTo>
                  <a:lnTo>
                    <a:pt x="127" y="459"/>
                  </a:lnTo>
                  <a:lnTo>
                    <a:pt x="125" y="459"/>
                  </a:lnTo>
                  <a:lnTo>
                    <a:pt x="123" y="457"/>
                  </a:lnTo>
                  <a:lnTo>
                    <a:pt x="123" y="459"/>
                  </a:lnTo>
                  <a:lnTo>
                    <a:pt x="123" y="457"/>
                  </a:lnTo>
                  <a:lnTo>
                    <a:pt x="122" y="457"/>
                  </a:lnTo>
                  <a:lnTo>
                    <a:pt x="122" y="459"/>
                  </a:lnTo>
                  <a:lnTo>
                    <a:pt x="120" y="459"/>
                  </a:lnTo>
                  <a:lnTo>
                    <a:pt x="119" y="459"/>
                  </a:lnTo>
                  <a:lnTo>
                    <a:pt x="117" y="459"/>
                  </a:lnTo>
                  <a:lnTo>
                    <a:pt x="115" y="457"/>
                  </a:lnTo>
                  <a:lnTo>
                    <a:pt x="114" y="457"/>
                  </a:lnTo>
                  <a:lnTo>
                    <a:pt x="114" y="455"/>
                  </a:lnTo>
                  <a:lnTo>
                    <a:pt x="112" y="455"/>
                  </a:lnTo>
                  <a:lnTo>
                    <a:pt x="110" y="454"/>
                  </a:lnTo>
                  <a:lnTo>
                    <a:pt x="109" y="452"/>
                  </a:lnTo>
                  <a:lnTo>
                    <a:pt x="110" y="452"/>
                  </a:lnTo>
                  <a:lnTo>
                    <a:pt x="109" y="451"/>
                  </a:lnTo>
                  <a:lnTo>
                    <a:pt x="109" y="449"/>
                  </a:lnTo>
                  <a:lnTo>
                    <a:pt x="107" y="447"/>
                  </a:lnTo>
                  <a:lnTo>
                    <a:pt x="109" y="447"/>
                  </a:lnTo>
                  <a:lnTo>
                    <a:pt x="109" y="446"/>
                  </a:lnTo>
                  <a:lnTo>
                    <a:pt x="107" y="446"/>
                  </a:lnTo>
                  <a:lnTo>
                    <a:pt x="107" y="444"/>
                  </a:lnTo>
                  <a:lnTo>
                    <a:pt x="106" y="444"/>
                  </a:lnTo>
                  <a:lnTo>
                    <a:pt x="104" y="444"/>
                  </a:lnTo>
                  <a:lnTo>
                    <a:pt x="102" y="444"/>
                  </a:lnTo>
                  <a:lnTo>
                    <a:pt x="102" y="442"/>
                  </a:lnTo>
                  <a:lnTo>
                    <a:pt x="104" y="442"/>
                  </a:lnTo>
                  <a:lnTo>
                    <a:pt x="102" y="442"/>
                  </a:lnTo>
                  <a:lnTo>
                    <a:pt x="102" y="441"/>
                  </a:lnTo>
                  <a:lnTo>
                    <a:pt x="101" y="439"/>
                  </a:lnTo>
                  <a:lnTo>
                    <a:pt x="101" y="438"/>
                  </a:lnTo>
                  <a:lnTo>
                    <a:pt x="99" y="438"/>
                  </a:lnTo>
                  <a:lnTo>
                    <a:pt x="101" y="438"/>
                  </a:lnTo>
                  <a:lnTo>
                    <a:pt x="102" y="438"/>
                  </a:lnTo>
                  <a:lnTo>
                    <a:pt x="104" y="438"/>
                  </a:lnTo>
                  <a:lnTo>
                    <a:pt x="106" y="438"/>
                  </a:lnTo>
                  <a:lnTo>
                    <a:pt x="106" y="436"/>
                  </a:lnTo>
                  <a:lnTo>
                    <a:pt x="107" y="436"/>
                  </a:lnTo>
                  <a:lnTo>
                    <a:pt x="106" y="436"/>
                  </a:lnTo>
                  <a:lnTo>
                    <a:pt x="104" y="434"/>
                  </a:lnTo>
                  <a:lnTo>
                    <a:pt x="102" y="434"/>
                  </a:lnTo>
                  <a:lnTo>
                    <a:pt x="102" y="433"/>
                  </a:lnTo>
                  <a:lnTo>
                    <a:pt x="102" y="434"/>
                  </a:lnTo>
                  <a:lnTo>
                    <a:pt x="101" y="433"/>
                  </a:lnTo>
                  <a:lnTo>
                    <a:pt x="99" y="431"/>
                  </a:lnTo>
                  <a:lnTo>
                    <a:pt x="101" y="431"/>
                  </a:lnTo>
                  <a:lnTo>
                    <a:pt x="101" y="429"/>
                  </a:lnTo>
                  <a:lnTo>
                    <a:pt x="101" y="431"/>
                  </a:lnTo>
                  <a:lnTo>
                    <a:pt x="102" y="431"/>
                  </a:lnTo>
                  <a:lnTo>
                    <a:pt x="104" y="431"/>
                  </a:lnTo>
                  <a:lnTo>
                    <a:pt x="104" y="429"/>
                  </a:lnTo>
                  <a:lnTo>
                    <a:pt x="104" y="428"/>
                  </a:lnTo>
                  <a:lnTo>
                    <a:pt x="102" y="428"/>
                  </a:lnTo>
                  <a:lnTo>
                    <a:pt x="101" y="426"/>
                  </a:lnTo>
                  <a:lnTo>
                    <a:pt x="101" y="428"/>
                  </a:lnTo>
                  <a:lnTo>
                    <a:pt x="99" y="428"/>
                  </a:lnTo>
                  <a:lnTo>
                    <a:pt x="99" y="429"/>
                  </a:lnTo>
                  <a:lnTo>
                    <a:pt x="99" y="428"/>
                  </a:lnTo>
                  <a:lnTo>
                    <a:pt x="96" y="428"/>
                  </a:lnTo>
                  <a:lnTo>
                    <a:pt x="94" y="429"/>
                  </a:lnTo>
                  <a:lnTo>
                    <a:pt x="94" y="428"/>
                  </a:lnTo>
                  <a:lnTo>
                    <a:pt x="93" y="428"/>
                  </a:lnTo>
                  <a:lnTo>
                    <a:pt x="94" y="428"/>
                  </a:lnTo>
                  <a:lnTo>
                    <a:pt x="94" y="426"/>
                  </a:lnTo>
                  <a:lnTo>
                    <a:pt x="94" y="428"/>
                  </a:lnTo>
                  <a:lnTo>
                    <a:pt x="96" y="428"/>
                  </a:lnTo>
                  <a:lnTo>
                    <a:pt x="97" y="428"/>
                  </a:lnTo>
                  <a:lnTo>
                    <a:pt x="96" y="426"/>
                  </a:lnTo>
                  <a:lnTo>
                    <a:pt x="94" y="426"/>
                  </a:lnTo>
                  <a:lnTo>
                    <a:pt x="93" y="426"/>
                  </a:lnTo>
                  <a:lnTo>
                    <a:pt x="91" y="426"/>
                  </a:lnTo>
                  <a:lnTo>
                    <a:pt x="93" y="426"/>
                  </a:lnTo>
                  <a:lnTo>
                    <a:pt x="91" y="426"/>
                  </a:lnTo>
                  <a:lnTo>
                    <a:pt x="91" y="428"/>
                  </a:lnTo>
                  <a:lnTo>
                    <a:pt x="89" y="428"/>
                  </a:lnTo>
                  <a:lnTo>
                    <a:pt x="89" y="426"/>
                  </a:lnTo>
                  <a:lnTo>
                    <a:pt x="91" y="425"/>
                  </a:lnTo>
                  <a:lnTo>
                    <a:pt x="91" y="423"/>
                  </a:lnTo>
                  <a:lnTo>
                    <a:pt x="93" y="423"/>
                  </a:lnTo>
                  <a:lnTo>
                    <a:pt x="93" y="421"/>
                  </a:lnTo>
                  <a:lnTo>
                    <a:pt x="93" y="420"/>
                  </a:lnTo>
                  <a:lnTo>
                    <a:pt x="93" y="418"/>
                  </a:lnTo>
                  <a:lnTo>
                    <a:pt x="93" y="420"/>
                  </a:lnTo>
                  <a:lnTo>
                    <a:pt x="91" y="420"/>
                  </a:lnTo>
                  <a:lnTo>
                    <a:pt x="89" y="420"/>
                  </a:lnTo>
                  <a:lnTo>
                    <a:pt x="89" y="418"/>
                  </a:lnTo>
                  <a:lnTo>
                    <a:pt x="91" y="418"/>
                  </a:lnTo>
                  <a:lnTo>
                    <a:pt x="93" y="418"/>
                  </a:lnTo>
                  <a:lnTo>
                    <a:pt x="93" y="416"/>
                  </a:lnTo>
                  <a:lnTo>
                    <a:pt x="94" y="416"/>
                  </a:lnTo>
                  <a:lnTo>
                    <a:pt x="94" y="415"/>
                  </a:lnTo>
                  <a:lnTo>
                    <a:pt x="93" y="415"/>
                  </a:lnTo>
                  <a:lnTo>
                    <a:pt x="94" y="415"/>
                  </a:lnTo>
                  <a:lnTo>
                    <a:pt x="94" y="413"/>
                  </a:lnTo>
                  <a:lnTo>
                    <a:pt x="93" y="413"/>
                  </a:lnTo>
                  <a:lnTo>
                    <a:pt x="93" y="412"/>
                  </a:lnTo>
                  <a:lnTo>
                    <a:pt x="91" y="412"/>
                  </a:lnTo>
                  <a:lnTo>
                    <a:pt x="89" y="412"/>
                  </a:lnTo>
                  <a:lnTo>
                    <a:pt x="88" y="412"/>
                  </a:lnTo>
                  <a:lnTo>
                    <a:pt x="88" y="410"/>
                  </a:lnTo>
                  <a:lnTo>
                    <a:pt x="86" y="410"/>
                  </a:lnTo>
                  <a:lnTo>
                    <a:pt x="84" y="408"/>
                  </a:lnTo>
                  <a:lnTo>
                    <a:pt x="84" y="410"/>
                  </a:lnTo>
                  <a:lnTo>
                    <a:pt x="83" y="410"/>
                  </a:lnTo>
                  <a:lnTo>
                    <a:pt x="83" y="408"/>
                  </a:lnTo>
                  <a:lnTo>
                    <a:pt x="83" y="410"/>
                  </a:lnTo>
                  <a:lnTo>
                    <a:pt x="83" y="408"/>
                  </a:lnTo>
                  <a:lnTo>
                    <a:pt x="81" y="408"/>
                  </a:lnTo>
                  <a:lnTo>
                    <a:pt x="80" y="408"/>
                  </a:lnTo>
                  <a:lnTo>
                    <a:pt x="80" y="407"/>
                  </a:lnTo>
                  <a:lnTo>
                    <a:pt x="78" y="407"/>
                  </a:lnTo>
                  <a:lnTo>
                    <a:pt x="76" y="407"/>
                  </a:lnTo>
                  <a:lnTo>
                    <a:pt x="75" y="408"/>
                  </a:lnTo>
                  <a:lnTo>
                    <a:pt x="75" y="407"/>
                  </a:lnTo>
                  <a:lnTo>
                    <a:pt x="73" y="407"/>
                  </a:lnTo>
                  <a:lnTo>
                    <a:pt x="75" y="407"/>
                  </a:lnTo>
                  <a:lnTo>
                    <a:pt x="73" y="407"/>
                  </a:lnTo>
                  <a:lnTo>
                    <a:pt x="75" y="407"/>
                  </a:lnTo>
                  <a:lnTo>
                    <a:pt x="75" y="405"/>
                  </a:lnTo>
                  <a:lnTo>
                    <a:pt x="73" y="407"/>
                  </a:lnTo>
                  <a:lnTo>
                    <a:pt x="73" y="405"/>
                  </a:lnTo>
                  <a:lnTo>
                    <a:pt x="76" y="405"/>
                  </a:lnTo>
                  <a:lnTo>
                    <a:pt x="78" y="405"/>
                  </a:lnTo>
                  <a:lnTo>
                    <a:pt x="81" y="407"/>
                  </a:lnTo>
                  <a:lnTo>
                    <a:pt x="81" y="405"/>
                  </a:lnTo>
                  <a:lnTo>
                    <a:pt x="83" y="407"/>
                  </a:lnTo>
                  <a:lnTo>
                    <a:pt x="86" y="408"/>
                  </a:lnTo>
                  <a:lnTo>
                    <a:pt x="88" y="408"/>
                  </a:lnTo>
                  <a:lnTo>
                    <a:pt x="89" y="408"/>
                  </a:lnTo>
                  <a:lnTo>
                    <a:pt x="93" y="410"/>
                  </a:lnTo>
                  <a:lnTo>
                    <a:pt x="94" y="410"/>
                  </a:lnTo>
                  <a:lnTo>
                    <a:pt x="96" y="410"/>
                  </a:lnTo>
                  <a:lnTo>
                    <a:pt x="97" y="408"/>
                  </a:lnTo>
                  <a:lnTo>
                    <a:pt x="97" y="407"/>
                  </a:lnTo>
                  <a:lnTo>
                    <a:pt x="97" y="405"/>
                  </a:lnTo>
                  <a:lnTo>
                    <a:pt x="97" y="403"/>
                  </a:lnTo>
                  <a:lnTo>
                    <a:pt x="99" y="403"/>
                  </a:lnTo>
                  <a:lnTo>
                    <a:pt x="101" y="405"/>
                  </a:lnTo>
                  <a:lnTo>
                    <a:pt x="102" y="405"/>
                  </a:lnTo>
                  <a:lnTo>
                    <a:pt x="101" y="402"/>
                  </a:lnTo>
                  <a:lnTo>
                    <a:pt x="101" y="400"/>
                  </a:lnTo>
                  <a:lnTo>
                    <a:pt x="102" y="400"/>
                  </a:lnTo>
                  <a:lnTo>
                    <a:pt x="104" y="399"/>
                  </a:lnTo>
                  <a:lnTo>
                    <a:pt x="107" y="395"/>
                  </a:lnTo>
                  <a:lnTo>
                    <a:pt x="106" y="395"/>
                  </a:lnTo>
                  <a:lnTo>
                    <a:pt x="104" y="394"/>
                  </a:lnTo>
                  <a:lnTo>
                    <a:pt x="104" y="392"/>
                  </a:lnTo>
                  <a:lnTo>
                    <a:pt x="102" y="392"/>
                  </a:lnTo>
                  <a:lnTo>
                    <a:pt x="102" y="390"/>
                  </a:lnTo>
                  <a:lnTo>
                    <a:pt x="104" y="389"/>
                  </a:lnTo>
                  <a:lnTo>
                    <a:pt x="102" y="385"/>
                  </a:lnTo>
                  <a:lnTo>
                    <a:pt x="104" y="384"/>
                  </a:lnTo>
                  <a:lnTo>
                    <a:pt x="106" y="384"/>
                  </a:lnTo>
                  <a:lnTo>
                    <a:pt x="107" y="385"/>
                  </a:lnTo>
                  <a:lnTo>
                    <a:pt x="109" y="385"/>
                  </a:lnTo>
                  <a:lnTo>
                    <a:pt x="110" y="387"/>
                  </a:lnTo>
                  <a:lnTo>
                    <a:pt x="112" y="387"/>
                  </a:lnTo>
                  <a:lnTo>
                    <a:pt x="114" y="387"/>
                  </a:lnTo>
                  <a:lnTo>
                    <a:pt x="114" y="385"/>
                  </a:lnTo>
                  <a:lnTo>
                    <a:pt x="114" y="384"/>
                  </a:lnTo>
                  <a:lnTo>
                    <a:pt x="115" y="382"/>
                  </a:lnTo>
                  <a:lnTo>
                    <a:pt x="115" y="379"/>
                  </a:lnTo>
                  <a:lnTo>
                    <a:pt x="114" y="377"/>
                  </a:lnTo>
                  <a:lnTo>
                    <a:pt x="112" y="376"/>
                  </a:lnTo>
                  <a:lnTo>
                    <a:pt x="112" y="374"/>
                  </a:lnTo>
                  <a:lnTo>
                    <a:pt x="110" y="372"/>
                  </a:lnTo>
                  <a:lnTo>
                    <a:pt x="109" y="372"/>
                  </a:lnTo>
                  <a:lnTo>
                    <a:pt x="107" y="369"/>
                  </a:lnTo>
                  <a:lnTo>
                    <a:pt x="106" y="368"/>
                  </a:lnTo>
                  <a:lnTo>
                    <a:pt x="106" y="364"/>
                  </a:lnTo>
                  <a:lnTo>
                    <a:pt x="104" y="364"/>
                  </a:lnTo>
                  <a:lnTo>
                    <a:pt x="102" y="361"/>
                  </a:lnTo>
                  <a:lnTo>
                    <a:pt x="101" y="358"/>
                  </a:lnTo>
                  <a:lnTo>
                    <a:pt x="102" y="358"/>
                  </a:lnTo>
                  <a:lnTo>
                    <a:pt x="104" y="358"/>
                  </a:lnTo>
                  <a:lnTo>
                    <a:pt x="107" y="358"/>
                  </a:lnTo>
                  <a:lnTo>
                    <a:pt x="109" y="356"/>
                  </a:lnTo>
                  <a:lnTo>
                    <a:pt x="110" y="356"/>
                  </a:lnTo>
                  <a:lnTo>
                    <a:pt x="110" y="355"/>
                  </a:lnTo>
                  <a:lnTo>
                    <a:pt x="112" y="351"/>
                  </a:lnTo>
                  <a:lnTo>
                    <a:pt x="112" y="350"/>
                  </a:lnTo>
                  <a:lnTo>
                    <a:pt x="112" y="348"/>
                  </a:lnTo>
                  <a:lnTo>
                    <a:pt x="114" y="345"/>
                  </a:lnTo>
                  <a:lnTo>
                    <a:pt x="115" y="345"/>
                  </a:lnTo>
                  <a:lnTo>
                    <a:pt x="117" y="346"/>
                  </a:lnTo>
                  <a:lnTo>
                    <a:pt x="119" y="346"/>
                  </a:lnTo>
                  <a:lnTo>
                    <a:pt x="120" y="345"/>
                  </a:lnTo>
                  <a:lnTo>
                    <a:pt x="122" y="343"/>
                  </a:lnTo>
                  <a:lnTo>
                    <a:pt x="125" y="345"/>
                  </a:lnTo>
                  <a:lnTo>
                    <a:pt x="128" y="345"/>
                  </a:lnTo>
                  <a:lnTo>
                    <a:pt x="130" y="343"/>
                  </a:lnTo>
                  <a:lnTo>
                    <a:pt x="132" y="343"/>
                  </a:lnTo>
                  <a:lnTo>
                    <a:pt x="132" y="342"/>
                  </a:lnTo>
                  <a:lnTo>
                    <a:pt x="133" y="342"/>
                  </a:lnTo>
                  <a:lnTo>
                    <a:pt x="133" y="340"/>
                  </a:lnTo>
                  <a:lnTo>
                    <a:pt x="135" y="340"/>
                  </a:lnTo>
                  <a:lnTo>
                    <a:pt x="138" y="340"/>
                  </a:lnTo>
                  <a:lnTo>
                    <a:pt x="140" y="338"/>
                  </a:lnTo>
                  <a:lnTo>
                    <a:pt x="138" y="335"/>
                  </a:lnTo>
                  <a:lnTo>
                    <a:pt x="140" y="330"/>
                  </a:lnTo>
                  <a:lnTo>
                    <a:pt x="138" y="329"/>
                  </a:lnTo>
                  <a:lnTo>
                    <a:pt x="138" y="325"/>
                  </a:lnTo>
                  <a:lnTo>
                    <a:pt x="140" y="324"/>
                  </a:lnTo>
                  <a:lnTo>
                    <a:pt x="141" y="322"/>
                  </a:lnTo>
                  <a:lnTo>
                    <a:pt x="141" y="320"/>
                  </a:lnTo>
                  <a:lnTo>
                    <a:pt x="141" y="319"/>
                  </a:lnTo>
                  <a:lnTo>
                    <a:pt x="141" y="317"/>
                  </a:lnTo>
                  <a:lnTo>
                    <a:pt x="141" y="316"/>
                  </a:lnTo>
                  <a:lnTo>
                    <a:pt x="140" y="314"/>
                  </a:lnTo>
                  <a:lnTo>
                    <a:pt x="140" y="312"/>
                  </a:lnTo>
                  <a:lnTo>
                    <a:pt x="141" y="309"/>
                  </a:lnTo>
                  <a:lnTo>
                    <a:pt x="141" y="307"/>
                  </a:lnTo>
                  <a:lnTo>
                    <a:pt x="143" y="307"/>
                  </a:lnTo>
                  <a:lnTo>
                    <a:pt x="145" y="306"/>
                  </a:lnTo>
                  <a:lnTo>
                    <a:pt x="143" y="304"/>
                  </a:lnTo>
                  <a:lnTo>
                    <a:pt x="143" y="303"/>
                  </a:lnTo>
                  <a:lnTo>
                    <a:pt x="145" y="303"/>
                  </a:lnTo>
                  <a:lnTo>
                    <a:pt x="145" y="301"/>
                  </a:lnTo>
                  <a:lnTo>
                    <a:pt x="146" y="299"/>
                  </a:lnTo>
                  <a:lnTo>
                    <a:pt x="146" y="296"/>
                  </a:lnTo>
                  <a:lnTo>
                    <a:pt x="146" y="294"/>
                  </a:lnTo>
                  <a:lnTo>
                    <a:pt x="146" y="293"/>
                  </a:lnTo>
                  <a:lnTo>
                    <a:pt x="146" y="291"/>
                  </a:lnTo>
                  <a:lnTo>
                    <a:pt x="146" y="290"/>
                  </a:lnTo>
                  <a:lnTo>
                    <a:pt x="148" y="288"/>
                  </a:lnTo>
                  <a:lnTo>
                    <a:pt x="149" y="288"/>
                  </a:lnTo>
                  <a:lnTo>
                    <a:pt x="149" y="281"/>
                  </a:lnTo>
                  <a:lnTo>
                    <a:pt x="151" y="281"/>
                  </a:lnTo>
                  <a:lnTo>
                    <a:pt x="153" y="281"/>
                  </a:lnTo>
                  <a:lnTo>
                    <a:pt x="154" y="281"/>
                  </a:lnTo>
                  <a:lnTo>
                    <a:pt x="158" y="281"/>
                  </a:lnTo>
                  <a:lnTo>
                    <a:pt x="159" y="283"/>
                  </a:lnTo>
                  <a:lnTo>
                    <a:pt x="161" y="283"/>
                  </a:lnTo>
                  <a:lnTo>
                    <a:pt x="162" y="281"/>
                  </a:lnTo>
                  <a:lnTo>
                    <a:pt x="164" y="280"/>
                  </a:lnTo>
                  <a:lnTo>
                    <a:pt x="166" y="278"/>
                  </a:lnTo>
                  <a:lnTo>
                    <a:pt x="166" y="277"/>
                  </a:lnTo>
                  <a:lnTo>
                    <a:pt x="164" y="273"/>
                  </a:lnTo>
                  <a:lnTo>
                    <a:pt x="166" y="272"/>
                  </a:lnTo>
                  <a:lnTo>
                    <a:pt x="167" y="268"/>
                  </a:lnTo>
                  <a:lnTo>
                    <a:pt x="169" y="268"/>
                  </a:lnTo>
                  <a:lnTo>
                    <a:pt x="171" y="268"/>
                  </a:lnTo>
                  <a:lnTo>
                    <a:pt x="171" y="267"/>
                  </a:lnTo>
                  <a:lnTo>
                    <a:pt x="171" y="265"/>
                  </a:lnTo>
                  <a:lnTo>
                    <a:pt x="169" y="264"/>
                  </a:lnTo>
                  <a:lnTo>
                    <a:pt x="171" y="262"/>
                  </a:lnTo>
                  <a:lnTo>
                    <a:pt x="169" y="260"/>
                  </a:lnTo>
                  <a:lnTo>
                    <a:pt x="171" y="259"/>
                  </a:lnTo>
                  <a:lnTo>
                    <a:pt x="171" y="255"/>
                  </a:lnTo>
                  <a:lnTo>
                    <a:pt x="169" y="252"/>
                  </a:lnTo>
                  <a:lnTo>
                    <a:pt x="169" y="250"/>
                  </a:lnTo>
                  <a:lnTo>
                    <a:pt x="166" y="246"/>
                  </a:lnTo>
                  <a:lnTo>
                    <a:pt x="162" y="244"/>
                  </a:lnTo>
                  <a:lnTo>
                    <a:pt x="161" y="242"/>
                  </a:lnTo>
                  <a:lnTo>
                    <a:pt x="161" y="241"/>
                  </a:lnTo>
                  <a:lnTo>
                    <a:pt x="156" y="239"/>
                  </a:lnTo>
                  <a:lnTo>
                    <a:pt x="158" y="239"/>
                  </a:lnTo>
                  <a:lnTo>
                    <a:pt x="158" y="237"/>
                  </a:lnTo>
                  <a:lnTo>
                    <a:pt x="159" y="236"/>
                  </a:lnTo>
                  <a:lnTo>
                    <a:pt x="158" y="226"/>
                  </a:lnTo>
                  <a:lnTo>
                    <a:pt x="174" y="224"/>
                  </a:lnTo>
                  <a:lnTo>
                    <a:pt x="177" y="223"/>
                  </a:lnTo>
                  <a:lnTo>
                    <a:pt x="179" y="221"/>
                  </a:lnTo>
                  <a:lnTo>
                    <a:pt x="180" y="220"/>
                  </a:lnTo>
                  <a:lnTo>
                    <a:pt x="182" y="220"/>
                  </a:lnTo>
                  <a:lnTo>
                    <a:pt x="185" y="220"/>
                  </a:lnTo>
                  <a:lnTo>
                    <a:pt x="187" y="221"/>
                  </a:lnTo>
                  <a:lnTo>
                    <a:pt x="188" y="221"/>
                  </a:lnTo>
                  <a:lnTo>
                    <a:pt x="192" y="220"/>
                  </a:lnTo>
                  <a:lnTo>
                    <a:pt x="197" y="218"/>
                  </a:lnTo>
                  <a:lnTo>
                    <a:pt x="200" y="216"/>
                  </a:lnTo>
                  <a:lnTo>
                    <a:pt x="203" y="211"/>
                  </a:lnTo>
                  <a:lnTo>
                    <a:pt x="203" y="210"/>
                  </a:lnTo>
                  <a:lnTo>
                    <a:pt x="206" y="210"/>
                  </a:lnTo>
                  <a:lnTo>
                    <a:pt x="208" y="211"/>
                  </a:lnTo>
                  <a:lnTo>
                    <a:pt x="210" y="211"/>
                  </a:lnTo>
                  <a:lnTo>
                    <a:pt x="211" y="210"/>
                  </a:lnTo>
                  <a:lnTo>
                    <a:pt x="215" y="210"/>
                  </a:lnTo>
                  <a:lnTo>
                    <a:pt x="216" y="210"/>
                  </a:lnTo>
                  <a:lnTo>
                    <a:pt x="216" y="211"/>
                  </a:lnTo>
                  <a:lnTo>
                    <a:pt x="219" y="213"/>
                  </a:lnTo>
                  <a:lnTo>
                    <a:pt x="221" y="213"/>
                  </a:lnTo>
                  <a:lnTo>
                    <a:pt x="221" y="215"/>
                  </a:lnTo>
                  <a:lnTo>
                    <a:pt x="224" y="215"/>
                  </a:lnTo>
                  <a:lnTo>
                    <a:pt x="224" y="213"/>
                  </a:lnTo>
                  <a:lnTo>
                    <a:pt x="226" y="213"/>
                  </a:lnTo>
                  <a:lnTo>
                    <a:pt x="226" y="211"/>
                  </a:lnTo>
                  <a:lnTo>
                    <a:pt x="228" y="211"/>
                  </a:lnTo>
                  <a:lnTo>
                    <a:pt x="228" y="210"/>
                  </a:lnTo>
                  <a:lnTo>
                    <a:pt x="229" y="210"/>
                  </a:lnTo>
                  <a:lnTo>
                    <a:pt x="231" y="210"/>
                  </a:lnTo>
                  <a:lnTo>
                    <a:pt x="231" y="208"/>
                  </a:lnTo>
                  <a:lnTo>
                    <a:pt x="231" y="207"/>
                  </a:lnTo>
                  <a:lnTo>
                    <a:pt x="231" y="205"/>
                  </a:lnTo>
                  <a:lnTo>
                    <a:pt x="232" y="203"/>
                  </a:lnTo>
                  <a:lnTo>
                    <a:pt x="232" y="202"/>
                  </a:lnTo>
                  <a:lnTo>
                    <a:pt x="234" y="202"/>
                  </a:lnTo>
                  <a:lnTo>
                    <a:pt x="236" y="203"/>
                  </a:lnTo>
                  <a:lnTo>
                    <a:pt x="237" y="203"/>
                  </a:lnTo>
                  <a:lnTo>
                    <a:pt x="239" y="203"/>
                  </a:lnTo>
                  <a:lnTo>
                    <a:pt x="241" y="203"/>
                  </a:lnTo>
                  <a:lnTo>
                    <a:pt x="244" y="203"/>
                  </a:lnTo>
                  <a:lnTo>
                    <a:pt x="244" y="202"/>
                  </a:lnTo>
                  <a:lnTo>
                    <a:pt x="244" y="200"/>
                  </a:lnTo>
                  <a:lnTo>
                    <a:pt x="245" y="200"/>
                  </a:lnTo>
                  <a:lnTo>
                    <a:pt x="244" y="198"/>
                  </a:lnTo>
                  <a:lnTo>
                    <a:pt x="244" y="195"/>
                  </a:lnTo>
                  <a:lnTo>
                    <a:pt x="245" y="195"/>
                  </a:lnTo>
                  <a:lnTo>
                    <a:pt x="247" y="194"/>
                  </a:lnTo>
                  <a:lnTo>
                    <a:pt x="249" y="192"/>
                  </a:lnTo>
                  <a:lnTo>
                    <a:pt x="249" y="190"/>
                  </a:lnTo>
                  <a:lnTo>
                    <a:pt x="250" y="187"/>
                  </a:lnTo>
                  <a:lnTo>
                    <a:pt x="252" y="187"/>
                  </a:lnTo>
                  <a:lnTo>
                    <a:pt x="252" y="185"/>
                  </a:lnTo>
                  <a:lnTo>
                    <a:pt x="254" y="185"/>
                  </a:lnTo>
                  <a:lnTo>
                    <a:pt x="254" y="184"/>
                  </a:lnTo>
                  <a:lnTo>
                    <a:pt x="254" y="182"/>
                  </a:lnTo>
                  <a:lnTo>
                    <a:pt x="254" y="181"/>
                  </a:lnTo>
                  <a:lnTo>
                    <a:pt x="254" y="177"/>
                  </a:lnTo>
                  <a:lnTo>
                    <a:pt x="255" y="176"/>
                  </a:lnTo>
                  <a:lnTo>
                    <a:pt x="257" y="174"/>
                  </a:lnTo>
                  <a:lnTo>
                    <a:pt x="260" y="171"/>
                  </a:lnTo>
                  <a:lnTo>
                    <a:pt x="262" y="171"/>
                  </a:lnTo>
                  <a:lnTo>
                    <a:pt x="265" y="169"/>
                  </a:lnTo>
                  <a:lnTo>
                    <a:pt x="267" y="168"/>
                  </a:lnTo>
                  <a:lnTo>
                    <a:pt x="268" y="166"/>
                  </a:lnTo>
                  <a:lnTo>
                    <a:pt x="270" y="166"/>
                  </a:lnTo>
                  <a:lnTo>
                    <a:pt x="271" y="168"/>
                  </a:lnTo>
                  <a:lnTo>
                    <a:pt x="271" y="169"/>
                  </a:lnTo>
                  <a:lnTo>
                    <a:pt x="273" y="168"/>
                  </a:lnTo>
                  <a:lnTo>
                    <a:pt x="275" y="169"/>
                  </a:lnTo>
                  <a:lnTo>
                    <a:pt x="276" y="169"/>
                  </a:lnTo>
                  <a:lnTo>
                    <a:pt x="278" y="169"/>
                  </a:lnTo>
                  <a:lnTo>
                    <a:pt x="278" y="168"/>
                  </a:lnTo>
                  <a:lnTo>
                    <a:pt x="280" y="164"/>
                  </a:lnTo>
                  <a:lnTo>
                    <a:pt x="281" y="164"/>
                  </a:lnTo>
                  <a:lnTo>
                    <a:pt x="281" y="163"/>
                  </a:lnTo>
                  <a:lnTo>
                    <a:pt x="283" y="163"/>
                  </a:lnTo>
                  <a:lnTo>
                    <a:pt x="284" y="163"/>
                  </a:lnTo>
                  <a:lnTo>
                    <a:pt x="284" y="161"/>
                  </a:lnTo>
                  <a:lnTo>
                    <a:pt x="286" y="163"/>
                  </a:lnTo>
                  <a:lnTo>
                    <a:pt x="289" y="161"/>
                  </a:lnTo>
                  <a:lnTo>
                    <a:pt x="291" y="163"/>
                  </a:lnTo>
                  <a:lnTo>
                    <a:pt x="293" y="163"/>
                  </a:lnTo>
                  <a:lnTo>
                    <a:pt x="294" y="163"/>
                  </a:lnTo>
                  <a:lnTo>
                    <a:pt x="296" y="163"/>
                  </a:lnTo>
                  <a:lnTo>
                    <a:pt x="296" y="164"/>
                  </a:lnTo>
                  <a:lnTo>
                    <a:pt x="297" y="164"/>
                  </a:lnTo>
                  <a:lnTo>
                    <a:pt x="297" y="166"/>
                  </a:lnTo>
                  <a:lnTo>
                    <a:pt x="297" y="164"/>
                  </a:lnTo>
                  <a:lnTo>
                    <a:pt x="299" y="164"/>
                  </a:lnTo>
                  <a:lnTo>
                    <a:pt x="301" y="164"/>
                  </a:lnTo>
                  <a:lnTo>
                    <a:pt x="301" y="163"/>
                  </a:lnTo>
                  <a:lnTo>
                    <a:pt x="304" y="164"/>
                  </a:lnTo>
                  <a:lnTo>
                    <a:pt x="304" y="163"/>
                  </a:lnTo>
                  <a:lnTo>
                    <a:pt x="306" y="164"/>
                  </a:lnTo>
                  <a:lnTo>
                    <a:pt x="307" y="164"/>
                  </a:lnTo>
                  <a:lnTo>
                    <a:pt x="312" y="164"/>
                  </a:lnTo>
                  <a:lnTo>
                    <a:pt x="314" y="163"/>
                  </a:lnTo>
                  <a:lnTo>
                    <a:pt x="315" y="163"/>
                  </a:lnTo>
                  <a:lnTo>
                    <a:pt x="322" y="161"/>
                  </a:lnTo>
                  <a:lnTo>
                    <a:pt x="323" y="163"/>
                  </a:lnTo>
                  <a:lnTo>
                    <a:pt x="325" y="163"/>
                  </a:lnTo>
                  <a:lnTo>
                    <a:pt x="327" y="161"/>
                  </a:lnTo>
                  <a:lnTo>
                    <a:pt x="327" y="159"/>
                  </a:lnTo>
                  <a:lnTo>
                    <a:pt x="328" y="159"/>
                  </a:lnTo>
                  <a:lnTo>
                    <a:pt x="330" y="156"/>
                  </a:lnTo>
                  <a:lnTo>
                    <a:pt x="330" y="155"/>
                  </a:lnTo>
                  <a:lnTo>
                    <a:pt x="330" y="151"/>
                  </a:lnTo>
                  <a:lnTo>
                    <a:pt x="332" y="151"/>
                  </a:lnTo>
                  <a:lnTo>
                    <a:pt x="335" y="155"/>
                  </a:lnTo>
                  <a:lnTo>
                    <a:pt x="336" y="155"/>
                  </a:lnTo>
                  <a:lnTo>
                    <a:pt x="338" y="156"/>
                  </a:lnTo>
                  <a:lnTo>
                    <a:pt x="340" y="155"/>
                  </a:lnTo>
                  <a:lnTo>
                    <a:pt x="341" y="153"/>
                  </a:lnTo>
                  <a:lnTo>
                    <a:pt x="340" y="138"/>
                  </a:lnTo>
                  <a:lnTo>
                    <a:pt x="340" y="137"/>
                  </a:lnTo>
                  <a:lnTo>
                    <a:pt x="340" y="135"/>
                  </a:lnTo>
                  <a:lnTo>
                    <a:pt x="340" y="133"/>
                  </a:lnTo>
                  <a:lnTo>
                    <a:pt x="340" y="130"/>
                  </a:lnTo>
                  <a:lnTo>
                    <a:pt x="343" y="129"/>
                  </a:lnTo>
                  <a:lnTo>
                    <a:pt x="345" y="127"/>
                  </a:lnTo>
                  <a:lnTo>
                    <a:pt x="348" y="127"/>
                  </a:lnTo>
                  <a:lnTo>
                    <a:pt x="349" y="127"/>
                  </a:lnTo>
                  <a:lnTo>
                    <a:pt x="349" y="125"/>
                  </a:lnTo>
                  <a:lnTo>
                    <a:pt x="351" y="125"/>
                  </a:lnTo>
                  <a:lnTo>
                    <a:pt x="353" y="125"/>
                  </a:lnTo>
                  <a:lnTo>
                    <a:pt x="354" y="125"/>
                  </a:lnTo>
                  <a:lnTo>
                    <a:pt x="356" y="125"/>
                  </a:lnTo>
                  <a:lnTo>
                    <a:pt x="358" y="125"/>
                  </a:lnTo>
                  <a:lnTo>
                    <a:pt x="361" y="125"/>
                  </a:lnTo>
                  <a:lnTo>
                    <a:pt x="363" y="124"/>
                  </a:lnTo>
                  <a:lnTo>
                    <a:pt x="364" y="125"/>
                  </a:lnTo>
                  <a:lnTo>
                    <a:pt x="367" y="124"/>
                  </a:lnTo>
                  <a:lnTo>
                    <a:pt x="372" y="125"/>
                  </a:lnTo>
                  <a:lnTo>
                    <a:pt x="376" y="125"/>
                  </a:lnTo>
                  <a:lnTo>
                    <a:pt x="377" y="124"/>
                  </a:lnTo>
                  <a:lnTo>
                    <a:pt x="380" y="124"/>
                  </a:lnTo>
                  <a:lnTo>
                    <a:pt x="382" y="122"/>
                  </a:lnTo>
                  <a:lnTo>
                    <a:pt x="384" y="122"/>
                  </a:lnTo>
                  <a:lnTo>
                    <a:pt x="385" y="122"/>
                  </a:lnTo>
                  <a:lnTo>
                    <a:pt x="389" y="120"/>
                  </a:lnTo>
                  <a:lnTo>
                    <a:pt x="389" y="119"/>
                  </a:lnTo>
                  <a:lnTo>
                    <a:pt x="389" y="117"/>
                  </a:lnTo>
                  <a:lnTo>
                    <a:pt x="389" y="116"/>
                  </a:lnTo>
                  <a:lnTo>
                    <a:pt x="389" y="114"/>
                  </a:lnTo>
                  <a:lnTo>
                    <a:pt x="390" y="112"/>
                  </a:lnTo>
                  <a:lnTo>
                    <a:pt x="392" y="111"/>
                  </a:lnTo>
                  <a:lnTo>
                    <a:pt x="393" y="109"/>
                  </a:lnTo>
                  <a:lnTo>
                    <a:pt x="395" y="109"/>
                  </a:lnTo>
                  <a:lnTo>
                    <a:pt x="397" y="109"/>
                  </a:lnTo>
                  <a:lnTo>
                    <a:pt x="398" y="111"/>
                  </a:lnTo>
                  <a:lnTo>
                    <a:pt x="400" y="114"/>
                  </a:lnTo>
                  <a:lnTo>
                    <a:pt x="402" y="114"/>
                  </a:lnTo>
                  <a:lnTo>
                    <a:pt x="402" y="112"/>
                  </a:lnTo>
                  <a:lnTo>
                    <a:pt x="402" y="111"/>
                  </a:lnTo>
                  <a:lnTo>
                    <a:pt x="403" y="111"/>
                  </a:lnTo>
                  <a:lnTo>
                    <a:pt x="405" y="109"/>
                  </a:lnTo>
                  <a:lnTo>
                    <a:pt x="406" y="107"/>
                  </a:lnTo>
                  <a:lnTo>
                    <a:pt x="408" y="107"/>
                  </a:lnTo>
                  <a:lnTo>
                    <a:pt x="408" y="106"/>
                  </a:lnTo>
                  <a:lnTo>
                    <a:pt x="410" y="106"/>
                  </a:lnTo>
                  <a:lnTo>
                    <a:pt x="413" y="106"/>
                  </a:lnTo>
                  <a:lnTo>
                    <a:pt x="415" y="106"/>
                  </a:lnTo>
                  <a:lnTo>
                    <a:pt x="416" y="106"/>
                  </a:lnTo>
                  <a:lnTo>
                    <a:pt x="419" y="104"/>
                  </a:lnTo>
                  <a:lnTo>
                    <a:pt x="419" y="106"/>
                  </a:lnTo>
                  <a:lnTo>
                    <a:pt x="421" y="106"/>
                  </a:lnTo>
                  <a:lnTo>
                    <a:pt x="424" y="106"/>
                  </a:lnTo>
                  <a:lnTo>
                    <a:pt x="426" y="106"/>
                  </a:lnTo>
                  <a:lnTo>
                    <a:pt x="428" y="106"/>
                  </a:lnTo>
                  <a:lnTo>
                    <a:pt x="429" y="106"/>
                  </a:lnTo>
                  <a:lnTo>
                    <a:pt x="431" y="106"/>
                  </a:lnTo>
                  <a:lnTo>
                    <a:pt x="432" y="106"/>
                  </a:lnTo>
                  <a:lnTo>
                    <a:pt x="432" y="102"/>
                  </a:lnTo>
                  <a:lnTo>
                    <a:pt x="434" y="102"/>
                  </a:lnTo>
                  <a:lnTo>
                    <a:pt x="434" y="101"/>
                  </a:lnTo>
                  <a:lnTo>
                    <a:pt x="436" y="101"/>
                  </a:lnTo>
                  <a:lnTo>
                    <a:pt x="437" y="101"/>
                  </a:lnTo>
                  <a:lnTo>
                    <a:pt x="439" y="101"/>
                  </a:lnTo>
                  <a:lnTo>
                    <a:pt x="441" y="99"/>
                  </a:lnTo>
                  <a:lnTo>
                    <a:pt x="442" y="101"/>
                  </a:lnTo>
                  <a:lnTo>
                    <a:pt x="444" y="99"/>
                  </a:lnTo>
                  <a:lnTo>
                    <a:pt x="444" y="101"/>
                  </a:lnTo>
                  <a:lnTo>
                    <a:pt x="445" y="99"/>
                  </a:lnTo>
                  <a:lnTo>
                    <a:pt x="447" y="94"/>
                  </a:lnTo>
                  <a:lnTo>
                    <a:pt x="452" y="93"/>
                  </a:lnTo>
                  <a:lnTo>
                    <a:pt x="454" y="91"/>
                  </a:lnTo>
                  <a:lnTo>
                    <a:pt x="455" y="91"/>
                  </a:lnTo>
                  <a:lnTo>
                    <a:pt x="455" y="89"/>
                  </a:lnTo>
                  <a:lnTo>
                    <a:pt x="457" y="89"/>
                  </a:lnTo>
                  <a:lnTo>
                    <a:pt x="458" y="89"/>
                  </a:lnTo>
                  <a:lnTo>
                    <a:pt x="458" y="88"/>
                  </a:lnTo>
                  <a:lnTo>
                    <a:pt x="457" y="86"/>
                  </a:lnTo>
                  <a:lnTo>
                    <a:pt x="458" y="86"/>
                  </a:lnTo>
                  <a:lnTo>
                    <a:pt x="460" y="86"/>
                  </a:lnTo>
                  <a:lnTo>
                    <a:pt x="460" y="88"/>
                  </a:lnTo>
                  <a:lnTo>
                    <a:pt x="462" y="89"/>
                  </a:lnTo>
                  <a:lnTo>
                    <a:pt x="463" y="89"/>
                  </a:lnTo>
                  <a:lnTo>
                    <a:pt x="465" y="91"/>
                  </a:lnTo>
                  <a:lnTo>
                    <a:pt x="467" y="91"/>
                  </a:lnTo>
                  <a:lnTo>
                    <a:pt x="467" y="89"/>
                  </a:lnTo>
                  <a:lnTo>
                    <a:pt x="468" y="88"/>
                  </a:lnTo>
                  <a:lnTo>
                    <a:pt x="470" y="86"/>
                  </a:lnTo>
                  <a:lnTo>
                    <a:pt x="470" y="88"/>
                  </a:lnTo>
                  <a:lnTo>
                    <a:pt x="471" y="86"/>
                  </a:lnTo>
                  <a:lnTo>
                    <a:pt x="471" y="88"/>
                  </a:lnTo>
                  <a:lnTo>
                    <a:pt x="473" y="88"/>
                  </a:lnTo>
                  <a:lnTo>
                    <a:pt x="473" y="86"/>
                  </a:lnTo>
                  <a:lnTo>
                    <a:pt x="475" y="85"/>
                  </a:lnTo>
                  <a:lnTo>
                    <a:pt x="475" y="83"/>
                  </a:lnTo>
                  <a:lnTo>
                    <a:pt x="473" y="81"/>
                  </a:lnTo>
                  <a:lnTo>
                    <a:pt x="473" y="80"/>
                  </a:lnTo>
                  <a:lnTo>
                    <a:pt x="473" y="78"/>
                  </a:lnTo>
                  <a:lnTo>
                    <a:pt x="473" y="76"/>
                  </a:lnTo>
                  <a:lnTo>
                    <a:pt x="473" y="75"/>
                  </a:lnTo>
                  <a:lnTo>
                    <a:pt x="475" y="75"/>
                  </a:lnTo>
                  <a:lnTo>
                    <a:pt x="475" y="73"/>
                  </a:lnTo>
                  <a:lnTo>
                    <a:pt x="476" y="73"/>
                  </a:lnTo>
                  <a:lnTo>
                    <a:pt x="476" y="72"/>
                  </a:lnTo>
                  <a:lnTo>
                    <a:pt x="476" y="73"/>
                  </a:lnTo>
                  <a:lnTo>
                    <a:pt x="478" y="73"/>
                  </a:lnTo>
                  <a:lnTo>
                    <a:pt x="480" y="73"/>
                  </a:lnTo>
                  <a:lnTo>
                    <a:pt x="481" y="73"/>
                  </a:lnTo>
                  <a:lnTo>
                    <a:pt x="483" y="73"/>
                  </a:lnTo>
                  <a:lnTo>
                    <a:pt x="483" y="75"/>
                  </a:lnTo>
                  <a:lnTo>
                    <a:pt x="484" y="75"/>
                  </a:lnTo>
                  <a:lnTo>
                    <a:pt x="484" y="76"/>
                  </a:lnTo>
                  <a:lnTo>
                    <a:pt x="486" y="75"/>
                  </a:lnTo>
                  <a:lnTo>
                    <a:pt x="486" y="73"/>
                  </a:lnTo>
                  <a:lnTo>
                    <a:pt x="486" y="72"/>
                  </a:lnTo>
                  <a:lnTo>
                    <a:pt x="488" y="72"/>
                  </a:lnTo>
                  <a:lnTo>
                    <a:pt x="488" y="70"/>
                  </a:lnTo>
                  <a:lnTo>
                    <a:pt x="489" y="70"/>
                  </a:lnTo>
                  <a:lnTo>
                    <a:pt x="491" y="68"/>
                  </a:lnTo>
                  <a:lnTo>
                    <a:pt x="491" y="67"/>
                  </a:lnTo>
                  <a:lnTo>
                    <a:pt x="493" y="67"/>
                  </a:lnTo>
                  <a:lnTo>
                    <a:pt x="494" y="67"/>
                  </a:lnTo>
                  <a:lnTo>
                    <a:pt x="494" y="68"/>
                  </a:lnTo>
                  <a:lnTo>
                    <a:pt x="496" y="68"/>
                  </a:lnTo>
                  <a:lnTo>
                    <a:pt x="497" y="70"/>
                  </a:lnTo>
                  <a:lnTo>
                    <a:pt x="497" y="72"/>
                  </a:lnTo>
                  <a:lnTo>
                    <a:pt x="499" y="73"/>
                  </a:lnTo>
                  <a:lnTo>
                    <a:pt x="501" y="72"/>
                  </a:lnTo>
                  <a:lnTo>
                    <a:pt x="502" y="72"/>
                  </a:lnTo>
                  <a:lnTo>
                    <a:pt x="504" y="72"/>
                  </a:lnTo>
                  <a:lnTo>
                    <a:pt x="506" y="70"/>
                  </a:lnTo>
                  <a:lnTo>
                    <a:pt x="507" y="68"/>
                  </a:lnTo>
                  <a:lnTo>
                    <a:pt x="509" y="68"/>
                  </a:lnTo>
                  <a:lnTo>
                    <a:pt x="511" y="68"/>
                  </a:lnTo>
                  <a:lnTo>
                    <a:pt x="512" y="68"/>
                  </a:lnTo>
                  <a:lnTo>
                    <a:pt x="514" y="68"/>
                  </a:lnTo>
                  <a:lnTo>
                    <a:pt x="515" y="68"/>
                  </a:lnTo>
                  <a:lnTo>
                    <a:pt x="515" y="67"/>
                  </a:lnTo>
                  <a:lnTo>
                    <a:pt x="515" y="65"/>
                  </a:lnTo>
                  <a:lnTo>
                    <a:pt x="517" y="63"/>
                  </a:lnTo>
                  <a:lnTo>
                    <a:pt x="519" y="63"/>
                  </a:lnTo>
                  <a:lnTo>
                    <a:pt x="520" y="62"/>
                  </a:lnTo>
                  <a:lnTo>
                    <a:pt x="522" y="62"/>
                  </a:lnTo>
                  <a:lnTo>
                    <a:pt x="524" y="62"/>
                  </a:lnTo>
                  <a:lnTo>
                    <a:pt x="524" y="63"/>
                  </a:lnTo>
                  <a:lnTo>
                    <a:pt x="524" y="65"/>
                  </a:lnTo>
                  <a:lnTo>
                    <a:pt x="525" y="67"/>
                  </a:lnTo>
                  <a:lnTo>
                    <a:pt x="527" y="70"/>
                  </a:lnTo>
                  <a:lnTo>
                    <a:pt x="528" y="72"/>
                  </a:lnTo>
                  <a:lnTo>
                    <a:pt x="528" y="73"/>
                  </a:lnTo>
                  <a:lnTo>
                    <a:pt x="530" y="73"/>
                  </a:lnTo>
                  <a:lnTo>
                    <a:pt x="532" y="75"/>
                  </a:lnTo>
                  <a:lnTo>
                    <a:pt x="532" y="76"/>
                  </a:lnTo>
                  <a:lnTo>
                    <a:pt x="532" y="78"/>
                  </a:lnTo>
                  <a:lnTo>
                    <a:pt x="533" y="80"/>
                  </a:lnTo>
                  <a:lnTo>
                    <a:pt x="537" y="78"/>
                  </a:lnTo>
                  <a:lnTo>
                    <a:pt x="538" y="76"/>
                  </a:lnTo>
                  <a:lnTo>
                    <a:pt x="538" y="78"/>
                  </a:lnTo>
                  <a:lnTo>
                    <a:pt x="538" y="80"/>
                  </a:lnTo>
                  <a:lnTo>
                    <a:pt x="540" y="78"/>
                  </a:lnTo>
                  <a:lnTo>
                    <a:pt x="541" y="78"/>
                  </a:lnTo>
                  <a:lnTo>
                    <a:pt x="543" y="78"/>
                  </a:lnTo>
                  <a:lnTo>
                    <a:pt x="545" y="78"/>
                  </a:lnTo>
                  <a:lnTo>
                    <a:pt x="546" y="78"/>
                  </a:lnTo>
                  <a:lnTo>
                    <a:pt x="546" y="80"/>
                  </a:lnTo>
                  <a:lnTo>
                    <a:pt x="548" y="80"/>
                  </a:lnTo>
                  <a:lnTo>
                    <a:pt x="550" y="83"/>
                  </a:lnTo>
                  <a:lnTo>
                    <a:pt x="551" y="85"/>
                  </a:lnTo>
                  <a:lnTo>
                    <a:pt x="553" y="85"/>
                  </a:lnTo>
                  <a:lnTo>
                    <a:pt x="554" y="85"/>
                  </a:lnTo>
                  <a:lnTo>
                    <a:pt x="556" y="86"/>
                  </a:lnTo>
                  <a:lnTo>
                    <a:pt x="556" y="85"/>
                  </a:lnTo>
                  <a:lnTo>
                    <a:pt x="556" y="83"/>
                  </a:lnTo>
                  <a:lnTo>
                    <a:pt x="556" y="81"/>
                  </a:lnTo>
                  <a:lnTo>
                    <a:pt x="556" y="78"/>
                  </a:lnTo>
                  <a:lnTo>
                    <a:pt x="559" y="78"/>
                  </a:lnTo>
                  <a:lnTo>
                    <a:pt x="561" y="78"/>
                  </a:lnTo>
                  <a:lnTo>
                    <a:pt x="563" y="78"/>
                  </a:lnTo>
                  <a:lnTo>
                    <a:pt x="564" y="76"/>
                  </a:lnTo>
                  <a:lnTo>
                    <a:pt x="566" y="76"/>
                  </a:lnTo>
                  <a:lnTo>
                    <a:pt x="569" y="76"/>
                  </a:lnTo>
                  <a:lnTo>
                    <a:pt x="569" y="78"/>
                  </a:lnTo>
                  <a:lnTo>
                    <a:pt x="572" y="78"/>
                  </a:lnTo>
                  <a:lnTo>
                    <a:pt x="574" y="78"/>
                  </a:lnTo>
                  <a:lnTo>
                    <a:pt x="576" y="78"/>
                  </a:lnTo>
                  <a:lnTo>
                    <a:pt x="577" y="78"/>
                  </a:lnTo>
                  <a:lnTo>
                    <a:pt x="579" y="78"/>
                  </a:lnTo>
                  <a:lnTo>
                    <a:pt x="582" y="78"/>
                  </a:lnTo>
                  <a:lnTo>
                    <a:pt x="582" y="80"/>
                  </a:lnTo>
                  <a:lnTo>
                    <a:pt x="584" y="81"/>
                  </a:lnTo>
                  <a:lnTo>
                    <a:pt x="585" y="81"/>
                  </a:lnTo>
                  <a:lnTo>
                    <a:pt x="587" y="81"/>
                  </a:lnTo>
                  <a:lnTo>
                    <a:pt x="589" y="80"/>
                  </a:lnTo>
                  <a:lnTo>
                    <a:pt x="590" y="80"/>
                  </a:lnTo>
                  <a:lnTo>
                    <a:pt x="590" y="81"/>
                  </a:lnTo>
                  <a:lnTo>
                    <a:pt x="590" y="83"/>
                  </a:lnTo>
                  <a:lnTo>
                    <a:pt x="592" y="83"/>
                  </a:lnTo>
                  <a:lnTo>
                    <a:pt x="593" y="83"/>
                  </a:lnTo>
                  <a:lnTo>
                    <a:pt x="595" y="83"/>
                  </a:lnTo>
                  <a:lnTo>
                    <a:pt x="597" y="83"/>
                  </a:lnTo>
                  <a:lnTo>
                    <a:pt x="597" y="85"/>
                  </a:lnTo>
                  <a:lnTo>
                    <a:pt x="598" y="85"/>
                  </a:lnTo>
                  <a:lnTo>
                    <a:pt x="600" y="86"/>
                  </a:lnTo>
                  <a:lnTo>
                    <a:pt x="602" y="86"/>
                  </a:lnTo>
                  <a:lnTo>
                    <a:pt x="602" y="88"/>
                  </a:lnTo>
                  <a:lnTo>
                    <a:pt x="603" y="89"/>
                  </a:lnTo>
                  <a:lnTo>
                    <a:pt x="605" y="91"/>
                  </a:lnTo>
                  <a:lnTo>
                    <a:pt x="606" y="91"/>
                  </a:lnTo>
                  <a:lnTo>
                    <a:pt x="608" y="91"/>
                  </a:lnTo>
                  <a:lnTo>
                    <a:pt x="610" y="91"/>
                  </a:lnTo>
                  <a:lnTo>
                    <a:pt x="611" y="89"/>
                  </a:lnTo>
                  <a:lnTo>
                    <a:pt x="613" y="89"/>
                  </a:lnTo>
                  <a:lnTo>
                    <a:pt x="615" y="89"/>
                  </a:lnTo>
                  <a:lnTo>
                    <a:pt x="616" y="88"/>
                  </a:lnTo>
                  <a:lnTo>
                    <a:pt x="618" y="86"/>
                  </a:lnTo>
                  <a:lnTo>
                    <a:pt x="619" y="86"/>
                  </a:lnTo>
                  <a:lnTo>
                    <a:pt x="621" y="86"/>
                  </a:lnTo>
                  <a:lnTo>
                    <a:pt x="623" y="85"/>
                  </a:lnTo>
                  <a:lnTo>
                    <a:pt x="624" y="85"/>
                  </a:lnTo>
                  <a:lnTo>
                    <a:pt x="624" y="83"/>
                  </a:lnTo>
                  <a:lnTo>
                    <a:pt x="626" y="81"/>
                  </a:lnTo>
                  <a:lnTo>
                    <a:pt x="628" y="81"/>
                  </a:lnTo>
                  <a:lnTo>
                    <a:pt x="629" y="80"/>
                  </a:lnTo>
                  <a:lnTo>
                    <a:pt x="631" y="80"/>
                  </a:lnTo>
                  <a:lnTo>
                    <a:pt x="632" y="80"/>
                  </a:lnTo>
                  <a:lnTo>
                    <a:pt x="634" y="80"/>
                  </a:lnTo>
                  <a:lnTo>
                    <a:pt x="634" y="81"/>
                  </a:lnTo>
                  <a:lnTo>
                    <a:pt x="634" y="80"/>
                  </a:lnTo>
                  <a:lnTo>
                    <a:pt x="634" y="78"/>
                  </a:lnTo>
                  <a:lnTo>
                    <a:pt x="636" y="76"/>
                  </a:lnTo>
                  <a:lnTo>
                    <a:pt x="636" y="75"/>
                  </a:lnTo>
                  <a:lnTo>
                    <a:pt x="637" y="75"/>
                  </a:lnTo>
                  <a:lnTo>
                    <a:pt x="637" y="73"/>
                  </a:lnTo>
                  <a:lnTo>
                    <a:pt x="641" y="75"/>
                  </a:lnTo>
                  <a:lnTo>
                    <a:pt x="642" y="75"/>
                  </a:lnTo>
                  <a:lnTo>
                    <a:pt x="644" y="75"/>
                  </a:lnTo>
                  <a:lnTo>
                    <a:pt x="645" y="73"/>
                  </a:lnTo>
                  <a:lnTo>
                    <a:pt x="647" y="73"/>
                  </a:lnTo>
                  <a:lnTo>
                    <a:pt x="649" y="73"/>
                  </a:lnTo>
                  <a:lnTo>
                    <a:pt x="650" y="73"/>
                  </a:lnTo>
                  <a:lnTo>
                    <a:pt x="652" y="75"/>
                  </a:lnTo>
                  <a:lnTo>
                    <a:pt x="654" y="75"/>
                  </a:lnTo>
                  <a:lnTo>
                    <a:pt x="654" y="72"/>
                  </a:lnTo>
                  <a:lnTo>
                    <a:pt x="654" y="70"/>
                  </a:lnTo>
                  <a:lnTo>
                    <a:pt x="657" y="70"/>
                  </a:lnTo>
                  <a:lnTo>
                    <a:pt x="657" y="68"/>
                  </a:lnTo>
                  <a:lnTo>
                    <a:pt x="659" y="68"/>
                  </a:lnTo>
                  <a:lnTo>
                    <a:pt x="659" y="70"/>
                  </a:lnTo>
                  <a:lnTo>
                    <a:pt x="660" y="70"/>
                  </a:lnTo>
                  <a:lnTo>
                    <a:pt x="660" y="68"/>
                  </a:lnTo>
                  <a:lnTo>
                    <a:pt x="660" y="67"/>
                  </a:lnTo>
                  <a:lnTo>
                    <a:pt x="663" y="65"/>
                  </a:lnTo>
                  <a:lnTo>
                    <a:pt x="663" y="63"/>
                  </a:lnTo>
                  <a:lnTo>
                    <a:pt x="665" y="65"/>
                  </a:lnTo>
                  <a:lnTo>
                    <a:pt x="667" y="65"/>
                  </a:lnTo>
                  <a:lnTo>
                    <a:pt x="668" y="67"/>
                  </a:lnTo>
                  <a:lnTo>
                    <a:pt x="668" y="65"/>
                  </a:lnTo>
                  <a:lnTo>
                    <a:pt x="670" y="67"/>
                  </a:lnTo>
                  <a:lnTo>
                    <a:pt x="670" y="68"/>
                  </a:lnTo>
                  <a:lnTo>
                    <a:pt x="672" y="68"/>
                  </a:lnTo>
                  <a:lnTo>
                    <a:pt x="673" y="68"/>
                  </a:lnTo>
                  <a:lnTo>
                    <a:pt x="675" y="67"/>
                  </a:lnTo>
                  <a:lnTo>
                    <a:pt x="676" y="65"/>
                  </a:lnTo>
                  <a:lnTo>
                    <a:pt x="681" y="65"/>
                  </a:lnTo>
                  <a:lnTo>
                    <a:pt x="681" y="63"/>
                  </a:lnTo>
                  <a:lnTo>
                    <a:pt x="683" y="62"/>
                  </a:lnTo>
                  <a:lnTo>
                    <a:pt x="683" y="60"/>
                  </a:lnTo>
                  <a:lnTo>
                    <a:pt x="685" y="60"/>
                  </a:lnTo>
                  <a:lnTo>
                    <a:pt x="686" y="59"/>
                  </a:lnTo>
                  <a:lnTo>
                    <a:pt x="688" y="59"/>
                  </a:lnTo>
                  <a:lnTo>
                    <a:pt x="689" y="59"/>
                  </a:lnTo>
                  <a:lnTo>
                    <a:pt x="691" y="59"/>
                  </a:lnTo>
                  <a:lnTo>
                    <a:pt x="693" y="57"/>
                  </a:lnTo>
                  <a:lnTo>
                    <a:pt x="694" y="57"/>
                  </a:lnTo>
                  <a:lnTo>
                    <a:pt x="694" y="55"/>
                  </a:lnTo>
                  <a:lnTo>
                    <a:pt x="696" y="55"/>
                  </a:lnTo>
                  <a:lnTo>
                    <a:pt x="696" y="54"/>
                  </a:lnTo>
                  <a:lnTo>
                    <a:pt x="694" y="54"/>
                  </a:lnTo>
                  <a:lnTo>
                    <a:pt x="696" y="54"/>
                  </a:lnTo>
                  <a:lnTo>
                    <a:pt x="698" y="52"/>
                  </a:lnTo>
                  <a:lnTo>
                    <a:pt x="698" y="50"/>
                  </a:lnTo>
                  <a:lnTo>
                    <a:pt x="698" y="49"/>
                  </a:lnTo>
                  <a:lnTo>
                    <a:pt x="698" y="47"/>
                  </a:lnTo>
                  <a:lnTo>
                    <a:pt x="698" y="46"/>
                  </a:lnTo>
                  <a:lnTo>
                    <a:pt x="698" y="44"/>
                  </a:lnTo>
                  <a:lnTo>
                    <a:pt x="699" y="44"/>
                  </a:lnTo>
                  <a:lnTo>
                    <a:pt x="701" y="44"/>
                  </a:lnTo>
                  <a:lnTo>
                    <a:pt x="701" y="42"/>
                  </a:lnTo>
                  <a:lnTo>
                    <a:pt x="699" y="42"/>
                  </a:lnTo>
                  <a:lnTo>
                    <a:pt x="698" y="39"/>
                  </a:lnTo>
                  <a:lnTo>
                    <a:pt x="696" y="39"/>
                  </a:lnTo>
                  <a:lnTo>
                    <a:pt x="694" y="37"/>
                  </a:lnTo>
                  <a:lnTo>
                    <a:pt x="696" y="36"/>
                  </a:lnTo>
                  <a:lnTo>
                    <a:pt x="696" y="34"/>
                  </a:lnTo>
                  <a:lnTo>
                    <a:pt x="696" y="33"/>
                  </a:lnTo>
                  <a:lnTo>
                    <a:pt x="696" y="31"/>
                  </a:lnTo>
                  <a:lnTo>
                    <a:pt x="696" y="29"/>
                  </a:lnTo>
                  <a:lnTo>
                    <a:pt x="696" y="28"/>
                  </a:lnTo>
                  <a:lnTo>
                    <a:pt x="694" y="28"/>
                  </a:lnTo>
                  <a:lnTo>
                    <a:pt x="693" y="28"/>
                  </a:lnTo>
                  <a:lnTo>
                    <a:pt x="691" y="21"/>
                  </a:lnTo>
                  <a:lnTo>
                    <a:pt x="691" y="20"/>
                  </a:lnTo>
                  <a:lnTo>
                    <a:pt x="689" y="20"/>
                  </a:lnTo>
                  <a:lnTo>
                    <a:pt x="688" y="18"/>
                  </a:lnTo>
                  <a:lnTo>
                    <a:pt x="689" y="18"/>
                  </a:lnTo>
                  <a:lnTo>
                    <a:pt x="688" y="18"/>
                  </a:lnTo>
                  <a:lnTo>
                    <a:pt x="686" y="18"/>
                  </a:lnTo>
                  <a:lnTo>
                    <a:pt x="685" y="18"/>
                  </a:lnTo>
                  <a:lnTo>
                    <a:pt x="685" y="20"/>
                  </a:lnTo>
                  <a:lnTo>
                    <a:pt x="685" y="18"/>
                  </a:lnTo>
                  <a:lnTo>
                    <a:pt x="683" y="16"/>
                  </a:lnTo>
                  <a:lnTo>
                    <a:pt x="681" y="16"/>
                  </a:lnTo>
                  <a:lnTo>
                    <a:pt x="680" y="15"/>
                  </a:lnTo>
                  <a:lnTo>
                    <a:pt x="680" y="13"/>
                  </a:lnTo>
                  <a:lnTo>
                    <a:pt x="680" y="11"/>
                  </a:lnTo>
                  <a:lnTo>
                    <a:pt x="680" y="10"/>
                  </a:lnTo>
                  <a:lnTo>
                    <a:pt x="678" y="8"/>
                  </a:lnTo>
                  <a:lnTo>
                    <a:pt x="680" y="7"/>
                  </a:lnTo>
                  <a:lnTo>
                    <a:pt x="683" y="7"/>
                  </a:lnTo>
                  <a:lnTo>
                    <a:pt x="683" y="5"/>
                  </a:lnTo>
                  <a:lnTo>
                    <a:pt x="685" y="3"/>
                  </a:lnTo>
                  <a:lnTo>
                    <a:pt x="686" y="2"/>
                  </a:lnTo>
                  <a:lnTo>
                    <a:pt x="688" y="2"/>
                  </a:lnTo>
                  <a:lnTo>
                    <a:pt x="689" y="0"/>
                  </a:lnTo>
                  <a:lnTo>
                    <a:pt x="689" y="2"/>
                  </a:lnTo>
                  <a:lnTo>
                    <a:pt x="693" y="2"/>
                  </a:lnTo>
                  <a:lnTo>
                    <a:pt x="694" y="2"/>
                  </a:lnTo>
                  <a:lnTo>
                    <a:pt x="696" y="0"/>
                  </a:lnTo>
                  <a:lnTo>
                    <a:pt x="698" y="2"/>
                  </a:lnTo>
                  <a:lnTo>
                    <a:pt x="701" y="2"/>
                  </a:lnTo>
                  <a:lnTo>
                    <a:pt x="704" y="3"/>
                  </a:lnTo>
                  <a:lnTo>
                    <a:pt x="704" y="2"/>
                  </a:lnTo>
                  <a:lnTo>
                    <a:pt x="706" y="2"/>
                  </a:lnTo>
                  <a:lnTo>
                    <a:pt x="707" y="2"/>
                  </a:lnTo>
                  <a:lnTo>
                    <a:pt x="711" y="2"/>
                  </a:lnTo>
                  <a:lnTo>
                    <a:pt x="712" y="2"/>
                  </a:lnTo>
                  <a:lnTo>
                    <a:pt x="712" y="3"/>
                  </a:lnTo>
                  <a:lnTo>
                    <a:pt x="715" y="3"/>
                  </a:lnTo>
                  <a:lnTo>
                    <a:pt x="717" y="3"/>
                  </a:lnTo>
                  <a:lnTo>
                    <a:pt x="719" y="3"/>
                  </a:lnTo>
                  <a:lnTo>
                    <a:pt x="719" y="2"/>
                  </a:lnTo>
                  <a:lnTo>
                    <a:pt x="720" y="3"/>
                  </a:lnTo>
                  <a:lnTo>
                    <a:pt x="722" y="3"/>
                  </a:lnTo>
                  <a:lnTo>
                    <a:pt x="724" y="5"/>
                  </a:lnTo>
                  <a:lnTo>
                    <a:pt x="724" y="3"/>
                  </a:lnTo>
                  <a:lnTo>
                    <a:pt x="725" y="3"/>
                  </a:lnTo>
                  <a:lnTo>
                    <a:pt x="725" y="5"/>
                  </a:lnTo>
                  <a:lnTo>
                    <a:pt x="730" y="10"/>
                  </a:lnTo>
                  <a:lnTo>
                    <a:pt x="735" y="10"/>
                  </a:lnTo>
                  <a:lnTo>
                    <a:pt x="738" y="10"/>
                  </a:lnTo>
                  <a:lnTo>
                    <a:pt x="738" y="11"/>
                  </a:lnTo>
                  <a:lnTo>
                    <a:pt x="738" y="13"/>
                  </a:lnTo>
                  <a:lnTo>
                    <a:pt x="738" y="15"/>
                  </a:lnTo>
                  <a:lnTo>
                    <a:pt x="738" y="16"/>
                  </a:lnTo>
                  <a:lnTo>
                    <a:pt x="738" y="18"/>
                  </a:lnTo>
                  <a:lnTo>
                    <a:pt x="740" y="18"/>
                  </a:lnTo>
                  <a:lnTo>
                    <a:pt x="740" y="20"/>
                  </a:lnTo>
                  <a:lnTo>
                    <a:pt x="740" y="21"/>
                  </a:lnTo>
                  <a:lnTo>
                    <a:pt x="740" y="23"/>
                  </a:lnTo>
                  <a:lnTo>
                    <a:pt x="741" y="23"/>
                  </a:lnTo>
                  <a:lnTo>
                    <a:pt x="741" y="24"/>
                  </a:lnTo>
                  <a:lnTo>
                    <a:pt x="741" y="26"/>
                  </a:lnTo>
                  <a:lnTo>
                    <a:pt x="741" y="28"/>
                  </a:lnTo>
                  <a:lnTo>
                    <a:pt x="741" y="29"/>
                  </a:lnTo>
                  <a:lnTo>
                    <a:pt x="743" y="29"/>
                  </a:lnTo>
                  <a:lnTo>
                    <a:pt x="743" y="31"/>
                  </a:lnTo>
                  <a:lnTo>
                    <a:pt x="745" y="33"/>
                  </a:lnTo>
                  <a:lnTo>
                    <a:pt x="745" y="34"/>
                  </a:lnTo>
                  <a:lnTo>
                    <a:pt x="745" y="36"/>
                  </a:lnTo>
                  <a:lnTo>
                    <a:pt x="746" y="36"/>
                  </a:lnTo>
                  <a:lnTo>
                    <a:pt x="748" y="37"/>
                  </a:lnTo>
                  <a:lnTo>
                    <a:pt x="748" y="41"/>
                  </a:lnTo>
                  <a:lnTo>
                    <a:pt x="748" y="42"/>
                  </a:lnTo>
                  <a:lnTo>
                    <a:pt x="748" y="44"/>
                  </a:lnTo>
                  <a:lnTo>
                    <a:pt x="748" y="46"/>
                  </a:lnTo>
                  <a:lnTo>
                    <a:pt x="748" y="47"/>
                  </a:lnTo>
                  <a:lnTo>
                    <a:pt x="746" y="47"/>
                  </a:lnTo>
                  <a:lnTo>
                    <a:pt x="746" y="49"/>
                  </a:lnTo>
                  <a:lnTo>
                    <a:pt x="745" y="50"/>
                  </a:lnTo>
                  <a:lnTo>
                    <a:pt x="743" y="50"/>
                  </a:lnTo>
                  <a:lnTo>
                    <a:pt x="741" y="49"/>
                  </a:lnTo>
                  <a:lnTo>
                    <a:pt x="740" y="49"/>
                  </a:lnTo>
                  <a:lnTo>
                    <a:pt x="738" y="49"/>
                  </a:lnTo>
                  <a:lnTo>
                    <a:pt x="737" y="49"/>
                  </a:lnTo>
                  <a:lnTo>
                    <a:pt x="737" y="50"/>
                  </a:lnTo>
                  <a:lnTo>
                    <a:pt x="737" y="52"/>
                  </a:lnTo>
                  <a:lnTo>
                    <a:pt x="735" y="52"/>
                  </a:lnTo>
                  <a:lnTo>
                    <a:pt x="735" y="54"/>
                  </a:lnTo>
                  <a:lnTo>
                    <a:pt x="735" y="55"/>
                  </a:lnTo>
                  <a:lnTo>
                    <a:pt x="733" y="55"/>
                  </a:lnTo>
                  <a:lnTo>
                    <a:pt x="733" y="57"/>
                  </a:lnTo>
                  <a:lnTo>
                    <a:pt x="733" y="59"/>
                  </a:lnTo>
                  <a:lnTo>
                    <a:pt x="732" y="59"/>
                  </a:lnTo>
                  <a:lnTo>
                    <a:pt x="732" y="60"/>
                  </a:lnTo>
                  <a:lnTo>
                    <a:pt x="730" y="60"/>
                  </a:lnTo>
                  <a:lnTo>
                    <a:pt x="728" y="63"/>
                  </a:lnTo>
                  <a:lnTo>
                    <a:pt x="727" y="63"/>
                  </a:lnTo>
                  <a:lnTo>
                    <a:pt x="727" y="65"/>
                  </a:lnTo>
                  <a:lnTo>
                    <a:pt x="725" y="65"/>
                  </a:lnTo>
                  <a:lnTo>
                    <a:pt x="724" y="65"/>
                  </a:lnTo>
                  <a:lnTo>
                    <a:pt x="722" y="65"/>
                  </a:lnTo>
                  <a:lnTo>
                    <a:pt x="720" y="65"/>
                  </a:lnTo>
                  <a:lnTo>
                    <a:pt x="719" y="65"/>
                  </a:lnTo>
                  <a:lnTo>
                    <a:pt x="719" y="67"/>
                  </a:lnTo>
                  <a:lnTo>
                    <a:pt x="719" y="68"/>
                  </a:lnTo>
                  <a:lnTo>
                    <a:pt x="720" y="70"/>
                  </a:lnTo>
                  <a:lnTo>
                    <a:pt x="720" y="72"/>
                  </a:lnTo>
                  <a:lnTo>
                    <a:pt x="720" y="73"/>
                  </a:lnTo>
                  <a:lnTo>
                    <a:pt x="720" y="75"/>
                  </a:lnTo>
                  <a:lnTo>
                    <a:pt x="720" y="76"/>
                  </a:lnTo>
                  <a:lnTo>
                    <a:pt x="719" y="76"/>
                  </a:lnTo>
                  <a:lnTo>
                    <a:pt x="720" y="78"/>
                  </a:lnTo>
                  <a:lnTo>
                    <a:pt x="720" y="80"/>
                  </a:lnTo>
                  <a:lnTo>
                    <a:pt x="722" y="80"/>
                  </a:lnTo>
                  <a:lnTo>
                    <a:pt x="724" y="81"/>
                  </a:lnTo>
                  <a:lnTo>
                    <a:pt x="722" y="83"/>
                  </a:lnTo>
                  <a:lnTo>
                    <a:pt x="722" y="85"/>
                  </a:lnTo>
                  <a:lnTo>
                    <a:pt x="720" y="86"/>
                  </a:lnTo>
                  <a:lnTo>
                    <a:pt x="722" y="86"/>
                  </a:lnTo>
                  <a:lnTo>
                    <a:pt x="724" y="86"/>
                  </a:lnTo>
                  <a:lnTo>
                    <a:pt x="725" y="86"/>
                  </a:lnTo>
                  <a:lnTo>
                    <a:pt x="725" y="88"/>
                  </a:lnTo>
                  <a:lnTo>
                    <a:pt x="724" y="88"/>
                  </a:lnTo>
                  <a:lnTo>
                    <a:pt x="724" y="89"/>
                  </a:lnTo>
                  <a:lnTo>
                    <a:pt x="722" y="89"/>
                  </a:lnTo>
                  <a:lnTo>
                    <a:pt x="724" y="91"/>
                  </a:lnTo>
                  <a:lnTo>
                    <a:pt x="725" y="94"/>
                  </a:lnTo>
                  <a:lnTo>
                    <a:pt x="725" y="96"/>
                  </a:lnTo>
                  <a:lnTo>
                    <a:pt x="727" y="96"/>
                  </a:lnTo>
                  <a:lnTo>
                    <a:pt x="728" y="96"/>
                  </a:lnTo>
                  <a:lnTo>
                    <a:pt x="730" y="98"/>
                  </a:lnTo>
                  <a:lnTo>
                    <a:pt x="730" y="99"/>
                  </a:lnTo>
                  <a:lnTo>
                    <a:pt x="730" y="101"/>
                  </a:lnTo>
                  <a:lnTo>
                    <a:pt x="728" y="101"/>
                  </a:lnTo>
                  <a:lnTo>
                    <a:pt x="728" y="102"/>
                  </a:lnTo>
                  <a:lnTo>
                    <a:pt x="727" y="102"/>
                  </a:lnTo>
                  <a:lnTo>
                    <a:pt x="727" y="104"/>
                  </a:lnTo>
                  <a:lnTo>
                    <a:pt x="728" y="106"/>
                  </a:lnTo>
                  <a:lnTo>
                    <a:pt x="730" y="106"/>
                  </a:lnTo>
                  <a:lnTo>
                    <a:pt x="732" y="107"/>
                  </a:lnTo>
                  <a:lnTo>
                    <a:pt x="732" y="109"/>
                  </a:lnTo>
                  <a:lnTo>
                    <a:pt x="728" y="109"/>
                  </a:lnTo>
                  <a:lnTo>
                    <a:pt x="727" y="111"/>
                  </a:lnTo>
                  <a:lnTo>
                    <a:pt x="727" y="112"/>
                  </a:lnTo>
                  <a:lnTo>
                    <a:pt x="725" y="112"/>
                  </a:lnTo>
                  <a:lnTo>
                    <a:pt x="724" y="112"/>
                  </a:lnTo>
                  <a:lnTo>
                    <a:pt x="725" y="112"/>
                  </a:lnTo>
                  <a:lnTo>
                    <a:pt x="725" y="114"/>
                  </a:lnTo>
                  <a:lnTo>
                    <a:pt x="727" y="116"/>
                  </a:lnTo>
                  <a:lnTo>
                    <a:pt x="727" y="117"/>
                  </a:lnTo>
                  <a:lnTo>
                    <a:pt x="725" y="117"/>
                  </a:lnTo>
                  <a:lnTo>
                    <a:pt x="724" y="117"/>
                  </a:lnTo>
                  <a:lnTo>
                    <a:pt x="722" y="116"/>
                  </a:lnTo>
                  <a:lnTo>
                    <a:pt x="722" y="117"/>
                  </a:lnTo>
                  <a:lnTo>
                    <a:pt x="722" y="119"/>
                  </a:lnTo>
                  <a:lnTo>
                    <a:pt x="722" y="120"/>
                  </a:lnTo>
                  <a:lnTo>
                    <a:pt x="720" y="119"/>
                  </a:lnTo>
                  <a:lnTo>
                    <a:pt x="719" y="120"/>
                  </a:lnTo>
                  <a:lnTo>
                    <a:pt x="719" y="119"/>
                  </a:lnTo>
                  <a:lnTo>
                    <a:pt x="720" y="119"/>
                  </a:lnTo>
                  <a:lnTo>
                    <a:pt x="719" y="119"/>
                  </a:lnTo>
                  <a:lnTo>
                    <a:pt x="719" y="120"/>
                  </a:lnTo>
                  <a:lnTo>
                    <a:pt x="719" y="122"/>
                  </a:lnTo>
                  <a:lnTo>
                    <a:pt x="717" y="124"/>
                  </a:lnTo>
                  <a:lnTo>
                    <a:pt x="719" y="124"/>
                  </a:lnTo>
                  <a:lnTo>
                    <a:pt x="719" y="125"/>
                  </a:lnTo>
                  <a:lnTo>
                    <a:pt x="717" y="125"/>
                  </a:lnTo>
                  <a:lnTo>
                    <a:pt x="719" y="125"/>
                  </a:lnTo>
                  <a:lnTo>
                    <a:pt x="720" y="125"/>
                  </a:lnTo>
                  <a:lnTo>
                    <a:pt x="719" y="127"/>
                  </a:lnTo>
                  <a:lnTo>
                    <a:pt x="719" y="129"/>
                  </a:lnTo>
                  <a:lnTo>
                    <a:pt x="719" y="130"/>
                  </a:lnTo>
                  <a:lnTo>
                    <a:pt x="719" y="129"/>
                  </a:lnTo>
                  <a:lnTo>
                    <a:pt x="717" y="129"/>
                  </a:lnTo>
                  <a:lnTo>
                    <a:pt x="717" y="130"/>
                  </a:lnTo>
                  <a:lnTo>
                    <a:pt x="715" y="130"/>
                  </a:lnTo>
                  <a:lnTo>
                    <a:pt x="715" y="132"/>
                  </a:lnTo>
                  <a:lnTo>
                    <a:pt x="714" y="132"/>
                  </a:lnTo>
                  <a:lnTo>
                    <a:pt x="714" y="133"/>
                  </a:lnTo>
                  <a:lnTo>
                    <a:pt x="712" y="135"/>
                  </a:lnTo>
                  <a:lnTo>
                    <a:pt x="712" y="137"/>
                  </a:lnTo>
                  <a:lnTo>
                    <a:pt x="712" y="138"/>
                  </a:lnTo>
                  <a:lnTo>
                    <a:pt x="712" y="140"/>
                  </a:lnTo>
                  <a:lnTo>
                    <a:pt x="712" y="142"/>
                  </a:lnTo>
                  <a:lnTo>
                    <a:pt x="712" y="143"/>
                  </a:lnTo>
                  <a:lnTo>
                    <a:pt x="711" y="143"/>
                  </a:lnTo>
                  <a:lnTo>
                    <a:pt x="709" y="143"/>
                  </a:lnTo>
                  <a:lnTo>
                    <a:pt x="709" y="145"/>
                  </a:lnTo>
                  <a:lnTo>
                    <a:pt x="707" y="145"/>
                  </a:lnTo>
                  <a:lnTo>
                    <a:pt x="706" y="145"/>
                  </a:lnTo>
                  <a:lnTo>
                    <a:pt x="704" y="146"/>
                  </a:lnTo>
                  <a:lnTo>
                    <a:pt x="702" y="145"/>
                  </a:lnTo>
                  <a:lnTo>
                    <a:pt x="704" y="142"/>
                  </a:lnTo>
                  <a:lnTo>
                    <a:pt x="704" y="143"/>
                  </a:lnTo>
                  <a:lnTo>
                    <a:pt x="702" y="143"/>
                  </a:lnTo>
                  <a:lnTo>
                    <a:pt x="702" y="142"/>
                  </a:lnTo>
                  <a:lnTo>
                    <a:pt x="702" y="140"/>
                  </a:lnTo>
                  <a:lnTo>
                    <a:pt x="704" y="140"/>
                  </a:lnTo>
                  <a:lnTo>
                    <a:pt x="706" y="140"/>
                  </a:lnTo>
                  <a:lnTo>
                    <a:pt x="706" y="138"/>
                  </a:lnTo>
                  <a:lnTo>
                    <a:pt x="704" y="138"/>
                  </a:lnTo>
                  <a:lnTo>
                    <a:pt x="704" y="140"/>
                  </a:lnTo>
                  <a:lnTo>
                    <a:pt x="702" y="140"/>
                  </a:lnTo>
                  <a:lnTo>
                    <a:pt x="701" y="138"/>
                  </a:lnTo>
                  <a:lnTo>
                    <a:pt x="701" y="137"/>
                  </a:lnTo>
                  <a:lnTo>
                    <a:pt x="699" y="137"/>
                  </a:lnTo>
                  <a:lnTo>
                    <a:pt x="699" y="138"/>
                  </a:lnTo>
                  <a:lnTo>
                    <a:pt x="698" y="138"/>
                  </a:lnTo>
                  <a:lnTo>
                    <a:pt x="699" y="137"/>
                  </a:lnTo>
                  <a:lnTo>
                    <a:pt x="698" y="137"/>
                  </a:lnTo>
                  <a:lnTo>
                    <a:pt x="699" y="137"/>
                  </a:lnTo>
                  <a:lnTo>
                    <a:pt x="698" y="135"/>
                  </a:lnTo>
                  <a:lnTo>
                    <a:pt x="699" y="135"/>
                  </a:lnTo>
                  <a:lnTo>
                    <a:pt x="699" y="133"/>
                  </a:lnTo>
                  <a:lnTo>
                    <a:pt x="698" y="135"/>
                  </a:lnTo>
                  <a:lnTo>
                    <a:pt x="698" y="133"/>
                  </a:lnTo>
                  <a:lnTo>
                    <a:pt x="698" y="135"/>
                  </a:lnTo>
                  <a:lnTo>
                    <a:pt x="696" y="135"/>
                  </a:lnTo>
                  <a:lnTo>
                    <a:pt x="694" y="133"/>
                  </a:lnTo>
                  <a:lnTo>
                    <a:pt x="691" y="132"/>
                  </a:lnTo>
                  <a:lnTo>
                    <a:pt x="689" y="132"/>
                  </a:lnTo>
                  <a:lnTo>
                    <a:pt x="688" y="132"/>
                  </a:lnTo>
                  <a:lnTo>
                    <a:pt x="686" y="132"/>
                  </a:lnTo>
                  <a:lnTo>
                    <a:pt x="686" y="133"/>
                  </a:lnTo>
                  <a:lnTo>
                    <a:pt x="685" y="133"/>
                  </a:lnTo>
                  <a:lnTo>
                    <a:pt x="683" y="133"/>
                  </a:lnTo>
                  <a:lnTo>
                    <a:pt x="680" y="133"/>
                  </a:lnTo>
                  <a:lnTo>
                    <a:pt x="678" y="135"/>
                  </a:lnTo>
                  <a:lnTo>
                    <a:pt x="678" y="133"/>
                  </a:lnTo>
                  <a:lnTo>
                    <a:pt x="676" y="133"/>
                  </a:lnTo>
                  <a:lnTo>
                    <a:pt x="675" y="135"/>
                  </a:lnTo>
                  <a:lnTo>
                    <a:pt x="673" y="135"/>
                  </a:lnTo>
                  <a:lnTo>
                    <a:pt x="672" y="135"/>
                  </a:lnTo>
                  <a:lnTo>
                    <a:pt x="670" y="135"/>
                  </a:lnTo>
                  <a:lnTo>
                    <a:pt x="670" y="137"/>
                  </a:lnTo>
                  <a:lnTo>
                    <a:pt x="668" y="137"/>
                  </a:lnTo>
                  <a:lnTo>
                    <a:pt x="667" y="137"/>
                  </a:lnTo>
                  <a:lnTo>
                    <a:pt x="663" y="137"/>
                  </a:lnTo>
                  <a:lnTo>
                    <a:pt x="662" y="137"/>
                  </a:lnTo>
                  <a:lnTo>
                    <a:pt x="660" y="137"/>
                  </a:lnTo>
                  <a:lnTo>
                    <a:pt x="659" y="137"/>
                  </a:lnTo>
                  <a:lnTo>
                    <a:pt x="657" y="137"/>
                  </a:lnTo>
                  <a:lnTo>
                    <a:pt x="655" y="137"/>
                  </a:lnTo>
                  <a:lnTo>
                    <a:pt x="654" y="137"/>
                  </a:lnTo>
                  <a:lnTo>
                    <a:pt x="652" y="137"/>
                  </a:lnTo>
                  <a:lnTo>
                    <a:pt x="650" y="137"/>
                  </a:lnTo>
                  <a:lnTo>
                    <a:pt x="650" y="138"/>
                  </a:lnTo>
                  <a:lnTo>
                    <a:pt x="649" y="138"/>
                  </a:lnTo>
                  <a:lnTo>
                    <a:pt x="647" y="138"/>
                  </a:lnTo>
                  <a:lnTo>
                    <a:pt x="645" y="138"/>
                  </a:lnTo>
                  <a:lnTo>
                    <a:pt x="644" y="138"/>
                  </a:lnTo>
                  <a:lnTo>
                    <a:pt x="642" y="138"/>
                  </a:lnTo>
                  <a:lnTo>
                    <a:pt x="642" y="137"/>
                  </a:lnTo>
                  <a:lnTo>
                    <a:pt x="644" y="137"/>
                  </a:lnTo>
                  <a:lnTo>
                    <a:pt x="642" y="137"/>
                  </a:lnTo>
                  <a:lnTo>
                    <a:pt x="639" y="137"/>
                  </a:lnTo>
                  <a:lnTo>
                    <a:pt x="637" y="137"/>
                  </a:lnTo>
                  <a:lnTo>
                    <a:pt x="637" y="135"/>
                  </a:lnTo>
                  <a:lnTo>
                    <a:pt x="631" y="135"/>
                  </a:lnTo>
                  <a:lnTo>
                    <a:pt x="629" y="135"/>
                  </a:lnTo>
                  <a:lnTo>
                    <a:pt x="628" y="135"/>
                  </a:lnTo>
                  <a:lnTo>
                    <a:pt x="628" y="133"/>
                  </a:lnTo>
                  <a:lnTo>
                    <a:pt x="626" y="133"/>
                  </a:lnTo>
                  <a:lnTo>
                    <a:pt x="626" y="132"/>
                  </a:lnTo>
                  <a:lnTo>
                    <a:pt x="624" y="132"/>
                  </a:lnTo>
                  <a:lnTo>
                    <a:pt x="623" y="132"/>
                  </a:lnTo>
                  <a:lnTo>
                    <a:pt x="621" y="132"/>
                  </a:lnTo>
                  <a:lnTo>
                    <a:pt x="619" y="132"/>
                  </a:lnTo>
                  <a:lnTo>
                    <a:pt x="618" y="133"/>
                  </a:lnTo>
                  <a:lnTo>
                    <a:pt x="616" y="135"/>
                  </a:lnTo>
                  <a:lnTo>
                    <a:pt x="616" y="137"/>
                  </a:lnTo>
                  <a:lnTo>
                    <a:pt x="615" y="137"/>
                  </a:lnTo>
                  <a:lnTo>
                    <a:pt x="615" y="135"/>
                  </a:lnTo>
                  <a:lnTo>
                    <a:pt x="613" y="135"/>
                  </a:lnTo>
                  <a:lnTo>
                    <a:pt x="611" y="135"/>
                  </a:lnTo>
                  <a:lnTo>
                    <a:pt x="610" y="135"/>
                  </a:lnTo>
                  <a:lnTo>
                    <a:pt x="606" y="135"/>
                  </a:lnTo>
                  <a:lnTo>
                    <a:pt x="605" y="135"/>
                  </a:lnTo>
                  <a:lnTo>
                    <a:pt x="603" y="135"/>
                  </a:lnTo>
                  <a:lnTo>
                    <a:pt x="602" y="135"/>
                  </a:lnTo>
                  <a:lnTo>
                    <a:pt x="600" y="135"/>
                  </a:lnTo>
                  <a:lnTo>
                    <a:pt x="600" y="133"/>
                  </a:lnTo>
                  <a:lnTo>
                    <a:pt x="600" y="132"/>
                  </a:lnTo>
                  <a:lnTo>
                    <a:pt x="602" y="132"/>
                  </a:lnTo>
                  <a:lnTo>
                    <a:pt x="602" y="130"/>
                  </a:lnTo>
                  <a:lnTo>
                    <a:pt x="603" y="130"/>
                  </a:lnTo>
                  <a:lnTo>
                    <a:pt x="602" y="130"/>
                  </a:lnTo>
                  <a:lnTo>
                    <a:pt x="603" y="129"/>
                  </a:lnTo>
                  <a:lnTo>
                    <a:pt x="603" y="127"/>
                  </a:lnTo>
                  <a:lnTo>
                    <a:pt x="602" y="127"/>
                  </a:lnTo>
                  <a:lnTo>
                    <a:pt x="602" y="129"/>
                  </a:lnTo>
                  <a:lnTo>
                    <a:pt x="602" y="130"/>
                  </a:lnTo>
                  <a:lnTo>
                    <a:pt x="600" y="129"/>
                  </a:lnTo>
                  <a:lnTo>
                    <a:pt x="598" y="129"/>
                  </a:lnTo>
                  <a:lnTo>
                    <a:pt x="600" y="127"/>
                  </a:lnTo>
                  <a:lnTo>
                    <a:pt x="602" y="129"/>
                  </a:lnTo>
                  <a:lnTo>
                    <a:pt x="602" y="127"/>
                  </a:lnTo>
                  <a:lnTo>
                    <a:pt x="602" y="129"/>
                  </a:lnTo>
                  <a:lnTo>
                    <a:pt x="602" y="127"/>
                  </a:lnTo>
                  <a:lnTo>
                    <a:pt x="600" y="127"/>
                  </a:lnTo>
                  <a:lnTo>
                    <a:pt x="602" y="127"/>
                  </a:lnTo>
                  <a:lnTo>
                    <a:pt x="603" y="127"/>
                  </a:lnTo>
                  <a:lnTo>
                    <a:pt x="605" y="127"/>
                  </a:lnTo>
                  <a:lnTo>
                    <a:pt x="603" y="125"/>
                  </a:lnTo>
                  <a:lnTo>
                    <a:pt x="603" y="124"/>
                  </a:lnTo>
                  <a:lnTo>
                    <a:pt x="602" y="124"/>
                  </a:lnTo>
                  <a:lnTo>
                    <a:pt x="602" y="122"/>
                  </a:lnTo>
                  <a:lnTo>
                    <a:pt x="600" y="122"/>
                  </a:lnTo>
                  <a:lnTo>
                    <a:pt x="598" y="122"/>
                  </a:lnTo>
                  <a:lnTo>
                    <a:pt x="597" y="122"/>
                  </a:lnTo>
                  <a:lnTo>
                    <a:pt x="597" y="120"/>
                  </a:lnTo>
                  <a:lnTo>
                    <a:pt x="598" y="120"/>
                  </a:lnTo>
                  <a:lnTo>
                    <a:pt x="598" y="119"/>
                  </a:lnTo>
                  <a:lnTo>
                    <a:pt x="598" y="117"/>
                  </a:lnTo>
                  <a:lnTo>
                    <a:pt x="597" y="117"/>
                  </a:lnTo>
                  <a:lnTo>
                    <a:pt x="595" y="117"/>
                  </a:lnTo>
                  <a:lnTo>
                    <a:pt x="595" y="116"/>
                  </a:lnTo>
                  <a:lnTo>
                    <a:pt x="595" y="117"/>
                  </a:lnTo>
                  <a:lnTo>
                    <a:pt x="593" y="117"/>
                  </a:lnTo>
                  <a:lnTo>
                    <a:pt x="593" y="119"/>
                  </a:lnTo>
                  <a:lnTo>
                    <a:pt x="593" y="120"/>
                  </a:lnTo>
                  <a:lnTo>
                    <a:pt x="592" y="122"/>
                  </a:lnTo>
                  <a:lnTo>
                    <a:pt x="592" y="124"/>
                  </a:lnTo>
                  <a:lnTo>
                    <a:pt x="593" y="124"/>
                  </a:lnTo>
                  <a:lnTo>
                    <a:pt x="593" y="125"/>
                  </a:lnTo>
                  <a:lnTo>
                    <a:pt x="595" y="127"/>
                  </a:lnTo>
                  <a:lnTo>
                    <a:pt x="597" y="127"/>
                  </a:lnTo>
                  <a:lnTo>
                    <a:pt x="598" y="127"/>
                  </a:lnTo>
                  <a:lnTo>
                    <a:pt x="600" y="127"/>
                  </a:lnTo>
                  <a:lnTo>
                    <a:pt x="598" y="129"/>
                  </a:lnTo>
                  <a:lnTo>
                    <a:pt x="597" y="129"/>
                  </a:lnTo>
                  <a:lnTo>
                    <a:pt x="593" y="129"/>
                  </a:lnTo>
                  <a:lnTo>
                    <a:pt x="592" y="130"/>
                  </a:lnTo>
                  <a:lnTo>
                    <a:pt x="590" y="132"/>
                  </a:lnTo>
                  <a:lnTo>
                    <a:pt x="590" y="133"/>
                  </a:lnTo>
                  <a:lnTo>
                    <a:pt x="589" y="133"/>
                  </a:lnTo>
                  <a:lnTo>
                    <a:pt x="589" y="135"/>
                  </a:lnTo>
                  <a:lnTo>
                    <a:pt x="587" y="137"/>
                  </a:lnTo>
                  <a:lnTo>
                    <a:pt x="587" y="138"/>
                  </a:lnTo>
                  <a:lnTo>
                    <a:pt x="587" y="140"/>
                  </a:lnTo>
                  <a:lnTo>
                    <a:pt x="585" y="140"/>
                  </a:lnTo>
                  <a:lnTo>
                    <a:pt x="587" y="140"/>
                  </a:lnTo>
                  <a:lnTo>
                    <a:pt x="587" y="142"/>
                  </a:lnTo>
                  <a:lnTo>
                    <a:pt x="585" y="142"/>
                  </a:lnTo>
                  <a:lnTo>
                    <a:pt x="584" y="142"/>
                  </a:lnTo>
                  <a:lnTo>
                    <a:pt x="582" y="142"/>
                  </a:lnTo>
                  <a:lnTo>
                    <a:pt x="580" y="142"/>
                  </a:lnTo>
                  <a:lnTo>
                    <a:pt x="579" y="143"/>
                  </a:lnTo>
                  <a:lnTo>
                    <a:pt x="576" y="146"/>
                  </a:lnTo>
                  <a:lnTo>
                    <a:pt x="574" y="148"/>
                  </a:lnTo>
                  <a:lnTo>
                    <a:pt x="572" y="151"/>
                  </a:lnTo>
                  <a:lnTo>
                    <a:pt x="571" y="153"/>
                  </a:lnTo>
                  <a:lnTo>
                    <a:pt x="569" y="156"/>
                  </a:lnTo>
                  <a:lnTo>
                    <a:pt x="567" y="155"/>
                  </a:lnTo>
                  <a:lnTo>
                    <a:pt x="567" y="156"/>
                  </a:lnTo>
                  <a:lnTo>
                    <a:pt x="569" y="156"/>
                  </a:lnTo>
                  <a:lnTo>
                    <a:pt x="569" y="158"/>
                  </a:lnTo>
                  <a:lnTo>
                    <a:pt x="566" y="156"/>
                  </a:lnTo>
                  <a:lnTo>
                    <a:pt x="564" y="156"/>
                  </a:lnTo>
                  <a:lnTo>
                    <a:pt x="563" y="156"/>
                  </a:lnTo>
                  <a:lnTo>
                    <a:pt x="561" y="158"/>
                  </a:lnTo>
                  <a:lnTo>
                    <a:pt x="559" y="158"/>
                  </a:lnTo>
                  <a:lnTo>
                    <a:pt x="558" y="158"/>
                  </a:lnTo>
                  <a:lnTo>
                    <a:pt x="556" y="158"/>
                  </a:lnTo>
                  <a:lnTo>
                    <a:pt x="558" y="158"/>
                  </a:lnTo>
                  <a:lnTo>
                    <a:pt x="558" y="156"/>
                  </a:lnTo>
                  <a:lnTo>
                    <a:pt x="559" y="156"/>
                  </a:lnTo>
                  <a:lnTo>
                    <a:pt x="558" y="156"/>
                  </a:lnTo>
                  <a:lnTo>
                    <a:pt x="556" y="156"/>
                  </a:lnTo>
                  <a:lnTo>
                    <a:pt x="554" y="156"/>
                  </a:lnTo>
                  <a:lnTo>
                    <a:pt x="553" y="156"/>
                  </a:lnTo>
                  <a:lnTo>
                    <a:pt x="551" y="156"/>
                  </a:lnTo>
                  <a:lnTo>
                    <a:pt x="551" y="158"/>
                  </a:lnTo>
                  <a:lnTo>
                    <a:pt x="550" y="158"/>
                  </a:lnTo>
                  <a:lnTo>
                    <a:pt x="550" y="159"/>
                  </a:lnTo>
                  <a:lnTo>
                    <a:pt x="550" y="158"/>
                  </a:lnTo>
                  <a:lnTo>
                    <a:pt x="548" y="156"/>
                  </a:lnTo>
                  <a:lnTo>
                    <a:pt x="546" y="155"/>
                  </a:lnTo>
                  <a:lnTo>
                    <a:pt x="543" y="153"/>
                  </a:lnTo>
                  <a:lnTo>
                    <a:pt x="541" y="150"/>
                  </a:lnTo>
                  <a:lnTo>
                    <a:pt x="540" y="148"/>
                  </a:lnTo>
                  <a:lnTo>
                    <a:pt x="540" y="146"/>
                  </a:lnTo>
                  <a:lnTo>
                    <a:pt x="538" y="146"/>
                  </a:lnTo>
                  <a:lnTo>
                    <a:pt x="535" y="148"/>
                  </a:lnTo>
                  <a:lnTo>
                    <a:pt x="533" y="148"/>
                  </a:lnTo>
                  <a:lnTo>
                    <a:pt x="532" y="148"/>
                  </a:lnTo>
                  <a:lnTo>
                    <a:pt x="532" y="150"/>
                  </a:lnTo>
                  <a:lnTo>
                    <a:pt x="532" y="148"/>
                  </a:lnTo>
                  <a:lnTo>
                    <a:pt x="530" y="150"/>
                  </a:lnTo>
                  <a:lnTo>
                    <a:pt x="530" y="151"/>
                  </a:lnTo>
                  <a:lnTo>
                    <a:pt x="528" y="150"/>
                  </a:lnTo>
                  <a:lnTo>
                    <a:pt x="528" y="151"/>
                  </a:lnTo>
                  <a:lnTo>
                    <a:pt x="528" y="150"/>
                  </a:lnTo>
                  <a:lnTo>
                    <a:pt x="527" y="151"/>
                  </a:lnTo>
                  <a:lnTo>
                    <a:pt x="525" y="153"/>
                  </a:lnTo>
                  <a:lnTo>
                    <a:pt x="524" y="153"/>
                  </a:lnTo>
                  <a:lnTo>
                    <a:pt x="522" y="155"/>
                  </a:lnTo>
                  <a:lnTo>
                    <a:pt x="524" y="155"/>
                  </a:lnTo>
                  <a:lnTo>
                    <a:pt x="522" y="155"/>
                  </a:lnTo>
                  <a:lnTo>
                    <a:pt x="522" y="156"/>
                  </a:lnTo>
                  <a:lnTo>
                    <a:pt x="522" y="158"/>
                  </a:lnTo>
                  <a:lnTo>
                    <a:pt x="520" y="158"/>
                  </a:lnTo>
                  <a:lnTo>
                    <a:pt x="520" y="159"/>
                  </a:lnTo>
                  <a:lnTo>
                    <a:pt x="519" y="159"/>
                  </a:lnTo>
                  <a:lnTo>
                    <a:pt x="519" y="158"/>
                  </a:lnTo>
                  <a:lnTo>
                    <a:pt x="519" y="159"/>
                  </a:lnTo>
                  <a:lnTo>
                    <a:pt x="517" y="159"/>
                  </a:lnTo>
                  <a:lnTo>
                    <a:pt x="517" y="161"/>
                  </a:lnTo>
                  <a:lnTo>
                    <a:pt x="517" y="163"/>
                  </a:lnTo>
                  <a:lnTo>
                    <a:pt x="517" y="161"/>
                  </a:lnTo>
                  <a:lnTo>
                    <a:pt x="515" y="163"/>
                  </a:lnTo>
                  <a:lnTo>
                    <a:pt x="515" y="164"/>
                  </a:lnTo>
                  <a:lnTo>
                    <a:pt x="517" y="164"/>
                  </a:lnTo>
                  <a:lnTo>
                    <a:pt x="519" y="164"/>
                  </a:lnTo>
                  <a:lnTo>
                    <a:pt x="519" y="166"/>
                  </a:lnTo>
                  <a:lnTo>
                    <a:pt x="519" y="168"/>
                  </a:lnTo>
                  <a:lnTo>
                    <a:pt x="517" y="168"/>
                  </a:lnTo>
                  <a:lnTo>
                    <a:pt x="517" y="166"/>
                  </a:lnTo>
                  <a:lnTo>
                    <a:pt x="517" y="168"/>
                  </a:lnTo>
                  <a:lnTo>
                    <a:pt x="515" y="166"/>
                  </a:lnTo>
                  <a:lnTo>
                    <a:pt x="515" y="168"/>
                  </a:lnTo>
                  <a:lnTo>
                    <a:pt x="515" y="169"/>
                  </a:lnTo>
                  <a:lnTo>
                    <a:pt x="515" y="171"/>
                  </a:lnTo>
                  <a:lnTo>
                    <a:pt x="517" y="171"/>
                  </a:lnTo>
                  <a:lnTo>
                    <a:pt x="519" y="171"/>
                  </a:lnTo>
                  <a:lnTo>
                    <a:pt x="519" y="169"/>
                  </a:lnTo>
                  <a:lnTo>
                    <a:pt x="520" y="169"/>
                  </a:lnTo>
                  <a:lnTo>
                    <a:pt x="519" y="169"/>
                  </a:lnTo>
                  <a:lnTo>
                    <a:pt x="519" y="171"/>
                  </a:lnTo>
                  <a:lnTo>
                    <a:pt x="517" y="171"/>
                  </a:lnTo>
                  <a:lnTo>
                    <a:pt x="519" y="171"/>
                  </a:lnTo>
                  <a:lnTo>
                    <a:pt x="517" y="171"/>
                  </a:lnTo>
                  <a:lnTo>
                    <a:pt x="515" y="172"/>
                  </a:lnTo>
                  <a:lnTo>
                    <a:pt x="514" y="172"/>
                  </a:lnTo>
                  <a:lnTo>
                    <a:pt x="514" y="174"/>
                  </a:lnTo>
                  <a:lnTo>
                    <a:pt x="512" y="174"/>
                  </a:lnTo>
                  <a:lnTo>
                    <a:pt x="512" y="176"/>
                  </a:lnTo>
                  <a:lnTo>
                    <a:pt x="511" y="176"/>
                  </a:lnTo>
                  <a:lnTo>
                    <a:pt x="509" y="177"/>
                  </a:lnTo>
                  <a:lnTo>
                    <a:pt x="509" y="179"/>
                  </a:lnTo>
                  <a:lnTo>
                    <a:pt x="507" y="179"/>
                  </a:lnTo>
                  <a:lnTo>
                    <a:pt x="506" y="181"/>
                  </a:lnTo>
                  <a:lnTo>
                    <a:pt x="504" y="182"/>
                  </a:lnTo>
                  <a:lnTo>
                    <a:pt x="502" y="184"/>
                  </a:lnTo>
                  <a:lnTo>
                    <a:pt x="501" y="185"/>
                  </a:lnTo>
                  <a:lnTo>
                    <a:pt x="501" y="187"/>
                  </a:lnTo>
                  <a:lnTo>
                    <a:pt x="499" y="187"/>
                  </a:lnTo>
                  <a:lnTo>
                    <a:pt x="497" y="187"/>
                  </a:lnTo>
                  <a:lnTo>
                    <a:pt x="496" y="189"/>
                  </a:lnTo>
                  <a:lnTo>
                    <a:pt x="494" y="190"/>
                  </a:lnTo>
                  <a:lnTo>
                    <a:pt x="493" y="190"/>
                  </a:lnTo>
                  <a:lnTo>
                    <a:pt x="491" y="190"/>
                  </a:lnTo>
                  <a:lnTo>
                    <a:pt x="489" y="190"/>
                  </a:lnTo>
                  <a:lnTo>
                    <a:pt x="488" y="190"/>
                  </a:lnTo>
                  <a:lnTo>
                    <a:pt x="486" y="190"/>
                  </a:lnTo>
                  <a:lnTo>
                    <a:pt x="484" y="190"/>
                  </a:lnTo>
                  <a:lnTo>
                    <a:pt x="483" y="189"/>
                  </a:lnTo>
                  <a:lnTo>
                    <a:pt x="481" y="189"/>
                  </a:lnTo>
                  <a:lnTo>
                    <a:pt x="480" y="189"/>
                  </a:lnTo>
                  <a:lnTo>
                    <a:pt x="478" y="189"/>
                  </a:lnTo>
                  <a:lnTo>
                    <a:pt x="476" y="189"/>
                  </a:lnTo>
                  <a:lnTo>
                    <a:pt x="475" y="189"/>
                  </a:lnTo>
                  <a:lnTo>
                    <a:pt x="475" y="187"/>
                  </a:lnTo>
                  <a:lnTo>
                    <a:pt x="473" y="187"/>
                  </a:lnTo>
                  <a:lnTo>
                    <a:pt x="471" y="187"/>
                  </a:lnTo>
                  <a:lnTo>
                    <a:pt x="471" y="185"/>
                  </a:lnTo>
                  <a:lnTo>
                    <a:pt x="470" y="185"/>
                  </a:lnTo>
                  <a:lnTo>
                    <a:pt x="468" y="185"/>
                  </a:lnTo>
                  <a:lnTo>
                    <a:pt x="470" y="185"/>
                  </a:lnTo>
                  <a:lnTo>
                    <a:pt x="468" y="185"/>
                  </a:lnTo>
                  <a:lnTo>
                    <a:pt x="467" y="185"/>
                  </a:lnTo>
                  <a:lnTo>
                    <a:pt x="465" y="185"/>
                  </a:lnTo>
                  <a:lnTo>
                    <a:pt x="465" y="187"/>
                  </a:lnTo>
                  <a:lnTo>
                    <a:pt x="463" y="187"/>
                  </a:lnTo>
                  <a:lnTo>
                    <a:pt x="462" y="189"/>
                  </a:lnTo>
                  <a:lnTo>
                    <a:pt x="460" y="189"/>
                  </a:lnTo>
                  <a:lnTo>
                    <a:pt x="460" y="190"/>
                  </a:lnTo>
                  <a:lnTo>
                    <a:pt x="458" y="190"/>
                  </a:lnTo>
                  <a:lnTo>
                    <a:pt x="457" y="192"/>
                  </a:lnTo>
                  <a:lnTo>
                    <a:pt x="457" y="194"/>
                  </a:lnTo>
                  <a:lnTo>
                    <a:pt x="455" y="195"/>
                  </a:lnTo>
                  <a:lnTo>
                    <a:pt x="454" y="198"/>
                  </a:lnTo>
                  <a:lnTo>
                    <a:pt x="454" y="200"/>
                  </a:lnTo>
                  <a:lnTo>
                    <a:pt x="454" y="202"/>
                  </a:lnTo>
                  <a:lnTo>
                    <a:pt x="454" y="203"/>
                  </a:lnTo>
                  <a:lnTo>
                    <a:pt x="454" y="205"/>
                  </a:lnTo>
                  <a:lnTo>
                    <a:pt x="455" y="205"/>
                  </a:lnTo>
                  <a:lnTo>
                    <a:pt x="457" y="205"/>
                  </a:lnTo>
                  <a:lnTo>
                    <a:pt x="458" y="205"/>
                  </a:lnTo>
                  <a:lnTo>
                    <a:pt x="460" y="205"/>
                  </a:lnTo>
                  <a:lnTo>
                    <a:pt x="460" y="207"/>
                  </a:lnTo>
                  <a:lnTo>
                    <a:pt x="462" y="208"/>
                  </a:lnTo>
                  <a:lnTo>
                    <a:pt x="463" y="208"/>
                  </a:lnTo>
                  <a:lnTo>
                    <a:pt x="463" y="210"/>
                  </a:lnTo>
                  <a:lnTo>
                    <a:pt x="465" y="210"/>
                  </a:lnTo>
                  <a:lnTo>
                    <a:pt x="465" y="211"/>
                  </a:lnTo>
                  <a:lnTo>
                    <a:pt x="465" y="213"/>
                  </a:lnTo>
                  <a:lnTo>
                    <a:pt x="467" y="213"/>
                  </a:lnTo>
                  <a:lnTo>
                    <a:pt x="467" y="215"/>
                  </a:lnTo>
                  <a:lnTo>
                    <a:pt x="468" y="215"/>
                  </a:lnTo>
                  <a:lnTo>
                    <a:pt x="470" y="215"/>
                  </a:lnTo>
                  <a:lnTo>
                    <a:pt x="470" y="216"/>
                  </a:lnTo>
                  <a:lnTo>
                    <a:pt x="471" y="218"/>
                  </a:lnTo>
                  <a:lnTo>
                    <a:pt x="473" y="218"/>
                  </a:lnTo>
                  <a:lnTo>
                    <a:pt x="473" y="216"/>
                  </a:lnTo>
                  <a:lnTo>
                    <a:pt x="473" y="218"/>
                  </a:lnTo>
                  <a:lnTo>
                    <a:pt x="473" y="216"/>
                  </a:lnTo>
                  <a:lnTo>
                    <a:pt x="475" y="216"/>
                  </a:lnTo>
                  <a:lnTo>
                    <a:pt x="475" y="218"/>
                  </a:lnTo>
                  <a:lnTo>
                    <a:pt x="475" y="216"/>
                  </a:lnTo>
                  <a:lnTo>
                    <a:pt x="476" y="218"/>
                  </a:lnTo>
                  <a:lnTo>
                    <a:pt x="476" y="216"/>
                  </a:lnTo>
                  <a:lnTo>
                    <a:pt x="476" y="218"/>
                  </a:lnTo>
                  <a:lnTo>
                    <a:pt x="476" y="216"/>
                  </a:lnTo>
                  <a:lnTo>
                    <a:pt x="478" y="216"/>
                  </a:lnTo>
                  <a:lnTo>
                    <a:pt x="478" y="218"/>
                  </a:lnTo>
                  <a:lnTo>
                    <a:pt x="480" y="218"/>
                  </a:lnTo>
                  <a:lnTo>
                    <a:pt x="480" y="220"/>
                  </a:lnTo>
                  <a:lnTo>
                    <a:pt x="481" y="220"/>
                  </a:lnTo>
                  <a:lnTo>
                    <a:pt x="481" y="221"/>
                  </a:lnTo>
                  <a:lnTo>
                    <a:pt x="480" y="221"/>
                  </a:lnTo>
                  <a:lnTo>
                    <a:pt x="478" y="221"/>
                  </a:lnTo>
                  <a:lnTo>
                    <a:pt x="478" y="223"/>
                  </a:lnTo>
                  <a:lnTo>
                    <a:pt x="476" y="223"/>
                  </a:lnTo>
                  <a:lnTo>
                    <a:pt x="475" y="223"/>
                  </a:lnTo>
                  <a:lnTo>
                    <a:pt x="473" y="223"/>
                  </a:lnTo>
                  <a:lnTo>
                    <a:pt x="471" y="224"/>
                  </a:lnTo>
                  <a:lnTo>
                    <a:pt x="471" y="226"/>
                  </a:lnTo>
                  <a:lnTo>
                    <a:pt x="471" y="228"/>
                  </a:lnTo>
                  <a:lnTo>
                    <a:pt x="473" y="229"/>
                  </a:lnTo>
                  <a:lnTo>
                    <a:pt x="473" y="231"/>
                  </a:lnTo>
                  <a:lnTo>
                    <a:pt x="475" y="233"/>
                  </a:lnTo>
                  <a:lnTo>
                    <a:pt x="475" y="234"/>
                  </a:lnTo>
                  <a:lnTo>
                    <a:pt x="476" y="234"/>
                  </a:lnTo>
                  <a:lnTo>
                    <a:pt x="476" y="236"/>
                  </a:lnTo>
                  <a:lnTo>
                    <a:pt x="478" y="237"/>
                  </a:lnTo>
                  <a:lnTo>
                    <a:pt x="481" y="239"/>
                  </a:lnTo>
                  <a:lnTo>
                    <a:pt x="483" y="239"/>
                  </a:lnTo>
                  <a:lnTo>
                    <a:pt x="484" y="239"/>
                  </a:lnTo>
                  <a:lnTo>
                    <a:pt x="486" y="241"/>
                  </a:lnTo>
                  <a:lnTo>
                    <a:pt x="488" y="241"/>
                  </a:lnTo>
                  <a:lnTo>
                    <a:pt x="489" y="241"/>
                  </a:lnTo>
                  <a:lnTo>
                    <a:pt x="489" y="239"/>
                  </a:lnTo>
                  <a:lnTo>
                    <a:pt x="489" y="241"/>
                  </a:lnTo>
                  <a:lnTo>
                    <a:pt x="489" y="239"/>
                  </a:lnTo>
                  <a:lnTo>
                    <a:pt x="489" y="241"/>
                  </a:lnTo>
                  <a:lnTo>
                    <a:pt x="491" y="241"/>
                  </a:lnTo>
                  <a:lnTo>
                    <a:pt x="491" y="239"/>
                  </a:lnTo>
                  <a:lnTo>
                    <a:pt x="493" y="239"/>
                  </a:lnTo>
                  <a:lnTo>
                    <a:pt x="494" y="239"/>
                  </a:lnTo>
                  <a:lnTo>
                    <a:pt x="494" y="237"/>
                  </a:lnTo>
                  <a:lnTo>
                    <a:pt x="494" y="236"/>
                  </a:lnTo>
                  <a:lnTo>
                    <a:pt x="493" y="234"/>
                  </a:lnTo>
                  <a:lnTo>
                    <a:pt x="493" y="233"/>
                  </a:lnTo>
                  <a:lnTo>
                    <a:pt x="493" y="231"/>
                  </a:lnTo>
                  <a:lnTo>
                    <a:pt x="491" y="231"/>
                  </a:lnTo>
                  <a:lnTo>
                    <a:pt x="493" y="231"/>
                  </a:lnTo>
                  <a:lnTo>
                    <a:pt x="493" y="229"/>
                  </a:lnTo>
                  <a:lnTo>
                    <a:pt x="494" y="229"/>
                  </a:lnTo>
                  <a:lnTo>
                    <a:pt x="493" y="229"/>
                  </a:lnTo>
                  <a:lnTo>
                    <a:pt x="494" y="229"/>
                  </a:lnTo>
                  <a:lnTo>
                    <a:pt x="494" y="231"/>
                  </a:lnTo>
                  <a:lnTo>
                    <a:pt x="496" y="231"/>
                  </a:lnTo>
                  <a:lnTo>
                    <a:pt x="496" y="233"/>
                  </a:lnTo>
                  <a:lnTo>
                    <a:pt x="494" y="233"/>
                  </a:lnTo>
                  <a:lnTo>
                    <a:pt x="496" y="233"/>
                  </a:lnTo>
                  <a:lnTo>
                    <a:pt x="496" y="234"/>
                  </a:lnTo>
                  <a:lnTo>
                    <a:pt x="497" y="236"/>
                  </a:lnTo>
                  <a:lnTo>
                    <a:pt x="499" y="236"/>
                  </a:lnTo>
                  <a:lnTo>
                    <a:pt x="499" y="237"/>
                  </a:lnTo>
                  <a:lnTo>
                    <a:pt x="501" y="237"/>
                  </a:lnTo>
                  <a:lnTo>
                    <a:pt x="501" y="239"/>
                  </a:lnTo>
                  <a:lnTo>
                    <a:pt x="502" y="239"/>
                  </a:lnTo>
                  <a:lnTo>
                    <a:pt x="504" y="239"/>
                  </a:lnTo>
                  <a:lnTo>
                    <a:pt x="506" y="239"/>
                  </a:lnTo>
                  <a:lnTo>
                    <a:pt x="506" y="241"/>
                  </a:lnTo>
                  <a:lnTo>
                    <a:pt x="506" y="239"/>
                  </a:lnTo>
                  <a:lnTo>
                    <a:pt x="507" y="239"/>
                  </a:lnTo>
                  <a:lnTo>
                    <a:pt x="509" y="239"/>
                  </a:lnTo>
                  <a:lnTo>
                    <a:pt x="509" y="241"/>
                  </a:lnTo>
                  <a:lnTo>
                    <a:pt x="511" y="241"/>
                  </a:lnTo>
                  <a:lnTo>
                    <a:pt x="511" y="239"/>
                  </a:lnTo>
                  <a:lnTo>
                    <a:pt x="512" y="239"/>
                  </a:lnTo>
                  <a:lnTo>
                    <a:pt x="514" y="239"/>
                  </a:lnTo>
                  <a:lnTo>
                    <a:pt x="515" y="241"/>
                  </a:lnTo>
                  <a:lnTo>
                    <a:pt x="515" y="242"/>
                  </a:lnTo>
                  <a:lnTo>
                    <a:pt x="515" y="244"/>
                  </a:lnTo>
                  <a:lnTo>
                    <a:pt x="517" y="244"/>
                  </a:lnTo>
                  <a:lnTo>
                    <a:pt x="519" y="244"/>
                  </a:lnTo>
                  <a:lnTo>
                    <a:pt x="520" y="242"/>
                  </a:lnTo>
                  <a:lnTo>
                    <a:pt x="520" y="244"/>
                  </a:lnTo>
                  <a:lnTo>
                    <a:pt x="522" y="244"/>
                  </a:lnTo>
                  <a:lnTo>
                    <a:pt x="524" y="246"/>
                  </a:lnTo>
                  <a:lnTo>
                    <a:pt x="525" y="246"/>
                  </a:lnTo>
                  <a:lnTo>
                    <a:pt x="525" y="247"/>
                  </a:lnTo>
                  <a:lnTo>
                    <a:pt x="525" y="249"/>
                  </a:lnTo>
                  <a:lnTo>
                    <a:pt x="527" y="249"/>
                  </a:lnTo>
                  <a:lnTo>
                    <a:pt x="527" y="250"/>
                  </a:lnTo>
                  <a:lnTo>
                    <a:pt x="528" y="252"/>
                  </a:lnTo>
                  <a:lnTo>
                    <a:pt x="530" y="252"/>
                  </a:lnTo>
                  <a:lnTo>
                    <a:pt x="530" y="254"/>
                  </a:lnTo>
                  <a:lnTo>
                    <a:pt x="532" y="254"/>
                  </a:lnTo>
                  <a:lnTo>
                    <a:pt x="533" y="254"/>
                  </a:lnTo>
                  <a:lnTo>
                    <a:pt x="533" y="255"/>
                  </a:lnTo>
                  <a:lnTo>
                    <a:pt x="535" y="255"/>
                  </a:lnTo>
                  <a:lnTo>
                    <a:pt x="535" y="257"/>
                  </a:lnTo>
                  <a:lnTo>
                    <a:pt x="537" y="257"/>
                  </a:lnTo>
                  <a:lnTo>
                    <a:pt x="538" y="259"/>
                  </a:lnTo>
                  <a:lnTo>
                    <a:pt x="540" y="259"/>
                  </a:lnTo>
                  <a:lnTo>
                    <a:pt x="540" y="260"/>
                  </a:lnTo>
                  <a:lnTo>
                    <a:pt x="541" y="260"/>
                  </a:lnTo>
                  <a:lnTo>
                    <a:pt x="541" y="262"/>
                  </a:lnTo>
                  <a:lnTo>
                    <a:pt x="543" y="262"/>
                  </a:lnTo>
                  <a:lnTo>
                    <a:pt x="543" y="264"/>
                  </a:lnTo>
                  <a:lnTo>
                    <a:pt x="543" y="265"/>
                  </a:lnTo>
                  <a:lnTo>
                    <a:pt x="541" y="265"/>
                  </a:lnTo>
                  <a:lnTo>
                    <a:pt x="540" y="267"/>
                  </a:lnTo>
                  <a:lnTo>
                    <a:pt x="538" y="267"/>
                  </a:lnTo>
                  <a:lnTo>
                    <a:pt x="538" y="268"/>
                  </a:lnTo>
                  <a:lnTo>
                    <a:pt x="537" y="268"/>
                  </a:lnTo>
                  <a:lnTo>
                    <a:pt x="535" y="268"/>
                  </a:lnTo>
                  <a:lnTo>
                    <a:pt x="535" y="270"/>
                  </a:lnTo>
                  <a:lnTo>
                    <a:pt x="533" y="270"/>
                  </a:lnTo>
                  <a:lnTo>
                    <a:pt x="532" y="270"/>
                  </a:lnTo>
                  <a:lnTo>
                    <a:pt x="532" y="268"/>
                  </a:lnTo>
                  <a:lnTo>
                    <a:pt x="532" y="267"/>
                  </a:lnTo>
                  <a:lnTo>
                    <a:pt x="530" y="267"/>
                  </a:lnTo>
                  <a:lnTo>
                    <a:pt x="530" y="265"/>
                  </a:lnTo>
                  <a:lnTo>
                    <a:pt x="530" y="264"/>
                  </a:lnTo>
                  <a:lnTo>
                    <a:pt x="528" y="264"/>
                  </a:lnTo>
                  <a:lnTo>
                    <a:pt x="527" y="264"/>
                  </a:lnTo>
                  <a:lnTo>
                    <a:pt x="527" y="262"/>
                  </a:lnTo>
                  <a:lnTo>
                    <a:pt x="525" y="262"/>
                  </a:lnTo>
                  <a:lnTo>
                    <a:pt x="524" y="262"/>
                  </a:lnTo>
                  <a:lnTo>
                    <a:pt x="522" y="260"/>
                  </a:lnTo>
                  <a:lnTo>
                    <a:pt x="522" y="257"/>
                  </a:lnTo>
                  <a:lnTo>
                    <a:pt x="520" y="257"/>
                  </a:lnTo>
                  <a:lnTo>
                    <a:pt x="520" y="255"/>
                  </a:lnTo>
                  <a:lnTo>
                    <a:pt x="519" y="255"/>
                  </a:lnTo>
                  <a:lnTo>
                    <a:pt x="517" y="254"/>
                  </a:lnTo>
                  <a:lnTo>
                    <a:pt x="515" y="252"/>
                  </a:lnTo>
                  <a:lnTo>
                    <a:pt x="514" y="250"/>
                  </a:lnTo>
                  <a:lnTo>
                    <a:pt x="514" y="249"/>
                  </a:lnTo>
                  <a:lnTo>
                    <a:pt x="512" y="249"/>
                  </a:lnTo>
                  <a:lnTo>
                    <a:pt x="511" y="250"/>
                  </a:lnTo>
                  <a:lnTo>
                    <a:pt x="511" y="249"/>
                  </a:lnTo>
                  <a:lnTo>
                    <a:pt x="509" y="249"/>
                  </a:lnTo>
                  <a:lnTo>
                    <a:pt x="507" y="250"/>
                  </a:lnTo>
                  <a:lnTo>
                    <a:pt x="506" y="250"/>
                  </a:lnTo>
                  <a:lnTo>
                    <a:pt x="504" y="250"/>
                  </a:lnTo>
                  <a:lnTo>
                    <a:pt x="502" y="250"/>
                  </a:lnTo>
                  <a:lnTo>
                    <a:pt x="501" y="250"/>
                  </a:lnTo>
                  <a:lnTo>
                    <a:pt x="499" y="250"/>
                  </a:lnTo>
                  <a:lnTo>
                    <a:pt x="497" y="250"/>
                  </a:lnTo>
                  <a:lnTo>
                    <a:pt x="497" y="249"/>
                  </a:lnTo>
                  <a:lnTo>
                    <a:pt x="496" y="249"/>
                  </a:lnTo>
                  <a:lnTo>
                    <a:pt x="494" y="247"/>
                  </a:lnTo>
                  <a:lnTo>
                    <a:pt x="493" y="247"/>
                  </a:lnTo>
                  <a:lnTo>
                    <a:pt x="491" y="246"/>
                  </a:lnTo>
                  <a:lnTo>
                    <a:pt x="491" y="244"/>
                  </a:lnTo>
                  <a:lnTo>
                    <a:pt x="489" y="244"/>
                  </a:lnTo>
                  <a:lnTo>
                    <a:pt x="488" y="244"/>
                  </a:lnTo>
                  <a:lnTo>
                    <a:pt x="486" y="242"/>
                  </a:lnTo>
                  <a:lnTo>
                    <a:pt x="484" y="242"/>
                  </a:lnTo>
                  <a:lnTo>
                    <a:pt x="484" y="244"/>
                  </a:lnTo>
                  <a:lnTo>
                    <a:pt x="483" y="244"/>
                  </a:lnTo>
                  <a:lnTo>
                    <a:pt x="481" y="244"/>
                  </a:lnTo>
                  <a:lnTo>
                    <a:pt x="480" y="244"/>
                  </a:lnTo>
                  <a:lnTo>
                    <a:pt x="478" y="244"/>
                  </a:lnTo>
                  <a:lnTo>
                    <a:pt x="476" y="244"/>
                  </a:lnTo>
                  <a:lnTo>
                    <a:pt x="475" y="246"/>
                  </a:lnTo>
                  <a:lnTo>
                    <a:pt x="473" y="247"/>
                  </a:lnTo>
                  <a:lnTo>
                    <a:pt x="471" y="249"/>
                  </a:lnTo>
                  <a:lnTo>
                    <a:pt x="470" y="249"/>
                  </a:lnTo>
                  <a:lnTo>
                    <a:pt x="468" y="249"/>
                  </a:lnTo>
                  <a:lnTo>
                    <a:pt x="467" y="249"/>
                  </a:lnTo>
                  <a:lnTo>
                    <a:pt x="465" y="249"/>
                  </a:lnTo>
                  <a:lnTo>
                    <a:pt x="465" y="250"/>
                  </a:lnTo>
                  <a:lnTo>
                    <a:pt x="465" y="252"/>
                  </a:lnTo>
                  <a:lnTo>
                    <a:pt x="465" y="250"/>
                  </a:lnTo>
                  <a:lnTo>
                    <a:pt x="465" y="252"/>
                  </a:lnTo>
                  <a:lnTo>
                    <a:pt x="465" y="250"/>
                  </a:lnTo>
                  <a:lnTo>
                    <a:pt x="463" y="252"/>
                  </a:lnTo>
                  <a:lnTo>
                    <a:pt x="463" y="254"/>
                  </a:lnTo>
                  <a:lnTo>
                    <a:pt x="463" y="255"/>
                  </a:lnTo>
                  <a:lnTo>
                    <a:pt x="463" y="257"/>
                  </a:lnTo>
                  <a:lnTo>
                    <a:pt x="463" y="259"/>
                  </a:lnTo>
                  <a:lnTo>
                    <a:pt x="463" y="260"/>
                  </a:lnTo>
                  <a:lnTo>
                    <a:pt x="465" y="260"/>
                  </a:lnTo>
                  <a:lnTo>
                    <a:pt x="465" y="262"/>
                  </a:lnTo>
                  <a:lnTo>
                    <a:pt x="467" y="262"/>
                  </a:lnTo>
                  <a:lnTo>
                    <a:pt x="467" y="264"/>
                  </a:lnTo>
                  <a:lnTo>
                    <a:pt x="467" y="262"/>
                  </a:lnTo>
                  <a:lnTo>
                    <a:pt x="467" y="264"/>
                  </a:lnTo>
                  <a:lnTo>
                    <a:pt x="468" y="265"/>
                  </a:lnTo>
                  <a:lnTo>
                    <a:pt x="470" y="265"/>
                  </a:lnTo>
                  <a:lnTo>
                    <a:pt x="470" y="264"/>
                  </a:lnTo>
                  <a:lnTo>
                    <a:pt x="470" y="265"/>
                  </a:lnTo>
                  <a:lnTo>
                    <a:pt x="470" y="264"/>
                  </a:lnTo>
                  <a:lnTo>
                    <a:pt x="470" y="265"/>
                  </a:lnTo>
                  <a:lnTo>
                    <a:pt x="470" y="267"/>
                  </a:lnTo>
                  <a:lnTo>
                    <a:pt x="471" y="265"/>
                  </a:lnTo>
                  <a:lnTo>
                    <a:pt x="471" y="267"/>
                  </a:lnTo>
                  <a:lnTo>
                    <a:pt x="473" y="268"/>
                  </a:lnTo>
                  <a:lnTo>
                    <a:pt x="473" y="270"/>
                  </a:lnTo>
                  <a:lnTo>
                    <a:pt x="473" y="268"/>
                  </a:lnTo>
                  <a:lnTo>
                    <a:pt x="473" y="270"/>
                  </a:lnTo>
                  <a:lnTo>
                    <a:pt x="475" y="270"/>
                  </a:lnTo>
                  <a:lnTo>
                    <a:pt x="476" y="270"/>
                  </a:lnTo>
                  <a:lnTo>
                    <a:pt x="476" y="268"/>
                  </a:lnTo>
                  <a:lnTo>
                    <a:pt x="478" y="270"/>
                  </a:lnTo>
                  <a:lnTo>
                    <a:pt x="478" y="268"/>
                  </a:lnTo>
                  <a:lnTo>
                    <a:pt x="478" y="270"/>
                  </a:lnTo>
                  <a:lnTo>
                    <a:pt x="480" y="270"/>
                  </a:lnTo>
                  <a:lnTo>
                    <a:pt x="481" y="272"/>
                  </a:lnTo>
                  <a:lnTo>
                    <a:pt x="483" y="272"/>
                  </a:lnTo>
                  <a:lnTo>
                    <a:pt x="484" y="272"/>
                  </a:lnTo>
                  <a:lnTo>
                    <a:pt x="486" y="272"/>
                  </a:lnTo>
                  <a:lnTo>
                    <a:pt x="488" y="272"/>
                  </a:lnTo>
                  <a:lnTo>
                    <a:pt x="489" y="272"/>
                  </a:lnTo>
                  <a:lnTo>
                    <a:pt x="489" y="273"/>
                  </a:lnTo>
                  <a:lnTo>
                    <a:pt x="491" y="273"/>
                  </a:lnTo>
                  <a:lnTo>
                    <a:pt x="493" y="273"/>
                  </a:lnTo>
                  <a:lnTo>
                    <a:pt x="493" y="275"/>
                  </a:lnTo>
                  <a:lnTo>
                    <a:pt x="494" y="275"/>
                  </a:lnTo>
                  <a:lnTo>
                    <a:pt x="496" y="275"/>
                  </a:lnTo>
                  <a:lnTo>
                    <a:pt x="497" y="275"/>
                  </a:lnTo>
                  <a:lnTo>
                    <a:pt x="497" y="277"/>
                  </a:lnTo>
                  <a:lnTo>
                    <a:pt x="499" y="277"/>
                  </a:lnTo>
                  <a:lnTo>
                    <a:pt x="499" y="278"/>
                  </a:lnTo>
                  <a:lnTo>
                    <a:pt x="501" y="278"/>
                  </a:lnTo>
                  <a:lnTo>
                    <a:pt x="499" y="278"/>
                  </a:lnTo>
                  <a:lnTo>
                    <a:pt x="499" y="280"/>
                  </a:lnTo>
                  <a:lnTo>
                    <a:pt x="499" y="281"/>
                  </a:lnTo>
                  <a:lnTo>
                    <a:pt x="499" y="283"/>
                  </a:lnTo>
                  <a:lnTo>
                    <a:pt x="501" y="281"/>
                  </a:lnTo>
                  <a:lnTo>
                    <a:pt x="501" y="283"/>
                  </a:lnTo>
                  <a:lnTo>
                    <a:pt x="502" y="283"/>
                  </a:lnTo>
                  <a:lnTo>
                    <a:pt x="502" y="285"/>
                  </a:lnTo>
                  <a:lnTo>
                    <a:pt x="501" y="286"/>
                  </a:lnTo>
                  <a:lnTo>
                    <a:pt x="501" y="288"/>
                  </a:lnTo>
                  <a:lnTo>
                    <a:pt x="502" y="288"/>
                  </a:lnTo>
                  <a:lnTo>
                    <a:pt x="504" y="288"/>
                  </a:lnTo>
                  <a:lnTo>
                    <a:pt x="504" y="286"/>
                  </a:lnTo>
                  <a:lnTo>
                    <a:pt x="504" y="288"/>
                  </a:lnTo>
                  <a:lnTo>
                    <a:pt x="504" y="290"/>
                  </a:lnTo>
                  <a:lnTo>
                    <a:pt x="506" y="290"/>
                  </a:lnTo>
                  <a:lnTo>
                    <a:pt x="504" y="290"/>
                  </a:lnTo>
                  <a:lnTo>
                    <a:pt x="504" y="291"/>
                  </a:lnTo>
                  <a:lnTo>
                    <a:pt x="506" y="291"/>
                  </a:lnTo>
                  <a:lnTo>
                    <a:pt x="504" y="293"/>
                  </a:lnTo>
                  <a:lnTo>
                    <a:pt x="502" y="293"/>
                  </a:lnTo>
                  <a:lnTo>
                    <a:pt x="504" y="293"/>
                  </a:lnTo>
                  <a:lnTo>
                    <a:pt x="502" y="293"/>
                  </a:lnTo>
                  <a:lnTo>
                    <a:pt x="502" y="294"/>
                  </a:lnTo>
                  <a:lnTo>
                    <a:pt x="504" y="294"/>
                  </a:lnTo>
                  <a:lnTo>
                    <a:pt x="502" y="294"/>
                  </a:lnTo>
                  <a:lnTo>
                    <a:pt x="502" y="296"/>
                  </a:lnTo>
                  <a:lnTo>
                    <a:pt x="504" y="296"/>
                  </a:lnTo>
                  <a:lnTo>
                    <a:pt x="502" y="298"/>
                  </a:lnTo>
                  <a:lnTo>
                    <a:pt x="501" y="298"/>
                  </a:lnTo>
                  <a:lnTo>
                    <a:pt x="501" y="299"/>
                  </a:lnTo>
                  <a:lnTo>
                    <a:pt x="502" y="299"/>
                  </a:lnTo>
                  <a:lnTo>
                    <a:pt x="501" y="299"/>
                  </a:lnTo>
                  <a:lnTo>
                    <a:pt x="502" y="299"/>
                  </a:lnTo>
                  <a:lnTo>
                    <a:pt x="502" y="298"/>
                  </a:lnTo>
                  <a:lnTo>
                    <a:pt x="504" y="299"/>
                  </a:lnTo>
                  <a:lnTo>
                    <a:pt x="504" y="301"/>
                  </a:lnTo>
                  <a:lnTo>
                    <a:pt x="502" y="301"/>
                  </a:lnTo>
                  <a:lnTo>
                    <a:pt x="502" y="299"/>
                  </a:lnTo>
                  <a:lnTo>
                    <a:pt x="502" y="301"/>
                  </a:lnTo>
                  <a:lnTo>
                    <a:pt x="501" y="301"/>
                  </a:lnTo>
                  <a:lnTo>
                    <a:pt x="499" y="301"/>
                  </a:lnTo>
                  <a:lnTo>
                    <a:pt x="501" y="301"/>
                  </a:lnTo>
                  <a:lnTo>
                    <a:pt x="499" y="301"/>
                  </a:lnTo>
                  <a:lnTo>
                    <a:pt x="499" y="303"/>
                  </a:lnTo>
                  <a:lnTo>
                    <a:pt x="497" y="303"/>
                  </a:lnTo>
                  <a:lnTo>
                    <a:pt x="497" y="301"/>
                  </a:lnTo>
                  <a:lnTo>
                    <a:pt x="496" y="301"/>
                  </a:lnTo>
                  <a:lnTo>
                    <a:pt x="494" y="301"/>
                  </a:lnTo>
                  <a:lnTo>
                    <a:pt x="496" y="299"/>
                  </a:lnTo>
                  <a:lnTo>
                    <a:pt x="494" y="299"/>
                  </a:lnTo>
                  <a:lnTo>
                    <a:pt x="496" y="299"/>
                  </a:lnTo>
                  <a:lnTo>
                    <a:pt x="494" y="299"/>
                  </a:lnTo>
                  <a:lnTo>
                    <a:pt x="494" y="301"/>
                  </a:lnTo>
                  <a:lnTo>
                    <a:pt x="493" y="301"/>
                  </a:lnTo>
                  <a:lnTo>
                    <a:pt x="493" y="299"/>
                  </a:lnTo>
                  <a:lnTo>
                    <a:pt x="493" y="298"/>
                  </a:lnTo>
                  <a:lnTo>
                    <a:pt x="493" y="296"/>
                  </a:lnTo>
                  <a:lnTo>
                    <a:pt x="491" y="296"/>
                  </a:lnTo>
                  <a:lnTo>
                    <a:pt x="489" y="296"/>
                  </a:lnTo>
                  <a:lnTo>
                    <a:pt x="488" y="296"/>
                  </a:lnTo>
                  <a:lnTo>
                    <a:pt x="489" y="294"/>
                  </a:lnTo>
                  <a:lnTo>
                    <a:pt x="488" y="294"/>
                  </a:lnTo>
                  <a:lnTo>
                    <a:pt x="488" y="293"/>
                  </a:lnTo>
                  <a:lnTo>
                    <a:pt x="488" y="294"/>
                  </a:lnTo>
                  <a:lnTo>
                    <a:pt x="486" y="293"/>
                  </a:lnTo>
                  <a:lnTo>
                    <a:pt x="484" y="293"/>
                  </a:lnTo>
                  <a:lnTo>
                    <a:pt x="483" y="293"/>
                  </a:lnTo>
                  <a:lnTo>
                    <a:pt x="484" y="293"/>
                  </a:lnTo>
                  <a:lnTo>
                    <a:pt x="484" y="294"/>
                  </a:lnTo>
                  <a:lnTo>
                    <a:pt x="483" y="294"/>
                  </a:lnTo>
                  <a:lnTo>
                    <a:pt x="483" y="293"/>
                  </a:lnTo>
                  <a:lnTo>
                    <a:pt x="481" y="293"/>
                  </a:lnTo>
                  <a:lnTo>
                    <a:pt x="481" y="291"/>
                  </a:lnTo>
                  <a:lnTo>
                    <a:pt x="481" y="290"/>
                  </a:lnTo>
                  <a:lnTo>
                    <a:pt x="481" y="291"/>
                  </a:lnTo>
                  <a:lnTo>
                    <a:pt x="481" y="290"/>
                  </a:lnTo>
                  <a:lnTo>
                    <a:pt x="480" y="290"/>
                  </a:lnTo>
                  <a:lnTo>
                    <a:pt x="480" y="288"/>
                  </a:lnTo>
                  <a:lnTo>
                    <a:pt x="478" y="288"/>
                  </a:lnTo>
                  <a:lnTo>
                    <a:pt x="478" y="286"/>
                  </a:lnTo>
                  <a:lnTo>
                    <a:pt x="478" y="285"/>
                  </a:lnTo>
                  <a:lnTo>
                    <a:pt x="478" y="283"/>
                  </a:lnTo>
                  <a:lnTo>
                    <a:pt x="476" y="285"/>
                  </a:lnTo>
                  <a:lnTo>
                    <a:pt x="476" y="283"/>
                  </a:lnTo>
                  <a:lnTo>
                    <a:pt x="476" y="281"/>
                  </a:lnTo>
                  <a:lnTo>
                    <a:pt x="475" y="281"/>
                  </a:lnTo>
                  <a:lnTo>
                    <a:pt x="475" y="280"/>
                  </a:lnTo>
                  <a:lnTo>
                    <a:pt x="473" y="280"/>
                  </a:lnTo>
                  <a:lnTo>
                    <a:pt x="471" y="278"/>
                  </a:lnTo>
                  <a:lnTo>
                    <a:pt x="470" y="278"/>
                  </a:lnTo>
                  <a:lnTo>
                    <a:pt x="470" y="277"/>
                  </a:lnTo>
                  <a:lnTo>
                    <a:pt x="470" y="275"/>
                  </a:lnTo>
                  <a:lnTo>
                    <a:pt x="468" y="275"/>
                  </a:lnTo>
                  <a:lnTo>
                    <a:pt x="468" y="273"/>
                  </a:lnTo>
                  <a:lnTo>
                    <a:pt x="467" y="273"/>
                  </a:lnTo>
                  <a:lnTo>
                    <a:pt x="465" y="272"/>
                  </a:lnTo>
                  <a:lnTo>
                    <a:pt x="463" y="272"/>
                  </a:lnTo>
                  <a:lnTo>
                    <a:pt x="463" y="270"/>
                  </a:lnTo>
                  <a:lnTo>
                    <a:pt x="462" y="268"/>
                  </a:lnTo>
                  <a:lnTo>
                    <a:pt x="460" y="268"/>
                  </a:lnTo>
                  <a:lnTo>
                    <a:pt x="457" y="268"/>
                  </a:lnTo>
                  <a:lnTo>
                    <a:pt x="455" y="268"/>
                  </a:lnTo>
                  <a:lnTo>
                    <a:pt x="452" y="270"/>
                  </a:lnTo>
                  <a:lnTo>
                    <a:pt x="452" y="268"/>
                  </a:lnTo>
                  <a:lnTo>
                    <a:pt x="450" y="268"/>
                  </a:lnTo>
                  <a:lnTo>
                    <a:pt x="449" y="268"/>
                  </a:lnTo>
                  <a:lnTo>
                    <a:pt x="447" y="268"/>
                  </a:lnTo>
                  <a:lnTo>
                    <a:pt x="444" y="267"/>
                  </a:lnTo>
                  <a:lnTo>
                    <a:pt x="442" y="267"/>
                  </a:lnTo>
                  <a:lnTo>
                    <a:pt x="441" y="267"/>
                  </a:lnTo>
                  <a:lnTo>
                    <a:pt x="439" y="267"/>
                  </a:lnTo>
                  <a:lnTo>
                    <a:pt x="437" y="267"/>
                  </a:lnTo>
                  <a:lnTo>
                    <a:pt x="436" y="265"/>
                  </a:lnTo>
                  <a:lnTo>
                    <a:pt x="434" y="265"/>
                  </a:lnTo>
                  <a:lnTo>
                    <a:pt x="431" y="265"/>
                  </a:lnTo>
                  <a:lnTo>
                    <a:pt x="431" y="267"/>
                  </a:lnTo>
                  <a:lnTo>
                    <a:pt x="429" y="267"/>
                  </a:lnTo>
                  <a:lnTo>
                    <a:pt x="429" y="268"/>
                  </a:lnTo>
                  <a:lnTo>
                    <a:pt x="428" y="270"/>
                  </a:lnTo>
                  <a:lnTo>
                    <a:pt x="428" y="272"/>
                  </a:lnTo>
                  <a:lnTo>
                    <a:pt x="426" y="273"/>
                  </a:lnTo>
                  <a:lnTo>
                    <a:pt x="426" y="277"/>
                  </a:lnTo>
                  <a:lnTo>
                    <a:pt x="426" y="278"/>
                  </a:lnTo>
                  <a:lnTo>
                    <a:pt x="428" y="280"/>
                  </a:lnTo>
                  <a:lnTo>
                    <a:pt x="429" y="281"/>
                  </a:lnTo>
                  <a:lnTo>
                    <a:pt x="429" y="283"/>
                  </a:lnTo>
                  <a:lnTo>
                    <a:pt x="431" y="285"/>
                  </a:lnTo>
                  <a:lnTo>
                    <a:pt x="432" y="285"/>
                  </a:lnTo>
                  <a:lnTo>
                    <a:pt x="434" y="285"/>
                  </a:lnTo>
                  <a:lnTo>
                    <a:pt x="436" y="286"/>
                  </a:lnTo>
                  <a:lnTo>
                    <a:pt x="437" y="286"/>
                  </a:lnTo>
                  <a:lnTo>
                    <a:pt x="437" y="288"/>
                  </a:lnTo>
                  <a:lnTo>
                    <a:pt x="439" y="290"/>
                  </a:lnTo>
                  <a:lnTo>
                    <a:pt x="441" y="290"/>
                  </a:lnTo>
                  <a:lnTo>
                    <a:pt x="441" y="291"/>
                  </a:lnTo>
                  <a:lnTo>
                    <a:pt x="441" y="293"/>
                  </a:lnTo>
                  <a:lnTo>
                    <a:pt x="442" y="293"/>
                  </a:lnTo>
                  <a:lnTo>
                    <a:pt x="442" y="294"/>
                  </a:lnTo>
                  <a:lnTo>
                    <a:pt x="444" y="296"/>
                  </a:lnTo>
                  <a:lnTo>
                    <a:pt x="447" y="298"/>
                  </a:lnTo>
                  <a:lnTo>
                    <a:pt x="450" y="299"/>
                  </a:lnTo>
                  <a:lnTo>
                    <a:pt x="452" y="299"/>
                  </a:lnTo>
                  <a:lnTo>
                    <a:pt x="454" y="299"/>
                  </a:lnTo>
                  <a:lnTo>
                    <a:pt x="455" y="301"/>
                  </a:lnTo>
                  <a:lnTo>
                    <a:pt x="458" y="301"/>
                  </a:lnTo>
                  <a:lnTo>
                    <a:pt x="462" y="303"/>
                  </a:lnTo>
                  <a:lnTo>
                    <a:pt x="463" y="303"/>
                  </a:lnTo>
                  <a:lnTo>
                    <a:pt x="465" y="303"/>
                  </a:lnTo>
                  <a:lnTo>
                    <a:pt x="467" y="303"/>
                  </a:lnTo>
                  <a:lnTo>
                    <a:pt x="468" y="303"/>
                  </a:lnTo>
                  <a:lnTo>
                    <a:pt x="468" y="304"/>
                  </a:lnTo>
                  <a:lnTo>
                    <a:pt x="470" y="304"/>
                  </a:lnTo>
                  <a:lnTo>
                    <a:pt x="470" y="306"/>
                  </a:lnTo>
                  <a:lnTo>
                    <a:pt x="470" y="307"/>
                  </a:lnTo>
                  <a:lnTo>
                    <a:pt x="471" y="307"/>
                  </a:lnTo>
                  <a:lnTo>
                    <a:pt x="471" y="309"/>
                  </a:lnTo>
                  <a:lnTo>
                    <a:pt x="473" y="309"/>
                  </a:lnTo>
                  <a:lnTo>
                    <a:pt x="473" y="307"/>
                  </a:lnTo>
                  <a:lnTo>
                    <a:pt x="475" y="307"/>
                  </a:lnTo>
                  <a:lnTo>
                    <a:pt x="476" y="307"/>
                  </a:lnTo>
                  <a:lnTo>
                    <a:pt x="478" y="307"/>
                  </a:lnTo>
                  <a:lnTo>
                    <a:pt x="478" y="309"/>
                  </a:lnTo>
                  <a:lnTo>
                    <a:pt x="476" y="311"/>
                  </a:lnTo>
                  <a:lnTo>
                    <a:pt x="475" y="311"/>
                  </a:lnTo>
                  <a:lnTo>
                    <a:pt x="473" y="311"/>
                  </a:lnTo>
                  <a:lnTo>
                    <a:pt x="471" y="311"/>
                  </a:lnTo>
                  <a:lnTo>
                    <a:pt x="470" y="311"/>
                  </a:lnTo>
                  <a:lnTo>
                    <a:pt x="468" y="311"/>
                  </a:lnTo>
                  <a:lnTo>
                    <a:pt x="468" y="312"/>
                  </a:lnTo>
                  <a:lnTo>
                    <a:pt x="467" y="312"/>
                  </a:lnTo>
                  <a:lnTo>
                    <a:pt x="465" y="312"/>
                  </a:lnTo>
                  <a:lnTo>
                    <a:pt x="463" y="312"/>
                  </a:lnTo>
                  <a:lnTo>
                    <a:pt x="462" y="312"/>
                  </a:lnTo>
                  <a:lnTo>
                    <a:pt x="460" y="312"/>
                  </a:lnTo>
                  <a:lnTo>
                    <a:pt x="458" y="311"/>
                  </a:lnTo>
                  <a:lnTo>
                    <a:pt x="457" y="311"/>
                  </a:lnTo>
                  <a:lnTo>
                    <a:pt x="454" y="311"/>
                  </a:lnTo>
                  <a:lnTo>
                    <a:pt x="452" y="309"/>
                  </a:lnTo>
                  <a:lnTo>
                    <a:pt x="450" y="309"/>
                  </a:lnTo>
                  <a:lnTo>
                    <a:pt x="449" y="307"/>
                  </a:lnTo>
                  <a:lnTo>
                    <a:pt x="447" y="307"/>
                  </a:lnTo>
                  <a:lnTo>
                    <a:pt x="445" y="307"/>
                  </a:lnTo>
                  <a:lnTo>
                    <a:pt x="444" y="307"/>
                  </a:lnTo>
                  <a:lnTo>
                    <a:pt x="442" y="307"/>
                  </a:lnTo>
                  <a:lnTo>
                    <a:pt x="442" y="309"/>
                  </a:lnTo>
                  <a:lnTo>
                    <a:pt x="441" y="311"/>
                  </a:lnTo>
                  <a:lnTo>
                    <a:pt x="437" y="311"/>
                  </a:lnTo>
                  <a:lnTo>
                    <a:pt x="436" y="311"/>
                  </a:lnTo>
                  <a:lnTo>
                    <a:pt x="434" y="312"/>
                  </a:lnTo>
                  <a:lnTo>
                    <a:pt x="434" y="311"/>
                  </a:lnTo>
                  <a:lnTo>
                    <a:pt x="436" y="307"/>
                  </a:lnTo>
                  <a:lnTo>
                    <a:pt x="436" y="306"/>
                  </a:lnTo>
                  <a:lnTo>
                    <a:pt x="436" y="304"/>
                  </a:lnTo>
                  <a:lnTo>
                    <a:pt x="434" y="303"/>
                  </a:lnTo>
                  <a:lnTo>
                    <a:pt x="432" y="303"/>
                  </a:lnTo>
                  <a:lnTo>
                    <a:pt x="432" y="299"/>
                  </a:lnTo>
                  <a:lnTo>
                    <a:pt x="431" y="299"/>
                  </a:lnTo>
                  <a:lnTo>
                    <a:pt x="431" y="298"/>
                  </a:lnTo>
                  <a:lnTo>
                    <a:pt x="429" y="296"/>
                  </a:lnTo>
                  <a:lnTo>
                    <a:pt x="428" y="296"/>
                  </a:lnTo>
                  <a:lnTo>
                    <a:pt x="428" y="294"/>
                  </a:lnTo>
                  <a:lnTo>
                    <a:pt x="426" y="296"/>
                  </a:lnTo>
                  <a:lnTo>
                    <a:pt x="426" y="294"/>
                  </a:lnTo>
                  <a:lnTo>
                    <a:pt x="426" y="293"/>
                  </a:lnTo>
                  <a:lnTo>
                    <a:pt x="426" y="291"/>
                  </a:lnTo>
                  <a:lnTo>
                    <a:pt x="426" y="288"/>
                  </a:lnTo>
                  <a:lnTo>
                    <a:pt x="426" y="286"/>
                  </a:lnTo>
                  <a:lnTo>
                    <a:pt x="426" y="285"/>
                  </a:lnTo>
                  <a:lnTo>
                    <a:pt x="426" y="281"/>
                  </a:lnTo>
                  <a:lnTo>
                    <a:pt x="426" y="278"/>
                  </a:lnTo>
                  <a:lnTo>
                    <a:pt x="424" y="278"/>
                  </a:lnTo>
                  <a:lnTo>
                    <a:pt x="424" y="275"/>
                  </a:lnTo>
                  <a:lnTo>
                    <a:pt x="423" y="275"/>
                  </a:lnTo>
                  <a:lnTo>
                    <a:pt x="423" y="273"/>
                  </a:lnTo>
                  <a:lnTo>
                    <a:pt x="421" y="273"/>
                  </a:lnTo>
                  <a:lnTo>
                    <a:pt x="419" y="273"/>
                  </a:lnTo>
                  <a:lnTo>
                    <a:pt x="416" y="273"/>
                  </a:lnTo>
                  <a:lnTo>
                    <a:pt x="416" y="272"/>
                  </a:lnTo>
                  <a:lnTo>
                    <a:pt x="415" y="272"/>
                  </a:lnTo>
                  <a:lnTo>
                    <a:pt x="415" y="273"/>
                  </a:lnTo>
                  <a:lnTo>
                    <a:pt x="413" y="272"/>
                  </a:lnTo>
                  <a:lnTo>
                    <a:pt x="411" y="272"/>
                  </a:lnTo>
                  <a:lnTo>
                    <a:pt x="410" y="272"/>
                  </a:lnTo>
                  <a:lnTo>
                    <a:pt x="408" y="272"/>
                  </a:lnTo>
                  <a:lnTo>
                    <a:pt x="408" y="270"/>
                  </a:lnTo>
                  <a:lnTo>
                    <a:pt x="406" y="270"/>
                  </a:lnTo>
                  <a:lnTo>
                    <a:pt x="403" y="272"/>
                  </a:lnTo>
                  <a:lnTo>
                    <a:pt x="402" y="270"/>
                  </a:lnTo>
                  <a:lnTo>
                    <a:pt x="402" y="268"/>
                  </a:lnTo>
                  <a:lnTo>
                    <a:pt x="400" y="268"/>
                  </a:lnTo>
                  <a:lnTo>
                    <a:pt x="398" y="268"/>
                  </a:lnTo>
                  <a:lnTo>
                    <a:pt x="397" y="268"/>
                  </a:lnTo>
                  <a:lnTo>
                    <a:pt x="395" y="267"/>
                  </a:lnTo>
                  <a:lnTo>
                    <a:pt x="393" y="267"/>
                  </a:lnTo>
                  <a:lnTo>
                    <a:pt x="392" y="267"/>
                  </a:lnTo>
                  <a:lnTo>
                    <a:pt x="389" y="267"/>
                  </a:lnTo>
                  <a:lnTo>
                    <a:pt x="389" y="265"/>
                  </a:lnTo>
                  <a:lnTo>
                    <a:pt x="389" y="264"/>
                  </a:lnTo>
                  <a:lnTo>
                    <a:pt x="387" y="262"/>
                  </a:lnTo>
                  <a:lnTo>
                    <a:pt x="385" y="262"/>
                  </a:lnTo>
                  <a:lnTo>
                    <a:pt x="384" y="260"/>
                  </a:lnTo>
                  <a:lnTo>
                    <a:pt x="382" y="260"/>
                  </a:lnTo>
                  <a:lnTo>
                    <a:pt x="380" y="260"/>
                  </a:lnTo>
                  <a:lnTo>
                    <a:pt x="379" y="260"/>
                  </a:lnTo>
                  <a:lnTo>
                    <a:pt x="376" y="260"/>
                  </a:lnTo>
                  <a:lnTo>
                    <a:pt x="374" y="262"/>
                  </a:lnTo>
                  <a:lnTo>
                    <a:pt x="374" y="260"/>
                  </a:lnTo>
                  <a:lnTo>
                    <a:pt x="376" y="259"/>
                  </a:lnTo>
                  <a:lnTo>
                    <a:pt x="376" y="260"/>
                  </a:lnTo>
                  <a:lnTo>
                    <a:pt x="374" y="260"/>
                  </a:lnTo>
                  <a:lnTo>
                    <a:pt x="376" y="259"/>
                  </a:lnTo>
                  <a:lnTo>
                    <a:pt x="374" y="259"/>
                  </a:lnTo>
                  <a:lnTo>
                    <a:pt x="374" y="257"/>
                  </a:lnTo>
                  <a:lnTo>
                    <a:pt x="372" y="255"/>
                  </a:lnTo>
                  <a:lnTo>
                    <a:pt x="372" y="254"/>
                  </a:lnTo>
                  <a:lnTo>
                    <a:pt x="371" y="254"/>
                  </a:lnTo>
                  <a:lnTo>
                    <a:pt x="369" y="254"/>
                  </a:lnTo>
                  <a:lnTo>
                    <a:pt x="371" y="252"/>
                  </a:lnTo>
                  <a:lnTo>
                    <a:pt x="369" y="250"/>
                  </a:lnTo>
                  <a:lnTo>
                    <a:pt x="369" y="249"/>
                  </a:lnTo>
                  <a:lnTo>
                    <a:pt x="367" y="249"/>
                  </a:lnTo>
                  <a:lnTo>
                    <a:pt x="366" y="249"/>
                  </a:lnTo>
                  <a:lnTo>
                    <a:pt x="364" y="249"/>
                  </a:lnTo>
                  <a:lnTo>
                    <a:pt x="364" y="247"/>
                  </a:lnTo>
                  <a:lnTo>
                    <a:pt x="364" y="246"/>
                  </a:lnTo>
                  <a:lnTo>
                    <a:pt x="364" y="244"/>
                  </a:lnTo>
                  <a:lnTo>
                    <a:pt x="366" y="244"/>
                  </a:lnTo>
                  <a:lnTo>
                    <a:pt x="367" y="244"/>
                  </a:lnTo>
                  <a:lnTo>
                    <a:pt x="369" y="244"/>
                  </a:lnTo>
                  <a:lnTo>
                    <a:pt x="372" y="244"/>
                  </a:lnTo>
                  <a:lnTo>
                    <a:pt x="374" y="242"/>
                  </a:lnTo>
                  <a:lnTo>
                    <a:pt x="376" y="241"/>
                  </a:lnTo>
                  <a:lnTo>
                    <a:pt x="377" y="241"/>
                  </a:lnTo>
                  <a:lnTo>
                    <a:pt x="379" y="239"/>
                  </a:lnTo>
                  <a:lnTo>
                    <a:pt x="379" y="237"/>
                  </a:lnTo>
                  <a:lnTo>
                    <a:pt x="380" y="237"/>
                  </a:lnTo>
                  <a:lnTo>
                    <a:pt x="380" y="236"/>
                  </a:lnTo>
                  <a:lnTo>
                    <a:pt x="380" y="234"/>
                  </a:lnTo>
                  <a:lnTo>
                    <a:pt x="379" y="234"/>
                  </a:lnTo>
                  <a:lnTo>
                    <a:pt x="377" y="234"/>
                  </a:lnTo>
                  <a:lnTo>
                    <a:pt x="377" y="233"/>
                  </a:lnTo>
                  <a:lnTo>
                    <a:pt x="376" y="233"/>
                  </a:lnTo>
                  <a:lnTo>
                    <a:pt x="374" y="233"/>
                  </a:lnTo>
                  <a:lnTo>
                    <a:pt x="374" y="231"/>
                  </a:lnTo>
                  <a:lnTo>
                    <a:pt x="376" y="229"/>
                  </a:lnTo>
                  <a:lnTo>
                    <a:pt x="376" y="228"/>
                  </a:lnTo>
                  <a:lnTo>
                    <a:pt x="376" y="226"/>
                  </a:lnTo>
                  <a:lnTo>
                    <a:pt x="376" y="224"/>
                  </a:lnTo>
                  <a:lnTo>
                    <a:pt x="374" y="224"/>
                  </a:lnTo>
                  <a:lnTo>
                    <a:pt x="372" y="224"/>
                  </a:lnTo>
                  <a:lnTo>
                    <a:pt x="371" y="224"/>
                  </a:lnTo>
                  <a:lnTo>
                    <a:pt x="369" y="224"/>
                  </a:lnTo>
                  <a:lnTo>
                    <a:pt x="369" y="223"/>
                  </a:lnTo>
                  <a:lnTo>
                    <a:pt x="367" y="223"/>
                  </a:lnTo>
                  <a:lnTo>
                    <a:pt x="367" y="224"/>
                  </a:lnTo>
                  <a:lnTo>
                    <a:pt x="366" y="226"/>
                  </a:lnTo>
                  <a:lnTo>
                    <a:pt x="366" y="224"/>
                  </a:lnTo>
                  <a:lnTo>
                    <a:pt x="366" y="226"/>
                  </a:lnTo>
                  <a:lnTo>
                    <a:pt x="364" y="226"/>
                  </a:lnTo>
                  <a:lnTo>
                    <a:pt x="363" y="228"/>
                  </a:lnTo>
                  <a:lnTo>
                    <a:pt x="363" y="226"/>
                  </a:lnTo>
                  <a:lnTo>
                    <a:pt x="363" y="228"/>
                  </a:lnTo>
                  <a:lnTo>
                    <a:pt x="364" y="228"/>
                  </a:lnTo>
                  <a:lnTo>
                    <a:pt x="366" y="228"/>
                  </a:lnTo>
                  <a:lnTo>
                    <a:pt x="366" y="229"/>
                  </a:lnTo>
                  <a:lnTo>
                    <a:pt x="366" y="231"/>
                  </a:lnTo>
                  <a:lnTo>
                    <a:pt x="366" y="233"/>
                  </a:lnTo>
                  <a:lnTo>
                    <a:pt x="364" y="234"/>
                  </a:lnTo>
                  <a:lnTo>
                    <a:pt x="363" y="234"/>
                  </a:lnTo>
                  <a:lnTo>
                    <a:pt x="361" y="236"/>
                  </a:lnTo>
                  <a:lnTo>
                    <a:pt x="361" y="237"/>
                  </a:lnTo>
                  <a:lnTo>
                    <a:pt x="359" y="237"/>
                  </a:lnTo>
                  <a:lnTo>
                    <a:pt x="359" y="236"/>
                  </a:lnTo>
                  <a:lnTo>
                    <a:pt x="359" y="237"/>
                  </a:lnTo>
                  <a:lnTo>
                    <a:pt x="358" y="236"/>
                  </a:lnTo>
                  <a:lnTo>
                    <a:pt x="354" y="237"/>
                  </a:lnTo>
                  <a:lnTo>
                    <a:pt x="354" y="239"/>
                  </a:lnTo>
                  <a:lnTo>
                    <a:pt x="354" y="241"/>
                  </a:lnTo>
                  <a:lnTo>
                    <a:pt x="356" y="241"/>
                  </a:lnTo>
                  <a:lnTo>
                    <a:pt x="354" y="241"/>
                  </a:lnTo>
                  <a:lnTo>
                    <a:pt x="354" y="242"/>
                  </a:lnTo>
                  <a:lnTo>
                    <a:pt x="356" y="242"/>
                  </a:lnTo>
                  <a:lnTo>
                    <a:pt x="356" y="244"/>
                  </a:lnTo>
                  <a:lnTo>
                    <a:pt x="354" y="244"/>
                  </a:lnTo>
                  <a:lnTo>
                    <a:pt x="354" y="246"/>
                  </a:lnTo>
                  <a:lnTo>
                    <a:pt x="353" y="246"/>
                  </a:lnTo>
                  <a:lnTo>
                    <a:pt x="353" y="244"/>
                  </a:lnTo>
                  <a:lnTo>
                    <a:pt x="353" y="246"/>
                  </a:lnTo>
                  <a:lnTo>
                    <a:pt x="354" y="247"/>
                  </a:lnTo>
                  <a:lnTo>
                    <a:pt x="353" y="247"/>
                  </a:lnTo>
                  <a:lnTo>
                    <a:pt x="351" y="246"/>
                  </a:lnTo>
                  <a:lnTo>
                    <a:pt x="351" y="244"/>
                  </a:lnTo>
                  <a:lnTo>
                    <a:pt x="349" y="246"/>
                  </a:lnTo>
                  <a:lnTo>
                    <a:pt x="349" y="244"/>
                  </a:lnTo>
                  <a:lnTo>
                    <a:pt x="349" y="246"/>
                  </a:lnTo>
                  <a:lnTo>
                    <a:pt x="349" y="244"/>
                  </a:lnTo>
                  <a:lnTo>
                    <a:pt x="348" y="244"/>
                  </a:lnTo>
                  <a:lnTo>
                    <a:pt x="346" y="244"/>
                  </a:lnTo>
                  <a:lnTo>
                    <a:pt x="346" y="246"/>
                  </a:lnTo>
                  <a:lnTo>
                    <a:pt x="345" y="246"/>
                  </a:lnTo>
                  <a:lnTo>
                    <a:pt x="346" y="246"/>
                  </a:lnTo>
                  <a:lnTo>
                    <a:pt x="345" y="246"/>
                  </a:lnTo>
                  <a:lnTo>
                    <a:pt x="346" y="246"/>
                  </a:lnTo>
                  <a:lnTo>
                    <a:pt x="346" y="247"/>
                  </a:lnTo>
                  <a:lnTo>
                    <a:pt x="346" y="249"/>
                  </a:lnTo>
                  <a:lnTo>
                    <a:pt x="348" y="249"/>
                  </a:lnTo>
                  <a:lnTo>
                    <a:pt x="348" y="250"/>
                  </a:lnTo>
                  <a:lnTo>
                    <a:pt x="346" y="250"/>
                  </a:lnTo>
                  <a:lnTo>
                    <a:pt x="346" y="252"/>
                  </a:lnTo>
                  <a:lnTo>
                    <a:pt x="345" y="252"/>
                  </a:lnTo>
                  <a:lnTo>
                    <a:pt x="343" y="252"/>
                  </a:lnTo>
                  <a:lnTo>
                    <a:pt x="341" y="252"/>
                  </a:lnTo>
                  <a:lnTo>
                    <a:pt x="340" y="254"/>
                  </a:lnTo>
                  <a:lnTo>
                    <a:pt x="340" y="255"/>
                  </a:lnTo>
                  <a:lnTo>
                    <a:pt x="341" y="255"/>
                  </a:lnTo>
                  <a:lnTo>
                    <a:pt x="341" y="257"/>
                  </a:lnTo>
                  <a:lnTo>
                    <a:pt x="341" y="259"/>
                  </a:lnTo>
                  <a:lnTo>
                    <a:pt x="343" y="260"/>
                  </a:lnTo>
                  <a:lnTo>
                    <a:pt x="343" y="262"/>
                  </a:lnTo>
                  <a:lnTo>
                    <a:pt x="345" y="264"/>
                  </a:lnTo>
                  <a:lnTo>
                    <a:pt x="345" y="265"/>
                  </a:lnTo>
                  <a:lnTo>
                    <a:pt x="346" y="265"/>
                  </a:lnTo>
                  <a:lnTo>
                    <a:pt x="345" y="267"/>
                  </a:lnTo>
                  <a:lnTo>
                    <a:pt x="346" y="267"/>
                  </a:lnTo>
                  <a:lnTo>
                    <a:pt x="346" y="265"/>
                  </a:lnTo>
                  <a:lnTo>
                    <a:pt x="346" y="267"/>
                  </a:lnTo>
                  <a:lnTo>
                    <a:pt x="348" y="267"/>
                  </a:lnTo>
                  <a:lnTo>
                    <a:pt x="349" y="267"/>
                  </a:lnTo>
                  <a:lnTo>
                    <a:pt x="349" y="268"/>
                  </a:lnTo>
                  <a:lnTo>
                    <a:pt x="349" y="270"/>
                  </a:lnTo>
                  <a:lnTo>
                    <a:pt x="348" y="272"/>
                  </a:lnTo>
                  <a:lnTo>
                    <a:pt x="346" y="273"/>
                  </a:lnTo>
                  <a:lnTo>
                    <a:pt x="346" y="275"/>
                  </a:lnTo>
                  <a:lnTo>
                    <a:pt x="346" y="277"/>
                  </a:lnTo>
                  <a:lnTo>
                    <a:pt x="346" y="278"/>
                  </a:lnTo>
                  <a:lnTo>
                    <a:pt x="345" y="278"/>
                  </a:lnTo>
                  <a:lnTo>
                    <a:pt x="345" y="280"/>
                  </a:lnTo>
                  <a:lnTo>
                    <a:pt x="345" y="283"/>
                  </a:lnTo>
                  <a:lnTo>
                    <a:pt x="345" y="285"/>
                  </a:lnTo>
                  <a:lnTo>
                    <a:pt x="345" y="288"/>
                  </a:lnTo>
                  <a:lnTo>
                    <a:pt x="345" y="290"/>
                  </a:lnTo>
                  <a:lnTo>
                    <a:pt x="345" y="291"/>
                  </a:lnTo>
                  <a:lnTo>
                    <a:pt x="343" y="293"/>
                  </a:lnTo>
                  <a:lnTo>
                    <a:pt x="343" y="296"/>
                  </a:lnTo>
                  <a:lnTo>
                    <a:pt x="341" y="298"/>
                  </a:lnTo>
                  <a:lnTo>
                    <a:pt x="341" y="299"/>
                  </a:lnTo>
                  <a:lnTo>
                    <a:pt x="341" y="301"/>
                  </a:lnTo>
                  <a:lnTo>
                    <a:pt x="345" y="306"/>
                  </a:lnTo>
                  <a:lnTo>
                    <a:pt x="346" y="309"/>
                  </a:lnTo>
                  <a:lnTo>
                    <a:pt x="346" y="311"/>
                  </a:lnTo>
                  <a:lnTo>
                    <a:pt x="346" y="312"/>
                  </a:lnTo>
                  <a:lnTo>
                    <a:pt x="346" y="314"/>
                  </a:lnTo>
                  <a:lnTo>
                    <a:pt x="348" y="314"/>
                  </a:lnTo>
                  <a:lnTo>
                    <a:pt x="349" y="317"/>
                  </a:lnTo>
                  <a:lnTo>
                    <a:pt x="349" y="319"/>
                  </a:lnTo>
                  <a:lnTo>
                    <a:pt x="351" y="319"/>
                  </a:lnTo>
                  <a:lnTo>
                    <a:pt x="353" y="320"/>
                  </a:lnTo>
                  <a:lnTo>
                    <a:pt x="354" y="320"/>
                  </a:lnTo>
                  <a:lnTo>
                    <a:pt x="354" y="322"/>
                  </a:lnTo>
                  <a:lnTo>
                    <a:pt x="359" y="322"/>
                  </a:lnTo>
                  <a:lnTo>
                    <a:pt x="361" y="322"/>
                  </a:lnTo>
                  <a:lnTo>
                    <a:pt x="361" y="324"/>
                  </a:lnTo>
                  <a:lnTo>
                    <a:pt x="364" y="324"/>
                  </a:lnTo>
                  <a:lnTo>
                    <a:pt x="364" y="325"/>
                  </a:lnTo>
                  <a:lnTo>
                    <a:pt x="366" y="327"/>
                  </a:lnTo>
                  <a:lnTo>
                    <a:pt x="364" y="327"/>
                  </a:lnTo>
                  <a:lnTo>
                    <a:pt x="366" y="327"/>
                  </a:lnTo>
                  <a:lnTo>
                    <a:pt x="364" y="329"/>
                  </a:lnTo>
                  <a:lnTo>
                    <a:pt x="364" y="330"/>
                  </a:lnTo>
                  <a:lnTo>
                    <a:pt x="366" y="332"/>
                  </a:lnTo>
                  <a:lnTo>
                    <a:pt x="367" y="333"/>
                  </a:lnTo>
                  <a:lnTo>
                    <a:pt x="367" y="335"/>
                  </a:lnTo>
                  <a:lnTo>
                    <a:pt x="369" y="335"/>
                  </a:lnTo>
                  <a:lnTo>
                    <a:pt x="369" y="337"/>
                  </a:lnTo>
                  <a:lnTo>
                    <a:pt x="369" y="335"/>
                  </a:lnTo>
                  <a:lnTo>
                    <a:pt x="371" y="337"/>
                  </a:lnTo>
                  <a:lnTo>
                    <a:pt x="372" y="337"/>
                  </a:lnTo>
                  <a:lnTo>
                    <a:pt x="374" y="337"/>
                  </a:lnTo>
                  <a:lnTo>
                    <a:pt x="374" y="338"/>
                  </a:lnTo>
                  <a:lnTo>
                    <a:pt x="376" y="338"/>
                  </a:lnTo>
                  <a:lnTo>
                    <a:pt x="376" y="340"/>
                  </a:lnTo>
                  <a:lnTo>
                    <a:pt x="377" y="342"/>
                  </a:lnTo>
                  <a:lnTo>
                    <a:pt x="379" y="342"/>
                  </a:lnTo>
                  <a:lnTo>
                    <a:pt x="382" y="343"/>
                  </a:lnTo>
                  <a:lnTo>
                    <a:pt x="384" y="345"/>
                  </a:lnTo>
                  <a:lnTo>
                    <a:pt x="384" y="346"/>
                  </a:lnTo>
                  <a:lnTo>
                    <a:pt x="384" y="348"/>
                  </a:lnTo>
                  <a:lnTo>
                    <a:pt x="385" y="353"/>
                  </a:lnTo>
                  <a:lnTo>
                    <a:pt x="389" y="358"/>
                  </a:lnTo>
                  <a:lnTo>
                    <a:pt x="389" y="359"/>
                  </a:lnTo>
                  <a:lnTo>
                    <a:pt x="390" y="359"/>
                  </a:lnTo>
                  <a:lnTo>
                    <a:pt x="390" y="361"/>
                  </a:lnTo>
                  <a:lnTo>
                    <a:pt x="390" y="363"/>
                  </a:lnTo>
                  <a:lnTo>
                    <a:pt x="390" y="364"/>
                  </a:lnTo>
                  <a:lnTo>
                    <a:pt x="392" y="364"/>
                  </a:lnTo>
                  <a:lnTo>
                    <a:pt x="392" y="366"/>
                  </a:lnTo>
                  <a:lnTo>
                    <a:pt x="393" y="368"/>
                  </a:lnTo>
                  <a:lnTo>
                    <a:pt x="393" y="369"/>
                  </a:lnTo>
                  <a:lnTo>
                    <a:pt x="395" y="369"/>
                  </a:lnTo>
                  <a:lnTo>
                    <a:pt x="395" y="371"/>
                  </a:lnTo>
                  <a:lnTo>
                    <a:pt x="395" y="372"/>
                  </a:lnTo>
                  <a:lnTo>
                    <a:pt x="397" y="372"/>
                  </a:lnTo>
                  <a:lnTo>
                    <a:pt x="397" y="374"/>
                  </a:lnTo>
                  <a:lnTo>
                    <a:pt x="398" y="374"/>
                  </a:lnTo>
                  <a:lnTo>
                    <a:pt x="400" y="374"/>
                  </a:lnTo>
                  <a:lnTo>
                    <a:pt x="402" y="374"/>
                  </a:lnTo>
                  <a:lnTo>
                    <a:pt x="402" y="376"/>
                  </a:lnTo>
                  <a:lnTo>
                    <a:pt x="403" y="376"/>
                  </a:lnTo>
                  <a:lnTo>
                    <a:pt x="405" y="376"/>
                  </a:lnTo>
                  <a:lnTo>
                    <a:pt x="406" y="377"/>
                  </a:lnTo>
                  <a:lnTo>
                    <a:pt x="406" y="379"/>
                  </a:lnTo>
                  <a:lnTo>
                    <a:pt x="408" y="377"/>
                  </a:lnTo>
                  <a:lnTo>
                    <a:pt x="410" y="377"/>
                  </a:lnTo>
                  <a:lnTo>
                    <a:pt x="411" y="377"/>
                  </a:lnTo>
                  <a:lnTo>
                    <a:pt x="411" y="379"/>
                  </a:lnTo>
                  <a:lnTo>
                    <a:pt x="413" y="379"/>
                  </a:lnTo>
                  <a:lnTo>
                    <a:pt x="415" y="381"/>
                  </a:lnTo>
                  <a:lnTo>
                    <a:pt x="416" y="381"/>
                  </a:lnTo>
                  <a:lnTo>
                    <a:pt x="416" y="382"/>
                  </a:lnTo>
                  <a:lnTo>
                    <a:pt x="418" y="382"/>
                  </a:lnTo>
                  <a:lnTo>
                    <a:pt x="418" y="384"/>
                  </a:lnTo>
                  <a:lnTo>
                    <a:pt x="419" y="385"/>
                  </a:lnTo>
                  <a:lnTo>
                    <a:pt x="419" y="387"/>
                  </a:lnTo>
                  <a:lnTo>
                    <a:pt x="421" y="387"/>
                  </a:lnTo>
                  <a:lnTo>
                    <a:pt x="421" y="389"/>
                  </a:lnTo>
                  <a:lnTo>
                    <a:pt x="424" y="389"/>
                  </a:lnTo>
                  <a:lnTo>
                    <a:pt x="424" y="390"/>
                  </a:lnTo>
                  <a:lnTo>
                    <a:pt x="426" y="392"/>
                  </a:lnTo>
                  <a:lnTo>
                    <a:pt x="428" y="392"/>
                  </a:lnTo>
                  <a:lnTo>
                    <a:pt x="429" y="394"/>
                  </a:lnTo>
                  <a:lnTo>
                    <a:pt x="429" y="395"/>
                  </a:lnTo>
                  <a:lnTo>
                    <a:pt x="431" y="395"/>
                  </a:lnTo>
                  <a:lnTo>
                    <a:pt x="431" y="397"/>
                  </a:lnTo>
                  <a:lnTo>
                    <a:pt x="431" y="399"/>
                  </a:lnTo>
                  <a:lnTo>
                    <a:pt x="431" y="397"/>
                  </a:lnTo>
                  <a:lnTo>
                    <a:pt x="432" y="397"/>
                  </a:lnTo>
                  <a:lnTo>
                    <a:pt x="432" y="399"/>
                  </a:lnTo>
                  <a:lnTo>
                    <a:pt x="434" y="400"/>
                  </a:lnTo>
                  <a:lnTo>
                    <a:pt x="436" y="400"/>
                  </a:lnTo>
                  <a:lnTo>
                    <a:pt x="437" y="402"/>
                  </a:lnTo>
                  <a:lnTo>
                    <a:pt x="437" y="400"/>
                  </a:lnTo>
                  <a:lnTo>
                    <a:pt x="437" y="402"/>
                  </a:lnTo>
                  <a:lnTo>
                    <a:pt x="439" y="402"/>
                  </a:lnTo>
                  <a:lnTo>
                    <a:pt x="439" y="403"/>
                  </a:lnTo>
                  <a:lnTo>
                    <a:pt x="441" y="403"/>
                  </a:lnTo>
                  <a:lnTo>
                    <a:pt x="441" y="405"/>
                  </a:lnTo>
                  <a:lnTo>
                    <a:pt x="441" y="407"/>
                  </a:lnTo>
                  <a:lnTo>
                    <a:pt x="442" y="407"/>
                  </a:lnTo>
                  <a:lnTo>
                    <a:pt x="441" y="408"/>
                  </a:lnTo>
                  <a:lnTo>
                    <a:pt x="442" y="408"/>
                  </a:lnTo>
                  <a:lnTo>
                    <a:pt x="442" y="410"/>
                  </a:lnTo>
                  <a:lnTo>
                    <a:pt x="444" y="410"/>
                  </a:lnTo>
                  <a:lnTo>
                    <a:pt x="444" y="412"/>
                  </a:lnTo>
                  <a:lnTo>
                    <a:pt x="444" y="410"/>
                  </a:lnTo>
                  <a:lnTo>
                    <a:pt x="444" y="412"/>
                  </a:lnTo>
                  <a:lnTo>
                    <a:pt x="445" y="412"/>
                  </a:lnTo>
                  <a:lnTo>
                    <a:pt x="445" y="413"/>
                  </a:lnTo>
                  <a:lnTo>
                    <a:pt x="447" y="413"/>
                  </a:lnTo>
                  <a:lnTo>
                    <a:pt x="447" y="415"/>
                  </a:lnTo>
                  <a:lnTo>
                    <a:pt x="449" y="415"/>
                  </a:lnTo>
                  <a:lnTo>
                    <a:pt x="449" y="416"/>
                  </a:lnTo>
                  <a:lnTo>
                    <a:pt x="449" y="418"/>
                  </a:lnTo>
                  <a:lnTo>
                    <a:pt x="450" y="418"/>
                  </a:lnTo>
                  <a:lnTo>
                    <a:pt x="450" y="420"/>
                  </a:lnTo>
                  <a:lnTo>
                    <a:pt x="450" y="421"/>
                  </a:lnTo>
                  <a:lnTo>
                    <a:pt x="450" y="423"/>
                  </a:lnTo>
                  <a:lnTo>
                    <a:pt x="450" y="425"/>
                  </a:lnTo>
                  <a:lnTo>
                    <a:pt x="449" y="425"/>
                  </a:lnTo>
                  <a:lnTo>
                    <a:pt x="449" y="426"/>
                  </a:lnTo>
                  <a:lnTo>
                    <a:pt x="447" y="426"/>
                  </a:lnTo>
                  <a:lnTo>
                    <a:pt x="447" y="428"/>
                  </a:lnTo>
                  <a:lnTo>
                    <a:pt x="445" y="428"/>
                  </a:lnTo>
                  <a:lnTo>
                    <a:pt x="444" y="428"/>
                  </a:lnTo>
                  <a:lnTo>
                    <a:pt x="442" y="429"/>
                  </a:lnTo>
                  <a:lnTo>
                    <a:pt x="441" y="431"/>
                  </a:lnTo>
                  <a:lnTo>
                    <a:pt x="439" y="431"/>
                  </a:lnTo>
                  <a:lnTo>
                    <a:pt x="437" y="431"/>
                  </a:lnTo>
                  <a:lnTo>
                    <a:pt x="437" y="429"/>
                  </a:lnTo>
                  <a:lnTo>
                    <a:pt x="437" y="431"/>
                  </a:lnTo>
                  <a:lnTo>
                    <a:pt x="437" y="433"/>
                  </a:lnTo>
                  <a:lnTo>
                    <a:pt x="439" y="433"/>
                  </a:lnTo>
                  <a:lnTo>
                    <a:pt x="439" y="434"/>
                  </a:lnTo>
                  <a:lnTo>
                    <a:pt x="437" y="434"/>
                  </a:lnTo>
                  <a:lnTo>
                    <a:pt x="437" y="436"/>
                  </a:lnTo>
                  <a:lnTo>
                    <a:pt x="436" y="436"/>
                  </a:lnTo>
                  <a:lnTo>
                    <a:pt x="436" y="434"/>
                  </a:lnTo>
                  <a:lnTo>
                    <a:pt x="434" y="434"/>
                  </a:lnTo>
                  <a:lnTo>
                    <a:pt x="434" y="436"/>
                  </a:lnTo>
                  <a:lnTo>
                    <a:pt x="432" y="436"/>
                  </a:lnTo>
                  <a:lnTo>
                    <a:pt x="432" y="438"/>
                  </a:lnTo>
                  <a:lnTo>
                    <a:pt x="431" y="438"/>
                  </a:lnTo>
                  <a:lnTo>
                    <a:pt x="429" y="438"/>
                  </a:lnTo>
                  <a:lnTo>
                    <a:pt x="429" y="439"/>
                  </a:lnTo>
                  <a:lnTo>
                    <a:pt x="428" y="439"/>
                  </a:lnTo>
                  <a:lnTo>
                    <a:pt x="426" y="439"/>
                  </a:lnTo>
                  <a:lnTo>
                    <a:pt x="424" y="439"/>
                  </a:lnTo>
                  <a:lnTo>
                    <a:pt x="423" y="439"/>
                  </a:lnTo>
                  <a:lnTo>
                    <a:pt x="421" y="439"/>
                  </a:lnTo>
                  <a:lnTo>
                    <a:pt x="419" y="439"/>
                  </a:lnTo>
                  <a:lnTo>
                    <a:pt x="419" y="438"/>
                  </a:lnTo>
                  <a:lnTo>
                    <a:pt x="421" y="436"/>
                  </a:lnTo>
                  <a:lnTo>
                    <a:pt x="421" y="434"/>
                  </a:lnTo>
                  <a:lnTo>
                    <a:pt x="421" y="433"/>
                  </a:lnTo>
                  <a:lnTo>
                    <a:pt x="421" y="431"/>
                  </a:lnTo>
                  <a:lnTo>
                    <a:pt x="423" y="431"/>
                  </a:lnTo>
                  <a:lnTo>
                    <a:pt x="424" y="431"/>
                  </a:lnTo>
                  <a:lnTo>
                    <a:pt x="424" y="429"/>
                  </a:lnTo>
                  <a:lnTo>
                    <a:pt x="424" y="428"/>
                  </a:lnTo>
                  <a:lnTo>
                    <a:pt x="424" y="429"/>
                  </a:lnTo>
                  <a:lnTo>
                    <a:pt x="426" y="429"/>
                  </a:lnTo>
                  <a:lnTo>
                    <a:pt x="426" y="431"/>
                  </a:lnTo>
                  <a:lnTo>
                    <a:pt x="426" y="433"/>
                  </a:lnTo>
                  <a:lnTo>
                    <a:pt x="428" y="431"/>
                  </a:lnTo>
                  <a:lnTo>
                    <a:pt x="426" y="433"/>
                  </a:lnTo>
                  <a:lnTo>
                    <a:pt x="426" y="434"/>
                  </a:lnTo>
                  <a:lnTo>
                    <a:pt x="424" y="434"/>
                  </a:lnTo>
                  <a:lnTo>
                    <a:pt x="424" y="436"/>
                  </a:lnTo>
                  <a:lnTo>
                    <a:pt x="424" y="438"/>
                  </a:lnTo>
                  <a:lnTo>
                    <a:pt x="426" y="438"/>
                  </a:lnTo>
                  <a:lnTo>
                    <a:pt x="426" y="436"/>
                  </a:lnTo>
                  <a:lnTo>
                    <a:pt x="428" y="436"/>
                  </a:lnTo>
                  <a:lnTo>
                    <a:pt x="428" y="434"/>
                  </a:lnTo>
                  <a:lnTo>
                    <a:pt x="429" y="434"/>
                  </a:lnTo>
                  <a:lnTo>
                    <a:pt x="429" y="433"/>
                  </a:lnTo>
                  <a:lnTo>
                    <a:pt x="431" y="433"/>
                  </a:lnTo>
                  <a:lnTo>
                    <a:pt x="429" y="433"/>
                  </a:lnTo>
                  <a:lnTo>
                    <a:pt x="429" y="431"/>
                  </a:lnTo>
                  <a:lnTo>
                    <a:pt x="431" y="431"/>
                  </a:lnTo>
                  <a:lnTo>
                    <a:pt x="431" y="433"/>
                  </a:lnTo>
                  <a:lnTo>
                    <a:pt x="432" y="431"/>
                  </a:lnTo>
                  <a:lnTo>
                    <a:pt x="432" y="433"/>
                  </a:lnTo>
                  <a:lnTo>
                    <a:pt x="432" y="431"/>
                  </a:lnTo>
                  <a:lnTo>
                    <a:pt x="432" y="429"/>
                  </a:lnTo>
                  <a:lnTo>
                    <a:pt x="432" y="428"/>
                  </a:lnTo>
                  <a:lnTo>
                    <a:pt x="434" y="428"/>
                  </a:lnTo>
                  <a:lnTo>
                    <a:pt x="432" y="428"/>
                  </a:lnTo>
                  <a:lnTo>
                    <a:pt x="434" y="426"/>
                  </a:lnTo>
                  <a:lnTo>
                    <a:pt x="434" y="428"/>
                  </a:lnTo>
                  <a:lnTo>
                    <a:pt x="436" y="429"/>
                  </a:lnTo>
                  <a:lnTo>
                    <a:pt x="436" y="428"/>
                  </a:lnTo>
                  <a:lnTo>
                    <a:pt x="437" y="428"/>
                  </a:lnTo>
                  <a:lnTo>
                    <a:pt x="436" y="428"/>
                  </a:lnTo>
                  <a:lnTo>
                    <a:pt x="436" y="426"/>
                  </a:lnTo>
                  <a:lnTo>
                    <a:pt x="437" y="425"/>
                  </a:lnTo>
                  <a:lnTo>
                    <a:pt x="437" y="423"/>
                  </a:lnTo>
                  <a:lnTo>
                    <a:pt x="436" y="423"/>
                  </a:lnTo>
                  <a:lnTo>
                    <a:pt x="436" y="421"/>
                  </a:lnTo>
                  <a:lnTo>
                    <a:pt x="434" y="421"/>
                  </a:lnTo>
                  <a:lnTo>
                    <a:pt x="432" y="421"/>
                  </a:lnTo>
                  <a:lnTo>
                    <a:pt x="432" y="420"/>
                  </a:lnTo>
                  <a:lnTo>
                    <a:pt x="432" y="418"/>
                  </a:lnTo>
                  <a:lnTo>
                    <a:pt x="431" y="418"/>
                  </a:lnTo>
                  <a:lnTo>
                    <a:pt x="431" y="416"/>
                  </a:lnTo>
                  <a:lnTo>
                    <a:pt x="431" y="415"/>
                  </a:lnTo>
                  <a:lnTo>
                    <a:pt x="431" y="413"/>
                  </a:lnTo>
                  <a:lnTo>
                    <a:pt x="429" y="413"/>
                  </a:lnTo>
                  <a:lnTo>
                    <a:pt x="431" y="413"/>
                  </a:lnTo>
                  <a:lnTo>
                    <a:pt x="429" y="413"/>
                  </a:lnTo>
                  <a:lnTo>
                    <a:pt x="429" y="412"/>
                  </a:lnTo>
                  <a:lnTo>
                    <a:pt x="428" y="412"/>
                  </a:lnTo>
                  <a:lnTo>
                    <a:pt x="426" y="410"/>
                  </a:lnTo>
                  <a:lnTo>
                    <a:pt x="424" y="410"/>
                  </a:lnTo>
                  <a:lnTo>
                    <a:pt x="423" y="408"/>
                  </a:lnTo>
                  <a:lnTo>
                    <a:pt x="421" y="408"/>
                  </a:lnTo>
                  <a:lnTo>
                    <a:pt x="419" y="408"/>
                  </a:lnTo>
                  <a:lnTo>
                    <a:pt x="418" y="407"/>
                  </a:lnTo>
                  <a:lnTo>
                    <a:pt x="416" y="408"/>
                  </a:lnTo>
                  <a:lnTo>
                    <a:pt x="415" y="408"/>
                  </a:lnTo>
                  <a:lnTo>
                    <a:pt x="413" y="408"/>
                  </a:lnTo>
                  <a:lnTo>
                    <a:pt x="411" y="408"/>
                  </a:lnTo>
                  <a:lnTo>
                    <a:pt x="411" y="407"/>
                  </a:lnTo>
                  <a:lnTo>
                    <a:pt x="410" y="407"/>
                  </a:lnTo>
                  <a:lnTo>
                    <a:pt x="410" y="405"/>
                  </a:lnTo>
                  <a:lnTo>
                    <a:pt x="408" y="405"/>
                  </a:lnTo>
                  <a:lnTo>
                    <a:pt x="408" y="403"/>
                  </a:lnTo>
                  <a:lnTo>
                    <a:pt x="406" y="403"/>
                  </a:lnTo>
                  <a:lnTo>
                    <a:pt x="406" y="405"/>
                  </a:lnTo>
                  <a:lnTo>
                    <a:pt x="405" y="405"/>
                  </a:lnTo>
                  <a:lnTo>
                    <a:pt x="403" y="403"/>
                  </a:lnTo>
                  <a:lnTo>
                    <a:pt x="402" y="403"/>
                  </a:lnTo>
                  <a:lnTo>
                    <a:pt x="402" y="405"/>
                  </a:lnTo>
                  <a:lnTo>
                    <a:pt x="400" y="405"/>
                  </a:lnTo>
                  <a:lnTo>
                    <a:pt x="402" y="405"/>
                  </a:lnTo>
                  <a:lnTo>
                    <a:pt x="403" y="405"/>
                  </a:lnTo>
                  <a:lnTo>
                    <a:pt x="403" y="407"/>
                  </a:lnTo>
                  <a:lnTo>
                    <a:pt x="402" y="408"/>
                  </a:lnTo>
                  <a:lnTo>
                    <a:pt x="402" y="410"/>
                  </a:lnTo>
                  <a:lnTo>
                    <a:pt x="403" y="410"/>
                  </a:lnTo>
                  <a:lnTo>
                    <a:pt x="403" y="412"/>
                  </a:lnTo>
                  <a:lnTo>
                    <a:pt x="403" y="413"/>
                  </a:lnTo>
                  <a:lnTo>
                    <a:pt x="402" y="413"/>
                  </a:lnTo>
                  <a:lnTo>
                    <a:pt x="400" y="413"/>
                  </a:lnTo>
                  <a:lnTo>
                    <a:pt x="398" y="415"/>
                  </a:lnTo>
                  <a:lnTo>
                    <a:pt x="397" y="415"/>
                  </a:lnTo>
                  <a:lnTo>
                    <a:pt x="395" y="415"/>
                  </a:lnTo>
                  <a:lnTo>
                    <a:pt x="395" y="416"/>
                  </a:lnTo>
                  <a:lnTo>
                    <a:pt x="393" y="416"/>
                  </a:lnTo>
                  <a:lnTo>
                    <a:pt x="392" y="418"/>
                  </a:lnTo>
                  <a:lnTo>
                    <a:pt x="390" y="418"/>
                  </a:lnTo>
                  <a:lnTo>
                    <a:pt x="390" y="420"/>
                  </a:lnTo>
                  <a:lnTo>
                    <a:pt x="390" y="421"/>
                  </a:lnTo>
                  <a:lnTo>
                    <a:pt x="390" y="423"/>
                  </a:lnTo>
                  <a:lnTo>
                    <a:pt x="392" y="425"/>
                  </a:lnTo>
                  <a:lnTo>
                    <a:pt x="392" y="426"/>
                  </a:lnTo>
                  <a:lnTo>
                    <a:pt x="393" y="428"/>
                  </a:lnTo>
                  <a:lnTo>
                    <a:pt x="393" y="429"/>
                  </a:lnTo>
                  <a:lnTo>
                    <a:pt x="395" y="431"/>
                  </a:lnTo>
                  <a:lnTo>
                    <a:pt x="397" y="433"/>
                  </a:lnTo>
                  <a:lnTo>
                    <a:pt x="397" y="434"/>
                  </a:lnTo>
                  <a:lnTo>
                    <a:pt x="398" y="434"/>
                  </a:lnTo>
                  <a:lnTo>
                    <a:pt x="398" y="433"/>
                  </a:lnTo>
                  <a:lnTo>
                    <a:pt x="398" y="431"/>
                  </a:lnTo>
                  <a:lnTo>
                    <a:pt x="400" y="431"/>
                  </a:lnTo>
                  <a:lnTo>
                    <a:pt x="398" y="431"/>
                  </a:lnTo>
                  <a:lnTo>
                    <a:pt x="398" y="429"/>
                  </a:lnTo>
                  <a:lnTo>
                    <a:pt x="400" y="429"/>
                  </a:lnTo>
                  <a:lnTo>
                    <a:pt x="400" y="428"/>
                  </a:lnTo>
                  <a:lnTo>
                    <a:pt x="400" y="429"/>
                  </a:lnTo>
                  <a:lnTo>
                    <a:pt x="400" y="428"/>
                  </a:lnTo>
                  <a:lnTo>
                    <a:pt x="400" y="429"/>
                  </a:lnTo>
                  <a:lnTo>
                    <a:pt x="400" y="431"/>
                  </a:lnTo>
                  <a:lnTo>
                    <a:pt x="402" y="431"/>
                  </a:lnTo>
                  <a:lnTo>
                    <a:pt x="402" y="433"/>
                  </a:lnTo>
                  <a:lnTo>
                    <a:pt x="403" y="433"/>
                  </a:lnTo>
                  <a:lnTo>
                    <a:pt x="403" y="434"/>
                  </a:lnTo>
                  <a:lnTo>
                    <a:pt x="403" y="436"/>
                  </a:lnTo>
                  <a:lnTo>
                    <a:pt x="405" y="438"/>
                  </a:lnTo>
                  <a:lnTo>
                    <a:pt x="405" y="439"/>
                  </a:lnTo>
                  <a:lnTo>
                    <a:pt x="406" y="439"/>
                  </a:lnTo>
                  <a:lnTo>
                    <a:pt x="408" y="439"/>
                  </a:lnTo>
                  <a:lnTo>
                    <a:pt x="408" y="438"/>
                  </a:lnTo>
                  <a:lnTo>
                    <a:pt x="406" y="438"/>
                  </a:lnTo>
                  <a:lnTo>
                    <a:pt x="406" y="436"/>
                  </a:lnTo>
                  <a:lnTo>
                    <a:pt x="408" y="438"/>
                  </a:lnTo>
                  <a:lnTo>
                    <a:pt x="410" y="438"/>
                  </a:lnTo>
                  <a:lnTo>
                    <a:pt x="410" y="439"/>
                  </a:lnTo>
                  <a:lnTo>
                    <a:pt x="411" y="439"/>
                  </a:lnTo>
                  <a:lnTo>
                    <a:pt x="413" y="439"/>
                  </a:lnTo>
                  <a:lnTo>
                    <a:pt x="411" y="441"/>
                  </a:lnTo>
                  <a:lnTo>
                    <a:pt x="413" y="442"/>
                  </a:lnTo>
                  <a:lnTo>
                    <a:pt x="415" y="444"/>
                  </a:lnTo>
                  <a:lnTo>
                    <a:pt x="415" y="442"/>
                  </a:lnTo>
                  <a:lnTo>
                    <a:pt x="415" y="444"/>
                  </a:lnTo>
                  <a:lnTo>
                    <a:pt x="415" y="446"/>
                  </a:lnTo>
                  <a:lnTo>
                    <a:pt x="415" y="447"/>
                  </a:lnTo>
                  <a:lnTo>
                    <a:pt x="415" y="449"/>
                  </a:lnTo>
                  <a:lnTo>
                    <a:pt x="413" y="449"/>
                  </a:lnTo>
                  <a:lnTo>
                    <a:pt x="411" y="449"/>
                  </a:lnTo>
                  <a:lnTo>
                    <a:pt x="411" y="451"/>
                  </a:lnTo>
                  <a:lnTo>
                    <a:pt x="413" y="451"/>
                  </a:lnTo>
                  <a:lnTo>
                    <a:pt x="411" y="452"/>
                  </a:lnTo>
                  <a:lnTo>
                    <a:pt x="413" y="452"/>
                  </a:lnTo>
                  <a:lnTo>
                    <a:pt x="415" y="452"/>
                  </a:lnTo>
                  <a:lnTo>
                    <a:pt x="415" y="451"/>
                  </a:lnTo>
                  <a:lnTo>
                    <a:pt x="416" y="451"/>
                  </a:lnTo>
                  <a:lnTo>
                    <a:pt x="416" y="449"/>
                  </a:lnTo>
                  <a:lnTo>
                    <a:pt x="418" y="449"/>
                  </a:lnTo>
                  <a:lnTo>
                    <a:pt x="418" y="447"/>
                  </a:lnTo>
                  <a:lnTo>
                    <a:pt x="419" y="447"/>
                  </a:lnTo>
                  <a:lnTo>
                    <a:pt x="421" y="447"/>
                  </a:lnTo>
                  <a:lnTo>
                    <a:pt x="423" y="447"/>
                  </a:lnTo>
                  <a:lnTo>
                    <a:pt x="423" y="446"/>
                  </a:lnTo>
                  <a:lnTo>
                    <a:pt x="423" y="447"/>
                  </a:lnTo>
                  <a:lnTo>
                    <a:pt x="423" y="449"/>
                  </a:lnTo>
                  <a:lnTo>
                    <a:pt x="423" y="451"/>
                  </a:lnTo>
                  <a:lnTo>
                    <a:pt x="421" y="449"/>
                  </a:lnTo>
                  <a:lnTo>
                    <a:pt x="421" y="451"/>
                  </a:lnTo>
                  <a:lnTo>
                    <a:pt x="419" y="451"/>
                  </a:lnTo>
                  <a:lnTo>
                    <a:pt x="419" y="452"/>
                  </a:lnTo>
                  <a:lnTo>
                    <a:pt x="418" y="452"/>
                  </a:lnTo>
                  <a:lnTo>
                    <a:pt x="418" y="454"/>
                  </a:lnTo>
                  <a:lnTo>
                    <a:pt x="418" y="457"/>
                  </a:lnTo>
                  <a:lnTo>
                    <a:pt x="416" y="457"/>
                  </a:lnTo>
                  <a:lnTo>
                    <a:pt x="416" y="459"/>
                  </a:lnTo>
                  <a:lnTo>
                    <a:pt x="418" y="460"/>
                  </a:lnTo>
                  <a:lnTo>
                    <a:pt x="416" y="460"/>
                  </a:lnTo>
                  <a:lnTo>
                    <a:pt x="416" y="462"/>
                  </a:lnTo>
                  <a:lnTo>
                    <a:pt x="416" y="460"/>
                  </a:lnTo>
                  <a:lnTo>
                    <a:pt x="415" y="460"/>
                  </a:lnTo>
                  <a:lnTo>
                    <a:pt x="413" y="460"/>
                  </a:lnTo>
                  <a:lnTo>
                    <a:pt x="413" y="462"/>
                  </a:lnTo>
                  <a:lnTo>
                    <a:pt x="413" y="464"/>
                  </a:lnTo>
                  <a:lnTo>
                    <a:pt x="411" y="464"/>
                  </a:lnTo>
                  <a:lnTo>
                    <a:pt x="411" y="462"/>
                  </a:lnTo>
                  <a:lnTo>
                    <a:pt x="410" y="464"/>
                  </a:lnTo>
                  <a:lnTo>
                    <a:pt x="411" y="464"/>
                  </a:lnTo>
                  <a:lnTo>
                    <a:pt x="411" y="465"/>
                  </a:lnTo>
                  <a:lnTo>
                    <a:pt x="410" y="465"/>
                  </a:lnTo>
                  <a:lnTo>
                    <a:pt x="410" y="467"/>
                  </a:lnTo>
                  <a:lnTo>
                    <a:pt x="408" y="465"/>
                  </a:lnTo>
                  <a:lnTo>
                    <a:pt x="408" y="467"/>
                  </a:lnTo>
                  <a:lnTo>
                    <a:pt x="406" y="467"/>
                  </a:lnTo>
                  <a:lnTo>
                    <a:pt x="405" y="467"/>
                  </a:lnTo>
                  <a:lnTo>
                    <a:pt x="403" y="467"/>
                  </a:lnTo>
                  <a:lnTo>
                    <a:pt x="402" y="467"/>
                  </a:lnTo>
                  <a:lnTo>
                    <a:pt x="402" y="468"/>
                  </a:lnTo>
                  <a:lnTo>
                    <a:pt x="400" y="468"/>
                  </a:lnTo>
                  <a:lnTo>
                    <a:pt x="400" y="470"/>
                  </a:lnTo>
                  <a:lnTo>
                    <a:pt x="402" y="470"/>
                  </a:lnTo>
                  <a:lnTo>
                    <a:pt x="402" y="472"/>
                  </a:lnTo>
                  <a:lnTo>
                    <a:pt x="400" y="472"/>
                  </a:lnTo>
                  <a:lnTo>
                    <a:pt x="398" y="472"/>
                  </a:lnTo>
                  <a:lnTo>
                    <a:pt x="398" y="473"/>
                  </a:lnTo>
                  <a:lnTo>
                    <a:pt x="397" y="473"/>
                  </a:lnTo>
                  <a:lnTo>
                    <a:pt x="395" y="475"/>
                  </a:lnTo>
                  <a:lnTo>
                    <a:pt x="393" y="475"/>
                  </a:lnTo>
                  <a:lnTo>
                    <a:pt x="392" y="475"/>
                  </a:lnTo>
                  <a:lnTo>
                    <a:pt x="392" y="477"/>
                  </a:lnTo>
                  <a:lnTo>
                    <a:pt x="390" y="477"/>
                  </a:lnTo>
                  <a:lnTo>
                    <a:pt x="389" y="477"/>
                  </a:lnTo>
                  <a:lnTo>
                    <a:pt x="387" y="475"/>
                  </a:lnTo>
                  <a:lnTo>
                    <a:pt x="385" y="475"/>
                  </a:lnTo>
                  <a:lnTo>
                    <a:pt x="385" y="477"/>
                  </a:lnTo>
                  <a:lnTo>
                    <a:pt x="384" y="477"/>
                  </a:lnTo>
                  <a:lnTo>
                    <a:pt x="382" y="477"/>
                  </a:lnTo>
                  <a:lnTo>
                    <a:pt x="382" y="475"/>
                  </a:lnTo>
                  <a:lnTo>
                    <a:pt x="380" y="475"/>
                  </a:lnTo>
                  <a:lnTo>
                    <a:pt x="379" y="473"/>
                  </a:lnTo>
                  <a:lnTo>
                    <a:pt x="377" y="473"/>
                  </a:lnTo>
                  <a:lnTo>
                    <a:pt x="376" y="473"/>
                  </a:lnTo>
                  <a:lnTo>
                    <a:pt x="374" y="473"/>
                  </a:lnTo>
                  <a:lnTo>
                    <a:pt x="374" y="475"/>
                  </a:lnTo>
                  <a:lnTo>
                    <a:pt x="372" y="475"/>
                  </a:lnTo>
                  <a:lnTo>
                    <a:pt x="372" y="477"/>
                  </a:lnTo>
                  <a:lnTo>
                    <a:pt x="371" y="477"/>
                  </a:lnTo>
                  <a:lnTo>
                    <a:pt x="371" y="478"/>
                  </a:lnTo>
                  <a:lnTo>
                    <a:pt x="369" y="478"/>
                  </a:lnTo>
                  <a:lnTo>
                    <a:pt x="369" y="480"/>
                  </a:lnTo>
                  <a:lnTo>
                    <a:pt x="371" y="478"/>
                  </a:lnTo>
                  <a:lnTo>
                    <a:pt x="371" y="480"/>
                  </a:lnTo>
                  <a:lnTo>
                    <a:pt x="367" y="481"/>
                  </a:lnTo>
                  <a:lnTo>
                    <a:pt x="369" y="481"/>
                  </a:lnTo>
                  <a:lnTo>
                    <a:pt x="371" y="481"/>
                  </a:lnTo>
                  <a:lnTo>
                    <a:pt x="371" y="480"/>
                  </a:lnTo>
                  <a:lnTo>
                    <a:pt x="372" y="480"/>
                  </a:lnTo>
                  <a:lnTo>
                    <a:pt x="372" y="481"/>
                  </a:lnTo>
                  <a:lnTo>
                    <a:pt x="371" y="481"/>
                  </a:lnTo>
                  <a:lnTo>
                    <a:pt x="371" y="483"/>
                  </a:lnTo>
                  <a:lnTo>
                    <a:pt x="371" y="485"/>
                  </a:lnTo>
                  <a:lnTo>
                    <a:pt x="372" y="485"/>
                  </a:lnTo>
                  <a:lnTo>
                    <a:pt x="372" y="483"/>
                  </a:lnTo>
                  <a:lnTo>
                    <a:pt x="372" y="485"/>
                  </a:lnTo>
                  <a:lnTo>
                    <a:pt x="374" y="486"/>
                  </a:lnTo>
                  <a:lnTo>
                    <a:pt x="374" y="485"/>
                  </a:lnTo>
                  <a:lnTo>
                    <a:pt x="376" y="485"/>
                  </a:lnTo>
                  <a:lnTo>
                    <a:pt x="376" y="483"/>
                  </a:lnTo>
                  <a:lnTo>
                    <a:pt x="374" y="483"/>
                  </a:lnTo>
                  <a:lnTo>
                    <a:pt x="376" y="483"/>
                  </a:lnTo>
                  <a:lnTo>
                    <a:pt x="376" y="485"/>
                  </a:lnTo>
                  <a:lnTo>
                    <a:pt x="377" y="486"/>
                  </a:lnTo>
                  <a:lnTo>
                    <a:pt x="377" y="485"/>
                  </a:lnTo>
                  <a:lnTo>
                    <a:pt x="379" y="483"/>
                  </a:lnTo>
                  <a:lnTo>
                    <a:pt x="380" y="483"/>
                  </a:lnTo>
                  <a:lnTo>
                    <a:pt x="382" y="483"/>
                  </a:lnTo>
                  <a:lnTo>
                    <a:pt x="384" y="481"/>
                  </a:lnTo>
                  <a:lnTo>
                    <a:pt x="385" y="481"/>
                  </a:lnTo>
                  <a:lnTo>
                    <a:pt x="385" y="480"/>
                  </a:lnTo>
                  <a:lnTo>
                    <a:pt x="387" y="480"/>
                  </a:lnTo>
                  <a:lnTo>
                    <a:pt x="387" y="481"/>
                  </a:lnTo>
                  <a:lnTo>
                    <a:pt x="387" y="483"/>
                  </a:lnTo>
                  <a:lnTo>
                    <a:pt x="389" y="483"/>
                  </a:lnTo>
                  <a:lnTo>
                    <a:pt x="390" y="483"/>
                  </a:lnTo>
                  <a:lnTo>
                    <a:pt x="390" y="485"/>
                  </a:lnTo>
                  <a:lnTo>
                    <a:pt x="392" y="485"/>
                  </a:lnTo>
                  <a:lnTo>
                    <a:pt x="393" y="488"/>
                  </a:lnTo>
                  <a:lnTo>
                    <a:pt x="395" y="488"/>
                  </a:lnTo>
                  <a:lnTo>
                    <a:pt x="397" y="488"/>
                  </a:lnTo>
                  <a:lnTo>
                    <a:pt x="398" y="488"/>
                  </a:lnTo>
                  <a:lnTo>
                    <a:pt x="400" y="488"/>
                  </a:lnTo>
                  <a:lnTo>
                    <a:pt x="402" y="486"/>
                  </a:lnTo>
                  <a:lnTo>
                    <a:pt x="403" y="488"/>
                  </a:lnTo>
                  <a:lnTo>
                    <a:pt x="405" y="490"/>
                  </a:lnTo>
                  <a:lnTo>
                    <a:pt x="406" y="490"/>
                  </a:lnTo>
                  <a:lnTo>
                    <a:pt x="408" y="490"/>
                  </a:lnTo>
                  <a:lnTo>
                    <a:pt x="408" y="488"/>
                  </a:lnTo>
                  <a:lnTo>
                    <a:pt x="410" y="486"/>
                  </a:lnTo>
                  <a:lnTo>
                    <a:pt x="411" y="486"/>
                  </a:lnTo>
                  <a:lnTo>
                    <a:pt x="413" y="486"/>
                  </a:lnTo>
                  <a:lnTo>
                    <a:pt x="413" y="488"/>
                  </a:lnTo>
                  <a:lnTo>
                    <a:pt x="415" y="490"/>
                  </a:lnTo>
                  <a:lnTo>
                    <a:pt x="416" y="490"/>
                  </a:lnTo>
                  <a:lnTo>
                    <a:pt x="418" y="490"/>
                  </a:lnTo>
                  <a:lnTo>
                    <a:pt x="419" y="490"/>
                  </a:lnTo>
                  <a:lnTo>
                    <a:pt x="421" y="490"/>
                  </a:lnTo>
                  <a:lnTo>
                    <a:pt x="423" y="488"/>
                  </a:lnTo>
                  <a:lnTo>
                    <a:pt x="424" y="488"/>
                  </a:lnTo>
                  <a:lnTo>
                    <a:pt x="426" y="486"/>
                  </a:lnTo>
                  <a:lnTo>
                    <a:pt x="426" y="488"/>
                  </a:lnTo>
                  <a:lnTo>
                    <a:pt x="428" y="488"/>
                  </a:lnTo>
                  <a:lnTo>
                    <a:pt x="428" y="490"/>
                  </a:lnTo>
                  <a:lnTo>
                    <a:pt x="429" y="490"/>
                  </a:lnTo>
                  <a:lnTo>
                    <a:pt x="429" y="491"/>
                  </a:lnTo>
                  <a:lnTo>
                    <a:pt x="431" y="491"/>
                  </a:lnTo>
                  <a:lnTo>
                    <a:pt x="431" y="493"/>
                  </a:lnTo>
                  <a:lnTo>
                    <a:pt x="429" y="493"/>
                  </a:lnTo>
                  <a:lnTo>
                    <a:pt x="429" y="494"/>
                  </a:lnTo>
                  <a:lnTo>
                    <a:pt x="431" y="498"/>
                  </a:lnTo>
                  <a:lnTo>
                    <a:pt x="432" y="498"/>
                  </a:lnTo>
                  <a:lnTo>
                    <a:pt x="432" y="499"/>
                  </a:lnTo>
                  <a:lnTo>
                    <a:pt x="434" y="501"/>
                  </a:lnTo>
                  <a:lnTo>
                    <a:pt x="434" y="503"/>
                  </a:lnTo>
                  <a:lnTo>
                    <a:pt x="436" y="501"/>
                  </a:lnTo>
                  <a:lnTo>
                    <a:pt x="436" y="503"/>
                  </a:lnTo>
                  <a:lnTo>
                    <a:pt x="436" y="504"/>
                  </a:lnTo>
                  <a:lnTo>
                    <a:pt x="437" y="504"/>
                  </a:lnTo>
                  <a:lnTo>
                    <a:pt x="437" y="503"/>
                  </a:lnTo>
                  <a:lnTo>
                    <a:pt x="439" y="503"/>
                  </a:lnTo>
                  <a:lnTo>
                    <a:pt x="439" y="501"/>
                  </a:lnTo>
                  <a:lnTo>
                    <a:pt x="441" y="501"/>
                  </a:lnTo>
                  <a:lnTo>
                    <a:pt x="441" y="499"/>
                  </a:lnTo>
                  <a:lnTo>
                    <a:pt x="442" y="499"/>
                  </a:lnTo>
                  <a:lnTo>
                    <a:pt x="442" y="501"/>
                  </a:lnTo>
                  <a:lnTo>
                    <a:pt x="444" y="499"/>
                  </a:lnTo>
                  <a:lnTo>
                    <a:pt x="445" y="499"/>
                  </a:lnTo>
                  <a:lnTo>
                    <a:pt x="445" y="498"/>
                  </a:lnTo>
                  <a:lnTo>
                    <a:pt x="444" y="498"/>
                  </a:lnTo>
                  <a:lnTo>
                    <a:pt x="442" y="496"/>
                  </a:lnTo>
                  <a:lnTo>
                    <a:pt x="442" y="494"/>
                  </a:lnTo>
                  <a:lnTo>
                    <a:pt x="444" y="494"/>
                  </a:lnTo>
                  <a:lnTo>
                    <a:pt x="445" y="494"/>
                  </a:lnTo>
                  <a:lnTo>
                    <a:pt x="447" y="494"/>
                  </a:lnTo>
                  <a:lnTo>
                    <a:pt x="447" y="496"/>
                  </a:lnTo>
                  <a:lnTo>
                    <a:pt x="449" y="498"/>
                  </a:lnTo>
                  <a:lnTo>
                    <a:pt x="452" y="498"/>
                  </a:lnTo>
                  <a:lnTo>
                    <a:pt x="454" y="498"/>
                  </a:lnTo>
                  <a:lnTo>
                    <a:pt x="455" y="498"/>
                  </a:lnTo>
                  <a:lnTo>
                    <a:pt x="457" y="498"/>
                  </a:lnTo>
                  <a:lnTo>
                    <a:pt x="458" y="498"/>
                  </a:lnTo>
                  <a:lnTo>
                    <a:pt x="460" y="498"/>
                  </a:lnTo>
                  <a:lnTo>
                    <a:pt x="462" y="499"/>
                  </a:lnTo>
                  <a:lnTo>
                    <a:pt x="463" y="501"/>
                  </a:lnTo>
                  <a:lnTo>
                    <a:pt x="463" y="503"/>
                  </a:lnTo>
                  <a:lnTo>
                    <a:pt x="462" y="503"/>
                  </a:lnTo>
                  <a:lnTo>
                    <a:pt x="462" y="504"/>
                  </a:lnTo>
                  <a:lnTo>
                    <a:pt x="460" y="504"/>
                  </a:lnTo>
                  <a:lnTo>
                    <a:pt x="460" y="506"/>
                  </a:lnTo>
                  <a:lnTo>
                    <a:pt x="458" y="506"/>
                  </a:lnTo>
                  <a:lnTo>
                    <a:pt x="458" y="507"/>
                  </a:lnTo>
                  <a:lnTo>
                    <a:pt x="458" y="509"/>
                  </a:lnTo>
                  <a:lnTo>
                    <a:pt x="458" y="507"/>
                  </a:lnTo>
                  <a:lnTo>
                    <a:pt x="460" y="507"/>
                  </a:lnTo>
                  <a:lnTo>
                    <a:pt x="462" y="507"/>
                  </a:lnTo>
                  <a:lnTo>
                    <a:pt x="462" y="509"/>
                  </a:lnTo>
                  <a:lnTo>
                    <a:pt x="462" y="511"/>
                  </a:lnTo>
                  <a:lnTo>
                    <a:pt x="462" y="509"/>
                  </a:lnTo>
                  <a:lnTo>
                    <a:pt x="463" y="511"/>
                  </a:lnTo>
                  <a:lnTo>
                    <a:pt x="463" y="512"/>
                  </a:lnTo>
                  <a:lnTo>
                    <a:pt x="465" y="511"/>
                  </a:lnTo>
                  <a:lnTo>
                    <a:pt x="465" y="512"/>
                  </a:lnTo>
                  <a:lnTo>
                    <a:pt x="467" y="511"/>
                  </a:lnTo>
                  <a:lnTo>
                    <a:pt x="468" y="512"/>
                  </a:lnTo>
                  <a:lnTo>
                    <a:pt x="468" y="514"/>
                  </a:lnTo>
                  <a:lnTo>
                    <a:pt x="467" y="514"/>
                  </a:lnTo>
                  <a:lnTo>
                    <a:pt x="465" y="514"/>
                  </a:lnTo>
                  <a:lnTo>
                    <a:pt x="463" y="514"/>
                  </a:lnTo>
                  <a:lnTo>
                    <a:pt x="463" y="516"/>
                  </a:lnTo>
                  <a:lnTo>
                    <a:pt x="463" y="517"/>
                  </a:lnTo>
                  <a:lnTo>
                    <a:pt x="465" y="517"/>
                  </a:lnTo>
                  <a:lnTo>
                    <a:pt x="467" y="517"/>
                  </a:lnTo>
                  <a:lnTo>
                    <a:pt x="467" y="516"/>
                  </a:lnTo>
                  <a:lnTo>
                    <a:pt x="468" y="516"/>
                  </a:lnTo>
                  <a:lnTo>
                    <a:pt x="468" y="514"/>
                  </a:lnTo>
                  <a:lnTo>
                    <a:pt x="470" y="514"/>
                  </a:lnTo>
                  <a:lnTo>
                    <a:pt x="470" y="516"/>
                  </a:lnTo>
                  <a:lnTo>
                    <a:pt x="471" y="514"/>
                  </a:lnTo>
                  <a:lnTo>
                    <a:pt x="473" y="514"/>
                  </a:lnTo>
                  <a:lnTo>
                    <a:pt x="473" y="516"/>
                  </a:lnTo>
                  <a:lnTo>
                    <a:pt x="475" y="516"/>
                  </a:lnTo>
                  <a:lnTo>
                    <a:pt x="476" y="514"/>
                  </a:lnTo>
                  <a:lnTo>
                    <a:pt x="478" y="516"/>
                  </a:lnTo>
                  <a:lnTo>
                    <a:pt x="480" y="514"/>
                  </a:lnTo>
                  <a:lnTo>
                    <a:pt x="480" y="516"/>
                  </a:lnTo>
                  <a:lnTo>
                    <a:pt x="481" y="516"/>
                  </a:lnTo>
                  <a:lnTo>
                    <a:pt x="483" y="516"/>
                  </a:lnTo>
                  <a:lnTo>
                    <a:pt x="484" y="516"/>
                  </a:lnTo>
                  <a:lnTo>
                    <a:pt x="486" y="516"/>
                  </a:lnTo>
                  <a:lnTo>
                    <a:pt x="486" y="514"/>
                  </a:lnTo>
                  <a:lnTo>
                    <a:pt x="486" y="512"/>
                  </a:lnTo>
                  <a:lnTo>
                    <a:pt x="488" y="511"/>
                  </a:lnTo>
                  <a:lnTo>
                    <a:pt x="488" y="512"/>
                  </a:lnTo>
                  <a:lnTo>
                    <a:pt x="489" y="512"/>
                  </a:lnTo>
                  <a:lnTo>
                    <a:pt x="491" y="512"/>
                  </a:lnTo>
                  <a:lnTo>
                    <a:pt x="491" y="514"/>
                  </a:lnTo>
                  <a:lnTo>
                    <a:pt x="493" y="514"/>
                  </a:lnTo>
                  <a:lnTo>
                    <a:pt x="493" y="516"/>
                  </a:lnTo>
                  <a:lnTo>
                    <a:pt x="494" y="516"/>
                  </a:lnTo>
                  <a:lnTo>
                    <a:pt x="494" y="517"/>
                  </a:lnTo>
                  <a:lnTo>
                    <a:pt x="493" y="517"/>
                  </a:lnTo>
                  <a:lnTo>
                    <a:pt x="493" y="519"/>
                  </a:lnTo>
                  <a:lnTo>
                    <a:pt x="491" y="519"/>
                  </a:lnTo>
                  <a:lnTo>
                    <a:pt x="493" y="520"/>
                  </a:lnTo>
                  <a:lnTo>
                    <a:pt x="493" y="519"/>
                  </a:lnTo>
                  <a:lnTo>
                    <a:pt x="494" y="520"/>
                  </a:lnTo>
                  <a:lnTo>
                    <a:pt x="496" y="520"/>
                  </a:lnTo>
                  <a:lnTo>
                    <a:pt x="494" y="520"/>
                  </a:lnTo>
                  <a:lnTo>
                    <a:pt x="496" y="520"/>
                  </a:lnTo>
                  <a:lnTo>
                    <a:pt x="496" y="522"/>
                  </a:lnTo>
                  <a:lnTo>
                    <a:pt x="496" y="524"/>
                  </a:lnTo>
                  <a:lnTo>
                    <a:pt x="497" y="524"/>
                  </a:lnTo>
                  <a:lnTo>
                    <a:pt x="499" y="524"/>
                  </a:lnTo>
                  <a:lnTo>
                    <a:pt x="499" y="525"/>
                  </a:lnTo>
                  <a:lnTo>
                    <a:pt x="499" y="527"/>
                  </a:lnTo>
                  <a:lnTo>
                    <a:pt x="501" y="527"/>
                  </a:lnTo>
                  <a:lnTo>
                    <a:pt x="501" y="529"/>
                  </a:lnTo>
                  <a:lnTo>
                    <a:pt x="502" y="530"/>
                  </a:lnTo>
                  <a:lnTo>
                    <a:pt x="504" y="532"/>
                  </a:lnTo>
                  <a:lnTo>
                    <a:pt x="506" y="532"/>
                  </a:lnTo>
                  <a:lnTo>
                    <a:pt x="507" y="532"/>
                  </a:lnTo>
                  <a:lnTo>
                    <a:pt x="509" y="532"/>
                  </a:lnTo>
                  <a:lnTo>
                    <a:pt x="511" y="532"/>
                  </a:lnTo>
                  <a:lnTo>
                    <a:pt x="512" y="532"/>
                  </a:lnTo>
                  <a:lnTo>
                    <a:pt x="514" y="532"/>
                  </a:lnTo>
                  <a:lnTo>
                    <a:pt x="515" y="532"/>
                  </a:lnTo>
                  <a:lnTo>
                    <a:pt x="517" y="530"/>
                  </a:lnTo>
                  <a:lnTo>
                    <a:pt x="517" y="532"/>
                  </a:lnTo>
                  <a:lnTo>
                    <a:pt x="519" y="533"/>
                  </a:lnTo>
                  <a:lnTo>
                    <a:pt x="520" y="532"/>
                  </a:lnTo>
                  <a:lnTo>
                    <a:pt x="522" y="532"/>
                  </a:lnTo>
                  <a:lnTo>
                    <a:pt x="524" y="532"/>
                  </a:lnTo>
                  <a:lnTo>
                    <a:pt x="524" y="533"/>
                  </a:lnTo>
                  <a:lnTo>
                    <a:pt x="525" y="533"/>
                  </a:lnTo>
                  <a:lnTo>
                    <a:pt x="527" y="533"/>
                  </a:lnTo>
                  <a:lnTo>
                    <a:pt x="528" y="533"/>
                  </a:lnTo>
                  <a:lnTo>
                    <a:pt x="530" y="533"/>
                  </a:lnTo>
                  <a:lnTo>
                    <a:pt x="532" y="535"/>
                  </a:lnTo>
                  <a:lnTo>
                    <a:pt x="532" y="533"/>
                  </a:lnTo>
                  <a:lnTo>
                    <a:pt x="533" y="533"/>
                  </a:lnTo>
                  <a:lnTo>
                    <a:pt x="535" y="533"/>
                  </a:lnTo>
                  <a:lnTo>
                    <a:pt x="535" y="535"/>
                  </a:lnTo>
                  <a:lnTo>
                    <a:pt x="537" y="535"/>
                  </a:lnTo>
                  <a:lnTo>
                    <a:pt x="538" y="535"/>
                  </a:lnTo>
                  <a:lnTo>
                    <a:pt x="540" y="535"/>
                  </a:lnTo>
                  <a:lnTo>
                    <a:pt x="541" y="537"/>
                  </a:lnTo>
                  <a:lnTo>
                    <a:pt x="543" y="538"/>
                  </a:lnTo>
                  <a:lnTo>
                    <a:pt x="545" y="538"/>
                  </a:lnTo>
                  <a:lnTo>
                    <a:pt x="545" y="540"/>
                  </a:lnTo>
                  <a:lnTo>
                    <a:pt x="546" y="540"/>
                  </a:lnTo>
                  <a:lnTo>
                    <a:pt x="548" y="540"/>
                  </a:lnTo>
                  <a:lnTo>
                    <a:pt x="548" y="542"/>
                  </a:lnTo>
                  <a:lnTo>
                    <a:pt x="550" y="542"/>
                  </a:lnTo>
                  <a:lnTo>
                    <a:pt x="551" y="543"/>
                  </a:lnTo>
                  <a:lnTo>
                    <a:pt x="553" y="545"/>
                  </a:lnTo>
                  <a:lnTo>
                    <a:pt x="554" y="545"/>
                  </a:lnTo>
                  <a:lnTo>
                    <a:pt x="553" y="547"/>
                  </a:lnTo>
                  <a:lnTo>
                    <a:pt x="553" y="548"/>
                  </a:lnTo>
                  <a:lnTo>
                    <a:pt x="554" y="548"/>
                  </a:lnTo>
                  <a:lnTo>
                    <a:pt x="556" y="548"/>
                  </a:lnTo>
                  <a:lnTo>
                    <a:pt x="556" y="550"/>
                  </a:lnTo>
                  <a:lnTo>
                    <a:pt x="554" y="550"/>
                  </a:lnTo>
                  <a:lnTo>
                    <a:pt x="553" y="550"/>
                  </a:lnTo>
                  <a:lnTo>
                    <a:pt x="553" y="551"/>
                  </a:lnTo>
                  <a:lnTo>
                    <a:pt x="554" y="551"/>
                  </a:lnTo>
                  <a:lnTo>
                    <a:pt x="553" y="551"/>
                  </a:lnTo>
                  <a:lnTo>
                    <a:pt x="553" y="553"/>
                  </a:lnTo>
                  <a:lnTo>
                    <a:pt x="554" y="553"/>
                  </a:lnTo>
                  <a:lnTo>
                    <a:pt x="554" y="555"/>
                  </a:lnTo>
                  <a:lnTo>
                    <a:pt x="554" y="556"/>
                  </a:lnTo>
                  <a:lnTo>
                    <a:pt x="553" y="555"/>
                  </a:lnTo>
                  <a:lnTo>
                    <a:pt x="554" y="555"/>
                  </a:lnTo>
                  <a:lnTo>
                    <a:pt x="553" y="555"/>
                  </a:lnTo>
                  <a:lnTo>
                    <a:pt x="553" y="553"/>
                  </a:lnTo>
                  <a:lnTo>
                    <a:pt x="551" y="553"/>
                  </a:lnTo>
                  <a:lnTo>
                    <a:pt x="550" y="555"/>
                  </a:lnTo>
                  <a:lnTo>
                    <a:pt x="548" y="555"/>
                  </a:lnTo>
                  <a:lnTo>
                    <a:pt x="548" y="556"/>
                  </a:lnTo>
                  <a:lnTo>
                    <a:pt x="546" y="558"/>
                  </a:lnTo>
                  <a:lnTo>
                    <a:pt x="546" y="560"/>
                  </a:lnTo>
                  <a:lnTo>
                    <a:pt x="546" y="561"/>
                  </a:lnTo>
                  <a:lnTo>
                    <a:pt x="546" y="563"/>
                  </a:lnTo>
                  <a:lnTo>
                    <a:pt x="548" y="563"/>
                  </a:lnTo>
                  <a:lnTo>
                    <a:pt x="548" y="564"/>
                  </a:lnTo>
                  <a:lnTo>
                    <a:pt x="550" y="564"/>
                  </a:lnTo>
                  <a:lnTo>
                    <a:pt x="548" y="564"/>
                  </a:lnTo>
                  <a:lnTo>
                    <a:pt x="550" y="566"/>
                  </a:lnTo>
                  <a:lnTo>
                    <a:pt x="550" y="568"/>
                  </a:lnTo>
                  <a:lnTo>
                    <a:pt x="550" y="569"/>
                  </a:lnTo>
                  <a:lnTo>
                    <a:pt x="551" y="569"/>
                  </a:lnTo>
                  <a:lnTo>
                    <a:pt x="551" y="571"/>
                  </a:lnTo>
                  <a:lnTo>
                    <a:pt x="553" y="571"/>
                  </a:lnTo>
                  <a:lnTo>
                    <a:pt x="553" y="573"/>
                  </a:lnTo>
                  <a:lnTo>
                    <a:pt x="554" y="574"/>
                  </a:lnTo>
                  <a:lnTo>
                    <a:pt x="553" y="574"/>
                  </a:lnTo>
                  <a:lnTo>
                    <a:pt x="553" y="576"/>
                  </a:lnTo>
                  <a:lnTo>
                    <a:pt x="551" y="576"/>
                  </a:lnTo>
                  <a:lnTo>
                    <a:pt x="553" y="577"/>
                  </a:lnTo>
                  <a:lnTo>
                    <a:pt x="551" y="577"/>
                  </a:lnTo>
                  <a:lnTo>
                    <a:pt x="551" y="579"/>
                  </a:lnTo>
                  <a:lnTo>
                    <a:pt x="553" y="579"/>
                  </a:lnTo>
                  <a:lnTo>
                    <a:pt x="553" y="581"/>
                  </a:lnTo>
                  <a:lnTo>
                    <a:pt x="553" y="582"/>
                  </a:lnTo>
                  <a:lnTo>
                    <a:pt x="553" y="584"/>
                  </a:lnTo>
                  <a:lnTo>
                    <a:pt x="554" y="584"/>
                  </a:lnTo>
                  <a:lnTo>
                    <a:pt x="556" y="584"/>
                  </a:lnTo>
                  <a:lnTo>
                    <a:pt x="556" y="586"/>
                  </a:lnTo>
                  <a:lnTo>
                    <a:pt x="558" y="586"/>
                  </a:lnTo>
                  <a:lnTo>
                    <a:pt x="558" y="587"/>
                  </a:lnTo>
                  <a:lnTo>
                    <a:pt x="556" y="589"/>
                  </a:lnTo>
                  <a:lnTo>
                    <a:pt x="554" y="589"/>
                  </a:lnTo>
                  <a:lnTo>
                    <a:pt x="556" y="589"/>
                  </a:lnTo>
                  <a:lnTo>
                    <a:pt x="554" y="590"/>
                  </a:lnTo>
                  <a:lnTo>
                    <a:pt x="556" y="592"/>
                  </a:lnTo>
                  <a:lnTo>
                    <a:pt x="558" y="592"/>
                  </a:lnTo>
                  <a:lnTo>
                    <a:pt x="558" y="590"/>
                  </a:lnTo>
                  <a:lnTo>
                    <a:pt x="558" y="592"/>
                  </a:lnTo>
                  <a:lnTo>
                    <a:pt x="559" y="592"/>
                  </a:lnTo>
                  <a:lnTo>
                    <a:pt x="561" y="592"/>
                  </a:lnTo>
                  <a:lnTo>
                    <a:pt x="559" y="594"/>
                  </a:lnTo>
                  <a:lnTo>
                    <a:pt x="559" y="595"/>
                  </a:lnTo>
                  <a:lnTo>
                    <a:pt x="561" y="595"/>
                  </a:lnTo>
                  <a:lnTo>
                    <a:pt x="561" y="597"/>
                  </a:lnTo>
                  <a:lnTo>
                    <a:pt x="559" y="597"/>
                  </a:lnTo>
                  <a:lnTo>
                    <a:pt x="559" y="599"/>
                  </a:lnTo>
                  <a:lnTo>
                    <a:pt x="561" y="599"/>
                  </a:lnTo>
                  <a:lnTo>
                    <a:pt x="563" y="600"/>
                  </a:lnTo>
                  <a:lnTo>
                    <a:pt x="564" y="600"/>
                  </a:lnTo>
                  <a:lnTo>
                    <a:pt x="564" y="602"/>
                  </a:lnTo>
                  <a:lnTo>
                    <a:pt x="566" y="603"/>
                  </a:lnTo>
                  <a:lnTo>
                    <a:pt x="564" y="603"/>
                  </a:lnTo>
                  <a:lnTo>
                    <a:pt x="564" y="605"/>
                  </a:lnTo>
                  <a:lnTo>
                    <a:pt x="564" y="607"/>
                  </a:lnTo>
                  <a:lnTo>
                    <a:pt x="566" y="607"/>
                  </a:lnTo>
                  <a:lnTo>
                    <a:pt x="566" y="608"/>
                  </a:lnTo>
                  <a:lnTo>
                    <a:pt x="564" y="608"/>
                  </a:lnTo>
                  <a:lnTo>
                    <a:pt x="564" y="610"/>
                  </a:lnTo>
                  <a:lnTo>
                    <a:pt x="563" y="610"/>
                  </a:lnTo>
                  <a:lnTo>
                    <a:pt x="563" y="612"/>
                  </a:lnTo>
                  <a:lnTo>
                    <a:pt x="564" y="612"/>
                  </a:lnTo>
                  <a:lnTo>
                    <a:pt x="564" y="613"/>
                  </a:lnTo>
                  <a:lnTo>
                    <a:pt x="563" y="613"/>
                  </a:lnTo>
                  <a:lnTo>
                    <a:pt x="564" y="613"/>
                  </a:lnTo>
                  <a:lnTo>
                    <a:pt x="564" y="615"/>
                  </a:lnTo>
                  <a:lnTo>
                    <a:pt x="564" y="616"/>
                  </a:lnTo>
                  <a:lnTo>
                    <a:pt x="566" y="616"/>
                  </a:lnTo>
                  <a:lnTo>
                    <a:pt x="566" y="618"/>
                  </a:lnTo>
                  <a:lnTo>
                    <a:pt x="566" y="616"/>
                  </a:lnTo>
                  <a:lnTo>
                    <a:pt x="564" y="616"/>
                  </a:lnTo>
                  <a:lnTo>
                    <a:pt x="564" y="618"/>
                  </a:lnTo>
                  <a:lnTo>
                    <a:pt x="566" y="618"/>
                  </a:lnTo>
                  <a:lnTo>
                    <a:pt x="564" y="618"/>
                  </a:lnTo>
                  <a:lnTo>
                    <a:pt x="564" y="620"/>
                  </a:lnTo>
                  <a:lnTo>
                    <a:pt x="563" y="620"/>
                  </a:lnTo>
                  <a:lnTo>
                    <a:pt x="563" y="621"/>
                  </a:lnTo>
                  <a:lnTo>
                    <a:pt x="561" y="621"/>
                  </a:lnTo>
                  <a:lnTo>
                    <a:pt x="563" y="623"/>
                  </a:lnTo>
                  <a:lnTo>
                    <a:pt x="561" y="623"/>
                  </a:lnTo>
                  <a:lnTo>
                    <a:pt x="561" y="621"/>
                  </a:lnTo>
                  <a:lnTo>
                    <a:pt x="559" y="621"/>
                  </a:lnTo>
                  <a:lnTo>
                    <a:pt x="558" y="621"/>
                  </a:lnTo>
                  <a:lnTo>
                    <a:pt x="556" y="621"/>
                  </a:lnTo>
                  <a:lnTo>
                    <a:pt x="556" y="623"/>
                  </a:lnTo>
                  <a:lnTo>
                    <a:pt x="556" y="621"/>
                  </a:lnTo>
                  <a:lnTo>
                    <a:pt x="554" y="621"/>
                  </a:lnTo>
                  <a:lnTo>
                    <a:pt x="553" y="621"/>
                  </a:lnTo>
                  <a:lnTo>
                    <a:pt x="551" y="621"/>
                  </a:lnTo>
                  <a:lnTo>
                    <a:pt x="551" y="620"/>
                  </a:lnTo>
                  <a:lnTo>
                    <a:pt x="550" y="620"/>
                  </a:lnTo>
                  <a:lnTo>
                    <a:pt x="551" y="618"/>
                  </a:lnTo>
                  <a:lnTo>
                    <a:pt x="550" y="618"/>
                  </a:lnTo>
                  <a:lnTo>
                    <a:pt x="551" y="618"/>
                  </a:lnTo>
                  <a:lnTo>
                    <a:pt x="550" y="618"/>
                  </a:lnTo>
                  <a:lnTo>
                    <a:pt x="551" y="616"/>
                  </a:lnTo>
                  <a:lnTo>
                    <a:pt x="550" y="616"/>
                  </a:lnTo>
                  <a:lnTo>
                    <a:pt x="551" y="615"/>
                  </a:lnTo>
                  <a:lnTo>
                    <a:pt x="550" y="613"/>
                  </a:lnTo>
                  <a:lnTo>
                    <a:pt x="550" y="615"/>
                  </a:lnTo>
                  <a:lnTo>
                    <a:pt x="548" y="615"/>
                  </a:lnTo>
                  <a:lnTo>
                    <a:pt x="546" y="615"/>
                  </a:lnTo>
                  <a:lnTo>
                    <a:pt x="546" y="613"/>
                  </a:lnTo>
                  <a:lnTo>
                    <a:pt x="545" y="612"/>
                  </a:lnTo>
                  <a:lnTo>
                    <a:pt x="545" y="610"/>
                  </a:lnTo>
                  <a:lnTo>
                    <a:pt x="545" y="608"/>
                  </a:lnTo>
                  <a:lnTo>
                    <a:pt x="543" y="607"/>
                  </a:lnTo>
                  <a:lnTo>
                    <a:pt x="543" y="608"/>
                  </a:lnTo>
                  <a:lnTo>
                    <a:pt x="543" y="607"/>
                  </a:lnTo>
                  <a:lnTo>
                    <a:pt x="541" y="607"/>
                  </a:lnTo>
                  <a:lnTo>
                    <a:pt x="541" y="605"/>
                  </a:lnTo>
                  <a:lnTo>
                    <a:pt x="540" y="605"/>
                  </a:lnTo>
                  <a:lnTo>
                    <a:pt x="538" y="605"/>
                  </a:lnTo>
                  <a:lnTo>
                    <a:pt x="538" y="603"/>
                  </a:lnTo>
                  <a:lnTo>
                    <a:pt x="538" y="605"/>
                  </a:lnTo>
                  <a:lnTo>
                    <a:pt x="538" y="603"/>
                  </a:lnTo>
                  <a:lnTo>
                    <a:pt x="537" y="603"/>
                  </a:lnTo>
                  <a:lnTo>
                    <a:pt x="535" y="603"/>
                  </a:lnTo>
                  <a:lnTo>
                    <a:pt x="533" y="603"/>
                  </a:lnTo>
                  <a:lnTo>
                    <a:pt x="532" y="603"/>
                  </a:lnTo>
                  <a:lnTo>
                    <a:pt x="532" y="605"/>
                  </a:lnTo>
                  <a:lnTo>
                    <a:pt x="532" y="607"/>
                  </a:lnTo>
                  <a:lnTo>
                    <a:pt x="530" y="605"/>
                  </a:lnTo>
                  <a:lnTo>
                    <a:pt x="530" y="607"/>
                  </a:lnTo>
                  <a:lnTo>
                    <a:pt x="528" y="607"/>
                  </a:lnTo>
                  <a:lnTo>
                    <a:pt x="530" y="605"/>
                  </a:lnTo>
                  <a:lnTo>
                    <a:pt x="528" y="605"/>
                  </a:lnTo>
                  <a:lnTo>
                    <a:pt x="527" y="605"/>
                  </a:lnTo>
                  <a:lnTo>
                    <a:pt x="528" y="605"/>
                  </a:lnTo>
                  <a:lnTo>
                    <a:pt x="528" y="603"/>
                  </a:lnTo>
                  <a:lnTo>
                    <a:pt x="528" y="602"/>
                  </a:lnTo>
                  <a:lnTo>
                    <a:pt x="527" y="602"/>
                  </a:lnTo>
                  <a:lnTo>
                    <a:pt x="527" y="600"/>
                  </a:lnTo>
                  <a:lnTo>
                    <a:pt x="525" y="600"/>
                  </a:lnTo>
                  <a:lnTo>
                    <a:pt x="525" y="599"/>
                  </a:lnTo>
                  <a:lnTo>
                    <a:pt x="524" y="599"/>
                  </a:lnTo>
                  <a:lnTo>
                    <a:pt x="524" y="597"/>
                  </a:lnTo>
                  <a:lnTo>
                    <a:pt x="522" y="597"/>
                  </a:lnTo>
                  <a:lnTo>
                    <a:pt x="524" y="597"/>
                  </a:lnTo>
                  <a:lnTo>
                    <a:pt x="522" y="597"/>
                  </a:lnTo>
                  <a:lnTo>
                    <a:pt x="522" y="595"/>
                  </a:lnTo>
                  <a:lnTo>
                    <a:pt x="520" y="595"/>
                  </a:lnTo>
                  <a:lnTo>
                    <a:pt x="520" y="594"/>
                  </a:lnTo>
                  <a:lnTo>
                    <a:pt x="520" y="592"/>
                  </a:lnTo>
                  <a:lnTo>
                    <a:pt x="519" y="592"/>
                  </a:lnTo>
                  <a:lnTo>
                    <a:pt x="515" y="590"/>
                  </a:lnTo>
                  <a:lnTo>
                    <a:pt x="517" y="590"/>
                  </a:lnTo>
                  <a:lnTo>
                    <a:pt x="515" y="590"/>
                  </a:lnTo>
                  <a:lnTo>
                    <a:pt x="517" y="589"/>
                  </a:lnTo>
                  <a:lnTo>
                    <a:pt x="515" y="589"/>
                  </a:lnTo>
                  <a:lnTo>
                    <a:pt x="514" y="589"/>
                  </a:lnTo>
                  <a:lnTo>
                    <a:pt x="514" y="590"/>
                  </a:lnTo>
                  <a:lnTo>
                    <a:pt x="512" y="590"/>
                  </a:lnTo>
                  <a:lnTo>
                    <a:pt x="512" y="592"/>
                  </a:lnTo>
                  <a:lnTo>
                    <a:pt x="511" y="592"/>
                  </a:lnTo>
                  <a:lnTo>
                    <a:pt x="511" y="590"/>
                  </a:lnTo>
                  <a:lnTo>
                    <a:pt x="509" y="590"/>
                  </a:lnTo>
                  <a:lnTo>
                    <a:pt x="511" y="590"/>
                  </a:lnTo>
                  <a:lnTo>
                    <a:pt x="511" y="589"/>
                  </a:lnTo>
                  <a:lnTo>
                    <a:pt x="512" y="589"/>
                  </a:lnTo>
                  <a:lnTo>
                    <a:pt x="511" y="589"/>
                  </a:lnTo>
                  <a:lnTo>
                    <a:pt x="509" y="590"/>
                  </a:lnTo>
                  <a:lnTo>
                    <a:pt x="509" y="589"/>
                  </a:lnTo>
                  <a:lnTo>
                    <a:pt x="507" y="589"/>
                  </a:lnTo>
                  <a:lnTo>
                    <a:pt x="506" y="589"/>
                  </a:lnTo>
                  <a:lnTo>
                    <a:pt x="507" y="589"/>
                  </a:lnTo>
                  <a:lnTo>
                    <a:pt x="507" y="587"/>
                  </a:lnTo>
                  <a:lnTo>
                    <a:pt x="506" y="587"/>
                  </a:lnTo>
                  <a:lnTo>
                    <a:pt x="506" y="589"/>
                  </a:lnTo>
                  <a:lnTo>
                    <a:pt x="504" y="589"/>
                  </a:lnTo>
                  <a:lnTo>
                    <a:pt x="504" y="587"/>
                  </a:lnTo>
                  <a:lnTo>
                    <a:pt x="502" y="589"/>
                  </a:lnTo>
                  <a:lnTo>
                    <a:pt x="501" y="589"/>
                  </a:lnTo>
                  <a:lnTo>
                    <a:pt x="501" y="587"/>
                  </a:lnTo>
                  <a:lnTo>
                    <a:pt x="501" y="586"/>
                  </a:lnTo>
                  <a:lnTo>
                    <a:pt x="502" y="584"/>
                  </a:lnTo>
                  <a:lnTo>
                    <a:pt x="502" y="582"/>
                  </a:lnTo>
                  <a:lnTo>
                    <a:pt x="504" y="582"/>
                  </a:lnTo>
                  <a:lnTo>
                    <a:pt x="506" y="581"/>
                  </a:lnTo>
                  <a:lnTo>
                    <a:pt x="504" y="581"/>
                  </a:lnTo>
                  <a:lnTo>
                    <a:pt x="504" y="579"/>
                  </a:lnTo>
                  <a:lnTo>
                    <a:pt x="506" y="579"/>
                  </a:lnTo>
                  <a:lnTo>
                    <a:pt x="504" y="579"/>
                  </a:lnTo>
                  <a:lnTo>
                    <a:pt x="504" y="577"/>
                  </a:lnTo>
                  <a:lnTo>
                    <a:pt x="502" y="577"/>
                  </a:lnTo>
                  <a:lnTo>
                    <a:pt x="502" y="576"/>
                  </a:lnTo>
                  <a:lnTo>
                    <a:pt x="501" y="576"/>
                  </a:lnTo>
                  <a:lnTo>
                    <a:pt x="501" y="577"/>
                  </a:lnTo>
                  <a:lnTo>
                    <a:pt x="499" y="577"/>
                  </a:lnTo>
                  <a:lnTo>
                    <a:pt x="497" y="579"/>
                  </a:lnTo>
                  <a:lnTo>
                    <a:pt x="497" y="577"/>
                  </a:lnTo>
                  <a:lnTo>
                    <a:pt x="496" y="577"/>
                  </a:lnTo>
                  <a:lnTo>
                    <a:pt x="494" y="577"/>
                  </a:lnTo>
                  <a:lnTo>
                    <a:pt x="494" y="579"/>
                  </a:lnTo>
                  <a:lnTo>
                    <a:pt x="493" y="579"/>
                  </a:lnTo>
                  <a:lnTo>
                    <a:pt x="493" y="581"/>
                  </a:lnTo>
                  <a:lnTo>
                    <a:pt x="491" y="581"/>
                  </a:lnTo>
                  <a:lnTo>
                    <a:pt x="489" y="582"/>
                  </a:lnTo>
                  <a:lnTo>
                    <a:pt x="488" y="582"/>
                  </a:lnTo>
                  <a:lnTo>
                    <a:pt x="488" y="584"/>
                  </a:lnTo>
                  <a:lnTo>
                    <a:pt x="486" y="584"/>
                  </a:lnTo>
                  <a:lnTo>
                    <a:pt x="486" y="586"/>
                  </a:lnTo>
                  <a:lnTo>
                    <a:pt x="484" y="586"/>
                  </a:lnTo>
                  <a:lnTo>
                    <a:pt x="484" y="587"/>
                  </a:lnTo>
                  <a:lnTo>
                    <a:pt x="484" y="589"/>
                  </a:lnTo>
                  <a:lnTo>
                    <a:pt x="483" y="589"/>
                  </a:lnTo>
                  <a:lnTo>
                    <a:pt x="484" y="589"/>
                  </a:lnTo>
                  <a:lnTo>
                    <a:pt x="486" y="589"/>
                  </a:lnTo>
                  <a:lnTo>
                    <a:pt x="486" y="590"/>
                  </a:lnTo>
                  <a:lnTo>
                    <a:pt x="484" y="590"/>
                  </a:lnTo>
                  <a:lnTo>
                    <a:pt x="483" y="590"/>
                  </a:lnTo>
                  <a:lnTo>
                    <a:pt x="481" y="590"/>
                  </a:lnTo>
                  <a:lnTo>
                    <a:pt x="480" y="590"/>
                  </a:lnTo>
                  <a:lnTo>
                    <a:pt x="478" y="590"/>
                  </a:lnTo>
                  <a:lnTo>
                    <a:pt x="476" y="590"/>
                  </a:lnTo>
                  <a:lnTo>
                    <a:pt x="475" y="590"/>
                  </a:lnTo>
                  <a:lnTo>
                    <a:pt x="475" y="592"/>
                  </a:lnTo>
                  <a:lnTo>
                    <a:pt x="473" y="592"/>
                  </a:lnTo>
                  <a:lnTo>
                    <a:pt x="471" y="592"/>
                  </a:lnTo>
                  <a:lnTo>
                    <a:pt x="470" y="592"/>
                  </a:lnTo>
                  <a:lnTo>
                    <a:pt x="468" y="592"/>
                  </a:lnTo>
                  <a:lnTo>
                    <a:pt x="467" y="592"/>
                  </a:lnTo>
                  <a:lnTo>
                    <a:pt x="465" y="594"/>
                  </a:lnTo>
                  <a:lnTo>
                    <a:pt x="463" y="594"/>
                  </a:lnTo>
                  <a:lnTo>
                    <a:pt x="462" y="595"/>
                  </a:lnTo>
                  <a:lnTo>
                    <a:pt x="462" y="597"/>
                  </a:lnTo>
                  <a:lnTo>
                    <a:pt x="460" y="597"/>
                  </a:lnTo>
                  <a:lnTo>
                    <a:pt x="458" y="597"/>
                  </a:lnTo>
                  <a:lnTo>
                    <a:pt x="458" y="599"/>
                  </a:lnTo>
                  <a:lnTo>
                    <a:pt x="457" y="600"/>
                  </a:lnTo>
                  <a:lnTo>
                    <a:pt x="455" y="602"/>
                  </a:lnTo>
                  <a:lnTo>
                    <a:pt x="454" y="602"/>
                  </a:lnTo>
                  <a:lnTo>
                    <a:pt x="454" y="603"/>
                  </a:lnTo>
                  <a:lnTo>
                    <a:pt x="450" y="603"/>
                  </a:lnTo>
                  <a:lnTo>
                    <a:pt x="449" y="605"/>
                  </a:lnTo>
                  <a:lnTo>
                    <a:pt x="447" y="605"/>
                  </a:lnTo>
                  <a:lnTo>
                    <a:pt x="445" y="605"/>
                  </a:lnTo>
                  <a:lnTo>
                    <a:pt x="445" y="603"/>
                  </a:lnTo>
                  <a:lnTo>
                    <a:pt x="444" y="605"/>
                  </a:lnTo>
                  <a:lnTo>
                    <a:pt x="442" y="605"/>
                  </a:lnTo>
                  <a:lnTo>
                    <a:pt x="441" y="605"/>
                  </a:lnTo>
                  <a:lnTo>
                    <a:pt x="436" y="602"/>
                  </a:lnTo>
                  <a:lnTo>
                    <a:pt x="434" y="602"/>
                  </a:lnTo>
                  <a:lnTo>
                    <a:pt x="436" y="600"/>
                  </a:lnTo>
                  <a:lnTo>
                    <a:pt x="436" y="597"/>
                  </a:lnTo>
                  <a:lnTo>
                    <a:pt x="434" y="597"/>
                  </a:lnTo>
                  <a:lnTo>
                    <a:pt x="432" y="595"/>
                  </a:lnTo>
                  <a:lnTo>
                    <a:pt x="431" y="595"/>
                  </a:lnTo>
                  <a:lnTo>
                    <a:pt x="429" y="595"/>
                  </a:lnTo>
                  <a:lnTo>
                    <a:pt x="429" y="594"/>
                  </a:lnTo>
                  <a:lnTo>
                    <a:pt x="428" y="594"/>
                  </a:lnTo>
                  <a:lnTo>
                    <a:pt x="426" y="594"/>
                  </a:lnTo>
                  <a:lnTo>
                    <a:pt x="424" y="594"/>
                  </a:lnTo>
                  <a:lnTo>
                    <a:pt x="424" y="592"/>
                  </a:lnTo>
                  <a:lnTo>
                    <a:pt x="423" y="594"/>
                  </a:lnTo>
                  <a:lnTo>
                    <a:pt x="423" y="592"/>
                  </a:lnTo>
                  <a:lnTo>
                    <a:pt x="421" y="592"/>
                  </a:lnTo>
                  <a:lnTo>
                    <a:pt x="423" y="590"/>
                  </a:lnTo>
                  <a:lnTo>
                    <a:pt x="424" y="590"/>
                  </a:lnTo>
                  <a:lnTo>
                    <a:pt x="424" y="589"/>
                  </a:lnTo>
                  <a:lnTo>
                    <a:pt x="426" y="589"/>
                  </a:lnTo>
                  <a:lnTo>
                    <a:pt x="428" y="587"/>
                  </a:lnTo>
                  <a:lnTo>
                    <a:pt x="428" y="586"/>
                  </a:lnTo>
                  <a:lnTo>
                    <a:pt x="429" y="586"/>
                  </a:lnTo>
                  <a:lnTo>
                    <a:pt x="429" y="584"/>
                  </a:lnTo>
                  <a:lnTo>
                    <a:pt x="431" y="584"/>
                  </a:lnTo>
                  <a:lnTo>
                    <a:pt x="432" y="584"/>
                  </a:lnTo>
                  <a:lnTo>
                    <a:pt x="434" y="584"/>
                  </a:lnTo>
                  <a:lnTo>
                    <a:pt x="436" y="584"/>
                  </a:lnTo>
                  <a:lnTo>
                    <a:pt x="437" y="586"/>
                  </a:lnTo>
                  <a:lnTo>
                    <a:pt x="439" y="586"/>
                  </a:lnTo>
                  <a:lnTo>
                    <a:pt x="441" y="586"/>
                  </a:lnTo>
                  <a:lnTo>
                    <a:pt x="439" y="586"/>
                  </a:lnTo>
                  <a:lnTo>
                    <a:pt x="441" y="586"/>
                  </a:lnTo>
                  <a:lnTo>
                    <a:pt x="441" y="584"/>
                  </a:lnTo>
                  <a:lnTo>
                    <a:pt x="442" y="584"/>
                  </a:lnTo>
                  <a:lnTo>
                    <a:pt x="442" y="586"/>
                  </a:lnTo>
                  <a:lnTo>
                    <a:pt x="444" y="586"/>
                  </a:lnTo>
                  <a:lnTo>
                    <a:pt x="445" y="586"/>
                  </a:lnTo>
                  <a:lnTo>
                    <a:pt x="445" y="584"/>
                  </a:lnTo>
                  <a:lnTo>
                    <a:pt x="447" y="584"/>
                  </a:lnTo>
                  <a:lnTo>
                    <a:pt x="449" y="584"/>
                  </a:lnTo>
                  <a:lnTo>
                    <a:pt x="450" y="584"/>
                  </a:lnTo>
                  <a:lnTo>
                    <a:pt x="450" y="582"/>
                  </a:lnTo>
                  <a:lnTo>
                    <a:pt x="452" y="582"/>
                  </a:lnTo>
                  <a:lnTo>
                    <a:pt x="454" y="582"/>
                  </a:lnTo>
                  <a:lnTo>
                    <a:pt x="454" y="581"/>
                  </a:lnTo>
                  <a:lnTo>
                    <a:pt x="455" y="581"/>
                  </a:lnTo>
                  <a:lnTo>
                    <a:pt x="457" y="579"/>
                  </a:lnTo>
                  <a:lnTo>
                    <a:pt x="457" y="577"/>
                  </a:lnTo>
                  <a:lnTo>
                    <a:pt x="458" y="577"/>
                  </a:lnTo>
                  <a:lnTo>
                    <a:pt x="458" y="576"/>
                  </a:lnTo>
                  <a:lnTo>
                    <a:pt x="460" y="576"/>
                  </a:lnTo>
                  <a:lnTo>
                    <a:pt x="460" y="574"/>
                  </a:lnTo>
                  <a:lnTo>
                    <a:pt x="460" y="573"/>
                  </a:lnTo>
                  <a:lnTo>
                    <a:pt x="460" y="574"/>
                  </a:lnTo>
                  <a:lnTo>
                    <a:pt x="458" y="573"/>
                  </a:lnTo>
                  <a:lnTo>
                    <a:pt x="457" y="573"/>
                  </a:lnTo>
                  <a:lnTo>
                    <a:pt x="455" y="573"/>
                  </a:lnTo>
                  <a:lnTo>
                    <a:pt x="455" y="571"/>
                  </a:lnTo>
                  <a:lnTo>
                    <a:pt x="457" y="569"/>
                  </a:lnTo>
                  <a:lnTo>
                    <a:pt x="458" y="569"/>
                  </a:lnTo>
                  <a:lnTo>
                    <a:pt x="460" y="569"/>
                  </a:lnTo>
                  <a:lnTo>
                    <a:pt x="460" y="568"/>
                  </a:lnTo>
                  <a:lnTo>
                    <a:pt x="458" y="568"/>
                  </a:lnTo>
                  <a:lnTo>
                    <a:pt x="457" y="568"/>
                  </a:lnTo>
                  <a:lnTo>
                    <a:pt x="455" y="568"/>
                  </a:lnTo>
                  <a:lnTo>
                    <a:pt x="454" y="568"/>
                  </a:lnTo>
                  <a:lnTo>
                    <a:pt x="452" y="568"/>
                  </a:lnTo>
                  <a:lnTo>
                    <a:pt x="450" y="568"/>
                  </a:lnTo>
                  <a:lnTo>
                    <a:pt x="449" y="568"/>
                  </a:lnTo>
                  <a:lnTo>
                    <a:pt x="449" y="566"/>
                  </a:lnTo>
                  <a:lnTo>
                    <a:pt x="450" y="566"/>
                  </a:lnTo>
                  <a:lnTo>
                    <a:pt x="449" y="566"/>
                  </a:lnTo>
                  <a:lnTo>
                    <a:pt x="450" y="566"/>
                  </a:lnTo>
                  <a:lnTo>
                    <a:pt x="449" y="566"/>
                  </a:lnTo>
                  <a:lnTo>
                    <a:pt x="450" y="566"/>
                  </a:lnTo>
                  <a:lnTo>
                    <a:pt x="449" y="564"/>
                  </a:lnTo>
                  <a:lnTo>
                    <a:pt x="447" y="564"/>
                  </a:lnTo>
                  <a:lnTo>
                    <a:pt x="447" y="563"/>
                  </a:lnTo>
                  <a:lnTo>
                    <a:pt x="445" y="563"/>
                  </a:lnTo>
                  <a:lnTo>
                    <a:pt x="444" y="564"/>
                  </a:lnTo>
                  <a:lnTo>
                    <a:pt x="444" y="566"/>
                  </a:lnTo>
                  <a:lnTo>
                    <a:pt x="444" y="568"/>
                  </a:lnTo>
                  <a:lnTo>
                    <a:pt x="442" y="568"/>
                  </a:lnTo>
                  <a:lnTo>
                    <a:pt x="442" y="569"/>
                  </a:lnTo>
                  <a:lnTo>
                    <a:pt x="442" y="568"/>
                  </a:lnTo>
                  <a:lnTo>
                    <a:pt x="441" y="568"/>
                  </a:lnTo>
                  <a:lnTo>
                    <a:pt x="439" y="568"/>
                  </a:lnTo>
                  <a:lnTo>
                    <a:pt x="437" y="568"/>
                  </a:lnTo>
                  <a:lnTo>
                    <a:pt x="439" y="568"/>
                  </a:lnTo>
                  <a:lnTo>
                    <a:pt x="439" y="566"/>
                  </a:lnTo>
                  <a:lnTo>
                    <a:pt x="441" y="566"/>
                  </a:lnTo>
                  <a:lnTo>
                    <a:pt x="439" y="566"/>
                  </a:lnTo>
                  <a:lnTo>
                    <a:pt x="439" y="564"/>
                  </a:lnTo>
                  <a:lnTo>
                    <a:pt x="437" y="564"/>
                  </a:lnTo>
                  <a:lnTo>
                    <a:pt x="436" y="563"/>
                  </a:lnTo>
                  <a:lnTo>
                    <a:pt x="436" y="564"/>
                  </a:lnTo>
                  <a:lnTo>
                    <a:pt x="432" y="564"/>
                  </a:lnTo>
                  <a:lnTo>
                    <a:pt x="431" y="564"/>
                  </a:lnTo>
                  <a:lnTo>
                    <a:pt x="429" y="564"/>
                  </a:lnTo>
                  <a:lnTo>
                    <a:pt x="428" y="563"/>
                  </a:lnTo>
                  <a:lnTo>
                    <a:pt x="428" y="564"/>
                  </a:lnTo>
                  <a:lnTo>
                    <a:pt x="426" y="564"/>
                  </a:lnTo>
                  <a:lnTo>
                    <a:pt x="424" y="564"/>
                  </a:lnTo>
                  <a:lnTo>
                    <a:pt x="424" y="566"/>
                  </a:lnTo>
                  <a:lnTo>
                    <a:pt x="424" y="568"/>
                  </a:lnTo>
                  <a:lnTo>
                    <a:pt x="426" y="568"/>
                  </a:lnTo>
                  <a:lnTo>
                    <a:pt x="426" y="566"/>
                  </a:lnTo>
                  <a:lnTo>
                    <a:pt x="428" y="566"/>
                  </a:lnTo>
                  <a:lnTo>
                    <a:pt x="429" y="566"/>
                  </a:lnTo>
                  <a:lnTo>
                    <a:pt x="429" y="568"/>
                  </a:lnTo>
                  <a:lnTo>
                    <a:pt x="431" y="568"/>
                  </a:lnTo>
                  <a:lnTo>
                    <a:pt x="429" y="568"/>
                  </a:lnTo>
                  <a:lnTo>
                    <a:pt x="428" y="569"/>
                  </a:lnTo>
                  <a:lnTo>
                    <a:pt x="426" y="569"/>
                  </a:lnTo>
                  <a:lnTo>
                    <a:pt x="426" y="568"/>
                  </a:lnTo>
                  <a:lnTo>
                    <a:pt x="426" y="569"/>
                  </a:lnTo>
                  <a:lnTo>
                    <a:pt x="424" y="569"/>
                  </a:lnTo>
                  <a:lnTo>
                    <a:pt x="424" y="568"/>
                  </a:lnTo>
                  <a:lnTo>
                    <a:pt x="424" y="569"/>
                  </a:lnTo>
                  <a:lnTo>
                    <a:pt x="423" y="569"/>
                  </a:lnTo>
                  <a:lnTo>
                    <a:pt x="423" y="568"/>
                  </a:lnTo>
                  <a:lnTo>
                    <a:pt x="423" y="566"/>
                  </a:lnTo>
                  <a:lnTo>
                    <a:pt x="421" y="564"/>
                  </a:lnTo>
                  <a:lnTo>
                    <a:pt x="421" y="563"/>
                  </a:lnTo>
                  <a:lnTo>
                    <a:pt x="421" y="564"/>
                  </a:lnTo>
                  <a:lnTo>
                    <a:pt x="419" y="564"/>
                  </a:lnTo>
                  <a:lnTo>
                    <a:pt x="421" y="564"/>
                  </a:lnTo>
                  <a:lnTo>
                    <a:pt x="419" y="564"/>
                  </a:lnTo>
                  <a:lnTo>
                    <a:pt x="418" y="564"/>
                  </a:lnTo>
                  <a:lnTo>
                    <a:pt x="416" y="564"/>
                  </a:lnTo>
                  <a:lnTo>
                    <a:pt x="416" y="566"/>
                  </a:lnTo>
                  <a:lnTo>
                    <a:pt x="415" y="566"/>
                  </a:lnTo>
                  <a:lnTo>
                    <a:pt x="415" y="564"/>
                  </a:lnTo>
                  <a:lnTo>
                    <a:pt x="413" y="566"/>
                  </a:lnTo>
                  <a:lnTo>
                    <a:pt x="413" y="564"/>
                  </a:lnTo>
                  <a:lnTo>
                    <a:pt x="413" y="566"/>
                  </a:lnTo>
                  <a:lnTo>
                    <a:pt x="411" y="564"/>
                  </a:lnTo>
                  <a:lnTo>
                    <a:pt x="411" y="566"/>
                  </a:lnTo>
                  <a:lnTo>
                    <a:pt x="410" y="566"/>
                  </a:lnTo>
                  <a:lnTo>
                    <a:pt x="410" y="564"/>
                  </a:lnTo>
                  <a:lnTo>
                    <a:pt x="410" y="566"/>
                  </a:lnTo>
                  <a:lnTo>
                    <a:pt x="408" y="566"/>
                  </a:lnTo>
                  <a:lnTo>
                    <a:pt x="408" y="564"/>
                  </a:lnTo>
                  <a:lnTo>
                    <a:pt x="406" y="564"/>
                  </a:lnTo>
                  <a:lnTo>
                    <a:pt x="406" y="563"/>
                  </a:lnTo>
                  <a:lnTo>
                    <a:pt x="408" y="561"/>
                  </a:lnTo>
                  <a:lnTo>
                    <a:pt x="410" y="560"/>
                  </a:lnTo>
                  <a:lnTo>
                    <a:pt x="408" y="558"/>
                  </a:lnTo>
                  <a:lnTo>
                    <a:pt x="406" y="558"/>
                  </a:lnTo>
                  <a:lnTo>
                    <a:pt x="405" y="558"/>
                  </a:lnTo>
                  <a:lnTo>
                    <a:pt x="405" y="556"/>
                  </a:lnTo>
                  <a:lnTo>
                    <a:pt x="403" y="556"/>
                  </a:lnTo>
                  <a:lnTo>
                    <a:pt x="402" y="556"/>
                  </a:lnTo>
                  <a:lnTo>
                    <a:pt x="400" y="556"/>
                  </a:lnTo>
                  <a:lnTo>
                    <a:pt x="398" y="556"/>
                  </a:lnTo>
                  <a:lnTo>
                    <a:pt x="398" y="555"/>
                  </a:lnTo>
                  <a:lnTo>
                    <a:pt x="397" y="555"/>
                  </a:lnTo>
                  <a:lnTo>
                    <a:pt x="397" y="553"/>
                  </a:lnTo>
                  <a:lnTo>
                    <a:pt x="395" y="553"/>
                  </a:lnTo>
                  <a:lnTo>
                    <a:pt x="395" y="551"/>
                  </a:lnTo>
                  <a:lnTo>
                    <a:pt x="397" y="551"/>
                  </a:lnTo>
                  <a:lnTo>
                    <a:pt x="395" y="550"/>
                  </a:lnTo>
                  <a:lnTo>
                    <a:pt x="395" y="548"/>
                  </a:lnTo>
                  <a:lnTo>
                    <a:pt x="393" y="547"/>
                  </a:lnTo>
                  <a:lnTo>
                    <a:pt x="392" y="547"/>
                  </a:lnTo>
                  <a:lnTo>
                    <a:pt x="390" y="547"/>
                  </a:lnTo>
                  <a:lnTo>
                    <a:pt x="389" y="548"/>
                  </a:lnTo>
                  <a:lnTo>
                    <a:pt x="390" y="550"/>
                  </a:lnTo>
                  <a:lnTo>
                    <a:pt x="390" y="548"/>
                  </a:lnTo>
                  <a:lnTo>
                    <a:pt x="390" y="550"/>
                  </a:lnTo>
                  <a:lnTo>
                    <a:pt x="392" y="550"/>
                  </a:lnTo>
                  <a:lnTo>
                    <a:pt x="390" y="551"/>
                  </a:lnTo>
                  <a:lnTo>
                    <a:pt x="389" y="551"/>
                  </a:lnTo>
                  <a:lnTo>
                    <a:pt x="389" y="550"/>
                  </a:lnTo>
                  <a:lnTo>
                    <a:pt x="387" y="550"/>
                  </a:lnTo>
                  <a:lnTo>
                    <a:pt x="387" y="551"/>
                  </a:lnTo>
                  <a:lnTo>
                    <a:pt x="385" y="551"/>
                  </a:lnTo>
                  <a:lnTo>
                    <a:pt x="387" y="551"/>
                  </a:lnTo>
                  <a:lnTo>
                    <a:pt x="385" y="551"/>
                  </a:lnTo>
                  <a:lnTo>
                    <a:pt x="385" y="553"/>
                  </a:lnTo>
                  <a:lnTo>
                    <a:pt x="385" y="555"/>
                  </a:lnTo>
                  <a:lnTo>
                    <a:pt x="385" y="556"/>
                  </a:lnTo>
                  <a:lnTo>
                    <a:pt x="387" y="556"/>
                  </a:lnTo>
                  <a:lnTo>
                    <a:pt x="387" y="558"/>
                  </a:lnTo>
                  <a:lnTo>
                    <a:pt x="385" y="560"/>
                  </a:lnTo>
                  <a:lnTo>
                    <a:pt x="387" y="560"/>
                  </a:lnTo>
                  <a:lnTo>
                    <a:pt x="385" y="561"/>
                  </a:lnTo>
                  <a:lnTo>
                    <a:pt x="385" y="563"/>
                  </a:lnTo>
                  <a:lnTo>
                    <a:pt x="384" y="563"/>
                  </a:lnTo>
                  <a:lnTo>
                    <a:pt x="382" y="563"/>
                  </a:lnTo>
                  <a:lnTo>
                    <a:pt x="382" y="561"/>
                  </a:lnTo>
                  <a:lnTo>
                    <a:pt x="380" y="561"/>
                  </a:lnTo>
                  <a:lnTo>
                    <a:pt x="380" y="560"/>
                  </a:lnTo>
                  <a:lnTo>
                    <a:pt x="380" y="558"/>
                  </a:lnTo>
                  <a:lnTo>
                    <a:pt x="379" y="558"/>
                  </a:lnTo>
                  <a:lnTo>
                    <a:pt x="377" y="558"/>
                  </a:lnTo>
                  <a:lnTo>
                    <a:pt x="377" y="556"/>
                  </a:lnTo>
                  <a:lnTo>
                    <a:pt x="379" y="555"/>
                  </a:lnTo>
                  <a:lnTo>
                    <a:pt x="379" y="553"/>
                  </a:lnTo>
                  <a:lnTo>
                    <a:pt x="377" y="553"/>
                  </a:lnTo>
                  <a:lnTo>
                    <a:pt x="376" y="553"/>
                  </a:lnTo>
                  <a:lnTo>
                    <a:pt x="376" y="551"/>
                  </a:lnTo>
                  <a:lnTo>
                    <a:pt x="376" y="550"/>
                  </a:lnTo>
                  <a:lnTo>
                    <a:pt x="374" y="550"/>
                  </a:lnTo>
                  <a:lnTo>
                    <a:pt x="372" y="548"/>
                  </a:lnTo>
                  <a:lnTo>
                    <a:pt x="371" y="547"/>
                  </a:lnTo>
                  <a:lnTo>
                    <a:pt x="369" y="547"/>
                  </a:lnTo>
                  <a:lnTo>
                    <a:pt x="369" y="545"/>
                  </a:lnTo>
                  <a:lnTo>
                    <a:pt x="367" y="543"/>
                  </a:lnTo>
                  <a:lnTo>
                    <a:pt x="366" y="545"/>
                  </a:lnTo>
                  <a:lnTo>
                    <a:pt x="364" y="543"/>
                  </a:lnTo>
                  <a:lnTo>
                    <a:pt x="364" y="542"/>
                  </a:lnTo>
                  <a:lnTo>
                    <a:pt x="363" y="543"/>
                  </a:lnTo>
                  <a:lnTo>
                    <a:pt x="363" y="542"/>
                  </a:lnTo>
                  <a:lnTo>
                    <a:pt x="361" y="542"/>
                  </a:lnTo>
                  <a:lnTo>
                    <a:pt x="361" y="543"/>
                  </a:lnTo>
                  <a:lnTo>
                    <a:pt x="363" y="543"/>
                  </a:lnTo>
                  <a:lnTo>
                    <a:pt x="363" y="545"/>
                  </a:lnTo>
                  <a:lnTo>
                    <a:pt x="363" y="547"/>
                  </a:lnTo>
                  <a:lnTo>
                    <a:pt x="364" y="547"/>
                  </a:lnTo>
                  <a:lnTo>
                    <a:pt x="363" y="547"/>
                  </a:lnTo>
                  <a:lnTo>
                    <a:pt x="363" y="548"/>
                  </a:lnTo>
                  <a:lnTo>
                    <a:pt x="361" y="548"/>
                  </a:lnTo>
                  <a:lnTo>
                    <a:pt x="361" y="550"/>
                  </a:lnTo>
                  <a:lnTo>
                    <a:pt x="359" y="550"/>
                  </a:lnTo>
                  <a:lnTo>
                    <a:pt x="359" y="551"/>
                  </a:lnTo>
                  <a:lnTo>
                    <a:pt x="361" y="551"/>
                  </a:lnTo>
                  <a:lnTo>
                    <a:pt x="361" y="553"/>
                  </a:lnTo>
                  <a:lnTo>
                    <a:pt x="363" y="551"/>
                  </a:lnTo>
                  <a:lnTo>
                    <a:pt x="363" y="553"/>
                  </a:lnTo>
                  <a:lnTo>
                    <a:pt x="364" y="555"/>
                  </a:lnTo>
                  <a:lnTo>
                    <a:pt x="363" y="555"/>
                  </a:lnTo>
                  <a:lnTo>
                    <a:pt x="361" y="555"/>
                  </a:lnTo>
                  <a:lnTo>
                    <a:pt x="363" y="555"/>
                  </a:lnTo>
                  <a:lnTo>
                    <a:pt x="361" y="556"/>
                  </a:lnTo>
                  <a:lnTo>
                    <a:pt x="363" y="556"/>
                  </a:lnTo>
                  <a:lnTo>
                    <a:pt x="361" y="558"/>
                  </a:lnTo>
                  <a:lnTo>
                    <a:pt x="361" y="560"/>
                  </a:lnTo>
                  <a:lnTo>
                    <a:pt x="359" y="558"/>
                  </a:lnTo>
                  <a:lnTo>
                    <a:pt x="359" y="556"/>
                  </a:lnTo>
                  <a:lnTo>
                    <a:pt x="358" y="556"/>
                  </a:lnTo>
                  <a:lnTo>
                    <a:pt x="356" y="558"/>
                  </a:lnTo>
                  <a:lnTo>
                    <a:pt x="354" y="558"/>
                  </a:lnTo>
                  <a:lnTo>
                    <a:pt x="353" y="556"/>
                  </a:lnTo>
                  <a:lnTo>
                    <a:pt x="351" y="558"/>
                  </a:lnTo>
                  <a:lnTo>
                    <a:pt x="353" y="558"/>
                  </a:lnTo>
                  <a:lnTo>
                    <a:pt x="351" y="558"/>
                  </a:lnTo>
                  <a:lnTo>
                    <a:pt x="351" y="560"/>
                  </a:lnTo>
                  <a:lnTo>
                    <a:pt x="349" y="560"/>
                  </a:lnTo>
                  <a:lnTo>
                    <a:pt x="348" y="560"/>
                  </a:lnTo>
                  <a:lnTo>
                    <a:pt x="348" y="558"/>
                  </a:lnTo>
                  <a:lnTo>
                    <a:pt x="346" y="558"/>
                  </a:lnTo>
                  <a:lnTo>
                    <a:pt x="346" y="556"/>
                  </a:lnTo>
                  <a:lnTo>
                    <a:pt x="346" y="558"/>
                  </a:lnTo>
                  <a:lnTo>
                    <a:pt x="345" y="558"/>
                  </a:lnTo>
                  <a:lnTo>
                    <a:pt x="343" y="560"/>
                  </a:lnTo>
                  <a:lnTo>
                    <a:pt x="343" y="561"/>
                  </a:lnTo>
                  <a:lnTo>
                    <a:pt x="341" y="561"/>
                  </a:lnTo>
                  <a:lnTo>
                    <a:pt x="341" y="563"/>
                  </a:lnTo>
                  <a:lnTo>
                    <a:pt x="340" y="563"/>
                  </a:lnTo>
                  <a:lnTo>
                    <a:pt x="340" y="564"/>
                  </a:lnTo>
                  <a:lnTo>
                    <a:pt x="340" y="563"/>
                  </a:lnTo>
                  <a:lnTo>
                    <a:pt x="338" y="563"/>
                  </a:lnTo>
                  <a:lnTo>
                    <a:pt x="338" y="561"/>
                  </a:lnTo>
                  <a:lnTo>
                    <a:pt x="338" y="563"/>
                  </a:lnTo>
                  <a:lnTo>
                    <a:pt x="338" y="561"/>
                  </a:lnTo>
                  <a:lnTo>
                    <a:pt x="336" y="561"/>
                  </a:lnTo>
                  <a:lnTo>
                    <a:pt x="335" y="561"/>
                  </a:lnTo>
                  <a:lnTo>
                    <a:pt x="333" y="561"/>
                  </a:lnTo>
                  <a:lnTo>
                    <a:pt x="335" y="561"/>
                  </a:lnTo>
                  <a:lnTo>
                    <a:pt x="335" y="560"/>
                  </a:lnTo>
                  <a:lnTo>
                    <a:pt x="333" y="560"/>
                  </a:lnTo>
                  <a:lnTo>
                    <a:pt x="333" y="558"/>
                  </a:lnTo>
                  <a:lnTo>
                    <a:pt x="332" y="558"/>
                  </a:lnTo>
                  <a:lnTo>
                    <a:pt x="332" y="560"/>
                  </a:lnTo>
                  <a:lnTo>
                    <a:pt x="330" y="560"/>
                  </a:lnTo>
                  <a:lnTo>
                    <a:pt x="330" y="558"/>
                  </a:lnTo>
                  <a:lnTo>
                    <a:pt x="330" y="560"/>
                  </a:lnTo>
                  <a:lnTo>
                    <a:pt x="330" y="558"/>
                  </a:lnTo>
                  <a:lnTo>
                    <a:pt x="328" y="558"/>
                  </a:lnTo>
                  <a:lnTo>
                    <a:pt x="327" y="558"/>
                  </a:lnTo>
                  <a:lnTo>
                    <a:pt x="325" y="558"/>
                  </a:lnTo>
                  <a:lnTo>
                    <a:pt x="325" y="556"/>
                  </a:lnTo>
                  <a:lnTo>
                    <a:pt x="323" y="556"/>
                  </a:lnTo>
                  <a:lnTo>
                    <a:pt x="322" y="556"/>
                  </a:lnTo>
                  <a:lnTo>
                    <a:pt x="320" y="556"/>
                  </a:lnTo>
                  <a:lnTo>
                    <a:pt x="319" y="558"/>
                  </a:lnTo>
                  <a:lnTo>
                    <a:pt x="317" y="556"/>
                  </a:lnTo>
                  <a:lnTo>
                    <a:pt x="315" y="556"/>
                  </a:lnTo>
                  <a:lnTo>
                    <a:pt x="314" y="556"/>
                  </a:lnTo>
                  <a:lnTo>
                    <a:pt x="312" y="556"/>
                  </a:lnTo>
                  <a:lnTo>
                    <a:pt x="310" y="556"/>
                  </a:lnTo>
                  <a:lnTo>
                    <a:pt x="310" y="558"/>
                  </a:lnTo>
                  <a:lnTo>
                    <a:pt x="309" y="558"/>
                  </a:lnTo>
                  <a:lnTo>
                    <a:pt x="309" y="560"/>
                  </a:lnTo>
                  <a:lnTo>
                    <a:pt x="307" y="561"/>
                  </a:lnTo>
                  <a:lnTo>
                    <a:pt x="306" y="563"/>
                  </a:lnTo>
                  <a:lnTo>
                    <a:pt x="304" y="563"/>
                  </a:lnTo>
                  <a:lnTo>
                    <a:pt x="302" y="563"/>
                  </a:lnTo>
                  <a:lnTo>
                    <a:pt x="301" y="561"/>
                  </a:lnTo>
                  <a:lnTo>
                    <a:pt x="299" y="560"/>
                  </a:lnTo>
                  <a:lnTo>
                    <a:pt x="299" y="561"/>
                  </a:lnTo>
                  <a:lnTo>
                    <a:pt x="297" y="561"/>
                  </a:lnTo>
                  <a:lnTo>
                    <a:pt x="297" y="563"/>
                  </a:lnTo>
                  <a:lnTo>
                    <a:pt x="296" y="563"/>
                  </a:lnTo>
                  <a:lnTo>
                    <a:pt x="294" y="563"/>
                  </a:lnTo>
                  <a:lnTo>
                    <a:pt x="294" y="566"/>
                  </a:lnTo>
                  <a:lnTo>
                    <a:pt x="294" y="568"/>
                  </a:lnTo>
                  <a:lnTo>
                    <a:pt x="294" y="569"/>
                  </a:lnTo>
                  <a:lnTo>
                    <a:pt x="293" y="571"/>
                  </a:lnTo>
                  <a:lnTo>
                    <a:pt x="293" y="569"/>
                  </a:lnTo>
                  <a:lnTo>
                    <a:pt x="291" y="569"/>
                  </a:lnTo>
                  <a:lnTo>
                    <a:pt x="289" y="569"/>
                  </a:lnTo>
                  <a:lnTo>
                    <a:pt x="288" y="569"/>
                  </a:lnTo>
                  <a:lnTo>
                    <a:pt x="286" y="569"/>
                  </a:lnTo>
                  <a:lnTo>
                    <a:pt x="286" y="568"/>
                  </a:lnTo>
                  <a:lnTo>
                    <a:pt x="284" y="569"/>
                  </a:lnTo>
                  <a:lnTo>
                    <a:pt x="283" y="569"/>
                  </a:lnTo>
                  <a:lnTo>
                    <a:pt x="281" y="569"/>
                  </a:lnTo>
                  <a:lnTo>
                    <a:pt x="280" y="569"/>
                  </a:lnTo>
                  <a:lnTo>
                    <a:pt x="278" y="568"/>
                  </a:lnTo>
                  <a:lnTo>
                    <a:pt x="278" y="569"/>
                  </a:lnTo>
                  <a:lnTo>
                    <a:pt x="276" y="569"/>
                  </a:lnTo>
                  <a:lnTo>
                    <a:pt x="276" y="571"/>
                  </a:lnTo>
                  <a:lnTo>
                    <a:pt x="275" y="571"/>
                  </a:lnTo>
                  <a:lnTo>
                    <a:pt x="273" y="571"/>
                  </a:lnTo>
                  <a:lnTo>
                    <a:pt x="273" y="573"/>
                  </a:lnTo>
                  <a:lnTo>
                    <a:pt x="271" y="574"/>
                  </a:lnTo>
                  <a:lnTo>
                    <a:pt x="270" y="574"/>
                  </a:lnTo>
                  <a:lnTo>
                    <a:pt x="268" y="574"/>
                  </a:lnTo>
                  <a:lnTo>
                    <a:pt x="268" y="576"/>
                  </a:lnTo>
                  <a:lnTo>
                    <a:pt x="267" y="576"/>
                  </a:lnTo>
                  <a:lnTo>
                    <a:pt x="267" y="577"/>
                  </a:lnTo>
                  <a:lnTo>
                    <a:pt x="267" y="579"/>
                  </a:lnTo>
                  <a:lnTo>
                    <a:pt x="265" y="579"/>
                  </a:lnTo>
                  <a:lnTo>
                    <a:pt x="265" y="581"/>
                  </a:lnTo>
                  <a:lnTo>
                    <a:pt x="263" y="581"/>
                  </a:lnTo>
                  <a:lnTo>
                    <a:pt x="263" y="579"/>
                  </a:lnTo>
                  <a:lnTo>
                    <a:pt x="265" y="579"/>
                  </a:lnTo>
                  <a:lnTo>
                    <a:pt x="263" y="579"/>
                  </a:lnTo>
                  <a:lnTo>
                    <a:pt x="262" y="579"/>
                  </a:lnTo>
                  <a:lnTo>
                    <a:pt x="260" y="577"/>
                  </a:lnTo>
                  <a:lnTo>
                    <a:pt x="258" y="577"/>
                  </a:lnTo>
                  <a:lnTo>
                    <a:pt x="257" y="576"/>
                  </a:lnTo>
                  <a:lnTo>
                    <a:pt x="255" y="576"/>
                  </a:lnTo>
                  <a:lnTo>
                    <a:pt x="255" y="577"/>
                  </a:lnTo>
                  <a:lnTo>
                    <a:pt x="254" y="576"/>
                  </a:lnTo>
                  <a:lnTo>
                    <a:pt x="255" y="576"/>
                  </a:lnTo>
                  <a:lnTo>
                    <a:pt x="257" y="576"/>
                  </a:lnTo>
                  <a:lnTo>
                    <a:pt x="257" y="574"/>
                  </a:lnTo>
                  <a:lnTo>
                    <a:pt x="258" y="574"/>
                  </a:lnTo>
                  <a:lnTo>
                    <a:pt x="257" y="576"/>
                  </a:lnTo>
                  <a:lnTo>
                    <a:pt x="258" y="576"/>
                  </a:lnTo>
                  <a:lnTo>
                    <a:pt x="258" y="577"/>
                  </a:lnTo>
                  <a:lnTo>
                    <a:pt x="260" y="577"/>
                  </a:lnTo>
                  <a:lnTo>
                    <a:pt x="262" y="579"/>
                  </a:lnTo>
                  <a:lnTo>
                    <a:pt x="262" y="577"/>
                  </a:lnTo>
                  <a:lnTo>
                    <a:pt x="262" y="576"/>
                  </a:lnTo>
                  <a:lnTo>
                    <a:pt x="262" y="574"/>
                  </a:lnTo>
                  <a:lnTo>
                    <a:pt x="260" y="574"/>
                  </a:lnTo>
                  <a:lnTo>
                    <a:pt x="260" y="573"/>
                  </a:lnTo>
                  <a:lnTo>
                    <a:pt x="260" y="574"/>
                  </a:lnTo>
                  <a:lnTo>
                    <a:pt x="262" y="573"/>
                  </a:lnTo>
                  <a:lnTo>
                    <a:pt x="262" y="571"/>
                  </a:lnTo>
                  <a:lnTo>
                    <a:pt x="260" y="571"/>
                  </a:lnTo>
                  <a:lnTo>
                    <a:pt x="258" y="573"/>
                  </a:lnTo>
                  <a:lnTo>
                    <a:pt x="258" y="571"/>
                  </a:lnTo>
                  <a:lnTo>
                    <a:pt x="258" y="569"/>
                  </a:lnTo>
                  <a:lnTo>
                    <a:pt x="258" y="571"/>
                  </a:lnTo>
                  <a:lnTo>
                    <a:pt x="257" y="571"/>
                  </a:lnTo>
                  <a:lnTo>
                    <a:pt x="255" y="571"/>
                  </a:lnTo>
                  <a:lnTo>
                    <a:pt x="255" y="573"/>
                  </a:lnTo>
                  <a:lnTo>
                    <a:pt x="254" y="573"/>
                  </a:lnTo>
                  <a:lnTo>
                    <a:pt x="254" y="571"/>
                  </a:lnTo>
                  <a:lnTo>
                    <a:pt x="254" y="573"/>
                  </a:lnTo>
                  <a:lnTo>
                    <a:pt x="254" y="574"/>
                  </a:lnTo>
                  <a:lnTo>
                    <a:pt x="254" y="576"/>
                  </a:lnTo>
                  <a:lnTo>
                    <a:pt x="254" y="574"/>
                  </a:lnTo>
                  <a:lnTo>
                    <a:pt x="254" y="573"/>
                  </a:lnTo>
                  <a:lnTo>
                    <a:pt x="254" y="571"/>
                  </a:lnTo>
                  <a:lnTo>
                    <a:pt x="252" y="571"/>
                  </a:lnTo>
                  <a:lnTo>
                    <a:pt x="254" y="571"/>
                  </a:lnTo>
                  <a:lnTo>
                    <a:pt x="254" y="569"/>
                  </a:lnTo>
                  <a:lnTo>
                    <a:pt x="252" y="568"/>
                  </a:lnTo>
                  <a:lnTo>
                    <a:pt x="250" y="566"/>
                  </a:lnTo>
                  <a:lnTo>
                    <a:pt x="249" y="566"/>
                  </a:lnTo>
                  <a:lnTo>
                    <a:pt x="247" y="564"/>
                  </a:lnTo>
                  <a:lnTo>
                    <a:pt x="247" y="566"/>
                  </a:lnTo>
                  <a:lnTo>
                    <a:pt x="245" y="566"/>
                  </a:lnTo>
                  <a:lnTo>
                    <a:pt x="245" y="564"/>
                  </a:lnTo>
                  <a:lnTo>
                    <a:pt x="245" y="566"/>
                  </a:lnTo>
                  <a:lnTo>
                    <a:pt x="245" y="564"/>
                  </a:lnTo>
                  <a:lnTo>
                    <a:pt x="247" y="563"/>
                  </a:lnTo>
                  <a:lnTo>
                    <a:pt x="245" y="563"/>
                  </a:lnTo>
                  <a:lnTo>
                    <a:pt x="245" y="561"/>
                  </a:lnTo>
                  <a:lnTo>
                    <a:pt x="245" y="560"/>
                  </a:lnTo>
                  <a:lnTo>
                    <a:pt x="244" y="558"/>
                  </a:lnTo>
                  <a:lnTo>
                    <a:pt x="244" y="556"/>
                  </a:lnTo>
                  <a:lnTo>
                    <a:pt x="242" y="556"/>
                  </a:lnTo>
                  <a:lnTo>
                    <a:pt x="241" y="555"/>
                  </a:lnTo>
                  <a:lnTo>
                    <a:pt x="239" y="555"/>
                  </a:lnTo>
                  <a:lnTo>
                    <a:pt x="239" y="556"/>
                  </a:lnTo>
                  <a:lnTo>
                    <a:pt x="237" y="556"/>
                  </a:lnTo>
                  <a:lnTo>
                    <a:pt x="239" y="556"/>
                  </a:lnTo>
                  <a:lnTo>
                    <a:pt x="239" y="558"/>
                  </a:lnTo>
                  <a:lnTo>
                    <a:pt x="241" y="558"/>
                  </a:lnTo>
                  <a:lnTo>
                    <a:pt x="241" y="560"/>
                  </a:lnTo>
                  <a:lnTo>
                    <a:pt x="242" y="560"/>
                  </a:lnTo>
                  <a:lnTo>
                    <a:pt x="242" y="561"/>
                  </a:lnTo>
                  <a:lnTo>
                    <a:pt x="244" y="561"/>
                  </a:lnTo>
                  <a:lnTo>
                    <a:pt x="244" y="563"/>
                  </a:lnTo>
                  <a:lnTo>
                    <a:pt x="244" y="564"/>
                  </a:lnTo>
                  <a:lnTo>
                    <a:pt x="244" y="563"/>
                  </a:lnTo>
                  <a:lnTo>
                    <a:pt x="244" y="564"/>
                  </a:lnTo>
                  <a:lnTo>
                    <a:pt x="244" y="566"/>
                  </a:lnTo>
                  <a:lnTo>
                    <a:pt x="244" y="568"/>
                  </a:lnTo>
                  <a:lnTo>
                    <a:pt x="244" y="569"/>
                  </a:lnTo>
                  <a:lnTo>
                    <a:pt x="242" y="569"/>
                  </a:lnTo>
                  <a:lnTo>
                    <a:pt x="242" y="571"/>
                  </a:lnTo>
                  <a:lnTo>
                    <a:pt x="241" y="571"/>
                  </a:lnTo>
                  <a:lnTo>
                    <a:pt x="241" y="573"/>
                  </a:lnTo>
                  <a:lnTo>
                    <a:pt x="239" y="573"/>
                  </a:lnTo>
                  <a:lnTo>
                    <a:pt x="239" y="574"/>
                  </a:lnTo>
                  <a:lnTo>
                    <a:pt x="237" y="574"/>
                  </a:lnTo>
                  <a:lnTo>
                    <a:pt x="239" y="574"/>
                  </a:lnTo>
                  <a:lnTo>
                    <a:pt x="237" y="574"/>
                  </a:lnTo>
                  <a:lnTo>
                    <a:pt x="237" y="576"/>
                  </a:lnTo>
                  <a:lnTo>
                    <a:pt x="239" y="576"/>
                  </a:lnTo>
                  <a:lnTo>
                    <a:pt x="239" y="577"/>
                  </a:lnTo>
                  <a:lnTo>
                    <a:pt x="237" y="577"/>
                  </a:lnTo>
                  <a:lnTo>
                    <a:pt x="237" y="576"/>
                  </a:lnTo>
                  <a:lnTo>
                    <a:pt x="237" y="577"/>
                  </a:lnTo>
                  <a:lnTo>
                    <a:pt x="236" y="577"/>
                  </a:lnTo>
                  <a:lnTo>
                    <a:pt x="236" y="579"/>
                  </a:lnTo>
                  <a:lnTo>
                    <a:pt x="234" y="579"/>
                  </a:lnTo>
                  <a:lnTo>
                    <a:pt x="234" y="581"/>
                  </a:lnTo>
                  <a:lnTo>
                    <a:pt x="232" y="581"/>
                  </a:lnTo>
                  <a:lnTo>
                    <a:pt x="231" y="581"/>
                  </a:lnTo>
                  <a:lnTo>
                    <a:pt x="231" y="582"/>
                  </a:lnTo>
                  <a:lnTo>
                    <a:pt x="232" y="582"/>
                  </a:lnTo>
                  <a:lnTo>
                    <a:pt x="234" y="582"/>
                  </a:lnTo>
                  <a:lnTo>
                    <a:pt x="236" y="582"/>
                  </a:lnTo>
                  <a:lnTo>
                    <a:pt x="237" y="582"/>
                  </a:lnTo>
                  <a:lnTo>
                    <a:pt x="239" y="581"/>
                  </a:lnTo>
                  <a:lnTo>
                    <a:pt x="242" y="581"/>
                  </a:lnTo>
                  <a:lnTo>
                    <a:pt x="244" y="581"/>
                  </a:lnTo>
                  <a:lnTo>
                    <a:pt x="242" y="581"/>
                  </a:lnTo>
                  <a:lnTo>
                    <a:pt x="242" y="582"/>
                  </a:lnTo>
                  <a:lnTo>
                    <a:pt x="241" y="581"/>
                  </a:lnTo>
                  <a:lnTo>
                    <a:pt x="239" y="581"/>
                  </a:lnTo>
                  <a:lnTo>
                    <a:pt x="237" y="582"/>
                  </a:lnTo>
                  <a:lnTo>
                    <a:pt x="236" y="582"/>
                  </a:lnTo>
                  <a:lnTo>
                    <a:pt x="234" y="584"/>
                  </a:lnTo>
                  <a:lnTo>
                    <a:pt x="232" y="582"/>
                  </a:lnTo>
                  <a:lnTo>
                    <a:pt x="231" y="582"/>
                  </a:lnTo>
                  <a:lnTo>
                    <a:pt x="228" y="584"/>
                  </a:lnTo>
                  <a:lnTo>
                    <a:pt x="226" y="586"/>
                  </a:lnTo>
                  <a:lnTo>
                    <a:pt x="224" y="584"/>
                  </a:lnTo>
                  <a:lnTo>
                    <a:pt x="224" y="582"/>
                  </a:lnTo>
                  <a:lnTo>
                    <a:pt x="223" y="582"/>
                  </a:lnTo>
                  <a:lnTo>
                    <a:pt x="223" y="581"/>
                  </a:lnTo>
                  <a:lnTo>
                    <a:pt x="221" y="579"/>
                  </a:lnTo>
                  <a:lnTo>
                    <a:pt x="219" y="579"/>
                  </a:lnTo>
                  <a:lnTo>
                    <a:pt x="219" y="581"/>
                  </a:lnTo>
                  <a:lnTo>
                    <a:pt x="219" y="579"/>
                  </a:lnTo>
                  <a:lnTo>
                    <a:pt x="219" y="581"/>
                  </a:lnTo>
                  <a:lnTo>
                    <a:pt x="218" y="581"/>
                  </a:lnTo>
                  <a:lnTo>
                    <a:pt x="219" y="579"/>
                  </a:lnTo>
                  <a:lnTo>
                    <a:pt x="218" y="579"/>
                  </a:lnTo>
                  <a:lnTo>
                    <a:pt x="219" y="577"/>
                  </a:lnTo>
                  <a:lnTo>
                    <a:pt x="218" y="577"/>
                  </a:lnTo>
                  <a:lnTo>
                    <a:pt x="218" y="576"/>
                  </a:lnTo>
                  <a:lnTo>
                    <a:pt x="218" y="577"/>
                  </a:lnTo>
                  <a:lnTo>
                    <a:pt x="216" y="577"/>
                  </a:lnTo>
                  <a:lnTo>
                    <a:pt x="216" y="576"/>
                  </a:lnTo>
                  <a:lnTo>
                    <a:pt x="218" y="576"/>
                  </a:lnTo>
                  <a:lnTo>
                    <a:pt x="216" y="576"/>
                  </a:lnTo>
                  <a:lnTo>
                    <a:pt x="216" y="574"/>
                  </a:lnTo>
                  <a:lnTo>
                    <a:pt x="218" y="574"/>
                  </a:lnTo>
                  <a:lnTo>
                    <a:pt x="218" y="576"/>
                  </a:lnTo>
                  <a:lnTo>
                    <a:pt x="219" y="574"/>
                  </a:lnTo>
                  <a:lnTo>
                    <a:pt x="219" y="573"/>
                  </a:lnTo>
                  <a:lnTo>
                    <a:pt x="221" y="573"/>
                  </a:lnTo>
                  <a:lnTo>
                    <a:pt x="221" y="571"/>
                  </a:lnTo>
                  <a:lnTo>
                    <a:pt x="219" y="571"/>
                  </a:lnTo>
                  <a:lnTo>
                    <a:pt x="219" y="569"/>
                  </a:lnTo>
                  <a:lnTo>
                    <a:pt x="221" y="569"/>
                  </a:lnTo>
                  <a:lnTo>
                    <a:pt x="223" y="569"/>
                  </a:lnTo>
                  <a:lnTo>
                    <a:pt x="221" y="569"/>
                  </a:lnTo>
                  <a:lnTo>
                    <a:pt x="219" y="568"/>
                  </a:lnTo>
                  <a:lnTo>
                    <a:pt x="218" y="568"/>
                  </a:lnTo>
                  <a:lnTo>
                    <a:pt x="219" y="568"/>
                  </a:lnTo>
                  <a:lnTo>
                    <a:pt x="218" y="568"/>
                  </a:lnTo>
                  <a:lnTo>
                    <a:pt x="219" y="566"/>
                  </a:lnTo>
                  <a:lnTo>
                    <a:pt x="218" y="566"/>
                  </a:lnTo>
                  <a:lnTo>
                    <a:pt x="218" y="564"/>
                  </a:lnTo>
                  <a:lnTo>
                    <a:pt x="216" y="564"/>
                  </a:lnTo>
                  <a:lnTo>
                    <a:pt x="216" y="563"/>
                  </a:lnTo>
                  <a:lnTo>
                    <a:pt x="216" y="564"/>
                  </a:lnTo>
                  <a:lnTo>
                    <a:pt x="216" y="563"/>
                  </a:lnTo>
                  <a:lnTo>
                    <a:pt x="215" y="563"/>
                  </a:lnTo>
                  <a:lnTo>
                    <a:pt x="215" y="561"/>
                  </a:lnTo>
                  <a:lnTo>
                    <a:pt x="216" y="561"/>
                  </a:lnTo>
                  <a:lnTo>
                    <a:pt x="216" y="560"/>
                  </a:lnTo>
                  <a:lnTo>
                    <a:pt x="215" y="561"/>
                  </a:lnTo>
                  <a:lnTo>
                    <a:pt x="215" y="560"/>
                  </a:lnTo>
                  <a:lnTo>
                    <a:pt x="213" y="561"/>
                  </a:lnTo>
                  <a:lnTo>
                    <a:pt x="213" y="560"/>
                  </a:lnTo>
                  <a:lnTo>
                    <a:pt x="215" y="560"/>
                  </a:lnTo>
                  <a:lnTo>
                    <a:pt x="213" y="558"/>
                  </a:lnTo>
                  <a:lnTo>
                    <a:pt x="215" y="558"/>
                  </a:lnTo>
                  <a:lnTo>
                    <a:pt x="213" y="558"/>
                  </a:lnTo>
                  <a:lnTo>
                    <a:pt x="213" y="556"/>
                  </a:lnTo>
                  <a:lnTo>
                    <a:pt x="215" y="555"/>
                  </a:lnTo>
                  <a:lnTo>
                    <a:pt x="215" y="553"/>
                  </a:lnTo>
                  <a:lnTo>
                    <a:pt x="213" y="553"/>
                  </a:lnTo>
                  <a:lnTo>
                    <a:pt x="211" y="553"/>
                  </a:lnTo>
                  <a:lnTo>
                    <a:pt x="211" y="555"/>
                  </a:lnTo>
                  <a:lnTo>
                    <a:pt x="210" y="556"/>
                  </a:lnTo>
                  <a:lnTo>
                    <a:pt x="210" y="558"/>
                  </a:lnTo>
                  <a:lnTo>
                    <a:pt x="208" y="558"/>
                  </a:lnTo>
                  <a:lnTo>
                    <a:pt x="206" y="558"/>
                  </a:lnTo>
                  <a:lnTo>
                    <a:pt x="206" y="556"/>
                  </a:lnTo>
                  <a:lnTo>
                    <a:pt x="206" y="555"/>
                  </a:lnTo>
                  <a:lnTo>
                    <a:pt x="205" y="555"/>
                  </a:lnTo>
                  <a:lnTo>
                    <a:pt x="205" y="553"/>
                  </a:lnTo>
                  <a:lnTo>
                    <a:pt x="205" y="551"/>
                  </a:lnTo>
                  <a:lnTo>
                    <a:pt x="205" y="550"/>
                  </a:lnTo>
                  <a:lnTo>
                    <a:pt x="205" y="548"/>
                  </a:lnTo>
                  <a:lnTo>
                    <a:pt x="205" y="547"/>
                  </a:lnTo>
                  <a:lnTo>
                    <a:pt x="205" y="545"/>
                  </a:lnTo>
                  <a:lnTo>
                    <a:pt x="205" y="543"/>
                  </a:lnTo>
                  <a:lnTo>
                    <a:pt x="203" y="543"/>
                  </a:lnTo>
                  <a:lnTo>
                    <a:pt x="203" y="542"/>
                  </a:lnTo>
                  <a:lnTo>
                    <a:pt x="201" y="542"/>
                  </a:lnTo>
                  <a:lnTo>
                    <a:pt x="201" y="540"/>
                  </a:lnTo>
                  <a:lnTo>
                    <a:pt x="200" y="538"/>
                  </a:lnTo>
                  <a:lnTo>
                    <a:pt x="200" y="537"/>
                  </a:lnTo>
                  <a:lnTo>
                    <a:pt x="200" y="535"/>
                  </a:lnTo>
                  <a:lnTo>
                    <a:pt x="198" y="535"/>
                  </a:lnTo>
                  <a:lnTo>
                    <a:pt x="197" y="535"/>
                  </a:lnTo>
                  <a:lnTo>
                    <a:pt x="195" y="535"/>
                  </a:lnTo>
                  <a:lnTo>
                    <a:pt x="195" y="537"/>
                  </a:lnTo>
                  <a:lnTo>
                    <a:pt x="195" y="535"/>
                  </a:lnTo>
                  <a:lnTo>
                    <a:pt x="193" y="535"/>
                  </a:lnTo>
                  <a:lnTo>
                    <a:pt x="192" y="537"/>
                  </a:lnTo>
                  <a:lnTo>
                    <a:pt x="192" y="535"/>
                  </a:lnTo>
                  <a:lnTo>
                    <a:pt x="190" y="533"/>
                  </a:lnTo>
                  <a:lnTo>
                    <a:pt x="188" y="532"/>
                  </a:lnTo>
                  <a:lnTo>
                    <a:pt x="188" y="530"/>
                  </a:lnTo>
                  <a:lnTo>
                    <a:pt x="188" y="529"/>
                  </a:lnTo>
                  <a:lnTo>
                    <a:pt x="188" y="527"/>
                  </a:lnTo>
                  <a:lnTo>
                    <a:pt x="187" y="527"/>
                  </a:lnTo>
                  <a:lnTo>
                    <a:pt x="187" y="525"/>
                  </a:lnTo>
                  <a:lnTo>
                    <a:pt x="185" y="524"/>
                  </a:lnTo>
                  <a:lnTo>
                    <a:pt x="185" y="522"/>
                  </a:lnTo>
                  <a:lnTo>
                    <a:pt x="185" y="520"/>
                  </a:lnTo>
                  <a:lnTo>
                    <a:pt x="185" y="519"/>
                  </a:lnTo>
                  <a:lnTo>
                    <a:pt x="184" y="519"/>
                  </a:lnTo>
                  <a:lnTo>
                    <a:pt x="182" y="520"/>
                  </a:lnTo>
                  <a:lnTo>
                    <a:pt x="180" y="520"/>
                  </a:lnTo>
                  <a:lnTo>
                    <a:pt x="180" y="522"/>
                  </a:lnTo>
                  <a:lnTo>
                    <a:pt x="179" y="524"/>
                  </a:lnTo>
                  <a:lnTo>
                    <a:pt x="177" y="525"/>
                  </a:lnTo>
                  <a:lnTo>
                    <a:pt x="177" y="524"/>
                  </a:lnTo>
                  <a:lnTo>
                    <a:pt x="177" y="525"/>
                  </a:lnTo>
                  <a:lnTo>
                    <a:pt x="175" y="525"/>
                  </a:lnTo>
                  <a:lnTo>
                    <a:pt x="175" y="527"/>
                  </a:lnTo>
                  <a:lnTo>
                    <a:pt x="175" y="525"/>
                  </a:lnTo>
                  <a:lnTo>
                    <a:pt x="174" y="527"/>
                  </a:lnTo>
                  <a:lnTo>
                    <a:pt x="172" y="527"/>
                  </a:lnTo>
                  <a:lnTo>
                    <a:pt x="172" y="525"/>
                  </a:lnTo>
                  <a:lnTo>
                    <a:pt x="172" y="524"/>
                  </a:lnTo>
                  <a:lnTo>
                    <a:pt x="171" y="522"/>
                  </a:lnTo>
                  <a:lnTo>
                    <a:pt x="169" y="522"/>
                  </a:lnTo>
                  <a:lnTo>
                    <a:pt x="169" y="520"/>
                  </a:lnTo>
                  <a:lnTo>
                    <a:pt x="169" y="519"/>
                  </a:lnTo>
                  <a:lnTo>
                    <a:pt x="167" y="519"/>
                  </a:lnTo>
                  <a:lnTo>
                    <a:pt x="169" y="519"/>
                  </a:lnTo>
                  <a:lnTo>
                    <a:pt x="169" y="517"/>
                  </a:lnTo>
                  <a:lnTo>
                    <a:pt x="167" y="517"/>
                  </a:lnTo>
                  <a:lnTo>
                    <a:pt x="169" y="516"/>
                  </a:lnTo>
                  <a:lnTo>
                    <a:pt x="169" y="514"/>
                  </a:lnTo>
                  <a:lnTo>
                    <a:pt x="167" y="514"/>
                  </a:lnTo>
                  <a:lnTo>
                    <a:pt x="169" y="514"/>
                  </a:lnTo>
                  <a:lnTo>
                    <a:pt x="167" y="514"/>
                  </a:lnTo>
                  <a:lnTo>
                    <a:pt x="167" y="516"/>
                  </a:lnTo>
                  <a:lnTo>
                    <a:pt x="166" y="516"/>
                  </a:lnTo>
                  <a:lnTo>
                    <a:pt x="166" y="514"/>
                  </a:lnTo>
                  <a:lnTo>
                    <a:pt x="164" y="514"/>
                  </a:lnTo>
                  <a:lnTo>
                    <a:pt x="164" y="516"/>
                  </a:lnTo>
                  <a:lnTo>
                    <a:pt x="164" y="514"/>
                  </a:lnTo>
                  <a:lnTo>
                    <a:pt x="162" y="514"/>
                  </a:lnTo>
                  <a:lnTo>
                    <a:pt x="162" y="516"/>
                  </a:lnTo>
                  <a:lnTo>
                    <a:pt x="162" y="517"/>
                  </a:lnTo>
                  <a:lnTo>
                    <a:pt x="164" y="516"/>
                  </a:lnTo>
                  <a:lnTo>
                    <a:pt x="166" y="516"/>
                  </a:lnTo>
                  <a:close/>
                  <a:moveTo>
                    <a:pt x="452" y="566"/>
                  </a:moveTo>
                  <a:lnTo>
                    <a:pt x="454" y="566"/>
                  </a:lnTo>
                  <a:lnTo>
                    <a:pt x="452" y="566"/>
                  </a:lnTo>
                  <a:close/>
                  <a:moveTo>
                    <a:pt x="250" y="599"/>
                  </a:moveTo>
                  <a:lnTo>
                    <a:pt x="252" y="597"/>
                  </a:lnTo>
                  <a:lnTo>
                    <a:pt x="252" y="595"/>
                  </a:lnTo>
                  <a:lnTo>
                    <a:pt x="250" y="594"/>
                  </a:lnTo>
                  <a:lnTo>
                    <a:pt x="250" y="592"/>
                  </a:lnTo>
                  <a:lnTo>
                    <a:pt x="252" y="592"/>
                  </a:lnTo>
                  <a:lnTo>
                    <a:pt x="252" y="594"/>
                  </a:lnTo>
                  <a:lnTo>
                    <a:pt x="254" y="592"/>
                  </a:lnTo>
                  <a:lnTo>
                    <a:pt x="254" y="594"/>
                  </a:lnTo>
                  <a:lnTo>
                    <a:pt x="255" y="595"/>
                  </a:lnTo>
                  <a:lnTo>
                    <a:pt x="257" y="595"/>
                  </a:lnTo>
                  <a:lnTo>
                    <a:pt x="258" y="594"/>
                  </a:lnTo>
                  <a:lnTo>
                    <a:pt x="260" y="594"/>
                  </a:lnTo>
                  <a:lnTo>
                    <a:pt x="262" y="594"/>
                  </a:lnTo>
                  <a:lnTo>
                    <a:pt x="263" y="595"/>
                  </a:lnTo>
                  <a:lnTo>
                    <a:pt x="265" y="595"/>
                  </a:lnTo>
                  <a:lnTo>
                    <a:pt x="268" y="597"/>
                  </a:lnTo>
                  <a:lnTo>
                    <a:pt x="270" y="599"/>
                  </a:lnTo>
                  <a:lnTo>
                    <a:pt x="271" y="599"/>
                  </a:lnTo>
                  <a:lnTo>
                    <a:pt x="273" y="599"/>
                  </a:lnTo>
                  <a:lnTo>
                    <a:pt x="275" y="599"/>
                  </a:lnTo>
                  <a:lnTo>
                    <a:pt x="278" y="599"/>
                  </a:lnTo>
                  <a:lnTo>
                    <a:pt x="280" y="599"/>
                  </a:lnTo>
                  <a:lnTo>
                    <a:pt x="281" y="597"/>
                  </a:lnTo>
                  <a:lnTo>
                    <a:pt x="283" y="597"/>
                  </a:lnTo>
                  <a:lnTo>
                    <a:pt x="283" y="595"/>
                  </a:lnTo>
                  <a:lnTo>
                    <a:pt x="284" y="595"/>
                  </a:lnTo>
                  <a:lnTo>
                    <a:pt x="286" y="594"/>
                  </a:lnTo>
                  <a:lnTo>
                    <a:pt x="286" y="592"/>
                  </a:lnTo>
                  <a:lnTo>
                    <a:pt x="288" y="592"/>
                  </a:lnTo>
                  <a:lnTo>
                    <a:pt x="288" y="590"/>
                  </a:lnTo>
                  <a:lnTo>
                    <a:pt x="289" y="589"/>
                  </a:lnTo>
                  <a:lnTo>
                    <a:pt x="289" y="587"/>
                  </a:lnTo>
                  <a:lnTo>
                    <a:pt x="289" y="586"/>
                  </a:lnTo>
                  <a:lnTo>
                    <a:pt x="289" y="584"/>
                  </a:lnTo>
                  <a:lnTo>
                    <a:pt x="291" y="584"/>
                  </a:lnTo>
                  <a:lnTo>
                    <a:pt x="291" y="582"/>
                  </a:lnTo>
                  <a:lnTo>
                    <a:pt x="289" y="582"/>
                  </a:lnTo>
                  <a:lnTo>
                    <a:pt x="291" y="582"/>
                  </a:lnTo>
                  <a:lnTo>
                    <a:pt x="291" y="581"/>
                  </a:lnTo>
                  <a:lnTo>
                    <a:pt x="291" y="579"/>
                  </a:lnTo>
                  <a:lnTo>
                    <a:pt x="291" y="577"/>
                  </a:lnTo>
                  <a:lnTo>
                    <a:pt x="293" y="577"/>
                  </a:lnTo>
                  <a:lnTo>
                    <a:pt x="293" y="576"/>
                  </a:lnTo>
                  <a:lnTo>
                    <a:pt x="294" y="576"/>
                  </a:lnTo>
                  <a:lnTo>
                    <a:pt x="294" y="574"/>
                  </a:lnTo>
                  <a:lnTo>
                    <a:pt x="294" y="573"/>
                  </a:lnTo>
                  <a:lnTo>
                    <a:pt x="296" y="573"/>
                  </a:lnTo>
                  <a:lnTo>
                    <a:pt x="297" y="573"/>
                  </a:lnTo>
                  <a:lnTo>
                    <a:pt x="297" y="571"/>
                  </a:lnTo>
                  <a:lnTo>
                    <a:pt x="299" y="571"/>
                  </a:lnTo>
                  <a:lnTo>
                    <a:pt x="301" y="571"/>
                  </a:lnTo>
                  <a:lnTo>
                    <a:pt x="302" y="568"/>
                  </a:lnTo>
                  <a:lnTo>
                    <a:pt x="304" y="568"/>
                  </a:lnTo>
                  <a:lnTo>
                    <a:pt x="306" y="568"/>
                  </a:lnTo>
                  <a:lnTo>
                    <a:pt x="306" y="569"/>
                  </a:lnTo>
                  <a:lnTo>
                    <a:pt x="306" y="568"/>
                  </a:lnTo>
                  <a:lnTo>
                    <a:pt x="307" y="569"/>
                  </a:lnTo>
                  <a:lnTo>
                    <a:pt x="307" y="568"/>
                  </a:lnTo>
                  <a:lnTo>
                    <a:pt x="309" y="569"/>
                  </a:lnTo>
                  <a:lnTo>
                    <a:pt x="309" y="568"/>
                  </a:lnTo>
                  <a:lnTo>
                    <a:pt x="310" y="568"/>
                  </a:lnTo>
                  <a:lnTo>
                    <a:pt x="312" y="568"/>
                  </a:lnTo>
                  <a:lnTo>
                    <a:pt x="314" y="568"/>
                  </a:lnTo>
                  <a:lnTo>
                    <a:pt x="315" y="568"/>
                  </a:lnTo>
                  <a:lnTo>
                    <a:pt x="317" y="568"/>
                  </a:lnTo>
                  <a:lnTo>
                    <a:pt x="319" y="569"/>
                  </a:lnTo>
                  <a:lnTo>
                    <a:pt x="319" y="568"/>
                  </a:lnTo>
                  <a:lnTo>
                    <a:pt x="320" y="568"/>
                  </a:lnTo>
                  <a:lnTo>
                    <a:pt x="322" y="568"/>
                  </a:lnTo>
                  <a:lnTo>
                    <a:pt x="323" y="569"/>
                  </a:lnTo>
                  <a:lnTo>
                    <a:pt x="323" y="571"/>
                  </a:lnTo>
                  <a:lnTo>
                    <a:pt x="325" y="573"/>
                  </a:lnTo>
                  <a:lnTo>
                    <a:pt x="327" y="573"/>
                  </a:lnTo>
                  <a:lnTo>
                    <a:pt x="328" y="573"/>
                  </a:lnTo>
                  <a:lnTo>
                    <a:pt x="328" y="574"/>
                  </a:lnTo>
                  <a:lnTo>
                    <a:pt x="330" y="576"/>
                  </a:lnTo>
                  <a:lnTo>
                    <a:pt x="330" y="574"/>
                  </a:lnTo>
                  <a:lnTo>
                    <a:pt x="333" y="573"/>
                  </a:lnTo>
                  <a:lnTo>
                    <a:pt x="333" y="574"/>
                  </a:lnTo>
                  <a:lnTo>
                    <a:pt x="335" y="574"/>
                  </a:lnTo>
                  <a:lnTo>
                    <a:pt x="336" y="576"/>
                  </a:lnTo>
                  <a:lnTo>
                    <a:pt x="338" y="577"/>
                  </a:lnTo>
                  <a:lnTo>
                    <a:pt x="338" y="579"/>
                  </a:lnTo>
                  <a:lnTo>
                    <a:pt x="340" y="579"/>
                  </a:lnTo>
                  <a:lnTo>
                    <a:pt x="340" y="581"/>
                  </a:lnTo>
                  <a:lnTo>
                    <a:pt x="341" y="581"/>
                  </a:lnTo>
                  <a:lnTo>
                    <a:pt x="343" y="581"/>
                  </a:lnTo>
                  <a:lnTo>
                    <a:pt x="345" y="581"/>
                  </a:lnTo>
                  <a:lnTo>
                    <a:pt x="345" y="582"/>
                  </a:lnTo>
                  <a:lnTo>
                    <a:pt x="346" y="582"/>
                  </a:lnTo>
                  <a:lnTo>
                    <a:pt x="346" y="584"/>
                  </a:lnTo>
                  <a:lnTo>
                    <a:pt x="348" y="584"/>
                  </a:lnTo>
                  <a:lnTo>
                    <a:pt x="349" y="582"/>
                  </a:lnTo>
                  <a:lnTo>
                    <a:pt x="349" y="584"/>
                  </a:lnTo>
                  <a:lnTo>
                    <a:pt x="351" y="582"/>
                  </a:lnTo>
                  <a:lnTo>
                    <a:pt x="351" y="584"/>
                  </a:lnTo>
                  <a:lnTo>
                    <a:pt x="353" y="584"/>
                  </a:lnTo>
                  <a:lnTo>
                    <a:pt x="354" y="582"/>
                  </a:lnTo>
                  <a:lnTo>
                    <a:pt x="356" y="582"/>
                  </a:lnTo>
                  <a:lnTo>
                    <a:pt x="358" y="582"/>
                  </a:lnTo>
                  <a:lnTo>
                    <a:pt x="359" y="582"/>
                  </a:lnTo>
                  <a:lnTo>
                    <a:pt x="359" y="581"/>
                  </a:lnTo>
                  <a:lnTo>
                    <a:pt x="361" y="582"/>
                  </a:lnTo>
                  <a:lnTo>
                    <a:pt x="361" y="584"/>
                  </a:lnTo>
                  <a:lnTo>
                    <a:pt x="363" y="584"/>
                  </a:lnTo>
                  <a:lnTo>
                    <a:pt x="363" y="586"/>
                  </a:lnTo>
                  <a:lnTo>
                    <a:pt x="364" y="584"/>
                  </a:lnTo>
                  <a:lnTo>
                    <a:pt x="364" y="586"/>
                  </a:lnTo>
                  <a:lnTo>
                    <a:pt x="366" y="586"/>
                  </a:lnTo>
                  <a:lnTo>
                    <a:pt x="367" y="586"/>
                  </a:lnTo>
                  <a:lnTo>
                    <a:pt x="371" y="587"/>
                  </a:lnTo>
                  <a:lnTo>
                    <a:pt x="371" y="586"/>
                  </a:lnTo>
                  <a:lnTo>
                    <a:pt x="372" y="586"/>
                  </a:lnTo>
                  <a:lnTo>
                    <a:pt x="374" y="586"/>
                  </a:lnTo>
                  <a:lnTo>
                    <a:pt x="376" y="586"/>
                  </a:lnTo>
                  <a:lnTo>
                    <a:pt x="377" y="584"/>
                  </a:lnTo>
                  <a:lnTo>
                    <a:pt x="379" y="584"/>
                  </a:lnTo>
                  <a:lnTo>
                    <a:pt x="380" y="586"/>
                  </a:lnTo>
                  <a:lnTo>
                    <a:pt x="382" y="587"/>
                  </a:lnTo>
                  <a:lnTo>
                    <a:pt x="385" y="587"/>
                  </a:lnTo>
                  <a:lnTo>
                    <a:pt x="387" y="587"/>
                  </a:lnTo>
                  <a:lnTo>
                    <a:pt x="389" y="587"/>
                  </a:lnTo>
                  <a:lnTo>
                    <a:pt x="389" y="589"/>
                  </a:lnTo>
                  <a:lnTo>
                    <a:pt x="390" y="589"/>
                  </a:lnTo>
                  <a:lnTo>
                    <a:pt x="393" y="589"/>
                  </a:lnTo>
                  <a:lnTo>
                    <a:pt x="395" y="590"/>
                  </a:lnTo>
                  <a:lnTo>
                    <a:pt x="395" y="589"/>
                  </a:lnTo>
                  <a:lnTo>
                    <a:pt x="397" y="590"/>
                  </a:lnTo>
                  <a:lnTo>
                    <a:pt x="398" y="590"/>
                  </a:lnTo>
                  <a:lnTo>
                    <a:pt x="398" y="592"/>
                  </a:lnTo>
                  <a:lnTo>
                    <a:pt x="400" y="592"/>
                  </a:lnTo>
                  <a:lnTo>
                    <a:pt x="402" y="592"/>
                  </a:lnTo>
                  <a:lnTo>
                    <a:pt x="403" y="594"/>
                  </a:lnTo>
                  <a:lnTo>
                    <a:pt x="405" y="594"/>
                  </a:lnTo>
                  <a:lnTo>
                    <a:pt x="406" y="594"/>
                  </a:lnTo>
                  <a:lnTo>
                    <a:pt x="408" y="595"/>
                  </a:lnTo>
                  <a:lnTo>
                    <a:pt x="410" y="597"/>
                  </a:lnTo>
                  <a:lnTo>
                    <a:pt x="411" y="597"/>
                  </a:lnTo>
                  <a:lnTo>
                    <a:pt x="413" y="599"/>
                  </a:lnTo>
                  <a:lnTo>
                    <a:pt x="413" y="600"/>
                  </a:lnTo>
                  <a:lnTo>
                    <a:pt x="415" y="600"/>
                  </a:lnTo>
                  <a:lnTo>
                    <a:pt x="416" y="602"/>
                  </a:lnTo>
                  <a:lnTo>
                    <a:pt x="418" y="603"/>
                  </a:lnTo>
                  <a:lnTo>
                    <a:pt x="421" y="603"/>
                  </a:lnTo>
                  <a:lnTo>
                    <a:pt x="423" y="605"/>
                  </a:lnTo>
                  <a:lnTo>
                    <a:pt x="426" y="605"/>
                  </a:lnTo>
                  <a:lnTo>
                    <a:pt x="428" y="605"/>
                  </a:lnTo>
                  <a:lnTo>
                    <a:pt x="429" y="605"/>
                  </a:lnTo>
                  <a:lnTo>
                    <a:pt x="431" y="603"/>
                  </a:lnTo>
                  <a:lnTo>
                    <a:pt x="432" y="603"/>
                  </a:lnTo>
                  <a:lnTo>
                    <a:pt x="434" y="603"/>
                  </a:lnTo>
                  <a:lnTo>
                    <a:pt x="434" y="602"/>
                  </a:lnTo>
                  <a:lnTo>
                    <a:pt x="436" y="602"/>
                  </a:lnTo>
                  <a:lnTo>
                    <a:pt x="441" y="605"/>
                  </a:lnTo>
                  <a:lnTo>
                    <a:pt x="442" y="607"/>
                  </a:lnTo>
                  <a:lnTo>
                    <a:pt x="442" y="608"/>
                  </a:lnTo>
                  <a:lnTo>
                    <a:pt x="441" y="610"/>
                  </a:lnTo>
                  <a:lnTo>
                    <a:pt x="441" y="612"/>
                  </a:lnTo>
                  <a:lnTo>
                    <a:pt x="441" y="613"/>
                  </a:lnTo>
                  <a:lnTo>
                    <a:pt x="442" y="613"/>
                  </a:lnTo>
                  <a:lnTo>
                    <a:pt x="442" y="615"/>
                  </a:lnTo>
                  <a:lnTo>
                    <a:pt x="444" y="615"/>
                  </a:lnTo>
                  <a:lnTo>
                    <a:pt x="445" y="615"/>
                  </a:lnTo>
                  <a:lnTo>
                    <a:pt x="447" y="615"/>
                  </a:lnTo>
                  <a:lnTo>
                    <a:pt x="449" y="615"/>
                  </a:lnTo>
                  <a:lnTo>
                    <a:pt x="450" y="615"/>
                  </a:lnTo>
                  <a:lnTo>
                    <a:pt x="452" y="613"/>
                  </a:lnTo>
                  <a:lnTo>
                    <a:pt x="454" y="613"/>
                  </a:lnTo>
                  <a:lnTo>
                    <a:pt x="455" y="613"/>
                  </a:lnTo>
                  <a:lnTo>
                    <a:pt x="454" y="613"/>
                  </a:lnTo>
                  <a:lnTo>
                    <a:pt x="455" y="615"/>
                  </a:lnTo>
                  <a:lnTo>
                    <a:pt x="455" y="613"/>
                  </a:lnTo>
                  <a:lnTo>
                    <a:pt x="457" y="613"/>
                  </a:lnTo>
                  <a:lnTo>
                    <a:pt x="457" y="615"/>
                  </a:lnTo>
                  <a:lnTo>
                    <a:pt x="457" y="613"/>
                  </a:lnTo>
                  <a:lnTo>
                    <a:pt x="457" y="615"/>
                  </a:lnTo>
                  <a:lnTo>
                    <a:pt x="458" y="615"/>
                  </a:lnTo>
                  <a:lnTo>
                    <a:pt x="458" y="616"/>
                  </a:lnTo>
                  <a:lnTo>
                    <a:pt x="460" y="616"/>
                  </a:lnTo>
                  <a:lnTo>
                    <a:pt x="462" y="616"/>
                  </a:lnTo>
                  <a:lnTo>
                    <a:pt x="462" y="618"/>
                  </a:lnTo>
                  <a:lnTo>
                    <a:pt x="463" y="618"/>
                  </a:lnTo>
                  <a:lnTo>
                    <a:pt x="462" y="620"/>
                  </a:lnTo>
                  <a:lnTo>
                    <a:pt x="463" y="620"/>
                  </a:lnTo>
                  <a:lnTo>
                    <a:pt x="463" y="621"/>
                  </a:lnTo>
                  <a:lnTo>
                    <a:pt x="462" y="623"/>
                  </a:lnTo>
                  <a:lnTo>
                    <a:pt x="460" y="625"/>
                  </a:lnTo>
                  <a:lnTo>
                    <a:pt x="458" y="625"/>
                  </a:lnTo>
                  <a:lnTo>
                    <a:pt x="457" y="625"/>
                  </a:lnTo>
                  <a:lnTo>
                    <a:pt x="457" y="626"/>
                  </a:lnTo>
                  <a:lnTo>
                    <a:pt x="457" y="628"/>
                  </a:lnTo>
                  <a:lnTo>
                    <a:pt x="458" y="629"/>
                  </a:lnTo>
                  <a:lnTo>
                    <a:pt x="457" y="629"/>
                  </a:lnTo>
                  <a:lnTo>
                    <a:pt x="458" y="629"/>
                  </a:lnTo>
                  <a:lnTo>
                    <a:pt x="460" y="629"/>
                  </a:lnTo>
                  <a:lnTo>
                    <a:pt x="462" y="631"/>
                  </a:lnTo>
                  <a:lnTo>
                    <a:pt x="463" y="631"/>
                  </a:lnTo>
                  <a:lnTo>
                    <a:pt x="463" y="629"/>
                  </a:lnTo>
                  <a:lnTo>
                    <a:pt x="465" y="629"/>
                  </a:lnTo>
                  <a:lnTo>
                    <a:pt x="463" y="631"/>
                  </a:lnTo>
                  <a:lnTo>
                    <a:pt x="463" y="633"/>
                  </a:lnTo>
                  <a:lnTo>
                    <a:pt x="463" y="634"/>
                  </a:lnTo>
                  <a:lnTo>
                    <a:pt x="463" y="636"/>
                  </a:lnTo>
                  <a:lnTo>
                    <a:pt x="462" y="636"/>
                  </a:lnTo>
                  <a:lnTo>
                    <a:pt x="462" y="638"/>
                  </a:lnTo>
                  <a:lnTo>
                    <a:pt x="463" y="638"/>
                  </a:lnTo>
                  <a:lnTo>
                    <a:pt x="463" y="639"/>
                  </a:lnTo>
                  <a:lnTo>
                    <a:pt x="465" y="639"/>
                  </a:lnTo>
                  <a:lnTo>
                    <a:pt x="463" y="639"/>
                  </a:lnTo>
                  <a:lnTo>
                    <a:pt x="465" y="639"/>
                  </a:lnTo>
                  <a:lnTo>
                    <a:pt x="465" y="641"/>
                  </a:lnTo>
                  <a:lnTo>
                    <a:pt x="463" y="641"/>
                  </a:lnTo>
                  <a:lnTo>
                    <a:pt x="463" y="642"/>
                  </a:lnTo>
                  <a:lnTo>
                    <a:pt x="465" y="642"/>
                  </a:lnTo>
                  <a:lnTo>
                    <a:pt x="463" y="644"/>
                  </a:lnTo>
                  <a:lnTo>
                    <a:pt x="465" y="644"/>
                  </a:lnTo>
                  <a:lnTo>
                    <a:pt x="465" y="646"/>
                  </a:lnTo>
                  <a:lnTo>
                    <a:pt x="467" y="646"/>
                  </a:lnTo>
                  <a:lnTo>
                    <a:pt x="468" y="646"/>
                  </a:lnTo>
                  <a:lnTo>
                    <a:pt x="470" y="647"/>
                  </a:lnTo>
                  <a:lnTo>
                    <a:pt x="471" y="647"/>
                  </a:lnTo>
                  <a:lnTo>
                    <a:pt x="475" y="647"/>
                  </a:lnTo>
                  <a:lnTo>
                    <a:pt x="476" y="649"/>
                  </a:lnTo>
                  <a:lnTo>
                    <a:pt x="478" y="649"/>
                  </a:lnTo>
                  <a:lnTo>
                    <a:pt x="478" y="651"/>
                  </a:lnTo>
                  <a:lnTo>
                    <a:pt x="480" y="652"/>
                  </a:lnTo>
                  <a:lnTo>
                    <a:pt x="480" y="651"/>
                  </a:lnTo>
                  <a:lnTo>
                    <a:pt x="480" y="652"/>
                  </a:lnTo>
                  <a:lnTo>
                    <a:pt x="483" y="652"/>
                  </a:lnTo>
                  <a:lnTo>
                    <a:pt x="484" y="654"/>
                  </a:lnTo>
                  <a:lnTo>
                    <a:pt x="486" y="652"/>
                  </a:lnTo>
                  <a:lnTo>
                    <a:pt x="486" y="654"/>
                  </a:lnTo>
                  <a:lnTo>
                    <a:pt x="486" y="652"/>
                  </a:lnTo>
                  <a:lnTo>
                    <a:pt x="488" y="651"/>
                  </a:lnTo>
                  <a:lnTo>
                    <a:pt x="489" y="651"/>
                  </a:lnTo>
                  <a:lnTo>
                    <a:pt x="489" y="649"/>
                  </a:lnTo>
                  <a:lnTo>
                    <a:pt x="488" y="649"/>
                  </a:lnTo>
                  <a:lnTo>
                    <a:pt x="488" y="647"/>
                  </a:lnTo>
                  <a:lnTo>
                    <a:pt x="488" y="646"/>
                  </a:lnTo>
                  <a:lnTo>
                    <a:pt x="486" y="646"/>
                  </a:lnTo>
                  <a:lnTo>
                    <a:pt x="486" y="644"/>
                  </a:lnTo>
                  <a:lnTo>
                    <a:pt x="484" y="644"/>
                  </a:lnTo>
                  <a:lnTo>
                    <a:pt x="484" y="642"/>
                  </a:lnTo>
                  <a:lnTo>
                    <a:pt x="483" y="642"/>
                  </a:lnTo>
                  <a:lnTo>
                    <a:pt x="481" y="642"/>
                  </a:lnTo>
                  <a:lnTo>
                    <a:pt x="481" y="641"/>
                  </a:lnTo>
                  <a:lnTo>
                    <a:pt x="483" y="641"/>
                  </a:lnTo>
                  <a:lnTo>
                    <a:pt x="483" y="639"/>
                  </a:lnTo>
                  <a:lnTo>
                    <a:pt x="484" y="639"/>
                  </a:lnTo>
                  <a:lnTo>
                    <a:pt x="484" y="638"/>
                  </a:lnTo>
                  <a:lnTo>
                    <a:pt x="486" y="638"/>
                  </a:lnTo>
                  <a:lnTo>
                    <a:pt x="488" y="638"/>
                  </a:lnTo>
                  <a:lnTo>
                    <a:pt x="489" y="638"/>
                  </a:lnTo>
                  <a:lnTo>
                    <a:pt x="491" y="638"/>
                  </a:lnTo>
                  <a:lnTo>
                    <a:pt x="493" y="638"/>
                  </a:lnTo>
                  <a:lnTo>
                    <a:pt x="493" y="639"/>
                  </a:lnTo>
                  <a:lnTo>
                    <a:pt x="493" y="641"/>
                  </a:lnTo>
                  <a:lnTo>
                    <a:pt x="493" y="642"/>
                  </a:lnTo>
                  <a:lnTo>
                    <a:pt x="493" y="644"/>
                  </a:lnTo>
                  <a:lnTo>
                    <a:pt x="491" y="646"/>
                  </a:lnTo>
                  <a:lnTo>
                    <a:pt x="491" y="647"/>
                  </a:lnTo>
                  <a:lnTo>
                    <a:pt x="491" y="649"/>
                  </a:lnTo>
                  <a:lnTo>
                    <a:pt x="489" y="649"/>
                  </a:lnTo>
                  <a:lnTo>
                    <a:pt x="491" y="649"/>
                  </a:lnTo>
                  <a:lnTo>
                    <a:pt x="491" y="651"/>
                  </a:lnTo>
                  <a:lnTo>
                    <a:pt x="493" y="651"/>
                  </a:lnTo>
                  <a:lnTo>
                    <a:pt x="494" y="651"/>
                  </a:lnTo>
                  <a:lnTo>
                    <a:pt x="496" y="651"/>
                  </a:lnTo>
                  <a:lnTo>
                    <a:pt x="496" y="652"/>
                  </a:lnTo>
                  <a:lnTo>
                    <a:pt x="496" y="654"/>
                  </a:lnTo>
                  <a:lnTo>
                    <a:pt x="494" y="652"/>
                  </a:lnTo>
                  <a:lnTo>
                    <a:pt x="494" y="654"/>
                  </a:lnTo>
                  <a:lnTo>
                    <a:pt x="493" y="654"/>
                  </a:lnTo>
                  <a:lnTo>
                    <a:pt x="493" y="655"/>
                  </a:lnTo>
                  <a:lnTo>
                    <a:pt x="494" y="655"/>
                  </a:lnTo>
                  <a:lnTo>
                    <a:pt x="497" y="655"/>
                  </a:lnTo>
                  <a:lnTo>
                    <a:pt x="499" y="655"/>
                  </a:lnTo>
                  <a:lnTo>
                    <a:pt x="501" y="655"/>
                  </a:lnTo>
                  <a:lnTo>
                    <a:pt x="501" y="657"/>
                  </a:lnTo>
                  <a:lnTo>
                    <a:pt x="502" y="657"/>
                  </a:lnTo>
                  <a:lnTo>
                    <a:pt x="504" y="657"/>
                  </a:lnTo>
                  <a:lnTo>
                    <a:pt x="504" y="659"/>
                  </a:lnTo>
                  <a:lnTo>
                    <a:pt x="506" y="659"/>
                  </a:lnTo>
                  <a:lnTo>
                    <a:pt x="507" y="659"/>
                  </a:lnTo>
                  <a:lnTo>
                    <a:pt x="507" y="660"/>
                  </a:lnTo>
                  <a:lnTo>
                    <a:pt x="509" y="660"/>
                  </a:lnTo>
                  <a:lnTo>
                    <a:pt x="509" y="662"/>
                  </a:lnTo>
                  <a:lnTo>
                    <a:pt x="509" y="664"/>
                  </a:lnTo>
                  <a:lnTo>
                    <a:pt x="509" y="662"/>
                  </a:lnTo>
                  <a:lnTo>
                    <a:pt x="509" y="664"/>
                  </a:lnTo>
                  <a:lnTo>
                    <a:pt x="507" y="664"/>
                  </a:lnTo>
                  <a:lnTo>
                    <a:pt x="507" y="665"/>
                  </a:lnTo>
                  <a:lnTo>
                    <a:pt x="506" y="665"/>
                  </a:lnTo>
                  <a:lnTo>
                    <a:pt x="504" y="665"/>
                  </a:lnTo>
                  <a:lnTo>
                    <a:pt x="504" y="667"/>
                  </a:lnTo>
                  <a:lnTo>
                    <a:pt x="502" y="667"/>
                  </a:lnTo>
                  <a:lnTo>
                    <a:pt x="501" y="668"/>
                  </a:lnTo>
                  <a:lnTo>
                    <a:pt x="499" y="668"/>
                  </a:lnTo>
                  <a:lnTo>
                    <a:pt x="497" y="668"/>
                  </a:lnTo>
                  <a:lnTo>
                    <a:pt x="497" y="670"/>
                  </a:lnTo>
                  <a:lnTo>
                    <a:pt x="496" y="668"/>
                  </a:lnTo>
                  <a:lnTo>
                    <a:pt x="497" y="668"/>
                  </a:lnTo>
                  <a:lnTo>
                    <a:pt x="496" y="668"/>
                  </a:lnTo>
                  <a:lnTo>
                    <a:pt x="494" y="668"/>
                  </a:lnTo>
                  <a:lnTo>
                    <a:pt x="493" y="670"/>
                  </a:lnTo>
                  <a:lnTo>
                    <a:pt x="493" y="668"/>
                  </a:lnTo>
                  <a:lnTo>
                    <a:pt x="489" y="670"/>
                  </a:lnTo>
                  <a:lnTo>
                    <a:pt x="488" y="670"/>
                  </a:lnTo>
                  <a:lnTo>
                    <a:pt x="488" y="672"/>
                  </a:lnTo>
                  <a:lnTo>
                    <a:pt x="486" y="672"/>
                  </a:lnTo>
                  <a:lnTo>
                    <a:pt x="486" y="673"/>
                  </a:lnTo>
                  <a:lnTo>
                    <a:pt x="484" y="673"/>
                  </a:lnTo>
                  <a:lnTo>
                    <a:pt x="483" y="673"/>
                  </a:lnTo>
                  <a:lnTo>
                    <a:pt x="483" y="672"/>
                  </a:lnTo>
                  <a:lnTo>
                    <a:pt x="481" y="672"/>
                  </a:lnTo>
                  <a:lnTo>
                    <a:pt x="481" y="673"/>
                  </a:lnTo>
                  <a:lnTo>
                    <a:pt x="481" y="675"/>
                  </a:lnTo>
                  <a:lnTo>
                    <a:pt x="480" y="675"/>
                  </a:lnTo>
                  <a:lnTo>
                    <a:pt x="481" y="675"/>
                  </a:lnTo>
                  <a:lnTo>
                    <a:pt x="480" y="677"/>
                  </a:lnTo>
                  <a:lnTo>
                    <a:pt x="480" y="675"/>
                  </a:lnTo>
                  <a:lnTo>
                    <a:pt x="478" y="677"/>
                  </a:lnTo>
                  <a:lnTo>
                    <a:pt x="476" y="677"/>
                  </a:lnTo>
                  <a:lnTo>
                    <a:pt x="478" y="678"/>
                  </a:lnTo>
                  <a:lnTo>
                    <a:pt x="480" y="678"/>
                  </a:lnTo>
                  <a:lnTo>
                    <a:pt x="481" y="678"/>
                  </a:lnTo>
                  <a:lnTo>
                    <a:pt x="480" y="680"/>
                  </a:lnTo>
                  <a:lnTo>
                    <a:pt x="481" y="680"/>
                  </a:lnTo>
                  <a:lnTo>
                    <a:pt x="483" y="680"/>
                  </a:lnTo>
                  <a:lnTo>
                    <a:pt x="484" y="680"/>
                  </a:lnTo>
                  <a:lnTo>
                    <a:pt x="483" y="680"/>
                  </a:lnTo>
                  <a:lnTo>
                    <a:pt x="483" y="681"/>
                  </a:lnTo>
                  <a:lnTo>
                    <a:pt x="481" y="681"/>
                  </a:lnTo>
                  <a:lnTo>
                    <a:pt x="480" y="681"/>
                  </a:lnTo>
                  <a:lnTo>
                    <a:pt x="478" y="681"/>
                  </a:lnTo>
                  <a:lnTo>
                    <a:pt x="476" y="681"/>
                  </a:lnTo>
                  <a:lnTo>
                    <a:pt x="476" y="683"/>
                  </a:lnTo>
                  <a:lnTo>
                    <a:pt x="475" y="683"/>
                  </a:lnTo>
                  <a:lnTo>
                    <a:pt x="473" y="685"/>
                  </a:lnTo>
                  <a:lnTo>
                    <a:pt x="473" y="686"/>
                  </a:lnTo>
                  <a:lnTo>
                    <a:pt x="475" y="686"/>
                  </a:lnTo>
                  <a:lnTo>
                    <a:pt x="476" y="688"/>
                  </a:lnTo>
                  <a:lnTo>
                    <a:pt x="476" y="690"/>
                  </a:lnTo>
                  <a:lnTo>
                    <a:pt x="475" y="690"/>
                  </a:lnTo>
                  <a:lnTo>
                    <a:pt x="473" y="690"/>
                  </a:lnTo>
                  <a:lnTo>
                    <a:pt x="475" y="691"/>
                  </a:lnTo>
                  <a:lnTo>
                    <a:pt x="473" y="691"/>
                  </a:lnTo>
                  <a:lnTo>
                    <a:pt x="471" y="691"/>
                  </a:lnTo>
                  <a:lnTo>
                    <a:pt x="471" y="690"/>
                  </a:lnTo>
                  <a:lnTo>
                    <a:pt x="470" y="690"/>
                  </a:lnTo>
                  <a:lnTo>
                    <a:pt x="470" y="688"/>
                  </a:lnTo>
                  <a:lnTo>
                    <a:pt x="468" y="688"/>
                  </a:lnTo>
                  <a:lnTo>
                    <a:pt x="470" y="688"/>
                  </a:lnTo>
                  <a:lnTo>
                    <a:pt x="470" y="686"/>
                  </a:lnTo>
                  <a:lnTo>
                    <a:pt x="471" y="686"/>
                  </a:lnTo>
                  <a:lnTo>
                    <a:pt x="470" y="686"/>
                  </a:lnTo>
                  <a:lnTo>
                    <a:pt x="468" y="686"/>
                  </a:lnTo>
                  <a:lnTo>
                    <a:pt x="468" y="688"/>
                  </a:lnTo>
                  <a:lnTo>
                    <a:pt x="467" y="688"/>
                  </a:lnTo>
                  <a:lnTo>
                    <a:pt x="467" y="686"/>
                  </a:lnTo>
                  <a:lnTo>
                    <a:pt x="467" y="688"/>
                  </a:lnTo>
                  <a:lnTo>
                    <a:pt x="467" y="686"/>
                  </a:lnTo>
                  <a:lnTo>
                    <a:pt x="465" y="686"/>
                  </a:lnTo>
                  <a:lnTo>
                    <a:pt x="467" y="686"/>
                  </a:lnTo>
                  <a:lnTo>
                    <a:pt x="465" y="686"/>
                  </a:lnTo>
                  <a:lnTo>
                    <a:pt x="465" y="685"/>
                  </a:lnTo>
                  <a:lnTo>
                    <a:pt x="467" y="685"/>
                  </a:lnTo>
                  <a:lnTo>
                    <a:pt x="467" y="686"/>
                  </a:lnTo>
                  <a:lnTo>
                    <a:pt x="468" y="686"/>
                  </a:lnTo>
                  <a:lnTo>
                    <a:pt x="468" y="685"/>
                  </a:lnTo>
                  <a:lnTo>
                    <a:pt x="467" y="685"/>
                  </a:lnTo>
                  <a:lnTo>
                    <a:pt x="465" y="683"/>
                  </a:lnTo>
                  <a:lnTo>
                    <a:pt x="463" y="683"/>
                  </a:lnTo>
                  <a:lnTo>
                    <a:pt x="462" y="683"/>
                  </a:lnTo>
                  <a:lnTo>
                    <a:pt x="460" y="683"/>
                  </a:lnTo>
                  <a:lnTo>
                    <a:pt x="460" y="681"/>
                  </a:lnTo>
                  <a:lnTo>
                    <a:pt x="460" y="680"/>
                  </a:lnTo>
                  <a:lnTo>
                    <a:pt x="458" y="678"/>
                  </a:lnTo>
                  <a:lnTo>
                    <a:pt x="460" y="678"/>
                  </a:lnTo>
                  <a:lnTo>
                    <a:pt x="462" y="678"/>
                  </a:lnTo>
                  <a:lnTo>
                    <a:pt x="463" y="678"/>
                  </a:lnTo>
                  <a:lnTo>
                    <a:pt x="463" y="677"/>
                  </a:lnTo>
                  <a:lnTo>
                    <a:pt x="463" y="675"/>
                  </a:lnTo>
                  <a:lnTo>
                    <a:pt x="463" y="673"/>
                  </a:lnTo>
                  <a:lnTo>
                    <a:pt x="465" y="673"/>
                  </a:lnTo>
                  <a:lnTo>
                    <a:pt x="467" y="675"/>
                  </a:lnTo>
                  <a:lnTo>
                    <a:pt x="467" y="673"/>
                  </a:lnTo>
                  <a:lnTo>
                    <a:pt x="465" y="673"/>
                  </a:lnTo>
                  <a:lnTo>
                    <a:pt x="465" y="672"/>
                  </a:lnTo>
                  <a:lnTo>
                    <a:pt x="465" y="670"/>
                  </a:lnTo>
                  <a:lnTo>
                    <a:pt x="463" y="670"/>
                  </a:lnTo>
                  <a:lnTo>
                    <a:pt x="465" y="670"/>
                  </a:lnTo>
                  <a:lnTo>
                    <a:pt x="463" y="668"/>
                  </a:lnTo>
                  <a:lnTo>
                    <a:pt x="462" y="668"/>
                  </a:lnTo>
                  <a:lnTo>
                    <a:pt x="460" y="668"/>
                  </a:lnTo>
                  <a:lnTo>
                    <a:pt x="458" y="668"/>
                  </a:lnTo>
                  <a:lnTo>
                    <a:pt x="458" y="670"/>
                  </a:lnTo>
                  <a:lnTo>
                    <a:pt x="457" y="670"/>
                  </a:lnTo>
                  <a:lnTo>
                    <a:pt x="455" y="670"/>
                  </a:lnTo>
                  <a:lnTo>
                    <a:pt x="455" y="668"/>
                  </a:lnTo>
                  <a:lnTo>
                    <a:pt x="455" y="667"/>
                  </a:lnTo>
                  <a:lnTo>
                    <a:pt x="454" y="665"/>
                  </a:lnTo>
                  <a:lnTo>
                    <a:pt x="454" y="667"/>
                  </a:lnTo>
                  <a:lnTo>
                    <a:pt x="452" y="667"/>
                  </a:lnTo>
                  <a:lnTo>
                    <a:pt x="454" y="667"/>
                  </a:lnTo>
                  <a:lnTo>
                    <a:pt x="452" y="667"/>
                  </a:lnTo>
                  <a:lnTo>
                    <a:pt x="452" y="668"/>
                  </a:lnTo>
                  <a:lnTo>
                    <a:pt x="450" y="668"/>
                  </a:lnTo>
                  <a:lnTo>
                    <a:pt x="450" y="670"/>
                  </a:lnTo>
                  <a:lnTo>
                    <a:pt x="450" y="668"/>
                  </a:lnTo>
                  <a:lnTo>
                    <a:pt x="450" y="667"/>
                  </a:lnTo>
                  <a:lnTo>
                    <a:pt x="449" y="667"/>
                  </a:lnTo>
                  <a:lnTo>
                    <a:pt x="447" y="664"/>
                  </a:lnTo>
                  <a:lnTo>
                    <a:pt x="447" y="662"/>
                  </a:lnTo>
                  <a:lnTo>
                    <a:pt x="445" y="662"/>
                  </a:lnTo>
                  <a:lnTo>
                    <a:pt x="444" y="662"/>
                  </a:lnTo>
                  <a:lnTo>
                    <a:pt x="442" y="662"/>
                  </a:lnTo>
                  <a:lnTo>
                    <a:pt x="441" y="662"/>
                  </a:lnTo>
                  <a:lnTo>
                    <a:pt x="442" y="662"/>
                  </a:lnTo>
                  <a:lnTo>
                    <a:pt x="441" y="662"/>
                  </a:lnTo>
                  <a:lnTo>
                    <a:pt x="441" y="660"/>
                  </a:lnTo>
                  <a:lnTo>
                    <a:pt x="439" y="660"/>
                  </a:lnTo>
                  <a:lnTo>
                    <a:pt x="441" y="662"/>
                  </a:lnTo>
                  <a:lnTo>
                    <a:pt x="439" y="662"/>
                  </a:lnTo>
                  <a:lnTo>
                    <a:pt x="437" y="662"/>
                  </a:lnTo>
                  <a:lnTo>
                    <a:pt x="434" y="662"/>
                  </a:lnTo>
                  <a:lnTo>
                    <a:pt x="434" y="664"/>
                  </a:lnTo>
                  <a:lnTo>
                    <a:pt x="432" y="664"/>
                  </a:lnTo>
                  <a:lnTo>
                    <a:pt x="432" y="665"/>
                  </a:lnTo>
                  <a:lnTo>
                    <a:pt x="431" y="665"/>
                  </a:lnTo>
                  <a:lnTo>
                    <a:pt x="431" y="664"/>
                  </a:lnTo>
                  <a:lnTo>
                    <a:pt x="431" y="665"/>
                  </a:lnTo>
                  <a:lnTo>
                    <a:pt x="429" y="664"/>
                  </a:lnTo>
                  <a:lnTo>
                    <a:pt x="428" y="664"/>
                  </a:lnTo>
                  <a:lnTo>
                    <a:pt x="428" y="662"/>
                  </a:lnTo>
                  <a:lnTo>
                    <a:pt x="428" y="660"/>
                  </a:lnTo>
                  <a:lnTo>
                    <a:pt x="428" y="662"/>
                  </a:lnTo>
                  <a:lnTo>
                    <a:pt x="424" y="659"/>
                  </a:lnTo>
                  <a:lnTo>
                    <a:pt x="424" y="657"/>
                  </a:lnTo>
                  <a:lnTo>
                    <a:pt x="423" y="657"/>
                  </a:lnTo>
                  <a:lnTo>
                    <a:pt x="423" y="655"/>
                  </a:lnTo>
                  <a:lnTo>
                    <a:pt x="421" y="655"/>
                  </a:lnTo>
                  <a:lnTo>
                    <a:pt x="419" y="657"/>
                  </a:lnTo>
                  <a:lnTo>
                    <a:pt x="418" y="659"/>
                  </a:lnTo>
                  <a:lnTo>
                    <a:pt x="416" y="659"/>
                  </a:lnTo>
                  <a:lnTo>
                    <a:pt x="416" y="660"/>
                  </a:lnTo>
                  <a:lnTo>
                    <a:pt x="416" y="662"/>
                  </a:lnTo>
                  <a:lnTo>
                    <a:pt x="416" y="664"/>
                  </a:lnTo>
                  <a:lnTo>
                    <a:pt x="418" y="665"/>
                  </a:lnTo>
                  <a:lnTo>
                    <a:pt x="419" y="667"/>
                  </a:lnTo>
                  <a:lnTo>
                    <a:pt x="419" y="668"/>
                  </a:lnTo>
                  <a:lnTo>
                    <a:pt x="418" y="670"/>
                  </a:lnTo>
                  <a:lnTo>
                    <a:pt x="418" y="672"/>
                  </a:lnTo>
                  <a:lnTo>
                    <a:pt x="419" y="672"/>
                  </a:lnTo>
                  <a:lnTo>
                    <a:pt x="421" y="673"/>
                  </a:lnTo>
                  <a:lnTo>
                    <a:pt x="421" y="675"/>
                  </a:lnTo>
                  <a:lnTo>
                    <a:pt x="421" y="677"/>
                  </a:lnTo>
                  <a:lnTo>
                    <a:pt x="423" y="678"/>
                  </a:lnTo>
                  <a:lnTo>
                    <a:pt x="424" y="680"/>
                  </a:lnTo>
                  <a:lnTo>
                    <a:pt x="424" y="678"/>
                  </a:lnTo>
                  <a:lnTo>
                    <a:pt x="424" y="680"/>
                  </a:lnTo>
                  <a:lnTo>
                    <a:pt x="424" y="681"/>
                  </a:lnTo>
                  <a:lnTo>
                    <a:pt x="423" y="683"/>
                  </a:lnTo>
                  <a:lnTo>
                    <a:pt x="424" y="685"/>
                  </a:lnTo>
                  <a:lnTo>
                    <a:pt x="426" y="685"/>
                  </a:lnTo>
                  <a:lnTo>
                    <a:pt x="428" y="686"/>
                  </a:lnTo>
                  <a:lnTo>
                    <a:pt x="429" y="688"/>
                  </a:lnTo>
                  <a:lnTo>
                    <a:pt x="429" y="690"/>
                  </a:lnTo>
                  <a:lnTo>
                    <a:pt x="431" y="690"/>
                  </a:lnTo>
                  <a:lnTo>
                    <a:pt x="432" y="691"/>
                  </a:lnTo>
                  <a:lnTo>
                    <a:pt x="431" y="691"/>
                  </a:lnTo>
                  <a:lnTo>
                    <a:pt x="432" y="691"/>
                  </a:lnTo>
                  <a:lnTo>
                    <a:pt x="432" y="693"/>
                  </a:lnTo>
                  <a:lnTo>
                    <a:pt x="434" y="693"/>
                  </a:lnTo>
                  <a:lnTo>
                    <a:pt x="432" y="693"/>
                  </a:lnTo>
                  <a:lnTo>
                    <a:pt x="432" y="695"/>
                  </a:lnTo>
                  <a:lnTo>
                    <a:pt x="434" y="695"/>
                  </a:lnTo>
                  <a:lnTo>
                    <a:pt x="434" y="696"/>
                  </a:lnTo>
                  <a:lnTo>
                    <a:pt x="436" y="696"/>
                  </a:lnTo>
                  <a:lnTo>
                    <a:pt x="436" y="698"/>
                  </a:lnTo>
                  <a:lnTo>
                    <a:pt x="436" y="699"/>
                  </a:lnTo>
                  <a:lnTo>
                    <a:pt x="437" y="698"/>
                  </a:lnTo>
                  <a:lnTo>
                    <a:pt x="437" y="699"/>
                  </a:lnTo>
                  <a:lnTo>
                    <a:pt x="439" y="699"/>
                  </a:lnTo>
                  <a:lnTo>
                    <a:pt x="437" y="701"/>
                  </a:lnTo>
                  <a:lnTo>
                    <a:pt x="439" y="703"/>
                  </a:lnTo>
                  <a:lnTo>
                    <a:pt x="441" y="703"/>
                  </a:lnTo>
                  <a:lnTo>
                    <a:pt x="442" y="704"/>
                  </a:lnTo>
                  <a:lnTo>
                    <a:pt x="442" y="706"/>
                  </a:lnTo>
                  <a:lnTo>
                    <a:pt x="444" y="708"/>
                  </a:lnTo>
                  <a:lnTo>
                    <a:pt x="444" y="709"/>
                  </a:lnTo>
                  <a:lnTo>
                    <a:pt x="445" y="709"/>
                  </a:lnTo>
                  <a:lnTo>
                    <a:pt x="445" y="711"/>
                  </a:lnTo>
                  <a:lnTo>
                    <a:pt x="444" y="711"/>
                  </a:lnTo>
                  <a:lnTo>
                    <a:pt x="444" y="712"/>
                  </a:lnTo>
                  <a:lnTo>
                    <a:pt x="445" y="712"/>
                  </a:lnTo>
                  <a:lnTo>
                    <a:pt x="444" y="714"/>
                  </a:lnTo>
                  <a:lnTo>
                    <a:pt x="444" y="716"/>
                  </a:lnTo>
                  <a:lnTo>
                    <a:pt x="445" y="717"/>
                  </a:lnTo>
                  <a:lnTo>
                    <a:pt x="445" y="719"/>
                  </a:lnTo>
                  <a:lnTo>
                    <a:pt x="445" y="721"/>
                  </a:lnTo>
                  <a:lnTo>
                    <a:pt x="447" y="721"/>
                  </a:lnTo>
                  <a:lnTo>
                    <a:pt x="449" y="721"/>
                  </a:lnTo>
                  <a:lnTo>
                    <a:pt x="449" y="719"/>
                  </a:lnTo>
                  <a:lnTo>
                    <a:pt x="450" y="719"/>
                  </a:lnTo>
                  <a:lnTo>
                    <a:pt x="452" y="719"/>
                  </a:lnTo>
                  <a:lnTo>
                    <a:pt x="454" y="721"/>
                  </a:lnTo>
                  <a:lnTo>
                    <a:pt x="452" y="721"/>
                  </a:lnTo>
                  <a:lnTo>
                    <a:pt x="454" y="721"/>
                  </a:lnTo>
                  <a:lnTo>
                    <a:pt x="452" y="722"/>
                  </a:lnTo>
                  <a:lnTo>
                    <a:pt x="454" y="722"/>
                  </a:lnTo>
                  <a:lnTo>
                    <a:pt x="455" y="724"/>
                  </a:lnTo>
                  <a:lnTo>
                    <a:pt x="457" y="722"/>
                  </a:lnTo>
                  <a:lnTo>
                    <a:pt x="455" y="724"/>
                  </a:lnTo>
                  <a:lnTo>
                    <a:pt x="457" y="724"/>
                  </a:lnTo>
                  <a:lnTo>
                    <a:pt x="457" y="725"/>
                  </a:lnTo>
                  <a:lnTo>
                    <a:pt x="455" y="725"/>
                  </a:lnTo>
                  <a:lnTo>
                    <a:pt x="454" y="725"/>
                  </a:lnTo>
                  <a:lnTo>
                    <a:pt x="455" y="725"/>
                  </a:lnTo>
                  <a:lnTo>
                    <a:pt x="455" y="727"/>
                  </a:lnTo>
                  <a:lnTo>
                    <a:pt x="457" y="729"/>
                  </a:lnTo>
                  <a:lnTo>
                    <a:pt x="458" y="729"/>
                  </a:lnTo>
                  <a:lnTo>
                    <a:pt x="458" y="730"/>
                  </a:lnTo>
                  <a:lnTo>
                    <a:pt x="460" y="730"/>
                  </a:lnTo>
                  <a:lnTo>
                    <a:pt x="460" y="732"/>
                  </a:lnTo>
                  <a:lnTo>
                    <a:pt x="458" y="732"/>
                  </a:lnTo>
                  <a:lnTo>
                    <a:pt x="460" y="732"/>
                  </a:lnTo>
                  <a:lnTo>
                    <a:pt x="460" y="734"/>
                  </a:lnTo>
                  <a:lnTo>
                    <a:pt x="460" y="735"/>
                  </a:lnTo>
                  <a:lnTo>
                    <a:pt x="460" y="737"/>
                  </a:lnTo>
                  <a:lnTo>
                    <a:pt x="460" y="738"/>
                  </a:lnTo>
                  <a:lnTo>
                    <a:pt x="462" y="738"/>
                  </a:lnTo>
                  <a:lnTo>
                    <a:pt x="462" y="740"/>
                  </a:lnTo>
                  <a:lnTo>
                    <a:pt x="462" y="742"/>
                  </a:lnTo>
                  <a:lnTo>
                    <a:pt x="463" y="742"/>
                  </a:lnTo>
                  <a:lnTo>
                    <a:pt x="462" y="743"/>
                  </a:lnTo>
                  <a:lnTo>
                    <a:pt x="463" y="745"/>
                  </a:lnTo>
                  <a:lnTo>
                    <a:pt x="465" y="745"/>
                  </a:lnTo>
                  <a:lnTo>
                    <a:pt x="465" y="747"/>
                  </a:lnTo>
                  <a:lnTo>
                    <a:pt x="467" y="748"/>
                  </a:lnTo>
                  <a:lnTo>
                    <a:pt x="467" y="750"/>
                  </a:lnTo>
                  <a:lnTo>
                    <a:pt x="467" y="751"/>
                  </a:lnTo>
                  <a:lnTo>
                    <a:pt x="468" y="751"/>
                  </a:lnTo>
                  <a:lnTo>
                    <a:pt x="468" y="753"/>
                  </a:lnTo>
                  <a:lnTo>
                    <a:pt x="467" y="753"/>
                  </a:lnTo>
                  <a:lnTo>
                    <a:pt x="468" y="753"/>
                  </a:lnTo>
                  <a:lnTo>
                    <a:pt x="468" y="755"/>
                  </a:lnTo>
                  <a:lnTo>
                    <a:pt x="470" y="755"/>
                  </a:lnTo>
                  <a:lnTo>
                    <a:pt x="470" y="756"/>
                  </a:lnTo>
                  <a:lnTo>
                    <a:pt x="471" y="756"/>
                  </a:lnTo>
                  <a:lnTo>
                    <a:pt x="471" y="758"/>
                  </a:lnTo>
                  <a:lnTo>
                    <a:pt x="473" y="758"/>
                  </a:lnTo>
                  <a:lnTo>
                    <a:pt x="473" y="760"/>
                  </a:lnTo>
                  <a:lnTo>
                    <a:pt x="475" y="761"/>
                  </a:lnTo>
                  <a:lnTo>
                    <a:pt x="475" y="763"/>
                  </a:lnTo>
                  <a:lnTo>
                    <a:pt x="476" y="763"/>
                  </a:lnTo>
                  <a:lnTo>
                    <a:pt x="476" y="764"/>
                  </a:lnTo>
                  <a:lnTo>
                    <a:pt x="476" y="763"/>
                  </a:lnTo>
                  <a:lnTo>
                    <a:pt x="476" y="764"/>
                  </a:lnTo>
                  <a:lnTo>
                    <a:pt x="478" y="764"/>
                  </a:lnTo>
                  <a:lnTo>
                    <a:pt x="476" y="764"/>
                  </a:lnTo>
                  <a:lnTo>
                    <a:pt x="476" y="766"/>
                  </a:lnTo>
                  <a:lnTo>
                    <a:pt x="475" y="766"/>
                  </a:lnTo>
                  <a:lnTo>
                    <a:pt x="475" y="768"/>
                  </a:lnTo>
                  <a:lnTo>
                    <a:pt x="475" y="769"/>
                  </a:lnTo>
                  <a:lnTo>
                    <a:pt x="476" y="769"/>
                  </a:lnTo>
                  <a:lnTo>
                    <a:pt x="475" y="769"/>
                  </a:lnTo>
                  <a:lnTo>
                    <a:pt x="475" y="771"/>
                  </a:lnTo>
                  <a:lnTo>
                    <a:pt x="473" y="771"/>
                  </a:lnTo>
                  <a:lnTo>
                    <a:pt x="473" y="769"/>
                  </a:lnTo>
                  <a:lnTo>
                    <a:pt x="471" y="769"/>
                  </a:lnTo>
                  <a:lnTo>
                    <a:pt x="470" y="769"/>
                  </a:lnTo>
                  <a:lnTo>
                    <a:pt x="470" y="771"/>
                  </a:lnTo>
                  <a:lnTo>
                    <a:pt x="471" y="771"/>
                  </a:lnTo>
                  <a:lnTo>
                    <a:pt x="470" y="771"/>
                  </a:lnTo>
                  <a:lnTo>
                    <a:pt x="468" y="771"/>
                  </a:lnTo>
                  <a:lnTo>
                    <a:pt x="468" y="773"/>
                  </a:lnTo>
                  <a:lnTo>
                    <a:pt x="468" y="774"/>
                  </a:lnTo>
                  <a:lnTo>
                    <a:pt x="470" y="774"/>
                  </a:lnTo>
                  <a:lnTo>
                    <a:pt x="470" y="776"/>
                  </a:lnTo>
                  <a:lnTo>
                    <a:pt x="470" y="777"/>
                  </a:lnTo>
                  <a:lnTo>
                    <a:pt x="471" y="777"/>
                  </a:lnTo>
                  <a:lnTo>
                    <a:pt x="473" y="777"/>
                  </a:lnTo>
                  <a:lnTo>
                    <a:pt x="471" y="777"/>
                  </a:lnTo>
                  <a:lnTo>
                    <a:pt x="471" y="779"/>
                  </a:lnTo>
                  <a:lnTo>
                    <a:pt x="471" y="781"/>
                  </a:lnTo>
                  <a:lnTo>
                    <a:pt x="470" y="781"/>
                  </a:lnTo>
                  <a:lnTo>
                    <a:pt x="470" y="782"/>
                  </a:lnTo>
                  <a:lnTo>
                    <a:pt x="471" y="784"/>
                  </a:lnTo>
                  <a:lnTo>
                    <a:pt x="471" y="786"/>
                  </a:lnTo>
                  <a:lnTo>
                    <a:pt x="471" y="787"/>
                  </a:lnTo>
                  <a:lnTo>
                    <a:pt x="473" y="787"/>
                  </a:lnTo>
                  <a:lnTo>
                    <a:pt x="473" y="789"/>
                  </a:lnTo>
                  <a:lnTo>
                    <a:pt x="475" y="789"/>
                  </a:lnTo>
                  <a:lnTo>
                    <a:pt x="475" y="790"/>
                  </a:lnTo>
                  <a:lnTo>
                    <a:pt x="476" y="790"/>
                  </a:lnTo>
                  <a:lnTo>
                    <a:pt x="476" y="792"/>
                  </a:lnTo>
                  <a:lnTo>
                    <a:pt x="478" y="792"/>
                  </a:lnTo>
                  <a:lnTo>
                    <a:pt x="480" y="792"/>
                  </a:lnTo>
                  <a:lnTo>
                    <a:pt x="480" y="794"/>
                  </a:lnTo>
                  <a:lnTo>
                    <a:pt x="481" y="794"/>
                  </a:lnTo>
                  <a:lnTo>
                    <a:pt x="483" y="794"/>
                  </a:lnTo>
                  <a:lnTo>
                    <a:pt x="484" y="794"/>
                  </a:lnTo>
                  <a:lnTo>
                    <a:pt x="484" y="795"/>
                  </a:lnTo>
                  <a:lnTo>
                    <a:pt x="484" y="797"/>
                  </a:lnTo>
                  <a:lnTo>
                    <a:pt x="484" y="795"/>
                  </a:lnTo>
                  <a:lnTo>
                    <a:pt x="486" y="795"/>
                  </a:lnTo>
                  <a:lnTo>
                    <a:pt x="486" y="797"/>
                  </a:lnTo>
                  <a:lnTo>
                    <a:pt x="488" y="797"/>
                  </a:lnTo>
                  <a:lnTo>
                    <a:pt x="486" y="797"/>
                  </a:lnTo>
                  <a:lnTo>
                    <a:pt x="486" y="799"/>
                  </a:lnTo>
                  <a:lnTo>
                    <a:pt x="486" y="800"/>
                  </a:lnTo>
                  <a:lnTo>
                    <a:pt x="486" y="802"/>
                  </a:lnTo>
                  <a:lnTo>
                    <a:pt x="484" y="802"/>
                  </a:lnTo>
                  <a:lnTo>
                    <a:pt x="486" y="802"/>
                  </a:lnTo>
                  <a:lnTo>
                    <a:pt x="486" y="803"/>
                  </a:lnTo>
                  <a:lnTo>
                    <a:pt x="486" y="802"/>
                  </a:lnTo>
                  <a:lnTo>
                    <a:pt x="486" y="803"/>
                  </a:lnTo>
                  <a:lnTo>
                    <a:pt x="488" y="803"/>
                  </a:lnTo>
                  <a:lnTo>
                    <a:pt x="489" y="803"/>
                  </a:lnTo>
                  <a:lnTo>
                    <a:pt x="491" y="805"/>
                  </a:lnTo>
                  <a:lnTo>
                    <a:pt x="489" y="805"/>
                  </a:lnTo>
                  <a:lnTo>
                    <a:pt x="491" y="807"/>
                  </a:lnTo>
                  <a:lnTo>
                    <a:pt x="491" y="805"/>
                  </a:lnTo>
                  <a:lnTo>
                    <a:pt x="493" y="807"/>
                  </a:lnTo>
                  <a:lnTo>
                    <a:pt x="494" y="807"/>
                  </a:lnTo>
                  <a:lnTo>
                    <a:pt x="494" y="808"/>
                  </a:lnTo>
                  <a:lnTo>
                    <a:pt x="494" y="810"/>
                  </a:lnTo>
                  <a:lnTo>
                    <a:pt x="493" y="810"/>
                  </a:lnTo>
                  <a:lnTo>
                    <a:pt x="491" y="810"/>
                  </a:lnTo>
                  <a:lnTo>
                    <a:pt x="488" y="810"/>
                  </a:lnTo>
                  <a:lnTo>
                    <a:pt x="488" y="812"/>
                  </a:lnTo>
                  <a:lnTo>
                    <a:pt x="486" y="812"/>
                  </a:lnTo>
                  <a:lnTo>
                    <a:pt x="484" y="812"/>
                  </a:lnTo>
                  <a:lnTo>
                    <a:pt x="483" y="812"/>
                  </a:lnTo>
                  <a:lnTo>
                    <a:pt x="481" y="812"/>
                  </a:lnTo>
                  <a:lnTo>
                    <a:pt x="481" y="810"/>
                  </a:lnTo>
                  <a:lnTo>
                    <a:pt x="481" y="812"/>
                  </a:lnTo>
                  <a:lnTo>
                    <a:pt x="481" y="810"/>
                  </a:lnTo>
                  <a:lnTo>
                    <a:pt x="480" y="808"/>
                  </a:lnTo>
                  <a:lnTo>
                    <a:pt x="478" y="808"/>
                  </a:lnTo>
                  <a:lnTo>
                    <a:pt x="478" y="807"/>
                  </a:lnTo>
                  <a:lnTo>
                    <a:pt x="478" y="805"/>
                  </a:lnTo>
                  <a:lnTo>
                    <a:pt x="478" y="803"/>
                  </a:lnTo>
                  <a:lnTo>
                    <a:pt x="476" y="802"/>
                  </a:lnTo>
                  <a:lnTo>
                    <a:pt x="475" y="800"/>
                  </a:lnTo>
                  <a:lnTo>
                    <a:pt x="473" y="800"/>
                  </a:lnTo>
                  <a:lnTo>
                    <a:pt x="471" y="800"/>
                  </a:lnTo>
                  <a:lnTo>
                    <a:pt x="470" y="802"/>
                  </a:lnTo>
                  <a:lnTo>
                    <a:pt x="468" y="802"/>
                  </a:lnTo>
                  <a:lnTo>
                    <a:pt x="467" y="802"/>
                  </a:lnTo>
                  <a:lnTo>
                    <a:pt x="465" y="802"/>
                  </a:lnTo>
                  <a:lnTo>
                    <a:pt x="465" y="800"/>
                  </a:lnTo>
                  <a:lnTo>
                    <a:pt x="465" y="799"/>
                  </a:lnTo>
                  <a:lnTo>
                    <a:pt x="463" y="799"/>
                  </a:lnTo>
                  <a:lnTo>
                    <a:pt x="462" y="797"/>
                  </a:lnTo>
                  <a:lnTo>
                    <a:pt x="462" y="795"/>
                  </a:lnTo>
                  <a:lnTo>
                    <a:pt x="462" y="794"/>
                  </a:lnTo>
                  <a:lnTo>
                    <a:pt x="460" y="794"/>
                  </a:lnTo>
                  <a:lnTo>
                    <a:pt x="460" y="792"/>
                  </a:lnTo>
                  <a:lnTo>
                    <a:pt x="458" y="792"/>
                  </a:lnTo>
                  <a:lnTo>
                    <a:pt x="458" y="794"/>
                  </a:lnTo>
                  <a:lnTo>
                    <a:pt x="458" y="792"/>
                  </a:lnTo>
                  <a:lnTo>
                    <a:pt x="457" y="792"/>
                  </a:lnTo>
                  <a:lnTo>
                    <a:pt x="455" y="792"/>
                  </a:lnTo>
                  <a:lnTo>
                    <a:pt x="455" y="790"/>
                  </a:lnTo>
                  <a:lnTo>
                    <a:pt x="454" y="790"/>
                  </a:lnTo>
                  <a:lnTo>
                    <a:pt x="454" y="789"/>
                  </a:lnTo>
                  <a:lnTo>
                    <a:pt x="452" y="789"/>
                  </a:lnTo>
                  <a:lnTo>
                    <a:pt x="454" y="789"/>
                  </a:lnTo>
                  <a:lnTo>
                    <a:pt x="454" y="787"/>
                  </a:lnTo>
                  <a:lnTo>
                    <a:pt x="454" y="786"/>
                  </a:lnTo>
                  <a:lnTo>
                    <a:pt x="452" y="786"/>
                  </a:lnTo>
                  <a:lnTo>
                    <a:pt x="452" y="784"/>
                  </a:lnTo>
                  <a:lnTo>
                    <a:pt x="450" y="784"/>
                  </a:lnTo>
                  <a:lnTo>
                    <a:pt x="450" y="782"/>
                  </a:lnTo>
                  <a:lnTo>
                    <a:pt x="449" y="782"/>
                  </a:lnTo>
                  <a:lnTo>
                    <a:pt x="447" y="781"/>
                  </a:lnTo>
                  <a:lnTo>
                    <a:pt x="447" y="782"/>
                  </a:lnTo>
                  <a:lnTo>
                    <a:pt x="447" y="784"/>
                  </a:lnTo>
                  <a:lnTo>
                    <a:pt x="447" y="786"/>
                  </a:lnTo>
                  <a:lnTo>
                    <a:pt x="447" y="787"/>
                  </a:lnTo>
                  <a:lnTo>
                    <a:pt x="445" y="787"/>
                  </a:lnTo>
                  <a:lnTo>
                    <a:pt x="445" y="786"/>
                  </a:lnTo>
                  <a:lnTo>
                    <a:pt x="445" y="784"/>
                  </a:lnTo>
                  <a:lnTo>
                    <a:pt x="444" y="784"/>
                  </a:lnTo>
                  <a:lnTo>
                    <a:pt x="444" y="782"/>
                  </a:lnTo>
                  <a:lnTo>
                    <a:pt x="445" y="782"/>
                  </a:lnTo>
                  <a:lnTo>
                    <a:pt x="444" y="782"/>
                  </a:lnTo>
                  <a:lnTo>
                    <a:pt x="444" y="781"/>
                  </a:lnTo>
                  <a:lnTo>
                    <a:pt x="445" y="781"/>
                  </a:lnTo>
                  <a:lnTo>
                    <a:pt x="445" y="779"/>
                  </a:lnTo>
                  <a:lnTo>
                    <a:pt x="445" y="777"/>
                  </a:lnTo>
                  <a:lnTo>
                    <a:pt x="445" y="776"/>
                  </a:lnTo>
                  <a:lnTo>
                    <a:pt x="444" y="776"/>
                  </a:lnTo>
                  <a:lnTo>
                    <a:pt x="444" y="774"/>
                  </a:lnTo>
                  <a:lnTo>
                    <a:pt x="442" y="774"/>
                  </a:lnTo>
                  <a:lnTo>
                    <a:pt x="442" y="773"/>
                  </a:lnTo>
                  <a:lnTo>
                    <a:pt x="441" y="773"/>
                  </a:lnTo>
                  <a:lnTo>
                    <a:pt x="442" y="771"/>
                  </a:lnTo>
                  <a:lnTo>
                    <a:pt x="441" y="771"/>
                  </a:lnTo>
                  <a:lnTo>
                    <a:pt x="441" y="769"/>
                  </a:lnTo>
                  <a:lnTo>
                    <a:pt x="441" y="768"/>
                  </a:lnTo>
                  <a:lnTo>
                    <a:pt x="439" y="768"/>
                  </a:lnTo>
                  <a:lnTo>
                    <a:pt x="437" y="766"/>
                  </a:lnTo>
                  <a:lnTo>
                    <a:pt x="434" y="766"/>
                  </a:lnTo>
                  <a:lnTo>
                    <a:pt x="429" y="768"/>
                  </a:lnTo>
                  <a:lnTo>
                    <a:pt x="424" y="768"/>
                  </a:lnTo>
                  <a:lnTo>
                    <a:pt x="421" y="769"/>
                  </a:lnTo>
                  <a:lnTo>
                    <a:pt x="419" y="769"/>
                  </a:lnTo>
                  <a:lnTo>
                    <a:pt x="419" y="771"/>
                  </a:lnTo>
                  <a:lnTo>
                    <a:pt x="418" y="771"/>
                  </a:lnTo>
                  <a:lnTo>
                    <a:pt x="416" y="773"/>
                  </a:lnTo>
                  <a:lnTo>
                    <a:pt x="415" y="774"/>
                  </a:lnTo>
                  <a:lnTo>
                    <a:pt x="415" y="776"/>
                  </a:lnTo>
                  <a:lnTo>
                    <a:pt x="416" y="777"/>
                  </a:lnTo>
                  <a:lnTo>
                    <a:pt x="416" y="776"/>
                  </a:lnTo>
                  <a:lnTo>
                    <a:pt x="416" y="777"/>
                  </a:lnTo>
                  <a:lnTo>
                    <a:pt x="416" y="779"/>
                  </a:lnTo>
                  <a:lnTo>
                    <a:pt x="416" y="781"/>
                  </a:lnTo>
                  <a:lnTo>
                    <a:pt x="415" y="781"/>
                  </a:lnTo>
                  <a:lnTo>
                    <a:pt x="413" y="782"/>
                  </a:lnTo>
                  <a:lnTo>
                    <a:pt x="413" y="784"/>
                  </a:lnTo>
                  <a:lnTo>
                    <a:pt x="411" y="784"/>
                  </a:lnTo>
                  <a:lnTo>
                    <a:pt x="411" y="786"/>
                  </a:lnTo>
                  <a:lnTo>
                    <a:pt x="413" y="786"/>
                  </a:lnTo>
                  <a:lnTo>
                    <a:pt x="411" y="787"/>
                  </a:lnTo>
                  <a:lnTo>
                    <a:pt x="411" y="789"/>
                  </a:lnTo>
                  <a:lnTo>
                    <a:pt x="413" y="789"/>
                  </a:lnTo>
                  <a:lnTo>
                    <a:pt x="415" y="789"/>
                  </a:lnTo>
                  <a:lnTo>
                    <a:pt x="415" y="790"/>
                  </a:lnTo>
                  <a:lnTo>
                    <a:pt x="416" y="790"/>
                  </a:lnTo>
                  <a:lnTo>
                    <a:pt x="416" y="792"/>
                  </a:lnTo>
                  <a:lnTo>
                    <a:pt x="415" y="792"/>
                  </a:lnTo>
                  <a:lnTo>
                    <a:pt x="413" y="792"/>
                  </a:lnTo>
                  <a:lnTo>
                    <a:pt x="415" y="792"/>
                  </a:lnTo>
                  <a:lnTo>
                    <a:pt x="413" y="790"/>
                  </a:lnTo>
                  <a:lnTo>
                    <a:pt x="411" y="790"/>
                  </a:lnTo>
                  <a:lnTo>
                    <a:pt x="410" y="790"/>
                  </a:lnTo>
                  <a:lnTo>
                    <a:pt x="410" y="792"/>
                  </a:lnTo>
                  <a:lnTo>
                    <a:pt x="411" y="794"/>
                  </a:lnTo>
                  <a:lnTo>
                    <a:pt x="411" y="795"/>
                  </a:lnTo>
                  <a:lnTo>
                    <a:pt x="413" y="795"/>
                  </a:lnTo>
                  <a:lnTo>
                    <a:pt x="415" y="797"/>
                  </a:lnTo>
                  <a:lnTo>
                    <a:pt x="413" y="797"/>
                  </a:lnTo>
                  <a:lnTo>
                    <a:pt x="413" y="799"/>
                  </a:lnTo>
                  <a:lnTo>
                    <a:pt x="411" y="800"/>
                  </a:lnTo>
                  <a:lnTo>
                    <a:pt x="411" y="799"/>
                  </a:lnTo>
                  <a:lnTo>
                    <a:pt x="410" y="797"/>
                  </a:lnTo>
                  <a:lnTo>
                    <a:pt x="410" y="799"/>
                  </a:lnTo>
                  <a:lnTo>
                    <a:pt x="408" y="799"/>
                  </a:lnTo>
                  <a:lnTo>
                    <a:pt x="408" y="800"/>
                  </a:lnTo>
                  <a:lnTo>
                    <a:pt x="408" y="802"/>
                  </a:lnTo>
                  <a:lnTo>
                    <a:pt x="408" y="803"/>
                  </a:lnTo>
                  <a:lnTo>
                    <a:pt x="410" y="805"/>
                  </a:lnTo>
                  <a:lnTo>
                    <a:pt x="410" y="807"/>
                  </a:lnTo>
                  <a:lnTo>
                    <a:pt x="410" y="808"/>
                  </a:lnTo>
                  <a:lnTo>
                    <a:pt x="410" y="810"/>
                  </a:lnTo>
                  <a:lnTo>
                    <a:pt x="410" y="812"/>
                  </a:lnTo>
                  <a:lnTo>
                    <a:pt x="411" y="813"/>
                  </a:lnTo>
                  <a:lnTo>
                    <a:pt x="413" y="815"/>
                  </a:lnTo>
                  <a:lnTo>
                    <a:pt x="415" y="818"/>
                  </a:lnTo>
                  <a:lnTo>
                    <a:pt x="415" y="820"/>
                  </a:lnTo>
                  <a:lnTo>
                    <a:pt x="413" y="820"/>
                  </a:lnTo>
                  <a:lnTo>
                    <a:pt x="415" y="820"/>
                  </a:lnTo>
                  <a:lnTo>
                    <a:pt x="415" y="821"/>
                  </a:lnTo>
                  <a:lnTo>
                    <a:pt x="415" y="823"/>
                  </a:lnTo>
                  <a:lnTo>
                    <a:pt x="413" y="823"/>
                  </a:lnTo>
                  <a:lnTo>
                    <a:pt x="413" y="825"/>
                  </a:lnTo>
                  <a:lnTo>
                    <a:pt x="415" y="825"/>
                  </a:lnTo>
                  <a:lnTo>
                    <a:pt x="415" y="826"/>
                  </a:lnTo>
                  <a:lnTo>
                    <a:pt x="415" y="828"/>
                  </a:lnTo>
                  <a:lnTo>
                    <a:pt x="415" y="830"/>
                  </a:lnTo>
                  <a:lnTo>
                    <a:pt x="413" y="828"/>
                  </a:lnTo>
                  <a:lnTo>
                    <a:pt x="413" y="830"/>
                  </a:lnTo>
                  <a:lnTo>
                    <a:pt x="415" y="830"/>
                  </a:lnTo>
                  <a:lnTo>
                    <a:pt x="413" y="830"/>
                  </a:lnTo>
                  <a:lnTo>
                    <a:pt x="413" y="831"/>
                  </a:lnTo>
                  <a:lnTo>
                    <a:pt x="413" y="830"/>
                  </a:lnTo>
                  <a:lnTo>
                    <a:pt x="411" y="828"/>
                  </a:lnTo>
                  <a:lnTo>
                    <a:pt x="411" y="826"/>
                  </a:lnTo>
                  <a:lnTo>
                    <a:pt x="411" y="825"/>
                  </a:lnTo>
                  <a:lnTo>
                    <a:pt x="410" y="825"/>
                  </a:lnTo>
                  <a:lnTo>
                    <a:pt x="410" y="823"/>
                  </a:lnTo>
                  <a:lnTo>
                    <a:pt x="410" y="821"/>
                  </a:lnTo>
                  <a:lnTo>
                    <a:pt x="408" y="821"/>
                  </a:lnTo>
                  <a:lnTo>
                    <a:pt x="406" y="821"/>
                  </a:lnTo>
                  <a:lnTo>
                    <a:pt x="405" y="821"/>
                  </a:lnTo>
                  <a:lnTo>
                    <a:pt x="403" y="820"/>
                  </a:lnTo>
                  <a:lnTo>
                    <a:pt x="402" y="820"/>
                  </a:lnTo>
                  <a:lnTo>
                    <a:pt x="402" y="818"/>
                  </a:lnTo>
                  <a:lnTo>
                    <a:pt x="402" y="820"/>
                  </a:lnTo>
                  <a:lnTo>
                    <a:pt x="402" y="821"/>
                  </a:lnTo>
                  <a:lnTo>
                    <a:pt x="400" y="820"/>
                  </a:lnTo>
                  <a:lnTo>
                    <a:pt x="398" y="820"/>
                  </a:lnTo>
                  <a:lnTo>
                    <a:pt x="397" y="818"/>
                  </a:lnTo>
                  <a:lnTo>
                    <a:pt x="397" y="816"/>
                  </a:lnTo>
                  <a:lnTo>
                    <a:pt x="395" y="816"/>
                  </a:lnTo>
                  <a:lnTo>
                    <a:pt x="395" y="815"/>
                  </a:lnTo>
                  <a:lnTo>
                    <a:pt x="395" y="813"/>
                  </a:lnTo>
                  <a:lnTo>
                    <a:pt x="397" y="813"/>
                  </a:lnTo>
                  <a:lnTo>
                    <a:pt x="397" y="812"/>
                  </a:lnTo>
                  <a:lnTo>
                    <a:pt x="397" y="810"/>
                  </a:lnTo>
                  <a:lnTo>
                    <a:pt x="398" y="812"/>
                  </a:lnTo>
                  <a:lnTo>
                    <a:pt x="400" y="810"/>
                  </a:lnTo>
                  <a:lnTo>
                    <a:pt x="398" y="810"/>
                  </a:lnTo>
                  <a:lnTo>
                    <a:pt x="398" y="808"/>
                  </a:lnTo>
                  <a:lnTo>
                    <a:pt x="398" y="807"/>
                  </a:lnTo>
                  <a:lnTo>
                    <a:pt x="398" y="805"/>
                  </a:lnTo>
                  <a:lnTo>
                    <a:pt x="397" y="807"/>
                  </a:lnTo>
                  <a:lnTo>
                    <a:pt x="397" y="805"/>
                  </a:lnTo>
                  <a:lnTo>
                    <a:pt x="397" y="803"/>
                  </a:lnTo>
                  <a:lnTo>
                    <a:pt x="398" y="803"/>
                  </a:lnTo>
                  <a:lnTo>
                    <a:pt x="397" y="803"/>
                  </a:lnTo>
                  <a:lnTo>
                    <a:pt x="395" y="803"/>
                  </a:lnTo>
                  <a:lnTo>
                    <a:pt x="395" y="802"/>
                  </a:lnTo>
                  <a:lnTo>
                    <a:pt x="397" y="800"/>
                  </a:lnTo>
                  <a:lnTo>
                    <a:pt x="395" y="800"/>
                  </a:lnTo>
                  <a:lnTo>
                    <a:pt x="395" y="797"/>
                  </a:lnTo>
                  <a:lnTo>
                    <a:pt x="397" y="797"/>
                  </a:lnTo>
                  <a:lnTo>
                    <a:pt x="397" y="795"/>
                  </a:lnTo>
                  <a:lnTo>
                    <a:pt x="395" y="795"/>
                  </a:lnTo>
                  <a:lnTo>
                    <a:pt x="393" y="794"/>
                  </a:lnTo>
                  <a:lnTo>
                    <a:pt x="393" y="792"/>
                  </a:lnTo>
                  <a:lnTo>
                    <a:pt x="395" y="792"/>
                  </a:lnTo>
                  <a:lnTo>
                    <a:pt x="395" y="790"/>
                  </a:lnTo>
                  <a:lnTo>
                    <a:pt x="397" y="790"/>
                  </a:lnTo>
                  <a:lnTo>
                    <a:pt x="397" y="789"/>
                  </a:lnTo>
                  <a:lnTo>
                    <a:pt x="395" y="789"/>
                  </a:lnTo>
                  <a:lnTo>
                    <a:pt x="393" y="790"/>
                  </a:lnTo>
                  <a:lnTo>
                    <a:pt x="392" y="790"/>
                  </a:lnTo>
                  <a:lnTo>
                    <a:pt x="392" y="789"/>
                  </a:lnTo>
                  <a:lnTo>
                    <a:pt x="392" y="787"/>
                  </a:lnTo>
                  <a:lnTo>
                    <a:pt x="390" y="787"/>
                  </a:lnTo>
                  <a:lnTo>
                    <a:pt x="389" y="786"/>
                  </a:lnTo>
                  <a:lnTo>
                    <a:pt x="389" y="784"/>
                  </a:lnTo>
                  <a:lnTo>
                    <a:pt x="387" y="784"/>
                  </a:lnTo>
                  <a:lnTo>
                    <a:pt x="387" y="782"/>
                  </a:lnTo>
                  <a:lnTo>
                    <a:pt x="387" y="781"/>
                  </a:lnTo>
                  <a:lnTo>
                    <a:pt x="385" y="779"/>
                  </a:lnTo>
                  <a:lnTo>
                    <a:pt x="385" y="781"/>
                  </a:lnTo>
                  <a:lnTo>
                    <a:pt x="385" y="779"/>
                  </a:lnTo>
                  <a:lnTo>
                    <a:pt x="385" y="777"/>
                  </a:lnTo>
                  <a:lnTo>
                    <a:pt x="384" y="777"/>
                  </a:lnTo>
                  <a:lnTo>
                    <a:pt x="384" y="776"/>
                  </a:lnTo>
                  <a:lnTo>
                    <a:pt x="384" y="774"/>
                  </a:lnTo>
                  <a:lnTo>
                    <a:pt x="382" y="773"/>
                  </a:lnTo>
                  <a:lnTo>
                    <a:pt x="380" y="773"/>
                  </a:lnTo>
                  <a:lnTo>
                    <a:pt x="380" y="771"/>
                  </a:lnTo>
                  <a:lnTo>
                    <a:pt x="379" y="771"/>
                  </a:lnTo>
                  <a:lnTo>
                    <a:pt x="379" y="769"/>
                  </a:lnTo>
                  <a:lnTo>
                    <a:pt x="377" y="769"/>
                  </a:lnTo>
                  <a:lnTo>
                    <a:pt x="379" y="769"/>
                  </a:lnTo>
                  <a:lnTo>
                    <a:pt x="377" y="769"/>
                  </a:lnTo>
                  <a:lnTo>
                    <a:pt x="377" y="768"/>
                  </a:lnTo>
                  <a:lnTo>
                    <a:pt x="377" y="769"/>
                  </a:lnTo>
                  <a:lnTo>
                    <a:pt x="377" y="768"/>
                  </a:lnTo>
                  <a:lnTo>
                    <a:pt x="377" y="769"/>
                  </a:lnTo>
                  <a:lnTo>
                    <a:pt x="377" y="768"/>
                  </a:lnTo>
                  <a:lnTo>
                    <a:pt x="376" y="768"/>
                  </a:lnTo>
                  <a:lnTo>
                    <a:pt x="376" y="766"/>
                  </a:lnTo>
                  <a:lnTo>
                    <a:pt x="376" y="764"/>
                  </a:lnTo>
                  <a:lnTo>
                    <a:pt x="374" y="764"/>
                  </a:lnTo>
                  <a:lnTo>
                    <a:pt x="372" y="764"/>
                  </a:lnTo>
                  <a:lnTo>
                    <a:pt x="371" y="763"/>
                  </a:lnTo>
                  <a:lnTo>
                    <a:pt x="369" y="763"/>
                  </a:lnTo>
                  <a:lnTo>
                    <a:pt x="369" y="764"/>
                  </a:lnTo>
                  <a:lnTo>
                    <a:pt x="369" y="766"/>
                  </a:lnTo>
                  <a:lnTo>
                    <a:pt x="367" y="766"/>
                  </a:lnTo>
                  <a:lnTo>
                    <a:pt x="366" y="766"/>
                  </a:lnTo>
                  <a:lnTo>
                    <a:pt x="366" y="764"/>
                  </a:lnTo>
                  <a:lnTo>
                    <a:pt x="364" y="764"/>
                  </a:lnTo>
                  <a:lnTo>
                    <a:pt x="363" y="764"/>
                  </a:lnTo>
                  <a:lnTo>
                    <a:pt x="363" y="763"/>
                  </a:lnTo>
                  <a:lnTo>
                    <a:pt x="363" y="761"/>
                  </a:lnTo>
                  <a:lnTo>
                    <a:pt x="364" y="761"/>
                  </a:lnTo>
                  <a:lnTo>
                    <a:pt x="364" y="760"/>
                  </a:lnTo>
                  <a:lnTo>
                    <a:pt x="364" y="758"/>
                  </a:lnTo>
                  <a:lnTo>
                    <a:pt x="363" y="758"/>
                  </a:lnTo>
                  <a:lnTo>
                    <a:pt x="363" y="756"/>
                  </a:lnTo>
                  <a:lnTo>
                    <a:pt x="363" y="755"/>
                  </a:lnTo>
                  <a:lnTo>
                    <a:pt x="363" y="753"/>
                  </a:lnTo>
                  <a:lnTo>
                    <a:pt x="364" y="751"/>
                  </a:lnTo>
                  <a:lnTo>
                    <a:pt x="363" y="750"/>
                  </a:lnTo>
                  <a:lnTo>
                    <a:pt x="363" y="748"/>
                  </a:lnTo>
                  <a:lnTo>
                    <a:pt x="361" y="748"/>
                  </a:lnTo>
                  <a:lnTo>
                    <a:pt x="359" y="748"/>
                  </a:lnTo>
                  <a:lnTo>
                    <a:pt x="358" y="748"/>
                  </a:lnTo>
                  <a:lnTo>
                    <a:pt x="356" y="748"/>
                  </a:lnTo>
                  <a:lnTo>
                    <a:pt x="354" y="748"/>
                  </a:lnTo>
                  <a:lnTo>
                    <a:pt x="353" y="748"/>
                  </a:lnTo>
                  <a:lnTo>
                    <a:pt x="351" y="748"/>
                  </a:lnTo>
                  <a:lnTo>
                    <a:pt x="348" y="750"/>
                  </a:lnTo>
                  <a:lnTo>
                    <a:pt x="345" y="751"/>
                  </a:lnTo>
                  <a:lnTo>
                    <a:pt x="340" y="755"/>
                  </a:lnTo>
                  <a:lnTo>
                    <a:pt x="340" y="756"/>
                  </a:lnTo>
                  <a:lnTo>
                    <a:pt x="338" y="756"/>
                  </a:lnTo>
                  <a:lnTo>
                    <a:pt x="338" y="758"/>
                  </a:lnTo>
                  <a:lnTo>
                    <a:pt x="338" y="760"/>
                  </a:lnTo>
                  <a:lnTo>
                    <a:pt x="340" y="760"/>
                  </a:lnTo>
                  <a:lnTo>
                    <a:pt x="340" y="761"/>
                  </a:lnTo>
                  <a:lnTo>
                    <a:pt x="340" y="764"/>
                  </a:lnTo>
                  <a:lnTo>
                    <a:pt x="340" y="766"/>
                  </a:lnTo>
                  <a:lnTo>
                    <a:pt x="340" y="768"/>
                  </a:lnTo>
                  <a:lnTo>
                    <a:pt x="340" y="769"/>
                  </a:lnTo>
                  <a:lnTo>
                    <a:pt x="340" y="771"/>
                  </a:lnTo>
                  <a:lnTo>
                    <a:pt x="340" y="773"/>
                  </a:lnTo>
                  <a:lnTo>
                    <a:pt x="340" y="774"/>
                  </a:lnTo>
                  <a:lnTo>
                    <a:pt x="340" y="776"/>
                  </a:lnTo>
                  <a:lnTo>
                    <a:pt x="341" y="777"/>
                  </a:lnTo>
                  <a:lnTo>
                    <a:pt x="341" y="779"/>
                  </a:lnTo>
                  <a:lnTo>
                    <a:pt x="343" y="781"/>
                  </a:lnTo>
                  <a:lnTo>
                    <a:pt x="343" y="782"/>
                  </a:lnTo>
                  <a:lnTo>
                    <a:pt x="345" y="782"/>
                  </a:lnTo>
                  <a:lnTo>
                    <a:pt x="346" y="782"/>
                  </a:lnTo>
                  <a:lnTo>
                    <a:pt x="345" y="782"/>
                  </a:lnTo>
                  <a:lnTo>
                    <a:pt x="343" y="786"/>
                  </a:lnTo>
                  <a:lnTo>
                    <a:pt x="343" y="787"/>
                  </a:lnTo>
                  <a:lnTo>
                    <a:pt x="343" y="789"/>
                  </a:lnTo>
                  <a:lnTo>
                    <a:pt x="341" y="789"/>
                  </a:lnTo>
                  <a:lnTo>
                    <a:pt x="341" y="790"/>
                  </a:lnTo>
                  <a:lnTo>
                    <a:pt x="340" y="790"/>
                  </a:lnTo>
                  <a:lnTo>
                    <a:pt x="340" y="792"/>
                  </a:lnTo>
                  <a:lnTo>
                    <a:pt x="338" y="792"/>
                  </a:lnTo>
                  <a:lnTo>
                    <a:pt x="338" y="794"/>
                  </a:lnTo>
                  <a:lnTo>
                    <a:pt x="336" y="794"/>
                  </a:lnTo>
                  <a:lnTo>
                    <a:pt x="336" y="795"/>
                  </a:lnTo>
                  <a:lnTo>
                    <a:pt x="336" y="794"/>
                  </a:lnTo>
                  <a:lnTo>
                    <a:pt x="336" y="792"/>
                  </a:lnTo>
                  <a:lnTo>
                    <a:pt x="335" y="790"/>
                  </a:lnTo>
                  <a:lnTo>
                    <a:pt x="333" y="790"/>
                  </a:lnTo>
                  <a:lnTo>
                    <a:pt x="333" y="789"/>
                  </a:lnTo>
                  <a:lnTo>
                    <a:pt x="332" y="789"/>
                  </a:lnTo>
                  <a:lnTo>
                    <a:pt x="330" y="786"/>
                  </a:lnTo>
                  <a:lnTo>
                    <a:pt x="330" y="784"/>
                  </a:lnTo>
                  <a:lnTo>
                    <a:pt x="328" y="784"/>
                  </a:lnTo>
                  <a:lnTo>
                    <a:pt x="327" y="784"/>
                  </a:lnTo>
                  <a:lnTo>
                    <a:pt x="325" y="784"/>
                  </a:lnTo>
                  <a:lnTo>
                    <a:pt x="325" y="786"/>
                  </a:lnTo>
                  <a:lnTo>
                    <a:pt x="323" y="786"/>
                  </a:lnTo>
                  <a:lnTo>
                    <a:pt x="322" y="787"/>
                  </a:lnTo>
                  <a:lnTo>
                    <a:pt x="323" y="787"/>
                  </a:lnTo>
                  <a:lnTo>
                    <a:pt x="322" y="787"/>
                  </a:lnTo>
                  <a:lnTo>
                    <a:pt x="322" y="786"/>
                  </a:lnTo>
                  <a:lnTo>
                    <a:pt x="320" y="786"/>
                  </a:lnTo>
                  <a:lnTo>
                    <a:pt x="319" y="787"/>
                  </a:lnTo>
                  <a:lnTo>
                    <a:pt x="317" y="786"/>
                  </a:lnTo>
                  <a:lnTo>
                    <a:pt x="317" y="784"/>
                  </a:lnTo>
                  <a:lnTo>
                    <a:pt x="315" y="784"/>
                  </a:lnTo>
                  <a:lnTo>
                    <a:pt x="315" y="786"/>
                  </a:lnTo>
                  <a:lnTo>
                    <a:pt x="314" y="782"/>
                  </a:lnTo>
                  <a:lnTo>
                    <a:pt x="314" y="781"/>
                  </a:lnTo>
                  <a:lnTo>
                    <a:pt x="314" y="779"/>
                  </a:lnTo>
                  <a:lnTo>
                    <a:pt x="312" y="779"/>
                  </a:lnTo>
                  <a:lnTo>
                    <a:pt x="312" y="777"/>
                  </a:lnTo>
                  <a:lnTo>
                    <a:pt x="312" y="776"/>
                  </a:lnTo>
                  <a:lnTo>
                    <a:pt x="310" y="774"/>
                  </a:lnTo>
                  <a:lnTo>
                    <a:pt x="312" y="774"/>
                  </a:lnTo>
                  <a:lnTo>
                    <a:pt x="312" y="773"/>
                  </a:lnTo>
                  <a:lnTo>
                    <a:pt x="312" y="771"/>
                  </a:lnTo>
                  <a:lnTo>
                    <a:pt x="312" y="769"/>
                  </a:lnTo>
                  <a:lnTo>
                    <a:pt x="314" y="769"/>
                  </a:lnTo>
                  <a:lnTo>
                    <a:pt x="314" y="768"/>
                  </a:lnTo>
                  <a:lnTo>
                    <a:pt x="314" y="766"/>
                  </a:lnTo>
                  <a:lnTo>
                    <a:pt x="312" y="766"/>
                  </a:lnTo>
                  <a:lnTo>
                    <a:pt x="310" y="764"/>
                  </a:lnTo>
                  <a:lnTo>
                    <a:pt x="309" y="764"/>
                  </a:lnTo>
                  <a:lnTo>
                    <a:pt x="309" y="766"/>
                  </a:lnTo>
                  <a:lnTo>
                    <a:pt x="307" y="766"/>
                  </a:lnTo>
                  <a:lnTo>
                    <a:pt x="307" y="764"/>
                  </a:lnTo>
                  <a:lnTo>
                    <a:pt x="307" y="763"/>
                  </a:lnTo>
                  <a:lnTo>
                    <a:pt x="307" y="761"/>
                  </a:lnTo>
                  <a:lnTo>
                    <a:pt x="306" y="761"/>
                  </a:lnTo>
                  <a:lnTo>
                    <a:pt x="306" y="760"/>
                  </a:lnTo>
                  <a:lnTo>
                    <a:pt x="304" y="760"/>
                  </a:lnTo>
                  <a:lnTo>
                    <a:pt x="304" y="758"/>
                  </a:lnTo>
                  <a:lnTo>
                    <a:pt x="302" y="758"/>
                  </a:lnTo>
                  <a:lnTo>
                    <a:pt x="301" y="756"/>
                  </a:lnTo>
                  <a:lnTo>
                    <a:pt x="299" y="755"/>
                  </a:lnTo>
                  <a:lnTo>
                    <a:pt x="297" y="753"/>
                  </a:lnTo>
                  <a:lnTo>
                    <a:pt x="296" y="753"/>
                  </a:lnTo>
                  <a:lnTo>
                    <a:pt x="296" y="751"/>
                  </a:lnTo>
                  <a:lnTo>
                    <a:pt x="296" y="750"/>
                  </a:lnTo>
                  <a:lnTo>
                    <a:pt x="296" y="748"/>
                  </a:lnTo>
                  <a:lnTo>
                    <a:pt x="296" y="747"/>
                  </a:lnTo>
                  <a:lnTo>
                    <a:pt x="296" y="745"/>
                  </a:lnTo>
                  <a:lnTo>
                    <a:pt x="294" y="745"/>
                  </a:lnTo>
                  <a:lnTo>
                    <a:pt x="294" y="743"/>
                  </a:lnTo>
                  <a:lnTo>
                    <a:pt x="294" y="742"/>
                  </a:lnTo>
                  <a:lnTo>
                    <a:pt x="293" y="738"/>
                  </a:lnTo>
                  <a:lnTo>
                    <a:pt x="293" y="735"/>
                  </a:lnTo>
                  <a:lnTo>
                    <a:pt x="294" y="735"/>
                  </a:lnTo>
                  <a:lnTo>
                    <a:pt x="294" y="734"/>
                  </a:lnTo>
                  <a:lnTo>
                    <a:pt x="294" y="732"/>
                  </a:lnTo>
                  <a:lnTo>
                    <a:pt x="296" y="730"/>
                  </a:lnTo>
                  <a:lnTo>
                    <a:pt x="296" y="729"/>
                  </a:lnTo>
                  <a:lnTo>
                    <a:pt x="297" y="729"/>
                  </a:lnTo>
                  <a:lnTo>
                    <a:pt x="297" y="727"/>
                  </a:lnTo>
                  <a:lnTo>
                    <a:pt x="299" y="727"/>
                  </a:lnTo>
                  <a:lnTo>
                    <a:pt x="301" y="725"/>
                  </a:lnTo>
                  <a:lnTo>
                    <a:pt x="301" y="724"/>
                  </a:lnTo>
                  <a:lnTo>
                    <a:pt x="302" y="724"/>
                  </a:lnTo>
                  <a:lnTo>
                    <a:pt x="304" y="722"/>
                  </a:lnTo>
                  <a:lnTo>
                    <a:pt x="304" y="721"/>
                  </a:lnTo>
                  <a:lnTo>
                    <a:pt x="304" y="719"/>
                  </a:lnTo>
                  <a:lnTo>
                    <a:pt x="304" y="717"/>
                  </a:lnTo>
                  <a:lnTo>
                    <a:pt x="306" y="717"/>
                  </a:lnTo>
                  <a:lnTo>
                    <a:pt x="306" y="716"/>
                  </a:lnTo>
                  <a:lnTo>
                    <a:pt x="306" y="714"/>
                  </a:lnTo>
                  <a:lnTo>
                    <a:pt x="304" y="711"/>
                  </a:lnTo>
                  <a:lnTo>
                    <a:pt x="304" y="709"/>
                  </a:lnTo>
                  <a:lnTo>
                    <a:pt x="302" y="708"/>
                  </a:lnTo>
                  <a:lnTo>
                    <a:pt x="302" y="706"/>
                  </a:lnTo>
                  <a:lnTo>
                    <a:pt x="299" y="701"/>
                  </a:lnTo>
                  <a:lnTo>
                    <a:pt x="299" y="699"/>
                  </a:lnTo>
                  <a:lnTo>
                    <a:pt x="297" y="698"/>
                  </a:lnTo>
                  <a:lnTo>
                    <a:pt x="293" y="693"/>
                  </a:lnTo>
                  <a:lnTo>
                    <a:pt x="293" y="691"/>
                  </a:lnTo>
                  <a:lnTo>
                    <a:pt x="291" y="690"/>
                  </a:lnTo>
                  <a:lnTo>
                    <a:pt x="286" y="685"/>
                  </a:lnTo>
                  <a:lnTo>
                    <a:pt x="284" y="683"/>
                  </a:lnTo>
                  <a:lnTo>
                    <a:pt x="281" y="681"/>
                  </a:lnTo>
                  <a:lnTo>
                    <a:pt x="280" y="680"/>
                  </a:lnTo>
                  <a:lnTo>
                    <a:pt x="275" y="678"/>
                  </a:lnTo>
                  <a:lnTo>
                    <a:pt x="273" y="678"/>
                  </a:lnTo>
                  <a:lnTo>
                    <a:pt x="271" y="677"/>
                  </a:lnTo>
                  <a:lnTo>
                    <a:pt x="270" y="677"/>
                  </a:lnTo>
                  <a:lnTo>
                    <a:pt x="267" y="673"/>
                  </a:lnTo>
                  <a:lnTo>
                    <a:pt x="263" y="672"/>
                  </a:lnTo>
                  <a:lnTo>
                    <a:pt x="262" y="672"/>
                  </a:lnTo>
                  <a:lnTo>
                    <a:pt x="260" y="672"/>
                  </a:lnTo>
                  <a:lnTo>
                    <a:pt x="258" y="672"/>
                  </a:lnTo>
                  <a:lnTo>
                    <a:pt x="257" y="672"/>
                  </a:lnTo>
                  <a:lnTo>
                    <a:pt x="255" y="673"/>
                  </a:lnTo>
                  <a:lnTo>
                    <a:pt x="257" y="673"/>
                  </a:lnTo>
                  <a:lnTo>
                    <a:pt x="257" y="675"/>
                  </a:lnTo>
                  <a:lnTo>
                    <a:pt x="255" y="675"/>
                  </a:lnTo>
                  <a:lnTo>
                    <a:pt x="255" y="677"/>
                  </a:lnTo>
                  <a:lnTo>
                    <a:pt x="254" y="675"/>
                  </a:lnTo>
                  <a:lnTo>
                    <a:pt x="254" y="673"/>
                  </a:lnTo>
                  <a:lnTo>
                    <a:pt x="255" y="673"/>
                  </a:lnTo>
                  <a:lnTo>
                    <a:pt x="255" y="672"/>
                  </a:lnTo>
                  <a:lnTo>
                    <a:pt x="254" y="672"/>
                  </a:lnTo>
                  <a:lnTo>
                    <a:pt x="254" y="670"/>
                  </a:lnTo>
                  <a:lnTo>
                    <a:pt x="254" y="668"/>
                  </a:lnTo>
                  <a:lnTo>
                    <a:pt x="255" y="668"/>
                  </a:lnTo>
                  <a:lnTo>
                    <a:pt x="255" y="667"/>
                  </a:lnTo>
                  <a:lnTo>
                    <a:pt x="255" y="665"/>
                  </a:lnTo>
                  <a:lnTo>
                    <a:pt x="254" y="664"/>
                  </a:lnTo>
                  <a:lnTo>
                    <a:pt x="254" y="662"/>
                  </a:lnTo>
                  <a:lnTo>
                    <a:pt x="252" y="660"/>
                  </a:lnTo>
                  <a:lnTo>
                    <a:pt x="252" y="659"/>
                  </a:lnTo>
                  <a:lnTo>
                    <a:pt x="250" y="657"/>
                  </a:lnTo>
                  <a:lnTo>
                    <a:pt x="249" y="655"/>
                  </a:lnTo>
                  <a:lnTo>
                    <a:pt x="247" y="655"/>
                  </a:lnTo>
                  <a:lnTo>
                    <a:pt x="247" y="654"/>
                  </a:lnTo>
                  <a:lnTo>
                    <a:pt x="245" y="654"/>
                  </a:lnTo>
                  <a:lnTo>
                    <a:pt x="242" y="652"/>
                  </a:lnTo>
                  <a:lnTo>
                    <a:pt x="239" y="652"/>
                  </a:lnTo>
                  <a:lnTo>
                    <a:pt x="237" y="651"/>
                  </a:lnTo>
                  <a:lnTo>
                    <a:pt x="236" y="651"/>
                  </a:lnTo>
                  <a:lnTo>
                    <a:pt x="234" y="651"/>
                  </a:lnTo>
                  <a:lnTo>
                    <a:pt x="232" y="651"/>
                  </a:lnTo>
                  <a:lnTo>
                    <a:pt x="231" y="651"/>
                  </a:lnTo>
                  <a:lnTo>
                    <a:pt x="229" y="651"/>
                  </a:lnTo>
                  <a:lnTo>
                    <a:pt x="228" y="649"/>
                  </a:lnTo>
                  <a:lnTo>
                    <a:pt x="228" y="647"/>
                  </a:lnTo>
                  <a:lnTo>
                    <a:pt x="228" y="646"/>
                  </a:lnTo>
                  <a:lnTo>
                    <a:pt x="228" y="644"/>
                  </a:lnTo>
                  <a:lnTo>
                    <a:pt x="228" y="642"/>
                  </a:lnTo>
                  <a:lnTo>
                    <a:pt x="228" y="641"/>
                  </a:lnTo>
                  <a:lnTo>
                    <a:pt x="229" y="639"/>
                  </a:lnTo>
                  <a:lnTo>
                    <a:pt x="229" y="638"/>
                  </a:lnTo>
                  <a:lnTo>
                    <a:pt x="229" y="636"/>
                  </a:lnTo>
                  <a:lnTo>
                    <a:pt x="231" y="636"/>
                  </a:lnTo>
                  <a:lnTo>
                    <a:pt x="232" y="636"/>
                  </a:lnTo>
                  <a:lnTo>
                    <a:pt x="231" y="636"/>
                  </a:lnTo>
                  <a:lnTo>
                    <a:pt x="232" y="636"/>
                  </a:lnTo>
                  <a:lnTo>
                    <a:pt x="232" y="638"/>
                  </a:lnTo>
                  <a:lnTo>
                    <a:pt x="234" y="638"/>
                  </a:lnTo>
                  <a:lnTo>
                    <a:pt x="236" y="636"/>
                  </a:lnTo>
                  <a:lnTo>
                    <a:pt x="237" y="634"/>
                  </a:lnTo>
                  <a:lnTo>
                    <a:pt x="241" y="631"/>
                  </a:lnTo>
                  <a:lnTo>
                    <a:pt x="242" y="629"/>
                  </a:lnTo>
                  <a:lnTo>
                    <a:pt x="244" y="629"/>
                  </a:lnTo>
                  <a:lnTo>
                    <a:pt x="242" y="629"/>
                  </a:lnTo>
                  <a:lnTo>
                    <a:pt x="244" y="628"/>
                  </a:lnTo>
                  <a:lnTo>
                    <a:pt x="245" y="623"/>
                  </a:lnTo>
                  <a:lnTo>
                    <a:pt x="245" y="625"/>
                  </a:lnTo>
                  <a:lnTo>
                    <a:pt x="244" y="626"/>
                  </a:lnTo>
                  <a:lnTo>
                    <a:pt x="245" y="625"/>
                  </a:lnTo>
                  <a:lnTo>
                    <a:pt x="245" y="626"/>
                  </a:lnTo>
                  <a:lnTo>
                    <a:pt x="247" y="625"/>
                  </a:lnTo>
                  <a:lnTo>
                    <a:pt x="247" y="623"/>
                  </a:lnTo>
                  <a:lnTo>
                    <a:pt x="249" y="623"/>
                  </a:lnTo>
                  <a:lnTo>
                    <a:pt x="247" y="623"/>
                  </a:lnTo>
                  <a:lnTo>
                    <a:pt x="247" y="621"/>
                  </a:lnTo>
                  <a:lnTo>
                    <a:pt x="249" y="618"/>
                  </a:lnTo>
                  <a:lnTo>
                    <a:pt x="249" y="615"/>
                  </a:lnTo>
                  <a:lnTo>
                    <a:pt x="250" y="612"/>
                  </a:lnTo>
                  <a:lnTo>
                    <a:pt x="250" y="610"/>
                  </a:lnTo>
                  <a:lnTo>
                    <a:pt x="250" y="608"/>
                  </a:lnTo>
                  <a:lnTo>
                    <a:pt x="250" y="610"/>
                  </a:lnTo>
                  <a:lnTo>
                    <a:pt x="252" y="610"/>
                  </a:lnTo>
                  <a:lnTo>
                    <a:pt x="252" y="608"/>
                  </a:lnTo>
                  <a:lnTo>
                    <a:pt x="252" y="607"/>
                  </a:lnTo>
                  <a:lnTo>
                    <a:pt x="252" y="605"/>
                  </a:lnTo>
                  <a:lnTo>
                    <a:pt x="252" y="602"/>
                  </a:lnTo>
                  <a:lnTo>
                    <a:pt x="252" y="600"/>
                  </a:lnTo>
                  <a:lnTo>
                    <a:pt x="250" y="600"/>
                  </a:lnTo>
                  <a:lnTo>
                    <a:pt x="252" y="599"/>
                  </a:lnTo>
                  <a:lnTo>
                    <a:pt x="250" y="599"/>
                  </a:lnTo>
                  <a:close/>
                  <a:moveTo>
                    <a:pt x="571" y="912"/>
                  </a:moveTo>
                  <a:lnTo>
                    <a:pt x="571" y="911"/>
                  </a:lnTo>
                  <a:lnTo>
                    <a:pt x="571" y="909"/>
                  </a:lnTo>
                  <a:lnTo>
                    <a:pt x="571" y="908"/>
                  </a:lnTo>
                  <a:lnTo>
                    <a:pt x="571" y="906"/>
                  </a:lnTo>
                  <a:lnTo>
                    <a:pt x="572" y="906"/>
                  </a:lnTo>
                  <a:lnTo>
                    <a:pt x="572" y="904"/>
                  </a:lnTo>
                  <a:lnTo>
                    <a:pt x="572" y="903"/>
                  </a:lnTo>
                  <a:lnTo>
                    <a:pt x="574" y="903"/>
                  </a:lnTo>
                  <a:lnTo>
                    <a:pt x="574" y="904"/>
                  </a:lnTo>
                  <a:lnTo>
                    <a:pt x="576" y="904"/>
                  </a:lnTo>
                  <a:lnTo>
                    <a:pt x="577" y="906"/>
                  </a:lnTo>
                  <a:lnTo>
                    <a:pt x="577" y="908"/>
                  </a:lnTo>
                  <a:lnTo>
                    <a:pt x="577" y="909"/>
                  </a:lnTo>
                  <a:lnTo>
                    <a:pt x="579" y="911"/>
                  </a:lnTo>
                  <a:lnTo>
                    <a:pt x="577" y="911"/>
                  </a:lnTo>
                  <a:lnTo>
                    <a:pt x="579" y="911"/>
                  </a:lnTo>
                  <a:lnTo>
                    <a:pt x="579" y="914"/>
                  </a:lnTo>
                  <a:lnTo>
                    <a:pt x="579" y="916"/>
                  </a:lnTo>
                  <a:lnTo>
                    <a:pt x="580" y="916"/>
                  </a:lnTo>
                  <a:lnTo>
                    <a:pt x="580" y="917"/>
                  </a:lnTo>
                  <a:lnTo>
                    <a:pt x="580" y="919"/>
                  </a:lnTo>
                  <a:lnTo>
                    <a:pt x="580" y="921"/>
                  </a:lnTo>
                  <a:lnTo>
                    <a:pt x="580" y="922"/>
                  </a:lnTo>
                  <a:lnTo>
                    <a:pt x="582" y="924"/>
                  </a:lnTo>
                  <a:lnTo>
                    <a:pt x="584" y="924"/>
                  </a:lnTo>
                  <a:lnTo>
                    <a:pt x="585" y="924"/>
                  </a:lnTo>
                  <a:lnTo>
                    <a:pt x="587" y="924"/>
                  </a:lnTo>
                  <a:lnTo>
                    <a:pt x="587" y="922"/>
                  </a:lnTo>
                  <a:lnTo>
                    <a:pt x="589" y="924"/>
                  </a:lnTo>
                  <a:lnTo>
                    <a:pt x="592" y="924"/>
                  </a:lnTo>
                  <a:lnTo>
                    <a:pt x="593" y="924"/>
                  </a:lnTo>
                  <a:lnTo>
                    <a:pt x="595" y="924"/>
                  </a:lnTo>
                  <a:lnTo>
                    <a:pt x="597" y="924"/>
                  </a:lnTo>
                  <a:lnTo>
                    <a:pt x="598" y="924"/>
                  </a:lnTo>
                  <a:lnTo>
                    <a:pt x="598" y="922"/>
                  </a:lnTo>
                  <a:lnTo>
                    <a:pt x="600" y="924"/>
                  </a:lnTo>
                  <a:lnTo>
                    <a:pt x="602" y="924"/>
                  </a:lnTo>
                  <a:lnTo>
                    <a:pt x="603" y="924"/>
                  </a:lnTo>
                  <a:lnTo>
                    <a:pt x="605" y="924"/>
                  </a:lnTo>
                  <a:lnTo>
                    <a:pt x="605" y="922"/>
                  </a:lnTo>
                  <a:lnTo>
                    <a:pt x="606" y="922"/>
                  </a:lnTo>
                  <a:lnTo>
                    <a:pt x="608" y="922"/>
                  </a:lnTo>
                  <a:lnTo>
                    <a:pt x="610" y="922"/>
                  </a:lnTo>
                  <a:lnTo>
                    <a:pt x="610" y="921"/>
                  </a:lnTo>
                  <a:lnTo>
                    <a:pt x="610" y="922"/>
                  </a:lnTo>
                  <a:lnTo>
                    <a:pt x="611" y="921"/>
                  </a:lnTo>
                  <a:lnTo>
                    <a:pt x="613" y="921"/>
                  </a:lnTo>
                  <a:lnTo>
                    <a:pt x="613" y="919"/>
                  </a:lnTo>
                  <a:lnTo>
                    <a:pt x="611" y="919"/>
                  </a:lnTo>
                  <a:lnTo>
                    <a:pt x="613" y="917"/>
                  </a:lnTo>
                  <a:lnTo>
                    <a:pt x="613" y="916"/>
                  </a:lnTo>
                  <a:lnTo>
                    <a:pt x="615" y="916"/>
                  </a:lnTo>
                  <a:lnTo>
                    <a:pt x="616" y="916"/>
                  </a:lnTo>
                  <a:lnTo>
                    <a:pt x="616" y="914"/>
                  </a:lnTo>
                  <a:lnTo>
                    <a:pt x="615" y="914"/>
                  </a:lnTo>
                  <a:lnTo>
                    <a:pt x="615" y="912"/>
                  </a:lnTo>
                  <a:lnTo>
                    <a:pt x="613" y="911"/>
                  </a:lnTo>
                  <a:lnTo>
                    <a:pt x="615" y="911"/>
                  </a:lnTo>
                  <a:lnTo>
                    <a:pt x="615" y="909"/>
                  </a:lnTo>
                  <a:lnTo>
                    <a:pt x="616" y="909"/>
                  </a:lnTo>
                  <a:lnTo>
                    <a:pt x="618" y="908"/>
                  </a:lnTo>
                  <a:lnTo>
                    <a:pt x="619" y="908"/>
                  </a:lnTo>
                  <a:lnTo>
                    <a:pt x="621" y="908"/>
                  </a:lnTo>
                  <a:lnTo>
                    <a:pt x="624" y="908"/>
                  </a:lnTo>
                  <a:lnTo>
                    <a:pt x="626" y="909"/>
                  </a:lnTo>
                  <a:lnTo>
                    <a:pt x="628" y="911"/>
                  </a:lnTo>
                  <a:lnTo>
                    <a:pt x="629" y="912"/>
                  </a:lnTo>
                  <a:lnTo>
                    <a:pt x="631" y="914"/>
                  </a:lnTo>
                  <a:lnTo>
                    <a:pt x="629" y="916"/>
                  </a:lnTo>
                  <a:lnTo>
                    <a:pt x="629" y="917"/>
                  </a:lnTo>
                  <a:lnTo>
                    <a:pt x="629" y="919"/>
                  </a:lnTo>
                  <a:lnTo>
                    <a:pt x="629" y="921"/>
                  </a:lnTo>
                  <a:lnTo>
                    <a:pt x="628" y="921"/>
                  </a:lnTo>
                  <a:lnTo>
                    <a:pt x="626" y="921"/>
                  </a:lnTo>
                  <a:lnTo>
                    <a:pt x="628" y="921"/>
                  </a:lnTo>
                  <a:lnTo>
                    <a:pt x="628" y="922"/>
                  </a:lnTo>
                  <a:lnTo>
                    <a:pt x="626" y="922"/>
                  </a:lnTo>
                  <a:lnTo>
                    <a:pt x="624" y="922"/>
                  </a:lnTo>
                  <a:lnTo>
                    <a:pt x="621" y="922"/>
                  </a:lnTo>
                  <a:lnTo>
                    <a:pt x="619" y="922"/>
                  </a:lnTo>
                  <a:lnTo>
                    <a:pt x="619" y="921"/>
                  </a:lnTo>
                  <a:lnTo>
                    <a:pt x="619" y="922"/>
                  </a:lnTo>
                  <a:lnTo>
                    <a:pt x="618" y="922"/>
                  </a:lnTo>
                  <a:lnTo>
                    <a:pt x="616" y="922"/>
                  </a:lnTo>
                  <a:lnTo>
                    <a:pt x="615" y="922"/>
                  </a:lnTo>
                  <a:lnTo>
                    <a:pt x="615" y="924"/>
                  </a:lnTo>
                  <a:lnTo>
                    <a:pt x="616" y="924"/>
                  </a:lnTo>
                  <a:lnTo>
                    <a:pt x="615" y="924"/>
                  </a:lnTo>
                  <a:lnTo>
                    <a:pt x="616" y="924"/>
                  </a:lnTo>
                  <a:lnTo>
                    <a:pt x="618" y="924"/>
                  </a:lnTo>
                  <a:lnTo>
                    <a:pt x="619" y="925"/>
                  </a:lnTo>
                  <a:lnTo>
                    <a:pt x="621" y="925"/>
                  </a:lnTo>
                  <a:lnTo>
                    <a:pt x="623" y="925"/>
                  </a:lnTo>
                  <a:lnTo>
                    <a:pt x="624" y="925"/>
                  </a:lnTo>
                  <a:lnTo>
                    <a:pt x="626" y="925"/>
                  </a:lnTo>
                  <a:lnTo>
                    <a:pt x="629" y="927"/>
                  </a:lnTo>
                  <a:lnTo>
                    <a:pt x="631" y="927"/>
                  </a:lnTo>
                  <a:lnTo>
                    <a:pt x="632" y="927"/>
                  </a:lnTo>
                  <a:lnTo>
                    <a:pt x="632" y="925"/>
                  </a:lnTo>
                  <a:lnTo>
                    <a:pt x="634" y="925"/>
                  </a:lnTo>
                  <a:lnTo>
                    <a:pt x="634" y="924"/>
                  </a:lnTo>
                  <a:lnTo>
                    <a:pt x="636" y="924"/>
                  </a:lnTo>
                  <a:lnTo>
                    <a:pt x="636" y="922"/>
                  </a:lnTo>
                  <a:lnTo>
                    <a:pt x="636" y="924"/>
                  </a:lnTo>
                  <a:lnTo>
                    <a:pt x="637" y="924"/>
                  </a:lnTo>
                  <a:lnTo>
                    <a:pt x="637" y="925"/>
                  </a:lnTo>
                  <a:lnTo>
                    <a:pt x="639" y="925"/>
                  </a:lnTo>
                  <a:lnTo>
                    <a:pt x="639" y="927"/>
                  </a:lnTo>
                  <a:lnTo>
                    <a:pt x="639" y="929"/>
                  </a:lnTo>
                  <a:lnTo>
                    <a:pt x="641" y="930"/>
                  </a:lnTo>
                  <a:lnTo>
                    <a:pt x="641" y="932"/>
                  </a:lnTo>
                  <a:lnTo>
                    <a:pt x="641" y="934"/>
                  </a:lnTo>
                  <a:lnTo>
                    <a:pt x="641" y="932"/>
                  </a:lnTo>
                  <a:lnTo>
                    <a:pt x="641" y="934"/>
                  </a:lnTo>
                  <a:lnTo>
                    <a:pt x="641" y="935"/>
                  </a:lnTo>
                  <a:lnTo>
                    <a:pt x="641" y="937"/>
                  </a:lnTo>
                  <a:lnTo>
                    <a:pt x="641" y="938"/>
                  </a:lnTo>
                  <a:lnTo>
                    <a:pt x="642" y="938"/>
                  </a:lnTo>
                  <a:lnTo>
                    <a:pt x="644" y="938"/>
                  </a:lnTo>
                  <a:lnTo>
                    <a:pt x="645" y="938"/>
                  </a:lnTo>
                  <a:lnTo>
                    <a:pt x="647" y="938"/>
                  </a:lnTo>
                  <a:lnTo>
                    <a:pt x="649" y="938"/>
                  </a:lnTo>
                  <a:lnTo>
                    <a:pt x="650" y="938"/>
                  </a:lnTo>
                  <a:lnTo>
                    <a:pt x="652" y="938"/>
                  </a:lnTo>
                  <a:lnTo>
                    <a:pt x="654" y="937"/>
                  </a:lnTo>
                  <a:lnTo>
                    <a:pt x="654" y="935"/>
                  </a:lnTo>
                  <a:lnTo>
                    <a:pt x="655" y="935"/>
                  </a:lnTo>
                  <a:lnTo>
                    <a:pt x="657" y="935"/>
                  </a:lnTo>
                  <a:lnTo>
                    <a:pt x="659" y="935"/>
                  </a:lnTo>
                  <a:lnTo>
                    <a:pt x="659" y="934"/>
                  </a:lnTo>
                  <a:lnTo>
                    <a:pt x="660" y="934"/>
                  </a:lnTo>
                  <a:lnTo>
                    <a:pt x="662" y="934"/>
                  </a:lnTo>
                  <a:lnTo>
                    <a:pt x="663" y="934"/>
                  </a:lnTo>
                  <a:lnTo>
                    <a:pt x="665" y="934"/>
                  </a:lnTo>
                  <a:lnTo>
                    <a:pt x="665" y="932"/>
                  </a:lnTo>
                  <a:lnTo>
                    <a:pt x="667" y="932"/>
                  </a:lnTo>
                  <a:lnTo>
                    <a:pt x="670" y="932"/>
                  </a:lnTo>
                  <a:lnTo>
                    <a:pt x="672" y="930"/>
                  </a:lnTo>
                  <a:lnTo>
                    <a:pt x="675" y="930"/>
                  </a:lnTo>
                  <a:lnTo>
                    <a:pt x="676" y="929"/>
                  </a:lnTo>
                  <a:lnTo>
                    <a:pt x="678" y="929"/>
                  </a:lnTo>
                  <a:lnTo>
                    <a:pt x="680" y="927"/>
                  </a:lnTo>
                  <a:lnTo>
                    <a:pt x="681" y="927"/>
                  </a:lnTo>
                  <a:lnTo>
                    <a:pt x="681" y="925"/>
                  </a:lnTo>
                  <a:lnTo>
                    <a:pt x="683" y="924"/>
                  </a:lnTo>
                  <a:lnTo>
                    <a:pt x="685" y="922"/>
                  </a:lnTo>
                  <a:lnTo>
                    <a:pt x="686" y="921"/>
                  </a:lnTo>
                  <a:lnTo>
                    <a:pt x="688" y="921"/>
                  </a:lnTo>
                  <a:lnTo>
                    <a:pt x="689" y="921"/>
                  </a:lnTo>
                  <a:lnTo>
                    <a:pt x="691" y="919"/>
                  </a:lnTo>
                  <a:lnTo>
                    <a:pt x="693" y="919"/>
                  </a:lnTo>
                  <a:lnTo>
                    <a:pt x="694" y="919"/>
                  </a:lnTo>
                  <a:lnTo>
                    <a:pt x="696" y="919"/>
                  </a:lnTo>
                  <a:lnTo>
                    <a:pt x="698" y="919"/>
                  </a:lnTo>
                  <a:lnTo>
                    <a:pt x="699" y="919"/>
                  </a:lnTo>
                  <a:lnTo>
                    <a:pt x="701" y="919"/>
                  </a:lnTo>
                  <a:lnTo>
                    <a:pt x="701" y="921"/>
                  </a:lnTo>
                  <a:lnTo>
                    <a:pt x="701" y="919"/>
                  </a:lnTo>
                  <a:lnTo>
                    <a:pt x="702" y="919"/>
                  </a:lnTo>
                  <a:lnTo>
                    <a:pt x="704" y="919"/>
                  </a:lnTo>
                  <a:lnTo>
                    <a:pt x="706" y="919"/>
                  </a:lnTo>
                  <a:lnTo>
                    <a:pt x="706" y="917"/>
                  </a:lnTo>
                  <a:lnTo>
                    <a:pt x="706" y="919"/>
                  </a:lnTo>
                  <a:lnTo>
                    <a:pt x="707" y="919"/>
                  </a:lnTo>
                  <a:lnTo>
                    <a:pt x="709" y="919"/>
                  </a:lnTo>
                  <a:lnTo>
                    <a:pt x="711" y="917"/>
                  </a:lnTo>
                  <a:lnTo>
                    <a:pt x="711" y="916"/>
                  </a:lnTo>
                  <a:lnTo>
                    <a:pt x="712" y="916"/>
                  </a:lnTo>
                  <a:lnTo>
                    <a:pt x="714" y="917"/>
                  </a:lnTo>
                  <a:lnTo>
                    <a:pt x="715" y="917"/>
                  </a:lnTo>
                  <a:lnTo>
                    <a:pt x="717" y="917"/>
                  </a:lnTo>
                  <a:lnTo>
                    <a:pt x="719" y="917"/>
                  </a:lnTo>
                  <a:lnTo>
                    <a:pt x="720" y="917"/>
                  </a:lnTo>
                  <a:lnTo>
                    <a:pt x="720" y="916"/>
                  </a:lnTo>
                  <a:lnTo>
                    <a:pt x="722" y="916"/>
                  </a:lnTo>
                  <a:lnTo>
                    <a:pt x="722" y="914"/>
                  </a:lnTo>
                  <a:lnTo>
                    <a:pt x="722" y="912"/>
                  </a:lnTo>
                  <a:lnTo>
                    <a:pt x="722" y="914"/>
                  </a:lnTo>
                  <a:lnTo>
                    <a:pt x="724" y="914"/>
                  </a:lnTo>
                  <a:lnTo>
                    <a:pt x="725" y="914"/>
                  </a:lnTo>
                  <a:lnTo>
                    <a:pt x="727" y="914"/>
                  </a:lnTo>
                  <a:lnTo>
                    <a:pt x="727" y="912"/>
                  </a:lnTo>
                  <a:lnTo>
                    <a:pt x="727" y="914"/>
                  </a:lnTo>
                  <a:lnTo>
                    <a:pt x="727" y="912"/>
                  </a:lnTo>
                  <a:lnTo>
                    <a:pt x="728" y="914"/>
                  </a:lnTo>
                  <a:lnTo>
                    <a:pt x="727" y="914"/>
                  </a:lnTo>
                  <a:lnTo>
                    <a:pt x="728" y="914"/>
                  </a:lnTo>
                  <a:lnTo>
                    <a:pt x="727" y="914"/>
                  </a:lnTo>
                  <a:lnTo>
                    <a:pt x="728" y="914"/>
                  </a:lnTo>
                  <a:lnTo>
                    <a:pt x="728" y="916"/>
                  </a:lnTo>
                  <a:lnTo>
                    <a:pt x="730" y="916"/>
                  </a:lnTo>
                  <a:lnTo>
                    <a:pt x="730" y="914"/>
                  </a:lnTo>
                  <a:lnTo>
                    <a:pt x="732" y="916"/>
                  </a:lnTo>
                  <a:lnTo>
                    <a:pt x="730" y="916"/>
                  </a:lnTo>
                  <a:lnTo>
                    <a:pt x="732" y="916"/>
                  </a:lnTo>
                  <a:lnTo>
                    <a:pt x="730" y="917"/>
                  </a:lnTo>
                  <a:lnTo>
                    <a:pt x="730" y="919"/>
                  </a:lnTo>
                  <a:lnTo>
                    <a:pt x="732" y="921"/>
                  </a:lnTo>
                  <a:lnTo>
                    <a:pt x="732" y="922"/>
                  </a:lnTo>
                  <a:lnTo>
                    <a:pt x="733" y="922"/>
                  </a:lnTo>
                  <a:lnTo>
                    <a:pt x="735" y="924"/>
                  </a:lnTo>
                  <a:lnTo>
                    <a:pt x="738" y="922"/>
                  </a:lnTo>
                  <a:lnTo>
                    <a:pt x="740" y="922"/>
                  </a:lnTo>
                  <a:lnTo>
                    <a:pt x="741" y="922"/>
                  </a:lnTo>
                  <a:lnTo>
                    <a:pt x="743" y="921"/>
                  </a:lnTo>
                  <a:lnTo>
                    <a:pt x="745" y="921"/>
                  </a:lnTo>
                  <a:lnTo>
                    <a:pt x="748" y="919"/>
                  </a:lnTo>
                  <a:lnTo>
                    <a:pt x="750" y="921"/>
                  </a:lnTo>
                  <a:lnTo>
                    <a:pt x="751" y="921"/>
                  </a:lnTo>
                  <a:lnTo>
                    <a:pt x="753" y="921"/>
                  </a:lnTo>
                  <a:lnTo>
                    <a:pt x="754" y="921"/>
                  </a:lnTo>
                  <a:lnTo>
                    <a:pt x="756" y="921"/>
                  </a:lnTo>
                  <a:lnTo>
                    <a:pt x="758" y="921"/>
                  </a:lnTo>
                  <a:lnTo>
                    <a:pt x="758" y="919"/>
                  </a:lnTo>
                  <a:lnTo>
                    <a:pt x="759" y="919"/>
                  </a:lnTo>
                  <a:lnTo>
                    <a:pt x="761" y="919"/>
                  </a:lnTo>
                  <a:lnTo>
                    <a:pt x="763" y="919"/>
                  </a:lnTo>
                  <a:lnTo>
                    <a:pt x="763" y="917"/>
                  </a:lnTo>
                  <a:lnTo>
                    <a:pt x="763" y="919"/>
                  </a:lnTo>
                  <a:lnTo>
                    <a:pt x="764" y="917"/>
                  </a:lnTo>
                  <a:lnTo>
                    <a:pt x="766" y="917"/>
                  </a:lnTo>
                  <a:lnTo>
                    <a:pt x="767" y="917"/>
                  </a:lnTo>
                  <a:lnTo>
                    <a:pt x="769" y="916"/>
                  </a:lnTo>
                  <a:lnTo>
                    <a:pt x="771" y="916"/>
                  </a:lnTo>
                  <a:lnTo>
                    <a:pt x="772" y="916"/>
                  </a:lnTo>
                  <a:lnTo>
                    <a:pt x="772" y="917"/>
                  </a:lnTo>
                  <a:lnTo>
                    <a:pt x="772" y="919"/>
                  </a:lnTo>
                  <a:lnTo>
                    <a:pt x="774" y="919"/>
                  </a:lnTo>
                  <a:lnTo>
                    <a:pt x="776" y="921"/>
                  </a:lnTo>
                  <a:lnTo>
                    <a:pt x="777" y="919"/>
                  </a:lnTo>
                  <a:lnTo>
                    <a:pt x="777" y="921"/>
                  </a:lnTo>
                  <a:lnTo>
                    <a:pt x="779" y="921"/>
                  </a:lnTo>
                  <a:lnTo>
                    <a:pt x="780" y="921"/>
                  </a:lnTo>
                  <a:lnTo>
                    <a:pt x="782" y="921"/>
                  </a:lnTo>
                  <a:lnTo>
                    <a:pt x="784" y="921"/>
                  </a:lnTo>
                  <a:lnTo>
                    <a:pt x="784" y="919"/>
                  </a:lnTo>
                  <a:lnTo>
                    <a:pt x="785" y="919"/>
                  </a:lnTo>
                  <a:lnTo>
                    <a:pt x="787" y="917"/>
                  </a:lnTo>
                  <a:lnTo>
                    <a:pt x="789" y="917"/>
                  </a:lnTo>
                  <a:lnTo>
                    <a:pt x="789" y="916"/>
                  </a:lnTo>
                  <a:lnTo>
                    <a:pt x="790" y="916"/>
                  </a:lnTo>
                  <a:lnTo>
                    <a:pt x="790" y="914"/>
                  </a:lnTo>
                  <a:lnTo>
                    <a:pt x="792" y="914"/>
                  </a:lnTo>
                  <a:lnTo>
                    <a:pt x="793" y="914"/>
                  </a:lnTo>
                  <a:lnTo>
                    <a:pt x="795" y="912"/>
                  </a:lnTo>
                  <a:lnTo>
                    <a:pt x="797" y="912"/>
                  </a:lnTo>
                  <a:lnTo>
                    <a:pt x="797" y="911"/>
                  </a:lnTo>
                  <a:lnTo>
                    <a:pt x="798" y="911"/>
                  </a:lnTo>
                  <a:lnTo>
                    <a:pt x="802" y="909"/>
                  </a:lnTo>
                  <a:lnTo>
                    <a:pt x="803" y="909"/>
                  </a:lnTo>
                  <a:lnTo>
                    <a:pt x="803" y="908"/>
                  </a:lnTo>
                  <a:lnTo>
                    <a:pt x="805" y="908"/>
                  </a:lnTo>
                  <a:lnTo>
                    <a:pt x="805" y="909"/>
                  </a:lnTo>
                  <a:lnTo>
                    <a:pt x="807" y="909"/>
                  </a:lnTo>
                  <a:lnTo>
                    <a:pt x="808" y="909"/>
                  </a:lnTo>
                  <a:lnTo>
                    <a:pt x="810" y="908"/>
                  </a:lnTo>
                  <a:lnTo>
                    <a:pt x="811" y="908"/>
                  </a:lnTo>
                  <a:lnTo>
                    <a:pt x="813" y="908"/>
                  </a:lnTo>
                  <a:lnTo>
                    <a:pt x="815" y="908"/>
                  </a:lnTo>
                  <a:lnTo>
                    <a:pt x="815" y="906"/>
                  </a:lnTo>
                  <a:lnTo>
                    <a:pt x="816" y="906"/>
                  </a:lnTo>
                  <a:lnTo>
                    <a:pt x="816" y="908"/>
                  </a:lnTo>
                  <a:lnTo>
                    <a:pt x="816" y="909"/>
                  </a:lnTo>
                  <a:lnTo>
                    <a:pt x="816" y="911"/>
                  </a:lnTo>
                  <a:lnTo>
                    <a:pt x="815" y="911"/>
                  </a:lnTo>
                  <a:lnTo>
                    <a:pt x="813" y="912"/>
                  </a:lnTo>
                  <a:lnTo>
                    <a:pt x="813" y="914"/>
                  </a:lnTo>
                  <a:lnTo>
                    <a:pt x="813" y="916"/>
                  </a:lnTo>
                  <a:lnTo>
                    <a:pt x="813" y="917"/>
                  </a:lnTo>
                  <a:lnTo>
                    <a:pt x="813" y="919"/>
                  </a:lnTo>
                  <a:lnTo>
                    <a:pt x="815" y="919"/>
                  </a:lnTo>
                  <a:lnTo>
                    <a:pt x="815" y="921"/>
                  </a:lnTo>
                  <a:lnTo>
                    <a:pt x="815" y="922"/>
                  </a:lnTo>
                  <a:lnTo>
                    <a:pt x="816" y="922"/>
                  </a:lnTo>
                  <a:lnTo>
                    <a:pt x="815" y="924"/>
                  </a:lnTo>
                  <a:lnTo>
                    <a:pt x="813" y="924"/>
                  </a:lnTo>
                  <a:lnTo>
                    <a:pt x="813" y="925"/>
                  </a:lnTo>
                  <a:lnTo>
                    <a:pt x="815" y="927"/>
                  </a:lnTo>
                  <a:lnTo>
                    <a:pt x="813" y="927"/>
                  </a:lnTo>
                  <a:lnTo>
                    <a:pt x="815" y="929"/>
                  </a:lnTo>
                  <a:lnTo>
                    <a:pt x="813" y="930"/>
                  </a:lnTo>
                  <a:lnTo>
                    <a:pt x="813" y="932"/>
                  </a:lnTo>
                  <a:lnTo>
                    <a:pt x="815" y="932"/>
                  </a:lnTo>
                  <a:lnTo>
                    <a:pt x="815" y="934"/>
                  </a:lnTo>
                  <a:lnTo>
                    <a:pt x="816" y="934"/>
                  </a:lnTo>
                  <a:lnTo>
                    <a:pt x="816" y="935"/>
                  </a:lnTo>
                  <a:lnTo>
                    <a:pt x="816" y="934"/>
                  </a:lnTo>
                  <a:lnTo>
                    <a:pt x="816" y="935"/>
                  </a:lnTo>
                  <a:lnTo>
                    <a:pt x="816" y="937"/>
                  </a:lnTo>
                  <a:lnTo>
                    <a:pt x="818" y="937"/>
                  </a:lnTo>
                  <a:lnTo>
                    <a:pt x="820" y="937"/>
                  </a:lnTo>
                  <a:lnTo>
                    <a:pt x="821" y="937"/>
                  </a:lnTo>
                  <a:lnTo>
                    <a:pt x="823" y="937"/>
                  </a:lnTo>
                  <a:lnTo>
                    <a:pt x="824" y="938"/>
                  </a:lnTo>
                  <a:lnTo>
                    <a:pt x="824" y="937"/>
                  </a:lnTo>
                  <a:lnTo>
                    <a:pt x="826" y="938"/>
                  </a:lnTo>
                  <a:lnTo>
                    <a:pt x="826" y="937"/>
                  </a:lnTo>
                  <a:lnTo>
                    <a:pt x="826" y="938"/>
                  </a:lnTo>
                  <a:lnTo>
                    <a:pt x="828" y="938"/>
                  </a:lnTo>
                  <a:lnTo>
                    <a:pt x="828" y="937"/>
                  </a:lnTo>
                  <a:lnTo>
                    <a:pt x="829" y="934"/>
                  </a:lnTo>
                  <a:lnTo>
                    <a:pt x="829" y="932"/>
                  </a:lnTo>
                  <a:lnTo>
                    <a:pt x="829" y="930"/>
                  </a:lnTo>
                  <a:lnTo>
                    <a:pt x="831" y="930"/>
                  </a:lnTo>
                  <a:lnTo>
                    <a:pt x="833" y="930"/>
                  </a:lnTo>
                  <a:lnTo>
                    <a:pt x="834" y="929"/>
                  </a:lnTo>
                  <a:lnTo>
                    <a:pt x="834" y="927"/>
                  </a:lnTo>
                  <a:lnTo>
                    <a:pt x="836" y="927"/>
                  </a:lnTo>
                  <a:lnTo>
                    <a:pt x="834" y="927"/>
                  </a:lnTo>
                  <a:lnTo>
                    <a:pt x="834" y="925"/>
                  </a:lnTo>
                  <a:lnTo>
                    <a:pt x="836" y="925"/>
                  </a:lnTo>
                  <a:lnTo>
                    <a:pt x="837" y="925"/>
                  </a:lnTo>
                  <a:lnTo>
                    <a:pt x="839" y="925"/>
                  </a:lnTo>
                  <a:lnTo>
                    <a:pt x="841" y="925"/>
                  </a:lnTo>
                  <a:lnTo>
                    <a:pt x="841" y="924"/>
                  </a:lnTo>
                  <a:lnTo>
                    <a:pt x="842" y="924"/>
                  </a:lnTo>
                  <a:lnTo>
                    <a:pt x="842" y="922"/>
                  </a:lnTo>
                  <a:lnTo>
                    <a:pt x="842" y="921"/>
                  </a:lnTo>
                  <a:lnTo>
                    <a:pt x="844" y="922"/>
                  </a:lnTo>
                  <a:lnTo>
                    <a:pt x="846" y="921"/>
                  </a:lnTo>
                  <a:lnTo>
                    <a:pt x="847" y="921"/>
                  </a:lnTo>
                  <a:lnTo>
                    <a:pt x="847" y="919"/>
                  </a:lnTo>
                  <a:lnTo>
                    <a:pt x="847" y="917"/>
                  </a:lnTo>
                  <a:lnTo>
                    <a:pt x="849" y="917"/>
                  </a:lnTo>
                  <a:lnTo>
                    <a:pt x="849" y="916"/>
                  </a:lnTo>
                  <a:lnTo>
                    <a:pt x="850" y="916"/>
                  </a:lnTo>
                  <a:lnTo>
                    <a:pt x="852" y="916"/>
                  </a:lnTo>
                  <a:lnTo>
                    <a:pt x="852" y="914"/>
                  </a:lnTo>
                  <a:lnTo>
                    <a:pt x="854" y="914"/>
                  </a:lnTo>
                  <a:lnTo>
                    <a:pt x="852" y="914"/>
                  </a:lnTo>
                  <a:lnTo>
                    <a:pt x="852" y="916"/>
                  </a:lnTo>
                  <a:lnTo>
                    <a:pt x="854" y="916"/>
                  </a:lnTo>
                  <a:lnTo>
                    <a:pt x="855" y="916"/>
                  </a:lnTo>
                  <a:lnTo>
                    <a:pt x="857" y="916"/>
                  </a:lnTo>
                  <a:lnTo>
                    <a:pt x="859" y="914"/>
                  </a:lnTo>
                  <a:lnTo>
                    <a:pt x="860" y="914"/>
                  </a:lnTo>
                  <a:lnTo>
                    <a:pt x="859" y="916"/>
                  </a:lnTo>
                  <a:lnTo>
                    <a:pt x="859" y="917"/>
                  </a:lnTo>
                  <a:lnTo>
                    <a:pt x="860" y="917"/>
                  </a:lnTo>
                  <a:lnTo>
                    <a:pt x="862" y="917"/>
                  </a:lnTo>
                  <a:lnTo>
                    <a:pt x="863" y="917"/>
                  </a:lnTo>
                  <a:lnTo>
                    <a:pt x="865" y="917"/>
                  </a:lnTo>
                  <a:lnTo>
                    <a:pt x="865" y="916"/>
                  </a:lnTo>
                  <a:lnTo>
                    <a:pt x="867" y="916"/>
                  </a:lnTo>
                  <a:lnTo>
                    <a:pt x="867" y="914"/>
                  </a:lnTo>
                  <a:lnTo>
                    <a:pt x="868" y="914"/>
                  </a:lnTo>
                  <a:lnTo>
                    <a:pt x="867" y="912"/>
                  </a:lnTo>
                  <a:lnTo>
                    <a:pt x="868" y="912"/>
                  </a:lnTo>
                  <a:lnTo>
                    <a:pt x="868" y="911"/>
                  </a:lnTo>
                  <a:lnTo>
                    <a:pt x="870" y="911"/>
                  </a:lnTo>
                  <a:lnTo>
                    <a:pt x="868" y="909"/>
                  </a:lnTo>
                  <a:lnTo>
                    <a:pt x="870" y="909"/>
                  </a:lnTo>
                  <a:lnTo>
                    <a:pt x="872" y="908"/>
                  </a:lnTo>
                  <a:lnTo>
                    <a:pt x="870" y="908"/>
                  </a:lnTo>
                  <a:lnTo>
                    <a:pt x="870" y="906"/>
                  </a:lnTo>
                  <a:lnTo>
                    <a:pt x="872" y="906"/>
                  </a:lnTo>
                  <a:lnTo>
                    <a:pt x="872" y="904"/>
                  </a:lnTo>
                  <a:lnTo>
                    <a:pt x="873" y="903"/>
                  </a:lnTo>
                  <a:lnTo>
                    <a:pt x="873" y="904"/>
                  </a:lnTo>
                  <a:lnTo>
                    <a:pt x="875" y="904"/>
                  </a:lnTo>
                  <a:lnTo>
                    <a:pt x="875" y="903"/>
                  </a:lnTo>
                  <a:lnTo>
                    <a:pt x="876" y="903"/>
                  </a:lnTo>
                  <a:lnTo>
                    <a:pt x="876" y="901"/>
                  </a:lnTo>
                  <a:lnTo>
                    <a:pt x="878" y="901"/>
                  </a:lnTo>
                  <a:lnTo>
                    <a:pt x="876" y="901"/>
                  </a:lnTo>
                  <a:lnTo>
                    <a:pt x="876" y="899"/>
                  </a:lnTo>
                  <a:lnTo>
                    <a:pt x="878" y="899"/>
                  </a:lnTo>
                  <a:lnTo>
                    <a:pt x="876" y="899"/>
                  </a:lnTo>
                  <a:lnTo>
                    <a:pt x="876" y="898"/>
                  </a:lnTo>
                  <a:lnTo>
                    <a:pt x="878" y="898"/>
                  </a:lnTo>
                  <a:lnTo>
                    <a:pt x="880" y="896"/>
                  </a:lnTo>
                  <a:lnTo>
                    <a:pt x="880" y="898"/>
                  </a:lnTo>
                  <a:lnTo>
                    <a:pt x="880" y="899"/>
                  </a:lnTo>
                  <a:lnTo>
                    <a:pt x="878" y="899"/>
                  </a:lnTo>
                  <a:lnTo>
                    <a:pt x="880" y="899"/>
                  </a:lnTo>
                  <a:lnTo>
                    <a:pt x="878" y="901"/>
                  </a:lnTo>
                  <a:lnTo>
                    <a:pt x="878" y="903"/>
                  </a:lnTo>
                  <a:lnTo>
                    <a:pt x="876" y="904"/>
                  </a:lnTo>
                  <a:lnTo>
                    <a:pt x="875" y="904"/>
                  </a:lnTo>
                  <a:lnTo>
                    <a:pt x="875" y="906"/>
                  </a:lnTo>
                  <a:lnTo>
                    <a:pt x="876" y="906"/>
                  </a:lnTo>
                  <a:lnTo>
                    <a:pt x="876" y="908"/>
                  </a:lnTo>
                  <a:lnTo>
                    <a:pt x="876" y="909"/>
                  </a:lnTo>
                  <a:lnTo>
                    <a:pt x="878" y="909"/>
                  </a:lnTo>
                  <a:lnTo>
                    <a:pt x="878" y="911"/>
                  </a:lnTo>
                  <a:lnTo>
                    <a:pt x="878" y="912"/>
                  </a:lnTo>
                  <a:lnTo>
                    <a:pt x="876" y="912"/>
                  </a:lnTo>
                  <a:lnTo>
                    <a:pt x="878" y="914"/>
                  </a:lnTo>
                  <a:lnTo>
                    <a:pt x="880" y="914"/>
                  </a:lnTo>
                  <a:lnTo>
                    <a:pt x="881" y="914"/>
                  </a:lnTo>
                  <a:lnTo>
                    <a:pt x="881" y="916"/>
                  </a:lnTo>
                  <a:lnTo>
                    <a:pt x="881" y="914"/>
                  </a:lnTo>
                  <a:lnTo>
                    <a:pt x="883" y="912"/>
                  </a:lnTo>
                  <a:lnTo>
                    <a:pt x="883" y="914"/>
                  </a:lnTo>
                  <a:lnTo>
                    <a:pt x="883" y="916"/>
                  </a:lnTo>
                  <a:lnTo>
                    <a:pt x="885" y="916"/>
                  </a:lnTo>
                  <a:lnTo>
                    <a:pt x="883" y="916"/>
                  </a:lnTo>
                  <a:lnTo>
                    <a:pt x="883" y="917"/>
                  </a:lnTo>
                  <a:lnTo>
                    <a:pt x="881" y="917"/>
                  </a:lnTo>
                  <a:lnTo>
                    <a:pt x="880" y="917"/>
                  </a:lnTo>
                  <a:lnTo>
                    <a:pt x="880" y="919"/>
                  </a:lnTo>
                  <a:lnTo>
                    <a:pt x="880" y="921"/>
                  </a:lnTo>
                  <a:lnTo>
                    <a:pt x="881" y="922"/>
                  </a:lnTo>
                  <a:lnTo>
                    <a:pt x="881" y="924"/>
                  </a:lnTo>
                  <a:lnTo>
                    <a:pt x="881" y="925"/>
                  </a:lnTo>
                  <a:lnTo>
                    <a:pt x="881" y="927"/>
                  </a:lnTo>
                  <a:lnTo>
                    <a:pt x="880" y="927"/>
                  </a:lnTo>
                  <a:lnTo>
                    <a:pt x="880" y="929"/>
                  </a:lnTo>
                  <a:lnTo>
                    <a:pt x="881" y="929"/>
                  </a:lnTo>
                  <a:lnTo>
                    <a:pt x="881" y="930"/>
                  </a:lnTo>
                  <a:lnTo>
                    <a:pt x="880" y="930"/>
                  </a:lnTo>
                  <a:lnTo>
                    <a:pt x="880" y="932"/>
                  </a:lnTo>
                  <a:lnTo>
                    <a:pt x="880" y="934"/>
                  </a:lnTo>
                  <a:lnTo>
                    <a:pt x="878" y="934"/>
                  </a:lnTo>
                  <a:lnTo>
                    <a:pt x="878" y="935"/>
                  </a:lnTo>
                  <a:lnTo>
                    <a:pt x="878" y="937"/>
                  </a:lnTo>
                  <a:lnTo>
                    <a:pt x="878" y="938"/>
                  </a:lnTo>
                  <a:lnTo>
                    <a:pt x="876" y="938"/>
                  </a:lnTo>
                  <a:lnTo>
                    <a:pt x="875" y="938"/>
                  </a:lnTo>
                  <a:lnTo>
                    <a:pt x="875" y="940"/>
                  </a:lnTo>
                  <a:lnTo>
                    <a:pt x="873" y="940"/>
                  </a:lnTo>
                  <a:lnTo>
                    <a:pt x="873" y="942"/>
                  </a:lnTo>
                  <a:lnTo>
                    <a:pt x="872" y="942"/>
                  </a:lnTo>
                  <a:lnTo>
                    <a:pt x="870" y="943"/>
                  </a:lnTo>
                  <a:lnTo>
                    <a:pt x="870" y="942"/>
                  </a:lnTo>
                  <a:lnTo>
                    <a:pt x="870" y="943"/>
                  </a:lnTo>
                  <a:lnTo>
                    <a:pt x="868" y="943"/>
                  </a:lnTo>
                  <a:lnTo>
                    <a:pt x="868" y="945"/>
                  </a:lnTo>
                  <a:lnTo>
                    <a:pt x="867" y="945"/>
                  </a:lnTo>
                  <a:lnTo>
                    <a:pt x="862" y="947"/>
                  </a:lnTo>
                  <a:lnTo>
                    <a:pt x="863" y="945"/>
                  </a:lnTo>
                  <a:lnTo>
                    <a:pt x="862" y="945"/>
                  </a:lnTo>
                  <a:lnTo>
                    <a:pt x="862" y="943"/>
                  </a:lnTo>
                  <a:lnTo>
                    <a:pt x="860" y="943"/>
                  </a:lnTo>
                  <a:lnTo>
                    <a:pt x="859" y="943"/>
                  </a:lnTo>
                  <a:lnTo>
                    <a:pt x="857" y="945"/>
                  </a:lnTo>
                  <a:lnTo>
                    <a:pt x="855" y="945"/>
                  </a:lnTo>
                  <a:lnTo>
                    <a:pt x="854" y="947"/>
                  </a:lnTo>
                  <a:lnTo>
                    <a:pt x="854" y="945"/>
                  </a:lnTo>
                  <a:lnTo>
                    <a:pt x="852" y="945"/>
                  </a:lnTo>
                  <a:lnTo>
                    <a:pt x="850" y="945"/>
                  </a:lnTo>
                  <a:lnTo>
                    <a:pt x="850" y="943"/>
                  </a:lnTo>
                  <a:lnTo>
                    <a:pt x="849" y="943"/>
                  </a:lnTo>
                  <a:lnTo>
                    <a:pt x="847" y="943"/>
                  </a:lnTo>
                  <a:lnTo>
                    <a:pt x="847" y="945"/>
                  </a:lnTo>
                  <a:lnTo>
                    <a:pt x="846" y="945"/>
                  </a:lnTo>
                  <a:lnTo>
                    <a:pt x="842" y="945"/>
                  </a:lnTo>
                  <a:lnTo>
                    <a:pt x="842" y="947"/>
                  </a:lnTo>
                  <a:lnTo>
                    <a:pt x="841" y="947"/>
                  </a:lnTo>
                  <a:lnTo>
                    <a:pt x="839" y="947"/>
                  </a:lnTo>
                  <a:lnTo>
                    <a:pt x="839" y="948"/>
                  </a:lnTo>
                  <a:lnTo>
                    <a:pt x="837" y="948"/>
                  </a:lnTo>
                  <a:lnTo>
                    <a:pt x="836" y="950"/>
                  </a:lnTo>
                  <a:lnTo>
                    <a:pt x="834" y="950"/>
                  </a:lnTo>
                  <a:lnTo>
                    <a:pt x="833" y="950"/>
                  </a:lnTo>
                  <a:lnTo>
                    <a:pt x="833" y="951"/>
                  </a:lnTo>
                  <a:lnTo>
                    <a:pt x="831" y="953"/>
                  </a:lnTo>
                  <a:lnTo>
                    <a:pt x="829" y="953"/>
                  </a:lnTo>
                  <a:lnTo>
                    <a:pt x="828" y="953"/>
                  </a:lnTo>
                  <a:lnTo>
                    <a:pt x="826" y="953"/>
                  </a:lnTo>
                  <a:lnTo>
                    <a:pt x="824" y="955"/>
                  </a:lnTo>
                  <a:lnTo>
                    <a:pt x="823" y="953"/>
                  </a:lnTo>
                  <a:lnTo>
                    <a:pt x="821" y="953"/>
                  </a:lnTo>
                  <a:lnTo>
                    <a:pt x="821" y="955"/>
                  </a:lnTo>
                  <a:lnTo>
                    <a:pt x="820" y="955"/>
                  </a:lnTo>
                  <a:lnTo>
                    <a:pt x="818" y="955"/>
                  </a:lnTo>
                  <a:lnTo>
                    <a:pt x="816" y="955"/>
                  </a:lnTo>
                  <a:lnTo>
                    <a:pt x="815" y="955"/>
                  </a:lnTo>
                  <a:lnTo>
                    <a:pt x="813" y="955"/>
                  </a:lnTo>
                  <a:lnTo>
                    <a:pt x="813" y="956"/>
                  </a:lnTo>
                  <a:lnTo>
                    <a:pt x="811" y="956"/>
                  </a:lnTo>
                  <a:lnTo>
                    <a:pt x="810" y="956"/>
                  </a:lnTo>
                  <a:lnTo>
                    <a:pt x="808" y="956"/>
                  </a:lnTo>
                  <a:lnTo>
                    <a:pt x="805" y="958"/>
                  </a:lnTo>
                  <a:lnTo>
                    <a:pt x="803" y="958"/>
                  </a:lnTo>
                  <a:lnTo>
                    <a:pt x="803" y="960"/>
                  </a:lnTo>
                  <a:lnTo>
                    <a:pt x="802" y="960"/>
                  </a:lnTo>
                  <a:lnTo>
                    <a:pt x="800" y="960"/>
                  </a:lnTo>
                  <a:lnTo>
                    <a:pt x="800" y="961"/>
                  </a:lnTo>
                  <a:lnTo>
                    <a:pt x="798" y="961"/>
                  </a:lnTo>
                  <a:lnTo>
                    <a:pt x="797" y="961"/>
                  </a:lnTo>
                  <a:lnTo>
                    <a:pt x="795" y="961"/>
                  </a:lnTo>
                  <a:lnTo>
                    <a:pt x="795" y="963"/>
                  </a:lnTo>
                  <a:lnTo>
                    <a:pt x="793" y="963"/>
                  </a:lnTo>
                  <a:lnTo>
                    <a:pt x="792" y="963"/>
                  </a:lnTo>
                  <a:lnTo>
                    <a:pt x="790" y="963"/>
                  </a:lnTo>
                  <a:lnTo>
                    <a:pt x="789" y="963"/>
                  </a:lnTo>
                  <a:lnTo>
                    <a:pt x="787" y="963"/>
                  </a:lnTo>
                  <a:lnTo>
                    <a:pt x="785" y="964"/>
                  </a:lnTo>
                  <a:lnTo>
                    <a:pt x="784" y="964"/>
                  </a:lnTo>
                  <a:lnTo>
                    <a:pt x="780" y="963"/>
                  </a:lnTo>
                  <a:lnTo>
                    <a:pt x="779" y="964"/>
                  </a:lnTo>
                  <a:lnTo>
                    <a:pt x="777" y="964"/>
                  </a:lnTo>
                  <a:lnTo>
                    <a:pt x="777" y="966"/>
                  </a:lnTo>
                  <a:lnTo>
                    <a:pt x="776" y="966"/>
                  </a:lnTo>
                  <a:lnTo>
                    <a:pt x="774" y="968"/>
                  </a:lnTo>
                  <a:lnTo>
                    <a:pt x="772" y="968"/>
                  </a:lnTo>
                  <a:lnTo>
                    <a:pt x="771" y="968"/>
                  </a:lnTo>
                  <a:lnTo>
                    <a:pt x="769" y="968"/>
                  </a:lnTo>
                  <a:lnTo>
                    <a:pt x="767" y="968"/>
                  </a:lnTo>
                  <a:lnTo>
                    <a:pt x="767" y="969"/>
                  </a:lnTo>
                  <a:lnTo>
                    <a:pt x="767" y="971"/>
                  </a:lnTo>
                  <a:lnTo>
                    <a:pt x="766" y="971"/>
                  </a:lnTo>
                  <a:lnTo>
                    <a:pt x="766" y="973"/>
                  </a:lnTo>
                  <a:lnTo>
                    <a:pt x="764" y="973"/>
                  </a:lnTo>
                  <a:lnTo>
                    <a:pt x="763" y="974"/>
                  </a:lnTo>
                  <a:lnTo>
                    <a:pt x="761" y="974"/>
                  </a:lnTo>
                  <a:lnTo>
                    <a:pt x="759" y="974"/>
                  </a:lnTo>
                  <a:lnTo>
                    <a:pt x="759" y="976"/>
                  </a:lnTo>
                  <a:lnTo>
                    <a:pt x="758" y="976"/>
                  </a:lnTo>
                  <a:lnTo>
                    <a:pt x="758" y="974"/>
                  </a:lnTo>
                  <a:lnTo>
                    <a:pt x="756" y="974"/>
                  </a:lnTo>
                  <a:lnTo>
                    <a:pt x="754" y="976"/>
                  </a:lnTo>
                  <a:lnTo>
                    <a:pt x="753" y="976"/>
                  </a:lnTo>
                  <a:lnTo>
                    <a:pt x="751" y="976"/>
                  </a:lnTo>
                  <a:lnTo>
                    <a:pt x="751" y="978"/>
                  </a:lnTo>
                  <a:lnTo>
                    <a:pt x="750" y="978"/>
                  </a:lnTo>
                  <a:lnTo>
                    <a:pt x="748" y="979"/>
                  </a:lnTo>
                  <a:lnTo>
                    <a:pt x="746" y="979"/>
                  </a:lnTo>
                  <a:lnTo>
                    <a:pt x="745" y="979"/>
                  </a:lnTo>
                  <a:lnTo>
                    <a:pt x="743" y="979"/>
                  </a:lnTo>
                  <a:lnTo>
                    <a:pt x="741" y="979"/>
                  </a:lnTo>
                  <a:lnTo>
                    <a:pt x="740" y="981"/>
                  </a:lnTo>
                  <a:lnTo>
                    <a:pt x="738" y="981"/>
                  </a:lnTo>
                  <a:lnTo>
                    <a:pt x="740" y="982"/>
                  </a:lnTo>
                  <a:lnTo>
                    <a:pt x="738" y="982"/>
                  </a:lnTo>
                  <a:lnTo>
                    <a:pt x="737" y="982"/>
                  </a:lnTo>
                  <a:lnTo>
                    <a:pt x="735" y="982"/>
                  </a:lnTo>
                  <a:lnTo>
                    <a:pt x="733" y="982"/>
                  </a:lnTo>
                  <a:lnTo>
                    <a:pt x="733" y="984"/>
                  </a:lnTo>
                  <a:lnTo>
                    <a:pt x="732" y="984"/>
                  </a:lnTo>
                  <a:lnTo>
                    <a:pt x="732" y="982"/>
                  </a:lnTo>
                  <a:lnTo>
                    <a:pt x="730" y="984"/>
                  </a:lnTo>
                  <a:lnTo>
                    <a:pt x="728" y="984"/>
                  </a:lnTo>
                  <a:lnTo>
                    <a:pt x="727" y="984"/>
                  </a:lnTo>
                  <a:lnTo>
                    <a:pt x="725" y="984"/>
                  </a:lnTo>
                  <a:lnTo>
                    <a:pt x="725" y="986"/>
                  </a:lnTo>
                  <a:lnTo>
                    <a:pt x="724" y="984"/>
                  </a:lnTo>
                  <a:lnTo>
                    <a:pt x="722" y="984"/>
                  </a:lnTo>
                  <a:lnTo>
                    <a:pt x="720" y="984"/>
                  </a:lnTo>
                  <a:lnTo>
                    <a:pt x="719" y="984"/>
                  </a:lnTo>
                  <a:lnTo>
                    <a:pt x="717" y="984"/>
                  </a:lnTo>
                  <a:lnTo>
                    <a:pt x="717" y="986"/>
                  </a:lnTo>
                  <a:lnTo>
                    <a:pt x="715" y="986"/>
                  </a:lnTo>
                  <a:lnTo>
                    <a:pt x="714" y="987"/>
                  </a:lnTo>
                  <a:lnTo>
                    <a:pt x="712" y="987"/>
                  </a:lnTo>
                  <a:lnTo>
                    <a:pt x="711" y="987"/>
                  </a:lnTo>
                  <a:lnTo>
                    <a:pt x="711" y="989"/>
                  </a:lnTo>
                  <a:lnTo>
                    <a:pt x="711" y="987"/>
                  </a:lnTo>
                  <a:lnTo>
                    <a:pt x="711" y="989"/>
                  </a:lnTo>
                  <a:lnTo>
                    <a:pt x="709" y="987"/>
                  </a:lnTo>
                  <a:lnTo>
                    <a:pt x="709" y="989"/>
                  </a:lnTo>
                  <a:lnTo>
                    <a:pt x="707" y="989"/>
                  </a:lnTo>
                  <a:lnTo>
                    <a:pt x="706" y="989"/>
                  </a:lnTo>
                  <a:lnTo>
                    <a:pt x="706" y="987"/>
                  </a:lnTo>
                  <a:lnTo>
                    <a:pt x="707" y="987"/>
                  </a:lnTo>
                  <a:lnTo>
                    <a:pt x="707" y="986"/>
                  </a:lnTo>
                  <a:lnTo>
                    <a:pt x="707" y="984"/>
                  </a:lnTo>
                  <a:lnTo>
                    <a:pt x="707" y="986"/>
                  </a:lnTo>
                  <a:lnTo>
                    <a:pt x="707" y="984"/>
                  </a:lnTo>
                  <a:lnTo>
                    <a:pt x="706" y="982"/>
                  </a:lnTo>
                  <a:lnTo>
                    <a:pt x="707" y="982"/>
                  </a:lnTo>
                  <a:lnTo>
                    <a:pt x="706" y="981"/>
                  </a:lnTo>
                  <a:lnTo>
                    <a:pt x="707" y="981"/>
                  </a:lnTo>
                  <a:lnTo>
                    <a:pt x="706" y="979"/>
                  </a:lnTo>
                  <a:lnTo>
                    <a:pt x="706" y="978"/>
                  </a:lnTo>
                  <a:lnTo>
                    <a:pt x="707" y="976"/>
                  </a:lnTo>
                  <a:lnTo>
                    <a:pt x="707" y="974"/>
                  </a:lnTo>
                  <a:lnTo>
                    <a:pt x="706" y="971"/>
                  </a:lnTo>
                  <a:lnTo>
                    <a:pt x="706" y="969"/>
                  </a:lnTo>
                  <a:lnTo>
                    <a:pt x="704" y="968"/>
                  </a:lnTo>
                  <a:lnTo>
                    <a:pt x="702" y="966"/>
                  </a:lnTo>
                  <a:lnTo>
                    <a:pt x="701" y="966"/>
                  </a:lnTo>
                  <a:lnTo>
                    <a:pt x="699" y="966"/>
                  </a:lnTo>
                  <a:lnTo>
                    <a:pt x="698" y="966"/>
                  </a:lnTo>
                  <a:lnTo>
                    <a:pt x="696" y="966"/>
                  </a:lnTo>
                  <a:lnTo>
                    <a:pt x="694" y="966"/>
                  </a:lnTo>
                  <a:lnTo>
                    <a:pt x="693" y="966"/>
                  </a:lnTo>
                  <a:lnTo>
                    <a:pt x="691" y="968"/>
                  </a:lnTo>
                  <a:lnTo>
                    <a:pt x="689" y="968"/>
                  </a:lnTo>
                  <a:lnTo>
                    <a:pt x="688" y="968"/>
                  </a:lnTo>
                  <a:lnTo>
                    <a:pt x="686" y="968"/>
                  </a:lnTo>
                  <a:lnTo>
                    <a:pt x="685" y="968"/>
                  </a:lnTo>
                  <a:lnTo>
                    <a:pt x="683" y="968"/>
                  </a:lnTo>
                  <a:lnTo>
                    <a:pt x="681" y="968"/>
                  </a:lnTo>
                  <a:lnTo>
                    <a:pt x="681" y="966"/>
                  </a:lnTo>
                  <a:lnTo>
                    <a:pt x="680" y="966"/>
                  </a:lnTo>
                  <a:lnTo>
                    <a:pt x="680" y="964"/>
                  </a:lnTo>
                  <a:lnTo>
                    <a:pt x="678" y="964"/>
                  </a:lnTo>
                  <a:lnTo>
                    <a:pt x="676" y="963"/>
                  </a:lnTo>
                  <a:lnTo>
                    <a:pt x="675" y="963"/>
                  </a:lnTo>
                  <a:lnTo>
                    <a:pt x="673" y="963"/>
                  </a:lnTo>
                  <a:lnTo>
                    <a:pt x="672" y="963"/>
                  </a:lnTo>
                  <a:lnTo>
                    <a:pt x="670" y="963"/>
                  </a:lnTo>
                  <a:lnTo>
                    <a:pt x="668" y="964"/>
                  </a:lnTo>
                  <a:lnTo>
                    <a:pt x="667" y="963"/>
                  </a:lnTo>
                  <a:lnTo>
                    <a:pt x="665" y="963"/>
                  </a:lnTo>
                  <a:lnTo>
                    <a:pt x="663" y="963"/>
                  </a:lnTo>
                  <a:lnTo>
                    <a:pt x="663" y="961"/>
                  </a:lnTo>
                  <a:lnTo>
                    <a:pt x="662" y="961"/>
                  </a:lnTo>
                  <a:lnTo>
                    <a:pt x="660" y="961"/>
                  </a:lnTo>
                  <a:lnTo>
                    <a:pt x="662" y="961"/>
                  </a:lnTo>
                  <a:lnTo>
                    <a:pt x="662" y="960"/>
                  </a:lnTo>
                  <a:lnTo>
                    <a:pt x="660" y="960"/>
                  </a:lnTo>
                  <a:lnTo>
                    <a:pt x="659" y="960"/>
                  </a:lnTo>
                  <a:lnTo>
                    <a:pt x="657" y="960"/>
                  </a:lnTo>
                  <a:lnTo>
                    <a:pt x="657" y="961"/>
                  </a:lnTo>
                  <a:lnTo>
                    <a:pt x="655" y="961"/>
                  </a:lnTo>
                  <a:lnTo>
                    <a:pt x="654" y="961"/>
                  </a:lnTo>
                  <a:lnTo>
                    <a:pt x="652" y="961"/>
                  </a:lnTo>
                  <a:lnTo>
                    <a:pt x="650" y="961"/>
                  </a:lnTo>
                  <a:lnTo>
                    <a:pt x="650" y="963"/>
                  </a:lnTo>
                  <a:lnTo>
                    <a:pt x="649" y="963"/>
                  </a:lnTo>
                  <a:lnTo>
                    <a:pt x="649" y="964"/>
                  </a:lnTo>
                  <a:lnTo>
                    <a:pt x="645" y="963"/>
                  </a:lnTo>
                  <a:lnTo>
                    <a:pt x="645" y="964"/>
                  </a:lnTo>
                  <a:lnTo>
                    <a:pt x="644" y="963"/>
                  </a:lnTo>
                  <a:lnTo>
                    <a:pt x="642" y="963"/>
                  </a:lnTo>
                  <a:lnTo>
                    <a:pt x="642" y="964"/>
                  </a:lnTo>
                  <a:lnTo>
                    <a:pt x="641" y="963"/>
                  </a:lnTo>
                  <a:lnTo>
                    <a:pt x="639" y="963"/>
                  </a:lnTo>
                  <a:lnTo>
                    <a:pt x="637" y="963"/>
                  </a:lnTo>
                  <a:lnTo>
                    <a:pt x="636" y="963"/>
                  </a:lnTo>
                  <a:lnTo>
                    <a:pt x="634" y="963"/>
                  </a:lnTo>
                  <a:lnTo>
                    <a:pt x="632" y="964"/>
                  </a:lnTo>
                  <a:lnTo>
                    <a:pt x="631" y="964"/>
                  </a:lnTo>
                  <a:lnTo>
                    <a:pt x="629" y="963"/>
                  </a:lnTo>
                  <a:lnTo>
                    <a:pt x="629" y="964"/>
                  </a:lnTo>
                  <a:lnTo>
                    <a:pt x="628" y="964"/>
                  </a:lnTo>
                  <a:lnTo>
                    <a:pt x="626" y="964"/>
                  </a:lnTo>
                  <a:lnTo>
                    <a:pt x="624" y="964"/>
                  </a:lnTo>
                  <a:lnTo>
                    <a:pt x="624" y="966"/>
                  </a:lnTo>
                  <a:lnTo>
                    <a:pt x="623" y="966"/>
                  </a:lnTo>
                  <a:lnTo>
                    <a:pt x="623" y="964"/>
                  </a:lnTo>
                  <a:lnTo>
                    <a:pt x="621" y="964"/>
                  </a:lnTo>
                  <a:lnTo>
                    <a:pt x="621" y="966"/>
                  </a:lnTo>
                  <a:lnTo>
                    <a:pt x="619" y="966"/>
                  </a:lnTo>
                  <a:lnTo>
                    <a:pt x="618" y="966"/>
                  </a:lnTo>
                  <a:lnTo>
                    <a:pt x="616" y="966"/>
                  </a:lnTo>
                  <a:lnTo>
                    <a:pt x="615" y="964"/>
                  </a:lnTo>
                  <a:lnTo>
                    <a:pt x="613" y="963"/>
                  </a:lnTo>
                  <a:lnTo>
                    <a:pt x="611" y="963"/>
                  </a:lnTo>
                  <a:lnTo>
                    <a:pt x="610" y="963"/>
                  </a:lnTo>
                  <a:lnTo>
                    <a:pt x="608" y="963"/>
                  </a:lnTo>
                  <a:lnTo>
                    <a:pt x="608" y="964"/>
                  </a:lnTo>
                  <a:lnTo>
                    <a:pt x="606" y="964"/>
                  </a:lnTo>
                  <a:lnTo>
                    <a:pt x="605" y="964"/>
                  </a:lnTo>
                  <a:lnTo>
                    <a:pt x="603" y="964"/>
                  </a:lnTo>
                  <a:lnTo>
                    <a:pt x="602" y="964"/>
                  </a:lnTo>
                  <a:lnTo>
                    <a:pt x="600" y="964"/>
                  </a:lnTo>
                  <a:lnTo>
                    <a:pt x="600" y="963"/>
                  </a:lnTo>
                  <a:lnTo>
                    <a:pt x="600" y="964"/>
                  </a:lnTo>
                  <a:lnTo>
                    <a:pt x="598" y="964"/>
                  </a:lnTo>
                  <a:lnTo>
                    <a:pt x="597" y="964"/>
                  </a:lnTo>
                  <a:lnTo>
                    <a:pt x="595" y="964"/>
                  </a:lnTo>
                  <a:lnTo>
                    <a:pt x="595" y="963"/>
                  </a:lnTo>
                  <a:lnTo>
                    <a:pt x="595" y="964"/>
                  </a:lnTo>
                  <a:lnTo>
                    <a:pt x="593" y="963"/>
                  </a:lnTo>
                  <a:lnTo>
                    <a:pt x="592" y="964"/>
                  </a:lnTo>
                  <a:lnTo>
                    <a:pt x="592" y="963"/>
                  </a:lnTo>
                  <a:lnTo>
                    <a:pt x="590" y="964"/>
                  </a:lnTo>
                  <a:lnTo>
                    <a:pt x="590" y="966"/>
                  </a:lnTo>
                  <a:lnTo>
                    <a:pt x="589" y="964"/>
                  </a:lnTo>
                  <a:lnTo>
                    <a:pt x="589" y="966"/>
                  </a:lnTo>
                  <a:lnTo>
                    <a:pt x="587" y="966"/>
                  </a:lnTo>
                  <a:lnTo>
                    <a:pt x="587" y="968"/>
                  </a:lnTo>
                  <a:lnTo>
                    <a:pt x="585" y="968"/>
                  </a:lnTo>
                  <a:lnTo>
                    <a:pt x="585" y="966"/>
                  </a:lnTo>
                  <a:lnTo>
                    <a:pt x="584" y="966"/>
                  </a:lnTo>
                  <a:lnTo>
                    <a:pt x="582" y="966"/>
                  </a:lnTo>
                  <a:lnTo>
                    <a:pt x="580" y="968"/>
                  </a:lnTo>
                  <a:lnTo>
                    <a:pt x="579" y="968"/>
                  </a:lnTo>
                  <a:lnTo>
                    <a:pt x="577" y="969"/>
                  </a:lnTo>
                  <a:lnTo>
                    <a:pt x="576" y="971"/>
                  </a:lnTo>
                  <a:lnTo>
                    <a:pt x="576" y="969"/>
                  </a:lnTo>
                  <a:lnTo>
                    <a:pt x="576" y="968"/>
                  </a:lnTo>
                  <a:lnTo>
                    <a:pt x="576" y="969"/>
                  </a:lnTo>
                  <a:lnTo>
                    <a:pt x="574" y="968"/>
                  </a:lnTo>
                  <a:lnTo>
                    <a:pt x="572" y="969"/>
                  </a:lnTo>
                  <a:lnTo>
                    <a:pt x="571" y="969"/>
                  </a:lnTo>
                  <a:lnTo>
                    <a:pt x="572" y="969"/>
                  </a:lnTo>
                  <a:lnTo>
                    <a:pt x="571" y="969"/>
                  </a:lnTo>
                  <a:lnTo>
                    <a:pt x="569" y="969"/>
                  </a:lnTo>
                  <a:lnTo>
                    <a:pt x="569" y="971"/>
                  </a:lnTo>
                  <a:lnTo>
                    <a:pt x="569" y="969"/>
                  </a:lnTo>
                  <a:lnTo>
                    <a:pt x="567" y="971"/>
                  </a:lnTo>
                  <a:lnTo>
                    <a:pt x="567" y="969"/>
                  </a:lnTo>
                  <a:lnTo>
                    <a:pt x="566" y="969"/>
                  </a:lnTo>
                  <a:lnTo>
                    <a:pt x="566" y="971"/>
                  </a:lnTo>
                  <a:lnTo>
                    <a:pt x="564" y="969"/>
                  </a:lnTo>
                  <a:lnTo>
                    <a:pt x="564" y="968"/>
                  </a:lnTo>
                  <a:lnTo>
                    <a:pt x="564" y="966"/>
                  </a:lnTo>
                  <a:lnTo>
                    <a:pt x="563" y="966"/>
                  </a:lnTo>
                  <a:lnTo>
                    <a:pt x="561" y="966"/>
                  </a:lnTo>
                  <a:lnTo>
                    <a:pt x="559" y="966"/>
                  </a:lnTo>
                  <a:lnTo>
                    <a:pt x="558" y="966"/>
                  </a:lnTo>
                  <a:lnTo>
                    <a:pt x="558" y="964"/>
                  </a:lnTo>
                  <a:lnTo>
                    <a:pt x="556" y="964"/>
                  </a:lnTo>
                  <a:lnTo>
                    <a:pt x="556" y="963"/>
                  </a:lnTo>
                  <a:lnTo>
                    <a:pt x="556" y="961"/>
                  </a:lnTo>
                  <a:lnTo>
                    <a:pt x="556" y="963"/>
                  </a:lnTo>
                  <a:lnTo>
                    <a:pt x="556" y="961"/>
                  </a:lnTo>
                  <a:lnTo>
                    <a:pt x="558" y="961"/>
                  </a:lnTo>
                  <a:lnTo>
                    <a:pt x="558" y="960"/>
                  </a:lnTo>
                  <a:lnTo>
                    <a:pt x="559" y="960"/>
                  </a:lnTo>
                  <a:lnTo>
                    <a:pt x="559" y="958"/>
                  </a:lnTo>
                  <a:lnTo>
                    <a:pt x="558" y="958"/>
                  </a:lnTo>
                  <a:lnTo>
                    <a:pt x="556" y="956"/>
                  </a:lnTo>
                  <a:lnTo>
                    <a:pt x="558" y="956"/>
                  </a:lnTo>
                  <a:lnTo>
                    <a:pt x="558" y="955"/>
                  </a:lnTo>
                  <a:lnTo>
                    <a:pt x="556" y="955"/>
                  </a:lnTo>
                  <a:lnTo>
                    <a:pt x="556" y="953"/>
                  </a:lnTo>
                  <a:lnTo>
                    <a:pt x="556" y="951"/>
                  </a:lnTo>
                  <a:lnTo>
                    <a:pt x="556" y="950"/>
                  </a:lnTo>
                  <a:lnTo>
                    <a:pt x="558" y="950"/>
                  </a:lnTo>
                  <a:lnTo>
                    <a:pt x="558" y="948"/>
                  </a:lnTo>
                  <a:lnTo>
                    <a:pt x="556" y="948"/>
                  </a:lnTo>
                  <a:lnTo>
                    <a:pt x="556" y="947"/>
                  </a:lnTo>
                  <a:lnTo>
                    <a:pt x="558" y="947"/>
                  </a:lnTo>
                  <a:lnTo>
                    <a:pt x="558" y="945"/>
                  </a:lnTo>
                  <a:lnTo>
                    <a:pt x="559" y="945"/>
                  </a:lnTo>
                  <a:lnTo>
                    <a:pt x="559" y="943"/>
                  </a:lnTo>
                  <a:lnTo>
                    <a:pt x="559" y="942"/>
                  </a:lnTo>
                  <a:lnTo>
                    <a:pt x="558" y="942"/>
                  </a:lnTo>
                  <a:lnTo>
                    <a:pt x="558" y="940"/>
                  </a:lnTo>
                  <a:lnTo>
                    <a:pt x="556" y="940"/>
                  </a:lnTo>
                  <a:lnTo>
                    <a:pt x="556" y="938"/>
                  </a:lnTo>
                  <a:lnTo>
                    <a:pt x="558" y="938"/>
                  </a:lnTo>
                  <a:lnTo>
                    <a:pt x="558" y="937"/>
                  </a:lnTo>
                  <a:lnTo>
                    <a:pt x="559" y="935"/>
                  </a:lnTo>
                  <a:lnTo>
                    <a:pt x="559" y="934"/>
                  </a:lnTo>
                  <a:lnTo>
                    <a:pt x="558" y="934"/>
                  </a:lnTo>
                  <a:lnTo>
                    <a:pt x="558" y="932"/>
                  </a:lnTo>
                  <a:lnTo>
                    <a:pt x="556" y="932"/>
                  </a:lnTo>
                  <a:lnTo>
                    <a:pt x="558" y="932"/>
                  </a:lnTo>
                  <a:lnTo>
                    <a:pt x="558" y="930"/>
                  </a:lnTo>
                  <a:lnTo>
                    <a:pt x="556" y="930"/>
                  </a:lnTo>
                  <a:lnTo>
                    <a:pt x="556" y="929"/>
                  </a:lnTo>
                  <a:lnTo>
                    <a:pt x="556" y="927"/>
                  </a:lnTo>
                  <a:lnTo>
                    <a:pt x="558" y="927"/>
                  </a:lnTo>
                  <a:lnTo>
                    <a:pt x="558" y="925"/>
                  </a:lnTo>
                  <a:lnTo>
                    <a:pt x="558" y="924"/>
                  </a:lnTo>
                  <a:lnTo>
                    <a:pt x="558" y="922"/>
                  </a:lnTo>
                  <a:lnTo>
                    <a:pt x="556" y="922"/>
                  </a:lnTo>
                  <a:lnTo>
                    <a:pt x="556" y="921"/>
                  </a:lnTo>
                  <a:lnTo>
                    <a:pt x="558" y="921"/>
                  </a:lnTo>
                  <a:lnTo>
                    <a:pt x="558" y="922"/>
                  </a:lnTo>
                  <a:lnTo>
                    <a:pt x="558" y="921"/>
                  </a:lnTo>
                  <a:lnTo>
                    <a:pt x="558" y="919"/>
                  </a:lnTo>
                  <a:lnTo>
                    <a:pt x="559" y="917"/>
                  </a:lnTo>
                  <a:lnTo>
                    <a:pt x="558" y="917"/>
                  </a:lnTo>
                  <a:lnTo>
                    <a:pt x="558" y="916"/>
                  </a:lnTo>
                  <a:lnTo>
                    <a:pt x="559" y="916"/>
                  </a:lnTo>
                  <a:lnTo>
                    <a:pt x="559" y="917"/>
                  </a:lnTo>
                  <a:lnTo>
                    <a:pt x="559" y="919"/>
                  </a:lnTo>
                  <a:lnTo>
                    <a:pt x="559" y="921"/>
                  </a:lnTo>
                  <a:lnTo>
                    <a:pt x="561" y="922"/>
                  </a:lnTo>
                  <a:lnTo>
                    <a:pt x="561" y="924"/>
                  </a:lnTo>
                  <a:lnTo>
                    <a:pt x="561" y="925"/>
                  </a:lnTo>
                  <a:lnTo>
                    <a:pt x="561" y="927"/>
                  </a:lnTo>
                  <a:lnTo>
                    <a:pt x="563" y="927"/>
                  </a:lnTo>
                  <a:lnTo>
                    <a:pt x="563" y="929"/>
                  </a:lnTo>
                  <a:lnTo>
                    <a:pt x="563" y="930"/>
                  </a:lnTo>
                  <a:lnTo>
                    <a:pt x="564" y="930"/>
                  </a:lnTo>
                  <a:lnTo>
                    <a:pt x="564" y="929"/>
                  </a:lnTo>
                  <a:lnTo>
                    <a:pt x="566" y="929"/>
                  </a:lnTo>
                  <a:lnTo>
                    <a:pt x="566" y="930"/>
                  </a:lnTo>
                  <a:lnTo>
                    <a:pt x="564" y="930"/>
                  </a:lnTo>
                  <a:lnTo>
                    <a:pt x="566" y="930"/>
                  </a:lnTo>
                  <a:lnTo>
                    <a:pt x="566" y="932"/>
                  </a:lnTo>
                  <a:lnTo>
                    <a:pt x="567" y="932"/>
                  </a:lnTo>
                  <a:lnTo>
                    <a:pt x="571" y="932"/>
                  </a:lnTo>
                  <a:lnTo>
                    <a:pt x="571" y="930"/>
                  </a:lnTo>
                  <a:lnTo>
                    <a:pt x="572" y="930"/>
                  </a:lnTo>
                  <a:lnTo>
                    <a:pt x="574" y="930"/>
                  </a:lnTo>
                  <a:lnTo>
                    <a:pt x="574" y="929"/>
                  </a:lnTo>
                  <a:lnTo>
                    <a:pt x="576" y="929"/>
                  </a:lnTo>
                  <a:lnTo>
                    <a:pt x="576" y="927"/>
                  </a:lnTo>
                  <a:lnTo>
                    <a:pt x="574" y="925"/>
                  </a:lnTo>
                  <a:lnTo>
                    <a:pt x="576" y="925"/>
                  </a:lnTo>
                  <a:lnTo>
                    <a:pt x="576" y="924"/>
                  </a:lnTo>
                  <a:lnTo>
                    <a:pt x="574" y="922"/>
                  </a:lnTo>
                  <a:lnTo>
                    <a:pt x="574" y="921"/>
                  </a:lnTo>
                  <a:lnTo>
                    <a:pt x="574" y="919"/>
                  </a:lnTo>
                  <a:lnTo>
                    <a:pt x="572" y="919"/>
                  </a:lnTo>
                  <a:lnTo>
                    <a:pt x="572" y="917"/>
                  </a:lnTo>
                  <a:lnTo>
                    <a:pt x="571" y="917"/>
                  </a:lnTo>
                  <a:lnTo>
                    <a:pt x="572" y="916"/>
                  </a:lnTo>
                  <a:lnTo>
                    <a:pt x="571" y="916"/>
                  </a:lnTo>
                  <a:lnTo>
                    <a:pt x="572" y="914"/>
                  </a:lnTo>
                  <a:lnTo>
                    <a:pt x="571" y="914"/>
                  </a:lnTo>
                  <a:lnTo>
                    <a:pt x="572" y="914"/>
                  </a:lnTo>
                  <a:lnTo>
                    <a:pt x="571" y="912"/>
                  </a:lnTo>
                  <a:close/>
                  <a:moveTo>
                    <a:pt x="559" y="532"/>
                  </a:moveTo>
                  <a:lnTo>
                    <a:pt x="558" y="533"/>
                  </a:lnTo>
                  <a:lnTo>
                    <a:pt x="558" y="535"/>
                  </a:lnTo>
                  <a:lnTo>
                    <a:pt x="558" y="537"/>
                  </a:lnTo>
                  <a:lnTo>
                    <a:pt x="556" y="535"/>
                  </a:lnTo>
                  <a:lnTo>
                    <a:pt x="556" y="533"/>
                  </a:lnTo>
                  <a:lnTo>
                    <a:pt x="554" y="533"/>
                  </a:lnTo>
                  <a:lnTo>
                    <a:pt x="554" y="532"/>
                  </a:lnTo>
                  <a:lnTo>
                    <a:pt x="556" y="530"/>
                  </a:lnTo>
                  <a:lnTo>
                    <a:pt x="556" y="532"/>
                  </a:lnTo>
                  <a:lnTo>
                    <a:pt x="556" y="530"/>
                  </a:lnTo>
                  <a:lnTo>
                    <a:pt x="556" y="529"/>
                  </a:lnTo>
                  <a:lnTo>
                    <a:pt x="556" y="530"/>
                  </a:lnTo>
                  <a:lnTo>
                    <a:pt x="556" y="529"/>
                  </a:lnTo>
                  <a:lnTo>
                    <a:pt x="554" y="529"/>
                  </a:lnTo>
                  <a:lnTo>
                    <a:pt x="556" y="527"/>
                  </a:lnTo>
                  <a:lnTo>
                    <a:pt x="554" y="527"/>
                  </a:lnTo>
                  <a:lnTo>
                    <a:pt x="553" y="527"/>
                  </a:lnTo>
                  <a:lnTo>
                    <a:pt x="551" y="527"/>
                  </a:lnTo>
                  <a:lnTo>
                    <a:pt x="550" y="527"/>
                  </a:lnTo>
                  <a:lnTo>
                    <a:pt x="548" y="527"/>
                  </a:lnTo>
                  <a:lnTo>
                    <a:pt x="546" y="527"/>
                  </a:lnTo>
                  <a:lnTo>
                    <a:pt x="545" y="527"/>
                  </a:lnTo>
                  <a:lnTo>
                    <a:pt x="545" y="525"/>
                  </a:lnTo>
                  <a:lnTo>
                    <a:pt x="546" y="525"/>
                  </a:lnTo>
                  <a:lnTo>
                    <a:pt x="546" y="527"/>
                  </a:lnTo>
                  <a:lnTo>
                    <a:pt x="546" y="525"/>
                  </a:lnTo>
                  <a:lnTo>
                    <a:pt x="548" y="525"/>
                  </a:lnTo>
                  <a:lnTo>
                    <a:pt x="550" y="524"/>
                  </a:lnTo>
                  <a:lnTo>
                    <a:pt x="548" y="522"/>
                  </a:lnTo>
                  <a:lnTo>
                    <a:pt x="548" y="520"/>
                  </a:lnTo>
                  <a:lnTo>
                    <a:pt x="548" y="519"/>
                  </a:lnTo>
                  <a:lnTo>
                    <a:pt x="546" y="519"/>
                  </a:lnTo>
                  <a:lnTo>
                    <a:pt x="546" y="517"/>
                  </a:lnTo>
                  <a:lnTo>
                    <a:pt x="545" y="519"/>
                  </a:lnTo>
                  <a:lnTo>
                    <a:pt x="543" y="519"/>
                  </a:lnTo>
                  <a:lnTo>
                    <a:pt x="541" y="517"/>
                  </a:lnTo>
                  <a:lnTo>
                    <a:pt x="540" y="517"/>
                  </a:lnTo>
                  <a:lnTo>
                    <a:pt x="538" y="519"/>
                  </a:lnTo>
                  <a:lnTo>
                    <a:pt x="537" y="520"/>
                  </a:lnTo>
                  <a:lnTo>
                    <a:pt x="535" y="520"/>
                  </a:lnTo>
                  <a:lnTo>
                    <a:pt x="533" y="520"/>
                  </a:lnTo>
                  <a:lnTo>
                    <a:pt x="533" y="522"/>
                  </a:lnTo>
                  <a:lnTo>
                    <a:pt x="533" y="520"/>
                  </a:lnTo>
                  <a:lnTo>
                    <a:pt x="530" y="522"/>
                  </a:lnTo>
                  <a:lnTo>
                    <a:pt x="528" y="520"/>
                  </a:lnTo>
                  <a:lnTo>
                    <a:pt x="527" y="520"/>
                  </a:lnTo>
                  <a:lnTo>
                    <a:pt x="527" y="522"/>
                  </a:lnTo>
                  <a:lnTo>
                    <a:pt x="525" y="520"/>
                  </a:lnTo>
                  <a:lnTo>
                    <a:pt x="524" y="520"/>
                  </a:lnTo>
                  <a:lnTo>
                    <a:pt x="522" y="520"/>
                  </a:lnTo>
                  <a:lnTo>
                    <a:pt x="520" y="520"/>
                  </a:lnTo>
                  <a:lnTo>
                    <a:pt x="520" y="522"/>
                  </a:lnTo>
                  <a:lnTo>
                    <a:pt x="519" y="522"/>
                  </a:lnTo>
                  <a:lnTo>
                    <a:pt x="519" y="524"/>
                  </a:lnTo>
                  <a:lnTo>
                    <a:pt x="517" y="524"/>
                  </a:lnTo>
                  <a:lnTo>
                    <a:pt x="515" y="524"/>
                  </a:lnTo>
                  <a:lnTo>
                    <a:pt x="514" y="524"/>
                  </a:lnTo>
                  <a:lnTo>
                    <a:pt x="514" y="522"/>
                  </a:lnTo>
                  <a:lnTo>
                    <a:pt x="512" y="524"/>
                  </a:lnTo>
                  <a:lnTo>
                    <a:pt x="511" y="522"/>
                  </a:lnTo>
                  <a:lnTo>
                    <a:pt x="509" y="522"/>
                  </a:lnTo>
                  <a:lnTo>
                    <a:pt x="507" y="522"/>
                  </a:lnTo>
                  <a:lnTo>
                    <a:pt x="506" y="522"/>
                  </a:lnTo>
                  <a:lnTo>
                    <a:pt x="504" y="522"/>
                  </a:lnTo>
                  <a:lnTo>
                    <a:pt x="504" y="524"/>
                  </a:lnTo>
                  <a:lnTo>
                    <a:pt x="504" y="525"/>
                  </a:lnTo>
                  <a:lnTo>
                    <a:pt x="502" y="525"/>
                  </a:lnTo>
                  <a:lnTo>
                    <a:pt x="502" y="524"/>
                  </a:lnTo>
                  <a:lnTo>
                    <a:pt x="502" y="525"/>
                  </a:lnTo>
                  <a:lnTo>
                    <a:pt x="501" y="525"/>
                  </a:lnTo>
                  <a:lnTo>
                    <a:pt x="501" y="524"/>
                  </a:lnTo>
                  <a:lnTo>
                    <a:pt x="501" y="522"/>
                  </a:lnTo>
                  <a:lnTo>
                    <a:pt x="499" y="522"/>
                  </a:lnTo>
                  <a:lnTo>
                    <a:pt x="499" y="520"/>
                  </a:lnTo>
                  <a:lnTo>
                    <a:pt x="497" y="522"/>
                  </a:lnTo>
                  <a:lnTo>
                    <a:pt x="497" y="519"/>
                  </a:lnTo>
                  <a:lnTo>
                    <a:pt x="496" y="517"/>
                  </a:lnTo>
                  <a:lnTo>
                    <a:pt x="496" y="519"/>
                  </a:lnTo>
                  <a:lnTo>
                    <a:pt x="494" y="519"/>
                  </a:lnTo>
                  <a:lnTo>
                    <a:pt x="494" y="517"/>
                  </a:lnTo>
                  <a:lnTo>
                    <a:pt x="494" y="519"/>
                  </a:lnTo>
                  <a:lnTo>
                    <a:pt x="494" y="517"/>
                  </a:lnTo>
                  <a:lnTo>
                    <a:pt x="494" y="516"/>
                  </a:lnTo>
                  <a:lnTo>
                    <a:pt x="496" y="516"/>
                  </a:lnTo>
                  <a:lnTo>
                    <a:pt x="497" y="516"/>
                  </a:lnTo>
                  <a:lnTo>
                    <a:pt x="497" y="514"/>
                  </a:lnTo>
                  <a:lnTo>
                    <a:pt x="497" y="512"/>
                  </a:lnTo>
                  <a:lnTo>
                    <a:pt x="497" y="511"/>
                  </a:lnTo>
                  <a:lnTo>
                    <a:pt x="496" y="512"/>
                  </a:lnTo>
                  <a:lnTo>
                    <a:pt x="497" y="511"/>
                  </a:lnTo>
                  <a:lnTo>
                    <a:pt x="497" y="509"/>
                  </a:lnTo>
                  <a:lnTo>
                    <a:pt x="497" y="507"/>
                  </a:lnTo>
                  <a:lnTo>
                    <a:pt x="496" y="507"/>
                  </a:lnTo>
                  <a:lnTo>
                    <a:pt x="496" y="506"/>
                  </a:lnTo>
                  <a:lnTo>
                    <a:pt x="496" y="504"/>
                  </a:lnTo>
                  <a:lnTo>
                    <a:pt x="494" y="504"/>
                  </a:lnTo>
                  <a:lnTo>
                    <a:pt x="494" y="503"/>
                  </a:lnTo>
                  <a:lnTo>
                    <a:pt x="493" y="503"/>
                  </a:lnTo>
                  <a:lnTo>
                    <a:pt x="493" y="501"/>
                  </a:lnTo>
                  <a:lnTo>
                    <a:pt x="491" y="501"/>
                  </a:lnTo>
                  <a:lnTo>
                    <a:pt x="491" y="503"/>
                  </a:lnTo>
                  <a:lnTo>
                    <a:pt x="489" y="503"/>
                  </a:lnTo>
                  <a:lnTo>
                    <a:pt x="488" y="501"/>
                  </a:lnTo>
                  <a:lnTo>
                    <a:pt x="486" y="501"/>
                  </a:lnTo>
                  <a:lnTo>
                    <a:pt x="484" y="503"/>
                  </a:lnTo>
                  <a:lnTo>
                    <a:pt x="481" y="501"/>
                  </a:lnTo>
                  <a:lnTo>
                    <a:pt x="481" y="499"/>
                  </a:lnTo>
                  <a:lnTo>
                    <a:pt x="480" y="498"/>
                  </a:lnTo>
                  <a:lnTo>
                    <a:pt x="480" y="496"/>
                  </a:lnTo>
                  <a:lnTo>
                    <a:pt x="480" y="494"/>
                  </a:lnTo>
                  <a:lnTo>
                    <a:pt x="478" y="494"/>
                  </a:lnTo>
                  <a:lnTo>
                    <a:pt x="476" y="494"/>
                  </a:lnTo>
                  <a:lnTo>
                    <a:pt x="476" y="493"/>
                  </a:lnTo>
                  <a:lnTo>
                    <a:pt x="475" y="493"/>
                  </a:lnTo>
                  <a:lnTo>
                    <a:pt x="475" y="494"/>
                  </a:lnTo>
                  <a:lnTo>
                    <a:pt x="473" y="493"/>
                  </a:lnTo>
                  <a:lnTo>
                    <a:pt x="473" y="491"/>
                  </a:lnTo>
                  <a:lnTo>
                    <a:pt x="471" y="490"/>
                  </a:lnTo>
                  <a:lnTo>
                    <a:pt x="470" y="490"/>
                  </a:lnTo>
                  <a:lnTo>
                    <a:pt x="470" y="488"/>
                  </a:lnTo>
                  <a:lnTo>
                    <a:pt x="468" y="488"/>
                  </a:lnTo>
                  <a:lnTo>
                    <a:pt x="467" y="488"/>
                  </a:lnTo>
                  <a:lnTo>
                    <a:pt x="465" y="488"/>
                  </a:lnTo>
                  <a:lnTo>
                    <a:pt x="465" y="486"/>
                  </a:lnTo>
                  <a:lnTo>
                    <a:pt x="463" y="486"/>
                  </a:lnTo>
                  <a:lnTo>
                    <a:pt x="462" y="485"/>
                  </a:lnTo>
                  <a:lnTo>
                    <a:pt x="460" y="483"/>
                  </a:lnTo>
                  <a:lnTo>
                    <a:pt x="458" y="483"/>
                  </a:lnTo>
                  <a:lnTo>
                    <a:pt x="458" y="481"/>
                  </a:lnTo>
                  <a:lnTo>
                    <a:pt x="457" y="480"/>
                  </a:lnTo>
                  <a:lnTo>
                    <a:pt x="455" y="480"/>
                  </a:lnTo>
                  <a:lnTo>
                    <a:pt x="454" y="480"/>
                  </a:lnTo>
                  <a:lnTo>
                    <a:pt x="452" y="478"/>
                  </a:lnTo>
                  <a:lnTo>
                    <a:pt x="450" y="478"/>
                  </a:lnTo>
                  <a:lnTo>
                    <a:pt x="449" y="477"/>
                  </a:lnTo>
                  <a:lnTo>
                    <a:pt x="447" y="477"/>
                  </a:lnTo>
                  <a:lnTo>
                    <a:pt x="445" y="477"/>
                  </a:lnTo>
                  <a:lnTo>
                    <a:pt x="445" y="475"/>
                  </a:lnTo>
                  <a:lnTo>
                    <a:pt x="444" y="473"/>
                  </a:lnTo>
                  <a:lnTo>
                    <a:pt x="442" y="473"/>
                  </a:lnTo>
                  <a:lnTo>
                    <a:pt x="441" y="473"/>
                  </a:lnTo>
                  <a:lnTo>
                    <a:pt x="441" y="472"/>
                  </a:lnTo>
                  <a:lnTo>
                    <a:pt x="441" y="473"/>
                  </a:lnTo>
                  <a:lnTo>
                    <a:pt x="439" y="472"/>
                  </a:lnTo>
                  <a:lnTo>
                    <a:pt x="437" y="472"/>
                  </a:lnTo>
                  <a:lnTo>
                    <a:pt x="436" y="472"/>
                  </a:lnTo>
                  <a:lnTo>
                    <a:pt x="434" y="472"/>
                  </a:lnTo>
                  <a:lnTo>
                    <a:pt x="432" y="473"/>
                  </a:lnTo>
                  <a:lnTo>
                    <a:pt x="431" y="473"/>
                  </a:lnTo>
                  <a:lnTo>
                    <a:pt x="429" y="475"/>
                  </a:lnTo>
                  <a:lnTo>
                    <a:pt x="428" y="473"/>
                  </a:lnTo>
                  <a:lnTo>
                    <a:pt x="426" y="473"/>
                  </a:lnTo>
                  <a:lnTo>
                    <a:pt x="424" y="473"/>
                  </a:lnTo>
                  <a:lnTo>
                    <a:pt x="423" y="470"/>
                  </a:lnTo>
                  <a:lnTo>
                    <a:pt x="423" y="468"/>
                  </a:lnTo>
                  <a:lnTo>
                    <a:pt x="421" y="468"/>
                  </a:lnTo>
                  <a:lnTo>
                    <a:pt x="421" y="470"/>
                  </a:lnTo>
                  <a:lnTo>
                    <a:pt x="419" y="470"/>
                  </a:lnTo>
                  <a:lnTo>
                    <a:pt x="418" y="470"/>
                  </a:lnTo>
                  <a:lnTo>
                    <a:pt x="415" y="468"/>
                  </a:lnTo>
                  <a:lnTo>
                    <a:pt x="415" y="470"/>
                  </a:lnTo>
                  <a:lnTo>
                    <a:pt x="413" y="470"/>
                  </a:lnTo>
                  <a:lnTo>
                    <a:pt x="413" y="472"/>
                  </a:lnTo>
                  <a:lnTo>
                    <a:pt x="415" y="472"/>
                  </a:lnTo>
                  <a:lnTo>
                    <a:pt x="416" y="472"/>
                  </a:lnTo>
                  <a:lnTo>
                    <a:pt x="418" y="472"/>
                  </a:lnTo>
                  <a:lnTo>
                    <a:pt x="419" y="473"/>
                  </a:lnTo>
                  <a:lnTo>
                    <a:pt x="419" y="475"/>
                  </a:lnTo>
                  <a:lnTo>
                    <a:pt x="418" y="475"/>
                  </a:lnTo>
                  <a:lnTo>
                    <a:pt x="416" y="477"/>
                  </a:lnTo>
                  <a:lnTo>
                    <a:pt x="413" y="478"/>
                  </a:lnTo>
                  <a:lnTo>
                    <a:pt x="410" y="478"/>
                  </a:lnTo>
                  <a:lnTo>
                    <a:pt x="408" y="478"/>
                  </a:lnTo>
                  <a:lnTo>
                    <a:pt x="406" y="478"/>
                  </a:lnTo>
                  <a:lnTo>
                    <a:pt x="405" y="480"/>
                  </a:lnTo>
                  <a:lnTo>
                    <a:pt x="403" y="480"/>
                  </a:lnTo>
                  <a:lnTo>
                    <a:pt x="402" y="481"/>
                  </a:lnTo>
                  <a:lnTo>
                    <a:pt x="402" y="480"/>
                  </a:lnTo>
                  <a:lnTo>
                    <a:pt x="402" y="478"/>
                  </a:lnTo>
                  <a:lnTo>
                    <a:pt x="402" y="477"/>
                  </a:lnTo>
                  <a:lnTo>
                    <a:pt x="403" y="477"/>
                  </a:lnTo>
                  <a:lnTo>
                    <a:pt x="403" y="475"/>
                  </a:lnTo>
                  <a:lnTo>
                    <a:pt x="405" y="473"/>
                  </a:lnTo>
                  <a:lnTo>
                    <a:pt x="408" y="472"/>
                  </a:lnTo>
                  <a:lnTo>
                    <a:pt x="410" y="470"/>
                  </a:lnTo>
                  <a:lnTo>
                    <a:pt x="411" y="470"/>
                  </a:lnTo>
                  <a:lnTo>
                    <a:pt x="411" y="468"/>
                  </a:lnTo>
                  <a:lnTo>
                    <a:pt x="413" y="468"/>
                  </a:lnTo>
                  <a:lnTo>
                    <a:pt x="415" y="468"/>
                  </a:lnTo>
                  <a:lnTo>
                    <a:pt x="415" y="467"/>
                  </a:lnTo>
                  <a:lnTo>
                    <a:pt x="416" y="467"/>
                  </a:lnTo>
                  <a:lnTo>
                    <a:pt x="418" y="465"/>
                  </a:lnTo>
                  <a:lnTo>
                    <a:pt x="419" y="465"/>
                  </a:lnTo>
                  <a:lnTo>
                    <a:pt x="419" y="464"/>
                  </a:lnTo>
                  <a:lnTo>
                    <a:pt x="421" y="464"/>
                  </a:lnTo>
                  <a:lnTo>
                    <a:pt x="423" y="462"/>
                  </a:lnTo>
                  <a:lnTo>
                    <a:pt x="421" y="462"/>
                  </a:lnTo>
                  <a:lnTo>
                    <a:pt x="423" y="462"/>
                  </a:lnTo>
                  <a:lnTo>
                    <a:pt x="423" y="460"/>
                  </a:lnTo>
                  <a:lnTo>
                    <a:pt x="424" y="460"/>
                  </a:lnTo>
                  <a:lnTo>
                    <a:pt x="426" y="460"/>
                  </a:lnTo>
                  <a:lnTo>
                    <a:pt x="428" y="459"/>
                  </a:lnTo>
                  <a:lnTo>
                    <a:pt x="428" y="457"/>
                  </a:lnTo>
                  <a:lnTo>
                    <a:pt x="428" y="455"/>
                  </a:lnTo>
                  <a:lnTo>
                    <a:pt x="428" y="454"/>
                  </a:lnTo>
                  <a:lnTo>
                    <a:pt x="429" y="451"/>
                  </a:lnTo>
                  <a:lnTo>
                    <a:pt x="431" y="449"/>
                  </a:lnTo>
                  <a:lnTo>
                    <a:pt x="432" y="449"/>
                  </a:lnTo>
                  <a:lnTo>
                    <a:pt x="434" y="449"/>
                  </a:lnTo>
                  <a:lnTo>
                    <a:pt x="436" y="449"/>
                  </a:lnTo>
                  <a:lnTo>
                    <a:pt x="437" y="449"/>
                  </a:lnTo>
                  <a:lnTo>
                    <a:pt x="439" y="449"/>
                  </a:lnTo>
                  <a:lnTo>
                    <a:pt x="439" y="447"/>
                  </a:lnTo>
                  <a:lnTo>
                    <a:pt x="441" y="447"/>
                  </a:lnTo>
                  <a:lnTo>
                    <a:pt x="441" y="446"/>
                  </a:lnTo>
                  <a:lnTo>
                    <a:pt x="442" y="446"/>
                  </a:lnTo>
                  <a:lnTo>
                    <a:pt x="444" y="446"/>
                  </a:lnTo>
                  <a:lnTo>
                    <a:pt x="444" y="444"/>
                  </a:lnTo>
                  <a:lnTo>
                    <a:pt x="445" y="444"/>
                  </a:lnTo>
                  <a:lnTo>
                    <a:pt x="445" y="442"/>
                  </a:lnTo>
                  <a:lnTo>
                    <a:pt x="447" y="442"/>
                  </a:lnTo>
                  <a:lnTo>
                    <a:pt x="449" y="442"/>
                  </a:lnTo>
                  <a:lnTo>
                    <a:pt x="450" y="441"/>
                  </a:lnTo>
                  <a:lnTo>
                    <a:pt x="452" y="442"/>
                  </a:lnTo>
                  <a:lnTo>
                    <a:pt x="452" y="444"/>
                  </a:lnTo>
                  <a:lnTo>
                    <a:pt x="454" y="444"/>
                  </a:lnTo>
                  <a:lnTo>
                    <a:pt x="455" y="444"/>
                  </a:lnTo>
                  <a:lnTo>
                    <a:pt x="454" y="444"/>
                  </a:lnTo>
                  <a:lnTo>
                    <a:pt x="455" y="444"/>
                  </a:lnTo>
                  <a:lnTo>
                    <a:pt x="455" y="446"/>
                  </a:lnTo>
                  <a:lnTo>
                    <a:pt x="455" y="444"/>
                  </a:lnTo>
                  <a:lnTo>
                    <a:pt x="457" y="444"/>
                  </a:lnTo>
                  <a:lnTo>
                    <a:pt x="458" y="444"/>
                  </a:lnTo>
                  <a:lnTo>
                    <a:pt x="458" y="446"/>
                  </a:lnTo>
                  <a:lnTo>
                    <a:pt x="458" y="447"/>
                  </a:lnTo>
                  <a:lnTo>
                    <a:pt x="458" y="449"/>
                  </a:lnTo>
                  <a:lnTo>
                    <a:pt x="458" y="451"/>
                  </a:lnTo>
                  <a:lnTo>
                    <a:pt x="460" y="451"/>
                  </a:lnTo>
                  <a:lnTo>
                    <a:pt x="462" y="451"/>
                  </a:lnTo>
                  <a:lnTo>
                    <a:pt x="463" y="451"/>
                  </a:lnTo>
                  <a:lnTo>
                    <a:pt x="463" y="452"/>
                  </a:lnTo>
                  <a:lnTo>
                    <a:pt x="463" y="451"/>
                  </a:lnTo>
                  <a:lnTo>
                    <a:pt x="463" y="452"/>
                  </a:lnTo>
                  <a:lnTo>
                    <a:pt x="463" y="451"/>
                  </a:lnTo>
                  <a:lnTo>
                    <a:pt x="463" y="452"/>
                  </a:lnTo>
                  <a:lnTo>
                    <a:pt x="465" y="451"/>
                  </a:lnTo>
                  <a:lnTo>
                    <a:pt x="465" y="452"/>
                  </a:lnTo>
                  <a:lnTo>
                    <a:pt x="465" y="454"/>
                  </a:lnTo>
                  <a:lnTo>
                    <a:pt x="465" y="455"/>
                  </a:lnTo>
                  <a:lnTo>
                    <a:pt x="465" y="459"/>
                  </a:lnTo>
                  <a:lnTo>
                    <a:pt x="467" y="459"/>
                  </a:lnTo>
                  <a:lnTo>
                    <a:pt x="467" y="460"/>
                  </a:lnTo>
                  <a:lnTo>
                    <a:pt x="468" y="460"/>
                  </a:lnTo>
                  <a:lnTo>
                    <a:pt x="468" y="462"/>
                  </a:lnTo>
                  <a:lnTo>
                    <a:pt x="468" y="464"/>
                  </a:lnTo>
                  <a:lnTo>
                    <a:pt x="470" y="465"/>
                  </a:lnTo>
                  <a:lnTo>
                    <a:pt x="471" y="467"/>
                  </a:lnTo>
                  <a:lnTo>
                    <a:pt x="473" y="467"/>
                  </a:lnTo>
                  <a:lnTo>
                    <a:pt x="475" y="467"/>
                  </a:lnTo>
                  <a:lnTo>
                    <a:pt x="476" y="468"/>
                  </a:lnTo>
                  <a:lnTo>
                    <a:pt x="478" y="468"/>
                  </a:lnTo>
                  <a:lnTo>
                    <a:pt x="478" y="470"/>
                  </a:lnTo>
                  <a:lnTo>
                    <a:pt x="480" y="470"/>
                  </a:lnTo>
                  <a:lnTo>
                    <a:pt x="481" y="470"/>
                  </a:lnTo>
                  <a:lnTo>
                    <a:pt x="481" y="472"/>
                  </a:lnTo>
                  <a:lnTo>
                    <a:pt x="481" y="470"/>
                  </a:lnTo>
                  <a:lnTo>
                    <a:pt x="483" y="470"/>
                  </a:lnTo>
                  <a:lnTo>
                    <a:pt x="483" y="472"/>
                  </a:lnTo>
                  <a:lnTo>
                    <a:pt x="484" y="472"/>
                  </a:lnTo>
                  <a:lnTo>
                    <a:pt x="484" y="473"/>
                  </a:lnTo>
                  <a:lnTo>
                    <a:pt x="484" y="472"/>
                  </a:lnTo>
                  <a:lnTo>
                    <a:pt x="486" y="472"/>
                  </a:lnTo>
                  <a:lnTo>
                    <a:pt x="486" y="473"/>
                  </a:lnTo>
                  <a:lnTo>
                    <a:pt x="486" y="475"/>
                  </a:lnTo>
                  <a:lnTo>
                    <a:pt x="488" y="475"/>
                  </a:lnTo>
                  <a:lnTo>
                    <a:pt x="488" y="473"/>
                  </a:lnTo>
                  <a:lnTo>
                    <a:pt x="489" y="473"/>
                  </a:lnTo>
                  <a:lnTo>
                    <a:pt x="489" y="475"/>
                  </a:lnTo>
                  <a:lnTo>
                    <a:pt x="491" y="475"/>
                  </a:lnTo>
                  <a:lnTo>
                    <a:pt x="493" y="475"/>
                  </a:lnTo>
                  <a:lnTo>
                    <a:pt x="494" y="475"/>
                  </a:lnTo>
                  <a:lnTo>
                    <a:pt x="496" y="475"/>
                  </a:lnTo>
                  <a:lnTo>
                    <a:pt x="497" y="475"/>
                  </a:lnTo>
                  <a:lnTo>
                    <a:pt x="497" y="473"/>
                  </a:lnTo>
                  <a:lnTo>
                    <a:pt x="499" y="473"/>
                  </a:lnTo>
                  <a:lnTo>
                    <a:pt x="499" y="472"/>
                  </a:lnTo>
                  <a:lnTo>
                    <a:pt x="501" y="472"/>
                  </a:lnTo>
                  <a:lnTo>
                    <a:pt x="501" y="473"/>
                  </a:lnTo>
                  <a:lnTo>
                    <a:pt x="502" y="473"/>
                  </a:lnTo>
                  <a:lnTo>
                    <a:pt x="502" y="475"/>
                  </a:lnTo>
                  <a:lnTo>
                    <a:pt x="504" y="475"/>
                  </a:lnTo>
                  <a:lnTo>
                    <a:pt x="504" y="477"/>
                  </a:lnTo>
                  <a:lnTo>
                    <a:pt x="506" y="477"/>
                  </a:lnTo>
                  <a:lnTo>
                    <a:pt x="506" y="478"/>
                  </a:lnTo>
                  <a:lnTo>
                    <a:pt x="507" y="478"/>
                  </a:lnTo>
                  <a:lnTo>
                    <a:pt x="507" y="480"/>
                  </a:lnTo>
                  <a:lnTo>
                    <a:pt x="509" y="480"/>
                  </a:lnTo>
                  <a:lnTo>
                    <a:pt x="511" y="480"/>
                  </a:lnTo>
                  <a:lnTo>
                    <a:pt x="512" y="480"/>
                  </a:lnTo>
                  <a:lnTo>
                    <a:pt x="514" y="480"/>
                  </a:lnTo>
                  <a:lnTo>
                    <a:pt x="514" y="481"/>
                  </a:lnTo>
                  <a:lnTo>
                    <a:pt x="515" y="481"/>
                  </a:lnTo>
                  <a:lnTo>
                    <a:pt x="517" y="481"/>
                  </a:lnTo>
                  <a:lnTo>
                    <a:pt x="519" y="481"/>
                  </a:lnTo>
                  <a:lnTo>
                    <a:pt x="520" y="481"/>
                  </a:lnTo>
                  <a:lnTo>
                    <a:pt x="522" y="481"/>
                  </a:lnTo>
                  <a:lnTo>
                    <a:pt x="524" y="480"/>
                  </a:lnTo>
                  <a:lnTo>
                    <a:pt x="524" y="481"/>
                  </a:lnTo>
                  <a:lnTo>
                    <a:pt x="525" y="481"/>
                  </a:lnTo>
                  <a:lnTo>
                    <a:pt x="528" y="481"/>
                  </a:lnTo>
                  <a:lnTo>
                    <a:pt x="530" y="481"/>
                  </a:lnTo>
                  <a:lnTo>
                    <a:pt x="532" y="481"/>
                  </a:lnTo>
                  <a:lnTo>
                    <a:pt x="532" y="480"/>
                  </a:lnTo>
                  <a:lnTo>
                    <a:pt x="533" y="480"/>
                  </a:lnTo>
                  <a:lnTo>
                    <a:pt x="532" y="478"/>
                  </a:lnTo>
                  <a:lnTo>
                    <a:pt x="533" y="478"/>
                  </a:lnTo>
                  <a:lnTo>
                    <a:pt x="535" y="478"/>
                  </a:lnTo>
                  <a:lnTo>
                    <a:pt x="537" y="478"/>
                  </a:lnTo>
                  <a:lnTo>
                    <a:pt x="535" y="478"/>
                  </a:lnTo>
                  <a:lnTo>
                    <a:pt x="538" y="478"/>
                  </a:lnTo>
                  <a:lnTo>
                    <a:pt x="538" y="477"/>
                  </a:lnTo>
                  <a:lnTo>
                    <a:pt x="540" y="477"/>
                  </a:lnTo>
                  <a:lnTo>
                    <a:pt x="541" y="477"/>
                  </a:lnTo>
                  <a:lnTo>
                    <a:pt x="543" y="477"/>
                  </a:lnTo>
                  <a:lnTo>
                    <a:pt x="545" y="477"/>
                  </a:lnTo>
                  <a:lnTo>
                    <a:pt x="545" y="478"/>
                  </a:lnTo>
                  <a:lnTo>
                    <a:pt x="545" y="477"/>
                  </a:lnTo>
                  <a:lnTo>
                    <a:pt x="546" y="478"/>
                  </a:lnTo>
                  <a:lnTo>
                    <a:pt x="548" y="478"/>
                  </a:lnTo>
                  <a:lnTo>
                    <a:pt x="550" y="478"/>
                  </a:lnTo>
                  <a:lnTo>
                    <a:pt x="551" y="478"/>
                  </a:lnTo>
                  <a:lnTo>
                    <a:pt x="553" y="478"/>
                  </a:lnTo>
                  <a:lnTo>
                    <a:pt x="553" y="480"/>
                  </a:lnTo>
                  <a:lnTo>
                    <a:pt x="551" y="480"/>
                  </a:lnTo>
                  <a:lnTo>
                    <a:pt x="551" y="481"/>
                  </a:lnTo>
                  <a:lnTo>
                    <a:pt x="550" y="481"/>
                  </a:lnTo>
                  <a:lnTo>
                    <a:pt x="550" y="483"/>
                  </a:lnTo>
                  <a:lnTo>
                    <a:pt x="550" y="485"/>
                  </a:lnTo>
                  <a:lnTo>
                    <a:pt x="550" y="483"/>
                  </a:lnTo>
                  <a:lnTo>
                    <a:pt x="550" y="485"/>
                  </a:lnTo>
                  <a:lnTo>
                    <a:pt x="550" y="486"/>
                  </a:lnTo>
                  <a:lnTo>
                    <a:pt x="550" y="488"/>
                  </a:lnTo>
                  <a:lnTo>
                    <a:pt x="551" y="488"/>
                  </a:lnTo>
                  <a:lnTo>
                    <a:pt x="551" y="490"/>
                  </a:lnTo>
                  <a:lnTo>
                    <a:pt x="553" y="490"/>
                  </a:lnTo>
                  <a:lnTo>
                    <a:pt x="554" y="491"/>
                  </a:lnTo>
                  <a:lnTo>
                    <a:pt x="558" y="491"/>
                  </a:lnTo>
                  <a:lnTo>
                    <a:pt x="559" y="493"/>
                  </a:lnTo>
                  <a:lnTo>
                    <a:pt x="561" y="493"/>
                  </a:lnTo>
                  <a:lnTo>
                    <a:pt x="561" y="494"/>
                  </a:lnTo>
                  <a:lnTo>
                    <a:pt x="563" y="494"/>
                  </a:lnTo>
                  <a:lnTo>
                    <a:pt x="564" y="494"/>
                  </a:lnTo>
                  <a:lnTo>
                    <a:pt x="563" y="496"/>
                  </a:lnTo>
                  <a:lnTo>
                    <a:pt x="563" y="498"/>
                  </a:lnTo>
                  <a:lnTo>
                    <a:pt x="561" y="499"/>
                  </a:lnTo>
                  <a:lnTo>
                    <a:pt x="561" y="501"/>
                  </a:lnTo>
                  <a:lnTo>
                    <a:pt x="559" y="501"/>
                  </a:lnTo>
                  <a:lnTo>
                    <a:pt x="559" y="503"/>
                  </a:lnTo>
                  <a:lnTo>
                    <a:pt x="561" y="503"/>
                  </a:lnTo>
                  <a:lnTo>
                    <a:pt x="561" y="504"/>
                  </a:lnTo>
                  <a:lnTo>
                    <a:pt x="561" y="506"/>
                  </a:lnTo>
                  <a:lnTo>
                    <a:pt x="561" y="507"/>
                  </a:lnTo>
                  <a:lnTo>
                    <a:pt x="561" y="509"/>
                  </a:lnTo>
                  <a:lnTo>
                    <a:pt x="563" y="509"/>
                  </a:lnTo>
                  <a:lnTo>
                    <a:pt x="563" y="511"/>
                  </a:lnTo>
                  <a:lnTo>
                    <a:pt x="564" y="511"/>
                  </a:lnTo>
                  <a:lnTo>
                    <a:pt x="563" y="511"/>
                  </a:lnTo>
                  <a:lnTo>
                    <a:pt x="564" y="512"/>
                  </a:lnTo>
                  <a:lnTo>
                    <a:pt x="563" y="512"/>
                  </a:lnTo>
                  <a:lnTo>
                    <a:pt x="561" y="514"/>
                  </a:lnTo>
                  <a:lnTo>
                    <a:pt x="563" y="514"/>
                  </a:lnTo>
                  <a:lnTo>
                    <a:pt x="561" y="514"/>
                  </a:lnTo>
                  <a:lnTo>
                    <a:pt x="563" y="514"/>
                  </a:lnTo>
                  <a:lnTo>
                    <a:pt x="563" y="516"/>
                  </a:lnTo>
                  <a:lnTo>
                    <a:pt x="564" y="516"/>
                  </a:lnTo>
                  <a:lnTo>
                    <a:pt x="566" y="516"/>
                  </a:lnTo>
                  <a:lnTo>
                    <a:pt x="566" y="517"/>
                  </a:lnTo>
                  <a:lnTo>
                    <a:pt x="566" y="519"/>
                  </a:lnTo>
                  <a:lnTo>
                    <a:pt x="566" y="520"/>
                  </a:lnTo>
                  <a:lnTo>
                    <a:pt x="566" y="522"/>
                  </a:lnTo>
                  <a:lnTo>
                    <a:pt x="567" y="522"/>
                  </a:lnTo>
                  <a:lnTo>
                    <a:pt x="567" y="524"/>
                  </a:lnTo>
                  <a:lnTo>
                    <a:pt x="567" y="525"/>
                  </a:lnTo>
                  <a:lnTo>
                    <a:pt x="569" y="525"/>
                  </a:lnTo>
                  <a:lnTo>
                    <a:pt x="569" y="524"/>
                  </a:lnTo>
                  <a:lnTo>
                    <a:pt x="569" y="525"/>
                  </a:lnTo>
                  <a:lnTo>
                    <a:pt x="571" y="525"/>
                  </a:lnTo>
                  <a:lnTo>
                    <a:pt x="569" y="527"/>
                  </a:lnTo>
                  <a:lnTo>
                    <a:pt x="571" y="527"/>
                  </a:lnTo>
                  <a:lnTo>
                    <a:pt x="572" y="527"/>
                  </a:lnTo>
                  <a:lnTo>
                    <a:pt x="572" y="529"/>
                  </a:lnTo>
                  <a:lnTo>
                    <a:pt x="572" y="530"/>
                  </a:lnTo>
                  <a:lnTo>
                    <a:pt x="572" y="533"/>
                  </a:lnTo>
                  <a:lnTo>
                    <a:pt x="574" y="533"/>
                  </a:lnTo>
                  <a:lnTo>
                    <a:pt x="572" y="533"/>
                  </a:lnTo>
                  <a:lnTo>
                    <a:pt x="572" y="535"/>
                  </a:lnTo>
                  <a:lnTo>
                    <a:pt x="572" y="537"/>
                  </a:lnTo>
                  <a:lnTo>
                    <a:pt x="574" y="537"/>
                  </a:lnTo>
                  <a:lnTo>
                    <a:pt x="574" y="538"/>
                  </a:lnTo>
                  <a:lnTo>
                    <a:pt x="576" y="538"/>
                  </a:lnTo>
                  <a:lnTo>
                    <a:pt x="576" y="540"/>
                  </a:lnTo>
                  <a:lnTo>
                    <a:pt x="577" y="540"/>
                  </a:lnTo>
                  <a:lnTo>
                    <a:pt x="579" y="540"/>
                  </a:lnTo>
                  <a:lnTo>
                    <a:pt x="579" y="542"/>
                  </a:lnTo>
                  <a:lnTo>
                    <a:pt x="580" y="542"/>
                  </a:lnTo>
                  <a:lnTo>
                    <a:pt x="582" y="542"/>
                  </a:lnTo>
                  <a:lnTo>
                    <a:pt x="582" y="540"/>
                  </a:lnTo>
                  <a:lnTo>
                    <a:pt x="584" y="542"/>
                  </a:lnTo>
                  <a:lnTo>
                    <a:pt x="582" y="542"/>
                  </a:lnTo>
                  <a:lnTo>
                    <a:pt x="584" y="542"/>
                  </a:lnTo>
                  <a:lnTo>
                    <a:pt x="584" y="543"/>
                  </a:lnTo>
                  <a:lnTo>
                    <a:pt x="585" y="545"/>
                  </a:lnTo>
                  <a:lnTo>
                    <a:pt x="585" y="543"/>
                  </a:lnTo>
                  <a:lnTo>
                    <a:pt x="585" y="545"/>
                  </a:lnTo>
                  <a:lnTo>
                    <a:pt x="587" y="545"/>
                  </a:lnTo>
                  <a:lnTo>
                    <a:pt x="587" y="543"/>
                  </a:lnTo>
                  <a:lnTo>
                    <a:pt x="589" y="543"/>
                  </a:lnTo>
                  <a:lnTo>
                    <a:pt x="590" y="543"/>
                  </a:lnTo>
                  <a:lnTo>
                    <a:pt x="590" y="542"/>
                  </a:lnTo>
                  <a:lnTo>
                    <a:pt x="590" y="543"/>
                  </a:lnTo>
                  <a:lnTo>
                    <a:pt x="592" y="543"/>
                  </a:lnTo>
                  <a:lnTo>
                    <a:pt x="593" y="543"/>
                  </a:lnTo>
                  <a:lnTo>
                    <a:pt x="593" y="545"/>
                  </a:lnTo>
                  <a:lnTo>
                    <a:pt x="595" y="545"/>
                  </a:lnTo>
                  <a:lnTo>
                    <a:pt x="597" y="543"/>
                  </a:lnTo>
                  <a:lnTo>
                    <a:pt x="602" y="543"/>
                  </a:lnTo>
                  <a:lnTo>
                    <a:pt x="603" y="543"/>
                  </a:lnTo>
                  <a:lnTo>
                    <a:pt x="603" y="542"/>
                  </a:lnTo>
                  <a:lnTo>
                    <a:pt x="605" y="543"/>
                  </a:lnTo>
                  <a:lnTo>
                    <a:pt x="606" y="542"/>
                  </a:lnTo>
                  <a:lnTo>
                    <a:pt x="608" y="542"/>
                  </a:lnTo>
                  <a:lnTo>
                    <a:pt x="610" y="542"/>
                  </a:lnTo>
                  <a:lnTo>
                    <a:pt x="610" y="540"/>
                  </a:lnTo>
                  <a:lnTo>
                    <a:pt x="611" y="540"/>
                  </a:lnTo>
                  <a:lnTo>
                    <a:pt x="611" y="538"/>
                  </a:lnTo>
                  <a:lnTo>
                    <a:pt x="613" y="540"/>
                  </a:lnTo>
                  <a:lnTo>
                    <a:pt x="613" y="538"/>
                  </a:lnTo>
                  <a:lnTo>
                    <a:pt x="613" y="540"/>
                  </a:lnTo>
                  <a:lnTo>
                    <a:pt x="613" y="542"/>
                  </a:lnTo>
                  <a:lnTo>
                    <a:pt x="613" y="543"/>
                  </a:lnTo>
                  <a:lnTo>
                    <a:pt x="613" y="545"/>
                  </a:lnTo>
                  <a:lnTo>
                    <a:pt x="611" y="545"/>
                  </a:lnTo>
                  <a:lnTo>
                    <a:pt x="611" y="547"/>
                  </a:lnTo>
                  <a:lnTo>
                    <a:pt x="611" y="548"/>
                  </a:lnTo>
                  <a:lnTo>
                    <a:pt x="613" y="548"/>
                  </a:lnTo>
                  <a:lnTo>
                    <a:pt x="613" y="550"/>
                  </a:lnTo>
                  <a:lnTo>
                    <a:pt x="613" y="551"/>
                  </a:lnTo>
                  <a:lnTo>
                    <a:pt x="615" y="551"/>
                  </a:lnTo>
                  <a:lnTo>
                    <a:pt x="615" y="553"/>
                  </a:lnTo>
                  <a:lnTo>
                    <a:pt x="615" y="555"/>
                  </a:lnTo>
                  <a:lnTo>
                    <a:pt x="615" y="556"/>
                  </a:lnTo>
                  <a:lnTo>
                    <a:pt x="615" y="558"/>
                  </a:lnTo>
                  <a:lnTo>
                    <a:pt x="615" y="560"/>
                  </a:lnTo>
                  <a:lnTo>
                    <a:pt x="613" y="561"/>
                  </a:lnTo>
                  <a:lnTo>
                    <a:pt x="615" y="561"/>
                  </a:lnTo>
                  <a:lnTo>
                    <a:pt x="613" y="561"/>
                  </a:lnTo>
                  <a:lnTo>
                    <a:pt x="613" y="563"/>
                  </a:lnTo>
                  <a:lnTo>
                    <a:pt x="613" y="564"/>
                  </a:lnTo>
                  <a:lnTo>
                    <a:pt x="613" y="566"/>
                  </a:lnTo>
                  <a:lnTo>
                    <a:pt x="611" y="566"/>
                  </a:lnTo>
                  <a:lnTo>
                    <a:pt x="613" y="566"/>
                  </a:lnTo>
                  <a:lnTo>
                    <a:pt x="611" y="566"/>
                  </a:lnTo>
                  <a:lnTo>
                    <a:pt x="611" y="568"/>
                  </a:lnTo>
                  <a:lnTo>
                    <a:pt x="611" y="566"/>
                  </a:lnTo>
                  <a:lnTo>
                    <a:pt x="610" y="568"/>
                  </a:lnTo>
                  <a:lnTo>
                    <a:pt x="610" y="569"/>
                  </a:lnTo>
                  <a:lnTo>
                    <a:pt x="608" y="571"/>
                  </a:lnTo>
                  <a:lnTo>
                    <a:pt x="608" y="569"/>
                  </a:lnTo>
                  <a:lnTo>
                    <a:pt x="606" y="571"/>
                  </a:lnTo>
                  <a:lnTo>
                    <a:pt x="605" y="569"/>
                  </a:lnTo>
                  <a:lnTo>
                    <a:pt x="603" y="569"/>
                  </a:lnTo>
                  <a:lnTo>
                    <a:pt x="605" y="569"/>
                  </a:lnTo>
                  <a:lnTo>
                    <a:pt x="605" y="568"/>
                  </a:lnTo>
                  <a:lnTo>
                    <a:pt x="603" y="568"/>
                  </a:lnTo>
                  <a:lnTo>
                    <a:pt x="603" y="566"/>
                  </a:lnTo>
                  <a:lnTo>
                    <a:pt x="603" y="564"/>
                  </a:lnTo>
                  <a:lnTo>
                    <a:pt x="602" y="564"/>
                  </a:lnTo>
                  <a:lnTo>
                    <a:pt x="600" y="564"/>
                  </a:lnTo>
                  <a:lnTo>
                    <a:pt x="600" y="563"/>
                  </a:lnTo>
                  <a:lnTo>
                    <a:pt x="598" y="564"/>
                  </a:lnTo>
                  <a:lnTo>
                    <a:pt x="598" y="563"/>
                  </a:lnTo>
                  <a:lnTo>
                    <a:pt x="597" y="563"/>
                  </a:lnTo>
                  <a:lnTo>
                    <a:pt x="595" y="563"/>
                  </a:lnTo>
                  <a:lnTo>
                    <a:pt x="595" y="564"/>
                  </a:lnTo>
                  <a:lnTo>
                    <a:pt x="593" y="564"/>
                  </a:lnTo>
                  <a:lnTo>
                    <a:pt x="595" y="566"/>
                  </a:lnTo>
                  <a:lnTo>
                    <a:pt x="593" y="566"/>
                  </a:lnTo>
                  <a:lnTo>
                    <a:pt x="593" y="568"/>
                  </a:lnTo>
                  <a:lnTo>
                    <a:pt x="595" y="568"/>
                  </a:lnTo>
                  <a:lnTo>
                    <a:pt x="595" y="569"/>
                  </a:lnTo>
                  <a:lnTo>
                    <a:pt x="595" y="568"/>
                  </a:lnTo>
                  <a:lnTo>
                    <a:pt x="595" y="569"/>
                  </a:lnTo>
                  <a:lnTo>
                    <a:pt x="593" y="569"/>
                  </a:lnTo>
                  <a:lnTo>
                    <a:pt x="595" y="571"/>
                  </a:lnTo>
                  <a:lnTo>
                    <a:pt x="593" y="571"/>
                  </a:lnTo>
                  <a:lnTo>
                    <a:pt x="595" y="571"/>
                  </a:lnTo>
                  <a:lnTo>
                    <a:pt x="593" y="571"/>
                  </a:lnTo>
                  <a:lnTo>
                    <a:pt x="592" y="571"/>
                  </a:lnTo>
                  <a:lnTo>
                    <a:pt x="592" y="569"/>
                  </a:lnTo>
                  <a:lnTo>
                    <a:pt x="592" y="571"/>
                  </a:lnTo>
                  <a:lnTo>
                    <a:pt x="590" y="569"/>
                  </a:lnTo>
                  <a:lnTo>
                    <a:pt x="589" y="569"/>
                  </a:lnTo>
                  <a:lnTo>
                    <a:pt x="589" y="568"/>
                  </a:lnTo>
                  <a:lnTo>
                    <a:pt x="587" y="568"/>
                  </a:lnTo>
                  <a:lnTo>
                    <a:pt x="587" y="566"/>
                  </a:lnTo>
                  <a:lnTo>
                    <a:pt x="587" y="564"/>
                  </a:lnTo>
                  <a:lnTo>
                    <a:pt x="585" y="566"/>
                  </a:lnTo>
                  <a:lnTo>
                    <a:pt x="585" y="564"/>
                  </a:lnTo>
                  <a:lnTo>
                    <a:pt x="587" y="564"/>
                  </a:lnTo>
                  <a:lnTo>
                    <a:pt x="585" y="564"/>
                  </a:lnTo>
                  <a:lnTo>
                    <a:pt x="585" y="566"/>
                  </a:lnTo>
                  <a:lnTo>
                    <a:pt x="585" y="564"/>
                  </a:lnTo>
                  <a:lnTo>
                    <a:pt x="584" y="564"/>
                  </a:lnTo>
                  <a:lnTo>
                    <a:pt x="584" y="563"/>
                  </a:lnTo>
                  <a:lnTo>
                    <a:pt x="585" y="561"/>
                  </a:lnTo>
                  <a:lnTo>
                    <a:pt x="584" y="560"/>
                  </a:lnTo>
                  <a:lnTo>
                    <a:pt x="584" y="558"/>
                  </a:lnTo>
                  <a:lnTo>
                    <a:pt x="582" y="558"/>
                  </a:lnTo>
                  <a:lnTo>
                    <a:pt x="580" y="558"/>
                  </a:lnTo>
                  <a:lnTo>
                    <a:pt x="580" y="556"/>
                  </a:lnTo>
                  <a:lnTo>
                    <a:pt x="579" y="556"/>
                  </a:lnTo>
                  <a:lnTo>
                    <a:pt x="577" y="556"/>
                  </a:lnTo>
                  <a:lnTo>
                    <a:pt x="577" y="555"/>
                  </a:lnTo>
                  <a:lnTo>
                    <a:pt x="576" y="556"/>
                  </a:lnTo>
                  <a:lnTo>
                    <a:pt x="576" y="555"/>
                  </a:lnTo>
                  <a:lnTo>
                    <a:pt x="574" y="556"/>
                  </a:lnTo>
                  <a:lnTo>
                    <a:pt x="576" y="556"/>
                  </a:lnTo>
                  <a:lnTo>
                    <a:pt x="574" y="556"/>
                  </a:lnTo>
                  <a:lnTo>
                    <a:pt x="572" y="556"/>
                  </a:lnTo>
                  <a:lnTo>
                    <a:pt x="571" y="556"/>
                  </a:lnTo>
                  <a:lnTo>
                    <a:pt x="571" y="558"/>
                  </a:lnTo>
                  <a:lnTo>
                    <a:pt x="571" y="556"/>
                  </a:lnTo>
                  <a:lnTo>
                    <a:pt x="571" y="555"/>
                  </a:lnTo>
                  <a:lnTo>
                    <a:pt x="571" y="553"/>
                  </a:lnTo>
                  <a:lnTo>
                    <a:pt x="571" y="551"/>
                  </a:lnTo>
                  <a:lnTo>
                    <a:pt x="569" y="551"/>
                  </a:lnTo>
                  <a:lnTo>
                    <a:pt x="567" y="553"/>
                  </a:lnTo>
                  <a:lnTo>
                    <a:pt x="567" y="551"/>
                  </a:lnTo>
                  <a:lnTo>
                    <a:pt x="567" y="550"/>
                  </a:lnTo>
                  <a:lnTo>
                    <a:pt x="569" y="550"/>
                  </a:lnTo>
                  <a:lnTo>
                    <a:pt x="567" y="550"/>
                  </a:lnTo>
                  <a:lnTo>
                    <a:pt x="567" y="548"/>
                  </a:lnTo>
                  <a:lnTo>
                    <a:pt x="569" y="548"/>
                  </a:lnTo>
                  <a:lnTo>
                    <a:pt x="569" y="547"/>
                  </a:lnTo>
                  <a:lnTo>
                    <a:pt x="571" y="547"/>
                  </a:lnTo>
                  <a:lnTo>
                    <a:pt x="569" y="547"/>
                  </a:lnTo>
                  <a:lnTo>
                    <a:pt x="569" y="545"/>
                  </a:lnTo>
                  <a:lnTo>
                    <a:pt x="569" y="543"/>
                  </a:lnTo>
                  <a:lnTo>
                    <a:pt x="567" y="543"/>
                  </a:lnTo>
                  <a:lnTo>
                    <a:pt x="567" y="542"/>
                  </a:lnTo>
                  <a:lnTo>
                    <a:pt x="566" y="540"/>
                  </a:lnTo>
                  <a:lnTo>
                    <a:pt x="564" y="540"/>
                  </a:lnTo>
                  <a:lnTo>
                    <a:pt x="563" y="538"/>
                  </a:lnTo>
                  <a:lnTo>
                    <a:pt x="561" y="540"/>
                  </a:lnTo>
                  <a:lnTo>
                    <a:pt x="563" y="540"/>
                  </a:lnTo>
                  <a:lnTo>
                    <a:pt x="563" y="542"/>
                  </a:lnTo>
                  <a:lnTo>
                    <a:pt x="561" y="540"/>
                  </a:lnTo>
                  <a:lnTo>
                    <a:pt x="559" y="540"/>
                  </a:lnTo>
                  <a:lnTo>
                    <a:pt x="559" y="542"/>
                  </a:lnTo>
                  <a:lnTo>
                    <a:pt x="558" y="540"/>
                  </a:lnTo>
                  <a:lnTo>
                    <a:pt x="559" y="538"/>
                  </a:lnTo>
                  <a:lnTo>
                    <a:pt x="561" y="537"/>
                  </a:lnTo>
                  <a:lnTo>
                    <a:pt x="559" y="537"/>
                  </a:lnTo>
                  <a:lnTo>
                    <a:pt x="559" y="535"/>
                  </a:lnTo>
                  <a:lnTo>
                    <a:pt x="561" y="535"/>
                  </a:lnTo>
                  <a:lnTo>
                    <a:pt x="561" y="533"/>
                  </a:lnTo>
                  <a:lnTo>
                    <a:pt x="563" y="533"/>
                  </a:lnTo>
                  <a:lnTo>
                    <a:pt x="561" y="533"/>
                  </a:lnTo>
                  <a:lnTo>
                    <a:pt x="561" y="532"/>
                  </a:lnTo>
                  <a:lnTo>
                    <a:pt x="559" y="532"/>
                  </a:lnTo>
                  <a:close/>
                  <a:moveTo>
                    <a:pt x="772" y="327"/>
                  </a:moveTo>
                  <a:lnTo>
                    <a:pt x="774" y="327"/>
                  </a:lnTo>
                  <a:lnTo>
                    <a:pt x="776" y="329"/>
                  </a:lnTo>
                  <a:lnTo>
                    <a:pt x="776" y="327"/>
                  </a:lnTo>
                  <a:lnTo>
                    <a:pt x="777" y="329"/>
                  </a:lnTo>
                  <a:lnTo>
                    <a:pt x="776" y="329"/>
                  </a:lnTo>
                  <a:lnTo>
                    <a:pt x="777" y="329"/>
                  </a:lnTo>
                  <a:lnTo>
                    <a:pt x="776" y="329"/>
                  </a:lnTo>
                  <a:lnTo>
                    <a:pt x="776" y="330"/>
                  </a:lnTo>
                  <a:lnTo>
                    <a:pt x="776" y="332"/>
                  </a:lnTo>
                  <a:lnTo>
                    <a:pt x="777" y="332"/>
                  </a:lnTo>
                  <a:lnTo>
                    <a:pt x="777" y="333"/>
                  </a:lnTo>
                  <a:lnTo>
                    <a:pt x="779" y="332"/>
                  </a:lnTo>
                  <a:lnTo>
                    <a:pt x="780" y="332"/>
                  </a:lnTo>
                  <a:lnTo>
                    <a:pt x="782" y="332"/>
                  </a:lnTo>
                  <a:lnTo>
                    <a:pt x="784" y="332"/>
                  </a:lnTo>
                  <a:lnTo>
                    <a:pt x="784" y="333"/>
                  </a:lnTo>
                  <a:lnTo>
                    <a:pt x="782" y="335"/>
                  </a:lnTo>
                  <a:lnTo>
                    <a:pt x="784" y="335"/>
                  </a:lnTo>
                  <a:lnTo>
                    <a:pt x="782" y="337"/>
                  </a:lnTo>
                  <a:lnTo>
                    <a:pt x="782" y="338"/>
                  </a:lnTo>
                  <a:lnTo>
                    <a:pt x="780" y="338"/>
                  </a:lnTo>
                  <a:lnTo>
                    <a:pt x="780" y="340"/>
                  </a:lnTo>
                  <a:lnTo>
                    <a:pt x="780" y="342"/>
                  </a:lnTo>
                  <a:lnTo>
                    <a:pt x="780" y="343"/>
                  </a:lnTo>
                  <a:lnTo>
                    <a:pt x="782" y="343"/>
                  </a:lnTo>
                  <a:lnTo>
                    <a:pt x="784" y="343"/>
                  </a:lnTo>
                  <a:lnTo>
                    <a:pt x="785" y="343"/>
                  </a:lnTo>
                  <a:lnTo>
                    <a:pt x="787" y="343"/>
                  </a:lnTo>
                  <a:lnTo>
                    <a:pt x="787" y="345"/>
                  </a:lnTo>
                  <a:lnTo>
                    <a:pt x="789" y="345"/>
                  </a:lnTo>
                  <a:lnTo>
                    <a:pt x="790" y="345"/>
                  </a:lnTo>
                  <a:lnTo>
                    <a:pt x="790" y="346"/>
                  </a:lnTo>
                  <a:lnTo>
                    <a:pt x="790" y="345"/>
                  </a:lnTo>
                  <a:lnTo>
                    <a:pt x="790" y="346"/>
                  </a:lnTo>
                  <a:lnTo>
                    <a:pt x="792" y="346"/>
                  </a:lnTo>
                  <a:lnTo>
                    <a:pt x="793" y="346"/>
                  </a:lnTo>
                  <a:lnTo>
                    <a:pt x="792" y="348"/>
                  </a:lnTo>
                  <a:lnTo>
                    <a:pt x="793" y="348"/>
                  </a:lnTo>
                  <a:lnTo>
                    <a:pt x="793" y="350"/>
                  </a:lnTo>
                  <a:lnTo>
                    <a:pt x="795" y="350"/>
                  </a:lnTo>
                  <a:lnTo>
                    <a:pt x="795" y="351"/>
                  </a:lnTo>
                  <a:lnTo>
                    <a:pt x="797" y="353"/>
                  </a:lnTo>
                  <a:lnTo>
                    <a:pt x="798" y="353"/>
                  </a:lnTo>
                  <a:lnTo>
                    <a:pt x="800" y="353"/>
                  </a:lnTo>
                  <a:lnTo>
                    <a:pt x="802" y="353"/>
                  </a:lnTo>
                  <a:lnTo>
                    <a:pt x="800" y="355"/>
                  </a:lnTo>
                  <a:lnTo>
                    <a:pt x="800" y="356"/>
                  </a:lnTo>
                  <a:lnTo>
                    <a:pt x="802" y="356"/>
                  </a:lnTo>
                  <a:lnTo>
                    <a:pt x="800" y="356"/>
                  </a:lnTo>
                  <a:lnTo>
                    <a:pt x="802" y="358"/>
                  </a:lnTo>
                  <a:lnTo>
                    <a:pt x="802" y="356"/>
                  </a:lnTo>
                  <a:lnTo>
                    <a:pt x="803" y="356"/>
                  </a:lnTo>
                  <a:lnTo>
                    <a:pt x="803" y="358"/>
                  </a:lnTo>
                  <a:lnTo>
                    <a:pt x="803" y="359"/>
                  </a:lnTo>
                  <a:lnTo>
                    <a:pt x="805" y="359"/>
                  </a:lnTo>
                  <a:lnTo>
                    <a:pt x="807" y="359"/>
                  </a:lnTo>
                  <a:lnTo>
                    <a:pt x="805" y="361"/>
                  </a:lnTo>
                  <a:lnTo>
                    <a:pt x="805" y="363"/>
                  </a:lnTo>
                  <a:lnTo>
                    <a:pt x="807" y="363"/>
                  </a:lnTo>
                  <a:lnTo>
                    <a:pt x="808" y="364"/>
                  </a:lnTo>
                  <a:lnTo>
                    <a:pt x="810" y="364"/>
                  </a:lnTo>
                  <a:lnTo>
                    <a:pt x="810" y="366"/>
                  </a:lnTo>
                  <a:lnTo>
                    <a:pt x="811" y="368"/>
                  </a:lnTo>
                  <a:lnTo>
                    <a:pt x="813" y="369"/>
                  </a:lnTo>
                  <a:lnTo>
                    <a:pt x="813" y="371"/>
                  </a:lnTo>
                  <a:lnTo>
                    <a:pt x="813" y="372"/>
                  </a:lnTo>
                  <a:lnTo>
                    <a:pt x="813" y="374"/>
                  </a:lnTo>
                  <a:lnTo>
                    <a:pt x="811" y="374"/>
                  </a:lnTo>
                  <a:lnTo>
                    <a:pt x="810" y="374"/>
                  </a:lnTo>
                  <a:lnTo>
                    <a:pt x="808" y="372"/>
                  </a:lnTo>
                  <a:lnTo>
                    <a:pt x="807" y="374"/>
                  </a:lnTo>
                  <a:lnTo>
                    <a:pt x="805" y="374"/>
                  </a:lnTo>
                  <a:lnTo>
                    <a:pt x="807" y="374"/>
                  </a:lnTo>
                  <a:lnTo>
                    <a:pt x="805" y="374"/>
                  </a:lnTo>
                  <a:lnTo>
                    <a:pt x="805" y="372"/>
                  </a:lnTo>
                  <a:lnTo>
                    <a:pt x="803" y="372"/>
                  </a:lnTo>
                  <a:lnTo>
                    <a:pt x="803" y="371"/>
                  </a:lnTo>
                  <a:lnTo>
                    <a:pt x="802" y="371"/>
                  </a:lnTo>
                  <a:lnTo>
                    <a:pt x="802" y="369"/>
                  </a:lnTo>
                  <a:lnTo>
                    <a:pt x="802" y="368"/>
                  </a:lnTo>
                  <a:lnTo>
                    <a:pt x="803" y="368"/>
                  </a:lnTo>
                  <a:lnTo>
                    <a:pt x="803" y="366"/>
                  </a:lnTo>
                  <a:lnTo>
                    <a:pt x="802" y="366"/>
                  </a:lnTo>
                  <a:lnTo>
                    <a:pt x="802" y="364"/>
                  </a:lnTo>
                  <a:lnTo>
                    <a:pt x="800" y="364"/>
                  </a:lnTo>
                  <a:lnTo>
                    <a:pt x="800" y="363"/>
                  </a:lnTo>
                  <a:lnTo>
                    <a:pt x="798" y="361"/>
                  </a:lnTo>
                  <a:lnTo>
                    <a:pt x="797" y="361"/>
                  </a:lnTo>
                  <a:lnTo>
                    <a:pt x="795" y="361"/>
                  </a:lnTo>
                  <a:lnTo>
                    <a:pt x="793" y="363"/>
                  </a:lnTo>
                  <a:lnTo>
                    <a:pt x="792" y="364"/>
                  </a:lnTo>
                  <a:lnTo>
                    <a:pt x="793" y="366"/>
                  </a:lnTo>
                  <a:lnTo>
                    <a:pt x="793" y="368"/>
                  </a:lnTo>
                  <a:lnTo>
                    <a:pt x="795" y="368"/>
                  </a:lnTo>
                  <a:lnTo>
                    <a:pt x="797" y="369"/>
                  </a:lnTo>
                  <a:lnTo>
                    <a:pt x="798" y="369"/>
                  </a:lnTo>
                  <a:lnTo>
                    <a:pt x="800" y="371"/>
                  </a:lnTo>
                  <a:lnTo>
                    <a:pt x="802" y="371"/>
                  </a:lnTo>
                  <a:lnTo>
                    <a:pt x="803" y="372"/>
                  </a:lnTo>
                  <a:lnTo>
                    <a:pt x="803" y="374"/>
                  </a:lnTo>
                  <a:lnTo>
                    <a:pt x="805" y="374"/>
                  </a:lnTo>
                  <a:lnTo>
                    <a:pt x="805" y="376"/>
                  </a:lnTo>
                  <a:lnTo>
                    <a:pt x="807" y="376"/>
                  </a:lnTo>
                  <a:lnTo>
                    <a:pt x="807" y="377"/>
                  </a:lnTo>
                  <a:lnTo>
                    <a:pt x="805" y="377"/>
                  </a:lnTo>
                  <a:lnTo>
                    <a:pt x="807" y="377"/>
                  </a:lnTo>
                  <a:lnTo>
                    <a:pt x="807" y="379"/>
                  </a:lnTo>
                  <a:lnTo>
                    <a:pt x="805" y="379"/>
                  </a:lnTo>
                  <a:lnTo>
                    <a:pt x="805" y="381"/>
                  </a:lnTo>
                  <a:lnTo>
                    <a:pt x="803" y="381"/>
                  </a:lnTo>
                  <a:lnTo>
                    <a:pt x="803" y="379"/>
                  </a:lnTo>
                  <a:lnTo>
                    <a:pt x="803" y="381"/>
                  </a:lnTo>
                  <a:lnTo>
                    <a:pt x="802" y="382"/>
                  </a:lnTo>
                  <a:lnTo>
                    <a:pt x="802" y="381"/>
                  </a:lnTo>
                  <a:lnTo>
                    <a:pt x="800" y="381"/>
                  </a:lnTo>
                  <a:lnTo>
                    <a:pt x="802" y="382"/>
                  </a:lnTo>
                  <a:lnTo>
                    <a:pt x="800" y="382"/>
                  </a:lnTo>
                  <a:lnTo>
                    <a:pt x="800" y="381"/>
                  </a:lnTo>
                  <a:lnTo>
                    <a:pt x="800" y="382"/>
                  </a:lnTo>
                  <a:lnTo>
                    <a:pt x="798" y="382"/>
                  </a:lnTo>
                  <a:lnTo>
                    <a:pt x="797" y="384"/>
                  </a:lnTo>
                  <a:lnTo>
                    <a:pt x="795" y="384"/>
                  </a:lnTo>
                  <a:lnTo>
                    <a:pt x="793" y="384"/>
                  </a:lnTo>
                  <a:lnTo>
                    <a:pt x="793" y="385"/>
                  </a:lnTo>
                  <a:lnTo>
                    <a:pt x="793" y="384"/>
                  </a:lnTo>
                  <a:lnTo>
                    <a:pt x="792" y="384"/>
                  </a:lnTo>
                  <a:lnTo>
                    <a:pt x="792" y="385"/>
                  </a:lnTo>
                  <a:lnTo>
                    <a:pt x="790" y="384"/>
                  </a:lnTo>
                  <a:lnTo>
                    <a:pt x="789" y="384"/>
                  </a:lnTo>
                  <a:lnTo>
                    <a:pt x="787" y="384"/>
                  </a:lnTo>
                  <a:lnTo>
                    <a:pt x="785" y="384"/>
                  </a:lnTo>
                  <a:lnTo>
                    <a:pt x="784" y="384"/>
                  </a:lnTo>
                  <a:lnTo>
                    <a:pt x="784" y="385"/>
                  </a:lnTo>
                  <a:lnTo>
                    <a:pt x="782" y="385"/>
                  </a:lnTo>
                  <a:lnTo>
                    <a:pt x="782" y="384"/>
                  </a:lnTo>
                  <a:lnTo>
                    <a:pt x="780" y="384"/>
                  </a:lnTo>
                  <a:lnTo>
                    <a:pt x="779" y="382"/>
                  </a:lnTo>
                  <a:lnTo>
                    <a:pt x="777" y="382"/>
                  </a:lnTo>
                  <a:lnTo>
                    <a:pt x="774" y="382"/>
                  </a:lnTo>
                  <a:lnTo>
                    <a:pt x="772" y="382"/>
                  </a:lnTo>
                  <a:lnTo>
                    <a:pt x="769" y="382"/>
                  </a:lnTo>
                  <a:lnTo>
                    <a:pt x="767" y="382"/>
                  </a:lnTo>
                  <a:lnTo>
                    <a:pt x="766" y="382"/>
                  </a:lnTo>
                  <a:lnTo>
                    <a:pt x="766" y="384"/>
                  </a:lnTo>
                  <a:lnTo>
                    <a:pt x="764" y="384"/>
                  </a:lnTo>
                  <a:lnTo>
                    <a:pt x="763" y="384"/>
                  </a:lnTo>
                  <a:lnTo>
                    <a:pt x="763" y="382"/>
                  </a:lnTo>
                  <a:lnTo>
                    <a:pt x="761" y="382"/>
                  </a:lnTo>
                  <a:lnTo>
                    <a:pt x="761" y="381"/>
                  </a:lnTo>
                  <a:lnTo>
                    <a:pt x="759" y="381"/>
                  </a:lnTo>
                  <a:lnTo>
                    <a:pt x="759" y="379"/>
                  </a:lnTo>
                  <a:lnTo>
                    <a:pt x="758" y="377"/>
                  </a:lnTo>
                  <a:lnTo>
                    <a:pt x="756" y="377"/>
                  </a:lnTo>
                  <a:lnTo>
                    <a:pt x="754" y="377"/>
                  </a:lnTo>
                  <a:lnTo>
                    <a:pt x="754" y="376"/>
                  </a:lnTo>
                  <a:lnTo>
                    <a:pt x="754" y="374"/>
                  </a:lnTo>
                  <a:lnTo>
                    <a:pt x="756" y="374"/>
                  </a:lnTo>
                  <a:lnTo>
                    <a:pt x="756" y="372"/>
                  </a:lnTo>
                  <a:lnTo>
                    <a:pt x="758" y="374"/>
                  </a:lnTo>
                  <a:lnTo>
                    <a:pt x="759" y="374"/>
                  </a:lnTo>
                  <a:lnTo>
                    <a:pt x="759" y="372"/>
                  </a:lnTo>
                  <a:lnTo>
                    <a:pt x="761" y="372"/>
                  </a:lnTo>
                  <a:lnTo>
                    <a:pt x="763" y="371"/>
                  </a:lnTo>
                  <a:lnTo>
                    <a:pt x="763" y="369"/>
                  </a:lnTo>
                  <a:lnTo>
                    <a:pt x="764" y="368"/>
                  </a:lnTo>
                  <a:lnTo>
                    <a:pt x="766" y="366"/>
                  </a:lnTo>
                  <a:lnTo>
                    <a:pt x="767" y="366"/>
                  </a:lnTo>
                  <a:lnTo>
                    <a:pt x="767" y="364"/>
                  </a:lnTo>
                  <a:lnTo>
                    <a:pt x="769" y="364"/>
                  </a:lnTo>
                  <a:lnTo>
                    <a:pt x="769" y="363"/>
                  </a:lnTo>
                  <a:lnTo>
                    <a:pt x="771" y="363"/>
                  </a:lnTo>
                  <a:lnTo>
                    <a:pt x="769" y="363"/>
                  </a:lnTo>
                  <a:lnTo>
                    <a:pt x="771" y="363"/>
                  </a:lnTo>
                  <a:lnTo>
                    <a:pt x="772" y="361"/>
                  </a:lnTo>
                  <a:lnTo>
                    <a:pt x="774" y="359"/>
                  </a:lnTo>
                  <a:lnTo>
                    <a:pt x="772" y="359"/>
                  </a:lnTo>
                  <a:lnTo>
                    <a:pt x="774" y="359"/>
                  </a:lnTo>
                  <a:lnTo>
                    <a:pt x="774" y="358"/>
                  </a:lnTo>
                  <a:lnTo>
                    <a:pt x="774" y="356"/>
                  </a:lnTo>
                  <a:lnTo>
                    <a:pt x="772" y="355"/>
                  </a:lnTo>
                  <a:lnTo>
                    <a:pt x="771" y="355"/>
                  </a:lnTo>
                  <a:lnTo>
                    <a:pt x="769" y="355"/>
                  </a:lnTo>
                  <a:lnTo>
                    <a:pt x="767" y="355"/>
                  </a:lnTo>
                  <a:lnTo>
                    <a:pt x="766" y="356"/>
                  </a:lnTo>
                  <a:lnTo>
                    <a:pt x="764" y="356"/>
                  </a:lnTo>
                  <a:lnTo>
                    <a:pt x="763" y="356"/>
                  </a:lnTo>
                  <a:lnTo>
                    <a:pt x="761" y="358"/>
                  </a:lnTo>
                  <a:lnTo>
                    <a:pt x="759" y="358"/>
                  </a:lnTo>
                  <a:lnTo>
                    <a:pt x="759" y="359"/>
                  </a:lnTo>
                  <a:lnTo>
                    <a:pt x="759" y="363"/>
                  </a:lnTo>
                  <a:lnTo>
                    <a:pt x="759" y="364"/>
                  </a:lnTo>
                  <a:lnTo>
                    <a:pt x="758" y="364"/>
                  </a:lnTo>
                  <a:lnTo>
                    <a:pt x="758" y="366"/>
                  </a:lnTo>
                  <a:lnTo>
                    <a:pt x="758" y="368"/>
                  </a:lnTo>
                  <a:lnTo>
                    <a:pt x="758" y="366"/>
                  </a:lnTo>
                  <a:lnTo>
                    <a:pt x="756" y="366"/>
                  </a:lnTo>
                  <a:lnTo>
                    <a:pt x="756" y="368"/>
                  </a:lnTo>
                  <a:lnTo>
                    <a:pt x="756" y="369"/>
                  </a:lnTo>
                  <a:lnTo>
                    <a:pt x="756" y="371"/>
                  </a:lnTo>
                  <a:lnTo>
                    <a:pt x="756" y="372"/>
                  </a:lnTo>
                  <a:lnTo>
                    <a:pt x="754" y="371"/>
                  </a:lnTo>
                  <a:lnTo>
                    <a:pt x="754" y="372"/>
                  </a:lnTo>
                  <a:lnTo>
                    <a:pt x="753" y="372"/>
                  </a:lnTo>
                  <a:lnTo>
                    <a:pt x="754" y="372"/>
                  </a:lnTo>
                  <a:lnTo>
                    <a:pt x="753" y="374"/>
                  </a:lnTo>
                  <a:lnTo>
                    <a:pt x="753" y="376"/>
                  </a:lnTo>
                  <a:lnTo>
                    <a:pt x="751" y="376"/>
                  </a:lnTo>
                  <a:lnTo>
                    <a:pt x="750" y="376"/>
                  </a:lnTo>
                  <a:lnTo>
                    <a:pt x="748" y="374"/>
                  </a:lnTo>
                  <a:lnTo>
                    <a:pt x="746" y="374"/>
                  </a:lnTo>
                  <a:lnTo>
                    <a:pt x="745" y="374"/>
                  </a:lnTo>
                  <a:lnTo>
                    <a:pt x="743" y="374"/>
                  </a:lnTo>
                  <a:lnTo>
                    <a:pt x="741" y="374"/>
                  </a:lnTo>
                  <a:lnTo>
                    <a:pt x="741" y="376"/>
                  </a:lnTo>
                  <a:lnTo>
                    <a:pt x="740" y="376"/>
                  </a:lnTo>
                  <a:lnTo>
                    <a:pt x="738" y="376"/>
                  </a:lnTo>
                  <a:lnTo>
                    <a:pt x="738" y="374"/>
                  </a:lnTo>
                  <a:lnTo>
                    <a:pt x="737" y="374"/>
                  </a:lnTo>
                  <a:lnTo>
                    <a:pt x="737" y="372"/>
                  </a:lnTo>
                  <a:lnTo>
                    <a:pt x="735" y="372"/>
                  </a:lnTo>
                  <a:lnTo>
                    <a:pt x="733" y="372"/>
                  </a:lnTo>
                  <a:lnTo>
                    <a:pt x="732" y="372"/>
                  </a:lnTo>
                  <a:lnTo>
                    <a:pt x="730" y="371"/>
                  </a:lnTo>
                  <a:lnTo>
                    <a:pt x="728" y="371"/>
                  </a:lnTo>
                  <a:lnTo>
                    <a:pt x="728" y="369"/>
                  </a:lnTo>
                  <a:lnTo>
                    <a:pt x="727" y="369"/>
                  </a:lnTo>
                  <a:lnTo>
                    <a:pt x="728" y="369"/>
                  </a:lnTo>
                  <a:lnTo>
                    <a:pt x="727" y="369"/>
                  </a:lnTo>
                  <a:lnTo>
                    <a:pt x="725" y="369"/>
                  </a:lnTo>
                  <a:lnTo>
                    <a:pt x="725" y="368"/>
                  </a:lnTo>
                  <a:lnTo>
                    <a:pt x="724" y="368"/>
                  </a:lnTo>
                  <a:lnTo>
                    <a:pt x="724" y="366"/>
                  </a:lnTo>
                  <a:lnTo>
                    <a:pt x="725" y="366"/>
                  </a:lnTo>
                  <a:lnTo>
                    <a:pt x="725" y="368"/>
                  </a:lnTo>
                  <a:lnTo>
                    <a:pt x="725" y="366"/>
                  </a:lnTo>
                  <a:lnTo>
                    <a:pt x="725" y="364"/>
                  </a:lnTo>
                  <a:lnTo>
                    <a:pt x="725" y="363"/>
                  </a:lnTo>
                  <a:lnTo>
                    <a:pt x="725" y="361"/>
                  </a:lnTo>
                  <a:lnTo>
                    <a:pt x="724" y="361"/>
                  </a:lnTo>
                  <a:lnTo>
                    <a:pt x="725" y="361"/>
                  </a:lnTo>
                  <a:lnTo>
                    <a:pt x="724" y="361"/>
                  </a:lnTo>
                  <a:lnTo>
                    <a:pt x="724" y="359"/>
                  </a:lnTo>
                  <a:lnTo>
                    <a:pt x="725" y="359"/>
                  </a:lnTo>
                  <a:lnTo>
                    <a:pt x="725" y="358"/>
                  </a:lnTo>
                  <a:lnTo>
                    <a:pt x="724" y="358"/>
                  </a:lnTo>
                  <a:lnTo>
                    <a:pt x="724" y="356"/>
                  </a:lnTo>
                  <a:lnTo>
                    <a:pt x="725" y="356"/>
                  </a:lnTo>
                  <a:lnTo>
                    <a:pt x="725" y="355"/>
                  </a:lnTo>
                  <a:lnTo>
                    <a:pt x="727" y="355"/>
                  </a:lnTo>
                  <a:lnTo>
                    <a:pt x="725" y="355"/>
                  </a:lnTo>
                  <a:lnTo>
                    <a:pt x="725" y="353"/>
                  </a:lnTo>
                  <a:lnTo>
                    <a:pt x="727" y="353"/>
                  </a:lnTo>
                  <a:lnTo>
                    <a:pt x="728" y="353"/>
                  </a:lnTo>
                  <a:lnTo>
                    <a:pt x="728" y="351"/>
                  </a:lnTo>
                  <a:lnTo>
                    <a:pt x="728" y="350"/>
                  </a:lnTo>
                  <a:lnTo>
                    <a:pt x="728" y="351"/>
                  </a:lnTo>
                  <a:lnTo>
                    <a:pt x="728" y="350"/>
                  </a:lnTo>
                  <a:lnTo>
                    <a:pt x="730" y="350"/>
                  </a:lnTo>
                  <a:lnTo>
                    <a:pt x="730" y="351"/>
                  </a:lnTo>
                  <a:lnTo>
                    <a:pt x="732" y="351"/>
                  </a:lnTo>
                  <a:lnTo>
                    <a:pt x="733" y="351"/>
                  </a:lnTo>
                  <a:lnTo>
                    <a:pt x="735" y="351"/>
                  </a:lnTo>
                  <a:lnTo>
                    <a:pt x="735" y="350"/>
                  </a:lnTo>
                  <a:lnTo>
                    <a:pt x="737" y="350"/>
                  </a:lnTo>
                  <a:lnTo>
                    <a:pt x="737" y="351"/>
                  </a:lnTo>
                  <a:lnTo>
                    <a:pt x="737" y="350"/>
                  </a:lnTo>
                  <a:lnTo>
                    <a:pt x="738" y="351"/>
                  </a:lnTo>
                  <a:lnTo>
                    <a:pt x="738" y="350"/>
                  </a:lnTo>
                  <a:lnTo>
                    <a:pt x="740" y="350"/>
                  </a:lnTo>
                  <a:lnTo>
                    <a:pt x="740" y="348"/>
                  </a:lnTo>
                  <a:lnTo>
                    <a:pt x="741" y="348"/>
                  </a:lnTo>
                  <a:lnTo>
                    <a:pt x="743" y="348"/>
                  </a:lnTo>
                  <a:lnTo>
                    <a:pt x="743" y="346"/>
                  </a:lnTo>
                  <a:lnTo>
                    <a:pt x="745" y="346"/>
                  </a:lnTo>
                  <a:lnTo>
                    <a:pt x="743" y="346"/>
                  </a:lnTo>
                  <a:lnTo>
                    <a:pt x="743" y="348"/>
                  </a:lnTo>
                  <a:lnTo>
                    <a:pt x="745" y="346"/>
                  </a:lnTo>
                  <a:lnTo>
                    <a:pt x="746" y="346"/>
                  </a:lnTo>
                  <a:lnTo>
                    <a:pt x="746" y="345"/>
                  </a:lnTo>
                  <a:lnTo>
                    <a:pt x="748" y="345"/>
                  </a:lnTo>
                  <a:lnTo>
                    <a:pt x="750" y="343"/>
                  </a:lnTo>
                  <a:lnTo>
                    <a:pt x="751" y="343"/>
                  </a:lnTo>
                  <a:lnTo>
                    <a:pt x="753" y="343"/>
                  </a:lnTo>
                  <a:lnTo>
                    <a:pt x="753" y="342"/>
                  </a:lnTo>
                  <a:lnTo>
                    <a:pt x="754" y="342"/>
                  </a:lnTo>
                  <a:lnTo>
                    <a:pt x="754" y="340"/>
                  </a:lnTo>
                  <a:lnTo>
                    <a:pt x="756" y="340"/>
                  </a:lnTo>
                  <a:lnTo>
                    <a:pt x="758" y="338"/>
                  </a:lnTo>
                  <a:lnTo>
                    <a:pt x="756" y="337"/>
                  </a:lnTo>
                  <a:lnTo>
                    <a:pt x="756" y="335"/>
                  </a:lnTo>
                  <a:lnTo>
                    <a:pt x="756" y="333"/>
                  </a:lnTo>
                  <a:lnTo>
                    <a:pt x="754" y="333"/>
                  </a:lnTo>
                  <a:lnTo>
                    <a:pt x="756" y="332"/>
                  </a:lnTo>
                  <a:lnTo>
                    <a:pt x="758" y="332"/>
                  </a:lnTo>
                  <a:lnTo>
                    <a:pt x="759" y="332"/>
                  </a:lnTo>
                  <a:lnTo>
                    <a:pt x="761" y="330"/>
                  </a:lnTo>
                  <a:lnTo>
                    <a:pt x="763" y="330"/>
                  </a:lnTo>
                  <a:lnTo>
                    <a:pt x="764" y="330"/>
                  </a:lnTo>
                  <a:lnTo>
                    <a:pt x="767" y="330"/>
                  </a:lnTo>
                  <a:lnTo>
                    <a:pt x="769" y="330"/>
                  </a:lnTo>
                  <a:lnTo>
                    <a:pt x="771" y="329"/>
                  </a:lnTo>
                  <a:lnTo>
                    <a:pt x="771" y="330"/>
                  </a:lnTo>
                  <a:lnTo>
                    <a:pt x="771" y="329"/>
                  </a:lnTo>
                  <a:lnTo>
                    <a:pt x="772" y="329"/>
                  </a:lnTo>
                  <a:lnTo>
                    <a:pt x="772" y="327"/>
                  </a:lnTo>
                  <a:close/>
                  <a:moveTo>
                    <a:pt x="1067" y="688"/>
                  </a:moveTo>
                  <a:lnTo>
                    <a:pt x="1067" y="690"/>
                  </a:lnTo>
                  <a:lnTo>
                    <a:pt x="1067" y="688"/>
                  </a:lnTo>
                  <a:lnTo>
                    <a:pt x="1068" y="690"/>
                  </a:lnTo>
                  <a:lnTo>
                    <a:pt x="1068" y="691"/>
                  </a:lnTo>
                  <a:lnTo>
                    <a:pt x="1068" y="693"/>
                  </a:lnTo>
                  <a:lnTo>
                    <a:pt x="1068" y="695"/>
                  </a:lnTo>
                  <a:lnTo>
                    <a:pt x="1068" y="696"/>
                  </a:lnTo>
                  <a:lnTo>
                    <a:pt x="1070" y="696"/>
                  </a:lnTo>
                  <a:lnTo>
                    <a:pt x="1072" y="696"/>
                  </a:lnTo>
                  <a:lnTo>
                    <a:pt x="1070" y="698"/>
                  </a:lnTo>
                  <a:lnTo>
                    <a:pt x="1070" y="699"/>
                  </a:lnTo>
                  <a:lnTo>
                    <a:pt x="1068" y="699"/>
                  </a:lnTo>
                  <a:lnTo>
                    <a:pt x="1068" y="701"/>
                  </a:lnTo>
                  <a:lnTo>
                    <a:pt x="1067" y="704"/>
                  </a:lnTo>
                  <a:lnTo>
                    <a:pt x="1068" y="704"/>
                  </a:lnTo>
                  <a:lnTo>
                    <a:pt x="1068" y="706"/>
                  </a:lnTo>
                  <a:lnTo>
                    <a:pt x="1068" y="708"/>
                  </a:lnTo>
                  <a:lnTo>
                    <a:pt x="1068" y="706"/>
                  </a:lnTo>
                  <a:lnTo>
                    <a:pt x="1068" y="708"/>
                  </a:lnTo>
                  <a:lnTo>
                    <a:pt x="1068" y="709"/>
                  </a:lnTo>
                  <a:lnTo>
                    <a:pt x="1067" y="709"/>
                  </a:lnTo>
                  <a:lnTo>
                    <a:pt x="1067" y="712"/>
                  </a:lnTo>
                  <a:lnTo>
                    <a:pt x="1065" y="716"/>
                  </a:lnTo>
                  <a:lnTo>
                    <a:pt x="1065" y="717"/>
                  </a:lnTo>
                  <a:lnTo>
                    <a:pt x="1067" y="717"/>
                  </a:lnTo>
                  <a:lnTo>
                    <a:pt x="1067" y="719"/>
                  </a:lnTo>
                  <a:lnTo>
                    <a:pt x="1067" y="717"/>
                  </a:lnTo>
                  <a:lnTo>
                    <a:pt x="1067" y="719"/>
                  </a:lnTo>
                  <a:lnTo>
                    <a:pt x="1065" y="719"/>
                  </a:lnTo>
                  <a:lnTo>
                    <a:pt x="1065" y="721"/>
                  </a:lnTo>
                  <a:lnTo>
                    <a:pt x="1065" y="722"/>
                  </a:lnTo>
                  <a:lnTo>
                    <a:pt x="1063" y="722"/>
                  </a:lnTo>
                  <a:lnTo>
                    <a:pt x="1065" y="722"/>
                  </a:lnTo>
                  <a:lnTo>
                    <a:pt x="1065" y="724"/>
                  </a:lnTo>
                  <a:lnTo>
                    <a:pt x="1063" y="724"/>
                  </a:lnTo>
                  <a:lnTo>
                    <a:pt x="1063" y="725"/>
                  </a:lnTo>
                  <a:lnTo>
                    <a:pt x="1065" y="725"/>
                  </a:lnTo>
                  <a:lnTo>
                    <a:pt x="1063" y="725"/>
                  </a:lnTo>
                  <a:lnTo>
                    <a:pt x="1065" y="727"/>
                  </a:lnTo>
                  <a:lnTo>
                    <a:pt x="1063" y="729"/>
                  </a:lnTo>
                  <a:lnTo>
                    <a:pt x="1062" y="729"/>
                  </a:lnTo>
                  <a:lnTo>
                    <a:pt x="1060" y="729"/>
                  </a:lnTo>
                  <a:lnTo>
                    <a:pt x="1060" y="730"/>
                  </a:lnTo>
                  <a:lnTo>
                    <a:pt x="1060" y="732"/>
                  </a:lnTo>
                  <a:lnTo>
                    <a:pt x="1059" y="735"/>
                  </a:lnTo>
                  <a:lnTo>
                    <a:pt x="1059" y="737"/>
                  </a:lnTo>
                  <a:lnTo>
                    <a:pt x="1059" y="738"/>
                  </a:lnTo>
                  <a:lnTo>
                    <a:pt x="1059" y="740"/>
                  </a:lnTo>
                  <a:lnTo>
                    <a:pt x="1060" y="740"/>
                  </a:lnTo>
                  <a:lnTo>
                    <a:pt x="1062" y="740"/>
                  </a:lnTo>
                  <a:lnTo>
                    <a:pt x="1062" y="742"/>
                  </a:lnTo>
                  <a:lnTo>
                    <a:pt x="1062" y="743"/>
                  </a:lnTo>
                  <a:lnTo>
                    <a:pt x="1060" y="745"/>
                  </a:lnTo>
                  <a:lnTo>
                    <a:pt x="1062" y="747"/>
                  </a:lnTo>
                  <a:lnTo>
                    <a:pt x="1062" y="748"/>
                  </a:lnTo>
                  <a:lnTo>
                    <a:pt x="1062" y="747"/>
                  </a:lnTo>
                  <a:lnTo>
                    <a:pt x="1062" y="748"/>
                  </a:lnTo>
                  <a:lnTo>
                    <a:pt x="1060" y="747"/>
                  </a:lnTo>
                  <a:lnTo>
                    <a:pt x="1059" y="747"/>
                  </a:lnTo>
                  <a:lnTo>
                    <a:pt x="1057" y="747"/>
                  </a:lnTo>
                  <a:lnTo>
                    <a:pt x="1057" y="745"/>
                  </a:lnTo>
                  <a:lnTo>
                    <a:pt x="1055" y="747"/>
                  </a:lnTo>
                  <a:lnTo>
                    <a:pt x="1054" y="747"/>
                  </a:lnTo>
                  <a:lnTo>
                    <a:pt x="1054" y="748"/>
                  </a:lnTo>
                  <a:lnTo>
                    <a:pt x="1052" y="748"/>
                  </a:lnTo>
                  <a:lnTo>
                    <a:pt x="1050" y="750"/>
                  </a:lnTo>
                  <a:lnTo>
                    <a:pt x="1049" y="751"/>
                  </a:lnTo>
                  <a:lnTo>
                    <a:pt x="1047" y="753"/>
                  </a:lnTo>
                  <a:lnTo>
                    <a:pt x="1047" y="755"/>
                  </a:lnTo>
                  <a:lnTo>
                    <a:pt x="1046" y="755"/>
                  </a:lnTo>
                  <a:lnTo>
                    <a:pt x="1044" y="760"/>
                  </a:lnTo>
                  <a:lnTo>
                    <a:pt x="1044" y="763"/>
                  </a:lnTo>
                  <a:lnTo>
                    <a:pt x="1044" y="764"/>
                  </a:lnTo>
                  <a:lnTo>
                    <a:pt x="1042" y="766"/>
                  </a:lnTo>
                  <a:lnTo>
                    <a:pt x="1044" y="766"/>
                  </a:lnTo>
                  <a:lnTo>
                    <a:pt x="1042" y="766"/>
                  </a:lnTo>
                  <a:lnTo>
                    <a:pt x="1042" y="768"/>
                  </a:lnTo>
                  <a:lnTo>
                    <a:pt x="1041" y="769"/>
                  </a:lnTo>
                  <a:lnTo>
                    <a:pt x="1041" y="771"/>
                  </a:lnTo>
                  <a:lnTo>
                    <a:pt x="1039" y="771"/>
                  </a:lnTo>
                  <a:lnTo>
                    <a:pt x="1039" y="773"/>
                  </a:lnTo>
                  <a:lnTo>
                    <a:pt x="1039" y="774"/>
                  </a:lnTo>
                  <a:lnTo>
                    <a:pt x="1039" y="773"/>
                  </a:lnTo>
                  <a:lnTo>
                    <a:pt x="1037" y="774"/>
                  </a:lnTo>
                  <a:lnTo>
                    <a:pt x="1036" y="774"/>
                  </a:lnTo>
                  <a:lnTo>
                    <a:pt x="1036" y="776"/>
                  </a:lnTo>
                  <a:lnTo>
                    <a:pt x="1036" y="777"/>
                  </a:lnTo>
                  <a:lnTo>
                    <a:pt x="1034" y="777"/>
                  </a:lnTo>
                  <a:lnTo>
                    <a:pt x="1034" y="779"/>
                  </a:lnTo>
                  <a:lnTo>
                    <a:pt x="1033" y="779"/>
                  </a:lnTo>
                  <a:lnTo>
                    <a:pt x="1031" y="779"/>
                  </a:lnTo>
                  <a:lnTo>
                    <a:pt x="1029" y="777"/>
                  </a:lnTo>
                  <a:lnTo>
                    <a:pt x="1028" y="777"/>
                  </a:lnTo>
                  <a:lnTo>
                    <a:pt x="1026" y="776"/>
                  </a:lnTo>
                  <a:lnTo>
                    <a:pt x="1024" y="774"/>
                  </a:lnTo>
                  <a:lnTo>
                    <a:pt x="1024" y="773"/>
                  </a:lnTo>
                  <a:lnTo>
                    <a:pt x="1024" y="771"/>
                  </a:lnTo>
                  <a:lnTo>
                    <a:pt x="1026" y="764"/>
                  </a:lnTo>
                  <a:lnTo>
                    <a:pt x="1026" y="763"/>
                  </a:lnTo>
                  <a:lnTo>
                    <a:pt x="1026" y="761"/>
                  </a:lnTo>
                  <a:lnTo>
                    <a:pt x="1026" y="760"/>
                  </a:lnTo>
                  <a:lnTo>
                    <a:pt x="1026" y="758"/>
                  </a:lnTo>
                  <a:lnTo>
                    <a:pt x="1024" y="756"/>
                  </a:lnTo>
                  <a:lnTo>
                    <a:pt x="1026" y="756"/>
                  </a:lnTo>
                  <a:lnTo>
                    <a:pt x="1024" y="755"/>
                  </a:lnTo>
                  <a:lnTo>
                    <a:pt x="1024" y="751"/>
                  </a:lnTo>
                  <a:lnTo>
                    <a:pt x="1024" y="750"/>
                  </a:lnTo>
                  <a:lnTo>
                    <a:pt x="1023" y="750"/>
                  </a:lnTo>
                  <a:lnTo>
                    <a:pt x="1021" y="750"/>
                  </a:lnTo>
                  <a:lnTo>
                    <a:pt x="1020" y="750"/>
                  </a:lnTo>
                  <a:lnTo>
                    <a:pt x="1018" y="750"/>
                  </a:lnTo>
                  <a:lnTo>
                    <a:pt x="1018" y="748"/>
                  </a:lnTo>
                  <a:lnTo>
                    <a:pt x="1018" y="747"/>
                  </a:lnTo>
                  <a:lnTo>
                    <a:pt x="1016" y="747"/>
                  </a:lnTo>
                  <a:lnTo>
                    <a:pt x="1016" y="745"/>
                  </a:lnTo>
                  <a:lnTo>
                    <a:pt x="1015" y="745"/>
                  </a:lnTo>
                  <a:lnTo>
                    <a:pt x="1015" y="747"/>
                  </a:lnTo>
                  <a:lnTo>
                    <a:pt x="1015" y="745"/>
                  </a:lnTo>
                  <a:lnTo>
                    <a:pt x="1013" y="745"/>
                  </a:lnTo>
                  <a:lnTo>
                    <a:pt x="1015" y="743"/>
                  </a:lnTo>
                  <a:lnTo>
                    <a:pt x="1016" y="743"/>
                  </a:lnTo>
                  <a:lnTo>
                    <a:pt x="1016" y="742"/>
                  </a:lnTo>
                  <a:lnTo>
                    <a:pt x="1018" y="742"/>
                  </a:lnTo>
                  <a:lnTo>
                    <a:pt x="1020" y="742"/>
                  </a:lnTo>
                  <a:lnTo>
                    <a:pt x="1020" y="740"/>
                  </a:lnTo>
                  <a:lnTo>
                    <a:pt x="1021" y="738"/>
                  </a:lnTo>
                  <a:lnTo>
                    <a:pt x="1021" y="737"/>
                  </a:lnTo>
                  <a:lnTo>
                    <a:pt x="1023" y="738"/>
                  </a:lnTo>
                  <a:lnTo>
                    <a:pt x="1023" y="737"/>
                  </a:lnTo>
                  <a:lnTo>
                    <a:pt x="1023" y="735"/>
                  </a:lnTo>
                  <a:lnTo>
                    <a:pt x="1023" y="734"/>
                  </a:lnTo>
                  <a:lnTo>
                    <a:pt x="1024" y="734"/>
                  </a:lnTo>
                  <a:lnTo>
                    <a:pt x="1024" y="732"/>
                  </a:lnTo>
                  <a:lnTo>
                    <a:pt x="1023" y="732"/>
                  </a:lnTo>
                  <a:lnTo>
                    <a:pt x="1023" y="730"/>
                  </a:lnTo>
                  <a:lnTo>
                    <a:pt x="1023" y="729"/>
                  </a:lnTo>
                  <a:lnTo>
                    <a:pt x="1024" y="729"/>
                  </a:lnTo>
                  <a:lnTo>
                    <a:pt x="1023" y="727"/>
                  </a:lnTo>
                  <a:lnTo>
                    <a:pt x="1024" y="727"/>
                  </a:lnTo>
                  <a:lnTo>
                    <a:pt x="1024" y="725"/>
                  </a:lnTo>
                  <a:lnTo>
                    <a:pt x="1024" y="724"/>
                  </a:lnTo>
                  <a:lnTo>
                    <a:pt x="1026" y="724"/>
                  </a:lnTo>
                  <a:lnTo>
                    <a:pt x="1028" y="724"/>
                  </a:lnTo>
                  <a:lnTo>
                    <a:pt x="1028" y="722"/>
                  </a:lnTo>
                  <a:lnTo>
                    <a:pt x="1029" y="721"/>
                  </a:lnTo>
                  <a:lnTo>
                    <a:pt x="1031" y="719"/>
                  </a:lnTo>
                  <a:lnTo>
                    <a:pt x="1031" y="717"/>
                  </a:lnTo>
                  <a:lnTo>
                    <a:pt x="1031" y="716"/>
                  </a:lnTo>
                  <a:lnTo>
                    <a:pt x="1033" y="716"/>
                  </a:lnTo>
                  <a:lnTo>
                    <a:pt x="1033" y="714"/>
                  </a:lnTo>
                  <a:lnTo>
                    <a:pt x="1034" y="712"/>
                  </a:lnTo>
                  <a:lnTo>
                    <a:pt x="1036" y="711"/>
                  </a:lnTo>
                  <a:lnTo>
                    <a:pt x="1037" y="711"/>
                  </a:lnTo>
                  <a:lnTo>
                    <a:pt x="1039" y="709"/>
                  </a:lnTo>
                  <a:lnTo>
                    <a:pt x="1041" y="708"/>
                  </a:lnTo>
                  <a:lnTo>
                    <a:pt x="1044" y="704"/>
                  </a:lnTo>
                  <a:lnTo>
                    <a:pt x="1046" y="703"/>
                  </a:lnTo>
                  <a:lnTo>
                    <a:pt x="1047" y="703"/>
                  </a:lnTo>
                  <a:lnTo>
                    <a:pt x="1047" y="701"/>
                  </a:lnTo>
                  <a:lnTo>
                    <a:pt x="1049" y="701"/>
                  </a:lnTo>
                  <a:lnTo>
                    <a:pt x="1052" y="698"/>
                  </a:lnTo>
                  <a:lnTo>
                    <a:pt x="1054" y="698"/>
                  </a:lnTo>
                  <a:lnTo>
                    <a:pt x="1055" y="696"/>
                  </a:lnTo>
                  <a:lnTo>
                    <a:pt x="1060" y="695"/>
                  </a:lnTo>
                  <a:lnTo>
                    <a:pt x="1062" y="695"/>
                  </a:lnTo>
                  <a:lnTo>
                    <a:pt x="1063" y="693"/>
                  </a:lnTo>
                  <a:lnTo>
                    <a:pt x="1065" y="690"/>
                  </a:lnTo>
                  <a:lnTo>
                    <a:pt x="1065" y="688"/>
                  </a:lnTo>
                  <a:lnTo>
                    <a:pt x="1067" y="688"/>
                  </a:lnTo>
                  <a:close/>
                  <a:moveTo>
                    <a:pt x="758" y="446"/>
                  </a:moveTo>
                  <a:lnTo>
                    <a:pt x="758" y="444"/>
                  </a:lnTo>
                  <a:lnTo>
                    <a:pt x="759" y="446"/>
                  </a:lnTo>
                  <a:lnTo>
                    <a:pt x="759" y="444"/>
                  </a:lnTo>
                  <a:lnTo>
                    <a:pt x="763" y="446"/>
                  </a:lnTo>
                  <a:lnTo>
                    <a:pt x="764" y="446"/>
                  </a:lnTo>
                  <a:lnTo>
                    <a:pt x="764" y="444"/>
                  </a:lnTo>
                  <a:lnTo>
                    <a:pt x="764" y="446"/>
                  </a:lnTo>
                  <a:lnTo>
                    <a:pt x="766" y="446"/>
                  </a:lnTo>
                  <a:lnTo>
                    <a:pt x="766" y="447"/>
                  </a:lnTo>
                  <a:lnTo>
                    <a:pt x="767" y="449"/>
                  </a:lnTo>
                  <a:lnTo>
                    <a:pt x="769" y="449"/>
                  </a:lnTo>
                  <a:lnTo>
                    <a:pt x="771" y="449"/>
                  </a:lnTo>
                  <a:lnTo>
                    <a:pt x="771" y="451"/>
                  </a:lnTo>
                  <a:lnTo>
                    <a:pt x="772" y="451"/>
                  </a:lnTo>
                  <a:lnTo>
                    <a:pt x="771" y="449"/>
                  </a:lnTo>
                  <a:lnTo>
                    <a:pt x="772" y="449"/>
                  </a:lnTo>
                  <a:lnTo>
                    <a:pt x="772" y="451"/>
                  </a:lnTo>
                  <a:lnTo>
                    <a:pt x="774" y="451"/>
                  </a:lnTo>
                  <a:lnTo>
                    <a:pt x="772" y="449"/>
                  </a:lnTo>
                  <a:lnTo>
                    <a:pt x="772" y="447"/>
                  </a:lnTo>
                  <a:lnTo>
                    <a:pt x="774" y="447"/>
                  </a:lnTo>
                  <a:lnTo>
                    <a:pt x="776" y="447"/>
                  </a:lnTo>
                  <a:lnTo>
                    <a:pt x="776" y="449"/>
                  </a:lnTo>
                  <a:lnTo>
                    <a:pt x="776" y="447"/>
                  </a:lnTo>
                  <a:lnTo>
                    <a:pt x="776" y="449"/>
                  </a:lnTo>
                  <a:lnTo>
                    <a:pt x="776" y="447"/>
                  </a:lnTo>
                  <a:lnTo>
                    <a:pt x="777" y="449"/>
                  </a:lnTo>
                  <a:lnTo>
                    <a:pt x="777" y="451"/>
                  </a:lnTo>
                  <a:lnTo>
                    <a:pt x="776" y="452"/>
                  </a:lnTo>
                  <a:lnTo>
                    <a:pt x="776" y="454"/>
                  </a:lnTo>
                  <a:lnTo>
                    <a:pt x="777" y="454"/>
                  </a:lnTo>
                  <a:lnTo>
                    <a:pt x="776" y="454"/>
                  </a:lnTo>
                  <a:lnTo>
                    <a:pt x="777" y="454"/>
                  </a:lnTo>
                  <a:lnTo>
                    <a:pt x="777" y="455"/>
                  </a:lnTo>
                  <a:lnTo>
                    <a:pt x="776" y="457"/>
                  </a:lnTo>
                  <a:lnTo>
                    <a:pt x="776" y="459"/>
                  </a:lnTo>
                  <a:lnTo>
                    <a:pt x="774" y="457"/>
                  </a:lnTo>
                  <a:lnTo>
                    <a:pt x="774" y="459"/>
                  </a:lnTo>
                  <a:lnTo>
                    <a:pt x="774" y="460"/>
                  </a:lnTo>
                  <a:lnTo>
                    <a:pt x="776" y="460"/>
                  </a:lnTo>
                  <a:lnTo>
                    <a:pt x="776" y="459"/>
                  </a:lnTo>
                  <a:lnTo>
                    <a:pt x="777" y="459"/>
                  </a:lnTo>
                  <a:lnTo>
                    <a:pt x="776" y="460"/>
                  </a:lnTo>
                  <a:lnTo>
                    <a:pt x="777" y="460"/>
                  </a:lnTo>
                  <a:lnTo>
                    <a:pt x="776" y="460"/>
                  </a:lnTo>
                  <a:lnTo>
                    <a:pt x="776" y="462"/>
                  </a:lnTo>
                  <a:lnTo>
                    <a:pt x="776" y="460"/>
                  </a:lnTo>
                  <a:lnTo>
                    <a:pt x="777" y="460"/>
                  </a:lnTo>
                  <a:lnTo>
                    <a:pt x="777" y="462"/>
                  </a:lnTo>
                  <a:lnTo>
                    <a:pt x="777" y="460"/>
                  </a:lnTo>
                  <a:lnTo>
                    <a:pt x="779" y="462"/>
                  </a:lnTo>
                  <a:lnTo>
                    <a:pt x="777" y="464"/>
                  </a:lnTo>
                  <a:lnTo>
                    <a:pt x="777" y="465"/>
                  </a:lnTo>
                  <a:lnTo>
                    <a:pt x="777" y="467"/>
                  </a:lnTo>
                  <a:lnTo>
                    <a:pt x="777" y="468"/>
                  </a:lnTo>
                  <a:lnTo>
                    <a:pt x="777" y="470"/>
                  </a:lnTo>
                  <a:lnTo>
                    <a:pt x="779" y="472"/>
                  </a:lnTo>
                  <a:lnTo>
                    <a:pt x="779" y="473"/>
                  </a:lnTo>
                  <a:lnTo>
                    <a:pt x="779" y="475"/>
                  </a:lnTo>
                  <a:lnTo>
                    <a:pt x="780" y="477"/>
                  </a:lnTo>
                  <a:lnTo>
                    <a:pt x="780" y="478"/>
                  </a:lnTo>
                  <a:lnTo>
                    <a:pt x="782" y="480"/>
                  </a:lnTo>
                  <a:lnTo>
                    <a:pt x="782" y="481"/>
                  </a:lnTo>
                  <a:lnTo>
                    <a:pt x="782" y="483"/>
                  </a:lnTo>
                  <a:lnTo>
                    <a:pt x="780" y="485"/>
                  </a:lnTo>
                  <a:lnTo>
                    <a:pt x="780" y="486"/>
                  </a:lnTo>
                  <a:lnTo>
                    <a:pt x="779" y="486"/>
                  </a:lnTo>
                  <a:lnTo>
                    <a:pt x="777" y="488"/>
                  </a:lnTo>
                  <a:lnTo>
                    <a:pt x="777" y="490"/>
                  </a:lnTo>
                  <a:lnTo>
                    <a:pt x="779" y="491"/>
                  </a:lnTo>
                  <a:lnTo>
                    <a:pt x="779" y="493"/>
                  </a:lnTo>
                  <a:lnTo>
                    <a:pt x="780" y="493"/>
                  </a:lnTo>
                  <a:lnTo>
                    <a:pt x="780" y="494"/>
                  </a:lnTo>
                  <a:lnTo>
                    <a:pt x="779" y="494"/>
                  </a:lnTo>
                  <a:lnTo>
                    <a:pt x="779" y="496"/>
                  </a:lnTo>
                  <a:lnTo>
                    <a:pt x="779" y="498"/>
                  </a:lnTo>
                  <a:lnTo>
                    <a:pt x="777" y="498"/>
                  </a:lnTo>
                  <a:lnTo>
                    <a:pt x="777" y="499"/>
                  </a:lnTo>
                  <a:lnTo>
                    <a:pt x="776" y="499"/>
                  </a:lnTo>
                  <a:lnTo>
                    <a:pt x="774" y="499"/>
                  </a:lnTo>
                  <a:lnTo>
                    <a:pt x="772" y="501"/>
                  </a:lnTo>
                  <a:lnTo>
                    <a:pt x="772" y="503"/>
                  </a:lnTo>
                  <a:lnTo>
                    <a:pt x="771" y="504"/>
                  </a:lnTo>
                  <a:lnTo>
                    <a:pt x="772" y="504"/>
                  </a:lnTo>
                  <a:lnTo>
                    <a:pt x="772" y="506"/>
                  </a:lnTo>
                  <a:lnTo>
                    <a:pt x="772" y="507"/>
                  </a:lnTo>
                  <a:lnTo>
                    <a:pt x="771" y="507"/>
                  </a:lnTo>
                  <a:lnTo>
                    <a:pt x="771" y="509"/>
                  </a:lnTo>
                  <a:lnTo>
                    <a:pt x="771" y="507"/>
                  </a:lnTo>
                  <a:lnTo>
                    <a:pt x="769" y="507"/>
                  </a:lnTo>
                  <a:lnTo>
                    <a:pt x="767" y="507"/>
                  </a:lnTo>
                  <a:lnTo>
                    <a:pt x="767" y="506"/>
                  </a:lnTo>
                  <a:lnTo>
                    <a:pt x="767" y="507"/>
                  </a:lnTo>
                  <a:lnTo>
                    <a:pt x="767" y="506"/>
                  </a:lnTo>
                  <a:lnTo>
                    <a:pt x="767" y="507"/>
                  </a:lnTo>
                  <a:lnTo>
                    <a:pt x="767" y="506"/>
                  </a:lnTo>
                  <a:lnTo>
                    <a:pt x="766" y="506"/>
                  </a:lnTo>
                  <a:lnTo>
                    <a:pt x="766" y="507"/>
                  </a:lnTo>
                  <a:lnTo>
                    <a:pt x="766" y="506"/>
                  </a:lnTo>
                  <a:lnTo>
                    <a:pt x="764" y="506"/>
                  </a:lnTo>
                  <a:lnTo>
                    <a:pt x="764" y="504"/>
                  </a:lnTo>
                  <a:lnTo>
                    <a:pt x="763" y="504"/>
                  </a:lnTo>
                  <a:lnTo>
                    <a:pt x="763" y="503"/>
                  </a:lnTo>
                  <a:lnTo>
                    <a:pt x="761" y="503"/>
                  </a:lnTo>
                  <a:lnTo>
                    <a:pt x="761" y="504"/>
                  </a:lnTo>
                  <a:lnTo>
                    <a:pt x="759" y="504"/>
                  </a:lnTo>
                  <a:lnTo>
                    <a:pt x="759" y="503"/>
                  </a:lnTo>
                  <a:lnTo>
                    <a:pt x="758" y="503"/>
                  </a:lnTo>
                  <a:lnTo>
                    <a:pt x="758" y="501"/>
                  </a:lnTo>
                  <a:lnTo>
                    <a:pt x="756" y="501"/>
                  </a:lnTo>
                  <a:lnTo>
                    <a:pt x="754" y="501"/>
                  </a:lnTo>
                  <a:lnTo>
                    <a:pt x="754" y="499"/>
                  </a:lnTo>
                  <a:lnTo>
                    <a:pt x="754" y="498"/>
                  </a:lnTo>
                  <a:lnTo>
                    <a:pt x="753" y="498"/>
                  </a:lnTo>
                  <a:lnTo>
                    <a:pt x="753" y="499"/>
                  </a:lnTo>
                  <a:lnTo>
                    <a:pt x="751" y="498"/>
                  </a:lnTo>
                  <a:lnTo>
                    <a:pt x="751" y="496"/>
                  </a:lnTo>
                  <a:lnTo>
                    <a:pt x="753" y="496"/>
                  </a:lnTo>
                  <a:lnTo>
                    <a:pt x="751" y="494"/>
                  </a:lnTo>
                  <a:lnTo>
                    <a:pt x="753" y="494"/>
                  </a:lnTo>
                  <a:lnTo>
                    <a:pt x="754" y="493"/>
                  </a:lnTo>
                  <a:lnTo>
                    <a:pt x="754" y="491"/>
                  </a:lnTo>
                  <a:lnTo>
                    <a:pt x="756" y="491"/>
                  </a:lnTo>
                  <a:lnTo>
                    <a:pt x="756" y="490"/>
                  </a:lnTo>
                  <a:lnTo>
                    <a:pt x="756" y="488"/>
                  </a:lnTo>
                  <a:lnTo>
                    <a:pt x="758" y="490"/>
                  </a:lnTo>
                  <a:lnTo>
                    <a:pt x="758" y="491"/>
                  </a:lnTo>
                  <a:lnTo>
                    <a:pt x="758" y="490"/>
                  </a:lnTo>
                  <a:lnTo>
                    <a:pt x="758" y="488"/>
                  </a:lnTo>
                  <a:lnTo>
                    <a:pt x="759" y="490"/>
                  </a:lnTo>
                  <a:lnTo>
                    <a:pt x="759" y="488"/>
                  </a:lnTo>
                  <a:lnTo>
                    <a:pt x="759" y="490"/>
                  </a:lnTo>
                  <a:lnTo>
                    <a:pt x="761" y="490"/>
                  </a:lnTo>
                  <a:lnTo>
                    <a:pt x="761" y="488"/>
                  </a:lnTo>
                  <a:lnTo>
                    <a:pt x="763" y="486"/>
                  </a:lnTo>
                  <a:lnTo>
                    <a:pt x="761" y="486"/>
                  </a:lnTo>
                  <a:lnTo>
                    <a:pt x="761" y="485"/>
                  </a:lnTo>
                  <a:lnTo>
                    <a:pt x="761" y="483"/>
                  </a:lnTo>
                  <a:lnTo>
                    <a:pt x="763" y="483"/>
                  </a:lnTo>
                  <a:lnTo>
                    <a:pt x="763" y="481"/>
                  </a:lnTo>
                  <a:lnTo>
                    <a:pt x="764" y="481"/>
                  </a:lnTo>
                  <a:lnTo>
                    <a:pt x="764" y="480"/>
                  </a:lnTo>
                  <a:lnTo>
                    <a:pt x="763" y="480"/>
                  </a:lnTo>
                  <a:lnTo>
                    <a:pt x="763" y="478"/>
                  </a:lnTo>
                  <a:lnTo>
                    <a:pt x="763" y="477"/>
                  </a:lnTo>
                  <a:lnTo>
                    <a:pt x="761" y="477"/>
                  </a:lnTo>
                  <a:lnTo>
                    <a:pt x="763" y="475"/>
                  </a:lnTo>
                  <a:lnTo>
                    <a:pt x="761" y="475"/>
                  </a:lnTo>
                  <a:lnTo>
                    <a:pt x="759" y="473"/>
                  </a:lnTo>
                  <a:lnTo>
                    <a:pt x="759" y="475"/>
                  </a:lnTo>
                  <a:lnTo>
                    <a:pt x="759" y="473"/>
                  </a:lnTo>
                  <a:lnTo>
                    <a:pt x="758" y="473"/>
                  </a:lnTo>
                  <a:lnTo>
                    <a:pt x="758" y="472"/>
                  </a:lnTo>
                  <a:lnTo>
                    <a:pt x="758" y="470"/>
                  </a:lnTo>
                  <a:lnTo>
                    <a:pt x="756" y="468"/>
                  </a:lnTo>
                  <a:lnTo>
                    <a:pt x="754" y="467"/>
                  </a:lnTo>
                  <a:lnTo>
                    <a:pt x="756" y="467"/>
                  </a:lnTo>
                  <a:lnTo>
                    <a:pt x="754" y="467"/>
                  </a:lnTo>
                  <a:lnTo>
                    <a:pt x="754" y="465"/>
                  </a:lnTo>
                  <a:lnTo>
                    <a:pt x="753" y="465"/>
                  </a:lnTo>
                  <a:lnTo>
                    <a:pt x="751" y="465"/>
                  </a:lnTo>
                  <a:lnTo>
                    <a:pt x="750" y="465"/>
                  </a:lnTo>
                  <a:lnTo>
                    <a:pt x="748" y="465"/>
                  </a:lnTo>
                  <a:lnTo>
                    <a:pt x="746" y="464"/>
                  </a:lnTo>
                  <a:lnTo>
                    <a:pt x="745" y="464"/>
                  </a:lnTo>
                  <a:lnTo>
                    <a:pt x="745" y="462"/>
                  </a:lnTo>
                  <a:lnTo>
                    <a:pt x="743" y="462"/>
                  </a:lnTo>
                  <a:lnTo>
                    <a:pt x="743" y="460"/>
                  </a:lnTo>
                  <a:lnTo>
                    <a:pt x="741" y="459"/>
                  </a:lnTo>
                  <a:lnTo>
                    <a:pt x="740" y="457"/>
                  </a:lnTo>
                  <a:lnTo>
                    <a:pt x="740" y="455"/>
                  </a:lnTo>
                  <a:lnTo>
                    <a:pt x="741" y="455"/>
                  </a:lnTo>
                  <a:lnTo>
                    <a:pt x="741" y="454"/>
                  </a:lnTo>
                  <a:lnTo>
                    <a:pt x="741" y="452"/>
                  </a:lnTo>
                  <a:lnTo>
                    <a:pt x="741" y="451"/>
                  </a:lnTo>
                  <a:lnTo>
                    <a:pt x="743" y="451"/>
                  </a:lnTo>
                  <a:lnTo>
                    <a:pt x="745" y="451"/>
                  </a:lnTo>
                  <a:lnTo>
                    <a:pt x="746" y="449"/>
                  </a:lnTo>
                  <a:lnTo>
                    <a:pt x="750" y="449"/>
                  </a:lnTo>
                  <a:lnTo>
                    <a:pt x="751" y="449"/>
                  </a:lnTo>
                  <a:lnTo>
                    <a:pt x="751" y="447"/>
                  </a:lnTo>
                  <a:lnTo>
                    <a:pt x="753" y="447"/>
                  </a:lnTo>
                  <a:lnTo>
                    <a:pt x="754" y="446"/>
                  </a:lnTo>
                  <a:lnTo>
                    <a:pt x="756" y="446"/>
                  </a:lnTo>
                  <a:lnTo>
                    <a:pt x="758" y="446"/>
                  </a:lnTo>
                  <a:close/>
                  <a:moveTo>
                    <a:pt x="154" y="569"/>
                  </a:moveTo>
                  <a:lnTo>
                    <a:pt x="156" y="569"/>
                  </a:lnTo>
                  <a:lnTo>
                    <a:pt x="158" y="569"/>
                  </a:lnTo>
                  <a:lnTo>
                    <a:pt x="158" y="571"/>
                  </a:lnTo>
                  <a:lnTo>
                    <a:pt x="158" y="573"/>
                  </a:lnTo>
                  <a:lnTo>
                    <a:pt x="159" y="573"/>
                  </a:lnTo>
                  <a:lnTo>
                    <a:pt x="159" y="574"/>
                  </a:lnTo>
                  <a:lnTo>
                    <a:pt x="159" y="576"/>
                  </a:lnTo>
                  <a:lnTo>
                    <a:pt x="161" y="577"/>
                  </a:lnTo>
                  <a:lnTo>
                    <a:pt x="161" y="579"/>
                  </a:lnTo>
                  <a:lnTo>
                    <a:pt x="162" y="579"/>
                  </a:lnTo>
                  <a:lnTo>
                    <a:pt x="162" y="581"/>
                  </a:lnTo>
                  <a:lnTo>
                    <a:pt x="162" y="582"/>
                  </a:lnTo>
                  <a:lnTo>
                    <a:pt x="164" y="582"/>
                  </a:lnTo>
                  <a:lnTo>
                    <a:pt x="162" y="584"/>
                  </a:lnTo>
                  <a:lnTo>
                    <a:pt x="164" y="584"/>
                  </a:lnTo>
                  <a:lnTo>
                    <a:pt x="164" y="586"/>
                  </a:lnTo>
                  <a:lnTo>
                    <a:pt x="164" y="587"/>
                  </a:lnTo>
                  <a:lnTo>
                    <a:pt x="166" y="587"/>
                  </a:lnTo>
                  <a:lnTo>
                    <a:pt x="166" y="590"/>
                  </a:lnTo>
                  <a:lnTo>
                    <a:pt x="166" y="592"/>
                  </a:lnTo>
                  <a:lnTo>
                    <a:pt x="164" y="592"/>
                  </a:lnTo>
                  <a:lnTo>
                    <a:pt x="162" y="594"/>
                  </a:lnTo>
                  <a:lnTo>
                    <a:pt x="164" y="594"/>
                  </a:lnTo>
                  <a:lnTo>
                    <a:pt x="164" y="595"/>
                  </a:lnTo>
                  <a:lnTo>
                    <a:pt x="166" y="597"/>
                  </a:lnTo>
                  <a:lnTo>
                    <a:pt x="167" y="599"/>
                  </a:lnTo>
                  <a:lnTo>
                    <a:pt x="167" y="600"/>
                  </a:lnTo>
                  <a:lnTo>
                    <a:pt x="169" y="600"/>
                  </a:lnTo>
                  <a:lnTo>
                    <a:pt x="169" y="599"/>
                  </a:lnTo>
                  <a:lnTo>
                    <a:pt x="171" y="597"/>
                  </a:lnTo>
                  <a:lnTo>
                    <a:pt x="171" y="595"/>
                  </a:lnTo>
                  <a:lnTo>
                    <a:pt x="172" y="595"/>
                  </a:lnTo>
                  <a:lnTo>
                    <a:pt x="172" y="597"/>
                  </a:lnTo>
                  <a:lnTo>
                    <a:pt x="172" y="599"/>
                  </a:lnTo>
                  <a:lnTo>
                    <a:pt x="172" y="597"/>
                  </a:lnTo>
                  <a:lnTo>
                    <a:pt x="174" y="597"/>
                  </a:lnTo>
                  <a:lnTo>
                    <a:pt x="175" y="599"/>
                  </a:lnTo>
                  <a:lnTo>
                    <a:pt x="174" y="599"/>
                  </a:lnTo>
                  <a:lnTo>
                    <a:pt x="175" y="599"/>
                  </a:lnTo>
                  <a:lnTo>
                    <a:pt x="175" y="600"/>
                  </a:lnTo>
                  <a:lnTo>
                    <a:pt x="177" y="600"/>
                  </a:lnTo>
                  <a:lnTo>
                    <a:pt x="177" y="602"/>
                  </a:lnTo>
                  <a:lnTo>
                    <a:pt x="177" y="603"/>
                  </a:lnTo>
                  <a:lnTo>
                    <a:pt x="179" y="603"/>
                  </a:lnTo>
                  <a:lnTo>
                    <a:pt x="179" y="605"/>
                  </a:lnTo>
                  <a:lnTo>
                    <a:pt x="180" y="605"/>
                  </a:lnTo>
                  <a:lnTo>
                    <a:pt x="180" y="607"/>
                  </a:lnTo>
                  <a:lnTo>
                    <a:pt x="182" y="608"/>
                  </a:lnTo>
                  <a:lnTo>
                    <a:pt x="184" y="608"/>
                  </a:lnTo>
                  <a:lnTo>
                    <a:pt x="184" y="610"/>
                  </a:lnTo>
                  <a:lnTo>
                    <a:pt x="185" y="612"/>
                  </a:lnTo>
                  <a:lnTo>
                    <a:pt x="187" y="612"/>
                  </a:lnTo>
                  <a:lnTo>
                    <a:pt x="187" y="613"/>
                  </a:lnTo>
                  <a:lnTo>
                    <a:pt x="188" y="615"/>
                  </a:lnTo>
                  <a:lnTo>
                    <a:pt x="190" y="616"/>
                  </a:lnTo>
                  <a:lnTo>
                    <a:pt x="190" y="618"/>
                  </a:lnTo>
                  <a:lnTo>
                    <a:pt x="190" y="620"/>
                  </a:lnTo>
                  <a:lnTo>
                    <a:pt x="190" y="621"/>
                  </a:lnTo>
                  <a:lnTo>
                    <a:pt x="190" y="623"/>
                  </a:lnTo>
                  <a:lnTo>
                    <a:pt x="188" y="623"/>
                  </a:lnTo>
                  <a:lnTo>
                    <a:pt x="188" y="625"/>
                  </a:lnTo>
                  <a:lnTo>
                    <a:pt x="187" y="625"/>
                  </a:lnTo>
                  <a:lnTo>
                    <a:pt x="185" y="623"/>
                  </a:lnTo>
                  <a:lnTo>
                    <a:pt x="185" y="625"/>
                  </a:lnTo>
                  <a:lnTo>
                    <a:pt x="184" y="625"/>
                  </a:lnTo>
                  <a:lnTo>
                    <a:pt x="182" y="625"/>
                  </a:lnTo>
                  <a:lnTo>
                    <a:pt x="180" y="625"/>
                  </a:lnTo>
                  <a:lnTo>
                    <a:pt x="179" y="625"/>
                  </a:lnTo>
                  <a:lnTo>
                    <a:pt x="177" y="625"/>
                  </a:lnTo>
                  <a:lnTo>
                    <a:pt x="177" y="623"/>
                  </a:lnTo>
                  <a:lnTo>
                    <a:pt x="174" y="621"/>
                  </a:lnTo>
                  <a:lnTo>
                    <a:pt x="172" y="621"/>
                  </a:lnTo>
                  <a:lnTo>
                    <a:pt x="171" y="621"/>
                  </a:lnTo>
                  <a:lnTo>
                    <a:pt x="171" y="620"/>
                  </a:lnTo>
                  <a:lnTo>
                    <a:pt x="169" y="620"/>
                  </a:lnTo>
                  <a:lnTo>
                    <a:pt x="167" y="620"/>
                  </a:lnTo>
                  <a:lnTo>
                    <a:pt x="166" y="620"/>
                  </a:lnTo>
                  <a:lnTo>
                    <a:pt x="166" y="621"/>
                  </a:lnTo>
                  <a:lnTo>
                    <a:pt x="164" y="621"/>
                  </a:lnTo>
                  <a:lnTo>
                    <a:pt x="162" y="623"/>
                  </a:lnTo>
                  <a:lnTo>
                    <a:pt x="162" y="625"/>
                  </a:lnTo>
                  <a:lnTo>
                    <a:pt x="162" y="623"/>
                  </a:lnTo>
                  <a:lnTo>
                    <a:pt x="161" y="625"/>
                  </a:lnTo>
                  <a:lnTo>
                    <a:pt x="161" y="623"/>
                  </a:lnTo>
                  <a:lnTo>
                    <a:pt x="159" y="623"/>
                  </a:lnTo>
                  <a:lnTo>
                    <a:pt x="158" y="623"/>
                  </a:lnTo>
                  <a:lnTo>
                    <a:pt x="156" y="623"/>
                  </a:lnTo>
                  <a:lnTo>
                    <a:pt x="156" y="621"/>
                  </a:lnTo>
                  <a:lnTo>
                    <a:pt x="154" y="621"/>
                  </a:lnTo>
                  <a:lnTo>
                    <a:pt x="153" y="621"/>
                  </a:lnTo>
                  <a:lnTo>
                    <a:pt x="154" y="620"/>
                  </a:lnTo>
                  <a:lnTo>
                    <a:pt x="153" y="620"/>
                  </a:lnTo>
                  <a:lnTo>
                    <a:pt x="154" y="620"/>
                  </a:lnTo>
                  <a:lnTo>
                    <a:pt x="154" y="618"/>
                  </a:lnTo>
                  <a:lnTo>
                    <a:pt x="153" y="616"/>
                  </a:lnTo>
                  <a:lnTo>
                    <a:pt x="153" y="618"/>
                  </a:lnTo>
                  <a:lnTo>
                    <a:pt x="153" y="616"/>
                  </a:lnTo>
                  <a:lnTo>
                    <a:pt x="151" y="616"/>
                  </a:lnTo>
                  <a:lnTo>
                    <a:pt x="151" y="615"/>
                  </a:lnTo>
                  <a:lnTo>
                    <a:pt x="151" y="613"/>
                  </a:lnTo>
                  <a:lnTo>
                    <a:pt x="151" y="612"/>
                  </a:lnTo>
                  <a:lnTo>
                    <a:pt x="149" y="612"/>
                  </a:lnTo>
                  <a:lnTo>
                    <a:pt x="151" y="612"/>
                  </a:lnTo>
                  <a:lnTo>
                    <a:pt x="151" y="610"/>
                  </a:lnTo>
                  <a:lnTo>
                    <a:pt x="153" y="612"/>
                  </a:lnTo>
                  <a:lnTo>
                    <a:pt x="153" y="613"/>
                  </a:lnTo>
                  <a:lnTo>
                    <a:pt x="154" y="615"/>
                  </a:lnTo>
                  <a:lnTo>
                    <a:pt x="154" y="613"/>
                  </a:lnTo>
                  <a:lnTo>
                    <a:pt x="153" y="613"/>
                  </a:lnTo>
                  <a:lnTo>
                    <a:pt x="153" y="612"/>
                  </a:lnTo>
                  <a:lnTo>
                    <a:pt x="153" y="610"/>
                  </a:lnTo>
                  <a:lnTo>
                    <a:pt x="151" y="610"/>
                  </a:lnTo>
                  <a:lnTo>
                    <a:pt x="151" y="608"/>
                  </a:lnTo>
                  <a:lnTo>
                    <a:pt x="151" y="607"/>
                  </a:lnTo>
                  <a:lnTo>
                    <a:pt x="149" y="607"/>
                  </a:lnTo>
                  <a:lnTo>
                    <a:pt x="149" y="605"/>
                  </a:lnTo>
                  <a:lnTo>
                    <a:pt x="148" y="603"/>
                  </a:lnTo>
                  <a:lnTo>
                    <a:pt x="148" y="602"/>
                  </a:lnTo>
                  <a:lnTo>
                    <a:pt x="146" y="600"/>
                  </a:lnTo>
                  <a:lnTo>
                    <a:pt x="146" y="599"/>
                  </a:lnTo>
                  <a:lnTo>
                    <a:pt x="145" y="599"/>
                  </a:lnTo>
                  <a:lnTo>
                    <a:pt x="143" y="600"/>
                  </a:lnTo>
                  <a:lnTo>
                    <a:pt x="143" y="602"/>
                  </a:lnTo>
                  <a:lnTo>
                    <a:pt x="145" y="602"/>
                  </a:lnTo>
                  <a:lnTo>
                    <a:pt x="145" y="603"/>
                  </a:lnTo>
                  <a:lnTo>
                    <a:pt x="146" y="607"/>
                  </a:lnTo>
                  <a:lnTo>
                    <a:pt x="146" y="608"/>
                  </a:lnTo>
                  <a:lnTo>
                    <a:pt x="146" y="610"/>
                  </a:lnTo>
                  <a:lnTo>
                    <a:pt x="148" y="613"/>
                  </a:lnTo>
                  <a:lnTo>
                    <a:pt x="148" y="615"/>
                  </a:lnTo>
                  <a:lnTo>
                    <a:pt x="145" y="616"/>
                  </a:lnTo>
                  <a:lnTo>
                    <a:pt x="143" y="616"/>
                  </a:lnTo>
                  <a:lnTo>
                    <a:pt x="141" y="618"/>
                  </a:lnTo>
                  <a:lnTo>
                    <a:pt x="140" y="618"/>
                  </a:lnTo>
                  <a:lnTo>
                    <a:pt x="140" y="616"/>
                  </a:lnTo>
                  <a:lnTo>
                    <a:pt x="138" y="616"/>
                  </a:lnTo>
                  <a:lnTo>
                    <a:pt x="138" y="615"/>
                  </a:lnTo>
                  <a:lnTo>
                    <a:pt x="136" y="615"/>
                  </a:lnTo>
                  <a:lnTo>
                    <a:pt x="135" y="615"/>
                  </a:lnTo>
                  <a:lnTo>
                    <a:pt x="135" y="613"/>
                  </a:lnTo>
                  <a:lnTo>
                    <a:pt x="136" y="612"/>
                  </a:lnTo>
                  <a:lnTo>
                    <a:pt x="135" y="612"/>
                  </a:lnTo>
                  <a:lnTo>
                    <a:pt x="136" y="612"/>
                  </a:lnTo>
                  <a:lnTo>
                    <a:pt x="136" y="610"/>
                  </a:lnTo>
                  <a:lnTo>
                    <a:pt x="136" y="608"/>
                  </a:lnTo>
                  <a:lnTo>
                    <a:pt x="136" y="607"/>
                  </a:lnTo>
                  <a:lnTo>
                    <a:pt x="136" y="605"/>
                  </a:lnTo>
                  <a:lnTo>
                    <a:pt x="136" y="603"/>
                  </a:lnTo>
                  <a:lnTo>
                    <a:pt x="138" y="602"/>
                  </a:lnTo>
                  <a:lnTo>
                    <a:pt x="138" y="603"/>
                  </a:lnTo>
                  <a:lnTo>
                    <a:pt x="138" y="602"/>
                  </a:lnTo>
                  <a:lnTo>
                    <a:pt x="140" y="600"/>
                  </a:lnTo>
                  <a:lnTo>
                    <a:pt x="140" y="599"/>
                  </a:lnTo>
                  <a:lnTo>
                    <a:pt x="138" y="599"/>
                  </a:lnTo>
                  <a:lnTo>
                    <a:pt x="138" y="597"/>
                  </a:lnTo>
                  <a:lnTo>
                    <a:pt x="140" y="597"/>
                  </a:lnTo>
                  <a:lnTo>
                    <a:pt x="140" y="595"/>
                  </a:lnTo>
                  <a:lnTo>
                    <a:pt x="140" y="594"/>
                  </a:lnTo>
                  <a:lnTo>
                    <a:pt x="140" y="592"/>
                  </a:lnTo>
                  <a:lnTo>
                    <a:pt x="140" y="590"/>
                  </a:lnTo>
                  <a:lnTo>
                    <a:pt x="140" y="589"/>
                  </a:lnTo>
                  <a:lnTo>
                    <a:pt x="141" y="590"/>
                  </a:lnTo>
                  <a:lnTo>
                    <a:pt x="141" y="592"/>
                  </a:lnTo>
                  <a:lnTo>
                    <a:pt x="141" y="590"/>
                  </a:lnTo>
                  <a:lnTo>
                    <a:pt x="141" y="589"/>
                  </a:lnTo>
                  <a:lnTo>
                    <a:pt x="143" y="589"/>
                  </a:lnTo>
                  <a:lnTo>
                    <a:pt x="145" y="589"/>
                  </a:lnTo>
                  <a:lnTo>
                    <a:pt x="145" y="590"/>
                  </a:lnTo>
                  <a:lnTo>
                    <a:pt x="145" y="592"/>
                  </a:lnTo>
                  <a:lnTo>
                    <a:pt x="146" y="592"/>
                  </a:lnTo>
                  <a:lnTo>
                    <a:pt x="148" y="592"/>
                  </a:lnTo>
                  <a:lnTo>
                    <a:pt x="148" y="594"/>
                  </a:lnTo>
                  <a:lnTo>
                    <a:pt x="149" y="594"/>
                  </a:lnTo>
                  <a:lnTo>
                    <a:pt x="151" y="594"/>
                  </a:lnTo>
                  <a:lnTo>
                    <a:pt x="151" y="592"/>
                  </a:lnTo>
                  <a:lnTo>
                    <a:pt x="153" y="592"/>
                  </a:lnTo>
                  <a:lnTo>
                    <a:pt x="151" y="592"/>
                  </a:lnTo>
                  <a:lnTo>
                    <a:pt x="153" y="590"/>
                  </a:lnTo>
                  <a:lnTo>
                    <a:pt x="154" y="589"/>
                  </a:lnTo>
                  <a:lnTo>
                    <a:pt x="154" y="587"/>
                  </a:lnTo>
                  <a:lnTo>
                    <a:pt x="156" y="587"/>
                  </a:lnTo>
                  <a:lnTo>
                    <a:pt x="156" y="586"/>
                  </a:lnTo>
                  <a:lnTo>
                    <a:pt x="156" y="584"/>
                  </a:lnTo>
                  <a:lnTo>
                    <a:pt x="154" y="584"/>
                  </a:lnTo>
                  <a:lnTo>
                    <a:pt x="153" y="584"/>
                  </a:lnTo>
                  <a:lnTo>
                    <a:pt x="153" y="582"/>
                  </a:lnTo>
                  <a:lnTo>
                    <a:pt x="154" y="582"/>
                  </a:lnTo>
                  <a:lnTo>
                    <a:pt x="154" y="584"/>
                  </a:lnTo>
                  <a:lnTo>
                    <a:pt x="156" y="582"/>
                  </a:lnTo>
                  <a:lnTo>
                    <a:pt x="154" y="582"/>
                  </a:lnTo>
                  <a:lnTo>
                    <a:pt x="154" y="581"/>
                  </a:lnTo>
                  <a:lnTo>
                    <a:pt x="154" y="579"/>
                  </a:lnTo>
                  <a:lnTo>
                    <a:pt x="154" y="577"/>
                  </a:lnTo>
                  <a:lnTo>
                    <a:pt x="154" y="579"/>
                  </a:lnTo>
                  <a:lnTo>
                    <a:pt x="154" y="577"/>
                  </a:lnTo>
                  <a:lnTo>
                    <a:pt x="153" y="576"/>
                  </a:lnTo>
                  <a:lnTo>
                    <a:pt x="153" y="574"/>
                  </a:lnTo>
                  <a:lnTo>
                    <a:pt x="154" y="574"/>
                  </a:lnTo>
                  <a:lnTo>
                    <a:pt x="154" y="573"/>
                  </a:lnTo>
                  <a:lnTo>
                    <a:pt x="153" y="571"/>
                  </a:lnTo>
                  <a:lnTo>
                    <a:pt x="153" y="569"/>
                  </a:lnTo>
                  <a:lnTo>
                    <a:pt x="154" y="569"/>
                  </a:lnTo>
                  <a:close/>
                  <a:moveTo>
                    <a:pt x="52" y="392"/>
                  </a:moveTo>
                  <a:lnTo>
                    <a:pt x="52" y="390"/>
                  </a:lnTo>
                  <a:lnTo>
                    <a:pt x="53" y="390"/>
                  </a:lnTo>
                  <a:lnTo>
                    <a:pt x="55" y="390"/>
                  </a:lnTo>
                  <a:lnTo>
                    <a:pt x="57" y="390"/>
                  </a:lnTo>
                  <a:lnTo>
                    <a:pt x="57" y="392"/>
                  </a:lnTo>
                  <a:lnTo>
                    <a:pt x="58" y="392"/>
                  </a:lnTo>
                  <a:lnTo>
                    <a:pt x="58" y="394"/>
                  </a:lnTo>
                  <a:lnTo>
                    <a:pt x="58" y="392"/>
                  </a:lnTo>
                  <a:lnTo>
                    <a:pt x="60" y="392"/>
                  </a:lnTo>
                  <a:lnTo>
                    <a:pt x="60" y="394"/>
                  </a:lnTo>
                  <a:lnTo>
                    <a:pt x="62" y="394"/>
                  </a:lnTo>
                  <a:lnTo>
                    <a:pt x="62" y="392"/>
                  </a:lnTo>
                  <a:lnTo>
                    <a:pt x="62" y="394"/>
                  </a:lnTo>
                  <a:lnTo>
                    <a:pt x="63" y="394"/>
                  </a:lnTo>
                  <a:lnTo>
                    <a:pt x="63" y="395"/>
                  </a:lnTo>
                  <a:lnTo>
                    <a:pt x="65" y="394"/>
                  </a:lnTo>
                  <a:lnTo>
                    <a:pt x="63" y="394"/>
                  </a:lnTo>
                  <a:lnTo>
                    <a:pt x="65" y="394"/>
                  </a:lnTo>
                  <a:lnTo>
                    <a:pt x="65" y="395"/>
                  </a:lnTo>
                  <a:lnTo>
                    <a:pt x="67" y="395"/>
                  </a:lnTo>
                  <a:lnTo>
                    <a:pt x="65" y="395"/>
                  </a:lnTo>
                  <a:lnTo>
                    <a:pt x="67" y="395"/>
                  </a:lnTo>
                  <a:lnTo>
                    <a:pt x="65" y="397"/>
                  </a:lnTo>
                  <a:lnTo>
                    <a:pt x="65" y="399"/>
                  </a:lnTo>
                  <a:lnTo>
                    <a:pt x="65" y="400"/>
                  </a:lnTo>
                  <a:lnTo>
                    <a:pt x="63" y="400"/>
                  </a:lnTo>
                  <a:lnTo>
                    <a:pt x="63" y="402"/>
                  </a:lnTo>
                  <a:lnTo>
                    <a:pt x="62" y="402"/>
                  </a:lnTo>
                  <a:lnTo>
                    <a:pt x="62" y="403"/>
                  </a:lnTo>
                  <a:lnTo>
                    <a:pt x="58" y="403"/>
                  </a:lnTo>
                  <a:lnTo>
                    <a:pt x="57" y="403"/>
                  </a:lnTo>
                  <a:lnTo>
                    <a:pt x="57" y="405"/>
                  </a:lnTo>
                  <a:lnTo>
                    <a:pt x="55" y="407"/>
                  </a:lnTo>
                  <a:lnTo>
                    <a:pt x="53" y="408"/>
                  </a:lnTo>
                  <a:lnTo>
                    <a:pt x="55" y="408"/>
                  </a:lnTo>
                  <a:lnTo>
                    <a:pt x="55" y="410"/>
                  </a:lnTo>
                  <a:lnTo>
                    <a:pt x="55" y="412"/>
                  </a:lnTo>
                  <a:lnTo>
                    <a:pt x="57" y="412"/>
                  </a:lnTo>
                  <a:lnTo>
                    <a:pt x="57" y="413"/>
                  </a:lnTo>
                  <a:lnTo>
                    <a:pt x="55" y="413"/>
                  </a:lnTo>
                  <a:lnTo>
                    <a:pt x="55" y="412"/>
                  </a:lnTo>
                  <a:lnTo>
                    <a:pt x="55" y="413"/>
                  </a:lnTo>
                  <a:lnTo>
                    <a:pt x="57" y="415"/>
                  </a:lnTo>
                  <a:lnTo>
                    <a:pt x="57" y="413"/>
                  </a:lnTo>
                  <a:lnTo>
                    <a:pt x="57" y="415"/>
                  </a:lnTo>
                  <a:lnTo>
                    <a:pt x="57" y="413"/>
                  </a:lnTo>
                  <a:lnTo>
                    <a:pt x="57" y="415"/>
                  </a:lnTo>
                  <a:lnTo>
                    <a:pt x="58" y="415"/>
                  </a:lnTo>
                  <a:lnTo>
                    <a:pt x="60" y="416"/>
                  </a:lnTo>
                  <a:lnTo>
                    <a:pt x="60" y="415"/>
                  </a:lnTo>
                  <a:lnTo>
                    <a:pt x="62" y="416"/>
                  </a:lnTo>
                  <a:lnTo>
                    <a:pt x="63" y="416"/>
                  </a:lnTo>
                  <a:lnTo>
                    <a:pt x="65" y="416"/>
                  </a:lnTo>
                  <a:lnTo>
                    <a:pt x="65" y="418"/>
                  </a:lnTo>
                  <a:lnTo>
                    <a:pt x="65" y="420"/>
                  </a:lnTo>
                  <a:lnTo>
                    <a:pt x="65" y="421"/>
                  </a:lnTo>
                  <a:lnTo>
                    <a:pt x="63" y="420"/>
                  </a:lnTo>
                  <a:lnTo>
                    <a:pt x="63" y="421"/>
                  </a:lnTo>
                  <a:lnTo>
                    <a:pt x="65" y="421"/>
                  </a:lnTo>
                  <a:lnTo>
                    <a:pt x="65" y="423"/>
                  </a:lnTo>
                  <a:lnTo>
                    <a:pt x="65" y="425"/>
                  </a:lnTo>
                  <a:lnTo>
                    <a:pt x="65" y="426"/>
                  </a:lnTo>
                  <a:lnTo>
                    <a:pt x="65" y="428"/>
                  </a:lnTo>
                  <a:lnTo>
                    <a:pt x="65" y="429"/>
                  </a:lnTo>
                  <a:lnTo>
                    <a:pt x="67" y="431"/>
                  </a:lnTo>
                  <a:lnTo>
                    <a:pt x="67" y="433"/>
                  </a:lnTo>
                  <a:lnTo>
                    <a:pt x="67" y="434"/>
                  </a:lnTo>
                  <a:lnTo>
                    <a:pt x="68" y="436"/>
                  </a:lnTo>
                  <a:lnTo>
                    <a:pt x="68" y="438"/>
                  </a:lnTo>
                  <a:lnTo>
                    <a:pt x="70" y="438"/>
                  </a:lnTo>
                  <a:lnTo>
                    <a:pt x="71" y="438"/>
                  </a:lnTo>
                  <a:lnTo>
                    <a:pt x="73" y="439"/>
                  </a:lnTo>
                  <a:lnTo>
                    <a:pt x="75" y="439"/>
                  </a:lnTo>
                  <a:lnTo>
                    <a:pt x="76" y="439"/>
                  </a:lnTo>
                  <a:lnTo>
                    <a:pt x="76" y="441"/>
                  </a:lnTo>
                  <a:lnTo>
                    <a:pt x="78" y="441"/>
                  </a:lnTo>
                  <a:lnTo>
                    <a:pt x="78" y="442"/>
                  </a:lnTo>
                  <a:lnTo>
                    <a:pt x="80" y="442"/>
                  </a:lnTo>
                  <a:lnTo>
                    <a:pt x="81" y="441"/>
                  </a:lnTo>
                  <a:lnTo>
                    <a:pt x="83" y="439"/>
                  </a:lnTo>
                  <a:lnTo>
                    <a:pt x="84" y="438"/>
                  </a:lnTo>
                  <a:lnTo>
                    <a:pt x="84" y="439"/>
                  </a:lnTo>
                  <a:lnTo>
                    <a:pt x="86" y="441"/>
                  </a:lnTo>
                  <a:lnTo>
                    <a:pt x="88" y="442"/>
                  </a:lnTo>
                  <a:lnTo>
                    <a:pt x="88" y="444"/>
                  </a:lnTo>
                  <a:lnTo>
                    <a:pt x="88" y="446"/>
                  </a:lnTo>
                  <a:lnTo>
                    <a:pt x="89" y="447"/>
                  </a:lnTo>
                  <a:lnTo>
                    <a:pt x="91" y="449"/>
                  </a:lnTo>
                  <a:lnTo>
                    <a:pt x="91" y="451"/>
                  </a:lnTo>
                  <a:lnTo>
                    <a:pt x="89" y="451"/>
                  </a:lnTo>
                  <a:lnTo>
                    <a:pt x="88" y="451"/>
                  </a:lnTo>
                  <a:lnTo>
                    <a:pt x="86" y="451"/>
                  </a:lnTo>
                  <a:lnTo>
                    <a:pt x="84" y="451"/>
                  </a:lnTo>
                  <a:lnTo>
                    <a:pt x="81" y="449"/>
                  </a:lnTo>
                  <a:lnTo>
                    <a:pt x="81" y="447"/>
                  </a:lnTo>
                  <a:lnTo>
                    <a:pt x="80" y="447"/>
                  </a:lnTo>
                  <a:lnTo>
                    <a:pt x="78" y="447"/>
                  </a:lnTo>
                  <a:lnTo>
                    <a:pt x="76" y="447"/>
                  </a:lnTo>
                  <a:lnTo>
                    <a:pt x="76" y="446"/>
                  </a:lnTo>
                  <a:lnTo>
                    <a:pt x="75" y="446"/>
                  </a:lnTo>
                  <a:lnTo>
                    <a:pt x="73" y="444"/>
                  </a:lnTo>
                  <a:lnTo>
                    <a:pt x="71" y="444"/>
                  </a:lnTo>
                  <a:lnTo>
                    <a:pt x="70" y="444"/>
                  </a:lnTo>
                  <a:lnTo>
                    <a:pt x="68" y="444"/>
                  </a:lnTo>
                  <a:lnTo>
                    <a:pt x="67" y="444"/>
                  </a:lnTo>
                  <a:lnTo>
                    <a:pt x="65" y="442"/>
                  </a:lnTo>
                  <a:lnTo>
                    <a:pt x="63" y="442"/>
                  </a:lnTo>
                  <a:lnTo>
                    <a:pt x="62" y="441"/>
                  </a:lnTo>
                  <a:lnTo>
                    <a:pt x="60" y="439"/>
                  </a:lnTo>
                  <a:lnTo>
                    <a:pt x="60" y="438"/>
                  </a:lnTo>
                  <a:lnTo>
                    <a:pt x="58" y="438"/>
                  </a:lnTo>
                  <a:lnTo>
                    <a:pt x="58" y="436"/>
                  </a:lnTo>
                  <a:lnTo>
                    <a:pt x="58" y="434"/>
                  </a:lnTo>
                  <a:lnTo>
                    <a:pt x="58" y="433"/>
                  </a:lnTo>
                  <a:lnTo>
                    <a:pt x="57" y="431"/>
                  </a:lnTo>
                  <a:lnTo>
                    <a:pt x="58" y="429"/>
                  </a:lnTo>
                  <a:lnTo>
                    <a:pt x="57" y="428"/>
                  </a:lnTo>
                  <a:lnTo>
                    <a:pt x="57" y="426"/>
                  </a:lnTo>
                  <a:lnTo>
                    <a:pt x="55" y="426"/>
                  </a:lnTo>
                  <a:lnTo>
                    <a:pt x="55" y="425"/>
                  </a:lnTo>
                  <a:lnTo>
                    <a:pt x="53" y="425"/>
                  </a:lnTo>
                  <a:lnTo>
                    <a:pt x="53" y="423"/>
                  </a:lnTo>
                  <a:lnTo>
                    <a:pt x="52" y="423"/>
                  </a:lnTo>
                  <a:lnTo>
                    <a:pt x="50" y="423"/>
                  </a:lnTo>
                  <a:lnTo>
                    <a:pt x="49" y="423"/>
                  </a:lnTo>
                  <a:lnTo>
                    <a:pt x="49" y="421"/>
                  </a:lnTo>
                  <a:lnTo>
                    <a:pt x="47" y="420"/>
                  </a:lnTo>
                  <a:lnTo>
                    <a:pt x="47" y="421"/>
                  </a:lnTo>
                  <a:lnTo>
                    <a:pt x="47" y="420"/>
                  </a:lnTo>
                  <a:lnTo>
                    <a:pt x="45" y="420"/>
                  </a:lnTo>
                  <a:lnTo>
                    <a:pt x="44" y="420"/>
                  </a:lnTo>
                  <a:lnTo>
                    <a:pt x="44" y="418"/>
                  </a:lnTo>
                  <a:lnTo>
                    <a:pt x="44" y="416"/>
                  </a:lnTo>
                  <a:lnTo>
                    <a:pt x="42" y="415"/>
                  </a:lnTo>
                  <a:lnTo>
                    <a:pt x="42" y="413"/>
                  </a:lnTo>
                  <a:lnTo>
                    <a:pt x="40" y="413"/>
                  </a:lnTo>
                  <a:lnTo>
                    <a:pt x="39" y="413"/>
                  </a:lnTo>
                  <a:lnTo>
                    <a:pt x="37" y="413"/>
                  </a:lnTo>
                  <a:lnTo>
                    <a:pt x="36" y="413"/>
                  </a:lnTo>
                  <a:lnTo>
                    <a:pt x="36" y="412"/>
                  </a:lnTo>
                  <a:lnTo>
                    <a:pt x="36" y="410"/>
                  </a:lnTo>
                  <a:lnTo>
                    <a:pt x="36" y="408"/>
                  </a:lnTo>
                  <a:lnTo>
                    <a:pt x="37" y="408"/>
                  </a:lnTo>
                  <a:lnTo>
                    <a:pt x="37" y="407"/>
                  </a:lnTo>
                  <a:lnTo>
                    <a:pt x="36" y="407"/>
                  </a:lnTo>
                  <a:lnTo>
                    <a:pt x="34" y="407"/>
                  </a:lnTo>
                  <a:lnTo>
                    <a:pt x="34" y="408"/>
                  </a:lnTo>
                  <a:lnTo>
                    <a:pt x="34" y="407"/>
                  </a:lnTo>
                  <a:lnTo>
                    <a:pt x="34" y="405"/>
                  </a:lnTo>
                  <a:lnTo>
                    <a:pt x="32" y="403"/>
                  </a:lnTo>
                  <a:lnTo>
                    <a:pt x="31" y="403"/>
                  </a:lnTo>
                  <a:lnTo>
                    <a:pt x="31" y="402"/>
                  </a:lnTo>
                  <a:lnTo>
                    <a:pt x="32" y="400"/>
                  </a:lnTo>
                  <a:lnTo>
                    <a:pt x="32" y="399"/>
                  </a:lnTo>
                  <a:lnTo>
                    <a:pt x="34" y="395"/>
                  </a:lnTo>
                  <a:lnTo>
                    <a:pt x="36" y="395"/>
                  </a:lnTo>
                  <a:lnTo>
                    <a:pt x="37" y="395"/>
                  </a:lnTo>
                  <a:lnTo>
                    <a:pt x="39" y="395"/>
                  </a:lnTo>
                  <a:lnTo>
                    <a:pt x="39" y="397"/>
                  </a:lnTo>
                  <a:lnTo>
                    <a:pt x="42" y="395"/>
                  </a:lnTo>
                  <a:lnTo>
                    <a:pt x="42" y="394"/>
                  </a:lnTo>
                  <a:lnTo>
                    <a:pt x="44" y="395"/>
                  </a:lnTo>
                  <a:lnTo>
                    <a:pt x="45" y="395"/>
                  </a:lnTo>
                  <a:lnTo>
                    <a:pt x="45" y="394"/>
                  </a:lnTo>
                  <a:lnTo>
                    <a:pt x="47" y="395"/>
                  </a:lnTo>
                  <a:lnTo>
                    <a:pt x="49" y="394"/>
                  </a:lnTo>
                  <a:lnTo>
                    <a:pt x="50" y="394"/>
                  </a:lnTo>
                  <a:lnTo>
                    <a:pt x="52" y="392"/>
                  </a:lnTo>
                  <a:close/>
                  <a:moveTo>
                    <a:pt x="659" y="259"/>
                  </a:moveTo>
                  <a:lnTo>
                    <a:pt x="657" y="260"/>
                  </a:lnTo>
                  <a:lnTo>
                    <a:pt x="659" y="260"/>
                  </a:lnTo>
                  <a:lnTo>
                    <a:pt x="660" y="260"/>
                  </a:lnTo>
                  <a:lnTo>
                    <a:pt x="659" y="260"/>
                  </a:lnTo>
                  <a:lnTo>
                    <a:pt x="659" y="262"/>
                  </a:lnTo>
                  <a:lnTo>
                    <a:pt x="660" y="264"/>
                  </a:lnTo>
                  <a:lnTo>
                    <a:pt x="660" y="265"/>
                  </a:lnTo>
                  <a:lnTo>
                    <a:pt x="659" y="265"/>
                  </a:lnTo>
                  <a:lnTo>
                    <a:pt x="657" y="267"/>
                  </a:lnTo>
                  <a:lnTo>
                    <a:pt x="657" y="268"/>
                  </a:lnTo>
                  <a:lnTo>
                    <a:pt x="657" y="270"/>
                  </a:lnTo>
                  <a:lnTo>
                    <a:pt x="655" y="270"/>
                  </a:lnTo>
                  <a:lnTo>
                    <a:pt x="655" y="272"/>
                  </a:lnTo>
                  <a:lnTo>
                    <a:pt x="655" y="273"/>
                  </a:lnTo>
                  <a:lnTo>
                    <a:pt x="655" y="275"/>
                  </a:lnTo>
                  <a:lnTo>
                    <a:pt x="655" y="277"/>
                  </a:lnTo>
                  <a:lnTo>
                    <a:pt x="654" y="275"/>
                  </a:lnTo>
                  <a:lnTo>
                    <a:pt x="652" y="277"/>
                  </a:lnTo>
                  <a:lnTo>
                    <a:pt x="652" y="278"/>
                  </a:lnTo>
                  <a:lnTo>
                    <a:pt x="654" y="280"/>
                  </a:lnTo>
                  <a:lnTo>
                    <a:pt x="654" y="278"/>
                  </a:lnTo>
                  <a:lnTo>
                    <a:pt x="655" y="278"/>
                  </a:lnTo>
                  <a:lnTo>
                    <a:pt x="654" y="280"/>
                  </a:lnTo>
                  <a:lnTo>
                    <a:pt x="652" y="280"/>
                  </a:lnTo>
                  <a:lnTo>
                    <a:pt x="652" y="281"/>
                  </a:lnTo>
                  <a:lnTo>
                    <a:pt x="652" y="283"/>
                  </a:lnTo>
                  <a:lnTo>
                    <a:pt x="654" y="283"/>
                  </a:lnTo>
                  <a:lnTo>
                    <a:pt x="654" y="285"/>
                  </a:lnTo>
                  <a:lnTo>
                    <a:pt x="652" y="285"/>
                  </a:lnTo>
                  <a:lnTo>
                    <a:pt x="652" y="286"/>
                  </a:lnTo>
                  <a:lnTo>
                    <a:pt x="654" y="288"/>
                  </a:lnTo>
                  <a:lnTo>
                    <a:pt x="655" y="288"/>
                  </a:lnTo>
                  <a:lnTo>
                    <a:pt x="655" y="290"/>
                  </a:lnTo>
                  <a:lnTo>
                    <a:pt x="657" y="290"/>
                  </a:lnTo>
                  <a:lnTo>
                    <a:pt x="657" y="291"/>
                  </a:lnTo>
                  <a:lnTo>
                    <a:pt x="655" y="291"/>
                  </a:lnTo>
                  <a:lnTo>
                    <a:pt x="655" y="293"/>
                  </a:lnTo>
                  <a:lnTo>
                    <a:pt x="655" y="294"/>
                  </a:lnTo>
                  <a:lnTo>
                    <a:pt x="654" y="294"/>
                  </a:lnTo>
                  <a:lnTo>
                    <a:pt x="650" y="294"/>
                  </a:lnTo>
                  <a:lnTo>
                    <a:pt x="649" y="294"/>
                  </a:lnTo>
                  <a:lnTo>
                    <a:pt x="649" y="293"/>
                  </a:lnTo>
                  <a:lnTo>
                    <a:pt x="647" y="293"/>
                  </a:lnTo>
                  <a:lnTo>
                    <a:pt x="647" y="291"/>
                  </a:lnTo>
                  <a:lnTo>
                    <a:pt x="649" y="290"/>
                  </a:lnTo>
                  <a:lnTo>
                    <a:pt x="647" y="290"/>
                  </a:lnTo>
                  <a:lnTo>
                    <a:pt x="645" y="290"/>
                  </a:lnTo>
                  <a:lnTo>
                    <a:pt x="644" y="290"/>
                  </a:lnTo>
                  <a:lnTo>
                    <a:pt x="644" y="288"/>
                  </a:lnTo>
                  <a:lnTo>
                    <a:pt x="642" y="288"/>
                  </a:lnTo>
                  <a:lnTo>
                    <a:pt x="642" y="286"/>
                  </a:lnTo>
                  <a:lnTo>
                    <a:pt x="641" y="286"/>
                  </a:lnTo>
                  <a:lnTo>
                    <a:pt x="641" y="288"/>
                  </a:lnTo>
                  <a:lnTo>
                    <a:pt x="641" y="286"/>
                  </a:lnTo>
                  <a:lnTo>
                    <a:pt x="642" y="286"/>
                  </a:lnTo>
                  <a:lnTo>
                    <a:pt x="644" y="285"/>
                  </a:lnTo>
                  <a:lnTo>
                    <a:pt x="644" y="283"/>
                  </a:lnTo>
                  <a:lnTo>
                    <a:pt x="642" y="283"/>
                  </a:lnTo>
                  <a:lnTo>
                    <a:pt x="644" y="281"/>
                  </a:lnTo>
                  <a:lnTo>
                    <a:pt x="644" y="280"/>
                  </a:lnTo>
                  <a:lnTo>
                    <a:pt x="642" y="280"/>
                  </a:lnTo>
                  <a:lnTo>
                    <a:pt x="642" y="278"/>
                  </a:lnTo>
                  <a:lnTo>
                    <a:pt x="641" y="278"/>
                  </a:lnTo>
                  <a:lnTo>
                    <a:pt x="639" y="280"/>
                  </a:lnTo>
                  <a:lnTo>
                    <a:pt x="637" y="280"/>
                  </a:lnTo>
                  <a:lnTo>
                    <a:pt x="637" y="281"/>
                  </a:lnTo>
                  <a:lnTo>
                    <a:pt x="637" y="283"/>
                  </a:lnTo>
                  <a:lnTo>
                    <a:pt x="636" y="281"/>
                  </a:lnTo>
                  <a:lnTo>
                    <a:pt x="636" y="283"/>
                  </a:lnTo>
                  <a:lnTo>
                    <a:pt x="636" y="285"/>
                  </a:lnTo>
                  <a:lnTo>
                    <a:pt x="636" y="283"/>
                  </a:lnTo>
                  <a:lnTo>
                    <a:pt x="637" y="283"/>
                  </a:lnTo>
                  <a:lnTo>
                    <a:pt x="639" y="283"/>
                  </a:lnTo>
                  <a:lnTo>
                    <a:pt x="639" y="285"/>
                  </a:lnTo>
                  <a:lnTo>
                    <a:pt x="637" y="283"/>
                  </a:lnTo>
                  <a:lnTo>
                    <a:pt x="637" y="285"/>
                  </a:lnTo>
                  <a:lnTo>
                    <a:pt x="636" y="285"/>
                  </a:lnTo>
                  <a:lnTo>
                    <a:pt x="637" y="285"/>
                  </a:lnTo>
                  <a:lnTo>
                    <a:pt x="636" y="286"/>
                  </a:lnTo>
                  <a:lnTo>
                    <a:pt x="636" y="288"/>
                  </a:lnTo>
                  <a:lnTo>
                    <a:pt x="634" y="288"/>
                  </a:lnTo>
                  <a:lnTo>
                    <a:pt x="634" y="290"/>
                  </a:lnTo>
                  <a:lnTo>
                    <a:pt x="636" y="290"/>
                  </a:lnTo>
                  <a:lnTo>
                    <a:pt x="636" y="288"/>
                  </a:lnTo>
                  <a:lnTo>
                    <a:pt x="637" y="288"/>
                  </a:lnTo>
                  <a:lnTo>
                    <a:pt x="636" y="290"/>
                  </a:lnTo>
                  <a:lnTo>
                    <a:pt x="637" y="290"/>
                  </a:lnTo>
                  <a:lnTo>
                    <a:pt x="639" y="290"/>
                  </a:lnTo>
                  <a:lnTo>
                    <a:pt x="637" y="290"/>
                  </a:lnTo>
                  <a:lnTo>
                    <a:pt x="637" y="291"/>
                  </a:lnTo>
                  <a:lnTo>
                    <a:pt x="639" y="291"/>
                  </a:lnTo>
                  <a:lnTo>
                    <a:pt x="639" y="293"/>
                  </a:lnTo>
                  <a:lnTo>
                    <a:pt x="641" y="294"/>
                  </a:lnTo>
                  <a:lnTo>
                    <a:pt x="641" y="296"/>
                  </a:lnTo>
                  <a:lnTo>
                    <a:pt x="639" y="294"/>
                  </a:lnTo>
                  <a:lnTo>
                    <a:pt x="639" y="296"/>
                  </a:lnTo>
                  <a:lnTo>
                    <a:pt x="637" y="294"/>
                  </a:lnTo>
                  <a:lnTo>
                    <a:pt x="637" y="296"/>
                  </a:lnTo>
                  <a:lnTo>
                    <a:pt x="636" y="296"/>
                  </a:lnTo>
                  <a:lnTo>
                    <a:pt x="634" y="296"/>
                  </a:lnTo>
                  <a:lnTo>
                    <a:pt x="632" y="296"/>
                  </a:lnTo>
                  <a:lnTo>
                    <a:pt x="632" y="294"/>
                  </a:lnTo>
                  <a:lnTo>
                    <a:pt x="632" y="296"/>
                  </a:lnTo>
                  <a:lnTo>
                    <a:pt x="631" y="296"/>
                  </a:lnTo>
                  <a:lnTo>
                    <a:pt x="631" y="294"/>
                  </a:lnTo>
                  <a:lnTo>
                    <a:pt x="631" y="296"/>
                  </a:lnTo>
                  <a:lnTo>
                    <a:pt x="632" y="294"/>
                  </a:lnTo>
                  <a:lnTo>
                    <a:pt x="632" y="293"/>
                  </a:lnTo>
                  <a:lnTo>
                    <a:pt x="632" y="291"/>
                  </a:lnTo>
                  <a:lnTo>
                    <a:pt x="632" y="290"/>
                  </a:lnTo>
                  <a:lnTo>
                    <a:pt x="634" y="290"/>
                  </a:lnTo>
                  <a:lnTo>
                    <a:pt x="634" y="288"/>
                  </a:lnTo>
                  <a:lnTo>
                    <a:pt x="632" y="288"/>
                  </a:lnTo>
                  <a:lnTo>
                    <a:pt x="632" y="290"/>
                  </a:lnTo>
                  <a:lnTo>
                    <a:pt x="631" y="290"/>
                  </a:lnTo>
                  <a:lnTo>
                    <a:pt x="632" y="290"/>
                  </a:lnTo>
                  <a:lnTo>
                    <a:pt x="631" y="290"/>
                  </a:lnTo>
                  <a:lnTo>
                    <a:pt x="631" y="291"/>
                  </a:lnTo>
                  <a:lnTo>
                    <a:pt x="631" y="293"/>
                  </a:lnTo>
                  <a:lnTo>
                    <a:pt x="629" y="293"/>
                  </a:lnTo>
                  <a:lnTo>
                    <a:pt x="629" y="291"/>
                  </a:lnTo>
                  <a:lnTo>
                    <a:pt x="629" y="290"/>
                  </a:lnTo>
                  <a:lnTo>
                    <a:pt x="628" y="290"/>
                  </a:lnTo>
                  <a:lnTo>
                    <a:pt x="628" y="291"/>
                  </a:lnTo>
                  <a:lnTo>
                    <a:pt x="628" y="290"/>
                  </a:lnTo>
                  <a:lnTo>
                    <a:pt x="628" y="291"/>
                  </a:lnTo>
                  <a:lnTo>
                    <a:pt x="626" y="291"/>
                  </a:lnTo>
                  <a:lnTo>
                    <a:pt x="626" y="293"/>
                  </a:lnTo>
                  <a:lnTo>
                    <a:pt x="624" y="293"/>
                  </a:lnTo>
                  <a:lnTo>
                    <a:pt x="626" y="293"/>
                  </a:lnTo>
                  <a:lnTo>
                    <a:pt x="624" y="293"/>
                  </a:lnTo>
                  <a:lnTo>
                    <a:pt x="623" y="293"/>
                  </a:lnTo>
                  <a:lnTo>
                    <a:pt x="623" y="294"/>
                  </a:lnTo>
                  <a:lnTo>
                    <a:pt x="621" y="294"/>
                  </a:lnTo>
                  <a:lnTo>
                    <a:pt x="621" y="293"/>
                  </a:lnTo>
                  <a:lnTo>
                    <a:pt x="621" y="294"/>
                  </a:lnTo>
                  <a:lnTo>
                    <a:pt x="621" y="293"/>
                  </a:lnTo>
                  <a:lnTo>
                    <a:pt x="621" y="291"/>
                  </a:lnTo>
                  <a:lnTo>
                    <a:pt x="623" y="291"/>
                  </a:lnTo>
                  <a:lnTo>
                    <a:pt x="621" y="290"/>
                  </a:lnTo>
                  <a:lnTo>
                    <a:pt x="621" y="291"/>
                  </a:lnTo>
                  <a:lnTo>
                    <a:pt x="619" y="291"/>
                  </a:lnTo>
                  <a:lnTo>
                    <a:pt x="621" y="290"/>
                  </a:lnTo>
                  <a:lnTo>
                    <a:pt x="619" y="290"/>
                  </a:lnTo>
                  <a:lnTo>
                    <a:pt x="621" y="290"/>
                  </a:lnTo>
                  <a:lnTo>
                    <a:pt x="619" y="288"/>
                  </a:lnTo>
                  <a:lnTo>
                    <a:pt x="621" y="288"/>
                  </a:lnTo>
                  <a:lnTo>
                    <a:pt x="619" y="288"/>
                  </a:lnTo>
                  <a:lnTo>
                    <a:pt x="621" y="288"/>
                  </a:lnTo>
                  <a:lnTo>
                    <a:pt x="621" y="286"/>
                  </a:lnTo>
                  <a:lnTo>
                    <a:pt x="619" y="286"/>
                  </a:lnTo>
                  <a:lnTo>
                    <a:pt x="619" y="285"/>
                  </a:lnTo>
                  <a:lnTo>
                    <a:pt x="621" y="285"/>
                  </a:lnTo>
                  <a:lnTo>
                    <a:pt x="621" y="283"/>
                  </a:lnTo>
                  <a:lnTo>
                    <a:pt x="621" y="281"/>
                  </a:lnTo>
                  <a:lnTo>
                    <a:pt x="621" y="280"/>
                  </a:lnTo>
                  <a:lnTo>
                    <a:pt x="619" y="280"/>
                  </a:lnTo>
                  <a:lnTo>
                    <a:pt x="618" y="280"/>
                  </a:lnTo>
                  <a:lnTo>
                    <a:pt x="618" y="278"/>
                  </a:lnTo>
                  <a:lnTo>
                    <a:pt x="618" y="277"/>
                  </a:lnTo>
                  <a:lnTo>
                    <a:pt x="618" y="275"/>
                  </a:lnTo>
                  <a:lnTo>
                    <a:pt x="618" y="273"/>
                  </a:lnTo>
                  <a:lnTo>
                    <a:pt x="616" y="273"/>
                  </a:lnTo>
                  <a:lnTo>
                    <a:pt x="615" y="273"/>
                  </a:lnTo>
                  <a:lnTo>
                    <a:pt x="616" y="273"/>
                  </a:lnTo>
                  <a:lnTo>
                    <a:pt x="616" y="272"/>
                  </a:lnTo>
                  <a:lnTo>
                    <a:pt x="616" y="273"/>
                  </a:lnTo>
                  <a:lnTo>
                    <a:pt x="618" y="273"/>
                  </a:lnTo>
                  <a:lnTo>
                    <a:pt x="618" y="272"/>
                  </a:lnTo>
                  <a:lnTo>
                    <a:pt x="619" y="272"/>
                  </a:lnTo>
                  <a:lnTo>
                    <a:pt x="621" y="272"/>
                  </a:lnTo>
                  <a:lnTo>
                    <a:pt x="623" y="270"/>
                  </a:lnTo>
                  <a:lnTo>
                    <a:pt x="624" y="270"/>
                  </a:lnTo>
                  <a:lnTo>
                    <a:pt x="624" y="268"/>
                  </a:lnTo>
                  <a:lnTo>
                    <a:pt x="626" y="267"/>
                  </a:lnTo>
                  <a:lnTo>
                    <a:pt x="628" y="268"/>
                  </a:lnTo>
                  <a:lnTo>
                    <a:pt x="628" y="270"/>
                  </a:lnTo>
                  <a:lnTo>
                    <a:pt x="629" y="270"/>
                  </a:lnTo>
                  <a:lnTo>
                    <a:pt x="629" y="268"/>
                  </a:lnTo>
                  <a:lnTo>
                    <a:pt x="629" y="270"/>
                  </a:lnTo>
                  <a:lnTo>
                    <a:pt x="631" y="270"/>
                  </a:lnTo>
                  <a:lnTo>
                    <a:pt x="631" y="268"/>
                  </a:lnTo>
                  <a:lnTo>
                    <a:pt x="632" y="268"/>
                  </a:lnTo>
                  <a:lnTo>
                    <a:pt x="632" y="267"/>
                  </a:lnTo>
                  <a:lnTo>
                    <a:pt x="634" y="267"/>
                  </a:lnTo>
                  <a:lnTo>
                    <a:pt x="636" y="267"/>
                  </a:lnTo>
                  <a:lnTo>
                    <a:pt x="636" y="265"/>
                  </a:lnTo>
                  <a:lnTo>
                    <a:pt x="637" y="265"/>
                  </a:lnTo>
                  <a:lnTo>
                    <a:pt x="637" y="267"/>
                  </a:lnTo>
                  <a:lnTo>
                    <a:pt x="639" y="267"/>
                  </a:lnTo>
                  <a:lnTo>
                    <a:pt x="639" y="268"/>
                  </a:lnTo>
                  <a:lnTo>
                    <a:pt x="639" y="267"/>
                  </a:lnTo>
                  <a:lnTo>
                    <a:pt x="639" y="268"/>
                  </a:lnTo>
                  <a:lnTo>
                    <a:pt x="641" y="267"/>
                  </a:lnTo>
                  <a:lnTo>
                    <a:pt x="641" y="268"/>
                  </a:lnTo>
                  <a:lnTo>
                    <a:pt x="641" y="267"/>
                  </a:lnTo>
                  <a:lnTo>
                    <a:pt x="641" y="268"/>
                  </a:lnTo>
                  <a:lnTo>
                    <a:pt x="641" y="270"/>
                  </a:lnTo>
                  <a:lnTo>
                    <a:pt x="641" y="272"/>
                  </a:lnTo>
                  <a:lnTo>
                    <a:pt x="642" y="272"/>
                  </a:lnTo>
                  <a:lnTo>
                    <a:pt x="644" y="272"/>
                  </a:lnTo>
                  <a:lnTo>
                    <a:pt x="642" y="273"/>
                  </a:lnTo>
                  <a:lnTo>
                    <a:pt x="644" y="273"/>
                  </a:lnTo>
                  <a:lnTo>
                    <a:pt x="645" y="273"/>
                  </a:lnTo>
                  <a:lnTo>
                    <a:pt x="645" y="272"/>
                  </a:lnTo>
                  <a:lnTo>
                    <a:pt x="645" y="270"/>
                  </a:lnTo>
                  <a:lnTo>
                    <a:pt x="647" y="270"/>
                  </a:lnTo>
                  <a:lnTo>
                    <a:pt x="647" y="268"/>
                  </a:lnTo>
                  <a:lnTo>
                    <a:pt x="649" y="268"/>
                  </a:lnTo>
                  <a:lnTo>
                    <a:pt x="647" y="268"/>
                  </a:lnTo>
                  <a:lnTo>
                    <a:pt x="649" y="268"/>
                  </a:lnTo>
                  <a:lnTo>
                    <a:pt x="649" y="270"/>
                  </a:lnTo>
                  <a:lnTo>
                    <a:pt x="647" y="270"/>
                  </a:lnTo>
                  <a:lnTo>
                    <a:pt x="649" y="270"/>
                  </a:lnTo>
                  <a:lnTo>
                    <a:pt x="650" y="268"/>
                  </a:lnTo>
                  <a:lnTo>
                    <a:pt x="649" y="268"/>
                  </a:lnTo>
                  <a:lnTo>
                    <a:pt x="649" y="267"/>
                  </a:lnTo>
                  <a:lnTo>
                    <a:pt x="650" y="267"/>
                  </a:lnTo>
                  <a:lnTo>
                    <a:pt x="650" y="265"/>
                  </a:lnTo>
                  <a:lnTo>
                    <a:pt x="650" y="264"/>
                  </a:lnTo>
                  <a:lnTo>
                    <a:pt x="652" y="264"/>
                  </a:lnTo>
                  <a:lnTo>
                    <a:pt x="652" y="262"/>
                  </a:lnTo>
                  <a:lnTo>
                    <a:pt x="650" y="262"/>
                  </a:lnTo>
                  <a:lnTo>
                    <a:pt x="650" y="260"/>
                  </a:lnTo>
                  <a:lnTo>
                    <a:pt x="652" y="260"/>
                  </a:lnTo>
                  <a:lnTo>
                    <a:pt x="652" y="262"/>
                  </a:lnTo>
                  <a:lnTo>
                    <a:pt x="654" y="262"/>
                  </a:lnTo>
                  <a:lnTo>
                    <a:pt x="655" y="262"/>
                  </a:lnTo>
                  <a:lnTo>
                    <a:pt x="655" y="260"/>
                  </a:lnTo>
                  <a:lnTo>
                    <a:pt x="657" y="259"/>
                  </a:lnTo>
                  <a:lnTo>
                    <a:pt x="659" y="257"/>
                  </a:lnTo>
                  <a:lnTo>
                    <a:pt x="659" y="259"/>
                  </a:lnTo>
                  <a:close/>
                  <a:moveTo>
                    <a:pt x="859" y="538"/>
                  </a:moveTo>
                  <a:lnTo>
                    <a:pt x="860" y="538"/>
                  </a:lnTo>
                  <a:lnTo>
                    <a:pt x="860" y="537"/>
                  </a:lnTo>
                  <a:lnTo>
                    <a:pt x="862" y="537"/>
                  </a:lnTo>
                  <a:lnTo>
                    <a:pt x="865" y="537"/>
                  </a:lnTo>
                  <a:lnTo>
                    <a:pt x="867" y="537"/>
                  </a:lnTo>
                  <a:lnTo>
                    <a:pt x="868" y="537"/>
                  </a:lnTo>
                  <a:lnTo>
                    <a:pt x="870" y="537"/>
                  </a:lnTo>
                  <a:lnTo>
                    <a:pt x="872" y="537"/>
                  </a:lnTo>
                  <a:lnTo>
                    <a:pt x="873" y="535"/>
                  </a:lnTo>
                  <a:lnTo>
                    <a:pt x="873" y="537"/>
                  </a:lnTo>
                  <a:lnTo>
                    <a:pt x="875" y="535"/>
                  </a:lnTo>
                  <a:lnTo>
                    <a:pt x="875" y="537"/>
                  </a:lnTo>
                  <a:lnTo>
                    <a:pt x="876" y="537"/>
                  </a:lnTo>
                  <a:lnTo>
                    <a:pt x="876" y="538"/>
                  </a:lnTo>
                  <a:lnTo>
                    <a:pt x="878" y="538"/>
                  </a:lnTo>
                  <a:lnTo>
                    <a:pt x="880" y="538"/>
                  </a:lnTo>
                  <a:lnTo>
                    <a:pt x="881" y="538"/>
                  </a:lnTo>
                  <a:lnTo>
                    <a:pt x="883" y="538"/>
                  </a:lnTo>
                  <a:lnTo>
                    <a:pt x="885" y="538"/>
                  </a:lnTo>
                  <a:lnTo>
                    <a:pt x="885" y="540"/>
                  </a:lnTo>
                  <a:lnTo>
                    <a:pt x="886" y="540"/>
                  </a:lnTo>
                  <a:lnTo>
                    <a:pt x="888" y="542"/>
                  </a:lnTo>
                  <a:lnTo>
                    <a:pt x="888" y="540"/>
                  </a:lnTo>
                  <a:lnTo>
                    <a:pt x="889" y="540"/>
                  </a:lnTo>
                  <a:lnTo>
                    <a:pt x="888" y="540"/>
                  </a:lnTo>
                  <a:lnTo>
                    <a:pt x="888" y="538"/>
                  </a:lnTo>
                  <a:lnTo>
                    <a:pt x="886" y="538"/>
                  </a:lnTo>
                  <a:lnTo>
                    <a:pt x="886" y="537"/>
                  </a:lnTo>
                  <a:lnTo>
                    <a:pt x="885" y="537"/>
                  </a:lnTo>
                  <a:lnTo>
                    <a:pt x="885" y="535"/>
                  </a:lnTo>
                  <a:lnTo>
                    <a:pt x="886" y="535"/>
                  </a:lnTo>
                  <a:lnTo>
                    <a:pt x="888" y="535"/>
                  </a:lnTo>
                  <a:lnTo>
                    <a:pt x="888" y="537"/>
                  </a:lnTo>
                  <a:lnTo>
                    <a:pt x="888" y="535"/>
                  </a:lnTo>
                  <a:lnTo>
                    <a:pt x="888" y="533"/>
                  </a:lnTo>
                  <a:lnTo>
                    <a:pt x="889" y="533"/>
                  </a:lnTo>
                  <a:lnTo>
                    <a:pt x="889" y="535"/>
                  </a:lnTo>
                  <a:lnTo>
                    <a:pt x="891" y="537"/>
                  </a:lnTo>
                  <a:lnTo>
                    <a:pt x="891" y="535"/>
                  </a:lnTo>
                  <a:lnTo>
                    <a:pt x="893" y="535"/>
                  </a:lnTo>
                  <a:lnTo>
                    <a:pt x="894" y="535"/>
                  </a:lnTo>
                  <a:lnTo>
                    <a:pt x="896" y="535"/>
                  </a:lnTo>
                  <a:lnTo>
                    <a:pt x="898" y="533"/>
                  </a:lnTo>
                  <a:lnTo>
                    <a:pt x="898" y="535"/>
                  </a:lnTo>
                  <a:lnTo>
                    <a:pt x="896" y="537"/>
                  </a:lnTo>
                  <a:lnTo>
                    <a:pt x="894" y="537"/>
                  </a:lnTo>
                  <a:lnTo>
                    <a:pt x="894" y="538"/>
                  </a:lnTo>
                  <a:lnTo>
                    <a:pt x="896" y="540"/>
                  </a:lnTo>
                  <a:lnTo>
                    <a:pt x="896" y="542"/>
                  </a:lnTo>
                  <a:lnTo>
                    <a:pt x="898" y="542"/>
                  </a:lnTo>
                  <a:lnTo>
                    <a:pt x="899" y="542"/>
                  </a:lnTo>
                  <a:lnTo>
                    <a:pt x="901" y="542"/>
                  </a:lnTo>
                  <a:lnTo>
                    <a:pt x="901" y="543"/>
                  </a:lnTo>
                  <a:lnTo>
                    <a:pt x="899" y="543"/>
                  </a:lnTo>
                  <a:lnTo>
                    <a:pt x="901" y="543"/>
                  </a:lnTo>
                  <a:lnTo>
                    <a:pt x="899" y="543"/>
                  </a:lnTo>
                  <a:lnTo>
                    <a:pt x="898" y="543"/>
                  </a:lnTo>
                  <a:lnTo>
                    <a:pt x="898" y="545"/>
                  </a:lnTo>
                  <a:lnTo>
                    <a:pt x="896" y="545"/>
                  </a:lnTo>
                  <a:lnTo>
                    <a:pt x="894" y="545"/>
                  </a:lnTo>
                  <a:lnTo>
                    <a:pt x="894" y="547"/>
                  </a:lnTo>
                  <a:lnTo>
                    <a:pt x="893" y="547"/>
                  </a:lnTo>
                  <a:lnTo>
                    <a:pt x="891" y="547"/>
                  </a:lnTo>
                  <a:lnTo>
                    <a:pt x="889" y="547"/>
                  </a:lnTo>
                  <a:lnTo>
                    <a:pt x="889" y="548"/>
                  </a:lnTo>
                  <a:lnTo>
                    <a:pt x="888" y="550"/>
                  </a:lnTo>
                  <a:lnTo>
                    <a:pt x="886" y="550"/>
                  </a:lnTo>
                  <a:lnTo>
                    <a:pt x="885" y="550"/>
                  </a:lnTo>
                  <a:lnTo>
                    <a:pt x="883" y="551"/>
                  </a:lnTo>
                  <a:lnTo>
                    <a:pt x="883" y="553"/>
                  </a:lnTo>
                  <a:lnTo>
                    <a:pt x="881" y="553"/>
                  </a:lnTo>
                  <a:lnTo>
                    <a:pt x="881" y="555"/>
                  </a:lnTo>
                  <a:lnTo>
                    <a:pt x="881" y="556"/>
                  </a:lnTo>
                  <a:lnTo>
                    <a:pt x="881" y="558"/>
                  </a:lnTo>
                  <a:lnTo>
                    <a:pt x="880" y="560"/>
                  </a:lnTo>
                  <a:lnTo>
                    <a:pt x="878" y="560"/>
                  </a:lnTo>
                  <a:lnTo>
                    <a:pt x="876" y="560"/>
                  </a:lnTo>
                  <a:lnTo>
                    <a:pt x="875" y="560"/>
                  </a:lnTo>
                  <a:lnTo>
                    <a:pt x="873" y="560"/>
                  </a:lnTo>
                  <a:lnTo>
                    <a:pt x="872" y="560"/>
                  </a:lnTo>
                  <a:lnTo>
                    <a:pt x="870" y="560"/>
                  </a:lnTo>
                  <a:lnTo>
                    <a:pt x="870" y="558"/>
                  </a:lnTo>
                  <a:lnTo>
                    <a:pt x="868" y="556"/>
                  </a:lnTo>
                  <a:lnTo>
                    <a:pt x="868" y="555"/>
                  </a:lnTo>
                  <a:lnTo>
                    <a:pt x="867" y="555"/>
                  </a:lnTo>
                  <a:lnTo>
                    <a:pt x="865" y="553"/>
                  </a:lnTo>
                  <a:lnTo>
                    <a:pt x="863" y="553"/>
                  </a:lnTo>
                  <a:lnTo>
                    <a:pt x="862" y="553"/>
                  </a:lnTo>
                  <a:lnTo>
                    <a:pt x="860" y="553"/>
                  </a:lnTo>
                  <a:lnTo>
                    <a:pt x="859" y="553"/>
                  </a:lnTo>
                  <a:lnTo>
                    <a:pt x="857" y="553"/>
                  </a:lnTo>
                  <a:lnTo>
                    <a:pt x="855" y="555"/>
                  </a:lnTo>
                  <a:lnTo>
                    <a:pt x="854" y="555"/>
                  </a:lnTo>
                  <a:lnTo>
                    <a:pt x="852" y="556"/>
                  </a:lnTo>
                  <a:lnTo>
                    <a:pt x="852" y="558"/>
                  </a:lnTo>
                  <a:lnTo>
                    <a:pt x="850" y="558"/>
                  </a:lnTo>
                  <a:lnTo>
                    <a:pt x="852" y="558"/>
                  </a:lnTo>
                  <a:lnTo>
                    <a:pt x="852" y="560"/>
                  </a:lnTo>
                  <a:lnTo>
                    <a:pt x="850" y="560"/>
                  </a:lnTo>
                  <a:lnTo>
                    <a:pt x="850" y="558"/>
                  </a:lnTo>
                  <a:lnTo>
                    <a:pt x="850" y="560"/>
                  </a:lnTo>
                  <a:lnTo>
                    <a:pt x="849" y="560"/>
                  </a:lnTo>
                  <a:lnTo>
                    <a:pt x="849" y="561"/>
                  </a:lnTo>
                  <a:lnTo>
                    <a:pt x="847" y="560"/>
                  </a:lnTo>
                  <a:lnTo>
                    <a:pt x="847" y="558"/>
                  </a:lnTo>
                  <a:lnTo>
                    <a:pt x="846" y="558"/>
                  </a:lnTo>
                  <a:lnTo>
                    <a:pt x="847" y="558"/>
                  </a:lnTo>
                  <a:lnTo>
                    <a:pt x="846" y="556"/>
                  </a:lnTo>
                  <a:lnTo>
                    <a:pt x="847" y="556"/>
                  </a:lnTo>
                  <a:lnTo>
                    <a:pt x="846" y="556"/>
                  </a:lnTo>
                  <a:lnTo>
                    <a:pt x="846" y="555"/>
                  </a:lnTo>
                  <a:lnTo>
                    <a:pt x="844" y="555"/>
                  </a:lnTo>
                  <a:lnTo>
                    <a:pt x="844" y="553"/>
                  </a:lnTo>
                  <a:lnTo>
                    <a:pt x="844" y="551"/>
                  </a:lnTo>
                  <a:lnTo>
                    <a:pt x="846" y="550"/>
                  </a:lnTo>
                  <a:lnTo>
                    <a:pt x="846" y="548"/>
                  </a:lnTo>
                  <a:lnTo>
                    <a:pt x="847" y="547"/>
                  </a:lnTo>
                  <a:lnTo>
                    <a:pt x="849" y="547"/>
                  </a:lnTo>
                  <a:lnTo>
                    <a:pt x="850" y="547"/>
                  </a:lnTo>
                  <a:lnTo>
                    <a:pt x="850" y="545"/>
                  </a:lnTo>
                  <a:lnTo>
                    <a:pt x="852" y="545"/>
                  </a:lnTo>
                  <a:lnTo>
                    <a:pt x="852" y="543"/>
                  </a:lnTo>
                  <a:lnTo>
                    <a:pt x="854" y="543"/>
                  </a:lnTo>
                  <a:lnTo>
                    <a:pt x="854" y="542"/>
                  </a:lnTo>
                  <a:lnTo>
                    <a:pt x="855" y="542"/>
                  </a:lnTo>
                  <a:lnTo>
                    <a:pt x="857" y="540"/>
                  </a:lnTo>
                  <a:lnTo>
                    <a:pt x="859" y="538"/>
                  </a:lnTo>
                  <a:close/>
                  <a:moveTo>
                    <a:pt x="741" y="652"/>
                  </a:moveTo>
                  <a:lnTo>
                    <a:pt x="743" y="652"/>
                  </a:lnTo>
                  <a:lnTo>
                    <a:pt x="743" y="654"/>
                  </a:lnTo>
                  <a:lnTo>
                    <a:pt x="745" y="654"/>
                  </a:lnTo>
                  <a:lnTo>
                    <a:pt x="746" y="654"/>
                  </a:lnTo>
                  <a:lnTo>
                    <a:pt x="746" y="655"/>
                  </a:lnTo>
                  <a:lnTo>
                    <a:pt x="748" y="655"/>
                  </a:lnTo>
                  <a:lnTo>
                    <a:pt x="748" y="657"/>
                  </a:lnTo>
                  <a:lnTo>
                    <a:pt x="748" y="655"/>
                  </a:lnTo>
                  <a:lnTo>
                    <a:pt x="748" y="657"/>
                  </a:lnTo>
                  <a:lnTo>
                    <a:pt x="750" y="659"/>
                  </a:lnTo>
                  <a:lnTo>
                    <a:pt x="750" y="660"/>
                  </a:lnTo>
                  <a:lnTo>
                    <a:pt x="750" y="659"/>
                  </a:lnTo>
                  <a:lnTo>
                    <a:pt x="751" y="662"/>
                  </a:lnTo>
                  <a:lnTo>
                    <a:pt x="751" y="660"/>
                  </a:lnTo>
                  <a:lnTo>
                    <a:pt x="751" y="662"/>
                  </a:lnTo>
                  <a:lnTo>
                    <a:pt x="751" y="664"/>
                  </a:lnTo>
                  <a:lnTo>
                    <a:pt x="751" y="665"/>
                  </a:lnTo>
                  <a:lnTo>
                    <a:pt x="751" y="667"/>
                  </a:lnTo>
                  <a:lnTo>
                    <a:pt x="753" y="667"/>
                  </a:lnTo>
                  <a:lnTo>
                    <a:pt x="753" y="668"/>
                  </a:lnTo>
                  <a:lnTo>
                    <a:pt x="751" y="668"/>
                  </a:lnTo>
                  <a:lnTo>
                    <a:pt x="751" y="670"/>
                  </a:lnTo>
                  <a:lnTo>
                    <a:pt x="751" y="672"/>
                  </a:lnTo>
                  <a:lnTo>
                    <a:pt x="751" y="675"/>
                  </a:lnTo>
                  <a:lnTo>
                    <a:pt x="751" y="677"/>
                  </a:lnTo>
                  <a:lnTo>
                    <a:pt x="751" y="678"/>
                  </a:lnTo>
                  <a:lnTo>
                    <a:pt x="751" y="680"/>
                  </a:lnTo>
                  <a:lnTo>
                    <a:pt x="751" y="681"/>
                  </a:lnTo>
                  <a:lnTo>
                    <a:pt x="750" y="683"/>
                  </a:lnTo>
                  <a:lnTo>
                    <a:pt x="751" y="683"/>
                  </a:lnTo>
                  <a:lnTo>
                    <a:pt x="751" y="685"/>
                  </a:lnTo>
                  <a:lnTo>
                    <a:pt x="750" y="685"/>
                  </a:lnTo>
                  <a:lnTo>
                    <a:pt x="751" y="685"/>
                  </a:lnTo>
                  <a:lnTo>
                    <a:pt x="750" y="686"/>
                  </a:lnTo>
                  <a:lnTo>
                    <a:pt x="748" y="686"/>
                  </a:lnTo>
                  <a:lnTo>
                    <a:pt x="746" y="686"/>
                  </a:lnTo>
                  <a:lnTo>
                    <a:pt x="746" y="688"/>
                  </a:lnTo>
                  <a:lnTo>
                    <a:pt x="745" y="688"/>
                  </a:lnTo>
                  <a:lnTo>
                    <a:pt x="743" y="688"/>
                  </a:lnTo>
                  <a:lnTo>
                    <a:pt x="745" y="690"/>
                  </a:lnTo>
                  <a:lnTo>
                    <a:pt x="743" y="690"/>
                  </a:lnTo>
                  <a:lnTo>
                    <a:pt x="743" y="691"/>
                  </a:lnTo>
                  <a:lnTo>
                    <a:pt x="741" y="691"/>
                  </a:lnTo>
                  <a:lnTo>
                    <a:pt x="740" y="693"/>
                  </a:lnTo>
                  <a:lnTo>
                    <a:pt x="741" y="693"/>
                  </a:lnTo>
                  <a:lnTo>
                    <a:pt x="740" y="693"/>
                  </a:lnTo>
                  <a:lnTo>
                    <a:pt x="740" y="695"/>
                  </a:lnTo>
                  <a:lnTo>
                    <a:pt x="740" y="693"/>
                  </a:lnTo>
                  <a:lnTo>
                    <a:pt x="738" y="695"/>
                  </a:lnTo>
                  <a:lnTo>
                    <a:pt x="738" y="693"/>
                  </a:lnTo>
                  <a:lnTo>
                    <a:pt x="738" y="695"/>
                  </a:lnTo>
                  <a:lnTo>
                    <a:pt x="738" y="693"/>
                  </a:lnTo>
                  <a:lnTo>
                    <a:pt x="737" y="693"/>
                  </a:lnTo>
                  <a:lnTo>
                    <a:pt x="737" y="691"/>
                  </a:lnTo>
                  <a:lnTo>
                    <a:pt x="737" y="690"/>
                  </a:lnTo>
                  <a:lnTo>
                    <a:pt x="737" y="688"/>
                  </a:lnTo>
                  <a:lnTo>
                    <a:pt x="735" y="688"/>
                  </a:lnTo>
                  <a:lnTo>
                    <a:pt x="733" y="686"/>
                  </a:lnTo>
                  <a:lnTo>
                    <a:pt x="733" y="688"/>
                  </a:lnTo>
                  <a:lnTo>
                    <a:pt x="733" y="686"/>
                  </a:lnTo>
                  <a:lnTo>
                    <a:pt x="732" y="686"/>
                  </a:lnTo>
                  <a:lnTo>
                    <a:pt x="730" y="686"/>
                  </a:lnTo>
                  <a:lnTo>
                    <a:pt x="732" y="686"/>
                  </a:lnTo>
                  <a:lnTo>
                    <a:pt x="730" y="686"/>
                  </a:lnTo>
                  <a:lnTo>
                    <a:pt x="732" y="686"/>
                  </a:lnTo>
                  <a:lnTo>
                    <a:pt x="730" y="686"/>
                  </a:lnTo>
                  <a:lnTo>
                    <a:pt x="732" y="685"/>
                  </a:lnTo>
                  <a:lnTo>
                    <a:pt x="730" y="683"/>
                  </a:lnTo>
                  <a:lnTo>
                    <a:pt x="730" y="681"/>
                  </a:lnTo>
                  <a:lnTo>
                    <a:pt x="728" y="681"/>
                  </a:lnTo>
                  <a:lnTo>
                    <a:pt x="727" y="680"/>
                  </a:lnTo>
                  <a:lnTo>
                    <a:pt x="728" y="680"/>
                  </a:lnTo>
                  <a:lnTo>
                    <a:pt x="728" y="678"/>
                  </a:lnTo>
                  <a:lnTo>
                    <a:pt x="728" y="677"/>
                  </a:lnTo>
                  <a:lnTo>
                    <a:pt x="727" y="677"/>
                  </a:lnTo>
                  <a:lnTo>
                    <a:pt x="725" y="675"/>
                  </a:lnTo>
                  <a:lnTo>
                    <a:pt x="724" y="673"/>
                  </a:lnTo>
                  <a:lnTo>
                    <a:pt x="724" y="675"/>
                  </a:lnTo>
                  <a:lnTo>
                    <a:pt x="722" y="673"/>
                  </a:lnTo>
                  <a:lnTo>
                    <a:pt x="724" y="673"/>
                  </a:lnTo>
                  <a:lnTo>
                    <a:pt x="724" y="672"/>
                  </a:lnTo>
                  <a:lnTo>
                    <a:pt x="725" y="672"/>
                  </a:lnTo>
                  <a:lnTo>
                    <a:pt x="727" y="672"/>
                  </a:lnTo>
                  <a:lnTo>
                    <a:pt x="727" y="670"/>
                  </a:lnTo>
                  <a:lnTo>
                    <a:pt x="727" y="668"/>
                  </a:lnTo>
                  <a:lnTo>
                    <a:pt x="727" y="667"/>
                  </a:lnTo>
                  <a:lnTo>
                    <a:pt x="728" y="667"/>
                  </a:lnTo>
                  <a:lnTo>
                    <a:pt x="728" y="665"/>
                  </a:lnTo>
                  <a:lnTo>
                    <a:pt x="730" y="665"/>
                  </a:lnTo>
                  <a:lnTo>
                    <a:pt x="730" y="664"/>
                  </a:lnTo>
                  <a:lnTo>
                    <a:pt x="732" y="664"/>
                  </a:lnTo>
                  <a:lnTo>
                    <a:pt x="733" y="664"/>
                  </a:lnTo>
                  <a:lnTo>
                    <a:pt x="733" y="662"/>
                  </a:lnTo>
                  <a:lnTo>
                    <a:pt x="735" y="660"/>
                  </a:lnTo>
                  <a:lnTo>
                    <a:pt x="737" y="660"/>
                  </a:lnTo>
                  <a:lnTo>
                    <a:pt x="737" y="659"/>
                  </a:lnTo>
                  <a:lnTo>
                    <a:pt x="735" y="659"/>
                  </a:lnTo>
                  <a:lnTo>
                    <a:pt x="737" y="659"/>
                  </a:lnTo>
                  <a:lnTo>
                    <a:pt x="737" y="657"/>
                  </a:lnTo>
                  <a:lnTo>
                    <a:pt x="737" y="655"/>
                  </a:lnTo>
                  <a:lnTo>
                    <a:pt x="738" y="655"/>
                  </a:lnTo>
                  <a:lnTo>
                    <a:pt x="738" y="654"/>
                  </a:lnTo>
                  <a:lnTo>
                    <a:pt x="740" y="654"/>
                  </a:lnTo>
                  <a:lnTo>
                    <a:pt x="741" y="652"/>
                  </a:lnTo>
                  <a:close/>
                  <a:moveTo>
                    <a:pt x="182" y="644"/>
                  </a:moveTo>
                  <a:lnTo>
                    <a:pt x="182" y="646"/>
                  </a:lnTo>
                  <a:lnTo>
                    <a:pt x="182" y="647"/>
                  </a:lnTo>
                  <a:lnTo>
                    <a:pt x="184" y="649"/>
                  </a:lnTo>
                  <a:lnTo>
                    <a:pt x="184" y="651"/>
                  </a:lnTo>
                  <a:lnTo>
                    <a:pt x="185" y="651"/>
                  </a:lnTo>
                  <a:lnTo>
                    <a:pt x="185" y="652"/>
                  </a:lnTo>
                  <a:lnTo>
                    <a:pt x="187" y="654"/>
                  </a:lnTo>
                  <a:lnTo>
                    <a:pt x="188" y="654"/>
                  </a:lnTo>
                  <a:lnTo>
                    <a:pt x="188" y="655"/>
                  </a:lnTo>
                  <a:lnTo>
                    <a:pt x="190" y="655"/>
                  </a:lnTo>
                  <a:lnTo>
                    <a:pt x="192" y="655"/>
                  </a:lnTo>
                  <a:lnTo>
                    <a:pt x="192" y="654"/>
                  </a:lnTo>
                  <a:lnTo>
                    <a:pt x="193" y="655"/>
                  </a:lnTo>
                  <a:lnTo>
                    <a:pt x="195" y="655"/>
                  </a:lnTo>
                  <a:lnTo>
                    <a:pt x="197" y="655"/>
                  </a:lnTo>
                  <a:lnTo>
                    <a:pt x="200" y="657"/>
                  </a:lnTo>
                  <a:lnTo>
                    <a:pt x="200" y="655"/>
                  </a:lnTo>
                  <a:lnTo>
                    <a:pt x="201" y="657"/>
                  </a:lnTo>
                  <a:lnTo>
                    <a:pt x="200" y="657"/>
                  </a:lnTo>
                  <a:lnTo>
                    <a:pt x="201" y="657"/>
                  </a:lnTo>
                  <a:lnTo>
                    <a:pt x="203" y="657"/>
                  </a:lnTo>
                  <a:lnTo>
                    <a:pt x="205" y="659"/>
                  </a:lnTo>
                  <a:lnTo>
                    <a:pt x="206" y="659"/>
                  </a:lnTo>
                  <a:lnTo>
                    <a:pt x="206" y="660"/>
                  </a:lnTo>
                  <a:lnTo>
                    <a:pt x="206" y="662"/>
                  </a:lnTo>
                  <a:lnTo>
                    <a:pt x="210" y="664"/>
                  </a:lnTo>
                  <a:lnTo>
                    <a:pt x="211" y="664"/>
                  </a:lnTo>
                  <a:lnTo>
                    <a:pt x="211" y="665"/>
                  </a:lnTo>
                  <a:lnTo>
                    <a:pt x="213" y="667"/>
                  </a:lnTo>
                  <a:lnTo>
                    <a:pt x="215" y="667"/>
                  </a:lnTo>
                  <a:lnTo>
                    <a:pt x="218" y="668"/>
                  </a:lnTo>
                  <a:lnTo>
                    <a:pt x="218" y="670"/>
                  </a:lnTo>
                  <a:lnTo>
                    <a:pt x="218" y="672"/>
                  </a:lnTo>
                  <a:lnTo>
                    <a:pt x="216" y="672"/>
                  </a:lnTo>
                  <a:lnTo>
                    <a:pt x="216" y="670"/>
                  </a:lnTo>
                  <a:lnTo>
                    <a:pt x="215" y="670"/>
                  </a:lnTo>
                  <a:lnTo>
                    <a:pt x="213" y="670"/>
                  </a:lnTo>
                  <a:lnTo>
                    <a:pt x="211" y="668"/>
                  </a:lnTo>
                  <a:lnTo>
                    <a:pt x="211" y="670"/>
                  </a:lnTo>
                  <a:lnTo>
                    <a:pt x="210" y="668"/>
                  </a:lnTo>
                  <a:lnTo>
                    <a:pt x="206" y="668"/>
                  </a:lnTo>
                  <a:lnTo>
                    <a:pt x="205" y="668"/>
                  </a:lnTo>
                  <a:lnTo>
                    <a:pt x="205" y="670"/>
                  </a:lnTo>
                  <a:lnTo>
                    <a:pt x="203" y="670"/>
                  </a:lnTo>
                  <a:lnTo>
                    <a:pt x="203" y="672"/>
                  </a:lnTo>
                  <a:lnTo>
                    <a:pt x="201" y="673"/>
                  </a:lnTo>
                  <a:lnTo>
                    <a:pt x="201" y="675"/>
                  </a:lnTo>
                  <a:lnTo>
                    <a:pt x="201" y="677"/>
                  </a:lnTo>
                  <a:lnTo>
                    <a:pt x="200" y="677"/>
                  </a:lnTo>
                  <a:lnTo>
                    <a:pt x="201" y="677"/>
                  </a:lnTo>
                  <a:lnTo>
                    <a:pt x="200" y="677"/>
                  </a:lnTo>
                  <a:lnTo>
                    <a:pt x="201" y="677"/>
                  </a:lnTo>
                  <a:lnTo>
                    <a:pt x="201" y="678"/>
                  </a:lnTo>
                  <a:lnTo>
                    <a:pt x="203" y="678"/>
                  </a:lnTo>
                  <a:lnTo>
                    <a:pt x="203" y="680"/>
                  </a:lnTo>
                  <a:lnTo>
                    <a:pt x="203" y="681"/>
                  </a:lnTo>
                  <a:lnTo>
                    <a:pt x="203" y="680"/>
                  </a:lnTo>
                  <a:lnTo>
                    <a:pt x="203" y="681"/>
                  </a:lnTo>
                  <a:lnTo>
                    <a:pt x="201" y="681"/>
                  </a:lnTo>
                  <a:lnTo>
                    <a:pt x="201" y="683"/>
                  </a:lnTo>
                  <a:lnTo>
                    <a:pt x="201" y="681"/>
                  </a:lnTo>
                  <a:lnTo>
                    <a:pt x="200" y="683"/>
                  </a:lnTo>
                  <a:lnTo>
                    <a:pt x="200" y="681"/>
                  </a:lnTo>
                  <a:lnTo>
                    <a:pt x="198" y="681"/>
                  </a:lnTo>
                  <a:lnTo>
                    <a:pt x="197" y="681"/>
                  </a:lnTo>
                  <a:lnTo>
                    <a:pt x="197" y="680"/>
                  </a:lnTo>
                  <a:lnTo>
                    <a:pt x="195" y="678"/>
                  </a:lnTo>
                  <a:lnTo>
                    <a:pt x="195" y="680"/>
                  </a:lnTo>
                  <a:lnTo>
                    <a:pt x="193" y="678"/>
                  </a:lnTo>
                  <a:lnTo>
                    <a:pt x="193" y="677"/>
                  </a:lnTo>
                  <a:lnTo>
                    <a:pt x="192" y="677"/>
                  </a:lnTo>
                  <a:lnTo>
                    <a:pt x="192" y="675"/>
                  </a:lnTo>
                  <a:lnTo>
                    <a:pt x="190" y="675"/>
                  </a:lnTo>
                  <a:lnTo>
                    <a:pt x="190" y="673"/>
                  </a:lnTo>
                  <a:lnTo>
                    <a:pt x="190" y="675"/>
                  </a:lnTo>
                  <a:lnTo>
                    <a:pt x="190" y="673"/>
                  </a:lnTo>
                  <a:lnTo>
                    <a:pt x="190" y="675"/>
                  </a:lnTo>
                  <a:lnTo>
                    <a:pt x="188" y="675"/>
                  </a:lnTo>
                  <a:lnTo>
                    <a:pt x="188" y="673"/>
                  </a:lnTo>
                  <a:lnTo>
                    <a:pt x="187" y="673"/>
                  </a:lnTo>
                  <a:lnTo>
                    <a:pt x="185" y="673"/>
                  </a:lnTo>
                  <a:lnTo>
                    <a:pt x="184" y="672"/>
                  </a:lnTo>
                  <a:lnTo>
                    <a:pt x="184" y="670"/>
                  </a:lnTo>
                  <a:lnTo>
                    <a:pt x="182" y="668"/>
                  </a:lnTo>
                  <a:lnTo>
                    <a:pt x="184" y="668"/>
                  </a:lnTo>
                  <a:lnTo>
                    <a:pt x="182" y="668"/>
                  </a:lnTo>
                  <a:lnTo>
                    <a:pt x="180" y="667"/>
                  </a:lnTo>
                  <a:lnTo>
                    <a:pt x="180" y="668"/>
                  </a:lnTo>
                  <a:lnTo>
                    <a:pt x="180" y="667"/>
                  </a:lnTo>
                  <a:lnTo>
                    <a:pt x="180" y="665"/>
                  </a:lnTo>
                  <a:lnTo>
                    <a:pt x="180" y="664"/>
                  </a:lnTo>
                  <a:lnTo>
                    <a:pt x="180" y="665"/>
                  </a:lnTo>
                  <a:lnTo>
                    <a:pt x="180" y="664"/>
                  </a:lnTo>
                  <a:lnTo>
                    <a:pt x="179" y="665"/>
                  </a:lnTo>
                  <a:lnTo>
                    <a:pt x="179" y="664"/>
                  </a:lnTo>
                  <a:lnTo>
                    <a:pt x="177" y="664"/>
                  </a:lnTo>
                  <a:lnTo>
                    <a:pt x="175" y="662"/>
                  </a:lnTo>
                  <a:lnTo>
                    <a:pt x="175" y="660"/>
                  </a:lnTo>
                  <a:lnTo>
                    <a:pt x="174" y="660"/>
                  </a:lnTo>
                  <a:lnTo>
                    <a:pt x="175" y="660"/>
                  </a:lnTo>
                  <a:lnTo>
                    <a:pt x="174" y="659"/>
                  </a:lnTo>
                  <a:lnTo>
                    <a:pt x="174" y="657"/>
                  </a:lnTo>
                  <a:lnTo>
                    <a:pt x="174" y="655"/>
                  </a:lnTo>
                  <a:lnTo>
                    <a:pt x="172" y="655"/>
                  </a:lnTo>
                  <a:lnTo>
                    <a:pt x="174" y="655"/>
                  </a:lnTo>
                  <a:lnTo>
                    <a:pt x="174" y="654"/>
                  </a:lnTo>
                  <a:lnTo>
                    <a:pt x="174" y="652"/>
                  </a:lnTo>
                  <a:lnTo>
                    <a:pt x="175" y="651"/>
                  </a:lnTo>
                  <a:lnTo>
                    <a:pt x="175" y="649"/>
                  </a:lnTo>
                  <a:lnTo>
                    <a:pt x="177" y="647"/>
                  </a:lnTo>
                  <a:lnTo>
                    <a:pt x="179" y="646"/>
                  </a:lnTo>
                  <a:lnTo>
                    <a:pt x="179" y="644"/>
                  </a:lnTo>
                  <a:lnTo>
                    <a:pt x="180" y="644"/>
                  </a:lnTo>
                  <a:lnTo>
                    <a:pt x="182" y="644"/>
                  </a:lnTo>
                  <a:close/>
                  <a:moveTo>
                    <a:pt x="553" y="168"/>
                  </a:moveTo>
                  <a:lnTo>
                    <a:pt x="553" y="166"/>
                  </a:lnTo>
                  <a:lnTo>
                    <a:pt x="554" y="166"/>
                  </a:lnTo>
                  <a:lnTo>
                    <a:pt x="554" y="168"/>
                  </a:lnTo>
                  <a:lnTo>
                    <a:pt x="556" y="169"/>
                  </a:lnTo>
                  <a:lnTo>
                    <a:pt x="558" y="169"/>
                  </a:lnTo>
                  <a:lnTo>
                    <a:pt x="559" y="169"/>
                  </a:lnTo>
                  <a:lnTo>
                    <a:pt x="559" y="168"/>
                  </a:lnTo>
                  <a:lnTo>
                    <a:pt x="561" y="168"/>
                  </a:lnTo>
                  <a:lnTo>
                    <a:pt x="563" y="168"/>
                  </a:lnTo>
                  <a:lnTo>
                    <a:pt x="563" y="169"/>
                  </a:lnTo>
                  <a:lnTo>
                    <a:pt x="563" y="171"/>
                  </a:lnTo>
                  <a:lnTo>
                    <a:pt x="564" y="171"/>
                  </a:lnTo>
                  <a:lnTo>
                    <a:pt x="566" y="171"/>
                  </a:lnTo>
                  <a:lnTo>
                    <a:pt x="566" y="172"/>
                  </a:lnTo>
                  <a:lnTo>
                    <a:pt x="567" y="172"/>
                  </a:lnTo>
                  <a:lnTo>
                    <a:pt x="567" y="171"/>
                  </a:lnTo>
                  <a:lnTo>
                    <a:pt x="567" y="172"/>
                  </a:lnTo>
                  <a:lnTo>
                    <a:pt x="569" y="172"/>
                  </a:lnTo>
                  <a:lnTo>
                    <a:pt x="569" y="174"/>
                  </a:lnTo>
                  <a:lnTo>
                    <a:pt x="567" y="174"/>
                  </a:lnTo>
                  <a:lnTo>
                    <a:pt x="567" y="176"/>
                  </a:lnTo>
                  <a:lnTo>
                    <a:pt x="567" y="177"/>
                  </a:lnTo>
                  <a:lnTo>
                    <a:pt x="569" y="177"/>
                  </a:lnTo>
                  <a:lnTo>
                    <a:pt x="571" y="177"/>
                  </a:lnTo>
                  <a:lnTo>
                    <a:pt x="569" y="177"/>
                  </a:lnTo>
                  <a:lnTo>
                    <a:pt x="569" y="179"/>
                  </a:lnTo>
                  <a:lnTo>
                    <a:pt x="571" y="181"/>
                  </a:lnTo>
                  <a:lnTo>
                    <a:pt x="569" y="182"/>
                  </a:lnTo>
                  <a:lnTo>
                    <a:pt x="569" y="184"/>
                  </a:lnTo>
                  <a:lnTo>
                    <a:pt x="569" y="185"/>
                  </a:lnTo>
                  <a:lnTo>
                    <a:pt x="571" y="185"/>
                  </a:lnTo>
                  <a:lnTo>
                    <a:pt x="571" y="187"/>
                  </a:lnTo>
                  <a:lnTo>
                    <a:pt x="571" y="189"/>
                  </a:lnTo>
                  <a:lnTo>
                    <a:pt x="572" y="189"/>
                  </a:lnTo>
                  <a:lnTo>
                    <a:pt x="572" y="190"/>
                  </a:lnTo>
                  <a:lnTo>
                    <a:pt x="572" y="192"/>
                  </a:lnTo>
                  <a:lnTo>
                    <a:pt x="571" y="190"/>
                  </a:lnTo>
                  <a:lnTo>
                    <a:pt x="569" y="190"/>
                  </a:lnTo>
                  <a:lnTo>
                    <a:pt x="569" y="192"/>
                  </a:lnTo>
                  <a:lnTo>
                    <a:pt x="567" y="194"/>
                  </a:lnTo>
                  <a:lnTo>
                    <a:pt x="567" y="192"/>
                  </a:lnTo>
                  <a:lnTo>
                    <a:pt x="567" y="194"/>
                  </a:lnTo>
                  <a:lnTo>
                    <a:pt x="566" y="192"/>
                  </a:lnTo>
                  <a:lnTo>
                    <a:pt x="566" y="194"/>
                  </a:lnTo>
                  <a:lnTo>
                    <a:pt x="566" y="192"/>
                  </a:lnTo>
                  <a:lnTo>
                    <a:pt x="566" y="194"/>
                  </a:lnTo>
                  <a:lnTo>
                    <a:pt x="564" y="194"/>
                  </a:lnTo>
                  <a:lnTo>
                    <a:pt x="564" y="195"/>
                  </a:lnTo>
                  <a:lnTo>
                    <a:pt x="564" y="194"/>
                  </a:lnTo>
                  <a:lnTo>
                    <a:pt x="564" y="195"/>
                  </a:lnTo>
                  <a:lnTo>
                    <a:pt x="563" y="194"/>
                  </a:lnTo>
                  <a:lnTo>
                    <a:pt x="563" y="195"/>
                  </a:lnTo>
                  <a:lnTo>
                    <a:pt x="563" y="197"/>
                  </a:lnTo>
                  <a:lnTo>
                    <a:pt x="561" y="197"/>
                  </a:lnTo>
                  <a:lnTo>
                    <a:pt x="561" y="198"/>
                  </a:lnTo>
                  <a:lnTo>
                    <a:pt x="559" y="198"/>
                  </a:lnTo>
                  <a:lnTo>
                    <a:pt x="559" y="200"/>
                  </a:lnTo>
                  <a:lnTo>
                    <a:pt x="558" y="200"/>
                  </a:lnTo>
                  <a:lnTo>
                    <a:pt x="558" y="198"/>
                  </a:lnTo>
                  <a:lnTo>
                    <a:pt x="558" y="197"/>
                  </a:lnTo>
                  <a:lnTo>
                    <a:pt x="556" y="197"/>
                  </a:lnTo>
                  <a:lnTo>
                    <a:pt x="556" y="198"/>
                  </a:lnTo>
                  <a:lnTo>
                    <a:pt x="556" y="197"/>
                  </a:lnTo>
                  <a:lnTo>
                    <a:pt x="556" y="198"/>
                  </a:lnTo>
                  <a:lnTo>
                    <a:pt x="556" y="197"/>
                  </a:lnTo>
                  <a:lnTo>
                    <a:pt x="554" y="197"/>
                  </a:lnTo>
                  <a:lnTo>
                    <a:pt x="553" y="197"/>
                  </a:lnTo>
                  <a:lnTo>
                    <a:pt x="554" y="195"/>
                  </a:lnTo>
                  <a:lnTo>
                    <a:pt x="553" y="194"/>
                  </a:lnTo>
                  <a:lnTo>
                    <a:pt x="551" y="194"/>
                  </a:lnTo>
                  <a:lnTo>
                    <a:pt x="550" y="194"/>
                  </a:lnTo>
                  <a:lnTo>
                    <a:pt x="548" y="194"/>
                  </a:lnTo>
                  <a:lnTo>
                    <a:pt x="546" y="194"/>
                  </a:lnTo>
                  <a:lnTo>
                    <a:pt x="545" y="195"/>
                  </a:lnTo>
                  <a:lnTo>
                    <a:pt x="545" y="194"/>
                  </a:lnTo>
                  <a:lnTo>
                    <a:pt x="545" y="192"/>
                  </a:lnTo>
                  <a:lnTo>
                    <a:pt x="543" y="192"/>
                  </a:lnTo>
                  <a:lnTo>
                    <a:pt x="543" y="190"/>
                  </a:lnTo>
                  <a:lnTo>
                    <a:pt x="541" y="189"/>
                  </a:lnTo>
                  <a:lnTo>
                    <a:pt x="541" y="187"/>
                  </a:lnTo>
                  <a:lnTo>
                    <a:pt x="543" y="187"/>
                  </a:lnTo>
                  <a:lnTo>
                    <a:pt x="543" y="185"/>
                  </a:lnTo>
                  <a:lnTo>
                    <a:pt x="543" y="184"/>
                  </a:lnTo>
                  <a:lnTo>
                    <a:pt x="543" y="182"/>
                  </a:lnTo>
                  <a:lnTo>
                    <a:pt x="543" y="181"/>
                  </a:lnTo>
                  <a:lnTo>
                    <a:pt x="545" y="179"/>
                  </a:lnTo>
                  <a:lnTo>
                    <a:pt x="545" y="177"/>
                  </a:lnTo>
                  <a:lnTo>
                    <a:pt x="545" y="176"/>
                  </a:lnTo>
                  <a:lnTo>
                    <a:pt x="545" y="174"/>
                  </a:lnTo>
                  <a:lnTo>
                    <a:pt x="546" y="174"/>
                  </a:lnTo>
                  <a:lnTo>
                    <a:pt x="548" y="174"/>
                  </a:lnTo>
                  <a:lnTo>
                    <a:pt x="548" y="172"/>
                  </a:lnTo>
                  <a:lnTo>
                    <a:pt x="548" y="171"/>
                  </a:lnTo>
                  <a:lnTo>
                    <a:pt x="550" y="171"/>
                  </a:lnTo>
                  <a:lnTo>
                    <a:pt x="550" y="169"/>
                  </a:lnTo>
                  <a:lnTo>
                    <a:pt x="551" y="169"/>
                  </a:lnTo>
                  <a:lnTo>
                    <a:pt x="551" y="168"/>
                  </a:lnTo>
                  <a:lnTo>
                    <a:pt x="553" y="168"/>
                  </a:lnTo>
                  <a:close/>
                  <a:moveTo>
                    <a:pt x="639" y="556"/>
                  </a:moveTo>
                  <a:lnTo>
                    <a:pt x="639" y="558"/>
                  </a:lnTo>
                  <a:lnTo>
                    <a:pt x="639" y="556"/>
                  </a:lnTo>
                  <a:lnTo>
                    <a:pt x="639" y="558"/>
                  </a:lnTo>
                  <a:lnTo>
                    <a:pt x="639" y="560"/>
                  </a:lnTo>
                  <a:lnTo>
                    <a:pt x="639" y="561"/>
                  </a:lnTo>
                  <a:lnTo>
                    <a:pt x="641" y="561"/>
                  </a:lnTo>
                  <a:lnTo>
                    <a:pt x="639" y="561"/>
                  </a:lnTo>
                  <a:lnTo>
                    <a:pt x="641" y="561"/>
                  </a:lnTo>
                  <a:lnTo>
                    <a:pt x="642" y="561"/>
                  </a:lnTo>
                  <a:lnTo>
                    <a:pt x="644" y="561"/>
                  </a:lnTo>
                  <a:lnTo>
                    <a:pt x="644" y="563"/>
                  </a:lnTo>
                  <a:lnTo>
                    <a:pt x="644" y="564"/>
                  </a:lnTo>
                  <a:lnTo>
                    <a:pt x="645" y="566"/>
                  </a:lnTo>
                  <a:lnTo>
                    <a:pt x="645" y="568"/>
                  </a:lnTo>
                  <a:lnTo>
                    <a:pt x="647" y="568"/>
                  </a:lnTo>
                  <a:lnTo>
                    <a:pt x="645" y="568"/>
                  </a:lnTo>
                  <a:lnTo>
                    <a:pt x="647" y="569"/>
                  </a:lnTo>
                  <a:lnTo>
                    <a:pt x="647" y="568"/>
                  </a:lnTo>
                  <a:lnTo>
                    <a:pt x="649" y="568"/>
                  </a:lnTo>
                  <a:lnTo>
                    <a:pt x="649" y="569"/>
                  </a:lnTo>
                  <a:lnTo>
                    <a:pt x="649" y="568"/>
                  </a:lnTo>
                  <a:lnTo>
                    <a:pt x="650" y="568"/>
                  </a:lnTo>
                  <a:lnTo>
                    <a:pt x="650" y="569"/>
                  </a:lnTo>
                  <a:lnTo>
                    <a:pt x="652" y="569"/>
                  </a:lnTo>
                  <a:lnTo>
                    <a:pt x="652" y="568"/>
                  </a:lnTo>
                  <a:lnTo>
                    <a:pt x="652" y="569"/>
                  </a:lnTo>
                  <a:lnTo>
                    <a:pt x="652" y="568"/>
                  </a:lnTo>
                  <a:lnTo>
                    <a:pt x="654" y="568"/>
                  </a:lnTo>
                  <a:lnTo>
                    <a:pt x="655" y="568"/>
                  </a:lnTo>
                  <a:lnTo>
                    <a:pt x="657" y="568"/>
                  </a:lnTo>
                  <a:lnTo>
                    <a:pt x="659" y="568"/>
                  </a:lnTo>
                  <a:lnTo>
                    <a:pt x="660" y="568"/>
                  </a:lnTo>
                  <a:lnTo>
                    <a:pt x="659" y="568"/>
                  </a:lnTo>
                  <a:lnTo>
                    <a:pt x="660" y="568"/>
                  </a:lnTo>
                  <a:lnTo>
                    <a:pt x="660" y="569"/>
                  </a:lnTo>
                  <a:lnTo>
                    <a:pt x="660" y="571"/>
                  </a:lnTo>
                  <a:lnTo>
                    <a:pt x="660" y="573"/>
                  </a:lnTo>
                  <a:lnTo>
                    <a:pt x="660" y="574"/>
                  </a:lnTo>
                  <a:lnTo>
                    <a:pt x="659" y="574"/>
                  </a:lnTo>
                  <a:lnTo>
                    <a:pt x="659" y="576"/>
                  </a:lnTo>
                  <a:lnTo>
                    <a:pt x="660" y="576"/>
                  </a:lnTo>
                  <a:lnTo>
                    <a:pt x="660" y="577"/>
                  </a:lnTo>
                  <a:lnTo>
                    <a:pt x="660" y="576"/>
                  </a:lnTo>
                  <a:lnTo>
                    <a:pt x="660" y="577"/>
                  </a:lnTo>
                  <a:lnTo>
                    <a:pt x="660" y="576"/>
                  </a:lnTo>
                  <a:lnTo>
                    <a:pt x="662" y="576"/>
                  </a:lnTo>
                  <a:lnTo>
                    <a:pt x="662" y="577"/>
                  </a:lnTo>
                  <a:lnTo>
                    <a:pt x="662" y="576"/>
                  </a:lnTo>
                  <a:lnTo>
                    <a:pt x="662" y="577"/>
                  </a:lnTo>
                  <a:lnTo>
                    <a:pt x="663" y="577"/>
                  </a:lnTo>
                  <a:lnTo>
                    <a:pt x="663" y="579"/>
                  </a:lnTo>
                  <a:lnTo>
                    <a:pt x="665" y="579"/>
                  </a:lnTo>
                  <a:lnTo>
                    <a:pt x="663" y="581"/>
                  </a:lnTo>
                  <a:lnTo>
                    <a:pt x="663" y="582"/>
                  </a:lnTo>
                  <a:lnTo>
                    <a:pt x="665" y="582"/>
                  </a:lnTo>
                  <a:lnTo>
                    <a:pt x="663" y="582"/>
                  </a:lnTo>
                  <a:lnTo>
                    <a:pt x="663" y="584"/>
                  </a:lnTo>
                  <a:lnTo>
                    <a:pt x="662" y="584"/>
                  </a:lnTo>
                  <a:lnTo>
                    <a:pt x="662" y="586"/>
                  </a:lnTo>
                  <a:lnTo>
                    <a:pt x="663" y="586"/>
                  </a:lnTo>
                  <a:lnTo>
                    <a:pt x="665" y="586"/>
                  </a:lnTo>
                  <a:lnTo>
                    <a:pt x="665" y="584"/>
                  </a:lnTo>
                  <a:lnTo>
                    <a:pt x="667" y="584"/>
                  </a:lnTo>
                  <a:lnTo>
                    <a:pt x="668" y="584"/>
                  </a:lnTo>
                  <a:lnTo>
                    <a:pt x="668" y="586"/>
                  </a:lnTo>
                  <a:lnTo>
                    <a:pt x="667" y="586"/>
                  </a:lnTo>
                  <a:lnTo>
                    <a:pt x="668" y="586"/>
                  </a:lnTo>
                  <a:lnTo>
                    <a:pt x="668" y="587"/>
                  </a:lnTo>
                  <a:lnTo>
                    <a:pt x="667" y="587"/>
                  </a:lnTo>
                  <a:lnTo>
                    <a:pt x="667" y="589"/>
                  </a:lnTo>
                  <a:lnTo>
                    <a:pt x="667" y="590"/>
                  </a:lnTo>
                  <a:lnTo>
                    <a:pt x="667" y="592"/>
                  </a:lnTo>
                  <a:lnTo>
                    <a:pt x="665" y="592"/>
                  </a:lnTo>
                  <a:lnTo>
                    <a:pt x="665" y="594"/>
                  </a:lnTo>
                  <a:lnTo>
                    <a:pt x="663" y="595"/>
                  </a:lnTo>
                  <a:lnTo>
                    <a:pt x="665" y="595"/>
                  </a:lnTo>
                  <a:lnTo>
                    <a:pt x="665" y="597"/>
                  </a:lnTo>
                  <a:lnTo>
                    <a:pt x="665" y="599"/>
                  </a:lnTo>
                  <a:lnTo>
                    <a:pt x="663" y="597"/>
                  </a:lnTo>
                  <a:lnTo>
                    <a:pt x="662" y="597"/>
                  </a:lnTo>
                  <a:lnTo>
                    <a:pt x="662" y="595"/>
                  </a:lnTo>
                  <a:lnTo>
                    <a:pt x="660" y="595"/>
                  </a:lnTo>
                  <a:lnTo>
                    <a:pt x="659" y="594"/>
                  </a:lnTo>
                  <a:lnTo>
                    <a:pt x="659" y="592"/>
                  </a:lnTo>
                  <a:lnTo>
                    <a:pt x="657" y="592"/>
                  </a:lnTo>
                  <a:lnTo>
                    <a:pt x="657" y="590"/>
                  </a:lnTo>
                  <a:lnTo>
                    <a:pt x="657" y="589"/>
                  </a:lnTo>
                  <a:lnTo>
                    <a:pt x="655" y="589"/>
                  </a:lnTo>
                  <a:lnTo>
                    <a:pt x="655" y="587"/>
                  </a:lnTo>
                  <a:lnTo>
                    <a:pt x="654" y="587"/>
                  </a:lnTo>
                  <a:lnTo>
                    <a:pt x="654" y="589"/>
                  </a:lnTo>
                  <a:lnTo>
                    <a:pt x="652" y="587"/>
                  </a:lnTo>
                  <a:lnTo>
                    <a:pt x="650" y="587"/>
                  </a:lnTo>
                  <a:lnTo>
                    <a:pt x="650" y="586"/>
                  </a:lnTo>
                  <a:lnTo>
                    <a:pt x="650" y="584"/>
                  </a:lnTo>
                  <a:lnTo>
                    <a:pt x="647" y="584"/>
                  </a:lnTo>
                  <a:lnTo>
                    <a:pt x="647" y="582"/>
                  </a:lnTo>
                  <a:lnTo>
                    <a:pt x="645" y="582"/>
                  </a:lnTo>
                  <a:lnTo>
                    <a:pt x="645" y="581"/>
                  </a:lnTo>
                  <a:lnTo>
                    <a:pt x="644" y="582"/>
                  </a:lnTo>
                  <a:lnTo>
                    <a:pt x="644" y="581"/>
                  </a:lnTo>
                  <a:lnTo>
                    <a:pt x="642" y="579"/>
                  </a:lnTo>
                  <a:lnTo>
                    <a:pt x="642" y="577"/>
                  </a:lnTo>
                  <a:lnTo>
                    <a:pt x="641" y="577"/>
                  </a:lnTo>
                  <a:lnTo>
                    <a:pt x="642" y="577"/>
                  </a:lnTo>
                  <a:lnTo>
                    <a:pt x="641" y="577"/>
                  </a:lnTo>
                  <a:lnTo>
                    <a:pt x="641" y="576"/>
                  </a:lnTo>
                  <a:lnTo>
                    <a:pt x="639" y="576"/>
                  </a:lnTo>
                  <a:lnTo>
                    <a:pt x="639" y="574"/>
                  </a:lnTo>
                  <a:lnTo>
                    <a:pt x="637" y="576"/>
                  </a:lnTo>
                  <a:lnTo>
                    <a:pt x="637" y="574"/>
                  </a:lnTo>
                  <a:lnTo>
                    <a:pt x="636" y="574"/>
                  </a:lnTo>
                  <a:lnTo>
                    <a:pt x="636" y="576"/>
                  </a:lnTo>
                  <a:lnTo>
                    <a:pt x="636" y="574"/>
                  </a:lnTo>
                  <a:lnTo>
                    <a:pt x="634" y="574"/>
                  </a:lnTo>
                  <a:lnTo>
                    <a:pt x="634" y="576"/>
                  </a:lnTo>
                  <a:lnTo>
                    <a:pt x="632" y="577"/>
                  </a:lnTo>
                  <a:lnTo>
                    <a:pt x="632" y="576"/>
                  </a:lnTo>
                  <a:lnTo>
                    <a:pt x="632" y="574"/>
                  </a:lnTo>
                  <a:lnTo>
                    <a:pt x="632" y="573"/>
                  </a:lnTo>
                  <a:lnTo>
                    <a:pt x="632" y="574"/>
                  </a:lnTo>
                  <a:lnTo>
                    <a:pt x="631" y="574"/>
                  </a:lnTo>
                  <a:lnTo>
                    <a:pt x="631" y="573"/>
                  </a:lnTo>
                  <a:lnTo>
                    <a:pt x="631" y="571"/>
                  </a:lnTo>
                  <a:lnTo>
                    <a:pt x="629" y="571"/>
                  </a:lnTo>
                  <a:lnTo>
                    <a:pt x="629" y="569"/>
                  </a:lnTo>
                  <a:lnTo>
                    <a:pt x="629" y="571"/>
                  </a:lnTo>
                  <a:lnTo>
                    <a:pt x="629" y="569"/>
                  </a:lnTo>
                  <a:lnTo>
                    <a:pt x="628" y="569"/>
                  </a:lnTo>
                  <a:lnTo>
                    <a:pt x="629" y="569"/>
                  </a:lnTo>
                  <a:lnTo>
                    <a:pt x="629" y="568"/>
                  </a:lnTo>
                  <a:lnTo>
                    <a:pt x="629" y="569"/>
                  </a:lnTo>
                  <a:lnTo>
                    <a:pt x="629" y="568"/>
                  </a:lnTo>
                  <a:lnTo>
                    <a:pt x="628" y="568"/>
                  </a:lnTo>
                  <a:lnTo>
                    <a:pt x="628" y="566"/>
                  </a:lnTo>
                  <a:lnTo>
                    <a:pt x="628" y="564"/>
                  </a:lnTo>
                  <a:lnTo>
                    <a:pt x="629" y="564"/>
                  </a:lnTo>
                  <a:lnTo>
                    <a:pt x="629" y="563"/>
                  </a:lnTo>
                  <a:lnTo>
                    <a:pt x="631" y="563"/>
                  </a:lnTo>
                  <a:lnTo>
                    <a:pt x="631" y="561"/>
                  </a:lnTo>
                  <a:lnTo>
                    <a:pt x="632" y="561"/>
                  </a:lnTo>
                  <a:lnTo>
                    <a:pt x="632" y="560"/>
                  </a:lnTo>
                  <a:lnTo>
                    <a:pt x="634" y="560"/>
                  </a:lnTo>
                  <a:lnTo>
                    <a:pt x="634" y="558"/>
                  </a:lnTo>
                  <a:lnTo>
                    <a:pt x="636" y="558"/>
                  </a:lnTo>
                  <a:lnTo>
                    <a:pt x="637" y="558"/>
                  </a:lnTo>
                  <a:lnTo>
                    <a:pt x="639" y="558"/>
                  </a:lnTo>
                  <a:lnTo>
                    <a:pt x="639" y="556"/>
                  </a:lnTo>
                  <a:close/>
                  <a:moveTo>
                    <a:pt x="969" y="803"/>
                  </a:moveTo>
                  <a:lnTo>
                    <a:pt x="969" y="802"/>
                  </a:lnTo>
                  <a:lnTo>
                    <a:pt x="971" y="802"/>
                  </a:lnTo>
                  <a:lnTo>
                    <a:pt x="969" y="802"/>
                  </a:lnTo>
                  <a:lnTo>
                    <a:pt x="971" y="802"/>
                  </a:lnTo>
                  <a:lnTo>
                    <a:pt x="972" y="802"/>
                  </a:lnTo>
                  <a:lnTo>
                    <a:pt x="971" y="803"/>
                  </a:lnTo>
                  <a:lnTo>
                    <a:pt x="972" y="803"/>
                  </a:lnTo>
                  <a:lnTo>
                    <a:pt x="972" y="805"/>
                  </a:lnTo>
                  <a:lnTo>
                    <a:pt x="972" y="807"/>
                  </a:lnTo>
                  <a:lnTo>
                    <a:pt x="971" y="807"/>
                  </a:lnTo>
                  <a:lnTo>
                    <a:pt x="971" y="808"/>
                  </a:lnTo>
                  <a:lnTo>
                    <a:pt x="971" y="810"/>
                  </a:lnTo>
                  <a:lnTo>
                    <a:pt x="971" y="812"/>
                  </a:lnTo>
                  <a:lnTo>
                    <a:pt x="971" y="813"/>
                  </a:lnTo>
                  <a:lnTo>
                    <a:pt x="971" y="812"/>
                  </a:lnTo>
                  <a:lnTo>
                    <a:pt x="972" y="813"/>
                  </a:lnTo>
                  <a:lnTo>
                    <a:pt x="972" y="815"/>
                  </a:lnTo>
                  <a:lnTo>
                    <a:pt x="972" y="816"/>
                  </a:lnTo>
                  <a:lnTo>
                    <a:pt x="972" y="818"/>
                  </a:lnTo>
                  <a:lnTo>
                    <a:pt x="971" y="818"/>
                  </a:lnTo>
                  <a:lnTo>
                    <a:pt x="971" y="820"/>
                  </a:lnTo>
                  <a:lnTo>
                    <a:pt x="971" y="821"/>
                  </a:lnTo>
                  <a:lnTo>
                    <a:pt x="971" y="823"/>
                  </a:lnTo>
                  <a:lnTo>
                    <a:pt x="971" y="825"/>
                  </a:lnTo>
                  <a:lnTo>
                    <a:pt x="969" y="826"/>
                  </a:lnTo>
                  <a:lnTo>
                    <a:pt x="968" y="828"/>
                  </a:lnTo>
                  <a:lnTo>
                    <a:pt x="969" y="830"/>
                  </a:lnTo>
                  <a:lnTo>
                    <a:pt x="968" y="830"/>
                  </a:lnTo>
                  <a:lnTo>
                    <a:pt x="969" y="830"/>
                  </a:lnTo>
                  <a:lnTo>
                    <a:pt x="969" y="831"/>
                  </a:lnTo>
                  <a:lnTo>
                    <a:pt x="969" y="833"/>
                  </a:lnTo>
                  <a:lnTo>
                    <a:pt x="968" y="833"/>
                  </a:lnTo>
                  <a:lnTo>
                    <a:pt x="968" y="834"/>
                  </a:lnTo>
                  <a:lnTo>
                    <a:pt x="969" y="834"/>
                  </a:lnTo>
                  <a:lnTo>
                    <a:pt x="971" y="834"/>
                  </a:lnTo>
                  <a:lnTo>
                    <a:pt x="972" y="836"/>
                  </a:lnTo>
                  <a:lnTo>
                    <a:pt x="974" y="838"/>
                  </a:lnTo>
                  <a:lnTo>
                    <a:pt x="976" y="838"/>
                  </a:lnTo>
                  <a:lnTo>
                    <a:pt x="976" y="839"/>
                  </a:lnTo>
                  <a:lnTo>
                    <a:pt x="976" y="841"/>
                  </a:lnTo>
                  <a:lnTo>
                    <a:pt x="977" y="841"/>
                  </a:lnTo>
                  <a:lnTo>
                    <a:pt x="977" y="843"/>
                  </a:lnTo>
                  <a:lnTo>
                    <a:pt x="977" y="844"/>
                  </a:lnTo>
                  <a:lnTo>
                    <a:pt x="976" y="844"/>
                  </a:lnTo>
                  <a:lnTo>
                    <a:pt x="976" y="846"/>
                  </a:lnTo>
                  <a:lnTo>
                    <a:pt x="977" y="846"/>
                  </a:lnTo>
                  <a:lnTo>
                    <a:pt x="977" y="847"/>
                  </a:lnTo>
                  <a:lnTo>
                    <a:pt x="979" y="847"/>
                  </a:lnTo>
                  <a:lnTo>
                    <a:pt x="979" y="846"/>
                  </a:lnTo>
                  <a:lnTo>
                    <a:pt x="981" y="846"/>
                  </a:lnTo>
                  <a:lnTo>
                    <a:pt x="981" y="847"/>
                  </a:lnTo>
                  <a:lnTo>
                    <a:pt x="982" y="847"/>
                  </a:lnTo>
                  <a:lnTo>
                    <a:pt x="982" y="849"/>
                  </a:lnTo>
                  <a:lnTo>
                    <a:pt x="981" y="849"/>
                  </a:lnTo>
                  <a:lnTo>
                    <a:pt x="981" y="851"/>
                  </a:lnTo>
                  <a:lnTo>
                    <a:pt x="981" y="852"/>
                  </a:lnTo>
                  <a:lnTo>
                    <a:pt x="981" y="851"/>
                  </a:lnTo>
                  <a:lnTo>
                    <a:pt x="979" y="851"/>
                  </a:lnTo>
                  <a:lnTo>
                    <a:pt x="977" y="851"/>
                  </a:lnTo>
                  <a:lnTo>
                    <a:pt x="977" y="852"/>
                  </a:lnTo>
                  <a:lnTo>
                    <a:pt x="977" y="854"/>
                  </a:lnTo>
                  <a:lnTo>
                    <a:pt x="976" y="854"/>
                  </a:lnTo>
                  <a:lnTo>
                    <a:pt x="976" y="856"/>
                  </a:lnTo>
                  <a:lnTo>
                    <a:pt x="974" y="856"/>
                  </a:lnTo>
                  <a:lnTo>
                    <a:pt x="974" y="857"/>
                  </a:lnTo>
                  <a:lnTo>
                    <a:pt x="974" y="859"/>
                  </a:lnTo>
                  <a:lnTo>
                    <a:pt x="974" y="860"/>
                  </a:lnTo>
                  <a:lnTo>
                    <a:pt x="976" y="860"/>
                  </a:lnTo>
                  <a:lnTo>
                    <a:pt x="976" y="859"/>
                  </a:lnTo>
                  <a:lnTo>
                    <a:pt x="976" y="860"/>
                  </a:lnTo>
                  <a:lnTo>
                    <a:pt x="974" y="862"/>
                  </a:lnTo>
                  <a:lnTo>
                    <a:pt x="974" y="864"/>
                  </a:lnTo>
                  <a:lnTo>
                    <a:pt x="972" y="865"/>
                  </a:lnTo>
                  <a:lnTo>
                    <a:pt x="972" y="864"/>
                  </a:lnTo>
                  <a:lnTo>
                    <a:pt x="972" y="862"/>
                  </a:lnTo>
                  <a:lnTo>
                    <a:pt x="971" y="860"/>
                  </a:lnTo>
                  <a:lnTo>
                    <a:pt x="969" y="860"/>
                  </a:lnTo>
                  <a:lnTo>
                    <a:pt x="969" y="862"/>
                  </a:lnTo>
                  <a:lnTo>
                    <a:pt x="969" y="860"/>
                  </a:lnTo>
                  <a:lnTo>
                    <a:pt x="968" y="860"/>
                  </a:lnTo>
                  <a:lnTo>
                    <a:pt x="966" y="860"/>
                  </a:lnTo>
                  <a:lnTo>
                    <a:pt x="966" y="859"/>
                  </a:lnTo>
                  <a:lnTo>
                    <a:pt x="966" y="860"/>
                  </a:lnTo>
                  <a:lnTo>
                    <a:pt x="966" y="859"/>
                  </a:lnTo>
                  <a:lnTo>
                    <a:pt x="964" y="859"/>
                  </a:lnTo>
                  <a:lnTo>
                    <a:pt x="966" y="859"/>
                  </a:lnTo>
                  <a:lnTo>
                    <a:pt x="966" y="857"/>
                  </a:lnTo>
                  <a:lnTo>
                    <a:pt x="964" y="859"/>
                  </a:lnTo>
                  <a:lnTo>
                    <a:pt x="964" y="857"/>
                  </a:lnTo>
                  <a:lnTo>
                    <a:pt x="966" y="857"/>
                  </a:lnTo>
                  <a:lnTo>
                    <a:pt x="966" y="856"/>
                  </a:lnTo>
                  <a:lnTo>
                    <a:pt x="968" y="856"/>
                  </a:lnTo>
                  <a:lnTo>
                    <a:pt x="968" y="854"/>
                  </a:lnTo>
                  <a:lnTo>
                    <a:pt x="966" y="854"/>
                  </a:lnTo>
                  <a:lnTo>
                    <a:pt x="968" y="854"/>
                  </a:lnTo>
                  <a:lnTo>
                    <a:pt x="968" y="852"/>
                  </a:lnTo>
                  <a:lnTo>
                    <a:pt x="966" y="851"/>
                  </a:lnTo>
                  <a:lnTo>
                    <a:pt x="968" y="851"/>
                  </a:lnTo>
                  <a:lnTo>
                    <a:pt x="966" y="851"/>
                  </a:lnTo>
                  <a:lnTo>
                    <a:pt x="968" y="851"/>
                  </a:lnTo>
                  <a:lnTo>
                    <a:pt x="966" y="849"/>
                  </a:lnTo>
                  <a:lnTo>
                    <a:pt x="966" y="847"/>
                  </a:lnTo>
                  <a:lnTo>
                    <a:pt x="966" y="846"/>
                  </a:lnTo>
                  <a:lnTo>
                    <a:pt x="964" y="846"/>
                  </a:lnTo>
                  <a:lnTo>
                    <a:pt x="966" y="846"/>
                  </a:lnTo>
                  <a:lnTo>
                    <a:pt x="966" y="844"/>
                  </a:lnTo>
                  <a:lnTo>
                    <a:pt x="964" y="844"/>
                  </a:lnTo>
                  <a:lnTo>
                    <a:pt x="964" y="843"/>
                  </a:lnTo>
                  <a:lnTo>
                    <a:pt x="963" y="843"/>
                  </a:lnTo>
                  <a:lnTo>
                    <a:pt x="961" y="843"/>
                  </a:lnTo>
                  <a:lnTo>
                    <a:pt x="961" y="841"/>
                  </a:lnTo>
                  <a:lnTo>
                    <a:pt x="959" y="839"/>
                  </a:lnTo>
                  <a:lnTo>
                    <a:pt x="958" y="838"/>
                  </a:lnTo>
                  <a:lnTo>
                    <a:pt x="959" y="836"/>
                  </a:lnTo>
                  <a:lnTo>
                    <a:pt x="961" y="836"/>
                  </a:lnTo>
                  <a:lnTo>
                    <a:pt x="959" y="834"/>
                  </a:lnTo>
                  <a:lnTo>
                    <a:pt x="961" y="834"/>
                  </a:lnTo>
                  <a:lnTo>
                    <a:pt x="961" y="833"/>
                  </a:lnTo>
                  <a:lnTo>
                    <a:pt x="963" y="833"/>
                  </a:lnTo>
                  <a:lnTo>
                    <a:pt x="963" y="831"/>
                  </a:lnTo>
                  <a:lnTo>
                    <a:pt x="964" y="831"/>
                  </a:lnTo>
                  <a:lnTo>
                    <a:pt x="964" y="830"/>
                  </a:lnTo>
                  <a:lnTo>
                    <a:pt x="963" y="830"/>
                  </a:lnTo>
                  <a:lnTo>
                    <a:pt x="964" y="830"/>
                  </a:lnTo>
                  <a:lnTo>
                    <a:pt x="964" y="828"/>
                  </a:lnTo>
                  <a:lnTo>
                    <a:pt x="963" y="828"/>
                  </a:lnTo>
                  <a:lnTo>
                    <a:pt x="963" y="826"/>
                  </a:lnTo>
                  <a:lnTo>
                    <a:pt x="963" y="825"/>
                  </a:lnTo>
                  <a:lnTo>
                    <a:pt x="964" y="823"/>
                  </a:lnTo>
                  <a:lnTo>
                    <a:pt x="964" y="825"/>
                  </a:lnTo>
                  <a:lnTo>
                    <a:pt x="964" y="823"/>
                  </a:lnTo>
                  <a:lnTo>
                    <a:pt x="964" y="821"/>
                  </a:lnTo>
                  <a:lnTo>
                    <a:pt x="964" y="820"/>
                  </a:lnTo>
                  <a:lnTo>
                    <a:pt x="966" y="820"/>
                  </a:lnTo>
                  <a:lnTo>
                    <a:pt x="964" y="820"/>
                  </a:lnTo>
                  <a:lnTo>
                    <a:pt x="966" y="820"/>
                  </a:lnTo>
                  <a:lnTo>
                    <a:pt x="966" y="818"/>
                  </a:lnTo>
                  <a:lnTo>
                    <a:pt x="966" y="816"/>
                  </a:lnTo>
                  <a:lnTo>
                    <a:pt x="966" y="815"/>
                  </a:lnTo>
                  <a:lnTo>
                    <a:pt x="966" y="813"/>
                  </a:lnTo>
                  <a:lnTo>
                    <a:pt x="964" y="812"/>
                  </a:lnTo>
                  <a:lnTo>
                    <a:pt x="966" y="810"/>
                  </a:lnTo>
                  <a:lnTo>
                    <a:pt x="964" y="808"/>
                  </a:lnTo>
                  <a:lnTo>
                    <a:pt x="964" y="807"/>
                  </a:lnTo>
                  <a:lnTo>
                    <a:pt x="966" y="807"/>
                  </a:lnTo>
                  <a:lnTo>
                    <a:pt x="964" y="807"/>
                  </a:lnTo>
                  <a:lnTo>
                    <a:pt x="966" y="807"/>
                  </a:lnTo>
                  <a:lnTo>
                    <a:pt x="968" y="807"/>
                  </a:lnTo>
                  <a:lnTo>
                    <a:pt x="968" y="805"/>
                  </a:lnTo>
                  <a:lnTo>
                    <a:pt x="968" y="803"/>
                  </a:lnTo>
                  <a:lnTo>
                    <a:pt x="969" y="803"/>
                  </a:lnTo>
                  <a:close/>
                  <a:moveTo>
                    <a:pt x="943" y="652"/>
                  </a:moveTo>
                  <a:lnTo>
                    <a:pt x="946" y="649"/>
                  </a:lnTo>
                  <a:lnTo>
                    <a:pt x="948" y="651"/>
                  </a:lnTo>
                  <a:lnTo>
                    <a:pt x="948" y="652"/>
                  </a:lnTo>
                  <a:lnTo>
                    <a:pt x="950" y="652"/>
                  </a:lnTo>
                  <a:lnTo>
                    <a:pt x="953" y="652"/>
                  </a:lnTo>
                  <a:lnTo>
                    <a:pt x="953" y="651"/>
                  </a:lnTo>
                  <a:lnTo>
                    <a:pt x="955" y="652"/>
                  </a:lnTo>
                  <a:lnTo>
                    <a:pt x="956" y="652"/>
                  </a:lnTo>
                  <a:lnTo>
                    <a:pt x="956" y="654"/>
                  </a:lnTo>
                  <a:lnTo>
                    <a:pt x="956" y="655"/>
                  </a:lnTo>
                  <a:lnTo>
                    <a:pt x="955" y="655"/>
                  </a:lnTo>
                  <a:lnTo>
                    <a:pt x="953" y="657"/>
                  </a:lnTo>
                  <a:lnTo>
                    <a:pt x="953" y="659"/>
                  </a:lnTo>
                  <a:lnTo>
                    <a:pt x="951" y="659"/>
                  </a:lnTo>
                  <a:lnTo>
                    <a:pt x="950" y="659"/>
                  </a:lnTo>
                  <a:lnTo>
                    <a:pt x="948" y="660"/>
                  </a:lnTo>
                  <a:lnTo>
                    <a:pt x="946" y="662"/>
                  </a:lnTo>
                  <a:lnTo>
                    <a:pt x="943" y="662"/>
                  </a:lnTo>
                  <a:lnTo>
                    <a:pt x="943" y="664"/>
                  </a:lnTo>
                  <a:lnTo>
                    <a:pt x="941" y="664"/>
                  </a:lnTo>
                  <a:lnTo>
                    <a:pt x="940" y="665"/>
                  </a:lnTo>
                  <a:lnTo>
                    <a:pt x="938" y="665"/>
                  </a:lnTo>
                  <a:lnTo>
                    <a:pt x="938" y="667"/>
                  </a:lnTo>
                  <a:lnTo>
                    <a:pt x="937" y="667"/>
                  </a:lnTo>
                  <a:lnTo>
                    <a:pt x="937" y="668"/>
                  </a:lnTo>
                  <a:lnTo>
                    <a:pt x="935" y="670"/>
                  </a:lnTo>
                  <a:lnTo>
                    <a:pt x="935" y="672"/>
                  </a:lnTo>
                  <a:lnTo>
                    <a:pt x="933" y="672"/>
                  </a:lnTo>
                  <a:lnTo>
                    <a:pt x="933" y="673"/>
                  </a:lnTo>
                  <a:lnTo>
                    <a:pt x="932" y="675"/>
                  </a:lnTo>
                  <a:lnTo>
                    <a:pt x="930" y="677"/>
                  </a:lnTo>
                  <a:lnTo>
                    <a:pt x="928" y="675"/>
                  </a:lnTo>
                  <a:lnTo>
                    <a:pt x="927" y="675"/>
                  </a:lnTo>
                  <a:lnTo>
                    <a:pt x="925" y="675"/>
                  </a:lnTo>
                  <a:lnTo>
                    <a:pt x="924" y="675"/>
                  </a:lnTo>
                  <a:lnTo>
                    <a:pt x="922" y="677"/>
                  </a:lnTo>
                  <a:lnTo>
                    <a:pt x="920" y="677"/>
                  </a:lnTo>
                  <a:lnTo>
                    <a:pt x="920" y="678"/>
                  </a:lnTo>
                  <a:lnTo>
                    <a:pt x="919" y="678"/>
                  </a:lnTo>
                  <a:lnTo>
                    <a:pt x="919" y="680"/>
                  </a:lnTo>
                  <a:lnTo>
                    <a:pt x="917" y="680"/>
                  </a:lnTo>
                  <a:lnTo>
                    <a:pt x="917" y="681"/>
                  </a:lnTo>
                  <a:lnTo>
                    <a:pt x="917" y="683"/>
                  </a:lnTo>
                  <a:lnTo>
                    <a:pt x="919" y="683"/>
                  </a:lnTo>
                  <a:lnTo>
                    <a:pt x="919" y="685"/>
                  </a:lnTo>
                  <a:lnTo>
                    <a:pt x="917" y="685"/>
                  </a:lnTo>
                  <a:lnTo>
                    <a:pt x="917" y="686"/>
                  </a:lnTo>
                  <a:lnTo>
                    <a:pt x="917" y="688"/>
                  </a:lnTo>
                  <a:lnTo>
                    <a:pt x="917" y="690"/>
                  </a:lnTo>
                  <a:lnTo>
                    <a:pt x="919" y="691"/>
                  </a:lnTo>
                  <a:lnTo>
                    <a:pt x="917" y="691"/>
                  </a:lnTo>
                  <a:lnTo>
                    <a:pt x="917" y="690"/>
                  </a:lnTo>
                  <a:lnTo>
                    <a:pt x="917" y="691"/>
                  </a:lnTo>
                  <a:lnTo>
                    <a:pt x="915" y="690"/>
                  </a:lnTo>
                  <a:lnTo>
                    <a:pt x="914" y="688"/>
                  </a:lnTo>
                  <a:lnTo>
                    <a:pt x="912" y="688"/>
                  </a:lnTo>
                  <a:lnTo>
                    <a:pt x="912" y="686"/>
                  </a:lnTo>
                  <a:lnTo>
                    <a:pt x="911" y="686"/>
                  </a:lnTo>
                  <a:lnTo>
                    <a:pt x="911" y="685"/>
                  </a:lnTo>
                  <a:lnTo>
                    <a:pt x="911" y="683"/>
                  </a:lnTo>
                  <a:lnTo>
                    <a:pt x="911" y="681"/>
                  </a:lnTo>
                  <a:lnTo>
                    <a:pt x="911" y="680"/>
                  </a:lnTo>
                  <a:lnTo>
                    <a:pt x="911" y="678"/>
                  </a:lnTo>
                  <a:lnTo>
                    <a:pt x="912" y="678"/>
                  </a:lnTo>
                  <a:lnTo>
                    <a:pt x="914" y="678"/>
                  </a:lnTo>
                  <a:lnTo>
                    <a:pt x="914" y="677"/>
                  </a:lnTo>
                  <a:lnTo>
                    <a:pt x="915" y="677"/>
                  </a:lnTo>
                  <a:lnTo>
                    <a:pt x="914" y="677"/>
                  </a:lnTo>
                  <a:lnTo>
                    <a:pt x="915" y="677"/>
                  </a:lnTo>
                  <a:lnTo>
                    <a:pt x="917" y="677"/>
                  </a:lnTo>
                  <a:lnTo>
                    <a:pt x="919" y="677"/>
                  </a:lnTo>
                  <a:lnTo>
                    <a:pt x="919" y="675"/>
                  </a:lnTo>
                  <a:lnTo>
                    <a:pt x="920" y="672"/>
                  </a:lnTo>
                  <a:lnTo>
                    <a:pt x="920" y="670"/>
                  </a:lnTo>
                  <a:lnTo>
                    <a:pt x="922" y="670"/>
                  </a:lnTo>
                  <a:lnTo>
                    <a:pt x="922" y="668"/>
                  </a:lnTo>
                  <a:lnTo>
                    <a:pt x="924" y="667"/>
                  </a:lnTo>
                  <a:lnTo>
                    <a:pt x="924" y="665"/>
                  </a:lnTo>
                  <a:lnTo>
                    <a:pt x="925" y="665"/>
                  </a:lnTo>
                  <a:lnTo>
                    <a:pt x="925" y="664"/>
                  </a:lnTo>
                  <a:lnTo>
                    <a:pt x="928" y="662"/>
                  </a:lnTo>
                  <a:lnTo>
                    <a:pt x="930" y="659"/>
                  </a:lnTo>
                  <a:lnTo>
                    <a:pt x="932" y="657"/>
                  </a:lnTo>
                  <a:lnTo>
                    <a:pt x="935" y="655"/>
                  </a:lnTo>
                  <a:lnTo>
                    <a:pt x="937" y="655"/>
                  </a:lnTo>
                  <a:lnTo>
                    <a:pt x="938" y="655"/>
                  </a:lnTo>
                  <a:lnTo>
                    <a:pt x="938" y="654"/>
                  </a:lnTo>
                  <a:lnTo>
                    <a:pt x="938" y="655"/>
                  </a:lnTo>
                  <a:lnTo>
                    <a:pt x="938" y="654"/>
                  </a:lnTo>
                  <a:lnTo>
                    <a:pt x="941" y="654"/>
                  </a:lnTo>
                  <a:lnTo>
                    <a:pt x="943" y="652"/>
                  </a:lnTo>
                  <a:close/>
                  <a:moveTo>
                    <a:pt x="467" y="823"/>
                  </a:moveTo>
                  <a:lnTo>
                    <a:pt x="467" y="821"/>
                  </a:lnTo>
                  <a:lnTo>
                    <a:pt x="468" y="823"/>
                  </a:lnTo>
                  <a:lnTo>
                    <a:pt x="468" y="825"/>
                  </a:lnTo>
                  <a:lnTo>
                    <a:pt x="470" y="825"/>
                  </a:lnTo>
                  <a:lnTo>
                    <a:pt x="470" y="826"/>
                  </a:lnTo>
                  <a:lnTo>
                    <a:pt x="471" y="826"/>
                  </a:lnTo>
                  <a:lnTo>
                    <a:pt x="471" y="828"/>
                  </a:lnTo>
                  <a:lnTo>
                    <a:pt x="471" y="830"/>
                  </a:lnTo>
                  <a:lnTo>
                    <a:pt x="473" y="830"/>
                  </a:lnTo>
                  <a:lnTo>
                    <a:pt x="473" y="831"/>
                  </a:lnTo>
                  <a:lnTo>
                    <a:pt x="475" y="831"/>
                  </a:lnTo>
                  <a:lnTo>
                    <a:pt x="476" y="831"/>
                  </a:lnTo>
                  <a:lnTo>
                    <a:pt x="478" y="833"/>
                  </a:lnTo>
                  <a:lnTo>
                    <a:pt x="480" y="833"/>
                  </a:lnTo>
                  <a:lnTo>
                    <a:pt x="481" y="834"/>
                  </a:lnTo>
                  <a:lnTo>
                    <a:pt x="483" y="836"/>
                  </a:lnTo>
                  <a:lnTo>
                    <a:pt x="484" y="836"/>
                  </a:lnTo>
                  <a:lnTo>
                    <a:pt x="486" y="838"/>
                  </a:lnTo>
                  <a:lnTo>
                    <a:pt x="488" y="838"/>
                  </a:lnTo>
                  <a:lnTo>
                    <a:pt x="488" y="839"/>
                  </a:lnTo>
                  <a:lnTo>
                    <a:pt x="488" y="841"/>
                  </a:lnTo>
                  <a:lnTo>
                    <a:pt x="486" y="843"/>
                  </a:lnTo>
                  <a:lnTo>
                    <a:pt x="486" y="841"/>
                  </a:lnTo>
                  <a:lnTo>
                    <a:pt x="486" y="843"/>
                  </a:lnTo>
                  <a:lnTo>
                    <a:pt x="484" y="843"/>
                  </a:lnTo>
                  <a:lnTo>
                    <a:pt x="484" y="841"/>
                  </a:lnTo>
                  <a:lnTo>
                    <a:pt x="484" y="843"/>
                  </a:lnTo>
                  <a:lnTo>
                    <a:pt x="483" y="843"/>
                  </a:lnTo>
                  <a:lnTo>
                    <a:pt x="483" y="844"/>
                  </a:lnTo>
                  <a:lnTo>
                    <a:pt x="483" y="846"/>
                  </a:lnTo>
                  <a:lnTo>
                    <a:pt x="483" y="847"/>
                  </a:lnTo>
                  <a:lnTo>
                    <a:pt x="483" y="849"/>
                  </a:lnTo>
                  <a:lnTo>
                    <a:pt x="483" y="851"/>
                  </a:lnTo>
                  <a:lnTo>
                    <a:pt x="483" y="852"/>
                  </a:lnTo>
                  <a:lnTo>
                    <a:pt x="484" y="852"/>
                  </a:lnTo>
                  <a:lnTo>
                    <a:pt x="484" y="854"/>
                  </a:lnTo>
                  <a:lnTo>
                    <a:pt x="483" y="856"/>
                  </a:lnTo>
                  <a:lnTo>
                    <a:pt x="481" y="856"/>
                  </a:lnTo>
                  <a:lnTo>
                    <a:pt x="480" y="854"/>
                  </a:lnTo>
                  <a:lnTo>
                    <a:pt x="480" y="856"/>
                  </a:lnTo>
                  <a:lnTo>
                    <a:pt x="480" y="854"/>
                  </a:lnTo>
                  <a:lnTo>
                    <a:pt x="480" y="856"/>
                  </a:lnTo>
                  <a:lnTo>
                    <a:pt x="478" y="856"/>
                  </a:lnTo>
                  <a:lnTo>
                    <a:pt x="478" y="854"/>
                  </a:lnTo>
                  <a:lnTo>
                    <a:pt x="476" y="856"/>
                  </a:lnTo>
                  <a:lnTo>
                    <a:pt x="478" y="857"/>
                  </a:lnTo>
                  <a:lnTo>
                    <a:pt x="476" y="856"/>
                  </a:lnTo>
                  <a:lnTo>
                    <a:pt x="476" y="854"/>
                  </a:lnTo>
                  <a:lnTo>
                    <a:pt x="475" y="854"/>
                  </a:lnTo>
                  <a:lnTo>
                    <a:pt x="473" y="854"/>
                  </a:lnTo>
                  <a:lnTo>
                    <a:pt x="473" y="856"/>
                  </a:lnTo>
                  <a:lnTo>
                    <a:pt x="473" y="854"/>
                  </a:lnTo>
                  <a:lnTo>
                    <a:pt x="471" y="854"/>
                  </a:lnTo>
                  <a:lnTo>
                    <a:pt x="470" y="854"/>
                  </a:lnTo>
                  <a:lnTo>
                    <a:pt x="470" y="852"/>
                  </a:lnTo>
                  <a:lnTo>
                    <a:pt x="468" y="851"/>
                  </a:lnTo>
                  <a:lnTo>
                    <a:pt x="467" y="851"/>
                  </a:lnTo>
                  <a:lnTo>
                    <a:pt x="467" y="849"/>
                  </a:lnTo>
                  <a:lnTo>
                    <a:pt x="467" y="847"/>
                  </a:lnTo>
                  <a:lnTo>
                    <a:pt x="467" y="846"/>
                  </a:lnTo>
                  <a:lnTo>
                    <a:pt x="465" y="846"/>
                  </a:lnTo>
                  <a:lnTo>
                    <a:pt x="465" y="844"/>
                  </a:lnTo>
                  <a:lnTo>
                    <a:pt x="465" y="843"/>
                  </a:lnTo>
                  <a:lnTo>
                    <a:pt x="467" y="843"/>
                  </a:lnTo>
                  <a:lnTo>
                    <a:pt x="467" y="841"/>
                  </a:lnTo>
                  <a:lnTo>
                    <a:pt x="465" y="839"/>
                  </a:lnTo>
                  <a:lnTo>
                    <a:pt x="465" y="838"/>
                  </a:lnTo>
                  <a:lnTo>
                    <a:pt x="465" y="836"/>
                  </a:lnTo>
                  <a:lnTo>
                    <a:pt x="465" y="834"/>
                  </a:lnTo>
                  <a:lnTo>
                    <a:pt x="463" y="833"/>
                  </a:lnTo>
                  <a:lnTo>
                    <a:pt x="462" y="833"/>
                  </a:lnTo>
                  <a:lnTo>
                    <a:pt x="462" y="831"/>
                  </a:lnTo>
                  <a:lnTo>
                    <a:pt x="463" y="830"/>
                  </a:lnTo>
                  <a:lnTo>
                    <a:pt x="462" y="828"/>
                  </a:lnTo>
                  <a:lnTo>
                    <a:pt x="463" y="828"/>
                  </a:lnTo>
                  <a:lnTo>
                    <a:pt x="463" y="826"/>
                  </a:lnTo>
                  <a:lnTo>
                    <a:pt x="465" y="825"/>
                  </a:lnTo>
                  <a:lnTo>
                    <a:pt x="463" y="825"/>
                  </a:lnTo>
                  <a:lnTo>
                    <a:pt x="463" y="823"/>
                  </a:lnTo>
                  <a:lnTo>
                    <a:pt x="465" y="823"/>
                  </a:lnTo>
                  <a:lnTo>
                    <a:pt x="467" y="823"/>
                  </a:lnTo>
                  <a:close/>
                  <a:moveTo>
                    <a:pt x="823" y="564"/>
                  </a:moveTo>
                  <a:lnTo>
                    <a:pt x="823" y="566"/>
                  </a:lnTo>
                  <a:lnTo>
                    <a:pt x="821" y="566"/>
                  </a:lnTo>
                  <a:lnTo>
                    <a:pt x="821" y="568"/>
                  </a:lnTo>
                  <a:lnTo>
                    <a:pt x="821" y="569"/>
                  </a:lnTo>
                  <a:lnTo>
                    <a:pt x="820" y="569"/>
                  </a:lnTo>
                  <a:lnTo>
                    <a:pt x="821" y="569"/>
                  </a:lnTo>
                  <a:lnTo>
                    <a:pt x="820" y="571"/>
                  </a:lnTo>
                  <a:lnTo>
                    <a:pt x="820" y="573"/>
                  </a:lnTo>
                  <a:lnTo>
                    <a:pt x="818" y="573"/>
                  </a:lnTo>
                  <a:lnTo>
                    <a:pt x="818" y="574"/>
                  </a:lnTo>
                  <a:lnTo>
                    <a:pt x="818" y="576"/>
                  </a:lnTo>
                  <a:lnTo>
                    <a:pt x="816" y="576"/>
                  </a:lnTo>
                  <a:lnTo>
                    <a:pt x="816" y="577"/>
                  </a:lnTo>
                  <a:lnTo>
                    <a:pt x="815" y="577"/>
                  </a:lnTo>
                  <a:lnTo>
                    <a:pt x="815" y="579"/>
                  </a:lnTo>
                  <a:lnTo>
                    <a:pt x="813" y="579"/>
                  </a:lnTo>
                  <a:lnTo>
                    <a:pt x="813" y="581"/>
                  </a:lnTo>
                  <a:lnTo>
                    <a:pt x="811" y="581"/>
                  </a:lnTo>
                  <a:lnTo>
                    <a:pt x="811" y="582"/>
                  </a:lnTo>
                  <a:lnTo>
                    <a:pt x="810" y="582"/>
                  </a:lnTo>
                  <a:lnTo>
                    <a:pt x="810" y="584"/>
                  </a:lnTo>
                  <a:lnTo>
                    <a:pt x="808" y="584"/>
                  </a:lnTo>
                  <a:lnTo>
                    <a:pt x="807" y="586"/>
                  </a:lnTo>
                  <a:lnTo>
                    <a:pt x="805" y="587"/>
                  </a:lnTo>
                  <a:lnTo>
                    <a:pt x="803" y="587"/>
                  </a:lnTo>
                  <a:lnTo>
                    <a:pt x="802" y="587"/>
                  </a:lnTo>
                  <a:lnTo>
                    <a:pt x="800" y="587"/>
                  </a:lnTo>
                  <a:lnTo>
                    <a:pt x="798" y="589"/>
                  </a:lnTo>
                  <a:lnTo>
                    <a:pt x="797" y="589"/>
                  </a:lnTo>
                  <a:lnTo>
                    <a:pt x="797" y="590"/>
                  </a:lnTo>
                  <a:lnTo>
                    <a:pt x="795" y="592"/>
                  </a:lnTo>
                  <a:lnTo>
                    <a:pt x="795" y="594"/>
                  </a:lnTo>
                  <a:lnTo>
                    <a:pt x="793" y="595"/>
                  </a:lnTo>
                  <a:lnTo>
                    <a:pt x="792" y="595"/>
                  </a:lnTo>
                  <a:lnTo>
                    <a:pt x="790" y="595"/>
                  </a:lnTo>
                  <a:lnTo>
                    <a:pt x="789" y="595"/>
                  </a:lnTo>
                  <a:lnTo>
                    <a:pt x="789" y="597"/>
                  </a:lnTo>
                  <a:lnTo>
                    <a:pt x="787" y="597"/>
                  </a:lnTo>
                  <a:lnTo>
                    <a:pt x="785" y="597"/>
                  </a:lnTo>
                  <a:lnTo>
                    <a:pt x="785" y="599"/>
                  </a:lnTo>
                  <a:lnTo>
                    <a:pt x="784" y="599"/>
                  </a:lnTo>
                  <a:lnTo>
                    <a:pt x="784" y="597"/>
                  </a:lnTo>
                  <a:lnTo>
                    <a:pt x="784" y="595"/>
                  </a:lnTo>
                  <a:lnTo>
                    <a:pt x="784" y="594"/>
                  </a:lnTo>
                  <a:lnTo>
                    <a:pt x="784" y="592"/>
                  </a:lnTo>
                  <a:lnTo>
                    <a:pt x="785" y="590"/>
                  </a:lnTo>
                  <a:lnTo>
                    <a:pt x="787" y="587"/>
                  </a:lnTo>
                  <a:lnTo>
                    <a:pt x="789" y="584"/>
                  </a:lnTo>
                  <a:lnTo>
                    <a:pt x="789" y="582"/>
                  </a:lnTo>
                  <a:lnTo>
                    <a:pt x="790" y="581"/>
                  </a:lnTo>
                  <a:lnTo>
                    <a:pt x="790" y="579"/>
                  </a:lnTo>
                  <a:lnTo>
                    <a:pt x="792" y="579"/>
                  </a:lnTo>
                  <a:lnTo>
                    <a:pt x="792" y="577"/>
                  </a:lnTo>
                  <a:lnTo>
                    <a:pt x="793" y="577"/>
                  </a:lnTo>
                  <a:lnTo>
                    <a:pt x="793" y="579"/>
                  </a:lnTo>
                  <a:lnTo>
                    <a:pt x="795" y="577"/>
                  </a:lnTo>
                  <a:lnTo>
                    <a:pt x="795" y="579"/>
                  </a:lnTo>
                  <a:lnTo>
                    <a:pt x="795" y="577"/>
                  </a:lnTo>
                  <a:lnTo>
                    <a:pt x="797" y="577"/>
                  </a:lnTo>
                  <a:lnTo>
                    <a:pt x="798" y="577"/>
                  </a:lnTo>
                  <a:lnTo>
                    <a:pt x="800" y="576"/>
                  </a:lnTo>
                  <a:lnTo>
                    <a:pt x="802" y="577"/>
                  </a:lnTo>
                  <a:lnTo>
                    <a:pt x="803" y="576"/>
                  </a:lnTo>
                  <a:lnTo>
                    <a:pt x="803" y="577"/>
                  </a:lnTo>
                  <a:lnTo>
                    <a:pt x="803" y="576"/>
                  </a:lnTo>
                  <a:lnTo>
                    <a:pt x="805" y="577"/>
                  </a:lnTo>
                  <a:lnTo>
                    <a:pt x="807" y="576"/>
                  </a:lnTo>
                  <a:lnTo>
                    <a:pt x="808" y="576"/>
                  </a:lnTo>
                  <a:lnTo>
                    <a:pt x="811" y="571"/>
                  </a:lnTo>
                  <a:lnTo>
                    <a:pt x="813" y="569"/>
                  </a:lnTo>
                  <a:lnTo>
                    <a:pt x="815" y="568"/>
                  </a:lnTo>
                  <a:lnTo>
                    <a:pt x="816" y="566"/>
                  </a:lnTo>
                  <a:lnTo>
                    <a:pt x="818" y="566"/>
                  </a:lnTo>
                  <a:lnTo>
                    <a:pt x="820" y="566"/>
                  </a:lnTo>
                  <a:lnTo>
                    <a:pt x="820" y="564"/>
                  </a:lnTo>
                  <a:lnTo>
                    <a:pt x="821" y="564"/>
                  </a:lnTo>
                  <a:lnTo>
                    <a:pt x="823" y="564"/>
                  </a:lnTo>
                  <a:close/>
                  <a:moveTo>
                    <a:pt x="580" y="426"/>
                  </a:moveTo>
                  <a:lnTo>
                    <a:pt x="580" y="425"/>
                  </a:lnTo>
                  <a:lnTo>
                    <a:pt x="580" y="426"/>
                  </a:lnTo>
                  <a:lnTo>
                    <a:pt x="582" y="426"/>
                  </a:lnTo>
                  <a:lnTo>
                    <a:pt x="584" y="428"/>
                  </a:lnTo>
                  <a:lnTo>
                    <a:pt x="585" y="428"/>
                  </a:lnTo>
                  <a:lnTo>
                    <a:pt x="587" y="429"/>
                  </a:lnTo>
                  <a:lnTo>
                    <a:pt x="589" y="429"/>
                  </a:lnTo>
                  <a:lnTo>
                    <a:pt x="590" y="429"/>
                  </a:lnTo>
                  <a:lnTo>
                    <a:pt x="590" y="431"/>
                  </a:lnTo>
                  <a:lnTo>
                    <a:pt x="592" y="431"/>
                  </a:lnTo>
                  <a:lnTo>
                    <a:pt x="593" y="431"/>
                  </a:lnTo>
                  <a:lnTo>
                    <a:pt x="593" y="433"/>
                  </a:lnTo>
                  <a:lnTo>
                    <a:pt x="592" y="433"/>
                  </a:lnTo>
                  <a:lnTo>
                    <a:pt x="592" y="434"/>
                  </a:lnTo>
                  <a:lnTo>
                    <a:pt x="592" y="436"/>
                  </a:lnTo>
                  <a:lnTo>
                    <a:pt x="593" y="438"/>
                  </a:lnTo>
                  <a:lnTo>
                    <a:pt x="592" y="439"/>
                  </a:lnTo>
                  <a:lnTo>
                    <a:pt x="593" y="439"/>
                  </a:lnTo>
                  <a:lnTo>
                    <a:pt x="595" y="439"/>
                  </a:lnTo>
                  <a:lnTo>
                    <a:pt x="595" y="441"/>
                  </a:lnTo>
                  <a:lnTo>
                    <a:pt x="597" y="441"/>
                  </a:lnTo>
                  <a:lnTo>
                    <a:pt x="598" y="441"/>
                  </a:lnTo>
                  <a:lnTo>
                    <a:pt x="600" y="441"/>
                  </a:lnTo>
                  <a:lnTo>
                    <a:pt x="600" y="442"/>
                  </a:lnTo>
                  <a:lnTo>
                    <a:pt x="602" y="442"/>
                  </a:lnTo>
                  <a:lnTo>
                    <a:pt x="603" y="442"/>
                  </a:lnTo>
                  <a:lnTo>
                    <a:pt x="603" y="444"/>
                  </a:lnTo>
                  <a:lnTo>
                    <a:pt x="605" y="444"/>
                  </a:lnTo>
                  <a:lnTo>
                    <a:pt x="605" y="446"/>
                  </a:lnTo>
                  <a:lnTo>
                    <a:pt x="606" y="446"/>
                  </a:lnTo>
                  <a:lnTo>
                    <a:pt x="606" y="447"/>
                  </a:lnTo>
                  <a:lnTo>
                    <a:pt x="608" y="447"/>
                  </a:lnTo>
                  <a:lnTo>
                    <a:pt x="606" y="449"/>
                  </a:lnTo>
                  <a:lnTo>
                    <a:pt x="608" y="449"/>
                  </a:lnTo>
                  <a:lnTo>
                    <a:pt x="608" y="451"/>
                  </a:lnTo>
                  <a:lnTo>
                    <a:pt x="606" y="451"/>
                  </a:lnTo>
                  <a:lnTo>
                    <a:pt x="606" y="452"/>
                  </a:lnTo>
                  <a:lnTo>
                    <a:pt x="605" y="452"/>
                  </a:lnTo>
                  <a:lnTo>
                    <a:pt x="603" y="452"/>
                  </a:lnTo>
                  <a:lnTo>
                    <a:pt x="602" y="452"/>
                  </a:lnTo>
                  <a:lnTo>
                    <a:pt x="602" y="454"/>
                  </a:lnTo>
                  <a:lnTo>
                    <a:pt x="600" y="454"/>
                  </a:lnTo>
                  <a:lnTo>
                    <a:pt x="600" y="452"/>
                  </a:lnTo>
                  <a:lnTo>
                    <a:pt x="598" y="452"/>
                  </a:lnTo>
                  <a:lnTo>
                    <a:pt x="598" y="451"/>
                  </a:lnTo>
                  <a:lnTo>
                    <a:pt x="597" y="451"/>
                  </a:lnTo>
                  <a:lnTo>
                    <a:pt x="595" y="451"/>
                  </a:lnTo>
                  <a:lnTo>
                    <a:pt x="595" y="452"/>
                  </a:lnTo>
                  <a:lnTo>
                    <a:pt x="595" y="451"/>
                  </a:lnTo>
                  <a:lnTo>
                    <a:pt x="595" y="452"/>
                  </a:lnTo>
                  <a:lnTo>
                    <a:pt x="595" y="454"/>
                  </a:lnTo>
                  <a:lnTo>
                    <a:pt x="595" y="455"/>
                  </a:lnTo>
                  <a:lnTo>
                    <a:pt x="593" y="454"/>
                  </a:lnTo>
                  <a:lnTo>
                    <a:pt x="593" y="452"/>
                  </a:lnTo>
                  <a:lnTo>
                    <a:pt x="592" y="452"/>
                  </a:lnTo>
                  <a:lnTo>
                    <a:pt x="590" y="452"/>
                  </a:lnTo>
                  <a:lnTo>
                    <a:pt x="590" y="451"/>
                  </a:lnTo>
                  <a:lnTo>
                    <a:pt x="592" y="451"/>
                  </a:lnTo>
                  <a:lnTo>
                    <a:pt x="592" y="449"/>
                  </a:lnTo>
                  <a:lnTo>
                    <a:pt x="593" y="449"/>
                  </a:lnTo>
                  <a:lnTo>
                    <a:pt x="593" y="447"/>
                  </a:lnTo>
                  <a:lnTo>
                    <a:pt x="593" y="446"/>
                  </a:lnTo>
                  <a:lnTo>
                    <a:pt x="593" y="444"/>
                  </a:lnTo>
                  <a:lnTo>
                    <a:pt x="592" y="444"/>
                  </a:lnTo>
                  <a:lnTo>
                    <a:pt x="590" y="444"/>
                  </a:lnTo>
                  <a:lnTo>
                    <a:pt x="590" y="446"/>
                  </a:lnTo>
                  <a:lnTo>
                    <a:pt x="590" y="444"/>
                  </a:lnTo>
                  <a:lnTo>
                    <a:pt x="589" y="444"/>
                  </a:lnTo>
                  <a:lnTo>
                    <a:pt x="590" y="442"/>
                  </a:lnTo>
                  <a:lnTo>
                    <a:pt x="589" y="444"/>
                  </a:lnTo>
                  <a:lnTo>
                    <a:pt x="587" y="444"/>
                  </a:lnTo>
                  <a:lnTo>
                    <a:pt x="587" y="446"/>
                  </a:lnTo>
                  <a:lnTo>
                    <a:pt x="585" y="446"/>
                  </a:lnTo>
                  <a:lnTo>
                    <a:pt x="587" y="444"/>
                  </a:lnTo>
                  <a:lnTo>
                    <a:pt x="585" y="444"/>
                  </a:lnTo>
                  <a:lnTo>
                    <a:pt x="587" y="442"/>
                  </a:lnTo>
                  <a:lnTo>
                    <a:pt x="585" y="442"/>
                  </a:lnTo>
                  <a:lnTo>
                    <a:pt x="585" y="444"/>
                  </a:lnTo>
                  <a:lnTo>
                    <a:pt x="584" y="444"/>
                  </a:lnTo>
                  <a:lnTo>
                    <a:pt x="584" y="442"/>
                  </a:lnTo>
                  <a:lnTo>
                    <a:pt x="582" y="442"/>
                  </a:lnTo>
                  <a:lnTo>
                    <a:pt x="582" y="441"/>
                  </a:lnTo>
                  <a:lnTo>
                    <a:pt x="582" y="442"/>
                  </a:lnTo>
                  <a:lnTo>
                    <a:pt x="580" y="442"/>
                  </a:lnTo>
                  <a:lnTo>
                    <a:pt x="580" y="441"/>
                  </a:lnTo>
                  <a:lnTo>
                    <a:pt x="579" y="441"/>
                  </a:lnTo>
                  <a:lnTo>
                    <a:pt x="577" y="442"/>
                  </a:lnTo>
                  <a:lnTo>
                    <a:pt x="577" y="441"/>
                  </a:lnTo>
                  <a:lnTo>
                    <a:pt x="577" y="439"/>
                  </a:lnTo>
                  <a:lnTo>
                    <a:pt x="579" y="439"/>
                  </a:lnTo>
                  <a:lnTo>
                    <a:pt x="579" y="438"/>
                  </a:lnTo>
                  <a:lnTo>
                    <a:pt x="579" y="436"/>
                  </a:lnTo>
                  <a:lnTo>
                    <a:pt x="580" y="436"/>
                  </a:lnTo>
                  <a:lnTo>
                    <a:pt x="580" y="434"/>
                  </a:lnTo>
                  <a:lnTo>
                    <a:pt x="580" y="433"/>
                  </a:lnTo>
                  <a:lnTo>
                    <a:pt x="579" y="433"/>
                  </a:lnTo>
                  <a:lnTo>
                    <a:pt x="579" y="434"/>
                  </a:lnTo>
                  <a:lnTo>
                    <a:pt x="579" y="433"/>
                  </a:lnTo>
                  <a:lnTo>
                    <a:pt x="577" y="431"/>
                  </a:lnTo>
                  <a:lnTo>
                    <a:pt x="579" y="429"/>
                  </a:lnTo>
                  <a:lnTo>
                    <a:pt x="577" y="429"/>
                  </a:lnTo>
                  <a:lnTo>
                    <a:pt x="579" y="429"/>
                  </a:lnTo>
                  <a:lnTo>
                    <a:pt x="577" y="429"/>
                  </a:lnTo>
                  <a:lnTo>
                    <a:pt x="579" y="429"/>
                  </a:lnTo>
                  <a:lnTo>
                    <a:pt x="579" y="428"/>
                  </a:lnTo>
                  <a:lnTo>
                    <a:pt x="579" y="426"/>
                  </a:lnTo>
                  <a:lnTo>
                    <a:pt x="580" y="426"/>
                  </a:lnTo>
                  <a:close/>
                  <a:moveTo>
                    <a:pt x="709" y="667"/>
                  </a:moveTo>
                  <a:lnTo>
                    <a:pt x="709" y="665"/>
                  </a:lnTo>
                  <a:lnTo>
                    <a:pt x="709" y="667"/>
                  </a:lnTo>
                  <a:lnTo>
                    <a:pt x="711" y="667"/>
                  </a:lnTo>
                  <a:lnTo>
                    <a:pt x="709" y="667"/>
                  </a:lnTo>
                  <a:lnTo>
                    <a:pt x="709" y="668"/>
                  </a:lnTo>
                  <a:lnTo>
                    <a:pt x="707" y="670"/>
                  </a:lnTo>
                  <a:lnTo>
                    <a:pt x="709" y="670"/>
                  </a:lnTo>
                  <a:lnTo>
                    <a:pt x="711" y="670"/>
                  </a:lnTo>
                  <a:lnTo>
                    <a:pt x="711" y="668"/>
                  </a:lnTo>
                  <a:lnTo>
                    <a:pt x="711" y="670"/>
                  </a:lnTo>
                  <a:lnTo>
                    <a:pt x="711" y="668"/>
                  </a:lnTo>
                  <a:lnTo>
                    <a:pt x="712" y="670"/>
                  </a:lnTo>
                  <a:lnTo>
                    <a:pt x="712" y="668"/>
                  </a:lnTo>
                  <a:lnTo>
                    <a:pt x="714" y="668"/>
                  </a:lnTo>
                  <a:lnTo>
                    <a:pt x="712" y="668"/>
                  </a:lnTo>
                  <a:lnTo>
                    <a:pt x="714" y="668"/>
                  </a:lnTo>
                  <a:lnTo>
                    <a:pt x="714" y="667"/>
                  </a:lnTo>
                  <a:lnTo>
                    <a:pt x="714" y="668"/>
                  </a:lnTo>
                  <a:lnTo>
                    <a:pt x="714" y="667"/>
                  </a:lnTo>
                  <a:lnTo>
                    <a:pt x="712" y="667"/>
                  </a:lnTo>
                  <a:lnTo>
                    <a:pt x="712" y="665"/>
                  </a:lnTo>
                  <a:lnTo>
                    <a:pt x="714" y="665"/>
                  </a:lnTo>
                  <a:lnTo>
                    <a:pt x="715" y="665"/>
                  </a:lnTo>
                  <a:lnTo>
                    <a:pt x="717" y="665"/>
                  </a:lnTo>
                  <a:lnTo>
                    <a:pt x="717" y="667"/>
                  </a:lnTo>
                  <a:lnTo>
                    <a:pt x="715" y="667"/>
                  </a:lnTo>
                  <a:lnTo>
                    <a:pt x="715" y="668"/>
                  </a:lnTo>
                  <a:lnTo>
                    <a:pt x="717" y="668"/>
                  </a:lnTo>
                  <a:lnTo>
                    <a:pt x="715" y="668"/>
                  </a:lnTo>
                  <a:lnTo>
                    <a:pt x="715" y="670"/>
                  </a:lnTo>
                  <a:lnTo>
                    <a:pt x="715" y="672"/>
                  </a:lnTo>
                  <a:lnTo>
                    <a:pt x="714" y="672"/>
                  </a:lnTo>
                  <a:lnTo>
                    <a:pt x="714" y="673"/>
                  </a:lnTo>
                  <a:lnTo>
                    <a:pt x="715" y="673"/>
                  </a:lnTo>
                  <a:lnTo>
                    <a:pt x="714" y="675"/>
                  </a:lnTo>
                  <a:lnTo>
                    <a:pt x="714" y="677"/>
                  </a:lnTo>
                  <a:lnTo>
                    <a:pt x="715" y="677"/>
                  </a:lnTo>
                  <a:lnTo>
                    <a:pt x="717" y="677"/>
                  </a:lnTo>
                  <a:lnTo>
                    <a:pt x="717" y="678"/>
                  </a:lnTo>
                  <a:lnTo>
                    <a:pt x="715" y="678"/>
                  </a:lnTo>
                  <a:lnTo>
                    <a:pt x="715" y="680"/>
                  </a:lnTo>
                  <a:lnTo>
                    <a:pt x="717" y="678"/>
                  </a:lnTo>
                  <a:lnTo>
                    <a:pt x="717" y="680"/>
                  </a:lnTo>
                  <a:lnTo>
                    <a:pt x="715" y="680"/>
                  </a:lnTo>
                  <a:lnTo>
                    <a:pt x="715" y="681"/>
                  </a:lnTo>
                  <a:lnTo>
                    <a:pt x="715" y="683"/>
                  </a:lnTo>
                  <a:lnTo>
                    <a:pt x="714" y="683"/>
                  </a:lnTo>
                  <a:lnTo>
                    <a:pt x="715" y="685"/>
                  </a:lnTo>
                  <a:lnTo>
                    <a:pt x="714" y="685"/>
                  </a:lnTo>
                  <a:lnTo>
                    <a:pt x="714" y="686"/>
                  </a:lnTo>
                  <a:lnTo>
                    <a:pt x="714" y="685"/>
                  </a:lnTo>
                  <a:lnTo>
                    <a:pt x="714" y="686"/>
                  </a:lnTo>
                  <a:lnTo>
                    <a:pt x="712" y="686"/>
                  </a:lnTo>
                  <a:lnTo>
                    <a:pt x="712" y="688"/>
                  </a:lnTo>
                  <a:lnTo>
                    <a:pt x="712" y="690"/>
                  </a:lnTo>
                  <a:lnTo>
                    <a:pt x="712" y="688"/>
                  </a:lnTo>
                  <a:lnTo>
                    <a:pt x="711" y="688"/>
                  </a:lnTo>
                  <a:lnTo>
                    <a:pt x="711" y="690"/>
                  </a:lnTo>
                  <a:lnTo>
                    <a:pt x="709" y="690"/>
                  </a:lnTo>
                  <a:lnTo>
                    <a:pt x="709" y="691"/>
                  </a:lnTo>
                  <a:lnTo>
                    <a:pt x="707" y="691"/>
                  </a:lnTo>
                  <a:lnTo>
                    <a:pt x="706" y="691"/>
                  </a:lnTo>
                  <a:lnTo>
                    <a:pt x="704" y="691"/>
                  </a:lnTo>
                  <a:lnTo>
                    <a:pt x="702" y="691"/>
                  </a:lnTo>
                  <a:lnTo>
                    <a:pt x="702" y="690"/>
                  </a:lnTo>
                  <a:lnTo>
                    <a:pt x="702" y="691"/>
                  </a:lnTo>
                  <a:lnTo>
                    <a:pt x="702" y="690"/>
                  </a:lnTo>
                  <a:lnTo>
                    <a:pt x="701" y="690"/>
                  </a:lnTo>
                  <a:lnTo>
                    <a:pt x="701" y="691"/>
                  </a:lnTo>
                  <a:lnTo>
                    <a:pt x="699" y="690"/>
                  </a:lnTo>
                  <a:lnTo>
                    <a:pt x="698" y="688"/>
                  </a:lnTo>
                  <a:lnTo>
                    <a:pt x="698" y="686"/>
                  </a:lnTo>
                  <a:lnTo>
                    <a:pt x="698" y="685"/>
                  </a:lnTo>
                  <a:lnTo>
                    <a:pt x="698" y="683"/>
                  </a:lnTo>
                  <a:lnTo>
                    <a:pt x="698" y="681"/>
                  </a:lnTo>
                  <a:lnTo>
                    <a:pt x="698" y="680"/>
                  </a:lnTo>
                  <a:lnTo>
                    <a:pt x="699" y="680"/>
                  </a:lnTo>
                  <a:lnTo>
                    <a:pt x="699" y="678"/>
                  </a:lnTo>
                  <a:lnTo>
                    <a:pt x="701" y="678"/>
                  </a:lnTo>
                  <a:lnTo>
                    <a:pt x="701" y="677"/>
                  </a:lnTo>
                  <a:lnTo>
                    <a:pt x="702" y="677"/>
                  </a:lnTo>
                  <a:lnTo>
                    <a:pt x="702" y="675"/>
                  </a:lnTo>
                  <a:lnTo>
                    <a:pt x="701" y="675"/>
                  </a:lnTo>
                  <a:lnTo>
                    <a:pt x="701" y="677"/>
                  </a:lnTo>
                  <a:lnTo>
                    <a:pt x="701" y="675"/>
                  </a:lnTo>
                  <a:lnTo>
                    <a:pt x="701" y="677"/>
                  </a:lnTo>
                  <a:lnTo>
                    <a:pt x="699" y="677"/>
                  </a:lnTo>
                  <a:lnTo>
                    <a:pt x="699" y="675"/>
                  </a:lnTo>
                  <a:lnTo>
                    <a:pt x="701" y="673"/>
                  </a:lnTo>
                  <a:lnTo>
                    <a:pt x="702" y="670"/>
                  </a:lnTo>
                  <a:lnTo>
                    <a:pt x="704" y="670"/>
                  </a:lnTo>
                  <a:lnTo>
                    <a:pt x="706" y="668"/>
                  </a:lnTo>
                  <a:lnTo>
                    <a:pt x="706" y="667"/>
                  </a:lnTo>
                  <a:lnTo>
                    <a:pt x="707" y="668"/>
                  </a:lnTo>
                  <a:lnTo>
                    <a:pt x="707" y="667"/>
                  </a:lnTo>
                  <a:lnTo>
                    <a:pt x="709" y="667"/>
                  </a:lnTo>
                  <a:lnTo>
                    <a:pt x="707" y="667"/>
                  </a:lnTo>
                  <a:lnTo>
                    <a:pt x="709" y="667"/>
                  </a:lnTo>
                  <a:close/>
                  <a:moveTo>
                    <a:pt x="667" y="599"/>
                  </a:moveTo>
                  <a:lnTo>
                    <a:pt x="668" y="597"/>
                  </a:lnTo>
                  <a:lnTo>
                    <a:pt x="668" y="599"/>
                  </a:lnTo>
                  <a:lnTo>
                    <a:pt x="670" y="599"/>
                  </a:lnTo>
                  <a:lnTo>
                    <a:pt x="672" y="597"/>
                  </a:lnTo>
                  <a:lnTo>
                    <a:pt x="672" y="599"/>
                  </a:lnTo>
                  <a:lnTo>
                    <a:pt x="672" y="597"/>
                  </a:lnTo>
                  <a:lnTo>
                    <a:pt x="673" y="597"/>
                  </a:lnTo>
                  <a:lnTo>
                    <a:pt x="675" y="599"/>
                  </a:lnTo>
                  <a:lnTo>
                    <a:pt x="675" y="597"/>
                  </a:lnTo>
                  <a:lnTo>
                    <a:pt x="676" y="597"/>
                  </a:lnTo>
                  <a:lnTo>
                    <a:pt x="676" y="599"/>
                  </a:lnTo>
                  <a:lnTo>
                    <a:pt x="678" y="599"/>
                  </a:lnTo>
                  <a:lnTo>
                    <a:pt x="676" y="599"/>
                  </a:lnTo>
                  <a:lnTo>
                    <a:pt x="676" y="600"/>
                  </a:lnTo>
                  <a:lnTo>
                    <a:pt x="678" y="600"/>
                  </a:lnTo>
                  <a:lnTo>
                    <a:pt x="680" y="600"/>
                  </a:lnTo>
                  <a:lnTo>
                    <a:pt x="681" y="600"/>
                  </a:lnTo>
                  <a:lnTo>
                    <a:pt x="681" y="599"/>
                  </a:lnTo>
                  <a:lnTo>
                    <a:pt x="681" y="600"/>
                  </a:lnTo>
                  <a:lnTo>
                    <a:pt x="681" y="599"/>
                  </a:lnTo>
                  <a:lnTo>
                    <a:pt x="683" y="599"/>
                  </a:lnTo>
                  <a:lnTo>
                    <a:pt x="685" y="599"/>
                  </a:lnTo>
                  <a:lnTo>
                    <a:pt x="686" y="599"/>
                  </a:lnTo>
                  <a:lnTo>
                    <a:pt x="685" y="599"/>
                  </a:lnTo>
                  <a:lnTo>
                    <a:pt x="686" y="600"/>
                  </a:lnTo>
                  <a:lnTo>
                    <a:pt x="686" y="599"/>
                  </a:lnTo>
                  <a:lnTo>
                    <a:pt x="686" y="600"/>
                  </a:lnTo>
                  <a:lnTo>
                    <a:pt x="688" y="600"/>
                  </a:lnTo>
                  <a:lnTo>
                    <a:pt x="686" y="600"/>
                  </a:lnTo>
                  <a:lnTo>
                    <a:pt x="688" y="600"/>
                  </a:lnTo>
                  <a:lnTo>
                    <a:pt x="688" y="599"/>
                  </a:lnTo>
                  <a:lnTo>
                    <a:pt x="689" y="600"/>
                  </a:lnTo>
                  <a:lnTo>
                    <a:pt x="689" y="599"/>
                  </a:lnTo>
                  <a:lnTo>
                    <a:pt x="689" y="600"/>
                  </a:lnTo>
                  <a:lnTo>
                    <a:pt x="691" y="599"/>
                  </a:lnTo>
                  <a:lnTo>
                    <a:pt x="693" y="599"/>
                  </a:lnTo>
                  <a:lnTo>
                    <a:pt x="694" y="599"/>
                  </a:lnTo>
                  <a:lnTo>
                    <a:pt x="694" y="600"/>
                  </a:lnTo>
                  <a:lnTo>
                    <a:pt x="696" y="600"/>
                  </a:lnTo>
                  <a:lnTo>
                    <a:pt x="698" y="600"/>
                  </a:lnTo>
                  <a:lnTo>
                    <a:pt x="698" y="602"/>
                  </a:lnTo>
                  <a:lnTo>
                    <a:pt x="699" y="602"/>
                  </a:lnTo>
                  <a:lnTo>
                    <a:pt x="699" y="600"/>
                  </a:lnTo>
                  <a:lnTo>
                    <a:pt x="699" y="602"/>
                  </a:lnTo>
                  <a:lnTo>
                    <a:pt x="701" y="602"/>
                  </a:lnTo>
                  <a:lnTo>
                    <a:pt x="701" y="603"/>
                  </a:lnTo>
                  <a:lnTo>
                    <a:pt x="701" y="605"/>
                  </a:lnTo>
                  <a:lnTo>
                    <a:pt x="701" y="607"/>
                  </a:lnTo>
                  <a:lnTo>
                    <a:pt x="699" y="607"/>
                  </a:lnTo>
                  <a:lnTo>
                    <a:pt x="699" y="608"/>
                  </a:lnTo>
                  <a:lnTo>
                    <a:pt x="699" y="610"/>
                  </a:lnTo>
                  <a:lnTo>
                    <a:pt x="699" y="612"/>
                  </a:lnTo>
                  <a:lnTo>
                    <a:pt x="699" y="613"/>
                  </a:lnTo>
                  <a:lnTo>
                    <a:pt x="698" y="613"/>
                  </a:lnTo>
                  <a:lnTo>
                    <a:pt x="699" y="613"/>
                  </a:lnTo>
                  <a:lnTo>
                    <a:pt x="698" y="613"/>
                  </a:lnTo>
                  <a:lnTo>
                    <a:pt x="696" y="613"/>
                  </a:lnTo>
                  <a:lnTo>
                    <a:pt x="696" y="615"/>
                  </a:lnTo>
                  <a:lnTo>
                    <a:pt x="694" y="615"/>
                  </a:lnTo>
                  <a:lnTo>
                    <a:pt x="693" y="615"/>
                  </a:lnTo>
                  <a:lnTo>
                    <a:pt x="691" y="615"/>
                  </a:lnTo>
                  <a:lnTo>
                    <a:pt x="693" y="613"/>
                  </a:lnTo>
                  <a:lnTo>
                    <a:pt x="691" y="613"/>
                  </a:lnTo>
                  <a:lnTo>
                    <a:pt x="689" y="613"/>
                  </a:lnTo>
                  <a:lnTo>
                    <a:pt x="689" y="612"/>
                  </a:lnTo>
                  <a:lnTo>
                    <a:pt x="688" y="612"/>
                  </a:lnTo>
                  <a:lnTo>
                    <a:pt x="688" y="613"/>
                  </a:lnTo>
                  <a:lnTo>
                    <a:pt x="686" y="613"/>
                  </a:lnTo>
                  <a:lnTo>
                    <a:pt x="686" y="612"/>
                  </a:lnTo>
                  <a:lnTo>
                    <a:pt x="685" y="612"/>
                  </a:lnTo>
                  <a:lnTo>
                    <a:pt x="686" y="612"/>
                  </a:lnTo>
                  <a:lnTo>
                    <a:pt x="685" y="610"/>
                  </a:lnTo>
                  <a:lnTo>
                    <a:pt x="685" y="608"/>
                  </a:lnTo>
                  <a:lnTo>
                    <a:pt x="683" y="610"/>
                  </a:lnTo>
                  <a:lnTo>
                    <a:pt x="683" y="608"/>
                  </a:lnTo>
                  <a:lnTo>
                    <a:pt x="681" y="610"/>
                  </a:lnTo>
                  <a:lnTo>
                    <a:pt x="681" y="608"/>
                  </a:lnTo>
                  <a:lnTo>
                    <a:pt x="680" y="608"/>
                  </a:lnTo>
                  <a:lnTo>
                    <a:pt x="680" y="607"/>
                  </a:lnTo>
                  <a:lnTo>
                    <a:pt x="680" y="608"/>
                  </a:lnTo>
                  <a:lnTo>
                    <a:pt x="678" y="608"/>
                  </a:lnTo>
                  <a:lnTo>
                    <a:pt x="678" y="607"/>
                  </a:lnTo>
                  <a:lnTo>
                    <a:pt x="676" y="607"/>
                  </a:lnTo>
                  <a:lnTo>
                    <a:pt x="676" y="605"/>
                  </a:lnTo>
                  <a:lnTo>
                    <a:pt x="675" y="605"/>
                  </a:lnTo>
                  <a:lnTo>
                    <a:pt x="673" y="605"/>
                  </a:lnTo>
                  <a:lnTo>
                    <a:pt x="673" y="603"/>
                  </a:lnTo>
                  <a:lnTo>
                    <a:pt x="672" y="603"/>
                  </a:lnTo>
                  <a:lnTo>
                    <a:pt x="670" y="603"/>
                  </a:lnTo>
                  <a:lnTo>
                    <a:pt x="670" y="602"/>
                  </a:lnTo>
                  <a:lnTo>
                    <a:pt x="668" y="602"/>
                  </a:lnTo>
                  <a:lnTo>
                    <a:pt x="668" y="600"/>
                  </a:lnTo>
                  <a:lnTo>
                    <a:pt x="667" y="600"/>
                  </a:lnTo>
                  <a:lnTo>
                    <a:pt x="668" y="600"/>
                  </a:lnTo>
                  <a:lnTo>
                    <a:pt x="667" y="599"/>
                  </a:lnTo>
                  <a:close/>
                  <a:moveTo>
                    <a:pt x="652" y="192"/>
                  </a:moveTo>
                  <a:lnTo>
                    <a:pt x="655" y="189"/>
                  </a:lnTo>
                  <a:lnTo>
                    <a:pt x="657" y="189"/>
                  </a:lnTo>
                  <a:lnTo>
                    <a:pt x="659" y="187"/>
                  </a:lnTo>
                  <a:lnTo>
                    <a:pt x="660" y="187"/>
                  </a:lnTo>
                  <a:lnTo>
                    <a:pt x="662" y="187"/>
                  </a:lnTo>
                  <a:lnTo>
                    <a:pt x="665" y="187"/>
                  </a:lnTo>
                  <a:lnTo>
                    <a:pt x="667" y="189"/>
                  </a:lnTo>
                  <a:lnTo>
                    <a:pt x="668" y="189"/>
                  </a:lnTo>
                  <a:lnTo>
                    <a:pt x="668" y="187"/>
                  </a:lnTo>
                  <a:lnTo>
                    <a:pt x="670" y="187"/>
                  </a:lnTo>
                  <a:lnTo>
                    <a:pt x="670" y="189"/>
                  </a:lnTo>
                  <a:lnTo>
                    <a:pt x="672" y="189"/>
                  </a:lnTo>
                  <a:lnTo>
                    <a:pt x="675" y="190"/>
                  </a:lnTo>
                  <a:lnTo>
                    <a:pt x="675" y="192"/>
                  </a:lnTo>
                  <a:lnTo>
                    <a:pt x="675" y="195"/>
                  </a:lnTo>
                  <a:lnTo>
                    <a:pt x="675" y="197"/>
                  </a:lnTo>
                  <a:lnTo>
                    <a:pt x="673" y="198"/>
                  </a:lnTo>
                  <a:lnTo>
                    <a:pt x="672" y="198"/>
                  </a:lnTo>
                  <a:lnTo>
                    <a:pt x="672" y="200"/>
                  </a:lnTo>
                  <a:lnTo>
                    <a:pt x="670" y="200"/>
                  </a:lnTo>
                  <a:lnTo>
                    <a:pt x="668" y="202"/>
                  </a:lnTo>
                  <a:lnTo>
                    <a:pt x="667" y="202"/>
                  </a:lnTo>
                  <a:lnTo>
                    <a:pt x="667" y="203"/>
                  </a:lnTo>
                  <a:lnTo>
                    <a:pt x="665" y="203"/>
                  </a:lnTo>
                  <a:lnTo>
                    <a:pt x="663" y="203"/>
                  </a:lnTo>
                  <a:lnTo>
                    <a:pt x="662" y="203"/>
                  </a:lnTo>
                  <a:lnTo>
                    <a:pt x="660" y="203"/>
                  </a:lnTo>
                  <a:lnTo>
                    <a:pt x="659" y="202"/>
                  </a:lnTo>
                  <a:lnTo>
                    <a:pt x="657" y="200"/>
                  </a:lnTo>
                  <a:lnTo>
                    <a:pt x="655" y="200"/>
                  </a:lnTo>
                  <a:lnTo>
                    <a:pt x="654" y="200"/>
                  </a:lnTo>
                  <a:lnTo>
                    <a:pt x="654" y="198"/>
                  </a:lnTo>
                  <a:lnTo>
                    <a:pt x="652" y="198"/>
                  </a:lnTo>
                  <a:lnTo>
                    <a:pt x="649" y="197"/>
                  </a:lnTo>
                  <a:lnTo>
                    <a:pt x="649" y="195"/>
                  </a:lnTo>
                  <a:lnTo>
                    <a:pt x="647" y="195"/>
                  </a:lnTo>
                  <a:lnTo>
                    <a:pt x="649" y="195"/>
                  </a:lnTo>
                  <a:lnTo>
                    <a:pt x="650" y="195"/>
                  </a:lnTo>
                  <a:lnTo>
                    <a:pt x="650" y="194"/>
                  </a:lnTo>
                  <a:lnTo>
                    <a:pt x="652" y="192"/>
                  </a:lnTo>
                  <a:close/>
                  <a:moveTo>
                    <a:pt x="628" y="737"/>
                  </a:moveTo>
                  <a:lnTo>
                    <a:pt x="628" y="738"/>
                  </a:lnTo>
                  <a:lnTo>
                    <a:pt x="629" y="738"/>
                  </a:lnTo>
                  <a:lnTo>
                    <a:pt x="629" y="740"/>
                  </a:lnTo>
                  <a:lnTo>
                    <a:pt x="631" y="740"/>
                  </a:lnTo>
                  <a:lnTo>
                    <a:pt x="631" y="738"/>
                  </a:lnTo>
                  <a:lnTo>
                    <a:pt x="631" y="740"/>
                  </a:lnTo>
                  <a:lnTo>
                    <a:pt x="632" y="740"/>
                  </a:lnTo>
                  <a:lnTo>
                    <a:pt x="634" y="740"/>
                  </a:lnTo>
                  <a:lnTo>
                    <a:pt x="634" y="738"/>
                  </a:lnTo>
                  <a:lnTo>
                    <a:pt x="636" y="738"/>
                  </a:lnTo>
                  <a:lnTo>
                    <a:pt x="637" y="737"/>
                  </a:lnTo>
                  <a:lnTo>
                    <a:pt x="636" y="737"/>
                  </a:lnTo>
                  <a:lnTo>
                    <a:pt x="637" y="735"/>
                  </a:lnTo>
                  <a:lnTo>
                    <a:pt x="637" y="737"/>
                  </a:lnTo>
                  <a:lnTo>
                    <a:pt x="639" y="735"/>
                  </a:lnTo>
                  <a:lnTo>
                    <a:pt x="639" y="737"/>
                  </a:lnTo>
                  <a:lnTo>
                    <a:pt x="641" y="737"/>
                  </a:lnTo>
                  <a:lnTo>
                    <a:pt x="641" y="738"/>
                  </a:lnTo>
                  <a:lnTo>
                    <a:pt x="641" y="737"/>
                  </a:lnTo>
                  <a:lnTo>
                    <a:pt x="641" y="738"/>
                  </a:lnTo>
                  <a:lnTo>
                    <a:pt x="639" y="738"/>
                  </a:lnTo>
                  <a:lnTo>
                    <a:pt x="641" y="740"/>
                  </a:lnTo>
                  <a:lnTo>
                    <a:pt x="641" y="742"/>
                  </a:lnTo>
                  <a:lnTo>
                    <a:pt x="642" y="742"/>
                  </a:lnTo>
                  <a:lnTo>
                    <a:pt x="642" y="743"/>
                  </a:lnTo>
                  <a:lnTo>
                    <a:pt x="642" y="745"/>
                  </a:lnTo>
                  <a:lnTo>
                    <a:pt x="642" y="747"/>
                  </a:lnTo>
                  <a:lnTo>
                    <a:pt x="642" y="748"/>
                  </a:lnTo>
                  <a:lnTo>
                    <a:pt x="641" y="748"/>
                  </a:lnTo>
                  <a:lnTo>
                    <a:pt x="641" y="750"/>
                  </a:lnTo>
                  <a:lnTo>
                    <a:pt x="641" y="748"/>
                  </a:lnTo>
                  <a:lnTo>
                    <a:pt x="639" y="748"/>
                  </a:lnTo>
                  <a:lnTo>
                    <a:pt x="639" y="750"/>
                  </a:lnTo>
                  <a:lnTo>
                    <a:pt x="637" y="750"/>
                  </a:lnTo>
                  <a:lnTo>
                    <a:pt x="637" y="751"/>
                  </a:lnTo>
                  <a:lnTo>
                    <a:pt x="636" y="751"/>
                  </a:lnTo>
                  <a:lnTo>
                    <a:pt x="634" y="751"/>
                  </a:lnTo>
                  <a:lnTo>
                    <a:pt x="632" y="751"/>
                  </a:lnTo>
                  <a:lnTo>
                    <a:pt x="631" y="751"/>
                  </a:lnTo>
                  <a:lnTo>
                    <a:pt x="631" y="753"/>
                  </a:lnTo>
                  <a:lnTo>
                    <a:pt x="629" y="753"/>
                  </a:lnTo>
                  <a:lnTo>
                    <a:pt x="628" y="753"/>
                  </a:lnTo>
                  <a:lnTo>
                    <a:pt x="626" y="755"/>
                  </a:lnTo>
                  <a:lnTo>
                    <a:pt x="626" y="753"/>
                  </a:lnTo>
                  <a:lnTo>
                    <a:pt x="624" y="755"/>
                  </a:lnTo>
                  <a:lnTo>
                    <a:pt x="623" y="755"/>
                  </a:lnTo>
                  <a:lnTo>
                    <a:pt x="621" y="755"/>
                  </a:lnTo>
                  <a:lnTo>
                    <a:pt x="621" y="756"/>
                  </a:lnTo>
                  <a:lnTo>
                    <a:pt x="619" y="756"/>
                  </a:lnTo>
                  <a:lnTo>
                    <a:pt x="618" y="756"/>
                  </a:lnTo>
                  <a:lnTo>
                    <a:pt x="618" y="755"/>
                  </a:lnTo>
                  <a:lnTo>
                    <a:pt x="618" y="753"/>
                  </a:lnTo>
                  <a:lnTo>
                    <a:pt x="618" y="751"/>
                  </a:lnTo>
                  <a:lnTo>
                    <a:pt x="618" y="750"/>
                  </a:lnTo>
                  <a:lnTo>
                    <a:pt x="618" y="748"/>
                  </a:lnTo>
                  <a:lnTo>
                    <a:pt x="616" y="747"/>
                  </a:lnTo>
                  <a:lnTo>
                    <a:pt x="618" y="747"/>
                  </a:lnTo>
                  <a:lnTo>
                    <a:pt x="618" y="745"/>
                  </a:lnTo>
                  <a:lnTo>
                    <a:pt x="618" y="743"/>
                  </a:lnTo>
                  <a:lnTo>
                    <a:pt x="619" y="742"/>
                  </a:lnTo>
                  <a:lnTo>
                    <a:pt x="621" y="743"/>
                  </a:lnTo>
                  <a:lnTo>
                    <a:pt x="623" y="743"/>
                  </a:lnTo>
                  <a:lnTo>
                    <a:pt x="624" y="743"/>
                  </a:lnTo>
                  <a:lnTo>
                    <a:pt x="624" y="745"/>
                  </a:lnTo>
                  <a:lnTo>
                    <a:pt x="624" y="747"/>
                  </a:lnTo>
                  <a:lnTo>
                    <a:pt x="626" y="747"/>
                  </a:lnTo>
                  <a:lnTo>
                    <a:pt x="626" y="748"/>
                  </a:lnTo>
                  <a:lnTo>
                    <a:pt x="628" y="747"/>
                  </a:lnTo>
                  <a:lnTo>
                    <a:pt x="629" y="748"/>
                  </a:lnTo>
                  <a:lnTo>
                    <a:pt x="631" y="748"/>
                  </a:lnTo>
                  <a:lnTo>
                    <a:pt x="632" y="748"/>
                  </a:lnTo>
                  <a:lnTo>
                    <a:pt x="632" y="747"/>
                  </a:lnTo>
                  <a:lnTo>
                    <a:pt x="634" y="747"/>
                  </a:lnTo>
                  <a:lnTo>
                    <a:pt x="634" y="745"/>
                  </a:lnTo>
                  <a:lnTo>
                    <a:pt x="632" y="745"/>
                  </a:lnTo>
                  <a:lnTo>
                    <a:pt x="632" y="743"/>
                  </a:lnTo>
                  <a:lnTo>
                    <a:pt x="631" y="743"/>
                  </a:lnTo>
                  <a:lnTo>
                    <a:pt x="629" y="743"/>
                  </a:lnTo>
                  <a:lnTo>
                    <a:pt x="628" y="743"/>
                  </a:lnTo>
                  <a:lnTo>
                    <a:pt x="626" y="742"/>
                  </a:lnTo>
                  <a:lnTo>
                    <a:pt x="626" y="740"/>
                  </a:lnTo>
                  <a:lnTo>
                    <a:pt x="624" y="740"/>
                  </a:lnTo>
                  <a:lnTo>
                    <a:pt x="626" y="740"/>
                  </a:lnTo>
                  <a:lnTo>
                    <a:pt x="626" y="738"/>
                  </a:lnTo>
                  <a:lnTo>
                    <a:pt x="626" y="737"/>
                  </a:lnTo>
                  <a:lnTo>
                    <a:pt x="628" y="737"/>
                  </a:lnTo>
                  <a:close/>
                  <a:moveTo>
                    <a:pt x="597" y="610"/>
                  </a:moveTo>
                  <a:lnTo>
                    <a:pt x="597" y="612"/>
                  </a:lnTo>
                  <a:lnTo>
                    <a:pt x="598" y="612"/>
                  </a:lnTo>
                  <a:lnTo>
                    <a:pt x="598" y="610"/>
                  </a:lnTo>
                  <a:lnTo>
                    <a:pt x="600" y="610"/>
                  </a:lnTo>
                  <a:lnTo>
                    <a:pt x="600" y="612"/>
                  </a:lnTo>
                  <a:lnTo>
                    <a:pt x="602" y="612"/>
                  </a:lnTo>
                  <a:lnTo>
                    <a:pt x="603" y="613"/>
                  </a:lnTo>
                  <a:lnTo>
                    <a:pt x="605" y="613"/>
                  </a:lnTo>
                  <a:lnTo>
                    <a:pt x="605" y="615"/>
                  </a:lnTo>
                  <a:lnTo>
                    <a:pt x="603" y="615"/>
                  </a:lnTo>
                  <a:lnTo>
                    <a:pt x="605" y="616"/>
                  </a:lnTo>
                  <a:lnTo>
                    <a:pt x="603" y="616"/>
                  </a:lnTo>
                  <a:lnTo>
                    <a:pt x="603" y="618"/>
                  </a:lnTo>
                  <a:lnTo>
                    <a:pt x="603" y="620"/>
                  </a:lnTo>
                  <a:lnTo>
                    <a:pt x="603" y="621"/>
                  </a:lnTo>
                  <a:lnTo>
                    <a:pt x="602" y="621"/>
                  </a:lnTo>
                  <a:lnTo>
                    <a:pt x="602" y="623"/>
                  </a:lnTo>
                  <a:lnTo>
                    <a:pt x="602" y="625"/>
                  </a:lnTo>
                  <a:lnTo>
                    <a:pt x="600" y="625"/>
                  </a:lnTo>
                  <a:lnTo>
                    <a:pt x="600" y="626"/>
                  </a:lnTo>
                  <a:lnTo>
                    <a:pt x="600" y="628"/>
                  </a:lnTo>
                  <a:lnTo>
                    <a:pt x="598" y="628"/>
                  </a:lnTo>
                  <a:lnTo>
                    <a:pt x="598" y="629"/>
                  </a:lnTo>
                  <a:lnTo>
                    <a:pt x="598" y="628"/>
                  </a:lnTo>
                  <a:lnTo>
                    <a:pt x="598" y="629"/>
                  </a:lnTo>
                  <a:lnTo>
                    <a:pt x="597" y="629"/>
                  </a:lnTo>
                  <a:lnTo>
                    <a:pt x="597" y="631"/>
                  </a:lnTo>
                  <a:lnTo>
                    <a:pt x="597" y="633"/>
                  </a:lnTo>
                  <a:lnTo>
                    <a:pt x="595" y="633"/>
                  </a:lnTo>
                  <a:lnTo>
                    <a:pt x="595" y="634"/>
                  </a:lnTo>
                  <a:lnTo>
                    <a:pt x="593" y="634"/>
                  </a:lnTo>
                  <a:lnTo>
                    <a:pt x="592" y="634"/>
                  </a:lnTo>
                  <a:lnTo>
                    <a:pt x="592" y="633"/>
                  </a:lnTo>
                  <a:lnTo>
                    <a:pt x="592" y="631"/>
                  </a:lnTo>
                  <a:lnTo>
                    <a:pt x="592" y="629"/>
                  </a:lnTo>
                  <a:lnTo>
                    <a:pt x="592" y="628"/>
                  </a:lnTo>
                  <a:lnTo>
                    <a:pt x="592" y="626"/>
                  </a:lnTo>
                  <a:lnTo>
                    <a:pt x="592" y="628"/>
                  </a:lnTo>
                  <a:lnTo>
                    <a:pt x="590" y="628"/>
                  </a:lnTo>
                  <a:lnTo>
                    <a:pt x="590" y="626"/>
                  </a:lnTo>
                  <a:lnTo>
                    <a:pt x="589" y="626"/>
                  </a:lnTo>
                  <a:lnTo>
                    <a:pt x="590" y="626"/>
                  </a:lnTo>
                  <a:lnTo>
                    <a:pt x="590" y="625"/>
                  </a:lnTo>
                  <a:lnTo>
                    <a:pt x="590" y="623"/>
                  </a:lnTo>
                  <a:lnTo>
                    <a:pt x="590" y="621"/>
                  </a:lnTo>
                  <a:lnTo>
                    <a:pt x="590" y="620"/>
                  </a:lnTo>
                  <a:lnTo>
                    <a:pt x="590" y="618"/>
                  </a:lnTo>
                  <a:lnTo>
                    <a:pt x="592" y="618"/>
                  </a:lnTo>
                  <a:lnTo>
                    <a:pt x="590" y="618"/>
                  </a:lnTo>
                  <a:lnTo>
                    <a:pt x="592" y="616"/>
                  </a:lnTo>
                  <a:lnTo>
                    <a:pt x="590" y="616"/>
                  </a:lnTo>
                  <a:lnTo>
                    <a:pt x="592" y="616"/>
                  </a:lnTo>
                  <a:lnTo>
                    <a:pt x="592" y="615"/>
                  </a:lnTo>
                  <a:lnTo>
                    <a:pt x="593" y="615"/>
                  </a:lnTo>
                  <a:lnTo>
                    <a:pt x="593" y="613"/>
                  </a:lnTo>
                  <a:lnTo>
                    <a:pt x="595" y="613"/>
                  </a:lnTo>
                  <a:lnTo>
                    <a:pt x="593" y="613"/>
                  </a:lnTo>
                  <a:lnTo>
                    <a:pt x="595" y="613"/>
                  </a:lnTo>
                  <a:lnTo>
                    <a:pt x="593" y="612"/>
                  </a:lnTo>
                  <a:lnTo>
                    <a:pt x="595" y="612"/>
                  </a:lnTo>
                  <a:lnTo>
                    <a:pt x="593" y="612"/>
                  </a:lnTo>
                  <a:lnTo>
                    <a:pt x="595" y="612"/>
                  </a:lnTo>
                  <a:lnTo>
                    <a:pt x="597" y="612"/>
                  </a:lnTo>
                  <a:lnTo>
                    <a:pt x="597" y="610"/>
                  </a:lnTo>
                  <a:close/>
                  <a:moveTo>
                    <a:pt x="802" y="678"/>
                  </a:moveTo>
                  <a:lnTo>
                    <a:pt x="803" y="678"/>
                  </a:lnTo>
                  <a:lnTo>
                    <a:pt x="805" y="678"/>
                  </a:lnTo>
                  <a:lnTo>
                    <a:pt x="805" y="680"/>
                  </a:lnTo>
                  <a:lnTo>
                    <a:pt x="807" y="680"/>
                  </a:lnTo>
                  <a:lnTo>
                    <a:pt x="808" y="680"/>
                  </a:lnTo>
                  <a:lnTo>
                    <a:pt x="810" y="680"/>
                  </a:lnTo>
                  <a:lnTo>
                    <a:pt x="810" y="681"/>
                  </a:lnTo>
                  <a:lnTo>
                    <a:pt x="811" y="681"/>
                  </a:lnTo>
                  <a:lnTo>
                    <a:pt x="813" y="681"/>
                  </a:lnTo>
                  <a:lnTo>
                    <a:pt x="811" y="681"/>
                  </a:lnTo>
                  <a:lnTo>
                    <a:pt x="811" y="683"/>
                  </a:lnTo>
                  <a:lnTo>
                    <a:pt x="810" y="683"/>
                  </a:lnTo>
                  <a:lnTo>
                    <a:pt x="808" y="681"/>
                  </a:lnTo>
                  <a:lnTo>
                    <a:pt x="808" y="683"/>
                  </a:lnTo>
                  <a:lnTo>
                    <a:pt x="805" y="683"/>
                  </a:lnTo>
                  <a:lnTo>
                    <a:pt x="803" y="683"/>
                  </a:lnTo>
                  <a:lnTo>
                    <a:pt x="803" y="685"/>
                  </a:lnTo>
                  <a:lnTo>
                    <a:pt x="802" y="685"/>
                  </a:lnTo>
                  <a:lnTo>
                    <a:pt x="802" y="686"/>
                  </a:lnTo>
                  <a:lnTo>
                    <a:pt x="800" y="686"/>
                  </a:lnTo>
                  <a:lnTo>
                    <a:pt x="800" y="688"/>
                  </a:lnTo>
                  <a:lnTo>
                    <a:pt x="798" y="688"/>
                  </a:lnTo>
                  <a:lnTo>
                    <a:pt x="798" y="690"/>
                  </a:lnTo>
                  <a:lnTo>
                    <a:pt x="798" y="691"/>
                  </a:lnTo>
                  <a:lnTo>
                    <a:pt x="797" y="691"/>
                  </a:lnTo>
                  <a:lnTo>
                    <a:pt x="797" y="693"/>
                  </a:lnTo>
                  <a:lnTo>
                    <a:pt x="795" y="693"/>
                  </a:lnTo>
                  <a:lnTo>
                    <a:pt x="795" y="695"/>
                  </a:lnTo>
                  <a:lnTo>
                    <a:pt x="793" y="695"/>
                  </a:lnTo>
                  <a:lnTo>
                    <a:pt x="793" y="696"/>
                  </a:lnTo>
                  <a:lnTo>
                    <a:pt x="793" y="698"/>
                  </a:lnTo>
                  <a:lnTo>
                    <a:pt x="792" y="699"/>
                  </a:lnTo>
                  <a:lnTo>
                    <a:pt x="792" y="701"/>
                  </a:lnTo>
                  <a:lnTo>
                    <a:pt x="790" y="701"/>
                  </a:lnTo>
                  <a:lnTo>
                    <a:pt x="790" y="703"/>
                  </a:lnTo>
                  <a:lnTo>
                    <a:pt x="789" y="703"/>
                  </a:lnTo>
                  <a:lnTo>
                    <a:pt x="787" y="703"/>
                  </a:lnTo>
                  <a:lnTo>
                    <a:pt x="787" y="704"/>
                  </a:lnTo>
                  <a:lnTo>
                    <a:pt x="787" y="703"/>
                  </a:lnTo>
                  <a:lnTo>
                    <a:pt x="785" y="703"/>
                  </a:lnTo>
                  <a:lnTo>
                    <a:pt x="785" y="704"/>
                  </a:lnTo>
                  <a:lnTo>
                    <a:pt x="784" y="706"/>
                  </a:lnTo>
                  <a:lnTo>
                    <a:pt x="782" y="706"/>
                  </a:lnTo>
                  <a:lnTo>
                    <a:pt x="782" y="708"/>
                  </a:lnTo>
                  <a:lnTo>
                    <a:pt x="780" y="708"/>
                  </a:lnTo>
                  <a:lnTo>
                    <a:pt x="779" y="706"/>
                  </a:lnTo>
                  <a:lnTo>
                    <a:pt x="777" y="706"/>
                  </a:lnTo>
                  <a:lnTo>
                    <a:pt x="776" y="704"/>
                  </a:lnTo>
                  <a:lnTo>
                    <a:pt x="777" y="704"/>
                  </a:lnTo>
                  <a:lnTo>
                    <a:pt x="776" y="704"/>
                  </a:lnTo>
                  <a:lnTo>
                    <a:pt x="777" y="704"/>
                  </a:lnTo>
                  <a:lnTo>
                    <a:pt x="779" y="703"/>
                  </a:lnTo>
                  <a:lnTo>
                    <a:pt x="779" y="701"/>
                  </a:lnTo>
                  <a:lnTo>
                    <a:pt x="780" y="701"/>
                  </a:lnTo>
                  <a:lnTo>
                    <a:pt x="780" y="699"/>
                  </a:lnTo>
                  <a:lnTo>
                    <a:pt x="780" y="701"/>
                  </a:lnTo>
                  <a:lnTo>
                    <a:pt x="782" y="701"/>
                  </a:lnTo>
                  <a:lnTo>
                    <a:pt x="784" y="701"/>
                  </a:lnTo>
                  <a:lnTo>
                    <a:pt x="782" y="699"/>
                  </a:lnTo>
                  <a:lnTo>
                    <a:pt x="784" y="699"/>
                  </a:lnTo>
                  <a:lnTo>
                    <a:pt x="785" y="699"/>
                  </a:lnTo>
                  <a:lnTo>
                    <a:pt x="787" y="699"/>
                  </a:lnTo>
                  <a:lnTo>
                    <a:pt x="787" y="698"/>
                  </a:lnTo>
                  <a:lnTo>
                    <a:pt x="789" y="698"/>
                  </a:lnTo>
                  <a:lnTo>
                    <a:pt x="787" y="698"/>
                  </a:lnTo>
                  <a:lnTo>
                    <a:pt x="787" y="696"/>
                  </a:lnTo>
                  <a:lnTo>
                    <a:pt x="789" y="696"/>
                  </a:lnTo>
                  <a:lnTo>
                    <a:pt x="787" y="696"/>
                  </a:lnTo>
                  <a:lnTo>
                    <a:pt x="785" y="696"/>
                  </a:lnTo>
                  <a:lnTo>
                    <a:pt x="785" y="695"/>
                  </a:lnTo>
                  <a:lnTo>
                    <a:pt x="787" y="695"/>
                  </a:lnTo>
                  <a:lnTo>
                    <a:pt x="785" y="695"/>
                  </a:lnTo>
                  <a:lnTo>
                    <a:pt x="785" y="693"/>
                  </a:lnTo>
                  <a:lnTo>
                    <a:pt x="787" y="693"/>
                  </a:lnTo>
                  <a:lnTo>
                    <a:pt x="789" y="693"/>
                  </a:lnTo>
                  <a:lnTo>
                    <a:pt x="789" y="691"/>
                  </a:lnTo>
                  <a:lnTo>
                    <a:pt x="790" y="691"/>
                  </a:lnTo>
                  <a:lnTo>
                    <a:pt x="792" y="691"/>
                  </a:lnTo>
                  <a:lnTo>
                    <a:pt x="792" y="690"/>
                  </a:lnTo>
                  <a:lnTo>
                    <a:pt x="793" y="690"/>
                  </a:lnTo>
                  <a:lnTo>
                    <a:pt x="795" y="688"/>
                  </a:lnTo>
                  <a:lnTo>
                    <a:pt x="795" y="686"/>
                  </a:lnTo>
                  <a:lnTo>
                    <a:pt x="797" y="686"/>
                  </a:lnTo>
                  <a:lnTo>
                    <a:pt x="798" y="685"/>
                  </a:lnTo>
                  <a:lnTo>
                    <a:pt x="800" y="683"/>
                  </a:lnTo>
                  <a:lnTo>
                    <a:pt x="798" y="683"/>
                  </a:lnTo>
                  <a:lnTo>
                    <a:pt x="797" y="683"/>
                  </a:lnTo>
                  <a:lnTo>
                    <a:pt x="797" y="681"/>
                  </a:lnTo>
                  <a:lnTo>
                    <a:pt x="798" y="681"/>
                  </a:lnTo>
                  <a:lnTo>
                    <a:pt x="798" y="680"/>
                  </a:lnTo>
                  <a:lnTo>
                    <a:pt x="800" y="680"/>
                  </a:lnTo>
                  <a:lnTo>
                    <a:pt x="802" y="678"/>
                  </a:lnTo>
                  <a:lnTo>
                    <a:pt x="802" y="680"/>
                  </a:lnTo>
                  <a:lnTo>
                    <a:pt x="802" y="678"/>
                  </a:lnTo>
                  <a:close/>
                  <a:moveTo>
                    <a:pt x="898" y="636"/>
                  </a:moveTo>
                  <a:lnTo>
                    <a:pt x="899" y="636"/>
                  </a:lnTo>
                  <a:lnTo>
                    <a:pt x="901" y="638"/>
                  </a:lnTo>
                  <a:lnTo>
                    <a:pt x="901" y="636"/>
                  </a:lnTo>
                  <a:lnTo>
                    <a:pt x="902" y="638"/>
                  </a:lnTo>
                  <a:lnTo>
                    <a:pt x="904" y="636"/>
                  </a:lnTo>
                  <a:lnTo>
                    <a:pt x="904" y="638"/>
                  </a:lnTo>
                  <a:lnTo>
                    <a:pt x="906" y="638"/>
                  </a:lnTo>
                  <a:lnTo>
                    <a:pt x="904" y="638"/>
                  </a:lnTo>
                  <a:lnTo>
                    <a:pt x="904" y="636"/>
                  </a:lnTo>
                  <a:lnTo>
                    <a:pt x="906" y="636"/>
                  </a:lnTo>
                  <a:lnTo>
                    <a:pt x="906" y="638"/>
                  </a:lnTo>
                  <a:lnTo>
                    <a:pt x="909" y="638"/>
                  </a:lnTo>
                  <a:lnTo>
                    <a:pt x="911" y="639"/>
                  </a:lnTo>
                  <a:lnTo>
                    <a:pt x="909" y="639"/>
                  </a:lnTo>
                  <a:lnTo>
                    <a:pt x="909" y="641"/>
                  </a:lnTo>
                  <a:lnTo>
                    <a:pt x="911" y="641"/>
                  </a:lnTo>
                  <a:lnTo>
                    <a:pt x="912" y="642"/>
                  </a:lnTo>
                  <a:lnTo>
                    <a:pt x="912" y="644"/>
                  </a:lnTo>
                  <a:lnTo>
                    <a:pt x="914" y="644"/>
                  </a:lnTo>
                  <a:lnTo>
                    <a:pt x="914" y="642"/>
                  </a:lnTo>
                  <a:lnTo>
                    <a:pt x="915" y="642"/>
                  </a:lnTo>
                  <a:lnTo>
                    <a:pt x="915" y="641"/>
                  </a:lnTo>
                  <a:lnTo>
                    <a:pt x="917" y="642"/>
                  </a:lnTo>
                  <a:lnTo>
                    <a:pt x="919" y="642"/>
                  </a:lnTo>
                  <a:lnTo>
                    <a:pt x="919" y="644"/>
                  </a:lnTo>
                  <a:lnTo>
                    <a:pt x="917" y="644"/>
                  </a:lnTo>
                  <a:lnTo>
                    <a:pt x="919" y="646"/>
                  </a:lnTo>
                  <a:lnTo>
                    <a:pt x="917" y="646"/>
                  </a:lnTo>
                  <a:lnTo>
                    <a:pt x="917" y="647"/>
                  </a:lnTo>
                  <a:lnTo>
                    <a:pt x="919" y="647"/>
                  </a:lnTo>
                  <a:lnTo>
                    <a:pt x="919" y="649"/>
                  </a:lnTo>
                  <a:lnTo>
                    <a:pt x="917" y="649"/>
                  </a:lnTo>
                  <a:lnTo>
                    <a:pt x="919" y="649"/>
                  </a:lnTo>
                  <a:lnTo>
                    <a:pt x="919" y="651"/>
                  </a:lnTo>
                  <a:lnTo>
                    <a:pt x="920" y="649"/>
                  </a:lnTo>
                  <a:lnTo>
                    <a:pt x="920" y="651"/>
                  </a:lnTo>
                  <a:lnTo>
                    <a:pt x="917" y="651"/>
                  </a:lnTo>
                  <a:lnTo>
                    <a:pt x="915" y="652"/>
                  </a:lnTo>
                  <a:lnTo>
                    <a:pt x="915" y="651"/>
                  </a:lnTo>
                  <a:lnTo>
                    <a:pt x="915" y="652"/>
                  </a:lnTo>
                  <a:lnTo>
                    <a:pt x="915" y="651"/>
                  </a:lnTo>
                  <a:lnTo>
                    <a:pt x="914" y="652"/>
                  </a:lnTo>
                  <a:lnTo>
                    <a:pt x="914" y="651"/>
                  </a:lnTo>
                  <a:lnTo>
                    <a:pt x="914" y="652"/>
                  </a:lnTo>
                  <a:lnTo>
                    <a:pt x="912" y="651"/>
                  </a:lnTo>
                  <a:lnTo>
                    <a:pt x="912" y="652"/>
                  </a:lnTo>
                  <a:lnTo>
                    <a:pt x="912" y="654"/>
                  </a:lnTo>
                  <a:lnTo>
                    <a:pt x="914" y="655"/>
                  </a:lnTo>
                  <a:lnTo>
                    <a:pt x="912" y="655"/>
                  </a:lnTo>
                  <a:lnTo>
                    <a:pt x="911" y="655"/>
                  </a:lnTo>
                  <a:lnTo>
                    <a:pt x="909" y="655"/>
                  </a:lnTo>
                  <a:lnTo>
                    <a:pt x="907" y="657"/>
                  </a:lnTo>
                  <a:lnTo>
                    <a:pt x="907" y="655"/>
                  </a:lnTo>
                  <a:lnTo>
                    <a:pt x="906" y="655"/>
                  </a:lnTo>
                  <a:lnTo>
                    <a:pt x="906" y="654"/>
                  </a:lnTo>
                  <a:lnTo>
                    <a:pt x="904" y="654"/>
                  </a:lnTo>
                  <a:lnTo>
                    <a:pt x="904" y="652"/>
                  </a:lnTo>
                  <a:lnTo>
                    <a:pt x="906" y="651"/>
                  </a:lnTo>
                  <a:lnTo>
                    <a:pt x="904" y="649"/>
                  </a:lnTo>
                  <a:lnTo>
                    <a:pt x="904" y="647"/>
                  </a:lnTo>
                  <a:lnTo>
                    <a:pt x="906" y="647"/>
                  </a:lnTo>
                  <a:lnTo>
                    <a:pt x="906" y="646"/>
                  </a:lnTo>
                  <a:lnTo>
                    <a:pt x="906" y="644"/>
                  </a:lnTo>
                  <a:lnTo>
                    <a:pt x="906" y="642"/>
                  </a:lnTo>
                  <a:lnTo>
                    <a:pt x="907" y="644"/>
                  </a:lnTo>
                  <a:lnTo>
                    <a:pt x="909" y="642"/>
                  </a:lnTo>
                  <a:lnTo>
                    <a:pt x="907" y="642"/>
                  </a:lnTo>
                  <a:lnTo>
                    <a:pt x="907" y="641"/>
                  </a:lnTo>
                  <a:lnTo>
                    <a:pt x="906" y="641"/>
                  </a:lnTo>
                  <a:lnTo>
                    <a:pt x="904" y="639"/>
                  </a:lnTo>
                  <a:lnTo>
                    <a:pt x="904" y="641"/>
                  </a:lnTo>
                  <a:lnTo>
                    <a:pt x="904" y="639"/>
                  </a:lnTo>
                  <a:lnTo>
                    <a:pt x="902" y="639"/>
                  </a:lnTo>
                  <a:lnTo>
                    <a:pt x="902" y="641"/>
                  </a:lnTo>
                  <a:lnTo>
                    <a:pt x="901" y="641"/>
                  </a:lnTo>
                  <a:lnTo>
                    <a:pt x="902" y="641"/>
                  </a:lnTo>
                  <a:lnTo>
                    <a:pt x="902" y="639"/>
                  </a:lnTo>
                  <a:lnTo>
                    <a:pt x="901" y="639"/>
                  </a:lnTo>
                  <a:lnTo>
                    <a:pt x="899" y="638"/>
                  </a:lnTo>
                  <a:lnTo>
                    <a:pt x="898" y="638"/>
                  </a:lnTo>
                  <a:lnTo>
                    <a:pt x="898" y="636"/>
                  </a:lnTo>
                  <a:close/>
                  <a:moveTo>
                    <a:pt x="725" y="716"/>
                  </a:moveTo>
                  <a:lnTo>
                    <a:pt x="725" y="714"/>
                  </a:lnTo>
                  <a:lnTo>
                    <a:pt x="727" y="716"/>
                  </a:lnTo>
                  <a:lnTo>
                    <a:pt x="727" y="714"/>
                  </a:lnTo>
                  <a:lnTo>
                    <a:pt x="728" y="716"/>
                  </a:lnTo>
                  <a:lnTo>
                    <a:pt x="730" y="716"/>
                  </a:lnTo>
                  <a:lnTo>
                    <a:pt x="730" y="717"/>
                  </a:lnTo>
                  <a:lnTo>
                    <a:pt x="730" y="719"/>
                  </a:lnTo>
                  <a:lnTo>
                    <a:pt x="732" y="719"/>
                  </a:lnTo>
                  <a:lnTo>
                    <a:pt x="733" y="721"/>
                  </a:lnTo>
                  <a:lnTo>
                    <a:pt x="735" y="719"/>
                  </a:lnTo>
                  <a:lnTo>
                    <a:pt x="735" y="721"/>
                  </a:lnTo>
                  <a:lnTo>
                    <a:pt x="737" y="721"/>
                  </a:lnTo>
                  <a:lnTo>
                    <a:pt x="738" y="721"/>
                  </a:lnTo>
                  <a:lnTo>
                    <a:pt x="738" y="722"/>
                  </a:lnTo>
                  <a:lnTo>
                    <a:pt x="740" y="722"/>
                  </a:lnTo>
                  <a:lnTo>
                    <a:pt x="740" y="724"/>
                  </a:lnTo>
                  <a:lnTo>
                    <a:pt x="738" y="724"/>
                  </a:lnTo>
                  <a:lnTo>
                    <a:pt x="738" y="725"/>
                  </a:lnTo>
                  <a:lnTo>
                    <a:pt x="738" y="727"/>
                  </a:lnTo>
                  <a:lnTo>
                    <a:pt x="738" y="729"/>
                  </a:lnTo>
                  <a:lnTo>
                    <a:pt x="740" y="729"/>
                  </a:lnTo>
                  <a:lnTo>
                    <a:pt x="740" y="730"/>
                  </a:lnTo>
                  <a:lnTo>
                    <a:pt x="738" y="729"/>
                  </a:lnTo>
                  <a:lnTo>
                    <a:pt x="738" y="730"/>
                  </a:lnTo>
                  <a:lnTo>
                    <a:pt x="740" y="730"/>
                  </a:lnTo>
                  <a:lnTo>
                    <a:pt x="740" y="732"/>
                  </a:lnTo>
                  <a:lnTo>
                    <a:pt x="740" y="734"/>
                  </a:lnTo>
                  <a:lnTo>
                    <a:pt x="740" y="732"/>
                  </a:lnTo>
                  <a:lnTo>
                    <a:pt x="738" y="732"/>
                  </a:lnTo>
                  <a:lnTo>
                    <a:pt x="737" y="732"/>
                  </a:lnTo>
                  <a:lnTo>
                    <a:pt x="737" y="734"/>
                  </a:lnTo>
                  <a:lnTo>
                    <a:pt x="737" y="735"/>
                  </a:lnTo>
                  <a:lnTo>
                    <a:pt x="735" y="734"/>
                  </a:lnTo>
                  <a:lnTo>
                    <a:pt x="735" y="732"/>
                  </a:lnTo>
                  <a:lnTo>
                    <a:pt x="733" y="734"/>
                  </a:lnTo>
                  <a:lnTo>
                    <a:pt x="733" y="732"/>
                  </a:lnTo>
                  <a:lnTo>
                    <a:pt x="733" y="730"/>
                  </a:lnTo>
                  <a:lnTo>
                    <a:pt x="732" y="732"/>
                  </a:lnTo>
                  <a:lnTo>
                    <a:pt x="732" y="730"/>
                  </a:lnTo>
                  <a:lnTo>
                    <a:pt x="730" y="730"/>
                  </a:lnTo>
                  <a:lnTo>
                    <a:pt x="730" y="729"/>
                  </a:lnTo>
                  <a:lnTo>
                    <a:pt x="728" y="729"/>
                  </a:lnTo>
                  <a:lnTo>
                    <a:pt x="728" y="727"/>
                  </a:lnTo>
                  <a:lnTo>
                    <a:pt x="727" y="727"/>
                  </a:lnTo>
                  <a:lnTo>
                    <a:pt x="727" y="725"/>
                  </a:lnTo>
                  <a:lnTo>
                    <a:pt x="725" y="725"/>
                  </a:lnTo>
                  <a:lnTo>
                    <a:pt x="725" y="727"/>
                  </a:lnTo>
                  <a:lnTo>
                    <a:pt x="724" y="727"/>
                  </a:lnTo>
                  <a:lnTo>
                    <a:pt x="724" y="725"/>
                  </a:lnTo>
                  <a:lnTo>
                    <a:pt x="725" y="725"/>
                  </a:lnTo>
                  <a:lnTo>
                    <a:pt x="724" y="724"/>
                  </a:lnTo>
                  <a:lnTo>
                    <a:pt x="724" y="725"/>
                  </a:lnTo>
                  <a:lnTo>
                    <a:pt x="724" y="727"/>
                  </a:lnTo>
                  <a:lnTo>
                    <a:pt x="722" y="725"/>
                  </a:lnTo>
                  <a:lnTo>
                    <a:pt x="724" y="725"/>
                  </a:lnTo>
                  <a:lnTo>
                    <a:pt x="722" y="725"/>
                  </a:lnTo>
                  <a:lnTo>
                    <a:pt x="722" y="724"/>
                  </a:lnTo>
                  <a:lnTo>
                    <a:pt x="722" y="722"/>
                  </a:lnTo>
                  <a:lnTo>
                    <a:pt x="724" y="722"/>
                  </a:lnTo>
                  <a:lnTo>
                    <a:pt x="722" y="722"/>
                  </a:lnTo>
                  <a:lnTo>
                    <a:pt x="722" y="721"/>
                  </a:lnTo>
                  <a:lnTo>
                    <a:pt x="722" y="719"/>
                  </a:lnTo>
                  <a:lnTo>
                    <a:pt x="722" y="717"/>
                  </a:lnTo>
                  <a:lnTo>
                    <a:pt x="724" y="717"/>
                  </a:lnTo>
                  <a:lnTo>
                    <a:pt x="724" y="716"/>
                  </a:lnTo>
                  <a:lnTo>
                    <a:pt x="725" y="716"/>
                  </a:lnTo>
                  <a:close/>
                  <a:moveTo>
                    <a:pt x="611" y="639"/>
                  </a:moveTo>
                  <a:lnTo>
                    <a:pt x="611" y="641"/>
                  </a:lnTo>
                  <a:lnTo>
                    <a:pt x="611" y="642"/>
                  </a:lnTo>
                  <a:lnTo>
                    <a:pt x="613" y="642"/>
                  </a:lnTo>
                  <a:lnTo>
                    <a:pt x="613" y="644"/>
                  </a:lnTo>
                  <a:lnTo>
                    <a:pt x="615" y="644"/>
                  </a:lnTo>
                  <a:lnTo>
                    <a:pt x="616" y="644"/>
                  </a:lnTo>
                  <a:lnTo>
                    <a:pt x="618" y="646"/>
                  </a:lnTo>
                  <a:lnTo>
                    <a:pt x="619" y="647"/>
                  </a:lnTo>
                  <a:lnTo>
                    <a:pt x="619" y="649"/>
                  </a:lnTo>
                  <a:lnTo>
                    <a:pt x="618" y="649"/>
                  </a:lnTo>
                  <a:lnTo>
                    <a:pt x="618" y="651"/>
                  </a:lnTo>
                  <a:lnTo>
                    <a:pt x="618" y="649"/>
                  </a:lnTo>
                  <a:lnTo>
                    <a:pt x="616" y="649"/>
                  </a:lnTo>
                  <a:lnTo>
                    <a:pt x="616" y="651"/>
                  </a:lnTo>
                  <a:lnTo>
                    <a:pt x="616" y="652"/>
                  </a:lnTo>
                  <a:lnTo>
                    <a:pt x="616" y="654"/>
                  </a:lnTo>
                  <a:lnTo>
                    <a:pt x="616" y="655"/>
                  </a:lnTo>
                  <a:lnTo>
                    <a:pt x="615" y="655"/>
                  </a:lnTo>
                  <a:lnTo>
                    <a:pt x="616" y="655"/>
                  </a:lnTo>
                  <a:lnTo>
                    <a:pt x="616" y="657"/>
                  </a:lnTo>
                  <a:lnTo>
                    <a:pt x="615" y="657"/>
                  </a:lnTo>
                  <a:lnTo>
                    <a:pt x="615" y="659"/>
                  </a:lnTo>
                  <a:lnTo>
                    <a:pt x="613" y="659"/>
                  </a:lnTo>
                  <a:lnTo>
                    <a:pt x="613" y="660"/>
                  </a:lnTo>
                  <a:lnTo>
                    <a:pt x="611" y="662"/>
                  </a:lnTo>
                  <a:lnTo>
                    <a:pt x="611" y="660"/>
                  </a:lnTo>
                  <a:lnTo>
                    <a:pt x="611" y="662"/>
                  </a:lnTo>
                  <a:lnTo>
                    <a:pt x="611" y="664"/>
                  </a:lnTo>
                  <a:lnTo>
                    <a:pt x="610" y="664"/>
                  </a:lnTo>
                  <a:lnTo>
                    <a:pt x="608" y="664"/>
                  </a:lnTo>
                  <a:lnTo>
                    <a:pt x="606" y="664"/>
                  </a:lnTo>
                  <a:lnTo>
                    <a:pt x="606" y="662"/>
                  </a:lnTo>
                  <a:lnTo>
                    <a:pt x="608" y="664"/>
                  </a:lnTo>
                  <a:lnTo>
                    <a:pt x="608" y="662"/>
                  </a:lnTo>
                  <a:lnTo>
                    <a:pt x="608" y="660"/>
                  </a:lnTo>
                  <a:lnTo>
                    <a:pt x="608" y="659"/>
                  </a:lnTo>
                  <a:lnTo>
                    <a:pt x="608" y="657"/>
                  </a:lnTo>
                  <a:lnTo>
                    <a:pt x="608" y="655"/>
                  </a:lnTo>
                  <a:lnTo>
                    <a:pt x="610" y="655"/>
                  </a:lnTo>
                  <a:lnTo>
                    <a:pt x="610" y="654"/>
                  </a:lnTo>
                  <a:lnTo>
                    <a:pt x="610" y="655"/>
                  </a:lnTo>
                  <a:lnTo>
                    <a:pt x="610" y="654"/>
                  </a:lnTo>
                  <a:lnTo>
                    <a:pt x="608" y="652"/>
                  </a:lnTo>
                  <a:lnTo>
                    <a:pt x="608" y="651"/>
                  </a:lnTo>
                  <a:lnTo>
                    <a:pt x="610" y="651"/>
                  </a:lnTo>
                  <a:lnTo>
                    <a:pt x="608" y="651"/>
                  </a:lnTo>
                  <a:lnTo>
                    <a:pt x="608" y="649"/>
                  </a:lnTo>
                  <a:lnTo>
                    <a:pt x="610" y="649"/>
                  </a:lnTo>
                  <a:lnTo>
                    <a:pt x="608" y="649"/>
                  </a:lnTo>
                  <a:lnTo>
                    <a:pt x="608" y="647"/>
                  </a:lnTo>
                  <a:lnTo>
                    <a:pt x="606" y="647"/>
                  </a:lnTo>
                  <a:lnTo>
                    <a:pt x="605" y="647"/>
                  </a:lnTo>
                  <a:lnTo>
                    <a:pt x="605" y="646"/>
                  </a:lnTo>
                  <a:lnTo>
                    <a:pt x="605" y="644"/>
                  </a:lnTo>
                  <a:lnTo>
                    <a:pt x="606" y="644"/>
                  </a:lnTo>
                  <a:lnTo>
                    <a:pt x="606" y="642"/>
                  </a:lnTo>
                  <a:lnTo>
                    <a:pt x="608" y="642"/>
                  </a:lnTo>
                  <a:lnTo>
                    <a:pt x="608" y="641"/>
                  </a:lnTo>
                  <a:lnTo>
                    <a:pt x="608" y="639"/>
                  </a:lnTo>
                  <a:lnTo>
                    <a:pt x="610" y="639"/>
                  </a:lnTo>
                  <a:lnTo>
                    <a:pt x="610" y="638"/>
                  </a:lnTo>
                  <a:lnTo>
                    <a:pt x="611" y="638"/>
                  </a:lnTo>
                  <a:lnTo>
                    <a:pt x="611" y="639"/>
                  </a:lnTo>
                  <a:close/>
                  <a:moveTo>
                    <a:pt x="476" y="412"/>
                  </a:moveTo>
                  <a:lnTo>
                    <a:pt x="478" y="412"/>
                  </a:lnTo>
                  <a:lnTo>
                    <a:pt x="480" y="412"/>
                  </a:lnTo>
                  <a:lnTo>
                    <a:pt x="480" y="413"/>
                  </a:lnTo>
                  <a:lnTo>
                    <a:pt x="481" y="413"/>
                  </a:lnTo>
                  <a:lnTo>
                    <a:pt x="483" y="413"/>
                  </a:lnTo>
                  <a:lnTo>
                    <a:pt x="483" y="415"/>
                  </a:lnTo>
                  <a:lnTo>
                    <a:pt x="483" y="416"/>
                  </a:lnTo>
                  <a:lnTo>
                    <a:pt x="484" y="415"/>
                  </a:lnTo>
                  <a:lnTo>
                    <a:pt x="484" y="416"/>
                  </a:lnTo>
                  <a:lnTo>
                    <a:pt x="484" y="415"/>
                  </a:lnTo>
                  <a:lnTo>
                    <a:pt x="484" y="416"/>
                  </a:lnTo>
                  <a:lnTo>
                    <a:pt x="486" y="416"/>
                  </a:lnTo>
                  <a:lnTo>
                    <a:pt x="488" y="418"/>
                  </a:lnTo>
                  <a:lnTo>
                    <a:pt x="489" y="416"/>
                  </a:lnTo>
                  <a:lnTo>
                    <a:pt x="489" y="418"/>
                  </a:lnTo>
                  <a:lnTo>
                    <a:pt x="491" y="418"/>
                  </a:lnTo>
                  <a:lnTo>
                    <a:pt x="493" y="418"/>
                  </a:lnTo>
                  <a:lnTo>
                    <a:pt x="491" y="418"/>
                  </a:lnTo>
                  <a:lnTo>
                    <a:pt x="493" y="418"/>
                  </a:lnTo>
                  <a:lnTo>
                    <a:pt x="493" y="420"/>
                  </a:lnTo>
                  <a:lnTo>
                    <a:pt x="494" y="420"/>
                  </a:lnTo>
                  <a:lnTo>
                    <a:pt x="493" y="420"/>
                  </a:lnTo>
                  <a:lnTo>
                    <a:pt x="493" y="421"/>
                  </a:lnTo>
                  <a:lnTo>
                    <a:pt x="494" y="421"/>
                  </a:lnTo>
                  <a:lnTo>
                    <a:pt x="496" y="421"/>
                  </a:lnTo>
                  <a:lnTo>
                    <a:pt x="496" y="420"/>
                  </a:lnTo>
                  <a:lnTo>
                    <a:pt x="497" y="420"/>
                  </a:lnTo>
                  <a:lnTo>
                    <a:pt x="499" y="420"/>
                  </a:lnTo>
                  <a:lnTo>
                    <a:pt x="501" y="420"/>
                  </a:lnTo>
                  <a:lnTo>
                    <a:pt x="501" y="421"/>
                  </a:lnTo>
                  <a:lnTo>
                    <a:pt x="501" y="423"/>
                  </a:lnTo>
                  <a:lnTo>
                    <a:pt x="499" y="426"/>
                  </a:lnTo>
                  <a:lnTo>
                    <a:pt x="497" y="426"/>
                  </a:lnTo>
                  <a:lnTo>
                    <a:pt x="496" y="428"/>
                  </a:lnTo>
                  <a:lnTo>
                    <a:pt x="496" y="429"/>
                  </a:lnTo>
                  <a:lnTo>
                    <a:pt x="494" y="429"/>
                  </a:lnTo>
                  <a:lnTo>
                    <a:pt x="493" y="429"/>
                  </a:lnTo>
                  <a:lnTo>
                    <a:pt x="493" y="428"/>
                  </a:lnTo>
                  <a:lnTo>
                    <a:pt x="491" y="428"/>
                  </a:lnTo>
                  <a:lnTo>
                    <a:pt x="491" y="426"/>
                  </a:lnTo>
                  <a:lnTo>
                    <a:pt x="491" y="428"/>
                  </a:lnTo>
                  <a:lnTo>
                    <a:pt x="489" y="428"/>
                  </a:lnTo>
                  <a:lnTo>
                    <a:pt x="488" y="428"/>
                  </a:lnTo>
                  <a:lnTo>
                    <a:pt x="486" y="428"/>
                  </a:lnTo>
                  <a:lnTo>
                    <a:pt x="488" y="428"/>
                  </a:lnTo>
                  <a:lnTo>
                    <a:pt x="486" y="428"/>
                  </a:lnTo>
                  <a:lnTo>
                    <a:pt x="486" y="426"/>
                  </a:lnTo>
                  <a:lnTo>
                    <a:pt x="486" y="425"/>
                  </a:lnTo>
                  <a:lnTo>
                    <a:pt x="488" y="426"/>
                  </a:lnTo>
                  <a:lnTo>
                    <a:pt x="486" y="425"/>
                  </a:lnTo>
                  <a:lnTo>
                    <a:pt x="488" y="425"/>
                  </a:lnTo>
                  <a:lnTo>
                    <a:pt x="486" y="425"/>
                  </a:lnTo>
                  <a:lnTo>
                    <a:pt x="486" y="423"/>
                  </a:lnTo>
                  <a:lnTo>
                    <a:pt x="484" y="421"/>
                  </a:lnTo>
                  <a:lnTo>
                    <a:pt x="483" y="420"/>
                  </a:lnTo>
                  <a:lnTo>
                    <a:pt x="483" y="421"/>
                  </a:lnTo>
                  <a:lnTo>
                    <a:pt x="483" y="420"/>
                  </a:lnTo>
                  <a:lnTo>
                    <a:pt x="481" y="420"/>
                  </a:lnTo>
                  <a:lnTo>
                    <a:pt x="481" y="418"/>
                  </a:lnTo>
                  <a:lnTo>
                    <a:pt x="480" y="418"/>
                  </a:lnTo>
                  <a:lnTo>
                    <a:pt x="481" y="418"/>
                  </a:lnTo>
                  <a:lnTo>
                    <a:pt x="480" y="418"/>
                  </a:lnTo>
                  <a:lnTo>
                    <a:pt x="480" y="416"/>
                  </a:lnTo>
                  <a:lnTo>
                    <a:pt x="478" y="415"/>
                  </a:lnTo>
                  <a:lnTo>
                    <a:pt x="476" y="413"/>
                  </a:lnTo>
                  <a:lnTo>
                    <a:pt x="476" y="412"/>
                  </a:lnTo>
                  <a:close/>
                  <a:moveTo>
                    <a:pt x="164" y="564"/>
                  </a:moveTo>
                  <a:lnTo>
                    <a:pt x="166" y="564"/>
                  </a:lnTo>
                  <a:lnTo>
                    <a:pt x="167" y="564"/>
                  </a:lnTo>
                  <a:lnTo>
                    <a:pt x="167" y="566"/>
                  </a:lnTo>
                  <a:lnTo>
                    <a:pt x="169" y="566"/>
                  </a:lnTo>
                  <a:lnTo>
                    <a:pt x="167" y="566"/>
                  </a:lnTo>
                  <a:lnTo>
                    <a:pt x="167" y="568"/>
                  </a:lnTo>
                  <a:lnTo>
                    <a:pt x="167" y="569"/>
                  </a:lnTo>
                  <a:lnTo>
                    <a:pt x="167" y="571"/>
                  </a:lnTo>
                  <a:lnTo>
                    <a:pt x="167" y="569"/>
                  </a:lnTo>
                  <a:lnTo>
                    <a:pt x="167" y="571"/>
                  </a:lnTo>
                  <a:lnTo>
                    <a:pt x="169" y="571"/>
                  </a:lnTo>
                  <a:lnTo>
                    <a:pt x="169" y="569"/>
                  </a:lnTo>
                  <a:lnTo>
                    <a:pt x="169" y="571"/>
                  </a:lnTo>
                  <a:lnTo>
                    <a:pt x="171" y="571"/>
                  </a:lnTo>
                  <a:lnTo>
                    <a:pt x="171" y="569"/>
                  </a:lnTo>
                  <a:lnTo>
                    <a:pt x="171" y="571"/>
                  </a:lnTo>
                  <a:lnTo>
                    <a:pt x="172" y="571"/>
                  </a:lnTo>
                  <a:lnTo>
                    <a:pt x="172" y="573"/>
                  </a:lnTo>
                  <a:lnTo>
                    <a:pt x="172" y="574"/>
                  </a:lnTo>
                  <a:lnTo>
                    <a:pt x="172" y="576"/>
                  </a:lnTo>
                  <a:lnTo>
                    <a:pt x="172" y="577"/>
                  </a:lnTo>
                  <a:lnTo>
                    <a:pt x="171" y="577"/>
                  </a:lnTo>
                  <a:lnTo>
                    <a:pt x="171" y="579"/>
                  </a:lnTo>
                  <a:lnTo>
                    <a:pt x="171" y="581"/>
                  </a:lnTo>
                  <a:lnTo>
                    <a:pt x="171" y="582"/>
                  </a:lnTo>
                  <a:lnTo>
                    <a:pt x="171" y="584"/>
                  </a:lnTo>
                  <a:lnTo>
                    <a:pt x="172" y="582"/>
                  </a:lnTo>
                  <a:lnTo>
                    <a:pt x="174" y="582"/>
                  </a:lnTo>
                  <a:lnTo>
                    <a:pt x="172" y="582"/>
                  </a:lnTo>
                  <a:lnTo>
                    <a:pt x="174" y="582"/>
                  </a:lnTo>
                  <a:lnTo>
                    <a:pt x="175" y="582"/>
                  </a:lnTo>
                  <a:lnTo>
                    <a:pt x="174" y="582"/>
                  </a:lnTo>
                  <a:lnTo>
                    <a:pt x="172" y="581"/>
                  </a:lnTo>
                  <a:lnTo>
                    <a:pt x="174" y="579"/>
                  </a:lnTo>
                  <a:lnTo>
                    <a:pt x="174" y="581"/>
                  </a:lnTo>
                  <a:lnTo>
                    <a:pt x="175" y="579"/>
                  </a:lnTo>
                  <a:lnTo>
                    <a:pt x="174" y="579"/>
                  </a:lnTo>
                  <a:lnTo>
                    <a:pt x="175" y="579"/>
                  </a:lnTo>
                  <a:lnTo>
                    <a:pt x="177" y="579"/>
                  </a:lnTo>
                  <a:lnTo>
                    <a:pt x="177" y="581"/>
                  </a:lnTo>
                  <a:lnTo>
                    <a:pt x="179" y="581"/>
                  </a:lnTo>
                  <a:lnTo>
                    <a:pt x="177" y="581"/>
                  </a:lnTo>
                  <a:lnTo>
                    <a:pt x="179" y="581"/>
                  </a:lnTo>
                  <a:lnTo>
                    <a:pt x="179" y="582"/>
                  </a:lnTo>
                  <a:lnTo>
                    <a:pt x="177" y="582"/>
                  </a:lnTo>
                  <a:lnTo>
                    <a:pt x="179" y="582"/>
                  </a:lnTo>
                  <a:lnTo>
                    <a:pt x="179" y="584"/>
                  </a:lnTo>
                  <a:lnTo>
                    <a:pt x="177" y="584"/>
                  </a:lnTo>
                  <a:lnTo>
                    <a:pt x="179" y="584"/>
                  </a:lnTo>
                  <a:lnTo>
                    <a:pt x="179" y="586"/>
                  </a:lnTo>
                  <a:lnTo>
                    <a:pt x="177" y="586"/>
                  </a:lnTo>
                  <a:lnTo>
                    <a:pt x="179" y="586"/>
                  </a:lnTo>
                  <a:lnTo>
                    <a:pt x="179" y="587"/>
                  </a:lnTo>
                  <a:lnTo>
                    <a:pt x="179" y="586"/>
                  </a:lnTo>
                  <a:lnTo>
                    <a:pt x="179" y="587"/>
                  </a:lnTo>
                  <a:lnTo>
                    <a:pt x="180" y="587"/>
                  </a:lnTo>
                  <a:lnTo>
                    <a:pt x="182" y="589"/>
                  </a:lnTo>
                  <a:lnTo>
                    <a:pt x="180" y="589"/>
                  </a:lnTo>
                  <a:lnTo>
                    <a:pt x="179" y="589"/>
                  </a:lnTo>
                  <a:lnTo>
                    <a:pt x="179" y="590"/>
                  </a:lnTo>
                  <a:lnTo>
                    <a:pt x="177" y="590"/>
                  </a:lnTo>
                  <a:lnTo>
                    <a:pt x="177" y="592"/>
                  </a:lnTo>
                  <a:lnTo>
                    <a:pt x="175" y="592"/>
                  </a:lnTo>
                  <a:lnTo>
                    <a:pt x="175" y="590"/>
                  </a:lnTo>
                  <a:lnTo>
                    <a:pt x="174" y="590"/>
                  </a:lnTo>
                  <a:lnTo>
                    <a:pt x="172" y="589"/>
                  </a:lnTo>
                  <a:lnTo>
                    <a:pt x="172" y="587"/>
                  </a:lnTo>
                  <a:lnTo>
                    <a:pt x="172" y="586"/>
                  </a:lnTo>
                  <a:lnTo>
                    <a:pt x="171" y="586"/>
                  </a:lnTo>
                  <a:lnTo>
                    <a:pt x="171" y="584"/>
                  </a:lnTo>
                  <a:lnTo>
                    <a:pt x="169" y="584"/>
                  </a:lnTo>
                  <a:lnTo>
                    <a:pt x="169" y="582"/>
                  </a:lnTo>
                  <a:lnTo>
                    <a:pt x="169" y="581"/>
                  </a:lnTo>
                  <a:lnTo>
                    <a:pt x="167" y="579"/>
                  </a:lnTo>
                  <a:lnTo>
                    <a:pt x="166" y="577"/>
                  </a:lnTo>
                  <a:lnTo>
                    <a:pt x="166" y="576"/>
                  </a:lnTo>
                  <a:lnTo>
                    <a:pt x="166" y="574"/>
                  </a:lnTo>
                  <a:lnTo>
                    <a:pt x="164" y="574"/>
                  </a:lnTo>
                  <a:lnTo>
                    <a:pt x="166" y="574"/>
                  </a:lnTo>
                  <a:lnTo>
                    <a:pt x="166" y="573"/>
                  </a:lnTo>
                  <a:lnTo>
                    <a:pt x="164" y="573"/>
                  </a:lnTo>
                  <a:lnTo>
                    <a:pt x="164" y="574"/>
                  </a:lnTo>
                  <a:lnTo>
                    <a:pt x="164" y="573"/>
                  </a:lnTo>
                  <a:lnTo>
                    <a:pt x="162" y="571"/>
                  </a:lnTo>
                  <a:lnTo>
                    <a:pt x="161" y="569"/>
                  </a:lnTo>
                  <a:lnTo>
                    <a:pt x="161" y="568"/>
                  </a:lnTo>
                  <a:lnTo>
                    <a:pt x="162" y="568"/>
                  </a:lnTo>
                  <a:lnTo>
                    <a:pt x="164" y="569"/>
                  </a:lnTo>
                  <a:lnTo>
                    <a:pt x="166" y="569"/>
                  </a:lnTo>
                  <a:lnTo>
                    <a:pt x="166" y="568"/>
                  </a:lnTo>
                  <a:lnTo>
                    <a:pt x="166" y="566"/>
                  </a:lnTo>
                  <a:lnTo>
                    <a:pt x="164" y="566"/>
                  </a:lnTo>
                  <a:lnTo>
                    <a:pt x="164" y="564"/>
                  </a:lnTo>
                  <a:close/>
                  <a:moveTo>
                    <a:pt x="852" y="709"/>
                  </a:moveTo>
                  <a:lnTo>
                    <a:pt x="854" y="709"/>
                  </a:lnTo>
                  <a:lnTo>
                    <a:pt x="855" y="709"/>
                  </a:lnTo>
                  <a:lnTo>
                    <a:pt x="855" y="711"/>
                  </a:lnTo>
                  <a:lnTo>
                    <a:pt x="857" y="711"/>
                  </a:lnTo>
                  <a:lnTo>
                    <a:pt x="859" y="711"/>
                  </a:lnTo>
                  <a:lnTo>
                    <a:pt x="859" y="712"/>
                  </a:lnTo>
                  <a:lnTo>
                    <a:pt x="860" y="712"/>
                  </a:lnTo>
                  <a:lnTo>
                    <a:pt x="862" y="712"/>
                  </a:lnTo>
                  <a:lnTo>
                    <a:pt x="862" y="714"/>
                  </a:lnTo>
                  <a:lnTo>
                    <a:pt x="863" y="714"/>
                  </a:lnTo>
                  <a:lnTo>
                    <a:pt x="863" y="716"/>
                  </a:lnTo>
                  <a:lnTo>
                    <a:pt x="865" y="716"/>
                  </a:lnTo>
                  <a:lnTo>
                    <a:pt x="863" y="716"/>
                  </a:lnTo>
                  <a:lnTo>
                    <a:pt x="863" y="717"/>
                  </a:lnTo>
                  <a:lnTo>
                    <a:pt x="862" y="717"/>
                  </a:lnTo>
                  <a:lnTo>
                    <a:pt x="862" y="716"/>
                  </a:lnTo>
                  <a:lnTo>
                    <a:pt x="860" y="716"/>
                  </a:lnTo>
                  <a:lnTo>
                    <a:pt x="860" y="717"/>
                  </a:lnTo>
                  <a:lnTo>
                    <a:pt x="860" y="719"/>
                  </a:lnTo>
                  <a:lnTo>
                    <a:pt x="859" y="717"/>
                  </a:lnTo>
                  <a:lnTo>
                    <a:pt x="859" y="719"/>
                  </a:lnTo>
                  <a:lnTo>
                    <a:pt x="857" y="719"/>
                  </a:lnTo>
                  <a:lnTo>
                    <a:pt x="855" y="719"/>
                  </a:lnTo>
                  <a:lnTo>
                    <a:pt x="854" y="721"/>
                  </a:lnTo>
                  <a:lnTo>
                    <a:pt x="854" y="719"/>
                  </a:lnTo>
                  <a:lnTo>
                    <a:pt x="854" y="721"/>
                  </a:lnTo>
                  <a:lnTo>
                    <a:pt x="852" y="719"/>
                  </a:lnTo>
                  <a:lnTo>
                    <a:pt x="852" y="721"/>
                  </a:lnTo>
                  <a:lnTo>
                    <a:pt x="854" y="721"/>
                  </a:lnTo>
                  <a:lnTo>
                    <a:pt x="854" y="722"/>
                  </a:lnTo>
                  <a:lnTo>
                    <a:pt x="854" y="721"/>
                  </a:lnTo>
                  <a:lnTo>
                    <a:pt x="852" y="721"/>
                  </a:lnTo>
                  <a:lnTo>
                    <a:pt x="852" y="722"/>
                  </a:lnTo>
                  <a:lnTo>
                    <a:pt x="852" y="721"/>
                  </a:lnTo>
                  <a:lnTo>
                    <a:pt x="852" y="722"/>
                  </a:lnTo>
                  <a:lnTo>
                    <a:pt x="852" y="724"/>
                  </a:lnTo>
                  <a:lnTo>
                    <a:pt x="852" y="725"/>
                  </a:lnTo>
                  <a:lnTo>
                    <a:pt x="852" y="724"/>
                  </a:lnTo>
                  <a:lnTo>
                    <a:pt x="852" y="725"/>
                  </a:lnTo>
                  <a:lnTo>
                    <a:pt x="852" y="724"/>
                  </a:lnTo>
                  <a:lnTo>
                    <a:pt x="852" y="725"/>
                  </a:lnTo>
                  <a:lnTo>
                    <a:pt x="850" y="724"/>
                  </a:lnTo>
                  <a:lnTo>
                    <a:pt x="850" y="725"/>
                  </a:lnTo>
                  <a:lnTo>
                    <a:pt x="852" y="727"/>
                  </a:lnTo>
                  <a:lnTo>
                    <a:pt x="854" y="727"/>
                  </a:lnTo>
                  <a:lnTo>
                    <a:pt x="852" y="727"/>
                  </a:lnTo>
                  <a:lnTo>
                    <a:pt x="854" y="727"/>
                  </a:lnTo>
                  <a:lnTo>
                    <a:pt x="854" y="729"/>
                  </a:lnTo>
                  <a:lnTo>
                    <a:pt x="855" y="729"/>
                  </a:lnTo>
                  <a:lnTo>
                    <a:pt x="854" y="729"/>
                  </a:lnTo>
                  <a:lnTo>
                    <a:pt x="852" y="729"/>
                  </a:lnTo>
                  <a:lnTo>
                    <a:pt x="850" y="729"/>
                  </a:lnTo>
                  <a:lnTo>
                    <a:pt x="850" y="730"/>
                  </a:lnTo>
                  <a:lnTo>
                    <a:pt x="849" y="730"/>
                  </a:lnTo>
                  <a:lnTo>
                    <a:pt x="849" y="729"/>
                  </a:lnTo>
                  <a:lnTo>
                    <a:pt x="849" y="730"/>
                  </a:lnTo>
                  <a:lnTo>
                    <a:pt x="847" y="730"/>
                  </a:lnTo>
                  <a:lnTo>
                    <a:pt x="847" y="729"/>
                  </a:lnTo>
                  <a:lnTo>
                    <a:pt x="847" y="730"/>
                  </a:lnTo>
                  <a:lnTo>
                    <a:pt x="846" y="730"/>
                  </a:lnTo>
                  <a:lnTo>
                    <a:pt x="846" y="729"/>
                  </a:lnTo>
                  <a:lnTo>
                    <a:pt x="846" y="730"/>
                  </a:lnTo>
                  <a:lnTo>
                    <a:pt x="846" y="729"/>
                  </a:lnTo>
                  <a:lnTo>
                    <a:pt x="844" y="727"/>
                  </a:lnTo>
                  <a:lnTo>
                    <a:pt x="844" y="725"/>
                  </a:lnTo>
                  <a:lnTo>
                    <a:pt x="842" y="725"/>
                  </a:lnTo>
                  <a:lnTo>
                    <a:pt x="841" y="725"/>
                  </a:lnTo>
                  <a:lnTo>
                    <a:pt x="842" y="724"/>
                  </a:lnTo>
                  <a:lnTo>
                    <a:pt x="842" y="722"/>
                  </a:lnTo>
                  <a:lnTo>
                    <a:pt x="841" y="722"/>
                  </a:lnTo>
                  <a:lnTo>
                    <a:pt x="841" y="721"/>
                  </a:lnTo>
                  <a:lnTo>
                    <a:pt x="839" y="721"/>
                  </a:lnTo>
                  <a:lnTo>
                    <a:pt x="841" y="719"/>
                  </a:lnTo>
                  <a:lnTo>
                    <a:pt x="842" y="719"/>
                  </a:lnTo>
                  <a:lnTo>
                    <a:pt x="842" y="721"/>
                  </a:lnTo>
                  <a:lnTo>
                    <a:pt x="842" y="719"/>
                  </a:lnTo>
                  <a:lnTo>
                    <a:pt x="844" y="719"/>
                  </a:lnTo>
                  <a:lnTo>
                    <a:pt x="844" y="717"/>
                  </a:lnTo>
                  <a:lnTo>
                    <a:pt x="846" y="719"/>
                  </a:lnTo>
                  <a:lnTo>
                    <a:pt x="847" y="719"/>
                  </a:lnTo>
                  <a:lnTo>
                    <a:pt x="849" y="719"/>
                  </a:lnTo>
                  <a:lnTo>
                    <a:pt x="849" y="721"/>
                  </a:lnTo>
                  <a:lnTo>
                    <a:pt x="850" y="721"/>
                  </a:lnTo>
                  <a:lnTo>
                    <a:pt x="852" y="721"/>
                  </a:lnTo>
                  <a:lnTo>
                    <a:pt x="852" y="719"/>
                  </a:lnTo>
                  <a:lnTo>
                    <a:pt x="852" y="717"/>
                  </a:lnTo>
                  <a:lnTo>
                    <a:pt x="852" y="719"/>
                  </a:lnTo>
                  <a:lnTo>
                    <a:pt x="852" y="717"/>
                  </a:lnTo>
                  <a:lnTo>
                    <a:pt x="854" y="717"/>
                  </a:lnTo>
                  <a:lnTo>
                    <a:pt x="854" y="716"/>
                  </a:lnTo>
                  <a:lnTo>
                    <a:pt x="854" y="717"/>
                  </a:lnTo>
                  <a:lnTo>
                    <a:pt x="855" y="717"/>
                  </a:lnTo>
                  <a:lnTo>
                    <a:pt x="857" y="717"/>
                  </a:lnTo>
                  <a:lnTo>
                    <a:pt x="855" y="717"/>
                  </a:lnTo>
                  <a:lnTo>
                    <a:pt x="855" y="716"/>
                  </a:lnTo>
                  <a:lnTo>
                    <a:pt x="855" y="714"/>
                  </a:lnTo>
                  <a:lnTo>
                    <a:pt x="854" y="714"/>
                  </a:lnTo>
                  <a:lnTo>
                    <a:pt x="855" y="712"/>
                  </a:lnTo>
                  <a:lnTo>
                    <a:pt x="857" y="712"/>
                  </a:lnTo>
                  <a:lnTo>
                    <a:pt x="854" y="712"/>
                  </a:lnTo>
                  <a:lnTo>
                    <a:pt x="855" y="712"/>
                  </a:lnTo>
                  <a:lnTo>
                    <a:pt x="855" y="714"/>
                  </a:lnTo>
                  <a:lnTo>
                    <a:pt x="854" y="714"/>
                  </a:lnTo>
                  <a:lnTo>
                    <a:pt x="854" y="712"/>
                  </a:lnTo>
                  <a:lnTo>
                    <a:pt x="854" y="714"/>
                  </a:lnTo>
                  <a:lnTo>
                    <a:pt x="852" y="712"/>
                  </a:lnTo>
                  <a:lnTo>
                    <a:pt x="854" y="712"/>
                  </a:lnTo>
                  <a:lnTo>
                    <a:pt x="852" y="712"/>
                  </a:lnTo>
                  <a:lnTo>
                    <a:pt x="852" y="711"/>
                  </a:lnTo>
                  <a:lnTo>
                    <a:pt x="852" y="709"/>
                  </a:lnTo>
                  <a:close/>
                  <a:moveTo>
                    <a:pt x="493" y="584"/>
                  </a:moveTo>
                  <a:lnTo>
                    <a:pt x="494" y="584"/>
                  </a:lnTo>
                  <a:lnTo>
                    <a:pt x="496" y="584"/>
                  </a:lnTo>
                  <a:lnTo>
                    <a:pt x="497" y="584"/>
                  </a:lnTo>
                  <a:lnTo>
                    <a:pt x="497" y="586"/>
                  </a:lnTo>
                  <a:lnTo>
                    <a:pt x="499" y="586"/>
                  </a:lnTo>
                  <a:lnTo>
                    <a:pt x="499" y="587"/>
                  </a:lnTo>
                  <a:lnTo>
                    <a:pt x="497" y="587"/>
                  </a:lnTo>
                  <a:lnTo>
                    <a:pt x="499" y="587"/>
                  </a:lnTo>
                  <a:lnTo>
                    <a:pt x="499" y="589"/>
                  </a:lnTo>
                  <a:lnTo>
                    <a:pt x="497" y="589"/>
                  </a:lnTo>
                  <a:lnTo>
                    <a:pt x="499" y="589"/>
                  </a:lnTo>
                  <a:lnTo>
                    <a:pt x="501" y="589"/>
                  </a:lnTo>
                  <a:lnTo>
                    <a:pt x="501" y="590"/>
                  </a:lnTo>
                  <a:lnTo>
                    <a:pt x="499" y="590"/>
                  </a:lnTo>
                  <a:lnTo>
                    <a:pt x="501" y="590"/>
                  </a:lnTo>
                  <a:lnTo>
                    <a:pt x="502" y="590"/>
                  </a:lnTo>
                  <a:lnTo>
                    <a:pt x="504" y="590"/>
                  </a:lnTo>
                  <a:lnTo>
                    <a:pt x="502" y="590"/>
                  </a:lnTo>
                  <a:lnTo>
                    <a:pt x="501" y="592"/>
                  </a:lnTo>
                  <a:lnTo>
                    <a:pt x="501" y="590"/>
                  </a:lnTo>
                  <a:lnTo>
                    <a:pt x="501" y="592"/>
                  </a:lnTo>
                  <a:lnTo>
                    <a:pt x="499" y="592"/>
                  </a:lnTo>
                  <a:lnTo>
                    <a:pt x="501" y="594"/>
                  </a:lnTo>
                  <a:lnTo>
                    <a:pt x="499" y="594"/>
                  </a:lnTo>
                  <a:lnTo>
                    <a:pt x="499" y="595"/>
                  </a:lnTo>
                  <a:lnTo>
                    <a:pt x="501" y="595"/>
                  </a:lnTo>
                  <a:lnTo>
                    <a:pt x="499" y="595"/>
                  </a:lnTo>
                  <a:lnTo>
                    <a:pt x="497" y="595"/>
                  </a:lnTo>
                  <a:lnTo>
                    <a:pt x="497" y="597"/>
                  </a:lnTo>
                  <a:lnTo>
                    <a:pt x="499" y="599"/>
                  </a:lnTo>
                  <a:lnTo>
                    <a:pt x="497" y="599"/>
                  </a:lnTo>
                  <a:lnTo>
                    <a:pt x="499" y="599"/>
                  </a:lnTo>
                  <a:lnTo>
                    <a:pt x="497" y="599"/>
                  </a:lnTo>
                  <a:lnTo>
                    <a:pt x="497" y="597"/>
                  </a:lnTo>
                  <a:lnTo>
                    <a:pt x="496" y="599"/>
                  </a:lnTo>
                  <a:lnTo>
                    <a:pt x="494" y="599"/>
                  </a:lnTo>
                  <a:lnTo>
                    <a:pt x="496" y="600"/>
                  </a:lnTo>
                  <a:lnTo>
                    <a:pt x="494" y="600"/>
                  </a:lnTo>
                  <a:lnTo>
                    <a:pt x="496" y="600"/>
                  </a:lnTo>
                  <a:lnTo>
                    <a:pt x="494" y="600"/>
                  </a:lnTo>
                  <a:lnTo>
                    <a:pt x="493" y="600"/>
                  </a:lnTo>
                  <a:lnTo>
                    <a:pt x="493" y="602"/>
                  </a:lnTo>
                  <a:lnTo>
                    <a:pt x="491" y="602"/>
                  </a:lnTo>
                  <a:lnTo>
                    <a:pt x="491" y="603"/>
                  </a:lnTo>
                  <a:lnTo>
                    <a:pt x="491" y="602"/>
                  </a:lnTo>
                  <a:lnTo>
                    <a:pt x="491" y="603"/>
                  </a:lnTo>
                  <a:lnTo>
                    <a:pt x="491" y="602"/>
                  </a:lnTo>
                  <a:lnTo>
                    <a:pt x="489" y="602"/>
                  </a:lnTo>
                  <a:lnTo>
                    <a:pt x="488" y="602"/>
                  </a:lnTo>
                  <a:lnTo>
                    <a:pt x="488" y="600"/>
                  </a:lnTo>
                  <a:lnTo>
                    <a:pt x="488" y="602"/>
                  </a:lnTo>
                  <a:lnTo>
                    <a:pt x="486" y="600"/>
                  </a:lnTo>
                  <a:lnTo>
                    <a:pt x="486" y="602"/>
                  </a:lnTo>
                  <a:lnTo>
                    <a:pt x="486" y="600"/>
                  </a:lnTo>
                  <a:lnTo>
                    <a:pt x="486" y="599"/>
                  </a:lnTo>
                  <a:lnTo>
                    <a:pt x="486" y="597"/>
                  </a:lnTo>
                  <a:lnTo>
                    <a:pt x="484" y="595"/>
                  </a:lnTo>
                  <a:lnTo>
                    <a:pt x="486" y="595"/>
                  </a:lnTo>
                  <a:lnTo>
                    <a:pt x="486" y="597"/>
                  </a:lnTo>
                  <a:lnTo>
                    <a:pt x="486" y="595"/>
                  </a:lnTo>
                  <a:lnTo>
                    <a:pt x="488" y="595"/>
                  </a:lnTo>
                  <a:lnTo>
                    <a:pt x="489" y="595"/>
                  </a:lnTo>
                  <a:lnTo>
                    <a:pt x="491" y="595"/>
                  </a:lnTo>
                  <a:lnTo>
                    <a:pt x="493" y="595"/>
                  </a:lnTo>
                  <a:lnTo>
                    <a:pt x="493" y="594"/>
                  </a:lnTo>
                  <a:lnTo>
                    <a:pt x="493" y="592"/>
                  </a:lnTo>
                  <a:lnTo>
                    <a:pt x="494" y="590"/>
                  </a:lnTo>
                  <a:lnTo>
                    <a:pt x="494" y="589"/>
                  </a:lnTo>
                  <a:lnTo>
                    <a:pt x="493" y="590"/>
                  </a:lnTo>
                  <a:lnTo>
                    <a:pt x="491" y="590"/>
                  </a:lnTo>
                  <a:lnTo>
                    <a:pt x="491" y="592"/>
                  </a:lnTo>
                  <a:lnTo>
                    <a:pt x="489" y="592"/>
                  </a:lnTo>
                  <a:lnTo>
                    <a:pt x="488" y="592"/>
                  </a:lnTo>
                  <a:lnTo>
                    <a:pt x="486" y="592"/>
                  </a:lnTo>
                  <a:lnTo>
                    <a:pt x="488" y="590"/>
                  </a:lnTo>
                  <a:lnTo>
                    <a:pt x="489" y="590"/>
                  </a:lnTo>
                  <a:lnTo>
                    <a:pt x="489" y="589"/>
                  </a:lnTo>
                  <a:lnTo>
                    <a:pt x="488" y="589"/>
                  </a:lnTo>
                  <a:lnTo>
                    <a:pt x="486" y="589"/>
                  </a:lnTo>
                  <a:lnTo>
                    <a:pt x="486" y="587"/>
                  </a:lnTo>
                  <a:lnTo>
                    <a:pt x="488" y="587"/>
                  </a:lnTo>
                  <a:lnTo>
                    <a:pt x="489" y="587"/>
                  </a:lnTo>
                  <a:lnTo>
                    <a:pt x="491" y="587"/>
                  </a:lnTo>
                  <a:lnTo>
                    <a:pt x="493" y="587"/>
                  </a:lnTo>
                  <a:lnTo>
                    <a:pt x="493" y="586"/>
                  </a:lnTo>
                  <a:lnTo>
                    <a:pt x="491" y="586"/>
                  </a:lnTo>
                  <a:lnTo>
                    <a:pt x="493" y="586"/>
                  </a:lnTo>
                  <a:lnTo>
                    <a:pt x="491" y="584"/>
                  </a:lnTo>
                  <a:lnTo>
                    <a:pt x="493" y="584"/>
                  </a:lnTo>
                  <a:close/>
                  <a:moveTo>
                    <a:pt x="712" y="615"/>
                  </a:moveTo>
                  <a:lnTo>
                    <a:pt x="714" y="615"/>
                  </a:lnTo>
                  <a:lnTo>
                    <a:pt x="715" y="615"/>
                  </a:lnTo>
                  <a:lnTo>
                    <a:pt x="715" y="616"/>
                  </a:lnTo>
                  <a:lnTo>
                    <a:pt x="715" y="618"/>
                  </a:lnTo>
                  <a:lnTo>
                    <a:pt x="717" y="618"/>
                  </a:lnTo>
                  <a:lnTo>
                    <a:pt x="717" y="620"/>
                  </a:lnTo>
                  <a:lnTo>
                    <a:pt x="719" y="620"/>
                  </a:lnTo>
                  <a:lnTo>
                    <a:pt x="717" y="620"/>
                  </a:lnTo>
                  <a:lnTo>
                    <a:pt x="719" y="620"/>
                  </a:lnTo>
                  <a:lnTo>
                    <a:pt x="717" y="618"/>
                  </a:lnTo>
                  <a:lnTo>
                    <a:pt x="719" y="618"/>
                  </a:lnTo>
                  <a:lnTo>
                    <a:pt x="717" y="616"/>
                  </a:lnTo>
                  <a:lnTo>
                    <a:pt x="717" y="615"/>
                  </a:lnTo>
                  <a:lnTo>
                    <a:pt x="719" y="615"/>
                  </a:lnTo>
                  <a:lnTo>
                    <a:pt x="719" y="613"/>
                  </a:lnTo>
                  <a:lnTo>
                    <a:pt x="720" y="613"/>
                  </a:lnTo>
                  <a:lnTo>
                    <a:pt x="720" y="615"/>
                  </a:lnTo>
                  <a:lnTo>
                    <a:pt x="720" y="616"/>
                  </a:lnTo>
                  <a:lnTo>
                    <a:pt x="722" y="616"/>
                  </a:lnTo>
                  <a:lnTo>
                    <a:pt x="722" y="615"/>
                  </a:lnTo>
                  <a:lnTo>
                    <a:pt x="724" y="615"/>
                  </a:lnTo>
                  <a:lnTo>
                    <a:pt x="724" y="616"/>
                  </a:lnTo>
                  <a:lnTo>
                    <a:pt x="725" y="616"/>
                  </a:lnTo>
                  <a:lnTo>
                    <a:pt x="725" y="615"/>
                  </a:lnTo>
                  <a:lnTo>
                    <a:pt x="725" y="616"/>
                  </a:lnTo>
                  <a:lnTo>
                    <a:pt x="727" y="615"/>
                  </a:lnTo>
                  <a:lnTo>
                    <a:pt x="727" y="616"/>
                  </a:lnTo>
                  <a:lnTo>
                    <a:pt x="727" y="618"/>
                  </a:lnTo>
                  <a:lnTo>
                    <a:pt x="727" y="620"/>
                  </a:lnTo>
                  <a:lnTo>
                    <a:pt x="725" y="620"/>
                  </a:lnTo>
                  <a:lnTo>
                    <a:pt x="725" y="621"/>
                  </a:lnTo>
                  <a:lnTo>
                    <a:pt x="724" y="621"/>
                  </a:lnTo>
                  <a:lnTo>
                    <a:pt x="724" y="623"/>
                  </a:lnTo>
                  <a:lnTo>
                    <a:pt x="724" y="621"/>
                  </a:lnTo>
                  <a:lnTo>
                    <a:pt x="724" y="623"/>
                  </a:lnTo>
                  <a:lnTo>
                    <a:pt x="722" y="623"/>
                  </a:lnTo>
                  <a:lnTo>
                    <a:pt x="722" y="625"/>
                  </a:lnTo>
                  <a:lnTo>
                    <a:pt x="722" y="626"/>
                  </a:lnTo>
                  <a:lnTo>
                    <a:pt x="720" y="625"/>
                  </a:lnTo>
                  <a:lnTo>
                    <a:pt x="719" y="625"/>
                  </a:lnTo>
                  <a:lnTo>
                    <a:pt x="719" y="626"/>
                  </a:lnTo>
                  <a:lnTo>
                    <a:pt x="717" y="628"/>
                  </a:lnTo>
                  <a:lnTo>
                    <a:pt x="717" y="626"/>
                  </a:lnTo>
                  <a:lnTo>
                    <a:pt x="717" y="628"/>
                  </a:lnTo>
                  <a:lnTo>
                    <a:pt x="715" y="628"/>
                  </a:lnTo>
                  <a:lnTo>
                    <a:pt x="715" y="626"/>
                  </a:lnTo>
                  <a:lnTo>
                    <a:pt x="714" y="626"/>
                  </a:lnTo>
                  <a:lnTo>
                    <a:pt x="714" y="628"/>
                  </a:lnTo>
                  <a:lnTo>
                    <a:pt x="714" y="626"/>
                  </a:lnTo>
                  <a:lnTo>
                    <a:pt x="712" y="626"/>
                  </a:lnTo>
                  <a:lnTo>
                    <a:pt x="712" y="628"/>
                  </a:lnTo>
                  <a:lnTo>
                    <a:pt x="712" y="629"/>
                  </a:lnTo>
                  <a:lnTo>
                    <a:pt x="711" y="629"/>
                  </a:lnTo>
                  <a:lnTo>
                    <a:pt x="711" y="628"/>
                  </a:lnTo>
                  <a:lnTo>
                    <a:pt x="712" y="628"/>
                  </a:lnTo>
                  <a:lnTo>
                    <a:pt x="712" y="626"/>
                  </a:lnTo>
                  <a:lnTo>
                    <a:pt x="711" y="626"/>
                  </a:lnTo>
                  <a:lnTo>
                    <a:pt x="711" y="625"/>
                  </a:lnTo>
                  <a:lnTo>
                    <a:pt x="712" y="625"/>
                  </a:lnTo>
                  <a:lnTo>
                    <a:pt x="712" y="626"/>
                  </a:lnTo>
                  <a:lnTo>
                    <a:pt x="712" y="625"/>
                  </a:lnTo>
                  <a:lnTo>
                    <a:pt x="712" y="623"/>
                  </a:lnTo>
                  <a:lnTo>
                    <a:pt x="712" y="621"/>
                  </a:lnTo>
                  <a:lnTo>
                    <a:pt x="712" y="620"/>
                  </a:lnTo>
                  <a:lnTo>
                    <a:pt x="711" y="620"/>
                  </a:lnTo>
                  <a:lnTo>
                    <a:pt x="711" y="618"/>
                  </a:lnTo>
                  <a:lnTo>
                    <a:pt x="709" y="618"/>
                  </a:lnTo>
                  <a:lnTo>
                    <a:pt x="709" y="616"/>
                  </a:lnTo>
                  <a:lnTo>
                    <a:pt x="711" y="616"/>
                  </a:lnTo>
                  <a:lnTo>
                    <a:pt x="712" y="615"/>
                  </a:lnTo>
                  <a:close/>
                  <a:moveTo>
                    <a:pt x="660" y="623"/>
                  </a:moveTo>
                  <a:lnTo>
                    <a:pt x="662" y="623"/>
                  </a:lnTo>
                  <a:lnTo>
                    <a:pt x="663" y="623"/>
                  </a:lnTo>
                  <a:lnTo>
                    <a:pt x="665" y="623"/>
                  </a:lnTo>
                  <a:lnTo>
                    <a:pt x="665" y="625"/>
                  </a:lnTo>
                  <a:lnTo>
                    <a:pt x="665" y="623"/>
                  </a:lnTo>
                  <a:lnTo>
                    <a:pt x="665" y="625"/>
                  </a:lnTo>
                  <a:lnTo>
                    <a:pt x="665" y="623"/>
                  </a:lnTo>
                  <a:lnTo>
                    <a:pt x="667" y="625"/>
                  </a:lnTo>
                  <a:lnTo>
                    <a:pt x="667" y="623"/>
                  </a:lnTo>
                  <a:lnTo>
                    <a:pt x="667" y="625"/>
                  </a:lnTo>
                  <a:lnTo>
                    <a:pt x="668" y="625"/>
                  </a:lnTo>
                  <a:lnTo>
                    <a:pt x="668" y="626"/>
                  </a:lnTo>
                  <a:lnTo>
                    <a:pt x="670" y="626"/>
                  </a:lnTo>
                  <a:lnTo>
                    <a:pt x="670" y="628"/>
                  </a:lnTo>
                  <a:lnTo>
                    <a:pt x="670" y="629"/>
                  </a:lnTo>
                  <a:lnTo>
                    <a:pt x="670" y="631"/>
                  </a:lnTo>
                  <a:lnTo>
                    <a:pt x="670" y="633"/>
                  </a:lnTo>
                  <a:lnTo>
                    <a:pt x="670" y="631"/>
                  </a:lnTo>
                  <a:lnTo>
                    <a:pt x="670" y="633"/>
                  </a:lnTo>
                  <a:lnTo>
                    <a:pt x="668" y="633"/>
                  </a:lnTo>
                  <a:lnTo>
                    <a:pt x="670" y="633"/>
                  </a:lnTo>
                  <a:lnTo>
                    <a:pt x="672" y="633"/>
                  </a:lnTo>
                  <a:lnTo>
                    <a:pt x="672" y="634"/>
                  </a:lnTo>
                  <a:lnTo>
                    <a:pt x="673" y="634"/>
                  </a:lnTo>
                  <a:lnTo>
                    <a:pt x="673" y="636"/>
                  </a:lnTo>
                  <a:lnTo>
                    <a:pt x="673" y="638"/>
                  </a:lnTo>
                  <a:lnTo>
                    <a:pt x="672" y="638"/>
                  </a:lnTo>
                  <a:lnTo>
                    <a:pt x="672" y="639"/>
                  </a:lnTo>
                  <a:lnTo>
                    <a:pt x="672" y="641"/>
                  </a:lnTo>
                  <a:lnTo>
                    <a:pt x="670" y="641"/>
                  </a:lnTo>
                  <a:lnTo>
                    <a:pt x="672" y="639"/>
                  </a:lnTo>
                  <a:lnTo>
                    <a:pt x="670" y="639"/>
                  </a:lnTo>
                  <a:lnTo>
                    <a:pt x="670" y="641"/>
                  </a:lnTo>
                  <a:lnTo>
                    <a:pt x="670" y="639"/>
                  </a:lnTo>
                  <a:lnTo>
                    <a:pt x="670" y="641"/>
                  </a:lnTo>
                  <a:lnTo>
                    <a:pt x="668" y="641"/>
                  </a:lnTo>
                  <a:lnTo>
                    <a:pt x="668" y="642"/>
                  </a:lnTo>
                  <a:lnTo>
                    <a:pt x="668" y="641"/>
                  </a:lnTo>
                  <a:lnTo>
                    <a:pt x="667" y="641"/>
                  </a:lnTo>
                  <a:lnTo>
                    <a:pt x="667" y="642"/>
                  </a:lnTo>
                  <a:lnTo>
                    <a:pt x="665" y="642"/>
                  </a:lnTo>
                  <a:lnTo>
                    <a:pt x="665" y="644"/>
                  </a:lnTo>
                  <a:lnTo>
                    <a:pt x="663" y="644"/>
                  </a:lnTo>
                  <a:lnTo>
                    <a:pt x="663" y="642"/>
                  </a:lnTo>
                  <a:lnTo>
                    <a:pt x="665" y="642"/>
                  </a:lnTo>
                  <a:lnTo>
                    <a:pt x="663" y="642"/>
                  </a:lnTo>
                  <a:lnTo>
                    <a:pt x="663" y="641"/>
                  </a:lnTo>
                  <a:lnTo>
                    <a:pt x="663" y="639"/>
                  </a:lnTo>
                  <a:lnTo>
                    <a:pt x="663" y="641"/>
                  </a:lnTo>
                  <a:lnTo>
                    <a:pt x="662" y="639"/>
                  </a:lnTo>
                  <a:lnTo>
                    <a:pt x="662" y="641"/>
                  </a:lnTo>
                  <a:lnTo>
                    <a:pt x="660" y="641"/>
                  </a:lnTo>
                  <a:lnTo>
                    <a:pt x="660" y="639"/>
                  </a:lnTo>
                  <a:lnTo>
                    <a:pt x="660" y="638"/>
                  </a:lnTo>
                  <a:lnTo>
                    <a:pt x="662" y="638"/>
                  </a:lnTo>
                  <a:lnTo>
                    <a:pt x="662" y="636"/>
                  </a:lnTo>
                  <a:lnTo>
                    <a:pt x="663" y="636"/>
                  </a:lnTo>
                  <a:lnTo>
                    <a:pt x="662" y="636"/>
                  </a:lnTo>
                  <a:lnTo>
                    <a:pt x="660" y="636"/>
                  </a:lnTo>
                  <a:lnTo>
                    <a:pt x="662" y="636"/>
                  </a:lnTo>
                  <a:lnTo>
                    <a:pt x="662" y="634"/>
                  </a:lnTo>
                  <a:lnTo>
                    <a:pt x="663" y="634"/>
                  </a:lnTo>
                  <a:lnTo>
                    <a:pt x="663" y="633"/>
                  </a:lnTo>
                  <a:lnTo>
                    <a:pt x="665" y="633"/>
                  </a:lnTo>
                  <a:lnTo>
                    <a:pt x="663" y="631"/>
                  </a:lnTo>
                  <a:lnTo>
                    <a:pt x="663" y="629"/>
                  </a:lnTo>
                  <a:lnTo>
                    <a:pt x="663" y="631"/>
                  </a:lnTo>
                  <a:lnTo>
                    <a:pt x="663" y="629"/>
                  </a:lnTo>
                  <a:lnTo>
                    <a:pt x="663" y="628"/>
                  </a:lnTo>
                  <a:lnTo>
                    <a:pt x="663" y="626"/>
                  </a:lnTo>
                  <a:lnTo>
                    <a:pt x="663" y="625"/>
                  </a:lnTo>
                  <a:lnTo>
                    <a:pt x="662" y="626"/>
                  </a:lnTo>
                  <a:lnTo>
                    <a:pt x="662" y="625"/>
                  </a:lnTo>
                  <a:lnTo>
                    <a:pt x="662" y="626"/>
                  </a:lnTo>
                  <a:lnTo>
                    <a:pt x="662" y="625"/>
                  </a:lnTo>
                  <a:lnTo>
                    <a:pt x="660" y="625"/>
                  </a:lnTo>
                  <a:lnTo>
                    <a:pt x="660" y="623"/>
                  </a:lnTo>
                  <a:close/>
                  <a:moveTo>
                    <a:pt x="494" y="616"/>
                  </a:moveTo>
                  <a:lnTo>
                    <a:pt x="496" y="616"/>
                  </a:lnTo>
                  <a:lnTo>
                    <a:pt x="497" y="616"/>
                  </a:lnTo>
                  <a:lnTo>
                    <a:pt x="499" y="616"/>
                  </a:lnTo>
                  <a:lnTo>
                    <a:pt x="499" y="615"/>
                  </a:lnTo>
                  <a:lnTo>
                    <a:pt x="501" y="616"/>
                  </a:lnTo>
                  <a:lnTo>
                    <a:pt x="502" y="615"/>
                  </a:lnTo>
                  <a:lnTo>
                    <a:pt x="504" y="615"/>
                  </a:lnTo>
                  <a:lnTo>
                    <a:pt x="506" y="615"/>
                  </a:lnTo>
                  <a:lnTo>
                    <a:pt x="507" y="615"/>
                  </a:lnTo>
                  <a:lnTo>
                    <a:pt x="507" y="616"/>
                  </a:lnTo>
                  <a:lnTo>
                    <a:pt x="506" y="618"/>
                  </a:lnTo>
                  <a:lnTo>
                    <a:pt x="506" y="620"/>
                  </a:lnTo>
                  <a:lnTo>
                    <a:pt x="506" y="618"/>
                  </a:lnTo>
                  <a:lnTo>
                    <a:pt x="504" y="620"/>
                  </a:lnTo>
                  <a:lnTo>
                    <a:pt x="504" y="621"/>
                  </a:lnTo>
                  <a:lnTo>
                    <a:pt x="506" y="621"/>
                  </a:lnTo>
                  <a:lnTo>
                    <a:pt x="504" y="621"/>
                  </a:lnTo>
                  <a:lnTo>
                    <a:pt x="504" y="623"/>
                  </a:lnTo>
                  <a:lnTo>
                    <a:pt x="504" y="625"/>
                  </a:lnTo>
                  <a:lnTo>
                    <a:pt x="504" y="626"/>
                  </a:lnTo>
                  <a:lnTo>
                    <a:pt x="504" y="628"/>
                  </a:lnTo>
                  <a:lnTo>
                    <a:pt x="502" y="628"/>
                  </a:lnTo>
                  <a:lnTo>
                    <a:pt x="502" y="629"/>
                  </a:lnTo>
                  <a:lnTo>
                    <a:pt x="501" y="629"/>
                  </a:lnTo>
                  <a:lnTo>
                    <a:pt x="499" y="629"/>
                  </a:lnTo>
                  <a:lnTo>
                    <a:pt x="499" y="631"/>
                  </a:lnTo>
                  <a:lnTo>
                    <a:pt x="499" y="629"/>
                  </a:lnTo>
                  <a:lnTo>
                    <a:pt x="497" y="629"/>
                  </a:lnTo>
                  <a:lnTo>
                    <a:pt x="496" y="629"/>
                  </a:lnTo>
                  <a:lnTo>
                    <a:pt x="496" y="628"/>
                  </a:lnTo>
                  <a:lnTo>
                    <a:pt x="497" y="628"/>
                  </a:lnTo>
                  <a:lnTo>
                    <a:pt x="497" y="626"/>
                  </a:lnTo>
                  <a:lnTo>
                    <a:pt x="496" y="625"/>
                  </a:lnTo>
                  <a:lnTo>
                    <a:pt x="494" y="623"/>
                  </a:lnTo>
                  <a:lnTo>
                    <a:pt x="493" y="623"/>
                  </a:lnTo>
                  <a:lnTo>
                    <a:pt x="493" y="621"/>
                  </a:lnTo>
                  <a:lnTo>
                    <a:pt x="491" y="621"/>
                  </a:lnTo>
                  <a:lnTo>
                    <a:pt x="491" y="620"/>
                  </a:lnTo>
                  <a:lnTo>
                    <a:pt x="491" y="618"/>
                  </a:lnTo>
                  <a:lnTo>
                    <a:pt x="493" y="618"/>
                  </a:lnTo>
                  <a:lnTo>
                    <a:pt x="494" y="618"/>
                  </a:lnTo>
                  <a:lnTo>
                    <a:pt x="494" y="616"/>
                  </a:lnTo>
                  <a:close/>
                  <a:moveTo>
                    <a:pt x="644" y="695"/>
                  </a:moveTo>
                  <a:lnTo>
                    <a:pt x="645" y="695"/>
                  </a:lnTo>
                  <a:lnTo>
                    <a:pt x="647" y="695"/>
                  </a:lnTo>
                  <a:lnTo>
                    <a:pt x="649" y="696"/>
                  </a:lnTo>
                  <a:lnTo>
                    <a:pt x="650" y="696"/>
                  </a:lnTo>
                  <a:lnTo>
                    <a:pt x="652" y="696"/>
                  </a:lnTo>
                  <a:lnTo>
                    <a:pt x="654" y="696"/>
                  </a:lnTo>
                  <a:lnTo>
                    <a:pt x="654" y="698"/>
                  </a:lnTo>
                  <a:lnTo>
                    <a:pt x="655" y="698"/>
                  </a:lnTo>
                  <a:lnTo>
                    <a:pt x="655" y="699"/>
                  </a:lnTo>
                  <a:lnTo>
                    <a:pt x="657" y="699"/>
                  </a:lnTo>
                  <a:lnTo>
                    <a:pt x="659" y="701"/>
                  </a:lnTo>
                  <a:lnTo>
                    <a:pt x="659" y="703"/>
                  </a:lnTo>
                  <a:lnTo>
                    <a:pt x="660" y="703"/>
                  </a:lnTo>
                  <a:lnTo>
                    <a:pt x="660" y="704"/>
                  </a:lnTo>
                  <a:lnTo>
                    <a:pt x="662" y="704"/>
                  </a:lnTo>
                  <a:lnTo>
                    <a:pt x="662" y="706"/>
                  </a:lnTo>
                  <a:lnTo>
                    <a:pt x="660" y="706"/>
                  </a:lnTo>
                  <a:lnTo>
                    <a:pt x="660" y="708"/>
                  </a:lnTo>
                  <a:lnTo>
                    <a:pt x="659" y="708"/>
                  </a:lnTo>
                  <a:lnTo>
                    <a:pt x="659" y="709"/>
                  </a:lnTo>
                  <a:lnTo>
                    <a:pt x="659" y="708"/>
                  </a:lnTo>
                  <a:lnTo>
                    <a:pt x="657" y="708"/>
                  </a:lnTo>
                  <a:lnTo>
                    <a:pt x="657" y="709"/>
                  </a:lnTo>
                  <a:lnTo>
                    <a:pt x="659" y="709"/>
                  </a:lnTo>
                  <a:lnTo>
                    <a:pt x="657" y="711"/>
                  </a:lnTo>
                  <a:lnTo>
                    <a:pt x="657" y="712"/>
                  </a:lnTo>
                  <a:lnTo>
                    <a:pt x="655" y="712"/>
                  </a:lnTo>
                  <a:lnTo>
                    <a:pt x="654" y="711"/>
                  </a:lnTo>
                  <a:lnTo>
                    <a:pt x="652" y="709"/>
                  </a:lnTo>
                  <a:lnTo>
                    <a:pt x="654" y="709"/>
                  </a:lnTo>
                  <a:lnTo>
                    <a:pt x="652" y="709"/>
                  </a:lnTo>
                  <a:lnTo>
                    <a:pt x="652" y="708"/>
                  </a:lnTo>
                  <a:lnTo>
                    <a:pt x="652" y="706"/>
                  </a:lnTo>
                  <a:lnTo>
                    <a:pt x="650" y="706"/>
                  </a:lnTo>
                  <a:lnTo>
                    <a:pt x="650" y="704"/>
                  </a:lnTo>
                  <a:lnTo>
                    <a:pt x="649" y="704"/>
                  </a:lnTo>
                  <a:lnTo>
                    <a:pt x="649" y="703"/>
                  </a:lnTo>
                  <a:lnTo>
                    <a:pt x="649" y="701"/>
                  </a:lnTo>
                  <a:lnTo>
                    <a:pt x="650" y="701"/>
                  </a:lnTo>
                  <a:lnTo>
                    <a:pt x="649" y="701"/>
                  </a:lnTo>
                  <a:lnTo>
                    <a:pt x="647" y="701"/>
                  </a:lnTo>
                  <a:lnTo>
                    <a:pt x="647" y="699"/>
                  </a:lnTo>
                  <a:lnTo>
                    <a:pt x="649" y="699"/>
                  </a:lnTo>
                  <a:lnTo>
                    <a:pt x="647" y="699"/>
                  </a:lnTo>
                  <a:lnTo>
                    <a:pt x="647" y="698"/>
                  </a:lnTo>
                  <a:lnTo>
                    <a:pt x="647" y="696"/>
                  </a:lnTo>
                  <a:lnTo>
                    <a:pt x="645" y="698"/>
                  </a:lnTo>
                  <a:lnTo>
                    <a:pt x="645" y="696"/>
                  </a:lnTo>
                  <a:lnTo>
                    <a:pt x="645" y="695"/>
                  </a:lnTo>
                  <a:lnTo>
                    <a:pt x="645" y="696"/>
                  </a:lnTo>
                  <a:lnTo>
                    <a:pt x="645" y="695"/>
                  </a:lnTo>
                  <a:lnTo>
                    <a:pt x="644" y="695"/>
                  </a:lnTo>
                  <a:close/>
                  <a:moveTo>
                    <a:pt x="748" y="756"/>
                  </a:moveTo>
                  <a:lnTo>
                    <a:pt x="750" y="758"/>
                  </a:lnTo>
                  <a:lnTo>
                    <a:pt x="753" y="760"/>
                  </a:lnTo>
                  <a:lnTo>
                    <a:pt x="753" y="761"/>
                  </a:lnTo>
                  <a:lnTo>
                    <a:pt x="754" y="763"/>
                  </a:lnTo>
                  <a:lnTo>
                    <a:pt x="756" y="764"/>
                  </a:lnTo>
                  <a:lnTo>
                    <a:pt x="758" y="764"/>
                  </a:lnTo>
                  <a:lnTo>
                    <a:pt x="758" y="768"/>
                  </a:lnTo>
                  <a:lnTo>
                    <a:pt x="758" y="769"/>
                  </a:lnTo>
                  <a:lnTo>
                    <a:pt x="758" y="771"/>
                  </a:lnTo>
                  <a:lnTo>
                    <a:pt x="756" y="771"/>
                  </a:lnTo>
                  <a:lnTo>
                    <a:pt x="756" y="773"/>
                  </a:lnTo>
                  <a:lnTo>
                    <a:pt x="756" y="774"/>
                  </a:lnTo>
                  <a:lnTo>
                    <a:pt x="754" y="774"/>
                  </a:lnTo>
                  <a:lnTo>
                    <a:pt x="754" y="776"/>
                  </a:lnTo>
                  <a:lnTo>
                    <a:pt x="753" y="776"/>
                  </a:lnTo>
                  <a:lnTo>
                    <a:pt x="751" y="774"/>
                  </a:lnTo>
                  <a:lnTo>
                    <a:pt x="750" y="774"/>
                  </a:lnTo>
                  <a:lnTo>
                    <a:pt x="748" y="774"/>
                  </a:lnTo>
                  <a:lnTo>
                    <a:pt x="746" y="776"/>
                  </a:lnTo>
                  <a:lnTo>
                    <a:pt x="746" y="774"/>
                  </a:lnTo>
                  <a:lnTo>
                    <a:pt x="745" y="774"/>
                  </a:lnTo>
                  <a:lnTo>
                    <a:pt x="743" y="774"/>
                  </a:lnTo>
                  <a:lnTo>
                    <a:pt x="745" y="773"/>
                  </a:lnTo>
                  <a:lnTo>
                    <a:pt x="746" y="773"/>
                  </a:lnTo>
                  <a:lnTo>
                    <a:pt x="748" y="773"/>
                  </a:lnTo>
                  <a:lnTo>
                    <a:pt x="750" y="773"/>
                  </a:lnTo>
                  <a:lnTo>
                    <a:pt x="750" y="771"/>
                  </a:lnTo>
                  <a:lnTo>
                    <a:pt x="750" y="769"/>
                  </a:lnTo>
                  <a:lnTo>
                    <a:pt x="751" y="769"/>
                  </a:lnTo>
                  <a:lnTo>
                    <a:pt x="751" y="768"/>
                  </a:lnTo>
                  <a:lnTo>
                    <a:pt x="751" y="766"/>
                  </a:lnTo>
                  <a:lnTo>
                    <a:pt x="750" y="766"/>
                  </a:lnTo>
                  <a:lnTo>
                    <a:pt x="750" y="764"/>
                  </a:lnTo>
                  <a:lnTo>
                    <a:pt x="750" y="763"/>
                  </a:lnTo>
                  <a:lnTo>
                    <a:pt x="748" y="763"/>
                  </a:lnTo>
                  <a:lnTo>
                    <a:pt x="748" y="761"/>
                  </a:lnTo>
                  <a:lnTo>
                    <a:pt x="748" y="760"/>
                  </a:lnTo>
                  <a:lnTo>
                    <a:pt x="746" y="758"/>
                  </a:lnTo>
                  <a:lnTo>
                    <a:pt x="746" y="760"/>
                  </a:lnTo>
                  <a:lnTo>
                    <a:pt x="745" y="760"/>
                  </a:lnTo>
                  <a:lnTo>
                    <a:pt x="743" y="760"/>
                  </a:lnTo>
                  <a:lnTo>
                    <a:pt x="741" y="760"/>
                  </a:lnTo>
                  <a:lnTo>
                    <a:pt x="741" y="758"/>
                  </a:lnTo>
                  <a:lnTo>
                    <a:pt x="743" y="756"/>
                  </a:lnTo>
                  <a:lnTo>
                    <a:pt x="745" y="756"/>
                  </a:lnTo>
                  <a:lnTo>
                    <a:pt x="748" y="756"/>
                  </a:lnTo>
                  <a:close/>
                  <a:moveTo>
                    <a:pt x="624" y="675"/>
                  </a:moveTo>
                  <a:lnTo>
                    <a:pt x="626" y="675"/>
                  </a:lnTo>
                  <a:lnTo>
                    <a:pt x="628" y="675"/>
                  </a:lnTo>
                  <a:lnTo>
                    <a:pt x="626" y="675"/>
                  </a:lnTo>
                  <a:lnTo>
                    <a:pt x="628" y="675"/>
                  </a:lnTo>
                  <a:lnTo>
                    <a:pt x="629" y="675"/>
                  </a:lnTo>
                  <a:lnTo>
                    <a:pt x="629" y="677"/>
                  </a:lnTo>
                  <a:lnTo>
                    <a:pt x="629" y="678"/>
                  </a:lnTo>
                  <a:lnTo>
                    <a:pt x="629" y="680"/>
                  </a:lnTo>
                  <a:lnTo>
                    <a:pt x="631" y="680"/>
                  </a:lnTo>
                  <a:lnTo>
                    <a:pt x="631" y="681"/>
                  </a:lnTo>
                  <a:lnTo>
                    <a:pt x="631" y="683"/>
                  </a:lnTo>
                  <a:lnTo>
                    <a:pt x="631" y="681"/>
                  </a:lnTo>
                  <a:lnTo>
                    <a:pt x="631" y="683"/>
                  </a:lnTo>
                  <a:lnTo>
                    <a:pt x="631" y="685"/>
                  </a:lnTo>
                  <a:lnTo>
                    <a:pt x="631" y="683"/>
                  </a:lnTo>
                  <a:lnTo>
                    <a:pt x="631" y="685"/>
                  </a:lnTo>
                  <a:lnTo>
                    <a:pt x="629" y="685"/>
                  </a:lnTo>
                  <a:lnTo>
                    <a:pt x="629" y="683"/>
                  </a:lnTo>
                  <a:lnTo>
                    <a:pt x="629" y="685"/>
                  </a:lnTo>
                  <a:lnTo>
                    <a:pt x="629" y="686"/>
                  </a:lnTo>
                  <a:lnTo>
                    <a:pt x="628" y="686"/>
                  </a:lnTo>
                  <a:lnTo>
                    <a:pt x="628" y="688"/>
                  </a:lnTo>
                  <a:lnTo>
                    <a:pt x="626" y="688"/>
                  </a:lnTo>
                  <a:lnTo>
                    <a:pt x="626" y="686"/>
                  </a:lnTo>
                  <a:lnTo>
                    <a:pt x="624" y="686"/>
                  </a:lnTo>
                  <a:lnTo>
                    <a:pt x="623" y="688"/>
                  </a:lnTo>
                  <a:lnTo>
                    <a:pt x="623" y="686"/>
                  </a:lnTo>
                  <a:lnTo>
                    <a:pt x="623" y="685"/>
                  </a:lnTo>
                  <a:lnTo>
                    <a:pt x="621" y="685"/>
                  </a:lnTo>
                  <a:lnTo>
                    <a:pt x="621" y="686"/>
                  </a:lnTo>
                  <a:lnTo>
                    <a:pt x="619" y="686"/>
                  </a:lnTo>
                  <a:lnTo>
                    <a:pt x="619" y="688"/>
                  </a:lnTo>
                  <a:lnTo>
                    <a:pt x="618" y="688"/>
                  </a:lnTo>
                  <a:lnTo>
                    <a:pt x="618" y="686"/>
                  </a:lnTo>
                  <a:lnTo>
                    <a:pt x="619" y="685"/>
                  </a:lnTo>
                  <a:lnTo>
                    <a:pt x="618" y="685"/>
                  </a:lnTo>
                  <a:lnTo>
                    <a:pt x="618" y="683"/>
                  </a:lnTo>
                  <a:lnTo>
                    <a:pt x="618" y="681"/>
                  </a:lnTo>
                  <a:lnTo>
                    <a:pt x="618" y="683"/>
                  </a:lnTo>
                  <a:lnTo>
                    <a:pt x="619" y="681"/>
                  </a:lnTo>
                  <a:lnTo>
                    <a:pt x="618" y="681"/>
                  </a:lnTo>
                  <a:lnTo>
                    <a:pt x="618" y="680"/>
                  </a:lnTo>
                  <a:lnTo>
                    <a:pt x="619" y="680"/>
                  </a:lnTo>
                  <a:lnTo>
                    <a:pt x="619" y="678"/>
                  </a:lnTo>
                  <a:lnTo>
                    <a:pt x="619" y="677"/>
                  </a:lnTo>
                  <a:lnTo>
                    <a:pt x="621" y="678"/>
                  </a:lnTo>
                  <a:lnTo>
                    <a:pt x="621" y="677"/>
                  </a:lnTo>
                  <a:lnTo>
                    <a:pt x="623" y="677"/>
                  </a:lnTo>
                  <a:lnTo>
                    <a:pt x="623" y="675"/>
                  </a:lnTo>
                  <a:lnTo>
                    <a:pt x="624" y="675"/>
                  </a:lnTo>
                  <a:close/>
                  <a:moveTo>
                    <a:pt x="514" y="394"/>
                  </a:moveTo>
                  <a:lnTo>
                    <a:pt x="515" y="394"/>
                  </a:lnTo>
                  <a:lnTo>
                    <a:pt x="515" y="395"/>
                  </a:lnTo>
                  <a:lnTo>
                    <a:pt x="514" y="397"/>
                  </a:lnTo>
                  <a:lnTo>
                    <a:pt x="515" y="395"/>
                  </a:lnTo>
                  <a:lnTo>
                    <a:pt x="517" y="395"/>
                  </a:lnTo>
                  <a:lnTo>
                    <a:pt x="519" y="395"/>
                  </a:lnTo>
                  <a:lnTo>
                    <a:pt x="519" y="397"/>
                  </a:lnTo>
                  <a:lnTo>
                    <a:pt x="519" y="399"/>
                  </a:lnTo>
                  <a:lnTo>
                    <a:pt x="517" y="400"/>
                  </a:lnTo>
                  <a:lnTo>
                    <a:pt x="517" y="402"/>
                  </a:lnTo>
                  <a:lnTo>
                    <a:pt x="515" y="402"/>
                  </a:lnTo>
                  <a:lnTo>
                    <a:pt x="515" y="403"/>
                  </a:lnTo>
                  <a:lnTo>
                    <a:pt x="515" y="405"/>
                  </a:lnTo>
                  <a:lnTo>
                    <a:pt x="514" y="405"/>
                  </a:lnTo>
                  <a:lnTo>
                    <a:pt x="514" y="407"/>
                  </a:lnTo>
                  <a:lnTo>
                    <a:pt x="514" y="408"/>
                  </a:lnTo>
                  <a:lnTo>
                    <a:pt x="514" y="410"/>
                  </a:lnTo>
                  <a:lnTo>
                    <a:pt x="514" y="412"/>
                  </a:lnTo>
                  <a:lnTo>
                    <a:pt x="512" y="410"/>
                  </a:lnTo>
                  <a:lnTo>
                    <a:pt x="512" y="412"/>
                  </a:lnTo>
                  <a:lnTo>
                    <a:pt x="512" y="413"/>
                  </a:lnTo>
                  <a:lnTo>
                    <a:pt x="512" y="412"/>
                  </a:lnTo>
                  <a:lnTo>
                    <a:pt x="512" y="413"/>
                  </a:lnTo>
                  <a:lnTo>
                    <a:pt x="511" y="413"/>
                  </a:lnTo>
                  <a:lnTo>
                    <a:pt x="511" y="415"/>
                  </a:lnTo>
                  <a:lnTo>
                    <a:pt x="509" y="415"/>
                  </a:lnTo>
                  <a:lnTo>
                    <a:pt x="509" y="416"/>
                  </a:lnTo>
                  <a:lnTo>
                    <a:pt x="507" y="416"/>
                  </a:lnTo>
                  <a:lnTo>
                    <a:pt x="507" y="418"/>
                  </a:lnTo>
                  <a:lnTo>
                    <a:pt x="507" y="416"/>
                  </a:lnTo>
                  <a:lnTo>
                    <a:pt x="506" y="416"/>
                  </a:lnTo>
                  <a:lnTo>
                    <a:pt x="504" y="418"/>
                  </a:lnTo>
                  <a:lnTo>
                    <a:pt x="504" y="416"/>
                  </a:lnTo>
                  <a:lnTo>
                    <a:pt x="504" y="415"/>
                  </a:lnTo>
                  <a:lnTo>
                    <a:pt x="506" y="415"/>
                  </a:lnTo>
                  <a:lnTo>
                    <a:pt x="507" y="413"/>
                  </a:lnTo>
                  <a:lnTo>
                    <a:pt x="507" y="412"/>
                  </a:lnTo>
                  <a:lnTo>
                    <a:pt x="507" y="413"/>
                  </a:lnTo>
                  <a:lnTo>
                    <a:pt x="509" y="412"/>
                  </a:lnTo>
                  <a:lnTo>
                    <a:pt x="509" y="410"/>
                  </a:lnTo>
                  <a:lnTo>
                    <a:pt x="507" y="410"/>
                  </a:lnTo>
                  <a:lnTo>
                    <a:pt x="509" y="410"/>
                  </a:lnTo>
                  <a:lnTo>
                    <a:pt x="509" y="408"/>
                  </a:lnTo>
                  <a:lnTo>
                    <a:pt x="507" y="408"/>
                  </a:lnTo>
                  <a:lnTo>
                    <a:pt x="507" y="407"/>
                  </a:lnTo>
                  <a:lnTo>
                    <a:pt x="509" y="407"/>
                  </a:lnTo>
                  <a:lnTo>
                    <a:pt x="509" y="405"/>
                  </a:lnTo>
                  <a:lnTo>
                    <a:pt x="509" y="403"/>
                  </a:lnTo>
                  <a:lnTo>
                    <a:pt x="509" y="405"/>
                  </a:lnTo>
                  <a:lnTo>
                    <a:pt x="511" y="405"/>
                  </a:lnTo>
                  <a:lnTo>
                    <a:pt x="511" y="403"/>
                  </a:lnTo>
                  <a:lnTo>
                    <a:pt x="512" y="403"/>
                  </a:lnTo>
                  <a:lnTo>
                    <a:pt x="512" y="402"/>
                  </a:lnTo>
                  <a:lnTo>
                    <a:pt x="511" y="400"/>
                  </a:lnTo>
                  <a:lnTo>
                    <a:pt x="512" y="400"/>
                  </a:lnTo>
                  <a:lnTo>
                    <a:pt x="512" y="399"/>
                  </a:lnTo>
                  <a:lnTo>
                    <a:pt x="512" y="397"/>
                  </a:lnTo>
                  <a:lnTo>
                    <a:pt x="514" y="395"/>
                  </a:lnTo>
                  <a:lnTo>
                    <a:pt x="514" y="394"/>
                  </a:lnTo>
                  <a:close/>
                  <a:moveTo>
                    <a:pt x="955" y="864"/>
                  </a:moveTo>
                  <a:lnTo>
                    <a:pt x="956" y="864"/>
                  </a:lnTo>
                  <a:lnTo>
                    <a:pt x="956" y="862"/>
                  </a:lnTo>
                  <a:lnTo>
                    <a:pt x="956" y="864"/>
                  </a:lnTo>
                  <a:lnTo>
                    <a:pt x="958" y="862"/>
                  </a:lnTo>
                  <a:lnTo>
                    <a:pt x="958" y="864"/>
                  </a:lnTo>
                  <a:lnTo>
                    <a:pt x="956" y="864"/>
                  </a:lnTo>
                  <a:lnTo>
                    <a:pt x="956" y="865"/>
                  </a:lnTo>
                  <a:lnTo>
                    <a:pt x="956" y="867"/>
                  </a:lnTo>
                  <a:lnTo>
                    <a:pt x="956" y="869"/>
                  </a:lnTo>
                  <a:lnTo>
                    <a:pt x="955" y="869"/>
                  </a:lnTo>
                  <a:lnTo>
                    <a:pt x="955" y="870"/>
                  </a:lnTo>
                  <a:lnTo>
                    <a:pt x="953" y="870"/>
                  </a:lnTo>
                  <a:lnTo>
                    <a:pt x="953" y="869"/>
                  </a:lnTo>
                  <a:lnTo>
                    <a:pt x="951" y="870"/>
                  </a:lnTo>
                  <a:lnTo>
                    <a:pt x="951" y="872"/>
                  </a:lnTo>
                  <a:lnTo>
                    <a:pt x="950" y="872"/>
                  </a:lnTo>
                  <a:lnTo>
                    <a:pt x="950" y="873"/>
                  </a:lnTo>
                  <a:lnTo>
                    <a:pt x="950" y="875"/>
                  </a:lnTo>
                  <a:lnTo>
                    <a:pt x="948" y="875"/>
                  </a:lnTo>
                  <a:lnTo>
                    <a:pt x="946" y="875"/>
                  </a:lnTo>
                  <a:lnTo>
                    <a:pt x="946" y="877"/>
                  </a:lnTo>
                  <a:lnTo>
                    <a:pt x="945" y="877"/>
                  </a:lnTo>
                  <a:lnTo>
                    <a:pt x="945" y="878"/>
                  </a:lnTo>
                  <a:lnTo>
                    <a:pt x="945" y="880"/>
                  </a:lnTo>
                  <a:lnTo>
                    <a:pt x="945" y="878"/>
                  </a:lnTo>
                  <a:lnTo>
                    <a:pt x="943" y="878"/>
                  </a:lnTo>
                  <a:lnTo>
                    <a:pt x="943" y="880"/>
                  </a:lnTo>
                  <a:lnTo>
                    <a:pt x="941" y="878"/>
                  </a:lnTo>
                  <a:lnTo>
                    <a:pt x="940" y="878"/>
                  </a:lnTo>
                  <a:lnTo>
                    <a:pt x="941" y="878"/>
                  </a:lnTo>
                  <a:lnTo>
                    <a:pt x="940" y="878"/>
                  </a:lnTo>
                  <a:lnTo>
                    <a:pt x="940" y="877"/>
                  </a:lnTo>
                  <a:lnTo>
                    <a:pt x="940" y="875"/>
                  </a:lnTo>
                  <a:lnTo>
                    <a:pt x="941" y="875"/>
                  </a:lnTo>
                  <a:lnTo>
                    <a:pt x="940" y="875"/>
                  </a:lnTo>
                  <a:lnTo>
                    <a:pt x="941" y="875"/>
                  </a:lnTo>
                  <a:lnTo>
                    <a:pt x="941" y="873"/>
                  </a:lnTo>
                  <a:lnTo>
                    <a:pt x="941" y="872"/>
                  </a:lnTo>
                  <a:lnTo>
                    <a:pt x="943" y="870"/>
                  </a:lnTo>
                  <a:lnTo>
                    <a:pt x="945" y="869"/>
                  </a:lnTo>
                  <a:lnTo>
                    <a:pt x="945" y="867"/>
                  </a:lnTo>
                  <a:lnTo>
                    <a:pt x="946" y="867"/>
                  </a:lnTo>
                  <a:lnTo>
                    <a:pt x="948" y="867"/>
                  </a:lnTo>
                  <a:lnTo>
                    <a:pt x="950" y="867"/>
                  </a:lnTo>
                  <a:lnTo>
                    <a:pt x="950" y="865"/>
                  </a:lnTo>
                  <a:lnTo>
                    <a:pt x="951" y="865"/>
                  </a:lnTo>
                  <a:lnTo>
                    <a:pt x="953" y="864"/>
                  </a:lnTo>
                  <a:lnTo>
                    <a:pt x="955" y="864"/>
                  </a:lnTo>
                  <a:close/>
                  <a:moveTo>
                    <a:pt x="968" y="708"/>
                  </a:moveTo>
                  <a:lnTo>
                    <a:pt x="969" y="709"/>
                  </a:lnTo>
                  <a:lnTo>
                    <a:pt x="971" y="711"/>
                  </a:lnTo>
                  <a:lnTo>
                    <a:pt x="972" y="712"/>
                  </a:lnTo>
                  <a:lnTo>
                    <a:pt x="971" y="712"/>
                  </a:lnTo>
                  <a:lnTo>
                    <a:pt x="972" y="712"/>
                  </a:lnTo>
                  <a:lnTo>
                    <a:pt x="974" y="712"/>
                  </a:lnTo>
                  <a:lnTo>
                    <a:pt x="972" y="714"/>
                  </a:lnTo>
                  <a:lnTo>
                    <a:pt x="972" y="716"/>
                  </a:lnTo>
                  <a:lnTo>
                    <a:pt x="974" y="716"/>
                  </a:lnTo>
                  <a:lnTo>
                    <a:pt x="976" y="716"/>
                  </a:lnTo>
                  <a:lnTo>
                    <a:pt x="974" y="714"/>
                  </a:lnTo>
                  <a:lnTo>
                    <a:pt x="976" y="714"/>
                  </a:lnTo>
                  <a:lnTo>
                    <a:pt x="976" y="716"/>
                  </a:lnTo>
                  <a:lnTo>
                    <a:pt x="977" y="716"/>
                  </a:lnTo>
                  <a:lnTo>
                    <a:pt x="977" y="717"/>
                  </a:lnTo>
                  <a:lnTo>
                    <a:pt x="977" y="716"/>
                  </a:lnTo>
                  <a:lnTo>
                    <a:pt x="977" y="714"/>
                  </a:lnTo>
                  <a:lnTo>
                    <a:pt x="979" y="714"/>
                  </a:lnTo>
                  <a:lnTo>
                    <a:pt x="981" y="716"/>
                  </a:lnTo>
                  <a:lnTo>
                    <a:pt x="981" y="717"/>
                  </a:lnTo>
                  <a:lnTo>
                    <a:pt x="979" y="717"/>
                  </a:lnTo>
                  <a:lnTo>
                    <a:pt x="979" y="719"/>
                  </a:lnTo>
                  <a:lnTo>
                    <a:pt x="977" y="719"/>
                  </a:lnTo>
                  <a:lnTo>
                    <a:pt x="977" y="721"/>
                  </a:lnTo>
                  <a:lnTo>
                    <a:pt x="976" y="721"/>
                  </a:lnTo>
                  <a:lnTo>
                    <a:pt x="976" y="719"/>
                  </a:lnTo>
                  <a:lnTo>
                    <a:pt x="976" y="721"/>
                  </a:lnTo>
                  <a:lnTo>
                    <a:pt x="974" y="722"/>
                  </a:lnTo>
                  <a:lnTo>
                    <a:pt x="974" y="721"/>
                  </a:lnTo>
                  <a:lnTo>
                    <a:pt x="972" y="721"/>
                  </a:lnTo>
                  <a:lnTo>
                    <a:pt x="972" y="722"/>
                  </a:lnTo>
                  <a:lnTo>
                    <a:pt x="972" y="721"/>
                  </a:lnTo>
                  <a:lnTo>
                    <a:pt x="972" y="719"/>
                  </a:lnTo>
                  <a:lnTo>
                    <a:pt x="971" y="719"/>
                  </a:lnTo>
                  <a:lnTo>
                    <a:pt x="971" y="721"/>
                  </a:lnTo>
                  <a:lnTo>
                    <a:pt x="971" y="719"/>
                  </a:lnTo>
                  <a:lnTo>
                    <a:pt x="971" y="717"/>
                  </a:lnTo>
                  <a:lnTo>
                    <a:pt x="969" y="717"/>
                  </a:lnTo>
                  <a:lnTo>
                    <a:pt x="969" y="716"/>
                  </a:lnTo>
                  <a:lnTo>
                    <a:pt x="969" y="714"/>
                  </a:lnTo>
                  <a:lnTo>
                    <a:pt x="968" y="714"/>
                  </a:lnTo>
                  <a:lnTo>
                    <a:pt x="968" y="716"/>
                  </a:lnTo>
                  <a:lnTo>
                    <a:pt x="966" y="717"/>
                  </a:lnTo>
                  <a:lnTo>
                    <a:pt x="966" y="716"/>
                  </a:lnTo>
                  <a:lnTo>
                    <a:pt x="966" y="717"/>
                  </a:lnTo>
                  <a:lnTo>
                    <a:pt x="966" y="719"/>
                  </a:lnTo>
                  <a:lnTo>
                    <a:pt x="964" y="719"/>
                  </a:lnTo>
                  <a:lnTo>
                    <a:pt x="964" y="717"/>
                  </a:lnTo>
                  <a:lnTo>
                    <a:pt x="964" y="719"/>
                  </a:lnTo>
                  <a:lnTo>
                    <a:pt x="964" y="717"/>
                  </a:lnTo>
                  <a:lnTo>
                    <a:pt x="963" y="717"/>
                  </a:lnTo>
                  <a:lnTo>
                    <a:pt x="961" y="717"/>
                  </a:lnTo>
                  <a:lnTo>
                    <a:pt x="961" y="716"/>
                  </a:lnTo>
                  <a:lnTo>
                    <a:pt x="961" y="714"/>
                  </a:lnTo>
                  <a:lnTo>
                    <a:pt x="961" y="712"/>
                  </a:lnTo>
                  <a:lnTo>
                    <a:pt x="961" y="711"/>
                  </a:lnTo>
                  <a:lnTo>
                    <a:pt x="963" y="709"/>
                  </a:lnTo>
                  <a:lnTo>
                    <a:pt x="961" y="711"/>
                  </a:lnTo>
                  <a:lnTo>
                    <a:pt x="963" y="711"/>
                  </a:lnTo>
                  <a:lnTo>
                    <a:pt x="964" y="712"/>
                  </a:lnTo>
                  <a:lnTo>
                    <a:pt x="966" y="711"/>
                  </a:lnTo>
                  <a:lnTo>
                    <a:pt x="966" y="709"/>
                  </a:lnTo>
                  <a:lnTo>
                    <a:pt x="966" y="708"/>
                  </a:lnTo>
                  <a:lnTo>
                    <a:pt x="968" y="708"/>
                  </a:lnTo>
                  <a:close/>
                  <a:moveTo>
                    <a:pt x="1016" y="673"/>
                  </a:moveTo>
                  <a:lnTo>
                    <a:pt x="1016" y="675"/>
                  </a:lnTo>
                  <a:lnTo>
                    <a:pt x="1015" y="675"/>
                  </a:lnTo>
                  <a:lnTo>
                    <a:pt x="1016" y="675"/>
                  </a:lnTo>
                  <a:lnTo>
                    <a:pt x="1018" y="675"/>
                  </a:lnTo>
                  <a:lnTo>
                    <a:pt x="1018" y="677"/>
                  </a:lnTo>
                  <a:lnTo>
                    <a:pt x="1018" y="675"/>
                  </a:lnTo>
                  <a:lnTo>
                    <a:pt x="1020" y="675"/>
                  </a:lnTo>
                  <a:lnTo>
                    <a:pt x="1020" y="673"/>
                  </a:lnTo>
                  <a:lnTo>
                    <a:pt x="1021" y="673"/>
                  </a:lnTo>
                  <a:lnTo>
                    <a:pt x="1021" y="675"/>
                  </a:lnTo>
                  <a:lnTo>
                    <a:pt x="1020" y="675"/>
                  </a:lnTo>
                  <a:lnTo>
                    <a:pt x="1020" y="677"/>
                  </a:lnTo>
                  <a:lnTo>
                    <a:pt x="1021" y="675"/>
                  </a:lnTo>
                  <a:lnTo>
                    <a:pt x="1023" y="675"/>
                  </a:lnTo>
                  <a:lnTo>
                    <a:pt x="1023" y="677"/>
                  </a:lnTo>
                  <a:lnTo>
                    <a:pt x="1023" y="678"/>
                  </a:lnTo>
                  <a:lnTo>
                    <a:pt x="1023" y="680"/>
                  </a:lnTo>
                  <a:lnTo>
                    <a:pt x="1021" y="680"/>
                  </a:lnTo>
                  <a:lnTo>
                    <a:pt x="1023" y="680"/>
                  </a:lnTo>
                  <a:lnTo>
                    <a:pt x="1024" y="681"/>
                  </a:lnTo>
                  <a:lnTo>
                    <a:pt x="1023" y="681"/>
                  </a:lnTo>
                  <a:lnTo>
                    <a:pt x="1023" y="683"/>
                  </a:lnTo>
                  <a:lnTo>
                    <a:pt x="1024" y="683"/>
                  </a:lnTo>
                  <a:lnTo>
                    <a:pt x="1023" y="683"/>
                  </a:lnTo>
                  <a:lnTo>
                    <a:pt x="1024" y="685"/>
                  </a:lnTo>
                  <a:lnTo>
                    <a:pt x="1023" y="685"/>
                  </a:lnTo>
                  <a:lnTo>
                    <a:pt x="1021" y="686"/>
                  </a:lnTo>
                  <a:lnTo>
                    <a:pt x="1020" y="686"/>
                  </a:lnTo>
                  <a:lnTo>
                    <a:pt x="1020" y="685"/>
                  </a:lnTo>
                  <a:lnTo>
                    <a:pt x="1021" y="685"/>
                  </a:lnTo>
                  <a:lnTo>
                    <a:pt x="1020" y="685"/>
                  </a:lnTo>
                  <a:lnTo>
                    <a:pt x="1021" y="685"/>
                  </a:lnTo>
                  <a:lnTo>
                    <a:pt x="1021" y="683"/>
                  </a:lnTo>
                  <a:lnTo>
                    <a:pt x="1020" y="683"/>
                  </a:lnTo>
                  <a:lnTo>
                    <a:pt x="1018" y="683"/>
                  </a:lnTo>
                  <a:lnTo>
                    <a:pt x="1016" y="683"/>
                  </a:lnTo>
                  <a:lnTo>
                    <a:pt x="1015" y="683"/>
                  </a:lnTo>
                  <a:lnTo>
                    <a:pt x="1015" y="685"/>
                  </a:lnTo>
                  <a:lnTo>
                    <a:pt x="1015" y="683"/>
                  </a:lnTo>
                  <a:lnTo>
                    <a:pt x="1015" y="681"/>
                  </a:lnTo>
                  <a:lnTo>
                    <a:pt x="1016" y="681"/>
                  </a:lnTo>
                  <a:lnTo>
                    <a:pt x="1016" y="680"/>
                  </a:lnTo>
                  <a:lnTo>
                    <a:pt x="1015" y="680"/>
                  </a:lnTo>
                  <a:lnTo>
                    <a:pt x="1015" y="681"/>
                  </a:lnTo>
                  <a:lnTo>
                    <a:pt x="1015" y="680"/>
                  </a:lnTo>
                  <a:lnTo>
                    <a:pt x="1015" y="681"/>
                  </a:lnTo>
                  <a:lnTo>
                    <a:pt x="1013" y="681"/>
                  </a:lnTo>
                  <a:lnTo>
                    <a:pt x="1011" y="681"/>
                  </a:lnTo>
                  <a:lnTo>
                    <a:pt x="1011" y="683"/>
                  </a:lnTo>
                  <a:lnTo>
                    <a:pt x="1011" y="681"/>
                  </a:lnTo>
                  <a:lnTo>
                    <a:pt x="1011" y="680"/>
                  </a:lnTo>
                  <a:lnTo>
                    <a:pt x="1010" y="680"/>
                  </a:lnTo>
                  <a:lnTo>
                    <a:pt x="1010" y="678"/>
                  </a:lnTo>
                  <a:lnTo>
                    <a:pt x="1011" y="678"/>
                  </a:lnTo>
                  <a:lnTo>
                    <a:pt x="1011" y="680"/>
                  </a:lnTo>
                  <a:lnTo>
                    <a:pt x="1011" y="678"/>
                  </a:lnTo>
                  <a:lnTo>
                    <a:pt x="1011" y="680"/>
                  </a:lnTo>
                  <a:lnTo>
                    <a:pt x="1013" y="680"/>
                  </a:lnTo>
                  <a:lnTo>
                    <a:pt x="1011" y="678"/>
                  </a:lnTo>
                  <a:lnTo>
                    <a:pt x="1013" y="678"/>
                  </a:lnTo>
                  <a:lnTo>
                    <a:pt x="1013" y="677"/>
                  </a:lnTo>
                  <a:lnTo>
                    <a:pt x="1013" y="675"/>
                  </a:lnTo>
                  <a:lnTo>
                    <a:pt x="1015" y="675"/>
                  </a:lnTo>
                  <a:lnTo>
                    <a:pt x="1015" y="673"/>
                  </a:lnTo>
                  <a:lnTo>
                    <a:pt x="1016" y="672"/>
                  </a:lnTo>
                  <a:lnTo>
                    <a:pt x="1018" y="673"/>
                  </a:lnTo>
                  <a:lnTo>
                    <a:pt x="1016" y="673"/>
                  </a:lnTo>
                  <a:close/>
                  <a:moveTo>
                    <a:pt x="885" y="621"/>
                  </a:moveTo>
                  <a:lnTo>
                    <a:pt x="886" y="621"/>
                  </a:lnTo>
                  <a:lnTo>
                    <a:pt x="886" y="623"/>
                  </a:lnTo>
                  <a:lnTo>
                    <a:pt x="888" y="623"/>
                  </a:lnTo>
                  <a:lnTo>
                    <a:pt x="888" y="621"/>
                  </a:lnTo>
                  <a:lnTo>
                    <a:pt x="889" y="621"/>
                  </a:lnTo>
                  <a:lnTo>
                    <a:pt x="891" y="623"/>
                  </a:lnTo>
                  <a:lnTo>
                    <a:pt x="891" y="621"/>
                  </a:lnTo>
                  <a:lnTo>
                    <a:pt x="891" y="623"/>
                  </a:lnTo>
                  <a:lnTo>
                    <a:pt x="891" y="625"/>
                  </a:lnTo>
                  <a:lnTo>
                    <a:pt x="889" y="625"/>
                  </a:lnTo>
                  <a:lnTo>
                    <a:pt x="889" y="626"/>
                  </a:lnTo>
                  <a:lnTo>
                    <a:pt x="891" y="626"/>
                  </a:lnTo>
                  <a:lnTo>
                    <a:pt x="893" y="626"/>
                  </a:lnTo>
                  <a:lnTo>
                    <a:pt x="893" y="625"/>
                  </a:lnTo>
                  <a:lnTo>
                    <a:pt x="893" y="626"/>
                  </a:lnTo>
                  <a:lnTo>
                    <a:pt x="894" y="626"/>
                  </a:lnTo>
                  <a:lnTo>
                    <a:pt x="893" y="626"/>
                  </a:lnTo>
                  <a:lnTo>
                    <a:pt x="893" y="628"/>
                  </a:lnTo>
                  <a:lnTo>
                    <a:pt x="894" y="628"/>
                  </a:lnTo>
                  <a:lnTo>
                    <a:pt x="894" y="629"/>
                  </a:lnTo>
                  <a:lnTo>
                    <a:pt x="896" y="629"/>
                  </a:lnTo>
                  <a:lnTo>
                    <a:pt x="896" y="631"/>
                  </a:lnTo>
                  <a:lnTo>
                    <a:pt x="898" y="631"/>
                  </a:lnTo>
                  <a:lnTo>
                    <a:pt x="896" y="631"/>
                  </a:lnTo>
                  <a:lnTo>
                    <a:pt x="898" y="631"/>
                  </a:lnTo>
                  <a:lnTo>
                    <a:pt x="898" y="633"/>
                  </a:lnTo>
                  <a:lnTo>
                    <a:pt x="898" y="634"/>
                  </a:lnTo>
                  <a:lnTo>
                    <a:pt x="896" y="633"/>
                  </a:lnTo>
                  <a:lnTo>
                    <a:pt x="894" y="633"/>
                  </a:lnTo>
                  <a:lnTo>
                    <a:pt x="896" y="634"/>
                  </a:lnTo>
                  <a:lnTo>
                    <a:pt x="894" y="634"/>
                  </a:lnTo>
                  <a:lnTo>
                    <a:pt x="893" y="634"/>
                  </a:lnTo>
                  <a:lnTo>
                    <a:pt x="891" y="634"/>
                  </a:lnTo>
                  <a:lnTo>
                    <a:pt x="891" y="633"/>
                  </a:lnTo>
                  <a:lnTo>
                    <a:pt x="893" y="633"/>
                  </a:lnTo>
                  <a:lnTo>
                    <a:pt x="893" y="631"/>
                  </a:lnTo>
                  <a:lnTo>
                    <a:pt x="894" y="631"/>
                  </a:lnTo>
                  <a:lnTo>
                    <a:pt x="893" y="631"/>
                  </a:lnTo>
                  <a:lnTo>
                    <a:pt x="893" y="629"/>
                  </a:lnTo>
                  <a:lnTo>
                    <a:pt x="893" y="631"/>
                  </a:lnTo>
                  <a:lnTo>
                    <a:pt x="891" y="631"/>
                  </a:lnTo>
                  <a:lnTo>
                    <a:pt x="889" y="633"/>
                  </a:lnTo>
                  <a:lnTo>
                    <a:pt x="888" y="633"/>
                  </a:lnTo>
                  <a:lnTo>
                    <a:pt x="888" y="631"/>
                  </a:lnTo>
                  <a:lnTo>
                    <a:pt x="888" y="629"/>
                  </a:lnTo>
                  <a:lnTo>
                    <a:pt x="889" y="628"/>
                  </a:lnTo>
                  <a:lnTo>
                    <a:pt x="888" y="628"/>
                  </a:lnTo>
                  <a:lnTo>
                    <a:pt x="886" y="628"/>
                  </a:lnTo>
                  <a:lnTo>
                    <a:pt x="885" y="628"/>
                  </a:lnTo>
                  <a:lnTo>
                    <a:pt x="885" y="626"/>
                  </a:lnTo>
                  <a:lnTo>
                    <a:pt x="883" y="626"/>
                  </a:lnTo>
                  <a:lnTo>
                    <a:pt x="883" y="628"/>
                  </a:lnTo>
                  <a:lnTo>
                    <a:pt x="881" y="626"/>
                  </a:lnTo>
                  <a:lnTo>
                    <a:pt x="881" y="625"/>
                  </a:lnTo>
                  <a:lnTo>
                    <a:pt x="881" y="623"/>
                  </a:lnTo>
                  <a:lnTo>
                    <a:pt x="883" y="623"/>
                  </a:lnTo>
                  <a:lnTo>
                    <a:pt x="885" y="623"/>
                  </a:lnTo>
                  <a:lnTo>
                    <a:pt x="886" y="623"/>
                  </a:lnTo>
                  <a:lnTo>
                    <a:pt x="885" y="623"/>
                  </a:lnTo>
                  <a:lnTo>
                    <a:pt x="885" y="621"/>
                  </a:lnTo>
                  <a:close/>
                  <a:moveTo>
                    <a:pt x="463" y="415"/>
                  </a:moveTo>
                  <a:lnTo>
                    <a:pt x="465" y="415"/>
                  </a:lnTo>
                  <a:lnTo>
                    <a:pt x="467" y="415"/>
                  </a:lnTo>
                  <a:lnTo>
                    <a:pt x="467" y="416"/>
                  </a:lnTo>
                  <a:lnTo>
                    <a:pt x="468" y="416"/>
                  </a:lnTo>
                  <a:lnTo>
                    <a:pt x="468" y="418"/>
                  </a:lnTo>
                  <a:lnTo>
                    <a:pt x="470" y="418"/>
                  </a:lnTo>
                  <a:lnTo>
                    <a:pt x="470" y="420"/>
                  </a:lnTo>
                  <a:lnTo>
                    <a:pt x="468" y="420"/>
                  </a:lnTo>
                  <a:lnTo>
                    <a:pt x="468" y="421"/>
                  </a:lnTo>
                  <a:lnTo>
                    <a:pt x="468" y="420"/>
                  </a:lnTo>
                  <a:lnTo>
                    <a:pt x="467" y="420"/>
                  </a:lnTo>
                  <a:lnTo>
                    <a:pt x="467" y="421"/>
                  </a:lnTo>
                  <a:lnTo>
                    <a:pt x="465" y="421"/>
                  </a:lnTo>
                  <a:lnTo>
                    <a:pt x="465" y="423"/>
                  </a:lnTo>
                  <a:lnTo>
                    <a:pt x="465" y="425"/>
                  </a:lnTo>
                  <a:lnTo>
                    <a:pt x="463" y="425"/>
                  </a:lnTo>
                  <a:lnTo>
                    <a:pt x="465" y="425"/>
                  </a:lnTo>
                  <a:lnTo>
                    <a:pt x="465" y="426"/>
                  </a:lnTo>
                  <a:lnTo>
                    <a:pt x="463" y="426"/>
                  </a:lnTo>
                  <a:lnTo>
                    <a:pt x="462" y="425"/>
                  </a:lnTo>
                  <a:lnTo>
                    <a:pt x="460" y="426"/>
                  </a:lnTo>
                  <a:lnTo>
                    <a:pt x="460" y="425"/>
                  </a:lnTo>
                  <a:lnTo>
                    <a:pt x="458" y="426"/>
                  </a:lnTo>
                  <a:lnTo>
                    <a:pt x="458" y="425"/>
                  </a:lnTo>
                  <a:lnTo>
                    <a:pt x="457" y="425"/>
                  </a:lnTo>
                  <a:lnTo>
                    <a:pt x="457" y="426"/>
                  </a:lnTo>
                  <a:lnTo>
                    <a:pt x="457" y="425"/>
                  </a:lnTo>
                  <a:lnTo>
                    <a:pt x="455" y="423"/>
                  </a:lnTo>
                  <a:lnTo>
                    <a:pt x="457" y="421"/>
                  </a:lnTo>
                  <a:lnTo>
                    <a:pt x="458" y="421"/>
                  </a:lnTo>
                  <a:lnTo>
                    <a:pt x="458" y="420"/>
                  </a:lnTo>
                  <a:lnTo>
                    <a:pt x="458" y="421"/>
                  </a:lnTo>
                  <a:lnTo>
                    <a:pt x="460" y="420"/>
                  </a:lnTo>
                  <a:lnTo>
                    <a:pt x="462" y="420"/>
                  </a:lnTo>
                  <a:lnTo>
                    <a:pt x="462" y="418"/>
                  </a:lnTo>
                  <a:lnTo>
                    <a:pt x="460" y="418"/>
                  </a:lnTo>
                  <a:lnTo>
                    <a:pt x="460" y="416"/>
                  </a:lnTo>
                  <a:lnTo>
                    <a:pt x="462" y="416"/>
                  </a:lnTo>
                  <a:lnTo>
                    <a:pt x="462" y="415"/>
                  </a:lnTo>
                  <a:lnTo>
                    <a:pt x="463" y="413"/>
                  </a:lnTo>
                  <a:lnTo>
                    <a:pt x="463" y="415"/>
                  </a:lnTo>
                  <a:close/>
                  <a:moveTo>
                    <a:pt x="514" y="672"/>
                  </a:moveTo>
                  <a:lnTo>
                    <a:pt x="515" y="672"/>
                  </a:lnTo>
                  <a:lnTo>
                    <a:pt x="517" y="672"/>
                  </a:lnTo>
                  <a:lnTo>
                    <a:pt x="517" y="673"/>
                  </a:lnTo>
                  <a:lnTo>
                    <a:pt x="515" y="673"/>
                  </a:lnTo>
                  <a:lnTo>
                    <a:pt x="514" y="673"/>
                  </a:lnTo>
                  <a:lnTo>
                    <a:pt x="514" y="675"/>
                  </a:lnTo>
                  <a:lnTo>
                    <a:pt x="512" y="675"/>
                  </a:lnTo>
                  <a:lnTo>
                    <a:pt x="512" y="677"/>
                  </a:lnTo>
                  <a:lnTo>
                    <a:pt x="511" y="677"/>
                  </a:lnTo>
                  <a:lnTo>
                    <a:pt x="511" y="675"/>
                  </a:lnTo>
                  <a:lnTo>
                    <a:pt x="511" y="677"/>
                  </a:lnTo>
                  <a:lnTo>
                    <a:pt x="509" y="677"/>
                  </a:lnTo>
                  <a:lnTo>
                    <a:pt x="511" y="677"/>
                  </a:lnTo>
                  <a:lnTo>
                    <a:pt x="509" y="678"/>
                  </a:lnTo>
                  <a:lnTo>
                    <a:pt x="511" y="678"/>
                  </a:lnTo>
                  <a:lnTo>
                    <a:pt x="509" y="678"/>
                  </a:lnTo>
                  <a:lnTo>
                    <a:pt x="509" y="680"/>
                  </a:lnTo>
                  <a:lnTo>
                    <a:pt x="511" y="680"/>
                  </a:lnTo>
                  <a:lnTo>
                    <a:pt x="509" y="680"/>
                  </a:lnTo>
                  <a:lnTo>
                    <a:pt x="507" y="680"/>
                  </a:lnTo>
                  <a:lnTo>
                    <a:pt x="506" y="680"/>
                  </a:lnTo>
                  <a:lnTo>
                    <a:pt x="506" y="681"/>
                  </a:lnTo>
                  <a:lnTo>
                    <a:pt x="504" y="681"/>
                  </a:lnTo>
                  <a:lnTo>
                    <a:pt x="502" y="681"/>
                  </a:lnTo>
                  <a:lnTo>
                    <a:pt x="502" y="683"/>
                  </a:lnTo>
                  <a:lnTo>
                    <a:pt x="501" y="683"/>
                  </a:lnTo>
                  <a:lnTo>
                    <a:pt x="501" y="685"/>
                  </a:lnTo>
                  <a:lnTo>
                    <a:pt x="499" y="685"/>
                  </a:lnTo>
                  <a:lnTo>
                    <a:pt x="497" y="685"/>
                  </a:lnTo>
                  <a:lnTo>
                    <a:pt x="496" y="685"/>
                  </a:lnTo>
                  <a:lnTo>
                    <a:pt x="494" y="686"/>
                  </a:lnTo>
                  <a:lnTo>
                    <a:pt x="496" y="685"/>
                  </a:lnTo>
                  <a:lnTo>
                    <a:pt x="494" y="685"/>
                  </a:lnTo>
                  <a:lnTo>
                    <a:pt x="496" y="685"/>
                  </a:lnTo>
                  <a:lnTo>
                    <a:pt x="496" y="683"/>
                  </a:lnTo>
                  <a:lnTo>
                    <a:pt x="497" y="681"/>
                  </a:lnTo>
                  <a:lnTo>
                    <a:pt x="499" y="681"/>
                  </a:lnTo>
                  <a:lnTo>
                    <a:pt x="499" y="680"/>
                  </a:lnTo>
                  <a:lnTo>
                    <a:pt x="501" y="680"/>
                  </a:lnTo>
                  <a:lnTo>
                    <a:pt x="501" y="678"/>
                  </a:lnTo>
                  <a:lnTo>
                    <a:pt x="502" y="678"/>
                  </a:lnTo>
                  <a:lnTo>
                    <a:pt x="502" y="677"/>
                  </a:lnTo>
                  <a:lnTo>
                    <a:pt x="504" y="677"/>
                  </a:lnTo>
                  <a:lnTo>
                    <a:pt x="504" y="675"/>
                  </a:lnTo>
                  <a:lnTo>
                    <a:pt x="506" y="677"/>
                  </a:lnTo>
                  <a:lnTo>
                    <a:pt x="506" y="675"/>
                  </a:lnTo>
                  <a:lnTo>
                    <a:pt x="507" y="675"/>
                  </a:lnTo>
                  <a:lnTo>
                    <a:pt x="507" y="673"/>
                  </a:lnTo>
                  <a:lnTo>
                    <a:pt x="509" y="673"/>
                  </a:lnTo>
                  <a:lnTo>
                    <a:pt x="511" y="673"/>
                  </a:lnTo>
                  <a:lnTo>
                    <a:pt x="511" y="672"/>
                  </a:lnTo>
                  <a:lnTo>
                    <a:pt x="512" y="672"/>
                  </a:lnTo>
                  <a:lnTo>
                    <a:pt x="512" y="673"/>
                  </a:lnTo>
                  <a:lnTo>
                    <a:pt x="512" y="672"/>
                  </a:lnTo>
                  <a:lnTo>
                    <a:pt x="512" y="673"/>
                  </a:lnTo>
                  <a:lnTo>
                    <a:pt x="514" y="672"/>
                  </a:lnTo>
                  <a:close/>
                  <a:moveTo>
                    <a:pt x="623" y="333"/>
                  </a:moveTo>
                  <a:lnTo>
                    <a:pt x="624" y="333"/>
                  </a:lnTo>
                  <a:lnTo>
                    <a:pt x="626" y="333"/>
                  </a:lnTo>
                  <a:lnTo>
                    <a:pt x="626" y="335"/>
                  </a:lnTo>
                  <a:lnTo>
                    <a:pt x="628" y="335"/>
                  </a:lnTo>
                  <a:lnTo>
                    <a:pt x="629" y="337"/>
                  </a:lnTo>
                  <a:lnTo>
                    <a:pt x="629" y="338"/>
                  </a:lnTo>
                  <a:lnTo>
                    <a:pt x="628" y="338"/>
                  </a:lnTo>
                  <a:lnTo>
                    <a:pt x="628" y="340"/>
                  </a:lnTo>
                  <a:lnTo>
                    <a:pt x="628" y="342"/>
                  </a:lnTo>
                  <a:lnTo>
                    <a:pt x="626" y="343"/>
                  </a:lnTo>
                  <a:lnTo>
                    <a:pt x="624" y="345"/>
                  </a:lnTo>
                  <a:lnTo>
                    <a:pt x="624" y="346"/>
                  </a:lnTo>
                  <a:lnTo>
                    <a:pt x="624" y="348"/>
                  </a:lnTo>
                  <a:lnTo>
                    <a:pt x="623" y="348"/>
                  </a:lnTo>
                  <a:lnTo>
                    <a:pt x="623" y="346"/>
                  </a:lnTo>
                  <a:lnTo>
                    <a:pt x="623" y="345"/>
                  </a:lnTo>
                  <a:lnTo>
                    <a:pt x="621" y="345"/>
                  </a:lnTo>
                  <a:lnTo>
                    <a:pt x="621" y="343"/>
                  </a:lnTo>
                  <a:lnTo>
                    <a:pt x="621" y="342"/>
                  </a:lnTo>
                  <a:lnTo>
                    <a:pt x="621" y="340"/>
                  </a:lnTo>
                  <a:lnTo>
                    <a:pt x="621" y="338"/>
                  </a:lnTo>
                  <a:lnTo>
                    <a:pt x="621" y="337"/>
                  </a:lnTo>
                  <a:lnTo>
                    <a:pt x="623" y="335"/>
                  </a:lnTo>
                  <a:lnTo>
                    <a:pt x="623" y="333"/>
                  </a:lnTo>
                  <a:close/>
                  <a:moveTo>
                    <a:pt x="709" y="729"/>
                  </a:moveTo>
                  <a:lnTo>
                    <a:pt x="711" y="729"/>
                  </a:lnTo>
                  <a:lnTo>
                    <a:pt x="712" y="729"/>
                  </a:lnTo>
                  <a:lnTo>
                    <a:pt x="714" y="729"/>
                  </a:lnTo>
                  <a:lnTo>
                    <a:pt x="715" y="729"/>
                  </a:lnTo>
                  <a:lnTo>
                    <a:pt x="714" y="729"/>
                  </a:lnTo>
                  <a:lnTo>
                    <a:pt x="714" y="730"/>
                  </a:lnTo>
                  <a:lnTo>
                    <a:pt x="714" y="732"/>
                  </a:lnTo>
                  <a:lnTo>
                    <a:pt x="712" y="732"/>
                  </a:lnTo>
                  <a:lnTo>
                    <a:pt x="712" y="734"/>
                  </a:lnTo>
                  <a:lnTo>
                    <a:pt x="712" y="735"/>
                  </a:lnTo>
                  <a:lnTo>
                    <a:pt x="711" y="735"/>
                  </a:lnTo>
                  <a:lnTo>
                    <a:pt x="711" y="737"/>
                  </a:lnTo>
                  <a:lnTo>
                    <a:pt x="709" y="737"/>
                  </a:lnTo>
                  <a:lnTo>
                    <a:pt x="709" y="738"/>
                  </a:lnTo>
                  <a:lnTo>
                    <a:pt x="707" y="738"/>
                  </a:lnTo>
                  <a:lnTo>
                    <a:pt x="707" y="740"/>
                  </a:lnTo>
                  <a:lnTo>
                    <a:pt x="706" y="740"/>
                  </a:lnTo>
                  <a:lnTo>
                    <a:pt x="706" y="742"/>
                  </a:lnTo>
                  <a:lnTo>
                    <a:pt x="704" y="742"/>
                  </a:lnTo>
                  <a:lnTo>
                    <a:pt x="702" y="742"/>
                  </a:lnTo>
                  <a:lnTo>
                    <a:pt x="702" y="740"/>
                  </a:lnTo>
                  <a:lnTo>
                    <a:pt x="702" y="738"/>
                  </a:lnTo>
                  <a:lnTo>
                    <a:pt x="704" y="738"/>
                  </a:lnTo>
                  <a:lnTo>
                    <a:pt x="704" y="737"/>
                  </a:lnTo>
                  <a:lnTo>
                    <a:pt x="704" y="735"/>
                  </a:lnTo>
                  <a:lnTo>
                    <a:pt x="706" y="734"/>
                  </a:lnTo>
                  <a:lnTo>
                    <a:pt x="706" y="732"/>
                  </a:lnTo>
                  <a:lnTo>
                    <a:pt x="707" y="732"/>
                  </a:lnTo>
                  <a:lnTo>
                    <a:pt x="709" y="730"/>
                  </a:lnTo>
                  <a:lnTo>
                    <a:pt x="709" y="729"/>
                  </a:lnTo>
                  <a:close/>
                  <a:moveTo>
                    <a:pt x="941" y="695"/>
                  </a:moveTo>
                  <a:lnTo>
                    <a:pt x="941" y="693"/>
                  </a:lnTo>
                  <a:lnTo>
                    <a:pt x="943" y="693"/>
                  </a:lnTo>
                  <a:lnTo>
                    <a:pt x="945" y="693"/>
                  </a:lnTo>
                  <a:lnTo>
                    <a:pt x="946" y="695"/>
                  </a:lnTo>
                  <a:lnTo>
                    <a:pt x="948" y="696"/>
                  </a:lnTo>
                  <a:lnTo>
                    <a:pt x="948" y="698"/>
                  </a:lnTo>
                  <a:lnTo>
                    <a:pt x="948" y="699"/>
                  </a:lnTo>
                  <a:lnTo>
                    <a:pt x="946" y="699"/>
                  </a:lnTo>
                  <a:lnTo>
                    <a:pt x="946" y="701"/>
                  </a:lnTo>
                  <a:lnTo>
                    <a:pt x="945" y="701"/>
                  </a:lnTo>
                  <a:lnTo>
                    <a:pt x="943" y="701"/>
                  </a:lnTo>
                  <a:lnTo>
                    <a:pt x="943" y="703"/>
                  </a:lnTo>
                  <a:lnTo>
                    <a:pt x="943" y="701"/>
                  </a:lnTo>
                  <a:lnTo>
                    <a:pt x="941" y="701"/>
                  </a:lnTo>
                  <a:lnTo>
                    <a:pt x="940" y="701"/>
                  </a:lnTo>
                  <a:lnTo>
                    <a:pt x="940" y="703"/>
                  </a:lnTo>
                  <a:lnTo>
                    <a:pt x="940" y="701"/>
                  </a:lnTo>
                  <a:lnTo>
                    <a:pt x="938" y="701"/>
                  </a:lnTo>
                  <a:lnTo>
                    <a:pt x="938" y="699"/>
                  </a:lnTo>
                  <a:lnTo>
                    <a:pt x="938" y="698"/>
                  </a:lnTo>
                  <a:lnTo>
                    <a:pt x="938" y="696"/>
                  </a:lnTo>
                  <a:lnTo>
                    <a:pt x="938" y="695"/>
                  </a:lnTo>
                  <a:lnTo>
                    <a:pt x="940" y="695"/>
                  </a:lnTo>
                  <a:lnTo>
                    <a:pt x="941" y="695"/>
                  </a:lnTo>
                  <a:close/>
                  <a:moveTo>
                    <a:pt x="709" y="455"/>
                  </a:moveTo>
                  <a:lnTo>
                    <a:pt x="709" y="454"/>
                  </a:lnTo>
                  <a:lnTo>
                    <a:pt x="711" y="454"/>
                  </a:lnTo>
                  <a:lnTo>
                    <a:pt x="712" y="454"/>
                  </a:lnTo>
                  <a:lnTo>
                    <a:pt x="714" y="455"/>
                  </a:lnTo>
                  <a:lnTo>
                    <a:pt x="714" y="454"/>
                  </a:lnTo>
                  <a:lnTo>
                    <a:pt x="714" y="455"/>
                  </a:lnTo>
                  <a:lnTo>
                    <a:pt x="715" y="455"/>
                  </a:lnTo>
                  <a:lnTo>
                    <a:pt x="715" y="457"/>
                  </a:lnTo>
                  <a:lnTo>
                    <a:pt x="717" y="457"/>
                  </a:lnTo>
                  <a:lnTo>
                    <a:pt x="715" y="459"/>
                  </a:lnTo>
                  <a:lnTo>
                    <a:pt x="715" y="460"/>
                  </a:lnTo>
                  <a:lnTo>
                    <a:pt x="715" y="462"/>
                  </a:lnTo>
                  <a:lnTo>
                    <a:pt x="715" y="464"/>
                  </a:lnTo>
                  <a:lnTo>
                    <a:pt x="714" y="464"/>
                  </a:lnTo>
                  <a:lnTo>
                    <a:pt x="712" y="464"/>
                  </a:lnTo>
                  <a:lnTo>
                    <a:pt x="711" y="464"/>
                  </a:lnTo>
                  <a:lnTo>
                    <a:pt x="711" y="465"/>
                  </a:lnTo>
                  <a:lnTo>
                    <a:pt x="711" y="464"/>
                  </a:lnTo>
                  <a:lnTo>
                    <a:pt x="709" y="464"/>
                  </a:lnTo>
                  <a:lnTo>
                    <a:pt x="711" y="462"/>
                  </a:lnTo>
                  <a:lnTo>
                    <a:pt x="711" y="460"/>
                  </a:lnTo>
                  <a:lnTo>
                    <a:pt x="709" y="460"/>
                  </a:lnTo>
                  <a:lnTo>
                    <a:pt x="709" y="459"/>
                  </a:lnTo>
                  <a:lnTo>
                    <a:pt x="707" y="459"/>
                  </a:lnTo>
                  <a:lnTo>
                    <a:pt x="707" y="457"/>
                  </a:lnTo>
                  <a:lnTo>
                    <a:pt x="706" y="457"/>
                  </a:lnTo>
                  <a:lnTo>
                    <a:pt x="706" y="455"/>
                  </a:lnTo>
                  <a:lnTo>
                    <a:pt x="707" y="455"/>
                  </a:lnTo>
                  <a:lnTo>
                    <a:pt x="709" y="455"/>
                  </a:lnTo>
                  <a:close/>
                  <a:moveTo>
                    <a:pt x="797" y="763"/>
                  </a:moveTo>
                  <a:lnTo>
                    <a:pt x="798" y="763"/>
                  </a:lnTo>
                  <a:lnTo>
                    <a:pt x="800" y="763"/>
                  </a:lnTo>
                  <a:lnTo>
                    <a:pt x="800" y="764"/>
                  </a:lnTo>
                  <a:lnTo>
                    <a:pt x="798" y="764"/>
                  </a:lnTo>
                  <a:lnTo>
                    <a:pt x="797" y="764"/>
                  </a:lnTo>
                  <a:lnTo>
                    <a:pt x="793" y="764"/>
                  </a:lnTo>
                  <a:lnTo>
                    <a:pt x="793" y="766"/>
                  </a:lnTo>
                  <a:lnTo>
                    <a:pt x="792" y="766"/>
                  </a:lnTo>
                  <a:lnTo>
                    <a:pt x="790" y="766"/>
                  </a:lnTo>
                  <a:lnTo>
                    <a:pt x="789" y="766"/>
                  </a:lnTo>
                  <a:lnTo>
                    <a:pt x="787" y="766"/>
                  </a:lnTo>
                  <a:lnTo>
                    <a:pt x="785" y="766"/>
                  </a:lnTo>
                  <a:lnTo>
                    <a:pt x="785" y="764"/>
                  </a:lnTo>
                  <a:lnTo>
                    <a:pt x="785" y="763"/>
                  </a:lnTo>
                  <a:lnTo>
                    <a:pt x="787" y="761"/>
                  </a:lnTo>
                  <a:lnTo>
                    <a:pt x="787" y="760"/>
                  </a:lnTo>
                  <a:lnTo>
                    <a:pt x="789" y="760"/>
                  </a:lnTo>
                  <a:lnTo>
                    <a:pt x="789" y="758"/>
                  </a:lnTo>
                  <a:lnTo>
                    <a:pt x="790" y="758"/>
                  </a:lnTo>
                  <a:lnTo>
                    <a:pt x="790" y="760"/>
                  </a:lnTo>
                  <a:lnTo>
                    <a:pt x="792" y="760"/>
                  </a:lnTo>
                  <a:lnTo>
                    <a:pt x="793" y="760"/>
                  </a:lnTo>
                  <a:lnTo>
                    <a:pt x="793" y="761"/>
                  </a:lnTo>
                  <a:lnTo>
                    <a:pt x="795" y="761"/>
                  </a:lnTo>
                  <a:lnTo>
                    <a:pt x="797" y="761"/>
                  </a:lnTo>
                  <a:lnTo>
                    <a:pt x="797" y="763"/>
                  </a:lnTo>
                  <a:close/>
                  <a:moveTo>
                    <a:pt x="639" y="724"/>
                  </a:moveTo>
                  <a:lnTo>
                    <a:pt x="641" y="724"/>
                  </a:lnTo>
                  <a:lnTo>
                    <a:pt x="642" y="724"/>
                  </a:lnTo>
                  <a:lnTo>
                    <a:pt x="642" y="725"/>
                  </a:lnTo>
                  <a:lnTo>
                    <a:pt x="644" y="725"/>
                  </a:lnTo>
                  <a:lnTo>
                    <a:pt x="644" y="724"/>
                  </a:lnTo>
                  <a:lnTo>
                    <a:pt x="645" y="724"/>
                  </a:lnTo>
                  <a:lnTo>
                    <a:pt x="645" y="725"/>
                  </a:lnTo>
                  <a:lnTo>
                    <a:pt x="647" y="725"/>
                  </a:lnTo>
                  <a:lnTo>
                    <a:pt x="645" y="725"/>
                  </a:lnTo>
                  <a:lnTo>
                    <a:pt x="645" y="727"/>
                  </a:lnTo>
                  <a:lnTo>
                    <a:pt x="645" y="729"/>
                  </a:lnTo>
                  <a:lnTo>
                    <a:pt x="645" y="730"/>
                  </a:lnTo>
                  <a:lnTo>
                    <a:pt x="644" y="732"/>
                  </a:lnTo>
                  <a:lnTo>
                    <a:pt x="644" y="734"/>
                  </a:lnTo>
                  <a:lnTo>
                    <a:pt x="642" y="734"/>
                  </a:lnTo>
                  <a:lnTo>
                    <a:pt x="641" y="734"/>
                  </a:lnTo>
                  <a:lnTo>
                    <a:pt x="641" y="735"/>
                  </a:lnTo>
                  <a:lnTo>
                    <a:pt x="639" y="734"/>
                  </a:lnTo>
                  <a:lnTo>
                    <a:pt x="639" y="732"/>
                  </a:lnTo>
                  <a:lnTo>
                    <a:pt x="637" y="732"/>
                  </a:lnTo>
                  <a:lnTo>
                    <a:pt x="637" y="730"/>
                  </a:lnTo>
                  <a:lnTo>
                    <a:pt x="637" y="729"/>
                  </a:lnTo>
                  <a:lnTo>
                    <a:pt x="637" y="727"/>
                  </a:lnTo>
                  <a:lnTo>
                    <a:pt x="639" y="725"/>
                  </a:lnTo>
                  <a:lnTo>
                    <a:pt x="641" y="725"/>
                  </a:lnTo>
                  <a:lnTo>
                    <a:pt x="639" y="724"/>
                  </a:lnTo>
                  <a:close/>
                  <a:moveTo>
                    <a:pt x="694" y="685"/>
                  </a:moveTo>
                  <a:lnTo>
                    <a:pt x="694" y="683"/>
                  </a:lnTo>
                  <a:lnTo>
                    <a:pt x="696" y="683"/>
                  </a:lnTo>
                  <a:lnTo>
                    <a:pt x="696" y="685"/>
                  </a:lnTo>
                  <a:lnTo>
                    <a:pt x="694" y="686"/>
                  </a:lnTo>
                  <a:lnTo>
                    <a:pt x="696" y="686"/>
                  </a:lnTo>
                  <a:lnTo>
                    <a:pt x="694" y="688"/>
                  </a:lnTo>
                  <a:lnTo>
                    <a:pt x="696" y="688"/>
                  </a:lnTo>
                  <a:lnTo>
                    <a:pt x="694" y="688"/>
                  </a:lnTo>
                  <a:lnTo>
                    <a:pt x="696" y="690"/>
                  </a:lnTo>
                  <a:lnTo>
                    <a:pt x="694" y="690"/>
                  </a:lnTo>
                  <a:lnTo>
                    <a:pt x="696" y="690"/>
                  </a:lnTo>
                  <a:lnTo>
                    <a:pt x="694" y="690"/>
                  </a:lnTo>
                  <a:lnTo>
                    <a:pt x="696" y="690"/>
                  </a:lnTo>
                  <a:lnTo>
                    <a:pt x="696" y="691"/>
                  </a:lnTo>
                  <a:lnTo>
                    <a:pt x="696" y="693"/>
                  </a:lnTo>
                  <a:lnTo>
                    <a:pt x="696" y="695"/>
                  </a:lnTo>
                  <a:lnTo>
                    <a:pt x="694" y="695"/>
                  </a:lnTo>
                  <a:lnTo>
                    <a:pt x="694" y="696"/>
                  </a:lnTo>
                  <a:lnTo>
                    <a:pt x="696" y="696"/>
                  </a:lnTo>
                  <a:lnTo>
                    <a:pt x="694" y="696"/>
                  </a:lnTo>
                  <a:lnTo>
                    <a:pt x="696" y="696"/>
                  </a:lnTo>
                  <a:lnTo>
                    <a:pt x="696" y="698"/>
                  </a:lnTo>
                  <a:lnTo>
                    <a:pt x="696" y="696"/>
                  </a:lnTo>
                  <a:lnTo>
                    <a:pt x="696" y="698"/>
                  </a:lnTo>
                  <a:lnTo>
                    <a:pt x="698" y="699"/>
                  </a:lnTo>
                  <a:lnTo>
                    <a:pt x="696" y="698"/>
                  </a:lnTo>
                  <a:lnTo>
                    <a:pt x="696" y="699"/>
                  </a:lnTo>
                  <a:lnTo>
                    <a:pt x="694" y="698"/>
                  </a:lnTo>
                  <a:lnTo>
                    <a:pt x="693" y="698"/>
                  </a:lnTo>
                  <a:lnTo>
                    <a:pt x="693" y="696"/>
                  </a:lnTo>
                  <a:lnTo>
                    <a:pt x="689" y="696"/>
                  </a:lnTo>
                  <a:lnTo>
                    <a:pt x="689" y="695"/>
                  </a:lnTo>
                  <a:lnTo>
                    <a:pt x="689" y="693"/>
                  </a:lnTo>
                  <a:lnTo>
                    <a:pt x="689" y="695"/>
                  </a:lnTo>
                  <a:lnTo>
                    <a:pt x="689" y="693"/>
                  </a:lnTo>
                  <a:lnTo>
                    <a:pt x="689" y="691"/>
                  </a:lnTo>
                  <a:lnTo>
                    <a:pt x="689" y="690"/>
                  </a:lnTo>
                  <a:lnTo>
                    <a:pt x="691" y="690"/>
                  </a:lnTo>
                  <a:lnTo>
                    <a:pt x="691" y="688"/>
                  </a:lnTo>
                  <a:lnTo>
                    <a:pt x="693" y="686"/>
                  </a:lnTo>
                  <a:lnTo>
                    <a:pt x="693" y="685"/>
                  </a:lnTo>
                  <a:lnTo>
                    <a:pt x="694" y="685"/>
                  </a:lnTo>
                  <a:close/>
                  <a:moveTo>
                    <a:pt x="855" y="603"/>
                  </a:moveTo>
                  <a:lnTo>
                    <a:pt x="857" y="603"/>
                  </a:lnTo>
                  <a:lnTo>
                    <a:pt x="857" y="605"/>
                  </a:lnTo>
                  <a:lnTo>
                    <a:pt x="859" y="607"/>
                  </a:lnTo>
                  <a:lnTo>
                    <a:pt x="859" y="605"/>
                  </a:lnTo>
                  <a:lnTo>
                    <a:pt x="859" y="607"/>
                  </a:lnTo>
                  <a:lnTo>
                    <a:pt x="860" y="607"/>
                  </a:lnTo>
                  <a:lnTo>
                    <a:pt x="859" y="607"/>
                  </a:lnTo>
                  <a:lnTo>
                    <a:pt x="859" y="608"/>
                  </a:lnTo>
                  <a:lnTo>
                    <a:pt x="859" y="607"/>
                  </a:lnTo>
                  <a:lnTo>
                    <a:pt x="857" y="607"/>
                  </a:lnTo>
                  <a:lnTo>
                    <a:pt x="855" y="607"/>
                  </a:lnTo>
                  <a:lnTo>
                    <a:pt x="854" y="607"/>
                  </a:lnTo>
                  <a:lnTo>
                    <a:pt x="855" y="607"/>
                  </a:lnTo>
                  <a:lnTo>
                    <a:pt x="854" y="608"/>
                  </a:lnTo>
                  <a:lnTo>
                    <a:pt x="854" y="610"/>
                  </a:lnTo>
                  <a:lnTo>
                    <a:pt x="852" y="610"/>
                  </a:lnTo>
                  <a:lnTo>
                    <a:pt x="854" y="612"/>
                  </a:lnTo>
                  <a:lnTo>
                    <a:pt x="855" y="612"/>
                  </a:lnTo>
                  <a:lnTo>
                    <a:pt x="857" y="613"/>
                  </a:lnTo>
                  <a:lnTo>
                    <a:pt x="855" y="613"/>
                  </a:lnTo>
                  <a:lnTo>
                    <a:pt x="855" y="615"/>
                  </a:lnTo>
                  <a:lnTo>
                    <a:pt x="857" y="615"/>
                  </a:lnTo>
                  <a:lnTo>
                    <a:pt x="857" y="616"/>
                  </a:lnTo>
                  <a:lnTo>
                    <a:pt x="857" y="618"/>
                  </a:lnTo>
                  <a:lnTo>
                    <a:pt x="855" y="618"/>
                  </a:lnTo>
                  <a:lnTo>
                    <a:pt x="854" y="618"/>
                  </a:lnTo>
                  <a:lnTo>
                    <a:pt x="854" y="616"/>
                  </a:lnTo>
                  <a:lnTo>
                    <a:pt x="855" y="615"/>
                  </a:lnTo>
                  <a:lnTo>
                    <a:pt x="854" y="615"/>
                  </a:lnTo>
                  <a:lnTo>
                    <a:pt x="852" y="615"/>
                  </a:lnTo>
                  <a:lnTo>
                    <a:pt x="852" y="616"/>
                  </a:lnTo>
                  <a:lnTo>
                    <a:pt x="850" y="615"/>
                  </a:lnTo>
                  <a:lnTo>
                    <a:pt x="852" y="615"/>
                  </a:lnTo>
                  <a:lnTo>
                    <a:pt x="852" y="613"/>
                  </a:lnTo>
                  <a:lnTo>
                    <a:pt x="850" y="612"/>
                  </a:lnTo>
                  <a:lnTo>
                    <a:pt x="852" y="612"/>
                  </a:lnTo>
                  <a:lnTo>
                    <a:pt x="850" y="612"/>
                  </a:lnTo>
                  <a:lnTo>
                    <a:pt x="852" y="612"/>
                  </a:lnTo>
                  <a:lnTo>
                    <a:pt x="850" y="610"/>
                  </a:lnTo>
                  <a:lnTo>
                    <a:pt x="852" y="610"/>
                  </a:lnTo>
                  <a:lnTo>
                    <a:pt x="852" y="608"/>
                  </a:lnTo>
                  <a:lnTo>
                    <a:pt x="850" y="608"/>
                  </a:lnTo>
                  <a:lnTo>
                    <a:pt x="850" y="607"/>
                  </a:lnTo>
                  <a:lnTo>
                    <a:pt x="850" y="605"/>
                  </a:lnTo>
                  <a:lnTo>
                    <a:pt x="850" y="603"/>
                  </a:lnTo>
                  <a:lnTo>
                    <a:pt x="852" y="603"/>
                  </a:lnTo>
                  <a:lnTo>
                    <a:pt x="850" y="605"/>
                  </a:lnTo>
                  <a:lnTo>
                    <a:pt x="852" y="605"/>
                  </a:lnTo>
                  <a:lnTo>
                    <a:pt x="852" y="603"/>
                  </a:lnTo>
                  <a:lnTo>
                    <a:pt x="854" y="603"/>
                  </a:lnTo>
                  <a:lnTo>
                    <a:pt x="852" y="603"/>
                  </a:lnTo>
                  <a:lnTo>
                    <a:pt x="854" y="603"/>
                  </a:lnTo>
                  <a:lnTo>
                    <a:pt x="854" y="602"/>
                  </a:lnTo>
                  <a:lnTo>
                    <a:pt x="855" y="602"/>
                  </a:lnTo>
                  <a:lnTo>
                    <a:pt x="855" y="603"/>
                  </a:lnTo>
                  <a:close/>
                  <a:moveTo>
                    <a:pt x="676" y="743"/>
                  </a:moveTo>
                  <a:lnTo>
                    <a:pt x="678" y="743"/>
                  </a:lnTo>
                  <a:lnTo>
                    <a:pt x="678" y="742"/>
                  </a:lnTo>
                  <a:lnTo>
                    <a:pt x="680" y="742"/>
                  </a:lnTo>
                  <a:lnTo>
                    <a:pt x="681" y="743"/>
                  </a:lnTo>
                  <a:lnTo>
                    <a:pt x="683" y="743"/>
                  </a:lnTo>
                  <a:lnTo>
                    <a:pt x="685" y="745"/>
                  </a:lnTo>
                  <a:lnTo>
                    <a:pt x="685" y="747"/>
                  </a:lnTo>
                  <a:lnTo>
                    <a:pt x="686" y="745"/>
                  </a:lnTo>
                  <a:lnTo>
                    <a:pt x="686" y="747"/>
                  </a:lnTo>
                  <a:lnTo>
                    <a:pt x="688" y="745"/>
                  </a:lnTo>
                  <a:lnTo>
                    <a:pt x="688" y="747"/>
                  </a:lnTo>
                  <a:lnTo>
                    <a:pt x="689" y="747"/>
                  </a:lnTo>
                  <a:lnTo>
                    <a:pt x="691" y="747"/>
                  </a:lnTo>
                  <a:lnTo>
                    <a:pt x="691" y="748"/>
                  </a:lnTo>
                  <a:lnTo>
                    <a:pt x="693" y="748"/>
                  </a:lnTo>
                  <a:lnTo>
                    <a:pt x="691" y="748"/>
                  </a:lnTo>
                  <a:lnTo>
                    <a:pt x="693" y="750"/>
                  </a:lnTo>
                  <a:lnTo>
                    <a:pt x="691" y="750"/>
                  </a:lnTo>
                  <a:lnTo>
                    <a:pt x="689" y="751"/>
                  </a:lnTo>
                  <a:lnTo>
                    <a:pt x="689" y="750"/>
                  </a:lnTo>
                  <a:lnTo>
                    <a:pt x="688" y="751"/>
                  </a:lnTo>
                  <a:lnTo>
                    <a:pt x="686" y="750"/>
                  </a:lnTo>
                  <a:lnTo>
                    <a:pt x="685" y="750"/>
                  </a:lnTo>
                  <a:lnTo>
                    <a:pt x="685" y="748"/>
                  </a:lnTo>
                  <a:lnTo>
                    <a:pt x="685" y="747"/>
                  </a:lnTo>
                  <a:lnTo>
                    <a:pt x="683" y="747"/>
                  </a:lnTo>
                  <a:lnTo>
                    <a:pt x="681" y="747"/>
                  </a:lnTo>
                  <a:lnTo>
                    <a:pt x="680" y="747"/>
                  </a:lnTo>
                  <a:lnTo>
                    <a:pt x="678" y="747"/>
                  </a:lnTo>
                  <a:lnTo>
                    <a:pt x="678" y="745"/>
                  </a:lnTo>
                  <a:lnTo>
                    <a:pt x="676" y="743"/>
                  </a:lnTo>
                  <a:close/>
                  <a:moveTo>
                    <a:pt x="839" y="566"/>
                  </a:moveTo>
                  <a:lnTo>
                    <a:pt x="839" y="564"/>
                  </a:lnTo>
                  <a:lnTo>
                    <a:pt x="841" y="564"/>
                  </a:lnTo>
                  <a:lnTo>
                    <a:pt x="841" y="566"/>
                  </a:lnTo>
                  <a:lnTo>
                    <a:pt x="841" y="564"/>
                  </a:lnTo>
                  <a:lnTo>
                    <a:pt x="841" y="566"/>
                  </a:lnTo>
                  <a:lnTo>
                    <a:pt x="842" y="566"/>
                  </a:lnTo>
                  <a:lnTo>
                    <a:pt x="842" y="568"/>
                  </a:lnTo>
                  <a:lnTo>
                    <a:pt x="842" y="569"/>
                  </a:lnTo>
                  <a:lnTo>
                    <a:pt x="844" y="569"/>
                  </a:lnTo>
                  <a:lnTo>
                    <a:pt x="844" y="571"/>
                  </a:lnTo>
                  <a:lnTo>
                    <a:pt x="844" y="573"/>
                  </a:lnTo>
                  <a:lnTo>
                    <a:pt x="842" y="574"/>
                  </a:lnTo>
                  <a:lnTo>
                    <a:pt x="842" y="576"/>
                  </a:lnTo>
                  <a:lnTo>
                    <a:pt x="841" y="574"/>
                  </a:lnTo>
                  <a:lnTo>
                    <a:pt x="841" y="576"/>
                  </a:lnTo>
                  <a:lnTo>
                    <a:pt x="841" y="577"/>
                  </a:lnTo>
                  <a:lnTo>
                    <a:pt x="841" y="579"/>
                  </a:lnTo>
                  <a:lnTo>
                    <a:pt x="842" y="579"/>
                  </a:lnTo>
                  <a:lnTo>
                    <a:pt x="842" y="581"/>
                  </a:lnTo>
                  <a:lnTo>
                    <a:pt x="844" y="582"/>
                  </a:lnTo>
                  <a:lnTo>
                    <a:pt x="842" y="584"/>
                  </a:lnTo>
                  <a:lnTo>
                    <a:pt x="842" y="582"/>
                  </a:lnTo>
                  <a:lnTo>
                    <a:pt x="842" y="584"/>
                  </a:lnTo>
                  <a:lnTo>
                    <a:pt x="842" y="582"/>
                  </a:lnTo>
                  <a:lnTo>
                    <a:pt x="841" y="582"/>
                  </a:lnTo>
                  <a:lnTo>
                    <a:pt x="841" y="581"/>
                  </a:lnTo>
                  <a:lnTo>
                    <a:pt x="839" y="581"/>
                  </a:lnTo>
                  <a:lnTo>
                    <a:pt x="841" y="581"/>
                  </a:lnTo>
                  <a:lnTo>
                    <a:pt x="839" y="581"/>
                  </a:lnTo>
                  <a:lnTo>
                    <a:pt x="839" y="579"/>
                  </a:lnTo>
                  <a:lnTo>
                    <a:pt x="839" y="581"/>
                  </a:lnTo>
                  <a:lnTo>
                    <a:pt x="839" y="579"/>
                  </a:lnTo>
                  <a:lnTo>
                    <a:pt x="837" y="579"/>
                  </a:lnTo>
                  <a:lnTo>
                    <a:pt x="839" y="577"/>
                  </a:lnTo>
                  <a:lnTo>
                    <a:pt x="837" y="577"/>
                  </a:lnTo>
                  <a:lnTo>
                    <a:pt x="837" y="579"/>
                  </a:lnTo>
                  <a:lnTo>
                    <a:pt x="837" y="577"/>
                  </a:lnTo>
                  <a:lnTo>
                    <a:pt x="836" y="577"/>
                  </a:lnTo>
                  <a:lnTo>
                    <a:pt x="836" y="576"/>
                  </a:lnTo>
                  <a:lnTo>
                    <a:pt x="836" y="577"/>
                  </a:lnTo>
                  <a:lnTo>
                    <a:pt x="837" y="577"/>
                  </a:lnTo>
                  <a:lnTo>
                    <a:pt x="837" y="576"/>
                  </a:lnTo>
                  <a:lnTo>
                    <a:pt x="837" y="574"/>
                  </a:lnTo>
                  <a:lnTo>
                    <a:pt x="837" y="573"/>
                  </a:lnTo>
                  <a:lnTo>
                    <a:pt x="839" y="574"/>
                  </a:lnTo>
                  <a:lnTo>
                    <a:pt x="839" y="576"/>
                  </a:lnTo>
                  <a:lnTo>
                    <a:pt x="841" y="576"/>
                  </a:lnTo>
                  <a:lnTo>
                    <a:pt x="841" y="574"/>
                  </a:lnTo>
                  <a:lnTo>
                    <a:pt x="842" y="574"/>
                  </a:lnTo>
                  <a:lnTo>
                    <a:pt x="842" y="573"/>
                  </a:lnTo>
                  <a:lnTo>
                    <a:pt x="841" y="573"/>
                  </a:lnTo>
                  <a:lnTo>
                    <a:pt x="841" y="571"/>
                  </a:lnTo>
                  <a:lnTo>
                    <a:pt x="841" y="569"/>
                  </a:lnTo>
                  <a:lnTo>
                    <a:pt x="839" y="569"/>
                  </a:lnTo>
                  <a:lnTo>
                    <a:pt x="839" y="568"/>
                  </a:lnTo>
                  <a:lnTo>
                    <a:pt x="839" y="566"/>
                  </a:lnTo>
                  <a:close/>
                  <a:moveTo>
                    <a:pt x="629" y="1012"/>
                  </a:moveTo>
                  <a:lnTo>
                    <a:pt x="631" y="1012"/>
                  </a:lnTo>
                  <a:lnTo>
                    <a:pt x="632" y="1012"/>
                  </a:lnTo>
                  <a:lnTo>
                    <a:pt x="634" y="1010"/>
                  </a:lnTo>
                  <a:lnTo>
                    <a:pt x="634" y="1012"/>
                  </a:lnTo>
                  <a:lnTo>
                    <a:pt x="636" y="1012"/>
                  </a:lnTo>
                  <a:lnTo>
                    <a:pt x="637" y="1012"/>
                  </a:lnTo>
                  <a:lnTo>
                    <a:pt x="636" y="1013"/>
                  </a:lnTo>
                  <a:lnTo>
                    <a:pt x="636" y="1015"/>
                  </a:lnTo>
                  <a:lnTo>
                    <a:pt x="636" y="1017"/>
                  </a:lnTo>
                  <a:lnTo>
                    <a:pt x="637" y="1017"/>
                  </a:lnTo>
                  <a:lnTo>
                    <a:pt x="637" y="1018"/>
                  </a:lnTo>
                  <a:lnTo>
                    <a:pt x="639" y="1018"/>
                  </a:lnTo>
                  <a:lnTo>
                    <a:pt x="639" y="1020"/>
                  </a:lnTo>
                  <a:lnTo>
                    <a:pt x="637" y="1020"/>
                  </a:lnTo>
                  <a:lnTo>
                    <a:pt x="636" y="1020"/>
                  </a:lnTo>
                  <a:lnTo>
                    <a:pt x="634" y="1018"/>
                  </a:lnTo>
                  <a:lnTo>
                    <a:pt x="632" y="1018"/>
                  </a:lnTo>
                  <a:lnTo>
                    <a:pt x="631" y="1018"/>
                  </a:lnTo>
                  <a:lnTo>
                    <a:pt x="629" y="1017"/>
                  </a:lnTo>
                  <a:lnTo>
                    <a:pt x="628" y="1017"/>
                  </a:lnTo>
                  <a:lnTo>
                    <a:pt x="628" y="1015"/>
                  </a:lnTo>
                  <a:lnTo>
                    <a:pt x="626" y="1013"/>
                  </a:lnTo>
                  <a:lnTo>
                    <a:pt x="628" y="1013"/>
                  </a:lnTo>
                  <a:lnTo>
                    <a:pt x="629" y="1013"/>
                  </a:lnTo>
                  <a:lnTo>
                    <a:pt x="629" y="1012"/>
                  </a:lnTo>
                  <a:close/>
                  <a:moveTo>
                    <a:pt x="525" y="381"/>
                  </a:moveTo>
                  <a:lnTo>
                    <a:pt x="527" y="381"/>
                  </a:lnTo>
                  <a:lnTo>
                    <a:pt x="527" y="379"/>
                  </a:lnTo>
                  <a:lnTo>
                    <a:pt x="527" y="381"/>
                  </a:lnTo>
                  <a:lnTo>
                    <a:pt x="527" y="382"/>
                  </a:lnTo>
                  <a:lnTo>
                    <a:pt x="528" y="382"/>
                  </a:lnTo>
                  <a:lnTo>
                    <a:pt x="528" y="381"/>
                  </a:lnTo>
                  <a:lnTo>
                    <a:pt x="528" y="382"/>
                  </a:lnTo>
                  <a:lnTo>
                    <a:pt x="530" y="382"/>
                  </a:lnTo>
                  <a:lnTo>
                    <a:pt x="530" y="384"/>
                  </a:lnTo>
                  <a:lnTo>
                    <a:pt x="530" y="385"/>
                  </a:lnTo>
                  <a:lnTo>
                    <a:pt x="530" y="387"/>
                  </a:lnTo>
                  <a:lnTo>
                    <a:pt x="530" y="389"/>
                  </a:lnTo>
                  <a:lnTo>
                    <a:pt x="528" y="389"/>
                  </a:lnTo>
                  <a:lnTo>
                    <a:pt x="527" y="390"/>
                  </a:lnTo>
                  <a:lnTo>
                    <a:pt x="525" y="390"/>
                  </a:lnTo>
                  <a:lnTo>
                    <a:pt x="525" y="389"/>
                  </a:lnTo>
                  <a:lnTo>
                    <a:pt x="527" y="389"/>
                  </a:lnTo>
                  <a:lnTo>
                    <a:pt x="525" y="387"/>
                  </a:lnTo>
                  <a:lnTo>
                    <a:pt x="527" y="387"/>
                  </a:lnTo>
                  <a:lnTo>
                    <a:pt x="527" y="389"/>
                  </a:lnTo>
                  <a:lnTo>
                    <a:pt x="527" y="387"/>
                  </a:lnTo>
                  <a:lnTo>
                    <a:pt x="525" y="387"/>
                  </a:lnTo>
                  <a:lnTo>
                    <a:pt x="524" y="387"/>
                  </a:lnTo>
                  <a:lnTo>
                    <a:pt x="524" y="385"/>
                  </a:lnTo>
                  <a:lnTo>
                    <a:pt x="524" y="384"/>
                  </a:lnTo>
                  <a:lnTo>
                    <a:pt x="524" y="382"/>
                  </a:lnTo>
                  <a:lnTo>
                    <a:pt x="525" y="382"/>
                  </a:lnTo>
                  <a:lnTo>
                    <a:pt x="525" y="381"/>
                  </a:lnTo>
                  <a:close/>
                  <a:moveTo>
                    <a:pt x="998" y="735"/>
                  </a:moveTo>
                  <a:lnTo>
                    <a:pt x="1000" y="735"/>
                  </a:lnTo>
                  <a:lnTo>
                    <a:pt x="1000" y="734"/>
                  </a:lnTo>
                  <a:lnTo>
                    <a:pt x="1002" y="734"/>
                  </a:lnTo>
                  <a:lnTo>
                    <a:pt x="1003" y="734"/>
                  </a:lnTo>
                  <a:lnTo>
                    <a:pt x="1005" y="734"/>
                  </a:lnTo>
                  <a:lnTo>
                    <a:pt x="1005" y="735"/>
                  </a:lnTo>
                  <a:lnTo>
                    <a:pt x="1005" y="737"/>
                  </a:lnTo>
                  <a:lnTo>
                    <a:pt x="1003" y="737"/>
                  </a:lnTo>
                  <a:lnTo>
                    <a:pt x="1005" y="737"/>
                  </a:lnTo>
                  <a:lnTo>
                    <a:pt x="1005" y="738"/>
                  </a:lnTo>
                  <a:lnTo>
                    <a:pt x="1003" y="738"/>
                  </a:lnTo>
                  <a:lnTo>
                    <a:pt x="1003" y="737"/>
                  </a:lnTo>
                  <a:lnTo>
                    <a:pt x="1003" y="738"/>
                  </a:lnTo>
                  <a:lnTo>
                    <a:pt x="1002" y="738"/>
                  </a:lnTo>
                  <a:lnTo>
                    <a:pt x="1000" y="738"/>
                  </a:lnTo>
                  <a:lnTo>
                    <a:pt x="1002" y="738"/>
                  </a:lnTo>
                  <a:lnTo>
                    <a:pt x="1002" y="740"/>
                  </a:lnTo>
                  <a:lnTo>
                    <a:pt x="1000" y="740"/>
                  </a:lnTo>
                  <a:lnTo>
                    <a:pt x="1000" y="738"/>
                  </a:lnTo>
                  <a:lnTo>
                    <a:pt x="998" y="738"/>
                  </a:lnTo>
                  <a:lnTo>
                    <a:pt x="997" y="738"/>
                  </a:lnTo>
                  <a:lnTo>
                    <a:pt x="997" y="740"/>
                  </a:lnTo>
                  <a:lnTo>
                    <a:pt x="995" y="740"/>
                  </a:lnTo>
                  <a:lnTo>
                    <a:pt x="994" y="740"/>
                  </a:lnTo>
                  <a:lnTo>
                    <a:pt x="994" y="742"/>
                  </a:lnTo>
                  <a:lnTo>
                    <a:pt x="994" y="740"/>
                  </a:lnTo>
                  <a:lnTo>
                    <a:pt x="992" y="740"/>
                  </a:lnTo>
                  <a:lnTo>
                    <a:pt x="992" y="738"/>
                  </a:lnTo>
                  <a:lnTo>
                    <a:pt x="994" y="738"/>
                  </a:lnTo>
                  <a:lnTo>
                    <a:pt x="992" y="737"/>
                  </a:lnTo>
                  <a:lnTo>
                    <a:pt x="994" y="737"/>
                  </a:lnTo>
                  <a:lnTo>
                    <a:pt x="995" y="737"/>
                  </a:lnTo>
                  <a:lnTo>
                    <a:pt x="997" y="735"/>
                  </a:lnTo>
                  <a:lnTo>
                    <a:pt x="997" y="737"/>
                  </a:lnTo>
                  <a:lnTo>
                    <a:pt x="997" y="735"/>
                  </a:lnTo>
                  <a:lnTo>
                    <a:pt x="998" y="735"/>
                  </a:lnTo>
                  <a:close/>
                  <a:moveTo>
                    <a:pt x="193" y="538"/>
                  </a:moveTo>
                  <a:lnTo>
                    <a:pt x="195" y="538"/>
                  </a:lnTo>
                  <a:lnTo>
                    <a:pt x="197" y="538"/>
                  </a:lnTo>
                  <a:lnTo>
                    <a:pt x="197" y="540"/>
                  </a:lnTo>
                  <a:lnTo>
                    <a:pt x="197" y="542"/>
                  </a:lnTo>
                  <a:lnTo>
                    <a:pt x="195" y="542"/>
                  </a:lnTo>
                  <a:lnTo>
                    <a:pt x="193" y="543"/>
                  </a:lnTo>
                  <a:lnTo>
                    <a:pt x="195" y="543"/>
                  </a:lnTo>
                  <a:lnTo>
                    <a:pt x="193" y="543"/>
                  </a:lnTo>
                  <a:lnTo>
                    <a:pt x="193" y="545"/>
                  </a:lnTo>
                  <a:lnTo>
                    <a:pt x="192" y="545"/>
                  </a:lnTo>
                  <a:lnTo>
                    <a:pt x="190" y="545"/>
                  </a:lnTo>
                  <a:lnTo>
                    <a:pt x="190" y="547"/>
                  </a:lnTo>
                  <a:lnTo>
                    <a:pt x="190" y="548"/>
                  </a:lnTo>
                  <a:lnTo>
                    <a:pt x="188" y="550"/>
                  </a:lnTo>
                  <a:lnTo>
                    <a:pt x="188" y="548"/>
                  </a:lnTo>
                  <a:lnTo>
                    <a:pt x="187" y="548"/>
                  </a:lnTo>
                  <a:lnTo>
                    <a:pt x="187" y="547"/>
                  </a:lnTo>
                  <a:lnTo>
                    <a:pt x="188" y="547"/>
                  </a:lnTo>
                  <a:lnTo>
                    <a:pt x="188" y="545"/>
                  </a:lnTo>
                  <a:lnTo>
                    <a:pt x="188" y="543"/>
                  </a:lnTo>
                  <a:lnTo>
                    <a:pt x="188" y="542"/>
                  </a:lnTo>
                  <a:lnTo>
                    <a:pt x="190" y="540"/>
                  </a:lnTo>
                  <a:lnTo>
                    <a:pt x="192" y="540"/>
                  </a:lnTo>
                  <a:lnTo>
                    <a:pt x="193" y="540"/>
                  </a:lnTo>
                  <a:lnTo>
                    <a:pt x="193" y="538"/>
                  </a:lnTo>
                  <a:close/>
                  <a:moveTo>
                    <a:pt x="502" y="649"/>
                  </a:moveTo>
                  <a:lnTo>
                    <a:pt x="502" y="647"/>
                  </a:lnTo>
                  <a:lnTo>
                    <a:pt x="502" y="649"/>
                  </a:lnTo>
                  <a:lnTo>
                    <a:pt x="502" y="651"/>
                  </a:lnTo>
                  <a:lnTo>
                    <a:pt x="504" y="649"/>
                  </a:lnTo>
                  <a:lnTo>
                    <a:pt x="504" y="651"/>
                  </a:lnTo>
                  <a:lnTo>
                    <a:pt x="506" y="651"/>
                  </a:lnTo>
                  <a:lnTo>
                    <a:pt x="507" y="651"/>
                  </a:lnTo>
                  <a:lnTo>
                    <a:pt x="507" y="652"/>
                  </a:lnTo>
                  <a:lnTo>
                    <a:pt x="506" y="654"/>
                  </a:lnTo>
                  <a:lnTo>
                    <a:pt x="504" y="654"/>
                  </a:lnTo>
                  <a:lnTo>
                    <a:pt x="502" y="654"/>
                  </a:lnTo>
                  <a:lnTo>
                    <a:pt x="501" y="654"/>
                  </a:lnTo>
                  <a:lnTo>
                    <a:pt x="501" y="655"/>
                  </a:lnTo>
                  <a:lnTo>
                    <a:pt x="499" y="655"/>
                  </a:lnTo>
                  <a:lnTo>
                    <a:pt x="501" y="655"/>
                  </a:lnTo>
                  <a:lnTo>
                    <a:pt x="501" y="654"/>
                  </a:lnTo>
                  <a:lnTo>
                    <a:pt x="499" y="654"/>
                  </a:lnTo>
                  <a:lnTo>
                    <a:pt x="497" y="654"/>
                  </a:lnTo>
                  <a:lnTo>
                    <a:pt x="497" y="652"/>
                  </a:lnTo>
                  <a:lnTo>
                    <a:pt x="497" y="654"/>
                  </a:lnTo>
                  <a:lnTo>
                    <a:pt x="496" y="654"/>
                  </a:lnTo>
                  <a:lnTo>
                    <a:pt x="497" y="652"/>
                  </a:lnTo>
                  <a:lnTo>
                    <a:pt x="496" y="652"/>
                  </a:lnTo>
                  <a:lnTo>
                    <a:pt x="497" y="652"/>
                  </a:lnTo>
                  <a:lnTo>
                    <a:pt x="499" y="652"/>
                  </a:lnTo>
                  <a:lnTo>
                    <a:pt x="499" y="651"/>
                  </a:lnTo>
                  <a:lnTo>
                    <a:pt x="501" y="651"/>
                  </a:lnTo>
                  <a:lnTo>
                    <a:pt x="502" y="651"/>
                  </a:lnTo>
                  <a:lnTo>
                    <a:pt x="502" y="649"/>
                  </a:lnTo>
                  <a:lnTo>
                    <a:pt x="501" y="649"/>
                  </a:lnTo>
                  <a:lnTo>
                    <a:pt x="501" y="647"/>
                  </a:lnTo>
                  <a:lnTo>
                    <a:pt x="502" y="646"/>
                  </a:lnTo>
                  <a:lnTo>
                    <a:pt x="502" y="649"/>
                  </a:lnTo>
                  <a:close/>
                  <a:moveTo>
                    <a:pt x="94" y="468"/>
                  </a:moveTo>
                  <a:lnTo>
                    <a:pt x="96" y="468"/>
                  </a:lnTo>
                  <a:lnTo>
                    <a:pt x="97" y="468"/>
                  </a:lnTo>
                  <a:lnTo>
                    <a:pt x="97" y="470"/>
                  </a:lnTo>
                  <a:lnTo>
                    <a:pt x="99" y="470"/>
                  </a:lnTo>
                  <a:lnTo>
                    <a:pt x="99" y="472"/>
                  </a:lnTo>
                  <a:lnTo>
                    <a:pt x="101" y="472"/>
                  </a:lnTo>
                  <a:lnTo>
                    <a:pt x="102" y="472"/>
                  </a:lnTo>
                  <a:lnTo>
                    <a:pt x="102" y="473"/>
                  </a:lnTo>
                  <a:lnTo>
                    <a:pt x="101" y="473"/>
                  </a:lnTo>
                  <a:lnTo>
                    <a:pt x="102" y="473"/>
                  </a:lnTo>
                  <a:lnTo>
                    <a:pt x="102" y="475"/>
                  </a:lnTo>
                  <a:lnTo>
                    <a:pt x="104" y="475"/>
                  </a:lnTo>
                  <a:lnTo>
                    <a:pt x="102" y="477"/>
                  </a:lnTo>
                  <a:lnTo>
                    <a:pt x="101" y="477"/>
                  </a:lnTo>
                  <a:lnTo>
                    <a:pt x="101" y="475"/>
                  </a:lnTo>
                  <a:lnTo>
                    <a:pt x="99" y="475"/>
                  </a:lnTo>
                  <a:lnTo>
                    <a:pt x="97" y="475"/>
                  </a:lnTo>
                  <a:lnTo>
                    <a:pt x="96" y="473"/>
                  </a:lnTo>
                  <a:lnTo>
                    <a:pt x="96" y="472"/>
                  </a:lnTo>
                  <a:lnTo>
                    <a:pt x="94" y="472"/>
                  </a:lnTo>
                  <a:lnTo>
                    <a:pt x="94" y="470"/>
                  </a:lnTo>
                  <a:lnTo>
                    <a:pt x="94" y="468"/>
                  </a:lnTo>
                  <a:close/>
                  <a:moveTo>
                    <a:pt x="968" y="792"/>
                  </a:moveTo>
                  <a:lnTo>
                    <a:pt x="969" y="792"/>
                  </a:lnTo>
                  <a:lnTo>
                    <a:pt x="969" y="790"/>
                  </a:lnTo>
                  <a:lnTo>
                    <a:pt x="971" y="792"/>
                  </a:lnTo>
                  <a:lnTo>
                    <a:pt x="971" y="794"/>
                  </a:lnTo>
                  <a:lnTo>
                    <a:pt x="971" y="795"/>
                  </a:lnTo>
                  <a:lnTo>
                    <a:pt x="971" y="797"/>
                  </a:lnTo>
                  <a:lnTo>
                    <a:pt x="972" y="799"/>
                  </a:lnTo>
                  <a:lnTo>
                    <a:pt x="972" y="800"/>
                  </a:lnTo>
                  <a:lnTo>
                    <a:pt x="972" y="802"/>
                  </a:lnTo>
                  <a:lnTo>
                    <a:pt x="971" y="802"/>
                  </a:lnTo>
                  <a:lnTo>
                    <a:pt x="971" y="800"/>
                  </a:lnTo>
                  <a:lnTo>
                    <a:pt x="969" y="802"/>
                  </a:lnTo>
                  <a:lnTo>
                    <a:pt x="969" y="800"/>
                  </a:lnTo>
                  <a:lnTo>
                    <a:pt x="969" y="802"/>
                  </a:lnTo>
                  <a:lnTo>
                    <a:pt x="969" y="800"/>
                  </a:lnTo>
                  <a:lnTo>
                    <a:pt x="968" y="800"/>
                  </a:lnTo>
                  <a:lnTo>
                    <a:pt x="966" y="800"/>
                  </a:lnTo>
                  <a:lnTo>
                    <a:pt x="966" y="799"/>
                  </a:lnTo>
                  <a:lnTo>
                    <a:pt x="968" y="799"/>
                  </a:lnTo>
                  <a:lnTo>
                    <a:pt x="968" y="797"/>
                  </a:lnTo>
                  <a:lnTo>
                    <a:pt x="968" y="795"/>
                  </a:lnTo>
                  <a:lnTo>
                    <a:pt x="968" y="794"/>
                  </a:lnTo>
                  <a:lnTo>
                    <a:pt x="968" y="792"/>
                  </a:lnTo>
                  <a:close/>
                  <a:moveTo>
                    <a:pt x="514" y="883"/>
                  </a:moveTo>
                  <a:lnTo>
                    <a:pt x="515" y="883"/>
                  </a:lnTo>
                  <a:lnTo>
                    <a:pt x="515" y="885"/>
                  </a:lnTo>
                  <a:lnTo>
                    <a:pt x="515" y="883"/>
                  </a:lnTo>
                  <a:lnTo>
                    <a:pt x="517" y="885"/>
                  </a:lnTo>
                  <a:lnTo>
                    <a:pt x="519" y="885"/>
                  </a:lnTo>
                  <a:lnTo>
                    <a:pt x="520" y="885"/>
                  </a:lnTo>
                  <a:lnTo>
                    <a:pt x="520" y="886"/>
                  </a:lnTo>
                  <a:lnTo>
                    <a:pt x="522" y="888"/>
                  </a:lnTo>
                  <a:lnTo>
                    <a:pt x="522" y="890"/>
                  </a:lnTo>
                  <a:lnTo>
                    <a:pt x="522" y="891"/>
                  </a:lnTo>
                  <a:lnTo>
                    <a:pt x="524" y="893"/>
                  </a:lnTo>
                  <a:lnTo>
                    <a:pt x="522" y="893"/>
                  </a:lnTo>
                  <a:lnTo>
                    <a:pt x="522" y="891"/>
                  </a:lnTo>
                  <a:lnTo>
                    <a:pt x="520" y="891"/>
                  </a:lnTo>
                  <a:lnTo>
                    <a:pt x="519" y="891"/>
                  </a:lnTo>
                  <a:lnTo>
                    <a:pt x="519" y="890"/>
                  </a:lnTo>
                  <a:lnTo>
                    <a:pt x="517" y="890"/>
                  </a:lnTo>
                  <a:lnTo>
                    <a:pt x="517" y="888"/>
                  </a:lnTo>
                  <a:lnTo>
                    <a:pt x="515" y="886"/>
                  </a:lnTo>
                  <a:lnTo>
                    <a:pt x="515" y="885"/>
                  </a:lnTo>
                  <a:lnTo>
                    <a:pt x="514" y="883"/>
                  </a:lnTo>
                  <a:close/>
                  <a:moveTo>
                    <a:pt x="177" y="538"/>
                  </a:moveTo>
                  <a:lnTo>
                    <a:pt x="177" y="537"/>
                  </a:lnTo>
                  <a:lnTo>
                    <a:pt x="177" y="538"/>
                  </a:lnTo>
                  <a:lnTo>
                    <a:pt x="179" y="538"/>
                  </a:lnTo>
                  <a:lnTo>
                    <a:pt x="179" y="540"/>
                  </a:lnTo>
                  <a:lnTo>
                    <a:pt x="179" y="538"/>
                  </a:lnTo>
                  <a:lnTo>
                    <a:pt x="180" y="538"/>
                  </a:lnTo>
                  <a:lnTo>
                    <a:pt x="179" y="538"/>
                  </a:lnTo>
                  <a:lnTo>
                    <a:pt x="180" y="540"/>
                  </a:lnTo>
                  <a:lnTo>
                    <a:pt x="179" y="540"/>
                  </a:lnTo>
                  <a:lnTo>
                    <a:pt x="179" y="542"/>
                  </a:lnTo>
                  <a:lnTo>
                    <a:pt x="177" y="542"/>
                  </a:lnTo>
                  <a:lnTo>
                    <a:pt x="177" y="543"/>
                  </a:lnTo>
                  <a:lnTo>
                    <a:pt x="175" y="543"/>
                  </a:lnTo>
                  <a:lnTo>
                    <a:pt x="175" y="542"/>
                  </a:lnTo>
                  <a:lnTo>
                    <a:pt x="174" y="543"/>
                  </a:lnTo>
                  <a:lnTo>
                    <a:pt x="174" y="545"/>
                  </a:lnTo>
                  <a:lnTo>
                    <a:pt x="175" y="545"/>
                  </a:lnTo>
                  <a:lnTo>
                    <a:pt x="175" y="547"/>
                  </a:lnTo>
                  <a:lnTo>
                    <a:pt x="177" y="547"/>
                  </a:lnTo>
                  <a:lnTo>
                    <a:pt x="179" y="548"/>
                  </a:lnTo>
                  <a:lnTo>
                    <a:pt x="180" y="548"/>
                  </a:lnTo>
                  <a:lnTo>
                    <a:pt x="180" y="550"/>
                  </a:lnTo>
                  <a:lnTo>
                    <a:pt x="182" y="550"/>
                  </a:lnTo>
                  <a:lnTo>
                    <a:pt x="180" y="550"/>
                  </a:lnTo>
                  <a:lnTo>
                    <a:pt x="179" y="548"/>
                  </a:lnTo>
                  <a:lnTo>
                    <a:pt x="177" y="548"/>
                  </a:lnTo>
                  <a:lnTo>
                    <a:pt x="175" y="547"/>
                  </a:lnTo>
                  <a:lnTo>
                    <a:pt x="174" y="547"/>
                  </a:lnTo>
                  <a:lnTo>
                    <a:pt x="174" y="545"/>
                  </a:lnTo>
                  <a:lnTo>
                    <a:pt x="172" y="545"/>
                  </a:lnTo>
                  <a:lnTo>
                    <a:pt x="172" y="543"/>
                  </a:lnTo>
                  <a:lnTo>
                    <a:pt x="172" y="542"/>
                  </a:lnTo>
                  <a:lnTo>
                    <a:pt x="172" y="540"/>
                  </a:lnTo>
                  <a:lnTo>
                    <a:pt x="174" y="540"/>
                  </a:lnTo>
                  <a:lnTo>
                    <a:pt x="175" y="538"/>
                  </a:lnTo>
                  <a:lnTo>
                    <a:pt x="177" y="540"/>
                  </a:lnTo>
                  <a:lnTo>
                    <a:pt x="177" y="538"/>
                  </a:lnTo>
                  <a:lnTo>
                    <a:pt x="175" y="538"/>
                  </a:lnTo>
                  <a:lnTo>
                    <a:pt x="177" y="538"/>
                  </a:lnTo>
                  <a:lnTo>
                    <a:pt x="175" y="538"/>
                  </a:lnTo>
                  <a:lnTo>
                    <a:pt x="177" y="537"/>
                  </a:lnTo>
                  <a:lnTo>
                    <a:pt x="177" y="538"/>
                  </a:lnTo>
                  <a:close/>
                  <a:moveTo>
                    <a:pt x="467" y="693"/>
                  </a:moveTo>
                  <a:lnTo>
                    <a:pt x="468" y="693"/>
                  </a:lnTo>
                  <a:lnTo>
                    <a:pt x="470" y="693"/>
                  </a:lnTo>
                  <a:lnTo>
                    <a:pt x="471" y="693"/>
                  </a:lnTo>
                  <a:lnTo>
                    <a:pt x="471" y="695"/>
                  </a:lnTo>
                  <a:lnTo>
                    <a:pt x="473" y="695"/>
                  </a:lnTo>
                  <a:lnTo>
                    <a:pt x="473" y="696"/>
                  </a:lnTo>
                  <a:lnTo>
                    <a:pt x="473" y="698"/>
                  </a:lnTo>
                  <a:lnTo>
                    <a:pt x="471" y="698"/>
                  </a:lnTo>
                  <a:lnTo>
                    <a:pt x="470" y="699"/>
                  </a:lnTo>
                  <a:lnTo>
                    <a:pt x="470" y="698"/>
                  </a:lnTo>
                  <a:lnTo>
                    <a:pt x="470" y="699"/>
                  </a:lnTo>
                  <a:lnTo>
                    <a:pt x="468" y="698"/>
                  </a:lnTo>
                  <a:lnTo>
                    <a:pt x="468" y="696"/>
                  </a:lnTo>
                  <a:lnTo>
                    <a:pt x="467" y="696"/>
                  </a:lnTo>
                  <a:lnTo>
                    <a:pt x="467" y="695"/>
                  </a:lnTo>
                  <a:lnTo>
                    <a:pt x="465" y="695"/>
                  </a:lnTo>
                  <a:lnTo>
                    <a:pt x="465" y="693"/>
                  </a:lnTo>
                  <a:lnTo>
                    <a:pt x="467" y="693"/>
                  </a:lnTo>
                  <a:close/>
                  <a:moveTo>
                    <a:pt x="572" y="605"/>
                  </a:moveTo>
                  <a:lnTo>
                    <a:pt x="574" y="607"/>
                  </a:lnTo>
                  <a:lnTo>
                    <a:pt x="574" y="608"/>
                  </a:lnTo>
                  <a:lnTo>
                    <a:pt x="574" y="610"/>
                  </a:lnTo>
                  <a:lnTo>
                    <a:pt x="572" y="610"/>
                  </a:lnTo>
                  <a:lnTo>
                    <a:pt x="572" y="612"/>
                  </a:lnTo>
                  <a:lnTo>
                    <a:pt x="572" y="613"/>
                  </a:lnTo>
                  <a:lnTo>
                    <a:pt x="572" y="615"/>
                  </a:lnTo>
                  <a:lnTo>
                    <a:pt x="572" y="616"/>
                  </a:lnTo>
                  <a:lnTo>
                    <a:pt x="571" y="616"/>
                  </a:lnTo>
                  <a:lnTo>
                    <a:pt x="572" y="616"/>
                  </a:lnTo>
                  <a:lnTo>
                    <a:pt x="572" y="618"/>
                  </a:lnTo>
                  <a:lnTo>
                    <a:pt x="571" y="618"/>
                  </a:lnTo>
                  <a:lnTo>
                    <a:pt x="571" y="620"/>
                  </a:lnTo>
                  <a:lnTo>
                    <a:pt x="571" y="621"/>
                  </a:lnTo>
                  <a:lnTo>
                    <a:pt x="569" y="620"/>
                  </a:lnTo>
                  <a:lnTo>
                    <a:pt x="569" y="618"/>
                  </a:lnTo>
                  <a:lnTo>
                    <a:pt x="569" y="616"/>
                  </a:lnTo>
                  <a:lnTo>
                    <a:pt x="569" y="615"/>
                  </a:lnTo>
                  <a:lnTo>
                    <a:pt x="571" y="615"/>
                  </a:lnTo>
                  <a:lnTo>
                    <a:pt x="569" y="615"/>
                  </a:lnTo>
                  <a:lnTo>
                    <a:pt x="571" y="613"/>
                  </a:lnTo>
                  <a:lnTo>
                    <a:pt x="571" y="612"/>
                  </a:lnTo>
                  <a:lnTo>
                    <a:pt x="571" y="610"/>
                  </a:lnTo>
                  <a:lnTo>
                    <a:pt x="571" y="608"/>
                  </a:lnTo>
                  <a:lnTo>
                    <a:pt x="571" y="607"/>
                  </a:lnTo>
                  <a:lnTo>
                    <a:pt x="572" y="605"/>
                  </a:lnTo>
                  <a:lnTo>
                    <a:pt x="571" y="605"/>
                  </a:lnTo>
                  <a:lnTo>
                    <a:pt x="572" y="605"/>
                  </a:lnTo>
                  <a:close/>
                  <a:moveTo>
                    <a:pt x="743" y="699"/>
                  </a:moveTo>
                  <a:lnTo>
                    <a:pt x="743" y="701"/>
                  </a:lnTo>
                  <a:lnTo>
                    <a:pt x="745" y="701"/>
                  </a:lnTo>
                  <a:lnTo>
                    <a:pt x="745" y="703"/>
                  </a:lnTo>
                  <a:lnTo>
                    <a:pt x="745" y="704"/>
                  </a:lnTo>
                  <a:lnTo>
                    <a:pt x="745" y="706"/>
                  </a:lnTo>
                  <a:lnTo>
                    <a:pt x="743" y="706"/>
                  </a:lnTo>
                  <a:lnTo>
                    <a:pt x="743" y="708"/>
                  </a:lnTo>
                  <a:lnTo>
                    <a:pt x="741" y="708"/>
                  </a:lnTo>
                  <a:lnTo>
                    <a:pt x="740" y="708"/>
                  </a:lnTo>
                  <a:lnTo>
                    <a:pt x="738" y="708"/>
                  </a:lnTo>
                  <a:lnTo>
                    <a:pt x="740" y="708"/>
                  </a:lnTo>
                  <a:lnTo>
                    <a:pt x="738" y="708"/>
                  </a:lnTo>
                  <a:lnTo>
                    <a:pt x="738" y="706"/>
                  </a:lnTo>
                  <a:lnTo>
                    <a:pt x="740" y="706"/>
                  </a:lnTo>
                  <a:lnTo>
                    <a:pt x="740" y="704"/>
                  </a:lnTo>
                  <a:lnTo>
                    <a:pt x="740" y="703"/>
                  </a:lnTo>
                  <a:lnTo>
                    <a:pt x="741" y="703"/>
                  </a:lnTo>
                  <a:lnTo>
                    <a:pt x="741" y="701"/>
                  </a:lnTo>
                  <a:lnTo>
                    <a:pt x="743" y="701"/>
                  </a:lnTo>
                  <a:lnTo>
                    <a:pt x="743" y="699"/>
                  </a:lnTo>
                  <a:close/>
                  <a:moveTo>
                    <a:pt x="647" y="732"/>
                  </a:moveTo>
                  <a:lnTo>
                    <a:pt x="649" y="730"/>
                  </a:lnTo>
                  <a:lnTo>
                    <a:pt x="650" y="730"/>
                  </a:lnTo>
                  <a:lnTo>
                    <a:pt x="652" y="730"/>
                  </a:lnTo>
                  <a:lnTo>
                    <a:pt x="654" y="732"/>
                  </a:lnTo>
                  <a:lnTo>
                    <a:pt x="654" y="730"/>
                  </a:lnTo>
                  <a:lnTo>
                    <a:pt x="654" y="732"/>
                  </a:lnTo>
                  <a:lnTo>
                    <a:pt x="655" y="734"/>
                  </a:lnTo>
                  <a:lnTo>
                    <a:pt x="655" y="735"/>
                  </a:lnTo>
                  <a:lnTo>
                    <a:pt x="654" y="735"/>
                  </a:lnTo>
                  <a:lnTo>
                    <a:pt x="652" y="737"/>
                  </a:lnTo>
                  <a:lnTo>
                    <a:pt x="652" y="735"/>
                  </a:lnTo>
                  <a:lnTo>
                    <a:pt x="652" y="737"/>
                  </a:lnTo>
                  <a:lnTo>
                    <a:pt x="650" y="735"/>
                  </a:lnTo>
                  <a:lnTo>
                    <a:pt x="649" y="735"/>
                  </a:lnTo>
                  <a:lnTo>
                    <a:pt x="649" y="734"/>
                  </a:lnTo>
                  <a:lnTo>
                    <a:pt x="649" y="735"/>
                  </a:lnTo>
                  <a:lnTo>
                    <a:pt x="649" y="734"/>
                  </a:lnTo>
                  <a:lnTo>
                    <a:pt x="647" y="734"/>
                  </a:lnTo>
                  <a:lnTo>
                    <a:pt x="647" y="732"/>
                  </a:lnTo>
                  <a:close/>
                  <a:moveTo>
                    <a:pt x="639" y="610"/>
                  </a:moveTo>
                  <a:lnTo>
                    <a:pt x="641" y="610"/>
                  </a:lnTo>
                  <a:lnTo>
                    <a:pt x="642" y="610"/>
                  </a:lnTo>
                  <a:lnTo>
                    <a:pt x="642" y="612"/>
                  </a:lnTo>
                  <a:lnTo>
                    <a:pt x="642" y="613"/>
                  </a:lnTo>
                  <a:lnTo>
                    <a:pt x="642" y="615"/>
                  </a:lnTo>
                  <a:lnTo>
                    <a:pt x="644" y="615"/>
                  </a:lnTo>
                  <a:lnTo>
                    <a:pt x="642" y="615"/>
                  </a:lnTo>
                  <a:lnTo>
                    <a:pt x="641" y="615"/>
                  </a:lnTo>
                  <a:lnTo>
                    <a:pt x="639" y="615"/>
                  </a:lnTo>
                  <a:lnTo>
                    <a:pt x="639" y="616"/>
                  </a:lnTo>
                  <a:lnTo>
                    <a:pt x="639" y="615"/>
                  </a:lnTo>
                  <a:lnTo>
                    <a:pt x="637" y="615"/>
                  </a:lnTo>
                  <a:lnTo>
                    <a:pt x="636" y="615"/>
                  </a:lnTo>
                  <a:lnTo>
                    <a:pt x="634" y="615"/>
                  </a:lnTo>
                  <a:lnTo>
                    <a:pt x="634" y="616"/>
                  </a:lnTo>
                  <a:lnTo>
                    <a:pt x="634" y="615"/>
                  </a:lnTo>
                  <a:lnTo>
                    <a:pt x="632" y="615"/>
                  </a:lnTo>
                  <a:lnTo>
                    <a:pt x="634" y="615"/>
                  </a:lnTo>
                  <a:lnTo>
                    <a:pt x="636" y="615"/>
                  </a:lnTo>
                  <a:lnTo>
                    <a:pt x="637" y="613"/>
                  </a:lnTo>
                  <a:lnTo>
                    <a:pt x="637" y="612"/>
                  </a:lnTo>
                  <a:lnTo>
                    <a:pt x="639" y="612"/>
                  </a:lnTo>
                  <a:lnTo>
                    <a:pt x="637" y="612"/>
                  </a:lnTo>
                  <a:lnTo>
                    <a:pt x="639" y="610"/>
                  </a:lnTo>
                  <a:close/>
                  <a:moveTo>
                    <a:pt x="579" y="564"/>
                  </a:moveTo>
                  <a:lnTo>
                    <a:pt x="579" y="566"/>
                  </a:lnTo>
                  <a:lnTo>
                    <a:pt x="580" y="566"/>
                  </a:lnTo>
                  <a:lnTo>
                    <a:pt x="582" y="566"/>
                  </a:lnTo>
                  <a:lnTo>
                    <a:pt x="582" y="568"/>
                  </a:lnTo>
                  <a:lnTo>
                    <a:pt x="582" y="569"/>
                  </a:lnTo>
                  <a:lnTo>
                    <a:pt x="582" y="571"/>
                  </a:lnTo>
                  <a:lnTo>
                    <a:pt x="580" y="571"/>
                  </a:lnTo>
                  <a:lnTo>
                    <a:pt x="579" y="571"/>
                  </a:lnTo>
                  <a:lnTo>
                    <a:pt x="579" y="573"/>
                  </a:lnTo>
                  <a:lnTo>
                    <a:pt x="577" y="573"/>
                  </a:lnTo>
                  <a:lnTo>
                    <a:pt x="576" y="571"/>
                  </a:lnTo>
                  <a:lnTo>
                    <a:pt x="577" y="571"/>
                  </a:lnTo>
                  <a:lnTo>
                    <a:pt x="576" y="569"/>
                  </a:lnTo>
                  <a:lnTo>
                    <a:pt x="577" y="569"/>
                  </a:lnTo>
                  <a:lnTo>
                    <a:pt x="577" y="568"/>
                  </a:lnTo>
                  <a:lnTo>
                    <a:pt x="577" y="566"/>
                  </a:lnTo>
                  <a:lnTo>
                    <a:pt x="579" y="566"/>
                  </a:lnTo>
                  <a:lnTo>
                    <a:pt x="577" y="566"/>
                  </a:lnTo>
                  <a:lnTo>
                    <a:pt x="579" y="564"/>
                  </a:lnTo>
                  <a:close/>
                  <a:moveTo>
                    <a:pt x="465" y="805"/>
                  </a:moveTo>
                  <a:lnTo>
                    <a:pt x="467" y="805"/>
                  </a:lnTo>
                  <a:lnTo>
                    <a:pt x="467" y="803"/>
                  </a:lnTo>
                  <a:lnTo>
                    <a:pt x="468" y="803"/>
                  </a:lnTo>
                  <a:lnTo>
                    <a:pt x="468" y="805"/>
                  </a:lnTo>
                  <a:lnTo>
                    <a:pt x="468" y="807"/>
                  </a:lnTo>
                  <a:lnTo>
                    <a:pt x="470" y="807"/>
                  </a:lnTo>
                  <a:lnTo>
                    <a:pt x="468" y="808"/>
                  </a:lnTo>
                  <a:lnTo>
                    <a:pt x="470" y="808"/>
                  </a:lnTo>
                  <a:lnTo>
                    <a:pt x="470" y="810"/>
                  </a:lnTo>
                  <a:lnTo>
                    <a:pt x="470" y="812"/>
                  </a:lnTo>
                  <a:lnTo>
                    <a:pt x="470" y="810"/>
                  </a:lnTo>
                  <a:lnTo>
                    <a:pt x="468" y="810"/>
                  </a:lnTo>
                  <a:lnTo>
                    <a:pt x="468" y="808"/>
                  </a:lnTo>
                  <a:lnTo>
                    <a:pt x="467" y="808"/>
                  </a:lnTo>
                  <a:lnTo>
                    <a:pt x="465" y="810"/>
                  </a:lnTo>
                  <a:lnTo>
                    <a:pt x="463" y="812"/>
                  </a:lnTo>
                  <a:lnTo>
                    <a:pt x="462" y="812"/>
                  </a:lnTo>
                  <a:lnTo>
                    <a:pt x="463" y="810"/>
                  </a:lnTo>
                  <a:lnTo>
                    <a:pt x="462" y="808"/>
                  </a:lnTo>
                  <a:lnTo>
                    <a:pt x="463" y="808"/>
                  </a:lnTo>
                  <a:lnTo>
                    <a:pt x="463" y="807"/>
                  </a:lnTo>
                  <a:lnTo>
                    <a:pt x="465" y="807"/>
                  </a:lnTo>
                  <a:lnTo>
                    <a:pt x="463" y="805"/>
                  </a:lnTo>
                  <a:lnTo>
                    <a:pt x="465" y="805"/>
                  </a:lnTo>
                  <a:close/>
                  <a:moveTo>
                    <a:pt x="872" y="607"/>
                  </a:moveTo>
                  <a:lnTo>
                    <a:pt x="872" y="605"/>
                  </a:lnTo>
                  <a:lnTo>
                    <a:pt x="873" y="605"/>
                  </a:lnTo>
                  <a:lnTo>
                    <a:pt x="875" y="607"/>
                  </a:lnTo>
                  <a:lnTo>
                    <a:pt x="876" y="608"/>
                  </a:lnTo>
                  <a:lnTo>
                    <a:pt x="878" y="608"/>
                  </a:lnTo>
                  <a:lnTo>
                    <a:pt x="880" y="607"/>
                  </a:lnTo>
                  <a:lnTo>
                    <a:pt x="878" y="607"/>
                  </a:lnTo>
                  <a:lnTo>
                    <a:pt x="880" y="607"/>
                  </a:lnTo>
                  <a:lnTo>
                    <a:pt x="881" y="608"/>
                  </a:lnTo>
                  <a:lnTo>
                    <a:pt x="881" y="610"/>
                  </a:lnTo>
                  <a:lnTo>
                    <a:pt x="880" y="610"/>
                  </a:lnTo>
                  <a:lnTo>
                    <a:pt x="881" y="612"/>
                  </a:lnTo>
                  <a:lnTo>
                    <a:pt x="880" y="612"/>
                  </a:lnTo>
                  <a:lnTo>
                    <a:pt x="880" y="610"/>
                  </a:lnTo>
                  <a:lnTo>
                    <a:pt x="880" y="612"/>
                  </a:lnTo>
                  <a:lnTo>
                    <a:pt x="880" y="610"/>
                  </a:lnTo>
                  <a:lnTo>
                    <a:pt x="878" y="612"/>
                  </a:lnTo>
                  <a:lnTo>
                    <a:pt x="878" y="610"/>
                  </a:lnTo>
                  <a:lnTo>
                    <a:pt x="878" y="608"/>
                  </a:lnTo>
                  <a:lnTo>
                    <a:pt x="878" y="610"/>
                  </a:lnTo>
                  <a:lnTo>
                    <a:pt x="878" y="608"/>
                  </a:lnTo>
                  <a:lnTo>
                    <a:pt x="876" y="608"/>
                  </a:lnTo>
                  <a:lnTo>
                    <a:pt x="876" y="610"/>
                  </a:lnTo>
                  <a:lnTo>
                    <a:pt x="875" y="610"/>
                  </a:lnTo>
                  <a:lnTo>
                    <a:pt x="873" y="610"/>
                  </a:lnTo>
                  <a:lnTo>
                    <a:pt x="872" y="610"/>
                  </a:lnTo>
                  <a:lnTo>
                    <a:pt x="872" y="608"/>
                  </a:lnTo>
                  <a:lnTo>
                    <a:pt x="872" y="607"/>
                  </a:lnTo>
                  <a:lnTo>
                    <a:pt x="873" y="607"/>
                  </a:lnTo>
                  <a:lnTo>
                    <a:pt x="872" y="607"/>
                  </a:lnTo>
                  <a:lnTo>
                    <a:pt x="873" y="607"/>
                  </a:lnTo>
                  <a:lnTo>
                    <a:pt x="872" y="607"/>
                  </a:lnTo>
                  <a:close/>
                  <a:moveTo>
                    <a:pt x="761" y="691"/>
                  </a:moveTo>
                  <a:lnTo>
                    <a:pt x="761" y="690"/>
                  </a:lnTo>
                  <a:lnTo>
                    <a:pt x="763" y="691"/>
                  </a:lnTo>
                  <a:lnTo>
                    <a:pt x="763" y="690"/>
                  </a:lnTo>
                  <a:lnTo>
                    <a:pt x="763" y="691"/>
                  </a:lnTo>
                  <a:lnTo>
                    <a:pt x="764" y="691"/>
                  </a:lnTo>
                  <a:lnTo>
                    <a:pt x="766" y="691"/>
                  </a:lnTo>
                  <a:lnTo>
                    <a:pt x="766" y="693"/>
                  </a:lnTo>
                  <a:lnTo>
                    <a:pt x="767" y="693"/>
                  </a:lnTo>
                  <a:lnTo>
                    <a:pt x="767" y="695"/>
                  </a:lnTo>
                  <a:lnTo>
                    <a:pt x="766" y="695"/>
                  </a:lnTo>
                  <a:lnTo>
                    <a:pt x="764" y="695"/>
                  </a:lnTo>
                  <a:lnTo>
                    <a:pt x="763" y="695"/>
                  </a:lnTo>
                  <a:lnTo>
                    <a:pt x="761" y="695"/>
                  </a:lnTo>
                  <a:lnTo>
                    <a:pt x="759" y="695"/>
                  </a:lnTo>
                  <a:lnTo>
                    <a:pt x="759" y="696"/>
                  </a:lnTo>
                  <a:lnTo>
                    <a:pt x="758" y="695"/>
                  </a:lnTo>
                  <a:lnTo>
                    <a:pt x="758" y="693"/>
                  </a:lnTo>
                  <a:lnTo>
                    <a:pt x="759" y="693"/>
                  </a:lnTo>
                  <a:lnTo>
                    <a:pt x="761" y="693"/>
                  </a:lnTo>
                  <a:lnTo>
                    <a:pt x="761" y="691"/>
                  </a:lnTo>
                  <a:close/>
                  <a:moveTo>
                    <a:pt x="519" y="400"/>
                  </a:moveTo>
                  <a:lnTo>
                    <a:pt x="519" y="402"/>
                  </a:lnTo>
                  <a:lnTo>
                    <a:pt x="519" y="403"/>
                  </a:lnTo>
                  <a:lnTo>
                    <a:pt x="520" y="405"/>
                  </a:lnTo>
                  <a:lnTo>
                    <a:pt x="520" y="403"/>
                  </a:lnTo>
                  <a:lnTo>
                    <a:pt x="520" y="405"/>
                  </a:lnTo>
                  <a:lnTo>
                    <a:pt x="520" y="407"/>
                  </a:lnTo>
                  <a:lnTo>
                    <a:pt x="522" y="408"/>
                  </a:lnTo>
                  <a:lnTo>
                    <a:pt x="520" y="410"/>
                  </a:lnTo>
                  <a:lnTo>
                    <a:pt x="522" y="410"/>
                  </a:lnTo>
                  <a:lnTo>
                    <a:pt x="520" y="410"/>
                  </a:lnTo>
                  <a:lnTo>
                    <a:pt x="520" y="412"/>
                  </a:lnTo>
                  <a:lnTo>
                    <a:pt x="520" y="410"/>
                  </a:lnTo>
                  <a:lnTo>
                    <a:pt x="520" y="412"/>
                  </a:lnTo>
                  <a:lnTo>
                    <a:pt x="519" y="412"/>
                  </a:lnTo>
                  <a:lnTo>
                    <a:pt x="519" y="410"/>
                  </a:lnTo>
                  <a:lnTo>
                    <a:pt x="519" y="412"/>
                  </a:lnTo>
                  <a:lnTo>
                    <a:pt x="517" y="412"/>
                  </a:lnTo>
                  <a:lnTo>
                    <a:pt x="517" y="410"/>
                  </a:lnTo>
                  <a:lnTo>
                    <a:pt x="515" y="408"/>
                  </a:lnTo>
                  <a:lnTo>
                    <a:pt x="517" y="408"/>
                  </a:lnTo>
                  <a:lnTo>
                    <a:pt x="519" y="407"/>
                  </a:lnTo>
                  <a:lnTo>
                    <a:pt x="520" y="407"/>
                  </a:lnTo>
                  <a:lnTo>
                    <a:pt x="520" y="405"/>
                  </a:lnTo>
                  <a:lnTo>
                    <a:pt x="519" y="405"/>
                  </a:lnTo>
                  <a:lnTo>
                    <a:pt x="519" y="403"/>
                  </a:lnTo>
                  <a:lnTo>
                    <a:pt x="517" y="403"/>
                  </a:lnTo>
                  <a:lnTo>
                    <a:pt x="519" y="403"/>
                  </a:lnTo>
                  <a:lnTo>
                    <a:pt x="517" y="402"/>
                  </a:lnTo>
                  <a:lnTo>
                    <a:pt x="519" y="402"/>
                  </a:lnTo>
                  <a:lnTo>
                    <a:pt x="517" y="402"/>
                  </a:lnTo>
                  <a:lnTo>
                    <a:pt x="519" y="400"/>
                  </a:lnTo>
                  <a:close/>
                  <a:moveTo>
                    <a:pt x="779" y="449"/>
                  </a:moveTo>
                  <a:lnTo>
                    <a:pt x="780" y="449"/>
                  </a:lnTo>
                  <a:lnTo>
                    <a:pt x="782" y="449"/>
                  </a:lnTo>
                  <a:lnTo>
                    <a:pt x="784" y="449"/>
                  </a:lnTo>
                  <a:lnTo>
                    <a:pt x="785" y="449"/>
                  </a:lnTo>
                  <a:lnTo>
                    <a:pt x="785" y="451"/>
                  </a:lnTo>
                  <a:lnTo>
                    <a:pt x="787" y="449"/>
                  </a:lnTo>
                  <a:lnTo>
                    <a:pt x="787" y="451"/>
                  </a:lnTo>
                  <a:lnTo>
                    <a:pt x="789" y="451"/>
                  </a:lnTo>
                  <a:lnTo>
                    <a:pt x="789" y="449"/>
                  </a:lnTo>
                  <a:lnTo>
                    <a:pt x="790" y="451"/>
                  </a:lnTo>
                  <a:lnTo>
                    <a:pt x="789" y="451"/>
                  </a:lnTo>
                  <a:lnTo>
                    <a:pt x="789" y="452"/>
                  </a:lnTo>
                  <a:lnTo>
                    <a:pt x="789" y="451"/>
                  </a:lnTo>
                  <a:lnTo>
                    <a:pt x="789" y="452"/>
                  </a:lnTo>
                  <a:lnTo>
                    <a:pt x="787" y="452"/>
                  </a:lnTo>
                  <a:lnTo>
                    <a:pt x="787" y="454"/>
                  </a:lnTo>
                  <a:lnTo>
                    <a:pt x="787" y="452"/>
                  </a:lnTo>
                  <a:lnTo>
                    <a:pt x="787" y="454"/>
                  </a:lnTo>
                  <a:lnTo>
                    <a:pt x="787" y="452"/>
                  </a:lnTo>
                  <a:lnTo>
                    <a:pt x="785" y="452"/>
                  </a:lnTo>
                  <a:lnTo>
                    <a:pt x="784" y="452"/>
                  </a:lnTo>
                  <a:lnTo>
                    <a:pt x="782" y="452"/>
                  </a:lnTo>
                  <a:lnTo>
                    <a:pt x="780" y="451"/>
                  </a:lnTo>
                  <a:lnTo>
                    <a:pt x="779" y="449"/>
                  </a:lnTo>
                  <a:close/>
                  <a:moveTo>
                    <a:pt x="927" y="647"/>
                  </a:moveTo>
                  <a:lnTo>
                    <a:pt x="928" y="647"/>
                  </a:lnTo>
                  <a:lnTo>
                    <a:pt x="930" y="647"/>
                  </a:lnTo>
                  <a:lnTo>
                    <a:pt x="930" y="646"/>
                  </a:lnTo>
                  <a:lnTo>
                    <a:pt x="932" y="646"/>
                  </a:lnTo>
                  <a:lnTo>
                    <a:pt x="933" y="647"/>
                  </a:lnTo>
                  <a:lnTo>
                    <a:pt x="933" y="649"/>
                  </a:lnTo>
                  <a:lnTo>
                    <a:pt x="932" y="649"/>
                  </a:lnTo>
                  <a:lnTo>
                    <a:pt x="933" y="651"/>
                  </a:lnTo>
                  <a:lnTo>
                    <a:pt x="935" y="651"/>
                  </a:lnTo>
                  <a:lnTo>
                    <a:pt x="933" y="651"/>
                  </a:lnTo>
                  <a:lnTo>
                    <a:pt x="932" y="651"/>
                  </a:lnTo>
                  <a:lnTo>
                    <a:pt x="932" y="652"/>
                  </a:lnTo>
                  <a:lnTo>
                    <a:pt x="930" y="652"/>
                  </a:lnTo>
                  <a:lnTo>
                    <a:pt x="928" y="651"/>
                  </a:lnTo>
                  <a:lnTo>
                    <a:pt x="930" y="651"/>
                  </a:lnTo>
                  <a:lnTo>
                    <a:pt x="928" y="651"/>
                  </a:lnTo>
                  <a:lnTo>
                    <a:pt x="928" y="649"/>
                  </a:lnTo>
                  <a:lnTo>
                    <a:pt x="927" y="649"/>
                  </a:lnTo>
                  <a:lnTo>
                    <a:pt x="925" y="647"/>
                  </a:lnTo>
                  <a:lnTo>
                    <a:pt x="927" y="647"/>
                  </a:lnTo>
                  <a:close/>
                  <a:moveTo>
                    <a:pt x="896" y="579"/>
                  </a:moveTo>
                  <a:lnTo>
                    <a:pt x="898" y="579"/>
                  </a:lnTo>
                  <a:lnTo>
                    <a:pt x="899" y="579"/>
                  </a:lnTo>
                  <a:lnTo>
                    <a:pt x="901" y="579"/>
                  </a:lnTo>
                  <a:lnTo>
                    <a:pt x="901" y="581"/>
                  </a:lnTo>
                  <a:lnTo>
                    <a:pt x="899" y="581"/>
                  </a:lnTo>
                  <a:lnTo>
                    <a:pt x="898" y="581"/>
                  </a:lnTo>
                  <a:lnTo>
                    <a:pt x="899" y="581"/>
                  </a:lnTo>
                  <a:lnTo>
                    <a:pt x="898" y="582"/>
                  </a:lnTo>
                  <a:lnTo>
                    <a:pt x="896" y="582"/>
                  </a:lnTo>
                  <a:lnTo>
                    <a:pt x="896" y="584"/>
                  </a:lnTo>
                  <a:lnTo>
                    <a:pt x="894" y="584"/>
                  </a:lnTo>
                  <a:lnTo>
                    <a:pt x="894" y="582"/>
                  </a:lnTo>
                  <a:lnTo>
                    <a:pt x="893" y="582"/>
                  </a:lnTo>
                  <a:lnTo>
                    <a:pt x="894" y="582"/>
                  </a:lnTo>
                  <a:lnTo>
                    <a:pt x="893" y="581"/>
                  </a:lnTo>
                  <a:lnTo>
                    <a:pt x="891" y="581"/>
                  </a:lnTo>
                  <a:lnTo>
                    <a:pt x="893" y="579"/>
                  </a:lnTo>
                  <a:lnTo>
                    <a:pt x="894" y="579"/>
                  </a:lnTo>
                  <a:lnTo>
                    <a:pt x="896" y="579"/>
                  </a:lnTo>
                  <a:close/>
                  <a:moveTo>
                    <a:pt x="701" y="626"/>
                  </a:moveTo>
                  <a:lnTo>
                    <a:pt x="702" y="626"/>
                  </a:lnTo>
                  <a:lnTo>
                    <a:pt x="701" y="626"/>
                  </a:lnTo>
                  <a:lnTo>
                    <a:pt x="702" y="628"/>
                  </a:lnTo>
                  <a:lnTo>
                    <a:pt x="704" y="628"/>
                  </a:lnTo>
                  <a:lnTo>
                    <a:pt x="702" y="629"/>
                  </a:lnTo>
                  <a:lnTo>
                    <a:pt x="704" y="629"/>
                  </a:lnTo>
                  <a:lnTo>
                    <a:pt x="702" y="629"/>
                  </a:lnTo>
                  <a:lnTo>
                    <a:pt x="704" y="631"/>
                  </a:lnTo>
                  <a:lnTo>
                    <a:pt x="702" y="631"/>
                  </a:lnTo>
                  <a:lnTo>
                    <a:pt x="704" y="631"/>
                  </a:lnTo>
                  <a:lnTo>
                    <a:pt x="704" y="633"/>
                  </a:lnTo>
                  <a:lnTo>
                    <a:pt x="706" y="631"/>
                  </a:lnTo>
                  <a:lnTo>
                    <a:pt x="706" y="633"/>
                  </a:lnTo>
                  <a:lnTo>
                    <a:pt x="706" y="634"/>
                  </a:lnTo>
                  <a:lnTo>
                    <a:pt x="704" y="634"/>
                  </a:lnTo>
                  <a:lnTo>
                    <a:pt x="704" y="633"/>
                  </a:lnTo>
                  <a:lnTo>
                    <a:pt x="704" y="634"/>
                  </a:lnTo>
                  <a:lnTo>
                    <a:pt x="702" y="634"/>
                  </a:lnTo>
                  <a:lnTo>
                    <a:pt x="702" y="636"/>
                  </a:lnTo>
                  <a:lnTo>
                    <a:pt x="702" y="634"/>
                  </a:lnTo>
                  <a:lnTo>
                    <a:pt x="702" y="636"/>
                  </a:lnTo>
                  <a:lnTo>
                    <a:pt x="702" y="634"/>
                  </a:lnTo>
                  <a:lnTo>
                    <a:pt x="702" y="633"/>
                  </a:lnTo>
                  <a:lnTo>
                    <a:pt x="704" y="633"/>
                  </a:lnTo>
                  <a:lnTo>
                    <a:pt x="702" y="631"/>
                  </a:lnTo>
                  <a:lnTo>
                    <a:pt x="701" y="631"/>
                  </a:lnTo>
                  <a:lnTo>
                    <a:pt x="701" y="629"/>
                  </a:lnTo>
                  <a:lnTo>
                    <a:pt x="699" y="629"/>
                  </a:lnTo>
                  <a:lnTo>
                    <a:pt x="699" y="628"/>
                  </a:lnTo>
                  <a:lnTo>
                    <a:pt x="698" y="628"/>
                  </a:lnTo>
                  <a:lnTo>
                    <a:pt x="699" y="628"/>
                  </a:lnTo>
                  <a:lnTo>
                    <a:pt x="701" y="628"/>
                  </a:lnTo>
                  <a:lnTo>
                    <a:pt x="701" y="626"/>
                  </a:lnTo>
                  <a:close/>
                  <a:moveTo>
                    <a:pt x="776" y="655"/>
                  </a:moveTo>
                  <a:lnTo>
                    <a:pt x="777" y="654"/>
                  </a:lnTo>
                  <a:lnTo>
                    <a:pt x="777" y="655"/>
                  </a:lnTo>
                  <a:lnTo>
                    <a:pt x="776" y="655"/>
                  </a:lnTo>
                  <a:lnTo>
                    <a:pt x="777" y="657"/>
                  </a:lnTo>
                  <a:lnTo>
                    <a:pt x="779" y="657"/>
                  </a:lnTo>
                  <a:lnTo>
                    <a:pt x="779" y="659"/>
                  </a:lnTo>
                  <a:lnTo>
                    <a:pt x="779" y="660"/>
                  </a:lnTo>
                  <a:lnTo>
                    <a:pt x="777" y="660"/>
                  </a:lnTo>
                  <a:lnTo>
                    <a:pt x="776" y="660"/>
                  </a:lnTo>
                  <a:lnTo>
                    <a:pt x="774" y="662"/>
                  </a:lnTo>
                  <a:lnTo>
                    <a:pt x="774" y="660"/>
                  </a:lnTo>
                  <a:lnTo>
                    <a:pt x="774" y="659"/>
                  </a:lnTo>
                  <a:lnTo>
                    <a:pt x="772" y="659"/>
                  </a:lnTo>
                  <a:lnTo>
                    <a:pt x="772" y="657"/>
                  </a:lnTo>
                  <a:lnTo>
                    <a:pt x="771" y="657"/>
                  </a:lnTo>
                  <a:lnTo>
                    <a:pt x="772" y="657"/>
                  </a:lnTo>
                  <a:lnTo>
                    <a:pt x="774" y="659"/>
                  </a:lnTo>
                  <a:lnTo>
                    <a:pt x="774" y="657"/>
                  </a:lnTo>
                  <a:lnTo>
                    <a:pt x="776" y="657"/>
                  </a:lnTo>
                  <a:lnTo>
                    <a:pt x="776" y="655"/>
                  </a:lnTo>
                  <a:close/>
                  <a:moveTo>
                    <a:pt x="494" y="680"/>
                  </a:moveTo>
                  <a:lnTo>
                    <a:pt x="493" y="680"/>
                  </a:lnTo>
                  <a:lnTo>
                    <a:pt x="493" y="681"/>
                  </a:lnTo>
                  <a:lnTo>
                    <a:pt x="491" y="683"/>
                  </a:lnTo>
                  <a:lnTo>
                    <a:pt x="489" y="683"/>
                  </a:lnTo>
                  <a:lnTo>
                    <a:pt x="488" y="683"/>
                  </a:lnTo>
                  <a:lnTo>
                    <a:pt x="486" y="683"/>
                  </a:lnTo>
                  <a:lnTo>
                    <a:pt x="484" y="683"/>
                  </a:lnTo>
                  <a:lnTo>
                    <a:pt x="484" y="681"/>
                  </a:lnTo>
                  <a:lnTo>
                    <a:pt x="484" y="680"/>
                  </a:lnTo>
                  <a:lnTo>
                    <a:pt x="486" y="680"/>
                  </a:lnTo>
                  <a:lnTo>
                    <a:pt x="488" y="680"/>
                  </a:lnTo>
                  <a:lnTo>
                    <a:pt x="489" y="680"/>
                  </a:lnTo>
                  <a:lnTo>
                    <a:pt x="489" y="681"/>
                  </a:lnTo>
                  <a:lnTo>
                    <a:pt x="491" y="680"/>
                  </a:lnTo>
                  <a:lnTo>
                    <a:pt x="491" y="678"/>
                  </a:lnTo>
                  <a:lnTo>
                    <a:pt x="493" y="678"/>
                  </a:lnTo>
                  <a:lnTo>
                    <a:pt x="493" y="680"/>
                  </a:lnTo>
                  <a:lnTo>
                    <a:pt x="494" y="680"/>
                  </a:lnTo>
                  <a:close/>
                  <a:moveTo>
                    <a:pt x="537" y="369"/>
                  </a:moveTo>
                  <a:lnTo>
                    <a:pt x="537" y="371"/>
                  </a:lnTo>
                  <a:lnTo>
                    <a:pt x="537" y="372"/>
                  </a:lnTo>
                  <a:lnTo>
                    <a:pt x="538" y="372"/>
                  </a:lnTo>
                  <a:lnTo>
                    <a:pt x="538" y="374"/>
                  </a:lnTo>
                  <a:lnTo>
                    <a:pt x="538" y="376"/>
                  </a:lnTo>
                  <a:lnTo>
                    <a:pt x="537" y="377"/>
                  </a:lnTo>
                  <a:lnTo>
                    <a:pt x="537" y="379"/>
                  </a:lnTo>
                  <a:lnTo>
                    <a:pt x="535" y="379"/>
                  </a:lnTo>
                  <a:lnTo>
                    <a:pt x="533" y="379"/>
                  </a:lnTo>
                  <a:lnTo>
                    <a:pt x="533" y="377"/>
                  </a:lnTo>
                  <a:lnTo>
                    <a:pt x="535" y="377"/>
                  </a:lnTo>
                  <a:lnTo>
                    <a:pt x="535" y="376"/>
                  </a:lnTo>
                  <a:lnTo>
                    <a:pt x="535" y="374"/>
                  </a:lnTo>
                  <a:lnTo>
                    <a:pt x="535" y="372"/>
                  </a:lnTo>
                  <a:lnTo>
                    <a:pt x="535" y="371"/>
                  </a:lnTo>
                  <a:lnTo>
                    <a:pt x="535" y="369"/>
                  </a:lnTo>
                  <a:lnTo>
                    <a:pt x="537" y="369"/>
                  </a:lnTo>
                  <a:close/>
                  <a:moveTo>
                    <a:pt x="327" y="794"/>
                  </a:moveTo>
                  <a:lnTo>
                    <a:pt x="327" y="795"/>
                  </a:lnTo>
                  <a:lnTo>
                    <a:pt x="325" y="795"/>
                  </a:lnTo>
                  <a:lnTo>
                    <a:pt x="325" y="797"/>
                  </a:lnTo>
                  <a:lnTo>
                    <a:pt x="325" y="799"/>
                  </a:lnTo>
                  <a:lnTo>
                    <a:pt x="327" y="799"/>
                  </a:lnTo>
                  <a:lnTo>
                    <a:pt x="327" y="800"/>
                  </a:lnTo>
                  <a:lnTo>
                    <a:pt x="325" y="800"/>
                  </a:lnTo>
                  <a:lnTo>
                    <a:pt x="325" y="799"/>
                  </a:lnTo>
                  <a:lnTo>
                    <a:pt x="323" y="799"/>
                  </a:lnTo>
                  <a:lnTo>
                    <a:pt x="325" y="797"/>
                  </a:lnTo>
                  <a:lnTo>
                    <a:pt x="323" y="797"/>
                  </a:lnTo>
                  <a:lnTo>
                    <a:pt x="323" y="799"/>
                  </a:lnTo>
                  <a:lnTo>
                    <a:pt x="322" y="799"/>
                  </a:lnTo>
                  <a:lnTo>
                    <a:pt x="322" y="797"/>
                  </a:lnTo>
                  <a:lnTo>
                    <a:pt x="322" y="795"/>
                  </a:lnTo>
                  <a:lnTo>
                    <a:pt x="323" y="795"/>
                  </a:lnTo>
                  <a:lnTo>
                    <a:pt x="322" y="795"/>
                  </a:lnTo>
                  <a:lnTo>
                    <a:pt x="322" y="794"/>
                  </a:lnTo>
                  <a:lnTo>
                    <a:pt x="322" y="792"/>
                  </a:lnTo>
                  <a:lnTo>
                    <a:pt x="323" y="792"/>
                  </a:lnTo>
                  <a:lnTo>
                    <a:pt x="325" y="792"/>
                  </a:lnTo>
                  <a:lnTo>
                    <a:pt x="327" y="794"/>
                  </a:lnTo>
                  <a:close/>
                  <a:moveTo>
                    <a:pt x="483" y="628"/>
                  </a:moveTo>
                  <a:lnTo>
                    <a:pt x="484" y="628"/>
                  </a:lnTo>
                  <a:lnTo>
                    <a:pt x="486" y="628"/>
                  </a:lnTo>
                  <a:lnTo>
                    <a:pt x="486" y="629"/>
                  </a:lnTo>
                  <a:lnTo>
                    <a:pt x="488" y="629"/>
                  </a:lnTo>
                  <a:lnTo>
                    <a:pt x="486" y="629"/>
                  </a:lnTo>
                  <a:lnTo>
                    <a:pt x="486" y="631"/>
                  </a:lnTo>
                  <a:lnTo>
                    <a:pt x="484" y="631"/>
                  </a:lnTo>
                  <a:lnTo>
                    <a:pt x="484" y="633"/>
                  </a:lnTo>
                  <a:lnTo>
                    <a:pt x="483" y="633"/>
                  </a:lnTo>
                  <a:lnTo>
                    <a:pt x="481" y="633"/>
                  </a:lnTo>
                  <a:lnTo>
                    <a:pt x="481" y="631"/>
                  </a:lnTo>
                  <a:lnTo>
                    <a:pt x="483" y="628"/>
                  </a:lnTo>
                  <a:close/>
                  <a:moveTo>
                    <a:pt x="750" y="903"/>
                  </a:moveTo>
                  <a:lnTo>
                    <a:pt x="751" y="903"/>
                  </a:lnTo>
                  <a:lnTo>
                    <a:pt x="753" y="904"/>
                  </a:lnTo>
                  <a:lnTo>
                    <a:pt x="753" y="903"/>
                  </a:lnTo>
                  <a:lnTo>
                    <a:pt x="753" y="904"/>
                  </a:lnTo>
                  <a:lnTo>
                    <a:pt x="753" y="906"/>
                  </a:lnTo>
                  <a:lnTo>
                    <a:pt x="753" y="908"/>
                  </a:lnTo>
                  <a:lnTo>
                    <a:pt x="753" y="906"/>
                  </a:lnTo>
                  <a:lnTo>
                    <a:pt x="751" y="906"/>
                  </a:lnTo>
                  <a:lnTo>
                    <a:pt x="751" y="908"/>
                  </a:lnTo>
                  <a:lnTo>
                    <a:pt x="750" y="906"/>
                  </a:lnTo>
                  <a:lnTo>
                    <a:pt x="751" y="906"/>
                  </a:lnTo>
                  <a:lnTo>
                    <a:pt x="750" y="906"/>
                  </a:lnTo>
                  <a:lnTo>
                    <a:pt x="750" y="908"/>
                  </a:lnTo>
                  <a:lnTo>
                    <a:pt x="750" y="906"/>
                  </a:lnTo>
                  <a:lnTo>
                    <a:pt x="748" y="906"/>
                  </a:lnTo>
                  <a:lnTo>
                    <a:pt x="746" y="906"/>
                  </a:lnTo>
                  <a:lnTo>
                    <a:pt x="746" y="904"/>
                  </a:lnTo>
                  <a:lnTo>
                    <a:pt x="748" y="904"/>
                  </a:lnTo>
                  <a:lnTo>
                    <a:pt x="748" y="903"/>
                  </a:lnTo>
                  <a:lnTo>
                    <a:pt x="750" y="903"/>
                  </a:lnTo>
                  <a:close/>
                  <a:moveTo>
                    <a:pt x="0" y="392"/>
                  </a:moveTo>
                  <a:lnTo>
                    <a:pt x="1" y="390"/>
                  </a:lnTo>
                  <a:lnTo>
                    <a:pt x="3" y="390"/>
                  </a:lnTo>
                  <a:lnTo>
                    <a:pt x="5" y="390"/>
                  </a:lnTo>
                  <a:lnTo>
                    <a:pt x="5" y="389"/>
                  </a:lnTo>
                  <a:lnTo>
                    <a:pt x="6" y="389"/>
                  </a:lnTo>
                  <a:lnTo>
                    <a:pt x="6" y="390"/>
                  </a:lnTo>
                  <a:lnTo>
                    <a:pt x="5" y="390"/>
                  </a:lnTo>
                  <a:lnTo>
                    <a:pt x="5" y="392"/>
                  </a:lnTo>
                  <a:lnTo>
                    <a:pt x="5" y="394"/>
                  </a:lnTo>
                  <a:lnTo>
                    <a:pt x="3" y="394"/>
                  </a:lnTo>
                  <a:lnTo>
                    <a:pt x="1" y="394"/>
                  </a:lnTo>
                  <a:lnTo>
                    <a:pt x="0" y="394"/>
                  </a:lnTo>
                  <a:lnTo>
                    <a:pt x="1" y="394"/>
                  </a:lnTo>
                  <a:lnTo>
                    <a:pt x="0" y="394"/>
                  </a:lnTo>
                  <a:lnTo>
                    <a:pt x="0" y="392"/>
                  </a:lnTo>
                  <a:close/>
                  <a:moveTo>
                    <a:pt x="833" y="574"/>
                  </a:moveTo>
                  <a:lnTo>
                    <a:pt x="834" y="574"/>
                  </a:lnTo>
                  <a:lnTo>
                    <a:pt x="836" y="576"/>
                  </a:lnTo>
                  <a:lnTo>
                    <a:pt x="836" y="577"/>
                  </a:lnTo>
                  <a:lnTo>
                    <a:pt x="836" y="579"/>
                  </a:lnTo>
                  <a:lnTo>
                    <a:pt x="834" y="579"/>
                  </a:lnTo>
                  <a:lnTo>
                    <a:pt x="834" y="577"/>
                  </a:lnTo>
                  <a:lnTo>
                    <a:pt x="833" y="577"/>
                  </a:lnTo>
                  <a:lnTo>
                    <a:pt x="831" y="577"/>
                  </a:lnTo>
                  <a:lnTo>
                    <a:pt x="831" y="579"/>
                  </a:lnTo>
                  <a:lnTo>
                    <a:pt x="829" y="579"/>
                  </a:lnTo>
                  <a:lnTo>
                    <a:pt x="831" y="577"/>
                  </a:lnTo>
                  <a:lnTo>
                    <a:pt x="831" y="576"/>
                  </a:lnTo>
                  <a:lnTo>
                    <a:pt x="833" y="577"/>
                  </a:lnTo>
                  <a:lnTo>
                    <a:pt x="833" y="576"/>
                  </a:lnTo>
                  <a:lnTo>
                    <a:pt x="833" y="574"/>
                  </a:lnTo>
                  <a:close/>
                  <a:moveTo>
                    <a:pt x="850" y="655"/>
                  </a:moveTo>
                  <a:lnTo>
                    <a:pt x="852" y="655"/>
                  </a:lnTo>
                  <a:lnTo>
                    <a:pt x="852" y="657"/>
                  </a:lnTo>
                  <a:lnTo>
                    <a:pt x="852" y="655"/>
                  </a:lnTo>
                  <a:lnTo>
                    <a:pt x="854" y="655"/>
                  </a:lnTo>
                  <a:lnTo>
                    <a:pt x="855" y="655"/>
                  </a:lnTo>
                  <a:lnTo>
                    <a:pt x="855" y="657"/>
                  </a:lnTo>
                  <a:lnTo>
                    <a:pt x="852" y="659"/>
                  </a:lnTo>
                  <a:lnTo>
                    <a:pt x="852" y="657"/>
                  </a:lnTo>
                  <a:lnTo>
                    <a:pt x="854" y="657"/>
                  </a:lnTo>
                  <a:lnTo>
                    <a:pt x="852" y="657"/>
                  </a:lnTo>
                  <a:lnTo>
                    <a:pt x="850" y="659"/>
                  </a:lnTo>
                  <a:lnTo>
                    <a:pt x="852" y="659"/>
                  </a:lnTo>
                  <a:lnTo>
                    <a:pt x="850" y="659"/>
                  </a:lnTo>
                  <a:lnTo>
                    <a:pt x="850" y="660"/>
                  </a:lnTo>
                  <a:lnTo>
                    <a:pt x="850" y="659"/>
                  </a:lnTo>
                  <a:lnTo>
                    <a:pt x="849" y="660"/>
                  </a:lnTo>
                  <a:lnTo>
                    <a:pt x="847" y="660"/>
                  </a:lnTo>
                  <a:lnTo>
                    <a:pt x="847" y="659"/>
                  </a:lnTo>
                  <a:lnTo>
                    <a:pt x="849" y="659"/>
                  </a:lnTo>
                  <a:lnTo>
                    <a:pt x="850" y="659"/>
                  </a:lnTo>
                  <a:lnTo>
                    <a:pt x="849" y="659"/>
                  </a:lnTo>
                  <a:lnTo>
                    <a:pt x="847" y="659"/>
                  </a:lnTo>
                  <a:lnTo>
                    <a:pt x="847" y="657"/>
                  </a:lnTo>
                  <a:lnTo>
                    <a:pt x="849" y="657"/>
                  </a:lnTo>
                  <a:lnTo>
                    <a:pt x="850" y="657"/>
                  </a:lnTo>
                  <a:lnTo>
                    <a:pt x="849" y="657"/>
                  </a:lnTo>
                  <a:lnTo>
                    <a:pt x="850" y="657"/>
                  </a:lnTo>
                  <a:lnTo>
                    <a:pt x="850" y="655"/>
                  </a:lnTo>
                  <a:lnTo>
                    <a:pt x="850" y="657"/>
                  </a:lnTo>
                  <a:lnTo>
                    <a:pt x="850" y="655"/>
                  </a:lnTo>
                  <a:lnTo>
                    <a:pt x="850" y="654"/>
                  </a:lnTo>
                  <a:lnTo>
                    <a:pt x="850" y="655"/>
                  </a:lnTo>
                  <a:close/>
                  <a:moveTo>
                    <a:pt x="317" y="792"/>
                  </a:moveTo>
                  <a:lnTo>
                    <a:pt x="317" y="794"/>
                  </a:lnTo>
                  <a:lnTo>
                    <a:pt x="317" y="795"/>
                  </a:lnTo>
                  <a:lnTo>
                    <a:pt x="315" y="797"/>
                  </a:lnTo>
                  <a:lnTo>
                    <a:pt x="315" y="795"/>
                  </a:lnTo>
                  <a:lnTo>
                    <a:pt x="315" y="794"/>
                  </a:lnTo>
                  <a:lnTo>
                    <a:pt x="315" y="792"/>
                  </a:lnTo>
                  <a:lnTo>
                    <a:pt x="315" y="790"/>
                  </a:lnTo>
                  <a:lnTo>
                    <a:pt x="315" y="789"/>
                  </a:lnTo>
                  <a:lnTo>
                    <a:pt x="315" y="787"/>
                  </a:lnTo>
                  <a:lnTo>
                    <a:pt x="317" y="787"/>
                  </a:lnTo>
                  <a:lnTo>
                    <a:pt x="317" y="789"/>
                  </a:lnTo>
                  <a:lnTo>
                    <a:pt x="319" y="789"/>
                  </a:lnTo>
                  <a:lnTo>
                    <a:pt x="317" y="789"/>
                  </a:lnTo>
                  <a:lnTo>
                    <a:pt x="319" y="790"/>
                  </a:lnTo>
                  <a:lnTo>
                    <a:pt x="319" y="792"/>
                  </a:lnTo>
                  <a:lnTo>
                    <a:pt x="317" y="792"/>
                  </a:lnTo>
                  <a:close/>
                  <a:moveTo>
                    <a:pt x="740" y="761"/>
                  </a:moveTo>
                  <a:lnTo>
                    <a:pt x="741" y="761"/>
                  </a:lnTo>
                  <a:lnTo>
                    <a:pt x="741" y="763"/>
                  </a:lnTo>
                  <a:lnTo>
                    <a:pt x="740" y="763"/>
                  </a:lnTo>
                  <a:lnTo>
                    <a:pt x="740" y="764"/>
                  </a:lnTo>
                  <a:lnTo>
                    <a:pt x="741" y="764"/>
                  </a:lnTo>
                  <a:lnTo>
                    <a:pt x="741" y="766"/>
                  </a:lnTo>
                  <a:lnTo>
                    <a:pt x="741" y="768"/>
                  </a:lnTo>
                  <a:lnTo>
                    <a:pt x="741" y="766"/>
                  </a:lnTo>
                  <a:lnTo>
                    <a:pt x="741" y="768"/>
                  </a:lnTo>
                  <a:lnTo>
                    <a:pt x="740" y="766"/>
                  </a:lnTo>
                  <a:lnTo>
                    <a:pt x="738" y="766"/>
                  </a:lnTo>
                  <a:lnTo>
                    <a:pt x="738" y="764"/>
                  </a:lnTo>
                  <a:lnTo>
                    <a:pt x="738" y="763"/>
                  </a:lnTo>
                  <a:lnTo>
                    <a:pt x="738" y="761"/>
                  </a:lnTo>
                  <a:lnTo>
                    <a:pt x="740" y="760"/>
                  </a:lnTo>
                  <a:lnTo>
                    <a:pt x="740" y="761"/>
                  </a:lnTo>
                  <a:close/>
                  <a:moveTo>
                    <a:pt x="1229" y="691"/>
                  </a:moveTo>
                  <a:lnTo>
                    <a:pt x="1231" y="691"/>
                  </a:lnTo>
                  <a:lnTo>
                    <a:pt x="1233" y="691"/>
                  </a:lnTo>
                  <a:lnTo>
                    <a:pt x="1231" y="691"/>
                  </a:lnTo>
                  <a:lnTo>
                    <a:pt x="1231" y="693"/>
                  </a:lnTo>
                  <a:lnTo>
                    <a:pt x="1229" y="693"/>
                  </a:lnTo>
                  <a:lnTo>
                    <a:pt x="1229" y="695"/>
                  </a:lnTo>
                  <a:lnTo>
                    <a:pt x="1229" y="696"/>
                  </a:lnTo>
                  <a:lnTo>
                    <a:pt x="1228" y="696"/>
                  </a:lnTo>
                  <a:lnTo>
                    <a:pt x="1228" y="695"/>
                  </a:lnTo>
                  <a:lnTo>
                    <a:pt x="1228" y="691"/>
                  </a:lnTo>
                  <a:lnTo>
                    <a:pt x="1229" y="690"/>
                  </a:lnTo>
                  <a:lnTo>
                    <a:pt x="1231" y="690"/>
                  </a:lnTo>
                  <a:lnTo>
                    <a:pt x="1229" y="690"/>
                  </a:lnTo>
                  <a:lnTo>
                    <a:pt x="1229" y="691"/>
                  </a:lnTo>
                  <a:close/>
                  <a:moveTo>
                    <a:pt x="603" y="737"/>
                  </a:moveTo>
                  <a:lnTo>
                    <a:pt x="605" y="737"/>
                  </a:lnTo>
                  <a:lnTo>
                    <a:pt x="606" y="737"/>
                  </a:lnTo>
                  <a:lnTo>
                    <a:pt x="608" y="738"/>
                  </a:lnTo>
                  <a:lnTo>
                    <a:pt x="606" y="738"/>
                  </a:lnTo>
                  <a:lnTo>
                    <a:pt x="606" y="740"/>
                  </a:lnTo>
                  <a:lnTo>
                    <a:pt x="606" y="742"/>
                  </a:lnTo>
                  <a:lnTo>
                    <a:pt x="605" y="742"/>
                  </a:lnTo>
                  <a:lnTo>
                    <a:pt x="605" y="740"/>
                  </a:lnTo>
                  <a:lnTo>
                    <a:pt x="603" y="740"/>
                  </a:lnTo>
                  <a:lnTo>
                    <a:pt x="603" y="738"/>
                  </a:lnTo>
                  <a:lnTo>
                    <a:pt x="603" y="737"/>
                  </a:lnTo>
                  <a:close/>
                  <a:moveTo>
                    <a:pt x="748" y="696"/>
                  </a:moveTo>
                  <a:lnTo>
                    <a:pt x="748" y="695"/>
                  </a:lnTo>
                  <a:lnTo>
                    <a:pt x="750" y="695"/>
                  </a:lnTo>
                  <a:lnTo>
                    <a:pt x="750" y="696"/>
                  </a:lnTo>
                  <a:lnTo>
                    <a:pt x="750" y="698"/>
                  </a:lnTo>
                  <a:lnTo>
                    <a:pt x="751" y="698"/>
                  </a:lnTo>
                  <a:lnTo>
                    <a:pt x="751" y="699"/>
                  </a:lnTo>
                  <a:lnTo>
                    <a:pt x="751" y="698"/>
                  </a:lnTo>
                  <a:lnTo>
                    <a:pt x="751" y="699"/>
                  </a:lnTo>
                  <a:lnTo>
                    <a:pt x="751" y="701"/>
                  </a:lnTo>
                  <a:lnTo>
                    <a:pt x="750" y="701"/>
                  </a:lnTo>
                  <a:lnTo>
                    <a:pt x="750" y="699"/>
                  </a:lnTo>
                  <a:lnTo>
                    <a:pt x="748" y="699"/>
                  </a:lnTo>
                  <a:lnTo>
                    <a:pt x="746" y="699"/>
                  </a:lnTo>
                  <a:lnTo>
                    <a:pt x="746" y="698"/>
                  </a:lnTo>
                  <a:lnTo>
                    <a:pt x="746" y="699"/>
                  </a:lnTo>
                  <a:lnTo>
                    <a:pt x="746" y="698"/>
                  </a:lnTo>
                  <a:lnTo>
                    <a:pt x="746" y="696"/>
                  </a:lnTo>
                  <a:lnTo>
                    <a:pt x="748" y="696"/>
                  </a:lnTo>
                  <a:close/>
                  <a:moveTo>
                    <a:pt x="891" y="743"/>
                  </a:moveTo>
                  <a:lnTo>
                    <a:pt x="893" y="743"/>
                  </a:lnTo>
                  <a:lnTo>
                    <a:pt x="893" y="742"/>
                  </a:lnTo>
                  <a:lnTo>
                    <a:pt x="894" y="742"/>
                  </a:lnTo>
                  <a:lnTo>
                    <a:pt x="896" y="743"/>
                  </a:lnTo>
                  <a:lnTo>
                    <a:pt x="896" y="745"/>
                  </a:lnTo>
                  <a:lnTo>
                    <a:pt x="896" y="747"/>
                  </a:lnTo>
                  <a:lnTo>
                    <a:pt x="894" y="747"/>
                  </a:lnTo>
                  <a:lnTo>
                    <a:pt x="894" y="745"/>
                  </a:lnTo>
                  <a:lnTo>
                    <a:pt x="894" y="747"/>
                  </a:lnTo>
                  <a:lnTo>
                    <a:pt x="893" y="747"/>
                  </a:lnTo>
                  <a:lnTo>
                    <a:pt x="893" y="745"/>
                  </a:lnTo>
                  <a:lnTo>
                    <a:pt x="891" y="743"/>
                  </a:lnTo>
                  <a:close/>
                  <a:moveTo>
                    <a:pt x="686" y="696"/>
                  </a:moveTo>
                  <a:lnTo>
                    <a:pt x="688" y="696"/>
                  </a:lnTo>
                  <a:lnTo>
                    <a:pt x="689" y="696"/>
                  </a:lnTo>
                  <a:lnTo>
                    <a:pt x="691" y="696"/>
                  </a:lnTo>
                  <a:lnTo>
                    <a:pt x="691" y="698"/>
                  </a:lnTo>
                  <a:lnTo>
                    <a:pt x="689" y="698"/>
                  </a:lnTo>
                  <a:lnTo>
                    <a:pt x="689" y="699"/>
                  </a:lnTo>
                  <a:lnTo>
                    <a:pt x="688" y="699"/>
                  </a:lnTo>
                  <a:lnTo>
                    <a:pt x="688" y="698"/>
                  </a:lnTo>
                  <a:lnTo>
                    <a:pt x="688" y="699"/>
                  </a:lnTo>
                  <a:lnTo>
                    <a:pt x="686" y="699"/>
                  </a:lnTo>
                  <a:lnTo>
                    <a:pt x="686" y="698"/>
                  </a:lnTo>
                  <a:lnTo>
                    <a:pt x="685" y="698"/>
                  </a:lnTo>
                  <a:lnTo>
                    <a:pt x="686" y="698"/>
                  </a:lnTo>
                  <a:lnTo>
                    <a:pt x="686" y="696"/>
                  </a:lnTo>
                  <a:close/>
                  <a:moveTo>
                    <a:pt x="486" y="247"/>
                  </a:moveTo>
                  <a:lnTo>
                    <a:pt x="488" y="249"/>
                  </a:lnTo>
                  <a:lnTo>
                    <a:pt x="486" y="249"/>
                  </a:lnTo>
                  <a:lnTo>
                    <a:pt x="488" y="249"/>
                  </a:lnTo>
                  <a:lnTo>
                    <a:pt x="489" y="249"/>
                  </a:lnTo>
                  <a:lnTo>
                    <a:pt x="489" y="250"/>
                  </a:lnTo>
                  <a:lnTo>
                    <a:pt x="488" y="250"/>
                  </a:lnTo>
                  <a:lnTo>
                    <a:pt x="486" y="250"/>
                  </a:lnTo>
                  <a:lnTo>
                    <a:pt x="486" y="249"/>
                  </a:lnTo>
                  <a:lnTo>
                    <a:pt x="484" y="250"/>
                  </a:lnTo>
                  <a:lnTo>
                    <a:pt x="484" y="249"/>
                  </a:lnTo>
                  <a:lnTo>
                    <a:pt x="483" y="249"/>
                  </a:lnTo>
                  <a:lnTo>
                    <a:pt x="483" y="247"/>
                  </a:lnTo>
                  <a:lnTo>
                    <a:pt x="484" y="247"/>
                  </a:lnTo>
                  <a:lnTo>
                    <a:pt x="486" y="246"/>
                  </a:lnTo>
                  <a:lnTo>
                    <a:pt x="486" y="247"/>
                  </a:lnTo>
                  <a:close/>
                  <a:moveTo>
                    <a:pt x="1013" y="725"/>
                  </a:moveTo>
                  <a:lnTo>
                    <a:pt x="1015" y="725"/>
                  </a:lnTo>
                  <a:lnTo>
                    <a:pt x="1015" y="727"/>
                  </a:lnTo>
                  <a:lnTo>
                    <a:pt x="1015" y="729"/>
                  </a:lnTo>
                  <a:lnTo>
                    <a:pt x="1015" y="730"/>
                  </a:lnTo>
                  <a:lnTo>
                    <a:pt x="1013" y="729"/>
                  </a:lnTo>
                  <a:lnTo>
                    <a:pt x="1013" y="730"/>
                  </a:lnTo>
                  <a:lnTo>
                    <a:pt x="1013" y="732"/>
                  </a:lnTo>
                  <a:lnTo>
                    <a:pt x="1011" y="730"/>
                  </a:lnTo>
                  <a:lnTo>
                    <a:pt x="1013" y="730"/>
                  </a:lnTo>
                  <a:lnTo>
                    <a:pt x="1013" y="729"/>
                  </a:lnTo>
                  <a:lnTo>
                    <a:pt x="1013" y="727"/>
                  </a:lnTo>
                  <a:lnTo>
                    <a:pt x="1013" y="729"/>
                  </a:lnTo>
                  <a:lnTo>
                    <a:pt x="1011" y="729"/>
                  </a:lnTo>
                  <a:lnTo>
                    <a:pt x="1011" y="730"/>
                  </a:lnTo>
                  <a:lnTo>
                    <a:pt x="1011" y="729"/>
                  </a:lnTo>
                  <a:lnTo>
                    <a:pt x="1010" y="729"/>
                  </a:lnTo>
                  <a:lnTo>
                    <a:pt x="1011" y="729"/>
                  </a:lnTo>
                  <a:lnTo>
                    <a:pt x="1011" y="727"/>
                  </a:lnTo>
                  <a:lnTo>
                    <a:pt x="1011" y="725"/>
                  </a:lnTo>
                  <a:lnTo>
                    <a:pt x="1013" y="725"/>
                  </a:lnTo>
                  <a:close/>
                  <a:moveTo>
                    <a:pt x="537" y="416"/>
                  </a:moveTo>
                  <a:lnTo>
                    <a:pt x="538" y="416"/>
                  </a:lnTo>
                  <a:lnTo>
                    <a:pt x="538" y="418"/>
                  </a:lnTo>
                  <a:lnTo>
                    <a:pt x="538" y="420"/>
                  </a:lnTo>
                  <a:lnTo>
                    <a:pt x="538" y="421"/>
                  </a:lnTo>
                  <a:lnTo>
                    <a:pt x="538" y="420"/>
                  </a:lnTo>
                  <a:lnTo>
                    <a:pt x="538" y="421"/>
                  </a:lnTo>
                  <a:lnTo>
                    <a:pt x="538" y="420"/>
                  </a:lnTo>
                  <a:lnTo>
                    <a:pt x="540" y="420"/>
                  </a:lnTo>
                  <a:lnTo>
                    <a:pt x="540" y="421"/>
                  </a:lnTo>
                  <a:lnTo>
                    <a:pt x="538" y="421"/>
                  </a:lnTo>
                  <a:lnTo>
                    <a:pt x="540" y="421"/>
                  </a:lnTo>
                  <a:lnTo>
                    <a:pt x="538" y="423"/>
                  </a:lnTo>
                  <a:lnTo>
                    <a:pt x="537" y="423"/>
                  </a:lnTo>
                  <a:lnTo>
                    <a:pt x="537" y="421"/>
                  </a:lnTo>
                  <a:lnTo>
                    <a:pt x="538" y="421"/>
                  </a:lnTo>
                  <a:lnTo>
                    <a:pt x="537" y="421"/>
                  </a:lnTo>
                  <a:lnTo>
                    <a:pt x="537" y="420"/>
                  </a:lnTo>
                  <a:lnTo>
                    <a:pt x="535" y="418"/>
                  </a:lnTo>
                  <a:lnTo>
                    <a:pt x="537" y="416"/>
                  </a:lnTo>
                  <a:close/>
                  <a:moveTo>
                    <a:pt x="870" y="595"/>
                  </a:moveTo>
                  <a:lnTo>
                    <a:pt x="872" y="595"/>
                  </a:lnTo>
                  <a:lnTo>
                    <a:pt x="872" y="597"/>
                  </a:lnTo>
                  <a:lnTo>
                    <a:pt x="873" y="597"/>
                  </a:lnTo>
                  <a:lnTo>
                    <a:pt x="875" y="599"/>
                  </a:lnTo>
                  <a:lnTo>
                    <a:pt x="873" y="600"/>
                  </a:lnTo>
                  <a:lnTo>
                    <a:pt x="875" y="600"/>
                  </a:lnTo>
                  <a:lnTo>
                    <a:pt x="873" y="600"/>
                  </a:lnTo>
                  <a:lnTo>
                    <a:pt x="873" y="599"/>
                  </a:lnTo>
                  <a:lnTo>
                    <a:pt x="872" y="599"/>
                  </a:lnTo>
                  <a:lnTo>
                    <a:pt x="873" y="599"/>
                  </a:lnTo>
                  <a:lnTo>
                    <a:pt x="872" y="599"/>
                  </a:lnTo>
                  <a:lnTo>
                    <a:pt x="872" y="597"/>
                  </a:lnTo>
                  <a:lnTo>
                    <a:pt x="870" y="597"/>
                  </a:lnTo>
                  <a:lnTo>
                    <a:pt x="870" y="595"/>
                  </a:lnTo>
                  <a:lnTo>
                    <a:pt x="868" y="595"/>
                  </a:lnTo>
                  <a:lnTo>
                    <a:pt x="870" y="595"/>
                  </a:lnTo>
                  <a:lnTo>
                    <a:pt x="870" y="594"/>
                  </a:lnTo>
                  <a:lnTo>
                    <a:pt x="870" y="595"/>
                  </a:lnTo>
                  <a:close/>
                  <a:moveTo>
                    <a:pt x="195" y="545"/>
                  </a:moveTo>
                  <a:lnTo>
                    <a:pt x="195" y="547"/>
                  </a:lnTo>
                  <a:lnTo>
                    <a:pt x="195" y="548"/>
                  </a:lnTo>
                  <a:lnTo>
                    <a:pt x="193" y="550"/>
                  </a:lnTo>
                  <a:lnTo>
                    <a:pt x="193" y="551"/>
                  </a:lnTo>
                  <a:lnTo>
                    <a:pt x="193" y="553"/>
                  </a:lnTo>
                  <a:lnTo>
                    <a:pt x="192" y="553"/>
                  </a:lnTo>
                  <a:lnTo>
                    <a:pt x="193" y="555"/>
                  </a:lnTo>
                  <a:lnTo>
                    <a:pt x="192" y="555"/>
                  </a:lnTo>
                  <a:lnTo>
                    <a:pt x="192" y="553"/>
                  </a:lnTo>
                  <a:lnTo>
                    <a:pt x="192" y="551"/>
                  </a:lnTo>
                  <a:lnTo>
                    <a:pt x="192" y="550"/>
                  </a:lnTo>
                  <a:lnTo>
                    <a:pt x="193" y="550"/>
                  </a:lnTo>
                  <a:lnTo>
                    <a:pt x="193" y="547"/>
                  </a:lnTo>
                  <a:lnTo>
                    <a:pt x="195" y="545"/>
                  </a:lnTo>
                  <a:close/>
                  <a:moveTo>
                    <a:pt x="816" y="916"/>
                  </a:moveTo>
                  <a:lnTo>
                    <a:pt x="816" y="917"/>
                  </a:lnTo>
                  <a:lnTo>
                    <a:pt x="816" y="919"/>
                  </a:lnTo>
                  <a:lnTo>
                    <a:pt x="818" y="919"/>
                  </a:lnTo>
                  <a:lnTo>
                    <a:pt x="816" y="919"/>
                  </a:lnTo>
                  <a:lnTo>
                    <a:pt x="815" y="919"/>
                  </a:lnTo>
                  <a:lnTo>
                    <a:pt x="815" y="917"/>
                  </a:lnTo>
                  <a:lnTo>
                    <a:pt x="815" y="916"/>
                  </a:lnTo>
                  <a:lnTo>
                    <a:pt x="813" y="916"/>
                  </a:lnTo>
                  <a:lnTo>
                    <a:pt x="815" y="914"/>
                  </a:lnTo>
                  <a:lnTo>
                    <a:pt x="816" y="914"/>
                  </a:lnTo>
                  <a:lnTo>
                    <a:pt x="816" y="916"/>
                  </a:lnTo>
                  <a:close/>
                  <a:moveTo>
                    <a:pt x="756" y="686"/>
                  </a:moveTo>
                  <a:lnTo>
                    <a:pt x="756" y="685"/>
                  </a:lnTo>
                  <a:lnTo>
                    <a:pt x="758" y="685"/>
                  </a:lnTo>
                  <a:lnTo>
                    <a:pt x="759" y="685"/>
                  </a:lnTo>
                  <a:lnTo>
                    <a:pt x="759" y="686"/>
                  </a:lnTo>
                  <a:lnTo>
                    <a:pt x="758" y="686"/>
                  </a:lnTo>
                  <a:lnTo>
                    <a:pt x="759" y="686"/>
                  </a:lnTo>
                  <a:lnTo>
                    <a:pt x="758" y="688"/>
                  </a:lnTo>
                  <a:lnTo>
                    <a:pt x="756" y="688"/>
                  </a:lnTo>
                  <a:lnTo>
                    <a:pt x="754" y="688"/>
                  </a:lnTo>
                  <a:lnTo>
                    <a:pt x="754" y="686"/>
                  </a:lnTo>
                  <a:lnTo>
                    <a:pt x="756" y="686"/>
                  </a:lnTo>
                  <a:close/>
                  <a:moveTo>
                    <a:pt x="216" y="568"/>
                  </a:moveTo>
                  <a:lnTo>
                    <a:pt x="218" y="569"/>
                  </a:lnTo>
                  <a:lnTo>
                    <a:pt x="218" y="571"/>
                  </a:lnTo>
                  <a:lnTo>
                    <a:pt x="218" y="573"/>
                  </a:lnTo>
                  <a:lnTo>
                    <a:pt x="218" y="571"/>
                  </a:lnTo>
                  <a:lnTo>
                    <a:pt x="216" y="571"/>
                  </a:lnTo>
                  <a:lnTo>
                    <a:pt x="215" y="571"/>
                  </a:lnTo>
                  <a:lnTo>
                    <a:pt x="215" y="569"/>
                  </a:lnTo>
                  <a:lnTo>
                    <a:pt x="215" y="568"/>
                  </a:lnTo>
                  <a:lnTo>
                    <a:pt x="215" y="566"/>
                  </a:lnTo>
                  <a:lnTo>
                    <a:pt x="215" y="568"/>
                  </a:lnTo>
                  <a:lnTo>
                    <a:pt x="216" y="568"/>
                  </a:lnTo>
                  <a:close/>
                  <a:moveTo>
                    <a:pt x="868" y="953"/>
                  </a:moveTo>
                  <a:lnTo>
                    <a:pt x="868" y="951"/>
                  </a:lnTo>
                  <a:lnTo>
                    <a:pt x="868" y="953"/>
                  </a:lnTo>
                  <a:lnTo>
                    <a:pt x="870" y="953"/>
                  </a:lnTo>
                  <a:lnTo>
                    <a:pt x="872" y="953"/>
                  </a:lnTo>
                  <a:lnTo>
                    <a:pt x="872" y="955"/>
                  </a:lnTo>
                  <a:lnTo>
                    <a:pt x="870" y="955"/>
                  </a:lnTo>
                  <a:lnTo>
                    <a:pt x="870" y="956"/>
                  </a:lnTo>
                  <a:lnTo>
                    <a:pt x="868" y="956"/>
                  </a:lnTo>
                  <a:lnTo>
                    <a:pt x="870" y="955"/>
                  </a:lnTo>
                  <a:lnTo>
                    <a:pt x="868" y="955"/>
                  </a:lnTo>
                  <a:lnTo>
                    <a:pt x="868" y="953"/>
                  </a:lnTo>
                  <a:lnTo>
                    <a:pt x="867" y="953"/>
                  </a:lnTo>
                  <a:lnTo>
                    <a:pt x="868" y="953"/>
                  </a:lnTo>
                  <a:close/>
                  <a:moveTo>
                    <a:pt x="553" y="376"/>
                  </a:moveTo>
                  <a:lnTo>
                    <a:pt x="553" y="374"/>
                  </a:lnTo>
                  <a:lnTo>
                    <a:pt x="554" y="374"/>
                  </a:lnTo>
                  <a:lnTo>
                    <a:pt x="554" y="376"/>
                  </a:lnTo>
                  <a:lnTo>
                    <a:pt x="554" y="377"/>
                  </a:lnTo>
                  <a:lnTo>
                    <a:pt x="554" y="379"/>
                  </a:lnTo>
                  <a:lnTo>
                    <a:pt x="554" y="381"/>
                  </a:lnTo>
                  <a:lnTo>
                    <a:pt x="553" y="381"/>
                  </a:lnTo>
                  <a:lnTo>
                    <a:pt x="553" y="379"/>
                  </a:lnTo>
                  <a:lnTo>
                    <a:pt x="553" y="377"/>
                  </a:lnTo>
                  <a:lnTo>
                    <a:pt x="553" y="376"/>
                  </a:lnTo>
                  <a:close/>
                  <a:moveTo>
                    <a:pt x="899" y="646"/>
                  </a:moveTo>
                  <a:lnTo>
                    <a:pt x="899" y="644"/>
                  </a:lnTo>
                  <a:lnTo>
                    <a:pt x="901" y="644"/>
                  </a:lnTo>
                  <a:lnTo>
                    <a:pt x="902" y="644"/>
                  </a:lnTo>
                  <a:lnTo>
                    <a:pt x="904" y="646"/>
                  </a:lnTo>
                  <a:lnTo>
                    <a:pt x="904" y="647"/>
                  </a:lnTo>
                  <a:lnTo>
                    <a:pt x="902" y="647"/>
                  </a:lnTo>
                  <a:lnTo>
                    <a:pt x="904" y="647"/>
                  </a:lnTo>
                  <a:lnTo>
                    <a:pt x="902" y="647"/>
                  </a:lnTo>
                  <a:lnTo>
                    <a:pt x="904" y="647"/>
                  </a:lnTo>
                  <a:lnTo>
                    <a:pt x="902" y="647"/>
                  </a:lnTo>
                  <a:lnTo>
                    <a:pt x="901" y="647"/>
                  </a:lnTo>
                  <a:lnTo>
                    <a:pt x="901" y="646"/>
                  </a:lnTo>
                  <a:lnTo>
                    <a:pt x="899" y="646"/>
                  </a:lnTo>
                  <a:close/>
                  <a:moveTo>
                    <a:pt x="585" y="449"/>
                  </a:moveTo>
                  <a:lnTo>
                    <a:pt x="587" y="449"/>
                  </a:lnTo>
                  <a:lnTo>
                    <a:pt x="585" y="451"/>
                  </a:lnTo>
                  <a:lnTo>
                    <a:pt x="585" y="452"/>
                  </a:lnTo>
                  <a:lnTo>
                    <a:pt x="585" y="451"/>
                  </a:lnTo>
                  <a:lnTo>
                    <a:pt x="584" y="451"/>
                  </a:lnTo>
                  <a:lnTo>
                    <a:pt x="584" y="449"/>
                  </a:lnTo>
                  <a:lnTo>
                    <a:pt x="585" y="449"/>
                  </a:lnTo>
                  <a:lnTo>
                    <a:pt x="585" y="447"/>
                  </a:lnTo>
                  <a:lnTo>
                    <a:pt x="585" y="446"/>
                  </a:lnTo>
                  <a:lnTo>
                    <a:pt x="587" y="446"/>
                  </a:lnTo>
                  <a:lnTo>
                    <a:pt x="587" y="447"/>
                  </a:lnTo>
                  <a:lnTo>
                    <a:pt x="587" y="449"/>
                  </a:lnTo>
                  <a:lnTo>
                    <a:pt x="585" y="449"/>
                  </a:lnTo>
                  <a:close/>
                  <a:moveTo>
                    <a:pt x="704" y="464"/>
                  </a:moveTo>
                  <a:lnTo>
                    <a:pt x="706" y="464"/>
                  </a:lnTo>
                  <a:lnTo>
                    <a:pt x="707" y="464"/>
                  </a:lnTo>
                  <a:lnTo>
                    <a:pt x="706" y="465"/>
                  </a:lnTo>
                  <a:lnTo>
                    <a:pt x="707" y="465"/>
                  </a:lnTo>
                  <a:lnTo>
                    <a:pt x="707" y="467"/>
                  </a:lnTo>
                  <a:lnTo>
                    <a:pt x="706" y="465"/>
                  </a:lnTo>
                  <a:lnTo>
                    <a:pt x="706" y="467"/>
                  </a:lnTo>
                  <a:lnTo>
                    <a:pt x="706" y="465"/>
                  </a:lnTo>
                  <a:lnTo>
                    <a:pt x="706" y="467"/>
                  </a:lnTo>
                  <a:lnTo>
                    <a:pt x="704" y="467"/>
                  </a:lnTo>
                  <a:lnTo>
                    <a:pt x="704" y="465"/>
                  </a:lnTo>
                  <a:lnTo>
                    <a:pt x="704" y="464"/>
                  </a:lnTo>
                  <a:close/>
                  <a:moveTo>
                    <a:pt x="834" y="664"/>
                  </a:moveTo>
                  <a:lnTo>
                    <a:pt x="836" y="664"/>
                  </a:lnTo>
                  <a:lnTo>
                    <a:pt x="834" y="664"/>
                  </a:lnTo>
                  <a:lnTo>
                    <a:pt x="834" y="665"/>
                  </a:lnTo>
                  <a:lnTo>
                    <a:pt x="833" y="665"/>
                  </a:lnTo>
                  <a:lnTo>
                    <a:pt x="834" y="665"/>
                  </a:lnTo>
                  <a:lnTo>
                    <a:pt x="833" y="667"/>
                  </a:lnTo>
                  <a:lnTo>
                    <a:pt x="831" y="667"/>
                  </a:lnTo>
                  <a:lnTo>
                    <a:pt x="831" y="665"/>
                  </a:lnTo>
                  <a:lnTo>
                    <a:pt x="831" y="664"/>
                  </a:lnTo>
                  <a:lnTo>
                    <a:pt x="833" y="665"/>
                  </a:lnTo>
                  <a:lnTo>
                    <a:pt x="833" y="664"/>
                  </a:lnTo>
                  <a:lnTo>
                    <a:pt x="834" y="664"/>
                  </a:lnTo>
                  <a:close/>
                  <a:moveTo>
                    <a:pt x="219" y="582"/>
                  </a:moveTo>
                  <a:lnTo>
                    <a:pt x="221" y="582"/>
                  </a:lnTo>
                  <a:lnTo>
                    <a:pt x="221" y="584"/>
                  </a:lnTo>
                  <a:lnTo>
                    <a:pt x="221" y="586"/>
                  </a:lnTo>
                  <a:lnTo>
                    <a:pt x="219" y="586"/>
                  </a:lnTo>
                  <a:lnTo>
                    <a:pt x="219" y="587"/>
                  </a:lnTo>
                  <a:lnTo>
                    <a:pt x="219" y="589"/>
                  </a:lnTo>
                  <a:lnTo>
                    <a:pt x="219" y="587"/>
                  </a:lnTo>
                  <a:lnTo>
                    <a:pt x="218" y="587"/>
                  </a:lnTo>
                  <a:lnTo>
                    <a:pt x="218" y="586"/>
                  </a:lnTo>
                  <a:lnTo>
                    <a:pt x="219" y="586"/>
                  </a:lnTo>
                  <a:lnTo>
                    <a:pt x="219" y="584"/>
                  </a:lnTo>
                  <a:lnTo>
                    <a:pt x="219" y="582"/>
                  </a:lnTo>
                  <a:close/>
                  <a:moveTo>
                    <a:pt x="185" y="564"/>
                  </a:moveTo>
                  <a:lnTo>
                    <a:pt x="184" y="566"/>
                  </a:lnTo>
                  <a:lnTo>
                    <a:pt x="184" y="564"/>
                  </a:lnTo>
                  <a:lnTo>
                    <a:pt x="184" y="566"/>
                  </a:lnTo>
                  <a:lnTo>
                    <a:pt x="182" y="566"/>
                  </a:lnTo>
                  <a:lnTo>
                    <a:pt x="182" y="564"/>
                  </a:lnTo>
                  <a:lnTo>
                    <a:pt x="182" y="563"/>
                  </a:lnTo>
                  <a:lnTo>
                    <a:pt x="184" y="563"/>
                  </a:lnTo>
                  <a:lnTo>
                    <a:pt x="184" y="561"/>
                  </a:lnTo>
                  <a:lnTo>
                    <a:pt x="185" y="563"/>
                  </a:lnTo>
                  <a:lnTo>
                    <a:pt x="184" y="563"/>
                  </a:lnTo>
                  <a:lnTo>
                    <a:pt x="185" y="563"/>
                  </a:lnTo>
                  <a:lnTo>
                    <a:pt x="184" y="564"/>
                  </a:lnTo>
                  <a:lnTo>
                    <a:pt x="185" y="564"/>
                  </a:lnTo>
                  <a:close/>
                  <a:moveTo>
                    <a:pt x="818" y="973"/>
                  </a:moveTo>
                  <a:lnTo>
                    <a:pt x="820" y="973"/>
                  </a:lnTo>
                  <a:lnTo>
                    <a:pt x="821" y="973"/>
                  </a:lnTo>
                  <a:lnTo>
                    <a:pt x="823" y="973"/>
                  </a:lnTo>
                  <a:lnTo>
                    <a:pt x="824" y="973"/>
                  </a:lnTo>
                  <a:lnTo>
                    <a:pt x="823" y="973"/>
                  </a:lnTo>
                  <a:lnTo>
                    <a:pt x="824" y="973"/>
                  </a:lnTo>
                  <a:lnTo>
                    <a:pt x="823" y="973"/>
                  </a:lnTo>
                  <a:lnTo>
                    <a:pt x="823" y="974"/>
                  </a:lnTo>
                  <a:lnTo>
                    <a:pt x="821" y="974"/>
                  </a:lnTo>
                  <a:lnTo>
                    <a:pt x="820" y="974"/>
                  </a:lnTo>
                  <a:lnTo>
                    <a:pt x="818" y="974"/>
                  </a:lnTo>
                  <a:lnTo>
                    <a:pt x="818" y="973"/>
                  </a:lnTo>
                  <a:close/>
                  <a:moveTo>
                    <a:pt x="1020" y="668"/>
                  </a:moveTo>
                  <a:lnTo>
                    <a:pt x="1020" y="670"/>
                  </a:lnTo>
                  <a:lnTo>
                    <a:pt x="1020" y="672"/>
                  </a:lnTo>
                  <a:lnTo>
                    <a:pt x="1018" y="672"/>
                  </a:lnTo>
                  <a:lnTo>
                    <a:pt x="1016" y="672"/>
                  </a:lnTo>
                  <a:lnTo>
                    <a:pt x="1016" y="670"/>
                  </a:lnTo>
                  <a:lnTo>
                    <a:pt x="1018" y="670"/>
                  </a:lnTo>
                  <a:lnTo>
                    <a:pt x="1018" y="668"/>
                  </a:lnTo>
                  <a:lnTo>
                    <a:pt x="1020" y="668"/>
                  </a:lnTo>
                  <a:close/>
                  <a:moveTo>
                    <a:pt x="172" y="558"/>
                  </a:moveTo>
                  <a:lnTo>
                    <a:pt x="171" y="558"/>
                  </a:lnTo>
                  <a:lnTo>
                    <a:pt x="169" y="558"/>
                  </a:lnTo>
                  <a:lnTo>
                    <a:pt x="169" y="556"/>
                  </a:lnTo>
                  <a:lnTo>
                    <a:pt x="169" y="555"/>
                  </a:lnTo>
                  <a:lnTo>
                    <a:pt x="171" y="555"/>
                  </a:lnTo>
                  <a:lnTo>
                    <a:pt x="172" y="555"/>
                  </a:lnTo>
                  <a:lnTo>
                    <a:pt x="172" y="556"/>
                  </a:lnTo>
                  <a:lnTo>
                    <a:pt x="171" y="556"/>
                  </a:lnTo>
                  <a:lnTo>
                    <a:pt x="172" y="556"/>
                  </a:lnTo>
                  <a:lnTo>
                    <a:pt x="172" y="558"/>
                  </a:lnTo>
                  <a:close/>
                  <a:moveTo>
                    <a:pt x="756" y="691"/>
                  </a:moveTo>
                  <a:lnTo>
                    <a:pt x="754" y="691"/>
                  </a:lnTo>
                  <a:lnTo>
                    <a:pt x="754" y="693"/>
                  </a:lnTo>
                  <a:lnTo>
                    <a:pt x="754" y="695"/>
                  </a:lnTo>
                  <a:lnTo>
                    <a:pt x="753" y="693"/>
                  </a:lnTo>
                  <a:lnTo>
                    <a:pt x="753" y="695"/>
                  </a:lnTo>
                  <a:lnTo>
                    <a:pt x="751" y="693"/>
                  </a:lnTo>
                  <a:lnTo>
                    <a:pt x="753" y="693"/>
                  </a:lnTo>
                  <a:lnTo>
                    <a:pt x="753" y="691"/>
                  </a:lnTo>
                  <a:lnTo>
                    <a:pt x="754" y="691"/>
                  </a:lnTo>
                  <a:lnTo>
                    <a:pt x="754" y="690"/>
                  </a:lnTo>
                  <a:lnTo>
                    <a:pt x="756" y="690"/>
                  </a:lnTo>
                  <a:lnTo>
                    <a:pt x="756" y="691"/>
                  </a:lnTo>
                  <a:close/>
                  <a:moveTo>
                    <a:pt x="937" y="685"/>
                  </a:moveTo>
                  <a:lnTo>
                    <a:pt x="938" y="686"/>
                  </a:lnTo>
                  <a:lnTo>
                    <a:pt x="938" y="688"/>
                  </a:lnTo>
                  <a:lnTo>
                    <a:pt x="937" y="686"/>
                  </a:lnTo>
                  <a:lnTo>
                    <a:pt x="937" y="688"/>
                  </a:lnTo>
                  <a:lnTo>
                    <a:pt x="935" y="688"/>
                  </a:lnTo>
                  <a:lnTo>
                    <a:pt x="937" y="688"/>
                  </a:lnTo>
                  <a:lnTo>
                    <a:pt x="935" y="688"/>
                  </a:lnTo>
                  <a:lnTo>
                    <a:pt x="935" y="690"/>
                  </a:lnTo>
                  <a:lnTo>
                    <a:pt x="935" y="691"/>
                  </a:lnTo>
                  <a:lnTo>
                    <a:pt x="935" y="690"/>
                  </a:lnTo>
                  <a:lnTo>
                    <a:pt x="933" y="690"/>
                  </a:lnTo>
                  <a:lnTo>
                    <a:pt x="933" y="688"/>
                  </a:lnTo>
                  <a:lnTo>
                    <a:pt x="935" y="688"/>
                  </a:lnTo>
                  <a:lnTo>
                    <a:pt x="935" y="686"/>
                  </a:lnTo>
                  <a:lnTo>
                    <a:pt x="937" y="686"/>
                  </a:lnTo>
                  <a:lnTo>
                    <a:pt x="937" y="685"/>
                  </a:lnTo>
                  <a:close/>
                  <a:moveTo>
                    <a:pt x="569" y="447"/>
                  </a:moveTo>
                  <a:lnTo>
                    <a:pt x="571" y="447"/>
                  </a:lnTo>
                  <a:lnTo>
                    <a:pt x="572" y="447"/>
                  </a:lnTo>
                  <a:lnTo>
                    <a:pt x="572" y="449"/>
                  </a:lnTo>
                  <a:lnTo>
                    <a:pt x="571" y="449"/>
                  </a:lnTo>
                  <a:lnTo>
                    <a:pt x="571" y="451"/>
                  </a:lnTo>
                  <a:lnTo>
                    <a:pt x="569" y="451"/>
                  </a:lnTo>
                  <a:lnTo>
                    <a:pt x="569" y="449"/>
                  </a:lnTo>
                  <a:lnTo>
                    <a:pt x="569" y="447"/>
                  </a:lnTo>
                  <a:close/>
                  <a:moveTo>
                    <a:pt x="551" y="647"/>
                  </a:moveTo>
                  <a:lnTo>
                    <a:pt x="553" y="647"/>
                  </a:lnTo>
                  <a:lnTo>
                    <a:pt x="554" y="647"/>
                  </a:lnTo>
                  <a:lnTo>
                    <a:pt x="554" y="649"/>
                  </a:lnTo>
                  <a:lnTo>
                    <a:pt x="556" y="651"/>
                  </a:lnTo>
                  <a:lnTo>
                    <a:pt x="554" y="651"/>
                  </a:lnTo>
                  <a:lnTo>
                    <a:pt x="553" y="649"/>
                  </a:lnTo>
                  <a:lnTo>
                    <a:pt x="551" y="649"/>
                  </a:lnTo>
                  <a:lnTo>
                    <a:pt x="551" y="647"/>
                  </a:lnTo>
                  <a:close/>
                  <a:moveTo>
                    <a:pt x="582" y="566"/>
                  </a:moveTo>
                  <a:lnTo>
                    <a:pt x="584" y="566"/>
                  </a:lnTo>
                  <a:lnTo>
                    <a:pt x="582" y="566"/>
                  </a:lnTo>
                  <a:lnTo>
                    <a:pt x="580" y="566"/>
                  </a:lnTo>
                  <a:lnTo>
                    <a:pt x="580" y="564"/>
                  </a:lnTo>
                  <a:lnTo>
                    <a:pt x="582" y="564"/>
                  </a:lnTo>
                  <a:lnTo>
                    <a:pt x="580" y="563"/>
                  </a:lnTo>
                  <a:lnTo>
                    <a:pt x="582" y="563"/>
                  </a:lnTo>
                  <a:lnTo>
                    <a:pt x="584" y="564"/>
                  </a:lnTo>
                  <a:lnTo>
                    <a:pt x="582" y="566"/>
                  </a:lnTo>
                  <a:close/>
                  <a:moveTo>
                    <a:pt x="914" y="599"/>
                  </a:moveTo>
                  <a:lnTo>
                    <a:pt x="914" y="600"/>
                  </a:lnTo>
                  <a:lnTo>
                    <a:pt x="915" y="600"/>
                  </a:lnTo>
                  <a:lnTo>
                    <a:pt x="914" y="600"/>
                  </a:lnTo>
                  <a:lnTo>
                    <a:pt x="914" y="602"/>
                  </a:lnTo>
                  <a:lnTo>
                    <a:pt x="915" y="602"/>
                  </a:lnTo>
                  <a:lnTo>
                    <a:pt x="917" y="603"/>
                  </a:lnTo>
                  <a:lnTo>
                    <a:pt x="915" y="603"/>
                  </a:lnTo>
                  <a:lnTo>
                    <a:pt x="914" y="603"/>
                  </a:lnTo>
                  <a:lnTo>
                    <a:pt x="914" y="602"/>
                  </a:lnTo>
                  <a:lnTo>
                    <a:pt x="914" y="600"/>
                  </a:lnTo>
                  <a:lnTo>
                    <a:pt x="914" y="599"/>
                  </a:lnTo>
                  <a:close/>
                  <a:moveTo>
                    <a:pt x="106" y="478"/>
                  </a:moveTo>
                  <a:lnTo>
                    <a:pt x="107" y="478"/>
                  </a:lnTo>
                  <a:lnTo>
                    <a:pt x="107" y="480"/>
                  </a:lnTo>
                  <a:lnTo>
                    <a:pt x="109" y="480"/>
                  </a:lnTo>
                  <a:lnTo>
                    <a:pt x="109" y="481"/>
                  </a:lnTo>
                  <a:lnTo>
                    <a:pt x="107" y="481"/>
                  </a:lnTo>
                  <a:lnTo>
                    <a:pt x="107" y="480"/>
                  </a:lnTo>
                  <a:lnTo>
                    <a:pt x="106" y="480"/>
                  </a:lnTo>
                  <a:lnTo>
                    <a:pt x="104" y="478"/>
                  </a:lnTo>
                  <a:lnTo>
                    <a:pt x="106" y="478"/>
                  </a:lnTo>
                  <a:close/>
                  <a:moveTo>
                    <a:pt x="23" y="382"/>
                  </a:moveTo>
                  <a:lnTo>
                    <a:pt x="23" y="384"/>
                  </a:lnTo>
                  <a:lnTo>
                    <a:pt x="24" y="384"/>
                  </a:lnTo>
                  <a:lnTo>
                    <a:pt x="24" y="385"/>
                  </a:lnTo>
                  <a:lnTo>
                    <a:pt x="23" y="385"/>
                  </a:lnTo>
                  <a:lnTo>
                    <a:pt x="21" y="385"/>
                  </a:lnTo>
                  <a:lnTo>
                    <a:pt x="21" y="384"/>
                  </a:lnTo>
                  <a:lnTo>
                    <a:pt x="21" y="382"/>
                  </a:lnTo>
                  <a:lnTo>
                    <a:pt x="23" y="382"/>
                  </a:lnTo>
                  <a:close/>
                  <a:moveTo>
                    <a:pt x="564" y="545"/>
                  </a:moveTo>
                  <a:lnTo>
                    <a:pt x="566" y="545"/>
                  </a:lnTo>
                  <a:lnTo>
                    <a:pt x="566" y="547"/>
                  </a:lnTo>
                  <a:lnTo>
                    <a:pt x="564" y="547"/>
                  </a:lnTo>
                  <a:lnTo>
                    <a:pt x="566" y="547"/>
                  </a:lnTo>
                  <a:lnTo>
                    <a:pt x="564" y="547"/>
                  </a:lnTo>
                  <a:lnTo>
                    <a:pt x="566" y="548"/>
                  </a:lnTo>
                  <a:lnTo>
                    <a:pt x="564" y="548"/>
                  </a:lnTo>
                  <a:lnTo>
                    <a:pt x="564" y="547"/>
                  </a:lnTo>
                  <a:lnTo>
                    <a:pt x="563" y="547"/>
                  </a:lnTo>
                  <a:lnTo>
                    <a:pt x="563" y="545"/>
                  </a:lnTo>
                  <a:lnTo>
                    <a:pt x="564" y="545"/>
                  </a:lnTo>
                  <a:close/>
                  <a:moveTo>
                    <a:pt x="598" y="454"/>
                  </a:moveTo>
                  <a:lnTo>
                    <a:pt x="600" y="454"/>
                  </a:lnTo>
                  <a:lnTo>
                    <a:pt x="602" y="454"/>
                  </a:lnTo>
                  <a:lnTo>
                    <a:pt x="602" y="455"/>
                  </a:lnTo>
                  <a:lnTo>
                    <a:pt x="600" y="455"/>
                  </a:lnTo>
                  <a:lnTo>
                    <a:pt x="598" y="455"/>
                  </a:lnTo>
                  <a:lnTo>
                    <a:pt x="598" y="454"/>
                  </a:lnTo>
                  <a:close/>
                  <a:moveTo>
                    <a:pt x="707" y="628"/>
                  </a:moveTo>
                  <a:lnTo>
                    <a:pt x="707" y="629"/>
                  </a:lnTo>
                  <a:lnTo>
                    <a:pt x="709" y="631"/>
                  </a:lnTo>
                  <a:lnTo>
                    <a:pt x="709" y="633"/>
                  </a:lnTo>
                  <a:lnTo>
                    <a:pt x="707" y="634"/>
                  </a:lnTo>
                  <a:lnTo>
                    <a:pt x="707" y="633"/>
                  </a:lnTo>
                  <a:lnTo>
                    <a:pt x="707" y="631"/>
                  </a:lnTo>
                  <a:lnTo>
                    <a:pt x="707" y="629"/>
                  </a:lnTo>
                  <a:lnTo>
                    <a:pt x="707" y="628"/>
                  </a:lnTo>
                  <a:lnTo>
                    <a:pt x="707" y="629"/>
                  </a:lnTo>
                  <a:lnTo>
                    <a:pt x="707" y="628"/>
                  </a:lnTo>
                  <a:lnTo>
                    <a:pt x="709" y="628"/>
                  </a:lnTo>
                  <a:lnTo>
                    <a:pt x="707" y="628"/>
                  </a:lnTo>
                  <a:close/>
                  <a:moveTo>
                    <a:pt x="745" y="768"/>
                  </a:moveTo>
                  <a:lnTo>
                    <a:pt x="745" y="766"/>
                  </a:lnTo>
                  <a:lnTo>
                    <a:pt x="746" y="764"/>
                  </a:lnTo>
                  <a:lnTo>
                    <a:pt x="746" y="766"/>
                  </a:lnTo>
                  <a:lnTo>
                    <a:pt x="748" y="766"/>
                  </a:lnTo>
                  <a:lnTo>
                    <a:pt x="748" y="768"/>
                  </a:lnTo>
                  <a:lnTo>
                    <a:pt x="746" y="768"/>
                  </a:lnTo>
                  <a:lnTo>
                    <a:pt x="745" y="768"/>
                  </a:lnTo>
                  <a:close/>
                  <a:moveTo>
                    <a:pt x="310" y="769"/>
                  </a:moveTo>
                  <a:lnTo>
                    <a:pt x="310" y="771"/>
                  </a:lnTo>
                  <a:lnTo>
                    <a:pt x="310" y="773"/>
                  </a:lnTo>
                  <a:lnTo>
                    <a:pt x="309" y="771"/>
                  </a:lnTo>
                  <a:lnTo>
                    <a:pt x="309" y="769"/>
                  </a:lnTo>
                  <a:lnTo>
                    <a:pt x="309" y="768"/>
                  </a:lnTo>
                  <a:lnTo>
                    <a:pt x="307" y="768"/>
                  </a:lnTo>
                  <a:lnTo>
                    <a:pt x="307" y="766"/>
                  </a:lnTo>
                  <a:lnTo>
                    <a:pt x="309" y="766"/>
                  </a:lnTo>
                  <a:lnTo>
                    <a:pt x="309" y="768"/>
                  </a:lnTo>
                  <a:lnTo>
                    <a:pt x="309" y="769"/>
                  </a:lnTo>
                  <a:lnTo>
                    <a:pt x="310" y="769"/>
                  </a:lnTo>
                  <a:close/>
                  <a:moveTo>
                    <a:pt x="294" y="753"/>
                  </a:moveTo>
                  <a:lnTo>
                    <a:pt x="294" y="755"/>
                  </a:lnTo>
                  <a:lnTo>
                    <a:pt x="294" y="756"/>
                  </a:lnTo>
                  <a:lnTo>
                    <a:pt x="293" y="755"/>
                  </a:lnTo>
                  <a:lnTo>
                    <a:pt x="294" y="755"/>
                  </a:lnTo>
                  <a:lnTo>
                    <a:pt x="293" y="755"/>
                  </a:lnTo>
                  <a:lnTo>
                    <a:pt x="293" y="753"/>
                  </a:lnTo>
                  <a:lnTo>
                    <a:pt x="293" y="751"/>
                  </a:lnTo>
                  <a:lnTo>
                    <a:pt x="294" y="751"/>
                  </a:lnTo>
                  <a:lnTo>
                    <a:pt x="294" y="753"/>
                  </a:lnTo>
                  <a:close/>
                  <a:moveTo>
                    <a:pt x="473" y="265"/>
                  </a:moveTo>
                  <a:lnTo>
                    <a:pt x="475" y="265"/>
                  </a:lnTo>
                  <a:lnTo>
                    <a:pt x="475" y="267"/>
                  </a:lnTo>
                  <a:lnTo>
                    <a:pt x="475" y="268"/>
                  </a:lnTo>
                  <a:lnTo>
                    <a:pt x="476" y="268"/>
                  </a:lnTo>
                  <a:lnTo>
                    <a:pt x="475" y="268"/>
                  </a:lnTo>
                  <a:lnTo>
                    <a:pt x="473" y="268"/>
                  </a:lnTo>
                  <a:lnTo>
                    <a:pt x="473" y="267"/>
                  </a:lnTo>
                  <a:lnTo>
                    <a:pt x="473" y="265"/>
                  </a:lnTo>
                  <a:lnTo>
                    <a:pt x="475" y="265"/>
                  </a:lnTo>
                  <a:lnTo>
                    <a:pt x="475" y="267"/>
                  </a:lnTo>
                  <a:lnTo>
                    <a:pt x="475" y="265"/>
                  </a:lnTo>
                  <a:lnTo>
                    <a:pt x="473" y="265"/>
                  </a:lnTo>
                  <a:close/>
                  <a:moveTo>
                    <a:pt x="19" y="403"/>
                  </a:moveTo>
                  <a:lnTo>
                    <a:pt x="18" y="403"/>
                  </a:lnTo>
                  <a:lnTo>
                    <a:pt x="18" y="402"/>
                  </a:lnTo>
                  <a:lnTo>
                    <a:pt x="16" y="402"/>
                  </a:lnTo>
                  <a:lnTo>
                    <a:pt x="16" y="400"/>
                  </a:lnTo>
                  <a:lnTo>
                    <a:pt x="18" y="400"/>
                  </a:lnTo>
                  <a:lnTo>
                    <a:pt x="19" y="402"/>
                  </a:lnTo>
                  <a:lnTo>
                    <a:pt x="19" y="403"/>
                  </a:lnTo>
                  <a:close/>
                  <a:moveTo>
                    <a:pt x="421" y="428"/>
                  </a:moveTo>
                  <a:lnTo>
                    <a:pt x="423" y="428"/>
                  </a:lnTo>
                  <a:lnTo>
                    <a:pt x="423" y="429"/>
                  </a:lnTo>
                  <a:lnTo>
                    <a:pt x="421" y="429"/>
                  </a:lnTo>
                  <a:lnTo>
                    <a:pt x="421" y="431"/>
                  </a:lnTo>
                  <a:lnTo>
                    <a:pt x="419" y="431"/>
                  </a:lnTo>
                  <a:lnTo>
                    <a:pt x="421" y="431"/>
                  </a:lnTo>
                  <a:lnTo>
                    <a:pt x="419" y="429"/>
                  </a:lnTo>
                  <a:lnTo>
                    <a:pt x="421" y="429"/>
                  </a:lnTo>
                  <a:lnTo>
                    <a:pt x="419" y="429"/>
                  </a:lnTo>
                  <a:lnTo>
                    <a:pt x="421" y="428"/>
                  </a:lnTo>
                  <a:close/>
                  <a:moveTo>
                    <a:pt x="790" y="688"/>
                  </a:moveTo>
                  <a:lnTo>
                    <a:pt x="792" y="688"/>
                  </a:lnTo>
                  <a:lnTo>
                    <a:pt x="792" y="686"/>
                  </a:lnTo>
                  <a:lnTo>
                    <a:pt x="793" y="686"/>
                  </a:lnTo>
                  <a:lnTo>
                    <a:pt x="795" y="686"/>
                  </a:lnTo>
                  <a:lnTo>
                    <a:pt x="795" y="688"/>
                  </a:lnTo>
                  <a:lnTo>
                    <a:pt x="795" y="686"/>
                  </a:lnTo>
                  <a:lnTo>
                    <a:pt x="793" y="686"/>
                  </a:lnTo>
                  <a:lnTo>
                    <a:pt x="793" y="688"/>
                  </a:lnTo>
                  <a:lnTo>
                    <a:pt x="792" y="688"/>
                  </a:lnTo>
                  <a:lnTo>
                    <a:pt x="790" y="688"/>
                  </a:lnTo>
                  <a:close/>
                  <a:moveTo>
                    <a:pt x="551" y="623"/>
                  </a:moveTo>
                  <a:lnTo>
                    <a:pt x="553" y="623"/>
                  </a:lnTo>
                  <a:lnTo>
                    <a:pt x="554" y="623"/>
                  </a:lnTo>
                  <a:lnTo>
                    <a:pt x="554" y="625"/>
                  </a:lnTo>
                  <a:lnTo>
                    <a:pt x="553" y="625"/>
                  </a:lnTo>
                  <a:lnTo>
                    <a:pt x="551" y="625"/>
                  </a:lnTo>
                  <a:lnTo>
                    <a:pt x="551" y="623"/>
                  </a:lnTo>
                  <a:close/>
                  <a:moveTo>
                    <a:pt x="862" y="896"/>
                  </a:moveTo>
                  <a:lnTo>
                    <a:pt x="863" y="895"/>
                  </a:lnTo>
                  <a:lnTo>
                    <a:pt x="865" y="895"/>
                  </a:lnTo>
                  <a:lnTo>
                    <a:pt x="863" y="896"/>
                  </a:lnTo>
                  <a:lnTo>
                    <a:pt x="865" y="896"/>
                  </a:lnTo>
                  <a:lnTo>
                    <a:pt x="863" y="896"/>
                  </a:lnTo>
                  <a:lnTo>
                    <a:pt x="862" y="898"/>
                  </a:lnTo>
                  <a:lnTo>
                    <a:pt x="862" y="896"/>
                  </a:lnTo>
                  <a:close/>
                  <a:moveTo>
                    <a:pt x="938" y="865"/>
                  </a:moveTo>
                  <a:lnTo>
                    <a:pt x="940" y="865"/>
                  </a:lnTo>
                  <a:lnTo>
                    <a:pt x="941" y="865"/>
                  </a:lnTo>
                  <a:lnTo>
                    <a:pt x="941" y="867"/>
                  </a:lnTo>
                  <a:lnTo>
                    <a:pt x="940" y="867"/>
                  </a:lnTo>
                  <a:lnTo>
                    <a:pt x="938" y="867"/>
                  </a:lnTo>
                  <a:lnTo>
                    <a:pt x="937" y="867"/>
                  </a:lnTo>
                  <a:lnTo>
                    <a:pt x="937" y="865"/>
                  </a:lnTo>
                  <a:lnTo>
                    <a:pt x="938" y="865"/>
                  </a:lnTo>
                  <a:close/>
                  <a:moveTo>
                    <a:pt x="792" y="451"/>
                  </a:moveTo>
                  <a:lnTo>
                    <a:pt x="792" y="452"/>
                  </a:lnTo>
                  <a:lnTo>
                    <a:pt x="793" y="452"/>
                  </a:lnTo>
                  <a:lnTo>
                    <a:pt x="792" y="452"/>
                  </a:lnTo>
                  <a:lnTo>
                    <a:pt x="792" y="454"/>
                  </a:lnTo>
                  <a:lnTo>
                    <a:pt x="790" y="454"/>
                  </a:lnTo>
                  <a:lnTo>
                    <a:pt x="790" y="452"/>
                  </a:lnTo>
                  <a:lnTo>
                    <a:pt x="792" y="452"/>
                  </a:lnTo>
                  <a:lnTo>
                    <a:pt x="790" y="452"/>
                  </a:lnTo>
                  <a:lnTo>
                    <a:pt x="792" y="452"/>
                  </a:lnTo>
                  <a:lnTo>
                    <a:pt x="790" y="452"/>
                  </a:lnTo>
                  <a:lnTo>
                    <a:pt x="790" y="451"/>
                  </a:lnTo>
                  <a:lnTo>
                    <a:pt x="792" y="451"/>
                  </a:lnTo>
                  <a:close/>
                  <a:moveTo>
                    <a:pt x="206" y="560"/>
                  </a:moveTo>
                  <a:lnTo>
                    <a:pt x="206" y="561"/>
                  </a:lnTo>
                  <a:lnTo>
                    <a:pt x="208" y="561"/>
                  </a:lnTo>
                  <a:lnTo>
                    <a:pt x="208" y="563"/>
                  </a:lnTo>
                  <a:lnTo>
                    <a:pt x="206" y="563"/>
                  </a:lnTo>
                  <a:lnTo>
                    <a:pt x="205" y="561"/>
                  </a:lnTo>
                  <a:lnTo>
                    <a:pt x="206" y="561"/>
                  </a:lnTo>
                  <a:lnTo>
                    <a:pt x="206" y="560"/>
                  </a:lnTo>
                  <a:close/>
                  <a:moveTo>
                    <a:pt x="846" y="571"/>
                  </a:moveTo>
                  <a:lnTo>
                    <a:pt x="847" y="571"/>
                  </a:lnTo>
                  <a:lnTo>
                    <a:pt x="847" y="569"/>
                  </a:lnTo>
                  <a:lnTo>
                    <a:pt x="847" y="571"/>
                  </a:lnTo>
                  <a:lnTo>
                    <a:pt x="847" y="573"/>
                  </a:lnTo>
                  <a:lnTo>
                    <a:pt x="846" y="573"/>
                  </a:lnTo>
                  <a:lnTo>
                    <a:pt x="846" y="574"/>
                  </a:lnTo>
                  <a:lnTo>
                    <a:pt x="844" y="574"/>
                  </a:lnTo>
                  <a:lnTo>
                    <a:pt x="844" y="573"/>
                  </a:lnTo>
                  <a:lnTo>
                    <a:pt x="846" y="573"/>
                  </a:lnTo>
                  <a:lnTo>
                    <a:pt x="846" y="571"/>
                  </a:lnTo>
                  <a:close/>
                  <a:moveTo>
                    <a:pt x="325" y="560"/>
                  </a:moveTo>
                  <a:lnTo>
                    <a:pt x="325" y="558"/>
                  </a:lnTo>
                  <a:lnTo>
                    <a:pt x="327" y="558"/>
                  </a:lnTo>
                  <a:lnTo>
                    <a:pt x="327" y="560"/>
                  </a:lnTo>
                  <a:lnTo>
                    <a:pt x="328" y="560"/>
                  </a:lnTo>
                  <a:lnTo>
                    <a:pt x="328" y="561"/>
                  </a:lnTo>
                  <a:lnTo>
                    <a:pt x="327" y="560"/>
                  </a:lnTo>
                  <a:lnTo>
                    <a:pt x="327" y="561"/>
                  </a:lnTo>
                  <a:lnTo>
                    <a:pt x="325" y="560"/>
                  </a:lnTo>
                  <a:close/>
                  <a:moveTo>
                    <a:pt x="556" y="542"/>
                  </a:moveTo>
                  <a:lnTo>
                    <a:pt x="556" y="540"/>
                  </a:lnTo>
                  <a:lnTo>
                    <a:pt x="556" y="538"/>
                  </a:lnTo>
                  <a:lnTo>
                    <a:pt x="558" y="540"/>
                  </a:lnTo>
                  <a:lnTo>
                    <a:pt x="556" y="542"/>
                  </a:lnTo>
                  <a:close/>
                  <a:moveTo>
                    <a:pt x="512" y="735"/>
                  </a:moveTo>
                  <a:lnTo>
                    <a:pt x="514" y="735"/>
                  </a:lnTo>
                  <a:lnTo>
                    <a:pt x="515" y="737"/>
                  </a:lnTo>
                  <a:lnTo>
                    <a:pt x="515" y="738"/>
                  </a:lnTo>
                  <a:lnTo>
                    <a:pt x="514" y="738"/>
                  </a:lnTo>
                  <a:lnTo>
                    <a:pt x="514" y="737"/>
                  </a:lnTo>
                  <a:lnTo>
                    <a:pt x="512" y="735"/>
                  </a:lnTo>
                  <a:close/>
                  <a:moveTo>
                    <a:pt x="447" y="673"/>
                  </a:moveTo>
                  <a:lnTo>
                    <a:pt x="449" y="673"/>
                  </a:lnTo>
                  <a:lnTo>
                    <a:pt x="450" y="673"/>
                  </a:lnTo>
                  <a:lnTo>
                    <a:pt x="449" y="673"/>
                  </a:lnTo>
                  <a:lnTo>
                    <a:pt x="447" y="675"/>
                  </a:lnTo>
                  <a:lnTo>
                    <a:pt x="447" y="673"/>
                  </a:lnTo>
                  <a:close/>
                  <a:moveTo>
                    <a:pt x="863" y="898"/>
                  </a:moveTo>
                  <a:lnTo>
                    <a:pt x="865" y="898"/>
                  </a:lnTo>
                  <a:lnTo>
                    <a:pt x="865" y="899"/>
                  </a:lnTo>
                  <a:lnTo>
                    <a:pt x="863" y="899"/>
                  </a:lnTo>
                  <a:lnTo>
                    <a:pt x="862" y="899"/>
                  </a:lnTo>
                  <a:lnTo>
                    <a:pt x="862" y="898"/>
                  </a:lnTo>
                  <a:lnTo>
                    <a:pt x="863" y="898"/>
                  </a:lnTo>
                  <a:close/>
                  <a:moveTo>
                    <a:pt x="919" y="634"/>
                  </a:moveTo>
                  <a:lnTo>
                    <a:pt x="919" y="633"/>
                  </a:lnTo>
                  <a:lnTo>
                    <a:pt x="920" y="633"/>
                  </a:lnTo>
                  <a:lnTo>
                    <a:pt x="922" y="633"/>
                  </a:lnTo>
                  <a:lnTo>
                    <a:pt x="922" y="634"/>
                  </a:lnTo>
                  <a:lnTo>
                    <a:pt x="924" y="633"/>
                  </a:lnTo>
                  <a:lnTo>
                    <a:pt x="924" y="634"/>
                  </a:lnTo>
                  <a:lnTo>
                    <a:pt x="922" y="634"/>
                  </a:lnTo>
                  <a:lnTo>
                    <a:pt x="920" y="634"/>
                  </a:lnTo>
                  <a:lnTo>
                    <a:pt x="919" y="634"/>
                  </a:lnTo>
                  <a:close/>
                  <a:moveTo>
                    <a:pt x="473" y="698"/>
                  </a:moveTo>
                  <a:lnTo>
                    <a:pt x="473" y="699"/>
                  </a:lnTo>
                  <a:lnTo>
                    <a:pt x="475" y="699"/>
                  </a:lnTo>
                  <a:lnTo>
                    <a:pt x="475" y="701"/>
                  </a:lnTo>
                  <a:lnTo>
                    <a:pt x="473" y="699"/>
                  </a:lnTo>
                  <a:lnTo>
                    <a:pt x="473" y="698"/>
                  </a:lnTo>
                  <a:close/>
                  <a:moveTo>
                    <a:pt x="828" y="729"/>
                  </a:moveTo>
                  <a:lnTo>
                    <a:pt x="829" y="730"/>
                  </a:lnTo>
                  <a:lnTo>
                    <a:pt x="829" y="732"/>
                  </a:lnTo>
                  <a:lnTo>
                    <a:pt x="828" y="732"/>
                  </a:lnTo>
                  <a:lnTo>
                    <a:pt x="828" y="730"/>
                  </a:lnTo>
                  <a:lnTo>
                    <a:pt x="828" y="729"/>
                  </a:lnTo>
                  <a:lnTo>
                    <a:pt x="826" y="729"/>
                  </a:lnTo>
                  <a:lnTo>
                    <a:pt x="828" y="727"/>
                  </a:lnTo>
                  <a:lnTo>
                    <a:pt x="828" y="729"/>
                  </a:lnTo>
                  <a:close/>
                  <a:moveTo>
                    <a:pt x="441" y="667"/>
                  </a:moveTo>
                  <a:lnTo>
                    <a:pt x="442" y="667"/>
                  </a:lnTo>
                  <a:lnTo>
                    <a:pt x="441" y="667"/>
                  </a:lnTo>
                  <a:lnTo>
                    <a:pt x="439" y="667"/>
                  </a:lnTo>
                  <a:lnTo>
                    <a:pt x="439" y="665"/>
                  </a:lnTo>
                  <a:lnTo>
                    <a:pt x="441" y="665"/>
                  </a:lnTo>
                  <a:lnTo>
                    <a:pt x="441" y="667"/>
                  </a:lnTo>
                  <a:close/>
                  <a:moveTo>
                    <a:pt x="1023" y="688"/>
                  </a:moveTo>
                  <a:lnTo>
                    <a:pt x="1024" y="688"/>
                  </a:lnTo>
                  <a:lnTo>
                    <a:pt x="1023" y="690"/>
                  </a:lnTo>
                  <a:lnTo>
                    <a:pt x="1023" y="688"/>
                  </a:lnTo>
                  <a:close/>
                  <a:moveTo>
                    <a:pt x="1029" y="779"/>
                  </a:moveTo>
                  <a:lnTo>
                    <a:pt x="1031" y="779"/>
                  </a:lnTo>
                  <a:lnTo>
                    <a:pt x="1031" y="781"/>
                  </a:lnTo>
                  <a:lnTo>
                    <a:pt x="1029" y="781"/>
                  </a:lnTo>
                  <a:lnTo>
                    <a:pt x="1029" y="779"/>
                  </a:lnTo>
                  <a:close/>
                  <a:moveTo>
                    <a:pt x="685" y="701"/>
                  </a:moveTo>
                  <a:lnTo>
                    <a:pt x="683" y="701"/>
                  </a:lnTo>
                  <a:lnTo>
                    <a:pt x="683" y="699"/>
                  </a:lnTo>
                  <a:lnTo>
                    <a:pt x="685" y="699"/>
                  </a:lnTo>
                  <a:lnTo>
                    <a:pt x="685" y="701"/>
                  </a:lnTo>
                  <a:close/>
                  <a:moveTo>
                    <a:pt x="881" y="621"/>
                  </a:moveTo>
                  <a:lnTo>
                    <a:pt x="881" y="620"/>
                  </a:lnTo>
                  <a:lnTo>
                    <a:pt x="883" y="620"/>
                  </a:lnTo>
                  <a:lnTo>
                    <a:pt x="883" y="621"/>
                  </a:lnTo>
                  <a:lnTo>
                    <a:pt x="881" y="621"/>
                  </a:lnTo>
                  <a:lnTo>
                    <a:pt x="881" y="623"/>
                  </a:lnTo>
                  <a:lnTo>
                    <a:pt x="880" y="621"/>
                  </a:lnTo>
                  <a:lnTo>
                    <a:pt x="881" y="621"/>
                  </a:lnTo>
                  <a:close/>
                  <a:moveTo>
                    <a:pt x="621" y="1005"/>
                  </a:moveTo>
                  <a:lnTo>
                    <a:pt x="619" y="1005"/>
                  </a:lnTo>
                  <a:lnTo>
                    <a:pt x="619" y="1004"/>
                  </a:lnTo>
                  <a:lnTo>
                    <a:pt x="621" y="1004"/>
                  </a:lnTo>
                  <a:lnTo>
                    <a:pt x="623" y="1005"/>
                  </a:lnTo>
                  <a:lnTo>
                    <a:pt x="621" y="1005"/>
                  </a:lnTo>
                  <a:close/>
                  <a:moveTo>
                    <a:pt x="883" y="901"/>
                  </a:moveTo>
                  <a:lnTo>
                    <a:pt x="885" y="901"/>
                  </a:lnTo>
                  <a:lnTo>
                    <a:pt x="886" y="903"/>
                  </a:lnTo>
                  <a:lnTo>
                    <a:pt x="885" y="903"/>
                  </a:lnTo>
                  <a:lnTo>
                    <a:pt x="883" y="903"/>
                  </a:lnTo>
                  <a:lnTo>
                    <a:pt x="883" y="901"/>
                  </a:lnTo>
                  <a:close/>
                  <a:moveTo>
                    <a:pt x="865" y="724"/>
                  </a:moveTo>
                  <a:lnTo>
                    <a:pt x="865" y="722"/>
                  </a:lnTo>
                  <a:lnTo>
                    <a:pt x="867" y="722"/>
                  </a:lnTo>
                  <a:lnTo>
                    <a:pt x="865" y="724"/>
                  </a:lnTo>
                  <a:lnTo>
                    <a:pt x="865" y="722"/>
                  </a:lnTo>
                  <a:lnTo>
                    <a:pt x="863" y="722"/>
                  </a:lnTo>
                  <a:lnTo>
                    <a:pt x="865" y="722"/>
                  </a:lnTo>
                  <a:lnTo>
                    <a:pt x="865" y="724"/>
                  </a:lnTo>
                  <a:close/>
                  <a:moveTo>
                    <a:pt x="634" y="665"/>
                  </a:moveTo>
                  <a:lnTo>
                    <a:pt x="636" y="665"/>
                  </a:lnTo>
                  <a:lnTo>
                    <a:pt x="637" y="665"/>
                  </a:lnTo>
                  <a:lnTo>
                    <a:pt x="636" y="665"/>
                  </a:lnTo>
                  <a:lnTo>
                    <a:pt x="634" y="667"/>
                  </a:lnTo>
                  <a:lnTo>
                    <a:pt x="634" y="665"/>
                  </a:lnTo>
                  <a:close/>
                  <a:moveTo>
                    <a:pt x="436" y="501"/>
                  </a:moveTo>
                  <a:lnTo>
                    <a:pt x="437" y="501"/>
                  </a:lnTo>
                  <a:lnTo>
                    <a:pt x="437" y="503"/>
                  </a:lnTo>
                  <a:lnTo>
                    <a:pt x="436" y="503"/>
                  </a:lnTo>
                  <a:lnTo>
                    <a:pt x="436" y="501"/>
                  </a:lnTo>
                  <a:close/>
                  <a:moveTo>
                    <a:pt x="434" y="498"/>
                  </a:moveTo>
                  <a:lnTo>
                    <a:pt x="434" y="496"/>
                  </a:lnTo>
                  <a:lnTo>
                    <a:pt x="436" y="496"/>
                  </a:lnTo>
                  <a:lnTo>
                    <a:pt x="434" y="496"/>
                  </a:lnTo>
                  <a:lnTo>
                    <a:pt x="436" y="498"/>
                  </a:lnTo>
                  <a:lnTo>
                    <a:pt x="434" y="498"/>
                  </a:lnTo>
                  <a:close/>
                  <a:moveTo>
                    <a:pt x="798" y="776"/>
                  </a:moveTo>
                  <a:lnTo>
                    <a:pt x="798" y="774"/>
                  </a:lnTo>
                  <a:lnTo>
                    <a:pt x="800" y="774"/>
                  </a:lnTo>
                  <a:lnTo>
                    <a:pt x="800" y="776"/>
                  </a:lnTo>
                  <a:lnTo>
                    <a:pt x="798" y="776"/>
                  </a:lnTo>
                  <a:close/>
                  <a:moveTo>
                    <a:pt x="1218" y="693"/>
                  </a:moveTo>
                  <a:lnTo>
                    <a:pt x="1220" y="693"/>
                  </a:lnTo>
                  <a:lnTo>
                    <a:pt x="1221" y="693"/>
                  </a:lnTo>
                  <a:lnTo>
                    <a:pt x="1220" y="695"/>
                  </a:lnTo>
                  <a:lnTo>
                    <a:pt x="1220" y="693"/>
                  </a:lnTo>
                  <a:lnTo>
                    <a:pt x="1220" y="695"/>
                  </a:lnTo>
                  <a:lnTo>
                    <a:pt x="1218" y="695"/>
                  </a:lnTo>
                  <a:lnTo>
                    <a:pt x="1218" y="693"/>
                  </a:lnTo>
                  <a:close/>
                  <a:moveTo>
                    <a:pt x="698" y="745"/>
                  </a:moveTo>
                  <a:lnTo>
                    <a:pt x="696" y="745"/>
                  </a:lnTo>
                  <a:lnTo>
                    <a:pt x="698" y="743"/>
                  </a:lnTo>
                  <a:lnTo>
                    <a:pt x="699" y="743"/>
                  </a:lnTo>
                  <a:lnTo>
                    <a:pt x="698" y="745"/>
                  </a:lnTo>
                  <a:close/>
                  <a:moveTo>
                    <a:pt x="730" y="616"/>
                  </a:moveTo>
                  <a:lnTo>
                    <a:pt x="730" y="618"/>
                  </a:lnTo>
                  <a:lnTo>
                    <a:pt x="732" y="620"/>
                  </a:lnTo>
                  <a:lnTo>
                    <a:pt x="730" y="620"/>
                  </a:lnTo>
                  <a:lnTo>
                    <a:pt x="728" y="618"/>
                  </a:lnTo>
                  <a:lnTo>
                    <a:pt x="730" y="618"/>
                  </a:lnTo>
                  <a:lnTo>
                    <a:pt x="730" y="616"/>
                  </a:lnTo>
                  <a:close/>
                  <a:moveTo>
                    <a:pt x="924" y="716"/>
                  </a:moveTo>
                  <a:lnTo>
                    <a:pt x="922" y="716"/>
                  </a:lnTo>
                  <a:lnTo>
                    <a:pt x="922" y="714"/>
                  </a:lnTo>
                  <a:lnTo>
                    <a:pt x="924" y="714"/>
                  </a:lnTo>
                  <a:lnTo>
                    <a:pt x="924" y="716"/>
                  </a:lnTo>
                  <a:close/>
                  <a:moveTo>
                    <a:pt x="468" y="616"/>
                  </a:moveTo>
                  <a:lnTo>
                    <a:pt x="468" y="615"/>
                  </a:lnTo>
                  <a:lnTo>
                    <a:pt x="470" y="615"/>
                  </a:lnTo>
                  <a:lnTo>
                    <a:pt x="471" y="615"/>
                  </a:lnTo>
                  <a:lnTo>
                    <a:pt x="470" y="616"/>
                  </a:lnTo>
                  <a:lnTo>
                    <a:pt x="471" y="616"/>
                  </a:lnTo>
                  <a:lnTo>
                    <a:pt x="470" y="616"/>
                  </a:lnTo>
                  <a:lnTo>
                    <a:pt x="468" y="616"/>
                  </a:lnTo>
                  <a:close/>
                  <a:moveTo>
                    <a:pt x="688" y="979"/>
                  </a:moveTo>
                  <a:lnTo>
                    <a:pt x="689" y="979"/>
                  </a:lnTo>
                  <a:lnTo>
                    <a:pt x="689" y="981"/>
                  </a:lnTo>
                  <a:lnTo>
                    <a:pt x="688" y="981"/>
                  </a:lnTo>
                  <a:lnTo>
                    <a:pt x="686" y="981"/>
                  </a:lnTo>
                  <a:lnTo>
                    <a:pt x="685" y="981"/>
                  </a:lnTo>
                  <a:lnTo>
                    <a:pt x="686" y="981"/>
                  </a:lnTo>
                  <a:lnTo>
                    <a:pt x="688" y="981"/>
                  </a:lnTo>
                  <a:lnTo>
                    <a:pt x="688" y="979"/>
                  </a:lnTo>
                  <a:close/>
                  <a:moveTo>
                    <a:pt x="563" y="738"/>
                  </a:moveTo>
                  <a:lnTo>
                    <a:pt x="564" y="738"/>
                  </a:lnTo>
                  <a:lnTo>
                    <a:pt x="566" y="738"/>
                  </a:lnTo>
                  <a:lnTo>
                    <a:pt x="566" y="740"/>
                  </a:lnTo>
                  <a:lnTo>
                    <a:pt x="564" y="740"/>
                  </a:lnTo>
                  <a:lnTo>
                    <a:pt x="564" y="738"/>
                  </a:lnTo>
                  <a:lnTo>
                    <a:pt x="563" y="738"/>
                  </a:lnTo>
                  <a:close/>
                  <a:moveTo>
                    <a:pt x="772" y="729"/>
                  </a:moveTo>
                  <a:lnTo>
                    <a:pt x="774" y="729"/>
                  </a:lnTo>
                  <a:lnTo>
                    <a:pt x="776" y="729"/>
                  </a:lnTo>
                  <a:lnTo>
                    <a:pt x="774" y="730"/>
                  </a:lnTo>
                  <a:lnTo>
                    <a:pt x="772" y="730"/>
                  </a:lnTo>
                  <a:lnTo>
                    <a:pt x="772" y="729"/>
                  </a:lnTo>
                  <a:close/>
                  <a:moveTo>
                    <a:pt x="868" y="600"/>
                  </a:moveTo>
                  <a:lnTo>
                    <a:pt x="870" y="600"/>
                  </a:lnTo>
                  <a:lnTo>
                    <a:pt x="870" y="602"/>
                  </a:lnTo>
                  <a:lnTo>
                    <a:pt x="868" y="602"/>
                  </a:lnTo>
                  <a:lnTo>
                    <a:pt x="868" y="600"/>
                  </a:lnTo>
                  <a:close/>
                  <a:moveTo>
                    <a:pt x="470" y="426"/>
                  </a:moveTo>
                  <a:lnTo>
                    <a:pt x="468" y="428"/>
                  </a:lnTo>
                  <a:lnTo>
                    <a:pt x="468" y="426"/>
                  </a:lnTo>
                  <a:lnTo>
                    <a:pt x="468" y="425"/>
                  </a:lnTo>
                  <a:lnTo>
                    <a:pt x="470" y="426"/>
                  </a:lnTo>
                  <a:close/>
                  <a:moveTo>
                    <a:pt x="870" y="789"/>
                  </a:moveTo>
                  <a:lnTo>
                    <a:pt x="872" y="790"/>
                  </a:lnTo>
                  <a:lnTo>
                    <a:pt x="870" y="790"/>
                  </a:lnTo>
                  <a:lnTo>
                    <a:pt x="870" y="789"/>
                  </a:lnTo>
                  <a:lnTo>
                    <a:pt x="868" y="789"/>
                  </a:lnTo>
                  <a:lnTo>
                    <a:pt x="870" y="789"/>
                  </a:lnTo>
                  <a:lnTo>
                    <a:pt x="868" y="789"/>
                  </a:lnTo>
                  <a:lnTo>
                    <a:pt x="868" y="787"/>
                  </a:lnTo>
                  <a:lnTo>
                    <a:pt x="870" y="787"/>
                  </a:lnTo>
                  <a:lnTo>
                    <a:pt x="870" y="789"/>
                  </a:lnTo>
                  <a:close/>
                  <a:moveTo>
                    <a:pt x="730" y="794"/>
                  </a:moveTo>
                  <a:lnTo>
                    <a:pt x="728" y="794"/>
                  </a:lnTo>
                  <a:lnTo>
                    <a:pt x="727" y="794"/>
                  </a:lnTo>
                  <a:lnTo>
                    <a:pt x="728" y="792"/>
                  </a:lnTo>
                  <a:lnTo>
                    <a:pt x="730" y="792"/>
                  </a:lnTo>
                  <a:lnTo>
                    <a:pt x="730" y="794"/>
                  </a:lnTo>
                  <a:close/>
                  <a:moveTo>
                    <a:pt x="831" y="924"/>
                  </a:moveTo>
                  <a:lnTo>
                    <a:pt x="833" y="924"/>
                  </a:lnTo>
                  <a:lnTo>
                    <a:pt x="831" y="925"/>
                  </a:lnTo>
                  <a:lnTo>
                    <a:pt x="831" y="927"/>
                  </a:lnTo>
                  <a:lnTo>
                    <a:pt x="829" y="927"/>
                  </a:lnTo>
                  <a:lnTo>
                    <a:pt x="829" y="925"/>
                  </a:lnTo>
                  <a:lnTo>
                    <a:pt x="831" y="925"/>
                  </a:lnTo>
                  <a:lnTo>
                    <a:pt x="831" y="924"/>
                  </a:lnTo>
                  <a:close/>
                  <a:moveTo>
                    <a:pt x="530" y="610"/>
                  </a:moveTo>
                  <a:lnTo>
                    <a:pt x="530" y="612"/>
                  </a:lnTo>
                  <a:lnTo>
                    <a:pt x="528" y="612"/>
                  </a:lnTo>
                  <a:lnTo>
                    <a:pt x="528" y="610"/>
                  </a:lnTo>
                  <a:lnTo>
                    <a:pt x="530" y="610"/>
                  </a:lnTo>
                  <a:close/>
                  <a:moveTo>
                    <a:pt x="922" y="803"/>
                  </a:moveTo>
                  <a:lnTo>
                    <a:pt x="924" y="803"/>
                  </a:lnTo>
                  <a:lnTo>
                    <a:pt x="924" y="805"/>
                  </a:lnTo>
                  <a:lnTo>
                    <a:pt x="922" y="805"/>
                  </a:lnTo>
                  <a:lnTo>
                    <a:pt x="922" y="803"/>
                  </a:lnTo>
                  <a:close/>
                  <a:moveTo>
                    <a:pt x="522" y="418"/>
                  </a:moveTo>
                  <a:lnTo>
                    <a:pt x="522" y="420"/>
                  </a:lnTo>
                  <a:lnTo>
                    <a:pt x="522" y="418"/>
                  </a:lnTo>
                  <a:lnTo>
                    <a:pt x="522" y="416"/>
                  </a:lnTo>
                  <a:lnTo>
                    <a:pt x="522" y="418"/>
                  </a:lnTo>
                  <a:close/>
                  <a:moveTo>
                    <a:pt x="767" y="699"/>
                  </a:moveTo>
                  <a:lnTo>
                    <a:pt x="767" y="701"/>
                  </a:lnTo>
                  <a:lnTo>
                    <a:pt x="766" y="701"/>
                  </a:lnTo>
                  <a:lnTo>
                    <a:pt x="767" y="699"/>
                  </a:lnTo>
                  <a:lnTo>
                    <a:pt x="766" y="699"/>
                  </a:lnTo>
                  <a:lnTo>
                    <a:pt x="766" y="698"/>
                  </a:lnTo>
                  <a:lnTo>
                    <a:pt x="766" y="699"/>
                  </a:lnTo>
                  <a:lnTo>
                    <a:pt x="767" y="699"/>
                  </a:lnTo>
                  <a:close/>
                  <a:moveTo>
                    <a:pt x="767" y="698"/>
                  </a:moveTo>
                  <a:lnTo>
                    <a:pt x="769" y="698"/>
                  </a:lnTo>
                  <a:lnTo>
                    <a:pt x="769" y="699"/>
                  </a:lnTo>
                  <a:lnTo>
                    <a:pt x="767" y="698"/>
                  </a:lnTo>
                  <a:lnTo>
                    <a:pt x="767" y="699"/>
                  </a:lnTo>
                  <a:lnTo>
                    <a:pt x="767" y="698"/>
                  </a:lnTo>
                  <a:close/>
                  <a:moveTo>
                    <a:pt x="228" y="735"/>
                  </a:moveTo>
                  <a:lnTo>
                    <a:pt x="229" y="735"/>
                  </a:lnTo>
                  <a:lnTo>
                    <a:pt x="229" y="737"/>
                  </a:lnTo>
                  <a:lnTo>
                    <a:pt x="228" y="737"/>
                  </a:lnTo>
                  <a:lnTo>
                    <a:pt x="228" y="735"/>
                  </a:lnTo>
                  <a:close/>
                  <a:moveTo>
                    <a:pt x="475" y="629"/>
                  </a:moveTo>
                  <a:lnTo>
                    <a:pt x="475" y="631"/>
                  </a:lnTo>
                  <a:lnTo>
                    <a:pt x="473" y="631"/>
                  </a:lnTo>
                  <a:lnTo>
                    <a:pt x="475" y="629"/>
                  </a:lnTo>
                  <a:close/>
                  <a:moveTo>
                    <a:pt x="211" y="564"/>
                  </a:moveTo>
                  <a:lnTo>
                    <a:pt x="210" y="564"/>
                  </a:lnTo>
                  <a:lnTo>
                    <a:pt x="210" y="563"/>
                  </a:lnTo>
                  <a:lnTo>
                    <a:pt x="211" y="563"/>
                  </a:lnTo>
                  <a:lnTo>
                    <a:pt x="211" y="564"/>
                  </a:lnTo>
                  <a:close/>
                  <a:moveTo>
                    <a:pt x="932" y="703"/>
                  </a:moveTo>
                  <a:lnTo>
                    <a:pt x="932" y="704"/>
                  </a:lnTo>
                  <a:lnTo>
                    <a:pt x="932" y="703"/>
                  </a:lnTo>
                  <a:lnTo>
                    <a:pt x="933" y="703"/>
                  </a:lnTo>
                  <a:lnTo>
                    <a:pt x="932" y="703"/>
                  </a:lnTo>
                  <a:close/>
                  <a:moveTo>
                    <a:pt x="471" y="615"/>
                  </a:moveTo>
                  <a:lnTo>
                    <a:pt x="470" y="615"/>
                  </a:lnTo>
                  <a:lnTo>
                    <a:pt x="470" y="613"/>
                  </a:lnTo>
                  <a:lnTo>
                    <a:pt x="471" y="613"/>
                  </a:lnTo>
                  <a:lnTo>
                    <a:pt x="473" y="613"/>
                  </a:lnTo>
                  <a:lnTo>
                    <a:pt x="471" y="615"/>
                  </a:lnTo>
                  <a:close/>
                  <a:moveTo>
                    <a:pt x="928" y="703"/>
                  </a:moveTo>
                  <a:lnTo>
                    <a:pt x="928" y="701"/>
                  </a:lnTo>
                  <a:lnTo>
                    <a:pt x="927" y="701"/>
                  </a:lnTo>
                  <a:lnTo>
                    <a:pt x="927" y="699"/>
                  </a:lnTo>
                  <a:lnTo>
                    <a:pt x="927" y="701"/>
                  </a:lnTo>
                  <a:lnTo>
                    <a:pt x="928" y="699"/>
                  </a:lnTo>
                  <a:lnTo>
                    <a:pt x="928" y="701"/>
                  </a:lnTo>
                  <a:lnTo>
                    <a:pt x="928" y="703"/>
                  </a:lnTo>
                  <a:close/>
                  <a:moveTo>
                    <a:pt x="626" y="265"/>
                  </a:moveTo>
                  <a:lnTo>
                    <a:pt x="626" y="267"/>
                  </a:lnTo>
                  <a:lnTo>
                    <a:pt x="624" y="267"/>
                  </a:lnTo>
                  <a:lnTo>
                    <a:pt x="624" y="265"/>
                  </a:lnTo>
                  <a:lnTo>
                    <a:pt x="626" y="265"/>
                  </a:lnTo>
                  <a:close/>
                  <a:moveTo>
                    <a:pt x="849" y="714"/>
                  </a:moveTo>
                  <a:lnTo>
                    <a:pt x="850" y="716"/>
                  </a:lnTo>
                  <a:lnTo>
                    <a:pt x="850" y="717"/>
                  </a:lnTo>
                  <a:lnTo>
                    <a:pt x="852" y="717"/>
                  </a:lnTo>
                  <a:lnTo>
                    <a:pt x="850" y="717"/>
                  </a:lnTo>
                  <a:lnTo>
                    <a:pt x="850" y="716"/>
                  </a:lnTo>
                  <a:lnTo>
                    <a:pt x="849" y="716"/>
                  </a:lnTo>
                  <a:lnTo>
                    <a:pt x="849" y="714"/>
                  </a:lnTo>
                  <a:lnTo>
                    <a:pt x="849" y="716"/>
                  </a:lnTo>
                  <a:lnTo>
                    <a:pt x="849" y="714"/>
                  </a:lnTo>
                  <a:close/>
                  <a:moveTo>
                    <a:pt x="554" y="912"/>
                  </a:moveTo>
                  <a:lnTo>
                    <a:pt x="556" y="912"/>
                  </a:lnTo>
                  <a:lnTo>
                    <a:pt x="558" y="914"/>
                  </a:lnTo>
                  <a:lnTo>
                    <a:pt x="556" y="914"/>
                  </a:lnTo>
                  <a:lnTo>
                    <a:pt x="554" y="912"/>
                  </a:lnTo>
                  <a:close/>
                  <a:moveTo>
                    <a:pt x="493" y="628"/>
                  </a:moveTo>
                  <a:lnTo>
                    <a:pt x="494" y="628"/>
                  </a:lnTo>
                  <a:lnTo>
                    <a:pt x="494" y="629"/>
                  </a:lnTo>
                  <a:lnTo>
                    <a:pt x="493" y="629"/>
                  </a:lnTo>
                  <a:lnTo>
                    <a:pt x="494" y="628"/>
                  </a:lnTo>
                  <a:lnTo>
                    <a:pt x="493" y="628"/>
                  </a:lnTo>
                  <a:close/>
                  <a:moveTo>
                    <a:pt x="340" y="797"/>
                  </a:moveTo>
                  <a:lnTo>
                    <a:pt x="340" y="799"/>
                  </a:lnTo>
                  <a:lnTo>
                    <a:pt x="338" y="799"/>
                  </a:lnTo>
                  <a:lnTo>
                    <a:pt x="338" y="797"/>
                  </a:lnTo>
                  <a:lnTo>
                    <a:pt x="340" y="797"/>
                  </a:lnTo>
                  <a:close/>
                  <a:moveTo>
                    <a:pt x="210" y="577"/>
                  </a:moveTo>
                  <a:lnTo>
                    <a:pt x="211" y="579"/>
                  </a:lnTo>
                  <a:lnTo>
                    <a:pt x="213" y="579"/>
                  </a:lnTo>
                  <a:lnTo>
                    <a:pt x="211" y="579"/>
                  </a:lnTo>
                  <a:lnTo>
                    <a:pt x="210" y="579"/>
                  </a:lnTo>
                  <a:lnTo>
                    <a:pt x="210" y="577"/>
                  </a:lnTo>
                  <a:lnTo>
                    <a:pt x="210" y="576"/>
                  </a:lnTo>
                  <a:lnTo>
                    <a:pt x="210" y="577"/>
                  </a:lnTo>
                  <a:close/>
                  <a:moveTo>
                    <a:pt x="1236" y="696"/>
                  </a:moveTo>
                  <a:lnTo>
                    <a:pt x="1236" y="695"/>
                  </a:lnTo>
                  <a:lnTo>
                    <a:pt x="1237" y="695"/>
                  </a:lnTo>
                  <a:lnTo>
                    <a:pt x="1236" y="696"/>
                  </a:lnTo>
                  <a:close/>
                  <a:moveTo>
                    <a:pt x="206" y="579"/>
                  </a:moveTo>
                  <a:lnTo>
                    <a:pt x="205" y="577"/>
                  </a:lnTo>
                  <a:lnTo>
                    <a:pt x="205" y="576"/>
                  </a:lnTo>
                  <a:lnTo>
                    <a:pt x="206" y="576"/>
                  </a:lnTo>
                  <a:lnTo>
                    <a:pt x="206" y="577"/>
                  </a:lnTo>
                  <a:lnTo>
                    <a:pt x="206" y="579"/>
                  </a:lnTo>
                  <a:close/>
                  <a:moveTo>
                    <a:pt x="533" y="382"/>
                  </a:moveTo>
                  <a:lnTo>
                    <a:pt x="535" y="382"/>
                  </a:lnTo>
                  <a:lnTo>
                    <a:pt x="535" y="384"/>
                  </a:lnTo>
                  <a:lnTo>
                    <a:pt x="533" y="384"/>
                  </a:lnTo>
                  <a:lnTo>
                    <a:pt x="533" y="382"/>
                  </a:lnTo>
                  <a:close/>
                  <a:moveTo>
                    <a:pt x="776" y="703"/>
                  </a:moveTo>
                  <a:lnTo>
                    <a:pt x="777" y="703"/>
                  </a:lnTo>
                  <a:lnTo>
                    <a:pt x="776" y="703"/>
                  </a:lnTo>
                  <a:lnTo>
                    <a:pt x="776" y="701"/>
                  </a:lnTo>
                  <a:lnTo>
                    <a:pt x="777" y="701"/>
                  </a:lnTo>
                  <a:lnTo>
                    <a:pt x="776" y="701"/>
                  </a:lnTo>
                  <a:lnTo>
                    <a:pt x="777" y="703"/>
                  </a:lnTo>
                  <a:lnTo>
                    <a:pt x="776" y="703"/>
                  </a:lnTo>
                  <a:close/>
                  <a:moveTo>
                    <a:pt x="432" y="665"/>
                  </a:moveTo>
                  <a:lnTo>
                    <a:pt x="434" y="665"/>
                  </a:lnTo>
                  <a:lnTo>
                    <a:pt x="434" y="667"/>
                  </a:lnTo>
                  <a:lnTo>
                    <a:pt x="434" y="665"/>
                  </a:lnTo>
                  <a:lnTo>
                    <a:pt x="432" y="665"/>
                  </a:lnTo>
                  <a:lnTo>
                    <a:pt x="432" y="667"/>
                  </a:lnTo>
                  <a:lnTo>
                    <a:pt x="432" y="665"/>
                  </a:lnTo>
                  <a:close/>
                  <a:moveTo>
                    <a:pt x="486" y="691"/>
                  </a:moveTo>
                  <a:lnTo>
                    <a:pt x="486" y="693"/>
                  </a:lnTo>
                  <a:lnTo>
                    <a:pt x="484" y="693"/>
                  </a:lnTo>
                  <a:lnTo>
                    <a:pt x="486" y="691"/>
                  </a:lnTo>
                  <a:lnTo>
                    <a:pt x="484" y="691"/>
                  </a:lnTo>
                  <a:lnTo>
                    <a:pt x="484" y="690"/>
                  </a:lnTo>
                  <a:lnTo>
                    <a:pt x="486" y="690"/>
                  </a:lnTo>
                  <a:lnTo>
                    <a:pt x="486" y="691"/>
                  </a:lnTo>
                  <a:close/>
                  <a:moveTo>
                    <a:pt x="659" y="712"/>
                  </a:moveTo>
                  <a:lnTo>
                    <a:pt x="657" y="712"/>
                  </a:lnTo>
                  <a:lnTo>
                    <a:pt x="659" y="711"/>
                  </a:lnTo>
                  <a:lnTo>
                    <a:pt x="659" y="712"/>
                  </a:lnTo>
                  <a:close/>
                  <a:moveTo>
                    <a:pt x="535" y="359"/>
                  </a:moveTo>
                  <a:lnTo>
                    <a:pt x="535" y="361"/>
                  </a:lnTo>
                  <a:lnTo>
                    <a:pt x="535" y="359"/>
                  </a:lnTo>
                  <a:lnTo>
                    <a:pt x="533" y="359"/>
                  </a:lnTo>
                  <a:lnTo>
                    <a:pt x="535" y="359"/>
                  </a:lnTo>
                  <a:lnTo>
                    <a:pt x="535" y="358"/>
                  </a:lnTo>
                  <a:lnTo>
                    <a:pt x="535" y="359"/>
                  </a:lnTo>
                  <a:close/>
                  <a:moveTo>
                    <a:pt x="837" y="725"/>
                  </a:moveTo>
                  <a:lnTo>
                    <a:pt x="837" y="727"/>
                  </a:lnTo>
                  <a:lnTo>
                    <a:pt x="837" y="725"/>
                  </a:lnTo>
                  <a:close/>
                  <a:moveTo>
                    <a:pt x="598" y="921"/>
                  </a:moveTo>
                  <a:lnTo>
                    <a:pt x="600" y="921"/>
                  </a:lnTo>
                  <a:lnTo>
                    <a:pt x="598" y="921"/>
                  </a:lnTo>
                  <a:lnTo>
                    <a:pt x="598" y="922"/>
                  </a:lnTo>
                  <a:lnTo>
                    <a:pt x="598" y="921"/>
                  </a:lnTo>
                  <a:close/>
                  <a:moveTo>
                    <a:pt x="872" y="561"/>
                  </a:moveTo>
                  <a:lnTo>
                    <a:pt x="873" y="561"/>
                  </a:lnTo>
                  <a:lnTo>
                    <a:pt x="873" y="563"/>
                  </a:lnTo>
                  <a:lnTo>
                    <a:pt x="872" y="563"/>
                  </a:lnTo>
                  <a:lnTo>
                    <a:pt x="872" y="561"/>
                  </a:lnTo>
                  <a:lnTo>
                    <a:pt x="870" y="561"/>
                  </a:lnTo>
                  <a:lnTo>
                    <a:pt x="872" y="561"/>
                  </a:lnTo>
                  <a:close/>
                  <a:moveTo>
                    <a:pt x="724" y="363"/>
                  </a:moveTo>
                  <a:lnTo>
                    <a:pt x="724" y="364"/>
                  </a:lnTo>
                  <a:lnTo>
                    <a:pt x="722" y="364"/>
                  </a:lnTo>
                  <a:lnTo>
                    <a:pt x="722" y="363"/>
                  </a:lnTo>
                  <a:lnTo>
                    <a:pt x="724" y="363"/>
                  </a:lnTo>
                  <a:lnTo>
                    <a:pt x="724" y="361"/>
                  </a:lnTo>
                  <a:lnTo>
                    <a:pt x="724" y="363"/>
                  </a:lnTo>
                  <a:close/>
                  <a:moveTo>
                    <a:pt x="434" y="568"/>
                  </a:moveTo>
                  <a:lnTo>
                    <a:pt x="436" y="568"/>
                  </a:lnTo>
                  <a:lnTo>
                    <a:pt x="436" y="569"/>
                  </a:lnTo>
                  <a:lnTo>
                    <a:pt x="436" y="568"/>
                  </a:lnTo>
                  <a:lnTo>
                    <a:pt x="434" y="569"/>
                  </a:lnTo>
                  <a:lnTo>
                    <a:pt x="434" y="568"/>
                  </a:lnTo>
                  <a:close/>
                  <a:moveTo>
                    <a:pt x="763" y="664"/>
                  </a:moveTo>
                  <a:lnTo>
                    <a:pt x="764" y="664"/>
                  </a:lnTo>
                  <a:lnTo>
                    <a:pt x="764" y="665"/>
                  </a:lnTo>
                  <a:lnTo>
                    <a:pt x="763" y="665"/>
                  </a:lnTo>
                  <a:lnTo>
                    <a:pt x="761" y="665"/>
                  </a:lnTo>
                  <a:lnTo>
                    <a:pt x="763" y="665"/>
                  </a:lnTo>
                  <a:lnTo>
                    <a:pt x="763" y="664"/>
                  </a:lnTo>
                  <a:close/>
                  <a:moveTo>
                    <a:pt x="171" y="535"/>
                  </a:moveTo>
                  <a:lnTo>
                    <a:pt x="172" y="535"/>
                  </a:lnTo>
                  <a:lnTo>
                    <a:pt x="172" y="537"/>
                  </a:lnTo>
                  <a:lnTo>
                    <a:pt x="171" y="535"/>
                  </a:lnTo>
                  <a:close/>
                  <a:moveTo>
                    <a:pt x="694" y="681"/>
                  </a:moveTo>
                  <a:lnTo>
                    <a:pt x="696" y="681"/>
                  </a:lnTo>
                  <a:lnTo>
                    <a:pt x="694" y="683"/>
                  </a:lnTo>
                  <a:lnTo>
                    <a:pt x="694" y="681"/>
                  </a:lnTo>
                  <a:lnTo>
                    <a:pt x="694" y="683"/>
                  </a:lnTo>
                  <a:lnTo>
                    <a:pt x="696" y="683"/>
                  </a:lnTo>
                  <a:lnTo>
                    <a:pt x="694" y="683"/>
                  </a:lnTo>
                  <a:lnTo>
                    <a:pt x="694" y="681"/>
                  </a:lnTo>
                  <a:close/>
                  <a:moveTo>
                    <a:pt x="546" y="616"/>
                  </a:moveTo>
                  <a:lnTo>
                    <a:pt x="545" y="616"/>
                  </a:lnTo>
                  <a:lnTo>
                    <a:pt x="546" y="616"/>
                  </a:lnTo>
                  <a:close/>
                  <a:moveTo>
                    <a:pt x="961" y="709"/>
                  </a:moveTo>
                  <a:lnTo>
                    <a:pt x="959" y="709"/>
                  </a:lnTo>
                  <a:lnTo>
                    <a:pt x="961" y="709"/>
                  </a:lnTo>
                  <a:close/>
                  <a:moveTo>
                    <a:pt x="925" y="649"/>
                  </a:moveTo>
                  <a:lnTo>
                    <a:pt x="925" y="651"/>
                  </a:lnTo>
                  <a:lnTo>
                    <a:pt x="924" y="651"/>
                  </a:lnTo>
                  <a:lnTo>
                    <a:pt x="924" y="649"/>
                  </a:lnTo>
                  <a:lnTo>
                    <a:pt x="925" y="649"/>
                  </a:lnTo>
                  <a:lnTo>
                    <a:pt x="924" y="649"/>
                  </a:lnTo>
                  <a:lnTo>
                    <a:pt x="925" y="649"/>
                  </a:lnTo>
                  <a:close/>
                  <a:moveTo>
                    <a:pt x="750" y="701"/>
                  </a:moveTo>
                  <a:lnTo>
                    <a:pt x="750" y="703"/>
                  </a:lnTo>
                  <a:lnTo>
                    <a:pt x="751" y="703"/>
                  </a:lnTo>
                  <a:lnTo>
                    <a:pt x="750" y="703"/>
                  </a:lnTo>
                  <a:lnTo>
                    <a:pt x="750" y="701"/>
                  </a:lnTo>
                  <a:close/>
                  <a:moveTo>
                    <a:pt x="179" y="550"/>
                  </a:moveTo>
                  <a:lnTo>
                    <a:pt x="180" y="550"/>
                  </a:lnTo>
                  <a:lnTo>
                    <a:pt x="180" y="551"/>
                  </a:lnTo>
                  <a:lnTo>
                    <a:pt x="180" y="550"/>
                  </a:lnTo>
                  <a:lnTo>
                    <a:pt x="180" y="551"/>
                  </a:lnTo>
                  <a:lnTo>
                    <a:pt x="179" y="550"/>
                  </a:lnTo>
                  <a:close/>
                  <a:moveTo>
                    <a:pt x="99" y="442"/>
                  </a:moveTo>
                  <a:lnTo>
                    <a:pt x="101" y="442"/>
                  </a:lnTo>
                  <a:lnTo>
                    <a:pt x="101" y="444"/>
                  </a:lnTo>
                  <a:lnTo>
                    <a:pt x="102" y="444"/>
                  </a:lnTo>
                  <a:lnTo>
                    <a:pt x="101" y="444"/>
                  </a:lnTo>
                  <a:lnTo>
                    <a:pt x="99" y="442"/>
                  </a:lnTo>
                  <a:close/>
                  <a:moveTo>
                    <a:pt x="556" y="917"/>
                  </a:moveTo>
                  <a:lnTo>
                    <a:pt x="558" y="917"/>
                  </a:lnTo>
                  <a:lnTo>
                    <a:pt x="556" y="917"/>
                  </a:lnTo>
                  <a:lnTo>
                    <a:pt x="556" y="919"/>
                  </a:lnTo>
                  <a:lnTo>
                    <a:pt x="556" y="917"/>
                  </a:lnTo>
                  <a:close/>
                  <a:moveTo>
                    <a:pt x="436" y="428"/>
                  </a:moveTo>
                  <a:lnTo>
                    <a:pt x="434" y="428"/>
                  </a:lnTo>
                  <a:lnTo>
                    <a:pt x="436" y="428"/>
                  </a:lnTo>
                  <a:lnTo>
                    <a:pt x="436" y="426"/>
                  </a:lnTo>
                  <a:lnTo>
                    <a:pt x="436" y="425"/>
                  </a:lnTo>
                  <a:lnTo>
                    <a:pt x="436" y="426"/>
                  </a:lnTo>
                  <a:lnTo>
                    <a:pt x="436" y="428"/>
                  </a:lnTo>
                  <a:close/>
                  <a:moveTo>
                    <a:pt x="211" y="564"/>
                  </a:moveTo>
                  <a:lnTo>
                    <a:pt x="213" y="564"/>
                  </a:lnTo>
                  <a:lnTo>
                    <a:pt x="211" y="564"/>
                  </a:lnTo>
                  <a:close/>
                  <a:moveTo>
                    <a:pt x="471" y="290"/>
                  </a:moveTo>
                  <a:lnTo>
                    <a:pt x="473" y="290"/>
                  </a:lnTo>
                  <a:lnTo>
                    <a:pt x="471" y="290"/>
                  </a:lnTo>
                  <a:close/>
                  <a:moveTo>
                    <a:pt x="807" y="773"/>
                  </a:moveTo>
                  <a:lnTo>
                    <a:pt x="807" y="774"/>
                  </a:lnTo>
                  <a:lnTo>
                    <a:pt x="805" y="774"/>
                  </a:lnTo>
                  <a:lnTo>
                    <a:pt x="807" y="774"/>
                  </a:lnTo>
                  <a:lnTo>
                    <a:pt x="807" y="773"/>
                  </a:lnTo>
                  <a:close/>
                  <a:moveTo>
                    <a:pt x="902" y="750"/>
                  </a:moveTo>
                  <a:lnTo>
                    <a:pt x="904" y="750"/>
                  </a:lnTo>
                  <a:lnTo>
                    <a:pt x="904" y="751"/>
                  </a:lnTo>
                  <a:lnTo>
                    <a:pt x="902" y="751"/>
                  </a:lnTo>
                  <a:lnTo>
                    <a:pt x="902" y="750"/>
                  </a:lnTo>
                  <a:close/>
                  <a:moveTo>
                    <a:pt x="598" y="454"/>
                  </a:moveTo>
                  <a:lnTo>
                    <a:pt x="598" y="455"/>
                  </a:lnTo>
                  <a:lnTo>
                    <a:pt x="597" y="454"/>
                  </a:lnTo>
                  <a:lnTo>
                    <a:pt x="598" y="454"/>
                  </a:lnTo>
                  <a:close/>
                  <a:moveTo>
                    <a:pt x="701" y="693"/>
                  </a:moveTo>
                  <a:lnTo>
                    <a:pt x="702" y="693"/>
                  </a:lnTo>
                  <a:lnTo>
                    <a:pt x="701" y="695"/>
                  </a:lnTo>
                  <a:lnTo>
                    <a:pt x="701" y="693"/>
                  </a:lnTo>
                  <a:close/>
                  <a:moveTo>
                    <a:pt x="862" y="721"/>
                  </a:moveTo>
                  <a:lnTo>
                    <a:pt x="863" y="721"/>
                  </a:lnTo>
                  <a:lnTo>
                    <a:pt x="863" y="722"/>
                  </a:lnTo>
                  <a:lnTo>
                    <a:pt x="862" y="722"/>
                  </a:lnTo>
                  <a:lnTo>
                    <a:pt x="862" y="721"/>
                  </a:lnTo>
                  <a:lnTo>
                    <a:pt x="862" y="722"/>
                  </a:lnTo>
                  <a:lnTo>
                    <a:pt x="862" y="721"/>
                  </a:lnTo>
                  <a:lnTo>
                    <a:pt x="863" y="721"/>
                  </a:lnTo>
                  <a:lnTo>
                    <a:pt x="862" y="721"/>
                  </a:lnTo>
                  <a:close/>
                  <a:moveTo>
                    <a:pt x="982" y="722"/>
                  </a:moveTo>
                  <a:lnTo>
                    <a:pt x="982" y="721"/>
                  </a:lnTo>
                  <a:lnTo>
                    <a:pt x="982" y="719"/>
                  </a:lnTo>
                  <a:lnTo>
                    <a:pt x="984" y="719"/>
                  </a:lnTo>
                  <a:lnTo>
                    <a:pt x="982" y="721"/>
                  </a:lnTo>
                  <a:lnTo>
                    <a:pt x="982" y="722"/>
                  </a:lnTo>
                  <a:close/>
                  <a:moveTo>
                    <a:pt x="745" y="768"/>
                  </a:moveTo>
                  <a:lnTo>
                    <a:pt x="746" y="768"/>
                  </a:lnTo>
                  <a:lnTo>
                    <a:pt x="746" y="769"/>
                  </a:lnTo>
                  <a:lnTo>
                    <a:pt x="745" y="769"/>
                  </a:lnTo>
                  <a:lnTo>
                    <a:pt x="745" y="768"/>
                  </a:lnTo>
                  <a:close/>
                  <a:moveTo>
                    <a:pt x="785" y="337"/>
                  </a:moveTo>
                  <a:lnTo>
                    <a:pt x="785" y="335"/>
                  </a:lnTo>
                  <a:lnTo>
                    <a:pt x="787" y="335"/>
                  </a:lnTo>
                  <a:lnTo>
                    <a:pt x="785" y="335"/>
                  </a:lnTo>
                  <a:lnTo>
                    <a:pt x="785" y="337"/>
                  </a:lnTo>
                  <a:close/>
                  <a:moveTo>
                    <a:pt x="741" y="621"/>
                  </a:moveTo>
                  <a:lnTo>
                    <a:pt x="740" y="623"/>
                  </a:lnTo>
                  <a:lnTo>
                    <a:pt x="740" y="621"/>
                  </a:lnTo>
                  <a:lnTo>
                    <a:pt x="741" y="621"/>
                  </a:lnTo>
                  <a:close/>
                  <a:moveTo>
                    <a:pt x="577" y="449"/>
                  </a:moveTo>
                  <a:lnTo>
                    <a:pt x="579" y="447"/>
                  </a:lnTo>
                  <a:lnTo>
                    <a:pt x="579" y="449"/>
                  </a:lnTo>
                  <a:lnTo>
                    <a:pt x="577" y="449"/>
                  </a:lnTo>
                  <a:close/>
                  <a:moveTo>
                    <a:pt x="842" y="586"/>
                  </a:moveTo>
                  <a:lnTo>
                    <a:pt x="842" y="587"/>
                  </a:lnTo>
                  <a:lnTo>
                    <a:pt x="842" y="586"/>
                  </a:lnTo>
                  <a:lnTo>
                    <a:pt x="841" y="586"/>
                  </a:lnTo>
                  <a:lnTo>
                    <a:pt x="842" y="586"/>
                  </a:lnTo>
                  <a:lnTo>
                    <a:pt x="842" y="584"/>
                  </a:lnTo>
                  <a:lnTo>
                    <a:pt x="842" y="586"/>
                  </a:lnTo>
                  <a:close/>
                  <a:moveTo>
                    <a:pt x="558" y="966"/>
                  </a:moveTo>
                  <a:lnTo>
                    <a:pt x="559" y="966"/>
                  </a:lnTo>
                  <a:lnTo>
                    <a:pt x="558" y="968"/>
                  </a:lnTo>
                  <a:lnTo>
                    <a:pt x="558" y="966"/>
                  </a:lnTo>
                  <a:close/>
                  <a:moveTo>
                    <a:pt x="210" y="563"/>
                  </a:moveTo>
                  <a:lnTo>
                    <a:pt x="208" y="563"/>
                  </a:lnTo>
                  <a:lnTo>
                    <a:pt x="208" y="561"/>
                  </a:lnTo>
                  <a:lnTo>
                    <a:pt x="210" y="561"/>
                  </a:lnTo>
                  <a:lnTo>
                    <a:pt x="210" y="563"/>
                  </a:lnTo>
                  <a:close/>
                  <a:moveTo>
                    <a:pt x="1007" y="730"/>
                  </a:moveTo>
                  <a:lnTo>
                    <a:pt x="1008" y="730"/>
                  </a:lnTo>
                  <a:lnTo>
                    <a:pt x="1008" y="732"/>
                  </a:lnTo>
                  <a:lnTo>
                    <a:pt x="1007" y="730"/>
                  </a:lnTo>
                  <a:close/>
                  <a:moveTo>
                    <a:pt x="428" y="571"/>
                  </a:moveTo>
                  <a:lnTo>
                    <a:pt x="429" y="569"/>
                  </a:lnTo>
                  <a:lnTo>
                    <a:pt x="431" y="569"/>
                  </a:lnTo>
                  <a:lnTo>
                    <a:pt x="429" y="571"/>
                  </a:lnTo>
                  <a:lnTo>
                    <a:pt x="428" y="571"/>
                  </a:lnTo>
                  <a:close/>
                  <a:moveTo>
                    <a:pt x="522" y="402"/>
                  </a:moveTo>
                  <a:lnTo>
                    <a:pt x="520" y="402"/>
                  </a:lnTo>
                  <a:lnTo>
                    <a:pt x="520" y="400"/>
                  </a:lnTo>
                  <a:lnTo>
                    <a:pt x="522" y="400"/>
                  </a:lnTo>
                  <a:lnTo>
                    <a:pt x="522" y="402"/>
                  </a:lnTo>
                  <a:close/>
                  <a:moveTo>
                    <a:pt x="846" y="584"/>
                  </a:moveTo>
                  <a:lnTo>
                    <a:pt x="847" y="584"/>
                  </a:lnTo>
                  <a:lnTo>
                    <a:pt x="847" y="582"/>
                  </a:lnTo>
                  <a:lnTo>
                    <a:pt x="847" y="584"/>
                  </a:lnTo>
                  <a:lnTo>
                    <a:pt x="847" y="586"/>
                  </a:lnTo>
                  <a:lnTo>
                    <a:pt x="847" y="584"/>
                  </a:lnTo>
                  <a:lnTo>
                    <a:pt x="846" y="584"/>
                  </a:lnTo>
                  <a:close/>
                  <a:moveTo>
                    <a:pt x="480" y="615"/>
                  </a:moveTo>
                  <a:lnTo>
                    <a:pt x="481" y="615"/>
                  </a:lnTo>
                  <a:lnTo>
                    <a:pt x="481" y="616"/>
                  </a:lnTo>
                  <a:lnTo>
                    <a:pt x="480" y="616"/>
                  </a:lnTo>
                  <a:lnTo>
                    <a:pt x="480" y="615"/>
                  </a:lnTo>
                  <a:close/>
                  <a:moveTo>
                    <a:pt x="673" y="633"/>
                  </a:moveTo>
                  <a:lnTo>
                    <a:pt x="675" y="633"/>
                  </a:lnTo>
                  <a:lnTo>
                    <a:pt x="673" y="634"/>
                  </a:lnTo>
                  <a:lnTo>
                    <a:pt x="673" y="633"/>
                  </a:lnTo>
                  <a:lnTo>
                    <a:pt x="673" y="634"/>
                  </a:lnTo>
                  <a:lnTo>
                    <a:pt x="673" y="633"/>
                  </a:lnTo>
                  <a:close/>
                  <a:moveTo>
                    <a:pt x="524" y="416"/>
                  </a:moveTo>
                  <a:lnTo>
                    <a:pt x="522" y="416"/>
                  </a:lnTo>
                  <a:lnTo>
                    <a:pt x="522" y="415"/>
                  </a:lnTo>
                  <a:lnTo>
                    <a:pt x="524" y="415"/>
                  </a:lnTo>
                  <a:lnTo>
                    <a:pt x="524" y="416"/>
                  </a:lnTo>
                  <a:close/>
                  <a:moveTo>
                    <a:pt x="320" y="794"/>
                  </a:moveTo>
                  <a:lnTo>
                    <a:pt x="320" y="792"/>
                  </a:lnTo>
                  <a:lnTo>
                    <a:pt x="322" y="792"/>
                  </a:lnTo>
                  <a:lnTo>
                    <a:pt x="320" y="794"/>
                  </a:lnTo>
                  <a:close/>
                  <a:moveTo>
                    <a:pt x="1020" y="729"/>
                  </a:moveTo>
                  <a:lnTo>
                    <a:pt x="1020" y="727"/>
                  </a:lnTo>
                  <a:lnTo>
                    <a:pt x="1021" y="727"/>
                  </a:lnTo>
                  <a:lnTo>
                    <a:pt x="1020" y="729"/>
                  </a:lnTo>
                  <a:close/>
                  <a:moveTo>
                    <a:pt x="558" y="161"/>
                  </a:moveTo>
                  <a:lnTo>
                    <a:pt x="559" y="161"/>
                  </a:lnTo>
                  <a:lnTo>
                    <a:pt x="559" y="163"/>
                  </a:lnTo>
                  <a:lnTo>
                    <a:pt x="559" y="161"/>
                  </a:lnTo>
                  <a:lnTo>
                    <a:pt x="558" y="161"/>
                  </a:lnTo>
                  <a:close/>
                  <a:moveTo>
                    <a:pt x="65" y="415"/>
                  </a:moveTo>
                  <a:lnTo>
                    <a:pt x="63" y="415"/>
                  </a:lnTo>
                  <a:lnTo>
                    <a:pt x="63" y="413"/>
                  </a:lnTo>
                  <a:lnTo>
                    <a:pt x="65" y="413"/>
                  </a:lnTo>
                  <a:lnTo>
                    <a:pt x="65" y="415"/>
                  </a:lnTo>
                  <a:close/>
                  <a:moveTo>
                    <a:pt x="488" y="841"/>
                  </a:moveTo>
                  <a:lnTo>
                    <a:pt x="489" y="841"/>
                  </a:lnTo>
                  <a:lnTo>
                    <a:pt x="489" y="843"/>
                  </a:lnTo>
                  <a:lnTo>
                    <a:pt x="489" y="841"/>
                  </a:lnTo>
                  <a:lnTo>
                    <a:pt x="488" y="841"/>
                  </a:lnTo>
                  <a:close/>
                  <a:moveTo>
                    <a:pt x="909" y="657"/>
                  </a:moveTo>
                  <a:lnTo>
                    <a:pt x="909" y="659"/>
                  </a:lnTo>
                  <a:lnTo>
                    <a:pt x="907" y="659"/>
                  </a:lnTo>
                  <a:lnTo>
                    <a:pt x="909" y="657"/>
                  </a:lnTo>
                  <a:close/>
                  <a:moveTo>
                    <a:pt x="611" y="573"/>
                  </a:moveTo>
                  <a:lnTo>
                    <a:pt x="610" y="573"/>
                  </a:lnTo>
                  <a:lnTo>
                    <a:pt x="610" y="571"/>
                  </a:lnTo>
                  <a:lnTo>
                    <a:pt x="611" y="573"/>
                  </a:lnTo>
                  <a:close/>
                  <a:moveTo>
                    <a:pt x="484" y="836"/>
                  </a:moveTo>
                  <a:lnTo>
                    <a:pt x="484" y="834"/>
                  </a:lnTo>
                  <a:lnTo>
                    <a:pt x="484" y="836"/>
                  </a:lnTo>
                  <a:close/>
                  <a:moveTo>
                    <a:pt x="483" y="294"/>
                  </a:moveTo>
                  <a:lnTo>
                    <a:pt x="484" y="294"/>
                  </a:lnTo>
                  <a:lnTo>
                    <a:pt x="484" y="296"/>
                  </a:lnTo>
                  <a:lnTo>
                    <a:pt x="483" y="296"/>
                  </a:lnTo>
                  <a:lnTo>
                    <a:pt x="483" y="294"/>
                  </a:lnTo>
                  <a:close/>
                  <a:moveTo>
                    <a:pt x="102" y="444"/>
                  </a:moveTo>
                  <a:lnTo>
                    <a:pt x="102" y="442"/>
                  </a:lnTo>
                  <a:lnTo>
                    <a:pt x="101" y="442"/>
                  </a:lnTo>
                  <a:lnTo>
                    <a:pt x="102" y="442"/>
                  </a:lnTo>
                  <a:lnTo>
                    <a:pt x="102" y="444"/>
                  </a:lnTo>
                  <a:close/>
                  <a:moveTo>
                    <a:pt x="470" y="423"/>
                  </a:moveTo>
                  <a:lnTo>
                    <a:pt x="470" y="421"/>
                  </a:lnTo>
                  <a:lnTo>
                    <a:pt x="471" y="423"/>
                  </a:lnTo>
                  <a:lnTo>
                    <a:pt x="470" y="423"/>
                  </a:lnTo>
                  <a:close/>
                  <a:moveTo>
                    <a:pt x="400" y="481"/>
                  </a:moveTo>
                  <a:lnTo>
                    <a:pt x="400" y="483"/>
                  </a:lnTo>
                  <a:lnTo>
                    <a:pt x="400" y="481"/>
                  </a:lnTo>
                  <a:close/>
                  <a:moveTo>
                    <a:pt x="899" y="579"/>
                  </a:moveTo>
                  <a:lnTo>
                    <a:pt x="898" y="579"/>
                  </a:lnTo>
                  <a:lnTo>
                    <a:pt x="898" y="577"/>
                  </a:lnTo>
                  <a:lnTo>
                    <a:pt x="899" y="577"/>
                  </a:lnTo>
                  <a:lnTo>
                    <a:pt x="899" y="579"/>
                  </a:lnTo>
                  <a:close/>
                  <a:moveTo>
                    <a:pt x="501" y="420"/>
                  </a:moveTo>
                  <a:lnTo>
                    <a:pt x="501" y="418"/>
                  </a:lnTo>
                  <a:lnTo>
                    <a:pt x="502" y="418"/>
                  </a:lnTo>
                  <a:lnTo>
                    <a:pt x="502" y="420"/>
                  </a:lnTo>
                  <a:lnTo>
                    <a:pt x="501" y="418"/>
                  </a:lnTo>
                  <a:lnTo>
                    <a:pt x="501" y="420"/>
                  </a:lnTo>
                  <a:close/>
                  <a:moveTo>
                    <a:pt x="504" y="592"/>
                  </a:moveTo>
                  <a:lnTo>
                    <a:pt x="506" y="590"/>
                  </a:lnTo>
                  <a:lnTo>
                    <a:pt x="504" y="592"/>
                  </a:lnTo>
                  <a:close/>
                  <a:moveTo>
                    <a:pt x="171" y="533"/>
                  </a:moveTo>
                  <a:lnTo>
                    <a:pt x="171" y="532"/>
                  </a:lnTo>
                  <a:lnTo>
                    <a:pt x="172" y="532"/>
                  </a:lnTo>
                  <a:lnTo>
                    <a:pt x="171" y="533"/>
                  </a:lnTo>
                  <a:close/>
                  <a:moveTo>
                    <a:pt x="902" y="750"/>
                  </a:moveTo>
                  <a:lnTo>
                    <a:pt x="902" y="748"/>
                  </a:lnTo>
                  <a:lnTo>
                    <a:pt x="902" y="750"/>
                  </a:lnTo>
                  <a:close/>
                  <a:moveTo>
                    <a:pt x="605" y="649"/>
                  </a:moveTo>
                  <a:lnTo>
                    <a:pt x="606" y="649"/>
                  </a:lnTo>
                  <a:lnTo>
                    <a:pt x="606" y="647"/>
                  </a:lnTo>
                  <a:lnTo>
                    <a:pt x="606" y="649"/>
                  </a:lnTo>
                  <a:lnTo>
                    <a:pt x="605" y="649"/>
                  </a:lnTo>
                  <a:close/>
                  <a:moveTo>
                    <a:pt x="499" y="586"/>
                  </a:moveTo>
                  <a:lnTo>
                    <a:pt x="497" y="586"/>
                  </a:lnTo>
                  <a:lnTo>
                    <a:pt x="497" y="584"/>
                  </a:lnTo>
                  <a:lnTo>
                    <a:pt x="499" y="584"/>
                  </a:lnTo>
                  <a:lnTo>
                    <a:pt x="499" y="586"/>
                  </a:lnTo>
                  <a:close/>
                  <a:moveTo>
                    <a:pt x="452" y="441"/>
                  </a:moveTo>
                  <a:lnTo>
                    <a:pt x="452" y="439"/>
                  </a:lnTo>
                  <a:lnTo>
                    <a:pt x="454" y="439"/>
                  </a:lnTo>
                  <a:lnTo>
                    <a:pt x="454" y="441"/>
                  </a:lnTo>
                  <a:lnTo>
                    <a:pt x="452" y="441"/>
                  </a:lnTo>
                  <a:close/>
                  <a:moveTo>
                    <a:pt x="898" y="631"/>
                  </a:moveTo>
                  <a:lnTo>
                    <a:pt x="898" y="629"/>
                  </a:lnTo>
                  <a:lnTo>
                    <a:pt x="899" y="631"/>
                  </a:lnTo>
                  <a:lnTo>
                    <a:pt x="899" y="629"/>
                  </a:lnTo>
                  <a:lnTo>
                    <a:pt x="899" y="631"/>
                  </a:lnTo>
                  <a:lnTo>
                    <a:pt x="898" y="631"/>
                  </a:lnTo>
                  <a:close/>
                  <a:moveTo>
                    <a:pt x="714" y="688"/>
                  </a:moveTo>
                  <a:lnTo>
                    <a:pt x="715" y="688"/>
                  </a:lnTo>
                  <a:lnTo>
                    <a:pt x="714" y="688"/>
                  </a:lnTo>
                  <a:close/>
                  <a:moveTo>
                    <a:pt x="423" y="451"/>
                  </a:moveTo>
                  <a:lnTo>
                    <a:pt x="424" y="451"/>
                  </a:lnTo>
                  <a:lnTo>
                    <a:pt x="423" y="451"/>
                  </a:lnTo>
                  <a:close/>
                  <a:moveTo>
                    <a:pt x="571" y="184"/>
                  </a:moveTo>
                  <a:lnTo>
                    <a:pt x="571" y="182"/>
                  </a:lnTo>
                  <a:lnTo>
                    <a:pt x="571" y="184"/>
                  </a:lnTo>
                  <a:close/>
                  <a:moveTo>
                    <a:pt x="855" y="823"/>
                  </a:moveTo>
                  <a:lnTo>
                    <a:pt x="855" y="821"/>
                  </a:lnTo>
                  <a:lnTo>
                    <a:pt x="855" y="823"/>
                  </a:lnTo>
                  <a:lnTo>
                    <a:pt x="857" y="821"/>
                  </a:lnTo>
                  <a:lnTo>
                    <a:pt x="857" y="823"/>
                  </a:lnTo>
                  <a:lnTo>
                    <a:pt x="857" y="821"/>
                  </a:lnTo>
                  <a:lnTo>
                    <a:pt x="857" y="823"/>
                  </a:lnTo>
                  <a:lnTo>
                    <a:pt x="855" y="823"/>
                  </a:lnTo>
                  <a:lnTo>
                    <a:pt x="855" y="825"/>
                  </a:lnTo>
                  <a:lnTo>
                    <a:pt x="855" y="823"/>
                  </a:lnTo>
                  <a:close/>
                  <a:moveTo>
                    <a:pt x="639" y="286"/>
                  </a:moveTo>
                  <a:lnTo>
                    <a:pt x="637" y="286"/>
                  </a:lnTo>
                  <a:lnTo>
                    <a:pt x="639" y="285"/>
                  </a:lnTo>
                  <a:lnTo>
                    <a:pt x="639" y="286"/>
                  </a:lnTo>
                  <a:close/>
                  <a:moveTo>
                    <a:pt x="509" y="873"/>
                  </a:moveTo>
                  <a:lnTo>
                    <a:pt x="511" y="873"/>
                  </a:lnTo>
                  <a:lnTo>
                    <a:pt x="509" y="873"/>
                  </a:lnTo>
                  <a:close/>
                  <a:moveTo>
                    <a:pt x="483" y="425"/>
                  </a:moveTo>
                  <a:lnTo>
                    <a:pt x="484" y="425"/>
                  </a:lnTo>
                  <a:lnTo>
                    <a:pt x="483" y="425"/>
                  </a:lnTo>
                  <a:close/>
                  <a:moveTo>
                    <a:pt x="579" y="561"/>
                  </a:moveTo>
                  <a:lnTo>
                    <a:pt x="580" y="561"/>
                  </a:lnTo>
                  <a:lnTo>
                    <a:pt x="580" y="563"/>
                  </a:lnTo>
                  <a:lnTo>
                    <a:pt x="579" y="561"/>
                  </a:lnTo>
                  <a:close/>
                  <a:moveTo>
                    <a:pt x="535" y="421"/>
                  </a:moveTo>
                  <a:lnTo>
                    <a:pt x="537" y="421"/>
                  </a:lnTo>
                  <a:lnTo>
                    <a:pt x="535" y="421"/>
                  </a:lnTo>
                  <a:close/>
                  <a:moveTo>
                    <a:pt x="699" y="138"/>
                  </a:moveTo>
                  <a:lnTo>
                    <a:pt x="699" y="137"/>
                  </a:lnTo>
                  <a:lnTo>
                    <a:pt x="701" y="138"/>
                  </a:lnTo>
                  <a:lnTo>
                    <a:pt x="701" y="140"/>
                  </a:lnTo>
                  <a:lnTo>
                    <a:pt x="701" y="138"/>
                  </a:lnTo>
                  <a:lnTo>
                    <a:pt x="701" y="140"/>
                  </a:lnTo>
                  <a:lnTo>
                    <a:pt x="701" y="138"/>
                  </a:lnTo>
                  <a:lnTo>
                    <a:pt x="699" y="138"/>
                  </a:lnTo>
                  <a:close/>
                  <a:moveTo>
                    <a:pt x="816" y="927"/>
                  </a:moveTo>
                  <a:lnTo>
                    <a:pt x="816" y="929"/>
                  </a:lnTo>
                  <a:lnTo>
                    <a:pt x="815" y="929"/>
                  </a:lnTo>
                  <a:lnTo>
                    <a:pt x="815" y="927"/>
                  </a:lnTo>
                  <a:lnTo>
                    <a:pt x="816" y="927"/>
                  </a:lnTo>
                  <a:close/>
                  <a:moveTo>
                    <a:pt x="488" y="625"/>
                  </a:moveTo>
                  <a:lnTo>
                    <a:pt x="486" y="626"/>
                  </a:lnTo>
                  <a:lnTo>
                    <a:pt x="488" y="625"/>
                  </a:lnTo>
                  <a:close/>
                  <a:moveTo>
                    <a:pt x="504" y="690"/>
                  </a:moveTo>
                  <a:lnTo>
                    <a:pt x="506" y="690"/>
                  </a:lnTo>
                  <a:lnTo>
                    <a:pt x="504" y="690"/>
                  </a:lnTo>
                  <a:close/>
                  <a:moveTo>
                    <a:pt x="821" y="678"/>
                  </a:moveTo>
                  <a:lnTo>
                    <a:pt x="821" y="677"/>
                  </a:lnTo>
                  <a:lnTo>
                    <a:pt x="821" y="678"/>
                  </a:lnTo>
                  <a:close/>
                  <a:moveTo>
                    <a:pt x="26" y="402"/>
                  </a:moveTo>
                  <a:lnTo>
                    <a:pt x="26" y="400"/>
                  </a:lnTo>
                  <a:lnTo>
                    <a:pt x="26" y="402"/>
                  </a:lnTo>
                  <a:close/>
                  <a:moveTo>
                    <a:pt x="833" y="576"/>
                  </a:moveTo>
                  <a:lnTo>
                    <a:pt x="831" y="574"/>
                  </a:lnTo>
                  <a:lnTo>
                    <a:pt x="833" y="574"/>
                  </a:lnTo>
                  <a:lnTo>
                    <a:pt x="833" y="576"/>
                  </a:lnTo>
                  <a:close/>
                  <a:moveTo>
                    <a:pt x="904" y="642"/>
                  </a:moveTo>
                  <a:lnTo>
                    <a:pt x="902" y="642"/>
                  </a:lnTo>
                  <a:lnTo>
                    <a:pt x="904" y="641"/>
                  </a:lnTo>
                  <a:lnTo>
                    <a:pt x="904" y="642"/>
                  </a:lnTo>
                  <a:close/>
                  <a:moveTo>
                    <a:pt x="579" y="442"/>
                  </a:moveTo>
                  <a:lnTo>
                    <a:pt x="577" y="442"/>
                  </a:lnTo>
                  <a:lnTo>
                    <a:pt x="579" y="442"/>
                  </a:lnTo>
                  <a:close/>
                  <a:moveTo>
                    <a:pt x="764" y="667"/>
                  </a:moveTo>
                  <a:lnTo>
                    <a:pt x="764" y="665"/>
                  </a:lnTo>
                  <a:lnTo>
                    <a:pt x="766" y="667"/>
                  </a:lnTo>
                  <a:lnTo>
                    <a:pt x="764" y="667"/>
                  </a:lnTo>
                  <a:close/>
                  <a:moveTo>
                    <a:pt x="512" y="662"/>
                  </a:moveTo>
                  <a:lnTo>
                    <a:pt x="511" y="662"/>
                  </a:lnTo>
                  <a:lnTo>
                    <a:pt x="512" y="662"/>
                  </a:lnTo>
                  <a:close/>
                  <a:moveTo>
                    <a:pt x="855" y="721"/>
                  </a:moveTo>
                  <a:lnTo>
                    <a:pt x="855" y="719"/>
                  </a:lnTo>
                  <a:lnTo>
                    <a:pt x="855" y="721"/>
                  </a:lnTo>
                  <a:lnTo>
                    <a:pt x="857" y="721"/>
                  </a:lnTo>
                  <a:lnTo>
                    <a:pt x="855" y="721"/>
                  </a:lnTo>
                  <a:close/>
                  <a:moveTo>
                    <a:pt x="857" y="722"/>
                  </a:moveTo>
                  <a:lnTo>
                    <a:pt x="859" y="722"/>
                  </a:lnTo>
                  <a:lnTo>
                    <a:pt x="857" y="722"/>
                  </a:lnTo>
                  <a:close/>
                  <a:moveTo>
                    <a:pt x="203" y="677"/>
                  </a:moveTo>
                  <a:lnTo>
                    <a:pt x="205" y="675"/>
                  </a:lnTo>
                  <a:lnTo>
                    <a:pt x="205" y="677"/>
                  </a:lnTo>
                  <a:lnTo>
                    <a:pt x="203" y="677"/>
                  </a:lnTo>
                  <a:close/>
                  <a:moveTo>
                    <a:pt x="480" y="633"/>
                  </a:moveTo>
                  <a:lnTo>
                    <a:pt x="481" y="633"/>
                  </a:lnTo>
                  <a:lnTo>
                    <a:pt x="480" y="633"/>
                  </a:lnTo>
                  <a:close/>
                  <a:moveTo>
                    <a:pt x="1007" y="737"/>
                  </a:moveTo>
                  <a:lnTo>
                    <a:pt x="1005" y="737"/>
                  </a:lnTo>
                  <a:lnTo>
                    <a:pt x="1007" y="737"/>
                  </a:lnTo>
                  <a:close/>
                  <a:moveTo>
                    <a:pt x="580" y="564"/>
                  </a:moveTo>
                  <a:lnTo>
                    <a:pt x="579" y="564"/>
                  </a:lnTo>
                  <a:lnTo>
                    <a:pt x="580" y="564"/>
                  </a:lnTo>
                  <a:close/>
                  <a:moveTo>
                    <a:pt x="844" y="600"/>
                  </a:moveTo>
                  <a:lnTo>
                    <a:pt x="846" y="600"/>
                  </a:lnTo>
                  <a:lnTo>
                    <a:pt x="844" y="600"/>
                  </a:lnTo>
                  <a:close/>
                  <a:moveTo>
                    <a:pt x="496" y="688"/>
                  </a:moveTo>
                  <a:lnTo>
                    <a:pt x="494" y="688"/>
                  </a:lnTo>
                  <a:lnTo>
                    <a:pt x="496" y="686"/>
                  </a:lnTo>
                  <a:lnTo>
                    <a:pt x="496" y="688"/>
                  </a:lnTo>
                  <a:close/>
                  <a:moveTo>
                    <a:pt x="855" y="615"/>
                  </a:moveTo>
                  <a:lnTo>
                    <a:pt x="855" y="613"/>
                  </a:lnTo>
                  <a:lnTo>
                    <a:pt x="857" y="613"/>
                  </a:lnTo>
                  <a:lnTo>
                    <a:pt x="857" y="615"/>
                  </a:lnTo>
                  <a:lnTo>
                    <a:pt x="855" y="615"/>
                  </a:lnTo>
                  <a:close/>
                  <a:moveTo>
                    <a:pt x="730" y="795"/>
                  </a:moveTo>
                  <a:lnTo>
                    <a:pt x="730" y="794"/>
                  </a:lnTo>
                  <a:lnTo>
                    <a:pt x="730" y="795"/>
                  </a:lnTo>
                  <a:close/>
                  <a:moveTo>
                    <a:pt x="790" y="454"/>
                  </a:moveTo>
                  <a:lnTo>
                    <a:pt x="789" y="454"/>
                  </a:lnTo>
                  <a:lnTo>
                    <a:pt x="789" y="452"/>
                  </a:lnTo>
                  <a:lnTo>
                    <a:pt x="790" y="452"/>
                  </a:lnTo>
                  <a:lnTo>
                    <a:pt x="790" y="454"/>
                  </a:lnTo>
                  <a:close/>
                  <a:moveTo>
                    <a:pt x="496" y="683"/>
                  </a:moveTo>
                  <a:lnTo>
                    <a:pt x="494" y="683"/>
                  </a:lnTo>
                  <a:lnTo>
                    <a:pt x="496" y="683"/>
                  </a:lnTo>
                  <a:close/>
                  <a:moveTo>
                    <a:pt x="938" y="878"/>
                  </a:moveTo>
                  <a:lnTo>
                    <a:pt x="937" y="878"/>
                  </a:lnTo>
                  <a:lnTo>
                    <a:pt x="937" y="877"/>
                  </a:lnTo>
                  <a:lnTo>
                    <a:pt x="938" y="877"/>
                  </a:lnTo>
                  <a:lnTo>
                    <a:pt x="938" y="878"/>
                  </a:lnTo>
                  <a:close/>
                  <a:moveTo>
                    <a:pt x="943" y="864"/>
                  </a:moveTo>
                  <a:lnTo>
                    <a:pt x="943" y="862"/>
                  </a:lnTo>
                  <a:lnTo>
                    <a:pt x="943" y="864"/>
                  </a:lnTo>
                  <a:close/>
                  <a:moveTo>
                    <a:pt x="478" y="860"/>
                  </a:moveTo>
                  <a:lnTo>
                    <a:pt x="480" y="862"/>
                  </a:lnTo>
                  <a:lnTo>
                    <a:pt x="478" y="862"/>
                  </a:lnTo>
                  <a:lnTo>
                    <a:pt x="478" y="860"/>
                  </a:lnTo>
                  <a:close/>
                  <a:moveTo>
                    <a:pt x="432" y="569"/>
                  </a:moveTo>
                  <a:lnTo>
                    <a:pt x="432" y="568"/>
                  </a:lnTo>
                  <a:lnTo>
                    <a:pt x="432" y="569"/>
                  </a:lnTo>
                  <a:close/>
                  <a:moveTo>
                    <a:pt x="205" y="563"/>
                  </a:moveTo>
                  <a:lnTo>
                    <a:pt x="206" y="563"/>
                  </a:lnTo>
                  <a:lnTo>
                    <a:pt x="205" y="563"/>
                  </a:lnTo>
                  <a:close/>
                  <a:moveTo>
                    <a:pt x="545" y="924"/>
                  </a:moveTo>
                  <a:lnTo>
                    <a:pt x="545" y="922"/>
                  </a:lnTo>
                  <a:lnTo>
                    <a:pt x="546" y="924"/>
                  </a:lnTo>
                  <a:lnTo>
                    <a:pt x="545" y="924"/>
                  </a:lnTo>
                  <a:close/>
                  <a:moveTo>
                    <a:pt x="876" y="602"/>
                  </a:moveTo>
                  <a:lnTo>
                    <a:pt x="876" y="600"/>
                  </a:lnTo>
                  <a:lnTo>
                    <a:pt x="876" y="602"/>
                  </a:lnTo>
                  <a:close/>
                  <a:moveTo>
                    <a:pt x="883" y="821"/>
                  </a:moveTo>
                  <a:lnTo>
                    <a:pt x="885" y="821"/>
                  </a:lnTo>
                  <a:lnTo>
                    <a:pt x="885" y="823"/>
                  </a:lnTo>
                  <a:lnTo>
                    <a:pt x="885" y="821"/>
                  </a:lnTo>
                  <a:lnTo>
                    <a:pt x="883" y="821"/>
                  </a:lnTo>
                  <a:close/>
                  <a:moveTo>
                    <a:pt x="564" y="548"/>
                  </a:moveTo>
                  <a:lnTo>
                    <a:pt x="564" y="550"/>
                  </a:lnTo>
                  <a:lnTo>
                    <a:pt x="564" y="548"/>
                  </a:lnTo>
                  <a:close/>
                  <a:moveTo>
                    <a:pt x="873" y="615"/>
                  </a:moveTo>
                  <a:lnTo>
                    <a:pt x="875" y="616"/>
                  </a:lnTo>
                  <a:lnTo>
                    <a:pt x="873" y="616"/>
                  </a:lnTo>
                  <a:lnTo>
                    <a:pt x="873" y="615"/>
                  </a:lnTo>
                  <a:close/>
                  <a:moveTo>
                    <a:pt x="764" y="665"/>
                  </a:moveTo>
                  <a:lnTo>
                    <a:pt x="766" y="665"/>
                  </a:lnTo>
                  <a:lnTo>
                    <a:pt x="764" y="665"/>
                  </a:lnTo>
                  <a:close/>
                  <a:moveTo>
                    <a:pt x="244" y="561"/>
                  </a:moveTo>
                  <a:lnTo>
                    <a:pt x="245" y="561"/>
                  </a:lnTo>
                  <a:lnTo>
                    <a:pt x="245" y="563"/>
                  </a:lnTo>
                  <a:lnTo>
                    <a:pt x="244" y="563"/>
                  </a:lnTo>
                  <a:lnTo>
                    <a:pt x="244" y="561"/>
                  </a:lnTo>
                  <a:close/>
                  <a:moveTo>
                    <a:pt x="237" y="579"/>
                  </a:moveTo>
                  <a:lnTo>
                    <a:pt x="236" y="581"/>
                  </a:lnTo>
                  <a:lnTo>
                    <a:pt x="236" y="579"/>
                  </a:lnTo>
                  <a:lnTo>
                    <a:pt x="237" y="579"/>
                  </a:lnTo>
                  <a:close/>
                  <a:moveTo>
                    <a:pt x="535" y="425"/>
                  </a:moveTo>
                  <a:lnTo>
                    <a:pt x="535" y="426"/>
                  </a:lnTo>
                  <a:lnTo>
                    <a:pt x="535" y="425"/>
                  </a:lnTo>
                  <a:close/>
                  <a:moveTo>
                    <a:pt x="484" y="590"/>
                  </a:moveTo>
                  <a:lnTo>
                    <a:pt x="486" y="590"/>
                  </a:lnTo>
                  <a:lnTo>
                    <a:pt x="484" y="590"/>
                  </a:lnTo>
                  <a:close/>
                  <a:moveTo>
                    <a:pt x="511" y="664"/>
                  </a:moveTo>
                  <a:lnTo>
                    <a:pt x="509" y="664"/>
                  </a:lnTo>
                  <a:lnTo>
                    <a:pt x="511" y="662"/>
                  </a:lnTo>
                  <a:lnTo>
                    <a:pt x="511" y="664"/>
                  </a:lnTo>
                  <a:close/>
                  <a:moveTo>
                    <a:pt x="872" y="600"/>
                  </a:moveTo>
                  <a:lnTo>
                    <a:pt x="872" y="599"/>
                  </a:lnTo>
                  <a:lnTo>
                    <a:pt x="872" y="600"/>
                  </a:lnTo>
                  <a:close/>
                  <a:moveTo>
                    <a:pt x="875" y="613"/>
                  </a:moveTo>
                  <a:lnTo>
                    <a:pt x="876" y="613"/>
                  </a:lnTo>
                  <a:lnTo>
                    <a:pt x="875" y="613"/>
                  </a:lnTo>
                  <a:close/>
                  <a:moveTo>
                    <a:pt x="707" y="467"/>
                  </a:moveTo>
                  <a:lnTo>
                    <a:pt x="706" y="468"/>
                  </a:lnTo>
                  <a:lnTo>
                    <a:pt x="706" y="467"/>
                  </a:lnTo>
                  <a:lnTo>
                    <a:pt x="707" y="467"/>
                  </a:lnTo>
                  <a:close/>
                  <a:moveTo>
                    <a:pt x="1015" y="735"/>
                  </a:moveTo>
                  <a:lnTo>
                    <a:pt x="1013" y="735"/>
                  </a:lnTo>
                  <a:lnTo>
                    <a:pt x="1015" y="734"/>
                  </a:lnTo>
                  <a:lnTo>
                    <a:pt x="1015" y="735"/>
                  </a:lnTo>
                  <a:close/>
                  <a:moveTo>
                    <a:pt x="898" y="586"/>
                  </a:moveTo>
                  <a:lnTo>
                    <a:pt x="899" y="586"/>
                  </a:lnTo>
                  <a:lnTo>
                    <a:pt x="898" y="586"/>
                  </a:lnTo>
                  <a:close/>
                  <a:moveTo>
                    <a:pt x="637" y="579"/>
                  </a:moveTo>
                  <a:lnTo>
                    <a:pt x="637" y="577"/>
                  </a:lnTo>
                  <a:lnTo>
                    <a:pt x="637" y="579"/>
                  </a:lnTo>
                  <a:close/>
                  <a:moveTo>
                    <a:pt x="145" y="620"/>
                  </a:moveTo>
                  <a:lnTo>
                    <a:pt x="146" y="620"/>
                  </a:lnTo>
                  <a:lnTo>
                    <a:pt x="145" y="620"/>
                  </a:lnTo>
                  <a:close/>
                  <a:moveTo>
                    <a:pt x="465" y="672"/>
                  </a:moveTo>
                  <a:lnTo>
                    <a:pt x="463" y="673"/>
                  </a:lnTo>
                  <a:lnTo>
                    <a:pt x="463" y="672"/>
                  </a:lnTo>
                  <a:lnTo>
                    <a:pt x="465" y="672"/>
                  </a:lnTo>
                  <a:close/>
                  <a:moveTo>
                    <a:pt x="885" y="735"/>
                  </a:moveTo>
                  <a:lnTo>
                    <a:pt x="886" y="735"/>
                  </a:lnTo>
                  <a:lnTo>
                    <a:pt x="885" y="735"/>
                  </a:lnTo>
                  <a:close/>
                  <a:moveTo>
                    <a:pt x="470" y="420"/>
                  </a:moveTo>
                  <a:lnTo>
                    <a:pt x="470" y="418"/>
                  </a:lnTo>
                  <a:lnTo>
                    <a:pt x="470" y="420"/>
                  </a:lnTo>
                  <a:close/>
                  <a:moveTo>
                    <a:pt x="860" y="612"/>
                  </a:moveTo>
                  <a:lnTo>
                    <a:pt x="859" y="612"/>
                  </a:lnTo>
                  <a:lnTo>
                    <a:pt x="860" y="612"/>
                  </a:lnTo>
                  <a:close/>
                  <a:moveTo>
                    <a:pt x="634" y="681"/>
                  </a:moveTo>
                  <a:lnTo>
                    <a:pt x="634" y="683"/>
                  </a:lnTo>
                  <a:lnTo>
                    <a:pt x="634" y="681"/>
                  </a:lnTo>
                  <a:close/>
                  <a:moveTo>
                    <a:pt x="418" y="426"/>
                  </a:moveTo>
                  <a:lnTo>
                    <a:pt x="419" y="428"/>
                  </a:lnTo>
                  <a:lnTo>
                    <a:pt x="418" y="428"/>
                  </a:lnTo>
                  <a:lnTo>
                    <a:pt x="418" y="426"/>
                  </a:lnTo>
                  <a:lnTo>
                    <a:pt x="418" y="428"/>
                  </a:lnTo>
                  <a:lnTo>
                    <a:pt x="418" y="426"/>
                  </a:lnTo>
                  <a:close/>
                  <a:moveTo>
                    <a:pt x="833" y="586"/>
                  </a:moveTo>
                  <a:lnTo>
                    <a:pt x="833" y="584"/>
                  </a:lnTo>
                  <a:lnTo>
                    <a:pt x="833" y="586"/>
                  </a:lnTo>
                  <a:close/>
                  <a:moveTo>
                    <a:pt x="836" y="664"/>
                  </a:moveTo>
                  <a:lnTo>
                    <a:pt x="837" y="664"/>
                  </a:lnTo>
                  <a:lnTo>
                    <a:pt x="836" y="664"/>
                  </a:lnTo>
                  <a:close/>
                  <a:moveTo>
                    <a:pt x="777" y="655"/>
                  </a:moveTo>
                  <a:lnTo>
                    <a:pt x="779" y="655"/>
                  </a:lnTo>
                  <a:lnTo>
                    <a:pt x="777" y="655"/>
                  </a:lnTo>
                  <a:close/>
                  <a:moveTo>
                    <a:pt x="862" y="893"/>
                  </a:moveTo>
                  <a:lnTo>
                    <a:pt x="862" y="891"/>
                  </a:lnTo>
                  <a:lnTo>
                    <a:pt x="862" y="893"/>
                  </a:lnTo>
                  <a:close/>
                  <a:moveTo>
                    <a:pt x="795" y="771"/>
                  </a:moveTo>
                  <a:lnTo>
                    <a:pt x="795" y="769"/>
                  </a:lnTo>
                  <a:lnTo>
                    <a:pt x="795" y="771"/>
                  </a:lnTo>
                  <a:lnTo>
                    <a:pt x="793" y="771"/>
                  </a:lnTo>
                  <a:lnTo>
                    <a:pt x="795" y="769"/>
                  </a:lnTo>
                  <a:lnTo>
                    <a:pt x="795" y="771"/>
                  </a:lnTo>
                  <a:close/>
                  <a:moveTo>
                    <a:pt x="771" y="449"/>
                  </a:moveTo>
                  <a:lnTo>
                    <a:pt x="771" y="447"/>
                  </a:lnTo>
                  <a:lnTo>
                    <a:pt x="772" y="449"/>
                  </a:lnTo>
                  <a:lnTo>
                    <a:pt x="771" y="449"/>
                  </a:lnTo>
                  <a:close/>
                  <a:moveTo>
                    <a:pt x="758" y="691"/>
                  </a:moveTo>
                  <a:lnTo>
                    <a:pt x="758" y="690"/>
                  </a:lnTo>
                  <a:lnTo>
                    <a:pt x="758" y="691"/>
                  </a:lnTo>
                  <a:close/>
                  <a:moveTo>
                    <a:pt x="881" y="623"/>
                  </a:moveTo>
                  <a:lnTo>
                    <a:pt x="880" y="625"/>
                  </a:lnTo>
                  <a:lnTo>
                    <a:pt x="880" y="623"/>
                  </a:lnTo>
                  <a:lnTo>
                    <a:pt x="881" y="623"/>
                  </a:lnTo>
                  <a:close/>
                  <a:moveTo>
                    <a:pt x="389" y="558"/>
                  </a:moveTo>
                  <a:lnTo>
                    <a:pt x="389" y="556"/>
                  </a:lnTo>
                  <a:lnTo>
                    <a:pt x="390" y="558"/>
                  </a:lnTo>
                  <a:lnTo>
                    <a:pt x="389" y="558"/>
                  </a:lnTo>
                  <a:close/>
                  <a:moveTo>
                    <a:pt x="881" y="912"/>
                  </a:moveTo>
                  <a:lnTo>
                    <a:pt x="880" y="912"/>
                  </a:lnTo>
                  <a:lnTo>
                    <a:pt x="881" y="912"/>
                  </a:lnTo>
                  <a:close/>
                  <a:moveTo>
                    <a:pt x="483" y="514"/>
                  </a:moveTo>
                  <a:lnTo>
                    <a:pt x="484" y="516"/>
                  </a:lnTo>
                  <a:lnTo>
                    <a:pt x="483" y="516"/>
                  </a:lnTo>
                  <a:lnTo>
                    <a:pt x="483" y="514"/>
                  </a:lnTo>
                  <a:close/>
                  <a:moveTo>
                    <a:pt x="432" y="577"/>
                  </a:moveTo>
                  <a:lnTo>
                    <a:pt x="434" y="577"/>
                  </a:lnTo>
                  <a:lnTo>
                    <a:pt x="432" y="577"/>
                  </a:lnTo>
                  <a:close/>
                  <a:moveTo>
                    <a:pt x="483" y="592"/>
                  </a:moveTo>
                  <a:lnTo>
                    <a:pt x="484" y="590"/>
                  </a:lnTo>
                  <a:lnTo>
                    <a:pt x="484" y="592"/>
                  </a:lnTo>
                  <a:lnTo>
                    <a:pt x="483" y="592"/>
                  </a:lnTo>
                  <a:close/>
                  <a:moveTo>
                    <a:pt x="644" y="615"/>
                  </a:moveTo>
                  <a:lnTo>
                    <a:pt x="645" y="616"/>
                  </a:lnTo>
                  <a:lnTo>
                    <a:pt x="644" y="616"/>
                  </a:lnTo>
                  <a:lnTo>
                    <a:pt x="644" y="615"/>
                  </a:lnTo>
                  <a:close/>
                  <a:moveTo>
                    <a:pt x="753" y="340"/>
                  </a:moveTo>
                  <a:lnTo>
                    <a:pt x="753" y="338"/>
                  </a:lnTo>
                  <a:lnTo>
                    <a:pt x="754" y="340"/>
                  </a:lnTo>
                  <a:lnTo>
                    <a:pt x="753" y="340"/>
                  </a:lnTo>
                  <a:close/>
                  <a:moveTo>
                    <a:pt x="699" y="138"/>
                  </a:moveTo>
                  <a:lnTo>
                    <a:pt x="699" y="140"/>
                  </a:lnTo>
                  <a:lnTo>
                    <a:pt x="701" y="140"/>
                  </a:lnTo>
                  <a:lnTo>
                    <a:pt x="699" y="140"/>
                  </a:lnTo>
                  <a:lnTo>
                    <a:pt x="699" y="138"/>
                  </a:lnTo>
                  <a:close/>
                  <a:moveTo>
                    <a:pt x="898" y="634"/>
                  </a:moveTo>
                  <a:lnTo>
                    <a:pt x="898" y="636"/>
                  </a:lnTo>
                  <a:lnTo>
                    <a:pt x="898" y="634"/>
                  </a:lnTo>
                  <a:close/>
                  <a:moveTo>
                    <a:pt x="556" y="202"/>
                  </a:moveTo>
                  <a:lnTo>
                    <a:pt x="556" y="200"/>
                  </a:lnTo>
                  <a:lnTo>
                    <a:pt x="558" y="202"/>
                  </a:lnTo>
                  <a:lnTo>
                    <a:pt x="556" y="202"/>
                  </a:lnTo>
                  <a:close/>
                  <a:moveTo>
                    <a:pt x="868" y="951"/>
                  </a:moveTo>
                  <a:lnTo>
                    <a:pt x="868" y="950"/>
                  </a:lnTo>
                  <a:lnTo>
                    <a:pt x="868" y="951"/>
                  </a:lnTo>
                  <a:close/>
                  <a:moveTo>
                    <a:pt x="550" y="477"/>
                  </a:moveTo>
                  <a:lnTo>
                    <a:pt x="550" y="478"/>
                  </a:lnTo>
                  <a:lnTo>
                    <a:pt x="550" y="477"/>
                  </a:lnTo>
                  <a:close/>
                  <a:moveTo>
                    <a:pt x="872" y="605"/>
                  </a:moveTo>
                  <a:lnTo>
                    <a:pt x="870" y="605"/>
                  </a:lnTo>
                  <a:lnTo>
                    <a:pt x="872" y="605"/>
                  </a:lnTo>
                  <a:close/>
                  <a:moveTo>
                    <a:pt x="907" y="662"/>
                  </a:moveTo>
                  <a:lnTo>
                    <a:pt x="906" y="662"/>
                  </a:lnTo>
                  <a:lnTo>
                    <a:pt x="907" y="662"/>
                  </a:lnTo>
                  <a:close/>
                  <a:moveTo>
                    <a:pt x="102" y="444"/>
                  </a:moveTo>
                  <a:lnTo>
                    <a:pt x="104" y="444"/>
                  </a:lnTo>
                  <a:lnTo>
                    <a:pt x="102" y="444"/>
                  </a:lnTo>
                  <a:lnTo>
                    <a:pt x="104" y="444"/>
                  </a:lnTo>
                  <a:lnTo>
                    <a:pt x="102" y="444"/>
                  </a:lnTo>
                  <a:close/>
                  <a:moveTo>
                    <a:pt x="701" y="693"/>
                  </a:moveTo>
                  <a:lnTo>
                    <a:pt x="699" y="693"/>
                  </a:lnTo>
                  <a:lnTo>
                    <a:pt x="701" y="693"/>
                  </a:lnTo>
                  <a:close/>
                  <a:moveTo>
                    <a:pt x="1021" y="730"/>
                  </a:moveTo>
                  <a:lnTo>
                    <a:pt x="1021" y="729"/>
                  </a:lnTo>
                  <a:lnTo>
                    <a:pt x="1021" y="730"/>
                  </a:lnTo>
                  <a:close/>
                  <a:moveTo>
                    <a:pt x="714" y="665"/>
                  </a:moveTo>
                  <a:lnTo>
                    <a:pt x="712" y="665"/>
                  </a:lnTo>
                  <a:lnTo>
                    <a:pt x="712" y="664"/>
                  </a:lnTo>
                  <a:lnTo>
                    <a:pt x="714" y="664"/>
                  </a:lnTo>
                  <a:lnTo>
                    <a:pt x="714" y="665"/>
                  </a:lnTo>
                  <a:close/>
                  <a:moveTo>
                    <a:pt x="883" y="823"/>
                  </a:moveTo>
                  <a:lnTo>
                    <a:pt x="883" y="821"/>
                  </a:lnTo>
                  <a:lnTo>
                    <a:pt x="883" y="823"/>
                  </a:lnTo>
                  <a:close/>
                  <a:moveTo>
                    <a:pt x="870" y="600"/>
                  </a:moveTo>
                  <a:lnTo>
                    <a:pt x="870" y="599"/>
                  </a:lnTo>
                  <a:lnTo>
                    <a:pt x="870" y="600"/>
                  </a:lnTo>
                  <a:close/>
                  <a:moveTo>
                    <a:pt x="228" y="734"/>
                  </a:moveTo>
                  <a:lnTo>
                    <a:pt x="228" y="735"/>
                  </a:lnTo>
                  <a:lnTo>
                    <a:pt x="228" y="734"/>
                  </a:lnTo>
                  <a:lnTo>
                    <a:pt x="226" y="734"/>
                  </a:lnTo>
                  <a:lnTo>
                    <a:pt x="228" y="734"/>
                  </a:lnTo>
                  <a:close/>
                  <a:moveTo>
                    <a:pt x="556" y="547"/>
                  </a:moveTo>
                  <a:lnTo>
                    <a:pt x="556" y="545"/>
                  </a:lnTo>
                  <a:lnTo>
                    <a:pt x="558" y="545"/>
                  </a:lnTo>
                  <a:lnTo>
                    <a:pt x="558" y="547"/>
                  </a:lnTo>
                  <a:lnTo>
                    <a:pt x="556" y="547"/>
                  </a:lnTo>
                  <a:close/>
                  <a:moveTo>
                    <a:pt x="205" y="561"/>
                  </a:moveTo>
                  <a:lnTo>
                    <a:pt x="205" y="563"/>
                  </a:lnTo>
                  <a:lnTo>
                    <a:pt x="205" y="561"/>
                  </a:lnTo>
                  <a:close/>
                  <a:moveTo>
                    <a:pt x="624" y="737"/>
                  </a:moveTo>
                  <a:lnTo>
                    <a:pt x="624" y="735"/>
                  </a:lnTo>
                  <a:lnTo>
                    <a:pt x="624" y="737"/>
                  </a:lnTo>
                  <a:close/>
                  <a:moveTo>
                    <a:pt x="886" y="621"/>
                  </a:moveTo>
                  <a:lnTo>
                    <a:pt x="886" y="620"/>
                  </a:lnTo>
                  <a:lnTo>
                    <a:pt x="888" y="621"/>
                  </a:lnTo>
                  <a:lnTo>
                    <a:pt x="886" y="621"/>
                  </a:lnTo>
                  <a:close/>
                  <a:moveTo>
                    <a:pt x="535" y="416"/>
                  </a:moveTo>
                  <a:lnTo>
                    <a:pt x="535" y="418"/>
                  </a:lnTo>
                  <a:lnTo>
                    <a:pt x="535" y="416"/>
                  </a:lnTo>
                  <a:lnTo>
                    <a:pt x="537" y="416"/>
                  </a:lnTo>
                  <a:lnTo>
                    <a:pt x="535" y="416"/>
                  </a:lnTo>
                  <a:close/>
                  <a:moveTo>
                    <a:pt x="904" y="748"/>
                  </a:moveTo>
                  <a:lnTo>
                    <a:pt x="906" y="748"/>
                  </a:lnTo>
                  <a:lnTo>
                    <a:pt x="904" y="748"/>
                  </a:lnTo>
                  <a:close/>
                  <a:moveTo>
                    <a:pt x="759" y="486"/>
                  </a:moveTo>
                  <a:lnTo>
                    <a:pt x="758" y="486"/>
                  </a:lnTo>
                  <a:lnTo>
                    <a:pt x="759" y="486"/>
                  </a:lnTo>
                  <a:close/>
                  <a:moveTo>
                    <a:pt x="237" y="581"/>
                  </a:moveTo>
                  <a:lnTo>
                    <a:pt x="236" y="581"/>
                  </a:lnTo>
                  <a:lnTo>
                    <a:pt x="237" y="581"/>
                  </a:lnTo>
                  <a:close/>
                  <a:moveTo>
                    <a:pt x="924" y="805"/>
                  </a:moveTo>
                  <a:lnTo>
                    <a:pt x="924" y="807"/>
                  </a:lnTo>
                  <a:lnTo>
                    <a:pt x="924" y="805"/>
                  </a:lnTo>
                  <a:close/>
                  <a:moveTo>
                    <a:pt x="185" y="491"/>
                  </a:moveTo>
                  <a:lnTo>
                    <a:pt x="187" y="491"/>
                  </a:lnTo>
                  <a:lnTo>
                    <a:pt x="185" y="491"/>
                  </a:lnTo>
                  <a:close/>
                  <a:moveTo>
                    <a:pt x="203" y="480"/>
                  </a:moveTo>
                  <a:lnTo>
                    <a:pt x="205" y="480"/>
                  </a:lnTo>
                  <a:lnTo>
                    <a:pt x="203" y="480"/>
                  </a:lnTo>
                  <a:close/>
                  <a:moveTo>
                    <a:pt x="767" y="693"/>
                  </a:moveTo>
                  <a:lnTo>
                    <a:pt x="767" y="695"/>
                  </a:lnTo>
                  <a:lnTo>
                    <a:pt x="767" y="693"/>
                  </a:lnTo>
                  <a:close/>
                  <a:moveTo>
                    <a:pt x="839" y="722"/>
                  </a:moveTo>
                  <a:lnTo>
                    <a:pt x="841" y="722"/>
                  </a:lnTo>
                  <a:lnTo>
                    <a:pt x="839" y="722"/>
                  </a:lnTo>
                  <a:close/>
                  <a:moveTo>
                    <a:pt x="896" y="628"/>
                  </a:moveTo>
                  <a:lnTo>
                    <a:pt x="896" y="626"/>
                  </a:lnTo>
                  <a:lnTo>
                    <a:pt x="896" y="628"/>
                  </a:lnTo>
                  <a:close/>
                  <a:moveTo>
                    <a:pt x="642" y="281"/>
                  </a:moveTo>
                  <a:lnTo>
                    <a:pt x="644" y="281"/>
                  </a:lnTo>
                  <a:lnTo>
                    <a:pt x="642" y="281"/>
                  </a:lnTo>
                  <a:close/>
                  <a:moveTo>
                    <a:pt x="577" y="421"/>
                  </a:moveTo>
                  <a:lnTo>
                    <a:pt x="577" y="420"/>
                  </a:lnTo>
                  <a:lnTo>
                    <a:pt x="577" y="421"/>
                  </a:lnTo>
                  <a:lnTo>
                    <a:pt x="579" y="421"/>
                  </a:lnTo>
                  <a:lnTo>
                    <a:pt x="577" y="421"/>
                  </a:lnTo>
                  <a:close/>
                  <a:moveTo>
                    <a:pt x="899" y="647"/>
                  </a:moveTo>
                  <a:lnTo>
                    <a:pt x="899" y="646"/>
                  </a:lnTo>
                  <a:lnTo>
                    <a:pt x="899" y="647"/>
                  </a:lnTo>
                  <a:close/>
                  <a:moveTo>
                    <a:pt x="494" y="612"/>
                  </a:moveTo>
                  <a:lnTo>
                    <a:pt x="494" y="610"/>
                  </a:lnTo>
                  <a:lnTo>
                    <a:pt x="496" y="610"/>
                  </a:lnTo>
                  <a:lnTo>
                    <a:pt x="496" y="612"/>
                  </a:lnTo>
                  <a:lnTo>
                    <a:pt x="494" y="612"/>
                  </a:lnTo>
                  <a:close/>
                  <a:moveTo>
                    <a:pt x="694" y="747"/>
                  </a:moveTo>
                  <a:lnTo>
                    <a:pt x="696" y="747"/>
                  </a:lnTo>
                  <a:lnTo>
                    <a:pt x="694" y="747"/>
                  </a:lnTo>
                  <a:close/>
                  <a:moveTo>
                    <a:pt x="236" y="579"/>
                  </a:moveTo>
                  <a:lnTo>
                    <a:pt x="237" y="577"/>
                  </a:lnTo>
                  <a:lnTo>
                    <a:pt x="237" y="579"/>
                  </a:lnTo>
                  <a:lnTo>
                    <a:pt x="236" y="579"/>
                  </a:lnTo>
                  <a:close/>
                  <a:moveTo>
                    <a:pt x="902" y="651"/>
                  </a:moveTo>
                  <a:lnTo>
                    <a:pt x="904" y="649"/>
                  </a:lnTo>
                  <a:lnTo>
                    <a:pt x="904" y="651"/>
                  </a:lnTo>
                  <a:lnTo>
                    <a:pt x="902" y="651"/>
                  </a:lnTo>
                  <a:close/>
                  <a:moveTo>
                    <a:pt x="792" y="688"/>
                  </a:moveTo>
                  <a:lnTo>
                    <a:pt x="790" y="690"/>
                  </a:lnTo>
                  <a:lnTo>
                    <a:pt x="790" y="688"/>
                  </a:lnTo>
                  <a:lnTo>
                    <a:pt x="792" y="688"/>
                  </a:lnTo>
                  <a:close/>
                  <a:moveTo>
                    <a:pt x="457" y="612"/>
                  </a:moveTo>
                  <a:lnTo>
                    <a:pt x="457" y="610"/>
                  </a:lnTo>
                  <a:lnTo>
                    <a:pt x="458" y="612"/>
                  </a:lnTo>
                  <a:lnTo>
                    <a:pt x="457" y="612"/>
                  </a:lnTo>
                  <a:close/>
                  <a:moveTo>
                    <a:pt x="717" y="664"/>
                  </a:moveTo>
                  <a:lnTo>
                    <a:pt x="717" y="665"/>
                  </a:lnTo>
                  <a:lnTo>
                    <a:pt x="715" y="664"/>
                  </a:lnTo>
                  <a:lnTo>
                    <a:pt x="717" y="664"/>
                  </a:lnTo>
                  <a:close/>
                  <a:moveTo>
                    <a:pt x="958" y="839"/>
                  </a:moveTo>
                  <a:lnTo>
                    <a:pt x="958" y="838"/>
                  </a:lnTo>
                  <a:lnTo>
                    <a:pt x="958" y="839"/>
                  </a:lnTo>
                  <a:close/>
                  <a:moveTo>
                    <a:pt x="645" y="734"/>
                  </a:moveTo>
                  <a:lnTo>
                    <a:pt x="644" y="734"/>
                  </a:lnTo>
                  <a:lnTo>
                    <a:pt x="645" y="734"/>
                  </a:lnTo>
                  <a:close/>
                  <a:moveTo>
                    <a:pt x="751" y="704"/>
                  </a:moveTo>
                  <a:lnTo>
                    <a:pt x="750" y="704"/>
                  </a:lnTo>
                  <a:lnTo>
                    <a:pt x="750" y="703"/>
                  </a:lnTo>
                  <a:lnTo>
                    <a:pt x="751" y="703"/>
                  </a:lnTo>
                  <a:lnTo>
                    <a:pt x="751" y="704"/>
                  </a:lnTo>
                  <a:close/>
                  <a:moveTo>
                    <a:pt x="745" y="701"/>
                  </a:moveTo>
                  <a:lnTo>
                    <a:pt x="746" y="701"/>
                  </a:lnTo>
                  <a:lnTo>
                    <a:pt x="745" y="703"/>
                  </a:lnTo>
                  <a:lnTo>
                    <a:pt x="745" y="701"/>
                  </a:lnTo>
                  <a:close/>
                  <a:moveTo>
                    <a:pt x="842" y="660"/>
                  </a:moveTo>
                  <a:lnTo>
                    <a:pt x="844" y="660"/>
                  </a:lnTo>
                  <a:lnTo>
                    <a:pt x="842" y="660"/>
                  </a:lnTo>
                  <a:close/>
                  <a:moveTo>
                    <a:pt x="172" y="542"/>
                  </a:moveTo>
                  <a:lnTo>
                    <a:pt x="171" y="542"/>
                  </a:lnTo>
                  <a:lnTo>
                    <a:pt x="172" y="540"/>
                  </a:lnTo>
                  <a:lnTo>
                    <a:pt x="172" y="542"/>
                  </a:lnTo>
                  <a:close/>
                  <a:moveTo>
                    <a:pt x="245" y="577"/>
                  </a:moveTo>
                  <a:lnTo>
                    <a:pt x="247" y="577"/>
                  </a:lnTo>
                  <a:lnTo>
                    <a:pt x="245" y="577"/>
                  </a:lnTo>
                  <a:close/>
                  <a:moveTo>
                    <a:pt x="533" y="428"/>
                  </a:moveTo>
                  <a:lnTo>
                    <a:pt x="533" y="426"/>
                  </a:lnTo>
                  <a:lnTo>
                    <a:pt x="533" y="428"/>
                  </a:lnTo>
                  <a:close/>
                  <a:moveTo>
                    <a:pt x="484" y="600"/>
                  </a:moveTo>
                  <a:lnTo>
                    <a:pt x="486" y="600"/>
                  </a:lnTo>
                  <a:lnTo>
                    <a:pt x="484" y="600"/>
                  </a:lnTo>
                  <a:close/>
                  <a:moveTo>
                    <a:pt x="780" y="699"/>
                  </a:moveTo>
                  <a:lnTo>
                    <a:pt x="782" y="699"/>
                  </a:lnTo>
                  <a:lnTo>
                    <a:pt x="780" y="699"/>
                  </a:lnTo>
                  <a:close/>
                  <a:moveTo>
                    <a:pt x="893" y="577"/>
                  </a:moveTo>
                  <a:lnTo>
                    <a:pt x="894" y="577"/>
                  </a:lnTo>
                  <a:lnTo>
                    <a:pt x="894" y="579"/>
                  </a:lnTo>
                  <a:lnTo>
                    <a:pt x="893" y="577"/>
                  </a:lnTo>
                  <a:close/>
                  <a:moveTo>
                    <a:pt x="645" y="735"/>
                  </a:moveTo>
                  <a:lnTo>
                    <a:pt x="645" y="737"/>
                  </a:lnTo>
                  <a:lnTo>
                    <a:pt x="644" y="735"/>
                  </a:lnTo>
                  <a:lnTo>
                    <a:pt x="645" y="735"/>
                  </a:lnTo>
                  <a:close/>
                  <a:moveTo>
                    <a:pt x="901" y="579"/>
                  </a:moveTo>
                  <a:lnTo>
                    <a:pt x="899" y="579"/>
                  </a:lnTo>
                  <a:lnTo>
                    <a:pt x="901" y="579"/>
                  </a:lnTo>
                  <a:close/>
                  <a:moveTo>
                    <a:pt x="249" y="577"/>
                  </a:moveTo>
                  <a:lnTo>
                    <a:pt x="250" y="577"/>
                  </a:lnTo>
                  <a:lnTo>
                    <a:pt x="249" y="577"/>
                  </a:lnTo>
                  <a:close/>
                  <a:moveTo>
                    <a:pt x="432" y="566"/>
                  </a:moveTo>
                  <a:lnTo>
                    <a:pt x="432" y="564"/>
                  </a:lnTo>
                  <a:lnTo>
                    <a:pt x="432" y="566"/>
                  </a:lnTo>
                  <a:close/>
                  <a:moveTo>
                    <a:pt x="223" y="584"/>
                  </a:moveTo>
                  <a:lnTo>
                    <a:pt x="224" y="584"/>
                  </a:lnTo>
                  <a:lnTo>
                    <a:pt x="223" y="584"/>
                  </a:lnTo>
                  <a:close/>
                  <a:moveTo>
                    <a:pt x="763" y="696"/>
                  </a:moveTo>
                  <a:lnTo>
                    <a:pt x="761" y="696"/>
                  </a:lnTo>
                  <a:lnTo>
                    <a:pt x="763" y="696"/>
                  </a:lnTo>
                  <a:lnTo>
                    <a:pt x="763" y="695"/>
                  </a:lnTo>
                  <a:lnTo>
                    <a:pt x="763" y="696"/>
                  </a:lnTo>
                  <a:close/>
                  <a:moveTo>
                    <a:pt x="896" y="577"/>
                  </a:moveTo>
                  <a:lnTo>
                    <a:pt x="898" y="577"/>
                  </a:lnTo>
                  <a:lnTo>
                    <a:pt x="896" y="577"/>
                  </a:lnTo>
                  <a:close/>
                  <a:moveTo>
                    <a:pt x="234" y="582"/>
                  </a:moveTo>
                  <a:lnTo>
                    <a:pt x="232" y="582"/>
                  </a:lnTo>
                  <a:lnTo>
                    <a:pt x="234" y="582"/>
                  </a:lnTo>
                  <a:close/>
                  <a:moveTo>
                    <a:pt x="468" y="423"/>
                  </a:moveTo>
                  <a:lnTo>
                    <a:pt x="468" y="421"/>
                  </a:lnTo>
                  <a:lnTo>
                    <a:pt x="468" y="423"/>
                  </a:lnTo>
                  <a:close/>
                  <a:moveTo>
                    <a:pt x="486" y="613"/>
                  </a:moveTo>
                  <a:lnTo>
                    <a:pt x="484" y="613"/>
                  </a:lnTo>
                  <a:lnTo>
                    <a:pt x="486" y="613"/>
                  </a:lnTo>
                  <a:close/>
                  <a:moveTo>
                    <a:pt x="787" y="337"/>
                  </a:moveTo>
                  <a:lnTo>
                    <a:pt x="785" y="337"/>
                  </a:lnTo>
                  <a:lnTo>
                    <a:pt x="787" y="337"/>
                  </a:lnTo>
                  <a:close/>
                  <a:moveTo>
                    <a:pt x="841" y="662"/>
                  </a:moveTo>
                  <a:lnTo>
                    <a:pt x="841" y="660"/>
                  </a:lnTo>
                  <a:lnTo>
                    <a:pt x="842" y="660"/>
                  </a:lnTo>
                  <a:lnTo>
                    <a:pt x="842" y="662"/>
                  </a:lnTo>
                  <a:lnTo>
                    <a:pt x="841" y="662"/>
                  </a:lnTo>
                  <a:close/>
                  <a:moveTo>
                    <a:pt x="868" y="951"/>
                  </a:moveTo>
                  <a:lnTo>
                    <a:pt x="867" y="951"/>
                  </a:lnTo>
                  <a:lnTo>
                    <a:pt x="868" y="951"/>
                  </a:lnTo>
                  <a:close/>
                  <a:moveTo>
                    <a:pt x="888" y="535"/>
                  </a:moveTo>
                  <a:lnTo>
                    <a:pt x="886" y="535"/>
                  </a:lnTo>
                  <a:lnTo>
                    <a:pt x="886" y="533"/>
                  </a:lnTo>
                  <a:lnTo>
                    <a:pt x="888" y="533"/>
                  </a:lnTo>
                  <a:lnTo>
                    <a:pt x="888" y="535"/>
                  </a:lnTo>
                  <a:close/>
                  <a:moveTo>
                    <a:pt x="707" y="631"/>
                  </a:moveTo>
                  <a:lnTo>
                    <a:pt x="706" y="631"/>
                  </a:lnTo>
                  <a:lnTo>
                    <a:pt x="707" y="631"/>
                  </a:lnTo>
                  <a:close/>
                  <a:moveTo>
                    <a:pt x="824" y="973"/>
                  </a:moveTo>
                  <a:lnTo>
                    <a:pt x="826" y="971"/>
                  </a:lnTo>
                  <a:lnTo>
                    <a:pt x="826" y="973"/>
                  </a:lnTo>
                  <a:lnTo>
                    <a:pt x="824" y="973"/>
                  </a:lnTo>
                  <a:close/>
                  <a:moveTo>
                    <a:pt x="502" y="418"/>
                  </a:moveTo>
                  <a:lnTo>
                    <a:pt x="502" y="416"/>
                  </a:lnTo>
                  <a:lnTo>
                    <a:pt x="502" y="418"/>
                  </a:lnTo>
                  <a:close/>
                  <a:moveTo>
                    <a:pt x="579" y="434"/>
                  </a:moveTo>
                  <a:lnTo>
                    <a:pt x="579" y="433"/>
                  </a:lnTo>
                  <a:lnTo>
                    <a:pt x="579" y="434"/>
                  </a:lnTo>
                  <a:close/>
                  <a:moveTo>
                    <a:pt x="460" y="683"/>
                  </a:moveTo>
                  <a:lnTo>
                    <a:pt x="458" y="683"/>
                  </a:lnTo>
                  <a:lnTo>
                    <a:pt x="460" y="681"/>
                  </a:lnTo>
                  <a:lnTo>
                    <a:pt x="460" y="683"/>
                  </a:lnTo>
                  <a:close/>
                  <a:moveTo>
                    <a:pt x="702" y="743"/>
                  </a:moveTo>
                  <a:lnTo>
                    <a:pt x="701" y="742"/>
                  </a:lnTo>
                  <a:lnTo>
                    <a:pt x="702" y="742"/>
                  </a:lnTo>
                  <a:lnTo>
                    <a:pt x="702" y="743"/>
                  </a:lnTo>
                  <a:close/>
                  <a:moveTo>
                    <a:pt x="432" y="579"/>
                  </a:moveTo>
                  <a:lnTo>
                    <a:pt x="434" y="579"/>
                  </a:lnTo>
                  <a:lnTo>
                    <a:pt x="432" y="579"/>
                  </a:lnTo>
                  <a:close/>
                  <a:moveTo>
                    <a:pt x="493" y="250"/>
                  </a:moveTo>
                  <a:lnTo>
                    <a:pt x="491" y="250"/>
                  </a:lnTo>
                  <a:lnTo>
                    <a:pt x="491" y="249"/>
                  </a:lnTo>
                  <a:lnTo>
                    <a:pt x="493" y="249"/>
                  </a:lnTo>
                  <a:lnTo>
                    <a:pt x="493" y="250"/>
                  </a:lnTo>
                  <a:close/>
                  <a:moveTo>
                    <a:pt x="187" y="553"/>
                  </a:moveTo>
                  <a:lnTo>
                    <a:pt x="187" y="551"/>
                  </a:lnTo>
                  <a:lnTo>
                    <a:pt x="187" y="553"/>
                  </a:lnTo>
                  <a:close/>
                  <a:moveTo>
                    <a:pt x="689" y="696"/>
                  </a:moveTo>
                  <a:lnTo>
                    <a:pt x="689" y="695"/>
                  </a:lnTo>
                  <a:lnTo>
                    <a:pt x="689" y="696"/>
                  </a:lnTo>
                  <a:close/>
                  <a:moveTo>
                    <a:pt x="169" y="533"/>
                  </a:moveTo>
                  <a:lnTo>
                    <a:pt x="171" y="533"/>
                  </a:lnTo>
                  <a:lnTo>
                    <a:pt x="169" y="535"/>
                  </a:lnTo>
                  <a:lnTo>
                    <a:pt x="169" y="533"/>
                  </a:lnTo>
                  <a:close/>
                  <a:moveTo>
                    <a:pt x="210" y="564"/>
                  </a:moveTo>
                  <a:lnTo>
                    <a:pt x="208" y="564"/>
                  </a:lnTo>
                  <a:lnTo>
                    <a:pt x="208" y="563"/>
                  </a:lnTo>
                  <a:lnTo>
                    <a:pt x="210" y="563"/>
                  </a:lnTo>
                  <a:lnTo>
                    <a:pt x="210" y="564"/>
                  </a:lnTo>
                  <a:close/>
                  <a:moveTo>
                    <a:pt x="937" y="867"/>
                  </a:moveTo>
                  <a:lnTo>
                    <a:pt x="937" y="869"/>
                  </a:lnTo>
                  <a:lnTo>
                    <a:pt x="937" y="867"/>
                  </a:lnTo>
                  <a:close/>
                  <a:moveTo>
                    <a:pt x="465" y="849"/>
                  </a:moveTo>
                  <a:lnTo>
                    <a:pt x="465" y="851"/>
                  </a:lnTo>
                  <a:lnTo>
                    <a:pt x="465" y="849"/>
                  </a:lnTo>
                  <a:close/>
                  <a:moveTo>
                    <a:pt x="624" y="922"/>
                  </a:moveTo>
                  <a:lnTo>
                    <a:pt x="626" y="922"/>
                  </a:lnTo>
                  <a:lnTo>
                    <a:pt x="626" y="924"/>
                  </a:lnTo>
                  <a:lnTo>
                    <a:pt x="624" y="922"/>
                  </a:lnTo>
                  <a:close/>
                  <a:moveTo>
                    <a:pt x="463" y="625"/>
                  </a:moveTo>
                  <a:lnTo>
                    <a:pt x="463" y="623"/>
                  </a:lnTo>
                  <a:lnTo>
                    <a:pt x="463" y="625"/>
                  </a:lnTo>
                  <a:close/>
                  <a:moveTo>
                    <a:pt x="821" y="678"/>
                  </a:moveTo>
                  <a:lnTo>
                    <a:pt x="821" y="680"/>
                  </a:lnTo>
                  <a:lnTo>
                    <a:pt x="821" y="678"/>
                  </a:lnTo>
                  <a:close/>
                  <a:moveTo>
                    <a:pt x="558" y="547"/>
                  </a:moveTo>
                  <a:lnTo>
                    <a:pt x="558" y="545"/>
                  </a:lnTo>
                  <a:lnTo>
                    <a:pt x="558" y="547"/>
                  </a:lnTo>
                  <a:close/>
                  <a:moveTo>
                    <a:pt x="818" y="917"/>
                  </a:moveTo>
                  <a:lnTo>
                    <a:pt x="816" y="917"/>
                  </a:lnTo>
                  <a:lnTo>
                    <a:pt x="818" y="917"/>
                  </a:lnTo>
                  <a:close/>
                  <a:moveTo>
                    <a:pt x="471" y="423"/>
                  </a:moveTo>
                  <a:lnTo>
                    <a:pt x="471" y="421"/>
                  </a:lnTo>
                  <a:lnTo>
                    <a:pt x="471" y="423"/>
                  </a:lnTo>
                  <a:close/>
                  <a:moveTo>
                    <a:pt x="463" y="808"/>
                  </a:moveTo>
                  <a:lnTo>
                    <a:pt x="462" y="808"/>
                  </a:lnTo>
                  <a:lnTo>
                    <a:pt x="462" y="807"/>
                  </a:lnTo>
                  <a:lnTo>
                    <a:pt x="463" y="808"/>
                  </a:lnTo>
                  <a:close/>
                  <a:moveTo>
                    <a:pt x="206" y="564"/>
                  </a:moveTo>
                  <a:lnTo>
                    <a:pt x="206" y="563"/>
                  </a:lnTo>
                  <a:lnTo>
                    <a:pt x="206" y="564"/>
                  </a:lnTo>
                  <a:close/>
                  <a:moveTo>
                    <a:pt x="501" y="582"/>
                  </a:moveTo>
                  <a:lnTo>
                    <a:pt x="502" y="582"/>
                  </a:lnTo>
                  <a:lnTo>
                    <a:pt x="501" y="582"/>
                  </a:lnTo>
                  <a:close/>
                  <a:moveTo>
                    <a:pt x="758" y="501"/>
                  </a:moveTo>
                  <a:lnTo>
                    <a:pt x="756" y="501"/>
                  </a:lnTo>
                  <a:lnTo>
                    <a:pt x="758" y="501"/>
                  </a:lnTo>
                  <a:close/>
                  <a:moveTo>
                    <a:pt x="579" y="561"/>
                  </a:moveTo>
                  <a:lnTo>
                    <a:pt x="579" y="563"/>
                  </a:lnTo>
                  <a:lnTo>
                    <a:pt x="579" y="561"/>
                  </a:lnTo>
                  <a:close/>
                  <a:moveTo>
                    <a:pt x="715" y="686"/>
                  </a:moveTo>
                  <a:lnTo>
                    <a:pt x="715" y="685"/>
                  </a:lnTo>
                  <a:lnTo>
                    <a:pt x="715" y="686"/>
                  </a:lnTo>
                  <a:close/>
                  <a:moveTo>
                    <a:pt x="31" y="407"/>
                  </a:moveTo>
                  <a:lnTo>
                    <a:pt x="31" y="405"/>
                  </a:lnTo>
                  <a:lnTo>
                    <a:pt x="31" y="407"/>
                  </a:lnTo>
                  <a:close/>
                  <a:moveTo>
                    <a:pt x="784" y="452"/>
                  </a:moveTo>
                  <a:lnTo>
                    <a:pt x="784" y="454"/>
                  </a:lnTo>
                  <a:lnTo>
                    <a:pt x="784" y="452"/>
                  </a:lnTo>
                  <a:close/>
                  <a:moveTo>
                    <a:pt x="563" y="542"/>
                  </a:moveTo>
                  <a:lnTo>
                    <a:pt x="561" y="542"/>
                  </a:lnTo>
                  <a:lnTo>
                    <a:pt x="563" y="542"/>
                  </a:lnTo>
                  <a:close/>
                  <a:moveTo>
                    <a:pt x="174" y="660"/>
                  </a:moveTo>
                  <a:lnTo>
                    <a:pt x="174" y="662"/>
                  </a:lnTo>
                  <a:lnTo>
                    <a:pt x="174" y="660"/>
                  </a:lnTo>
                  <a:lnTo>
                    <a:pt x="174" y="662"/>
                  </a:lnTo>
                  <a:lnTo>
                    <a:pt x="174" y="660"/>
                  </a:lnTo>
                  <a:close/>
                  <a:moveTo>
                    <a:pt x="628" y="921"/>
                  </a:moveTo>
                  <a:lnTo>
                    <a:pt x="629" y="921"/>
                  </a:lnTo>
                  <a:lnTo>
                    <a:pt x="628" y="921"/>
                  </a:lnTo>
                  <a:close/>
                  <a:moveTo>
                    <a:pt x="467" y="210"/>
                  </a:moveTo>
                  <a:lnTo>
                    <a:pt x="468" y="210"/>
                  </a:lnTo>
                  <a:lnTo>
                    <a:pt x="467" y="210"/>
                  </a:lnTo>
                  <a:close/>
                  <a:moveTo>
                    <a:pt x="589" y="451"/>
                  </a:moveTo>
                  <a:lnTo>
                    <a:pt x="590" y="451"/>
                  </a:lnTo>
                  <a:lnTo>
                    <a:pt x="589" y="451"/>
                  </a:lnTo>
                  <a:close/>
                  <a:moveTo>
                    <a:pt x="1010" y="685"/>
                  </a:moveTo>
                  <a:lnTo>
                    <a:pt x="1010" y="683"/>
                  </a:lnTo>
                  <a:lnTo>
                    <a:pt x="1010" y="685"/>
                  </a:lnTo>
                  <a:close/>
                  <a:moveTo>
                    <a:pt x="450" y="612"/>
                  </a:moveTo>
                  <a:lnTo>
                    <a:pt x="450" y="610"/>
                  </a:lnTo>
                  <a:lnTo>
                    <a:pt x="450" y="612"/>
                  </a:lnTo>
                  <a:close/>
                  <a:moveTo>
                    <a:pt x="559" y="538"/>
                  </a:moveTo>
                  <a:lnTo>
                    <a:pt x="559" y="537"/>
                  </a:lnTo>
                  <a:lnTo>
                    <a:pt x="559" y="538"/>
                  </a:lnTo>
                  <a:close/>
                  <a:moveTo>
                    <a:pt x="738" y="708"/>
                  </a:moveTo>
                  <a:lnTo>
                    <a:pt x="737" y="708"/>
                  </a:lnTo>
                  <a:lnTo>
                    <a:pt x="738" y="708"/>
                  </a:lnTo>
                  <a:close/>
                  <a:moveTo>
                    <a:pt x="563" y="543"/>
                  </a:moveTo>
                  <a:lnTo>
                    <a:pt x="563" y="545"/>
                  </a:lnTo>
                  <a:lnTo>
                    <a:pt x="563" y="543"/>
                  </a:lnTo>
                  <a:close/>
                  <a:moveTo>
                    <a:pt x="886" y="620"/>
                  </a:moveTo>
                  <a:lnTo>
                    <a:pt x="886" y="618"/>
                  </a:lnTo>
                  <a:lnTo>
                    <a:pt x="886" y="620"/>
                  </a:lnTo>
                  <a:close/>
                  <a:moveTo>
                    <a:pt x="753" y="699"/>
                  </a:moveTo>
                  <a:lnTo>
                    <a:pt x="753" y="701"/>
                  </a:lnTo>
                  <a:lnTo>
                    <a:pt x="753" y="699"/>
                  </a:lnTo>
                  <a:close/>
                  <a:moveTo>
                    <a:pt x="777" y="460"/>
                  </a:moveTo>
                  <a:lnTo>
                    <a:pt x="777" y="459"/>
                  </a:lnTo>
                  <a:lnTo>
                    <a:pt x="777" y="460"/>
                  </a:lnTo>
                  <a:close/>
                  <a:moveTo>
                    <a:pt x="330" y="561"/>
                  </a:moveTo>
                  <a:lnTo>
                    <a:pt x="330" y="560"/>
                  </a:lnTo>
                  <a:lnTo>
                    <a:pt x="330" y="561"/>
                  </a:lnTo>
                  <a:close/>
                  <a:moveTo>
                    <a:pt x="363" y="551"/>
                  </a:moveTo>
                  <a:lnTo>
                    <a:pt x="364" y="551"/>
                  </a:lnTo>
                  <a:lnTo>
                    <a:pt x="363" y="551"/>
                  </a:lnTo>
                  <a:close/>
                  <a:moveTo>
                    <a:pt x="706" y="631"/>
                  </a:moveTo>
                  <a:lnTo>
                    <a:pt x="706" y="629"/>
                  </a:lnTo>
                  <a:lnTo>
                    <a:pt x="707" y="631"/>
                  </a:lnTo>
                  <a:lnTo>
                    <a:pt x="706" y="631"/>
                  </a:lnTo>
                  <a:close/>
                  <a:moveTo>
                    <a:pt x="481" y="294"/>
                  </a:moveTo>
                  <a:lnTo>
                    <a:pt x="481" y="293"/>
                  </a:lnTo>
                  <a:lnTo>
                    <a:pt x="481" y="294"/>
                  </a:lnTo>
                  <a:close/>
                  <a:moveTo>
                    <a:pt x="937" y="688"/>
                  </a:moveTo>
                  <a:lnTo>
                    <a:pt x="938" y="688"/>
                  </a:lnTo>
                  <a:lnTo>
                    <a:pt x="937" y="688"/>
                  </a:lnTo>
                  <a:close/>
                  <a:moveTo>
                    <a:pt x="876" y="613"/>
                  </a:moveTo>
                  <a:lnTo>
                    <a:pt x="878" y="613"/>
                  </a:lnTo>
                  <a:lnTo>
                    <a:pt x="876" y="613"/>
                  </a:lnTo>
                  <a:close/>
                  <a:moveTo>
                    <a:pt x="1021" y="768"/>
                  </a:moveTo>
                  <a:lnTo>
                    <a:pt x="1021" y="766"/>
                  </a:lnTo>
                  <a:lnTo>
                    <a:pt x="1021" y="768"/>
                  </a:lnTo>
                  <a:close/>
                  <a:moveTo>
                    <a:pt x="875" y="602"/>
                  </a:moveTo>
                  <a:lnTo>
                    <a:pt x="876" y="602"/>
                  </a:lnTo>
                  <a:lnTo>
                    <a:pt x="875" y="602"/>
                  </a:lnTo>
                  <a:close/>
                  <a:moveTo>
                    <a:pt x="468" y="690"/>
                  </a:moveTo>
                  <a:lnTo>
                    <a:pt x="470" y="690"/>
                  </a:lnTo>
                  <a:lnTo>
                    <a:pt x="468" y="690"/>
                  </a:lnTo>
                  <a:close/>
                  <a:moveTo>
                    <a:pt x="881" y="610"/>
                  </a:moveTo>
                  <a:lnTo>
                    <a:pt x="883" y="610"/>
                  </a:lnTo>
                  <a:lnTo>
                    <a:pt x="881" y="610"/>
                  </a:lnTo>
                  <a:close/>
                  <a:moveTo>
                    <a:pt x="813" y="914"/>
                  </a:moveTo>
                  <a:lnTo>
                    <a:pt x="813" y="912"/>
                  </a:lnTo>
                  <a:lnTo>
                    <a:pt x="815" y="914"/>
                  </a:lnTo>
                  <a:lnTo>
                    <a:pt x="813" y="914"/>
                  </a:lnTo>
                  <a:close/>
                  <a:moveTo>
                    <a:pt x="564" y="545"/>
                  </a:moveTo>
                  <a:lnTo>
                    <a:pt x="564" y="543"/>
                  </a:lnTo>
                  <a:lnTo>
                    <a:pt x="564" y="545"/>
                  </a:lnTo>
                  <a:close/>
                  <a:moveTo>
                    <a:pt x="839" y="600"/>
                  </a:moveTo>
                  <a:lnTo>
                    <a:pt x="839" y="602"/>
                  </a:lnTo>
                  <a:lnTo>
                    <a:pt x="839" y="600"/>
                  </a:lnTo>
                  <a:close/>
                  <a:moveTo>
                    <a:pt x="629" y="335"/>
                  </a:moveTo>
                  <a:lnTo>
                    <a:pt x="631" y="335"/>
                  </a:lnTo>
                  <a:lnTo>
                    <a:pt x="629" y="335"/>
                  </a:lnTo>
                  <a:close/>
                  <a:moveTo>
                    <a:pt x="1010" y="729"/>
                  </a:moveTo>
                  <a:lnTo>
                    <a:pt x="1010" y="730"/>
                  </a:lnTo>
                  <a:lnTo>
                    <a:pt x="1010" y="729"/>
                  </a:lnTo>
                  <a:close/>
                  <a:moveTo>
                    <a:pt x="795" y="696"/>
                  </a:moveTo>
                  <a:lnTo>
                    <a:pt x="795" y="698"/>
                  </a:lnTo>
                  <a:lnTo>
                    <a:pt x="793" y="698"/>
                  </a:lnTo>
                  <a:lnTo>
                    <a:pt x="793" y="696"/>
                  </a:lnTo>
                  <a:lnTo>
                    <a:pt x="795" y="696"/>
                  </a:lnTo>
                  <a:close/>
                  <a:moveTo>
                    <a:pt x="836" y="925"/>
                  </a:moveTo>
                  <a:lnTo>
                    <a:pt x="836" y="924"/>
                  </a:lnTo>
                  <a:lnTo>
                    <a:pt x="836" y="925"/>
                  </a:lnTo>
                  <a:close/>
                  <a:moveTo>
                    <a:pt x="776" y="447"/>
                  </a:moveTo>
                  <a:lnTo>
                    <a:pt x="777" y="447"/>
                  </a:lnTo>
                  <a:lnTo>
                    <a:pt x="777" y="449"/>
                  </a:lnTo>
                  <a:lnTo>
                    <a:pt x="776" y="447"/>
                  </a:lnTo>
                  <a:close/>
                  <a:moveTo>
                    <a:pt x="873" y="600"/>
                  </a:moveTo>
                  <a:lnTo>
                    <a:pt x="872" y="600"/>
                  </a:lnTo>
                  <a:lnTo>
                    <a:pt x="873" y="600"/>
                  </a:lnTo>
                  <a:close/>
                  <a:moveTo>
                    <a:pt x="470" y="512"/>
                  </a:moveTo>
                  <a:lnTo>
                    <a:pt x="470" y="514"/>
                  </a:lnTo>
                  <a:lnTo>
                    <a:pt x="470" y="512"/>
                  </a:lnTo>
                  <a:close/>
                  <a:moveTo>
                    <a:pt x="663" y="642"/>
                  </a:moveTo>
                  <a:lnTo>
                    <a:pt x="663" y="641"/>
                  </a:lnTo>
                  <a:lnTo>
                    <a:pt x="663" y="642"/>
                  </a:lnTo>
                  <a:close/>
                  <a:moveTo>
                    <a:pt x="1016" y="750"/>
                  </a:moveTo>
                  <a:lnTo>
                    <a:pt x="1018" y="750"/>
                  </a:lnTo>
                  <a:lnTo>
                    <a:pt x="1016" y="750"/>
                  </a:lnTo>
                  <a:close/>
                  <a:moveTo>
                    <a:pt x="559" y="592"/>
                  </a:moveTo>
                  <a:lnTo>
                    <a:pt x="559" y="590"/>
                  </a:lnTo>
                  <a:lnTo>
                    <a:pt x="559" y="592"/>
                  </a:lnTo>
                  <a:close/>
                  <a:moveTo>
                    <a:pt x="60" y="413"/>
                  </a:moveTo>
                  <a:lnTo>
                    <a:pt x="60" y="415"/>
                  </a:lnTo>
                  <a:lnTo>
                    <a:pt x="60" y="413"/>
                  </a:lnTo>
                  <a:close/>
                  <a:moveTo>
                    <a:pt x="1021" y="688"/>
                  </a:moveTo>
                  <a:lnTo>
                    <a:pt x="1023" y="688"/>
                  </a:lnTo>
                  <a:lnTo>
                    <a:pt x="1023" y="690"/>
                  </a:lnTo>
                  <a:lnTo>
                    <a:pt x="1021" y="690"/>
                  </a:lnTo>
                  <a:lnTo>
                    <a:pt x="1021" y="688"/>
                  </a:lnTo>
                  <a:close/>
                  <a:moveTo>
                    <a:pt x="714" y="987"/>
                  </a:moveTo>
                  <a:lnTo>
                    <a:pt x="715" y="987"/>
                  </a:lnTo>
                  <a:lnTo>
                    <a:pt x="714" y="987"/>
                  </a:lnTo>
                  <a:close/>
                  <a:moveTo>
                    <a:pt x="550" y="529"/>
                  </a:moveTo>
                  <a:lnTo>
                    <a:pt x="550" y="527"/>
                  </a:lnTo>
                  <a:lnTo>
                    <a:pt x="550" y="529"/>
                  </a:lnTo>
                  <a:close/>
                  <a:moveTo>
                    <a:pt x="1021" y="774"/>
                  </a:moveTo>
                  <a:lnTo>
                    <a:pt x="1023" y="774"/>
                  </a:lnTo>
                  <a:lnTo>
                    <a:pt x="1021" y="774"/>
                  </a:lnTo>
                  <a:close/>
                  <a:moveTo>
                    <a:pt x="854" y="608"/>
                  </a:moveTo>
                  <a:lnTo>
                    <a:pt x="855" y="608"/>
                  </a:lnTo>
                  <a:lnTo>
                    <a:pt x="854" y="608"/>
                  </a:lnTo>
                  <a:close/>
                  <a:moveTo>
                    <a:pt x="937" y="867"/>
                  </a:moveTo>
                  <a:lnTo>
                    <a:pt x="938" y="867"/>
                  </a:lnTo>
                  <a:lnTo>
                    <a:pt x="937" y="867"/>
                  </a:lnTo>
                  <a:close/>
                  <a:moveTo>
                    <a:pt x="938" y="878"/>
                  </a:moveTo>
                  <a:lnTo>
                    <a:pt x="940" y="877"/>
                  </a:lnTo>
                  <a:lnTo>
                    <a:pt x="940" y="878"/>
                  </a:lnTo>
                  <a:lnTo>
                    <a:pt x="938" y="878"/>
                  </a:lnTo>
                  <a:close/>
                  <a:moveTo>
                    <a:pt x="67" y="446"/>
                  </a:moveTo>
                  <a:lnTo>
                    <a:pt x="67" y="447"/>
                  </a:lnTo>
                  <a:lnTo>
                    <a:pt x="65" y="446"/>
                  </a:lnTo>
                  <a:lnTo>
                    <a:pt x="67" y="446"/>
                  </a:lnTo>
                  <a:close/>
                  <a:moveTo>
                    <a:pt x="1010" y="686"/>
                  </a:moveTo>
                  <a:lnTo>
                    <a:pt x="1008" y="686"/>
                  </a:lnTo>
                  <a:lnTo>
                    <a:pt x="1010" y="686"/>
                  </a:lnTo>
                  <a:close/>
                  <a:moveTo>
                    <a:pt x="759" y="486"/>
                  </a:moveTo>
                  <a:lnTo>
                    <a:pt x="761" y="486"/>
                  </a:lnTo>
                  <a:lnTo>
                    <a:pt x="759" y="486"/>
                  </a:lnTo>
                  <a:close/>
                  <a:moveTo>
                    <a:pt x="761" y="695"/>
                  </a:moveTo>
                  <a:lnTo>
                    <a:pt x="761" y="696"/>
                  </a:lnTo>
                  <a:lnTo>
                    <a:pt x="761" y="695"/>
                  </a:lnTo>
                  <a:close/>
                  <a:moveTo>
                    <a:pt x="374" y="766"/>
                  </a:moveTo>
                  <a:lnTo>
                    <a:pt x="376" y="766"/>
                  </a:lnTo>
                  <a:lnTo>
                    <a:pt x="374" y="766"/>
                  </a:lnTo>
                  <a:close/>
                  <a:moveTo>
                    <a:pt x="402" y="431"/>
                  </a:moveTo>
                  <a:lnTo>
                    <a:pt x="402" y="429"/>
                  </a:lnTo>
                  <a:lnTo>
                    <a:pt x="402" y="431"/>
                  </a:lnTo>
                  <a:close/>
                  <a:moveTo>
                    <a:pt x="314" y="782"/>
                  </a:moveTo>
                  <a:lnTo>
                    <a:pt x="315" y="782"/>
                  </a:lnTo>
                  <a:lnTo>
                    <a:pt x="314" y="782"/>
                  </a:lnTo>
                  <a:close/>
                  <a:moveTo>
                    <a:pt x="715" y="665"/>
                  </a:moveTo>
                  <a:lnTo>
                    <a:pt x="715" y="664"/>
                  </a:lnTo>
                  <a:lnTo>
                    <a:pt x="715" y="665"/>
                  </a:lnTo>
                  <a:close/>
                  <a:moveTo>
                    <a:pt x="480" y="615"/>
                  </a:moveTo>
                  <a:lnTo>
                    <a:pt x="478" y="615"/>
                  </a:lnTo>
                  <a:lnTo>
                    <a:pt x="480" y="615"/>
                  </a:lnTo>
                  <a:close/>
                  <a:moveTo>
                    <a:pt x="493" y="690"/>
                  </a:moveTo>
                  <a:lnTo>
                    <a:pt x="493" y="688"/>
                  </a:lnTo>
                  <a:lnTo>
                    <a:pt x="493" y="690"/>
                  </a:lnTo>
                  <a:close/>
                  <a:moveTo>
                    <a:pt x="1013" y="672"/>
                  </a:moveTo>
                  <a:lnTo>
                    <a:pt x="1015" y="672"/>
                  </a:lnTo>
                  <a:lnTo>
                    <a:pt x="1013" y="673"/>
                  </a:lnTo>
                  <a:lnTo>
                    <a:pt x="1013" y="672"/>
                  </a:lnTo>
                  <a:close/>
                  <a:moveTo>
                    <a:pt x="437" y="503"/>
                  </a:moveTo>
                  <a:lnTo>
                    <a:pt x="437" y="501"/>
                  </a:lnTo>
                  <a:lnTo>
                    <a:pt x="439" y="503"/>
                  </a:lnTo>
                  <a:lnTo>
                    <a:pt x="437" y="503"/>
                  </a:lnTo>
                  <a:close/>
                  <a:moveTo>
                    <a:pt x="494" y="685"/>
                  </a:moveTo>
                  <a:lnTo>
                    <a:pt x="494" y="683"/>
                  </a:lnTo>
                  <a:lnTo>
                    <a:pt x="494" y="685"/>
                  </a:lnTo>
                  <a:close/>
                  <a:moveTo>
                    <a:pt x="400" y="483"/>
                  </a:moveTo>
                  <a:lnTo>
                    <a:pt x="402" y="483"/>
                  </a:lnTo>
                  <a:lnTo>
                    <a:pt x="400" y="483"/>
                  </a:lnTo>
                  <a:close/>
                  <a:moveTo>
                    <a:pt x="841" y="584"/>
                  </a:moveTo>
                  <a:lnTo>
                    <a:pt x="842" y="584"/>
                  </a:lnTo>
                  <a:lnTo>
                    <a:pt x="841" y="584"/>
                  </a:lnTo>
                  <a:close/>
                  <a:moveTo>
                    <a:pt x="254" y="672"/>
                  </a:moveTo>
                  <a:lnTo>
                    <a:pt x="254" y="673"/>
                  </a:lnTo>
                  <a:lnTo>
                    <a:pt x="254" y="672"/>
                  </a:lnTo>
                  <a:close/>
                  <a:moveTo>
                    <a:pt x="1011" y="675"/>
                  </a:moveTo>
                  <a:lnTo>
                    <a:pt x="1013" y="675"/>
                  </a:lnTo>
                  <a:lnTo>
                    <a:pt x="1011" y="675"/>
                  </a:lnTo>
                  <a:close/>
                  <a:moveTo>
                    <a:pt x="494" y="690"/>
                  </a:moveTo>
                  <a:lnTo>
                    <a:pt x="494" y="688"/>
                  </a:lnTo>
                  <a:lnTo>
                    <a:pt x="496" y="688"/>
                  </a:lnTo>
                  <a:lnTo>
                    <a:pt x="494" y="690"/>
                  </a:lnTo>
                  <a:close/>
                  <a:moveTo>
                    <a:pt x="556" y="584"/>
                  </a:moveTo>
                  <a:lnTo>
                    <a:pt x="558" y="584"/>
                  </a:lnTo>
                  <a:lnTo>
                    <a:pt x="556" y="584"/>
                  </a:lnTo>
                  <a:close/>
                  <a:moveTo>
                    <a:pt x="917" y="631"/>
                  </a:moveTo>
                  <a:lnTo>
                    <a:pt x="919" y="631"/>
                  </a:lnTo>
                  <a:lnTo>
                    <a:pt x="917" y="631"/>
                  </a:lnTo>
                  <a:close/>
                  <a:moveTo>
                    <a:pt x="528" y="610"/>
                  </a:moveTo>
                  <a:lnTo>
                    <a:pt x="530" y="610"/>
                  </a:lnTo>
                  <a:lnTo>
                    <a:pt x="528" y="610"/>
                  </a:lnTo>
                  <a:close/>
                  <a:moveTo>
                    <a:pt x="758" y="906"/>
                  </a:moveTo>
                  <a:lnTo>
                    <a:pt x="756" y="906"/>
                  </a:lnTo>
                  <a:lnTo>
                    <a:pt x="756" y="904"/>
                  </a:lnTo>
                  <a:lnTo>
                    <a:pt x="758" y="904"/>
                  </a:lnTo>
                  <a:lnTo>
                    <a:pt x="758" y="906"/>
                  </a:lnTo>
                  <a:close/>
                  <a:moveTo>
                    <a:pt x="771" y="511"/>
                  </a:moveTo>
                  <a:lnTo>
                    <a:pt x="772" y="511"/>
                  </a:lnTo>
                  <a:lnTo>
                    <a:pt x="771" y="511"/>
                  </a:lnTo>
                  <a:close/>
                  <a:moveTo>
                    <a:pt x="559" y="532"/>
                  </a:moveTo>
                  <a:lnTo>
                    <a:pt x="559" y="533"/>
                  </a:lnTo>
                  <a:lnTo>
                    <a:pt x="559" y="532"/>
                  </a:lnTo>
                  <a:close/>
                  <a:moveTo>
                    <a:pt x="647" y="734"/>
                  </a:moveTo>
                  <a:lnTo>
                    <a:pt x="649" y="734"/>
                  </a:lnTo>
                  <a:lnTo>
                    <a:pt x="647" y="734"/>
                  </a:lnTo>
                  <a:close/>
                  <a:moveTo>
                    <a:pt x="470" y="265"/>
                  </a:moveTo>
                  <a:lnTo>
                    <a:pt x="471" y="265"/>
                  </a:lnTo>
                  <a:lnTo>
                    <a:pt x="470" y="265"/>
                  </a:lnTo>
                  <a:close/>
                  <a:moveTo>
                    <a:pt x="881" y="607"/>
                  </a:moveTo>
                  <a:lnTo>
                    <a:pt x="883" y="607"/>
                  </a:lnTo>
                  <a:lnTo>
                    <a:pt x="881" y="607"/>
                  </a:lnTo>
                  <a:close/>
                  <a:moveTo>
                    <a:pt x="790" y="345"/>
                  </a:moveTo>
                  <a:lnTo>
                    <a:pt x="789" y="345"/>
                  </a:lnTo>
                  <a:lnTo>
                    <a:pt x="790" y="345"/>
                  </a:lnTo>
                  <a:close/>
                  <a:moveTo>
                    <a:pt x="471" y="615"/>
                  </a:moveTo>
                  <a:lnTo>
                    <a:pt x="471" y="616"/>
                  </a:lnTo>
                  <a:lnTo>
                    <a:pt x="471" y="615"/>
                  </a:lnTo>
                  <a:close/>
                  <a:moveTo>
                    <a:pt x="863" y="722"/>
                  </a:moveTo>
                  <a:lnTo>
                    <a:pt x="863" y="724"/>
                  </a:lnTo>
                  <a:lnTo>
                    <a:pt x="863" y="722"/>
                  </a:lnTo>
                  <a:close/>
                  <a:moveTo>
                    <a:pt x="180" y="496"/>
                  </a:moveTo>
                  <a:lnTo>
                    <a:pt x="182" y="494"/>
                  </a:lnTo>
                  <a:lnTo>
                    <a:pt x="182" y="496"/>
                  </a:lnTo>
                  <a:lnTo>
                    <a:pt x="180" y="496"/>
                  </a:lnTo>
                  <a:close/>
                  <a:moveTo>
                    <a:pt x="213" y="563"/>
                  </a:moveTo>
                  <a:lnTo>
                    <a:pt x="211" y="563"/>
                  </a:lnTo>
                  <a:lnTo>
                    <a:pt x="213" y="563"/>
                  </a:lnTo>
                  <a:close/>
                  <a:moveTo>
                    <a:pt x="493" y="610"/>
                  </a:moveTo>
                  <a:lnTo>
                    <a:pt x="494" y="610"/>
                  </a:lnTo>
                  <a:lnTo>
                    <a:pt x="493" y="610"/>
                  </a:lnTo>
                  <a:close/>
                  <a:moveTo>
                    <a:pt x="873" y="600"/>
                  </a:moveTo>
                  <a:lnTo>
                    <a:pt x="873" y="602"/>
                  </a:lnTo>
                  <a:lnTo>
                    <a:pt x="873" y="600"/>
                  </a:lnTo>
                  <a:close/>
                  <a:moveTo>
                    <a:pt x="257" y="675"/>
                  </a:moveTo>
                  <a:lnTo>
                    <a:pt x="257" y="673"/>
                  </a:lnTo>
                  <a:lnTo>
                    <a:pt x="257" y="675"/>
                  </a:lnTo>
                  <a:close/>
                  <a:moveTo>
                    <a:pt x="870" y="790"/>
                  </a:moveTo>
                  <a:lnTo>
                    <a:pt x="872" y="790"/>
                  </a:lnTo>
                  <a:lnTo>
                    <a:pt x="870" y="790"/>
                  </a:lnTo>
                  <a:close/>
                  <a:moveTo>
                    <a:pt x="478" y="616"/>
                  </a:moveTo>
                  <a:lnTo>
                    <a:pt x="478" y="615"/>
                  </a:lnTo>
                  <a:lnTo>
                    <a:pt x="478" y="616"/>
                  </a:lnTo>
                  <a:close/>
                  <a:moveTo>
                    <a:pt x="504" y="644"/>
                  </a:moveTo>
                  <a:lnTo>
                    <a:pt x="504" y="642"/>
                  </a:lnTo>
                  <a:lnTo>
                    <a:pt x="504" y="644"/>
                  </a:lnTo>
                  <a:close/>
                  <a:moveTo>
                    <a:pt x="1010" y="685"/>
                  </a:moveTo>
                  <a:lnTo>
                    <a:pt x="1008" y="685"/>
                  </a:lnTo>
                  <a:lnTo>
                    <a:pt x="1010" y="685"/>
                  </a:lnTo>
                  <a:close/>
                  <a:moveTo>
                    <a:pt x="803" y="381"/>
                  </a:moveTo>
                  <a:lnTo>
                    <a:pt x="803" y="382"/>
                  </a:lnTo>
                  <a:lnTo>
                    <a:pt x="803" y="381"/>
                  </a:lnTo>
                  <a:close/>
                  <a:moveTo>
                    <a:pt x="333" y="560"/>
                  </a:moveTo>
                  <a:lnTo>
                    <a:pt x="333" y="561"/>
                  </a:lnTo>
                  <a:lnTo>
                    <a:pt x="333" y="560"/>
                  </a:lnTo>
                  <a:close/>
                  <a:moveTo>
                    <a:pt x="491" y="691"/>
                  </a:moveTo>
                  <a:lnTo>
                    <a:pt x="489" y="691"/>
                  </a:lnTo>
                  <a:lnTo>
                    <a:pt x="491" y="691"/>
                  </a:lnTo>
                  <a:close/>
                  <a:moveTo>
                    <a:pt x="894" y="547"/>
                  </a:moveTo>
                  <a:lnTo>
                    <a:pt x="894" y="545"/>
                  </a:lnTo>
                  <a:lnTo>
                    <a:pt x="894" y="547"/>
                  </a:lnTo>
                  <a:close/>
                  <a:moveTo>
                    <a:pt x="875" y="799"/>
                  </a:moveTo>
                  <a:lnTo>
                    <a:pt x="876" y="799"/>
                  </a:lnTo>
                  <a:lnTo>
                    <a:pt x="875" y="799"/>
                  </a:lnTo>
                  <a:close/>
                  <a:moveTo>
                    <a:pt x="528" y="605"/>
                  </a:moveTo>
                  <a:lnTo>
                    <a:pt x="528" y="603"/>
                  </a:lnTo>
                  <a:lnTo>
                    <a:pt x="528" y="605"/>
                  </a:lnTo>
                  <a:close/>
                </a:path>
              </a:pathLst>
            </a:custGeom>
            <a:solidFill>
              <a:schemeClr val="bg1">
                <a:lumMod val="75000"/>
              </a:scheme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1185" name="Freeform 31">
              <a:extLst>
                <a:ext uri="{FF2B5EF4-FFF2-40B4-BE49-F238E27FC236}">
                  <a16:creationId xmlns:a16="http://schemas.microsoft.com/office/drawing/2014/main" id="{DC25E3B8-9405-F312-9A0B-EEB04122D71C}"/>
                </a:ext>
              </a:extLst>
            </p:cNvPr>
            <p:cNvSpPr>
              <a:spLocks noEditPoints="1"/>
            </p:cNvSpPr>
            <p:nvPr/>
          </p:nvSpPr>
          <p:spPr bwMode="auto">
            <a:xfrm>
              <a:off x="4557" y="4220"/>
              <a:ext cx="602" cy="592"/>
            </a:xfrm>
            <a:custGeom>
              <a:avLst/>
              <a:gdLst>
                <a:gd name="T0" fmla="*/ 360 w 602"/>
                <a:gd name="T1" fmla="*/ 535 h 592"/>
                <a:gd name="T2" fmla="*/ 366 w 602"/>
                <a:gd name="T3" fmla="*/ 532 h 592"/>
                <a:gd name="T4" fmla="*/ 459 w 602"/>
                <a:gd name="T5" fmla="*/ 532 h 592"/>
                <a:gd name="T6" fmla="*/ 407 w 602"/>
                <a:gd name="T7" fmla="*/ 506 h 592"/>
                <a:gd name="T8" fmla="*/ 376 w 602"/>
                <a:gd name="T9" fmla="*/ 514 h 592"/>
                <a:gd name="T10" fmla="*/ 306 w 602"/>
                <a:gd name="T11" fmla="*/ 501 h 592"/>
                <a:gd name="T12" fmla="*/ 478 w 602"/>
                <a:gd name="T13" fmla="*/ 509 h 592"/>
                <a:gd name="T14" fmla="*/ 503 w 602"/>
                <a:gd name="T15" fmla="*/ 533 h 592"/>
                <a:gd name="T16" fmla="*/ 429 w 602"/>
                <a:gd name="T17" fmla="*/ 507 h 592"/>
                <a:gd name="T18" fmla="*/ 299 w 602"/>
                <a:gd name="T19" fmla="*/ 496 h 592"/>
                <a:gd name="T20" fmla="*/ 325 w 602"/>
                <a:gd name="T21" fmla="*/ 481 h 592"/>
                <a:gd name="T22" fmla="*/ 369 w 602"/>
                <a:gd name="T23" fmla="*/ 476 h 592"/>
                <a:gd name="T24" fmla="*/ 332 w 602"/>
                <a:gd name="T25" fmla="*/ 473 h 592"/>
                <a:gd name="T26" fmla="*/ 342 w 602"/>
                <a:gd name="T27" fmla="*/ 465 h 592"/>
                <a:gd name="T28" fmla="*/ 303 w 602"/>
                <a:gd name="T29" fmla="*/ 452 h 592"/>
                <a:gd name="T30" fmla="*/ 247 w 602"/>
                <a:gd name="T31" fmla="*/ 414 h 592"/>
                <a:gd name="T32" fmla="*/ 249 w 602"/>
                <a:gd name="T33" fmla="*/ 413 h 592"/>
                <a:gd name="T34" fmla="*/ 215 w 602"/>
                <a:gd name="T35" fmla="*/ 408 h 592"/>
                <a:gd name="T36" fmla="*/ 205 w 602"/>
                <a:gd name="T37" fmla="*/ 401 h 592"/>
                <a:gd name="T38" fmla="*/ 221 w 602"/>
                <a:gd name="T39" fmla="*/ 390 h 592"/>
                <a:gd name="T40" fmla="*/ 192 w 602"/>
                <a:gd name="T41" fmla="*/ 385 h 592"/>
                <a:gd name="T42" fmla="*/ 207 w 602"/>
                <a:gd name="T43" fmla="*/ 375 h 592"/>
                <a:gd name="T44" fmla="*/ 161 w 602"/>
                <a:gd name="T45" fmla="*/ 356 h 592"/>
                <a:gd name="T46" fmla="*/ 192 w 602"/>
                <a:gd name="T47" fmla="*/ 367 h 592"/>
                <a:gd name="T48" fmla="*/ 168 w 602"/>
                <a:gd name="T49" fmla="*/ 369 h 592"/>
                <a:gd name="T50" fmla="*/ 190 w 602"/>
                <a:gd name="T51" fmla="*/ 388 h 592"/>
                <a:gd name="T52" fmla="*/ 142 w 602"/>
                <a:gd name="T53" fmla="*/ 341 h 592"/>
                <a:gd name="T54" fmla="*/ 135 w 602"/>
                <a:gd name="T55" fmla="*/ 328 h 592"/>
                <a:gd name="T56" fmla="*/ 132 w 602"/>
                <a:gd name="T57" fmla="*/ 318 h 592"/>
                <a:gd name="T58" fmla="*/ 93 w 602"/>
                <a:gd name="T59" fmla="*/ 304 h 592"/>
                <a:gd name="T60" fmla="*/ 151 w 602"/>
                <a:gd name="T61" fmla="*/ 288 h 592"/>
                <a:gd name="T62" fmla="*/ 177 w 602"/>
                <a:gd name="T63" fmla="*/ 323 h 592"/>
                <a:gd name="T64" fmla="*/ 142 w 602"/>
                <a:gd name="T65" fmla="*/ 273 h 592"/>
                <a:gd name="T66" fmla="*/ 127 w 602"/>
                <a:gd name="T67" fmla="*/ 265 h 592"/>
                <a:gd name="T68" fmla="*/ 137 w 602"/>
                <a:gd name="T69" fmla="*/ 240 h 592"/>
                <a:gd name="T70" fmla="*/ 96 w 602"/>
                <a:gd name="T71" fmla="*/ 231 h 592"/>
                <a:gd name="T72" fmla="*/ 99 w 602"/>
                <a:gd name="T73" fmla="*/ 289 h 592"/>
                <a:gd name="T74" fmla="*/ 90 w 602"/>
                <a:gd name="T75" fmla="*/ 257 h 592"/>
                <a:gd name="T76" fmla="*/ 122 w 602"/>
                <a:gd name="T77" fmla="*/ 219 h 592"/>
                <a:gd name="T78" fmla="*/ 107 w 602"/>
                <a:gd name="T79" fmla="*/ 200 h 592"/>
                <a:gd name="T80" fmla="*/ 60 w 602"/>
                <a:gd name="T81" fmla="*/ 232 h 592"/>
                <a:gd name="T82" fmla="*/ 36 w 602"/>
                <a:gd name="T83" fmla="*/ 257 h 592"/>
                <a:gd name="T84" fmla="*/ 13 w 602"/>
                <a:gd name="T85" fmla="*/ 198 h 592"/>
                <a:gd name="T86" fmla="*/ 91 w 602"/>
                <a:gd name="T87" fmla="*/ 164 h 592"/>
                <a:gd name="T88" fmla="*/ 181 w 602"/>
                <a:gd name="T89" fmla="*/ 162 h 592"/>
                <a:gd name="T90" fmla="*/ 208 w 602"/>
                <a:gd name="T91" fmla="*/ 70 h 592"/>
                <a:gd name="T92" fmla="*/ 303 w 602"/>
                <a:gd name="T93" fmla="*/ 8 h 592"/>
                <a:gd name="T94" fmla="*/ 384 w 602"/>
                <a:gd name="T95" fmla="*/ 76 h 592"/>
                <a:gd name="T96" fmla="*/ 506 w 602"/>
                <a:gd name="T97" fmla="*/ 81 h 592"/>
                <a:gd name="T98" fmla="*/ 558 w 602"/>
                <a:gd name="T99" fmla="*/ 130 h 592"/>
                <a:gd name="T100" fmla="*/ 538 w 602"/>
                <a:gd name="T101" fmla="*/ 205 h 592"/>
                <a:gd name="T102" fmla="*/ 462 w 602"/>
                <a:gd name="T103" fmla="*/ 183 h 592"/>
                <a:gd name="T104" fmla="*/ 356 w 602"/>
                <a:gd name="T105" fmla="*/ 179 h 592"/>
                <a:gd name="T106" fmla="*/ 255 w 602"/>
                <a:gd name="T107" fmla="*/ 193 h 592"/>
                <a:gd name="T108" fmla="*/ 325 w 602"/>
                <a:gd name="T109" fmla="*/ 362 h 592"/>
                <a:gd name="T110" fmla="*/ 410 w 602"/>
                <a:gd name="T111" fmla="*/ 473 h 592"/>
                <a:gd name="T112" fmla="*/ 322 w 602"/>
                <a:gd name="T113" fmla="*/ 427 h 592"/>
                <a:gd name="T114" fmla="*/ 272 w 602"/>
                <a:gd name="T115" fmla="*/ 436 h 592"/>
                <a:gd name="T116" fmla="*/ 264 w 602"/>
                <a:gd name="T117" fmla="*/ 392 h 592"/>
                <a:gd name="T118" fmla="*/ 233 w 602"/>
                <a:gd name="T119" fmla="*/ 393 h 592"/>
                <a:gd name="T120" fmla="*/ 186 w 602"/>
                <a:gd name="T121" fmla="*/ 335 h 592"/>
                <a:gd name="T122" fmla="*/ 220 w 602"/>
                <a:gd name="T123" fmla="*/ 331 h 592"/>
                <a:gd name="T124" fmla="*/ 145 w 602"/>
                <a:gd name="T125" fmla="*/ 226 h 5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602" h="592">
                  <a:moveTo>
                    <a:pt x="316" y="592"/>
                  </a:moveTo>
                  <a:lnTo>
                    <a:pt x="314" y="592"/>
                  </a:lnTo>
                  <a:lnTo>
                    <a:pt x="316" y="592"/>
                  </a:lnTo>
                  <a:close/>
                  <a:moveTo>
                    <a:pt x="517" y="546"/>
                  </a:moveTo>
                  <a:lnTo>
                    <a:pt x="516" y="545"/>
                  </a:lnTo>
                  <a:lnTo>
                    <a:pt x="517" y="545"/>
                  </a:lnTo>
                  <a:lnTo>
                    <a:pt x="517" y="546"/>
                  </a:lnTo>
                  <a:close/>
                  <a:moveTo>
                    <a:pt x="516" y="545"/>
                  </a:moveTo>
                  <a:lnTo>
                    <a:pt x="514" y="545"/>
                  </a:lnTo>
                  <a:lnTo>
                    <a:pt x="516" y="545"/>
                  </a:lnTo>
                  <a:close/>
                  <a:moveTo>
                    <a:pt x="509" y="540"/>
                  </a:moveTo>
                  <a:lnTo>
                    <a:pt x="508" y="540"/>
                  </a:lnTo>
                  <a:lnTo>
                    <a:pt x="508" y="538"/>
                  </a:lnTo>
                  <a:lnTo>
                    <a:pt x="509" y="540"/>
                  </a:lnTo>
                  <a:close/>
                  <a:moveTo>
                    <a:pt x="501" y="536"/>
                  </a:moveTo>
                  <a:lnTo>
                    <a:pt x="499" y="536"/>
                  </a:lnTo>
                  <a:lnTo>
                    <a:pt x="501" y="536"/>
                  </a:lnTo>
                  <a:close/>
                  <a:moveTo>
                    <a:pt x="501" y="535"/>
                  </a:moveTo>
                  <a:lnTo>
                    <a:pt x="501" y="533"/>
                  </a:lnTo>
                  <a:lnTo>
                    <a:pt x="501" y="535"/>
                  </a:lnTo>
                  <a:close/>
                  <a:moveTo>
                    <a:pt x="496" y="533"/>
                  </a:moveTo>
                  <a:lnTo>
                    <a:pt x="496" y="535"/>
                  </a:lnTo>
                  <a:lnTo>
                    <a:pt x="498" y="535"/>
                  </a:lnTo>
                  <a:lnTo>
                    <a:pt x="496" y="535"/>
                  </a:lnTo>
                  <a:lnTo>
                    <a:pt x="495" y="535"/>
                  </a:lnTo>
                  <a:lnTo>
                    <a:pt x="493" y="533"/>
                  </a:lnTo>
                  <a:lnTo>
                    <a:pt x="495" y="533"/>
                  </a:lnTo>
                  <a:lnTo>
                    <a:pt x="496" y="533"/>
                  </a:lnTo>
                  <a:lnTo>
                    <a:pt x="495" y="533"/>
                  </a:lnTo>
                  <a:lnTo>
                    <a:pt x="496" y="533"/>
                  </a:lnTo>
                  <a:close/>
                  <a:moveTo>
                    <a:pt x="491" y="532"/>
                  </a:moveTo>
                  <a:lnTo>
                    <a:pt x="493" y="533"/>
                  </a:lnTo>
                  <a:lnTo>
                    <a:pt x="491" y="533"/>
                  </a:lnTo>
                  <a:lnTo>
                    <a:pt x="490" y="533"/>
                  </a:lnTo>
                  <a:lnTo>
                    <a:pt x="490" y="535"/>
                  </a:lnTo>
                  <a:lnTo>
                    <a:pt x="488" y="535"/>
                  </a:lnTo>
                  <a:lnTo>
                    <a:pt x="488" y="533"/>
                  </a:lnTo>
                  <a:lnTo>
                    <a:pt x="486" y="533"/>
                  </a:lnTo>
                  <a:lnTo>
                    <a:pt x="488" y="533"/>
                  </a:lnTo>
                  <a:lnTo>
                    <a:pt x="488" y="532"/>
                  </a:lnTo>
                  <a:lnTo>
                    <a:pt x="490" y="532"/>
                  </a:lnTo>
                  <a:lnTo>
                    <a:pt x="491" y="532"/>
                  </a:lnTo>
                  <a:close/>
                  <a:moveTo>
                    <a:pt x="462" y="535"/>
                  </a:moveTo>
                  <a:lnTo>
                    <a:pt x="462" y="533"/>
                  </a:lnTo>
                  <a:lnTo>
                    <a:pt x="462" y="535"/>
                  </a:lnTo>
                  <a:close/>
                  <a:moveTo>
                    <a:pt x="469" y="532"/>
                  </a:moveTo>
                  <a:lnTo>
                    <a:pt x="467" y="532"/>
                  </a:lnTo>
                  <a:lnTo>
                    <a:pt x="469" y="532"/>
                  </a:lnTo>
                  <a:close/>
                  <a:moveTo>
                    <a:pt x="488" y="530"/>
                  </a:moveTo>
                  <a:lnTo>
                    <a:pt x="486" y="530"/>
                  </a:lnTo>
                  <a:lnTo>
                    <a:pt x="488" y="530"/>
                  </a:lnTo>
                  <a:close/>
                  <a:moveTo>
                    <a:pt x="457" y="528"/>
                  </a:moveTo>
                  <a:lnTo>
                    <a:pt x="457" y="530"/>
                  </a:lnTo>
                  <a:lnTo>
                    <a:pt x="457" y="528"/>
                  </a:lnTo>
                  <a:close/>
                  <a:moveTo>
                    <a:pt x="368" y="536"/>
                  </a:moveTo>
                  <a:lnTo>
                    <a:pt x="366" y="536"/>
                  </a:lnTo>
                  <a:lnTo>
                    <a:pt x="368" y="536"/>
                  </a:lnTo>
                  <a:close/>
                  <a:moveTo>
                    <a:pt x="472" y="525"/>
                  </a:moveTo>
                  <a:lnTo>
                    <a:pt x="473" y="525"/>
                  </a:lnTo>
                  <a:lnTo>
                    <a:pt x="475" y="525"/>
                  </a:lnTo>
                  <a:lnTo>
                    <a:pt x="475" y="527"/>
                  </a:lnTo>
                  <a:lnTo>
                    <a:pt x="477" y="527"/>
                  </a:lnTo>
                  <a:lnTo>
                    <a:pt x="475" y="527"/>
                  </a:lnTo>
                  <a:lnTo>
                    <a:pt x="477" y="527"/>
                  </a:lnTo>
                  <a:lnTo>
                    <a:pt x="477" y="528"/>
                  </a:lnTo>
                  <a:lnTo>
                    <a:pt x="475" y="527"/>
                  </a:lnTo>
                  <a:lnTo>
                    <a:pt x="473" y="527"/>
                  </a:lnTo>
                  <a:lnTo>
                    <a:pt x="472" y="525"/>
                  </a:lnTo>
                  <a:close/>
                  <a:moveTo>
                    <a:pt x="477" y="523"/>
                  </a:moveTo>
                  <a:lnTo>
                    <a:pt x="478" y="523"/>
                  </a:lnTo>
                  <a:lnTo>
                    <a:pt x="480" y="525"/>
                  </a:lnTo>
                  <a:lnTo>
                    <a:pt x="482" y="527"/>
                  </a:lnTo>
                  <a:lnTo>
                    <a:pt x="482" y="525"/>
                  </a:lnTo>
                  <a:lnTo>
                    <a:pt x="483" y="527"/>
                  </a:lnTo>
                  <a:lnTo>
                    <a:pt x="485" y="527"/>
                  </a:lnTo>
                  <a:lnTo>
                    <a:pt x="485" y="528"/>
                  </a:lnTo>
                  <a:lnTo>
                    <a:pt x="486" y="528"/>
                  </a:lnTo>
                  <a:lnTo>
                    <a:pt x="486" y="530"/>
                  </a:lnTo>
                  <a:lnTo>
                    <a:pt x="485" y="530"/>
                  </a:lnTo>
                  <a:lnTo>
                    <a:pt x="486" y="530"/>
                  </a:lnTo>
                  <a:lnTo>
                    <a:pt x="485" y="530"/>
                  </a:lnTo>
                  <a:lnTo>
                    <a:pt x="485" y="532"/>
                  </a:lnTo>
                  <a:lnTo>
                    <a:pt x="483" y="532"/>
                  </a:lnTo>
                  <a:lnTo>
                    <a:pt x="483" y="530"/>
                  </a:lnTo>
                  <a:lnTo>
                    <a:pt x="482" y="530"/>
                  </a:lnTo>
                  <a:lnTo>
                    <a:pt x="482" y="528"/>
                  </a:lnTo>
                  <a:lnTo>
                    <a:pt x="480" y="528"/>
                  </a:lnTo>
                  <a:lnTo>
                    <a:pt x="478" y="528"/>
                  </a:lnTo>
                  <a:lnTo>
                    <a:pt x="477" y="527"/>
                  </a:lnTo>
                  <a:lnTo>
                    <a:pt x="478" y="527"/>
                  </a:lnTo>
                  <a:lnTo>
                    <a:pt x="478" y="528"/>
                  </a:lnTo>
                  <a:lnTo>
                    <a:pt x="480" y="528"/>
                  </a:lnTo>
                  <a:lnTo>
                    <a:pt x="478" y="527"/>
                  </a:lnTo>
                  <a:lnTo>
                    <a:pt x="477" y="525"/>
                  </a:lnTo>
                  <a:lnTo>
                    <a:pt x="475" y="523"/>
                  </a:lnTo>
                  <a:lnTo>
                    <a:pt x="477" y="523"/>
                  </a:lnTo>
                  <a:close/>
                  <a:moveTo>
                    <a:pt x="360" y="535"/>
                  </a:moveTo>
                  <a:lnTo>
                    <a:pt x="360" y="536"/>
                  </a:lnTo>
                  <a:lnTo>
                    <a:pt x="358" y="536"/>
                  </a:lnTo>
                  <a:lnTo>
                    <a:pt x="360" y="536"/>
                  </a:lnTo>
                  <a:lnTo>
                    <a:pt x="360" y="535"/>
                  </a:lnTo>
                  <a:close/>
                  <a:moveTo>
                    <a:pt x="473" y="523"/>
                  </a:moveTo>
                  <a:lnTo>
                    <a:pt x="472" y="525"/>
                  </a:lnTo>
                  <a:lnTo>
                    <a:pt x="472" y="523"/>
                  </a:lnTo>
                  <a:lnTo>
                    <a:pt x="473" y="523"/>
                  </a:lnTo>
                  <a:close/>
                  <a:moveTo>
                    <a:pt x="477" y="523"/>
                  </a:moveTo>
                  <a:lnTo>
                    <a:pt x="475" y="523"/>
                  </a:lnTo>
                  <a:lnTo>
                    <a:pt x="477" y="523"/>
                  </a:lnTo>
                  <a:close/>
                  <a:moveTo>
                    <a:pt x="397" y="532"/>
                  </a:moveTo>
                  <a:lnTo>
                    <a:pt x="395" y="532"/>
                  </a:lnTo>
                  <a:lnTo>
                    <a:pt x="397" y="532"/>
                  </a:lnTo>
                  <a:close/>
                  <a:moveTo>
                    <a:pt x="386" y="533"/>
                  </a:moveTo>
                  <a:lnTo>
                    <a:pt x="384" y="533"/>
                  </a:lnTo>
                  <a:lnTo>
                    <a:pt x="384" y="532"/>
                  </a:lnTo>
                  <a:lnTo>
                    <a:pt x="386" y="532"/>
                  </a:lnTo>
                  <a:lnTo>
                    <a:pt x="386" y="533"/>
                  </a:lnTo>
                  <a:close/>
                  <a:moveTo>
                    <a:pt x="400" y="532"/>
                  </a:moveTo>
                  <a:lnTo>
                    <a:pt x="399" y="532"/>
                  </a:lnTo>
                  <a:lnTo>
                    <a:pt x="399" y="530"/>
                  </a:lnTo>
                  <a:lnTo>
                    <a:pt x="400" y="530"/>
                  </a:lnTo>
                  <a:lnTo>
                    <a:pt x="400" y="532"/>
                  </a:lnTo>
                  <a:close/>
                  <a:moveTo>
                    <a:pt x="400" y="530"/>
                  </a:moveTo>
                  <a:lnTo>
                    <a:pt x="400" y="532"/>
                  </a:lnTo>
                  <a:lnTo>
                    <a:pt x="400" y="530"/>
                  </a:lnTo>
                  <a:close/>
                  <a:moveTo>
                    <a:pt x="389" y="532"/>
                  </a:moveTo>
                  <a:lnTo>
                    <a:pt x="387" y="532"/>
                  </a:lnTo>
                  <a:lnTo>
                    <a:pt x="389" y="532"/>
                  </a:lnTo>
                  <a:close/>
                  <a:moveTo>
                    <a:pt x="470" y="523"/>
                  </a:moveTo>
                  <a:lnTo>
                    <a:pt x="470" y="525"/>
                  </a:lnTo>
                  <a:lnTo>
                    <a:pt x="469" y="523"/>
                  </a:lnTo>
                  <a:lnTo>
                    <a:pt x="470" y="523"/>
                  </a:lnTo>
                  <a:close/>
                  <a:moveTo>
                    <a:pt x="387" y="530"/>
                  </a:moveTo>
                  <a:lnTo>
                    <a:pt x="387" y="532"/>
                  </a:lnTo>
                  <a:lnTo>
                    <a:pt x="386" y="532"/>
                  </a:lnTo>
                  <a:lnTo>
                    <a:pt x="387" y="530"/>
                  </a:lnTo>
                  <a:close/>
                  <a:moveTo>
                    <a:pt x="340" y="536"/>
                  </a:moveTo>
                  <a:lnTo>
                    <a:pt x="338" y="536"/>
                  </a:lnTo>
                  <a:lnTo>
                    <a:pt x="337" y="536"/>
                  </a:lnTo>
                  <a:lnTo>
                    <a:pt x="335" y="536"/>
                  </a:lnTo>
                  <a:lnTo>
                    <a:pt x="335" y="538"/>
                  </a:lnTo>
                  <a:lnTo>
                    <a:pt x="335" y="536"/>
                  </a:lnTo>
                  <a:lnTo>
                    <a:pt x="337" y="535"/>
                  </a:lnTo>
                  <a:lnTo>
                    <a:pt x="338" y="535"/>
                  </a:lnTo>
                  <a:lnTo>
                    <a:pt x="340" y="536"/>
                  </a:lnTo>
                  <a:close/>
                  <a:moveTo>
                    <a:pt x="384" y="530"/>
                  </a:moveTo>
                  <a:lnTo>
                    <a:pt x="382" y="530"/>
                  </a:lnTo>
                  <a:lnTo>
                    <a:pt x="384" y="530"/>
                  </a:lnTo>
                  <a:close/>
                  <a:moveTo>
                    <a:pt x="374" y="532"/>
                  </a:moveTo>
                  <a:lnTo>
                    <a:pt x="376" y="532"/>
                  </a:lnTo>
                  <a:lnTo>
                    <a:pt x="374" y="532"/>
                  </a:lnTo>
                  <a:lnTo>
                    <a:pt x="376" y="532"/>
                  </a:lnTo>
                  <a:lnTo>
                    <a:pt x="379" y="532"/>
                  </a:lnTo>
                  <a:lnTo>
                    <a:pt x="381" y="532"/>
                  </a:lnTo>
                  <a:lnTo>
                    <a:pt x="382" y="532"/>
                  </a:lnTo>
                  <a:lnTo>
                    <a:pt x="382" y="533"/>
                  </a:lnTo>
                  <a:lnTo>
                    <a:pt x="382" y="535"/>
                  </a:lnTo>
                  <a:lnTo>
                    <a:pt x="381" y="535"/>
                  </a:lnTo>
                  <a:lnTo>
                    <a:pt x="381" y="536"/>
                  </a:lnTo>
                  <a:lnTo>
                    <a:pt x="379" y="536"/>
                  </a:lnTo>
                  <a:lnTo>
                    <a:pt x="379" y="538"/>
                  </a:lnTo>
                  <a:lnTo>
                    <a:pt x="377" y="538"/>
                  </a:lnTo>
                  <a:lnTo>
                    <a:pt x="376" y="538"/>
                  </a:lnTo>
                  <a:lnTo>
                    <a:pt x="377" y="538"/>
                  </a:lnTo>
                  <a:lnTo>
                    <a:pt x="377" y="536"/>
                  </a:lnTo>
                  <a:lnTo>
                    <a:pt x="377" y="538"/>
                  </a:lnTo>
                  <a:lnTo>
                    <a:pt x="376" y="536"/>
                  </a:lnTo>
                  <a:lnTo>
                    <a:pt x="374" y="536"/>
                  </a:lnTo>
                  <a:lnTo>
                    <a:pt x="374" y="538"/>
                  </a:lnTo>
                  <a:lnTo>
                    <a:pt x="373" y="538"/>
                  </a:lnTo>
                  <a:lnTo>
                    <a:pt x="373" y="540"/>
                  </a:lnTo>
                  <a:lnTo>
                    <a:pt x="373" y="538"/>
                  </a:lnTo>
                  <a:lnTo>
                    <a:pt x="371" y="538"/>
                  </a:lnTo>
                  <a:lnTo>
                    <a:pt x="369" y="536"/>
                  </a:lnTo>
                  <a:lnTo>
                    <a:pt x="369" y="535"/>
                  </a:lnTo>
                  <a:lnTo>
                    <a:pt x="369" y="536"/>
                  </a:lnTo>
                  <a:lnTo>
                    <a:pt x="371" y="535"/>
                  </a:lnTo>
                  <a:lnTo>
                    <a:pt x="369" y="535"/>
                  </a:lnTo>
                  <a:lnTo>
                    <a:pt x="369" y="533"/>
                  </a:lnTo>
                  <a:lnTo>
                    <a:pt x="368" y="533"/>
                  </a:lnTo>
                  <a:lnTo>
                    <a:pt x="369" y="533"/>
                  </a:lnTo>
                  <a:lnTo>
                    <a:pt x="368" y="535"/>
                  </a:lnTo>
                  <a:lnTo>
                    <a:pt x="369" y="535"/>
                  </a:lnTo>
                  <a:lnTo>
                    <a:pt x="368" y="535"/>
                  </a:lnTo>
                  <a:lnTo>
                    <a:pt x="368" y="533"/>
                  </a:lnTo>
                  <a:lnTo>
                    <a:pt x="368" y="532"/>
                  </a:lnTo>
                  <a:lnTo>
                    <a:pt x="369" y="532"/>
                  </a:lnTo>
                  <a:lnTo>
                    <a:pt x="371" y="532"/>
                  </a:lnTo>
                  <a:lnTo>
                    <a:pt x="371" y="533"/>
                  </a:lnTo>
                  <a:lnTo>
                    <a:pt x="369" y="533"/>
                  </a:lnTo>
                  <a:lnTo>
                    <a:pt x="371" y="533"/>
                  </a:lnTo>
                  <a:lnTo>
                    <a:pt x="371" y="532"/>
                  </a:lnTo>
                  <a:lnTo>
                    <a:pt x="373" y="532"/>
                  </a:lnTo>
                  <a:lnTo>
                    <a:pt x="374" y="532"/>
                  </a:lnTo>
                  <a:close/>
                  <a:moveTo>
                    <a:pt x="366" y="532"/>
                  </a:moveTo>
                  <a:lnTo>
                    <a:pt x="366" y="533"/>
                  </a:lnTo>
                  <a:lnTo>
                    <a:pt x="368" y="533"/>
                  </a:lnTo>
                  <a:lnTo>
                    <a:pt x="366" y="533"/>
                  </a:lnTo>
                  <a:lnTo>
                    <a:pt x="366" y="535"/>
                  </a:lnTo>
                  <a:lnTo>
                    <a:pt x="366" y="533"/>
                  </a:lnTo>
                  <a:lnTo>
                    <a:pt x="366" y="535"/>
                  </a:lnTo>
                  <a:lnTo>
                    <a:pt x="366" y="533"/>
                  </a:lnTo>
                  <a:lnTo>
                    <a:pt x="364" y="533"/>
                  </a:lnTo>
                  <a:lnTo>
                    <a:pt x="366" y="532"/>
                  </a:lnTo>
                  <a:close/>
                  <a:moveTo>
                    <a:pt x="384" y="532"/>
                  </a:moveTo>
                  <a:lnTo>
                    <a:pt x="384" y="530"/>
                  </a:lnTo>
                  <a:lnTo>
                    <a:pt x="386" y="530"/>
                  </a:lnTo>
                  <a:lnTo>
                    <a:pt x="384" y="532"/>
                  </a:lnTo>
                  <a:close/>
                  <a:moveTo>
                    <a:pt x="371" y="532"/>
                  </a:moveTo>
                  <a:lnTo>
                    <a:pt x="369" y="532"/>
                  </a:lnTo>
                  <a:lnTo>
                    <a:pt x="371" y="532"/>
                  </a:lnTo>
                  <a:close/>
                  <a:moveTo>
                    <a:pt x="386" y="530"/>
                  </a:moveTo>
                  <a:lnTo>
                    <a:pt x="387" y="530"/>
                  </a:lnTo>
                  <a:lnTo>
                    <a:pt x="386" y="530"/>
                  </a:lnTo>
                  <a:close/>
                  <a:moveTo>
                    <a:pt x="387" y="530"/>
                  </a:moveTo>
                  <a:lnTo>
                    <a:pt x="387" y="528"/>
                  </a:lnTo>
                  <a:lnTo>
                    <a:pt x="387" y="530"/>
                  </a:lnTo>
                  <a:close/>
                  <a:moveTo>
                    <a:pt x="431" y="523"/>
                  </a:moveTo>
                  <a:lnTo>
                    <a:pt x="433" y="523"/>
                  </a:lnTo>
                  <a:lnTo>
                    <a:pt x="431" y="523"/>
                  </a:lnTo>
                  <a:close/>
                  <a:moveTo>
                    <a:pt x="423" y="525"/>
                  </a:moveTo>
                  <a:lnTo>
                    <a:pt x="423" y="523"/>
                  </a:lnTo>
                  <a:lnTo>
                    <a:pt x="423" y="525"/>
                  </a:lnTo>
                  <a:close/>
                  <a:moveTo>
                    <a:pt x="425" y="523"/>
                  </a:moveTo>
                  <a:lnTo>
                    <a:pt x="425" y="525"/>
                  </a:lnTo>
                  <a:lnTo>
                    <a:pt x="423" y="525"/>
                  </a:lnTo>
                  <a:lnTo>
                    <a:pt x="423" y="523"/>
                  </a:lnTo>
                  <a:lnTo>
                    <a:pt x="425" y="523"/>
                  </a:lnTo>
                  <a:close/>
                  <a:moveTo>
                    <a:pt x="431" y="523"/>
                  </a:moveTo>
                  <a:lnTo>
                    <a:pt x="429" y="523"/>
                  </a:lnTo>
                  <a:lnTo>
                    <a:pt x="429" y="522"/>
                  </a:lnTo>
                  <a:lnTo>
                    <a:pt x="431" y="523"/>
                  </a:lnTo>
                  <a:close/>
                  <a:moveTo>
                    <a:pt x="428" y="522"/>
                  </a:moveTo>
                  <a:lnTo>
                    <a:pt x="426" y="523"/>
                  </a:lnTo>
                  <a:lnTo>
                    <a:pt x="428" y="523"/>
                  </a:lnTo>
                  <a:lnTo>
                    <a:pt x="428" y="522"/>
                  </a:lnTo>
                  <a:lnTo>
                    <a:pt x="429" y="522"/>
                  </a:lnTo>
                  <a:lnTo>
                    <a:pt x="429" y="523"/>
                  </a:lnTo>
                  <a:lnTo>
                    <a:pt x="428" y="523"/>
                  </a:lnTo>
                  <a:lnTo>
                    <a:pt x="428" y="525"/>
                  </a:lnTo>
                  <a:lnTo>
                    <a:pt x="428" y="523"/>
                  </a:lnTo>
                  <a:lnTo>
                    <a:pt x="429" y="523"/>
                  </a:lnTo>
                  <a:lnTo>
                    <a:pt x="431" y="525"/>
                  </a:lnTo>
                  <a:lnTo>
                    <a:pt x="431" y="523"/>
                  </a:lnTo>
                  <a:lnTo>
                    <a:pt x="431" y="525"/>
                  </a:lnTo>
                  <a:lnTo>
                    <a:pt x="433" y="525"/>
                  </a:lnTo>
                  <a:lnTo>
                    <a:pt x="434" y="523"/>
                  </a:lnTo>
                  <a:lnTo>
                    <a:pt x="434" y="525"/>
                  </a:lnTo>
                  <a:lnTo>
                    <a:pt x="436" y="525"/>
                  </a:lnTo>
                  <a:lnTo>
                    <a:pt x="438" y="525"/>
                  </a:lnTo>
                  <a:lnTo>
                    <a:pt x="439" y="525"/>
                  </a:lnTo>
                  <a:lnTo>
                    <a:pt x="441" y="525"/>
                  </a:lnTo>
                  <a:lnTo>
                    <a:pt x="442" y="527"/>
                  </a:lnTo>
                  <a:lnTo>
                    <a:pt x="444" y="527"/>
                  </a:lnTo>
                  <a:lnTo>
                    <a:pt x="446" y="527"/>
                  </a:lnTo>
                  <a:lnTo>
                    <a:pt x="447" y="527"/>
                  </a:lnTo>
                  <a:lnTo>
                    <a:pt x="449" y="527"/>
                  </a:lnTo>
                  <a:lnTo>
                    <a:pt x="451" y="527"/>
                  </a:lnTo>
                  <a:lnTo>
                    <a:pt x="452" y="528"/>
                  </a:lnTo>
                  <a:lnTo>
                    <a:pt x="451" y="528"/>
                  </a:lnTo>
                  <a:lnTo>
                    <a:pt x="452" y="530"/>
                  </a:lnTo>
                  <a:lnTo>
                    <a:pt x="454" y="528"/>
                  </a:lnTo>
                  <a:lnTo>
                    <a:pt x="457" y="528"/>
                  </a:lnTo>
                  <a:lnTo>
                    <a:pt x="457" y="530"/>
                  </a:lnTo>
                  <a:lnTo>
                    <a:pt x="457" y="528"/>
                  </a:lnTo>
                  <a:lnTo>
                    <a:pt x="459" y="528"/>
                  </a:lnTo>
                  <a:lnTo>
                    <a:pt x="460" y="530"/>
                  </a:lnTo>
                  <a:lnTo>
                    <a:pt x="459" y="530"/>
                  </a:lnTo>
                  <a:lnTo>
                    <a:pt x="460" y="530"/>
                  </a:lnTo>
                  <a:lnTo>
                    <a:pt x="462" y="530"/>
                  </a:lnTo>
                  <a:lnTo>
                    <a:pt x="464" y="530"/>
                  </a:lnTo>
                  <a:lnTo>
                    <a:pt x="464" y="532"/>
                  </a:lnTo>
                  <a:lnTo>
                    <a:pt x="464" y="530"/>
                  </a:lnTo>
                  <a:lnTo>
                    <a:pt x="465" y="532"/>
                  </a:lnTo>
                  <a:lnTo>
                    <a:pt x="467" y="532"/>
                  </a:lnTo>
                  <a:lnTo>
                    <a:pt x="467" y="533"/>
                  </a:lnTo>
                  <a:lnTo>
                    <a:pt x="469" y="533"/>
                  </a:lnTo>
                  <a:lnTo>
                    <a:pt x="469" y="535"/>
                  </a:lnTo>
                  <a:lnTo>
                    <a:pt x="467" y="535"/>
                  </a:lnTo>
                  <a:lnTo>
                    <a:pt x="467" y="533"/>
                  </a:lnTo>
                  <a:lnTo>
                    <a:pt x="465" y="535"/>
                  </a:lnTo>
                  <a:lnTo>
                    <a:pt x="465" y="533"/>
                  </a:lnTo>
                  <a:lnTo>
                    <a:pt x="464" y="533"/>
                  </a:lnTo>
                  <a:lnTo>
                    <a:pt x="464" y="535"/>
                  </a:lnTo>
                  <a:lnTo>
                    <a:pt x="464" y="533"/>
                  </a:lnTo>
                  <a:lnTo>
                    <a:pt x="464" y="535"/>
                  </a:lnTo>
                  <a:lnTo>
                    <a:pt x="462" y="535"/>
                  </a:lnTo>
                  <a:lnTo>
                    <a:pt x="462" y="533"/>
                  </a:lnTo>
                  <a:lnTo>
                    <a:pt x="460" y="533"/>
                  </a:lnTo>
                  <a:lnTo>
                    <a:pt x="459" y="532"/>
                  </a:lnTo>
                  <a:lnTo>
                    <a:pt x="459" y="533"/>
                  </a:lnTo>
                  <a:lnTo>
                    <a:pt x="459" y="532"/>
                  </a:lnTo>
                  <a:lnTo>
                    <a:pt x="457" y="532"/>
                  </a:lnTo>
                  <a:lnTo>
                    <a:pt x="456" y="532"/>
                  </a:lnTo>
                  <a:lnTo>
                    <a:pt x="454" y="532"/>
                  </a:lnTo>
                  <a:lnTo>
                    <a:pt x="452" y="532"/>
                  </a:lnTo>
                  <a:lnTo>
                    <a:pt x="451" y="532"/>
                  </a:lnTo>
                  <a:lnTo>
                    <a:pt x="449" y="532"/>
                  </a:lnTo>
                  <a:lnTo>
                    <a:pt x="447" y="532"/>
                  </a:lnTo>
                  <a:lnTo>
                    <a:pt x="446" y="532"/>
                  </a:lnTo>
                  <a:lnTo>
                    <a:pt x="444" y="530"/>
                  </a:lnTo>
                  <a:lnTo>
                    <a:pt x="442" y="532"/>
                  </a:lnTo>
                  <a:lnTo>
                    <a:pt x="442" y="530"/>
                  </a:lnTo>
                  <a:lnTo>
                    <a:pt x="441" y="530"/>
                  </a:lnTo>
                  <a:lnTo>
                    <a:pt x="439" y="528"/>
                  </a:lnTo>
                  <a:lnTo>
                    <a:pt x="439" y="530"/>
                  </a:lnTo>
                  <a:lnTo>
                    <a:pt x="438" y="530"/>
                  </a:lnTo>
                  <a:lnTo>
                    <a:pt x="438" y="528"/>
                  </a:lnTo>
                  <a:lnTo>
                    <a:pt x="436" y="528"/>
                  </a:lnTo>
                  <a:lnTo>
                    <a:pt x="436" y="530"/>
                  </a:lnTo>
                  <a:lnTo>
                    <a:pt x="434" y="530"/>
                  </a:lnTo>
                  <a:lnTo>
                    <a:pt x="434" y="528"/>
                  </a:lnTo>
                  <a:lnTo>
                    <a:pt x="433" y="528"/>
                  </a:lnTo>
                  <a:lnTo>
                    <a:pt x="431" y="528"/>
                  </a:lnTo>
                  <a:lnTo>
                    <a:pt x="431" y="527"/>
                  </a:lnTo>
                  <a:lnTo>
                    <a:pt x="429" y="527"/>
                  </a:lnTo>
                  <a:lnTo>
                    <a:pt x="429" y="528"/>
                  </a:lnTo>
                  <a:lnTo>
                    <a:pt x="428" y="528"/>
                  </a:lnTo>
                  <a:lnTo>
                    <a:pt x="426" y="528"/>
                  </a:lnTo>
                  <a:lnTo>
                    <a:pt x="425" y="527"/>
                  </a:lnTo>
                  <a:lnTo>
                    <a:pt x="423" y="527"/>
                  </a:lnTo>
                  <a:lnTo>
                    <a:pt x="423" y="525"/>
                  </a:lnTo>
                  <a:lnTo>
                    <a:pt x="421" y="525"/>
                  </a:lnTo>
                  <a:lnTo>
                    <a:pt x="423" y="525"/>
                  </a:lnTo>
                  <a:lnTo>
                    <a:pt x="421" y="525"/>
                  </a:lnTo>
                  <a:lnTo>
                    <a:pt x="423" y="523"/>
                  </a:lnTo>
                  <a:lnTo>
                    <a:pt x="423" y="525"/>
                  </a:lnTo>
                  <a:lnTo>
                    <a:pt x="423" y="527"/>
                  </a:lnTo>
                  <a:lnTo>
                    <a:pt x="423" y="525"/>
                  </a:lnTo>
                  <a:lnTo>
                    <a:pt x="425" y="525"/>
                  </a:lnTo>
                  <a:lnTo>
                    <a:pt x="425" y="523"/>
                  </a:lnTo>
                  <a:lnTo>
                    <a:pt x="426" y="523"/>
                  </a:lnTo>
                  <a:lnTo>
                    <a:pt x="426" y="522"/>
                  </a:lnTo>
                  <a:lnTo>
                    <a:pt x="428" y="522"/>
                  </a:lnTo>
                  <a:close/>
                  <a:moveTo>
                    <a:pt x="426" y="522"/>
                  </a:moveTo>
                  <a:lnTo>
                    <a:pt x="425" y="522"/>
                  </a:lnTo>
                  <a:lnTo>
                    <a:pt x="426" y="522"/>
                  </a:lnTo>
                  <a:close/>
                  <a:moveTo>
                    <a:pt x="387" y="525"/>
                  </a:moveTo>
                  <a:lnTo>
                    <a:pt x="387" y="523"/>
                  </a:lnTo>
                  <a:lnTo>
                    <a:pt x="387" y="525"/>
                  </a:lnTo>
                  <a:close/>
                  <a:moveTo>
                    <a:pt x="464" y="514"/>
                  </a:moveTo>
                  <a:lnTo>
                    <a:pt x="464" y="512"/>
                  </a:lnTo>
                  <a:lnTo>
                    <a:pt x="464" y="514"/>
                  </a:lnTo>
                  <a:close/>
                  <a:moveTo>
                    <a:pt x="433" y="512"/>
                  </a:moveTo>
                  <a:lnTo>
                    <a:pt x="431" y="512"/>
                  </a:lnTo>
                  <a:lnTo>
                    <a:pt x="433" y="512"/>
                  </a:lnTo>
                  <a:close/>
                  <a:moveTo>
                    <a:pt x="364" y="515"/>
                  </a:moveTo>
                  <a:lnTo>
                    <a:pt x="366" y="515"/>
                  </a:lnTo>
                  <a:lnTo>
                    <a:pt x="364" y="515"/>
                  </a:lnTo>
                  <a:close/>
                  <a:moveTo>
                    <a:pt x="368" y="515"/>
                  </a:moveTo>
                  <a:lnTo>
                    <a:pt x="366" y="515"/>
                  </a:lnTo>
                  <a:lnTo>
                    <a:pt x="368" y="514"/>
                  </a:lnTo>
                  <a:lnTo>
                    <a:pt x="368" y="515"/>
                  </a:lnTo>
                  <a:close/>
                  <a:moveTo>
                    <a:pt x="356" y="515"/>
                  </a:moveTo>
                  <a:lnTo>
                    <a:pt x="355" y="515"/>
                  </a:lnTo>
                  <a:lnTo>
                    <a:pt x="356" y="515"/>
                  </a:lnTo>
                  <a:close/>
                  <a:moveTo>
                    <a:pt x="363" y="515"/>
                  </a:moveTo>
                  <a:lnTo>
                    <a:pt x="361" y="515"/>
                  </a:lnTo>
                  <a:lnTo>
                    <a:pt x="361" y="514"/>
                  </a:lnTo>
                  <a:lnTo>
                    <a:pt x="363" y="515"/>
                  </a:lnTo>
                  <a:close/>
                  <a:moveTo>
                    <a:pt x="361" y="514"/>
                  </a:moveTo>
                  <a:lnTo>
                    <a:pt x="360" y="514"/>
                  </a:lnTo>
                  <a:lnTo>
                    <a:pt x="361" y="514"/>
                  </a:lnTo>
                  <a:close/>
                  <a:moveTo>
                    <a:pt x="355" y="515"/>
                  </a:moveTo>
                  <a:lnTo>
                    <a:pt x="355" y="514"/>
                  </a:lnTo>
                  <a:lnTo>
                    <a:pt x="355" y="515"/>
                  </a:lnTo>
                  <a:close/>
                  <a:moveTo>
                    <a:pt x="355" y="514"/>
                  </a:moveTo>
                  <a:lnTo>
                    <a:pt x="353" y="514"/>
                  </a:lnTo>
                  <a:lnTo>
                    <a:pt x="355" y="514"/>
                  </a:lnTo>
                  <a:close/>
                  <a:moveTo>
                    <a:pt x="358" y="514"/>
                  </a:moveTo>
                  <a:lnTo>
                    <a:pt x="360" y="514"/>
                  </a:lnTo>
                  <a:lnTo>
                    <a:pt x="358" y="514"/>
                  </a:lnTo>
                  <a:lnTo>
                    <a:pt x="358" y="512"/>
                  </a:lnTo>
                  <a:lnTo>
                    <a:pt x="358" y="514"/>
                  </a:lnTo>
                  <a:close/>
                  <a:moveTo>
                    <a:pt x="353" y="514"/>
                  </a:moveTo>
                  <a:lnTo>
                    <a:pt x="351" y="514"/>
                  </a:lnTo>
                  <a:lnTo>
                    <a:pt x="351" y="512"/>
                  </a:lnTo>
                  <a:lnTo>
                    <a:pt x="353" y="514"/>
                  </a:lnTo>
                  <a:close/>
                  <a:moveTo>
                    <a:pt x="439" y="504"/>
                  </a:moveTo>
                  <a:lnTo>
                    <a:pt x="438" y="502"/>
                  </a:lnTo>
                  <a:lnTo>
                    <a:pt x="439" y="502"/>
                  </a:lnTo>
                  <a:lnTo>
                    <a:pt x="439" y="504"/>
                  </a:lnTo>
                  <a:close/>
                  <a:moveTo>
                    <a:pt x="408" y="506"/>
                  </a:moveTo>
                  <a:lnTo>
                    <a:pt x="407" y="506"/>
                  </a:lnTo>
                  <a:lnTo>
                    <a:pt x="408" y="506"/>
                  </a:lnTo>
                  <a:close/>
                  <a:moveTo>
                    <a:pt x="405" y="506"/>
                  </a:moveTo>
                  <a:lnTo>
                    <a:pt x="403" y="506"/>
                  </a:lnTo>
                  <a:lnTo>
                    <a:pt x="405" y="506"/>
                  </a:lnTo>
                  <a:close/>
                  <a:moveTo>
                    <a:pt x="407" y="506"/>
                  </a:moveTo>
                  <a:lnTo>
                    <a:pt x="407" y="504"/>
                  </a:lnTo>
                  <a:lnTo>
                    <a:pt x="407" y="506"/>
                  </a:lnTo>
                  <a:close/>
                  <a:moveTo>
                    <a:pt x="434" y="501"/>
                  </a:moveTo>
                  <a:lnTo>
                    <a:pt x="434" y="499"/>
                  </a:lnTo>
                  <a:lnTo>
                    <a:pt x="434" y="501"/>
                  </a:lnTo>
                  <a:close/>
                  <a:moveTo>
                    <a:pt x="403" y="502"/>
                  </a:moveTo>
                  <a:lnTo>
                    <a:pt x="403" y="504"/>
                  </a:lnTo>
                  <a:lnTo>
                    <a:pt x="402" y="504"/>
                  </a:lnTo>
                  <a:lnTo>
                    <a:pt x="402" y="502"/>
                  </a:lnTo>
                  <a:lnTo>
                    <a:pt x="403" y="502"/>
                  </a:lnTo>
                  <a:close/>
                  <a:moveTo>
                    <a:pt x="407" y="502"/>
                  </a:moveTo>
                  <a:lnTo>
                    <a:pt x="405" y="502"/>
                  </a:lnTo>
                  <a:lnTo>
                    <a:pt x="407" y="502"/>
                  </a:lnTo>
                  <a:close/>
                  <a:moveTo>
                    <a:pt x="353" y="507"/>
                  </a:moveTo>
                  <a:lnTo>
                    <a:pt x="351" y="507"/>
                  </a:lnTo>
                  <a:lnTo>
                    <a:pt x="353" y="507"/>
                  </a:lnTo>
                  <a:close/>
                  <a:moveTo>
                    <a:pt x="392" y="501"/>
                  </a:moveTo>
                  <a:lnTo>
                    <a:pt x="390" y="501"/>
                  </a:lnTo>
                  <a:lnTo>
                    <a:pt x="392" y="501"/>
                  </a:lnTo>
                  <a:close/>
                  <a:moveTo>
                    <a:pt x="345" y="504"/>
                  </a:moveTo>
                  <a:lnTo>
                    <a:pt x="347" y="504"/>
                  </a:lnTo>
                  <a:lnTo>
                    <a:pt x="345" y="504"/>
                  </a:lnTo>
                  <a:close/>
                  <a:moveTo>
                    <a:pt x="353" y="502"/>
                  </a:moveTo>
                  <a:lnTo>
                    <a:pt x="355" y="502"/>
                  </a:lnTo>
                  <a:lnTo>
                    <a:pt x="356" y="502"/>
                  </a:lnTo>
                  <a:lnTo>
                    <a:pt x="358" y="502"/>
                  </a:lnTo>
                  <a:lnTo>
                    <a:pt x="358" y="504"/>
                  </a:lnTo>
                  <a:lnTo>
                    <a:pt x="360" y="504"/>
                  </a:lnTo>
                  <a:lnTo>
                    <a:pt x="361" y="504"/>
                  </a:lnTo>
                  <a:lnTo>
                    <a:pt x="363" y="504"/>
                  </a:lnTo>
                  <a:lnTo>
                    <a:pt x="363" y="506"/>
                  </a:lnTo>
                  <a:lnTo>
                    <a:pt x="364" y="504"/>
                  </a:lnTo>
                  <a:lnTo>
                    <a:pt x="366" y="504"/>
                  </a:lnTo>
                  <a:lnTo>
                    <a:pt x="366" y="506"/>
                  </a:lnTo>
                  <a:lnTo>
                    <a:pt x="368" y="506"/>
                  </a:lnTo>
                  <a:lnTo>
                    <a:pt x="369" y="506"/>
                  </a:lnTo>
                  <a:lnTo>
                    <a:pt x="371" y="506"/>
                  </a:lnTo>
                  <a:lnTo>
                    <a:pt x="373" y="506"/>
                  </a:lnTo>
                  <a:lnTo>
                    <a:pt x="373" y="504"/>
                  </a:lnTo>
                  <a:lnTo>
                    <a:pt x="374" y="504"/>
                  </a:lnTo>
                  <a:lnTo>
                    <a:pt x="376" y="504"/>
                  </a:lnTo>
                  <a:lnTo>
                    <a:pt x="376" y="502"/>
                  </a:lnTo>
                  <a:lnTo>
                    <a:pt x="377" y="502"/>
                  </a:lnTo>
                  <a:lnTo>
                    <a:pt x="377" y="504"/>
                  </a:lnTo>
                  <a:lnTo>
                    <a:pt x="377" y="502"/>
                  </a:lnTo>
                  <a:lnTo>
                    <a:pt x="381" y="502"/>
                  </a:lnTo>
                  <a:lnTo>
                    <a:pt x="382" y="502"/>
                  </a:lnTo>
                  <a:lnTo>
                    <a:pt x="384" y="502"/>
                  </a:lnTo>
                  <a:lnTo>
                    <a:pt x="386" y="501"/>
                  </a:lnTo>
                  <a:lnTo>
                    <a:pt x="387" y="501"/>
                  </a:lnTo>
                  <a:lnTo>
                    <a:pt x="387" y="502"/>
                  </a:lnTo>
                  <a:lnTo>
                    <a:pt x="387" y="501"/>
                  </a:lnTo>
                  <a:lnTo>
                    <a:pt x="390" y="501"/>
                  </a:lnTo>
                  <a:lnTo>
                    <a:pt x="392" y="502"/>
                  </a:lnTo>
                  <a:lnTo>
                    <a:pt x="392" y="501"/>
                  </a:lnTo>
                  <a:lnTo>
                    <a:pt x="392" y="502"/>
                  </a:lnTo>
                  <a:lnTo>
                    <a:pt x="394" y="502"/>
                  </a:lnTo>
                  <a:lnTo>
                    <a:pt x="395" y="502"/>
                  </a:lnTo>
                  <a:lnTo>
                    <a:pt x="397" y="502"/>
                  </a:lnTo>
                  <a:lnTo>
                    <a:pt x="399" y="502"/>
                  </a:lnTo>
                  <a:lnTo>
                    <a:pt x="400" y="502"/>
                  </a:lnTo>
                  <a:lnTo>
                    <a:pt x="400" y="504"/>
                  </a:lnTo>
                  <a:lnTo>
                    <a:pt x="402" y="502"/>
                  </a:lnTo>
                  <a:lnTo>
                    <a:pt x="402" y="504"/>
                  </a:lnTo>
                  <a:lnTo>
                    <a:pt x="403" y="506"/>
                  </a:lnTo>
                  <a:lnTo>
                    <a:pt x="403" y="507"/>
                  </a:lnTo>
                  <a:lnTo>
                    <a:pt x="403" y="506"/>
                  </a:lnTo>
                  <a:lnTo>
                    <a:pt x="403" y="507"/>
                  </a:lnTo>
                  <a:lnTo>
                    <a:pt x="405" y="507"/>
                  </a:lnTo>
                  <a:lnTo>
                    <a:pt x="407" y="507"/>
                  </a:lnTo>
                  <a:lnTo>
                    <a:pt x="408" y="507"/>
                  </a:lnTo>
                  <a:lnTo>
                    <a:pt x="407" y="507"/>
                  </a:lnTo>
                  <a:lnTo>
                    <a:pt x="407" y="509"/>
                  </a:lnTo>
                  <a:lnTo>
                    <a:pt x="407" y="507"/>
                  </a:lnTo>
                  <a:lnTo>
                    <a:pt x="405" y="507"/>
                  </a:lnTo>
                  <a:lnTo>
                    <a:pt x="405" y="509"/>
                  </a:lnTo>
                  <a:lnTo>
                    <a:pt x="403" y="509"/>
                  </a:lnTo>
                  <a:lnTo>
                    <a:pt x="400" y="510"/>
                  </a:lnTo>
                  <a:lnTo>
                    <a:pt x="400" y="509"/>
                  </a:lnTo>
                  <a:lnTo>
                    <a:pt x="400" y="510"/>
                  </a:lnTo>
                  <a:lnTo>
                    <a:pt x="399" y="510"/>
                  </a:lnTo>
                  <a:lnTo>
                    <a:pt x="397" y="510"/>
                  </a:lnTo>
                  <a:lnTo>
                    <a:pt x="395" y="510"/>
                  </a:lnTo>
                  <a:lnTo>
                    <a:pt x="395" y="509"/>
                  </a:lnTo>
                  <a:lnTo>
                    <a:pt x="390" y="509"/>
                  </a:lnTo>
                  <a:lnTo>
                    <a:pt x="387" y="509"/>
                  </a:lnTo>
                  <a:lnTo>
                    <a:pt x="386" y="509"/>
                  </a:lnTo>
                  <a:lnTo>
                    <a:pt x="384" y="509"/>
                  </a:lnTo>
                  <a:lnTo>
                    <a:pt x="382" y="509"/>
                  </a:lnTo>
                  <a:lnTo>
                    <a:pt x="382" y="510"/>
                  </a:lnTo>
                  <a:lnTo>
                    <a:pt x="381" y="510"/>
                  </a:lnTo>
                  <a:lnTo>
                    <a:pt x="381" y="512"/>
                  </a:lnTo>
                  <a:lnTo>
                    <a:pt x="379" y="510"/>
                  </a:lnTo>
                  <a:lnTo>
                    <a:pt x="379" y="512"/>
                  </a:lnTo>
                  <a:lnTo>
                    <a:pt x="377" y="512"/>
                  </a:lnTo>
                  <a:lnTo>
                    <a:pt x="377" y="514"/>
                  </a:lnTo>
                  <a:lnTo>
                    <a:pt x="376" y="514"/>
                  </a:lnTo>
                  <a:lnTo>
                    <a:pt x="374" y="514"/>
                  </a:lnTo>
                  <a:lnTo>
                    <a:pt x="373" y="514"/>
                  </a:lnTo>
                  <a:lnTo>
                    <a:pt x="373" y="515"/>
                  </a:lnTo>
                  <a:lnTo>
                    <a:pt x="373" y="514"/>
                  </a:lnTo>
                  <a:lnTo>
                    <a:pt x="373" y="515"/>
                  </a:lnTo>
                  <a:lnTo>
                    <a:pt x="371" y="514"/>
                  </a:lnTo>
                  <a:lnTo>
                    <a:pt x="373" y="512"/>
                  </a:lnTo>
                  <a:lnTo>
                    <a:pt x="371" y="514"/>
                  </a:lnTo>
                  <a:lnTo>
                    <a:pt x="371" y="512"/>
                  </a:lnTo>
                  <a:lnTo>
                    <a:pt x="371" y="514"/>
                  </a:lnTo>
                  <a:lnTo>
                    <a:pt x="369" y="514"/>
                  </a:lnTo>
                  <a:lnTo>
                    <a:pt x="368" y="514"/>
                  </a:lnTo>
                  <a:lnTo>
                    <a:pt x="366" y="514"/>
                  </a:lnTo>
                  <a:lnTo>
                    <a:pt x="364" y="514"/>
                  </a:lnTo>
                  <a:lnTo>
                    <a:pt x="363" y="514"/>
                  </a:lnTo>
                  <a:lnTo>
                    <a:pt x="361" y="514"/>
                  </a:lnTo>
                  <a:lnTo>
                    <a:pt x="360" y="514"/>
                  </a:lnTo>
                  <a:lnTo>
                    <a:pt x="358" y="512"/>
                  </a:lnTo>
                  <a:lnTo>
                    <a:pt x="356" y="512"/>
                  </a:lnTo>
                  <a:lnTo>
                    <a:pt x="355" y="512"/>
                  </a:lnTo>
                  <a:lnTo>
                    <a:pt x="353" y="512"/>
                  </a:lnTo>
                  <a:lnTo>
                    <a:pt x="351" y="512"/>
                  </a:lnTo>
                  <a:lnTo>
                    <a:pt x="351" y="514"/>
                  </a:lnTo>
                  <a:lnTo>
                    <a:pt x="351" y="512"/>
                  </a:lnTo>
                  <a:lnTo>
                    <a:pt x="350" y="514"/>
                  </a:lnTo>
                  <a:lnTo>
                    <a:pt x="350" y="512"/>
                  </a:lnTo>
                  <a:lnTo>
                    <a:pt x="348" y="512"/>
                  </a:lnTo>
                  <a:lnTo>
                    <a:pt x="348" y="510"/>
                  </a:lnTo>
                  <a:lnTo>
                    <a:pt x="350" y="510"/>
                  </a:lnTo>
                  <a:lnTo>
                    <a:pt x="350" y="509"/>
                  </a:lnTo>
                  <a:lnTo>
                    <a:pt x="351" y="509"/>
                  </a:lnTo>
                  <a:lnTo>
                    <a:pt x="350" y="509"/>
                  </a:lnTo>
                  <a:lnTo>
                    <a:pt x="350" y="507"/>
                  </a:lnTo>
                  <a:lnTo>
                    <a:pt x="351" y="507"/>
                  </a:lnTo>
                  <a:lnTo>
                    <a:pt x="353" y="507"/>
                  </a:lnTo>
                  <a:lnTo>
                    <a:pt x="355" y="507"/>
                  </a:lnTo>
                  <a:lnTo>
                    <a:pt x="356" y="506"/>
                  </a:lnTo>
                  <a:lnTo>
                    <a:pt x="355" y="506"/>
                  </a:lnTo>
                  <a:lnTo>
                    <a:pt x="353" y="506"/>
                  </a:lnTo>
                  <a:lnTo>
                    <a:pt x="351" y="506"/>
                  </a:lnTo>
                  <a:lnTo>
                    <a:pt x="351" y="504"/>
                  </a:lnTo>
                  <a:lnTo>
                    <a:pt x="350" y="504"/>
                  </a:lnTo>
                  <a:lnTo>
                    <a:pt x="348" y="504"/>
                  </a:lnTo>
                  <a:lnTo>
                    <a:pt x="348" y="506"/>
                  </a:lnTo>
                  <a:lnTo>
                    <a:pt x="348" y="504"/>
                  </a:lnTo>
                  <a:lnTo>
                    <a:pt x="347" y="504"/>
                  </a:lnTo>
                  <a:lnTo>
                    <a:pt x="347" y="502"/>
                  </a:lnTo>
                  <a:lnTo>
                    <a:pt x="348" y="502"/>
                  </a:lnTo>
                  <a:lnTo>
                    <a:pt x="348" y="504"/>
                  </a:lnTo>
                  <a:lnTo>
                    <a:pt x="350" y="504"/>
                  </a:lnTo>
                  <a:lnTo>
                    <a:pt x="350" y="502"/>
                  </a:lnTo>
                  <a:lnTo>
                    <a:pt x="351" y="502"/>
                  </a:lnTo>
                  <a:lnTo>
                    <a:pt x="353" y="502"/>
                  </a:lnTo>
                  <a:close/>
                  <a:moveTo>
                    <a:pt x="281" y="509"/>
                  </a:moveTo>
                  <a:lnTo>
                    <a:pt x="283" y="509"/>
                  </a:lnTo>
                  <a:lnTo>
                    <a:pt x="283" y="510"/>
                  </a:lnTo>
                  <a:lnTo>
                    <a:pt x="283" y="512"/>
                  </a:lnTo>
                  <a:lnTo>
                    <a:pt x="281" y="512"/>
                  </a:lnTo>
                  <a:lnTo>
                    <a:pt x="281" y="514"/>
                  </a:lnTo>
                  <a:lnTo>
                    <a:pt x="280" y="514"/>
                  </a:lnTo>
                  <a:lnTo>
                    <a:pt x="281" y="512"/>
                  </a:lnTo>
                  <a:lnTo>
                    <a:pt x="281" y="510"/>
                  </a:lnTo>
                  <a:lnTo>
                    <a:pt x="280" y="510"/>
                  </a:lnTo>
                  <a:lnTo>
                    <a:pt x="281" y="510"/>
                  </a:lnTo>
                  <a:lnTo>
                    <a:pt x="280" y="510"/>
                  </a:lnTo>
                  <a:lnTo>
                    <a:pt x="281" y="510"/>
                  </a:lnTo>
                  <a:lnTo>
                    <a:pt x="280" y="510"/>
                  </a:lnTo>
                  <a:lnTo>
                    <a:pt x="281" y="509"/>
                  </a:lnTo>
                  <a:lnTo>
                    <a:pt x="280" y="509"/>
                  </a:lnTo>
                  <a:lnTo>
                    <a:pt x="281" y="507"/>
                  </a:lnTo>
                  <a:lnTo>
                    <a:pt x="281" y="509"/>
                  </a:lnTo>
                  <a:close/>
                  <a:moveTo>
                    <a:pt x="260" y="507"/>
                  </a:moveTo>
                  <a:lnTo>
                    <a:pt x="260" y="509"/>
                  </a:lnTo>
                  <a:lnTo>
                    <a:pt x="259" y="507"/>
                  </a:lnTo>
                  <a:lnTo>
                    <a:pt x="260" y="507"/>
                  </a:lnTo>
                  <a:close/>
                  <a:moveTo>
                    <a:pt x="407" y="492"/>
                  </a:moveTo>
                  <a:lnTo>
                    <a:pt x="407" y="494"/>
                  </a:lnTo>
                  <a:lnTo>
                    <a:pt x="405" y="492"/>
                  </a:lnTo>
                  <a:lnTo>
                    <a:pt x="407" y="492"/>
                  </a:lnTo>
                  <a:close/>
                  <a:moveTo>
                    <a:pt x="306" y="502"/>
                  </a:moveTo>
                  <a:lnTo>
                    <a:pt x="304" y="502"/>
                  </a:lnTo>
                  <a:lnTo>
                    <a:pt x="304" y="501"/>
                  </a:lnTo>
                  <a:lnTo>
                    <a:pt x="306" y="501"/>
                  </a:lnTo>
                  <a:lnTo>
                    <a:pt x="306" y="502"/>
                  </a:lnTo>
                  <a:close/>
                  <a:moveTo>
                    <a:pt x="306" y="501"/>
                  </a:moveTo>
                  <a:lnTo>
                    <a:pt x="306" y="502"/>
                  </a:lnTo>
                  <a:lnTo>
                    <a:pt x="306" y="501"/>
                  </a:lnTo>
                  <a:close/>
                  <a:moveTo>
                    <a:pt x="255" y="506"/>
                  </a:moveTo>
                  <a:lnTo>
                    <a:pt x="254" y="507"/>
                  </a:lnTo>
                  <a:lnTo>
                    <a:pt x="252" y="507"/>
                  </a:lnTo>
                  <a:lnTo>
                    <a:pt x="251" y="506"/>
                  </a:lnTo>
                  <a:lnTo>
                    <a:pt x="252" y="506"/>
                  </a:lnTo>
                  <a:lnTo>
                    <a:pt x="254" y="504"/>
                  </a:lnTo>
                  <a:lnTo>
                    <a:pt x="255" y="504"/>
                  </a:lnTo>
                  <a:lnTo>
                    <a:pt x="255" y="506"/>
                  </a:lnTo>
                  <a:close/>
                  <a:moveTo>
                    <a:pt x="308" y="501"/>
                  </a:moveTo>
                  <a:lnTo>
                    <a:pt x="306" y="501"/>
                  </a:lnTo>
                  <a:lnTo>
                    <a:pt x="308" y="499"/>
                  </a:lnTo>
                  <a:lnTo>
                    <a:pt x="308" y="501"/>
                  </a:lnTo>
                  <a:close/>
                  <a:moveTo>
                    <a:pt x="386" y="491"/>
                  </a:moveTo>
                  <a:lnTo>
                    <a:pt x="387" y="491"/>
                  </a:lnTo>
                  <a:lnTo>
                    <a:pt x="389" y="492"/>
                  </a:lnTo>
                  <a:lnTo>
                    <a:pt x="390" y="492"/>
                  </a:lnTo>
                  <a:lnTo>
                    <a:pt x="392" y="494"/>
                  </a:lnTo>
                  <a:lnTo>
                    <a:pt x="394" y="494"/>
                  </a:lnTo>
                  <a:lnTo>
                    <a:pt x="395" y="494"/>
                  </a:lnTo>
                  <a:lnTo>
                    <a:pt x="397" y="494"/>
                  </a:lnTo>
                  <a:lnTo>
                    <a:pt x="399" y="492"/>
                  </a:lnTo>
                  <a:lnTo>
                    <a:pt x="400" y="492"/>
                  </a:lnTo>
                  <a:lnTo>
                    <a:pt x="402" y="492"/>
                  </a:lnTo>
                  <a:lnTo>
                    <a:pt x="403" y="492"/>
                  </a:lnTo>
                  <a:lnTo>
                    <a:pt x="405" y="492"/>
                  </a:lnTo>
                  <a:lnTo>
                    <a:pt x="407" y="494"/>
                  </a:lnTo>
                  <a:lnTo>
                    <a:pt x="407" y="492"/>
                  </a:lnTo>
                  <a:lnTo>
                    <a:pt x="407" y="494"/>
                  </a:lnTo>
                  <a:lnTo>
                    <a:pt x="408" y="494"/>
                  </a:lnTo>
                  <a:lnTo>
                    <a:pt x="410" y="494"/>
                  </a:lnTo>
                  <a:lnTo>
                    <a:pt x="412" y="494"/>
                  </a:lnTo>
                  <a:lnTo>
                    <a:pt x="413" y="494"/>
                  </a:lnTo>
                  <a:lnTo>
                    <a:pt x="415" y="494"/>
                  </a:lnTo>
                  <a:lnTo>
                    <a:pt x="416" y="494"/>
                  </a:lnTo>
                  <a:lnTo>
                    <a:pt x="418" y="496"/>
                  </a:lnTo>
                  <a:lnTo>
                    <a:pt x="420" y="496"/>
                  </a:lnTo>
                  <a:lnTo>
                    <a:pt x="421" y="496"/>
                  </a:lnTo>
                  <a:lnTo>
                    <a:pt x="423" y="497"/>
                  </a:lnTo>
                  <a:lnTo>
                    <a:pt x="425" y="497"/>
                  </a:lnTo>
                  <a:lnTo>
                    <a:pt x="426" y="499"/>
                  </a:lnTo>
                  <a:lnTo>
                    <a:pt x="429" y="499"/>
                  </a:lnTo>
                  <a:lnTo>
                    <a:pt x="431" y="499"/>
                  </a:lnTo>
                  <a:lnTo>
                    <a:pt x="433" y="501"/>
                  </a:lnTo>
                  <a:lnTo>
                    <a:pt x="433" y="502"/>
                  </a:lnTo>
                  <a:lnTo>
                    <a:pt x="434" y="504"/>
                  </a:lnTo>
                  <a:lnTo>
                    <a:pt x="433" y="504"/>
                  </a:lnTo>
                  <a:lnTo>
                    <a:pt x="434" y="504"/>
                  </a:lnTo>
                  <a:lnTo>
                    <a:pt x="436" y="504"/>
                  </a:lnTo>
                  <a:lnTo>
                    <a:pt x="436" y="506"/>
                  </a:lnTo>
                  <a:lnTo>
                    <a:pt x="436" y="504"/>
                  </a:lnTo>
                  <a:lnTo>
                    <a:pt x="438" y="506"/>
                  </a:lnTo>
                  <a:lnTo>
                    <a:pt x="439" y="506"/>
                  </a:lnTo>
                  <a:lnTo>
                    <a:pt x="441" y="506"/>
                  </a:lnTo>
                  <a:lnTo>
                    <a:pt x="442" y="506"/>
                  </a:lnTo>
                  <a:lnTo>
                    <a:pt x="441" y="504"/>
                  </a:lnTo>
                  <a:lnTo>
                    <a:pt x="442" y="504"/>
                  </a:lnTo>
                  <a:lnTo>
                    <a:pt x="444" y="504"/>
                  </a:lnTo>
                  <a:lnTo>
                    <a:pt x="444" y="506"/>
                  </a:lnTo>
                  <a:lnTo>
                    <a:pt x="444" y="504"/>
                  </a:lnTo>
                  <a:lnTo>
                    <a:pt x="444" y="506"/>
                  </a:lnTo>
                  <a:lnTo>
                    <a:pt x="446" y="506"/>
                  </a:lnTo>
                  <a:lnTo>
                    <a:pt x="447" y="506"/>
                  </a:lnTo>
                  <a:lnTo>
                    <a:pt x="449" y="506"/>
                  </a:lnTo>
                  <a:lnTo>
                    <a:pt x="449" y="507"/>
                  </a:lnTo>
                  <a:lnTo>
                    <a:pt x="451" y="507"/>
                  </a:lnTo>
                  <a:lnTo>
                    <a:pt x="452" y="507"/>
                  </a:lnTo>
                  <a:lnTo>
                    <a:pt x="452" y="509"/>
                  </a:lnTo>
                  <a:lnTo>
                    <a:pt x="454" y="509"/>
                  </a:lnTo>
                  <a:lnTo>
                    <a:pt x="456" y="510"/>
                  </a:lnTo>
                  <a:lnTo>
                    <a:pt x="457" y="510"/>
                  </a:lnTo>
                  <a:lnTo>
                    <a:pt x="457" y="509"/>
                  </a:lnTo>
                  <a:lnTo>
                    <a:pt x="456" y="509"/>
                  </a:lnTo>
                  <a:lnTo>
                    <a:pt x="457" y="509"/>
                  </a:lnTo>
                  <a:lnTo>
                    <a:pt x="459" y="509"/>
                  </a:lnTo>
                  <a:lnTo>
                    <a:pt x="459" y="510"/>
                  </a:lnTo>
                  <a:lnTo>
                    <a:pt x="460" y="510"/>
                  </a:lnTo>
                  <a:lnTo>
                    <a:pt x="460" y="512"/>
                  </a:lnTo>
                  <a:lnTo>
                    <a:pt x="460" y="510"/>
                  </a:lnTo>
                  <a:lnTo>
                    <a:pt x="460" y="512"/>
                  </a:lnTo>
                  <a:lnTo>
                    <a:pt x="462" y="512"/>
                  </a:lnTo>
                  <a:lnTo>
                    <a:pt x="462" y="514"/>
                  </a:lnTo>
                  <a:lnTo>
                    <a:pt x="464" y="514"/>
                  </a:lnTo>
                  <a:lnTo>
                    <a:pt x="465" y="514"/>
                  </a:lnTo>
                  <a:lnTo>
                    <a:pt x="464" y="512"/>
                  </a:lnTo>
                  <a:lnTo>
                    <a:pt x="462" y="512"/>
                  </a:lnTo>
                  <a:lnTo>
                    <a:pt x="460" y="510"/>
                  </a:lnTo>
                  <a:lnTo>
                    <a:pt x="462" y="510"/>
                  </a:lnTo>
                  <a:lnTo>
                    <a:pt x="460" y="510"/>
                  </a:lnTo>
                  <a:lnTo>
                    <a:pt x="460" y="509"/>
                  </a:lnTo>
                  <a:lnTo>
                    <a:pt x="462" y="509"/>
                  </a:lnTo>
                  <a:lnTo>
                    <a:pt x="462" y="507"/>
                  </a:lnTo>
                  <a:lnTo>
                    <a:pt x="460" y="507"/>
                  </a:lnTo>
                  <a:lnTo>
                    <a:pt x="460" y="509"/>
                  </a:lnTo>
                  <a:lnTo>
                    <a:pt x="460" y="510"/>
                  </a:lnTo>
                  <a:lnTo>
                    <a:pt x="457" y="509"/>
                  </a:lnTo>
                  <a:lnTo>
                    <a:pt x="456" y="507"/>
                  </a:lnTo>
                  <a:lnTo>
                    <a:pt x="460" y="502"/>
                  </a:lnTo>
                  <a:lnTo>
                    <a:pt x="462" y="502"/>
                  </a:lnTo>
                  <a:lnTo>
                    <a:pt x="462" y="501"/>
                  </a:lnTo>
                  <a:lnTo>
                    <a:pt x="464" y="501"/>
                  </a:lnTo>
                  <a:lnTo>
                    <a:pt x="470" y="502"/>
                  </a:lnTo>
                  <a:lnTo>
                    <a:pt x="473" y="502"/>
                  </a:lnTo>
                  <a:lnTo>
                    <a:pt x="475" y="502"/>
                  </a:lnTo>
                  <a:lnTo>
                    <a:pt x="477" y="504"/>
                  </a:lnTo>
                  <a:lnTo>
                    <a:pt x="478" y="506"/>
                  </a:lnTo>
                  <a:lnTo>
                    <a:pt x="478" y="507"/>
                  </a:lnTo>
                  <a:lnTo>
                    <a:pt x="478" y="509"/>
                  </a:lnTo>
                  <a:lnTo>
                    <a:pt x="480" y="510"/>
                  </a:lnTo>
                  <a:lnTo>
                    <a:pt x="480" y="512"/>
                  </a:lnTo>
                  <a:lnTo>
                    <a:pt x="482" y="514"/>
                  </a:lnTo>
                  <a:lnTo>
                    <a:pt x="483" y="515"/>
                  </a:lnTo>
                  <a:lnTo>
                    <a:pt x="490" y="520"/>
                  </a:lnTo>
                  <a:lnTo>
                    <a:pt x="493" y="520"/>
                  </a:lnTo>
                  <a:lnTo>
                    <a:pt x="495" y="522"/>
                  </a:lnTo>
                  <a:lnTo>
                    <a:pt x="496" y="522"/>
                  </a:lnTo>
                  <a:lnTo>
                    <a:pt x="508" y="528"/>
                  </a:lnTo>
                  <a:lnTo>
                    <a:pt x="509" y="532"/>
                  </a:lnTo>
                  <a:lnTo>
                    <a:pt x="512" y="533"/>
                  </a:lnTo>
                  <a:lnTo>
                    <a:pt x="516" y="533"/>
                  </a:lnTo>
                  <a:lnTo>
                    <a:pt x="517" y="535"/>
                  </a:lnTo>
                  <a:lnTo>
                    <a:pt x="519" y="535"/>
                  </a:lnTo>
                  <a:lnTo>
                    <a:pt x="521" y="536"/>
                  </a:lnTo>
                  <a:lnTo>
                    <a:pt x="522" y="536"/>
                  </a:lnTo>
                  <a:lnTo>
                    <a:pt x="525" y="540"/>
                  </a:lnTo>
                  <a:lnTo>
                    <a:pt x="525" y="538"/>
                  </a:lnTo>
                  <a:lnTo>
                    <a:pt x="527" y="538"/>
                  </a:lnTo>
                  <a:lnTo>
                    <a:pt x="529" y="536"/>
                  </a:lnTo>
                  <a:lnTo>
                    <a:pt x="530" y="536"/>
                  </a:lnTo>
                  <a:lnTo>
                    <a:pt x="532" y="536"/>
                  </a:lnTo>
                  <a:lnTo>
                    <a:pt x="534" y="536"/>
                  </a:lnTo>
                  <a:lnTo>
                    <a:pt x="535" y="538"/>
                  </a:lnTo>
                  <a:lnTo>
                    <a:pt x="537" y="538"/>
                  </a:lnTo>
                  <a:lnTo>
                    <a:pt x="540" y="543"/>
                  </a:lnTo>
                  <a:lnTo>
                    <a:pt x="543" y="545"/>
                  </a:lnTo>
                  <a:lnTo>
                    <a:pt x="545" y="553"/>
                  </a:lnTo>
                  <a:lnTo>
                    <a:pt x="547" y="558"/>
                  </a:lnTo>
                  <a:lnTo>
                    <a:pt x="548" y="559"/>
                  </a:lnTo>
                  <a:lnTo>
                    <a:pt x="550" y="559"/>
                  </a:lnTo>
                  <a:lnTo>
                    <a:pt x="551" y="559"/>
                  </a:lnTo>
                  <a:lnTo>
                    <a:pt x="551" y="561"/>
                  </a:lnTo>
                  <a:lnTo>
                    <a:pt x="553" y="562"/>
                  </a:lnTo>
                  <a:lnTo>
                    <a:pt x="555" y="562"/>
                  </a:lnTo>
                  <a:lnTo>
                    <a:pt x="555" y="564"/>
                  </a:lnTo>
                  <a:lnTo>
                    <a:pt x="553" y="564"/>
                  </a:lnTo>
                  <a:lnTo>
                    <a:pt x="553" y="566"/>
                  </a:lnTo>
                  <a:lnTo>
                    <a:pt x="555" y="567"/>
                  </a:lnTo>
                  <a:lnTo>
                    <a:pt x="553" y="567"/>
                  </a:lnTo>
                  <a:lnTo>
                    <a:pt x="553" y="566"/>
                  </a:lnTo>
                  <a:lnTo>
                    <a:pt x="551" y="566"/>
                  </a:lnTo>
                  <a:lnTo>
                    <a:pt x="550" y="564"/>
                  </a:lnTo>
                  <a:lnTo>
                    <a:pt x="548" y="561"/>
                  </a:lnTo>
                  <a:lnTo>
                    <a:pt x="547" y="561"/>
                  </a:lnTo>
                  <a:lnTo>
                    <a:pt x="545" y="561"/>
                  </a:lnTo>
                  <a:lnTo>
                    <a:pt x="543" y="561"/>
                  </a:lnTo>
                  <a:lnTo>
                    <a:pt x="543" y="562"/>
                  </a:lnTo>
                  <a:lnTo>
                    <a:pt x="543" y="561"/>
                  </a:lnTo>
                  <a:lnTo>
                    <a:pt x="542" y="561"/>
                  </a:lnTo>
                  <a:lnTo>
                    <a:pt x="542" y="559"/>
                  </a:lnTo>
                  <a:lnTo>
                    <a:pt x="543" y="559"/>
                  </a:lnTo>
                  <a:lnTo>
                    <a:pt x="542" y="559"/>
                  </a:lnTo>
                  <a:lnTo>
                    <a:pt x="542" y="558"/>
                  </a:lnTo>
                  <a:lnTo>
                    <a:pt x="540" y="558"/>
                  </a:lnTo>
                  <a:lnTo>
                    <a:pt x="538" y="558"/>
                  </a:lnTo>
                  <a:lnTo>
                    <a:pt x="538" y="556"/>
                  </a:lnTo>
                  <a:lnTo>
                    <a:pt x="537" y="556"/>
                  </a:lnTo>
                  <a:lnTo>
                    <a:pt x="534" y="554"/>
                  </a:lnTo>
                  <a:lnTo>
                    <a:pt x="532" y="554"/>
                  </a:lnTo>
                  <a:lnTo>
                    <a:pt x="532" y="553"/>
                  </a:lnTo>
                  <a:lnTo>
                    <a:pt x="530" y="553"/>
                  </a:lnTo>
                  <a:lnTo>
                    <a:pt x="529" y="553"/>
                  </a:lnTo>
                  <a:lnTo>
                    <a:pt x="527" y="553"/>
                  </a:lnTo>
                  <a:lnTo>
                    <a:pt x="525" y="551"/>
                  </a:lnTo>
                  <a:lnTo>
                    <a:pt x="525" y="549"/>
                  </a:lnTo>
                  <a:lnTo>
                    <a:pt x="524" y="549"/>
                  </a:lnTo>
                  <a:lnTo>
                    <a:pt x="522" y="548"/>
                  </a:lnTo>
                  <a:lnTo>
                    <a:pt x="521" y="548"/>
                  </a:lnTo>
                  <a:lnTo>
                    <a:pt x="521" y="546"/>
                  </a:lnTo>
                  <a:lnTo>
                    <a:pt x="519" y="545"/>
                  </a:lnTo>
                  <a:lnTo>
                    <a:pt x="521" y="543"/>
                  </a:lnTo>
                  <a:lnTo>
                    <a:pt x="519" y="543"/>
                  </a:lnTo>
                  <a:lnTo>
                    <a:pt x="521" y="541"/>
                  </a:lnTo>
                  <a:lnTo>
                    <a:pt x="519" y="541"/>
                  </a:lnTo>
                  <a:lnTo>
                    <a:pt x="519" y="540"/>
                  </a:lnTo>
                  <a:lnTo>
                    <a:pt x="517" y="540"/>
                  </a:lnTo>
                  <a:lnTo>
                    <a:pt x="517" y="538"/>
                  </a:lnTo>
                  <a:lnTo>
                    <a:pt x="516" y="540"/>
                  </a:lnTo>
                  <a:lnTo>
                    <a:pt x="514" y="540"/>
                  </a:lnTo>
                  <a:lnTo>
                    <a:pt x="512" y="540"/>
                  </a:lnTo>
                  <a:lnTo>
                    <a:pt x="512" y="538"/>
                  </a:lnTo>
                  <a:lnTo>
                    <a:pt x="511" y="538"/>
                  </a:lnTo>
                  <a:lnTo>
                    <a:pt x="509" y="538"/>
                  </a:lnTo>
                  <a:lnTo>
                    <a:pt x="508" y="536"/>
                  </a:lnTo>
                  <a:lnTo>
                    <a:pt x="508" y="538"/>
                  </a:lnTo>
                  <a:lnTo>
                    <a:pt x="506" y="538"/>
                  </a:lnTo>
                  <a:lnTo>
                    <a:pt x="506" y="536"/>
                  </a:lnTo>
                  <a:lnTo>
                    <a:pt x="504" y="536"/>
                  </a:lnTo>
                  <a:lnTo>
                    <a:pt x="503" y="536"/>
                  </a:lnTo>
                  <a:lnTo>
                    <a:pt x="501" y="536"/>
                  </a:lnTo>
                  <a:lnTo>
                    <a:pt x="503" y="536"/>
                  </a:lnTo>
                  <a:lnTo>
                    <a:pt x="501" y="535"/>
                  </a:lnTo>
                  <a:lnTo>
                    <a:pt x="503" y="535"/>
                  </a:lnTo>
                  <a:lnTo>
                    <a:pt x="504" y="535"/>
                  </a:lnTo>
                  <a:lnTo>
                    <a:pt x="503" y="535"/>
                  </a:lnTo>
                  <a:lnTo>
                    <a:pt x="503" y="533"/>
                  </a:lnTo>
                  <a:lnTo>
                    <a:pt x="504" y="533"/>
                  </a:lnTo>
                  <a:lnTo>
                    <a:pt x="506" y="533"/>
                  </a:lnTo>
                  <a:lnTo>
                    <a:pt x="508" y="533"/>
                  </a:lnTo>
                  <a:lnTo>
                    <a:pt x="506" y="533"/>
                  </a:lnTo>
                  <a:lnTo>
                    <a:pt x="504" y="533"/>
                  </a:lnTo>
                  <a:lnTo>
                    <a:pt x="503" y="533"/>
                  </a:lnTo>
                  <a:lnTo>
                    <a:pt x="501" y="533"/>
                  </a:lnTo>
                  <a:lnTo>
                    <a:pt x="501" y="532"/>
                  </a:lnTo>
                  <a:lnTo>
                    <a:pt x="499" y="532"/>
                  </a:lnTo>
                  <a:lnTo>
                    <a:pt x="499" y="530"/>
                  </a:lnTo>
                  <a:lnTo>
                    <a:pt x="499" y="532"/>
                  </a:lnTo>
                  <a:lnTo>
                    <a:pt x="498" y="532"/>
                  </a:lnTo>
                  <a:lnTo>
                    <a:pt x="496" y="532"/>
                  </a:lnTo>
                  <a:lnTo>
                    <a:pt x="496" y="530"/>
                  </a:lnTo>
                  <a:lnTo>
                    <a:pt x="495" y="532"/>
                  </a:lnTo>
                  <a:lnTo>
                    <a:pt x="495" y="530"/>
                  </a:lnTo>
                  <a:lnTo>
                    <a:pt x="493" y="530"/>
                  </a:lnTo>
                  <a:lnTo>
                    <a:pt x="491" y="528"/>
                  </a:lnTo>
                  <a:lnTo>
                    <a:pt x="490" y="528"/>
                  </a:lnTo>
                  <a:lnTo>
                    <a:pt x="490" y="527"/>
                  </a:lnTo>
                  <a:lnTo>
                    <a:pt x="488" y="527"/>
                  </a:lnTo>
                  <a:lnTo>
                    <a:pt x="486" y="527"/>
                  </a:lnTo>
                  <a:lnTo>
                    <a:pt x="486" y="525"/>
                  </a:lnTo>
                  <a:lnTo>
                    <a:pt x="485" y="525"/>
                  </a:lnTo>
                  <a:lnTo>
                    <a:pt x="483" y="525"/>
                  </a:lnTo>
                  <a:lnTo>
                    <a:pt x="482" y="523"/>
                  </a:lnTo>
                  <a:lnTo>
                    <a:pt x="480" y="522"/>
                  </a:lnTo>
                  <a:lnTo>
                    <a:pt x="480" y="520"/>
                  </a:lnTo>
                  <a:lnTo>
                    <a:pt x="482" y="520"/>
                  </a:lnTo>
                  <a:lnTo>
                    <a:pt x="482" y="519"/>
                  </a:lnTo>
                  <a:lnTo>
                    <a:pt x="482" y="520"/>
                  </a:lnTo>
                  <a:lnTo>
                    <a:pt x="480" y="520"/>
                  </a:lnTo>
                  <a:lnTo>
                    <a:pt x="478" y="520"/>
                  </a:lnTo>
                  <a:lnTo>
                    <a:pt x="477" y="520"/>
                  </a:lnTo>
                  <a:lnTo>
                    <a:pt x="477" y="519"/>
                  </a:lnTo>
                  <a:lnTo>
                    <a:pt x="477" y="517"/>
                  </a:lnTo>
                  <a:lnTo>
                    <a:pt x="475" y="519"/>
                  </a:lnTo>
                  <a:lnTo>
                    <a:pt x="475" y="517"/>
                  </a:lnTo>
                  <a:lnTo>
                    <a:pt x="473" y="519"/>
                  </a:lnTo>
                  <a:lnTo>
                    <a:pt x="473" y="517"/>
                  </a:lnTo>
                  <a:lnTo>
                    <a:pt x="472" y="517"/>
                  </a:lnTo>
                  <a:lnTo>
                    <a:pt x="472" y="519"/>
                  </a:lnTo>
                  <a:lnTo>
                    <a:pt x="472" y="520"/>
                  </a:lnTo>
                  <a:lnTo>
                    <a:pt x="470" y="520"/>
                  </a:lnTo>
                  <a:lnTo>
                    <a:pt x="469" y="520"/>
                  </a:lnTo>
                  <a:lnTo>
                    <a:pt x="469" y="519"/>
                  </a:lnTo>
                  <a:lnTo>
                    <a:pt x="467" y="517"/>
                  </a:lnTo>
                  <a:lnTo>
                    <a:pt x="465" y="517"/>
                  </a:lnTo>
                  <a:lnTo>
                    <a:pt x="464" y="517"/>
                  </a:lnTo>
                  <a:lnTo>
                    <a:pt x="462" y="515"/>
                  </a:lnTo>
                  <a:lnTo>
                    <a:pt x="460" y="514"/>
                  </a:lnTo>
                  <a:lnTo>
                    <a:pt x="460" y="515"/>
                  </a:lnTo>
                  <a:lnTo>
                    <a:pt x="462" y="515"/>
                  </a:lnTo>
                  <a:lnTo>
                    <a:pt x="464" y="515"/>
                  </a:lnTo>
                  <a:lnTo>
                    <a:pt x="464" y="517"/>
                  </a:lnTo>
                  <a:lnTo>
                    <a:pt x="465" y="517"/>
                  </a:lnTo>
                  <a:lnTo>
                    <a:pt x="465" y="519"/>
                  </a:lnTo>
                  <a:lnTo>
                    <a:pt x="467" y="519"/>
                  </a:lnTo>
                  <a:lnTo>
                    <a:pt x="467" y="520"/>
                  </a:lnTo>
                  <a:lnTo>
                    <a:pt x="469" y="520"/>
                  </a:lnTo>
                  <a:lnTo>
                    <a:pt x="469" y="522"/>
                  </a:lnTo>
                  <a:lnTo>
                    <a:pt x="469" y="523"/>
                  </a:lnTo>
                  <a:lnTo>
                    <a:pt x="467" y="523"/>
                  </a:lnTo>
                  <a:lnTo>
                    <a:pt x="467" y="522"/>
                  </a:lnTo>
                  <a:lnTo>
                    <a:pt x="467" y="520"/>
                  </a:lnTo>
                  <a:lnTo>
                    <a:pt x="467" y="519"/>
                  </a:lnTo>
                  <a:lnTo>
                    <a:pt x="465" y="520"/>
                  </a:lnTo>
                  <a:lnTo>
                    <a:pt x="464" y="520"/>
                  </a:lnTo>
                  <a:lnTo>
                    <a:pt x="464" y="519"/>
                  </a:lnTo>
                  <a:lnTo>
                    <a:pt x="464" y="520"/>
                  </a:lnTo>
                  <a:lnTo>
                    <a:pt x="462" y="520"/>
                  </a:lnTo>
                  <a:lnTo>
                    <a:pt x="462" y="519"/>
                  </a:lnTo>
                  <a:lnTo>
                    <a:pt x="460" y="519"/>
                  </a:lnTo>
                  <a:lnTo>
                    <a:pt x="459" y="519"/>
                  </a:lnTo>
                  <a:lnTo>
                    <a:pt x="459" y="517"/>
                  </a:lnTo>
                  <a:lnTo>
                    <a:pt x="459" y="519"/>
                  </a:lnTo>
                  <a:lnTo>
                    <a:pt x="457" y="519"/>
                  </a:lnTo>
                  <a:lnTo>
                    <a:pt x="456" y="517"/>
                  </a:lnTo>
                  <a:lnTo>
                    <a:pt x="454" y="517"/>
                  </a:lnTo>
                  <a:lnTo>
                    <a:pt x="452" y="517"/>
                  </a:lnTo>
                  <a:lnTo>
                    <a:pt x="449" y="515"/>
                  </a:lnTo>
                  <a:lnTo>
                    <a:pt x="447" y="515"/>
                  </a:lnTo>
                  <a:lnTo>
                    <a:pt x="446" y="515"/>
                  </a:lnTo>
                  <a:lnTo>
                    <a:pt x="444" y="515"/>
                  </a:lnTo>
                  <a:lnTo>
                    <a:pt x="441" y="514"/>
                  </a:lnTo>
                  <a:lnTo>
                    <a:pt x="439" y="514"/>
                  </a:lnTo>
                  <a:lnTo>
                    <a:pt x="438" y="514"/>
                  </a:lnTo>
                  <a:lnTo>
                    <a:pt x="436" y="514"/>
                  </a:lnTo>
                  <a:lnTo>
                    <a:pt x="436" y="512"/>
                  </a:lnTo>
                  <a:lnTo>
                    <a:pt x="434" y="512"/>
                  </a:lnTo>
                  <a:lnTo>
                    <a:pt x="433" y="512"/>
                  </a:lnTo>
                  <a:lnTo>
                    <a:pt x="433" y="510"/>
                  </a:lnTo>
                  <a:lnTo>
                    <a:pt x="434" y="510"/>
                  </a:lnTo>
                  <a:lnTo>
                    <a:pt x="434" y="509"/>
                  </a:lnTo>
                  <a:lnTo>
                    <a:pt x="433" y="509"/>
                  </a:lnTo>
                  <a:lnTo>
                    <a:pt x="431" y="507"/>
                  </a:lnTo>
                  <a:lnTo>
                    <a:pt x="429" y="507"/>
                  </a:lnTo>
                  <a:lnTo>
                    <a:pt x="429" y="506"/>
                  </a:lnTo>
                  <a:lnTo>
                    <a:pt x="428" y="506"/>
                  </a:lnTo>
                  <a:lnTo>
                    <a:pt x="428" y="507"/>
                  </a:lnTo>
                  <a:lnTo>
                    <a:pt x="426" y="507"/>
                  </a:lnTo>
                  <a:lnTo>
                    <a:pt x="425" y="507"/>
                  </a:lnTo>
                  <a:lnTo>
                    <a:pt x="425" y="506"/>
                  </a:lnTo>
                  <a:lnTo>
                    <a:pt x="423" y="506"/>
                  </a:lnTo>
                  <a:lnTo>
                    <a:pt x="421" y="504"/>
                  </a:lnTo>
                  <a:lnTo>
                    <a:pt x="420" y="504"/>
                  </a:lnTo>
                  <a:lnTo>
                    <a:pt x="418" y="504"/>
                  </a:lnTo>
                  <a:lnTo>
                    <a:pt x="416" y="502"/>
                  </a:lnTo>
                  <a:lnTo>
                    <a:pt x="415" y="502"/>
                  </a:lnTo>
                  <a:lnTo>
                    <a:pt x="413" y="502"/>
                  </a:lnTo>
                  <a:lnTo>
                    <a:pt x="412" y="501"/>
                  </a:lnTo>
                  <a:lnTo>
                    <a:pt x="410" y="501"/>
                  </a:lnTo>
                  <a:lnTo>
                    <a:pt x="410" y="499"/>
                  </a:lnTo>
                  <a:lnTo>
                    <a:pt x="408" y="499"/>
                  </a:lnTo>
                  <a:lnTo>
                    <a:pt x="407" y="499"/>
                  </a:lnTo>
                  <a:lnTo>
                    <a:pt x="405" y="499"/>
                  </a:lnTo>
                  <a:lnTo>
                    <a:pt x="405" y="501"/>
                  </a:lnTo>
                  <a:lnTo>
                    <a:pt x="403" y="501"/>
                  </a:lnTo>
                  <a:lnTo>
                    <a:pt x="402" y="501"/>
                  </a:lnTo>
                  <a:lnTo>
                    <a:pt x="400" y="501"/>
                  </a:lnTo>
                  <a:lnTo>
                    <a:pt x="399" y="501"/>
                  </a:lnTo>
                  <a:lnTo>
                    <a:pt x="397" y="499"/>
                  </a:lnTo>
                  <a:lnTo>
                    <a:pt x="397" y="501"/>
                  </a:lnTo>
                  <a:lnTo>
                    <a:pt x="395" y="499"/>
                  </a:lnTo>
                  <a:lnTo>
                    <a:pt x="394" y="499"/>
                  </a:lnTo>
                  <a:lnTo>
                    <a:pt x="392" y="499"/>
                  </a:lnTo>
                  <a:lnTo>
                    <a:pt x="390" y="497"/>
                  </a:lnTo>
                  <a:lnTo>
                    <a:pt x="389" y="497"/>
                  </a:lnTo>
                  <a:lnTo>
                    <a:pt x="387" y="497"/>
                  </a:lnTo>
                  <a:lnTo>
                    <a:pt x="386" y="497"/>
                  </a:lnTo>
                  <a:lnTo>
                    <a:pt x="386" y="496"/>
                  </a:lnTo>
                  <a:lnTo>
                    <a:pt x="387" y="497"/>
                  </a:lnTo>
                  <a:lnTo>
                    <a:pt x="387" y="496"/>
                  </a:lnTo>
                  <a:lnTo>
                    <a:pt x="387" y="494"/>
                  </a:lnTo>
                  <a:lnTo>
                    <a:pt x="389" y="494"/>
                  </a:lnTo>
                  <a:lnTo>
                    <a:pt x="387" y="494"/>
                  </a:lnTo>
                  <a:lnTo>
                    <a:pt x="389" y="494"/>
                  </a:lnTo>
                  <a:lnTo>
                    <a:pt x="387" y="494"/>
                  </a:lnTo>
                  <a:lnTo>
                    <a:pt x="386" y="494"/>
                  </a:lnTo>
                  <a:lnTo>
                    <a:pt x="386" y="492"/>
                  </a:lnTo>
                  <a:lnTo>
                    <a:pt x="387" y="492"/>
                  </a:lnTo>
                  <a:lnTo>
                    <a:pt x="386" y="492"/>
                  </a:lnTo>
                  <a:lnTo>
                    <a:pt x="387" y="492"/>
                  </a:lnTo>
                  <a:lnTo>
                    <a:pt x="386" y="492"/>
                  </a:lnTo>
                  <a:lnTo>
                    <a:pt x="386" y="491"/>
                  </a:lnTo>
                  <a:close/>
                  <a:moveTo>
                    <a:pt x="452" y="483"/>
                  </a:moveTo>
                  <a:lnTo>
                    <a:pt x="454" y="484"/>
                  </a:lnTo>
                  <a:lnTo>
                    <a:pt x="456" y="483"/>
                  </a:lnTo>
                  <a:lnTo>
                    <a:pt x="457" y="483"/>
                  </a:lnTo>
                  <a:lnTo>
                    <a:pt x="459" y="488"/>
                  </a:lnTo>
                  <a:lnTo>
                    <a:pt x="462" y="494"/>
                  </a:lnTo>
                  <a:lnTo>
                    <a:pt x="456" y="497"/>
                  </a:lnTo>
                  <a:lnTo>
                    <a:pt x="454" y="499"/>
                  </a:lnTo>
                  <a:lnTo>
                    <a:pt x="449" y="501"/>
                  </a:lnTo>
                  <a:lnTo>
                    <a:pt x="447" y="501"/>
                  </a:lnTo>
                  <a:lnTo>
                    <a:pt x="446" y="501"/>
                  </a:lnTo>
                  <a:lnTo>
                    <a:pt x="444" y="501"/>
                  </a:lnTo>
                  <a:lnTo>
                    <a:pt x="442" y="501"/>
                  </a:lnTo>
                  <a:lnTo>
                    <a:pt x="444" y="501"/>
                  </a:lnTo>
                  <a:lnTo>
                    <a:pt x="442" y="501"/>
                  </a:lnTo>
                  <a:lnTo>
                    <a:pt x="441" y="499"/>
                  </a:lnTo>
                  <a:lnTo>
                    <a:pt x="439" y="499"/>
                  </a:lnTo>
                  <a:lnTo>
                    <a:pt x="439" y="497"/>
                  </a:lnTo>
                  <a:lnTo>
                    <a:pt x="438" y="497"/>
                  </a:lnTo>
                  <a:lnTo>
                    <a:pt x="438" y="496"/>
                  </a:lnTo>
                  <a:lnTo>
                    <a:pt x="436" y="496"/>
                  </a:lnTo>
                  <a:lnTo>
                    <a:pt x="434" y="494"/>
                  </a:lnTo>
                  <a:lnTo>
                    <a:pt x="436" y="494"/>
                  </a:lnTo>
                  <a:lnTo>
                    <a:pt x="436" y="492"/>
                  </a:lnTo>
                  <a:lnTo>
                    <a:pt x="434" y="492"/>
                  </a:lnTo>
                  <a:lnTo>
                    <a:pt x="434" y="491"/>
                  </a:lnTo>
                  <a:lnTo>
                    <a:pt x="433" y="489"/>
                  </a:lnTo>
                  <a:lnTo>
                    <a:pt x="433" y="491"/>
                  </a:lnTo>
                  <a:lnTo>
                    <a:pt x="431" y="491"/>
                  </a:lnTo>
                  <a:lnTo>
                    <a:pt x="433" y="489"/>
                  </a:lnTo>
                  <a:lnTo>
                    <a:pt x="434" y="489"/>
                  </a:lnTo>
                  <a:lnTo>
                    <a:pt x="434" y="488"/>
                  </a:lnTo>
                  <a:lnTo>
                    <a:pt x="436" y="488"/>
                  </a:lnTo>
                  <a:lnTo>
                    <a:pt x="438" y="486"/>
                  </a:lnTo>
                  <a:lnTo>
                    <a:pt x="439" y="486"/>
                  </a:lnTo>
                  <a:lnTo>
                    <a:pt x="442" y="488"/>
                  </a:lnTo>
                  <a:lnTo>
                    <a:pt x="442" y="489"/>
                  </a:lnTo>
                  <a:lnTo>
                    <a:pt x="444" y="489"/>
                  </a:lnTo>
                  <a:lnTo>
                    <a:pt x="446" y="489"/>
                  </a:lnTo>
                  <a:lnTo>
                    <a:pt x="447" y="489"/>
                  </a:lnTo>
                  <a:lnTo>
                    <a:pt x="447" y="488"/>
                  </a:lnTo>
                  <a:lnTo>
                    <a:pt x="449" y="488"/>
                  </a:lnTo>
                  <a:lnTo>
                    <a:pt x="451" y="484"/>
                  </a:lnTo>
                  <a:lnTo>
                    <a:pt x="452" y="484"/>
                  </a:lnTo>
                  <a:lnTo>
                    <a:pt x="452" y="483"/>
                  </a:lnTo>
                  <a:close/>
                  <a:moveTo>
                    <a:pt x="299" y="494"/>
                  </a:moveTo>
                  <a:lnTo>
                    <a:pt x="298" y="494"/>
                  </a:lnTo>
                  <a:lnTo>
                    <a:pt x="299" y="494"/>
                  </a:lnTo>
                  <a:lnTo>
                    <a:pt x="299" y="496"/>
                  </a:lnTo>
                  <a:lnTo>
                    <a:pt x="299" y="494"/>
                  </a:lnTo>
                  <a:lnTo>
                    <a:pt x="299" y="496"/>
                  </a:lnTo>
                  <a:lnTo>
                    <a:pt x="301" y="494"/>
                  </a:lnTo>
                  <a:lnTo>
                    <a:pt x="299" y="496"/>
                  </a:lnTo>
                  <a:lnTo>
                    <a:pt x="299" y="497"/>
                  </a:lnTo>
                  <a:lnTo>
                    <a:pt x="301" y="497"/>
                  </a:lnTo>
                  <a:lnTo>
                    <a:pt x="301" y="496"/>
                  </a:lnTo>
                  <a:lnTo>
                    <a:pt x="303" y="496"/>
                  </a:lnTo>
                  <a:lnTo>
                    <a:pt x="303" y="494"/>
                  </a:lnTo>
                  <a:lnTo>
                    <a:pt x="303" y="496"/>
                  </a:lnTo>
                  <a:lnTo>
                    <a:pt x="303" y="494"/>
                  </a:lnTo>
                  <a:lnTo>
                    <a:pt x="304" y="494"/>
                  </a:lnTo>
                  <a:lnTo>
                    <a:pt x="306" y="494"/>
                  </a:lnTo>
                  <a:lnTo>
                    <a:pt x="304" y="494"/>
                  </a:lnTo>
                  <a:lnTo>
                    <a:pt x="306" y="494"/>
                  </a:lnTo>
                  <a:lnTo>
                    <a:pt x="304" y="496"/>
                  </a:lnTo>
                  <a:lnTo>
                    <a:pt x="306" y="496"/>
                  </a:lnTo>
                  <a:lnTo>
                    <a:pt x="306" y="494"/>
                  </a:lnTo>
                  <a:lnTo>
                    <a:pt x="306" y="496"/>
                  </a:lnTo>
                  <a:lnTo>
                    <a:pt x="308" y="496"/>
                  </a:lnTo>
                  <a:lnTo>
                    <a:pt x="306" y="496"/>
                  </a:lnTo>
                  <a:lnTo>
                    <a:pt x="306" y="497"/>
                  </a:lnTo>
                  <a:lnTo>
                    <a:pt x="308" y="496"/>
                  </a:lnTo>
                  <a:lnTo>
                    <a:pt x="306" y="497"/>
                  </a:lnTo>
                  <a:lnTo>
                    <a:pt x="304" y="499"/>
                  </a:lnTo>
                  <a:lnTo>
                    <a:pt x="304" y="501"/>
                  </a:lnTo>
                  <a:lnTo>
                    <a:pt x="304" y="502"/>
                  </a:lnTo>
                  <a:lnTo>
                    <a:pt x="303" y="502"/>
                  </a:lnTo>
                  <a:lnTo>
                    <a:pt x="301" y="502"/>
                  </a:lnTo>
                  <a:lnTo>
                    <a:pt x="299" y="502"/>
                  </a:lnTo>
                  <a:lnTo>
                    <a:pt x="299" y="504"/>
                  </a:lnTo>
                  <a:lnTo>
                    <a:pt x="298" y="502"/>
                  </a:lnTo>
                  <a:lnTo>
                    <a:pt x="298" y="504"/>
                  </a:lnTo>
                  <a:lnTo>
                    <a:pt x="296" y="504"/>
                  </a:lnTo>
                  <a:lnTo>
                    <a:pt x="294" y="504"/>
                  </a:lnTo>
                  <a:lnTo>
                    <a:pt x="293" y="504"/>
                  </a:lnTo>
                  <a:lnTo>
                    <a:pt x="293" y="506"/>
                  </a:lnTo>
                  <a:lnTo>
                    <a:pt x="291" y="506"/>
                  </a:lnTo>
                  <a:lnTo>
                    <a:pt x="290" y="506"/>
                  </a:lnTo>
                  <a:lnTo>
                    <a:pt x="288" y="506"/>
                  </a:lnTo>
                  <a:lnTo>
                    <a:pt x="288" y="504"/>
                  </a:lnTo>
                  <a:lnTo>
                    <a:pt x="290" y="504"/>
                  </a:lnTo>
                  <a:lnTo>
                    <a:pt x="290" y="502"/>
                  </a:lnTo>
                  <a:lnTo>
                    <a:pt x="290" y="501"/>
                  </a:lnTo>
                  <a:lnTo>
                    <a:pt x="290" y="499"/>
                  </a:lnTo>
                  <a:lnTo>
                    <a:pt x="288" y="499"/>
                  </a:lnTo>
                  <a:lnTo>
                    <a:pt x="286" y="501"/>
                  </a:lnTo>
                  <a:lnTo>
                    <a:pt x="286" y="499"/>
                  </a:lnTo>
                  <a:lnTo>
                    <a:pt x="285" y="499"/>
                  </a:lnTo>
                  <a:lnTo>
                    <a:pt x="286" y="499"/>
                  </a:lnTo>
                  <a:lnTo>
                    <a:pt x="286" y="497"/>
                  </a:lnTo>
                  <a:lnTo>
                    <a:pt x="288" y="497"/>
                  </a:lnTo>
                  <a:lnTo>
                    <a:pt x="288" y="496"/>
                  </a:lnTo>
                  <a:lnTo>
                    <a:pt x="290" y="496"/>
                  </a:lnTo>
                  <a:lnTo>
                    <a:pt x="291" y="496"/>
                  </a:lnTo>
                  <a:lnTo>
                    <a:pt x="293" y="496"/>
                  </a:lnTo>
                  <a:lnTo>
                    <a:pt x="293" y="494"/>
                  </a:lnTo>
                  <a:lnTo>
                    <a:pt x="293" y="496"/>
                  </a:lnTo>
                  <a:lnTo>
                    <a:pt x="294" y="494"/>
                  </a:lnTo>
                  <a:lnTo>
                    <a:pt x="296" y="494"/>
                  </a:lnTo>
                  <a:lnTo>
                    <a:pt x="298" y="494"/>
                  </a:lnTo>
                  <a:lnTo>
                    <a:pt x="299" y="494"/>
                  </a:lnTo>
                  <a:close/>
                  <a:moveTo>
                    <a:pt x="351" y="488"/>
                  </a:moveTo>
                  <a:lnTo>
                    <a:pt x="353" y="488"/>
                  </a:lnTo>
                  <a:lnTo>
                    <a:pt x="355" y="488"/>
                  </a:lnTo>
                  <a:lnTo>
                    <a:pt x="356" y="488"/>
                  </a:lnTo>
                  <a:lnTo>
                    <a:pt x="358" y="488"/>
                  </a:lnTo>
                  <a:lnTo>
                    <a:pt x="356" y="489"/>
                  </a:lnTo>
                  <a:lnTo>
                    <a:pt x="356" y="488"/>
                  </a:lnTo>
                  <a:lnTo>
                    <a:pt x="356" y="489"/>
                  </a:lnTo>
                  <a:lnTo>
                    <a:pt x="356" y="488"/>
                  </a:lnTo>
                  <a:lnTo>
                    <a:pt x="356" y="489"/>
                  </a:lnTo>
                  <a:lnTo>
                    <a:pt x="356" y="488"/>
                  </a:lnTo>
                  <a:lnTo>
                    <a:pt x="356" y="489"/>
                  </a:lnTo>
                  <a:lnTo>
                    <a:pt x="355" y="489"/>
                  </a:lnTo>
                  <a:lnTo>
                    <a:pt x="353" y="489"/>
                  </a:lnTo>
                  <a:lnTo>
                    <a:pt x="351" y="489"/>
                  </a:lnTo>
                  <a:lnTo>
                    <a:pt x="350" y="489"/>
                  </a:lnTo>
                  <a:lnTo>
                    <a:pt x="348" y="489"/>
                  </a:lnTo>
                  <a:lnTo>
                    <a:pt x="348" y="488"/>
                  </a:lnTo>
                  <a:lnTo>
                    <a:pt x="350" y="488"/>
                  </a:lnTo>
                  <a:lnTo>
                    <a:pt x="351" y="488"/>
                  </a:lnTo>
                  <a:lnTo>
                    <a:pt x="350" y="488"/>
                  </a:lnTo>
                  <a:lnTo>
                    <a:pt x="351" y="488"/>
                  </a:lnTo>
                  <a:lnTo>
                    <a:pt x="351" y="486"/>
                  </a:lnTo>
                  <a:lnTo>
                    <a:pt x="351" y="488"/>
                  </a:lnTo>
                  <a:close/>
                  <a:moveTo>
                    <a:pt x="317" y="481"/>
                  </a:moveTo>
                  <a:lnTo>
                    <a:pt x="317" y="483"/>
                  </a:lnTo>
                  <a:lnTo>
                    <a:pt x="316" y="483"/>
                  </a:lnTo>
                  <a:lnTo>
                    <a:pt x="316" y="481"/>
                  </a:lnTo>
                  <a:lnTo>
                    <a:pt x="317" y="481"/>
                  </a:lnTo>
                  <a:close/>
                  <a:moveTo>
                    <a:pt x="322" y="481"/>
                  </a:moveTo>
                  <a:lnTo>
                    <a:pt x="321" y="481"/>
                  </a:lnTo>
                  <a:lnTo>
                    <a:pt x="322" y="481"/>
                  </a:lnTo>
                  <a:close/>
                  <a:moveTo>
                    <a:pt x="324" y="479"/>
                  </a:moveTo>
                  <a:lnTo>
                    <a:pt x="324" y="481"/>
                  </a:lnTo>
                  <a:lnTo>
                    <a:pt x="325" y="481"/>
                  </a:lnTo>
                  <a:lnTo>
                    <a:pt x="324" y="481"/>
                  </a:lnTo>
                  <a:lnTo>
                    <a:pt x="324" y="479"/>
                  </a:lnTo>
                  <a:close/>
                  <a:moveTo>
                    <a:pt x="322" y="481"/>
                  </a:moveTo>
                  <a:lnTo>
                    <a:pt x="322" y="479"/>
                  </a:lnTo>
                  <a:lnTo>
                    <a:pt x="322" y="481"/>
                  </a:lnTo>
                  <a:close/>
                  <a:moveTo>
                    <a:pt x="322" y="479"/>
                  </a:moveTo>
                  <a:lnTo>
                    <a:pt x="324" y="479"/>
                  </a:lnTo>
                  <a:lnTo>
                    <a:pt x="324" y="481"/>
                  </a:lnTo>
                  <a:lnTo>
                    <a:pt x="322" y="481"/>
                  </a:lnTo>
                  <a:lnTo>
                    <a:pt x="322" y="483"/>
                  </a:lnTo>
                  <a:lnTo>
                    <a:pt x="322" y="481"/>
                  </a:lnTo>
                  <a:lnTo>
                    <a:pt x="322" y="479"/>
                  </a:lnTo>
                  <a:close/>
                  <a:moveTo>
                    <a:pt x="312" y="479"/>
                  </a:moveTo>
                  <a:lnTo>
                    <a:pt x="311" y="479"/>
                  </a:lnTo>
                  <a:lnTo>
                    <a:pt x="311" y="481"/>
                  </a:lnTo>
                  <a:lnTo>
                    <a:pt x="311" y="479"/>
                  </a:lnTo>
                  <a:lnTo>
                    <a:pt x="312" y="479"/>
                  </a:lnTo>
                  <a:close/>
                  <a:moveTo>
                    <a:pt x="316" y="479"/>
                  </a:moveTo>
                  <a:lnTo>
                    <a:pt x="317" y="479"/>
                  </a:lnTo>
                  <a:lnTo>
                    <a:pt x="317" y="481"/>
                  </a:lnTo>
                  <a:lnTo>
                    <a:pt x="317" y="479"/>
                  </a:lnTo>
                  <a:lnTo>
                    <a:pt x="319" y="479"/>
                  </a:lnTo>
                  <a:lnTo>
                    <a:pt x="319" y="481"/>
                  </a:lnTo>
                  <a:lnTo>
                    <a:pt x="319" y="479"/>
                  </a:lnTo>
                  <a:lnTo>
                    <a:pt x="319" y="481"/>
                  </a:lnTo>
                  <a:lnTo>
                    <a:pt x="319" y="479"/>
                  </a:lnTo>
                  <a:lnTo>
                    <a:pt x="321" y="479"/>
                  </a:lnTo>
                  <a:lnTo>
                    <a:pt x="321" y="481"/>
                  </a:lnTo>
                  <a:lnTo>
                    <a:pt x="321" y="479"/>
                  </a:lnTo>
                  <a:lnTo>
                    <a:pt x="321" y="481"/>
                  </a:lnTo>
                  <a:lnTo>
                    <a:pt x="319" y="483"/>
                  </a:lnTo>
                  <a:lnTo>
                    <a:pt x="319" y="481"/>
                  </a:lnTo>
                  <a:lnTo>
                    <a:pt x="321" y="481"/>
                  </a:lnTo>
                  <a:lnTo>
                    <a:pt x="319" y="481"/>
                  </a:lnTo>
                  <a:lnTo>
                    <a:pt x="319" y="483"/>
                  </a:lnTo>
                  <a:lnTo>
                    <a:pt x="319" y="481"/>
                  </a:lnTo>
                  <a:lnTo>
                    <a:pt x="317" y="481"/>
                  </a:lnTo>
                  <a:lnTo>
                    <a:pt x="317" y="483"/>
                  </a:lnTo>
                  <a:lnTo>
                    <a:pt x="317" y="481"/>
                  </a:lnTo>
                  <a:lnTo>
                    <a:pt x="316" y="481"/>
                  </a:lnTo>
                  <a:lnTo>
                    <a:pt x="316" y="479"/>
                  </a:lnTo>
                  <a:lnTo>
                    <a:pt x="314" y="481"/>
                  </a:lnTo>
                  <a:lnTo>
                    <a:pt x="314" y="479"/>
                  </a:lnTo>
                  <a:lnTo>
                    <a:pt x="314" y="481"/>
                  </a:lnTo>
                  <a:lnTo>
                    <a:pt x="314" y="479"/>
                  </a:lnTo>
                  <a:lnTo>
                    <a:pt x="316" y="479"/>
                  </a:lnTo>
                  <a:close/>
                  <a:moveTo>
                    <a:pt x="351" y="473"/>
                  </a:moveTo>
                  <a:lnTo>
                    <a:pt x="351" y="475"/>
                  </a:lnTo>
                  <a:lnTo>
                    <a:pt x="350" y="475"/>
                  </a:lnTo>
                  <a:lnTo>
                    <a:pt x="351" y="473"/>
                  </a:lnTo>
                  <a:close/>
                  <a:moveTo>
                    <a:pt x="337" y="468"/>
                  </a:moveTo>
                  <a:lnTo>
                    <a:pt x="337" y="470"/>
                  </a:lnTo>
                  <a:lnTo>
                    <a:pt x="337" y="468"/>
                  </a:lnTo>
                  <a:lnTo>
                    <a:pt x="338" y="470"/>
                  </a:lnTo>
                  <a:lnTo>
                    <a:pt x="338" y="468"/>
                  </a:lnTo>
                  <a:lnTo>
                    <a:pt x="338" y="470"/>
                  </a:lnTo>
                  <a:lnTo>
                    <a:pt x="337" y="471"/>
                  </a:lnTo>
                  <a:lnTo>
                    <a:pt x="338" y="471"/>
                  </a:lnTo>
                  <a:lnTo>
                    <a:pt x="338" y="473"/>
                  </a:lnTo>
                  <a:lnTo>
                    <a:pt x="340" y="471"/>
                  </a:lnTo>
                  <a:lnTo>
                    <a:pt x="342" y="471"/>
                  </a:lnTo>
                  <a:lnTo>
                    <a:pt x="342" y="470"/>
                  </a:lnTo>
                  <a:lnTo>
                    <a:pt x="342" y="471"/>
                  </a:lnTo>
                  <a:lnTo>
                    <a:pt x="343" y="471"/>
                  </a:lnTo>
                  <a:lnTo>
                    <a:pt x="345" y="471"/>
                  </a:lnTo>
                  <a:lnTo>
                    <a:pt x="345" y="470"/>
                  </a:lnTo>
                  <a:lnTo>
                    <a:pt x="345" y="471"/>
                  </a:lnTo>
                  <a:lnTo>
                    <a:pt x="347" y="470"/>
                  </a:lnTo>
                  <a:lnTo>
                    <a:pt x="347" y="471"/>
                  </a:lnTo>
                  <a:lnTo>
                    <a:pt x="348" y="471"/>
                  </a:lnTo>
                  <a:lnTo>
                    <a:pt x="348" y="473"/>
                  </a:lnTo>
                  <a:lnTo>
                    <a:pt x="350" y="473"/>
                  </a:lnTo>
                  <a:lnTo>
                    <a:pt x="350" y="475"/>
                  </a:lnTo>
                  <a:lnTo>
                    <a:pt x="351" y="475"/>
                  </a:lnTo>
                  <a:lnTo>
                    <a:pt x="351" y="476"/>
                  </a:lnTo>
                  <a:lnTo>
                    <a:pt x="351" y="475"/>
                  </a:lnTo>
                  <a:lnTo>
                    <a:pt x="351" y="476"/>
                  </a:lnTo>
                  <a:lnTo>
                    <a:pt x="350" y="476"/>
                  </a:lnTo>
                  <a:lnTo>
                    <a:pt x="351" y="476"/>
                  </a:lnTo>
                  <a:lnTo>
                    <a:pt x="351" y="478"/>
                  </a:lnTo>
                  <a:lnTo>
                    <a:pt x="353" y="478"/>
                  </a:lnTo>
                  <a:lnTo>
                    <a:pt x="355" y="478"/>
                  </a:lnTo>
                  <a:lnTo>
                    <a:pt x="356" y="478"/>
                  </a:lnTo>
                  <a:lnTo>
                    <a:pt x="356" y="476"/>
                  </a:lnTo>
                  <a:lnTo>
                    <a:pt x="356" y="478"/>
                  </a:lnTo>
                  <a:lnTo>
                    <a:pt x="358" y="478"/>
                  </a:lnTo>
                  <a:lnTo>
                    <a:pt x="358" y="476"/>
                  </a:lnTo>
                  <a:lnTo>
                    <a:pt x="358" y="478"/>
                  </a:lnTo>
                  <a:lnTo>
                    <a:pt x="360" y="478"/>
                  </a:lnTo>
                  <a:lnTo>
                    <a:pt x="361" y="478"/>
                  </a:lnTo>
                  <a:lnTo>
                    <a:pt x="364" y="478"/>
                  </a:lnTo>
                  <a:lnTo>
                    <a:pt x="364" y="476"/>
                  </a:lnTo>
                  <a:lnTo>
                    <a:pt x="366" y="476"/>
                  </a:lnTo>
                  <a:lnTo>
                    <a:pt x="366" y="478"/>
                  </a:lnTo>
                  <a:lnTo>
                    <a:pt x="368" y="478"/>
                  </a:lnTo>
                  <a:lnTo>
                    <a:pt x="368" y="476"/>
                  </a:lnTo>
                  <a:lnTo>
                    <a:pt x="369" y="476"/>
                  </a:lnTo>
                  <a:lnTo>
                    <a:pt x="371" y="476"/>
                  </a:lnTo>
                  <a:lnTo>
                    <a:pt x="371" y="478"/>
                  </a:lnTo>
                  <a:lnTo>
                    <a:pt x="373" y="476"/>
                  </a:lnTo>
                  <a:lnTo>
                    <a:pt x="373" y="478"/>
                  </a:lnTo>
                  <a:lnTo>
                    <a:pt x="374" y="478"/>
                  </a:lnTo>
                  <a:lnTo>
                    <a:pt x="374" y="476"/>
                  </a:lnTo>
                  <a:lnTo>
                    <a:pt x="374" y="478"/>
                  </a:lnTo>
                  <a:lnTo>
                    <a:pt x="376" y="476"/>
                  </a:lnTo>
                  <a:lnTo>
                    <a:pt x="379" y="476"/>
                  </a:lnTo>
                  <a:lnTo>
                    <a:pt x="382" y="476"/>
                  </a:lnTo>
                  <a:lnTo>
                    <a:pt x="382" y="478"/>
                  </a:lnTo>
                  <a:lnTo>
                    <a:pt x="384" y="478"/>
                  </a:lnTo>
                  <a:lnTo>
                    <a:pt x="386" y="478"/>
                  </a:lnTo>
                  <a:lnTo>
                    <a:pt x="387" y="478"/>
                  </a:lnTo>
                  <a:lnTo>
                    <a:pt x="389" y="478"/>
                  </a:lnTo>
                  <a:lnTo>
                    <a:pt x="390" y="478"/>
                  </a:lnTo>
                  <a:lnTo>
                    <a:pt x="394" y="478"/>
                  </a:lnTo>
                  <a:lnTo>
                    <a:pt x="395" y="478"/>
                  </a:lnTo>
                  <a:lnTo>
                    <a:pt x="397" y="478"/>
                  </a:lnTo>
                  <a:lnTo>
                    <a:pt x="399" y="476"/>
                  </a:lnTo>
                  <a:lnTo>
                    <a:pt x="403" y="478"/>
                  </a:lnTo>
                  <a:lnTo>
                    <a:pt x="405" y="478"/>
                  </a:lnTo>
                  <a:lnTo>
                    <a:pt x="403" y="478"/>
                  </a:lnTo>
                  <a:lnTo>
                    <a:pt x="403" y="479"/>
                  </a:lnTo>
                  <a:lnTo>
                    <a:pt x="400" y="479"/>
                  </a:lnTo>
                  <a:lnTo>
                    <a:pt x="399" y="479"/>
                  </a:lnTo>
                  <a:lnTo>
                    <a:pt x="397" y="479"/>
                  </a:lnTo>
                  <a:lnTo>
                    <a:pt x="395" y="481"/>
                  </a:lnTo>
                  <a:lnTo>
                    <a:pt x="394" y="479"/>
                  </a:lnTo>
                  <a:lnTo>
                    <a:pt x="394" y="481"/>
                  </a:lnTo>
                  <a:lnTo>
                    <a:pt x="392" y="481"/>
                  </a:lnTo>
                  <a:lnTo>
                    <a:pt x="390" y="481"/>
                  </a:lnTo>
                  <a:lnTo>
                    <a:pt x="389" y="481"/>
                  </a:lnTo>
                  <a:lnTo>
                    <a:pt x="387" y="481"/>
                  </a:lnTo>
                  <a:lnTo>
                    <a:pt x="386" y="481"/>
                  </a:lnTo>
                  <a:lnTo>
                    <a:pt x="384" y="481"/>
                  </a:lnTo>
                  <a:lnTo>
                    <a:pt x="382" y="481"/>
                  </a:lnTo>
                  <a:lnTo>
                    <a:pt x="381" y="481"/>
                  </a:lnTo>
                  <a:lnTo>
                    <a:pt x="381" y="483"/>
                  </a:lnTo>
                  <a:lnTo>
                    <a:pt x="379" y="483"/>
                  </a:lnTo>
                  <a:lnTo>
                    <a:pt x="377" y="483"/>
                  </a:lnTo>
                  <a:lnTo>
                    <a:pt x="376" y="483"/>
                  </a:lnTo>
                  <a:lnTo>
                    <a:pt x="374" y="483"/>
                  </a:lnTo>
                  <a:lnTo>
                    <a:pt x="373" y="483"/>
                  </a:lnTo>
                  <a:lnTo>
                    <a:pt x="371" y="483"/>
                  </a:lnTo>
                  <a:lnTo>
                    <a:pt x="369" y="483"/>
                  </a:lnTo>
                  <a:lnTo>
                    <a:pt x="366" y="483"/>
                  </a:lnTo>
                  <a:lnTo>
                    <a:pt x="364" y="483"/>
                  </a:lnTo>
                  <a:lnTo>
                    <a:pt x="361" y="483"/>
                  </a:lnTo>
                  <a:lnTo>
                    <a:pt x="356" y="483"/>
                  </a:lnTo>
                  <a:lnTo>
                    <a:pt x="355" y="483"/>
                  </a:lnTo>
                  <a:lnTo>
                    <a:pt x="353" y="483"/>
                  </a:lnTo>
                  <a:lnTo>
                    <a:pt x="351" y="483"/>
                  </a:lnTo>
                  <a:lnTo>
                    <a:pt x="351" y="484"/>
                  </a:lnTo>
                  <a:lnTo>
                    <a:pt x="348" y="484"/>
                  </a:lnTo>
                  <a:lnTo>
                    <a:pt x="347" y="483"/>
                  </a:lnTo>
                  <a:lnTo>
                    <a:pt x="345" y="483"/>
                  </a:lnTo>
                  <a:lnTo>
                    <a:pt x="343" y="483"/>
                  </a:lnTo>
                  <a:lnTo>
                    <a:pt x="342" y="483"/>
                  </a:lnTo>
                  <a:lnTo>
                    <a:pt x="340" y="483"/>
                  </a:lnTo>
                  <a:lnTo>
                    <a:pt x="338" y="483"/>
                  </a:lnTo>
                  <a:lnTo>
                    <a:pt x="337" y="483"/>
                  </a:lnTo>
                  <a:lnTo>
                    <a:pt x="335" y="483"/>
                  </a:lnTo>
                  <a:lnTo>
                    <a:pt x="335" y="481"/>
                  </a:lnTo>
                  <a:lnTo>
                    <a:pt x="334" y="481"/>
                  </a:lnTo>
                  <a:lnTo>
                    <a:pt x="332" y="481"/>
                  </a:lnTo>
                  <a:lnTo>
                    <a:pt x="330" y="479"/>
                  </a:lnTo>
                  <a:lnTo>
                    <a:pt x="329" y="479"/>
                  </a:lnTo>
                  <a:lnTo>
                    <a:pt x="329" y="481"/>
                  </a:lnTo>
                  <a:lnTo>
                    <a:pt x="327" y="481"/>
                  </a:lnTo>
                  <a:lnTo>
                    <a:pt x="327" y="479"/>
                  </a:lnTo>
                  <a:lnTo>
                    <a:pt x="325" y="479"/>
                  </a:lnTo>
                  <a:lnTo>
                    <a:pt x="324" y="479"/>
                  </a:lnTo>
                  <a:lnTo>
                    <a:pt x="324" y="478"/>
                  </a:lnTo>
                  <a:lnTo>
                    <a:pt x="322" y="478"/>
                  </a:lnTo>
                  <a:lnTo>
                    <a:pt x="321" y="478"/>
                  </a:lnTo>
                  <a:lnTo>
                    <a:pt x="319" y="478"/>
                  </a:lnTo>
                  <a:lnTo>
                    <a:pt x="317" y="476"/>
                  </a:lnTo>
                  <a:lnTo>
                    <a:pt x="319" y="476"/>
                  </a:lnTo>
                  <a:lnTo>
                    <a:pt x="321" y="476"/>
                  </a:lnTo>
                  <a:lnTo>
                    <a:pt x="322" y="476"/>
                  </a:lnTo>
                  <a:lnTo>
                    <a:pt x="322" y="475"/>
                  </a:lnTo>
                  <a:lnTo>
                    <a:pt x="322" y="476"/>
                  </a:lnTo>
                  <a:lnTo>
                    <a:pt x="322" y="475"/>
                  </a:lnTo>
                  <a:lnTo>
                    <a:pt x="324" y="475"/>
                  </a:lnTo>
                  <a:lnTo>
                    <a:pt x="324" y="476"/>
                  </a:lnTo>
                  <a:lnTo>
                    <a:pt x="324" y="475"/>
                  </a:lnTo>
                  <a:lnTo>
                    <a:pt x="324" y="476"/>
                  </a:lnTo>
                  <a:lnTo>
                    <a:pt x="324" y="475"/>
                  </a:lnTo>
                  <a:lnTo>
                    <a:pt x="325" y="475"/>
                  </a:lnTo>
                  <a:lnTo>
                    <a:pt x="325" y="473"/>
                  </a:lnTo>
                  <a:lnTo>
                    <a:pt x="327" y="473"/>
                  </a:lnTo>
                  <a:lnTo>
                    <a:pt x="327" y="475"/>
                  </a:lnTo>
                  <a:lnTo>
                    <a:pt x="327" y="473"/>
                  </a:lnTo>
                  <a:lnTo>
                    <a:pt x="329" y="473"/>
                  </a:lnTo>
                  <a:lnTo>
                    <a:pt x="330" y="473"/>
                  </a:lnTo>
                  <a:lnTo>
                    <a:pt x="332" y="473"/>
                  </a:lnTo>
                  <a:lnTo>
                    <a:pt x="334" y="473"/>
                  </a:lnTo>
                  <a:lnTo>
                    <a:pt x="334" y="475"/>
                  </a:lnTo>
                  <a:lnTo>
                    <a:pt x="335" y="475"/>
                  </a:lnTo>
                  <a:lnTo>
                    <a:pt x="337" y="476"/>
                  </a:lnTo>
                  <a:lnTo>
                    <a:pt x="338" y="476"/>
                  </a:lnTo>
                  <a:lnTo>
                    <a:pt x="340" y="476"/>
                  </a:lnTo>
                  <a:lnTo>
                    <a:pt x="340" y="475"/>
                  </a:lnTo>
                  <a:lnTo>
                    <a:pt x="338" y="475"/>
                  </a:lnTo>
                  <a:lnTo>
                    <a:pt x="338" y="473"/>
                  </a:lnTo>
                  <a:lnTo>
                    <a:pt x="337" y="473"/>
                  </a:lnTo>
                  <a:lnTo>
                    <a:pt x="337" y="471"/>
                  </a:lnTo>
                  <a:lnTo>
                    <a:pt x="335" y="471"/>
                  </a:lnTo>
                  <a:lnTo>
                    <a:pt x="335" y="473"/>
                  </a:lnTo>
                  <a:lnTo>
                    <a:pt x="334" y="471"/>
                  </a:lnTo>
                  <a:lnTo>
                    <a:pt x="332" y="470"/>
                  </a:lnTo>
                  <a:lnTo>
                    <a:pt x="334" y="470"/>
                  </a:lnTo>
                  <a:lnTo>
                    <a:pt x="335" y="470"/>
                  </a:lnTo>
                  <a:lnTo>
                    <a:pt x="335" y="468"/>
                  </a:lnTo>
                  <a:lnTo>
                    <a:pt x="337" y="470"/>
                  </a:lnTo>
                  <a:lnTo>
                    <a:pt x="337" y="468"/>
                  </a:lnTo>
                  <a:close/>
                  <a:moveTo>
                    <a:pt x="325" y="447"/>
                  </a:moveTo>
                  <a:lnTo>
                    <a:pt x="327" y="449"/>
                  </a:lnTo>
                  <a:lnTo>
                    <a:pt x="329" y="447"/>
                  </a:lnTo>
                  <a:lnTo>
                    <a:pt x="330" y="449"/>
                  </a:lnTo>
                  <a:lnTo>
                    <a:pt x="330" y="447"/>
                  </a:lnTo>
                  <a:lnTo>
                    <a:pt x="332" y="447"/>
                  </a:lnTo>
                  <a:lnTo>
                    <a:pt x="334" y="447"/>
                  </a:lnTo>
                  <a:lnTo>
                    <a:pt x="335" y="447"/>
                  </a:lnTo>
                  <a:lnTo>
                    <a:pt x="337" y="447"/>
                  </a:lnTo>
                  <a:lnTo>
                    <a:pt x="337" y="449"/>
                  </a:lnTo>
                  <a:lnTo>
                    <a:pt x="338" y="447"/>
                  </a:lnTo>
                  <a:lnTo>
                    <a:pt x="338" y="449"/>
                  </a:lnTo>
                  <a:lnTo>
                    <a:pt x="338" y="447"/>
                  </a:lnTo>
                  <a:lnTo>
                    <a:pt x="340" y="449"/>
                  </a:lnTo>
                  <a:lnTo>
                    <a:pt x="340" y="447"/>
                  </a:lnTo>
                  <a:lnTo>
                    <a:pt x="342" y="449"/>
                  </a:lnTo>
                  <a:lnTo>
                    <a:pt x="342" y="447"/>
                  </a:lnTo>
                  <a:lnTo>
                    <a:pt x="343" y="449"/>
                  </a:lnTo>
                  <a:lnTo>
                    <a:pt x="345" y="449"/>
                  </a:lnTo>
                  <a:lnTo>
                    <a:pt x="347" y="449"/>
                  </a:lnTo>
                  <a:lnTo>
                    <a:pt x="348" y="449"/>
                  </a:lnTo>
                  <a:lnTo>
                    <a:pt x="350" y="449"/>
                  </a:lnTo>
                  <a:lnTo>
                    <a:pt x="351" y="449"/>
                  </a:lnTo>
                  <a:lnTo>
                    <a:pt x="353" y="449"/>
                  </a:lnTo>
                  <a:lnTo>
                    <a:pt x="353" y="450"/>
                  </a:lnTo>
                  <a:lnTo>
                    <a:pt x="355" y="450"/>
                  </a:lnTo>
                  <a:lnTo>
                    <a:pt x="353" y="450"/>
                  </a:lnTo>
                  <a:lnTo>
                    <a:pt x="355" y="449"/>
                  </a:lnTo>
                  <a:lnTo>
                    <a:pt x="356" y="449"/>
                  </a:lnTo>
                  <a:lnTo>
                    <a:pt x="358" y="449"/>
                  </a:lnTo>
                  <a:lnTo>
                    <a:pt x="358" y="450"/>
                  </a:lnTo>
                  <a:lnTo>
                    <a:pt x="360" y="450"/>
                  </a:lnTo>
                  <a:lnTo>
                    <a:pt x="361" y="450"/>
                  </a:lnTo>
                  <a:lnTo>
                    <a:pt x="363" y="450"/>
                  </a:lnTo>
                  <a:lnTo>
                    <a:pt x="361" y="450"/>
                  </a:lnTo>
                  <a:lnTo>
                    <a:pt x="360" y="452"/>
                  </a:lnTo>
                  <a:lnTo>
                    <a:pt x="361" y="452"/>
                  </a:lnTo>
                  <a:lnTo>
                    <a:pt x="363" y="452"/>
                  </a:lnTo>
                  <a:lnTo>
                    <a:pt x="364" y="452"/>
                  </a:lnTo>
                  <a:lnTo>
                    <a:pt x="363" y="452"/>
                  </a:lnTo>
                  <a:lnTo>
                    <a:pt x="363" y="450"/>
                  </a:lnTo>
                  <a:lnTo>
                    <a:pt x="364" y="450"/>
                  </a:lnTo>
                  <a:lnTo>
                    <a:pt x="364" y="452"/>
                  </a:lnTo>
                  <a:lnTo>
                    <a:pt x="364" y="450"/>
                  </a:lnTo>
                  <a:lnTo>
                    <a:pt x="364" y="452"/>
                  </a:lnTo>
                  <a:lnTo>
                    <a:pt x="366" y="452"/>
                  </a:lnTo>
                  <a:lnTo>
                    <a:pt x="368" y="452"/>
                  </a:lnTo>
                  <a:lnTo>
                    <a:pt x="368" y="453"/>
                  </a:lnTo>
                  <a:lnTo>
                    <a:pt x="369" y="453"/>
                  </a:lnTo>
                  <a:lnTo>
                    <a:pt x="371" y="453"/>
                  </a:lnTo>
                  <a:lnTo>
                    <a:pt x="371" y="455"/>
                  </a:lnTo>
                  <a:lnTo>
                    <a:pt x="369" y="455"/>
                  </a:lnTo>
                  <a:lnTo>
                    <a:pt x="369" y="457"/>
                  </a:lnTo>
                  <a:lnTo>
                    <a:pt x="371" y="457"/>
                  </a:lnTo>
                  <a:lnTo>
                    <a:pt x="369" y="457"/>
                  </a:lnTo>
                  <a:lnTo>
                    <a:pt x="369" y="458"/>
                  </a:lnTo>
                  <a:lnTo>
                    <a:pt x="369" y="460"/>
                  </a:lnTo>
                  <a:lnTo>
                    <a:pt x="368" y="458"/>
                  </a:lnTo>
                  <a:lnTo>
                    <a:pt x="368" y="460"/>
                  </a:lnTo>
                  <a:lnTo>
                    <a:pt x="366" y="462"/>
                  </a:lnTo>
                  <a:lnTo>
                    <a:pt x="366" y="460"/>
                  </a:lnTo>
                  <a:lnTo>
                    <a:pt x="366" y="462"/>
                  </a:lnTo>
                  <a:lnTo>
                    <a:pt x="364" y="462"/>
                  </a:lnTo>
                  <a:lnTo>
                    <a:pt x="363" y="462"/>
                  </a:lnTo>
                  <a:lnTo>
                    <a:pt x="361" y="462"/>
                  </a:lnTo>
                  <a:lnTo>
                    <a:pt x="360" y="463"/>
                  </a:lnTo>
                  <a:lnTo>
                    <a:pt x="358" y="463"/>
                  </a:lnTo>
                  <a:lnTo>
                    <a:pt x="356" y="463"/>
                  </a:lnTo>
                  <a:lnTo>
                    <a:pt x="353" y="463"/>
                  </a:lnTo>
                  <a:lnTo>
                    <a:pt x="351" y="463"/>
                  </a:lnTo>
                  <a:lnTo>
                    <a:pt x="350" y="465"/>
                  </a:lnTo>
                  <a:lnTo>
                    <a:pt x="348" y="465"/>
                  </a:lnTo>
                  <a:lnTo>
                    <a:pt x="348" y="463"/>
                  </a:lnTo>
                  <a:lnTo>
                    <a:pt x="347" y="465"/>
                  </a:lnTo>
                  <a:lnTo>
                    <a:pt x="345" y="465"/>
                  </a:lnTo>
                  <a:lnTo>
                    <a:pt x="343" y="465"/>
                  </a:lnTo>
                  <a:lnTo>
                    <a:pt x="342" y="465"/>
                  </a:lnTo>
                  <a:lnTo>
                    <a:pt x="340" y="465"/>
                  </a:lnTo>
                  <a:lnTo>
                    <a:pt x="337" y="465"/>
                  </a:lnTo>
                  <a:lnTo>
                    <a:pt x="337" y="463"/>
                  </a:lnTo>
                  <a:lnTo>
                    <a:pt x="335" y="465"/>
                  </a:lnTo>
                  <a:lnTo>
                    <a:pt x="334" y="463"/>
                  </a:lnTo>
                  <a:lnTo>
                    <a:pt x="332" y="463"/>
                  </a:lnTo>
                  <a:lnTo>
                    <a:pt x="330" y="463"/>
                  </a:lnTo>
                  <a:lnTo>
                    <a:pt x="330" y="462"/>
                  </a:lnTo>
                  <a:lnTo>
                    <a:pt x="329" y="462"/>
                  </a:lnTo>
                  <a:lnTo>
                    <a:pt x="327" y="462"/>
                  </a:lnTo>
                  <a:lnTo>
                    <a:pt x="327" y="460"/>
                  </a:lnTo>
                  <a:lnTo>
                    <a:pt x="325" y="460"/>
                  </a:lnTo>
                  <a:lnTo>
                    <a:pt x="324" y="460"/>
                  </a:lnTo>
                  <a:lnTo>
                    <a:pt x="325" y="460"/>
                  </a:lnTo>
                  <a:lnTo>
                    <a:pt x="324" y="460"/>
                  </a:lnTo>
                  <a:lnTo>
                    <a:pt x="324" y="458"/>
                  </a:lnTo>
                  <a:lnTo>
                    <a:pt x="324" y="460"/>
                  </a:lnTo>
                  <a:lnTo>
                    <a:pt x="322" y="460"/>
                  </a:lnTo>
                  <a:lnTo>
                    <a:pt x="322" y="458"/>
                  </a:lnTo>
                  <a:lnTo>
                    <a:pt x="322" y="460"/>
                  </a:lnTo>
                  <a:lnTo>
                    <a:pt x="321" y="458"/>
                  </a:lnTo>
                  <a:lnTo>
                    <a:pt x="319" y="458"/>
                  </a:lnTo>
                  <a:lnTo>
                    <a:pt x="321" y="458"/>
                  </a:lnTo>
                  <a:lnTo>
                    <a:pt x="319" y="457"/>
                  </a:lnTo>
                  <a:lnTo>
                    <a:pt x="321" y="457"/>
                  </a:lnTo>
                  <a:lnTo>
                    <a:pt x="322" y="457"/>
                  </a:lnTo>
                  <a:lnTo>
                    <a:pt x="322" y="455"/>
                  </a:lnTo>
                  <a:lnTo>
                    <a:pt x="322" y="453"/>
                  </a:lnTo>
                  <a:lnTo>
                    <a:pt x="324" y="453"/>
                  </a:lnTo>
                  <a:lnTo>
                    <a:pt x="325" y="453"/>
                  </a:lnTo>
                  <a:lnTo>
                    <a:pt x="324" y="452"/>
                  </a:lnTo>
                  <a:lnTo>
                    <a:pt x="322" y="452"/>
                  </a:lnTo>
                  <a:lnTo>
                    <a:pt x="324" y="452"/>
                  </a:lnTo>
                  <a:lnTo>
                    <a:pt x="322" y="452"/>
                  </a:lnTo>
                  <a:lnTo>
                    <a:pt x="324" y="450"/>
                  </a:lnTo>
                  <a:lnTo>
                    <a:pt x="322" y="450"/>
                  </a:lnTo>
                  <a:lnTo>
                    <a:pt x="322" y="449"/>
                  </a:lnTo>
                  <a:lnTo>
                    <a:pt x="321" y="449"/>
                  </a:lnTo>
                  <a:lnTo>
                    <a:pt x="322" y="447"/>
                  </a:lnTo>
                  <a:lnTo>
                    <a:pt x="324" y="447"/>
                  </a:lnTo>
                  <a:lnTo>
                    <a:pt x="325" y="447"/>
                  </a:lnTo>
                  <a:close/>
                  <a:moveTo>
                    <a:pt x="296" y="450"/>
                  </a:moveTo>
                  <a:lnTo>
                    <a:pt x="294" y="450"/>
                  </a:lnTo>
                  <a:lnTo>
                    <a:pt x="294" y="449"/>
                  </a:lnTo>
                  <a:lnTo>
                    <a:pt x="294" y="450"/>
                  </a:lnTo>
                  <a:lnTo>
                    <a:pt x="296" y="450"/>
                  </a:lnTo>
                  <a:close/>
                  <a:moveTo>
                    <a:pt x="298" y="450"/>
                  </a:moveTo>
                  <a:lnTo>
                    <a:pt x="296" y="450"/>
                  </a:lnTo>
                  <a:lnTo>
                    <a:pt x="296" y="449"/>
                  </a:lnTo>
                  <a:lnTo>
                    <a:pt x="298" y="449"/>
                  </a:lnTo>
                  <a:lnTo>
                    <a:pt x="298" y="450"/>
                  </a:lnTo>
                  <a:close/>
                  <a:moveTo>
                    <a:pt x="296" y="449"/>
                  </a:moveTo>
                  <a:lnTo>
                    <a:pt x="294" y="449"/>
                  </a:lnTo>
                  <a:lnTo>
                    <a:pt x="296" y="449"/>
                  </a:lnTo>
                  <a:close/>
                  <a:moveTo>
                    <a:pt x="294" y="449"/>
                  </a:moveTo>
                  <a:lnTo>
                    <a:pt x="294" y="447"/>
                  </a:lnTo>
                  <a:lnTo>
                    <a:pt x="294" y="449"/>
                  </a:lnTo>
                  <a:close/>
                  <a:moveTo>
                    <a:pt x="298" y="447"/>
                  </a:moveTo>
                  <a:lnTo>
                    <a:pt x="299" y="445"/>
                  </a:lnTo>
                  <a:lnTo>
                    <a:pt x="303" y="445"/>
                  </a:lnTo>
                  <a:lnTo>
                    <a:pt x="304" y="445"/>
                  </a:lnTo>
                  <a:lnTo>
                    <a:pt x="304" y="447"/>
                  </a:lnTo>
                  <a:lnTo>
                    <a:pt x="304" y="445"/>
                  </a:lnTo>
                  <a:lnTo>
                    <a:pt x="306" y="447"/>
                  </a:lnTo>
                  <a:lnTo>
                    <a:pt x="308" y="447"/>
                  </a:lnTo>
                  <a:lnTo>
                    <a:pt x="308" y="449"/>
                  </a:lnTo>
                  <a:lnTo>
                    <a:pt x="308" y="447"/>
                  </a:lnTo>
                  <a:lnTo>
                    <a:pt x="309" y="447"/>
                  </a:lnTo>
                  <a:lnTo>
                    <a:pt x="309" y="449"/>
                  </a:lnTo>
                  <a:lnTo>
                    <a:pt x="309" y="450"/>
                  </a:lnTo>
                  <a:lnTo>
                    <a:pt x="309" y="449"/>
                  </a:lnTo>
                  <a:lnTo>
                    <a:pt x="311" y="450"/>
                  </a:lnTo>
                  <a:lnTo>
                    <a:pt x="311" y="449"/>
                  </a:lnTo>
                  <a:lnTo>
                    <a:pt x="312" y="450"/>
                  </a:lnTo>
                  <a:lnTo>
                    <a:pt x="314" y="450"/>
                  </a:lnTo>
                  <a:lnTo>
                    <a:pt x="314" y="452"/>
                  </a:lnTo>
                  <a:lnTo>
                    <a:pt x="316" y="452"/>
                  </a:lnTo>
                  <a:lnTo>
                    <a:pt x="316" y="453"/>
                  </a:lnTo>
                  <a:lnTo>
                    <a:pt x="314" y="453"/>
                  </a:lnTo>
                  <a:lnTo>
                    <a:pt x="316" y="453"/>
                  </a:lnTo>
                  <a:lnTo>
                    <a:pt x="317" y="455"/>
                  </a:lnTo>
                  <a:lnTo>
                    <a:pt x="319" y="457"/>
                  </a:lnTo>
                  <a:lnTo>
                    <a:pt x="317" y="457"/>
                  </a:lnTo>
                  <a:lnTo>
                    <a:pt x="316" y="457"/>
                  </a:lnTo>
                  <a:lnTo>
                    <a:pt x="316" y="455"/>
                  </a:lnTo>
                  <a:lnTo>
                    <a:pt x="314" y="457"/>
                  </a:lnTo>
                  <a:lnTo>
                    <a:pt x="312" y="455"/>
                  </a:lnTo>
                  <a:lnTo>
                    <a:pt x="311" y="455"/>
                  </a:lnTo>
                  <a:lnTo>
                    <a:pt x="309" y="455"/>
                  </a:lnTo>
                  <a:lnTo>
                    <a:pt x="309" y="453"/>
                  </a:lnTo>
                  <a:lnTo>
                    <a:pt x="308" y="453"/>
                  </a:lnTo>
                  <a:lnTo>
                    <a:pt x="308" y="452"/>
                  </a:lnTo>
                  <a:lnTo>
                    <a:pt x="308" y="453"/>
                  </a:lnTo>
                  <a:lnTo>
                    <a:pt x="306" y="453"/>
                  </a:lnTo>
                  <a:lnTo>
                    <a:pt x="306" y="452"/>
                  </a:lnTo>
                  <a:lnTo>
                    <a:pt x="304" y="452"/>
                  </a:lnTo>
                  <a:lnTo>
                    <a:pt x="303" y="452"/>
                  </a:lnTo>
                  <a:lnTo>
                    <a:pt x="303" y="450"/>
                  </a:lnTo>
                  <a:lnTo>
                    <a:pt x="303" y="452"/>
                  </a:lnTo>
                  <a:lnTo>
                    <a:pt x="303" y="450"/>
                  </a:lnTo>
                  <a:lnTo>
                    <a:pt x="301" y="450"/>
                  </a:lnTo>
                  <a:lnTo>
                    <a:pt x="299" y="450"/>
                  </a:lnTo>
                  <a:lnTo>
                    <a:pt x="298" y="450"/>
                  </a:lnTo>
                  <a:lnTo>
                    <a:pt x="298" y="449"/>
                  </a:lnTo>
                  <a:lnTo>
                    <a:pt x="298" y="450"/>
                  </a:lnTo>
                  <a:lnTo>
                    <a:pt x="298" y="449"/>
                  </a:lnTo>
                  <a:lnTo>
                    <a:pt x="298" y="447"/>
                  </a:lnTo>
                  <a:lnTo>
                    <a:pt x="296" y="447"/>
                  </a:lnTo>
                  <a:lnTo>
                    <a:pt x="298" y="447"/>
                  </a:lnTo>
                  <a:close/>
                  <a:moveTo>
                    <a:pt x="290" y="447"/>
                  </a:moveTo>
                  <a:lnTo>
                    <a:pt x="288" y="447"/>
                  </a:lnTo>
                  <a:lnTo>
                    <a:pt x="288" y="445"/>
                  </a:lnTo>
                  <a:lnTo>
                    <a:pt x="290" y="447"/>
                  </a:lnTo>
                  <a:close/>
                  <a:moveTo>
                    <a:pt x="283" y="442"/>
                  </a:moveTo>
                  <a:lnTo>
                    <a:pt x="285" y="442"/>
                  </a:lnTo>
                  <a:lnTo>
                    <a:pt x="286" y="442"/>
                  </a:lnTo>
                  <a:lnTo>
                    <a:pt x="285" y="444"/>
                  </a:lnTo>
                  <a:lnTo>
                    <a:pt x="283" y="442"/>
                  </a:lnTo>
                  <a:lnTo>
                    <a:pt x="283" y="444"/>
                  </a:lnTo>
                  <a:lnTo>
                    <a:pt x="281" y="442"/>
                  </a:lnTo>
                  <a:lnTo>
                    <a:pt x="281" y="444"/>
                  </a:lnTo>
                  <a:lnTo>
                    <a:pt x="281" y="442"/>
                  </a:lnTo>
                  <a:lnTo>
                    <a:pt x="283" y="442"/>
                  </a:lnTo>
                  <a:close/>
                  <a:moveTo>
                    <a:pt x="293" y="440"/>
                  </a:moveTo>
                  <a:lnTo>
                    <a:pt x="293" y="442"/>
                  </a:lnTo>
                  <a:lnTo>
                    <a:pt x="294" y="442"/>
                  </a:lnTo>
                  <a:lnTo>
                    <a:pt x="293" y="444"/>
                  </a:lnTo>
                  <a:lnTo>
                    <a:pt x="291" y="444"/>
                  </a:lnTo>
                  <a:lnTo>
                    <a:pt x="291" y="445"/>
                  </a:lnTo>
                  <a:lnTo>
                    <a:pt x="290" y="445"/>
                  </a:lnTo>
                  <a:lnTo>
                    <a:pt x="288" y="445"/>
                  </a:lnTo>
                  <a:lnTo>
                    <a:pt x="286" y="445"/>
                  </a:lnTo>
                  <a:lnTo>
                    <a:pt x="288" y="445"/>
                  </a:lnTo>
                  <a:lnTo>
                    <a:pt x="288" y="444"/>
                  </a:lnTo>
                  <a:lnTo>
                    <a:pt x="288" y="442"/>
                  </a:lnTo>
                  <a:lnTo>
                    <a:pt x="288" y="444"/>
                  </a:lnTo>
                  <a:lnTo>
                    <a:pt x="290" y="444"/>
                  </a:lnTo>
                  <a:lnTo>
                    <a:pt x="288" y="442"/>
                  </a:lnTo>
                  <a:lnTo>
                    <a:pt x="290" y="442"/>
                  </a:lnTo>
                  <a:lnTo>
                    <a:pt x="291" y="442"/>
                  </a:lnTo>
                  <a:lnTo>
                    <a:pt x="290" y="440"/>
                  </a:lnTo>
                  <a:lnTo>
                    <a:pt x="291" y="440"/>
                  </a:lnTo>
                  <a:lnTo>
                    <a:pt x="293" y="440"/>
                  </a:lnTo>
                  <a:close/>
                  <a:moveTo>
                    <a:pt x="294" y="439"/>
                  </a:moveTo>
                  <a:lnTo>
                    <a:pt x="293" y="439"/>
                  </a:lnTo>
                  <a:lnTo>
                    <a:pt x="294" y="439"/>
                  </a:lnTo>
                  <a:close/>
                  <a:moveTo>
                    <a:pt x="278" y="439"/>
                  </a:moveTo>
                  <a:lnTo>
                    <a:pt x="278" y="440"/>
                  </a:lnTo>
                  <a:lnTo>
                    <a:pt x="278" y="439"/>
                  </a:lnTo>
                  <a:lnTo>
                    <a:pt x="277" y="439"/>
                  </a:lnTo>
                  <a:lnTo>
                    <a:pt x="278" y="439"/>
                  </a:lnTo>
                  <a:close/>
                  <a:moveTo>
                    <a:pt x="301" y="437"/>
                  </a:moveTo>
                  <a:lnTo>
                    <a:pt x="299" y="437"/>
                  </a:lnTo>
                  <a:lnTo>
                    <a:pt x="301" y="437"/>
                  </a:lnTo>
                  <a:close/>
                  <a:moveTo>
                    <a:pt x="270" y="434"/>
                  </a:moveTo>
                  <a:lnTo>
                    <a:pt x="268" y="436"/>
                  </a:lnTo>
                  <a:lnTo>
                    <a:pt x="268" y="434"/>
                  </a:lnTo>
                  <a:lnTo>
                    <a:pt x="270" y="434"/>
                  </a:lnTo>
                  <a:close/>
                  <a:moveTo>
                    <a:pt x="272" y="434"/>
                  </a:moveTo>
                  <a:lnTo>
                    <a:pt x="272" y="432"/>
                  </a:lnTo>
                  <a:lnTo>
                    <a:pt x="272" y="434"/>
                  </a:lnTo>
                  <a:close/>
                  <a:moveTo>
                    <a:pt x="324" y="427"/>
                  </a:moveTo>
                  <a:lnTo>
                    <a:pt x="322" y="427"/>
                  </a:lnTo>
                  <a:lnTo>
                    <a:pt x="324" y="427"/>
                  </a:lnTo>
                  <a:close/>
                  <a:moveTo>
                    <a:pt x="268" y="431"/>
                  </a:moveTo>
                  <a:lnTo>
                    <a:pt x="267" y="431"/>
                  </a:lnTo>
                  <a:lnTo>
                    <a:pt x="268" y="431"/>
                  </a:lnTo>
                  <a:close/>
                  <a:moveTo>
                    <a:pt x="265" y="427"/>
                  </a:moveTo>
                  <a:lnTo>
                    <a:pt x="264" y="427"/>
                  </a:lnTo>
                  <a:lnTo>
                    <a:pt x="264" y="426"/>
                  </a:lnTo>
                  <a:lnTo>
                    <a:pt x="265" y="427"/>
                  </a:lnTo>
                  <a:close/>
                  <a:moveTo>
                    <a:pt x="265" y="423"/>
                  </a:moveTo>
                  <a:lnTo>
                    <a:pt x="265" y="424"/>
                  </a:lnTo>
                  <a:lnTo>
                    <a:pt x="265" y="423"/>
                  </a:lnTo>
                  <a:close/>
                  <a:moveTo>
                    <a:pt x="247" y="419"/>
                  </a:moveTo>
                  <a:lnTo>
                    <a:pt x="247" y="421"/>
                  </a:lnTo>
                  <a:lnTo>
                    <a:pt x="246" y="421"/>
                  </a:lnTo>
                  <a:lnTo>
                    <a:pt x="246" y="419"/>
                  </a:lnTo>
                  <a:lnTo>
                    <a:pt x="247" y="419"/>
                  </a:lnTo>
                  <a:close/>
                  <a:moveTo>
                    <a:pt x="255" y="418"/>
                  </a:moveTo>
                  <a:lnTo>
                    <a:pt x="254" y="416"/>
                  </a:lnTo>
                  <a:lnTo>
                    <a:pt x="255" y="416"/>
                  </a:lnTo>
                  <a:lnTo>
                    <a:pt x="255" y="418"/>
                  </a:lnTo>
                  <a:close/>
                  <a:moveTo>
                    <a:pt x="262" y="416"/>
                  </a:moveTo>
                  <a:lnTo>
                    <a:pt x="262" y="414"/>
                  </a:lnTo>
                  <a:lnTo>
                    <a:pt x="264" y="414"/>
                  </a:lnTo>
                  <a:lnTo>
                    <a:pt x="262" y="416"/>
                  </a:lnTo>
                  <a:close/>
                  <a:moveTo>
                    <a:pt x="262" y="414"/>
                  </a:moveTo>
                  <a:lnTo>
                    <a:pt x="260" y="414"/>
                  </a:lnTo>
                  <a:lnTo>
                    <a:pt x="262" y="414"/>
                  </a:lnTo>
                  <a:close/>
                  <a:moveTo>
                    <a:pt x="228" y="416"/>
                  </a:moveTo>
                  <a:lnTo>
                    <a:pt x="228" y="418"/>
                  </a:lnTo>
                  <a:lnTo>
                    <a:pt x="228" y="416"/>
                  </a:lnTo>
                  <a:close/>
                  <a:moveTo>
                    <a:pt x="247" y="414"/>
                  </a:moveTo>
                  <a:lnTo>
                    <a:pt x="246" y="414"/>
                  </a:lnTo>
                  <a:lnTo>
                    <a:pt x="246" y="416"/>
                  </a:lnTo>
                  <a:lnTo>
                    <a:pt x="246" y="414"/>
                  </a:lnTo>
                  <a:lnTo>
                    <a:pt x="247" y="414"/>
                  </a:lnTo>
                  <a:close/>
                  <a:moveTo>
                    <a:pt x="251" y="414"/>
                  </a:moveTo>
                  <a:lnTo>
                    <a:pt x="252" y="414"/>
                  </a:lnTo>
                  <a:lnTo>
                    <a:pt x="251" y="414"/>
                  </a:lnTo>
                  <a:close/>
                  <a:moveTo>
                    <a:pt x="254" y="414"/>
                  </a:moveTo>
                  <a:lnTo>
                    <a:pt x="254" y="413"/>
                  </a:lnTo>
                  <a:lnTo>
                    <a:pt x="254" y="414"/>
                  </a:lnTo>
                  <a:close/>
                  <a:moveTo>
                    <a:pt x="260" y="414"/>
                  </a:moveTo>
                  <a:lnTo>
                    <a:pt x="260" y="413"/>
                  </a:lnTo>
                  <a:lnTo>
                    <a:pt x="260" y="414"/>
                  </a:lnTo>
                  <a:close/>
                  <a:moveTo>
                    <a:pt x="249" y="414"/>
                  </a:moveTo>
                  <a:lnTo>
                    <a:pt x="247" y="414"/>
                  </a:lnTo>
                  <a:lnTo>
                    <a:pt x="247" y="413"/>
                  </a:lnTo>
                  <a:lnTo>
                    <a:pt x="249" y="414"/>
                  </a:lnTo>
                  <a:close/>
                  <a:moveTo>
                    <a:pt x="247" y="414"/>
                  </a:moveTo>
                  <a:lnTo>
                    <a:pt x="246" y="414"/>
                  </a:lnTo>
                  <a:lnTo>
                    <a:pt x="246" y="413"/>
                  </a:lnTo>
                  <a:lnTo>
                    <a:pt x="247" y="413"/>
                  </a:lnTo>
                  <a:lnTo>
                    <a:pt x="247" y="414"/>
                  </a:lnTo>
                  <a:close/>
                  <a:moveTo>
                    <a:pt x="242" y="414"/>
                  </a:moveTo>
                  <a:lnTo>
                    <a:pt x="242" y="413"/>
                  </a:lnTo>
                  <a:lnTo>
                    <a:pt x="242" y="414"/>
                  </a:lnTo>
                  <a:close/>
                  <a:moveTo>
                    <a:pt x="241" y="414"/>
                  </a:moveTo>
                  <a:lnTo>
                    <a:pt x="241" y="413"/>
                  </a:lnTo>
                  <a:lnTo>
                    <a:pt x="241" y="414"/>
                  </a:lnTo>
                  <a:close/>
                  <a:moveTo>
                    <a:pt x="264" y="411"/>
                  </a:moveTo>
                  <a:lnTo>
                    <a:pt x="265" y="413"/>
                  </a:lnTo>
                  <a:lnTo>
                    <a:pt x="264" y="413"/>
                  </a:lnTo>
                  <a:lnTo>
                    <a:pt x="264" y="411"/>
                  </a:lnTo>
                  <a:close/>
                  <a:moveTo>
                    <a:pt x="233" y="414"/>
                  </a:moveTo>
                  <a:lnTo>
                    <a:pt x="234" y="414"/>
                  </a:lnTo>
                  <a:lnTo>
                    <a:pt x="236" y="414"/>
                  </a:lnTo>
                  <a:lnTo>
                    <a:pt x="238" y="416"/>
                  </a:lnTo>
                  <a:lnTo>
                    <a:pt x="238" y="414"/>
                  </a:lnTo>
                  <a:lnTo>
                    <a:pt x="239" y="414"/>
                  </a:lnTo>
                  <a:lnTo>
                    <a:pt x="239" y="416"/>
                  </a:lnTo>
                  <a:lnTo>
                    <a:pt x="241" y="416"/>
                  </a:lnTo>
                  <a:lnTo>
                    <a:pt x="241" y="418"/>
                  </a:lnTo>
                  <a:lnTo>
                    <a:pt x="242" y="418"/>
                  </a:lnTo>
                  <a:lnTo>
                    <a:pt x="244" y="418"/>
                  </a:lnTo>
                  <a:lnTo>
                    <a:pt x="244" y="419"/>
                  </a:lnTo>
                  <a:lnTo>
                    <a:pt x="246" y="419"/>
                  </a:lnTo>
                  <a:lnTo>
                    <a:pt x="244" y="419"/>
                  </a:lnTo>
                  <a:lnTo>
                    <a:pt x="242" y="419"/>
                  </a:lnTo>
                  <a:lnTo>
                    <a:pt x="244" y="419"/>
                  </a:lnTo>
                  <a:lnTo>
                    <a:pt x="242" y="419"/>
                  </a:lnTo>
                  <a:lnTo>
                    <a:pt x="241" y="419"/>
                  </a:lnTo>
                  <a:lnTo>
                    <a:pt x="242" y="419"/>
                  </a:lnTo>
                  <a:lnTo>
                    <a:pt x="241" y="419"/>
                  </a:lnTo>
                  <a:lnTo>
                    <a:pt x="239" y="419"/>
                  </a:lnTo>
                  <a:lnTo>
                    <a:pt x="238" y="419"/>
                  </a:lnTo>
                  <a:lnTo>
                    <a:pt x="238" y="418"/>
                  </a:lnTo>
                  <a:lnTo>
                    <a:pt x="236" y="418"/>
                  </a:lnTo>
                  <a:lnTo>
                    <a:pt x="236" y="416"/>
                  </a:lnTo>
                  <a:lnTo>
                    <a:pt x="234" y="416"/>
                  </a:lnTo>
                  <a:lnTo>
                    <a:pt x="233" y="416"/>
                  </a:lnTo>
                  <a:lnTo>
                    <a:pt x="233" y="414"/>
                  </a:lnTo>
                  <a:lnTo>
                    <a:pt x="231" y="414"/>
                  </a:lnTo>
                  <a:lnTo>
                    <a:pt x="231" y="413"/>
                  </a:lnTo>
                  <a:lnTo>
                    <a:pt x="233" y="414"/>
                  </a:lnTo>
                  <a:close/>
                  <a:moveTo>
                    <a:pt x="252" y="413"/>
                  </a:moveTo>
                  <a:lnTo>
                    <a:pt x="252" y="411"/>
                  </a:lnTo>
                  <a:lnTo>
                    <a:pt x="252" y="413"/>
                  </a:lnTo>
                  <a:close/>
                  <a:moveTo>
                    <a:pt x="231" y="413"/>
                  </a:moveTo>
                  <a:lnTo>
                    <a:pt x="229" y="413"/>
                  </a:lnTo>
                  <a:lnTo>
                    <a:pt x="231" y="413"/>
                  </a:lnTo>
                  <a:close/>
                  <a:moveTo>
                    <a:pt x="246" y="413"/>
                  </a:moveTo>
                  <a:lnTo>
                    <a:pt x="246" y="411"/>
                  </a:lnTo>
                  <a:lnTo>
                    <a:pt x="246" y="413"/>
                  </a:lnTo>
                  <a:close/>
                  <a:moveTo>
                    <a:pt x="220" y="414"/>
                  </a:moveTo>
                  <a:lnTo>
                    <a:pt x="220" y="413"/>
                  </a:lnTo>
                  <a:lnTo>
                    <a:pt x="220" y="414"/>
                  </a:lnTo>
                  <a:close/>
                  <a:moveTo>
                    <a:pt x="251" y="413"/>
                  </a:moveTo>
                  <a:lnTo>
                    <a:pt x="251" y="411"/>
                  </a:lnTo>
                  <a:lnTo>
                    <a:pt x="251" y="413"/>
                  </a:lnTo>
                  <a:close/>
                  <a:moveTo>
                    <a:pt x="228" y="413"/>
                  </a:moveTo>
                  <a:lnTo>
                    <a:pt x="226" y="413"/>
                  </a:lnTo>
                  <a:lnTo>
                    <a:pt x="228" y="413"/>
                  </a:lnTo>
                  <a:close/>
                  <a:moveTo>
                    <a:pt x="218" y="411"/>
                  </a:moveTo>
                  <a:lnTo>
                    <a:pt x="218" y="413"/>
                  </a:lnTo>
                  <a:lnTo>
                    <a:pt x="218" y="411"/>
                  </a:lnTo>
                  <a:close/>
                  <a:moveTo>
                    <a:pt x="239" y="410"/>
                  </a:moveTo>
                  <a:lnTo>
                    <a:pt x="239" y="411"/>
                  </a:lnTo>
                  <a:lnTo>
                    <a:pt x="239" y="410"/>
                  </a:lnTo>
                  <a:close/>
                  <a:moveTo>
                    <a:pt x="223" y="411"/>
                  </a:moveTo>
                  <a:lnTo>
                    <a:pt x="225" y="411"/>
                  </a:lnTo>
                  <a:lnTo>
                    <a:pt x="223" y="411"/>
                  </a:lnTo>
                  <a:close/>
                  <a:moveTo>
                    <a:pt x="247" y="410"/>
                  </a:moveTo>
                  <a:lnTo>
                    <a:pt x="249" y="410"/>
                  </a:lnTo>
                  <a:lnTo>
                    <a:pt x="249" y="411"/>
                  </a:lnTo>
                  <a:lnTo>
                    <a:pt x="249" y="410"/>
                  </a:lnTo>
                  <a:lnTo>
                    <a:pt x="249" y="411"/>
                  </a:lnTo>
                  <a:lnTo>
                    <a:pt x="251" y="411"/>
                  </a:lnTo>
                  <a:lnTo>
                    <a:pt x="249" y="413"/>
                  </a:lnTo>
                  <a:lnTo>
                    <a:pt x="249" y="411"/>
                  </a:lnTo>
                  <a:lnTo>
                    <a:pt x="247" y="411"/>
                  </a:lnTo>
                  <a:lnTo>
                    <a:pt x="246" y="411"/>
                  </a:lnTo>
                  <a:lnTo>
                    <a:pt x="246" y="410"/>
                  </a:lnTo>
                  <a:lnTo>
                    <a:pt x="246" y="408"/>
                  </a:lnTo>
                  <a:lnTo>
                    <a:pt x="246" y="410"/>
                  </a:lnTo>
                  <a:lnTo>
                    <a:pt x="247" y="410"/>
                  </a:lnTo>
                  <a:close/>
                  <a:moveTo>
                    <a:pt x="218" y="411"/>
                  </a:moveTo>
                  <a:lnTo>
                    <a:pt x="216" y="411"/>
                  </a:lnTo>
                  <a:lnTo>
                    <a:pt x="216" y="410"/>
                  </a:lnTo>
                  <a:lnTo>
                    <a:pt x="218" y="410"/>
                  </a:lnTo>
                  <a:lnTo>
                    <a:pt x="218" y="411"/>
                  </a:lnTo>
                  <a:close/>
                  <a:moveTo>
                    <a:pt x="257" y="408"/>
                  </a:moveTo>
                  <a:lnTo>
                    <a:pt x="259" y="410"/>
                  </a:lnTo>
                  <a:lnTo>
                    <a:pt x="259" y="411"/>
                  </a:lnTo>
                  <a:lnTo>
                    <a:pt x="260" y="411"/>
                  </a:lnTo>
                  <a:lnTo>
                    <a:pt x="259" y="411"/>
                  </a:lnTo>
                  <a:lnTo>
                    <a:pt x="260" y="413"/>
                  </a:lnTo>
                  <a:lnTo>
                    <a:pt x="259" y="413"/>
                  </a:lnTo>
                  <a:lnTo>
                    <a:pt x="260" y="413"/>
                  </a:lnTo>
                  <a:lnTo>
                    <a:pt x="260" y="414"/>
                  </a:lnTo>
                  <a:lnTo>
                    <a:pt x="259" y="413"/>
                  </a:lnTo>
                  <a:lnTo>
                    <a:pt x="255" y="411"/>
                  </a:lnTo>
                  <a:lnTo>
                    <a:pt x="255" y="410"/>
                  </a:lnTo>
                  <a:lnTo>
                    <a:pt x="254" y="410"/>
                  </a:lnTo>
                  <a:lnTo>
                    <a:pt x="254" y="408"/>
                  </a:lnTo>
                  <a:lnTo>
                    <a:pt x="255" y="408"/>
                  </a:lnTo>
                  <a:lnTo>
                    <a:pt x="255" y="410"/>
                  </a:lnTo>
                  <a:lnTo>
                    <a:pt x="255" y="408"/>
                  </a:lnTo>
                  <a:lnTo>
                    <a:pt x="257" y="408"/>
                  </a:lnTo>
                  <a:close/>
                  <a:moveTo>
                    <a:pt x="216" y="411"/>
                  </a:moveTo>
                  <a:lnTo>
                    <a:pt x="216" y="410"/>
                  </a:lnTo>
                  <a:lnTo>
                    <a:pt x="216" y="411"/>
                  </a:lnTo>
                  <a:close/>
                  <a:moveTo>
                    <a:pt x="238" y="411"/>
                  </a:moveTo>
                  <a:lnTo>
                    <a:pt x="239" y="411"/>
                  </a:lnTo>
                  <a:lnTo>
                    <a:pt x="241" y="411"/>
                  </a:lnTo>
                  <a:lnTo>
                    <a:pt x="241" y="413"/>
                  </a:lnTo>
                  <a:lnTo>
                    <a:pt x="239" y="413"/>
                  </a:lnTo>
                  <a:lnTo>
                    <a:pt x="238" y="411"/>
                  </a:lnTo>
                  <a:lnTo>
                    <a:pt x="236" y="411"/>
                  </a:lnTo>
                  <a:lnTo>
                    <a:pt x="236" y="410"/>
                  </a:lnTo>
                  <a:lnTo>
                    <a:pt x="236" y="408"/>
                  </a:lnTo>
                  <a:lnTo>
                    <a:pt x="236" y="410"/>
                  </a:lnTo>
                  <a:lnTo>
                    <a:pt x="238" y="410"/>
                  </a:lnTo>
                  <a:lnTo>
                    <a:pt x="238" y="411"/>
                  </a:lnTo>
                  <a:close/>
                  <a:moveTo>
                    <a:pt x="221" y="411"/>
                  </a:moveTo>
                  <a:lnTo>
                    <a:pt x="221" y="413"/>
                  </a:lnTo>
                  <a:lnTo>
                    <a:pt x="223" y="413"/>
                  </a:lnTo>
                  <a:lnTo>
                    <a:pt x="221" y="413"/>
                  </a:lnTo>
                  <a:lnTo>
                    <a:pt x="220" y="413"/>
                  </a:lnTo>
                  <a:lnTo>
                    <a:pt x="220" y="411"/>
                  </a:lnTo>
                  <a:lnTo>
                    <a:pt x="220" y="413"/>
                  </a:lnTo>
                  <a:lnTo>
                    <a:pt x="220" y="411"/>
                  </a:lnTo>
                  <a:lnTo>
                    <a:pt x="218" y="411"/>
                  </a:lnTo>
                  <a:lnTo>
                    <a:pt x="218" y="410"/>
                  </a:lnTo>
                  <a:lnTo>
                    <a:pt x="218" y="411"/>
                  </a:lnTo>
                  <a:lnTo>
                    <a:pt x="220" y="411"/>
                  </a:lnTo>
                  <a:lnTo>
                    <a:pt x="221" y="411"/>
                  </a:lnTo>
                  <a:close/>
                  <a:moveTo>
                    <a:pt x="216" y="410"/>
                  </a:moveTo>
                  <a:lnTo>
                    <a:pt x="215" y="410"/>
                  </a:lnTo>
                  <a:lnTo>
                    <a:pt x="216" y="410"/>
                  </a:lnTo>
                  <a:close/>
                  <a:moveTo>
                    <a:pt x="239" y="408"/>
                  </a:moveTo>
                  <a:lnTo>
                    <a:pt x="241" y="408"/>
                  </a:lnTo>
                  <a:lnTo>
                    <a:pt x="241" y="410"/>
                  </a:lnTo>
                  <a:lnTo>
                    <a:pt x="241" y="408"/>
                  </a:lnTo>
                  <a:lnTo>
                    <a:pt x="242" y="410"/>
                  </a:lnTo>
                  <a:lnTo>
                    <a:pt x="244" y="410"/>
                  </a:lnTo>
                  <a:lnTo>
                    <a:pt x="242" y="411"/>
                  </a:lnTo>
                  <a:lnTo>
                    <a:pt x="244" y="411"/>
                  </a:lnTo>
                  <a:lnTo>
                    <a:pt x="246" y="411"/>
                  </a:lnTo>
                  <a:lnTo>
                    <a:pt x="244" y="411"/>
                  </a:lnTo>
                  <a:lnTo>
                    <a:pt x="244" y="413"/>
                  </a:lnTo>
                  <a:lnTo>
                    <a:pt x="244" y="414"/>
                  </a:lnTo>
                  <a:lnTo>
                    <a:pt x="242" y="413"/>
                  </a:lnTo>
                  <a:lnTo>
                    <a:pt x="241" y="413"/>
                  </a:lnTo>
                  <a:lnTo>
                    <a:pt x="241" y="411"/>
                  </a:lnTo>
                  <a:lnTo>
                    <a:pt x="242" y="411"/>
                  </a:lnTo>
                  <a:lnTo>
                    <a:pt x="241" y="410"/>
                  </a:lnTo>
                  <a:lnTo>
                    <a:pt x="239" y="410"/>
                  </a:lnTo>
                  <a:lnTo>
                    <a:pt x="241" y="410"/>
                  </a:lnTo>
                  <a:lnTo>
                    <a:pt x="239" y="408"/>
                  </a:lnTo>
                  <a:close/>
                  <a:moveTo>
                    <a:pt x="231" y="408"/>
                  </a:moveTo>
                  <a:lnTo>
                    <a:pt x="233" y="408"/>
                  </a:lnTo>
                  <a:lnTo>
                    <a:pt x="231" y="408"/>
                  </a:lnTo>
                  <a:close/>
                  <a:moveTo>
                    <a:pt x="213" y="410"/>
                  </a:moveTo>
                  <a:lnTo>
                    <a:pt x="215" y="410"/>
                  </a:lnTo>
                  <a:lnTo>
                    <a:pt x="213" y="410"/>
                  </a:lnTo>
                  <a:close/>
                  <a:moveTo>
                    <a:pt x="254" y="406"/>
                  </a:moveTo>
                  <a:lnTo>
                    <a:pt x="252" y="406"/>
                  </a:lnTo>
                  <a:lnTo>
                    <a:pt x="254" y="406"/>
                  </a:lnTo>
                  <a:close/>
                  <a:moveTo>
                    <a:pt x="257" y="406"/>
                  </a:moveTo>
                  <a:lnTo>
                    <a:pt x="257" y="405"/>
                  </a:lnTo>
                  <a:lnTo>
                    <a:pt x="257" y="406"/>
                  </a:lnTo>
                  <a:close/>
                  <a:moveTo>
                    <a:pt x="215" y="410"/>
                  </a:moveTo>
                  <a:lnTo>
                    <a:pt x="213" y="410"/>
                  </a:lnTo>
                  <a:lnTo>
                    <a:pt x="215" y="410"/>
                  </a:lnTo>
                  <a:lnTo>
                    <a:pt x="215" y="408"/>
                  </a:lnTo>
                  <a:lnTo>
                    <a:pt x="215" y="410"/>
                  </a:lnTo>
                  <a:close/>
                  <a:moveTo>
                    <a:pt x="233" y="408"/>
                  </a:moveTo>
                  <a:lnTo>
                    <a:pt x="233" y="406"/>
                  </a:lnTo>
                  <a:lnTo>
                    <a:pt x="233" y="408"/>
                  </a:lnTo>
                  <a:close/>
                  <a:moveTo>
                    <a:pt x="231" y="408"/>
                  </a:moveTo>
                  <a:lnTo>
                    <a:pt x="229" y="408"/>
                  </a:lnTo>
                  <a:lnTo>
                    <a:pt x="229" y="406"/>
                  </a:lnTo>
                  <a:lnTo>
                    <a:pt x="231" y="406"/>
                  </a:lnTo>
                  <a:lnTo>
                    <a:pt x="231" y="408"/>
                  </a:lnTo>
                  <a:close/>
                  <a:moveTo>
                    <a:pt x="212" y="410"/>
                  </a:moveTo>
                  <a:lnTo>
                    <a:pt x="210" y="408"/>
                  </a:lnTo>
                  <a:lnTo>
                    <a:pt x="212" y="408"/>
                  </a:lnTo>
                  <a:lnTo>
                    <a:pt x="212" y="410"/>
                  </a:lnTo>
                  <a:close/>
                  <a:moveTo>
                    <a:pt x="216" y="410"/>
                  </a:moveTo>
                  <a:lnTo>
                    <a:pt x="215" y="408"/>
                  </a:lnTo>
                  <a:lnTo>
                    <a:pt x="216" y="408"/>
                  </a:lnTo>
                  <a:lnTo>
                    <a:pt x="216" y="410"/>
                  </a:lnTo>
                  <a:close/>
                  <a:moveTo>
                    <a:pt x="215" y="408"/>
                  </a:moveTo>
                  <a:lnTo>
                    <a:pt x="213" y="408"/>
                  </a:lnTo>
                  <a:lnTo>
                    <a:pt x="215" y="408"/>
                  </a:lnTo>
                  <a:close/>
                  <a:moveTo>
                    <a:pt x="213" y="408"/>
                  </a:moveTo>
                  <a:lnTo>
                    <a:pt x="212" y="408"/>
                  </a:lnTo>
                  <a:lnTo>
                    <a:pt x="213" y="408"/>
                  </a:lnTo>
                  <a:close/>
                  <a:moveTo>
                    <a:pt x="249" y="406"/>
                  </a:moveTo>
                  <a:lnTo>
                    <a:pt x="251" y="406"/>
                  </a:lnTo>
                  <a:lnTo>
                    <a:pt x="249" y="406"/>
                  </a:lnTo>
                  <a:lnTo>
                    <a:pt x="249" y="408"/>
                  </a:lnTo>
                  <a:lnTo>
                    <a:pt x="249" y="406"/>
                  </a:lnTo>
                  <a:lnTo>
                    <a:pt x="247" y="406"/>
                  </a:lnTo>
                  <a:lnTo>
                    <a:pt x="247" y="405"/>
                  </a:lnTo>
                  <a:lnTo>
                    <a:pt x="249" y="406"/>
                  </a:lnTo>
                  <a:close/>
                  <a:moveTo>
                    <a:pt x="220" y="408"/>
                  </a:moveTo>
                  <a:lnTo>
                    <a:pt x="218" y="408"/>
                  </a:lnTo>
                  <a:lnTo>
                    <a:pt x="218" y="406"/>
                  </a:lnTo>
                  <a:lnTo>
                    <a:pt x="218" y="408"/>
                  </a:lnTo>
                  <a:lnTo>
                    <a:pt x="220" y="408"/>
                  </a:lnTo>
                  <a:close/>
                  <a:moveTo>
                    <a:pt x="229" y="405"/>
                  </a:moveTo>
                  <a:lnTo>
                    <a:pt x="229" y="406"/>
                  </a:lnTo>
                  <a:lnTo>
                    <a:pt x="229" y="405"/>
                  </a:lnTo>
                  <a:close/>
                  <a:moveTo>
                    <a:pt x="212" y="406"/>
                  </a:moveTo>
                  <a:lnTo>
                    <a:pt x="210" y="406"/>
                  </a:lnTo>
                  <a:lnTo>
                    <a:pt x="212" y="406"/>
                  </a:lnTo>
                  <a:close/>
                  <a:moveTo>
                    <a:pt x="251" y="403"/>
                  </a:moveTo>
                  <a:lnTo>
                    <a:pt x="251" y="405"/>
                  </a:lnTo>
                  <a:lnTo>
                    <a:pt x="252" y="405"/>
                  </a:lnTo>
                  <a:lnTo>
                    <a:pt x="252" y="406"/>
                  </a:lnTo>
                  <a:lnTo>
                    <a:pt x="252" y="405"/>
                  </a:lnTo>
                  <a:lnTo>
                    <a:pt x="251" y="405"/>
                  </a:lnTo>
                  <a:lnTo>
                    <a:pt x="252" y="406"/>
                  </a:lnTo>
                  <a:lnTo>
                    <a:pt x="251" y="406"/>
                  </a:lnTo>
                  <a:lnTo>
                    <a:pt x="251" y="405"/>
                  </a:lnTo>
                  <a:lnTo>
                    <a:pt x="249" y="403"/>
                  </a:lnTo>
                  <a:lnTo>
                    <a:pt x="251" y="403"/>
                  </a:lnTo>
                  <a:close/>
                  <a:moveTo>
                    <a:pt x="210" y="406"/>
                  </a:moveTo>
                  <a:lnTo>
                    <a:pt x="208" y="406"/>
                  </a:lnTo>
                  <a:lnTo>
                    <a:pt x="210" y="406"/>
                  </a:lnTo>
                  <a:close/>
                  <a:moveTo>
                    <a:pt x="213" y="405"/>
                  </a:moveTo>
                  <a:lnTo>
                    <a:pt x="213" y="406"/>
                  </a:lnTo>
                  <a:lnTo>
                    <a:pt x="213" y="405"/>
                  </a:lnTo>
                  <a:close/>
                  <a:moveTo>
                    <a:pt x="208" y="406"/>
                  </a:moveTo>
                  <a:lnTo>
                    <a:pt x="208" y="405"/>
                  </a:lnTo>
                  <a:lnTo>
                    <a:pt x="208" y="406"/>
                  </a:lnTo>
                  <a:close/>
                  <a:moveTo>
                    <a:pt x="244" y="401"/>
                  </a:moveTo>
                  <a:lnTo>
                    <a:pt x="244" y="403"/>
                  </a:lnTo>
                  <a:lnTo>
                    <a:pt x="244" y="401"/>
                  </a:lnTo>
                  <a:close/>
                  <a:moveTo>
                    <a:pt x="247" y="405"/>
                  </a:moveTo>
                  <a:lnTo>
                    <a:pt x="247" y="403"/>
                  </a:lnTo>
                  <a:lnTo>
                    <a:pt x="246" y="403"/>
                  </a:lnTo>
                  <a:lnTo>
                    <a:pt x="246" y="401"/>
                  </a:lnTo>
                  <a:lnTo>
                    <a:pt x="246" y="403"/>
                  </a:lnTo>
                  <a:lnTo>
                    <a:pt x="247" y="403"/>
                  </a:lnTo>
                  <a:lnTo>
                    <a:pt x="247" y="405"/>
                  </a:lnTo>
                  <a:close/>
                  <a:moveTo>
                    <a:pt x="212" y="405"/>
                  </a:moveTo>
                  <a:lnTo>
                    <a:pt x="210" y="405"/>
                  </a:lnTo>
                  <a:lnTo>
                    <a:pt x="212" y="405"/>
                  </a:lnTo>
                  <a:close/>
                  <a:moveTo>
                    <a:pt x="205" y="405"/>
                  </a:moveTo>
                  <a:lnTo>
                    <a:pt x="203" y="405"/>
                  </a:lnTo>
                  <a:lnTo>
                    <a:pt x="203" y="403"/>
                  </a:lnTo>
                  <a:lnTo>
                    <a:pt x="205" y="405"/>
                  </a:lnTo>
                  <a:close/>
                  <a:moveTo>
                    <a:pt x="203" y="403"/>
                  </a:moveTo>
                  <a:lnTo>
                    <a:pt x="205" y="403"/>
                  </a:lnTo>
                  <a:lnTo>
                    <a:pt x="207" y="403"/>
                  </a:lnTo>
                  <a:lnTo>
                    <a:pt x="207" y="405"/>
                  </a:lnTo>
                  <a:lnTo>
                    <a:pt x="208" y="405"/>
                  </a:lnTo>
                  <a:lnTo>
                    <a:pt x="207" y="406"/>
                  </a:lnTo>
                  <a:lnTo>
                    <a:pt x="208" y="406"/>
                  </a:lnTo>
                  <a:lnTo>
                    <a:pt x="207" y="406"/>
                  </a:lnTo>
                  <a:lnTo>
                    <a:pt x="207" y="405"/>
                  </a:lnTo>
                  <a:lnTo>
                    <a:pt x="207" y="403"/>
                  </a:lnTo>
                  <a:lnTo>
                    <a:pt x="205" y="405"/>
                  </a:lnTo>
                  <a:lnTo>
                    <a:pt x="203" y="403"/>
                  </a:lnTo>
                  <a:lnTo>
                    <a:pt x="202" y="403"/>
                  </a:lnTo>
                  <a:lnTo>
                    <a:pt x="200" y="401"/>
                  </a:lnTo>
                  <a:lnTo>
                    <a:pt x="202" y="401"/>
                  </a:lnTo>
                  <a:lnTo>
                    <a:pt x="203" y="401"/>
                  </a:lnTo>
                  <a:lnTo>
                    <a:pt x="203" y="403"/>
                  </a:lnTo>
                  <a:close/>
                  <a:moveTo>
                    <a:pt x="205" y="401"/>
                  </a:moveTo>
                  <a:lnTo>
                    <a:pt x="203" y="401"/>
                  </a:lnTo>
                  <a:lnTo>
                    <a:pt x="205" y="401"/>
                  </a:lnTo>
                  <a:close/>
                  <a:moveTo>
                    <a:pt x="239" y="398"/>
                  </a:moveTo>
                  <a:lnTo>
                    <a:pt x="239" y="400"/>
                  </a:lnTo>
                  <a:lnTo>
                    <a:pt x="238" y="398"/>
                  </a:lnTo>
                  <a:lnTo>
                    <a:pt x="239" y="398"/>
                  </a:lnTo>
                  <a:close/>
                  <a:moveTo>
                    <a:pt x="200" y="401"/>
                  </a:moveTo>
                  <a:lnTo>
                    <a:pt x="199" y="401"/>
                  </a:lnTo>
                  <a:lnTo>
                    <a:pt x="200" y="401"/>
                  </a:lnTo>
                  <a:close/>
                  <a:moveTo>
                    <a:pt x="203" y="401"/>
                  </a:moveTo>
                  <a:lnTo>
                    <a:pt x="203" y="400"/>
                  </a:lnTo>
                  <a:lnTo>
                    <a:pt x="203" y="401"/>
                  </a:lnTo>
                  <a:close/>
                  <a:moveTo>
                    <a:pt x="238" y="398"/>
                  </a:moveTo>
                  <a:lnTo>
                    <a:pt x="236" y="398"/>
                  </a:lnTo>
                  <a:lnTo>
                    <a:pt x="236" y="397"/>
                  </a:lnTo>
                  <a:lnTo>
                    <a:pt x="238" y="398"/>
                  </a:lnTo>
                  <a:close/>
                  <a:moveTo>
                    <a:pt x="199" y="400"/>
                  </a:moveTo>
                  <a:lnTo>
                    <a:pt x="199" y="401"/>
                  </a:lnTo>
                  <a:lnTo>
                    <a:pt x="199" y="400"/>
                  </a:lnTo>
                  <a:close/>
                  <a:moveTo>
                    <a:pt x="197" y="398"/>
                  </a:moveTo>
                  <a:lnTo>
                    <a:pt x="197" y="400"/>
                  </a:lnTo>
                  <a:lnTo>
                    <a:pt x="195" y="398"/>
                  </a:lnTo>
                  <a:lnTo>
                    <a:pt x="197" y="398"/>
                  </a:lnTo>
                  <a:close/>
                  <a:moveTo>
                    <a:pt x="207" y="397"/>
                  </a:moveTo>
                  <a:lnTo>
                    <a:pt x="207" y="398"/>
                  </a:lnTo>
                  <a:lnTo>
                    <a:pt x="207" y="397"/>
                  </a:lnTo>
                  <a:close/>
                  <a:moveTo>
                    <a:pt x="195" y="398"/>
                  </a:moveTo>
                  <a:lnTo>
                    <a:pt x="194" y="398"/>
                  </a:lnTo>
                  <a:lnTo>
                    <a:pt x="195" y="398"/>
                  </a:lnTo>
                  <a:close/>
                  <a:moveTo>
                    <a:pt x="197" y="398"/>
                  </a:moveTo>
                  <a:lnTo>
                    <a:pt x="195" y="398"/>
                  </a:lnTo>
                  <a:lnTo>
                    <a:pt x="195" y="397"/>
                  </a:lnTo>
                  <a:lnTo>
                    <a:pt x="197" y="398"/>
                  </a:lnTo>
                  <a:close/>
                  <a:moveTo>
                    <a:pt x="199" y="398"/>
                  </a:moveTo>
                  <a:lnTo>
                    <a:pt x="197" y="398"/>
                  </a:lnTo>
                  <a:lnTo>
                    <a:pt x="197" y="397"/>
                  </a:lnTo>
                  <a:lnTo>
                    <a:pt x="199" y="398"/>
                  </a:lnTo>
                  <a:close/>
                  <a:moveTo>
                    <a:pt x="207" y="397"/>
                  </a:moveTo>
                  <a:lnTo>
                    <a:pt x="205" y="397"/>
                  </a:lnTo>
                  <a:lnTo>
                    <a:pt x="207" y="397"/>
                  </a:lnTo>
                  <a:close/>
                  <a:moveTo>
                    <a:pt x="195" y="397"/>
                  </a:moveTo>
                  <a:lnTo>
                    <a:pt x="195" y="398"/>
                  </a:lnTo>
                  <a:lnTo>
                    <a:pt x="194" y="398"/>
                  </a:lnTo>
                  <a:lnTo>
                    <a:pt x="194" y="397"/>
                  </a:lnTo>
                  <a:lnTo>
                    <a:pt x="194" y="398"/>
                  </a:lnTo>
                  <a:lnTo>
                    <a:pt x="194" y="397"/>
                  </a:lnTo>
                  <a:lnTo>
                    <a:pt x="195" y="397"/>
                  </a:lnTo>
                  <a:close/>
                  <a:moveTo>
                    <a:pt x="226" y="393"/>
                  </a:moveTo>
                  <a:lnTo>
                    <a:pt x="226" y="392"/>
                  </a:lnTo>
                  <a:lnTo>
                    <a:pt x="226" y="393"/>
                  </a:lnTo>
                  <a:close/>
                  <a:moveTo>
                    <a:pt x="225" y="393"/>
                  </a:moveTo>
                  <a:lnTo>
                    <a:pt x="223" y="393"/>
                  </a:lnTo>
                  <a:lnTo>
                    <a:pt x="225" y="393"/>
                  </a:lnTo>
                  <a:close/>
                  <a:moveTo>
                    <a:pt x="208" y="393"/>
                  </a:moveTo>
                  <a:lnTo>
                    <a:pt x="207" y="393"/>
                  </a:lnTo>
                  <a:lnTo>
                    <a:pt x="208" y="393"/>
                  </a:lnTo>
                  <a:close/>
                  <a:moveTo>
                    <a:pt x="207" y="395"/>
                  </a:moveTo>
                  <a:lnTo>
                    <a:pt x="205" y="395"/>
                  </a:lnTo>
                  <a:lnTo>
                    <a:pt x="205" y="393"/>
                  </a:lnTo>
                  <a:lnTo>
                    <a:pt x="207" y="395"/>
                  </a:lnTo>
                  <a:close/>
                  <a:moveTo>
                    <a:pt x="228" y="392"/>
                  </a:moveTo>
                  <a:lnTo>
                    <a:pt x="229" y="392"/>
                  </a:lnTo>
                  <a:lnTo>
                    <a:pt x="228" y="392"/>
                  </a:lnTo>
                  <a:close/>
                  <a:moveTo>
                    <a:pt x="221" y="392"/>
                  </a:moveTo>
                  <a:lnTo>
                    <a:pt x="223" y="393"/>
                  </a:lnTo>
                  <a:lnTo>
                    <a:pt x="221" y="393"/>
                  </a:lnTo>
                  <a:lnTo>
                    <a:pt x="221" y="392"/>
                  </a:lnTo>
                  <a:lnTo>
                    <a:pt x="220" y="393"/>
                  </a:lnTo>
                  <a:lnTo>
                    <a:pt x="221" y="392"/>
                  </a:lnTo>
                  <a:close/>
                  <a:moveTo>
                    <a:pt x="194" y="397"/>
                  </a:moveTo>
                  <a:lnTo>
                    <a:pt x="195" y="395"/>
                  </a:lnTo>
                  <a:lnTo>
                    <a:pt x="194" y="395"/>
                  </a:lnTo>
                  <a:lnTo>
                    <a:pt x="195" y="395"/>
                  </a:lnTo>
                  <a:lnTo>
                    <a:pt x="195" y="397"/>
                  </a:lnTo>
                  <a:lnTo>
                    <a:pt x="194" y="397"/>
                  </a:lnTo>
                  <a:lnTo>
                    <a:pt x="192" y="395"/>
                  </a:lnTo>
                  <a:lnTo>
                    <a:pt x="190" y="395"/>
                  </a:lnTo>
                  <a:lnTo>
                    <a:pt x="192" y="393"/>
                  </a:lnTo>
                  <a:lnTo>
                    <a:pt x="192" y="395"/>
                  </a:lnTo>
                  <a:lnTo>
                    <a:pt x="194" y="395"/>
                  </a:lnTo>
                  <a:lnTo>
                    <a:pt x="194" y="397"/>
                  </a:lnTo>
                  <a:close/>
                  <a:moveTo>
                    <a:pt x="226" y="392"/>
                  </a:moveTo>
                  <a:lnTo>
                    <a:pt x="225" y="392"/>
                  </a:lnTo>
                  <a:lnTo>
                    <a:pt x="226" y="392"/>
                  </a:lnTo>
                  <a:close/>
                  <a:moveTo>
                    <a:pt x="229" y="392"/>
                  </a:moveTo>
                  <a:lnTo>
                    <a:pt x="228" y="392"/>
                  </a:lnTo>
                  <a:lnTo>
                    <a:pt x="229" y="392"/>
                  </a:lnTo>
                  <a:close/>
                  <a:moveTo>
                    <a:pt x="194" y="393"/>
                  </a:moveTo>
                  <a:lnTo>
                    <a:pt x="192" y="393"/>
                  </a:lnTo>
                  <a:lnTo>
                    <a:pt x="194" y="393"/>
                  </a:lnTo>
                  <a:close/>
                  <a:moveTo>
                    <a:pt x="228" y="390"/>
                  </a:moveTo>
                  <a:lnTo>
                    <a:pt x="228" y="392"/>
                  </a:lnTo>
                  <a:lnTo>
                    <a:pt x="228" y="390"/>
                  </a:lnTo>
                  <a:lnTo>
                    <a:pt x="228" y="392"/>
                  </a:lnTo>
                  <a:lnTo>
                    <a:pt x="228" y="390"/>
                  </a:lnTo>
                  <a:close/>
                  <a:moveTo>
                    <a:pt x="221" y="392"/>
                  </a:moveTo>
                  <a:lnTo>
                    <a:pt x="221" y="390"/>
                  </a:lnTo>
                  <a:lnTo>
                    <a:pt x="221" y="392"/>
                  </a:lnTo>
                  <a:close/>
                  <a:moveTo>
                    <a:pt x="192" y="393"/>
                  </a:moveTo>
                  <a:lnTo>
                    <a:pt x="192" y="392"/>
                  </a:lnTo>
                  <a:lnTo>
                    <a:pt x="192" y="393"/>
                  </a:lnTo>
                  <a:close/>
                  <a:moveTo>
                    <a:pt x="228" y="390"/>
                  </a:moveTo>
                  <a:lnTo>
                    <a:pt x="226" y="390"/>
                  </a:lnTo>
                  <a:lnTo>
                    <a:pt x="226" y="392"/>
                  </a:lnTo>
                  <a:lnTo>
                    <a:pt x="226" y="390"/>
                  </a:lnTo>
                  <a:lnTo>
                    <a:pt x="228" y="390"/>
                  </a:lnTo>
                  <a:close/>
                  <a:moveTo>
                    <a:pt x="218" y="390"/>
                  </a:moveTo>
                  <a:lnTo>
                    <a:pt x="218" y="392"/>
                  </a:lnTo>
                  <a:lnTo>
                    <a:pt x="218" y="390"/>
                  </a:lnTo>
                  <a:close/>
                  <a:moveTo>
                    <a:pt x="216" y="390"/>
                  </a:moveTo>
                  <a:lnTo>
                    <a:pt x="215" y="390"/>
                  </a:lnTo>
                  <a:lnTo>
                    <a:pt x="216" y="390"/>
                  </a:lnTo>
                  <a:close/>
                  <a:moveTo>
                    <a:pt x="190" y="392"/>
                  </a:moveTo>
                  <a:lnTo>
                    <a:pt x="189" y="392"/>
                  </a:lnTo>
                  <a:lnTo>
                    <a:pt x="190" y="392"/>
                  </a:lnTo>
                  <a:close/>
                  <a:moveTo>
                    <a:pt x="225" y="390"/>
                  </a:moveTo>
                  <a:lnTo>
                    <a:pt x="225" y="388"/>
                  </a:lnTo>
                  <a:lnTo>
                    <a:pt x="226" y="388"/>
                  </a:lnTo>
                  <a:lnTo>
                    <a:pt x="226" y="390"/>
                  </a:lnTo>
                  <a:lnTo>
                    <a:pt x="226" y="388"/>
                  </a:lnTo>
                  <a:lnTo>
                    <a:pt x="225" y="390"/>
                  </a:lnTo>
                  <a:close/>
                  <a:moveTo>
                    <a:pt x="190" y="392"/>
                  </a:moveTo>
                  <a:lnTo>
                    <a:pt x="189" y="392"/>
                  </a:lnTo>
                  <a:lnTo>
                    <a:pt x="190" y="392"/>
                  </a:lnTo>
                  <a:close/>
                  <a:moveTo>
                    <a:pt x="192" y="392"/>
                  </a:moveTo>
                  <a:lnTo>
                    <a:pt x="190" y="392"/>
                  </a:lnTo>
                  <a:lnTo>
                    <a:pt x="190" y="390"/>
                  </a:lnTo>
                  <a:lnTo>
                    <a:pt x="192" y="390"/>
                  </a:lnTo>
                  <a:lnTo>
                    <a:pt x="192" y="392"/>
                  </a:lnTo>
                  <a:close/>
                  <a:moveTo>
                    <a:pt x="220" y="388"/>
                  </a:moveTo>
                  <a:lnTo>
                    <a:pt x="221" y="388"/>
                  </a:lnTo>
                  <a:lnTo>
                    <a:pt x="221" y="390"/>
                  </a:lnTo>
                  <a:lnTo>
                    <a:pt x="220" y="390"/>
                  </a:lnTo>
                  <a:lnTo>
                    <a:pt x="218" y="390"/>
                  </a:lnTo>
                  <a:lnTo>
                    <a:pt x="218" y="388"/>
                  </a:lnTo>
                  <a:lnTo>
                    <a:pt x="220" y="388"/>
                  </a:lnTo>
                  <a:close/>
                  <a:moveTo>
                    <a:pt x="197" y="390"/>
                  </a:moveTo>
                  <a:lnTo>
                    <a:pt x="195" y="390"/>
                  </a:lnTo>
                  <a:lnTo>
                    <a:pt x="197" y="390"/>
                  </a:lnTo>
                  <a:close/>
                  <a:moveTo>
                    <a:pt x="225" y="390"/>
                  </a:moveTo>
                  <a:lnTo>
                    <a:pt x="223" y="388"/>
                  </a:lnTo>
                  <a:lnTo>
                    <a:pt x="223" y="387"/>
                  </a:lnTo>
                  <a:lnTo>
                    <a:pt x="223" y="388"/>
                  </a:lnTo>
                  <a:lnTo>
                    <a:pt x="225" y="388"/>
                  </a:lnTo>
                  <a:lnTo>
                    <a:pt x="225" y="390"/>
                  </a:lnTo>
                  <a:close/>
                  <a:moveTo>
                    <a:pt x="223" y="387"/>
                  </a:moveTo>
                  <a:lnTo>
                    <a:pt x="223" y="388"/>
                  </a:lnTo>
                  <a:lnTo>
                    <a:pt x="221" y="387"/>
                  </a:lnTo>
                  <a:lnTo>
                    <a:pt x="223" y="387"/>
                  </a:lnTo>
                  <a:close/>
                  <a:moveTo>
                    <a:pt x="203" y="388"/>
                  </a:moveTo>
                  <a:lnTo>
                    <a:pt x="202" y="388"/>
                  </a:lnTo>
                  <a:lnTo>
                    <a:pt x="203" y="388"/>
                  </a:lnTo>
                  <a:close/>
                  <a:moveTo>
                    <a:pt x="215" y="388"/>
                  </a:moveTo>
                  <a:lnTo>
                    <a:pt x="215" y="387"/>
                  </a:lnTo>
                  <a:lnTo>
                    <a:pt x="215" y="388"/>
                  </a:lnTo>
                  <a:close/>
                  <a:moveTo>
                    <a:pt x="215" y="388"/>
                  </a:moveTo>
                  <a:lnTo>
                    <a:pt x="215" y="387"/>
                  </a:lnTo>
                  <a:lnTo>
                    <a:pt x="215" y="388"/>
                  </a:lnTo>
                  <a:close/>
                  <a:moveTo>
                    <a:pt x="218" y="388"/>
                  </a:moveTo>
                  <a:lnTo>
                    <a:pt x="218" y="387"/>
                  </a:lnTo>
                  <a:lnTo>
                    <a:pt x="218" y="388"/>
                  </a:lnTo>
                  <a:close/>
                  <a:moveTo>
                    <a:pt x="187" y="390"/>
                  </a:moveTo>
                  <a:lnTo>
                    <a:pt x="186" y="390"/>
                  </a:lnTo>
                  <a:lnTo>
                    <a:pt x="187" y="390"/>
                  </a:lnTo>
                  <a:close/>
                  <a:moveTo>
                    <a:pt x="213" y="388"/>
                  </a:moveTo>
                  <a:lnTo>
                    <a:pt x="215" y="388"/>
                  </a:lnTo>
                  <a:lnTo>
                    <a:pt x="213" y="388"/>
                  </a:lnTo>
                  <a:lnTo>
                    <a:pt x="212" y="388"/>
                  </a:lnTo>
                  <a:lnTo>
                    <a:pt x="212" y="387"/>
                  </a:lnTo>
                  <a:lnTo>
                    <a:pt x="213" y="387"/>
                  </a:lnTo>
                  <a:lnTo>
                    <a:pt x="213" y="388"/>
                  </a:lnTo>
                  <a:close/>
                  <a:moveTo>
                    <a:pt x="190" y="390"/>
                  </a:moveTo>
                  <a:lnTo>
                    <a:pt x="189" y="390"/>
                  </a:lnTo>
                  <a:lnTo>
                    <a:pt x="189" y="388"/>
                  </a:lnTo>
                  <a:lnTo>
                    <a:pt x="190" y="388"/>
                  </a:lnTo>
                  <a:lnTo>
                    <a:pt x="190" y="390"/>
                  </a:lnTo>
                  <a:close/>
                  <a:moveTo>
                    <a:pt x="200" y="387"/>
                  </a:moveTo>
                  <a:lnTo>
                    <a:pt x="199" y="387"/>
                  </a:lnTo>
                  <a:lnTo>
                    <a:pt x="200" y="387"/>
                  </a:lnTo>
                  <a:close/>
                  <a:moveTo>
                    <a:pt x="212" y="387"/>
                  </a:moveTo>
                  <a:lnTo>
                    <a:pt x="210" y="385"/>
                  </a:lnTo>
                  <a:lnTo>
                    <a:pt x="212" y="385"/>
                  </a:lnTo>
                  <a:lnTo>
                    <a:pt x="213" y="385"/>
                  </a:lnTo>
                  <a:lnTo>
                    <a:pt x="212" y="387"/>
                  </a:lnTo>
                  <a:close/>
                  <a:moveTo>
                    <a:pt x="194" y="387"/>
                  </a:moveTo>
                  <a:lnTo>
                    <a:pt x="194" y="385"/>
                  </a:lnTo>
                  <a:lnTo>
                    <a:pt x="194" y="387"/>
                  </a:lnTo>
                  <a:close/>
                  <a:moveTo>
                    <a:pt x="194" y="387"/>
                  </a:moveTo>
                  <a:lnTo>
                    <a:pt x="192" y="385"/>
                  </a:lnTo>
                  <a:lnTo>
                    <a:pt x="194" y="387"/>
                  </a:lnTo>
                  <a:close/>
                  <a:moveTo>
                    <a:pt x="192" y="387"/>
                  </a:moveTo>
                  <a:lnTo>
                    <a:pt x="190" y="387"/>
                  </a:lnTo>
                  <a:lnTo>
                    <a:pt x="190" y="385"/>
                  </a:lnTo>
                  <a:lnTo>
                    <a:pt x="192" y="385"/>
                  </a:lnTo>
                  <a:lnTo>
                    <a:pt x="192" y="387"/>
                  </a:lnTo>
                  <a:close/>
                  <a:moveTo>
                    <a:pt x="210" y="385"/>
                  </a:moveTo>
                  <a:lnTo>
                    <a:pt x="210" y="387"/>
                  </a:lnTo>
                  <a:lnTo>
                    <a:pt x="208" y="387"/>
                  </a:lnTo>
                  <a:lnTo>
                    <a:pt x="208" y="385"/>
                  </a:lnTo>
                  <a:lnTo>
                    <a:pt x="210" y="385"/>
                  </a:lnTo>
                  <a:close/>
                  <a:moveTo>
                    <a:pt x="195" y="387"/>
                  </a:moveTo>
                  <a:lnTo>
                    <a:pt x="197" y="387"/>
                  </a:lnTo>
                  <a:lnTo>
                    <a:pt x="197" y="385"/>
                  </a:lnTo>
                  <a:lnTo>
                    <a:pt x="199" y="387"/>
                  </a:lnTo>
                  <a:lnTo>
                    <a:pt x="197" y="387"/>
                  </a:lnTo>
                  <a:lnTo>
                    <a:pt x="199" y="388"/>
                  </a:lnTo>
                  <a:lnTo>
                    <a:pt x="199" y="387"/>
                  </a:lnTo>
                  <a:lnTo>
                    <a:pt x="199" y="388"/>
                  </a:lnTo>
                  <a:lnTo>
                    <a:pt x="200" y="388"/>
                  </a:lnTo>
                  <a:lnTo>
                    <a:pt x="200" y="387"/>
                  </a:lnTo>
                  <a:lnTo>
                    <a:pt x="202" y="387"/>
                  </a:lnTo>
                  <a:lnTo>
                    <a:pt x="202" y="388"/>
                  </a:lnTo>
                  <a:lnTo>
                    <a:pt x="202" y="390"/>
                  </a:lnTo>
                  <a:lnTo>
                    <a:pt x="203" y="390"/>
                  </a:lnTo>
                  <a:lnTo>
                    <a:pt x="203" y="392"/>
                  </a:lnTo>
                  <a:lnTo>
                    <a:pt x="205" y="393"/>
                  </a:lnTo>
                  <a:lnTo>
                    <a:pt x="205" y="395"/>
                  </a:lnTo>
                  <a:lnTo>
                    <a:pt x="207" y="395"/>
                  </a:lnTo>
                  <a:lnTo>
                    <a:pt x="205" y="395"/>
                  </a:lnTo>
                  <a:lnTo>
                    <a:pt x="205" y="393"/>
                  </a:lnTo>
                  <a:lnTo>
                    <a:pt x="203" y="393"/>
                  </a:lnTo>
                  <a:lnTo>
                    <a:pt x="202" y="393"/>
                  </a:lnTo>
                  <a:lnTo>
                    <a:pt x="202" y="392"/>
                  </a:lnTo>
                  <a:lnTo>
                    <a:pt x="200" y="392"/>
                  </a:lnTo>
                  <a:lnTo>
                    <a:pt x="200" y="390"/>
                  </a:lnTo>
                  <a:lnTo>
                    <a:pt x="199" y="390"/>
                  </a:lnTo>
                  <a:lnTo>
                    <a:pt x="197" y="388"/>
                  </a:lnTo>
                  <a:lnTo>
                    <a:pt x="195" y="388"/>
                  </a:lnTo>
                  <a:lnTo>
                    <a:pt x="195" y="387"/>
                  </a:lnTo>
                  <a:lnTo>
                    <a:pt x="195" y="388"/>
                  </a:lnTo>
                  <a:lnTo>
                    <a:pt x="194" y="388"/>
                  </a:lnTo>
                  <a:lnTo>
                    <a:pt x="194" y="387"/>
                  </a:lnTo>
                  <a:lnTo>
                    <a:pt x="195" y="387"/>
                  </a:lnTo>
                  <a:lnTo>
                    <a:pt x="195" y="385"/>
                  </a:lnTo>
                  <a:lnTo>
                    <a:pt x="195" y="387"/>
                  </a:lnTo>
                  <a:close/>
                  <a:moveTo>
                    <a:pt x="194" y="385"/>
                  </a:moveTo>
                  <a:lnTo>
                    <a:pt x="192" y="385"/>
                  </a:lnTo>
                  <a:lnTo>
                    <a:pt x="194" y="384"/>
                  </a:lnTo>
                  <a:lnTo>
                    <a:pt x="194" y="385"/>
                  </a:lnTo>
                  <a:close/>
                  <a:moveTo>
                    <a:pt x="203" y="384"/>
                  </a:moveTo>
                  <a:lnTo>
                    <a:pt x="202" y="384"/>
                  </a:lnTo>
                  <a:lnTo>
                    <a:pt x="203" y="384"/>
                  </a:lnTo>
                  <a:close/>
                  <a:moveTo>
                    <a:pt x="200" y="382"/>
                  </a:moveTo>
                  <a:lnTo>
                    <a:pt x="202" y="382"/>
                  </a:lnTo>
                  <a:lnTo>
                    <a:pt x="202" y="384"/>
                  </a:lnTo>
                  <a:lnTo>
                    <a:pt x="200" y="384"/>
                  </a:lnTo>
                  <a:lnTo>
                    <a:pt x="200" y="382"/>
                  </a:lnTo>
                  <a:close/>
                  <a:moveTo>
                    <a:pt x="194" y="384"/>
                  </a:moveTo>
                  <a:lnTo>
                    <a:pt x="194" y="382"/>
                  </a:lnTo>
                  <a:lnTo>
                    <a:pt x="194" y="384"/>
                  </a:lnTo>
                  <a:close/>
                  <a:moveTo>
                    <a:pt x="181" y="382"/>
                  </a:moveTo>
                  <a:lnTo>
                    <a:pt x="181" y="384"/>
                  </a:lnTo>
                  <a:lnTo>
                    <a:pt x="181" y="382"/>
                  </a:lnTo>
                  <a:close/>
                  <a:moveTo>
                    <a:pt x="181" y="382"/>
                  </a:moveTo>
                  <a:lnTo>
                    <a:pt x="182" y="382"/>
                  </a:lnTo>
                  <a:lnTo>
                    <a:pt x="181" y="382"/>
                  </a:lnTo>
                  <a:close/>
                  <a:moveTo>
                    <a:pt x="197" y="382"/>
                  </a:moveTo>
                  <a:lnTo>
                    <a:pt x="195" y="382"/>
                  </a:lnTo>
                  <a:lnTo>
                    <a:pt x="195" y="380"/>
                  </a:lnTo>
                  <a:lnTo>
                    <a:pt x="197" y="380"/>
                  </a:lnTo>
                  <a:lnTo>
                    <a:pt x="197" y="382"/>
                  </a:lnTo>
                  <a:close/>
                  <a:moveTo>
                    <a:pt x="194" y="380"/>
                  </a:moveTo>
                  <a:lnTo>
                    <a:pt x="195" y="382"/>
                  </a:lnTo>
                  <a:lnTo>
                    <a:pt x="194" y="382"/>
                  </a:lnTo>
                  <a:lnTo>
                    <a:pt x="194" y="380"/>
                  </a:lnTo>
                  <a:close/>
                  <a:moveTo>
                    <a:pt x="212" y="379"/>
                  </a:moveTo>
                  <a:lnTo>
                    <a:pt x="212" y="377"/>
                  </a:lnTo>
                  <a:lnTo>
                    <a:pt x="212" y="379"/>
                  </a:lnTo>
                  <a:close/>
                  <a:moveTo>
                    <a:pt x="197" y="379"/>
                  </a:moveTo>
                  <a:lnTo>
                    <a:pt x="199" y="380"/>
                  </a:lnTo>
                  <a:lnTo>
                    <a:pt x="200" y="382"/>
                  </a:lnTo>
                  <a:lnTo>
                    <a:pt x="199" y="382"/>
                  </a:lnTo>
                  <a:lnTo>
                    <a:pt x="199" y="380"/>
                  </a:lnTo>
                  <a:lnTo>
                    <a:pt x="197" y="380"/>
                  </a:lnTo>
                  <a:lnTo>
                    <a:pt x="197" y="379"/>
                  </a:lnTo>
                  <a:close/>
                  <a:moveTo>
                    <a:pt x="210" y="377"/>
                  </a:moveTo>
                  <a:lnTo>
                    <a:pt x="208" y="379"/>
                  </a:lnTo>
                  <a:lnTo>
                    <a:pt x="208" y="377"/>
                  </a:lnTo>
                  <a:lnTo>
                    <a:pt x="210" y="377"/>
                  </a:lnTo>
                  <a:close/>
                  <a:moveTo>
                    <a:pt x="190" y="380"/>
                  </a:moveTo>
                  <a:lnTo>
                    <a:pt x="190" y="382"/>
                  </a:lnTo>
                  <a:lnTo>
                    <a:pt x="189" y="382"/>
                  </a:lnTo>
                  <a:lnTo>
                    <a:pt x="189" y="380"/>
                  </a:lnTo>
                  <a:lnTo>
                    <a:pt x="187" y="380"/>
                  </a:lnTo>
                  <a:lnTo>
                    <a:pt x="187" y="379"/>
                  </a:lnTo>
                  <a:lnTo>
                    <a:pt x="189" y="379"/>
                  </a:lnTo>
                  <a:lnTo>
                    <a:pt x="189" y="380"/>
                  </a:lnTo>
                  <a:lnTo>
                    <a:pt x="190" y="380"/>
                  </a:lnTo>
                  <a:close/>
                  <a:moveTo>
                    <a:pt x="208" y="377"/>
                  </a:moveTo>
                  <a:lnTo>
                    <a:pt x="207" y="377"/>
                  </a:lnTo>
                  <a:lnTo>
                    <a:pt x="207" y="375"/>
                  </a:lnTo>
                  <a:lnTo>
                    <a:pt x="208" y="375"/>
                  </a:lnTo>
                  <a:lnTo>
                    <a:pt x="208" y="377"/>
                  </a:lnTo>
                  <a:close/>
                  <a:moveTo>
                    <a:pt x="210" y="375"/>
                  </a:moveTo>
                  <a:lnTo>
                    <a:pt x="208" y="377"/>
                  </a:lnTo>
                  <a:lnTo>
                    <a:pt x="208" y="375"/>
                  </a:lnTo>
                  <a:lnTo>
                    <a:pt x="210" y="375"/>
                  </a:lnTo>
                  <a:close/>
                  <a:moveTo>
                    <a:pt x="184" y="377"/>
                  </a:moveTo>
                  <a:lnTo>
                    <a:pt x="184" y="375"/>
                  </a:lnTo>
                  <a:lnTo>
                    <a:pt x="184" y="377"/>
                  </a:lnTo>
                  <a:close/>
                  <a:moveTo>
                    <a:pt x="182" y="377"/>
                  </a:moveTo>
                  <a:lnTo>
                    <a:pt x="182" y="375"/>
                  </a:lnTo>
                  <a:lnTo>
                    <a:pt x="182" y="377"/>
                  </a:lnTo>
                  <a:close/>
                  <a:moveTo>
                    <a:pt x="208" y="374"/>
                  </a:moveTo>
                  <a:lnTo>
                    <a:pt x="207" y="374"/>
                  </a:lnTo>
                  <a:lnTo>
                    <a:pt x="208" y="374"/>
                  </a:lnTo>
                  <a:close/>
                  <a:moveTo>
                    <a:pt x="181" y="375"/>
                  </a:moveTo>
                  <a:lnTo>
                    <a:pt x="182" y="377"/>
                  </a:lnTo>
                  <a:lnTo>
                    <a:pt x="181" y="377"/>
                  </a:lnTo>
                  <a:lnTo>
                    <a:pt x="181" y="375"/>
                  </a:lnTo>
                  <a:close/>
                  <a:moveTo>
                    <a:pt x="207" y="372"/>
                  </a:moveTo>
                  <a:lnTo>
                    <a:pt x="205" y="372"/>
                  </a:lnTo>
                  <a:lnTo>
                    <a:pt x="207" y="372"/>
                  </a:lnTo>
                  <a:close/>
                  <a:moveTo>
                    <a:pt x="176" y="372"/>
                  </a:moveTo>
                  <a:lnTo>
                    <a:pt x="176" y="374"/>
                  </a:lnTo>
                  <a:lnTo>
                    <a:pt x="176" y="372"/>
                  </a:lnTo>
                  <a:lnTo>
                    <a:pt x="174" y="372"/>
                  </a:lnTo>
                  <a:lnTo>
                    <a:pt x="176" y="372"/>
                  </a:lnTo>
                  <a:close/>
                  <a:moveTo>
                    <a:pt x="176" y="371"/>
                  </a:moveTo>
                  <a:lnTo>
                    <a:pt x="176" y="372"/>
                  </a:lnTo>
                  <a:lnTo>
                    <a:pt x="176" y="371"/>
                  </a:lnTo>
                  <a:close/>
                  <a:moveTo>
                    <a:pt x="190" y="369"/>
                  </a:moveTo>
                  <a:lnTo>
                    <a:pt x="192" y="369"/>
                  </a:lnTo>
                  <a:lnTo>
                    <a:pt x="190" y="369"/>
                  </a:lnTo>
                  <a:close/>
                  <a:moveTo>
                    <a:pt x="182" y="369"/>
                  </a:moveTo>
                  <a:lnTo>
                    <a:pt x="184" y="371"/>
                  </a:lnTo>
                  <a:lnTo>
                    <a:pt x="182" y="369"/>
                  </a:lnTo>
                  <a:close/>
                  <a:moveTo>
                    <a:pt x="189" y="366"/>
                  </a:moveTo>
                  <a:lnTo>
                    <a:pt x="187" y="367"/>
                  </a:lnTo>
                  <a:lnTo>
                    <a:pt x="187" y="366"/>
                  </a:lnTo>
                  <a:lnTo>
                    <a:pt x="189" y="366"/>
                  </a:lnTo>
                  <a:close/>
                  <a:moveTo>
                    <a:pt x="171" y="366"/>
                  </a:moveTo>
                  <a:lnTo>
                    <a:pt x="171" y="367"/>
                  </a:lnTo>
                  <a:lnTo>
                    <a:pt x="169" y="366"/>
                  </a:lnTo>
                  <a:lnTo>
                    <a:pt x="171" y="366"/>
                  </a:lnTo>
                  <a:close/>
                  <a:moveTo>
                    <a:pt x="181" y="366"/>
                  </a:moveTo>
                  <a:lnTo>
                    <a:pt x="179" y="366"/>
                  </a:lnTo>
                  <a:lnTo>
                    <a:pt x="181" y="366"/>
                  </a:lnTo>
                  <a:close/>
                  <a:moveTo>
                    <a:pt x="173" y="366"/>
                  </a:moveTo>
                  <a:lnTo>
                    <a:pt x="173" y="367"/>
                  </a:lnTo>
                  <a:lnTo>
                    <a:pt x="174" y="367"/>
                  </a:lnTo>
                  <a:lnTo>
                    <a:pt x="174" y="369"/>
                  </a:lnTo>
                  <a:lnTo>
                    <a:pt x="176" y="371"/>
                  </a:lnTo>
                  <a:lnTo>
                    <a:pt x="174" y="371"/>
                  </a:lnTo>
                  <a:lnTo>
                    <a:pt x="173" y="369"/>
                  </a:lnTo>
                  <a:lnTo>
                    <a:pt x="173" y="367"/>
                  </a:lnTo>
                  <a:lnTo>
                    <a:pt x="173" y="366"/>
                  </a:lnTo>
                  <a:lnTo>
                    <a:pt x="171" y="366"/>
                  </a:lnTo>
                  <a:lnTo>
                    <a:pt x="173" y="366"/>
                  </a:lnTo>
                  <a:close/>
                  <a:moveTo>
                    <a:pt x="187" y="361"/>
                  </a:moveTo>
                  <a:lnTo>
                    <a:pt x="187" y="359"/>
                  </a:lnTo>
                  <a:lnTo>
                    <a:pt x="187" y="361"/>
                  </a:lnTo>
                  <a:close/>
                  <a:moveTo>
                    <a:pt x="173" y="361"/>
                  </a:moveTo>
                  <a:lnTo>
                    <a:pt x="171" y="361"/>
                  </a:lnTo>
                  <a:lnTo>
                    <a:pt x="173" y="361"/>
                  </a:lnTo>
                  <a:close/>
                  <a:moveTo>
                    <a:pt x="174" y="361"/>
                  </a:moveTo>
                  <a:lnTo>
                    <a:pt x="176" y="361"/>
                  </a:lnTo>
                  <a:lnTo>
                    <a:pt x="176" y="362"/>
                  </a:lnTo>
                  <a:lnTo>
                    <a:pt x="177" y="362"/>
                  </a:lnTo>
                  <a:lnTo>
                    <a:pt x="177" y="364"/>
                  </a:lnTo>
                  <a:lnTo>
                    <a:pt x="179" y="366"/>
                  </a:lnTo>
                  <a:lnTo>
                    <a:pt x="179" y="367"/>
                  </a:lnTo>
                  <a:lnTo>
                    <a:pt x="181" y="367"/>
                  </a:lnTo>
                  <a:lnTo>
                    <a:pt x="182" y="367"/>
                  </a:lnTo>
                  <a:lnTo>
                    <a:pt x="182" y="369"/>
                  </a:lnTo>
                  <a:lnTo>
                    <a:pt x="182" y="371"/>
                  </a:lnTo>
                  <a:lnTo>
                    <a:pt x="184" y="372"/>
                  </a:lnTo>
                  <a:lnTo>
                    <a:pt x="184" y="371"/>
                  </a:lnTo>
                  <a:lnTo>
                    <a:pt x="182" y="371"/>
                  </a:lnTo>
                  <a:lnTo>
                    <a:pt x="181" y="371"/>
                  </a:lnTo>
                  <a:lnTo>
                    <a:pt x="181" y="369"/>
                  </a:lnTo>
                  <a:lnTo>
                    <a:pt x="179" y="369"/>
                  </a:lnTo>
                  <a:lnTo>
                    <a:pt x="179" y="367"/>
                  </a:lnTo>
                  <a:lnTo>
                    <a:pt x="176" y="366"/>
                  </a:lnTo>
                  <a:lnTo>
                    <a:pt x="176" y="364"/>
                  </a:lnTo>
                  <a:lnTo>
                    <a:pt x="174" y="364"/>
                  </a:lnTo>
                  <a:lnTo>
                    <a:pt x="173" y="362"/>
                  </a:lnTo>
                  <a:lnTo>
                    <a:pt x="174" y="362"/>
                  </a:lnTo>
                  <a:lnTo>
                    <a:pt x="174" y="361"/>
                  </a:lnTo>
                  <a:lnTo>
                    <a:pt x="173" y="361"/>
                  </a:lnTo>
                  <a:lnTo>
                    <a:pt x="173" y="359"/>
                  </a:lnTo>
                  <a:lnTo>
                    <a:pt x="174" y="361"/>
                  </a:lnTo>
                  <a:close/>
                  <a:moveTo>
                    <a:pt x="158" y="359"/>
                  </a:moveTo>
                  <a:lnTo>
                    <a:pt x="156" y="359"/>
                  </a:lnTo>
                  <a:lnTo>
                    <a:pt x="158" y="359"/>
                  </a:lnTo>
                  <a:close/>
                  <a:moveTo>
                    <a:pt x="161" y="356"/>
                  </a:moveTo>
                  <a:lnTo>
                    <a:pt x="160" y="356"/>
                  </a:lnTo>
                  <a:lnTo>
                    <a:pt x="161" y="356"/>
                  </a:lnTo>
                  <a:close/>
                  <a:moveTo>
                    <a:pt x="169" y="353"/>
                  </a:moveTo>
                  <a:lnTo>
                    <a:pt x="169" y="354"/>
                  </a:lnTo>
                  <a:lnTo>
                    <a:pt x="169" y="353"/>
                  </a:lnTo>
                  <a:close/>
                  <a:moveTo>
                    <a:pt x="161" y="353"/>
                  </a:moveTo>
                  <a:lnTo>
                    <a:pt x="160" y="353"/>
                  </a:lnTo>
                  <a:lnTo>
                    <a:pt x="161" y="353"/>
                  </a:lnTo>
                  <a:close/>
                  <a:moveTo>
                    <a:pt x="160" y="353"/>
                  </a:moveTo>
                  <a:lnTo>
                    <a:pt x="158" y="353"/>
                  </a:lnTo>
                  <a:lnTo>
                    <a:pt x="160" y="353"/>
                  </a:lnTo>
                  <a:close/>
                  <a:moveTo>
                    <a:pt x="176" y="351"/>
                  </a:moveTo>
                  <a:lnTo>
                    <a:pt x="176" y="353"/>
                  </a:lnTo>
                  <a:lnTo>
                    <a:pt x="177" y="353"/>
                  </a:lnTo>
                  <a:lnTo>
                    <a:pt x="177" y="354"/>
                  </a:lnTo>
                  <a:lnTo>
                    <a:pt x="177" y="353"/>
                  </a:lnTo>
                  <a:lnTo>
                    <a:pt x="179" y="353"/>
                  </a:lnTo>
                  <a:lnTo>
                    <a:pt x="179" y="354"/>
                  </a:lnTo>
                  <a:lnTo>
                    <a:pt x="179" y="356"/>
                  </a:lnTo>
                  <a:lnTo>
                    <a:pt x="181" y="356"/>
                  </a:lnTo>
                  <a:lnTo>
                    <a:pt x="182" y="356"/>
                  </a:lnTo>
                  <a:lnTo>
                    <a:pt x="182" y="358"/>
                  </a:lnTo>
                  <a:lnTo>
                    <a:pt x="184" y="358"/>
                  </a:lnTo>
                  <a:lnTo>
                    <a:pt x="182" y="358"/>
                  </a:lnTo>
                  <a:lnTo>
                    <a:pt x="184" y="356"/>
                  </a:lnTo>
                  <a:lnTo>
                    <a:pt x="186" y="358"/>
                  </a:lnTo>
                  <a:lnTo>
                    <a:pt x="184" y="359"/>
                  </a:lnTo>
                  <a:lnTo>
                    <a:pt x="186" y="359"/>
                  </a:lnTo>
                  <a:lnTo>
                    <a:pt x="186" y="361"/>
                  </a:lnTo>
                  <a:lnTo>
                    <a:pt x="187" y="361"/>
                  </a:lnTo>
                  <a:lnTo>
                    <a:pt x="187" y="362"/>
                  </a:lnTo>
                  <a:lnTo>
                    <a:pt x="189" y="362"/>
                  </a:lnTo>
                  <a:lnTo>
                    <a:pt x="190" y="364"/>
                  </a:lnTo>
                  <a:lnTo>
                    <a:pt x="192" y="364"/>
                  </a:lnTo>
                  <a:lnTo>
                    <a:pt x="192" y="366"/>
                  </a:lnTo>
                  <a:lnTo>
                    <a:pt x="194" y="367"/>
                  </a:lnTo>
                  <a:lnTo>
                    <a:pt x="192" y="367"/>
                  </a:lnTo>
                  <a:lnTo>
                    <a:pt x="192" y="369"/>
                  </a:lnTo>
                  <a:lnTo>
                    <a:pt x="194" y="369"/>
                  </a:lnTo>
                  <a:lnTo>
                    <a:pt x="194" y="367"/>
                  </a:lnTo>
                  <a:lnTo>
                    <a:pt x="194" y="369"/>
                  </a:lnTo>
                  <a:lnTo>
                    <a:pt x="195" y="369"/>
                  </a:lnTo>
                  <a:lnTo>
                    <a:pt x="197" y="369"/>
                  </a:lnTo>
                  <a:lnTo>
                    <a:pt x="195" y="369"/>
                  </a:lnTo>
                  <a:lnTo>
                    <a:pt x="197" y="371"/>
                  </a:lnTo>
                  <a:lnTo>
                    <a:pt x="199" y="371"/>
                  </a:lnTo>
                  <a:lnTo>
                    <a:pt x="200" y="371"/>
                  </a:lnTo>
                  <a:lnTo>
                    <a:pt x="200" y="372"/>
                  </a:lnTo>
                  <a:lnTo>
                    <a:pt x="202" y="372"/>
                  </a:lnTo>
                  <a:lnTo>
                    <a:pt x="203" y="372"/>
                  </a:lnTo>
                  <a:lnTo>
                    <a:pt x="203" y="374"/>
                  </a:lnTo>
                  <a:lnTo>
                    <a:pt x="205" y="374"/>
                  </a:lnTo>
                  <a:lnTo>
                    <a:pt x="203" y="374"/>
                  </a:lnTo>
                  <a:lnTo>
                    <a:pt x="205" y="374"/>
                  </a:lnTo>
                  <a:lnTo>
                    <a:pt x="203" y="374"/>
                  </a:lnTo>
                  <a:lnTo>
                    <a:pt x="205" y="374"/>
                  </a:lnTo>
                  <a:lnTo>
                    <a:pt x="207" y="375"/>
                  </a:lnTo>
                  <a:lnTo>
                    <a:pt x="207" y="377"/>
                  </a:lnTo>
                  <a:lnTo>
                    <a:pt x="207" y="379"/>
                  </a:lnTo>
                  <a:lnTo>
                    <a:pt x="208" y="379"/>
                  </a:lnTo>
                  <a:lnTo>
                    <a:pt x="210" y="379"/>
                  </a:lnTo>
                  <a:lnTo>
                    <a:pt x="210" y="380"/>
                  </a:lnTo>
                  <a:lnTo>
                    <a:pt x="212" y="380"/>
                  </a:lnTo>
                  <a:lnTo>
                    <a:pt x="212" y="382"/>
                  </a:lnTo>
                  <a:lnTo>
                    <a:pt x="213" y="382"/>
                  </a:lnTo>
                  <a:lnTo>
                    <a:pt x="215" y="384"/>
                  </a:lnTo>
                  <a:lnTo>
                    <a:pt x="215" y="385"/>
                  </a:lnTo>
                  <a:lnTo>
                    <a:pt x="213" y="384"/>
                  </a:lnTo>
                  <a:lnTo>
                    <a:pt x="212" y="385"/>
                  </a:lnTo>
                  <a:lnTo>
                    <a:pt x="210" y="384"/>
                  </a:lnTo>
                  <a:lnTo>
                    <a:pt x="208" y="384"/>
                  </a:lnTo>
                  <a:lnTo>
                    <a:pt x="208" y="382"/>
                  </a:lnTo>
                  <a:lnTo>
                    <a:pt x="207" y="382"/>
                  </a:lnTo>
                  <a:lnTo>
                    <a:pt x="207" y="384"/>
                  </a:lnTo>
                  <a:lnTo>
                    <a:pt x="207" y="382"/>
                  </a:lnTo>
                  <a:lnTo>
                    <a:pt x="205" y="382"/>
                  </a:lnTo>
                  <a:lnTo>
                    <a:pt x="207" y="382"/>
                  </a:lnTo>
                  <a:lnTo>
                    <a:pt x="205" y="384"/>
                  </a:lnTo>
                  <a:lnTo>
                    <a:pt x="205" y="382"/>
                  </a:lnTo>
                  <a:lnTo>
                    <a:pt x="203" y="382"/>
                  </a:lnTo>
                  <a:lnTo>
                    <a:pt x="203" y="380"/>
                  </a:lnTo>
                  <a:lnTo>
                    <a:pt x="205" y="380"/>
                  </a:lnTo>
                  <a:lnTo>
                    <a:pt x="203" y="380"/>
                  </a:lnTo>
                  <a:lnTo>
                    <a:pt x="203" y="379"/>
                  </a:lnTo>
                  <a:lnTo>
                    <a:pt x="203" y="380"/>
                  </a:lnTo>
                  <a:lnTo>
                    <a:pt x="203" y="379"/>
                  </a:lnTo>
                  <a:lnTo>
                    <a:pt x="202" y="379"/>
                  </a:lnTo>
                  <a:lnTo>
                    <a:pt x="202" y="377"/>
                  </a:lnTo>
                  <a:lnTo>
                    <a:pt x="200" y="379"/>
                  </a:lnTo>
                  <a:lnTo>
                    <a:pt x="200" y="377"/>
                  </a:lnTo>
                  <a:lnTo>
                    <a:pt x="199" y="377"/>
                  </a:lnTo>
                  <a:lnTo>
                    <a:pt x="199" y="375"/>
                  </a:lnTo>
                  <a:lnTo>
                    <a:pt x="197" y="375"/>
                  </a:lnTo>
                  <a:lnTo>
                    <a:pt x="197" y="374"/>
                  </a:lnTo>
                  <a:lnTo>
                    <a:pt x="194" y="371"/>
                  </a:lnTo>
                  <a:lnTo>
                    <a:pt x="194" y="369"/>
                  </a:lnTo>
                  <a:lnTo>
                    <a:pt x="192" y="369"/>
                  </a:lnTo>
                  <a:lnTo>
                    <a:pt x="190" y="369"/>
                  </a:lnTo>
                  <a:lnTo>
                    <a:pt x="192" y="367"/>
                  </a:lnTo>
                  <a:lnTo>
                    <a:pt x="190" y="367"/>
                  </a:lnTo>
                  <a:lnTo>
                    <a:pt x="190" y="366"/>
                  </a:lnTo>
                  <a:lnTo>
                    <a:pt x="189" y="366"/>
                  </a:lnTo>
                  <a:lnTo>
                    <a:pt x="190" y="366"/>
                  </a:lnTo>
                  <a:lnTo>
                    <a:pt x="189" y="364"/>
                  </a:lnTo>
                  <a:lnTo>
                    <a:pt x="187" y="364"/>
                  </a:lnTo>
                  <a:lnTo>
                    <a:pt x="189" y="366"/>
                  </a:lnTo>
                  <a:lnTo>
                    <a:pt x="187" y="364"/>
                  </a:lnTo>
                  <a:lnTo>
                    <a:pt x="187" y="366"/>
                  </a:lnTo>
                  <a:lnTo>
                    <a:pt x="186" y="366"/>
                  </a:lnTo>
                  <a:lnTo>
                    <a:pt x="186" y="364"/>
                  </a:lnTo>
                  <a:lnTo>
                    <a:pt x="184" y="362"/>
                  </a:lnTo>
                  <a:lnTo>
                    <a:pt x="182" y="362"/>
                  </a:lnTo>
                  <a:lnTo>
                    <a:pt x="181" y="361"/>
                  </a:lnTo>
                  <a:lnTo>
                    <a:pt x="179" y="359"/>
                  </a:lnTo>
                  <a:lnTo>
                    <a:pt x="177" y="356"/>
                  </a:lnTo>
                  <a:lnTo>
                    <a:pt x="176" y="356"/>
                  </a:lnTo>
                  <a:lnTo>
                    <a:pt x="174" y="354"/>
                  </a:lnTo>
                  <a:lnTo>
                    <a:pt x="173" y="354"/>
                  </a:lnTo>
                  <a:lnTo>
                    <a:pt x="173" y="353"/>
                  </a:lnTo>
                  <a:lnTo>
                    <a:pt x="173" y="351"/>
                  </a:lnTo>
                  <a:lnTo>
                    <a:pt x="171" y="349"/>
                  </a:lnTo>
                  <a:lnTo>
                    <a:pt x="173" y="349"/>
                  </a:lnTo>
                  <a:lnTo>
                    <a:pt x="174" y="351"/>
                  </a:lnTo>
                  <a:lnTo>
                    <a:pt x="176" y="351"/>
                  </a:lnTo>
                  <a:close/>
                  <a:moveTo>
                    <a:pt x="171" y="349"/>
                  </a:moveTo>
                  <a:lnTo>
                    <a:pt x="171" y="348"/>
                  </a:lnTo>
                  <a:lnTo>
                    <a:pt x="171" y="349"/>
                  </a:lnTo>
                  <a:close/>
                  <a:moveTo>
                    <a:pt x="171" y="351"/>
                  </a:moveTo>
                  <a:lnTo>
                    <a:pt x="169" y="351"/>
                  </a:lnTo>
                  <a:lnTo>
                    <a:pt x="168" y="349"/>
                  </a:lnTo>
                  <a:lnTo>
                    <a:pt x="168" y="348"/>
                  </a:lnTo>
                  <a:lnTo>
                    <a:pt x="169" y="349"/>
                  </a:lnTo>
                  <a:lnTo>
                    <a:pt x="171" y="349"/>
                  </a:lnTo>
                  <a:lnTo>
                    <a:pt x="171" y="351"/>
                  </a:lnTo>
                  <a:close/>
                  <a:moveTo>
                    <a:pt x="156" y="349"/>
                  </a:moveTo>
                  <a:lnTo>
                    <a:pt x="158" y="349"/>
                  </a:lnTo>
                  <a:lnTo>
                    <a:pt x="160" y="351"/>
                  </a:lnTo>
                  <a:lnTo>
                    <a:pt x="160" y="353"/>
                  </a:lnTo>
                  <a:lnTo>
                    <a:pt x="158" y="351"/>
                  </a:lnTo>
                  <a:lnTo>
                    <a:pt x="156" y="351"/>
                  </a:lnTo>
                  <a:lnTo>
                    <a:pt x="156" y="349"/>
                  </a:lnTo>
                  <a:lnTo>
                    <a:pt x="155" y="349"/>
                  </a:lnTo>
                  <a:lnTo>
                    <a:pt x="153" y="348"/>
                  </a:lnTo>
                  <a:lnTo>
                    <a:pt x="155" y="348"/>
                  </a:lnTo>
                  <a:lnTo>
                    <a:pt x="156" y="348"/>
                  </a:lnTo>
                  <a:lnTo>
                    <a:pt x="156" y="349"/>
                  </a:lnTo>
                  <a:close/>
                  <a:moveTo>
                    <a:pt x="192" y="392"/>
                  </a:moveTo>
                  <a:lnTo>
                    <a:pt x="194" y="392"/>
                  </a:lnTo>
                  <a:lnTo>
                    <a:pt x="192" y="392"/>
                  </a:lnTo>
                  <a:lnTo>
                    <a:pt x="192" y="390"/>
                  </a:lnTo>
                  <a:lnTo>
                    <a:pt x="190" y="390"/>
                  </a:lnTo>
                  <a:lnTo>
                    <a:pt x="190" y="388"/>
                  </a:lnTo>
                  <a:lnTo>
                    <a:pt x="189" y="388"/>
                  </a:lnTo>
                  <a:lnTo>
                    <a:pt x="190" y="387"/>
                  </a:lnTo>
                  <a:lnTo>
                    <a:pt x="189" y="387"/>
                  </a:lnTo>
                  <a:lnTo>
                    <a:pt x="190" y="387"/>
                  </a:lnTo>
                  <a:lnTo>
                    <a:pt x="189" y="387"/>
                  </a:lnTo>
                  <a:lnTo>
                    <a:pt x="187" y="385"/>
                  </a:lnTo>
                  <a:lnTo>
                    <a:pt x="186" y="385"/>
                  </a:lnTo>
                  <a:lnTo>
                    <a:pt x="184" y="385"/>
                  </a:lnTo>
                  <a:lnTo>
                    <a:pt x="184" y="384"/>
                  </a:lnTo>
                  <a:lnTo>
                    <a:pt x="182" y="384"/>
                  </a:lnTo>
                  <a:lnTo>
                    <a:pt x="182" y="382"/>
                  </a:lnTo>
                  <a:lnTo>
                    <a:pt x="181" y="382"/>
                  </a:lnTo>
                  <a:lnTo>
                    <a:pt x="181" y="384"/>
                  </a:lnTo>
                  <a:lnTo>
                    <a:pt x="182" y="384"/>
                  </a:lnTo>
                  <a:lnTo>
                    <a:pt x="182" y="385"/>
                  </a:lnTo>
                  <a:lnTo>
                    <a:pt x="184" y="385"/>
                  </a:lnTo>
                  <a:lnTo>
                    <a:pt x="182" y="385"/>
                  </a:lnTo>
                  <a:lnTo>
                    <a:pt x="184" y="387"/>
                  </a:lnTo>
                  <a:lnTo>
                    <a:pt x="184" y="385"/>
                  </a:lnTo>
                  <a:lnTo>
                    <a:pt x="186" y="385"/>
                  </a:lnTo>
                  <a:lnTo>
                    <a:pt x="186" y="387"/>
                  </a:lnTo>
                  <a:lnTo>
                    <a:pt x="187" y="387"/>
                  </a:lnTo>
                  <a:lnTo>
                    <a:pt x="187" y="388"/>
                  </a:lnTo>
                  <a:lnTo>
                    <a:pt x="189" y="388"/>
                  </a:lnTo>
                  <a:lnTo>
                    <a:pt x="187" y="390"/>
                  </a:lnTo>
                  <a:lnTo>
                    <a:pt x="189" y="390"/>
                  </a:lnTo>
                  <a:lnTo>
                    <a:pt x="187" y="390"/>
                  </a:lnTo>
                  <a:lnTo>
                    <a:pt x="187" y="388"/>
                  </a:lnTo>
                  <a:lnTo>
                    <a:pt x="186" y="388"/>
                  </a:lnTo>
                  <a:lnTo>
                    <a:pt x="184" y="387"/>
                  </a:lnTo>
                  <a:lnTo>
                    <a:pt x="182" y="387"/>
                  </a:lnTo>
                  <a:lnTo>
                    <a:pt x="182" y="385"/>
                  </a:lnTo>
                  <a:lnTo>
                    <a:pt x="181" y="385"/>
                  </a:lnTo>
                  <a:lnTo>
                    <a:pt x="181" y="384"/>
                  </a:lnTo>
                  <a:lnTo>
                    <a:pt x="179" y="384"/>
                  </a:lnTo>
                  <a:lnTo>
                    <a:pt x="177" y="382"/>
                  </a:lnTo>
                  <a:lnTo>
                    <a:pt x="176" y="379"/>
                  </a:lnTo>
                  <a:lnTo>
                    <a:pt x="174" y="379"/>
                  </a:lnTo>
                  <a:lnTo>
                    <a:pt x="174" y="377"/>
                  </a:lnTo>
                  <a:lnTo>
                    <a:pt x="173" y="375"/>
                  </a:lnTo>
                  <a:lnTo>
                    <a:pt x="171" y="374"/>
                  </a:lnTo>
                  <a:lnTo>
                    <a:pt x="171" y="372"/>
                  </a:lnTo>
                  <a:lnTo>
                    <a:pt x="169" y="371"/>
                  </a:lnTo>
                  <a:lnTo>
                    <a:pt x="168" y="369"/>
                  </a:lnTo>
                  <a:lnTo>
                    <a:pt x="168" y="367"/>
                  </a:lnTo>
                  <a:lnTo>
                    <a:pt x="166" y="367"/>
                  </a:lnTo>
                  <a:lnTo>
                    <a:pt x="166" y="366"/>
                  </a:lnTo>
                  <a:lnTo>
                    <a:pt x="164" y="366"/>
                  </a:lnTo>
                  <a:lnTo>
                    <a:pt x="164" y="364"/>
                  </a:lnTo>
                  <a:lnTo>
                    <a:pt x="163" y="362"/>
                  </a:lnTo>
                  <a:lnTo>
                    <a:pt x="161" y="362"/>
                  </a:lnTo>
                  <a:lnTo>
                    <a:pt x="160" y="361"/>
                  </a:lnTo>
                  <a:lnTo>
                    <a:pt x="158" y="359"/>
                  </a:lnTo>
                  <a:lnTo>
                    <a:pt x="158" y="358"/>
                  </a:lnTo>
                  <a:lnTo>
                    <a:pt x="155" y="356"/>
                  </a:lnTo>
                  <a:lnTo>
                    <a:pt x="153" y="354"/>
                  </a:lnTo>
                  <a:lnTo>
                    <a:pt x="151" y="354"/>
                  </a:lnTo>
                  <a:lnTo>
                    <a:pt x="153" y="354"/>
                  </a:lnTo>
                  <a:lnTo>
                    <a:pt x="153" y="356"/>
                  </a:lnTo>
                  <a:lnTo>
                    <a:pt x="151" y="356"/>
                  </a:lnTo>
                  <a:lnTo>
                    <a:pt x="151" y="354"/>
                  </a:lnTo>
                  <a:lnTo>
                    <a:pt x="150" y="354"/>
                  </a:lnTo>
                  <a:lnTo>
                    <a:pt x="148" y="353"/>
                  </a:lnTo>
                  <a:lnTo>
                    <a:pt x="146" y="353"/>
                  </a:lnTo>
                  <a:lnTo>
                    <a:pt x="146" y="351"/>
                  </a:lnTo>
                  <a:lnTo>
                    <a:pt x="148" y="351"/>
                  </a:lnTo>
                  <a:lnTo>
                    <a:pt x="148" y="349"/>
                  </a:lnTo>
                  <a:lnTo>
                    <a:pt x="148" y="351"/>
                  </a:lnTo>
                  <a:lnTo>
                    <a:pt x="146" y="351"/>
                  </a:lnTo>
                  <a:lnTo>
                    <a:pt x="148" y="351"/>
                  </a:lnTo>
                  <a:lnTo>
                    <a:pt x="148" y="353"/>
                  </a:lnTo>
                  <a:lnTo>
                    <a:pt x="150" y="353"/>
                  </a:lnTo>
                  <a:lnTo>
                    <a:pt x="150" y="354"/>
                  </a:lnTo>
                  <a:lnTo>
                    <a:pt x="151" y="354"/>
                  </a:lnTo>
                  <a:lnTo>
                    <a:pt x="151" y="353"/>
                  </a:lnTo>
                  <a:lnTo>
                    <a:pt x="150" y="353"/>
                  </a:lnTo>
                  <a:lnTo>
                    <a:pt x="150" y="351"/>
                  </a:lnTo>
                  <a:lnTo>
                    <a:pt x="150" y="353"/>
                  </a:lnTo>
                  <a:lnTo>
                    <a:pt x="150" y="351"/>
                  </a:lnTo>
                  <a:lnTo>
                    <a:pt x="151" y="351"/>
                  </a:lnTo>
                  <a:lnTo>
                    <a:pt x="151" y="353"/>
                  </a:lnTo>
                  <a:lnTo>
                    <a:pt x="153" y="353"/>
                  </a:lnTo>
                  <a:lnTo>
                    <a:pt x="151" y="351"/>
                  </a:lnTo>
                  <a:lnTo>
                    <a:pt x="150" y="349"/>
                  </a:lnTo>
                  <a:lnTo>
                    <a:pt x="150" y="348"/>
                  </a:lnTo>
                  <a:lnTo>
                    <a:pt x="150" y="349"/>
                  </a:lnTo>
                  <a:lnTo>
                    <a:pt x="151" y="349"/>
                  </a:lnTo>
                  <a:lnTo>
                    <a:pt x="153" y="349"/>
                  </a:lnTo>
                  <a:lnTo>
                    <a:pt x="153" y="351"/>
                  </a:lnTo>
                  <a:lnTo>
                    <a:pt x="155" y="351"/>
                  </a:lnTo>
                  <a:lnTo>
                    <a:pt x="155" y="353"/>
                  </a:lnTo>
                  <a:lnTo>
                    <a:pt x="156" y="353"/>
                  </a:lnTo>
                  <a:lnTo>
                    <a:pt x="156" y="354"/>
                  </a:lnTo>
                  <a:lnTo>
                    <a:pt x="158" y="354"/>
                  </a:lnTo>
                  <a:lnTo>
                    <a:pt x="158" y="356"/>
                  </a:lnTo>
                  <a:lnTo>
                    <a:pt x="158" y="354"/>
                  </a:lnTo>
                  <a:lnTo>
                    <a:pt x="160" y="356"/>
                  </a:lnTo>
                  <a:lnTo>
                    <a:pt x="160" y="358"/>
                  </a:lnTo>
                  <a:lnTo>
                    <a:pt x="161" y="358"/>
                  </a:lnTo>
                  <a:lnTo>
                    <a:pt x="161" y="359"/>
                  </a:lnTo>
                  <a:lnTo>
                    <a:pt x="163" y="359"/>
                  </a:lnTo>
                  <a:lnTo>
                    <a:pt x="164" y="359"/>
                  </a:lnTo>
                  <a:lnTo>
                    <a:pt x="164" y="361"/>
                  </a:lnTo>
                  <a:lnTo>
                    <a:pt x="166" y="361"/>
                  </a:lnTo>
                  <a:lnTo>
                    <a:pt x="164" y="361"/>
                  </a:lnTo>
                  <a:lnTo>
                    <a:pt x="164" y="359"/>
                  </a:lnTo>
                  <a:lnTo>
                    <a:pt x="166" y="359"/>
                  </a:lnTo>
                  <a:lnTo>
                    <a:pt x="166" y="361"/>
                  </a:lnTo>
                  <a:lnTo>
                    <a:pt x="166" y="362"/>
                  </a:lnTo>
                  <a:lnTo>
                    <a:pt x="168" y="362"/>
                  </a:lnTo>
                  <a:lnTo>
                    <a:pt x="168" y="364"/>
                  </a:lnTo>
                  <a:lnTo>
                    <a:pt x="169" y="366"/>
                  </a:lnTo>
                  <a:lnTo>
                    <a:pt x="169" y="367"/>
                  </a:lnTo>
                  <a:lnTo>
                    <a:pt x="171" y="369"/>
                  </a:lnTo>
                  <a:lnTo>
                    <a:pt x="171" y="371"/>
                  </a:lnTo>
                  <a:lnTo>
                    <a:pt x="173" y="372"/>
                  </a:lnTo>
                  <a:lnTo>
                    <a:pt x="174" y="372"/>
                  </a:lnTo>
                  <a:lnTo>
                    <a:pt x="174" y="374"/>
                  </a:lnTo>
                  <a:lnTo>
                    <a:pt x="176" y="374"/>
                  </a:lnTo>
                  <a:lnTo>
                    <a:pt x="177" y="374"/>
                  </a:lnTo>
                  <a:lnTo>
                    <a:pt x="176" y="374"/>
                  </a:lnTo>
                  <a:lnTo>
                    <a:pt x="176" y="372"/>
                  </a:lnTo>
                  <a:lnTo>
                    <a:pt x="177" y="374"/>
                  </a:lnTo>
                  <a:lnTo>
                    <a:pt x="179" y="374"/>
                  </a:lnTo>
                  <a:lnTo>
                    <a:pt x="179" y="375"/>
                  </a:lnTo>
                  <a:lnTo>
                    <a:pt x="181" y="377"/>
                  </a:lnTo>
                  <a:lnTo>
                    <a:pt x="182" y="377"/>
                  </a:lnTo>
                  <a:lnTo>
                    <a:pt x="182" y="379"/>
                  </a:lnTo>
                  <a:lnTo>
                    <a:pt x="184" y="379"/>
                  </a:lnTo>
                  <a:lnTo>
                    <a:pt x="184" y="380"/>
                  </a:lnTo>
                  <a:lnTo>
                    <a:pt x="184" y="379"/>
                  </a:lnTo>
                  <a:lnTo>
                    <a:pt x="184" y="380"/>
                  </a:lnTo>
                  <a:lnTo>
                    <a:pt x="186" y="382"/>
                  </a:lnTo>
                  <a:lnTo>
                    <a:pt x="187" y="382"/>
                  </a:lnTo>
                  <a:lnTo>
                    <a:pt x="187" y="384"/>
                  </a:lnTo>
                  <a:lnTo>
                    <a:pt x="187" y="382"/>
                  </a:lnTo>
                  <a:lnTo>
                    <a:pt x="189" y="384"/>
                  </a:lnTo>
                  <a:lnTo>
                    <a:pt x="190" y="384"/>
                  </a:lnTo>
                  <a:lnTo>
                    <a:pt x="190" y="385"/>
                  </a:lnTo>
                  <a:lnTo>
                    <a:pt x="190" y="387"/>
                  </a:lnTo>
                  <a:lnTo>
                    <a:pt x="190" y="388"/>
                  </a:lnTo>
                  <a:lnTo>
                    <a:pt x="192" y="388"/>
                  </a:lnTo>
                  <a:lnTo>
                    <a:pt x="192" y="387"/>
                  </a:lnTo>
                  <a:lnTo>
                    <a:pt x="192" y="388"/>
                  </a:lnTo>
                  <a:lnTo>
                    <a:pt x="194" y="388"/>
                  </a:lnTo>
                  <a:lnTo>
                    <a:pt x="195" y="388"/>
                  </a:lnTo>
                  <a:lnTo>
                    <a:pt x="195" y="390"/>
                  </a:lnTo>
                  <a:lnTo>
                    <a:pt x="194" y="390"/>
                  </a:lnTo>
                  <a:lnTo>
                    <a:pt x="195" y="392"/>
                  </a:lnTo>
                  <a:lnTo>
                    <a:pt x="197" y="392"/>
                  </a:lnTo>
                  <a:lnTo>
                    <a:pt x="199" y="393"/>
                  </a:lnTo>
                  <a:lnTo>
                    <a:pt x="200" y="395"/>
                  </a:lnTo>
                  <a:lnTo>
                    <a:pt x="202" y="397"/>
                  </a:lnTo>
                  <a:lnTo>
                    <a:pt x="203" y="397"/>
                  </a:lnTo>
                  <a:lnTo>
                    <a:pt x="205" y="398"/>
                  </a:lnTo>
                  <a:lnTo>
                    <a:pt x="205" y="400"/>
                  </a:lnTo>
                  <a:lnTo>
                    <a:pt x="207" y="401"/>
                  </a:lnTo>
                  <a:lnTo>
                    <a:pt x="208" y="401"/>
                  </a:lnTo>
                  <a:lnTo>
                    <a:pt x="210" y="401"/>
                  </a:lnTo>
                  <a:lnTo>
                    <a:pt x="210" y="403"/>
                  </a:lnTo>
                  <a:lnTo>
                    <a:pt x="213" y="405"/>
                  </a:lnTo>
                  <a:lnTo>
                    <a:pt x="215" y="405"/>
                  </a:lnTo>
                  <a:lnTo>
                    <a:pt x="216" y="406"/>
                  </a:lnTo>
                  <a:lnTo>
                    <a:pt x="215" y="406"/>
                  </a:lnTo>
                  <a:lnTo>
                    <a:pt x="215" y="405"/>
                  </a:lnTo>
                  <a:lnTo>
                    <a:pt x="212" y="403"/>
                  </a:lnTo>
                  <a:lnTo>
                    <a:pt x="210" y="403"/>
                  </a:lnTo>
                  <a:lnTo>
                    <a:pt x="208" y="403"/>
                  </a:lnTo>
                  <a:lnTo>
                    <a:pt x="208" y="401"/>
                  </a:lnTo>
                  <a:lnTo>
                    <a:pt x="207" y="401"/>
                  </a:lnTo>
                  <a:lnTo>
                    <a:pt x="205" y="401"/>
                  </a:lnTo>
                  <a:lnTo>
                    <a:pt x="203" y="400"/>
                  </a:lnTo>
                  <a:lnTo>
                    <a:pt x="202" y="400"/>
                  </a:lnTo>
                  <a:lnTo>
                    <a:pt x="202" y="398"/>
                  </a:lnTo>
                  <a:lnTo>
                    <a:pt x="200" y="398"/>
                  </a:lnTo>
                  <a:lnTo>
                    <a:pt x="199" y="398"/>
                  </a:lnTo>
                  <a:lnTo>
                    <a:pt x="199" y="397"/>
                  </a:lnTo>
                  <a:lnTo>
                    <a:pt x="200" y="397"/>
                  </a:lnTo>
                  <a:lnTo>
                    <a:pt x="199" y="397"/>
                  </a:lnTo>
                  <a:lnTo>
                    <a:pt x="197" y="397"/>
                  </a:lnTo>
                  <a:lnTo>
                    <a:pt x="197" y="395"/>
                  </a:lnTo>
                  <a:lnTo>
                    <a:pt x="195" y="395"/>
                  </a:lnTo>
                  <a:lnTo>
                    <a:pt x="194" y="393"/>
                  </a:lnTo>
                  <a:lnTo>
                    <a:pt x="192" y="393"/>
                  </a:lnTo>
                  <a:lnTo>
                    <a:pt x="192" y="392"/>
                  </a:lnTo>
                  <a:close/>
                  <a:moveTo>
                    <a:pt x="164" y="348"/>
                  </a:moveTo>
                  <a:lnTo>
                    <a:pt x="164" y="346"/>
                  </a:lnTo>
                  <a:lnTo>
                    <a:pt x="164" y="348"/>
                  </a:lnTo>
                  <a:close/>
                  <a:moveTo>
                    <a:pt x="150" y="348"/>
                  </a:moveTo>
                  <a:lnTo>
                    <a:pt x="150" y="346"/>
                  </a:lnTo>
                  <a:lnTo>
                    <a:pt x="150" y="348"/>
                  </a:lnTo>
                  <a:close/>
                  <a:moveTo>
                    <a:pt x="164" y="346"/>
                  </a:moveTo>
                  <a:lnTo>
                    <a:pt x="163" y="346"/>
                  </a:lnTo>
                  <a:lnTo>
                    <a:pt x="164" y="346"/>
                  </a:lnTo>
                  <a:close/>
                  <a:moveTo>
                    <a:pt x="150" y="346"/>
                  </a:moveTo>
                  <a:lnTo>
                    <a:pt x="148" y="346"/>
                  </a:lnTo>
                  <a:lnTo>
                    <a:pt x="150" y="346"/>
                  </a:lnTo>
                  <a:close/>
                  <a:moveTo>
                    <a:pt x="158" y="348"/>
                  </a:moveTo>
                  <a:lnTo>
                    <a:pt x="160" y="348"/>
                  </a:lnTo>
                  <a:lnTo>
                    <a:pt x="158" y="348"/>
                  </a:lnTo>
                  <a:lnTo>
                    <a:pt x="156" y="346"/>
                  </a:lnTo>
                  <a:lnTo>
                    <a:pt x="155" y="346"/>
                  </a:lnTo>
                  <a:lnTo>
                    <a:pt x="156" y="346"/>
                  </a:lnTo>
                  <a:lnTo>
                    <a:pt x="158" y="346"/>
                  </a:lnTo>
                  <a:lnTo>
                    <a:pt x="158" y="348"/>
                  </a:lnTo>
                  <a:close/>
                  <a:moveTo>
                    <a:pt x="155" y="346"/>
                  </a:moveTo>
                  <a:lnTo>
                    <a:pt x="155" y="344"/>
                  </a:lnTo>
                  <a:lnTo>
                    <a:pt x="155" y="346"/>
                  </a:lnTo>
                  <a:close/>
                  <a:moveTo>
                    <a:pt x="160" y="343"/>
                  </a:moveTo>
                  <a:lnTo>
                    <a:pt x="160" y="344"/>
                  </a:lnTo>
                  <a:lnTo>
                    <a:pt x="163" y="346"/>
                  </a:lnTo>
                  <a:lnTo>
                    <a:pt x="164" y="349"/>
                  </a:lnTo>
                  <a:lnTo>
                    <a:pt x="166" y="349"/>
                  </a:lnTo>
                  <a:lnTo>
                    <a:pt x="166" y="351"/>
                  </a:lnTo>
                  <a:lnTo>
                    <a:pt x="168" y="351"/>
                  </a:lnTo>
                  <a:lnTo>
                    <a:pt x="169" y="353"/>
                  </a:lnTo>
                  <a:lnTo>
                    <a:pt x="169" y="354"/>
                  </a:lnTo>
                  <a:lnTo>
                    <a:pt x="168" y="354"/>
                  </a:lnTo>
                  <a:lnTo>
                    <a:pt x="168" y="353"/>
                  </a:lnTo>
                  <a:lnTo>
                    <a:pt x="166" y="353"/>
                  </a:lnTo>
                  <a:lnTo>
                    <a:pt x="164" y="353"/>
                  </a:lnTo>
                  <a:lnTo>
                    <a:pt x="163" y="351"/>
                  </a:lnTo>
                  <a:lnTo>
                    <a:pt x="163" y="349"/>
                  </a:lnTo>
                  <a:lnTo>
                    <a:pt x="161" y="349"/>
                  </a:lnTo>
                  <a:lnTo>
                    <a:pt x="161" y="348"/>
                  </a:lnTo>
                  <a:lnTo>
                    <a:pt x="160" y="346"/>
                  </a:lnTo>
                  <a:lnTo>
                    <a:pt x="158" y="344"/>
                  </a:lnTo>
                  <a:lnTo>
                    <a:pt x="160" y="344"/>
                  </a:lnTo>
                  <a:lnTo>
                    <a:pt x="158" y="344"/>
                  </a:lnTo>
                  <a:lnTo>
                    <a:pt x="158" y="343"/>
                  </a:lnTo>
                  <a:lnTo>
                    <a:pt x="160" y="343"/>
                  </a:lnTo>
                  <a:close/>
                  <a:moveTo>
                    <a:pt x="143" y="343"/>
                  </a:moveTo>
                  <a:lnTo>
                    <a:pt x="143" y="341"/>
                  </a:lnTo>
                  <a:lnTo>
                    <a:pt x="143" y="343"/>
                  </a:lnTo>
                  <a:close/>
                  <a:moveTo>
                    <a:pt x="148" y="341"/>
                  </a:moveTo>
                  <a:lnTo>
                    <a:pt x="146" y="341"/>
                  </a:lnTo>
                  <a:lnTo>
                    <a:pt x="148" y="341"/>
                  </a:lnTo>
                  <a:close/>
                  <a:moveTo>
                    <a:pt x="142" y="341"/>
                  </a:moveTo>
                  <a:lnTo>
                    <a:pt x="142" y="343"/>
                  </a:lnTo>
                  <a:lnTo>
                    <a:pt x="140" y="341"/>
                  </a:lnTo>
                  <a:lnTo>
                    <a:pt x="142" y="341"/>
                  </a:lnTo>
                  <a:close/>
                  <a:moveTo>
                    <a:pt x="142" y="340"/>
                  </a:moveTo>
                  <a:lnTo>
                    <a:pt x="142" y="341"/>
                  </a:lnTo>
                  <a:lnTo>
                    <a:pt x="142" y="340"/>
                  </a:lnTo>
                  <a:close/>
                  <a:moveTo>
                    <a:pt x="153" y="340"/>
                  </a:moveTo>
                  <a:lnTo>
                    <a:pt x="151" y="340"/>
                  </a:lnTo>
                  <a:lnTo>
                    <a:pt x="151" y="338"/>
                  </a:lnTo>
                  <a:lnTo>
                    <a:pt x="153" y="340"/>
                  </a:lnTo>
                  <a:close/>
                  <a:moveTo>
                    <a:pt x="140" y="338"/>
                  </a:moveTo>
                  <a:lnTo>
                    <a:pt x="138" y="338"/>
                  </a:lnTo>
                  <a:lnTo>
                    <a:pt x="140" y="338"/>
                  </a:lnTo>
                  <a:close/>
                  <a:moveTo>
                    <a:pt x="145" y="336"/>
                  </a:moveTo>
                  <a:lnTo>
                    <a:pt x="146" y="338"/>
                  </a:lnTo>
                  <a:lnTo>
                    <a:pt x="148" y="340"/>
                  </a:lnTo>
                  <a:lnTo>
                    <a:pt x="150" y="340"/>
                  </a:lnTo>
                  <a:lnTo>
                    <a:pt x="151" y="341"/>
                  </a:lnTo>
                  <a:lnTo>
                    <a:pt x="153" y="341"/>
                  </a:lnTo>
                  <a:lnTo>
                    <a:pt x="151" y="341"/>
                  </a:lnTo>
                  <a:lnTo>
                    <a:pt x="153" y="340"/>
                  </a:lnTo>
                  <a:lnTo>
                    <a:pt x="153" y="341"/>
                  </a:lnTo>
                  <a:lnTo>
                    <a:pt x="155" y="341"/>
                  </a:lnTo>
                  <a:lnTo>
                    <a:pt x="153" y="341"/>
                  </a:lnTo>
                  <a:lnTo>
                    <a:pt x="155" y="341"/>
                  </a:lnTo>
                  <a:lnTo>
                    <a:pt x="155" y="343"/>
                  </a:lnTo>
                  <a:lnTo>
                    <a:pt x="153" y="344"/>
                  </a:lnTo>
                  <a:lnTo>
                    <a:pt x="155" y="344"/>
                  </a:lnTo>
                  <a:lnTo>
                    <a:pt x="153" y="344"/>
                  </a:lnTo>
                  <a:lnTo>
                    <a:pt x="151" y="344"/>
                  </a:lnTo>
                  <a:lnTo>
                    <a:pt x="151" y="343"/>
                  </a:lnTo>
                  <a:lnTo>
                    <a:pt x="150" y="343"/>
                  </a:lnTo>
                  <a:lnTo>
                    <a:pt x="148" y="343"/>
                  </a:lnTo>
                  <a:lnTo>
                    <a:pt x="148" y="341"/>
                  </a:lnTo>
                  <a:lnTo>
                    <a:pt x="145" y="340"/>
                  </a:lnTo>
                  <a:lnTo>
                    <a:pt x="146" y="341"/>
                  </a:lnTo>
                  <a:lnTo>
                    <a:pt x="146" y="343"/>
                  </a:lnTo>
                  <a:lnTo>
                    <a:pt x="148" y="344"/>
                  </a:lnTo>
                  <a:lnTo>
                    <a:pt x="146" y="344"/>
                  </a:lnTo>
                  <a:lnTo>
                    <a:pt x="145" y="343"/>
                  </a:lnTo>
                  <a:lnTo>
                    <a:pt x="145" y="341"/>
                  </a:lnTo>
                  <a:lnTo>
                    <a:pt x="143" y="340"/>
                  </a:lnTo>
                  <a:lnTo>
                    <a:pt x="143" y="338"/>
                  </a:lnTo>
                  <a:lnTo>
                    <a:pt x="143" y="336"/>
                  </a:lnTo>
                  <a:lnTo>
                    <a:pt x="142" y="336"/>
                  </a:lnTo>
                  <a:lnTo>
                    <a:pt x="143" y="336"/>
                  </a:lnTo>
                  <a:lnTo>
                    <a:pt x="143" y="335"/>
                  </a:lnTo>
                  <a:lnTo>
                    <a:pt x="143" y="336"/>
                  </a:lnTo>
                  <a:lnTo>
                    <a:pt x="145" y="336"/>
                  </a:lnTo>
                  <a:close/>
                  <a:moveTo>
                    <a:pt x="177" y="331"/>
                  </a:moveTo>
                  <a:lnTo>
                    <a:pt x="177" y="330"/>
                  </a:lnTo>
                  <a:lnTo>
                    <a:pt x="177" y="331"/>
                  </a:lnTo>
                  <a:close/>
                  <a:moveTo>
                    <a:pt x="132" y="333"/>
                  </a:moveTo>
                  <a:lnTo>
                    <a:pt x="133" y="333"/>
                  </a:lnTo>
                  <a:lnTo>
                    <a:pt x="135" y="333"/>
                  </a:lnTo>
                  <a:lnTo>
                    <a:pt x="137" y="335"/>
                  </a:lnTo>
                  <a:lnTo>
                    <a:pt x="135" y="335"/>
                  </a:lnTo>
                  <a:lnTo>
                    <a:pt x="133" y="335"/>
                  </a:lnTo>
                  <a:lnTo>
                    <a:pt x="132" y="335"/>
                  </a:lnTo>
                  <a:lnTo>
                    <a:pt x="132" y="333"/>
                  </a:lnTo>
                  <a:close/>
                  <a:moveTo>
                    <a:pt x="142" y="335"/>
                  </a:moveTo>
                  <a:lnTo>
                    <a:pt x="143" y="335"/>
                  </a:lnTo>
                  <a:lnTo>
                    <a:pt x="143" y="336"/>
                  </a:lnTo>
                  <a:lnTo>
                    <a:pt x="142" y="336"/>
                  </a:lnTo>
                  <a:lnTo>
                    <a:pt x="140" y="336"/>
                  </a:lnTo>
                  <a:lnTo>
                    <a:pt x="140" y="335"/>
                  </a:lnTo>
                  <a:lnTo>
                    <a:pt x="140" y="336"/>
                  </a:lnTo>
                  <a:lnTo>
                    <a:pt x="140" y="338"/>
                  </a:lnTo>
                  <a:lnTo>
                    <a:pt x="138" y="336"/>
                  </a:lnTo>
                  <a:lnTo>
                    <a:pt x="137" y="336"/>
                  </a:lnTo>
                  <a:lnTo>
                    <a:pt x="137" y="335"/>
                  </a:lnTo>
                  <a:lnTo>
                    <a:pt x="137" y="333"/>
                  </a:lnTo>
                  <a:lnTo>
                    <a:pt x="138" y="333"/>
                  </a:lnTo>
                  <a:lnTo>
                    <a:pt x="138" y="335"/>
                  </a:lnTo>
                  <a:lnTo>
                    <a:pt x="140" y="335"/>
                  </a:lnTo>
                  <a:lnTo>
                    <a:pt x="138" y="333"/>
                  </a:lnTo>
                  <a:lnTo>
                    <a:pt x="138" y="331"/>
                  </a:lnTo>
                  <a:lnTo>
                    <a:pt x="140" y="331"/>
                  </a:lnTo>
                  <a:lnTo>
                    <a:pt x="140" y="333"/>
                  </a:lnTo>
                  <a:lnTo>
                    <a:pt x="142" y="333"/>
                  </a:lnTo>
                  <a:lnTo>
                    <a:pt x="142" y="335"/>
                  </a:lnTo>
                  <a:close/>
                  <a:moveTo>
                    <a:pt x="189" y="328"/>
                  </a:moveTo>
                  <a:lnTo>
                    <a:pt x="187" y="328"/>
                  </a:lnTo>
                  <a:lnTo>
                    <a:pt x="189" y="328"/>
                  </a:lnTo>
                  <a:close/>
                  <a:moveTo>
                    <a:pt x="184" y="328"/>
                  </a:moveTo>
                  <a:lnTo>
                    <a:pt x="182" y="328"/>
                  </a:lnTo>
                  <a:lnTo>
                    <a:pt x="184" y="328"/>
                  </a:lnTo>
                  <a:close/>
                  <a:moveTo>
                    <a:pt x="187" y="327"/>
                  </a:moveTo>
                  <a:lnTo>
                    <a:pt x="187" y="328"/>
                  </a:lnTo>
                  <a:lnTo>
                    <a:pt x="187" y="327"/>
                  </a:lnTo>
                  <a:close/>
                  <a:moveTo>
                    <a:pt x="200" y="325"/>
                  </a:moveTo>
                  <a:lnTo>
                    <a:pt x="199" y="325"/>
                  </a:lnTo>
                  <a:lnTo>
                    <a:pt x="200" y="325"/>
                  </a:lnTo>
                  <a:close/>
                  <a:moveTo>
                    <a:pt x="135" y="328"/>
                  </a:moveTo>
                  <a:lnTo>
                    <a:pt x="133" y="330"/>
                  </a:lnTo>
                  <a:lnTo>
                    <a:pt x="133" y="328"/>
                  </a:lnTo>
                  <a:lnTo>
                    <a:pt x="135" y="328"/>
                  </a:lnTo>
                  <a:close/>
                  <a:moveTo>
                    <a:pt x="133" y="328"/>
                  </a:moveTo>
                  <a:lnTo>
                    <a:pt x="132" y="328"/>
                  </a:lnTo>
                  <a:lnTo>
                    <a:pt x="133" y="328"/>
                  </a:lnTo>
                  <a:close/>
                  <a:moveTo>
                    <a:pt x="166" y="325"/>
                  </a:moveTo>
                  <a:lnTo>
                    <a:pt x="168" y="325"/>
                  </a:lnTo>
                  <a:lnTo>
                    <a:pt x="169" y="325"/>
                  </a:lnTo>
                  <a:lnTo>
                    <a:pt x="169" y="327"/>
                  </a:lnTo>
                  <a:lnTo>
                    <a:pt x="171" y="327"/>
                  </a:lnTo>
                  <a:lnTo>
                    <a:pt x="173" y="327"/>
                  </a:lnTo>
                  <a:lnTo>
                    <a:pt x="173" y="328"/>
                  </a:lnTo>
                  <a:lnTo>
                    <a:pt x="174" y="327"/>
                  </a:lnTo>
                  <a:lnTo>
                    <a:pt x="174" y="328"/>
                  </a:lnTo>
                  <a:lnTo>
                    <a:pt x="176" y="328"/>
                  </a:lnTo>
                  <a:lnTo>
                    <a:pt x="176" y="330"/>
                  </a:lnTo>
                  <a:lnTo>
                    <a:pt x="177" y="330"/>
                  </a:lnTo>
                  <a:lnTo>
                    <a:pt x="177" y="331"/>
                  </a:lnTo>
                  <a:lnTo>
                    <a:pt x="176" y="331"/>
                  </a:lnTo>
                  <a:lnTo>
                    <a:pt x="176" y="330"/>
                  </a:lnTo>
                  <a:lnTo>
                    <a:pt x="174" y="330"/>
                  </a:lnTo>
                  <a:lnTo>
                    <a:pt x="173" y="330"/>
                  </a:lnTo>
                  <a:lnTo>
                    <a:pt x="171" y="330"/>
                  </a:lnTo>
                  <a:lnTo>
                    <a:pt x="173" y="331"/>
                  </a:lnTo>
                  <a:lnTo>
                    <a:pt x="169" y="331"/>
                  </a:lnTo>
                  <a:lnTo>
                    <a:pt x="168" y="331"/>
                  </a:lnTo>
                  <a:lnTo>
                    <a:pt x="168" y="330"/>
                  </a:lnTo>
                  <a:lnTo>
                    <a:pt x="166" y="328"/>
                  </a:lnTo>
                  <a:lnTo>
                    <a:pt x="166" y="327"/>
                  </a:lnTo>
                  <a:lnTo>
                    <a:pt x="166" y="325"/>
                  </a:lnTo>
                  <a:close/>
                  <a:moveTo>
                    <a:pt x="132" y="328"/>
                  </a:moveTo>
                  <a:lnTo>
                    <a:pt x="132" y="327"/>
                  </a:lnTo>
                  <a:lnTo>
                    <a:pt x="132" y="328"/>
                  </a:lnTo>
                  <a:close/>
                  <a:moveTo>
                    <a:pt x="122" y="328"/>
                  </a:moveTo>
                  <a:lnTo>
                    <a:pt x="120" y="327"/>
                  </a:lnTo>
                  <a:lnTo>
                    <a:pt x="122" y="328"/>
                  </a:lnTo>
                  <a:close/>
                  <a:moveTo>
                    <a:pt x="120" y="323"/>
                  </a:moveTo>
                  <a:lnTo>
                    <a:pt x="120" y="325"/>
                  </a:lnTo>
                  <a:lnTo>
                    <a:pt x="120" y="323"/>
                  </a:lnTo>
                  <a:close/>
                  <a:moveTo>
                    <a:pt x="125" y="327"/>
                  </a:moveTo>
                  <a:lnTo>
                    <a:pt x="125" y="328"/>
                  </a:lnTo>
                  <a:lnTo>
                    <a:pt x="125" y="327"/>
                  </a:lnTo>
                  <a:lnTo>
                    <a:pt x="127" y="328"/>
                  </a:lnTo>
                  <a:lnTo>
                    <a:pt x="129" y="330"/>
                  </a:lnTo>
                  <a:lnTo>
                    <a:pt x="130" y="331"/>
                  </a:lnTo>
                  <a:lnTo>
                    <a:pt x="129" y="331"/>
                  </a:lnTo>
                  <a:lnTo>
                    <a:pt x="127" y="330"/>
                  </a:lnTo>
                  <a:lnTo>
                    <a:pt x="125" y="330"/>
                  </a:lnTo>
                  <a:lnTo>
                    <a:pt x="125" y="328"/>
                  </a:lnTo>
                  <a:lnTo>
                    <a:pt x="124" y="328"/>
                  </a:lnTo>
                  <a:lnTo>
                    <a:pt x="122" y="328"/>
                  </a:lnTo>
                  <a:lnTo>
                    <a:pt x="122" y="327"/>
                  </a:lnTo>
                  <a:lnTo>
                    <a:pt x="120" y="325"/>
                  </a:lnTo>
                  <a:lnTo>
                    <a:pt x="120" y="323"/>
                  </a:lnTo>
                  <a:lnTo>
                    <a:pt x="122" y="325"/>
                  </a:lnTo>
                  <a:lnTo>
                    <a:pt x="122" y="327"/>
                  </a:lnTo>
                  <a:lnTo>
                    <a:pt x="124" y="327"/>
                  </a:lnTo>
                  <a:lnTo>
                    <a:pt x="125" y="327"/>
                  </a:lnTo>
                  <a:close/>
                  <a:moveTo>
                    <a:pt x="151" y="322"/>
                  </a:moveTo>
                  <a:lnTo>
                    <a:pt x="150" y="322"/>
                  </a:lnTo>
                  <a:lnTo>
                    <a:pt x="151" y="322"/>
                  </a:lnTo>
                  <a:close/>
                  <a:moveTo>
                    <a:pt x="119" y="323"/>
                  </a:moveTo>
                  <a:lnTo>
                    <a:pt x="120" y="323"/>
                  </a:lnTo>
                  <a:lnTo>
                    <a:pt x="119" y="323"/>
                  </a:lnTo>
                  <a:close/>
                  <a:moveTo>
                    <a:pt x="150" y="320"/>
                  </a:moveTo>
                  <a:lnTo>
                    <a:pt x="148" y="318"/>
                  </a:lnTo>
                  <a:lnTo>
                    <a:pt x="146" y="318"/>
                  </a:lnTo>
                  <a:lnTo>
                    <a:pt x="146" y="317"/>
                  </a:lnTo>
                  <a:lnTo>
                    <a:pt x="148" y="318"/>
                  </a:lnTo>
                  <a:lnTo>
                    <a:pt x="150" y="318"/>
                  </a:lnTo>
                  <a:lnTo>
                    <a:pt x="150" y="320"/>
                  </a:lnTo>
                  <a:close/>
                  <a:moveTo>
                    <a:pt x="161" y="315"/>
                  </a:moveTo>
                  <a:lnTo>
                    <a:pt x="160" y="315"/>
                  </a:lnTo>
                  <a:lnTo>
                    <a:pt x="161" y="315"/>
                  </a:lnTo>
                  <a:close/>
                  <a:moveTo>
                    <a:pt x="138" y="315"/>
                  </a:moveTo>
                  <a:lnTo>
                    <a:pt x="138" y="317"/>
                  </a:lnTo>
                  <a:lnTo>
                    <a:pt x="138" y="315"/>
                  </a:lnTo>
                  <a:close/>
                  <a:moveTo>
                    <a:pt x="132" y="318"/>
                  </a:moveTo>
                  <a:lnTo>
                    <a:pt x="132" y="320"/>
                  </a:lnTo>
                  <a:lnTo>
                    <a:pt x="132" y="322"/>
                  </a:lnTo>
                  <a:lnTo>
                    <a:pt x="133" y="322"/>
                  </a:lnTo>
                  <a:lnTo>
                    <a:pt x="135" y="322"/>
                  </a:lnTo>
                  <a:lnTo>
                    <a:pt x="135" y="323"/>
                  </a:lnTo>
                  <a:lnTo>
                    <a:pt x="135" y="325"/>
                  </a:lnTo>
                  <a:lnTo>
                    <a:pt x="133" y="325"/>
                  </a:lnTo>
                  <a:lnTo>
                    <a:pt x="133" y="323"/>
                  </a:lnTo>
                  <a:lnTo>
                    <a:pt x="132" y="323"/>
                  </a:lnTo>
                  <a:lnTo>
                    <a:pt x="132" y="322"/>
                  </a:lnTo>
                  <a:lnTo>
                    <a:pt x="132" y="320"/>
                  </a:lnTo>
                  <a:lnTo>
                    <a:pt x="130" y="320"/>
                  </a:lnTo>
                  <a:lnTo>
                    <a:pt x="130" y="318"/>
                  </a:lnTo>
                  <a:lnTo>
                    <a:pt x="129" y="318"/>
                  </a:lnTo>
                  <a:lnTo>
                    <a:pt x="127" y="317"/>
                  </a:lnTo>
                  <a:lnTo>
                    <a:pt x="129" y="317"/>
                  </a:lnTo>
                  <a:lnTo>
                    <a:pt x="129" y="315"/>
                  </a:lnTo>
                  <a:lnTo>
                    <a:pt x="130" y="315"/>
                  </a:lnTo>
                  <a:lnTo>
                    <a:pt x="132" y="315"/>
                  </a:lnTo>
                  <a:lnTo>
                    <a:pt x="132" y="317"/>
                  </a:lnTo>
                  <a:lnTo>
                    <a:pt x="132" y="318"/>
                  </a:lnTo>
                  <a:close/>
                  <a:moveTo>
                    <a:pt x="137" y="314"/>
                  </a:moveTo>
                  <a:lnTo>
                    <a:pt x="138" y="314"/>
                  </a:lnTo>
                  <a:lnTo>
                    <a:pt x="137" y="314"/>
                  </a:lnTo>
                  <a:close/>
                  <a:moveTo>
                    <a:pt x="142" y="314"/>
                  </a:moveTo>
                  <a:lnTo>
                    <a:pt x="143" y="315"/>
                  </a:lnTo>
                  <a:lnTo>
                    <a:pt x="143" y="317"/>
                  </a:lnTo>
                  <a:lnTo>
                    <a:pt x="142" y="317"/>
                  </a:lnTo>
                  <a:lnTo>
                    <a:pt x="143" y="317"/>
                  </a:lnTo>
                  <a:lnTo>
                    <a:pt x="143" y="318"/>
                  </a:lnTo>
                  <a:lnTo>
                    <a:pt x="142" y="318"/>
                  </a:lnTo>
                  <a:lnTo>
                    <a:pt x="142" y="320"/>
                  </a:lnTo>
                  <a:lnTo>
                    <a:pt x="143" y="320"/>
                  </a:lnTo>
                  <a:lnTo>
                    <a:pt x="143" y="322"/>
                  </a:lnTo>
                  <a:lnTo>
                    <a:pt x="145" y="322"/>
                  </a:lnTo>
                  <a:lnTo>
                    <a:pt x="145" y="323"/>
                  </a:lnTo>
                  <a:lnTo>
                    <a:pt x="145" y="325"/>
                  </a:lnTo>
                  <a:lnTo>
                    <a:pt x="143" y="325"/>
                  </a:lnTo>
                  <a:lnTo>
                    <a:pt x="142" y="325"/>
                  </a:lnTo>
                  <a:lnTo>
                    <a:pt x="140" y="323"/>
                  </a:lnTo>
                  <a:lnTo>
                    <a:pt x="140" y="322"/>
                  </a:lnTo>
                  <a:lnTo>
                    <a:pt x="138" y="322"/>
                  </a:lnTo>
                  <a:lnTo>
                    <a:pt x="137" y="322"/>
                  </a:lnTo>
                  <a:lnTo>
                    <a:pt x="137" y="320"/>
                  </a:lnTo>
                  <a:lnTo>
                    <a:pt x="138" y="320"/>
                  </a:lnTo>
                  <a:lnTo>
                    <a:pt x="138" y="315"/>
                  </a:lnTo>
                  <a:lnTo>
                    <a:pt x="138" y="314"/>
                  </a:lnTo>
                  <a:lnTo>
                    <a:pt x="138" y="315"/>
                  </a:lnTo>
                  <a:lnTo>
                    <a:pt x="140" y="315"/>
                  </a:lnTo>
                  <a:lnTo>
                    <a:pt x="140" y="314"/>
                  </a:lnTo>
                  <a:lnTo>
                    <a:pt x="142" y="314"/>
                  </a:lnTo>
                  <a:close/>
                  <a:moveTo>
                    <a:pt x="135" y="312"/>
                  </a:moveTo>
                  <a:lnTo>
                    <a:pt x="135" y="314"/>
                  </a:lnTo>
                  <a:lnTo>
                    <a:pt x="135" y="312"/>
                  </a:lnTo>
                  <a:close/>
                  <a:moveTo>
                    <a:pt x="163" y="310"/>
                  </a:moveTo>
                  <a:lnTo>
                    <a:pt x="161" y="310"/>
                  </a:lnTo>
                  <a:lnTo>
                    <a:pt x="163" y="310"/>
                  </a:lnTo>
                  <a:close/>
                  <a:moveTo>
                    <a:pt x="173" y="307"/>
                  </a:moveTo>
                  <a:lnTo>
                    <a:pt x="174" y="307"/>
                  </a:lnTo>
                  <a:lnTo>
                    <a:pt x="173" y="307"/>
                  </a:lnTo>
                  <a:close/>
                  <a:moveTo>
                    <a:pt x="151" y="307"/>
                  </a:moveTo>
                  <a:lnTo>
                    <a:pt x="153" y="309"/>
                  </a:lnTo>
                  <a:lnTo>
                    <a:pt x="155" y="310"/>
                  </a:lnTo>
                  <a:lnTo>
                    <a:pt x="156" y="312"/>
                  </a:lnTo>
                  <a:lnTo>
                    <a:pt x="158" y="312"/>
                  </a:lnTo>
                  <a:lnTo>
                    <a:pt x="158" y="314"/>
                  </a:lnTo>
                  <a:lnTo>
                    <a:pt x="160" y="314"/>
                  </a:lnTo>
                  <a:lnTo>
                    <a:pt x="160" y="315"/>
                  </a:lnTo>
                  <a:lnTo>
                    <a:pt x="158" y="315"/>
                  </a:lnTo>
                  <a:lnTo>
                    <a:pt x="158" y="314"/>
                  </a:lnTo>
                  <a:lnTo>
                    <a:pt x="156" y="315"/>
                  </a:lnTo>
                  <a:lnTo>
                    <a:pt x="156" y="314"/>
                  </a:lnTo>
                  <a:lnTo>
                    <a:pt x="155" y="314"/>
                  </a:lnTo>
                  <a:lnTo>
                    <a:pt x="155" y="312"/>
                  </a:lnTo>
                  <a:lnTo>
                    <a:pt x="151" y="310"/>
                  </a:lnTo>
                  <a:lnTo>
                    <a:pt x="151" y="309"/>
                  </a:lnTo>
                  <a:lnTo>
                    <a:pt x="150" y="309"/>
                  </a:lnTo>
                  <a:lnTo>
                    <a:pt x="151" y="307"/>
                  </a:lnTo>
                  <a:close/>
                  <a:moveTo>
                    <a:pt x="119" y="310"/>
                  </a:moveTo>
                  <a:lnTo>
                    <a:pt x="119" y="312"/>
                  </a:lnTo>
                  <a:lnTo>
                    <a:pt x="117" y="312"/>
                  </a:lnTo>
                  <a:lnTo>
                    <a:pt x="116" y="312"/>
                  </a:lnTo>
                  <a:lnTo>
                    <a:pt x="114" y="312"/>
                  </a:lnTo>
                  <a:lnTo>
                    <a:pt x="114" y="310"/>
                  </a:lnTo>
                  <a:lnTo>
                    <a:pt x="114" y="309"/>
                  </a:lnTo>
                  <a:lnTo>
                    <a:pt x="116" y="309"/>
                  </a:lnTo>
                  <a:lnTo>
                    <a:pt x="117" y="310"/>
                  </a:lnTo>
                  <a:lnTo>
                    <a:pt x="119" y="310"/>
                  </a:lnTo>
                  <a:close/>
                  <a:moveTo>
                    <a:pt x="116" y="307"/>
                  </a:moveTo>
                  <a:lnTo>
                    <a:pt x="116" y="309"/>
                  </a:lnTo>
                  <a:lnTo>
                    <a:pt x="117" y="309"/>
                  </a:lnTo>
                  <a:lnTo>
                    <a:pt x="117" y="310"/>
                  </a:lnTo>
                  <a:lnTo>
                    <a:pt x="117" y="309"/>
                  </a:lnTo>
                  <a:lnTo>
                    <a:pt x="116" y="309"/>
                  </a:lnTo>
                  <a:lnTo>
                    <a:pt x="116" y="307"/>
                  </a:lnTo>
                  <a:lnTo>
                    <a:pt x="116" y="309"/>
                  </a:lnTo>
                  <a:lnTo>
                    <a:pt x="116" y="307"/>
                  </a:lnTo>
                  <a:close/>
                  <a:moveTo>
                    <a:pt x="150" y="307"/>
                  </a:moveTo>
                  <a:lnTo>
                    <a:pt x="148" y="305"/>
                  </a:lnTo>
                  <a:lnTo>
                    <a:pt x="146" y="305"/>
                  </a:lnTo>
                  <a:lnTo>
                    <a:pt x="146" y="304"/>
                  </a:lnTo>
                  <a:lnTo>
                    <a:pt x="148" y="304"/>
                  </a:lnTo>
                  <a:lnTo>
                    <a:pt x="148" y="305"/>
                  </a:lnTo>
                  <a:lnTo>
                    <a:pt x="150" y="307"/>
                  </a:lnTo>
                  <a:close/>
                  <a:moveTo>
                    <a:pt x="116" y="304"/>
                  </a:moveTo>
                  <a:lnTo>
                    <a:pt x="116" y="305"/>
                  </a:lnTo>
                  <a:lnTo>
                    <a:pt x="114" y="304"/>
                  </a:lnTo>
                  <a:lnTo>
                    <a:pt x="116" y="304"/>
                  </a:lnTo>
                  <a:close/>
                  <a:moveTo>
                    <a:pt x="116" y="302"/>
                  </a:moveTo>
                  <a:lnTo>
                    <a:pt x="116" y="304"/>
                  </a:lnTo>
                  <a:lnTo>
                    <a:pt x="116" y="302"/>
                  </a:lnTo>
                  <a:lnTo>
                    <a:pt x="117" y="304"/>
                  </a:lnTo>
                  <a:lnTo>
                    <a:pt x="117" y="305"/>
                  </a:lnTo>
                  <a:lnTo>
                    <a:pt x="116" y="305"/>
                  </a:lnTo>
                  <a:lnTo>
                    <a:pt x="116" y="304"/>
                  </a:lnTo>
                  <a:lnTo>
                    <a:pt x="116" y="302"/>
                  </a:lnTo>
                  <a:close/>
                  <a:moveTo>
                    <a:pt x="91" y="304"/>
                  </a:moveTo>
                  <a:lnTo>
                    <a:pt x="93" y="304"/>
                  </a:lnTo>
                  <a:lnTo>
                    <a:pt x="91" y="304"/>
                  </a:lnTo>
                  <a:lnTo>
                    <a:pt x="91" y="305"/>
                  </a:lnTo>
                  <a:lnTo>
                    <a:pt x="90" y="304"/>
                  </a:lnTo>
                  <a:lnTo>
                    <a:pt x="88" y="304"/>
                  </a:lnTo>
                  <a:lnTo>
                    <a:pt x="90" y="302"/>
                  </a:lnTo>
                  <a:lnTo>
                    <a:pt x="88" y="302"/>
                  </a:lnTo>
                  <a:lnTo>
                    <a:pt x="90" y="302"/>
                  </a:lnTo>
                  <a:lnTo>
                    <a:pt x="91" y="302"/>
                  </a:lnTo>
                  <a:lnTo>
                    <a:pt x="91" y="304"/>
                  </a:lnTo>
                  <a:close/>
                  <a:moveTo>
                    <a:pt x="101" y="297"/>
                  </a:moveTo>
                  <a:lnTo>
                    <a:pt x="99" y="297"/>
                  </a:lnTo>
                  <a:lnTo>
                    <a:pt x="101" y="297"/>
                  </a:lnTo>
                  <a:close/>
                  <a:moveTo>
                    <a:pt x="119" y="297"/>
                  </a:moveTo>
                  <a:lnTo>
                    <a:pt x="119" y="296"/>
                  </a:lnTo>
                  <a:lnTo>
                    <a:pt x="119" y="297"/>
                  </a:lnTo>
                  <a:close/>
                  <a:moveTo>
                    <a:pt x="94" y="296"/>
                  </a:moveTo>
                  <a:lnTo>
                    <a:pt x="93" y="297"/>
                  </a:lnTo>
                  <a:lnTo>
                    <a:pt x="93" y="296"/>
                  </a:lnTo>
                  <a:lnTo>
                    <a:pt x="94" y="296"/>
                  </a:lnTo>
                  <a:close/>
                  <a:moveTo>
                    <a:pt x="103" y="292"/>
                  </a:moveTo>
                  <a:lnTo>
                    <a:pt x="101" y="292"/>
                  </a:lnTo>
                  <a:lnTo>
                    <a:pt x="101" y="291"/>
                  </a:lnTo>
                  <a:lnTo>
                    <a:pt x="103" y="291"/>
                  </a:lnTo>
                  <a:lnTo>
                    <a:pt x="103" y="292"/>
                  </a:lnTo>
                  <a:close/>
                  <a:moveTo>
                    <a:pt x="93" y="296"/>
                  </a:moveTo>
                  <a:lnTo>
                    <a:pt x="91" y="296"/>
                  </a:lnTo>
                  <a:lnTo>
                    <a:pt x="91" y="294"/>
                  </a:lnTo>
                  <a:lnTo>
                    <a:pt x="90" y="294"/>
                  </a:lnTo>
                  <a:lnTo>
                    <a:pt x="90" y="292"/>
                  </a:lnTo>
                  <a:lnTo>
                    <a:pt x="91" y="294"/>
                  </a:lnTo>
                  <a:lnTo>
                    <a:pt x="93" y="294"/>
                  </a:lnTo>
                  <a:lnTo>
                    <a:pt x="93" y="296"/>
                  </a:lnTo>
                  <a:close/>
                  <a:moveTo>
                    <a:pt x="117" y="279"/>
                  </a:moveTo>
                  <a:lnTo>
                    <a:pt x="117" y="281"/>
                  </a:lnTo>
                  <a:lnTo>
                    <a:pt x="117" y="279"/>
                  </a:lnTo>
                  <a:close/>
                  <a:moveTo>
                    <a:pt x="85" y="281"/>
                  </a:moveTo>
                  <a:lnTo>
                    <a:pt x="85" y="279"/>
                  </a:lnTo>
                  <a:lnTo>
                    <a:pt x="85" y="281"/>
                  </a:lnTo>
                  <a:close/>
                  <a:moveTo>
                    <a:pt x="86" y="279"/>
                  </a:moveTo>
                  <a:lnTo>
                    <a:pt x="88" y="279"/>
                  </a:lnTo>
                  <a:lnTo>
                    <a:pt x="88" y="281"/>
                  </a:lnTo>
                  <a:lnTo>
                    <a:pt x="86" y="281"/>
                  </a:lnTo>
                  <a:lnTo>
                    <a:pt x="88" y="281"/>
                  </a:lnTo>
                  <a:lnTo>
                    <a:pt x="88" y="283"/>
                  </a:lnTo>
                  <a:lnTo>
                    <a:pt x="86" y="283"/>
                  </a:lnTo>
                  <a:lnTo>
                    <a:pt x="85" y="283"/>
                  </a:lnTo>
                  <a:lnTo>
                    <a:pt x="85" y="284"/>
                  </a:lnTo>
                  <a:lnTo>
                    <a:pt x="86" y="286"/>
                  </a:lnTo>
                  <a:lnTo>
                    <a:pt x="85" y="286"/>
                  </a:lnTo>
                  <a:lnTo>
                    <a:pt x="85" y="284"/>
                  </a:lnTo>
                  <a:lnTo>
                    <a:pt x="85" y="286"/>
                  </a:lnTo>
                  <a:lnTo>
                    <a:pt x="86" y="286"/>
                  </a:lnTo>
                  <a:lnTo>
                    <a:pt x="86" y="289"/>
                  </a:lnTo>
                  <a:lnTo>
                    <a:pt x="88" y="289"/>
                  </a:lnTo>
                  <a:lnTo>
                    <a:pt x="88" y="291"/>
                  </a:lnTo>
                  <a:lnTo>
                    <a:pt x="86" y="291"/>
                  </a:lnTo>
                  <a:lnTo>
                    <a:pt x="86" y="289"/>
                  </a:lnTo>
                  <a:lnTo>
                    <a:pt x="85" y="289"/>
                  </a:lnTo>
                  <a:lnTo>
                    <a:pt x="83" y="288"/>
                  </a:lnTo>
                  <a:lnTo>
                    <a:pt x="83" y="289"/>
                  </a:lnTo>
                  <a:lnTo>
                    <a:pt x="83" y="288"/>
                  </a:lnTo>
                  <a:lnTo>
                    <a:pt x="81" y="288"/>
                  </a:lnTo>
                  <a:lnTo>
                    <a:pt x="83" y="288"/>
                  </a:lnTo>
                  <a:lnTo>
                    <a:pt x="83" y="286"/>
                  </a:lnTo>
                  <a:lnTo>
                    <a:pt x="83" y="284"/>
                  </a:lnTo>
                  <a:lnTo>
                    <a:pt x="83" y="283"/>
                  </a:lnTo>
                  <a:lnTo>
                    <a:pt x="85" y="281"/>
                  </a:lnTo>
                  <a:lnTo>
                    <a:pt x="85" y="279"/>
                  </a:lnTo>
                  <a:lnTo>
                    <a:pt x="86" y="279"/>
                  </a:lnTo>
                  <a:lnTo>
                    <a:pt x="86" y="278"/>
                  </a:lnTo>
                  <a:lnTo>
                    <a:pt x="86" y="279"/>
                  </a:lnTo>
                  <a:close/>
                  <a:moveTo>
                    <a:pt x="129" y="276"/>
                  </a:moveTo>
                  <a:lnTo>
                    <a:pt x="127" y="276"/>
                  </a:lnTo>
                  <a:lnTo>
                    <a:pt x="127" y="275"/>
                  </a:lnTo>
                  <a:lnTo>
                    <a:pt x="129" y="275"/>
                  </a:lnTo>
                  <a:lnTo>
                    <a:pt x="129" y="276"/>
                  </a:lnTo>
                  <a:close/>
                  <a:moveTo>
                    <a:pt x="140" y="281"/>
                  </a:moveTo>
                  <a:lnTo>
                    <a:pt x="140" y="283"/>
                  </a:lnTo>
                  <a:lnTo>
                    <a:pt x="142" y="283"/>
                  </a:lnTo>
                  <a:lnTo>
                    <a:pt x="142" y="284"/>
                  </a:lnTo>
                  <a:lnTo>
                    <a:pt x="143" y="284"/>
                  </a:lnTo>
                  <a:lnTo>
                    <a:pt x="145" y="286"/>
                  </a:lnTo>
                  <a:lnTo>
                    <a:pt x="145" y="288"/>
                  </a:lnTo>
                  <a:lnTo>
                    <a:pt x="146" y="288"/>
                  </a:lnTo>
                  <a:lnTo>
                    <a:pt x="146" y="289"/>
                  </a:lnTo>
                  <a:lnTo>
                    <a:pt x="148" y="289"/>
                  </a:lnTo>
                  <a:lnTo>
                    <a:pt x="148" y="291"/>
                  </a:lnTo>
                  <a:lnTo>
                    <a:pt x="150" y="291"/>
                  </a:lnTo>
                  <a:lnTo>
                    <a:pt x="148" y="288"/>
                  </a:lnTo>
                  <a:lnTo>
                    <a:pt x="148" y="286"/>
                  </a:lnTo>
                  <a:lnTo>
                    <a:pt x="151" y="286"/>
                  </a:lnTo>
                  <a:lnTo>
                    <a:pt x="153" y="286"/>
                  </a:lnTo>
                  <a:lnTo>
                    <a:pt x="151" y="286"/>
                  </a:lnTo>
                  <a:lnTo>
                    <a:pt x="151" y="288"/>
                  </a:lnTo>
                  <a:lnTo>
                    <a:pt x="153" y="286"/>
                  </a:lnTo>
                  <a:lnTo>
                    <a:pt x="153" y="288"/>
                  </a:lnTo>
                  <a:lnTo>
                    <a:pt x="151" y="288"/>
                  </a:lnTo>
                  <a:lnTo>
                    <a:pt x="153" y="286"/>
                  </a:lnTo>
                  <a:lnTo>
                    <a:pt x="153" y="288"/>
                  </a:lnTo>
                  <a:lnTo>
                    <a:pt x="155" y="288"/>
                  </a:lnTo>
                  <a:lnTo>
                    <a:pt x="155" y="289"/>
                  </a:lnTo>
                  <a:lnTo>
                    <a:pt x="156" y="289"/>
                  </a:lnTo>
                  <a:lnTo>
                    <a:pt x="156" y="291"/>
                  </a:lnTo>
                  <a:lnTo>
                    <a:pt x="158" y="291"/>
                  </a:lnTo>
                  <a:lnTo>
                    <a:pt x="158" y="292"/>
                  </a:lnTo>
                  <a:lnTo>
                    <a:pt x="158" y="294"/>
                  </a:lnTo>
                  <a:lnTo>
                    <a:pt x="160" y="296"/>
                  </a:lnTo>
                  <a:lnTo>
                    <a:pt x="161" y="296"/>
                  </a:lnTo>
                  <a:lnTo>
                    <a:pt x="161" y="297"/>
                  </a:lnTo>
                  <a:lnTo>
                    <a:pt x="163" y="296"/>
                  </a:lnTo>
                  <a:lnTo>
                    <a:pt x="163" y="297"/>
                  </a:lnTo>
                  <a:lnTo>
                    <a:pt x="164" y="297"/>
                  </a:lnTo>
                  <a:lnTo>
                    <a:pt x="166" y="297"/>
                  </a:lnTo>
                  <a:lnTo>
                    <a:pt x="166" y="299"/>
                  </a:lnTo>
                  <a:lnTo>
                    <a:pt x="168" y="299"/>
                  </a:lnTo>
                  <a:lnTo>
                    <a:pt x="168" y="301"/>
                  </a:lnTo>
                  <a:lnTo>
                    <a:pt x="169" y="302"/>
                  </a:lnTo>
                  <a:lnTo>
                    <a:pt x="171" y="304"/>
                  </a:lnTo>
                  <a:lnTo>
                    <a:pt x="169" y="304"/>
                  </a:lnTo>
                  <a:lnTo>
                    <a:pt x="168" y="302"/>
                  </a:lnTo>
                  <a:lnTo>
                    <a:pt x="168" y="301"/>
                  </a:lnTo>
                  <a:lnTo>
                    <a:pt x="166" y="301"/>
                  </a:lnTo>
                  <a:lnTo>
                    <a:pt x="164" y="301"/>
                  </a:lnTo>
                  <a:lnTo>
                    <a:pt x="164" y="302"/>
                  </a:lnTo>
                  <a:lnTo>
                    <a:pt x="163" y="302"/>
                  </a:lnTo>
                  <a:lnTo>
                    <a:pt x="163" y="301"/>
                  </a:lnTo>
                  <a:lnTo>
                    <a:pt x="163" y="299"/>
                  </a:lnTo>
                  <a:lnTo>
                    <a:pt x="161" y="299"/>
                  </a:lnTo>
                  <a:lnTo>
                    <a:pt x="161" y="297"/>
                  </a:lnTo>
                  <a:lnTo>
                    <a:pt x="160" y="299"/>
                  </a:lnTo>
                  <a:lnTo>
                    <a:pt x="160" y="297"/>
                  </a:lnTo>
                  <a:lnTo>
                    <a:pt x="158" y="297"/>
                  </a:lnTo>
                  <a:lnTo>
                    <a:pt x="156" y="296"/>
                  </a:lnTo>
                  <a:lnTo>
                    <a:pt x="155" y="294"/>
                  </a:lnTo>
                  <a:lnTo>
                    <a:pt x="153" y="294"/>
                  </a:lnTo>
                  <a:lnTo>
                    <a:pt x="153" y="296"/>
                  </a:lnTo>
                  <a:lnTo>
                    <a:pt x="155" y="296"/>
                  </a:lnTo>
                  <a:lnTo>
                    <a:pt x="155" y="297"/>
                  </a:lnTo>
                  <a:lnTo>
                    <a:pt x="156" y="297"/>
                  </a:lnTo>
                  <a:lnTo>
                    <a:pt x="156" y="299"/>
                  </a:lnTo>
                  <a:lnTo>
                    <a:pt x="158" y="299"/>
                  </a:lnTo>
                  <a:lnTo>
                    <a:pt x="160" y="301"/>
                  </a:lnTo>
                  <a:lnTo>
                    <a:pt x="161" y="302"/>
                  </a:lnTo>
                  <a:lnTo>
                    <a:pt x="161" y="304"/>
                  </a:lnTo>
                  <a:lnTo>
                    <a:pt x="163" y="304"/>
                  </a:lnTo>
                  <a:lnTo>
                    <a:pt x="164" y="305"/>
                  </a:lnTo>
                  <a:lnTo>
                    <a:pt x="164" y="307"/>
                  </a:lnTo>
                  <a:lnTo>
                    <a:pt x="168" y="309"/>
                  </a:lnTo>
                  <a:lnTo>
                    <a:pt x="168" y="307"/>
                  </a:lnTo>
                  <a:lnTo>
                    <a:pt x="168" y="305"/>
                  </a:lnTo>
                  <a:lnTo>
                    <a:pt x="166" y="304"/>
                  </a:lnTo>
                  <a:lnTo>
                    <a:pt x="168" y="304"/>
                  </a:lnTo>
                  <a:lnTo>
                    <a:pt x="169" y="304"/>
                  </a:lnTo>
                  <a:lnTo>
                    <a:pt x="169" y="305"/>
                  </a:lnTo>
                  <a:lnTo>
                    <a:pt x="171" y="307"/>
                  </a:lnTo>
                  <a:lnTo>
                    <a:pt x="173" y="307"/>
                  </a:lnTo>
                  <a:lnTo>
                    <a:pt x="173" y="309"/>
                  </a:lnTo>
                  <a:lnTo>
                    <a:pt x="174" y="309"/>
                  </a:lnTo>
                  <a:lnTo>
                    <a:pt x="176" y="310"/>
                  </a:lnTo>
                  <a:lnTo>
                    <a:pt x="176" y="312"/>
                  </a:lnTo>
                  <a:lnTo>
                    <a:pt x="177" y="312"/>
                  </a:lnTo>
                  <a:lnTo>
                    <a:pt x="177" y="314"/>
                  </a:lnTo>
                  <a:lnTo>
                    <a:pt x="179" y="314"/>
                  </a:lnTo>
                  <a:lnTo>
                    <a:pt x="181" y="314"/>
                  </a:lnTo>
                  <a:lnTo>
                    <a:pt x="181" y="315"/>
                  </a:lnTo>
                  <a:lnTo>
                    <a:pt x="182" y="317"/>
                  </a:lnTo>
                  <a:lnTo>
                    <a:pt x="184" y="317"/>
                  </a:lnTo>
                  <a:lnTo>
                    <a:pt x="184" y="318"/>
                  </a:lnTo>
                  <a:lnTo>
                    <a:pt x="186" y="318"/>
                  </a:lnTo>
                  <a:lnTo>
                    <a:pt x="187" y="318"/>
                  </a:lnTo>
                  <a:lnTo>
                    <a:pt x="187" y="320"/>
                  </a:lnTo>
                  <a:lnTo>
                    <a:pt x="189" y="320"/>
                  </a:lnTo>
                  <a:lnTo>
                    <a:pt x="189" y="322"/>
                  </a:lnTo>
                  <a:lnTo>
                    <a:pt x="190" y="322"/>
                  </a:lnTo>
                  <a:lnTo>
                    <a:pt x="190" y="323"/>
                  </a:lnTo>
                  <a:lnTo>
                    <a:pt x="190" y="325"/>
                  </a:lnTo>
                  <a:lnTo>
                    <a:pt x="189" y="323"/>
                  </a:lnTo>
                  <a:lnTo>
                    <a:pt x="187" y="323"/>
                  </a:lnTo>
                  <a:lnTo>
                    <a:pt x="184" y="322"/>
                  </a:lnTo>
                  <a:lnTo>
                    <a:pt x="182" y="320"/>
                  </a:lnTo>
                  <a:lnTo>
                    <a:pt x="186" y="322"/>
                  </a:lnTo>
                  <a:lnTo>
                    <a:pt x="186" y="323"/>
                  </a:lnTo>
                  <a:lnTo>
                    <a:pt x="187" y="323"/>
                  </a:lnTo>
                  <a:lnTo>
                    <a:pt x="187" y="325"/>
                  </a:lnTo>
                  <a:lnTo>
                    <a:pt x="186" y="325"/>
                  </a:lnTo>
                  <a:lnTo>
                    <a:pt x="186" y="327"/>
                  </a:lnTo>
                  <a:lnTo>
                    <a:pt x="187" y="327"/>
                  </a:lnTo>
                  <a:lnTo>
                    <a:pt x="186" y="327"/>
                  </a:lnTo>
                  <a:lnTo>
                    <a:pt x="184" y="327"/>
                  </a:lnTo>
                  <a:lnTo>
                    <a:pt x="182" y="325"/>
                  </a:lnTo>
                  <a:lnTo>
                    <a:pt x="181" y="325"/>
                  </a:lnTo>
                  <a:lnTo>
                    <a:pt x="179" y="325"/>
                  </a:lnTo>
                  <a:lnTo>
                    <a:pt x="179" y="323"/>
                  </a:lnTo>
                  <a:lnTo>
                    <a:pt x="177" y="323"/>
                  </a:lnTo>
                  <a:lnTo>
                    <a:pt x="177" y="325"/>
                  </a:lnTo>
                  <a:lnTo>
                    <a:pt x="181" y="328"/>
                  </a:lnTo>
                  <a:lnTo>
                    <a:pt x="182" y="328"/>
                  </a:lnTo>
                  <a:lnTo>
                    <a:pt x="182" y="330"/>
                  </a:lnTo>
                  <a:lnTo>
                    <a:pt x="181" y="330"/>
                  </a:lnTo>
                  <a:lnTo>
                    <a:pt x="179" y="328"/>
                  </a:lnTo>
                  <a:lnTo>
                    <a:pt x="177" y="327"/>
                  </a:lnTo>
                  <a:lnTo>
                    <a:pt x="176" y="327"/>
                  </a:lnTo>
                  <a:lnTo>
                    <a:pt x="174" y="325"/>
                  </a:lnTo>
                  <a:lnTo>
                    <a:pt x="173" y="323"/>
                  </a:lnTo>
                  <a:lnTo>
                    <a:pt x="174" y="323"/>
                  </a:lnTo>
                  <a:lnTo>
                    <a:pt x="174" y="322"/>
                  </a:lnTo>
                  <a:lnTo>
                    <a:pt x="173" y="322"/>
                  </a:lnTo>
                  <a:lnTo>
                    <a:pt x="173" y="320"/>
                  </a:lnTo>
                  <a:lnTo>
                    <a:pt x="173" y="318"/>
                  </a:lnTo>
                  <a:lnTo>
                    <a:pt x="174" y="318"/>
                  </a:lnTo>
                  <a:lnTo>
                    <a:pt x="176" y="318"/>
                  </a:lnTo>
                  <a:lnTo>
                    <a:pt x="174" y="317"/>
                  </a:lnTo>
                  <a:lnTo>
                    <a:pt x="171" y="315"/>
                  </a:lnTo>
                  <a:lnTo>
                    <a:pt x="169" y="315"/>
                  </a:lnTo>
                  <a:lnTo>
                    <a:pt x="169" y="317"/>
                  </a:lnTo>
                  <a:lnTo>
                    <a:pt x="169" y="315"/>
                  </a:lnTo>
                  <a:lnTo>
                    <a:pt x="168" y="315"/>
                  </a:lnTo>
                  <a:lnTo>
                    <a:pt x="168" y="317"/>
                  </a:lnTo>
                  <a:lnTo>
                    <a:pt x="166" y="315"/>
                  </a:lnTo>
                  <a:lnTo>
                    <a:pt x="166" y="314"/>
                  </a:lnTo>
                  <a:lnTo>
                    <a:pt x="164" y="312"/>
                  </a:lnTo>
                  <a:lnTo>
                    <a:pt x="163" y="310"/>
                  </a:lnTo>
                  <a:lnTo>
                    <a:pt x="161" y="309"/>
                  </a:lnTo>
                  <a:lnTo>
                    <a:pt x="161" y="307"/>
                  </a:lnTo>
                  <a:lnTo>
                    <a:pt x="160" y="307"/>
                  </a:lnTo>
                  <a:lnTo>
                    <a:pt x="158" y="305"/>
                  </a:lnTo>
                  <a:lnTo>
                    <a:pt x="158" y="307"/>
                  </a:lnTo>
                  <a:lnTo>
                    <a:pt x="158" y="305"/>
                  </a:lnTo>
                  <a:lnTo>
                    <a:pt x="156" y="305"/>
                  </a:lnTo>
                  <a:lnTo>
                    <a:pt x="155" y="305"/>
                  </a:lnTo>
                  <a:lnTo>
                    <a:pt x="153" y="304"/>
                  </a:lnTo>
                  <a:lnTo>
                    <a:pt x="151" y="302"/>
                  </a:lnTo>
                  <a:lnTo>
                    <a:pt x="153" y="302"/>
                  </a:lnTo>
                  <a:lnTo>
                    <a:pt x="153" y="301"/>
                  </a:lnTo>
                  <a:lnTo>
                    <a:pt x="153" y="299"/>
                  </a:lnTo>
                  <a:lnTo>
                    <a:pt x="151" y="299"/>
                  </a:lnTo>
                  <a:lnTo>
                    <a:pt x="151" y="297"/>
                  </a:lnTo>
                  <a:lnTo>
                    <a:pt x="150" y="297"/>
                  </a:lnTo>
                  <a:lnTo>
                    <a:pt x="150" y="296"/>
                  </a:lnTo>
                  <a:lnTo>
                    <a:pt x="148" y="296"/>
                  </a:lnTo>
                  <a:lnTo>
                    <a:pt x="148" y="294"/>
                  </a:lnTo>
                  <a:lnTo>
                    <a:pt x="150" y="294"/>
                  </a:lnTo>
                  <a:lnTo>
                    <a:pt x="148" y="292"/>
                  </a:lnTo>
                  <a:lnTo>
                    <a:pt x="146" y="292"/>
                  </a:lnTo>
                  <a:lnTo>
                    <a:pt x="148" y="292"/>
                  </a:lnTo>
                  <a:lnTo>
                    <a:pt x="146" y="291"/>
                  </a:lnTo>
                  <a:lnTo>
                    <a:pt x="145" y="291"/>
                  </a:lnTo>
                  <a:lnTo>
                    <a:pt x="145" y="289"/>
                  </a:lnTo>
                  <a:lnTo>
                    <a:pt x="143" y="289"/>
                  </a:lnTo>
                  <a:lnTo>
                    <a:pt x="143" y="288"/>
                  </a:lnTo>
                  <a:lnTo>
                    <a:pt x="142" y="288"/>
                  </a:lnTo>
                  <a:lnTo>
                    <a:pt x="142" y="286"/>
                  </a:lnTo>
                  <a:lnTo>
                    <a:pt x="140" y="286"/>
                  </a:lnTo>
                  <a:lnTo>
                    <a:pt x="140" y="284"/>
                  </a:lnTo>
                  <a:lnTo>
                    <a:pt x="138" y="284"/>
                  </a:lnTo>
                  <a:lnTo>
                    <a:pt x="138" y="283"/>
                  </a:lnTo>
                  <a:lnTo>
                    <a:pt x="138" y="281"/>
                  </a:lnTo>
                  <a:lnTo>
                    <a:pt x="137" y="281"/>
                  </a:lnTo>
                  <a:lnTo>
                    <a:pt x="137" y="279"/>
                  </a:lnTo>
                  <a:lnTo>
                    <a:pt x="135" y="279"/>
                  </a:lnTo>
                  <a:lnTo>
                    <a:pt x="135" y="278"/>
                  </a:lnTo>
                  <a:lnTo>
                    <a:pt x="133" y="278"/>
                  </a:lnTo>
                  <a:lnTo>
                    <a:pt x="133" y="276"/>
                  </a:lnTo>
                  <a:lnTo>
                    <a:pt x="133" y="275"/>
                  </a:lnTo>
                  <a:lnTo>
                    <a:pt x="132" y="273"/>
                  </a:lnTo>
                  <a:lnTo>
                    <a:pt x="133" y="273"/>
                  </a:lnTo>
                  <a:lnTo>
                    <a:pt x="133" y="275"/>
                  </a:lnTo>
                  <a:lnTo>
                    <a:pt x="137" y="276"/>
                  </a:lnTo>
                  <a:lnTo>
                    <a:pt x="137" y="278"/>
                  </a:lnTo>
                  <a:lnTo>
                    <a:pt x="138" y="279"/>
                  </a:lnTo>
                  <a:lnTo>
                    <a:pt x="140" y="281"/>
                  </a:lnTo>
                  <a:close/>
                  <a:moveTo>
                    <a:pt x="125" y="273"/>
                  </a:moveTo>
                  <a:lnTo>
                    <a:pt x="125" y="271"/>
                  </a:lnTo>
                  <a:lnTo>
                    <a:pt x="125" y="273"/>
                  </a:lnTo>
                  <a:close/>
                  <a:moveTo>
                    <a:pt x="107" y="273"/>
                  </a:moveTo>
                  <a:lnTo>
                    <a:pt x="107" y="271"/>
                  </a:lnTo>
                  <a:lnTo>
                    <a:pt x="107" y="273"/>
                  </a:lnTo>
                  <a:close/>
                  <a:moveTo>
                    <a:pt x="145" y="275"/>
                  </a:moveTo>
                  <a:lnTo>
                    <a:pt x="143" y="276"/>
                  </a:lnTo>
                  <a:lnTo>
                    <a:pt x="143" y="275"/>
                  </a:lnTo>
                  <a:lnTo>
                    <a:pt x="142" y="275"/>
                  </a:lnTo>
                  <a:lnTo>
                    <a:pt x="142" y="273"/>
                  </a:lnTo>
                  <a:lnTo>
                    <a:pt x="140" y="273"/>
                  </a:lnTo>
                  <a:lnTo>
                    <a:pt x="140" y="271"/>
                  </a:lnTo>
                  <a:lnTo>
                    <a:pt x="138" y="270"/>
                  </a:lnTo>
                  <a:lnTo>
                    <a:pt x="137" y="268"/>
                  </a:lnTo>
                  <a:lnTo>
                    <a:pt x="138" y="268"/>
                  </a:lnTo>
                  <a:lnTo>
                    <a:pt x="138" y="270"/>
                  </a:lnTo>
                  <a:lnTo>
                    <a:pt x="140" y="270"/>
                  </a:lnTo>
                  <a:lnTo>
                    <a:pt x="140" y="271"/>
                  </a:lnTo>
                  <a:lnTo>
                    <a:pt x="142" y="273"/>
                  </a:lnTo>
                  <a:lnTo>
                    <a:pt x="143" y="275"/>
                  </a:lnTo>
                  <a:lnTo>
                    <a:pt x="145" y="275"/>
                  </a:lnTo>
                  <a:close/>
                  <a:moveTo>
                    <a:pt x="52" y="268"/>
                  </a:moveTo>
                  <a:lnTo>
                    <a:pt x="52" y="270"/>
                  </a:lnTo>
                  <a:lnTo>
                    <a:pt x="52" y="268"/>
                  </a:lnTo>
                  <a:close/>
                  <a:moveTo>
                    <a:pt x="93" y="266"/>
                  </a:moveTo>
                  <a:lnTo>
                    <a:pt x="93" y="265"/>
                  </a:lnTo>
                  <a:lnTo>
                    <a:pt x="93" y="266"/>
                  </a:lnTo>
                  <a:close/>
                  <a:moveTo>
                    <a:pt x="88" y="266"/>
                  </a:moveTo>
                  <a:lnTo>
                    <a:pt x="88" y="265"/>
                  </a:lnTo>
                  <a:lnTo>
                    <a:pt x="88" y="266"/>
                  </a:lnTo>
                  <a:close/>
                  <a:moveTo>
                    <a:pt x="90" y="268"/>
                  </a:moveTo>
                  <a:lnTo>
                    <a:pt x="88" y="268"/>
                  </a:lnTo>
                  <a:lnTo>
                    <a:pt x="88" y="266"/>
                  </a:lnTo>
                  <a:lnTo>
                    <a:pt x="90" y="266"/>
                  </a:lnTo>
                  <a:lnTo>
                    <a:pt x="90" y="265"/>
                  </a:lnTo>
                  <a:lnTo>
                    <a:pt x="88" y="265"/>
                  </a:lnTo>
                  <a:lnTo>
                    <a:pt x="90" y="265"/>
                  </a:lnTo>
                  <a:lnTo>
                    <a:pt x="90" y="263"/>
                  </a:lnTo>
                  <a:lnTo>
                    <a:pt x="90" y="265"/>
                  </a:lnTo>
                  <a:lnTo>
                    <a:pt x="90" y="266"/>
                  </a:lnTo>
                  <a:lnTo>
                    <a:pt x="90" y="268"/>
                  </a:lnTo>
                  <a:close/>
                  <a:moveTo>
                    <a:pt x="51" y="266"/>
                  </a:moveTo>
                  <a:lnTo>
                    <a:pt x="49" y="266"/>
                  </a:lnTo>
                  <a:lnTo>
                    <a:pt x="49" y="265"/>
                  </a:lnTo>
                  <a:lnTo>
                    <a:pt x="51" y="266"/>
                  </a:lnTo>
                  <a:close/>
                  <a:moveTo>
                    <a:pt x="52" y="266"/>
                  </a:moveTo>
                  <a:lnTo>
                    <a:pt x="52" y="265"/>
                  </a:lnTo>
                  <a:lnTo>
                    <a:pt x="52" y="266"/>
                  </a:lnTo>
                  <a:close/>
                  <a:moveTo>
                    <a:pt x="42" y="262"/>
                  </a:moveTo>
                  <a:lnTo>
                    <a:pt x="42" y="263"/>
                  </a:lnTo>
                  <a:lnTo>
                    <a:pt x="41" y="262"/>
                  </a:lnTo>
                  <a:lnTo>
                    <a:pt x="42" y="262"/>
                  </a:lnTo>
                  <a:close/>
                  <a:moveTo>
                    <a:pt x="41" y="262"/>
                  </a:moveTo>
                  <a:lnTo>
                    <a:pt x="41" y="260"/>
                  </a:lnTo>
                  <a:lnTo>
                    <a:pt x="41" y="262"/>
                  </a:lnTo>
                  <a:close/>
                  <a:moveTo>
                    <a:pt x="140" y="252"/>
                  </a:moveTo>
                  <a:lnTo>
                    <a:pt x="142" y="252"/>
                  </a:lnTo>
                  <a:lnTo>
                    <a:pt x="143" y="253"/>
                  </a:lnTo>
                  <a:lnTo>
                    <a:pt x="142" y="253"/>
                  </a:lnTo>
                  <a:lnTo>
                    <a:pt x="142" y="255"/>
                  </a:lnTo>
                  <a:lnTo>
                    <a:pt x="140" y="255"/>
                  </a:lnTo>
                  <a:lnTo>
                    <a:pt x="140" y="253"/>
                  </a:lnTo>
                  <a:lnTo>
                    <a:pt x="140" y="255"/>
                  </a:lnTo>
                  <a:lnTo>
                    <a:pt x="138" y="253"/>
                  </a:lnTo>
                  <a:lnTo>
                    <a:pt x="138" y="252"/>
                  </a:lnTo>
                  <a:lnTo>
                    <a:pt x="140" y="252"/>
                  </a:lnTo>
                  <a:close/>
                  <a:moveTo>
                    <a:pt x="130" y="253"/>
                  </a:moveTo>
                  <a:lnTo>
                    <a:pt x="132" y="253"/>
                  </a:lnTo>
                  <a:lnTo>
                    <a:pt x="132" y="252"/>
                  </a:lnTo>
                  <a:lnTo>
                    <a:pt x="132" y="253"/>
                  </a:lnTo>
                  <a:lnTo>
                    <a:pt x="133" y="252"/>
                  </a:lnTo>
                  <a:lnTo>
                    <a:pt x="133" y="253"/>
                  </a:lnTo>
                  <a:lnTo>
                    <a:pt x="135" y="253"/>
                  </a:lnTo>
                  <a:lnTo>
                    <a:pt x="133" y="255"/>
                  </a:lnTo>
                  <a:lnTo>
                    <a:pt x="133" y="257"/>
                  </a:lnTo>
                  <a:lnTo>
                    <a:pt x="132" y="257"/>
                  </a:lnTo>
                  <a:lnTo>
                    <a:pt x="133" y="258"/>
                  </a:lnTo>
                  <a:lnTo>
                    <a:pt x="135" y="260"/>
                  </a:lnTo>
                  <a:lnTo>
                    <a:pt x="137" y="262"/>
                  </a:lnTo>
                  <a:lnTo>
                    <a:pt x="138" y="262"/>
                  </a:lnTo>
                  <a:lnTo>
                    <a:pt x="138" y="263"/>
                  </a:lnTo>
                  <a:lnTo>
                    <a:pt x="140" y="265"/>
                  </a:lnTo>
                  <a:lnTo>
                    <a:pt x="142" y="265"/>
                  </a:lnTo>
                  <a:lnTo>
                    <a:pt x="143" y="266"/>
                  </a:lnTo>
                  <a:lnTo>
                    <a:pt x="143" y="268"/>
                  </a:lnTo>
                  <a:lnTo>
                    <a:pt x="145" y="268"/>
                  </a:lnTo>
                  <a:lnTo>
                    <a:pt x="145" y="270"/>
                  </a:lnTo>
                  <a:lnTo>
                    <a:pt x="146" y="271"/>
                  </a:lnTo>
                  <a:lnTo>
                    <a:pt x="146" y="270"/>
                  </a:lnTo>
                  <a:lnTo>
                    <a:pt x="146" y="271"/>
                  </a:lnTo>
                  <a:lnTo>
                    <a:pt x="146" y="273"/>
                  </a:lnTo>
                  <a:lnTo>
                    <a:pt x="145" y="273"/>
                  </a:lnTo>
                  <a:lnTo>
                    <a:pt x="143" y="273"/>
                  </a:lnTo>
                  <a:lnTo>
                    <a:pt x="142" y="271"/>
                  </a:lnTo>
                  <a:lnTo>
                    <a:pt x="140" y="270"/>
                  </a:lnTo>
                  <a:lnTo>
                    <a:pt x="140" y="268"/>
                  </a:lnTo>
                  <a:lnTo>
                    <a:pt x="138" y="268"/>
                  </a:lnTo>
                  <a:lnTo>
                    <a:pt x="138" y="266"/>
                  </a:lnTo>
                  <a:lnTo>
                    <a:pt x="137" y="266"/>
                  </a:lnTo>
                  <a:lnTo>
                    <a:pt x="135" y="266"/>
                  </a:lnTo>
                  <a:lnTo>
                    <a:pt x="133" y="265"/>
                  </a:lnTo>
                  <a:lnTo>
                    <a:pt x="132" y="265"/>
                  </a:lnTo>
                  <a:lnTo>
                    <a:pt x="133" y="266"/>
                  </a:lnTo>
                  <a:lnTo>
                    <a:pt x="135" y="266"/>
                  </a:lnTo>
                  <a:lnTo>
                    <a:pt x="133" y="266"/>
                  </a:lnTo>
                  <a:lnTo>
                    <a:pt x="132" y="265"/>
                  </a:lnTo>
                  <a:lnTo>
                    <a:pt x="132" y="266"/>
                  </a:lnTo>
                  <a:lnTo>
                    <a:pt x="132" y="265"/>
                  </a:lnTo>
                  <a:lnTo>
                    <a:pt x="132" y="266"/>
                  </a:lnTo>
                  <a:lnTo>
                    <a:pt x="130" y="266"/>
                  </a:lnTo>
                  <a:lnTo>
                    <a:pt x="130" y="265"/>
                  </a:lnTo>
                  <a:lnTo>
                    <a:pt x="130" y="266"/>
                  </a:lnTo>
                  <a:lnTo>
                    <a:pt x="130" y="265"/>
                  </a:lnTo>
                  <a:lnTo>
                    <a:pt x="129" y="266"/>
                  </a:lnTo>
                  <a:lnTo>
                    <a:pt x="129" y="265"/>
                  </a:lnTo>
                  <a:lnTo>
                    <a:pt x="127" y="265"/>
                  </a:lnTo>
                  <a:lnTo>
                    <a:pt x="125" y="265"/>
                  </a:lnTo>
                  <a:lnTo>
                    <a:pt x="125" y="263"/>
                  </a:lnTo>
                  <a:lnTo>
                    <a:pt x="124" y="262"/>
                  </a:lnTo>
                  <a:lnTo>
                    <a:pt x="125" y="260"/>
                  </a:lnTo>
                  <a:lnTo>
                    <a:pt x="127" y="260"/>
                  </a:lnTo>
                  <a:lnTo>
                    <a:pt x="127" y="262"/>
                  </a:lnTo>
                  <a:lnTo>
                    <a:pt x="129" y="262"/>
                  </a:lnTo>
                  <a:lnTo>
                    <a:pt x="130" y="262"/>
                  </a:lnTo>
                  <a:lnTo>
                    <a:pt x="129" y="262"/>
                  </a:lnTo>
                  <a:lnTo>
                    <a:pt x="129" y="260"/>
                  </a:lnTo>
                  <a:lnTo>
                    <a:pt x="129" y="262"/>
                  </a:lnTo>
                  <a:lnTo>
                    <a:pt x="129" y="260"/>
                  </a:lnTo>
                  <a:lnTo>
                    <a:pt x="129" y="258"/>
                  </a:lnTo>
                  <a:lnTo>
                    <a:pt x="127" y="258"/>
                  </a:lnTo>
                  <a:lnTo>
                    <a:pt x="129" y="258"/>
                  </a:lnTo>
                  <a:lnTo>
                    <a:pt x="129" y="260"/>
                  </a:lnTo>
                  <a:lnTo>
                    <a:pt x="129" y="258"/>
                  </a:lnTo>
                  <a:lnTo>
                    <a:pt x="130" y="258"/>
                  </a:lnTo>
                  <a:lnTo>
                    <a:pt x="130" y="260"/>
                  </a:lnTo>
                  <a:lnTo>
                    <a:pt x="132" y="260"/>
                  </a:lnTo>
                  <a:lnTo>
                    <a:pt x="130" y="258"/>
                  </a:lnTo>
                  <a:lnTo>
                    <a:pt x="129" y="257"/>
                  </a:lnTo>
                  <a:lnTo>
                    <a:pt x="127" y="255"/>
                  </a:lnTo>
                  <a:lnTo>
                    <a:pt x="125" y="253"/>
                  </a:lnTo>
                  <a:lnTo>
                    <a:pt x="127" y="253"/>
                  </a:lnTo>
                  <a:lnTo>
                    <a:pt x="129" y="253"/>
                  </a:lnTo>
                  <a:lnTo>
                    <a:pt x="130" y="255"/>
                  </a:lnTo>
                  <a:lnTo>
                    <a:pt x="130" y="253"/>
                  </a:lnTo>
                  <a:lnTo>
                    <a:pt x="130" y="252"/>
                  </a:lnTo>
                  <a:lnTo>
                    <a:pt x="130" y="253"/>
                  </a:lnTo>
                  <a:close/>
                  <a:moveTo>
                    <a:pt x="41" y="255"/>
                  </a:moveTo>
                  <a:lnTo>
                    <a:pt x="39" y="255"/>
                  </a:lnTo>
                  <a:lnTo>
                    <a:pt x="41" y="253"/>
                  </a:lnTo>
                  <a:lnTo>
                    <a:pt x="41" y="255"/>
                  </a:lnTo>
                  <a:close/>
                  <a:moveTo>
                    <a:pt x="133" y="249"/>
                  </a:moveTo>
                  <a:lnTo>
                    <a:pt x="135" y="249"/>
                  </a:lnTo>
                  <a:lnTo>
                    <a:pt x="135" y="250"/>
                  </a:lnTo>
                  <a:lnTo>
                    <a:pt x="137" y="250"/>
                  </a:lnTo>
                  <a:lnTo>
                    <a:pt x="137" y="252"/>
                  </a:lnTo>
                  <a:lnTo>
                    <a:pt x="135" y="252"/>
                  </a:lnTo>
                  <a:lnTo>
                    <a:pt x="133" y="252"/>
                  </a:lnTo>
                  <a:lnTo>
                    <a:pt x="132" y="250"/>
                  </a:lnTo>
                  <a:lnTo>
                    <a:pt x="132" y="249"/>
                  </a:lnTo>
                  <a:lnTo>
                    <a:pt x="133" y="249"/>
                  </a:lnTo>
                  <a:lnTo>
                    <a:pt x="132" y="249"/>
                  </a:lnTo>
                  <a:lnTo>
                    <a:pt x="132" y="247"/>
                  </a:lnTo>
                  <a:lnTo>
                    <a:pt x="133" y="249"/>
                  </a:lnTo>
                  <a:close/>
                  <a:moveTo>
                    <a:pt x="36" y="252"/>
                  </a:moveTo>
                  <a:lnTo>
                    <a:pt x="34" y="252"/>
                  </a:lnTo>
                  <a:lnTo>
                    <a:pt x="34" y="250"/>
                  </a:lnTo>
                  <a:lnTo>
                    <a:pt x="36" y="252"/>
                  </a:lnTo>
                  <a:close/>
                  <a:moveTo>
                    <a:pt x="29" y="252"/>
                  </a:moveTo>
                  <a:lnTo>
                    <a:pt x="29" y="250"/>
                  </a:lnTo>
                  <a:lnTo>
                    <a:pt x="29" y="252"/>
                  </a:lnTo>
                  <a:close/>
                  <a:moveTo>
                    <a:pt x="36" y="250"/>
                  </a:moveTo>
                  <a:lnTo>
                    <a:pt x="36" y="252"/>
                  </a:lnTo>
                  <a:lnTo>
                    <a:pt x="36" y="250"/>
                  </a:lnTo>
                  <a:close/>
                  <a:moveTo>
                    <a:pt x="31" y="249"/>
                  </a:moveTo>
                  <a:lnTo>
                    <a:pt x="31" y="250"/>
                  </a:lnTo>
                  <a:lnTo>
                    <a:pt x="31" y="249"/>
                  </a:lnTo>
                  <a:close/>
                  <a:moveTo>
                    <a:pt x="29" y="250"/>
                  </a:moveTo>
                  <a:lnTo>
                    <a:pt x="28" y="250"/>
                  </a:lnTo>
                  <a:lnTo>
                    <a:pt x="29" y="249"/>
                  </a:lnTo>
                  <a:lnTo>
                    <a:pt x="29" y="250"/>
                  </a:lnTo>
                  <a:close/>
                  <a:moveTo>
                    <a:pt x="28" y="249"/>
                  </a:moveTo>
                  <a:lnTo>
                    <a:pt x="28" y="250"/>
                  </a:lnTo>
                  <a:lnTo>
                    <a:pt x="28" y="249"/>
                  </a:lnTo>
                  <a:close/>
                  <a:moveTo>
                    <a:pt x="29" y="249"/>
                  </a:moveTo>
                  <a:lnTo>
                    <a:pt x="28" y="249"/>
                  </a:lnTo>
                  <a:lnTo>
                    <a:pt x="29" y="249"/>
                  </a:lnTo>
                  <a:close/>
                  <a:moveTo>
                    <a:pt x="33" y="249"/>
                  </a:moveTo>
                  <a:lnTo>
                    <a:pt x="31" y="249"/>
                  </a:lnTo>
                  <a:lnTo>
                    <a:pt x="33" y="249"/>
                  </a:lnTo>
                  <a:lnTo>
                    <a:pt x="34" y="249"/>
                  </a:lnTo>
                  <a:lnTo>
                    <a:pt x="33" y="250"/>
                  </a:lnTo>
                  <a:lnTo>
                    <a:pt x="34" y="250"/>
                  </a:lnTo>
                  <a:lnTo>
                    <a:pt x="33" y="250"/>
                  </a:lnTo>
                  <a:lnTo>
                    <a:pt x="33" y="252"/>
                  </a:lnTo>
                  <a:lnTo>
                    <a:pt x="33" y="250"/>
                  </a:lnTo>
                  <a:lnTo>
                    <a:pt x="31" y="250"/>
                  </a:lnTo>
                  <a:lnTo>
                    <a:pt x="33" y="252"/>
                  </a:lnTo>
                  <a:lnTo>
                    <a:pt x="31" y="252"/>
                  </a:lnTo>
                  <a:lnTo>
                    <a:pt x="31" y="253"/>
                  </a:lnTo>
                  <a:lnTo>
                    <a:pt x="31" y="252"/>
                  </a:lnTo>
                  <a:lnTo>
                    <a:pt x="31" y="253"/>
                  </a:lnTo>
                  <a:lnTo>
                    <a:pt x="31" y="252"/>
                  </a:lnTo>
                  <a:lnTo>
                    <a:pt x="31" y="250"/>
                  </a:lnTo>
                  <a:lnTo>
                    <a:pt x="31" y="249"/>
                  </a:lnTo>
                  <a:lnTo>
                    <a:pt x="29" y="249"/>
                  </a:lnTo>
                  <a:lnTo>
                    <a:pt x="29" y="247"/>
                  </a:lnTo>
                  <a:lnTo>
                    <a:pt x="31" y="247"/>
                  </a:lnTo>
                  <a:lnTo>
                    <a:pt x="33" y="247"/>
                  </a:lnTo>
                  <a:lnTo>
                    <a:pt x="33" y="249"/>
                  </a:lnTo>
                  <a:close/>
                  <a:moveTo>
                    <a:pt x="135" y="240"/>
                  </a:moveTo>
                  <a:lnTo>
                    <a:pt x="137" y="240"/>
                  </a:lnTo>
                  <a:lnTo>
                    <a:pt x="137" y="242"/>
                  </a:lnTo>
                  <a:lnTo>
                    <a:pt x="137" y="240"/>
                  </a:lnTo>
                  <a:lnTo>
                    <a:pt x="137" y="242"/>
                  </a:lnTo>
                  <a:lnTo>
                    <a:pt x="138" y="242"/>
                  </a:lnTo>
                  <a:lnTo>
                    <a:pt x="140" y="242"/>
                  </a:lnTo>
                  <a:lnTo>
                    <a:pt x="140" y="244"/>
                  </a:lnTo>
                  <a:lnTo>
                    <a:pt x="142" y="244"/>
                  </a:lnTo>
                  <a:lnTo>
                    <a:pt x="140" y="245"/>
                  </a:lnTo>
                  <a:lnTo>
                    <a:pt x="142" y="245"/>
                  </a:lnTo>
                  <a:lnTo>
                    <a:pt x="142" y="247"/>
                  </a:lnTo>
                  <a:lnTo>
                    <a:pt x="140" y="247"/>
                  </a:lnTo>
                  <a:lnTo>
                    <a:pt x="138" y="245"/>
                  </a:lnTo>
                  <a:lnTo>
                    <a:pt x="137" y="245"/>
                  </a:lnTo>
                  <a:lnTo>
                    <a:pt x="135" y="244"/>
                  </a:lnTo>
                  <a:lnTo>
                    <a:pt x="133" y="242"/>
                  </a:lnTo>
                  <a:lnTo>
                    <a:pt x="135" y="242"/>
                  </a:lnTo>
                  <a:lnTo>
                    <a:pt x="133" y="240"/>
                  </a:lnTo>
                  <a:lnTo>
                    <a:pt x="135" y="240"/>
                  </a:lnTo>
                  <a:close/>
                  <a:moveTo>
                    <a:pt x="28" y="245"/>
                  </a:moveTo>
                  <a:lnTo>
                    <a:pt x="28" y="247"/>
                  </a:lnTo>
                  <a:lnTo>
                    <a:pt x="28" y="245"/>
                  </a:lnTo>
                  <a:close/>
                  <a:moveTo>
                    <a:pt x="29" y="245"/>
                  </a:moveTo>
                  <a:lnTo>
                    <a:pt x="31" y="245"/>
                  </a:lnTo>
                  <a:lnTo>
                    <a:pt x="31" y="247"/>
                  </a:lnTo>
                  <a:lnTo>
                    <a:pt x="29" y="247"/>
                  </a:lnTo>
                  <a:lnTo>
                    <a:pt x="29" y="245"/>
                  </a:lnTo>
                  <a:lnTo>
                    <a:pt x="29" y="247"/>
                  </a:lnTo>
                  <a:lnTo>
                    <a:pt x="29" y="245"/>
                  </a:lnTo>
                  <a:close/>
                  <a:moveTo>
                    <a:pt x="125" y="240"/>
                  </a:moveTo>
                  <a:lnTo>
                    <a:pt x="124" y="240"/>
                  </a:lnTo>
                  <a:lnTo>
                    <a:pt x="125" y="240"/>
                  </a:lnTo>
                  <a:close/>
                  <a:moveTo>
                    <a:pt x="114" y="240"/>
                  </a:moveTo>
                  <a:lnTo>
                    <a:pt x="116" y="240"/>
                  </a:lnTo>
                  <a:lnTo>
                    <a:pt x="114" y="240"/>
                  </a:lnTo>
                  <a:lnTo>
                    <a:pt x="114" y="239"/>
                  </a:lnTo>
                  <a:lnTo>
                    <a:pt x="114" y="240"/>
                  </a:lnTo>
                  <a:close/>
                  <a:moveTo>
                    <a:pt x="112" y="236"/>
                  </a:moveTo>
                  <a:lnTo>
                    <a:pt x="111" y="236"/>
                  </a:lnTo>
                  <a:lnTo>
                    <a:pt x="112" y="236"/>
                  </a:lnTo>
                  <a:close/>
                  <a:moveTo>
                    <a:pt x="109" y="236"/>
                  </a:moveTo>
                  <a:lnTo>
                    <a:pt x="111" y="236"/>
                  </a:lnTo>
                  <a:lnTo>
                    <a:pt x="112" y="237"/>
                  </a:lnTo>
                  <a:lnTo>
                    <a:pt x="112" y="239"/>
                  </a:lnTo>
                  <a:lnTo>
                    <a:pt x="111" y="239"/>
                  </a:lnTo>
                  <a:lnTo>
                    <a:pt x="109" y="239"/>
                  </a:lnTo>
                  <a:lnTo>
                    <a:pt x="109" y="237"/>
                  </a:lnTo>
                  <a:lnTo>
                    <a:pt x="107" y="237"/>
                  </a:lnTo>
                  <a:lnTo>
                    <a:pt x="106" y="237"/>
                  </a:lnTo>
                  <a:lnTo>
                    <a:pt x="106" y="236"/>
                  </a:lnTo>
                  <a:lnTo>
                    <a:pt x="107" y="236"/>
                  </a:lnTo>
                  <a:lnTo>
                    <a:pt x="109" y="234"/>
                  </a:lnTo>
                  <a:lnTo>
                    <a:pt x="109" y="236"/>
                  </a:lnTo>
                  <a:lnTo>
                    <a:pt x="111" y="236"/>
                  </a:lnTo>
                  <a:lnTo>
                    <a:pt x="109" y="236"/>
                  </a:lnTo>
                  <a:close/>
                  <a:moveTo>
                    <a:pt x="119" y="227"/>
                  </a:moveTo>
                  <a:lnTo>
                    <a:pt x="119" y="229"/>
                  </a:lnTo>
                  <a:lnTo>
                    <a:pt x="119" y="227"/>
                  </a:lnTo>
                  <a:close/>
                  <a:moveTo>
                    <a:pt x="18" y="231"/>
                  </a:moveTo>
                  <a:lnTo>
                    <a:pt x="16" y="231"/>
                  </a:lnTo>
                  <a:lnTo>
                    <a:pt x="18" y="231"/>
                  </a:lnTo>
                  <a:close/>
                  <a:moveTo>
                    <a:pt x="18" y="231"/>
                  </a:moveTo>
                  <a:lnTo>
                    <a:pt x="16" y="231"/>
                  </a:lnTo>
                  <a:lnTo>
                    <a:pt x="18" y="231"/>
                  </a:lnTo>
                  <a:close/>
                  <a:moveTo>
                    <a:pt x="18" y="229"/>
                  </a:moveTo>
                  <a:lnTo>
                    <a:pt x="16" y="229"/>
                  </a:lnTo>
                  <a:lnTo>
                    <a:pt x="18" y="229"/>
                  </a:lnTo>
                  <a:lnTo>
                    <a:pt x="16" y="229"/>
                  </a:lnTo>
                  <a:lnTo>
                    <a:pt x="18" y="229"/>
                  </a:lnTo>
                  <a:close/>
                  <a:moveTo>
                    <a:pt x="18" y="227"/>
                  </a:moveTo>
                  <a:lnTo>
                    <a:pt x="16" y="226"/>
                  </a:lnTo>
                  <a:lnTo>
                    <a:pt x="18" y="226"/>
                  </a:lnTo>
                  <a:lnTo>
                    <a:pt x="18" y="227"/>
                  </a:lnTo>
                  <a:close/>
                  <a:moveTo>
                    <a:pt x="15" y="219"/>
                  </a:moveTo>
                  <a:lnTo>
                    <a:pt x="13" y="219"/>
                  </a:lnTo>
                  <a:lnTo>
                    <a:pt x="15" y="218"/>
                  </a:lnTo>
                  <a:lnTo>
                    <a:pt x="15" y="219"/>
                  </a:lnTo>
                  <a:close/>
                  <a:moveTo>
                    <a:pt x="13" y="218"/>
                  </a:moveTo>
                  <a:lnTo>
                    <a:pt x="12" y="218"/>
                  </a:lnTo>
                  <a:lnTo>
                    <a:pt x="13" y="218"/>
                  </a:lnTo>
                  <a:close/>
                  <a:moveTo>
                    <a:pt x="15" y="216"/>
                  </a:moveTo>
                  <a:lnTo>
                    <a:pt x="15" y="214"/>
                  </a:lnTo>
                  <a:lnTo>
                    <a:pt x="15" y="216"/>
                  </a:lnTo>
                  <a:close/>
                  <a:moveTo>
                    <a:pt x="88" y="210"/>
                  </a:moveTo>
                  <a:lnTo>
                    <a:pt x="90" y="210"/>
                  </a:lnTo>
                  <a:lnTo>
                    <a:pt x="91" y="210"/>
                  </a:lnTo>
                  <a:lnTo>
                    <a:pt x="91" y="211"/>
                  </a:lnTo>
                  <a:lnTo>
                    <a:pt x="93" y="213"/>
                  </a:lnTo>
                  <a:lnTo>
                    <a:pt x="91" y="213"/>
                  </a:lnTo>
                  <a:lnTo>
                    <a:pt x="91" y="214"/>
                  </a:lnTo>
                  <a:lnTo>
                    <a:pt x="91" y="216"/>
                  </a:lnTo>
                  <a:lnTo>
                    <a:pt x="91" y="218"/>
                  </a:lnTo>
                  <a:lnTo>
                    <a:pt x="91" y="219"/>
                  </a:lnTo>
                  <a:lnTo>
                    <a:pt x="91" y="221"/>
                  </a:lnTo>
                  <a:lnTo>
                    <a:pt x="93" y="223"/>
                  </a:lnTo>
                  <a:lnTo>
                    <a:pt x="93" y="224"/>
                  </a:lnTo>
                  <a:lnTo>
                    <a:pt x="94" y="226"/>
                  </a:lnTo>
                  <a:lnTo>
                    <a:pt x="94" y="227"/>
                  </a:lnTo>
                  <a:lnTo>
                    <a:pt x="96" y="229"/>
                  </a:lnTo>
                  <a:lnTo>
                    <a:pt x="96" y="231"/>
                  </a:lnTo>
                  <a:lnTo>
                    <a:pt x="98" y="232"/>
                  </a:lnTo>
                  <a:lnTo>
                    <a:pt x="98" y="234"/>
                  </a:lnTo>
                  <a:lnTo>
                    <a:pt x="99" y="236"/>
                  </a:lnTo>
                  <a:lnTo>
                    <a:pt x="101" y="236"/>
                  </a:lnTo>
                  <a:lnTo>
                    <a:pt x="103" y="236"/>
                  </a:lnTo>
                  <a:lnTo>
                    <a:pt x="104" y="236"/>
                  </a:lnTo>
                  <a:lnTo>
                    <a:pt x="104" y="237"/>
                  </a:lnTo>
                  <a:lnTo>
                    <a:pt x="106" y="239"/>
                  </a:lnTo>
                  <a:lnTo>
                    <a:pt x="104" y="239"/>
                  </a:lnTo>
                  <a:lnTo>
                    <a:pt x="104" y="240"/>
                  </a:lnTo>
                  <a:lnTo>
                    <a:pt x="103" y="240"/>
                  </a:lnTo>
                  <a:lnTo>
                    <a:pt x="104" y="240"/>
                  </a:lnTo>
                  <a:lnTo>
                    <a:pt x="104" y="242"/>
                  </a:lnTo>
                  <a:lnTo>
                    <a:pt x="103" y="242"/>
                  </a:lnTo>
                  <a:lnTo>
                    <a:pt x="103" y="244"/>
                  </a:lnTo>
                  <a:lnTo>
                    <a:pt x="103" y="245"/>
                  </a:lnTo>
                  <a:lnTo>
                    <a:pt x="103" y="247"/>
                  </a:lnTo>
                  <a:lnTo>
                    <a:pt x="103" y="249"/>
                  </a:lnTo>
                  <a:lnTo>
                    <a:pt x="103" y="250"/>
                  </a:lnTo>
                  <a:lnTo>
                    <a:pt x="103" y="252"/>
                  </a:lnTo>
                  <a:lnTo>
                    <a:pt x="103" y="253"/>
                  </a:lnTo>
                  <a:lnTo>
                    <a:pt x="103" y="255"/>
                  </a:lnTo>
                  <a:lnTo>
                    <a:pt x="104" y="255"/>
                  </a:lnTo>
                  <a:lnTo>
                    <a:pt x="104" y="257"/>
                  </a:lnTo>
                  <a:lnTo>
                    <a:pt x="104" y="258"/>
                  </a:lnTo>
                  <a:lnTo>
                    <a:pt x="104" y="260"/>
                  </a:lnTo>
                  <a:lnTo>
                    <a:pt x="106" y="263"/>
                  </a:lnTo>
                  <a:lnTo>
                    <a:pt x="104" y="263"/>
                  </a:lnTo>
                  <a:lnTo>
                    <a:pt x="104" y="262"/>
                  </a:lnTo>
                  <a:lnTo>
                    <a:pt x="103" y="263"/>
                  </a:lnTo>
                  <a:lnTo>
                    <a:pt x="104" y="265"/>
                  </a:lnTo>
                  <a:lnTo>
                    <a:pt x="106" y="266"/>
                  </a:lnTo>
                  <a:lnTo>
                    <a:pt x="106" y="268"/>
                  </a:lnTo>
                  <a:lnTo>
                    <a:pt x="106" y="270"/>
                  </a:lnTo>
                  <a:lnTo>
                    <a:pt x="106" y="271"/>
                  </a:lnTo>
                  <a:lnTo>
                    <a:pt x="106" y="273"/>
                  </a:lnTo>
                  <a:lnTo>
                    <a:pt x="107" y="276"/>
                  </a:lnTo>
                  <a:lnTo>
                    <a:pt x="107" y="278"/>
                  </a:lnTo>
                  <a:lnTo>
                    <a:pt x="109" y="278"/>
                  </a:lnTo>
                  <a:lnTo>
                    <a:pt x="109" y="279"/>
                  </a:lnTo>
                  <a:lnTo>
                    <a:pt x="111" y="279"/>
                  </a:lnTo>
                  <a:lnTo>
                    <a:pt x="109" y="279"/>
                  </a:lnTo>
                  <a:lnTo>
                    <a:pt x="111" y="279"/>
                  </a:lnTo>
                  <a:lnTo>
                    <a:pt x="111" y="281"/>
                  </a:lnTo>
                  <a:lnTo>
                    <a:pt x="111" y="283"/>
                  </a:lnTo>
                  <a:lnTo>
                    <a:pt x="109" y="284"/>
                  </a:lnTo>
                  <a:lnTo>
                    <a:pt x="111" y="283"/>
                  </a:lnTo>
                  <a:lnTo>
                    <a:pt x="111" y="284"/>
                  </a:lnTo>
                  <a:lnTo>
                    <a:pt x="111" y="283"/>
                  </a:lnTo>
                  <a:lnTo>
                    <a:pt x="111" y="284"/>
                  </a:lnTo>
                  <a:lnTo>
                    <a:pt x="112" y="284"/>
                  </a:lnTo>
                  <a:lnTo>
                    <a:pt x="112" y="283"/>
                  </a:lnTo>
                  <a:lnTo>
                    <a:pt x="112" y="284"/>
                  </a:lnTo>
                  <a:lnTo>
                    <a:pt x="114" y="284"/>
                  </a:lnTo>
                  <a:lnTo>
                    <a:pt x="112" y="284"/>
                  </a:lnTo>
                  <a:lnTo>
                    <a:pt x="114" y="284"/>
                  </a:lnTo>
                  <a:lnTo>
                    <a:pt x="114" y="286"/>
                  </a:lnTo>
                  <a:lnTo>
                    <a:pt x="112" y="286"/>
                  </a:lnTo>
                  <a:lnTo>
                    <a:pt x="112" y="288"/>
                  </a:lnTo>
                  <a:lnTo>
                    <a:pt x="112" y="286"/>
                  </a:lnTo>
                  <a:lnTo>
                    <a:pt x="111" y="286"/>
                  </a:lnTo>
                  <a:lnTo>
                    <a:pt x="112" y="288"/>
                  </a:lnTo>
                  <a:lnTo>
                    <a:pt x="111" y="289"/>
                  </a:lnTo>
                  <a:lnTo>
                    <a:pt x="111" y="288"/>
                  </a:lnTo>
                  <a:lnTo>
                    <a:pt x="109" y="286"/>
                  </a:lnTo>
                  <a:lnTo>
                    <a:pt x="111" y="289"/>
                  </a:lnTo>
                  <a:lnTo>
                    <a:pt x="109" y="289"/>
                  </a:lnTo>
                  <a:lnTo>
                    <a:pt x="107" y="289"/>
                  </a:lnTo>
                  <a:lnTo>
                    <a:pt x="107" y="288"/>
                  </a:lnTo>
                  <a:lnTo>
                    <a:pt x="106" y="288"/>
                  </a:lnTo>
                  <a:lnTo>
                    <a:pt x="106" y="286"/>
                  </a:lnTo>
                  <a:lnTo>
                    <a:pt x="106" y="288"/>
                  </a:lnTo>
                  <a:lnTo>
                    <a:pt x="106" y="286"/>
                  </a:lnTo>
                  <a:lnTo>
                    <a:pt x="106" y="288"/>
                  </a:lnTo>
                  <a:lnTo>
                    <a:pt x="106" y="286"/>
                  </a:lnTo>
                  <a:lnTo>
                    <a:pt x="104" y="286"/>
                  </a:lnTo>
                  <a:lnTo>
                    <a:pt x="106" y="286"/>
                  </a:lnTo>
                  <a:lnTo>
                    <a:pt x="104" y="286"/>
                  </a:lnTo>
                  <a:lnTo>
                    <a:pt x="104" y="284"/>
                  </a:lnTo>
                  <a:lnTo>
                    <a:pt x="103" y="283"/>
                  </a:lnTo>
                  <a:lnTo>
                    <a:pt x="103" y="281"/>
                  </a:lnTo>
                  <a:lnTo>
                    <a:pt x="101" y="279"/>
                  </a:lnTo>
                  <a:lnTo>
                    <a:pt x="101" y="281"/>
                  </a:lnTo>
                  <a:lnTo>
                    <a:pt x="99" y="281"/>
                  </a:lnTo>
                  <a:lnTo>
                    <a:pt x="99" y="279"/>
                  </a:lnTo>
                  <a:lnTo>
                    <a:pt x="101" y="279"/>
                  </a:lnTo>
                  <a:lnTo>
                    <a:pt x="99" y="279"/>
                  </a:lnTo>
                  <a:lnTo>
                    <a:pt x="99" y="278"/>
                  </a:lnTo>
                  <a:lnTo>
                    <a:pt x="98" y="278"/>
                  </a:lnTo>
                  <a:lnTo>
                    <a:pt x="99" y="278"/>
                  </a:lnTo>
                  <a:lnTo>
                    <a:pt x="99" y="279"/>
                  </a:lnTo>
                  <a:lnTo>
                    <a:pt x="99" y="281"/>
                  </a:lnTo>
                  <a:lnTo>
                    <a:pt x="99" y="283"/>
                  </a:lnTo>
                  <a:lnTo>
                    <a:pt x="99" y="284"/>
                  </a:lnTo>
                  <a:lnTo>
                    <a:pt x="99" y="286"/>
                  </a:lnTo>
                  <a:lnTo>
                    <a:pt x="99" y="288"/>
                  </a:lnTo>
                  <a:lnTo>
                    <a:pt x="99" y="289"/>
                  </a:lnTo>
                  <a:lnTo>
                    <a:pt x="101" y="289"/>
                  </a:lnTo>
                  <a:lnTo>
                    <a:pt x="99" y="289"/>
                  </a:lnTo>
                  <a:lnTo>
                    <a:pt x="101" y="289"/>
                  </a:lnTo>
                  <a:lnTo>
                    <a:pt x="101" y="291"/>
                  </a:lnTo>
                  <a:lnTo>
                    <a:pt x="101" y="292"/>
                  </a:lnTo>
                  <a:lnTo>
                    <a:pt x="103" y="292"/>
                  </a:lnTo>
                  <a:lnTo>
                    <a:pt x="103" y="294"/>
                  </a:lnTo>
                  <a:lnTo>
                    <a:pt x="104" y="294"/>
                  </a:lnTo>
                  <a:lnTo>
                    <a:pt x="104" y="296"/>
                  </a:lnTo>
                  <a:lnTo>
                    <a:pt x="106" y="297"/>
                  </a:lnTo>
                  <a:lnTo>
                    <a:pt x="107" y="299"/>
                  </a:lnTo>
                  <a:lnTo>
                    <a:pt x="109" y="299"/>
                  </a:lnTo>
                  <a:lnTo>
                    <a:pt x="109" y="301"/>
                  </a:lnTo>
                  <a:lnTo>
                    <a:pt x="111" y="301"/>
                  </a:lnTo>
                  <a:lnTo>
                    <a:pt x="112" y="301"/>
                  </a:lnTo>
                  <a:lnTo>
                    <a:pt x="112" y="302"/>
                  </a:lnTo>
                  <a:lnTo>
                    <a:pt x="112" y="304"/>
                  </a:lnTo>
                  <a:lnTo>
                    <a:pt x="114" y="304"/>
                  </a:lnTo>
                  <a:lnTo>
                    <a:pt x="116" y="305"/>
                  </a:lnTo>
                  <a:lnTo>
                    <a:pt x="114" y="307"/>
                  </a:lnTo>
                  <a:lnTo>
                    <a:pt x="112" y="307"/>
                  </a:lnTo>
                  <a:lnTo>
                    <a:pt x="111" y="305"/>
                  </a:lnTo>
                  <a:lnTo>
                    <a:pt x="111" y="304"/>
                  </a:lnTo>
                  <a:lnTo>
                    <a:pt x="109" y="304"/>
                  </a:lnTo>
                  <a:lnTo>
                    <a:pt x="109" y="302"/>
                  </a:lnTo>
                  <a:lnTo>
                    <a:pt x="107" y="302"/>
                  </a:lnTo>
                  <a:lnTo>
                    <a:pt x="106" y="301"/>
                  </a:lnTo>
                  <a:lnTo>
                    <a:pt x="106" y="299"/>
                  </a:lnTo>
                  <a:lnTo>
                    <a:pt x="106" y="301"/>
                  </a:lnTo>
                  <a:lnTo>
                    <a:pt x="104" y="301"/>
                  </a:lnTo>
                  <a:lnTo>
                    <a:pt x="104" y="299"/>
                  </a:lnTo>
                  <a:lnTo>
                    <a:pt x="104" y="297"/>
                  </a:lnTo>
                  <a:lnTo>
                    <a:pt x="104" y="299"/>
                  </a:lnTo>
                  <a:lnTo>
                    <a:pt x="103" y="297"/>
                  </a:lnTo>
                  <a:lnTo>
                    <a:pt x="103" y="299"/>
                  </a:lnTo>
                  <a:lnTo>
                    <a:pt x="103" y="297"/>
                  </a:lnTo>
                  <a:lnTo>
                    <a:pt x="103" y="296"/>
                  </a:lnTo>
                  <a:lnTo>
                    <a:pt x="104" y="297"/>
                  </a:lnTo>
                  <a:lnTo>
                    <a:pt x="106" y="299"/>
                  </a:lnTo>
                  <a:lnTo>
                    <a:pt x="107" y="299"/>
                  </a:lnTo>
                  <a:lnTo>
                    <a:pt x="106" y="299"/>
                  </a:lnTo>
                  <a:lnTo>
                    <a:pt x="106" y="297"/>
                  </a:lnTo>
                  <a:lnTo>
                    <a:pt x="104" y="297"/>
                  </a:lnTo>
                  <a:lnTo>
                    <a:pt x="103" y="296"/>
                  </a:lnTo>
                  <a:lnTo>
                    <a:pt x="103" y="294"/>
                  </a:lnTo>
                  <a:lnTo>
                    <a:pt x="103" y="296"/>
                  </a:lnTo>
                  <a:lnTo>
                    <a:pt x="101" y="296"/>
                  </a:lnTo>
                  <a:lnTo>
                    <a:pt x="101" y="294"/>
                  </a:lnTo>
                  <a:lnTo>
                    <a:pt x="101" y="296"/>
                  </a:lnTo>
                  <a:lnTo>
                    <a:pt x="99" y="296"/>
                  </a:lnTo>
                  <a:lnTo>
                    <a:pt x="99" y="297"/>
                  </a:lnTo>
                  <a:lnTo>
                    <a:pt x="98" y="296"/>
                  </a:lnTo>
                  <a:lnTo>
                    <a:pt x="96" y="296"/>
                  </a:lnTo>
                  <a:lnTo>
                    <a:pt x="96" y="294"/>
                  </a:lnTo>
                  <a:lnTo>
                    <a:pt x="98" y="294"/>
                  </a:lnTo>
                  <a:lnTo>
                    <a:pt x="96" y="292"/>
                  </a:lnTo>
                  <a:lnTo>
                    <a:pt x="98" y="292"/>
                  </a:lnTo>
                  <a:lnTo>
                    <a:pt x="98" y="291"/>
                  </a:lnTo>
                  <a:lnTo>
                    <a:pt x="98" y="292"/>
                  </a:lnTo>
                  <a:lnTo>
                    <a:pt x="98" y="291"/>
                  </a:lnTo>
                  <a:lnTo>
                    <a:pt x="99" y="291"/>
                  </a:lnTo>
                  <a:lnTo>
                    <a:pt x="98" y="289"/>
                  </a:lnTo>
                  <a:lnTo>
                    <a:pt x="98" y="288"/>
                  </a:lnTo>
                  <a:lnTo>
                    <a:pt x="96" y="286"/>
                  </a:lnTo>
                  <a:lnTo>
                    <a:pt x="94" y="284"/>
                  </a:lnTo>
                  <a:lnTo>
                    <a:pt x="94" y="283"/>
                  </a:lnTo>
                  <a:lnTo>
                    <a:pt x="93" y="283"/>
                  </a:lnTo>
                  <a:lnTo>
                    <a:pt x="93" y="281"/>
                  </a:lnTo>
                  <a:lnTo>
                    <a:pt x="93" y="278"/>
                  </a:lnTo>
                  <a:lnTo>
                    <a:pt x="93" y="276"/>
                  </a:lnTo>
                  <a:lnTo>
                    <a:pt x="93" y="275"/>
                  </a:lnTo>
                  <a:lnTo>
                    <a:pt x="94" y="275"/>
                  </a:lnTo>
                  <a:lnTo>
                    <a:pt x="94" y="276"/>
                  </a:lnTo>
                  <a:lnTo>
                    <a:pt x="96" y="276"/>
                  </a:lnTo>
                  <a:lnTo>
                    <a:pt x="98" y="276"/>
                  </a:lnTo>
                  <a:lnTo>
                    <a:pt x="98" y="278"/>
                  </a:lnTo>
                  <a:lnTo>
                    <a:pt x="98" y="276"/>
                  </a:lnTo>
                  <a:lnTo>
                    <a:pt x="98" y="278"/>
                  </a:lnTo>
                  <a:lnTo>
                    <a:pt x="98" y="276"/>
                  </a:lnTo>
                  <a:lnTo>
                    <a:pt x="98" y="275"/>
                  </a:lnTo>
                  <a:lnTo>
                    <a:pt x="99" y="275"/>
                  </a:lnTo>
                  <a:lnTo>
                    <a:pt x="98" y="273"/>
                  </a:lnTo>
                  <a:lnTo>
                    <a:pt x="98" y="271"/>
                  </a:lnTo>
                  <a:lnTo>
                    <a:pt x="98" y="270"/>
                  </a:lnTo>
                  <a:lnTo>
                    <a:pt x="96" y="270"/>
                  </a:lnTo>
                  <a:lnTo>
                    <a:pt x="96" y="268"/>
                  </a:lnTo>
                  <a:lnTo>
                    <a:pt x="96" y="266"/>
                  </a:lnTo>
                  <a:lnTo>
                    <a:pt x="94" y="266"/>
                  </a:lnTo>
                  <a:lnTo>
                    <a:pt x="94" y="265"/>
                  </a:lnTo>
                  <a:lnTo>
                    <a:pt x="94" y="263"/>
                  </a:lnTo>
                  <a:lnTo>
                    <a:pt x="94" y="262"/>
                  </a:lnTo>
                  <a:lnTo>
                    <a:pt x="94" y="260"/>
                  </a:lnTo>
                  <a:lnTo>
                    <a:pt x="93" y="260"/>
                  </a:lnTo>
                  <a:lnTo>
                    <a:pt x="91" y="260"/>
                  </a:lnTo>
                  <a:lnTo>
                    <a:pt x="91" y="258"/>
                  </a:lnTo>
                  <a:lnTo>
                    <a:pt x="91" y="257"/>
                  </a:lnTo>
                  <a:lnTo>
                    <a:pt x="90" y="257"/>
                  </a:lnTo>
                  <a:lnTo>
                    <a:pt x="91" y="255"/>
                  </a:lnTo>
                  <a:lnTo>
                    <a:pt x="90" y="253"/>
                  </a:lnTo>
                  <a:lnTo>
                    <a:pt x="90" y="252"/>
                  </a:lnTo>
                  <a:lnTo>
                    <a:pt x="90" y="250"/>
                  </a:lnTo>
                  <a:lnTo>
                    <a:pt x="88" y="250"/>
                  </a:lnTo>
                  <a:lnTo>
                    <a:pt x="90" y="250"/>
                  </a:lnTo>
                  <a:lnTo>
                    <a:pt x="88" y="249"/>
                  </a:lnTo>
                  <a:lnTo>
                    <a:pt x="88" y="247"/>
                  </a:lnTo>
                  <a:lnTo>
                    <a:pt x="86" y="247"/>
                  </a:lnTo>
                  <a:lnTo>
                    <a:pt x="88" y="247"/>
                  </a:lnTo>
                  <a:lnTo>
                    <a:pt x="86" y="244"/>
                  </a:lnTo>
                  <a:lnTo>
                    <a:pt x="86" y="242"/>
                  </a:lnTo>
                  <a:lnTo>
                    <a:pt x="88" y="242"/>
                  </a:lnTo>
                  <a:lnTo>
                    <a:pt x="88" y="240"/>
                  </a:lnTo>
                  <a:lnTo>
                    <a:pt x="90" y="242"/>
                  </a:lnTo>
                  <a:lnTo>
                    <a:pt x="90" y="244"/>
                  </a:lnTo>
                  <a:lnTo>
                    <a:pt x="91" y="245"/>
                  </a:lnTo>
                  <a:lnTo>
                    <a:pt x="93" y="245"/>
                  </a:lnTo>
                  <a:lnTo>
                    <a:pt x="93" y="247"/>
                  </a:lnTo>
                  <a:lnTo>
                    <a:pt x="94" y="247"/>
                  </a:lnTo>
                  <a:lnTo>
                    <a:pt x="96" y="247"/>
                  </a:lnTo>
                  <a:lnTo>
                    <a:pt x="98" y="247"/>
                  </a:lnTo>
                  <a:lnTo>
                    <a:pt x="98" y="245"/>
                  </a:lnTo>
                  <a:lnTo>
                    <a:pt x="96" y="244"/>
                  </a:lnTo>
                  <a:lnTo>
                    <a:pt x="96" y="242"/>
                  </a:lnTo>
                  <a:lnTo>
                    <a:pt x="96" y="240"/>
                  </a:lnTo>
                  <a:lnTo>
                    <a:pt x="98" y="240"/>
                  </a:lnTo>
                  <a:lnTo>
                    <a:pt x="98" y="239"/>
                  </a:lnTo>
                  <a:lnTo>
                    <a:pt x="96" y="239"/>
                  </a:lnTo>
                  <a:lnTo>
                    <a:pt x="96" y="237"/>
                  </a:lnTo>
                  <a:lnTo>
                    <a:pt x="94" y="237"/>
                  </a:lnTo>
                  <a:lnTo>
                    <a:pt x="94" y="236"/>
                  </a:lnTo>
                  <a:lnTo>
                    <a:pt x="93" y="234"/>
                  </a:lnTo>
                  <a:lnTo>
                    <a:pt x="91" y="234"/>
                  </a:lnTo>
                  <a:lnTo>
                    <a:pt x="91" y="232"/>
                  </a:lnTo>
                  <a:lnTo>
                    <a:pt x="91" y="231"/>
                  </a:lnTo>
                  <a:lnTo>
                    <a:pt x="93" y="231"/>
                  </a:lnTo>
                  <a:lnTo>
                    <a:pt x="93" y="229"/>
                  </a:lnTo>
                  <a:lnTo>
                    <a:pt x="91" y="227"/>
                  </a:lnTo>
                  <a:lnTo>
                    <a:pt x="91" y="226"/>
                  </a:lnTo>
                  <a:lnTo>
                    <a:pt x="90" y="226"/>
                  </a:lnTo>
                  <a:lnTo>
                    <a:pt x="88" y="226"/>
                  </a:lnTo>
                  <a:lnTo>
                    <a:pt x="88" y="224"/>
                  </a:lnTo>
                  <a:lnTo>
                    <a:pt x="86" y="224"/>
                  </a:lnTo>
                  <a:lnTo>
                    <a:pt x="86" y="223"/>
                  </a:lnTo>
                  <a:lnTo>
                    <a:pt x="85" y="221"/>
                  </a:lnTo>
                  <a:lnTo>
                    <a:pt x="85" y="219"/>
                  </a:lnTo>
                  <a:lnTo>
                    <a:pt x="83" y="219"/>
                  </a:lnTo>
                  <a:lnTo>
                    <a:pt x="83" y="218"/>
                  </a:lnTo>
                  <a:lnTo>
                    <a:pt x="83" y="216"/>
                  </a:lnTo>
                  <a:lnTo>
                    <a:pt x="83" y="214"/>
                  </a:lnTo>
                  <a:lnTo>
                    <a:pt x="85" y="214"/>
                  </a:lnTo>
                  <a:lnTo>
                    <a:pt x="85" y="213"/>
                  </a:lnTo>
                  <a:lnTo>
                    <a:pt x="85" y="211"/>
                  </a:lnTo>
                  <a:lnTo>
                    <a:pt x="86" y="210"/>
                  </a:lnTo>
                  <a:lnTo>
                    <a:pt x="86" y="208"/>
                  </a:lnTo>
                  <a:lnTo>
                    <a:pt x="88" y="208"/>
                  </a:lnTo>
                  <a:lnTo>
                    <a:pt x="88" y="210"/>
                  </a:lnTo>
                  <a:close/>
                  <a:moveTo>
                    <a:pt x="13" y="213"/>
                  </a:moveTo>
                  <a:lnTo>
                    <a:pt x="12" y="213"/>
                  </a:lnTo>
                  <a:lnTo>
                    <a:pt x="13" y="213"/>
                  </a:lnTo>
                  <a:close/>
                  <a:moveTo>
                    <a:pt x="13" y="206"/>
                  </a:moveTo>
                  <a:lnTo>
                    <a:pt x="12" y="206"/>
                  </a:lnTo>
                  <a:lnTo>
                    <a:pt x="12" y="205"/>
                  </a:lnTo>
                  <a:lnTo>
                    <a:pt x="13" y="206"/>
                  </a:lnTo>
                  <a:close/>
                  <a:moveTo>
                    <a:pt x="111" y="196"/>
                  </a:moveTo>
                  <a:lnTo>
                    <a:pt x="111" y="198"/>
                  </a:lnTo>
                  <a:lnTo>
                    <a:pt x="112" y="198"/>
                  </a:lnTo>
                  <a:lnTo>
                    <a:pt x="112" y="200"/>
                  </a:lnTo>
                  <a:lnTo>
                    <a:pt x="112" y="198"/>
                  </a:lnTo>
                  <a:lnTo>
                    <a:pt x="114" y="198"/>
                  </a:lnTo>
                  <a:lnTo>
                    <a:pt x="116" y="200"/>
                  </a:lnTo>
                  <a:lnTo>
                    <a:pt x="114" y="200"/>
                  </a:lnTo>
                  <a:lnTo>
                    <a:pt x="112" y="200"/>
                  </a:lnTo>
                  <a:lnTo>
                    <a:pt x="116" y="203"/>
                  </a:lnTo>
                  <a:lnTo>
                    <a:pt x="116" y="205"/>
                  </a:lnTo>
                  <a:lnTo>
                    <a:pt x="117" y="205"/>
                  </a:lnTo>
                  <a:lnTo>
                    <a:pt x="117" y="206"/>
                  </a:lnTo>
                  <a:lnTo>
                    <a:pt x="119" y="208"/>
                  </a:lnTo>
                  <a:lnTo>
                    <a:pt x="117" y="208"/>
                  </a:lnTo>
                  <a:lnTo>
                    <a:pt x="116" y="208"/>
                  </a:lnTo>
                  <a:lnTo>
                    <a:pt x="116" y="210"/>
                  </a:lnTo>
                  <a:lnTo>
                    <a:pt x="116" y="211"/>
                  </a:lnTo>
                  <a:lnTo>
                    <a:pt x="117" y="210"/>
                  </a:lnTo>
                  <a:lnTo>
                    <a:pt x="119" y="210"/>
                  </a:lnTo>
                  <a:lnTo>
                    <a:pt x="120" y="210"/>
                  </a:lnTo>
                  <a:lnTo>
                    <a:pt x="122" y="211"/>
                  </a:lnTo>
                  <a:lnTo>
                    <a:pt x="122" y="210"/>
                  </a:lnTo>
                  <a:lnTo>
                    <a:pt x="124" y="211"/>
                  </a:lnTo>
                  <a:lnTo>
                    <a:pt x="122" y="211"/>
                  </a:lnTo>
                  <a:lnTo>
                    <a:pt x="124" y="211"/>
                  </a:lnTo>
                  <a:lnTo>
                    <a:pt x="124" y="213"/>
                  </a:lnTo>
                  <a:lnTo>
                    <a:pt x="122" y="213"/>
                  </a:lnTo>
                  <a:lnTo>
                    <a:pt x="122" y="214"/>
                  </a:lnTo>
                  <a:lnTo>
                    <a:pt x="122" y="216"/>
                  </a:lnTo>
                  <a:lnTo>
                    <a:pt x="122" y="218"/>
                  </a:lnTo>
                  <a:lnTo>
                    <a:pt x="122" y="219"/>
                  </a:lnTo>
                  <a:lnTo>
                    <a:pt x="124" y="219"/>
                  </a:lnTo>
                  <a:lnTo>
                    <a:pt x="124" y="221"/>
                  </a:lnTo>
                  <a:lnTo>
                    <a:pt x="125" y="221"/>
                  </a:lnTo>
                  <a:lnTo>
                    <a:pt x="125" y="223"/>
                  </a:lnTo>
                  <a:lnTo>
                    <a:pt x="127" y="223"/>
                  </a:lnTo>
                  <a:lnTo>
                    <a:pt x="127" y="221"/>
                  </a:lnTo>
                  <a:lnTo>
                    <a:pt x="129" y="221"/>
                  </a:lnTo>
                  <a:lnTo>
                    <a:pt x="129" y="223"/>
                  </a:lnTo>
                  <a:lnTo>
                    <a:pt x="129" y="221"/>
                  </a:lnTo>
                  <a:lnTo>
                    <a:pt x="130" y="221"/>
                  </a:lnTo>
                  <a:lnTo>
                    <a:pt x="130" y="223"/>
                  </a:lnTo>
                  <a:lnTo>
                    <a:pt x="130" y="224"/>
                  </a:lnTo>
                  <a:lnTo>
                    <a:pt x="130" y="226"/>
                  </a:lnTo>
                  <a:lnTo>
                    <a:pt x="132" y="226"/>
                  </a:lnTo>
                  <a:lnTo>
                    <a:pt x="132" y="227"/>
                  </a:lnTo>
                  <a:lnTo>
                    <a:pt x="133" y="229"/>
                  </a:lnTo>
                  <a:lnTo>
                    <a:pt x="135" y="229"/>
                  </a:lnTo>
                  <a:lnTo>
                    <a:pt x="137" y="231"/>
                  </a:lnTo>
                  <a:lnTo>
                    <a:pt x="137" y="232"/>
                  </a:lnTo>
                  <a:lnTo>
                    <a:pt x="137" y="231"/>
                  </a:lnTo>
                  <a:lnTo>
                    <a:pt x="138" y="232"/>
                  </a:lnTo>
                  <a:lnTo>
                    <a:pt x="138" y="234"/>
                  </a:lnTo>
                  <a:lnTo>
                    <a:pt x="140" y="234"/>
                  </a:lnTo>
                  <a:lnTo>
                    <a:pt x="140" y="236"/>
                  </a:lnTo>
                  <a:lnTo>
                    <a:pt x="138" y="236"/>
                  </a:lnTo>
                  <a:lnTo>
                    <a:pt x="138" y="234"/>
                  </a:lnTo>
                  <a:lnTo>
                    <a:pt x="137" y="232"/>
                  </a:lnTo>
                  <a:lnTo>
                    <a:pt x="137" y="234"/>
                  </a:lnTo>
                  <a:lnTo>
                    <a:pt x="138" y="236"/>
                  </a:lnTo>
                  <a:lnTo>
                    <a:pt x="137" y="236"/>
                  </a:lnTo>
                  <a:lnTo>
                    <a:pt x="135" y="236"/>
                  </a:lnTo>
                  <a:lnTo>
                    <a:pt x="133" y="236"/>
                  </a:lnTo>
                  <a:lnTo>
                    <a:pt x="132" y="236"/>
                  </a:lnTo>
                  <a:lnTo>
                    <a:pt x="132" y="237"/>
                  </a:lnTo>
                  <a:lnTo>
                    <a:pt x="133" y="239"/>
                  </a:lnTo>
                  <a:lnTo>
                    <a:pt x="133" y="240"/>
                  </a:lnTo>
                  <a:lnTo>
                    <a:pt x="132" y="240"/>
                  </a:lnTo>
                  <a:lnTo>
                    <a:pt x="130" y="240"/>
                  </a:lnTo>
                  <a:lnTo>
                    <a:pt x="129" y="240"/>
                  </a:lnTo>
                  <a:lnTo>
                    <a:pt x="129" y="239"/>
                  </a:lnTo>
                  <a:lnTo>
                    <a:pt x="127" y="239"/>
                  </a:lnTo>
                  <a:lnTo>
                    <a:pt x="125" y="239"/>
                  </a:lnTo>
                  <a:lnTo>
                    <a:pt x="125" y="237"/>
                  </a:lnTo>
                  <a:lnTo>
                    <a:pt x="124" y="237"/>
                  </a:lnTo>
                  <a:lnTo>
                    <a:pt x="122" y="237"/>
                  </a:lnTo>
                  <a:lnTo>
                    <a:pt x="120" y="237"/>
                  </a:lnTo>
                  <a:lnTo>
                    <a:pt x="120" y="236"/>
                  </a:lnTo>
                  <a:lnTo>
                    <a:pt x="119" y="236"/>
                  </a:lnTo>
                  <a:lnTo>
                    <a:pt x="119" y="234"/>
                  </a:lnTo>
                  <a:lnTo>
                    <a:pt x="119" y="232"/>
                  </a:lnTo>
                  <a:lnTo>
                    <a:pt x="119" y="231"/>
                  </a:lnTo>
                  <a:lnTo>
                    <a:pt x="119" y="229"/>
                  </a:lnTo>
                  <a:lnTo>
                    <a:pt x="119" y="227"/>
                  </a:lnTo>
                  <a:lnTo>
                    <a:pt x="119" y="226"/>
                  </a:lnTo>
                  <a:lnTo>
                    <a:pt x="117" y="227"/>
                  </a:lnTo>
                  <a:lnTo>
                    <a:pt x="117" y="229"/>
                  </a:lnTo>
                  <a:lnTo>
                    <a:pt x="119" y="229"/>
                  </a:lnTo>
                  <a:lnTo>
                    <a:pt x="119" y="231"/>
                  </a:lnTo>
                  <a:lnTo>
                    <a:pt x="117" y="229"/>
                  </a:lnTo>
                  <a:lnTo>
                    <a:pt x="116" y="229"/>
                  </a:lnTo>
                  <a:lnTo>
                    <a:pt x="114" y="229"/>
                  </a:lnTo>
                  <a:lnTo>
                    <a:pt x="114" y="231"/>
                  </a:lnTo>
                  <a:lnTo>
                    <a:pt x="112" y="231"/>
                  </a:lnTo>
                  <a:lnTo>
                    <a:pt x="111" y="231"/>
                  </a:lnTo>
                  <a:lnTo>
                    <a:pt x="109" y="231"/>
                  </a:lnTo>
                  <a:lnTo>
                    <a:pt x="109" y="229"/>
                  </a:lnTo>
                  <a:lnTo>
                    <a:pt x="107" y="229"/>
                  </a:lnTo>
                  <a:lnTo>
                    <a:pt x="106" y="229"/>
                  </a:lnTo>
                  <a:lnTo>
                    <a:pt x="104" y="227"/>
                  </a:lnTo>
                  <a:lnTo>
                    <a:pt x="103" y="227"/>
                  </a:lnTo>
                  <a:lnTo>
                    <a:pt x="103" y="226"/>
                  </a:lnTo>
                  <a:lnTo>
                    <a:pt x="103" y="227"/>
                  </a:lnTo>
                  <a:lnTo>
                    <a:pt x="103" y="226"/>
                  </a:lnTo>
                  <a:lnTo>
                    <a:pt x="101" y="226"/>
                  </a:lnTo>
                  <a:lnTo>
                    <a:pt x="101" y="224"/>
                  </a:lnTo>
                  <a:lnTo>
                    <a:pt x="99" y="224"/>
                  </a:lnTo>
                  <a:lnTo>
                    <a:pt x="99" y="223"/>
                  </a:lnTo>
                  <a:lnTo>
                    <a:pt x="99" y="221"/>
                  </a:lnTo>
                  <a:lnTo>
                    <a:pt x="99" y="219"/>
                  </a:lnTo>
                  <a:lnTo>
                    <a:pt x="101" y="219"/>
                  </a:lnTo>
                  <a:lnTo>
                    <a:pt x="103" y="219"/>
                  </a:lnTo>
                  <a:lnTo>
                    <a:pt x="103" y="218"/>
                  </a:lnTo>
                  <a:lnTo>
                    <a:pt x="103" y="216"/>
                  </a:lnTo>
                  <a:lnTo>
                    <a:pt x="103" y="214"/>
                  </a:lnTo>
                  <a:lnTo>
                    <a:pt x="104" y="214"/>
                  </a:lnTo>
                  <a:lnTo>
                    <a:pt x="106" y="216"/>
                  </a:lnTo>
                  <a:lnTo>
                    <a:pt x="107" y="216"/>
                  </a:lnTo>
                  <a:lnTo>
                    <a:pt x="107" y="214"/>
                  </a:lnTo>
                  <a:lnTo>
                    <a:pt x="107" y="211"/>
                  </a:lnTo>
                  <a:lnTo>
                    <a:pt x="109" y="211"/>
                  </a:lnTo>
                  <a:lnTo>
                    <a:pt x="109" y="210"/>
                  </a:lnTo>
                  <a:lnTo>
                    <a:pt x="109" y="208"/>
                  </a:lnTo>
                  <a:lnTo>
                    <a:pt x="109" y="206"/>
                  </a:lnTo>
                  <a:lnTo>
                    <a:pt x="109" y="205"/>
                  </a:lnTo>
                  <a:lnTo>
                    <a:pt x="109" y="203"/>
                  </a:lnTo>
                  <a:lnTo>
                    <a:pt x="107" y="201"/>
                  </a:lnTo>
                  <a:lnTo>
                    <a:pt x="107" y="200"/>
                  </a:lnTo>
                  <a:lnTo>
                    <a:pt x="109" y="201"/>
                  </a:lnTo>
                  <a:lnTo>
                    <a:pt x="109" y="203"/>
                  </a:lnTo>
                  <a:lnTo>
                    <a:pt x="111" y="203"/>
                  </a:lnTo>
                  <a:lnTo>
                    <a:pt x="109" y="201"/>
                  </a:lnTo>
                  <a:lnTo>
                    <a:pt x="111" y="201"/>
                  </a:lnTo>
                  <a:lnTo>
                    <a:pt x="109" y="201"/>
                  </a:lnTo>
                  <a:lnTo>
                    <a:pt x="109" y="200"/>
                  </a:lnTo>
                  <a:lnTo>
                    <a:pt x="107" y="198"/>
                  </a:lnTo>
                  <a:lnTo>
                    <a:pt x="109" y="198"/>
                  </a:lnTo>
                  <a:lnTo>
                    <a:pt x="111" y="198"/>
                  </a:lnTo>
                  <a:lnTo>
                    <a:pt x="109" y="198"/>
                  </a:lnTo>
                  <a:lnTo>
                    <a:pt x="111" y="196"/>
                  </a:lnTo>
                  <a:close/>
                  <a:moveTo>
                    <a:pt x="111" y="196"/>
                  </a:moveTo>
                  <a:lnTo>
                    <a:pt x="111" y="198"/>
                  </a:lnTo>
                  <a:lnTo>
                    <a:pt x="111" y="196"/>
                  </a:lnTo>
                  <a:lnTo>
                    <a:pt x="111" y="195"/>
                  </a:lnTo>
                  <a:lnTo>
                    <a:pt x="111" y="196"/>
                  </a:lnTo>
                  <a:close/>
                  <a:moveTo>
                    <a:pt x="98" y="187"/>
                  </a:moveTo>
                  <a:lnTo>
                    <a:pt x="96" y="187"/>
                  </a:lnTo>
                  <a:lnTo>
                    <a:pt x="94" y="185"/>
                  </a:lnTo>
                  <a:lnTo>
                    <a:pt x="93" y="185"/>
                  </a:lnTo>
                  <a:lnTo>
                    <a:pt x="91" y="185"/>
                  </a:lnTo>
                  <a:lnTo>
                    <a:pt x="90" y="185"/>
                  </a:lnTo>
                  <a:lnTo>
                    <a:pt x="90" y="183"/>
                  </a:lnTo>
                  <a:lnTo>
                    <a:pt x="88" y="183"/>
                  </a:lnTo>
                  <a:lnTo>
                    <a:pt x="86" y="183"/>
                  </a:lnTo>
                  <a:lnTo>
                    <a:pt x="85" y="185"/>
                  </a:lnTo>
                  <a:lnTo>
                    <a:pt x="85" y="187"/>
                  </a:lnTo>
                  <a:lnTo>
                    <a:pt x="83" y="188"/>
                  </a:lnTo>
                  <a:lnTo>
                    <a:pt x="83" y="190"/>
                  </a:lnTo>
                  <a:lnTo>
                    <a:pt x="81" y="190"/>
                  </a:lnTo>
                  <a:lnTo>
                    <a:pt x="81" y="192"/>
                  </a:lnTo>
                  <a:lnTo>
                    <a:pt x="81" y="193"/>
                  </a:lnTo>
                  <a:lnTo>
                    <a:pt x="81" y="195"/>
                  </a:lnTo>
                  <a:lnTo>
                    <a:pt x="81" y="196"/>
                  </a:lnTo>
                  <a:lnTo>
                    <a:pt x="81" y="198"/>
                  </a:lnTo>
                  <a:lnTo>
                    <a:pt x="80" y="198"/>
                  </a:lnTo>
                  <a:lnTo>
                    <a:pt x="80" y="200"/>
                  </a:lnTo>
                  <a:lnTo>
                    <a:pt x="80" y="201"/>
                  </a:lnTo>
                  <a:lnTo>
                    <a:pt x="80" y="203"/>
                  </a:lnTo>
                  <a:lnTo>
                    <a:pt x="80" y="205"/>
                  </a:lnTo>
                  <a:lnTo>
                    <a:pt x="78" y="205"/>
                  </a:lnTo>
                  <a:lnTo>
                    <a:pt x="78" y="206"/>
                  </a:lnTo>
                  <a:lnTo>
                    <a:pt x="80" y="206"/>
                  </a:lnTo>
                  <a:lnTo>
                    <a:pt x="80" y="208"/>
                  </a:lnTo>
                  <a:lnTo>
                    <a:pt x="78" y="208"/>
                  </a:lnTo>
                  <a:lnTo>
                    <a:pt x="78" y="210"/>
                  </a:lnTo>
                  <a:lnTo>
                    <a:pt x="78" y="213"/>
                  </a:lnTo>
                  <a:lnTo>
                    <a:pt x="77" y="214"/>
                  </a:lnTo>
                  <a:lnTo>
                    <a:pt x="78" y="214"/>
                  </a:lnTo>
                  <a:lnTo>
                    <a:pt x="77" y="214"/>
                  </a:lnTo>
                  <a:lnTo>
                    <a:pt x="77" y="216"/>
                  </a:lnTo>
                  <a:lnTo>
                    <a:pt x="77" y="218"/>
                  </a:lnTo>
                  <a:lnTo>
                    <a:pt x="75" y="218"/>
                  </a:lnTo>
                  <a:lnTo>
                    <a:pt x="73" y="216"/>
                  </a:lnTo>
                  <a:lnTo>
                    <a:pt x="73" y="218"/>
                  </a:lnTo>
                  <a:lnTo>
                    <a:pt x="75" y="218"/>
                  </a:lnTo>
                  <a:lnTo>
                    <a:pt x="75" y="219"/>
                  </a:lnTo>
                  <a:lnTo>
                    <a:pt x="75" y="221"/>
                  </a:lnTo>
                  <a:lnTo>
                    <a:pt x="73" y="223"/>
                  </a:lnTo>
                  <a:lnTo>
                    <a:pt x="72" y="224"/>
                  </a:lnTo>
                  <a:lnTo>
                    <a:pt x="70" y="224"/>
                  </a:lnTo>
                  <a:lnTo>
                    <a:pt x="70" y="226"/>
                  </a:lnTo>
                  <a:lnTo>
                    <a:pt x="72" y="226"/>
                  </a:lnTo>
                  <a:lnTo>
                    <a:pt x="72" y="227"/>
                  </a:lnTo>
                  <a:lnTo>
                    <a:pt x="72" y="229"/>
                  </a:lnTo>
                  <a:lnTo>
                    <a:pt x="70" y="227"/>
                  </a:lnTo>
                  <a:lnTo>
                    <a:pt x="72" y="229"/>
                  </a:lnTo>
                  <a:lnTo>
                    <a:pt x="72" y="231"/>
                  </a:lnTo>
                  <a:lnTo>
                    <a:pt x="72" y="232"/>
                  </a:lnTo>
                  <a:lnTo>
                    <a:pt x="73" y="232"/>
                  </a:lnTo>
                  <a:lnTo>
                    <a:pt x="73" y="234"/>
                  </a:lnTo>
                  <a:lnTo>
                    <a:pt x="73" y="236"/>
                  </a:lnTo>
                  <a:lnTo>
                    <a:pt x="73" y="237"/>
                  </a:lnTo>
                  <a:lnTo>
                    <a:pt x="72" y="239"/>
                  </a:lnTo>
                  <a:lnTo>
                    <a:pt x="72" y="240"/>
                  </a:lnTo>
                  <a:lnTo>
                    <a:pt x="70" y="240"/>
                  </a:lnTo>
                  <a:lnTo>
                    <a:pt x="68" y="240"/>
                  </a:lnTo>
                  <a:lnTo>
                    <a:pt x="68" y="239"/>
                  </a:lnTo>
                  <a:lnTo>
                    <a:pt x="67" y="239"/>
                  </a:lnTo>
                  <a:lnTo>
                    <a:pt x="67" y="240"/>
                  </a:lnTo>
                  <a:lnTo>
                    <a:pt x="65" y="240"/>
                  </a:lnTo>
                  <a:lnTo>
                    <a:pt x="64" y="242"/>
                  </a:lnTo>
                  <a:lnTo>
                    <a:pt x="62" y="244"/>
                  </a:lnTo>
                  <a:lnTo>
                    <a:pt x="64" y="242"/>
                  </a:lnTo>
                  <a:lnTo>
                    <a:pt x="64" y="240"/>
                  </a:lnTo>
                  <a:lnTo>
                    <a:pt x="64" y="239"/>
                  </a:lnTo>
                  <a:lnTo>
                    <a:pt x="65" y="239"/>
                  </a:lnTo>
                  <a:lnTo>
                    <a:pt x="65" y="237"/>
                  </a:lnTo>
                  <a:lnTo>
                    <a:pt x="64" y="237"/>
                  </a:lnTo>
                  <a:lnTo>
                    <a:pt x="64" y="236"/>
                  </a:lnTo>
                  <a:lnTo>
                    <a:pt x="64" y="234"/>
                  </a:lnTo>
                  <a:lnTo>
                    <a:pt x="64" y="236"/>
                  </a:lnTo>
                  <a:lnTo>
                    <a:pt x="62" y="236"/>
                  </a:lnTo>
                  <a:lnTo>
                    <a:pt x="62" y="234"/>
                  </a:lnTo>
                  <a:lnTo>
                    <a:pt x="62" y="232"/>
                  </a:lnTo>
                  <a:lnTo>
                    <a:pt x="60" y="232"/>
                  </a:lnTo>
                  <a:lnTo>
                    <a:pt x="60" y="231"/>
                  </a:lnTo>
                  <a:lnTo>
                    <a:pt x="59" y="231"/>
                  </a:lnTo>
                  <a:lnTo>
                    <a:pt x="60" y="232"/>
                  </a:lnTo>
                  <a:lnTo>
                    <a:pt x="60" y="234"/>
                  </a:lnTo>
                  <a:lnTo>
                    <a:pt x="60" y="236"/>
                  </a:lnTo>
                  <a:lnTo>
                    <a:pt x="62" y="236"/>
                  </a:lnTo>
                  <a:lnTo>
                    <a:pt x="64" y="237"/>
                  </a:lnTo>
                  <a:lnTo>
                    <a:pt x="64" y="239"/>
                  </a:lnTo>
                  <a:lnTo>
                    <a:pt x="62" y="239"/>
                  </a:lnTo>
                  <a:lnTo>
                    <a:pt x="64" y="239"/>
                  </a:lnTo>
                  <a:lnTo>
                    <a:pt x="62" y="239"/>
                  </a:lnTo>
                  <a:lnTo>
                    <a:pt x="62" y="240"/>
                  </a:lnTo>
                  <a:lnTo>
                    <a:pt x="62" y="242"/>
                  </a:lnTo>
                  <a:lnTo>
                    <a:pt x="62" y="244"/>
                  </a:lnTo>
                  <a:lnTo>
                    <a:pt x="59" y="242"/>
                  </a:lnTo>
                  <a:lnTo>
                    <a:pt x="60" y="242"/>
                  </a:lnTo>
                  <a:lnTo>
                    <a:pt x="60" y="244"/>
                  </a:lnTo>
                  <a:lnTo>
                    <a:pt x="62" y="244"/>
                  </a:lnTo>
                  <a:lnTo>
                    <a:pt x="60" y="245"/>
                  </a:lnTo>
                  <a:lnTo>
                    <a:pt x="60" y="247"/>
                  </a:lnTo>
                  <a:lnTo>
                    <a:pt x="59" y="247"/>
                  </a:lnTo>
                  <a:lnTo>
                    <a:pt x="59" y="249"/>
                  </a:lnTo>
                  <a:lnTo>
                    <a:pt x="59" y="250"/>
                  </a:lnTo>
                  <a:lnTo>
                    <a:pt x="57" y="250"/>
                  </a:lnTo>
                  <a:lnTo>
                    <a:pt x="55" y="252"/>
                  </a:lnTo>
                  <a:lnTo>
                    <a:pt x="55" y="250"/>
                  </a:lnTo>
                  <a:lnTo>
                    <a:pt x="54" y="250"/>
                  </a:lnTo>
                  <a:lnTo>
                    <a:pt x="55" y="250"/>
                  </a:lnTo>
                  <a:lnTo>
                    <a:pt x="54" y="250"/>
                  </a:lnTo>
                  <a:lnTo>
                    <a:pt x="55" y="250"/>
                  </a:lnTo>
                  <a:lnTo>
                    <a:pt x="55" y="252"/>
                  </a:lnTo>
                  <a:lnTo>
                    <a:pt x="57" y="252"/>
                  </a:lnTo>
                  <a:lnTo>
                    <a:pt x="57" y="253"/>
                  </a:lnTo>
                  <a:lnTo>
                    <a:pt x="55" y="253"/>
                  </a:lnTo>
                  <a:lnTo>
                    <a:pt x="57" y="253"/>
                  </a:lnTo>
                  <a:lnTo>
                    <a:pt x="57" y="255"/>
                  </a:lnTo>
                  <a:lnTo>
                    <a:pt x="55" y="255"/>
                  </a:lnTo>
                  <a:lnTo>
                    <a:pt x="55" y="257"/>
                  </a:lnTo>
                  <a:lnTo>
                    <a:pt x="55" y="258"/>
                  </a:lnTo>
                  <a:lnTo>
                    <a:pt x="55" y="260"/>
                  </a:lnTo>
                  <a:lnTo>
                    <a:pt x="55" y="262"/>
                  </a:lnTo>
                  <a:lnTo>
                    <a:pt x="57" y="262"/>
                  </a:lnTo>
                  <a:lnTo>
                    <a:pt x="57" y="263"/>
                  </a:lnTo>
                  <a:lnTo>
                    <a:pt x="55" y="263"/>
                  </a:lnTo>
                  <a:lnTo>
                    <a:pt x="54" y="263"/>
                  </a:lnTo>
                  <a:lnTo>
                    <a:pt x="52" y="263"/>
                  </a:lnTo>
                  <a:lnTo>
                    <a:pt x="52" y="265"/>
                  </a:lnTo>
                  <a:lnTo>
                    <a:pt x="52" y="263"/>
                  </a:lnTo>
                  <a:lnTo>
                    <a:pt x="51" y="263"/>
                  </a:lnTo>
                  <a:lnTo>
                    <a:pt x="51" y="265"/>
                  </a:lnTo>
                  <a:lnTo>
                    <a:pt x="49" y="263"/>
                  </a:lnTo>
                  <a:lnTo>
                    <a:pt x="51" y="263"/>
                  </a:lnTo>
                  <a:lnTo>
                    <a:pt x="51" y="262"/>
                  </a:lnTo>
                  <a:lnTo>
                    <a:pt x="49" y="262"/>
                  </a:lnTo>
                  <a:lnTo>
                    <a:pt x="49" y="260"/>
                  </a:lnTo>
                  <a:lnTo>
                    <a:pt x="47" y="260"/>
                  </a:lnTo>
                  <a:lnTo>
                    <a:pt x="47" y="262"/>
                  </a:lnTo>
                  <a:lnTo>
                    <a:pt x="46" y="262"/>
                  </a:lnTo>
                  <a:lnTo>
                    <a:pt x="46" y="263"/>
                  </a:lnTo>
                  <a:lnTo>
                    <a:pt x="47" y="262"/>
                  </a:lnTo>
                  <a:lnTo>
                    <a:pt x="47" y="263"/>
                  </a:lnTo>
                  <a:lnTo>
                    <a:pt x="49" y="263"/>
                  </a:lnTo>
                  <a:lnTo>
                    <a:pt x="49" y="265"/>
                  </a:lnTo>
                  <a:lnTo>
                    <a:pt x="49" y="266"/>
                  </a:lnTo>
                  <a:lnTo>
                    <a:pt x="49" y="268"/>
                  </a:lnTo>
                  <a:lnTo>
                    <a:pt x="51" y="268"/>
                  </a:lnTo>
                  <a:lnTo>
                    <a:pt x="51" y="270"/>
                  </a:lnTo>
                  <a:lnTo>
                    <a:pt x="49" y="270"/>
                  </a:lnTo>
                  <a:lnTo>
                    <a:pt x="47" y="270"/>
                  </a:lnTo>
                  <a:lnTo>
                    <a:pt x="47" y="268"/>
                  </a:lnTo>
                  <a:lnTo>
                    <a:pt x="47" y="266"/>
                  </a:lnTo>
                  <a:lnTo>
                    <a:pt x="47" y="265"/>
                  </a:lnTo>
                  <a:lnTo>
                    <a:pt x="47" y="263"/>
                  </a:lnTo>
                  <a:lnTo>
                    <a:pt x="46" y="263"/>
                  </a:lnTo>
                  <a:lnTo>
                    <a:pt x="46" y="265"/>
                  </a:lnTo>
                  <a:lnTo>
                    <a:pt x="44" y="265"/>
                  </a:lnTo>
                  <a:lnTo>
                    <a:pt x="44" y="263"/>
                  </a:lnTo>
                  <a:lnTo>
                    <a:pt x="42" y="263"/>
                  </a:lnTo>
                  <a:lnTo>
                    <a:pt x="44" y="263"/>
                  </a:lnTo>
                  <a:lnTo>
                    <a:pt x="44" y="262"/>
                  </a:lnTo>
                  <a:lnTo>
                    <a:pt x="42" y="263"/>
                  </a:lnTo>
                  <a:lnTo>
                    <a:pt x="42" y="262"/>
                  </a:lnTo>
                  <a:lnTo>
                    <a:pt x="41" y="262"/>
                  </a:lnTo>
                  <a:lnTo>
                    <a:pt x="42" y="262"/>
                  </a:lnTo>
                  <a:lnTo>
                    <a:pt x="42" y="260"/>
                  </a:lnTo>
                  <a:lnTo>
                    <a:pt x="41" y="260"/>
                  </a:lnTo>
                  <a:lnTo>
                    <a:pt x="41" y="258"/>
                  </a:lnTo>
                  <a:lnTo>
                    <a:pt x="41" y="260"/>
                  </a:lnTo>
                  <a:lnTo>
                    <a:pt x="39" y="260"/>
                  </a:lnTo>
                  <a:lnTo>
                    <a:pt x="39" y="258"/>
                  </a:lnTo>
                  <a:lnTo>
                    <a:pt x="39" y="257"/>
                  </a:lnTo>
                  <a:lnTo>
                    <a:pt x="39" y="258"/>
                  </a:lnTo>
                  <a:lnTo>
                    <a:pt x="39" y="257"/>
                  </a:lnTo>
                  <a:lnTo>
                    <a:pt x="38" y="257"/>
                  </a:lnTo>
                  <a:lnTo>
                    <a:pt x="38" y="258"/>
                  </a:lnTo>
                  <a:lnTo>
                    <a:pt x="38" y="257"/>
                  </a:lnTo>
                  <a:lnTo>
                    <a:pt x="36" y="257"/>
                  </a:lnTo>
                  <a:lnTo>
                    <a:pt x="36" y="255"/>
                  </a:lnTo>
                  <a:lnTo>
                    <a:pt x="38" y="255"/>
                  </a:lnTo>
                  <a:lnTo>
                    <a:pt x="38" y="257"/>
                  </a:lnTo>
                  <a:lnTo>
                    <a:pt x="39" y="255"/>
                  </a:lnTo>
                  <a:lnTo>
                    <a:pt x="39" y="257"/>
                  </a:lnTo>
                  <a:lnTo>
                    <a:pt x="39" y="255"/>
                  </a:lnTo>
                  <a:lnTo>
                    <a:pt x="41" y="255"/>
                  </a:lnTo>
                  <a:lnTo>
                    <a:pt x="41" y="253"/>
                  </a:lnTo>
                  <a:lnTo>
                    <a:pt x="39" y="253"/>
                  </a:lnTo>
                  <a:lnTo>
                    <a:pt x="38" y="253"/>
                  </a:lnTo>
                  <a:lnTo>
                    <a:pt x="38" y="255"/>
                  </a:lnTo>
                  <a:lnTo>
                    <a:pt x="38" y="253"/>
                  </a:lnTo>
                  <a:lnTo>
                    <a:pt x="36" y="253"/>
                  </a:lnTo>
                  <a:lnTo>
                    <a:pt x="36" y="252"/>
                  </a:lnTo>
                  <a:lnTo>
                    <a:pt x="38" y="252"/>
                  </a:lnTo>
                  <a:lnTo>
                    <a:pt x="36" y="252"/>
                  </a:lnTo>
                  <a:lnTo>
                    <a:pt x="38" y="250"/>
                  </a:lnTo>
                  <a:lnTo>
                    <a:pt x="38" y="249"/>
                  </a:lnTo>
                  <a:lnTo>
                    <a:pt x="36" y="249"/>
                  </a:lnTo>
                  <a:lnTo>
                    <a:pt x="36" y="247"/>
                  </a:lnTo>
                  <a:lnTo>
                    <a:pt x="34" y="245"/>
                  </a:lnTo>
                  <a:lnTo>
                    <a:pt x="34" y="244"/>
                  </a:lnTo>
                  <a:lnTo>
                    <a:pt x="34" y="242"/>
                  </a:lnTo>
                  <a:lnTo>
                    <a:pt x="33" y="242"/>
                  </a:lnTo>
                  <a:lnTo>
                    <a:pt x="33" y="240"/>
                  </a:lnTo>
                  <a:lnTo>
                    <a:pt x="31" y="239"/>
                  </a:lnTo>
                  <a:lnTo>
                    <a:pt x="29" y="239"/>
                  </a:lnTo>
                  <a:lnTo>
                    <a:pt x="28" y="239"/>
                  </a:lnTo>
                  <a:lnTo>
                    <a:pt x="28" y="237"/>
                  </a:lnTo>
                  <a:lnTo>
                    <a:pt x="28" y="236"/>
                  </a:lnTo>
                  <a:lnTo>
                    <a:pt x="26" y="236"/>
                  </a:lnTo>
                  <a:lnTo>
                    <a:pt x="26" y="234"/>
                  </a:lnTo>
                  <a:lnTo>
                    <a:pt x="25" y="234"/>
                  </a:lnTo>
                  <a:lnTo>
                    <a:pt x="25" y="232"/>
                  </a:lnTo>
                  <a:lnTo>
                    <a:pt x="23" y="231"/>
                  </a:lnTo>
                  <a:lnTo>
                    <a:pt x="23" y="229"/>
                  </a:lnTo>
                  <a:lnTo>
                    <a:pt x="21" y="229"/>
                  </a:lnTo>
                  <a:lnTo>
                    <a:pt x="20" y="227"/>
                  </a:lnTo>
                  <a:lnTo>
                    <a:pt x="20" y="229"/>
                  </a:lnTo>
                  <a:lnTo>
                    <a:pt x="18" y="227"/>
                  </a:lnTo>
                  <a:lnTo>
                    <a:pt x="18" y="229"/>
                  </a:lnTo>
                  <a:lnTo>
                    <a:pt x="18" y="227"/>
                  </a:lnTo>
                  <a:lnTo>
                    <a:pt x="18" y="226"/>
                  </a:lnTo>
                  <a:lnTo>
                    <a:pt x="18" y="224"/>
                  </a:lnTo>
                  <a:lnTo>
                    <a:pt x="18" y="223"/>
                  </a:lnTo>
                  <a:lnTo>
                    <a:pt x="16" y="223"/>
                  </a:lnTo>
                  <a:lnTo>
                    <a:pt x="15" y="223"/>
                  </a:lnTo>
                  <a:lnTo>
                    <a:pt x="15" y="221"/>
                  </a:lnTo>
                  <a:lnTo>
                    <a:pt x="16" y="221"/>
                  </a:lnTo>
                  <a:lnTo>
                    <a:pt x="16" y="219"/>
                  </a:lnTo>
                  <a:lnTo>
                    <a:pt x="18" y="219"/>
                  </a:lnTo>
                  <a:lnTo>
                    <a:pt x="20" y="219"/>
                  </a:lnTo>
                  <a:lnTo>
                    <a:pt x="21" y="219"/>
                  </a:lnTo>
                  <a:lnTo>
                    <a:pt x="23" y="219"/>
                  </a:lnTo>
                  <a:lnTo>
                    <a:pt x="23" y="218"/>
                  </a:lnTo>
                  <a:lnTo>
                    <a:pt x="25" y="218"/>
                  </a:lnTo>
                  <a:lnTo>
                    <a:pt x="26" y="218"/>
                  </a:lnTo>
                  <a:lnTo>
                    <a:pt x="28" y="218"/>
                  </a:lnTo>
                  <a:lnTo>
                    <a:pt x="26" y="218"/>
                  </a:lnTo>
                  <a:lnTo>
                    <a:pt x="25" y="218"/>
                  </a:lnTo>
                  <a:lnTo>
                    <a:pt x="23" y="218"/>
                  </a:lnTo>
                  <a:lnTo>
                    <a:pt x="21" y="218"/>
                  </a:lnTo>
                  <a:lnTo>
                    <a:pt x="20" y="218"/>
                  </a:lnTo>
                  <a:lnTo>
                    <a:pt x="18" y="218"/>
                  </a:lnTo>
                  <a:lnTo>
                    <a:pt x="16" y="218"/>
                  </a:lnTo>
                  <a:lnTo>
                    <a:pt x="15" y="219"/>
                  </a:lnTo>
                  <a:lnTo>
                    <a:pt x="15" y="218"/>
                  </a:lnTo>
                  <a:lnTo>
                    <a:pt x="13" y="218"/>
                  </a:lnTo>
                  <a:lnTo>
                    <a:pt x="15" y="218"/>
                  </a:lnTo>
                  <a:lnTo>
                    <a:pt x="13" y="216"/>
                  </a:lnTo>
                  <a:lnTo>
                    <a:pt x="15" y="216"/>
                  </a:lnTo>
                  <a:lnTo>
                    <a:pt x="13" y="216"/>
                  </a:lnTo>
                  <a:lnTo>
                    <a:pt x="15" y="216"/>
                  </a:lnTo>
                  <a:lnTo>
                    <a:pt x="15" y="214"/>
                  </a:lnTo>
                  <a:lnTo>
                    <a:pt x="13" y="214"/>
                  </a:lnTo>
                  <a:lnTo>
                    <a:pt x="13" y="213"/>
                  </a:lnTo>
                  <a:lnTo>
                    <a:pt x="15" y="213"/>
                  </a:lnTo>
                  <a:lnTo>
                    <a:pt x="13" y="211"/>
                  </a:lnTo>
                  <a:lnTo>
                    <a:pt x="12" y="211"/>
                  </a:lnTo>
                  <a:lnTo>
                    <a:pt x="12" y="210"/>
                  </a:lnTo>
                  <a:lnTo>
                    <a:pt x="13" y="210"/>
                  </a:lnTo>
                  <a:lnTo>
                    <a:pt x="12" y="208"/>
                  </a:lnTo>
                  <a:lnTo>
                    <a:pt x="13" y="208"/>
                  </a:lnTo>
                  <a:lnTo>
                    <a:pt x="13" y="210"/>
                  </a:lnTo>
                  <a:lnTo>
                    <a:pt x="13" y="208"/>
                  </a:lnTo>
                  <a:lnTo>
                    <a:pt x="13" y="206"/>
                  </a:lnTo>
                  <a:lnTo>
                    <a:pt x="13" y="205"/>
                  </a:lnTo>
                  <a:lnTo>
                    <a:pt x="13" y="203"/>
                  </a:lnTo>
                  <a:lnTo>
                    <a:pt x="13" y="201"/>
                  </a:lnTo>
                  <a:lnTo>
                    <a:pt x="12" y="201"/>
                  </a:lnTo>
                  <a:lnTo>
                    <a:pt x="12" y="200"/>
                  </a:lnTo>
                  <a:lnTo>
                    <a:pt x="10" y="200"/>
                  </a:lnTo>
                  <a:lnTo>
                    <a:pt x="12" y="200"/>
                  </a:lnTo>
                  <a:lnTo>
                    <a:pt x="12" y="198"/>
                  </a:lnTo>
                  <a:lnTo>
                    <a:pt x="13" y="198"/>
                  </a:lnTo>
                  <a:lnTo>
                    <a:pt x="13" y="196"/>
                  </a:lnTo>
                  <a:lnTo>
                    <a:pt x="13" y="198"/>
                  </a:lnTo>
                  <a:lnTo>
                    <a:pt x="12" y="196"/>
                  </a:lnTo>
                  <a:lnTo>
                    <a:pt x="10" y="195"/>
                  </a:lnTo>
                  <a:lnTo>
                    <a:pt x="12" y="195"/>
                  </a:lnTo>
                  <a:lnTo>
                    <a:pt x="12" y="193"/>
                  </a:lnTo>
                  <a:lnTo>
                    <a:pt x="13" y="193"/>
                  </a:lnTo>
                  <a:lnTo>
                    <a:pt x="15" y="193"/>
                  </a:lnTo>
                  <a:lnTo>
                    <a:pt x="13" y="193"/>
                  </a:lnTo>
                  <a:lnTo>
                    <a:pt x="13" y="192"/>
                  </a:lnTo>
                  <a:lnTo>
                    <a:pt x="12" y="192"/>
                  </a:lnTo>
                  <a:lnTo>
                    <a:pt x="12" y="193"/>
                  </a:lnTo>
                  <a:lnTo>
                    <a:pt x="10" y="193"/>
                  </a:lnTo>
                  <a:lnTo>
                    <a:pt x="8" y="193"/>
                  </a:lnTo>
                  <a:lnTo>
                    <a:pt x="10" y="192"/>
                  </a:lnTo>
                  <a:lnTo>
                    <a:pt x="8" y="192"/>
                  </a:lnTo>
                  <a:lnTo>
                    <a:pt x="7" y="192"/>
                  </a:lnTo>
                  <a:lnTo>
                    <a:pt x="7" y="190"/>
                  </a:lnTo>
                  <a:lnTo>
                    <a:pt x="7" y="188"/>
                  </a:lnTo>
                  <a:lnTo>
                    <a:pt x="7" y="187"/>
                  </a:lnTo>
                  <a:lnTo>
                    <a:pt x="8" y="187"/>
                  </a:lnTo>
                  <a:lnTo>
                    <a:pt x="7" y="187"/>
                  </a:lnTo>
                  <a:lnTo>
                    <a:pt x="7" y="185"/>
                  </a:lnTo>
                  <a:lnTo>
                    <a:pt x="7" y="183"/>
                  </a:lnTo>
                  <a:lnTo>
                    <a:pt x="5" y="183"/>
                  </a:lnTo>
                  <a:lnTo>
                    <a:pt x="7" y="182"/>
                  </a:lnTo>
                  <a:lnTo>
                    <a:pt x="5" y="182"/>
                  </a:lnTo>
                  <a:lnTo>
                    <a:pt x="7" y="180"/>
                  </a:lnTo>
                  <a:lnTo>
                    <a:pt x="5" y="180"/>
                  </a:lnTo>
                  <a:lnTo>
                    <a:pt x="5" y="179"/>
                  </a:lnTo>
                  <a:lnTo>
                    <a:pt x="3" y="179"/>
                  </a:lnTo>
                  <a:lnTo>
                    <a:pt x="3" y="177"/>
                  </a:lnTo>
                  <a:lnTo>
                    <a:pt x="5" y="177"/>
                  </a:lnTo>
                  <a:lnTo>
                    <a:pt x="3" y="177"/>
                  </a:lnTo>
                  <a:lnTo>
                    <a:pt x="3" y="175"/>
                  </a:lnTo>
                  <a:lnTo>
                    <a:pt x="5" y="175"/>
                  </a:lnTo>
                  <a:lnTo>
                    <a:pt x="3" y="175"/>
                  </a:lnTo>
                  <a:lnTo>
                    <a:pt x="3" y="174"/>
                  </a:lnTo>
                  <a:lnTo>
                    <a:pt x="3" y="172"/>
                  </a:lnTo>
                  <a:lnTo>
                    <a:pt x="3" y="170"/>
                  </a:lnTo>
                  <a:lnTo>
                    <a:pt x="2" y="170"/>
                  </a:lnTo>
                  <a:lnTo>
                    <a:pt x="0" y="169"/>
                  </a:lnTo>
                  <a:lnTo>
                    <a:pt x="2" y="167"/>
                  </a:lnTo>
                  <a:lnTo>
                    <a:pt x="2" y="166"/>
                  </a:lnTo>
                  <a:lnTo>
                    <a:pt x="3" y="166"/>
                  </a:lnTo>
                  <a:lnTo>
                    <a:pt x="5" y="167"/>
                  </a:lnTo>
                  <a:lnTo>
                    <a:pt x="7" y="167"/>
                  </a:lnTo>
                  <a:lnTo>
                    <a:pt x="10" y="169"/>
                  </a:lnTo>
                  <a:lnTo>
                    <a:pt x="12" y="170"/>
                  </a:lnTo>
                  <a:lnTo>
                    <a:pt x="12" y="169"/>
                  </a:lnTo>
                  <a:lnTo>
                    <a:pt x="12" y="170"/>
                  </a:lnTo>
                  <a:lnTo>
                    <a:pt x="13" y="170"/>
                  </a:lnTo>
                  <a:lnTo>
                    <a:pt x="15" y="172"/>
                  </a:lnTo>
                  <a:lnTo>
                    <a:pt x="16" y="172"/>
                  </a:lnTo>
                  <a:lnTo>
                    <a:pt x="18" y="172"/>
                  </a:lnTo>
                  <a:lnTo>
                    <a:pt x="20" y="172"/>
                  </a:lnTo>
                  <a:lnTo>
                    <a:pt x="20" y="174"/>
                  </a:lnTo>
                  <a:lnTo>
                    <a:pt x="21" y="172"/>
                  </a:lnTo>
                  <a:lnTo>
                    <a:pt x="23" y="172"/>
                  </a:lnTo>
                  <a:lnTo>
                    <a:pt x="25" y="170"/>
                  </a:lnTo>
                  <a:lnTo>
                    <a:pt x="26" y="169"/>
                  </a:lnTo>
                  <a:lnTo>
                    <a:pt x="29" y="170"/>
                  </a:lnTo>
                  <a:lnTo>
                    <a:pt x="31" y="170"/>
                  </a:lnTo>
                  <a:lnTo>
                    <a:pt x="33" y="169"/>
                  </a:lnTo>
                  <a:lnTo>
                    <a:pt x="34" y="169"/>
                  </a:lnTo>
                  <a:lnTo>
                    <a:pt x="36" y="169"/>
                  </a:lnTo>
                  <a:lnTo>
                    <a:pt x="38" y="169"/>
                  </a:lnTo>
                  <a:lnTo>
                    <a:pt x="44" y="172"/>
                  </a:lnTo>
                  <a:lnTo>
                    <a:pt x="46" y="170"/>
                  </a:lnTo>
                  <a:lnTo>
                    <a:pt x="47" y="170"/>
                  </a:lnTo>
                  <a:lnTo>
                    <a:pt x="52" y="170"/>
                  </a:lnTo>
                  <a:lnTo>
                    <a:pt x="52" y="169"/>
                  </a:lnTo>
                  <a:lnTo>
                    <a:pt x="52" y="167"/>
                  </a:lnTo>
                  <a:lnTo>
                    <a:pt x="52" y="166"/>
                  </a:lnTo>
                  <a:lnTo>
                    <a:pt x="51" y="166"/>
                  </a:lnTo>
                  <a:lnTo>
                    <a:pt x="51" y="164"/>
                  </a:lnTo>
                  <a:lnTo>
                    <a:pt x="52" y="164"/>
                  </a:lnTo>
                  <a:lnTo>
                    <a:pt x="54" y="161"/>
                  </a:lnTo>
                  <a:lnTo>
                    <a:pt x="55" y="161"/>
                  </a:lnTo>
                  <a:lnTo>
                    <a:pt x="57" y="162"/>
                  </a:lnTo>
                  <a:lnTo>
                    <a:pt x="59" y="164"/>
                  </a:lnTo>
                  <a:lnTo>
                    <a:pt x="60" y="166"/>
                  </a:lnTo>
                  <a:lnTo>
                    <a:pt x="62" y="166"/>
                  </a:lnTo>
                  <a:lnTo>
                    <a:pt x="64" y="164"/>
                  </a:lnTo>
                  <a:lnTo>
                    <a:pt x="65" y="164"/>
                  </a:lnTo>
                  <a:lnTo>
                    <a:pt x="68" y="166"/>
                  </a:lnTo>
                  <a:lnTo>
                    <a:pt x="72" y="167"/>
                  </a:lnTo>
                  <a:lnTo>
                    <a:pt x="73" y="167"/>
                  </a:lnTo>
                  <a:lnTo>
                    <a:pt x="73" y="166"/>
                  </a:lnTo>
                  <a:lnTo>
                    <a:pt x="73" y="164"/>
                  </a:lnTo>
                  <a:lnTo>
                    <a:pt x="77" y="164"/>
                  </a:lnTo>
                  <a:lnTo>
                    <a:pt x="78" y="162"/>
                  </a:lnTo>
                  <a:lnTo>
                    <a:pt x="78" y="161"/>
                  </a:lnTo>
                  <a:lnTo>
                    <a:pt x="80" y="161"/>
                  </a:lnTo>
                  <a:lnTo>
                    <a:pt x="81" y="161"/>
                  </a:lnTo>
                  <a:lnTo>
                    <a:pt x="83" y="161"/>
                  </a:lnTo>
                  <a:lnTo>
                    <a:pt x="86" y="164"/>
                  </a:lnTo>
                  <a:lnTo>
                    <a:pt x="88" y="164"/>
                  </a:lnTo>
                  <a:lnTo>
                    <a:pt x="91" y="164"/>
                  </a:lnTo>
                  <a:lnTo>
                    <a:pt x="93" y="164"/>
                  </a:lnTo>
                  <a:lnTo>
                    <a:pt x="94" y="162"/>
                  </a:lnTo>
                  <a:lnTo>
                    <a:pt x="99" y="159"/>
                  </a:lnTo>
                  <a:lnTo>
                    <a:pt x="101" y="157"/>
                  </a:lnTo>
                  <a:lnTo>
                    <a:pt x="101" y="156"/>
                  </a:lnTo>
                  <a:lnTo>
                    <a:pt x="101" y="153"/>
                  </a:lnTo>
                  <a:lnTo>
                    <a:pt x="101" y="149"/>
                  </a:lnTo>
                  <a:lnTo>
                    <a:pt x="101" y="146"/>
                  </a:lnTo>
                  <a:lnTo>
                    <a:pt x="103" y="146"/>
                  </a:lnTo>
                  <a:lnTo>
                    <a:pt x="104" y="146"/>
                  </a:lnTo>
                  <a:lnTo>
                    <a:pt x="104" y="144"/>
                  </a:lnTo>
                  <a:lnTo>
                    <a:pt x="106" y="143"/>
                  </a:lnTo>
                  <a:lnTo>
                    <a:pt x="109" y="140"/>
                  </a:lnTo>
                  <a:lnTo>
                    <a:pt x="109" y="136"/>
                  </a:lnTo>
                  <a:lnTo>
                    <a:pt x="112" y="136"/>
                  </a:lnTo>
                  <a:lnTo>
                    <a:pt x="114" y="136"/>
                  </a:lnTo>
                  <a:lnTo>
                    <a:pt x="114" y="138"/>
                  </a:lnTo>
                  <a:lnTo>
                    <a:pt x="114" y="140"/>
                  </a:lnTo>
                  <a:lnTo>
                    <a:pt x="112" y="141"/>
                  </a:lnTo>
                  <a:lnTo>
                    <a:pt x="112" y="144"/>
                  </a:lnTo>
                  <a:lnTo>
                    <a:pt x="114" y="144"/>
                  </a:lnTo>
                  <a:lnTo>
                    <a:pt x="116" y="146"/>
                  </a:lnTo>
                  <a:lnTo>
                    <a:pt x="117" y="148"/>
                  </a:lnTo>
                  <a:lnTo>
                    <a:pt x="119" y="148"/>
                  </a:lnTo>
                  <a:lnTo>
                    <a:pt x="120" y="148"/>
                  </a:lnTo>
                  <a:lnTo>
                    <a:pt x="120" y="149"/>
                  </a:lnTo>
                  <a:lnTo>
                    <a:pt x="122" y="151"/>
                  </a:lnTo>
                  <a:lnTo>
                    <a:pt x="122" y="153"/>
                  </a:lnTo>
                  <a:lnTo>
                    <a:pt x="120" y="153"/>
                  </a:lnTo>
                  <a:lnTo>
                    <a:pt x="120" y="154"/>
                  </a:lnTo>
                  <a:lnTo>
                    <a:pt x="120" y="156"/>
                  </a:lnTo>
                  <a:lnTo>
                    <a:pt x="122" y="156"/>
                  </a:lnTo>
                  <a:lnTo>
                    <a:pt x="124" y="154"/>
                  </a:lnTo>
                  <a:lnTo>
                    <a:pt x="124" y="156"/>
                  </a:lnTo>
                  <a:lnTo>
                    <a:pt x="124" y="154"/>
                  </a:lnTo>
                  <a:lnTo>
                    <a:pt x="124" y="156"/>
                  </a:lnTo>
                  <a:lnTo>
                    <a:pt x="124" y="154"/>
                  </a:lnTo>
                  <a:lnTo>
                    <a:pt x="125" y="156"/>
                  </a:lnTo>
                  <a:lnTo>
                    <a:pt x="127" y="156"/>
                  </a:lnTo>
                  <a:lnTo>
                    <a:pt x="129" y="157"/>
                  </a:lnTo>
                  <a:lnTo>
                    <a:pt x="130" y="157"/>
                  </a:lnTo>
                  <a:lnTo>
                    <a:pt x="129" y="159"/>
                  </a:lnTo>
                  <a:lnTo>
                    <a:pt x="130" y="159"/>
                  </a:lnTo>
                  <a:lnTo>
                    <a:pt x="132" y="159"/>
                  </a:lnTo>
                  <a:lnTo>
                    <a:pt x="133" y="159"/>
                  </a:lnTo>
                  <a:lnTo>
                    <a:pt x="133" y="161"/>
                  </a:lnTo>
                  <a:lnTo>
                    <a:pt x="132" y="161"/>
                  </a:lnTo>
                  <a:lnTo>
                    <a:pt x="133" y="161"/>
                  </a:lnTo>
                  <a:lnTo>
                    <a:pt x="133" y="162"/>
                  </a:lnTo>
                  <a:lnTo>
                    <a:pt x="135" y="164"/>
                  </a:lnTo>
                  <a:lnTo>
                    <a:pt x="135" y="166"/>
                  </a:lnTo>
                  <a:lnTo>
                    <a:pt x="135" y="164"/>
                  </a:lnTo>
                  <a:lnTo>
                    <a:pt x="137" y="166"/>
                  </a:lnTo>
                  <a:lnTo>
                    <a:pt x="137" y="164"/>
                  </a:lnTo>
                  <a:lnTo>
                    <a:pt x="138" y="164"/>
                  </a:lnTo>
                  <a:lnTo>
                    <a:pt x="140" y="164"/>
                  </a:lnTo>
                  <a:lnTo>
                    <a:pt x="140" y="162"/>
                  </a:lnTo>
                  <a:lnTo>
                    <a:pt x="142" y="162"/>
                  </a:lnTo>
                  <a:lnTo>
                    <a:pt x="143" y="162"/>
                  </a:lnTo>
                  <a:lnTo>
                    <a:pt x="143" y="161"/>
                  </a:lnTo>
                  <a:lnTo>
                    <a:pt x="145" y="159"/>
                  </a:lnTo>
                  <a:lnTo>
                    <a:pt x="143" y="159"/>
                  </a:lnTo>
                  <a:lnTo>
                    <a:pt x="145" y="157"/>
                  </a:lnTo>
                  <a:lnTo>
                    <a:pt x="143" y="157"/>
                  </a:lnTo>
                  <a:lnTo>
                    <a:pt x="143" y="156"/>
                  </a:lnTo>
                  <a:lnTo>
                    <a:pt x="145" y="156"/>
                  </a:lnTo>
                  <a:lnTo>
                    <a:pt x="145" y="154"/>
                  </a:lnTo>
                  <a:lnTo>
                    <a:pt x="146" y="154"/>
                  </a:lnTo>
                  <a:lnTo>
                    <a:pt x="150" y="157"/>
                  </a:lnTo>
                  <a:lnTo>
                    <a:pt x="151" y="159"/>
                  </a:lnTo>
                  <a:lnTo>
                    <a:pt x="155" y="159"/>
                  </a:lnTo>
                  <a:lnTo>
                    <a:pt x="156" y="161"/>
                  </a:lnTo>
                  <a:lnTo>
                    <a:pt x="158" y="159"/>
                  </a:lnTo>
                  <a:lnTo>
                    <a:pt x="160" y="159"/>
                  </a:lnTo>
                  <a:lnTo>
                    <a:pt x="161" y="161"/>
                  </a:lnTo>
                  <a:lnTo>
                    <a:pt x="161" y="159"/>
                  </a:lnTo>
                  <a:lnTo>
                    <a:pt x="161" y="161"/>
                  </a:lnTo>
                  <a:lnTo>
                    <a:pt x="161" y="162"/>
                  </a:lnTo>
                  <a:lnTo>
                    <a:pt x="163" y="162"/>
                  </a:lnTo>
                  <a:lnTo>
                    <a:pt x="164" y="162"/>
                  </a:lnTo>
                  <a:lnTo>
                    <a:pt x="164" y="164"/>
                  </a:lnTo>
                  <a:lnTo>
                    <a:pt x="166" y="164"/>
                  </a:lnTo>
                  <a:lnTo>
                    <a:pt x="168" y="166"/>
                  </a:lnTo>
                  <a:lnTo>
                    <a:pt x="168" y="167"/>
                  </a:lnTo>
                  <a:lnTo>
                    <a:pt x="169" y="167"/>
                  </a:lnTo>
                  <a:lnTo>
                    <a:pt x="171" y="169"/>
                  </a:lnTo>
                  <a:lnTo>
                    <a:pt x="171" y="167"/>
                  </a:lnTo>
                  <a:lnTo>
                    <a:pt x="171" y="169"/>
                  </a:lnTo>
                  <a:lnTo>
                    <a:pt x="173" y="167"/>
                  </a:lnTo>
                  <a:lnTo>
                    <a:pt x="173" y="166"/>
                  </a:lnTo>
                  <a:lnTo>
                    <a:pt x="174" y="167"/>
                  </a:lnTo>
                  <a:lnTo>
                    <a:pt x="176" y="167"/>
                  </a:lnTo>
                  <a:lnTo>
                    <a:pt x="176" y="166"/>
                  </a:lnTo>
                  <a:lnTo>
                    <a:pt x="177" y="164"/>
                  </a:lnTo>
                  <a:lnTo>
                    <a:pt x="177" y="162"/>
                  </a:lnTo>
                  <a:lnTo>
                    <a:pt x="179" y="162"/>
                  </a:lnTo>
                  <a:lnTo>
                    <a:pt x="181" y="162"/>
                  </a:lnTo>
                  <a:lnTo>
                    <a:pt x="181" y="161"/>
                  </a:lnTo>
                  <a:lnTo>
                    <a:pt x="184" y="162"/>
                  </a:lnTo>
                  <a:lnTo>
                    <a:pt x="186" y="162"/>
                  </a:lnTo>
                  <a:lnTo>
                    <a:pt x="187" y="162"/>
                  </a:lnTo>
                  <a:lnTo>
                    <a:pt x="189" y="161"/>
                  </a:lnTo>
                  <a:lnTo>
                    <a:pt x="189" y="159"/>
                  </a:lnTo>
                  <a:lnTo>
                    <a:pt x="190" y="157"/>
                  </a:lnTo>
                  <a:lnTo>
                    <a:pt x="192" y="157"/>
                  </a:lnTo>
                  <a:lnTo>
                    <a:pt x="190" y="157"/>
                  </a:lnTo>
                  <a:lnTo>
                    <a:pt x="190" y="156"/>
                  </a:lnTo>
                  <a:lnTo>
                    <a:pt x="189" y="156"/>
                  </a:lnTo>
                  <a:lnTo>
                    <a:pt x="186" y="154"/>
                  </a:lnTo>
                  <a:lnTo>
                    <a:pt x="186" y="153"/>
                  </a:lnTo>
                  <a:lnTo>
                    <a:pt x="184" y="153"/>
                  </a:lnTo>
                  <a:lnTo>
                    <a:pt x="184" y="151"/>
                  </a:lnTo>
                  <a:lnTo>
                    <a:pt x="182" y="151"/>
                  </a:lnTo>
                  <a:lnTo>
                    <a:pt x="182" y="149"/>
                  </a:lnTo>
                  <a:lnTo>
                    <a:pt x="182" y="148"/>
                  </a:lnTo>
                  <a:lnTo>
                    <a:pt x="182" y="146"/>
                  </a:lnTo>
                  <a:lnTo>
                    <a:pt x="182" y="144"/>
                  </a:lnTo>
                  <a:lnTo>
                    <a:pt x="181" y="143"/>
                  </a:lnTo>
                  <a:lnTo>
                    <a:pt x="179" y="141"/>
                  </a:lnTo>
                  <a:lnTo>
                    <a:pt x="181" y="141"/>
                  </a:lnTo>
                  <a:lnTo>
                    <a:pt x="181" y="140"/>
                  </a:lnTo>
                  <a:lnTo>
                    <a:pt x="182" y="140"/>
                  </a:lnTo>
                  <a:lnTo>
                    <a:pt x="182" y="138"/>
                  </a:lnTo>
                  <a:lnTo>
                    <a:pt x="182" y="136"/>
                  </a:lnTo>
                  <a:lnTo>
                    <a:pt x="184" y="136"/>
                  </a:lnTo>
                  <a:lnTo>
                    <a:pt x="186" y="136"/>
                  </a:lnTo>
                  <a:lnTo>
                    <a:pt x="187" y="136"/>
                  </a:lnTo>
                  <a:lnTo>
                    <a:pt x="187" y="135"/>
                  </a:lnTo>
                  <a:lnTo>
                    <a:pt x="186" y="135"/>
                  </a:lnTo>
                  <a:lnTo>
                    <a:pt x="187" y="135"/>
                  </a:lnTo>
                  <a:lnTo>
                    <a:pt x="189" y="135"/>
                  </a:lnTo>
                  <a:lnTo>
                    <a:pt x="190" y="135"/>
                  </a:lnTo>
                  <a:lnTo>
                    <a:pt x="190" y="136"/>
                  </a:lnTo>
                  <a:lnTo>
                    <a:pt x="192" y="135"/>
                  </a:lnTo>
                  <a:lnTo>
                    <a:pt x="190" y="133"/>
                  </a:lnTo>
                  <a:lnTo>
                    <a:pt x="187" y="128"/>
                  </a:lnTo>
                  <a:lnTo>
                    <a:pt x="187" y="127"/>
                  </a:lnTo>
                  <a:lnTo>
                    <a:pt x="186" y="125"/>
                  </a:lnTo>
                  <a:lnTo>
                    <a:pt x="184" y="127"/>
                  </a:lnTo>
                  <a:lnTo>
                    <a:pt x="182" y="128"/>
                  </a:lnTo>
                  <a:lnTo>
                    <a:pt x="181" y="128"/>
                  </a:lnTo>
                  <a:lnTo>
                    <a:pt x="181" y="127"/>
                  </a:lnTo>
                  <a:lnTo>
                    <a:pt x="177" y="127"/>
                  </a:lnTo>
                  <a:lnTo>
                    <a:pt x="177" y="125"/>
                  </a:lnTo>
                  <a:lnTo>
                    <a:pt x="181" y="122"/>
                  </a:lnTo>
                  <a:lnTo>
                    <a:pt x="182" y="120"/>
                  </a:lnTo>
                  <a:lnTo>
                    <a:pt x="182" y="118"/>
                  </a:lnTo>
                  <a:lnTo>
                    <a:pt x="184" y="118"/>
                  </a:lnTo>
                  <a:lnTo>
                    <a:pt x="186" y="117"/>
                  </a:lnTo>
                  <a:lnTo>
                    <a:pt x="187" y="117"/>
                  </a:lnTo>
                  <a:lnTo>
                    <a:pt x="189" y="115"/>
                  </a:lnTo>
                  <a:lnTo>
                    <a:pt x="190" y="115"/>
                  </a:lnTo>
                  <a:lnTo>
                    <a:pt x="194" y="114"/>
                  </a:lnTo>
                  <a:lnTo>
                    <a:pt x="197" y="112"/>
                  </a:lnTo>
                  <a:lnTo>
                    <a:pt x="199" y="110"/>
                  </a:lnTo>
                  <a:lnTo>
                    <a:pt x="200" y="109"/>
                  </a:lnTo>
                  <a:lnTo>
                    <a:pt x="203" y="107"/>
                  </a:lnTo>
                  <a:lnTo>
                    <a:pt x="203" y="105"/>
                  </a:lnTo>
                  <a:lnTo>
                    <a:pt x="207" y="104"/>
                  </a:lnTo>
                  <a:lnTo>
                    <a:pt x="208" y="104"/>
                  </a:lnTo>
                  <a:lnTo>
                    <a:pt x="210" y="105"/>
                  </a:lnTo>
                  <a:lnTo>
                    <a:pt x="213" y="107"/>
                  </a:lnTo>
                  <a:lnTo>
                    <a:pt x="215" y="107"/>
                  </a:lnTo>
                  <a:lnTo>
                    <a:pt x="216" y="104"/>
                  </a:lnTo>
                  <a:lnTo>
                    <a:pt x="216" y="102"/>
                  </a:lnTo>
                  <a:lnTo>
                    <a:pt x="216" y="96"/>
                  </a:lnTo>
                  <a:lnTo>
                    <a:pt x="218" y="94"/>
                  </a:lnTo>
                  <a:lnTo>
                    <a:pt x="218" y="92"/>
                  </a:lnTo>
                  <a:lnTo>
                    <a:pt x="220" y="92"/>
                  </a:lnTo>
                  <a:lnTo>
                    <a:pt x="220" y="91"/>
                  </a:lnTo>
                  <a:lnTo>
                    <a:pt x="220" y="89"/>
                  </a:lnTo>
                  <a:lnTo>
                    <a:pt x="220" y="88"/>
                  </a:lnTo>
                  <a:lnTo>
                    <a:pt x="218" y="84"/>
                  </a:lnTo>
                  <a:lnTo>
                    <a:pt x="218" y="83"/>
                  </a:lnTo>
                  <a:lnTo>
                    <a:pt x="218" y="81"/>
                  </a:lnTo>
                  <a:lnTo>
                    <a:pt x="220" y="81"/>
                  </a:lnTo>
                  <a:lnTo>
                    <a:pt x="218" y="79"/>
                  </a:lnTo>
                  <a:lnTo>
                    <a:pt x="220" y="79"/>
                  </a:lnTo>
                  <a:lnTo>
                    <a:pt x="218" y="79"/>
                  </a:lnTo>
                  <a:lnTo>
                    <a:pt x="220" y="79"/>
                  </a:lnTo>
                  <a:lnTo>
                    <a:pt x="220" y="78"/>
                  </a:lnTo>
                  <a:lnTo>
                    <a:pt x="220" y="76"/>
                  </a:lnTo>
                  <a:lnTo>
                    <a:pt x="221" y="75"/>
                  </a:lnTo>
                  <a:lnTo>
                    <a:pt x="220" y="75"/>
                  </a:lnTo>
                  <a:lnTo>
                    <a:pt x="220" y="73"/>
                  </a:lnTo>
                  <a:lnTo>
                    <a:pt x="218" y="73"/>
                  </a:lnTo>
                  <a:lnTo>
                    <a:pt x="216" y="73"/>
                  </a:lnTo>
                  <a:lnTo>
                    <a:pt x="216" y="71"/>
                  </a:lnTo>
                  <a:lnTo>
                    <a:pt x="215" y="71"/>
                  </a:lnTo>
                  <a:lnTo>
                    <a:pt x="213" y="71"/>
                  </a:lnTo>
                  <a:lnTo>
                    <a:pt x="213" y="70"/>
                  </a:lnTo>
                  <a:lnTo>
                    <a:pt x="212" y="70"/>
                  </a:lnTo>
                  <a:lnTo>
                    <a:pt x="210" y="70"/>
                  </a:lnTo>
                  <a:lnTo>
                    <a:pt x="208" y="70"/>
                  </a:lnTo>
                  <a:lnTo>
                    <a:pt x="210" y="70"/>
                  </a:lnTo>
                  <a:lnTo>
                    <a:pt x="210" y="68"/>
                  </a:lnTo>
                  <a:lnTo>
                    <a:pt x="208" y="68"/>
                  </a:lnTo>
                  <a:lnTo>
                    <a:pt x="208" y="66"/>
                  </a:lnTo>
                  <a:lnTo>
                    <a:pt x="207" y="66"/>
                  </a:lnTo>
                  <a:lnTo>
                    <a:pt x="208" y="65"/>
                  </a:lnTo>
                  <a:lnTo>
                    <a:pt x="207" y="65"/>
                  </a:lnTo>
                  <a:lnTo>
                    <a:pt x="208" y="65"/>
                  </a:lnTo>
                  <a:lnTo>
                    <a:pt x="208" y="63"/>
                  </a:lnTo>
                  <a:lnTo>
                    <a:pt x="207" y="63"/>
                  </a:lnTo>
                  <a:lnTo>
                    <a:pt x="207" y="61"/>
                  </a:lnTo>
                  <a:lnTo>
                    <a:pt x="207" y="60"/>
                  </a:lnTo>
                  <a:lnTo>
                    <a:pt x="207" y="58"/>
                  </a:lnTo>
                  <a:lnTo>
                    <a:pt x="208" y="58"/>
                  </a:lnTo>
                  <a:lnTo>
                    <a:pt x="208" y="57"/>
                  </a:lnTo>
                  <a:lnTo>
                    <a:pt x="210" y="57"/>
                  </a:lnTo>
                  <a:lnTo>
                    <a:pt x="210" y="55"/>
                  </a:lnTo>
                  <a:lnTo>
                    <a:pt x="212" y="55"/>
                  </a:lnTo>
                  <a:lnTo>
                    <a:pt x="210" y="52"/>
                  </a:lnTo>
                  <a:lnTo>
                    <a:pt x="212" y="50"/>
                  </a:lnTo>
                  <a:lnTo>
                    <a:pt x="213" y="50"/>
                  </a:lnTo>
                  <a:lnTo>
                    <a:pt x="215" y="50"/>
                  </a:lnTo>
                  <a:lnTo>
                    <a:pt x="216" y="50"/>
                  </a:lnTo>
                  <a:lnTo>
                    <a:pt x="218" y="50"/>
                  </a:lnTo>
                  <a:lnTo>
                    <a:pt x="220" y="50"/>
                  </a:lnTo>
                  <a:lnTo>
                    <a:pt x="221" y="50"/>
                  </a:lnTo>
                  <a:lnTo>
                    <a:pt x="221" y="52"/>
                  </a:lnTo>
                  <a:lnTo>
                    <a:pt x="223" y="50"/>
                  </a:lnTo>
                  <a:lnTo>
                    <a:pt x="225" y="48"/>
                  </a:lnTo>
                  <a:lnTo>
                    <a:pt x="223" y="47"/>
                  </a:lnTo>
                  <a:lnTo>
                    <a:pt x="223" y="45"/>
                  </a:lnTo>
                  <a:lnTo>
                    <a:pt x="225" y="44"/>
                  </a:lnTo>
                  <a:lnTo>
                    <a:pt x="231" y="42"/>
                  </a:lnTo>
                  <a:lnTo>
                    <a:pt x="234" y="42"/>
                  </a:lnTo>
                  <a:lnTo>
                    <a:pt x="234" y="40"/>
                  </a:lnTo>
                  <a:lnTo>
                    <a:pt x="236" y="39"/>
                  </a:lnTo>
                  <a:lnTo>
                    <a:pt x="238" y="39"/>
                  </a:lnTo>
                  <a:lnTo>
                    <a:pt x="239" y="39"/>
                  </a:lnTo>
                  <a:lnTo>
                    <a:pt x="242" y="37"/>
                  </a:lnTo>
                  <a:lnTo>
                    <a:pt x="246" y="34"/>
                  </a:lnTo>
                  <a:lnTo>
                    <a:pt x="249" y="31"/>
                  </a:lnTo>
                  <a:lnTo>
                    <a:pt x="251" y="29"/>
                  </a:lnTo>
                  <a:lnTo>
                    <a:pt x="252" y="29"/>
                  </a:lnTo>
                  <a:lnTo>
                    <a:pt x="252" y="27"/>
                  </a:lnTo>
                  <a:lnTo>
                    <a:pt x="249" y="24"/>
                  </a:lnTo>
                  <a:lnTo>
                    <a:pt x="251" y="22"/>
                  </a:lnTo>
                  <a:lnTo>
                    <a:pt x="252" y="22"/>
                  </a:lnTo>
                  <a:lnTo>
                    <a:pt x="254" y="22"/>
                  </a:lnTo>
                  <a:lnTo>
                    <a:pt x="255" y="21"/>
                  </a:lnTo>
                  <a:lnTo>
                    <a:pt x="257" y="21"/>
                  </a:lnTo>
                  <a:lnTo>
                    <a:pt x="259" y="21"/>
                  </a:lnTo>
                  <a:lnTo>
                    <a:pt x="262" y="22"/>
                  </a:lnTo>
                  <a:lnTo>
                    <a:pt x="264" y="22"/>
                  </a:lnTo>
                  <a:lnTo>
                    <a:pt x="265" y="22"/>
                  </a:lnTo>
                  <a:lnTo>
                    <a:pt x="268" y="22"/>
                  </a:lnTo>
                  <a:lnTo>
                    <a:pt x="270" y="22"/>
                  </a:lnTo>
                  <a:lnTo>
                    <a:pt x="273" y="22"/>
                  </a:lnTo>
                  <a:lnTo>
                    <a:pt x="273" y="21"/>
                  </a:lnTo>
                  <a:lnTo>
                    <a:pt x="273" y="19"/>
                  </a:lnTo>
                  <a:lnTo>
                    <a:pt x="270" y="19"/>
                  </a:lnTo>
                  <a:lnTo>
                    <a:pt x="270" y="18"/>
                  </a:lnTo>
                  <a:lnTo>
                    <a:pt x="270" y="16"/>
                  </a:lnTo>
                  <a:lnTo>
                    <a:pt x="270" y="14"/>
                  </a:lnTo>
                  <a:lnTo>
                    <a:pt x="268" y="13"/>
                  </a:lnTo>
                  <a:lnTo>
                    <a:pt x="268" y="9"/>
                  </a:lnTo>
                  <a:lnTo>
                    <a:pt x="270" y="6"/>
                  </a:lnTo>
                  <a:lnTo>
                    <a:pt x="270" y="3"/>
                  </a:lnTo>
                  <a:lnTo>
                    <a:pt x="272" y="3"/>
                  </a:lnTo>
                  <a:lnTo>
                    <a:pt x="272" y="1"/>
                  </a:lnTo>
                  <a:lnTo>
                    <a:pt x="273" y="1"/>
                  </a:lnTo>
                  <a:lnTo>
                    <a:pt x="275" y="1"/>
                  </a:lnTo>
                  <a:lnTo>
                    <a:pt x="277" y="0"/>
                  </a:lnTo>
                  <a:lnTo>
                    <a:pt x="278" y="0"/>
                  </a:lnTo>
                  <a:lnTo>
                    <a:pt x="280" y="0"/>
                  </a:lnTo>
                  <a:lnTo>
                    <a:pt x="281" y="0"/>
                  </a:lnTo>
                  <a:lnTo>
                    <a:pt x="283" y="0"/>
                  </a:lnTo>
                  <a:lnTo>
                    <a:pt x="283" y="1"/>
                  </a:lnTo>
                  <a:lnTo>
                    <a:pt x="285" y="3"/>
                  </a:lnTo>
                  <a:lnTo>
                    <a:pt x="286" y="1"/>
                  </a:lnTo>
                  <a:lnTo>
                    <a:pt x="288" y="1"/>
                  </a:lnTo>
                  <a:lnTo>
                    <a:pt x="288" y="3"/>
                  </a:lnTo>
                  <a:lnTo>
                    <a:pt x="290" y="3"/>
                  </a:lnTo>
                  <a:lnTo>
                    <a:pt x="291" y="5"/>
                  </a:lnTo>
                  <a:lnTo>
                    <a:pt x="293" y="5"/>
                  </a:lnTo>
                  <a:lnTo>
                    <a:pt x="294" y="5"/>
                  </a:lnTo>
                  <a:lnTo>
                    <a:pt x="293" y="6"/>
                  </a:lnTo>
                  <a:lnTo>
                    <a:pt x="294" y="6"/>
                  </a:lnTo>
                  <a:lnTo>
                    <a:pt x="296" y="6"/>
                  </a:lnTo>
                  <a:lnTo>
                    <a:pt x="296" y="8"/>
                  </a:lnTo>
                  <a:lnTo>
                    <a:pt x="298" y="8"/>
                  </a:lnTo>
                  <a:lnTo>
                    <a:pt x="299" y="8"/>
                  </a:lnTo>
                  <a:lnTo>
                    <a:pt x="301" y="8"/>
                  </a:lnTo>
                  <a:lnTo>
                    <a:pt x="301" y="6"/>
                  </a:lnTo>
                  <a:lnTo>
                    <a:pt x="301" y="8"/>
                  </a:lnTo>
                  <a:lnTo>
                    <a:pt x="303" y="8"/>
                  </a:lnTo>
                  <a:lnTo>
                    <a:pt x="303" y="6"/>
                  </a:lnTo>
                  <a:lnTo>
                    <a:pt x="303" y="8"/>
                  </a:lnTo>
                  <a:lnTo>
                    <a:pt x="304" y="8"/>
                  </a:lnTo>
                  <a:lnTo>
                    <a:pt x="306" y="8"/>
                  </a:lnTo>
                  <a:lnTo>
                    <a:pt x="308" y="8"/>
                  </a:lnTo>
                  <a:lnTo>
                    <a:pt x="309" y="8"/>
                  </a:lnTo>
                  <a:lnTo>
                    <a:pt x="309" y="9"/>
                  </a:lnTo>
                  <a:lnTo>
                    <a:pt x="308" y="9"/>
                  </a:lnTo>
                  <a:lnTo>
                    <a:pt x="309" y="9"/>
                  </a:lnTo>
                  <a:lnTo>
                    <a:pt x="309" y="11"/>
                  </a:lnTo>
                  <a:lnTo>
                    <a:pt x="311" y="11"/>
                  </a:lnTo>
                  <a:lnTo>
                    <a:pt x="311" y="13"/>
                  </a:lnTo>
                  <a:lnTo>
                    <a:pt x="312" y="13"/>
                  </a:lnTo>
                  <a:lnTo>
                    <a:pt x="312" y="14"/>
                  </a:lnTo>
                  <a:lnTo>
                    <a:pt x="312" y="16"/>
                  </a:lnTo>
                  <a:lnTo>
                    <a:pt x="314" y="16"/>
                  </a:lnTo>
                  <a:lnTo>
                    <a:pt x="314" y="18"/>
                  </a:lnTo>
                  <a:lnTo>
                    <a:pt x="316" y="18"/>
                  </a:lnTo>
                  <a:lnTo>
                    <a:pt x="316" y="16"/>
                  </a:lnTo>
                  <a:lnTo>
                    <a:pt x="317" y="16"/>
                  </a:lnTo>
                  <a:lnTo>
                    <a:pt x="316" y="18"/>
                  </a:lnTo>
                  <a:lnTo>
                    <a:pt x="317" y="18"/>
                  </a:lnTo>
                  <a:lnTo>
                    <a:pt x="319" y="18"/>
                  </a:lnTo>
                  <a:lnTo>
                    <a:pt x="319" y="19"/>
                  </a:lnTo>
                  <a:lnTo>
                    <a:pt x="319" y="18"/>
                  </a:lnTo>
                  <a:lnTo>
                    <a:pt x="321" y="18"/>
                  </a:lnTo>
                  <a:lnTo>
                    <a:pt x="321" y="19"/>
                  </a:lnTo>
                  <a:lnTo>
                    <a:pt x="321" y="18"/>
                  </a:lnTo>
                  <a:lnTo>
                    <a:pt x="322" y="18"/>
                  </a:lnTo>
                  <a:lnTo>
                    <a:pt x="324" y="18"/>
                  </a:lnTo>
                  <a:lnTo>
                    <a:pt x="322" y="19"/>
                  </a:lnTo>
                  <a:lnTo>
                    <a:pt x="324" y="19"/>
                  </a:lnTo>
                  <a:lnTo>
                    <a:pt x="325" y="19"/>
                  </a:lnTo>
                  <a:lnTo>
                    <a:pt x="327" y="19"/>
                  </a:lnTo>
                  <a:lnTo>
                    <a:pt x="327" y="21"/>
                  </a:lnTo>
                  <a:lnTo>
                    <a:pt x="329" y="21"/>
                  </a:lnTo>
                  <a:lnTo>
                    <a:pt x="329" y="22"/>
                  </a:lnTo>
                  <a:lnTo>
                    <a:pt x="329" y="21"/>
                  </a:lnTo>
                  <a:lnTo>
                    <a:pt x="330" y="21"/>
                  </a:lnTo>
                  <a:lnTo>
                    <a:pt x="329" y="22"/>
                  </a:lnTo>
                  <a:lnTo>
                    <a:pt x="330" y="22"/>
                  </a:lnTo>
                  <a:lnTo>
                    <a:pt x="330" y="24"/>
                  </a:lnTo>
                  <a:lnTo>
                    <a:pt x="332" y="24"/>
                  </a:lnTo>
                  <a:lnTo>
                    <a:pt x="330" y="24"/>
                  </a:lnTo>
                  <a:lnTo>
                    <a:pt x="330" y="26"/>
                  </a:lnTo>
                  <a:lnTo>
                    <a:pt x="330" y="27"/>
                  </a:lnTo>
                  <a:lnTo>
                    <a:pt x="332" y="29"/>
                  </a:lnTo>
                  <a:lnTo>
                    <a:pt x="332" y="32"/>
                  </a:lnTo>
                  <a:lnTo>
                    <a:pt x="334" y="32"/>
                  </a:lnTo>
                  <a:lnTo>
                    <a:pt x="335" y="32"/>
                  </a:lnTo>
                  <a:lnTo>
                    <a:pt x="335" y="34"/>
                  </a:lnTo>
                  <a:lnTo>
                    <a:pt x="337" y="34"/>
                  </a:lnTo>
                  <a:lnTo>
                    <a:pt x="340" y="35"/>
                  </a:lnTo>
                  <a:lnTo>
                    <a:pt x="342" y="35"/>
                  </a:lnTo>
                  <a:lnTo>
                    <a:pt x="342" y="39"/>
                  </a:lnTo>
                  <a:lnTo>
                    <a:pt x="343" y="39"/>
                  </a:lnTo>
                  <a:lnTo>
                    <a:pt x="345" y="39"/>
                  </a:lnTo>
                  <a:lnTo>
                    <a:pt x="348" y="40"/>
                  </a:lnTo>
                  <a:lnTo>
                    <a:pt x="351" y="42"/>
                  </a:lnTo>
                  <a:lnTo>
                    <a:pt x="353" y="42"/>
                  </a:lnTo>
                  <a:lnTo>
                    <a:pt x="355" y="42"/>
                  </a:lnTo>
                  <a:lnTo>
                    <a:pt x="355" y="44"/>
                  </a:lnTo>
                  <a:lnTo>
                    <a:pt x="356" y="44"/>
                  </a:lnTo>
                  <a:lnTo>
                    <a:pt x="358" y="45"/>
                  </a:lnTo>
                  <a:lnTo>
                    <a:pt x="360" y="45"/>
                  </a:lnTo>
                  <a:lnTo>
                    <a:pt x="361" y="45"/>
                  </a:lnTo>
                  <a:lnTo>
                    <a:pt x="361" y="47"/>
                  </a:lnTo>
                  <a:lnTo>
                    <a:pt x="363" y="47"/>
                  </a:lnTo>
                  <a:lnTo>
                    <a:pt x="363" y="48"/>
                  </a:lnTo>
                  <a:lnTo>
                    <a:pt x="364" y="50"/>
                  </a:lnTo>
                  <a:lnTo>
                    <a:pt x="363" y="50"/>
                  </a:lnTo>
                  <a:lnTo>
                    <a:pt x="363" y="52"/>
                  </a:lnTo>
                  <a:lnTo>
                    <a:pt x="364" y="53"/>
                  </a:lnTo>
                  <a:lnTo>
                    <a:pt x="366" y="53"/>
                  </a:lnTo>
                  <a:lnTo>
                    <a:pt x="368" y="55"/>
                  </a:lnTo>
                  <a:lnTo>
                    <a:pt x="368" y="57"/>
                  </a:lnTo>
                  <a:lnTo>
                    <a:pt x="369" y="57"/>
                  </a:lnTo>
                  <a:lnTo>
                    <a:pt x="371" y="58"/>
                  </a:lnTo>
                  <a:lnTo>
                    <a:pt x="373" y="58"/>
                  </a:lnTo>
                  <a:lnTo>
                    <a:pt x="373" y="60"/>
                  </a:lnTo>
                  <a:lnTo>
                    <a:pt x="373" y="61"/>
                  </a:lnTo>
                  <a:lnTo>
                    <a:pt x="373" y="63"/>
                  </a:lnTo>
                  <a:lnTo>
                    <a:pt x="373" y="65"/>
                  </a:lnTo>
                  <a:lnTo>
                    <a:pt x="374" y="66"/>
                  </a:lnTo>
                  <a:lnTo>
                    <a:pt x="374" y="68"/>
                  </a:lnTo>
                  <a:lnTo>
                    <a:pt x="376" y="68"/>
                  </a:lnTo>
                  <a:lnTo>
                    <a:pt x="377" y="68"/>
                  </a:lnTo>
                  <a:lnTo>
                    <a:pt x="377" y="70"/>
                  </a:lnTo>
                  <a:lnTo>
                    <a:pt x="376" y="70"/>
                  </a:lnTo>
                  <a:lnTo>
                    <a:pt x="376" y="71"/>
                  </a:lnTo>
                  <a:lnTo>
                    <a:pt x="377" y="71"/>
                  </a:lnTo>
                  <a:lnTo>
                    <a:pt x="379" y="71"/>
                  </a:lnTo>
                  <a:lnTo>
                    <a:pt x="379" y="73"/>
                  </a:lnTo>
                  <a:lnTo>
                    <a:pt x="381" y="71"/>
                  </a:lnTo>
                  <a:lnTo>
                    <a:pt x="382" y="71"/>
                  </a:lnTo>
                  <a:lnTo>
                    <a:pt x="382" y="73"/>
                  </a:lnTo>
                  <a:lnTo>
                    <a:pt x="382" y="75"/>
                  </a:lnTo>
                  <a:lnTo>
                    <a:pt x="382" y="76"/>
                  </a:lnTo>
                  <a:lnTo>
                    <a:pt x="384" y="76"/>
                  </a:lnTo>
                  <a:lnTo>
                    <a:pt x="386" y="75"/>
                  </a:lnTo>
                  <a:lnTo>
                    <a:pt x="387" y="75"/>
                  </a:lnTo>
                  <a:lnTo>
                    <a:pt x="389" y="76"/>
                  </a:lnTo>
                  <a:lnTo>
                    <a:pt x="390" y="76"/>
                  </a:lnTo>
                  <a:lnTo>
                    <a:pt x="390" y="75"/>
                  </a:lnTo>
                  <a:lnTo>
                    <a:pt x="390" y="73"/>
                  </a:lnTo>
                  <a:lnTo>
                    <a:pt x="392" y="73"/>
                  </a:lnTo>
                  <a:lnTo>
                    <a:pt x="395" y="75"/>
                  </a:lnTo>
                  <a:lnTo>
                    <a:pt x="399" y="75"/>
                  </a:lnTo>
                  <a:lnTo>
                    <a:pt x="400" y="75"/>
                  </a:lnTo>
                  <a:lnTo>
                    <a:pt x="402" y="75"/>
                  </a:lnTo>
                  <a:lnTo>
                    <a:pt x="403" y="75"/>
                  </a:lnTo>
                  <a:lnTo>
                    <a:pt x="405" y="75"/>
                  </a:lnTo>
                  <a:lnTo>
                    <a:pt x="407" y="75"/>
                  </a:lnTo>
                  <a:lnTo>
                    <a:pt x="407" y="76"/>
                  </a:lnTo>
                  <a:lnTo>
                    <a:pt x="408" y="76"/>
                  </a:lnTo>
                  <a:lnTo>
                    <a:pt x="410" y="78"/>
                  </a:lnTo>
                  <a:lnTo>
                    <a:pt x="412" y="79"/>
                  </a:lnTo>
                  <a:lnTo>
                    <a:pt x="413" y="83"/>
                  </a:lnTo>
                  <a:lnTo>
                    <a:pt x="413" y="84"/>
                  </a:lnTo>
                  <a:lnTo>
                    <a:pt x="415" y="86"/>
                  </a:lnTo>
                  <a:lnTo>
                    <a:pt x="416" y="88"/>
                  </a:lnTo>
                  <a:lnTo>
                    <a:pt x="420" y="88"/>
                  </a:lnTo>
                  <a:lnTo>
                    <a:pt x="421" y="88"/>
                  </a:lnTo>
                  <a:lnTo>
                    <a:pt x="423" y="88"/>
                  </a:lnTo>
                  <a:lnTo>
                    <a:pt x="425" y="89"/>
                  </a:lnTo>
                  <a:lnTo>
                    <a:pt x="426" y="89"/>
                  </a:lnTo>
                  <a:lnTo>
                    <a:pt x="428" y="89"/>
                  </a:lnTo>
                  <a:lnTo>
                    <a:pt x="429" y="91"/>
                  </a:lnTo>
                  <a:lnTo>
                    <a:pt x="431" y="91"/>
                  </a:lnTo>
                  <a:lnTo>
                    <a:pt x="433" y="89"/>
                  </a:lnTo>
                  <a:lnTo>
                    <a:pt x="433" y="91"/>
                  </a:lnTo>
                  <a:lnTo>
                    <a:pt x="433" y="92"/>
                  </a:lnTo>
                  <a:lnTo>
                    <a:pt x="434" y="92"/>
                  </a:lnTo>
                  <a:lnTo>
                    <a:pt x="436" y="92"/>
                  </a:lnTo>
                  <a:lnTo>
                    <a:pt x="436" y="94"/>
                  </a:lnTo>
                  <a:lnTo>
                    <a:pt x="436" y="96"/>
                  </a:lnTo>
                  <a:lnTo>
                    <a:pt x="438" y="96"/>
                  </a:lnTo>
                  <a:lnTo>
                    <a:pt x="438" y="94"/>
                  </a:lnTo>
                  <a:lnTo>
                    <a:pt x="438" y="92"/>
                  </a:lnTo>
                  <a:lnTo>
                    <a:pt x="439" y="91"/>
                  </a:lnTo>
                  <a:lnTo>
                    <a:pt x="441" y="91"/>
                  </a:lnTo>
                  <a:lnTo>
                    <a:pt x="442" y="92"/>
                  </a:lnTo>
                  <a:lnTo>
                    <a:pt x="444" y="91"/>
                  </a:lnTo>
                  <a:lnTo>
                    <a:pt x="446" y="91"/>
                  </a:lnTo>
                  <a:lnTo>
                    <a:pt x="447" y="91"/>
                  </a:lnTo>
                  <a:lnTo>
                    <a:pt x="449" y="89"/>
                  </a:lnTo>
                  <a:lnTo>
                    <a:pt x="451" y="89"/>
                  </a:lnTo>
                  <a:lnTo>
                    <a:pt x="451" y="91"/>
                  </a:lnTo>
                  <a:lnTo>
                    <a:pt x="452" y="91"/>
                  </a:lnTo>
                  <a:lnTo>
                    <a:pt x="452" y="92"/>
                  </a:lnTo>
                  <a:lnTo>
                    <a:pt x="454" y="92"/>
                  </a:lnTo>
                  <a:lnTo>
                    <a:pt x="456" y="92"/>
                  </a:lnTo>
                  <a:lnTo>
                    <a:pt x="459" y="92"/>
                  </a:lnTo>
                  <a:lnTo>
                    <a:pt x="460" y="92"/>
                  </a:lnTo>
                  <a:lnTo>
                    <a:pt x="462" y="91"/>
                  </a:lnTo>
                  <a:lnTo>
                    <a:pt x="462" y="89"/>
                  </a:lnTo>
                  <a:lnTo>
                    <a:pt x="464" y="89"/>
                  </a:lnTo>
                  <a:lnTo>
                    <a:pt x="465" y="89"/>
                  </a:lnTo>
                  <a:lnTo>
                    <a:pt x="467" y="91"/>
                  </a:lnTo>
                  <a:lnTo>
                    <a:pt x="469" y="89"/>
                  </a:lnTo>
                  <a:lnTo>
                    <a:pt x="470" y="89"/>
                  </a:lnTo>
                  <a:lnTo>
                    <a:pt x="472" y="89"/>
                  </a:lnTo>
                  <a:lnTo>
                    <a:pt x="473" y="89"/>
                  </a:lnTo>
                  <a:lnTo>
                    <a:pt x="473" y="91"/>
                  </a:lnTo>
                  <a:lnTo>
                    <a:pt x="475" y="91"/>
                  </a:lnTo>
                  <a:lnTo>
                    <a:pt x="475" y="92"/>
                  </a:lnTo>
                  <a:lnTo>
                    <a:pt x="477" y="91"/>
                  </a:lnTo>
                  <a:lnTo>
                    <a:pt x="478" y="92"/>
                  </a:lnTo>
                  <a:lnTo>
                    <a:pt x="480" y="91"/>
                  </a:lnTo>
                  <a:lnTo>
                    <a:pt x="482" y="92"/>
                  </a:lnTo>
                  <a:lnTo>
                    <a:pt x="483" y="92"/>
                  </a:lnTo>
                  <a:lnTo>
                    <a:pt x="485" y="92"/>
                  </a:lnTo>
                  <a:lnTo>
                    <a:pt x="486" y="91"/>
                  </a:lnTo>
                  <a:lnTo>
                    <a:pt x="486" y="89"/>
                  </a:lnTo>
                  <a:lnTo>
                    <a:pt x="488" y="89"/>
                  </a:lnTo>
                  <a:lnTo>
                    <a:pt x="490" y="89"/>
                  </a:lnTo>
                  <a:lnTo>
                    <a:pt x="490" y="91"/>
                  </a:lnTo>
                  <a:lnTo>
                    <a:pt x="490" y="92"/>
                  </a:lnTo>
                  <a:lnTo>
                    <a:pt x="491" y="92"/>
                  </a:lnTo>
                  <a:lnTo>
                    <a:pt x="493" y="92"/>
                  </a:lnTo>
                  <a:lnTo>
                    <a:pt x="495" y="92"/>
                  </a:lnTo>
                  <a:lnTo>
                    <a:pt x="496" y="92"/>
                  </a:lnTo>
                  <a:lnTo>
                    <a:pt x="495" y="91"/>
                  </a:lnTo>
                  <a:lnTo>
                    <a:pt x="495" y="89"/>
                  </a:lnTo>
                  <a:lnTo>
                    <a:pt x="496" y="89"/>
                  </a:lnTo>
                  <a:lnTo>
                    <a:pt x="498" y="89"/>
                  </a:lnTo>
                  <a:lnTo>
                    <a:pt x="498" y="88"/>
                  </a:lnTo>
                  <a:lnTo>
                    <a:pt x="498" y="86"/>
                  </a:lnTo>
                  <a:lnTo>
                    <a:pt x="498" y="84"/>
                  </a:lnTo>
                  <a:lnTo>
                    <a:pt x="499" y="84"/>
                  </a:lnTo>
                  <a:lnTo>
                    <a:pt x="501" y="86"/>
                  </a:lnTo>
                  <a:lnTo>
                    <a:pt x="503" y="84"/>
                  </a:lnTo>
                  <a:lnTo>
                    <a:pt x="506" y="84"/>
                  </a:lnTo>
                  <a:lnTo>
                    <a:pt x="506" y="83"/>
                  </a:lnTo>
                  <a:lnTo>
                    <a:pt x="508" y="83"/>
                  </a:lnTo>
                  <a:lnTo>
                    <a:pt x="506" y="81"/>
                  </a:lnTo>
                  <a:lnTo>
                    <a:pt x="508" y="79"/>
                  </a:lnTo>
                  <a:lnTo>
                    <a:pt x="509" y="79"/>
                  </a:lnTo>
                  <a:lnTo>
                    <a:pt x="509" y="78"/>
                  </a:lnTo>
                  <a:lnTo>
                    <a:pt x="511" y="76"/>
                  </a:lnTo>
                  <a:lnTo>
                    <a:pt x="511" y="75"/>
                  </a:lnTo>
                  <a:lnTo>
                    <a:pt x="511" y="71"/>
                  </a:lnTo>
                  <a:lnTo>
                    <a:pt x="512" y="71"/>
                  </a:lnTo>
                  <a:lnTo>
                    <a:pt x="512" y="73"/>
                  </a:lnTo>
                  <a:lnTo>
                    <a:pt x="514" y="71"/>
                  </a:lnTo>
                  <a:lnTo>
                    <a:pt x="512" y="70"/>
                  </a:lnTo>
                  <a:lnTo>
                    <a:pt x="512" y="68"/>
                  </a:lnTo>
                  <a:lnTo>
                    <a:pt x="514" y="68"/>
                  </a:lnTo>
                  <a:lnTo>
                    <a:pt x="514" y="66"/>
                  </a:lnTo>
                  <a:lnTo>
                    <a:pt x="514" y="65"/>
                  </a:lnTo>
                  <a:lnTo>
                    <a:pt x="517" y="65"/>
                  </a:lnTo>
                  <a:lnTo>
                    <a:pt x="521" y="66"/>
                  </a:lnTo>
                  <a:lnTo>
                    <a:pt x="522" y="66"/>
                  </a:lnTo>
                  <a:lnTo>
                    <a:pt x="525" y="66"/>
                  </a:lnTo>
                  <a:lnTo>
                    <a:pt x="527" y="68"/>
                  </a:lnTo>
                  <a:lnTo>
                    <a:pt x="529" y="68"/>
                  </a:lnTo>
                  <a:lnTo>
                    <a:pt x="529" y="66"/>
                  </a:lnTo>
                  <a:lnTo>
                    <a:pt x="529" y="65"/>
                  </a:lnTo>
                  <a:lnTo>
                    <a:pt x="530" y="63"/>
                  </a:lnTo>
                  <a:lnTo>
                    <a:pt x="530" y="65"/>
                  </a:lnTo>
                  <a:lnTo>
                    <a:pt x="534" y="63"/>
                  </a:lnTo>
                  <a:lnTo>
                    <a:pt x="535" y="63"/>
                  </a:lnTo>
                  <a:lnTo>
                    <a:pt x="535" y="61"/>
                  </a:lnTo>
                  <a:lnTo>
                    <a:pt x="537" y="61"/>
                  </a:lnTo>
                  <a:lnTo>
                    <a:pt x="538" y="61"/>
                  </a:lnTo>
                  <a:lnTo>
                    <a:pt x="538" y="63"/>
                  </a:lnTo>
                  <a:lnTo>
                    <a:pt x="537" y="63"/>
                  </a:lnTo>
                  <a:lnTo>
                    <a:pt x="535" y="65"/>
                  </a:lnTo>
                  <a:lnTo>
                    <a:pt x="535" y="66"/>
                  </a:lnTo>
                  <a:lnTo>
                    <a:pt x="537" y="68"/>
                  </a:lnTo>
                  <a:lnTo>
                    <a:pt x="538" y="68"/>
                  </a:lnTo>
                  <a:lnTo>
                    <a:pt x="538" y="70"/>
                  </a:lnTo>
                  <a:lnTo>
                    <a:pt x="537" y="71"/>
                  </a:lnTo>
                  <a:lnTo>
                    <a:pt x="535" y="71"/>
                  </a:lnTo>
                  <a:lnTo>
                    <a:pt x="534" y="71"/>
                  </a:lnTo>
                  <a:lnTo>
                    <a:pt x="535" y="75"/>
                  </a:lnTo>
                  <a:lnTo>
                    <a:pt x="534" y="78"/>
                  </a:lnTo>
                  <a:lnTo>
                    <a:pt x="535" y="79"/>
                  </a:lnTo>
                  <a:lnTo>
                    <a:pt x="535" y="81"/>
                  </a:lnTo>
                  <a:lnTo>
                    <a:pt x="537" y="81"/>
                  </a:lnTo>
                  <a:lnTo>
                    <a:pt x="538" y="81"/>
                  </a:lnTo>
                  <a:lnTo>
                    <a:pt x="538" y="83"/>
                  </a:lnTo>
                  <a:lnTo>
                    <a:pt x="540" y="83"/>
                  </a:lnTo>
                  <a:lnTo>
                    <a:pt x="543" y="81"/>
                  </a:lnTo>
                  <a:lnTo>
                    <a:pt x="545" y="81"/>
                  </a:lnTo>
                  <a:lnTo>
                    <a:pt x="547" y="83"/>
                  </a:lnTo>
                  <a:lnTo>
                    <a:pt x="545" y="83"/>
                  </a:lnTo>
                  <a:lnTo>
                    <a:pt x="545" y="84"/>
                  </a:lnTo>
                  <a:lnTo>
                    <a:pt x="543" y="86"/>
                  </a:lnTo>
                  <a:lnTo>
                    <a:pt x="545" y="86"/>
                  </a:lnTo>
                  <a:lnTo>
                    <a:pt x="547" y="86"/>
                  </a:lnTo>
                  <a:lnTo>
                    <a:pt x="547" y="88"/>
                  </a:lnTo>
                  <a:lnTo>
                    <a:pt x="545" y="89"/>
                  </a:lnTo>
                  <a:lnTo>
                    <a:pt x="543" y="89"/>
                  </a:lnTo>
                  <a:lnTo>
                    <a:pt x="543" y="91"/>
                  </a:lnTo>
                  <a:lnTo>
                    <a:pt x="547" y="94"/>
                  </a:lnTo>
                  <a:lnTo>
                    <a:pt x="548" y="96"/>
                  </a:lnTo>
                  <a:lnTo>
                    <a:pt x="548" y="99"/>
                  </a:lnTo>
                  <a:lnTo>
                    <a:pt x="547" y="99"/>
                  </a:lnTo>
                  <a:lnTo>
                    <a:pt x="547" y="101"/>
                  </a:lnTo>
                  <a:lnTo>
                    <a:pt x="545" y="102"/>
                  </a:lnTo>
                  <a:lnTo>
                    <a:pt x="543" y="104"/>
                  </a:lnTo>
                  <a:lnTo>
                    <a:pt x="543" y="105"/>
                  </a:lnTo>
                  <a:lnTo>
                    <a:pt x="543" y="107"/>
                  </a:lnTo>
                  <a:lnTo>
                    <a:pt x="543" y="109"/>
                  </a:lnTo>
                  <a:lnTo>
                    <a:pt x="542" y="110"/>
                  </a:lnTo>
                  <a:lnTo>
                    <a:pt x="542" y="112"/>
                  </a:lnTo>
                  <a:lnTo>
                    <a:pt x="543" y="114"/>
                  </a:lnTo>
                  <a:lnTo>
                    <a:pt x="545" y="114"/>
                  </a:lnTo>
                  <a:lnTo>
                    <a:pt x="547" y="115"/>
                  </a:lnTo>
                  <a:lnTo>
                    <a:pt x="548" y="117"/>
                  </a:lnTo>
                  <a:lnTo>
                    <a:pt x="550" y="115"/>
                  </a:lnTo>
                  <a:lnTo>
                    <a:pt x="551" y="115"/>
                  </a:lnTo>
                  <a:lnTo>
                    <a:pt x="553" y="115"/>
                  </a:lnTo>
                  <a:lnTo>
                    <a:pt x="555" y="112"/>
                  </a:lnTo>
                  <a:lnTo>
                    <a:pt x="556" y="112"/>
                  </a:lnTo>
                  <a:lnTo>
                    <a:pt x="556" y="115"/>
                  </a:lnTo>
                  <a:lnTo>
                    <a:pt x="558" y="115"/>
                  </a:lnTo>
                  <a:lnTo>
                    <a:pt x="561" y="115"/>
                  </a:lnTo>
                  <a:lnTo>
                    <a:pt x="563" y="115"/>
                  </a:lnTo>
                  <a:lnTo>
                    <a:pt x="564" y="117"/>
                  </a:lnTo>
                  <a:lnTo>
                    <a:pt x="564" y="118"/>
                  </a:lnTo>
                  <a:lnTo>
                    <a:pt x="563" y="120"/>
                  </a:lnTo>
                  <a:lnTo>
                    <a:pt x="560" y="122"/>
                  </a:lnTo>
                  <a:lnTo>
                    <a:pt x="558" y="122"/>
                  </a:lnTo>
                  <a:lnTo>
                    <a:pt x="556" y="120"/>
                  </a:lnTo>
                  <a:lnTo>
                    <a:pt x="555" y="120"/>
                  </a:lnTo>
                  <a:lnTo>
                    <a:pt x="555" y="122"/>
                  </a:lnTo>
                  <a:lnTo>
                    <a:pt x="553" y="123"/>
                  </a:lnTo>
                  <a:lnTo>
                    <a:pt x="555" y="127"/>
                  </a:lnTo>
                  <a:lnTo>
                    <a:pt x="553" y="127"/>
                  </a:lnTo>
                  <a:lnTo>
                    <a:pt x="555" y="128"/>
                  </a:lnTo>
                  <a:lnTo>
                    <a:pt x="558" y="130"/>
                  </a:lnTo>
                  <a:lnTo>
                    <a:pt x="558" y="131"/>
                  </a:lnTo>
                  <a:lnTo>
                    <a:pt x="560" y="133"/>
                  </a:lnTo>
                  <a:lnTo>
                    <a:pt x="558" y="133"/>
                  </a:lnTo>
                  <a:lnTo>
                    <a:pt x="558" y="135"/>
                  </a:lnTo>
                  <a:lnTo>
                    <a:pt x="555" y="135"/>
                  </a:lnTo>
                  <a:lnTo>
                    <a:pt x="553" y="135"/>
                  </a:lnTo>
                  <a:lnTo>
                    <a:pt x="553" y="136"/>
                  </a:lnTo>
                  <a:lnTo>
                    <a:pt x="553" y="138"/>
                  </a:lnTo>
                  <a:lnTo>
                    <a:pt x="555" y="140"/>
                  </a:lnTo>
                  <a:lnTo>
                    <a:pt x="556" y="141"/>
                  </a:lnTo>
                  <a:lnTo>
                    <a:pt x="558" y="141"/>
                  </a:lnTo>
                  <a:lnTo>
                    <a:pt x="560" y="143"/>
                  </a:lnTo>
                  <a:lnTo>
                    <a:pt x="561" y="141"/>
                  </a:lnTo>
                  <a:lnTo>
                    <a:pt x="564" y="141"/>
                  </a:lnTo>
                  <a:lnTo>
                    <a:pt x="566" y="143"/>
                  </a:lnTo>
                  <a:lnTo>
                    <a:pt x="568" y="143"/>
                  </a:lnTo>
                  <a:lnTo>
                    <a:pt x="568" y="146"/>
                  </a:lnTo>
                  <a:lnTo>
                    <a:pt x="568" y="148"/>
                  </a:lnTo>
                  <a:lnTo>
                    <a:pt x="569" y="148"/>
                  </a:lnTo>
                  <a:lnTo>
                    <a:pt x="571" y="149"/>
                  </a:lnTo>
                  <a:lnTo>
                    <a:pt x="574" y="149"/>
                  </a:lnTo>
                  <a:lnTo>
                    <a:pt x="577" y="151"/>
                  </a:lnTo>
                  <a:lnTo>
                    <a:pt x="579" y="151"/>
                  </a:lnTo>
                  <a:lnTo>
                    <a:pt x="584" y="154"/>
                  </a:lnTo>
                  <a:lnTo>
                    <a:pt x="586" y="154"/>
                  </a:lnTo>
                  <a:lnTo>
                    <a:pt x="594" y="154"/>
                  </a:lnTo>
                  <a:lnTo>
                    <a:pt x="599" y="154"/>
                  </a:lnTo>
                  <a:lnTo>
                    <a:pt x="600" y="153"/>
                  </a:lnTo>
                  <a:lnTo>
                    <a:pt x="602" y="154"/>
                  </a:lnTo>
                  <a:lnTo>
                    <a:pt x="602" y="156"/>
                  </a:lnTo>
                  <a:lnTo>
                    <a:pt x="602" y="159"/>
                  </a:lnTo>
                  <a:lnTo>
                    <a:pt x="600" y="161"/>
                  </a:lnTo>
                  <a:lnTo>
                    <a:pt x="599" y="162"/>
                  </a:lnTo>
                  <a:lnTo>
                    <a:pt x="599" y="164"/>
                  </a:lnTo>
                  <a:lnTo>
                    <a:pt x="595" y="164"/>
                  </a:lnTo>
                  <a:lnTo>
                    <a:pt x="592" y="166"/>
                  </a:lnTo>
                  <a:lnTo>
                    <a:pt x="590" y="166"/>
                  </a:lnTo>
                  <a:lnTo>
                    <a:pt x="587" y="167"/>
                  </a:lnTo>
                  <a:lnTo>
                    <a:pt x="586" y="169"/>
                  </a:lnTo>
                  <a:lnTo>
                    <a:pt x="582" y="169"/>
                  </a:lnTo>
                  <a:lnTo>
                    <a:pt x="573" y="174"/>
                  </a:lnTo>
                  <a:lnTo>
                    <a:pt x="571" y="179"/>
                  </a:lnTo>
                  <a:lnTo>
                    <a:pt x="573" y="182"/>
                  </a:lnTo>
                  <a:lnTo>
                    <a:pt x="573" y="183"/>
                  </a:lnTo>
                  <a:lnTo>
                    <a:pt x="571" y="185"/>
                  </a:lnTo>
                  <a:lnTo>
                    <a:pt x="573" y="185"/>
                  </a:lnTo>
                  <a:lnTo>
                    <a:pt x="573" y="187"/>
                  </a:lnTo>
                  <a:lnTo>
                    <a:pt x="573" y="188"/>
                  </a:lnTo>
                  <a:lnTo>
                    <a:pt x="573" y="190"/>
                  </a:lnTo>
                  <a:lnTo>
                    <a:pt x="571" y="190"/>
                  </a:lnTo>
                  <a:lnTo>
                    <a:pt x="571" y="192"/>
                  </a:lnTo>
                  <a:lnTo>
                    <a:pt x="569" y="192"/>
                  </a:lnTo>
                  <a:lnTo>
                    <a:pt x="568" y="193"/>
                  </a:lnTo>
                  <a:lnTo>
                    <a:pt x="569" y="195"/>
                  </a:lnTo>
                  <a:lnTo>
                    <a:pt x="571" y="195"/>
                  </a:lnTo>
                  <a:lnTo>
                    <a:pt x="571" y="193"/>
                  </a:lnTo>
                  <a:lnTo>
                    <a:pt x="573" y="195"/>
                  </a:lnTo>
                  <a:lnTo>
                    <a:pt x="574" y="195"/>
                  </a:lnTo>
                  <a:lnTo>
                    <a:pt x="574" y="193"/>
                  </a:lnTo>
                  <a:lnTo>
                    <a:pt x="576" y="193"/>
                  </a:lnTo>
                  <a:lnTo>
                    <a:pt x="576" y="192"/>
                  </a:lnTo>
                  <a:lnTo>
                    <a:pt x="577" y="193"/>
                  </a:lnTo>
                  <a:lnTo>
                    <a:pt x="577" y="195"/>
                  </a:lnTo>
                  <a:lnTo>
                    <a:pt x="579" y="195"/>
                  </a:lnTo>
                  <a:lnTo>
                    <a:pt x="579" y="196"/>
                  </a:lnTo>
                  <a:lnTo>
                    <a:pt x="577" y="198"/>
                  </a:lnTo>
                  <a:lnTo>
                    <a:pt x="576" y="198"/>
                  </a:lnTo>
                  <a:lnTo>
                    <a:pt x="576" y="200"/>
                  </a:lnTo>
                  <a:lnTo>
                    <a:pt x="573" y="201"/>
                  </a:lnTo>
                  <a:lnTo>
                    <a:pt x="573" y="203"/>
                  </a:lnTo>
                  <a:lnTo>
                    <a:pt x="571" y="205"/>
                  </a:lnTo>
                  <a:lnTo>
                    <a:pt x="569" y="203"/>
                  </a:lnTo>
                  <a:lnTo>
                    <a:pt x="568" y="201"/>
                  </a:lnTo>
                  <a:lnTo>
                    <a:pt x="566" y="201"/>
                  </a:lnTo>
                  <a:lnTo>
                    <a:pt x="564" y="203"/>
                  </a:lnTo>
                  <a:lnTo>
                    <a:pt x="563" y="203"/>
                  </a:lnTo>
                  <a:lnTo>
                    <a:pt x="563" y="205"/>
                  </a:lnTo>
                  <a:lnTo>
                    <a:pt x="563" y="206"/>
                  </a:lnTo>
                  <a:lnTo>
                    <a:pt x="564" y="208"/>
                  </a:lnTo>
                  <a:lnTo>
                    <a:pt x="566" y="210"/>
                  </a:lnTo>
                  <a:lnTo>
                    <a:pt x="566" y="211"/>
                  </a:lnTo>
                  <a:lnTo>
                    <a:pt x="568" y="211"/>
                  </a:lnTo>
                  <a:lnTo>
                    <a:pt x="566" y="211"/>
                  </a:lnTo>
                  <a:lnTo>
                    <a:pt x="564" y="211"/>
                  </a:lnTo>
                  <a:lnTo>
                    <a:pt x="563" y="213"/>
                  </a:lnTo>
                  <a:lnTo>
                    <a:pt x="558" y="213"/>
                  </a:lnTo>
                  <a:lnTo>
                    <a:pt x="555" y="213"/>
                  </a:lnTo>
                  <a:lnTo>
                    <a:pt x="551" y="214"/>
                  </a:lnTo>
                  <a:lnTo>
                    <a:pt x="550" y="214"/>
                  </a:lnTo>
                  <a:lnTo>
                    <a:pt x="548" y="213"/>
                  </a:lnTo>
                  <a:lnTo>
                    <a:pt x="547" y="211"/>
                  </a:lnTo>
                  <a:lnTo>
                    <a:pt x="543" y="210"/>
                  </a:lnTo>
                  <a:lnTo>
                    <a:pt x="542" y="208"/>
                  </a:lnTo>
                  <a:lnTo>
                    <a:pt x="540" y="208"/>
                  </a:lnTo>
                  <a:lnTo>
                    <a:pt x="540" y="206"/>
                  </a:lnTo>
                  <a:lnTo>
                    <a:pt x="540" y="205"/>
                  </a:lnTo>
                  <a:lnTo>
                    <a:pt x="538" y="205"/>
                  </a:lnTo>
                  <a:lnTo>
                    <a:pt x="538" y="203"/>
                  </a:lnTo>
                  <a:lnTo>
                    <a:pt x="540" y="201"/>
                  </a:lnTo>
                  <a:lnTo>
                    <a:pt x="540" y="203"/>
                  </a:lnTo>
                  <a:lnTo>
                    <a:pt x="542" y="203"/>
                  </a:lnTo>
                  <a:lnTo>
                    <a:pt x="543" y="203"/>
                  </a:lnTo>
                  <a:lnTo>
                    <a:pt x="543" y="201"/>
                  </a:lnTo>
                  <a:lnTo>
                    <a:pt x="542" y="201"/>
                  </a:lnTo>
                  <a:lnTo>
                    <a:pt x="542" y="200"/>
                  </a:lnTo>
                  <a:lnTo>
                    <a:pt x="542" y="198"/>
                  </a:lnTo>
                  <a:lnTo>
                    <a:pt x="542" y="196"/>
                  </a:lnTo>
                  <a:lnTo>
                    <a:pt x="542" y="195"/>
                  </a:lnTo>
                  <a:lnTo>
                    <a:pt x="538" y="195"/>
                  </a:lnTo>
                  <a:lnTo>
                    <a:pt x="537" y="195"/>
                  </a:lnTo>
                  <a:lnTo>
                    <a:pt x="535" y="195"/>
                  </a:lnTo>
                  <a:lnTo>
                    <a:pt x="535" y="193"/>
                  </a:lnTo>
                  <a:lnTo>
                    <a:pt x="535" y="192"/>
                  </a:lnTo>
                  <a:lnTo>
                    <a:pt x="534" y="192"/>
                  </a:lnTo>
                  <a:lnTo>
                    <a:pt x="534" y="190"/>
                  </a:lnTo>
                  <a:lnTo>
                    <a:pt x="532" y="190"/>
                  </a:lnTo>
                  <a:lnTo>
                    <a:pt x="530" y="190"/>
                  </a:lnTo>
                  <a:lnTo>
                    <a:pt x="529" y="187"/>
                  </a:lnTo>
                  <a:lnTo>
                    <a:pt x="529" y="185"/>
                  </a:lnTo>
                  <a:lnTo>
                    <a:pt x="530" y="185"/>
                  </a:lnTo>
                  <a:lnTo>
                    <a:pt x="530" y="183"/>
                  </a:lnTo>
                  <a:lnTo>
                    <a:pt x="529" y="182"/>
                  </a:lnTo>
                  <a:lnTo>
                    <a:pt x="527" y="182"/>
                  </a:lnTo>
                  <a:lnTo>
                    <a:pt x="527" y="183"/>
                  </a:lnTo>
                  <a:lnTo>
                    <a:pt x="525" y="183"/>
                  </a:lnTo>
                  <a:lnTo>
                    <a:pt x="527" y="185"/>
                  </a:lnTo>
                  <a:lnTo>
                    <a:pt x="527" y="187"/>
                  </a:lnTo>
                  <a:lnTo>
                    <a:pt x="525" y="187"/>
                  </a:lnTo>
                  <a:lnTo>
                    <a:pt x="522" y="187"/>
                  </a:lnTo>
                  <a:lnTo>
                    <a:pt x="522" y="185"/>
                  </a:lnTo>
                  <a:lnTo>
                    <a:pt x="524" y="185"/>
                  </a:lnTo>
                  <a:lnTo>
                    <a:pt x="524" y="183"/>
                  </a:lnTo>
                  <a:lnTo>
                    <a:pt x="524" y="182"/>
                  </a:lnTo>
                  <a:lnTo>
                    <a:pt x="522" y="182"/>
                  </a:lnTo>
                  <a:lnTo>
                    <a:pt x="522" y="183"/>
                  </a:lnTo>
                  <a:lnTo>
                    <a:pt x="522" y="185"/>
                  </a:lnTo>
                  <a:lnTo>
                    <a:pt x="521" y="185"/>
                  </a:lnTo>
                  <a:lnTo>
                    <a:pt x="519" y="183"/>
                  </a:lnTo>
                  <a:lnTo>
                    <a:pt x="517" y="183"/>
                  </a:lnTo>
                  <a:lnTo>
                    <a:pt x="519" y="185"/>
                  </a:lnTo>
                  <a:lnTo>
                    <a:pt x="519" y="187"/>
                  </a:lnTo>
                  <a:lnTo>
                    <a:pt x="517" y="187"/>
                  </a:lnTo>
                  <a:lnTo>
                    <a:pt x="517" y="185"/>
                  </a:lnTo>
                  <a:lnTo>
                    <a:pt x="516" y="183"/>
                  </a:lnTo>
                  <a:lnTo>
                    <a:pt x="514" y="183"/>
                  </a:lnTo>
                  <a:lnTo>
                    <a:pt x="514" y="185"/>
                  </a:lnTo>
                  <a:lnTo>
                    <a:pt x="516" y="185"/>
                  </a:lnTo>
                  <a:lnTo>
                    <a:pt x="516" y="187"/>
                  </a:lnTo>
                  <a:lnTo>
                    <a:pt x="514" y="188"/>
                  </a:lnTo>
                  <a:lnTo>
                    <a:pt x="516" y="190"/>
                  </a:lnTo>
                  <a:lnTo>
                    <a:pt x="514" y="190"/>
                  </a:lnTo>
                  <a:lnTo>
                    <a:pt x="514" y="188"/>
                  </a:lnTo>
                  <a:lnTo>
                    <a:pt x="512" y="188"/>
                  </a:lnTo>
                  <a:lnTo>
                    <a:pt x="511" y="188"/>
                  </a:lnTo>
                  <a:lnTo>
                    <a:pt x="509" y="188"/>
                  </a:lnTo>
                  <a:lnTo>
                    <a:pt x="508" y="188"/>
                  </a:lnTo>
                  <a:lnTo>
                    <a:pt x="508" y="187"/>
                  </a:lnTo>
                  <a:lnTo>
                    <a:pt x="506" y="187"/>
                  </a:lnTo>
                  <a:lnTo>
                    <a:pt x="504" y="185"/>
                  </a:lnTo>
                  <a:lnTo>
                    <a:pt x="504" y="183"/>
                  </a:lnTo>
                  <a:lnTo>
                    <a:pt x="503" y="183"/>
                  </a:lnTo>
                  <a:lnTo>
                    <a:pt x="501" y="183"/>
                  </a:lnTo>
                  <a:lnTo>
                    <a:pt x="493" y="185"/>
                  </a:lnTo>
                  <a:lnTo>
                    <a:pt x="491" y="185"/>
                  </a:lnTo>
                  <a:lnTo>
                    <a:pt x="491" y="183"/>
                  </a:lnTo>
                  <a:lnTo>
                    <a:pt x="488" y="183"/>
                  </a:lnTo>
                  <a:lnTo>
                    <a:pt x="488" y="182"/>
                  </a:lnTo>
                  <a:lnTo>
                    <a:pt x="486" y="180"/>
                  </a:lnTo>
                  <a:lnTo>
                    <a:pt x="485" y="180"/>
                  </a:lnTo>
                  <a:lnTo>
                    <a:pt x="483" y="182"/>
                  </a:lnTo>
                  <a:lnTo>
                    <a:pt x="482" y="182"/>
                  </a:lnTo>
                  <a:lnTo>
                    <a:pt x="482" y="183"/>
                  </a:lnTo>
                  <a:lnTo>
                    <a:pt x="480" y="183"/>
                  </a:lnTo>
                  <a:lnTo>
                    <a:pt x="482" y="185"/>
                  </a:lnTo>
                  <a:lnTo>
                    <a:pt x="482" y="187"/>
                  </a:lnTo>
                  <a:lnTo>
                    <a:pt x="483" y="187"/>
                  </a:lnTo>
                  <a:lnTo>
                    <a:pt x="482" y="187"/>
                  </a:lnTo>
                  <a:lnTo>
                    <a:pt x="480" y="190"/>
                  </a:lnTo>
                  <a:lnTo>
                    <a:pt x="478" y="190"/>
                  </a:lnTo>
                  <a:lnTo>
                    <a:pt x="477" y="190"/>
                  </a:lnTo>
                  <a:lnTo>
                    <a:pt x="475" y="188"/>
                  </a:lnTo>
                  <a:lnTo>
                    <a:pt x="473" y="190"/>
                  </a:lnTo>
                  <a:lnTo>
                    <a:pt x="472" y="190"/>
                  </a:lnTo>
                  <a:lnTo>
                    <a:pt x="470" y="190"/>
                  </a:lnTo>
                  <a:lnTo>
                    <a:pt x="470" y="188"/>
                  </a:lnTo>
                  <a:lnTo>
                    <a:pt x="467" y="187"/>
                  </a:lnTo>
                  <a:lnTo>
                    <a:pt x="469" y="185"/>
                  </a:lnTo>
                  <a:lnTo>
                    <a:pt x="467" y="183"/>
                  </a:lnTo>
                  <a:lnTo>
                    <a:pt x="467" y="182"/>
                  </a:lnTo>
                  <a:lnTo>
                    <a:pt x="465" y="182"/>
                  </a:lnTo>
                  <a:lnTo>
                    <a:pt x="464" y="182"/>
                  </a:lnTo>
                  <a:lnTo>
                    <a:pt x="464" y="183"/>
                  </a:lnTo>
                  <a:lnTo>
                    <a:pt x="464" y="185"/>
                  </a:lnTo>
                  <a:lnTo>
                    <a:pt x="462" y="183"/>
                  </a:lnTo>
                  <a:lnTo>
                    <a:pt x="462" y="182"/>
                  </a:lnTo>
                  <a:lnTo>
                    <a:pt x="460" y="182"/>
                  </a:lnTo>
                  <a:lnTo>
                    <a:pt x="459" y="182"/>
                  </a:lnTo>
                  <a:lnTo>
                    <a:pt x="457" y="183"/>
                  </a:lnTo>
                  <a:lnTo>
                    <a:pt x="457" y="185"/>
                  </a:lnTo>
                  <a:lnTo>
                    <a:pt x="457" y="187"/>
                  </a:lnTo>
                  <a:lnTo>
                    <a:pt x="456" y="187"/>
                  </a:lnTo>
                  <a:lnTo>
                    <a:pt x="454" y="187"/>
                  </a:lnTo>
                  <a:lnTo>
                    <a:pt x="454" y="188"/>
                  </a:lnTo>
                  <a:lnTo>
                    <a:pt x="452" y="188"/>
                  </a:lnTo>
                  <a:lnTo>
                    <a:pt x="452" y="190"/>
                  </a:lnTo>
                  <a:lnTo>
                    <a:pt x="454" y="192"/>
                  </a:lnTo>
                  <a:lnTo>
                    <a:pt x="452" y="193"/>
                  </a:lnTo>
                  <a:lnTo>
                    <a:pt x="451" y="195"/>
                  </a:lnTo>
                  <a:lnTo>
                    <a:pt x="447" y="198"/>
                  </a:lnTo>
                  <a:lnTo>
                    <a:pt x="446" y="198"/>
                  </a:lnTo>
                  <a:lnTo>
                    <a:pt x="444" y="198"/>
                  </a:lnTo>
                  <a:lnTo>
                    <a:pt x="441" y="196"/>
                  </a:lnTo>
                  <a:lnTo>
                    <a:pt x="439" y="195"/>
                  </a:lnTo>
                  <a:lnTo>
                    <a:pt x="439" y="193"/>
                  </a:lnTo>
                  <a:lnTo>
                    <a:pt x="438" y="193"/>
                  </a:lnTo>
                  <a:lnTo>
                    <a:pt x="436" y="193"/>
                  </a:lnTo>
                  <a:lnTo>
                    <a:pt x="433" y="192"/>
                  </a:lnTo>
                  <a:lnTo>
                    <a:pt x="431" y="190"/>
                  </a:lnTo>
                  <a:lnTo>
                    <a:pt x="429" y="190"/>
                  </a:lnTo>
                  <a:lnTo>
                    <a:pt x="428" y="190"/>
                  </a:lnTo>
                  <a:lnTo>
                    <a:pt x="428" y="188"/>
                  </a:lnTo>
                  <a:lnTo>
                    <a:pt x="426" y="187"/>
                  </a:lnTo>
                  <a:lnTo>
                    <a:pt x="425" y="187"/>
                  </a:lnTo>
                  <a:lnTo>
                    <a:pt x="423" y="188"/>
                  </a:lnTo>
                  <a:lnTo>
                    <a:pt x="423" y="190"/>
                  </a:lnTo>
                  <a:lnTo>
                    <a:pt x="421" y="190"/>
                  </a:lnTo>
                  <a:lnTo>
                    <a:pt x="420" y="192"/>
                  </a:lnTo>
                  <a:lnTo>
                    <a:pt x="418" y="192"/>
                  </a:lnTo>
                  <a:lnTo>
                    <a:pt x="416" y="190"/>
                  </a:lnTo>
                  <a:lnTo>
                    <a:pt x="416" y="192"/>
                  </a:lnTo>
                  <a:lnTo>
                    <a:pt x="415" y="192"/>
                  </a:lnTo>
                  <a:lnTo>
                    <a:pt x="415" y="190"/>
                  </a:lnTo>
                  <a:lnTo>
                    <a:pt x="413" y="188"/>
                  </a:lnTo>
                  <a:lnTo>
                    <a:pt x="413" y="190"/>
                  </a:lnTo>
                  <a:lnTo>
                    <a:pt x="413" y="192"/>
                  </a:lnTo>
                  <a:lnTo>
                    <a:pt x="410" y="193"/>
                  </a:lnTo>
                  <a:lnTo>
                    <a:pt x="410" y="192"/>
                  </a:lnTo>
                  <a:lnTo>
                    <a:pt x="408" y="193"/>
                  </a:lnTo>
                  <a:lnTo>
                    <a:pt x="407" y="193"/>
                  </a:lnTo>
                  <a:lnTo>
                    <a:pt x="407" y="192"/>
                  </a:lnTo>
                  <a:lnTo>
                    <a:pt x="408" y="190"/>
                  </a:lnTo>
                  <a:lnTo>
                    <a:pt x="408" y="188"/>
                  </a:lnTo>
                  <a:lnTo>
                    <a:pt x="407" y="190"/>
                  </a:lnTo>
                  <a:lnTo>
                    <a:pt x="405" y="190"/>
                  </a:lnTo>
                  <a:lnTo>
                    <a:pt x="403" y="190"/>
                  </a:lnTo>
                  <a:lnTo>
                    <a:pt x="405" y="188"/>
                  </a:lnTo>
                  <a:lnTo>
                    <a:pt x="403" y="187"/>
                  </a:lnTo>
                  <a:lnTo>
                    <a:pt x="403" y="185"/>
                  </a:lnTo>
                  <a:lnTo>
                    <a:pt x="402" y="187"/>
                  </a:lnTo>
                  <a:lnTo>
                    <a:pt x="402" y="188"/>
                  </a:lnTo>
                  <a:lnTo>
                    <a:pt x="400" y="190"/>
                  </a:lnTo>
                  <a:lnTo>
                    <a:pt x="399" y="190"/>
                  </a:lnTo>
                  <a:lnTo>
                    <a:pt x="397" y="190"/>
                  </a:lnTo>
                  <a:lnTo>
                    <a:pt x="394" y="190"/>
                  </a:lnTo>
                  <a:lnTo>
                    <a:pt x="392" y="188"/>
                  </a:lnTo>
                  <a:lnTo>
                    <a:pt x="392" y="187"/>
                  </a:lnTo>
                  <a:lnTo>
                    <a:pt x="390" y="187"/>
                  </a:lnTo>
                  <a:lnTo>
                    <a:pt x="389" y="187"/>
                  </a:lnTo>
                  <a:lnTo>
                    <a:pt x="389" y="185"/>
                  </a:lnTo>
                  <a:lnTo>
                    <a:pt x="387" y="185"/>
                  </a:lnTo>
                  <a:lnTo>
                    <a:pt x="386" y="185"/>
                  </a:lnTo>
                  <a:lnTo>
                    <a:pt x="386" y="183"/>
                  </a:lnTo>
                  <a:lnTo>
                    <a:pt x="384" y="187"/>
                  </a:lnTo>
                  <a:lnTo>
                    <a:pt x="384" y="188"/>
                  </a:lnTo>
                  <a:lnTo>
                    <a:pt x="384" y="190"/>
                  </a:lnTo>
                  <a:lnTo>
                    <a:pt x="382" y="190"/>
                  </a:lnTo>
                  <a:lnTo>
                    <a:pt x="381" y="190"/>
                  </a:lnTo>
                  <a:lnTo>
                    <a:pt x="379" y="190"/>
                  </a:lnTo>
                  <a:lnTo>
                    <a:pt x="377" y="190"/>
                  </a:lnTo>
                  <a:lnTo>
                    <a:pt x="376" y="190"/>
                  </a:lnTo>
                  <a:lnTo>
                    <a:pt x="373" y="188"/>
                  </a:lnTo>
                  <a:lnTo>
                    <a:pt x="371" y="188"/>
                  </a:lnTo>
                  <a:lnTo>
                    <a:pt x="369" y="187"/>
                  </a:lnTo>
                  <a:lnTo>
                    <a:pt x="368" y="187"/>
                  </a:lnTo>
                  <a:lnTo>
                    <a:pt x="366" y="185"/>
                  </a:lnTo>
                  <a:lnTo>
                    <a:pt x="364" y="185"/>
                  </a:lnTo>
                  <a:lnTo>
                    <a:pt x="364" y="183"/>
                  </a:lnTo>
                  <a:lnTo>
                    <a:pt x="363" y="183"/>
                  </a:lnTo>
                  <a:lnTo>
                    <a:pt x="361" y="183"/>
                  </a:lnTo>
                  <a:lnTo>
                    <a:pt x="361" y="180"/>
                  </a:lnTo>
                  <a:lnTo>
                    <a:pt x="361" y="182"/>
                  </a:lnTo>
                  <a:lnTo>
                    <a:pt x="360" y="182"/>
                  </a:lnTo>
                  <a:lnTo>
                    <a:pt x="358" y="182"/>
                  </a:lnTo>
                  <a:lnTo>
                    <a:pt x="358" y="180"/>
                  </a:lnTo>
                  <a:lnTo>
                    <a:pt x="360" y="179"/>
                  </a:lnTo>
                  <a:lnTo>
                    <a:pt x="358" y="179"/>
                  </a:lnTo>
                  <a:lnTo>
                    <a:pt x="358" y="180"/>
                  </a:lnTo>
                  <a:lnTo>
                    <a:pt x="358" y="182"/>
                  </a:lnTo>
                  <a:lnTo>
                    <a:pt x="356" y="182"/>
                  </a:lnTo>
                  <a:lnTo>
                    <a:pt x="355" y="180"/>
                  </a:lnTo>
                  <a:lnTo>
                    <a:pt x="356" y="179"/>
                  </a:lnTo>
                  <a:lnTo>
                    <a:pt x="355" y="179"/>
                  </a:lnTo>
                  <a:lnTo>
                    <a:pt x="355" y="177"/>
                  </a:lnTo>
                  <a:lnTo>
                    <a:pt x="353" y="177"/>
                  </a:lnTo>
                  <a:lnTo>
                    <a:pt x="353" y="179"/>
                  </a:lnTo>
                  <a:lnTo>
                    <a:pt x="355" y="179"/>
                  </a:lnTo>
                  <a:lnTo>
                    <a:pt x="355" y="180"/>
                  </a:lnTo>
                  <a:lnTo>
                    <a:pt x="353" y="180"/>
                  </a:lnTo>
                  <a:lnTo>
                    <a:pt x="351" y="180"/>
                  </a:lnTo>
                  <a:lnTo>
                    <a:pt x="351" y="182"/>
                  </a:lnTo>
                  <a:lnTo>
                    <a:pt x="351" y="180"/>
                  </a:lnTo>
                  <a:lnTo>
                    <a:pt x="350" y="180"/>
                  </a:lnTo>
                  <a:lnTo>
                    <a:pt x="351" y="179"/>
                  </a:lnTo>
                  <a:lnTo>
                    <a:pt x="353" y="177"/>
                  </a:lnTo>
                  <a:lnTo>
                    <a:pt x="351" y="177"/>
                  </a:lnTo>
                  <a:lnTo>
                    <a:pt x="351" y="175"/>
                  </a:lnTo>
                  <a:lnTo>
                    <a:pt x="350" y="174"/>
                  </a:lnTo>
                  <a:lnTo>
                    <a:pt x="348" y="175"/>
                  </a:lnTo>
                  <a:lnTo>
                    <a:pt x="348" y="177"/>
                  </a:lnTo>
                  <a:lnTo>
                    <a:pt x="348" y="179"/>
                  </a:lnTo>
                  <a:lnTo>
                    <a:pt x="347" y="179"/>
                  </a:lnTo>
                  <a:lnTo>
                    <a:pt x="345" y="180"/>
                  </a:lnTo>
                  <a:lnTo>
                    <a:pt x="345" y="182"/>
                  </a:lnTo>
                  <a:lnTo>
                    <a:pt x="345" y="180"/>
                  </a:lnTo>
                  <a:lnTo>
                    <a:pt x="343" y="180"/>
                  </a:lnTo>
                  <a:lnTo>
                    <a:pt x="343" y="182"/>
                  </a:lnTo>
                  <a:lnTo>
                    <a:pt x="342" y="182"/>
                  </a:lnTo>
                  <a:lnTo>
                    <a:pt x="342" y="183"/>
                  </a:lnTo>
                  <a:lnTo>
                    <a:pt x="340" y="183"/>
                  </a:lnTo>
                  <a:lnTo>
                    <a:pt x="342" y="185"/>
                  </a:lnTo>
                  <a:lnTo>
                    <a:pt x="342" y="187"/>
                  </a:lnTo>
                  <a:lnTo>
                    <a:pt x="340" y="188"/>
                  </a:lnTo>
                  <a:lnTo>
                    <a:pt x="338" y="188"/>
                  </a:lnTo>
                  <a:lnTo>
                    <a:pt x="337" y="188"/>
                  </a:lnTo>
                  <a:lnTo>
                    <a:pt x="335" y="188"/>
                  </a:lnTo>
                  <a:lnTo>
                    <a:pt x="334" y="187"/>
                  </a:lnTo>
                  <a:lnTo>
                    <a:pt x="332" y="187"/>
                  </a:lnTo>
                  <a:lnTo>
                    <a:pt x="330" y="187"/>
                  </a:lnTo>
                  <a:lnTo>
                    <a:pt x="329" y="187"/>
                  </a:lnTo>
                  <a:lnTo>
                    <a:pt x="327" y="188"/>
                  </a:lnTo>
                  <a:lnTo>
                    <a:pt x="325" y="187"/>
                  </a:lnTo>
                  <a:lnTo>
                    <a:pt x="324" y="187"/>
                  </a:lnTo>
                  <a:lnTo>
                    <a:pt x="322" y="187"/>
                  </a:lnTo>
                  <a:lnTo>
                    <a:pt x="321" y="187"/>
                  </a:lnTo>
                  <a:lnTo>
                    <a:pt x="319" y="185"/>
                  </a:lnTo>
                  <a:lnTo>
                    <a:pt x="317" y="183"/>
                  </a:lnTo>
                  <a:lnTo>
                    <a:pt x="316" y="185"/>
                  </a:lnTo>
                  <a:lnTo>
                    <a:pt x="312" y="185"/>
                  </a:lnTo>
                  <a:lnTo>
                    <a:pt x="311" y="185"/>
                  </a:lnTo>
                  <a:lnTo>
                    <a:pt x="308" y="187"/>
                  </a:lnTo>
                  <a:lnTo>
                    <a:pt x="306" y="187"/>
                  </a:lnTo>
                  <a:lnTo>
                    <a:pt x="306" y="188"/>
                  </a:lnTo>
                  <a:lnTo>
                    <a:pt x="306" y="190"/>
                  </a:lnTo>
                  <a:lnTo>
                    <a:pt x="304" y="192"/>
                  </a:lnTo>
                  <a:lnTo>
                    <a:pt x="306" y="195"/>
                  </a:lnTo>
                  <a:lnTo>
                    <a:pt x="304" y="198"/>
                  </a:lnTo>
                  <a:lnTo>
                    <a:pt x="303" y="200"/>
                  </a:lnTo>
                  <a:lnTo>
                    <a:pt x="301" y="200"/>
                  </a:lnTo>
                  <a:lnTo>
                    <a:pt x="299" y="201"/>
                  </a:lnTo>
                  <a:lnTo>
                    <a:pt x="298" y="201"/>
                  </a:lnTo>
                  <a:lnTo>
                    <a:pt x="298" y="203"/>
                  </a:lnTo>
                  <a:lnTo>
                    <a:pt x="298" y="205"/>
                  </a:lnTo>
                  <a:lnTo>
                    <a:pt x="299" y="205"/>
                  </a:lnTo>
                  <a:lnTo>
                    <a:pt x="299" y="206"/>
                  </a:lnTo>
                  <a:lnTo>
                    <a:pt x="298" y="206"/>
                  </a:lnTo>
                  <a:lnTo>
                    <a:pt x="298" y="208"/>
                  </a:lnTo>
                  <a:lnTo>
                    <a:pt x="298" y="210"/>
                  </a:lnTo>
                  <a:lnTo>
                    <a:pt x="298" y="211"/>
                  </a:lnTo>
                  <a:lnTo>
                    <a:pt x="296" y="211"/>
                  </a:lnTo>
                  <a:lnTo>
                    <a:pt x="296" y="213"/>
                  </a:lnTo>
                  <a:lnTo>
                    <a:pt x="294" y="213"/>
                  </a:lnTo>
                  <a:lnTo>
                    <a:pt x="294" y="214"/>
                  </a:lnTo>
                  <a:lnTo>
                    <a:pt x="294" y="216"/>
                  </a:lnTo>
                  <a:lnTo>
                    <a:pt x="294" y="218"/>
                  </a:lnTo>
                  <a:lnTo>
                    <a:pt x="294" y="219"/>
                  </a:lnTo>
                  <a:lnTo>
                    <a:pt x="293" y="219"/>
                  </a:lnTo>
                  <a:lnTo>
                    <a:pt x="291" y="219"/>
                  </a:lnTo>
                  <a:lnTo>
                    <a:pt x="290" y="219"/>
                  </a:lnTo>
                  <a:lnTo>
                    <a:pt x="288" y="219"/>
                  </a:lnTo>
                  <a:lnTo>
                    <a:pt x="288" y="221"/>
                  </a:lnTo>
                  <a:lnTo>
                    <a:pt x="286" y="221"/>
                  </a:lnTo>
                  <a:lnTo>
                    <a:pt x="283" y="218"/>
                  </a:lnTo>
                  <a:lnTo>
                    <a:pt x="281" y="216"/>
                  </a:lnTo>
                  <a:lnTo>
                    <a:pt x="280" y="216"/>
                  </a:lnTo>
                  <a:lnTo>
                    <a:pt x="278" y="216"/>
                  </a:lnTo>
                  <a:lnTo>
                    <a:pt x="278" y="214"/>
                  </a:lnTo>
                  <a:lnTo>
                    <a:pt x="277" y="213"/>
                  </a:lnTo>
                  <a:lnTo>
                    <a:pt x="275" y="210"/>
                  </a:lnTo>
                  <a:lnTo>
                    <a:pt x="272" y="210"/>
                  </a:lnTo>
                  <a:lnTo>
                    <a:pt x="270" y="208"/>
                  </a:lnTo>
                  <a:lnTo>
                    <a:pt x="268" y="208"/>
                  </a:lnTo>
                  <a:lnTo>
                    <a:pt x="267" y="206"/>
                  </a:lnTo>
                  <a:lnTo>
                    <a:pt x="264" y="201"/>
                  </a:lnTo>
                  <a:lnTo>
                    <a:pt x="262" y="198"/>
                  </a:lnTo>
                  <a:lnTo>
                    <a:pt x="260" y="196"/>
                  </a:lnTo>
                  <a:lnTo>
                    <a:pt x="259" y="196"/>
                  </a:lnTo>
                  <a:lnTo>
                    <a:pt x="257" y="196"/>
                  </a:lnTo>
                  <a:lnTo>
                    <a:pt x="255" y="193"/>
                  </a:lnTo>
                  <a:lnTo>
                    <a:pt x="254" y="192"/>
                  </a:lnTo>
                  <a:lnTo>
                    <a:pt x="252" y="193"/>
                  </a:lnTo>
                  <a:lnTo>
                    <a:pt x="251" y="193"/>
                  </a:lnTo>
                  <a:lnTo>
                    <a:pt x="249" y="193"/>
                  </a:lnTo>
                  <a:lnTo>
                    <a:pt x="247" y="193"/>
                  </a:lnTo>
                  <a:lnTo>
                    <a:pt x="247" y="192"/>
                  </a:lnTo>
                  <a:lnTo>
                    <a:pt x="247" y="190"/>
                  </a:lnTo>
                  <a:lnTo>
                    <a:pt x="246" y="192"/>
                  </a:lnTo>
                  <a:lnTo>
                    <a:pt x="244" y="192"/>
                  </a:lnTo>
                  <a:lnTo>
                    <a:pt x="242" y="192"/>
                  </a:lnTo>
                  <a:lnTo>
                    <a:pt x="241" y="192"/>
                  </a:lnTo>
                  <a:lnTo>
                    <a:pt x="239" y="192"/>
                  </a:lnTo>
                  <a:lnTo>
                    <a:pt x="239" y="193"/>
                  </a:lnTo>
                  <a:lnTo>
                    <a:pt x="239" y="195"/>
                  </a:lnTo>
                  <a:lnTo>
                    <a:pt x="236" y="195"/>
                  </a:lnTo>
                  <a:lnTo>
                    <a:pt x="236" y="196"/>
                  </a:lnTo>
                  <a:lnTo>
                    <a:pt x="236" y="198"/>
                  </a:lnTo>
                  <a:lnTo>
                    <a:pt x="236" y="200"/>
                  </a:lnTo>
                  <a:lnTo>
                    <a:pt x="236" y="208"/>
                  </a:lnTo>
                  <a:lnTo>
                    <a:pt x="234" y="210"/>
                  </a:lnTo>
                  <a:lnTo>
                    <a:pt x="234" y="213"/>
                  </a:lnTo>
                  <a:lnTo>
                    <a:pt x="234" y="214"/>
                  </a:lnTo>
                  <a:lnTo>
                    <a:pt x="233" y="214"/>
                  </a:lnTo>
                  <a:lnTo>
                    <a:pt x="233" y="216"/>
                  </a:lnTo>
                  <a:lnTo>
                    <a:pt x="234" y="226"/>
                  </a:lnTo>
                  <a:lnTo>
                    <a:pt x="234" y="227"/>
                  </a:lnTo>
                  <a:lnTo>
                    <a:pt x="233" y="229"/>
                  </a:lnTo>
                  <a:lnTo>
                    <a:pt x="233" y="231"/>
                  </a:lnTo>
                  <a:lnTo>
                    <a:pt x="233" y="234"/>
                  </a:lnTo>
                  <a:lnTo>
                    <a:pt x="234" y="239"/>
                  </a:lnTo>
                  <a:lnTo>
                    <a:pt x="236" y="242"/>
                  </a:lnTo>
                  <a:lnTo>
                    <a:pt x="239" y="245"/>
                  </a:lnTo>
                  <a:lnTo>
                    <a:pt x="241" y="247"/>
                  </a:lnTo>
                  <a:lnTo>
                    <a:pt x="242" y="249"/>
                  </a:lnTo>
                  <a:lnTo>
                    <a:pt x="244" y="250"/>
                  </a:lnTo>
                  <a:lnTo>
                    <a:pt x="247" y="253"/>
                  </a:lnTo>
                  <a:lnTo>
                    <a:pt x="251" y="257"/>
                  </a:lnTo>
                  <a:lnTo>
                    <a:pt x="252" y="260"/>
                  </a:lnTo>
                  <a:lnTo>
                    <a:pt x="254" y="262"/>
                  </a:lnTo>
                  <a:lnTo>
                    <a:pt x="254" y="263"/>
                  </a:lnTo>
                  <a:lnTo>
                    <a:pt x="255" y="263"/>
                  </a:lnTo>
                  <a:lnTo>
                    <a:pt x="257" y="263"/>
                  </a:lnTo>
                  <a:lnTo>
                    <a:pt x="257" y="265"/>
                  </a:lnTo>
                  <a:lnTo>
                    <a:pt x="259" y="266"/>
                  </a:lnTo>
                  <a:lnTo>
                    <a:pt x="259" y="268"/>
                  </a:lnTo>
                  <a:lnTo>
                    <a:pt x="260" y="270"/>
                  </a:lnTo>
                  <a:lnTo>
                    <a:pt x="265" y="276"/>
                  </a:lnTo>
                  <a:lnTo>
                    <a:pt x="268" y="286"/>
                  </a:lnTo>
                  <a:lnTo>
                    <a:pt x="270" y="286"/>
                  </a:lnTo>
                  <a:lnTo>
                    <a:pt x="272" y="288"/>
                  </a:lnTo>
                  <a:lnTo>
                    <a:pt x="277" y="289"/>
                  </a:lnTo>
                  <a:lnTo>
                    <a:pt x="278" y="292"/>
                  </a:lnTo>
                  <a:lnTo>
                    <a:pt x="278" y="294"/>
                  </a:lnTo>
                  <a:lnTo>
                    <a:pt x="280" y="294"/>
                  </a:lnTo>
                  <a:lnTo>
                    <a:pt x="278" y="296"/>
                  </a:lnTo>
                  <a:lnTo>
                    <a:pt x="278" y="297"/>
                  </a:lnTo>
                  <a:lnTo>
                    <a:pt x="278" y="299"/>
                  </a:lnTo>
                  <a:lnTo>
                    <a:pt x="280" y="299"/>
                  </a:lnTo>
                  <a:lnTo>
                    <a:pt x="280" y="301"/>
                  </a:lnTo>
                  <a:lnTo>
                    <a:pt x="280" y="302"/>
                  </a:lnTo>
                  <a:lnTo>
                    <a:pt x="280" y="304"/>
                  </a:lnTo>
                  <a:lnTo>
                    <a:pt x="281" y="307"/>
                  </a:lnTo>
                  <a:lnTo>
                    <a:pt x="283" y="309"/>
                  </a:lnTo>
                  <a:lnTo>
                    <a:pt x="285" y="309"/>
                  </a:lnTo>
                  <a:lnTo>
                    <a:pt x="286" y="310"/>
                  </a:lnTo>
                  <a:lnTo>
                    <a:pt x="288" y="312"/>
                  </a:lnTo>
                  <a:lnTo>
                    <a:pt x="288" y="314"/>
                  </a:lnTo>
                  <a:lnTo>
                    <a:pt x="286" y="315"/>
                  </a:lnTo>
                  <a:lnTo>
                    <a:pt x="286" y="318"/>
                  </a:lnTo>
                  <a:lnTo>
                    <a:pt x="285" y="318"/>
                  </a:lnTo>
                  <a:lnTo>
                    <a:pt x="285" y="320"/>
                  </a:lnTo>
                  <a:lnTo>
                    <a:pt x="285" y="323"/>
                  </a:lnTo>
                  <a:lnTo>
                    <a:pt x="285" y="325"/>
                  </a:lnTo>
                  <a:lnTo>
                    <a:pt x="286" y="327"/>
                  </a:lnTo>
                  <a:lnTo>
                    <a:pt x="288" y="328"/>
                  </a:lnTo>
                  <a:lnTo>
                    <a:pt x="290" y="330"/>
                  </a:lnTo>
                  <a:lnTo>
                    <a:pt x="291" y="333"/>
                  </a:lnTo>
                  <a:lnTo>
                    <a:pt x="293" y="333"/>
                  </a:lnTo>
                  <a:lnTo>
                    <a:pt x="296" y="335"/>
                  </a:lnTo>
                  <a:lnTo>
                    <a:pt x="299" y="340"/>
                  </a:lnTo>
                  <a:lnTo>
                    <a:pt x="301" y="341"/>
                  </a:lnTo>
                  <a:lnTo>
                    <a:pt x="301" y="343"/>
                  </a:lnTo>
                  <a:lnTo>
                    <a:pt x="303" y="344"/>
                  </a:lnTo>
                  <a:lnTo>
                    <a:pt x="303" y="346"/>
                  </a:lnTo>
                  <a:lnTo>
                    <a:pt x="308" y="348"/>
                  </a:lnTo>
                  <a:lnTo>
                    <a:pt x="308" y="349"/>
                  </a:lnTo>
                  <a:lnTo>
                    <a:pt x="309" y="349"/>
                  </a:lnTo>
                  <a:lnTo>
                    <a:pt x="312" y="349"/>
                  </a:lnTo>
                  <a:lnTo>
                    <a:pt x="312" y="351"/>
                  </a:lnTo>
                  <a:lnTo>
                    <a:pt x="316" y="358"/>
                  </a:lnTo>
                  <a:lnTo>
                    <a:pt x="317" y="358"/>
                  </a:lnTo>
                  <a:lnTo>
                    <a:pt x="319" y="358"/>
                  </a:lnTo>
                  <a:lnTo>
                    <a:pt x="321" y="358"/>
                  </a:lnTo>
                  <a:lnTo>
                    <a:pt x="322" y="358"/>
                  </a:lnTo>
                  <a:lnTo>
                    <a:pt x="324" y="359"/>
                  </a:lnTo>
                  <a:lnTo>
                    <a:pt x="324" y="361"/>
                  </a:lnTo>
                  <a:lnTo>
                    <a:pt x="325" y="362"/>
                  </a:lnTo>
                  <a:lnTo>
                    <a:pt x="327" y="364"/>
                  </a:lnTo>
                  <a:lnTo>
                    <a:pt x="327" y="366"/>
                  </a:lnTo>
                  <a:lnTo>
                    <a:pt x="332" y="367"/>
                  </a:lnTo>
                  <a:lnTo>
                    <a:pt x="335" y="371"/>
                  </a:lnTo>
                  <a:lnTo>
                    <a:pt x="337" y="372"/>
                  </a:lnTo>
                  <a:lnTo>
                    <a:pt x="338" y="374"/>
                  </a:lnTo>
                  <a:lnTo>
                    <a:pt x="338" y="375"/>
                  </a:lnTo>
                  <a:lnTo>
                    <a:pt x="340" y="375"/>
                  </a:lnTo>
                  <a:lnTo>
                    <a:pt x="342" y="377"/>
                  </a:lnTo>
                  <a:lnTo>
                    <a:pt x="345" y="379"/>
                  </a:lnTo>
                  <a:lnTo>
                    <a:pt x="347" y="380"/>
                  </a:lnTo>
                  <a:lnTo>
                    <a:pt x="347" y="384"/>
                  </a:lnTo>
                  <a:lnTo>
                    <a:pt x="347" y="385"/>
                  </a:lnTo>
                  <a:lnTo>
                    <a:pt x="350" y="388"/>
                  </a:lnTo>
                  <a:lnTo>
                    <a:pt x="350" y="390"/>
                  </a:lnTo>
                  <a:lnTo>
                    <a:pt x="361" y="398"/>
                  </a:lnTo>
                  <a:lnTo>
                    <a:pt x="397" y="427"/>
                  </a:lnTo>
                  <a:lnTo>
                    <a:pt x="399" y="427"/>
                  </a:lnTo>
                  <a:lnTo>
                    <a:pt x="400" y="427"/>
                  </a:lnTo>
                  <a:lnTo>
                    <a:pt x="407" y="427"/>
                  </a:lnTo>
                  <a:lnTo>
                    <a:pt x="408" y="427"/>
                  </a:lnTo>
                  <a:lnTo>
                    <a:pt x="408" y="429"/>
                  </a:lnTo>
                  <a:lnTo>
                    <a:pt x="408" y="437"/>
                  </a:lnTo>
                  <a:lnTo>
                    <a:pt x="410" y="440"/>
                  </a:lnTo>
                  <a:lnTo>
                    <a:pt x="410" y="444"/>
                  </a:lnTo>
                  <a:lnTo>
                    <a:pt x="412" y="445"/>
                  </a:lnTo>
                  <a:lnTo>
                    <a:pt x="413" y="447"/>
                  </a:lnTo>
                  <a:lnTo>
                    <a:pt x="416" y="453"/>
                  </a:lnTo>
                  <a:lnTo>
                    <a:pt x="418" y="458"/>
                  </a:lnTo>
                  <a:lnTo>
                    <a:pt x="420" y="460"/>
                  </a:lnTo>
                  <a:lnTo>
                    <a:pt x="421" y="460"/>
                  </a:lnTo>
                  <a:lnTo>
                    <a:pt x="425" y="460"/>
                  </a:lnTo>
                  <a:lnTo>
                    <a:pt x="426" y="460"/>
                  </a:lnTo>
                  <a:lnTo>
                    <a:pt x="428" y="462"/>
                  </a:lnTo>
                  <a:lnTo>
                    <a:pt x="431" y="465"/>
                  </a:lnTo>
                  <a:lnTo>
                    <a:pt x="433" y="466"/>
                  </a:lnTo>
                  <a:lnTo>
                    <a:pt x="433" y="468"/>
                  </a:lnTo>
                  <a:lnTo>
                    <a:pt x="434" y="470"/>
                  </a:lnTo>
                  <a:lnTo>
                    <a:pt x="446" y="475"/>
                  </a:lnTo>
                  <a:lnTo>
                    <a:pt x="452" y="476"/>
                  </a:lnTo>
                  <a:lnTo>
                    <a:pt x="452" y="478"/>
                  </a:lnTo>
                  <a:lnTo>
                    <a:pt x="456" y="481"/>
                  </a:lnTo>
                  <a:lnTo>
                    <a:pt x="457" y="483"/>
                  </a:lnTo>
                  <a:lnTo>
                    <a:pt x="456" y="483"/>
                  </a:lnTo>
                  <a:lnTo>
                    <a:pt x="454" y="484"/>
                  </a:lnTo>
                  <a:lnTo>
                    <a:pt x="452" y="483"/>
                  </a:lnTo>
                  <a:lnTo>
                    <a:pt x="451" y="484"/>
                  </a:lnTo>
                  <a:lnTo>
                    <a:pt x="449" y="488"/>
                  </a:lnTo>
                  <a:lnTo>
                    <a:pt x="447" y="488"/>
                  </a:lnTo>
                  <a:lnTo>
                    <a:pt x="447" y="489"/>
                  </a:lnTo>
                  <a:lnTo>
                    <a:pt x="446" y="489"/>
                  </a:lnTo>
                  <a:lnTo>
                    <a:pt x="444" y="489"/>
                  </a:lnTo>
                  <a:lnTo>
                    <a:pt x="442" y="489"/>
                  </a:lnTo>
                  <a:lnTo>
                    <a:pt x="442" y="488"/>
                  </a:lnTo>
                  <a:lnTo>
                    <a:pt x="439" y="486"/>
                  </a:lnTo>
                  <a:lnTo>
                    <a:pt x="438" y="486"/>
                  </a:lnTo>
                  <a:lnTo>
                    <a:pt x="434" y="488"/>
                  </a:lnTo>
                  <a:lnTo>
                    <a:pt x="431" y="491"/>
                  </a:lnTo>
                  <a:lnTo>
                    <a:pt x="433" y="489"/>
                  </a:lnTo>
                  <a:lnTo>
                    <a:pt x="433" y="488"/>
                  </a:lnTo>
                  <a:lnTo>
                    <a:pt x="433" y="489"/>
                  </a:lnTo>
                  <a:lnTo>
                    <a:pt x="433" y="488"/>
                  </a:lnTo>
                  <a:lnTo>
                    <a:pt x="431" y="489"/>
                  </a:lnTo>
                  <a:lnTo>
                    <a:pt x="429" y="489"/>
                  </a:lnTo>
                  <a:lnTo>
                    <a:pt x="431" y="488"/>
                  </a:lnTo>
                  <a:lnTo>
                    <a:pt x="433" y="486"/>
                  </a:lnTo>
                  <a:lnTo>
                    <a:pt x="434" y="486"/>
                  </a:lnTo>
                  <a:lnTo>
                    <a:pt x="433" y="486"/>
                  </a:lnTo>
                  <a:lnTo>
                    <a:pt x="431" y="488"/>
                  </a:lnTo>
                  <a:lnTo>
                    <a:pt x="429" y="489"/>
                  </a:lnTo>
                  <a:lnTo>
                    <a:pt x="429" y="488"/>
                  </a:lnTo>
                  <a:lnTo>
                    <a:pt x="429" y="486"/>
                  </a:lnTo>
                  <a:lnTo>
                    <a:pt x="431" y="486"/>
                  </a:lnTo>
                  <a:lnTo>
                    <a:pt x="429" y="486"/>
                  </a:lnTo>
                  <a:lnTo>
                    <a:pt x="429" y="484"/>
                  </a:lnTo>
                  <a:lnTo>
                    <a:pt x="429" y="486"/>
                  </a:lnTo>
                  <a:lnTo>
                    <a:pt x="428" y="486"/>
                  </a:lnTo>
                  <a:lnTo>
                    <a:pt x="429" y="486"/>
                  </a:lnTo>
                  <a:lnTo>
                    <a:pt x="429" y="488"/>
                  </a:lnTo>
                  <a:lnTo>
                    <a:pt x="428" y="488"/>
                  </a:lnTo>
                  <a:lnTo>
                    <a:pt x="426" y="488"/>
                  </a:lnTo>
                  <a:lnTo>
                    <a:pt x="426" y="486"/>
                  </a:lnTo>
                  <a:lnTo>
                    <a:pt x="425" y="486"/>
                  </a:lnTo>
                  <a:lnTo>
                    <a:pt x="425" y="484"/>
                  </a:lnTo>
                  <a:lnTo>
                    <a:pt x="423" y="483"/>
                  </a:lnTo>
                  <a:lnTo>
                    <a:pt x="421" y="483"/>
                  </a:lnTo>
                  <a:lnTo>
                    <a:pt x="421" y="481"/>
                  </a:lnTo>
                  <a:lnTo>
                    <a:pt x="420" y="479"/>
                  </a:lnTo>
                  <a:lnTo>
                    <a:pt x="418" y="478"/>
                  </a:lnTo>
                  <a:lnTo>
                    <a:pt x="416" y="478"/>
                  </a:lnTo>
                  <a:lnTo>
                    <a:pt x="415" y="478"/>
                  </a:lnTo>
                  <a:lnTo>
                    <a:pt x="415" y="476"/>
                  </a:lnTo>
                  <a:lnTo>
                    <a:pt x="413" y="476"/>
                  </a:lnTo>
                  <a:lnTo>
                    <a:pt x="413" y="475"/>
                  </a:lnTo>
                  <a:lnTo>
                    <a:pt x="412" y="475"/>
                  </a:lnTo>
                  <a:lnTo>
                    <a:pt x="410" y="475"/>
                  </a:lnTo>
                  <a:lnTo>
                    <a:pt x="410" y="473"/>
                  </a:lnTo>
                  <a:lnTo>
                    <a:pt x="408" y="473"/>
                  </a:lnTo>
                  <a:lnTo>
                    <a:pt x="407" y="473"/>
                  </a:lnTo>
                  <a:lnTo>
                    <a:pt x="405" y="473"/>
                  </a:lnTo>
                  <a:lnTo>
                    <a:pt x="405" y="471"/>
                  </a:lnTo>
                  <a:lnTo>
                    <a:pt x="403" y="471"/>
                  </a:lnTo>
                  <a:lnTo>
                    <a:pt x="402" y="471"/>
                  </a:lnTo>
                  <a:lnTo>
                    <a:pt x="400" y="471"/>
                  </a:lnTo>
                  <a:lnTo>
                    <a:pt x="400" y="470"/>
                  </a:lnTo>
                  <a:lnTo>
                    <a:pt x="399" y="470"/>
                  </a:lnTo>
                  <a:lnTo>
                    <a:pt x="399" y="468"/>
                  </a:lnTo>
                  <a:lnTo>
                    <a:pt x="397" y="470"/>
                  </a:lnTo>
                  <a:lnTo>
                    <a:pt x="397" y="468"/>
                  </a:lnTo>
                  <a:lnTo>
                    <a:pt x="395" y="468"/>
                  </a:lnTo>
                  <a:lnTo>
                    <a:pt x="394" y="466"/>
                  </a:lnTo>
                  <a:lnTo>
                    <a:pt x="394" y="465"/>
                  </a:lnTo>
                  <a:lnTo>
                    <a:pt x="392" y="465"/>
                  </a:lnTo>
                  <a:lnTo>
                    <a:pt x="390" y="463"/>
                  </a:lnTo>
                  <a:lnTo>
                    <a:pt x="389" y="463"/>
                  </a:lnTo>
                  <a:lnTo>
                    <a:pt x="389" y="462"/>
                  </a:lnTo>
                  <a:lnTo>
                    <a:pt x="389" y="460"/>
                  </a:lnTo>
                  <a:lnTo>
                    <a:pt x="387" y="458"/>
                  </a:lnTo>
                  <a:lnTo>
                    <a:pt x="386" y="458"/>
                  </a:lnTo>
                  <a:lnTo>
                    <a:pt x="384" y="457"/>
                  </a:lnTo>
                  <a:lnTo>
                    <a:pt x="384" y="455"/>
                  </a:lnTo>
                  <a:lnTo>
                    <a:pt x="384" y="457"/>
                  </a:lnTo>
                  <a:lnTo>
                    <a:pt x="382" y="457"/>
                  </a:lnTo>
                  <a:lnTo>
                    <a:pt x="384" y="455"/>
                  </a:lnTo>
                  <a:lnTo>
                    <a:pt x="382" y="455"/>
                  </a:lnTo>
                  <a:lnTo>
                    <a:pt x="381" y="453"/>
                  </a:lnTo>
                  <a:lnTo>
                    <a:pt x="379" y="452"/>
                  </a:lnTo>
                  <a:lnTo>
                    <a:pt x="379" y="450"/>
                  </a:lnTo>
                  <a:lnTo>
                    <a:pt x="377" y="450"/>
                  </a:lnTo>
                  <a:lnTo>
                    <a:pt x="376" y="449"/>
                  </a:lnTo>
                  <a:lnTo>
                    <a:pt x="376" y="447"/>
                  </a:lnTo>
                  <a:lnTo>
                    <a:pt x="374" y="447"/>
                  </a:lnTo>
                  <a:lnTo>
                    <a:pt x="373" y="447"/>
                  </a:lnTo>
                  <a:lnTo>
                    <a:pt x="373" y="445"/>
                  </a:lnTo>
                  <a:lnTo>
                    <a:pt x="371" y="445"/>
                  </a:lnTo>
                  <a:lnTo>
                    <a:pt x="371" y="444"/>
                  </a:lnTo>
                  <a:lnTo>
                    <a:pt x="369" y="444"/>
                  </a:lnTo>
                  <a:lnTo>
                    <a:pt x="369" y="442"/>
                  </a:lnTo>
                  <a:lnTo>
                    <a:pt x="368" y="442"/>
                  </a:lnTo>
                  <a:lnTo>
                    <a:pt x="366" y="442"/>
                  </a:lnTo>
                  <a:lnTo>
                    <a:pt x="364" y="442"/>
                  </a:lnTo>
                  <a:lnTo>
                    <a:pt x="363" y="442"/>
                  </a:lnTo>
                  <a:lnTo>
                    <a:pt x="361" y="442"/>
                  </a:lnTo>
                  <a:lnTo>
                    <a:pt x="360" y="442"/>
                  </a:lnTo>
                  <a:lnTo>
                    <a:pt x="358" y="442"/>
                  </a:lnTo>
                  <a:lnTo>
                    <a:pt x="356" y="442"/>
                  </a:lnTo>
                  <a:lnTo>
                    <a:pt x="355" y="442"/>
                  </a:lnTo>
                  <a:lnTo>
                    <a:pt x="353" y="442"/>
                  </a:lnTo>
                  <a:lnTo>
                    <a:pt x="351" y="442"/>
                  </a:lnTo>
                  <a:lnTo>
                    <a:pt x="351" y="440"/>
                  </a:lnTo>
                  <a:lnTo>
                    <a:pt x="350" y="440"/>
                  </a:lnTo>
                  <a:lnTo>
                    <a:pt x="348" y="439"/>
                  </a:lnTo>
                  <a:lnTo>
                    <a:pt x="348" y="437"/>
                  </a:lnTo>
                  <a:lnTo>
                    <a:pt x="348" y="439"/>
                  </a:lnTo>
                  <a:lnTo>
                    <a:pt x="348" y="437"/>
                  </a:lnTo>
                  <a:lnTo>
                    <a:pt x="347" y="437"/>
                  </a:lnTo>
                  <a:lnTo>
                    <a:pt x="347" y="439"/>
                  </a:lnTo>
                  <a:lnTo>
                    <a:pt x="345" y="439"/>
                  </a:lnTo>
                  <a:lnTo>
                    <a:pt x="343" y="439"/>
                  </a:lnTo>
                  <a:lnTo>
                    <a:pt x="342" y="439"/>
                  </a:lnTo>
                  <a:lnTo>
                    <a:pt x="340" y="437"/>
                  </a:lnTo>
                  <a:lnTo>
                    <a:pt x="338" y="436"/>
                  </a:lnTo>
                  <a:lnTo>
                    <a:pt x="337" y="436"/>
                  </a:lnTo>
                  <a:lnTo>
                    <a:pt x="335" y="436"/>
                  </a:lnTo>
                  <a:lnTo>
                    <a:pt x="335" y="434"/>
                  </a:lnTo>
                  <a:lnTo>
                    <a:pt x="334" y="434"/>
                  </a:lnTo>
                  <a:lnTo>
                    <a:pt x="332" y="434"/>
                  </a:lnTo>
                  <a:lnTo>
                    <a:pt x="332" y="432"/>
                  </a:lnTo>
                  <a:lnTo>
                    <a:pt x="330" y="431"/>
                  </a:lnTo>
                  <a:lnTo>
                    <a:pt x="330" y="432"/>
                  </a:lnTo>
                  <a:lnTo>
                    <a:pt x="329" y="431"/>
                  </a:lnTo>
                  <a:lnTo>
                    <a:pt x="327" y="431"/>
                  </a:lnTo>
                  <a:lnTo>
                    <a:pt x="325" y="432"/>
                  </a:lnTo>
                  <a:lnTo>
                    <a:pt x="325" y="431"/>
                  </a:lnTo>
                  <a:lnTo>
                    <a:pt x="324" y="432"/>
                  </a:lnTo>
                  <a:lnTo>
                    <a:pt x="322" y="432"/>
                  </a:lnTo>
                  <a:lnTo>
                    <a:pt x="321" y="432"/>
                  </a:lnTo>
                  <a:lnTo>
                    <a:pt x="321" y="431"/>
                  </a:lnTo>
                  <a:lnTo>
                    <a:pt x="321" y="432"/>
                  </a:lnTo>
                  <a:lnTo>
                    <a:pt x="319" y="432"/>
                  </a:lnTo>
                  <a:lnTo>
                    <a:pt x="317" y="432"/>
                  </a:lnTo>
                  <a:lnTo>
                    <a:pt x="317" y="431"/>
                  </a:lnTo>
                  <a:lnTo>
                    <a:pt x="316" y="431"/>
                  </a:lnTo>
                  <a:lnTo>
                    <a:pt x="317" y="431"/>
                  </a:lnTo>
                  <a:lnTo>
                    <a:pt x="319" y="429"/>
                  </a:lnTo>
                  <a:lnTo>
                    <a:pt x="319" y="427"/>
                  </a:lnTo>
                  <a:lnTo>
                    <a:pt x="321" y="427"/>
                  </a:lnTo>
                  <a:lnTo>
                    <a:pt x="321" y="429"/>
                  </a:lnTo>
                  <a:lnTo>
                    <a:pt x="321" y="427"/>
                  </a:lnTo>
                  <a:lnTo>
                    <a:pt x="322" y="427"/>
                  </a:lnTo>
                  <a:lnTo>
                    <a:pt x="324" y="427"/>
                  </a:lnTo>
                  <a:lnTo>
                    <a:pt x="324" y="426"/>
                  </a:lnTo>
                  <a:lnTo>
                    <a:pt x="324" y="427"/>
                  </a:lnTo>
                  <a:lnTo>
                    <a:pt x="322" y="427"/>
                  </a:lnTo>
                  <a:lnTo>
                    <a:pt x="322" y="426"/>
                  </a:lnTo>
                  <a:lnTo>
                    <a:pt x="321" y="426"/>
                  </a:lnTo>
                  <a:lnTo>
                    <a:pt x="319" y="426"/>
                  </a:lnTo>
                  <a:lnTo>
                    <a:pt x="317" y="426"/>
                  </a:lnTo>
                  <a:lnTo>
                    <a:pt x="316" y="426"/>
                  </a:lnTo>
                  <a:lnTo>
                    <a:pt x="314" y="426"/>
                  </a:lnTo>
                  <a:lnTo>
                    <a:pt x="312" y="426"/>
                  </a:lnTo>
                  <a:lnTo>
                    <a:pt x="311" y="426"/>
                  </a:lnTo>
                  <a:lnTo>
                    <a:pt x="309" y="426"/>
                  </a:lnTo>
                  <a:lnTo>
                    <a:pt x="308" y="427"/>
                  </a:lnTo>
                  <a:lnTo>
                    <a:pt x="306" y="429"/>
                  </a:lnTo>
                  <a:lnTo>
                    <a:pt x="304" y="429"/>
                  </a:lnTo>
                  <a:lnTo>
                    <a:pt x="303" y="431"/>
                  </a:lnTo>
                  <a:lnTo>
                    <a:pt x="301" y="431"/>
                  </a:lnTo>
                  <a:lnTo>
                    <a:pt x="303" y="431"/>
                  </a:lnTo>
                  <a:lnTo>
                    <a:pt x="304" y="431"/>
                  </a:lnTo>
                  <a:lnTo>
                    <a:pt x="306" y="431"/>
                  </a:lnTo>
                  <a:lnTo>
                    <a:pt x="308" y="432"/>
                  </a:lnTo>
                  <a:lnTo>
                    <a:pt x="309" y="432"/>
                  </a:lnTo>
                  <a:lnTo>
                    <a:pt x="311" y="432"/>
                  </a:lnTo>
                  <a:lnTo>
                    <a:pt x="311" y="434"/>
                  </a:lnTo>
                  <a:lnTo>
                    <a:pt x="312" y="434"/>
                  </a:lnTo>
                  <a:lnTo>
                    <a:pt x="314" y="434"/>
                  </a:lnTo>
                  <a:lnTo>
                    <a:pt x="316" y="434"/>
                  </a:lnTo>
                  <a:lnTo>
                    <a:pt x="316" y="436"/>
                  </a:lnTo>
                  <a:lnTo>
                    <a:pt x="312" y="436"/>
                  </a:lnTo>
                  <a:lnTo>
                    <a:pt x="311" y="436"/>
                  </a:lnTo>
                  <a:lnTo>
                    <a:pt x="308" y="436"/>
                  </a:lnTo>
                  <a:lnTo>
                    <a:pt x="306" y="436"/>
                  </a:lnTo>
                  <a:lnTo>
                    <a:pt x="304" y="436"/>
                  </a:lnTo>
                  <a:lnTo>
                    <a:pt x="304" y="434"/>
                  </a:lnTo>
                  <a:lnTo>
                    <a:pt x="304" y="436"/>
                  </a:lnTo>
                  <a:lnTo>
                    <a:pt x="303" y="436"/>
                  </a:lnTo>
                  <a:lnTo>
                    <a:pt x="301" y="436"/>
                  </a:lnTo>
                  <a:lnTo>
                    <a:pt x="301" y="437"/>
                  </a:lnTo>
                  <a:lnTo>
                    <a:pt x="301" y="436"/>
                  </a:lnTo>
                  <a:lnTo>
                    <a:pt x="299" y="436"/>
                  </a:lnTo>
                  <a:lnTo>
                    <a:pt x="298" y="436"/>
                  </a:lnTo>
                  <a:lnTo>
                    <a:pt x="296" y="436"/>
                  </a:lnTo>
                  <a:lnTo>
                    <a:pt x="296" y="434"/>
                  </a:lnTo>
                  <a:lnTo>
                    <a:pt x="298" y="434"/>
                  </a:lnTo>
                  <a:lnTo>
                    <a:pt x="299" y="434"/>
                  </a:lnTo>
                  <a:lnTo>
                    <a:pt x="299" y="436"/>
                  </a:lnTo>
                  <a:lnTo>
                    <a:pt x="299" y="434"/>
                  </a:lnTo>
                  <a:lnTo>
                    <a:pt x="301" y="434"/>
                  </a:lnTo>
                  <a:lnTo>
                    <a:pt x="303" y="434"/>
                  </a:lnTo>
                  <a:lnTo>
                    <a:pt x="301" y="432"/>
                  </a:lnTo>
                  <a:lnTo>
                    <a:pt x="303" y="432"/>
                  </a:lnTo>
                  <a:lnTo>
                    <a:pt x="301" y="432"/>
                  </a:lnTo>
                  <a:lnTo>
                    <a:pt x="299" y="432"/>
                  </a:lnTo>
                  <a:lnTo>
                    <a:pt x="301" y="432"/>
                  </a:lnTo>
                  <a:lnTo>
                    <a:pt x="299" y="431"/>
                  </a:lnTo>
                  <a:lnTo>
                    <a:pt x="299" y="432"/>
                  </a:lnTo>
                  <a:lnTo>
                    <a:pt x="298" y="431"/>
                  </a:lnTo>
                  <a:lnTo>
                    <a:pt x="298" y="432"/>
                  </a:lnTo>
                  <a:lnTo>
                    <a:pt x="296" y="432"/>
                  </a:lnTo>
                  <a:lnTo>
                    <a:pt x="294" y="434"/>
                  </a:lnTo>
                  <a:lnTo>
                    <a:pt x="294" y="432"/>
                  </a:lnTo>
                  <a:lnTo>
                    <a:pt x="293" y="432"/>
                  </a:lnTo>
                  <a:lnTo>
                    <a:pt x="291" y="432"/>
                  </a:lnTo>
                  <a:lnTo>
                    <a:pt x="290" y="432"/>
                  </a:lnTo>
                  <a:lnTo>
                    <a:pt x="288" y="432"/>
                  </a:lnTo>
                  <a:lnTo>
                    <a:pt x="286" y="432"/>
                  </a:lnTo>
                  <a:lnTo>
                    <a:pt x="286" y="434"/>
                  </a:lnTo>
                  <a:lnTo>
                    <a:pt x="288" y="434"/>
                  </a:lnTo>
                  <a:lnTo>
                    <a:pt x="290" y="434"/>
                  </a:lnTo>
                  <a:lnTo>
                    <a:pt x="291" y="434"/>
                  </a:lnTo>
                  <a:lnTo>
                    <a:pt x="293" y="434"/>
                  </a:lnTo>
                  <a:lnTo>
                    <a:pt x="293" y="436"/>
                  </a:lnTo>
                  <a:lnTo>
                    <a:pt x="293" y="437"/>
                  </a:lnTo>
                  <a:lnTo>
                    <a:pt x="291" y="437"/>
                  </a:lnTo>
                  <a:lnTo>
                    <a:pt x="290" y="437"/>
                  </a:lnTo>
                  <a:lnTo>
                    <a:pt x="288" y="437"/>
                  </a:lnTo>
                  <a:lnTo>
                    <a:pt x="286" y="437"/>
                  </a:lnTo>
                  <a:lnTo>
                    <a:pt x="288" y="437"/>
                  </a:lnTo>
                  <a:lnTo>
                    <a:pt x="288" y="439"/>
                  </a:lnTo>
                  <a:lnTo>
                    <a:pt x="286" y="439"/>
                  </a:lnTo>
                  <a:lnTo>
                    <a:pt x="285" y="439"/>
                  </a:lnTo>
                  <a:lnTo>
                    <a:pt x="283" y="439"/>
                  </a:lnTo>
                  <a:lnTo>
                    <a:pt x="283" y="437"/>
                  </a:lnTo>
                  <a:lnTo>
                    <a:pt x="281" y="437"/>
                  </a:lnTo>
                  <a:lnTo>
                    <a:pt x="281" y="439"/>
                  </a:lnTo>
                  <a:lnTo>
                    <a:pt x="280" y="439"/>
                  </a:lnTo>
                  <a:lnTo>
                    <a:pt x="280" y="437"/>
                  </a:lnTo>
                  <a:lnTo>
                    <a:pt x="278" y="437"/>
                  </a:lnTo>
                  <a:lnTo>
                    <a:pt x="277" y="437"/>
                  </a:lnTo>
                  <a:lnTo>
                    <a:pt x="277" y="436"/>
                  </a:lnTo>
                  <a:lnTo>
                    <a:pt x="275" y="437"/>
                  </a:lnTo>
                  <a:lnTo>
                    <a:pt x="277" y="437"/>
                  </a:lnTo>
                  <a:lnTo>
                    <a:pt x="275" y="437"/>
                  </a:lnTo>
                  <a:lnTo>
                    <a:pt x="275" y="436"/>
                  </a:lnTo>
                  <a:lnTo>
                    <a:pt x="273" y="436"/>
                  </a:lnTo>
                  <a:lnTo>
                    <a:pt x="273" y="437"/>
                  </a:lnTo>
                  <a:lnTo>
                    <a:pt x="272" y="437"/>
                  </a:lnTo>
                  <a:lnTo>
                    <a:pt x="272" y="436"/>
                  </a:lnTo>
                  <a:lnTo>
                    <a:pt x="270" y="436"/>
                  </a:lnTo>
                  <a:lnTo>
                    <a:pt x="272" y="436"/>
                  </a:lnTo>
                  <a:lnTo>
                    <a:pt x="270" y="434"/>
                  </a:lnTo>
                  <a:lnTo>
                    <a:pt x="272" y="434"/>
                  </a:lnTo>
                  <a:lnTo>
                    <a:pt x="273" y="434"/>
                  </a:lnTo>
                  <a:lnTo>
                    <a:pt x="273" y="432"/>
                  </a:lnTo>
                  <a:lnTo>
                    <a:pt x="273" y="431"/>
                  </a:lnTo>
                  <a:lnTo>
                    <a:pt x="272" y="431"/>
                  </a:lnTo>
                  <a:lnTo>
                    <a:pt x="272" y="432"/>
                  </a:lnTo>
                  <a:lnTo>
                    <a:pt x="270" y="431"/>
                  </a:lnTo>
                  <a:lnTo>
                    <a:pt x="272" y="432"/>
                  </a:lnTo>
                  <a:lnTo>
                    <a:pt x="270" y="432"/>
                  </a:lnTo>
                  <a:lnTo>
                    <a:pt x="270" y="431"/>
                  </a:lnTo>
                  <a:lnTo>
                    <a:pt x="268" y="431"/>
                  </a:lnTo>
                  <a:lnTo>
                    <a:pt x="268" y="429"/>
                  </a:lnTo>
                  <a:lnTo>
                    <a:pt x="268" y="431"/>
                  </a:lnTo>
                  <a:lnTo>
                    <a:pt x="267" y="429"/>
                  </a:lnTo>
                  <a:lnTo>
                    <a:pt x="267" y="427"/>
                  </a:lnTo>
                  <a:lnTo>
                    <a:pt x="268" y="427"/>
                  </a:lnTo>
                  <a:lnTo>
                    <a:pt x="268" y="426"/>
                  </a:lnTo>
                  <a:lnTo>
                    <a:pt x="268" y="427"/>
                  </a:lnTo>
                  <a:lnTo>
                    <a:pt x="267" y="427"/>
                  </a:lnTo>
                  <a:lnTo>
                    <a:pt x="265" y="426"/>
                  </a:lnTo>
                  <a:lnTo>
                    <a:pt x="267" y="426"/>
                  </a:lnTo>
                  <a:lnTo>
                    <a:pt x="267" y="424"/>
                  </a:lnTo>
                  <a:lnTo>
                    <a:pt x="265" y="424"/>
                  </a:lnTo>
                  <a:lnTo>
                    <a:pt x="267" y="424"/>
                  </a:lnTo>
                  <a:lnTo>
                    <a:pt x="265" y="424"/>
                  </a:lnTo>
                  <a:lnTo>
                    <a:pt x="265" y="423"/>
                  </a:lnTo>
                  <a:lnTo>
                    <a:pt x="267" y="424"/>
                  </a:lnTo>
                  <a:lnTo>
                    <a:pt x="267" y="423"/>
                  </a:lnTo>
                  <a:lnTo>
                    <a:pt x="265" y="423"/>
                  </a:lnTo>
                  <a:lnTo>
                    <a:pt x="265" y="421"/>
                  </a:lnTo>
                  <a:lnTo>
                    <a:pt x="267" y="421"/>
                  </a:lnTo>
                  <a:lnTo>
                    <a:pt x="265" y="421"/>
                  </a:lnTo>
                  <a:lnTo>
                    <a:pt x="267" y="421"/>
                  </a:lnTo>
                  <a:lnTo>
                    <a:pt x="265" y="419"/>
                  </a:lnTo>
                  <a:lnTo>
                    <a:pt x="265" y="418"/>
                  </a:lnTo>
                  <a:lnTo>
                    <a:pt x="267" y="418"/>
                  </a:lnTo>
                  <a:lnTo>
                    <a:pt x="268" y="418"/>
                  </a:lnTo>
                  <a:lnTo>
                    <a:pt x="270" y="418"/>
                  </a:lnTo>
                  <a:lnTo>
                    <a:pt x="268" y="416"/>
                  </a:lnTo>
                  <a:lnTo>
                    <a:pt x="268" y="418"/>
                  </a:lnTo>
                  <a:lnTo>
                    <a:pt x="267" y="416"/>
                  </a:lnTo>
                  <a:lnTo>
                    <a:pt x="265" y="416"/>
                  </a:lnTo>
                  <a:lnTo>
                    <a:pt x="264" y="416"/>
                  </a:lnTo>
                  <a:lnTo>
                    <a:pt x="265" y="414"/>
                  </a:lnTo>
                  <a:lnTo>
                    <a:pt x="265" y="416"/>
                  </a:lnTo>
                  <a:lnTo>
                    <a:pt x="267" y="414"/>
                  </a:lnTo>
                  <a:lnTo>
                    <a:pt x="265" y="414"/>
                  </a:lnTo>
                  <a:lnTo>
                    <a:pt x="267" y="414"/>
                  </a:lnTo>
                  <a:lnTo>
                    <a:pt x="267" y="416"/>
                  </a:lnTo>
                  <a:lnTo>
                    <a:pt x="268" y="416"/>
                  </a:lnTo>
                  <a:lnTo>
                    <a:pt x="268" y="414"/>
                  </a:lnTo>
                  <a:lnTo>
                    <a:pt x="267" y="414"/>
                  </a:lnTo>
                  <a:lnTo>
                    <a:pt x="267" y="413"/>
                  </a:lnTo>
                  <a:lnTo>
                    <a:pt x="265" y="413"/>
                  </a:lnTo>
                  <a:lnTo>
                    <a:pt x="265" y="411"/>
                  </a:lnTo>
                  <a:lnTo>
                    <a:pt x="267" y="411"/>
                  </a:lnTo>
                  <a:lnTo>
                    <a:pt x="267" y="413"/>
                  </a:lnTo>
                  <a:lnTo>
                    <a:pt x="267" y="411"/>
                  </a:lnTo>
                  <a:lnTo>
                    <a:pt x="268" y="411"/>
                  </a:lnTo>
                  <a:lnTo>
                    <a:pt x="268" y="410"/>
                  </a:lnTo>
                  <a:lnTo>
                    <a:pt x="267" y="410"/>
                  </a:lnTo>
                  <a:lnTo>
                    <a:pt x="267" y="411"/>
                  </a:lnTo>
                  <a:lnTo>
                    <a:pt x="265" y="411"/>
                  </a:lnTo>
                  <a:lnTo>
                    <a:pt x="265" y="413"/>
                  </a:lnTo>
                  <a:lnTo>
                    <a:pt x="265" y="411"/>
                  </a:lnTo>
                  <a:lnTo>
                    <a:pt x="264" y="411"/>
                  </a:lnTo>
                  <a:lnTo>
                    <a:pt x="264" y="410"/>
                  </a:lnTo>
                  <a:lnTo>
                    <a:pt x="262" y="410"/>
                  </a:lnTo>
                  <a:lnTo>
                    <a:pt x="262" y="408"/>
                  </a:lnTo>
                  <a:lnTo>
                    <a:pt x="262" y="410"/>
                  </a:lnTo>
                  <a:lnTo>
                    <a:pt x="260" y="410"/>
                  </a:lnTo>
                  <a:lnTo>
                    <a:pt x="259" y="408"/>
                  </a:lnTo>
                  <a:lnTo>
                    <a:pt x="259" y="406"/>
                  </a:lnTo>
                  <a:lnTo>
                    <a:pt x="257" y="406"/>
                  </a:lnTo>
                  <a:lnTo>
                    <a:pt x="259" y="406"/>
                  </a:lnTo>
                  <a:lnTo>
                    <a:pt x="259" y="405"/>
                  </a:lnTo>
                  <a:lnTo>
                    <a:pt x="260" y="405"/>
                  </a:lnTo>
                  <a:lnTo>
                    <a:pt x="262" y="405"/>
                  </a:lnTo>
                  <a:lnTo>
                    <a:pt x="262" y="406"/>
                  </a:lnTo>
                  <a:lnTo>
                    <a:pt x="262" y="405"/>
                  </a:lnTo>
                  <a:lnTo>
                    <a:pt x="260" y="403"/>
                  </a:lnTo>
                  <a:lnTo>
                    <a:pt x="257" y="400"/>
                  </a:lnTo>
                  <a:lnTo>
                    <a:pt x="257" y="398"/>
                  </a:lnTo>
                  <a:lnTo>
                    <a:pt x="255" y="398"/>
                  </a:lnTo>
                  <a:lnTo>
                    <a:pt x="257" y="398"/>
                  </a:lnTo>
                  <a:lnTo>
                    <a:pt x="257" y="397"/>
                  </a:lnTo>
                  <a:lnTo>
                    <a:pt x="259" y="395"/>
                  </a:lnTo>
                  <a:lnTo>
                    <a:pt x="259" y="397"/>
                  </a:lnTo>
                  <a:lnTo>
                    <a:pt x="260" y="397"/>
                  </a:lnTo>
                  <a:lnTo>
                    <a:pt x="260" y="395"/>
                  </a:lnTo>
                  <a:lnTo>
                    <a:pt x="262" y="395"/>
                  </a:lnTo>
                  <a:lnTo>
                    <a:pt x="260" y="395"/>
                  </a:lnTo>
                  <a:lnTo>
                    <a:pt x="260" y="393"/>
                  </a:lnTo>
                  <a:lnTo>
                    <a:pt x="262" y="393"/>
                  </a:lnTo>
                  <a:lnTo>
                    <a:pt x="264" y="393"/>
                  </a:lnTo>
                  <a:lnTo>
                    <a:pt x="264" y="392"/>
                  </a:lnTo>
                  <a:lnTo>
                    <a:pt x="265" y="390"/>
                  </a:lnTo>
                  <a:lnTo>
                    <a:pt x="267" y="390"/>
                  </a:lnTo>
                  <a:lnTo>
                    <a:pt x="267" y="392"/>
                  </a:lnTo>
                  <a:lnTo>
                    <a:pt x="267" y="390"/>
                  </a:lnTo>
                  <a:lnTo>
                    <a:pt x="265" y="390"/>
                  </a:lnTo>
                  <a:lnTo>
                    <a:pt x="265" y="392"/>
                  </a:lnTo>
                  <a:lnTo>
                    <a:pt x="264" y="392"/>
                  </a:lnTo>
                  <a:lnTo>
                    <a:pt x="262" y="393"/>
                  </a:lnTo>
                  <a:lnTo>
                    <a:pt x="260" y="393"/>
                  </a:lnTo>
                  <a:lnTo>
                    <a:pt x="260" y="392"/>
                  </a:lnTo>
                  <a:lnTo>
                    <a:pt x="259" y="392"/>
                  </a:lnTo>
                  <a:lnTo>
                    <a:pt x="259" y="390"/>
                  </a:lnTo>
                  <a:lnTo>
                    <a:pt x="257" y="390"/>
                  </a:lnTo>
                  <a:lnTo>
                    <a:pt x="257" y="388"/>
                  </a:lnTo>
                  <a:lnTo>
                    <a:pt x="255" y="390"/>
                  </a:lnTo>
                  <a:lnTo>
                    <a:pt x="257" y="390"/>
                  </a:lnTo>
                  <a:lnTo>
                    <a:pt x="255" y="390"/>
                  </a:lnTo>
                  <a:lnTo>
                    <a:pt x="254" y="390"/>
                  </a:lnTo>
                  <a:lnTo>
                    <a:pt x="254" y="388"/>
                  </a:lnTo>
                  <a:lnTo>
                    <a:pt x="254" y="390"/>
                  </a:lnTo>
                  <a:lnTo>
                    <a:pt x="255" y="390"/>
                  </a:lnTo>
                  <a:lnTo>
                    <a:pt x="257" y="392"/>
                  </a:lnTo>
                  <a:lnTo>
                    <a:pt x="257" y="393"/>
                  </a:lnTo>
                  <a:lnTo>
                    <a:pt x="257" y="395"/>
                  </a:lnTo>
                  <a:lnTo>
                    <a:pt x="255" y="397"/>
                  </a:lnTo>
                  <a:lnTo>
                    <a:pt x="257" y="397"/>
                  </a:lnTo>
                  <a:lnTo>
                    <a:pt x="255" y="397"/>
                  </a:lnTo>
                  <a:lnTo>
                    <a:pt x="255" y="398"/>
                  </a:lnTo>
                  <a:lnTo>
                    <a:pt x="254" y="397"/>
                  </a:lnTo>
                  <a:lnTo>
                    <a:pt x="254" y="398"/>
                  </a:lnTo>
                  <a:lnTo>
                    <a:pt x="255" y="398"/>
                  </a:lnTo>
                  <a:lnTo>
                    <a:pt x="257" y="400"/>
                  </a:lnTo>
                  <a:lnTo>
                    <a:pt x="259" y="401"/>
                  </a:lnTo>
                  <a:lnTo>
                    <a:pt x="259" y="403"/>
                  </a:lnTo>
                  <a:lnTo>
                    <a:pt x="260" y="403"/>
                  </a:lnTo>
                  <a:lnTo>
                    <a:pt x="260" y="405"/>
                  </a:lnTo>
                  <a:lnTo>
                    <a:pt x="259" y="405"/>
                  </a:lnTo>
                  <a:lnTo>
                    <a:pt x="257" y="405"/>
                  </a:lnTo>
                  <a:lnTo>
                    <a:pt x="257" y="406"/>
                  </a:lnTo>
                  <a:lnTo>
                    <a:pt x="255" y="405"/>
                  </a:lnTo>
                  <a:lnTo>
                    <a:pt x="254" y="405"/>
                  </a:lnTo>
                  <a:lnTo>
                    <a:pt x="254" y="403"/>
                  </a:lnTo>
                  <a:lnTo>
                    <a:pt x="252" y="403"/>
                  </a:lnTo>
                  <a:lnTo>
                    <a:pt x="251" y="401"/>
                  </a:lnTo>
                  <a:lnTo>
                    <a:pt x="249" y="401"/>
                  </a:lnTo>
                  <a:lnTo>
                    <a:pt x="247" y="401"/>
                  </a:lnTo>
                  <a:lnTo>
                    <a:pt x="246" y="401"/>
                  </a:lnTo>
                  <a:lnTo>
                    <a:pt x="244" y="401"/>
                  </a:lnTo>
                  <a:lnTo>
                    <a:pt x="244" y="400"/>
                  </a:lnTo>
                  <a:lnTo>
                    <a:pt x="242" y="401"/>
                  </a:lnTo>
                  <a:lnTo>
                    <a:pt x="241" y="400"/>
                  </a:lnTo>
                  <a:lnTo>
                    <a:pt x="241" y="401"/>
                  </a:lnTo>
                  <a:lnTo>
                    <a:pt x="241" y="400"/>
                  </a:lnTo>
                  <a:lnTo>
                    <a:pt x="239" y="400"/>
                  </a:lnTo>
                  <a:lnTo>
                    <a:pt x="239" y="398"/>
                  </a:lnTo>
                  <a:lnTo>
                    <a:pt x="238" y="398"/>
                  </a:lnTo>
                  <a:lnTo>
                    <a:pt x="238" y="397"/>
                  </a:lnTo>
                  <a:lnTo>
                    <a:pt x="236" y="397"/>
                  </a:lnTo>
                  <a:lnTo>
                    <a:pt x="234" y="397"/>
                  </a:lnTo>
                  <a:lnTo>
                    <a:pt x="236" y="397"/>
                  </a:lnTo>
                  <a:lnTo>
                    <a:pt x="236" y="398"/>
                  </a:lnTo>
                  <a:lnTo>
                    <a:pt x="238" y="400"/>
                  </a:lnTo>
                  <a:lnTo>
                    <a:pt x="238" y="401"/>
                  </a:lnTo>
                  <a:lnTo>
                    <a:pt x="238" y="400"/>
                  </a:lnTo>
                  <a:lnTo>
                    <a:pt x="238" y="401"/>
                  </a:lnTo>
                  <a:lnTo>
                    <a:pt x="236" y="401"/>
                  </a:lnTo>
                  <a:lnTo>
                    <a:pt x="236" y="400"/>
                  </a:lnTo>
                  <a:lnTo>
                    <a:pt x="236" y="401"/>
                  </a:lnTo>
                  <a:lnTo>
                    <a:pt x="234" y="400"/>
                  </a:lnTo>
                  <a:lnTo>
                    <a:pt x="233" y="400"/>
                  </a:lnTo>
                  <a:lnTo>
                    <a:pt x="233" y="398"/>
                  </a:lnTo>
                  <a:lnTo>
                    <a:pt x="231" y="397"/>
                  </a:lnTo>
                  <a:lnTo>
                    <a:pt x="231" y="398"/>
                  </a:lnTo>
                  <a:lnTo>
                    <a:pt x="231" y="397"/>
                  </a:lnTo>
                  <a:lnTo>
                    <a:pt x="229" y="397"/>
                  </a:lnTo>
                  <a:lnTo>
                    <a:pt x="229" y="395"/>
                  </a:lnTo>
                  <a:lnTo>
                    <a:pt x="228" y="395"/>
                  </a:lnTo>
                  <a:lnTo>
                    <a:pt x="228" y="393"/>
                  </a:lnTo>
                  <a:lnTo>
                    <a:pt x="226" y="393"/>
                  </a:lnTo>
                  <a:lnTo>
                    <a:pt x="226" y="392"/>
                  </a:lnTo>
                  <a:lnTo>
                    <a:pt x="228" y="392"/>
                  </a:lnTo>
                  <a:lnTo>
                    <a:pt x="228" y="393"/>
                  </a:lnTo>
                  <a:lnTo>
                    <a:pt x="229" y="393"/>
                  </a:lnTo>
                  <a:lnTo>
                    <a:pt x="229" y="392"/>
                  </a:lnTo>
                  <a:lnTo>
                    <a:pt x="229" y="393"/>
                  </a:lnTo>
                  <a:lnTo>
                    <a:pt x="229" y="392"/>
                  </a:lnTo>
                  <a:lnTo>
                    <a:pt x="231" y="392"/>
                  </a:lnTo>
                  <a:lnTo>
                    <a:pt x="231" y="393"/>
                  </a:lnTo>
                  <a:lnTo>
                    <a:pt x="231" y="395"/>
                  </a:lnTo>
                  <a:lnTo>
                    <a:pt x="233" y="395"/>
                  </a:lnTo>
                  <a:lnTo>
                    <a:pt x="233" y="397"/>
                  </a:lnTo>
                  <a:lnTo>
                    <a:pt x="234" y="397"/>
                  </a:lnTo>
                  <a:lnTo>
                    <a:pt x="233" y="395"/>
                  </a:lnTo>
                  <a:lnTo>
                    <a:pt x="231" y="393"/>
                  </a:lnTo>
                  <a:lnTo>
                    <a:pt x="233" y="393"/>
                  </a:lnTo>
                  <a:lnTo>
                    <a:pt x="231" y="393"/>
                  </a:lnTo>
                  <a:lnTo>
                    <a:pt x="233" y="393"/>
                  </a:lnTo>
                  <a:lnTo>
                    <a:pt x="233" y="395"/>
                  </a:lnTo>
                  <a:lnTo>
                    <a:pt x="234" y="395"/>
                  </a:lnTo>
                  <a:lnTo>
                    <a:pt x="234" y="393"/>
                  </a:lnTo>
                  <a:lnTo>
                    <a:pt x="236" y="393"/>
                  </a:lnTo>
                  <a:lnTo>
                    <a:pt x="238" y="395"/>
                  </a:lnTo>
                  <a:lnTo>
                    <a:pt x="239" y="395"/>
                  </a:lnTo>
                  <a:lnTo>
                    <a:pt x="239" y="397"/>
                  </a:lnTo>
                  <a:lnTo>
                    <a:pt x="239" y="395"/>
                  </a:lnTo>
                  <a:lnTo>
                    <a:pt x="238" y="393"/>
                  </a:lnTo>
                  <a:lnTo>
                    <a:pt x="236" y="393"/>
                  </a:lnTo>
                  <a:lnTo>
                    <a:pt x="236" y="392"/>
                  </a:lnTo>
                  <a:lnTo>
                    <a:pt x="234" y="392"/>
                  </a:lnTo>
                  <a:lnTo>
                    <a:pt x="233" y="392"/>
                  </a:lnTo>
                  <a:lnTo>
                    <a:pt x="233" y="390"/>
                  </a:lnTo>
                  <a:lnTo>
                    <a:pt x="231" y="390"/>
                  </a:lnTo>
                  <a:lnTo>
                    <a:pt x="229" y="390"/>
                  </a:lnTo>
                  <a:lnTo>
                    <a:pt x="228" y="388"/>
                  </a:lnTo>
                  <a:lnTo>
                    <a:pt x="228" y="387"/>
                  </a:lnTo>
                  <a:lnTo>
                    <a:pt x="226" y="387"/>
                  </a:lnTo>
                  <a:lnTo>
                    <a:pt x="228" y="387"/>
                  </a:lnTo>
                  <a:lnTo>
                    <a:pt x="226" y="388"/>
                  </a:lnTo>
                  <a:lnTo>
                    <a:pt x="226" y="387"/>
                  </a:lnTo>
                  <a:lnTo>
                    <a:pt x="226" y="388"/>
                  </a:lnTo>
                  <a:lnTo>
                    <a:pt x="226" y="387"/>
                  </a:lnTo>
                  <a:lnTo>
                    <a:pt x="225" y="387"/>
                  </a:lnTo>
                  <a:lnTo>
                    <a:pt x="225" y="385"/>
                  </a:lnTo>
                  <a:lnTo>
                    <a:pt x="223" y="385"/>
                  </a:lnTo>
                  <a:lnTo>
                    <a:pt x="221" y="385"/>
                  </a:lnTo>
                  <a:lnTo>
                    <a:pt x="223" y="384"/>
                  </a:lnTo>
                  <a:lnTo>
                    <a:pt x="221" y="384"/>
                  </a:lnTo>
                  <a:lnTo>
                    <a:pt x="221" y="382"/>
                  </a:lnTo>
                  <a:lnTo>
                    <a:pt x="218" y="382"/>
                  </a:lnTo>
                  <a:lnTo>
                    <a:pt x="218" y="380"/>
                  </a:lnTo>
                  <a:lnTo>
                    <a:pt x="216" y="380"/>
                  </a:lnTo>
                  <a:lnTo>
                    <a:pt x="215" y="380"/>
                  </a:lnTo>
                  <a:lnTo>
                    <a:pt x="213" y="379"/>
                  </a:lnTo>
                  <a:lnTo>
                    <a:pt x="212" y="377"/>
                  </a:lnTo>
                  <a:lnTo>
                    <a:pt x="213" y="377"/>
                  </a:lnTo>
                  <a:lnTo>
                    <a:pt x="212" y="375"/>
                  </a:lnTo>
                  <a:lnTo>
                    <a:pt x="210" y="375"/>
                  </a:lnTo>
                  <a:lnTo>
                    <a:pt x="210" y="374"/>
                  </a:lnTo>
                  <a:lnTo>
                    <a:pt x="208" y="374"/>
                  </a:lnTo>
                  <a:lnTo>
                    <a:pt x="207" y="372"/>
                  </a:lnTo>
                  <a:lnTo>
                    <a:pt x="207" y="371"/>
                  </a:lnTo>
                  <a:lnTo>
                    <a:pt x="205" y="371"/>
                  </a:lnTo>
                  <a:lnTo>
                    <a:pt x="203" y="369"/>
                  </a:lnTo>
                  <a:lnTo>
                    <a:pt x="203" y="367"/>
                  </a:lnTo>
                  <a:lnTo>
                    <a:pt x="202" y="366"/>
                  </a:lnTo>
                  <a:lnTo>
                    <a:pt x="200" y="364"/>
                  </a:lnTo>
                  <a:lnTo>
                    <a:pt x="199" y="364"/>
                  </a:lnTo>
                  <a:lnTo>
                    <a:pt x="197" y="364"/>
                  </a:lnTo>
                  <a:lnTo>
                    <a:pt x="199" y="364"/>
                  </a:lnTo>
                  <a:lnTo>
                    <a:pt x="199" y="362"/>
                  </a:lnTo>
                  <a:lnTo>
                    <a:pt x="197" y="362"/>
                  </a:lnTo>
                  <a:lnTo>
                    <a:pt x="195" y="362"/>
                  </a:lnTo>
                  <a:lnTo>
                    <a:pt x="195" y="361"/>
                  </a:lnTo>
                  <a:lnTo>
                    <a:pt x="194" y="359"/>
                  </a:lnTo>
                  <a:lnTo>
                    <a:pt x="194" y="358"/>
                  </a:lnTo>
                  <a:lnTo>
                    <a:pt x="192" y="358"/>
                  </a:lnTo>
                  <a:lnTo>
                    <a:pt x="192" y="356"/>
                  </a:lnTo>
                  <a:lnTo>
                    <a:pt x="192" y="358"/>
                  </a:lnTo>
                  <a:lnTo>
                    <a:pt x="190" y="356"/>
                  </a:lnTo>
                  <a:lnTo>
                    <a:pt x="189" y="354"/>
                  </a:lnTo>
                  <a:lnTo>
                    <a:pt x="189" y="353"/>
                  </a:lnTo>
                  <a:lnTo>
                    <a:pt x="187" y="353"/>
                  </a:lnTo>
                  <a:lnTo>
                    <a:pt x="186" y="353"/>
                  </a:lnTo>
                  <a:lnTo>
                    <a:pt x="186" y="351"/>
                  </a:lnTo>
                  <a:lnTo>
                    <a:pt x="187" y="351"/>
                  </a:lnTo>
                  <a:lnTo>
                    <a:pt x="187" y="349"/>
                  </a:lnTo>
                  <a:lnTo>
                    <a:pt x="186" y="349"/>
                  </a:lnTo>
                  <a:lnTo>
                    <a:pt x="186" y="348"/>
                  </a:lnTo>
                  <a:lnTo>
                    <a:pt x="184" y="346"/>
                  </a:lnTo>
                  <a:lnTo>
                    <a:pt x="182" y="346"/>
                  </a:lnTo>
                  <a:lnTo>
                    <a:pt x="181" y="346"/>
                  </a:lnTo>
                  <a:lnTo>
                    <a:pt x="181" y="344"/>
                  </a:lnTo>
                  <a:lnTo>
                    <a:pt x="179" y="343"/>
                  </a:lnTo>
                  <a:lnTo>
                    <a:pt x="181" y="343"/>
                  </a:lnTo>
                  <a:lnTo>
                    <a:pt x="181" y="340"/>
                  </a:lnTo>
                  <a:lnTo>
                    <a:pt x="182" y="340"/>
                  </a:lnTo>
                  <a:lnTo>
                    <a:pt x="181" y="340"/>
                  </a:lnTo>
                  <a:lnTo>
                    <a:pt x="181" y="338"/>
                  </a:lnTo>
                  <a:lnTo>
                    <a:pt x="179" y="338"/>
                  </a:lnTo>
                  <a:lnTo>
                    <a:pt x="179" y="336"/>
                  </a:lnTo>
                  <a:lnTo>
                    <a:pt x="177" y="336"/>
                  </a:lnTo>
                  <a:lnTo>
                    <a:pt x="177" y="335"/>
                  </a:lnTo>
                  <a:lnTo>
                    <a:pt x="176" y="335"/>
                  </a:lnTo>
                  <a:lnTo>
                    <a:pt x="176" y="333"/>
                  </a:lnTo>
                  <a:lnTo>
                    <a:pt x="177" y="333"/>
                  </a:lnTo>
                  <a:lnTo>
                    <a:pt x="177" y="331"/>
                  </a:lnTo>
                  <a:lnTo>
                    <a:pt x="179" y="331"/>
                  </a:lnTo>
                  <a:lnTo>
                    <a:pt x="179" y="333"/>
                  </a:lnTo>
                  <a:lnTo>
                    <a:pt x="181" y="333"/>
                  </a:lnTo>
                  <a:lnTo>
                    <a:pt x="182" y="335"/>
                  </a:lnTo>
                  <a:lnTo>
                    <a:pt x="182" y="336"/>
                  </a:lnTo>
                  <a:lnTo>
                    <a:pt x="184" y="336"/>
                  </a:lnTo>
                  <a:lnTo>
                    <a:pt x="184" y="335"/>
                  </a:lnTo>
                  <a:lnTo>
                    <a:pt x="186" y="335"/>
                  </a:lnTo>
                  <a:lnTo>
                    <a:pt x="186" y="333"/>
                  </a:lnTo>
                  <a:lnTo>
                    <a:pt x="186" y="331"/>
                  </a:lnTo>
                  <a:lnTo>
                    <a:pt x="184" y="331"/>
                  </a:lnTo>
                  <a:lnTo>
                    <a:pt x="184" y="330"/>
                  </a:lnTo>
                  <a:lnTo>
                    <a:pt x="186" y="331"/>
                  </a:lnTo>
                  <a:lnTo>
                    <a:pt x="186" y="330"/>
                  </a:lnTo>
                  <a:lnTo>
                    <a:pt x="184" y="330"/>
                  </a:lnTo>
                  <a:lnTo>
                    <a:pt x="184" y="328"/>
                  </a:lnTo>
                  <a:lnTo>
                    <a:pt x="186" y="328"/>
                  </a:lnTo>
                  <a:lnTo>
                    <a:pt x="186" y="330"/>
                  </a:lnTo>
                  <a:lnTo>
                    <a:pt x="187" y="330"/>
                  </a:lnTo>
                  <a:lnTo>
                    <a:pt x="189" y="331"/>
                  </a:lnTo>
                  <a:lnTo>
                    <a:pt x="190" y="333"/>
                  </a:lnTo>
                  <a:lnTo>
                    <a:pt x="192" y="333"/>
                  </a:lnTo>
                  <a:lnTo>
                    <a:pt x="194" y="335"/>
                  </a:lnTo>
                  <a:lnTo>
                    <a:pt x="195" y="335"/>
                  </a:lnTo>
                  <a:lnTo>
                    <a:pt x="195" y="333"/>
                  </a:lnTo>
                  <a:lnTo>
                    <a:pt x="194" y="333"/>
                  </a:lnTo>
                  <a:lnTo>
                    <a:pt x="194" y="331"/>
                  </a:lnTo>
                  <a:lnTo>
                    <a:pt x="192" y="330"/>
                  </a:lnTo>
                  <a:lnTo>
                    <a:pt x="194" y="330"/>
                  </a:lnTo>
                  <a:lnTo>
                    <a:pt x="195" y="330"/>
                  </a:lnTo>
                  <a:lnTo>
                    <a:pt x="195" y="328"/>
                  </a:lnTo>
                  <a:lnTo>
                    <a:pt x="194" y="328"/>
                  </a:lnTo>
                  <a:lnTo>
                    <a:pt x="194" y="327"/>
                  </a:lnTo>
                  <a:lnTo>
                    <a:pt x="192" y="327"/>
                  </a:lnTo>
                  <a:lnTo>
                    <a:pt x="190" y="325"/>
                  </a:lnTo>
                  <a:lnTo>
                    <a:pt x="190" y="323"/>
                  </a:lnTo>
                  <a:lnTo>
                    <a:pt x="192" y="323"/>
                  </a:lnTo>
                  <a:lnTo>
                    <a:pt x="194" y="325"/>
                  </a:lnTo>
                  <a:lnTo>
                    <a:pt x="195" y="325"/>
                  </a:lnTo>
                  <a:lnTo>
                    <a:pt x="197" y="327"/>
                  </a:lnTo>
                  <a:lnTo>
                    <a:pt x="199" y="327"/>
                  </a:lnTo>
                  <a:lnTo>
                    <a:pt x="199" y="328"/>
                  </a:lnTo>
                  <a:lnTo>
                    <a:pt x="197" y="328"/>
                  </a:lnTo>
                  <a:lnTo>
                    <a:pt x="199" y="328"/>
                  </a:lnTo>
                  <a:lnTo>
                    <a:pt x="199" y="330"/>
                  </a:lnTo>
                  <a:lnTo>
                    <a:pt x="200" y="330"/>
                  </a:lnTo>
                  <a:lnTo>
                    <a:pt x="202" y="330"/>
                  </a:lnTo>
                  <a:lnTo>
                    <a:pt x="205" y="333"/>
                  </a:lnTo>
                  <a:lnTo>
                    <a:pt x="207" y="333"/>
                  </a:lnTo>
                  <a:lnTo>
                    <a:pt x="208" y="331"/>
                  </a:lnTo>
                  <a:lnTo>
                    <a:pt x="210" y="331"/>
                  </a:lnTo>
                  <a:lnTo>
                    <a:pt x="212" y="331"/>
                  </a:lnTo>
                  <a:lnTo>
                    <a:pt x="213" y="333"/>
                  </a:lnTo>
                  <a:lnTo>
                    <a:pt x="213" y="331"/>
                  </a:lnTo>
                  <a:lnTo>
                    <a:pt x="213" y="333"/>
                  </a:lnTo>
                  <a:lnTo>
                    <a:pt x="215" y="333"/>
                  </a:lnTo>
                  <a:lnTo>
                    <a:pt x="216" y="333"/>
                  </a:lnTo>
                  <a:lnTo>
                    <a:pt x="218" y="333"/>
                  </a:lnTo>
                  <a:lnTo>
                    <a:pt x="218" y="335"/>
                  </a:lnTo>
                  <a:lnTo>
                    <a:pt x="218" y="336"/>
                  </a:lnTo>
                  <a:lnTo>
                    <a:pt x="220" y="336"/>
                  </a:lnTo>
                  <a:lnTo>
                    <a:pt x="218" y="336"/>
                  </a:lnTo>
                  <a:lnTo>
                    <a:pt x="218" y="338"/>
                  </a:lnTo>
                  <a:lnTo>
                    <a:pt x="216" y="338"/>
                  </a:lnTo>
                  <a:lnTo>
                    <a:pt x="215" y="338"/>
                  </a:lnTo>
                  <a:lnTo>
                    <a:pt x="213" y="338"/>
                  </a:lnTo>
                  <a:lnTo>
                    <a:pt x="213" y="340"/>
                  </a:lnTo>
                  <a:lnTo>
                    <a:pt x="215" y="341"/>
                  </a:lnTo>
                  <a:lnTo>
                    <a:pt x="216" y="341"/>
                  </a:lnTo>
                  <a:lnTo>
                    <a:pt x="218" y="343"/>
                  </a:lnTo>
                  <a:lnTo>
                    <a:pt x="220" y="343"/>
                  </a:lnTo>
                  <a:lnTo>
                    <a:pt x="220" y="341"/>
                  </a:lnTo>
                  <a:lnTo>
                    <a:pt x="221" y="341"/>
                  </a:lnTo>
                  <a:lnTo>
                    <a:pt x="221" y="343"/>
                  </a:lnTo>
                  <a:lnTo>
                    <a:pt x="221" y="341"/>
                  </a:lnTo>
                  <a:lnTo>
                    <a:pt x="223" y="341"/>
                  </a:lnTo>
                  <a:lnTo>
                    <a:pt x="225" y="341"/>
                  </a:lnTo>
                  <a:lnTo>
                    <a:pt x="225" y="343"/>
                  </a:lnTo>
                  <a:lnTo>
                    <a:pt x="226" y="343"/>
                  </a:lnTo>
                  <a:lnTo>
                    <a:pt x="226" y="344"/>
                  </a:lnTo>
                  <a:lnTo>
                    <a:pt x="228" y="344"/>
                  </a:lnTo>
                  <a:lnTo>
                    <a:pt x="228" y="346"/>
                  </a:lnTo>
                  <a:lnTo>
                    <a:pt x="226" y="348"/>
                  </a:lnTo>
                  <a:lnTo>
                    <a:pt x="228" y="348"/>
                  </a:lnTo>
                  <a:lnTo>
                    <a:pt x="228" y="349"/>
                  </a:lnTo>
                  <a:lnTo>
                    <a:pt x="229" y="349"/>
                  </a:lnTo>
                  <a:lnTo>
                    <a:pt x="229" y="348"/>
                  </a:lnTo>
                  <a:lnTo>
                    <a:pt x="229" y="346"/>
                  </a:lnTo>
                  <a:lnTo>
                    <a:pt x="228" y="346"/>
                  </a:lnTo>
                  <a:lnTo>
                    <a:pt x="228" y="344"/>
                  </a:lnTo>
                  <a:lnTo>
                    <a:pt x="226" y="344"/>
                  </a:lnTo>
                  <a:lnTo>
                    <a:pt x="226" y="343"/>
                  </a:lnTo>
                  <a:lnTo>
                    <a:pt x="226" y="341"/>
                  </a:lnTo>
                  <a:lnTo>
                    <a:pt x="226" y="340"/>
                  </a:lnTo>
                  <a:lnTo>
                    <a:pt x="225" y="338"/>
                  </a:lnTo>
                  <a:lnTo>
                    <a:pt x="225" y="340"/>
                  </a:lnTo>
                  <a:lnTo>
                    <a:pt x="225" y="338"/>
                  </a:lnTo>
                  <a:lnTo>
                    <a:pt x="223" y="338"/>
                  </a:lnTo>
                  <a:lnTo>
                    <a:pt x="221" y="338"/>
                  </a:lnTo>
                  <a:lnTo>
                    <a:pt x="220" y="336"/>
                  </a:lnTo>
                  <a:lnTo>
                    <a:pt x="218" y="336"/>
                  </a:lnTo>
                  <a:lnTo>
                    <a:pt x="218" y="335"/>
                  </a:lnTo>
                  <a:lnTo>
                    <a:pt x="218" y="333"/>
                  </a:lnTo>
                  <a:lnTo>
                    <a:pt x="220" y="333"/>
                  </a:lnTo>
                  <a:lnTo>
                    <a:pt x="220" y="331"/>
                  </a:lnTo>
                  <a:lnTo>
                    <a:pt x="218" y="331"/>
                  </a:lnTo>
                  <a:lnTo>
                    <a:pt x="218" y="330"/>
                  </a:lnTo>
                  <a:lnTo>
                    <a:pt x="216" y="330"/>
                  </a:lnTo>
                  <a:lnTo>
                    <a:pt x="215" y="330"/>
                  </a:lnTo>
                  <a:lnTo>
                    <a:pt x="213" y="330"/>
                  </a:lnTo>
                  <a:lnTo>
                    <a:pt x="212" y="328"/>
                  </a:lnTo>
                  <a:lnTo>
                    <a:pt x="210" y="328"/>
                  </a:lnTo>
                  <a:lnTo>
                    <a:pt x="208" y="327"/>
                  </a:lnTo>
                  <a:lnTo>
                    <a:pt x="207" y="325"/>
                  </a:lnTo>
                  <a:lnTo>
                    <a:pt x="205" y="323"/>
                  </a:lnTo>
                  <a:lnTo>
                    <a:pt x="203" y="323"/>
                  </a:lnTo>
                  <a:lnTo>
                    <a:pt x="202" y="323"/>
                  </a:lnTo>
                  <a:lnTo>
                    <a:pt x="202" y="322"/>
                  </a:lnTo>
                  <a:lnTo>
                    <a:pt x="200" y="322"/>
                  </a:lnTo>
                  <a:lnTo>
                    <a:pt x="199" y="322"/>
                  </a:lnTo>
                  <a:lnTo>
                    <a:pt x="197" y="320"/>
                  </a:lnTo>
                  <a:lnTo>
                    <a:pt x="195" y="320"/>
                  </a:lnTo>
                  <a:lnTo>
                    <a:pt x="195" y="318"/>
                  </a:lnTo>
                  <a:lnTo>
                    <a:pt x="194" y="318"/>
                  </a:lnTo>
                  <a:lnTo>
                    <a:pt x="192" y="318"/>
                  </a:lnTo>
                  <a:lnTo>
                    <a:pt x="190" y="317"/>
                  </a:lnTo>
                  <a:lnTo>
                    <a:pt x="189" y="317"/>
                  </a:lnTo>
                  <a:lnTo>
                    <a:pt x="189" y="315"/>
                  </a:lnTo>
                  <a:lnTo>
                    <a:pt x="187" y="314"/>
                  </a:lnTo>
                  <a:lnTo>
                    <a:pt x="187" y="312"/>
                  </a:lnTo>
                  <a:lnTo>
                    <a:pt x="186" y="312"/>
                  </a:lnTo>
                  <a:lnTo>
                    <a:pt x="184" y="310"/>
                  </a:lnTo>
                  <a:lnTo>
                    <a:pt x="184" y="309"/>
                  </a:lnTo>
                  <a:lnTo>
                    <a:pt x="182" y="309"/>
                  </a:lnTo>
                  <a:lnTo>
                    <a:pt x="181" y="307"/>
                  </a:lnTo>
                  <a:lnTo>
                    <a:pt x="179" y="307"/>
                  </a:lnTo>
                  <a:lnTo>
                    <a:pt x="179" y="305"/>
                  </a:lnTo>
                  <a:lnTo>
                    <a:pt x="177" y="305"/>
                  </a:lnTo>
                  <a:lnTo>
                    <a:pt x="176" y="304"/>
                  </a:lnTo>
                  <a:lnTo>
                    <a:pt x="174" y="302"/>
                  </a:lnTo>
                  <a:lnTo>
                    <a:pt x="174" y="301"/>
                  </a:lnTo>
                  <a:lnTo>
                    <a:pt x="173" y="301"/>
                  </a:lnTo>
                  <a:lnTo>
                    <a:pt x="173" y="299"/>
                  </a:lnTo>
                  <a:lnTo>
                    <a:pt x="171" y="297"/>
                  </a:lnTo>
                  <a:lnTo>
                    <a:pt x="169" y="297"/>
                  </a:lnTo>
                  <a:lnTo>
                    <a:pt x="168" y="296"/>
                  </a:lnTo>
                  <a:lnTo>
                    <a:pt x="166" y="292"/>
                  </a:lnTo>
                  <a:lnTo>
                    <a:pt x="164" y="292"/>
                  </a:lnTo>
                  <a:lnTo>
                    <a:pt x="163" y="292"/>
                  </a:lnTo>
                  <a:lnTo>
                    <a:pt x="161" y="291"/>
                  </a:lnTo>
                  <a:lnTo>
                    <a:pt x="160" y="291"/>
                  </a:lnTo>
                  <a:lnTo>
                    <a:pt x="160" y="289"/>
                  </a:lnTo>
                  <a:lnTo>
                    <a:pt x="160" y="288"/>
                  </a:lnTo>
                  <a:lnTo>
                    <a:pt x="158" y="288"/>
                  </a:lnTo>
                  <a:lnTo>
                    <a:pt x="158" y="286"/>
                  </a:lnTo>
                  <a:lnTo>
                    <a:pt x="158" y="284"/>
                  </a:lnTo>
                  <a:lnTo>
                    <a:pt x="156" y="284"/>
                  </a:lnTo>
                  <a:lnTo>
                    <a:pt x="156" y="283"/>
                  </a:lnTo>
                  <a:lnTo>
                    <a:pt x="156" y="281"/>
                  </a:lnTo>
                  <a:lnTo>
                    <a:pt x="155" y="281"/>
                  </a:lnTo>
                  <a:lnTo>
                    <a:pt x="153" y="279"/>
                  </a:lnTo>
                  <a:lnTo>
                    <a:pt x="153" y="278"/>
                  </a:lnTo>
                  <a:lnTo>
                    <a:pt x="151" y="276"/>
                  </a:lnTo>
                  <a:lnTo>
                    <a:pt x="151" y="275"/>
                  </a:lnTo>
                  <a:lnTo>
                    <a:pt x="150" y="275"/>
                  </a:lnTo>
                  <a:lnTo>
                    <a:pt x="150" y="273"/>
                  </a:lnTo>
                  <a:lnTo>
                    <a:pt x="150" y="271"/>
                  </a:lnTo>
                  <a:lnTo>
                    <a:pt x="148" y="271"/>
                  </a:lnTo>
                  <a:lnTo>
                    <a:pt x="148" y="270"/>
                  </a:lnTo>
                  <a:lnTo>
                    <a:pt x="150" y="270"/>
                  </a:lnTo>
                  <a:lnTo>
                    <a:pt x="148" y="270"/>
                  </a:lnTo>
                  <a:lnTo>
                    <a:pt x="148" y="268"/>
                  </a:lnTo>
                  <a:lnTo>
                    <a:pt x="150" y="268"/>
                  </a:lnTo>
                  <a:lnTo>
                    <a:pt x="150" y="266"/>
                  </a:lnTo>
                  <a:lnTo>
                    <a:pt x="148" y="266"/>
                  </a:lnTo>
                  <a:lnTo>
                    <a:pt x="148" y="265"/>
                  </a:lnTo>
                  <a:lnTo>
                    <a:pt x="148" y="262"/>
                  </a:lnTo>
                  <a:lnTo>
                    <a:pt x="146" y="262"/>
                  </a:lnTo>
                  <a:lnTo>
                    <a:pt x="146" y="260"/>
                  </a:lnTo>
                  <a:lnTo>
                    <a:pt x="146" y="258"/>
                  </a:lnTo>
                  <a:lnTo>
                    <a:pt x="146" y="257"/>
                  </a:lnTo>
                  <a:lnTo>
                    <a:pt x="146" y="255"/>
                  </a:lnTo>
                  <a:lnTo>
                    <a:pt x="146" y="253"/>
                  </a:lnTo>
                  <a:lnTo>
                    <a:pt x="146" y="252"/>
                  </a:lnTo>
                  <a:lnTo>
                    <a:pt x="146" y="250"/>
                  </a:lnTo>
                  <a:lnTo>
                    <a:pt x="148" y="250"/>
                  </a:lnTo>
                  <a:lnTo>
                    <a:pt x="148" y="247"/>
                  </a:lnTo>
                  <a:lnTo>
                    <a:pt x="148" y="245"/>
                  </a:lnTo>
                  <a:lnTo>
                    <a:pt x="148" y="244"/>
                  </a:lnTo>
                  <a:lnTo>
                    <a:pt x="150" y="244"/>
                  </a:lnTo>
                  <a:lnTo>
                    <a:pt x="150" y="242"/>
                  </a:lnTo>
                  <a:lnTo>
                    <a:pt x="150" y="240"/>
                  </a:lnTo>
                  <a:lnTo>
                    <a:pt x="150" y="239"/>
                  </a:lnTo>
                  <a:lnTo>
                    <a:pt x="150" y="237"/>
                  </a:lnTo>
                  <a:lnTo>
                    <a:pt x="150" y="236"/>
                  </a:lnTo>
                  <a:lnTo>
                    <a:pt x="150" y="234"/>
                  </a:lnTo>
                  <a:lnTo>
                    <a:pt x="148" y="232"/>
                  </a:lnTo>
                  <a:lnTo>
                    <a:pt x="146" y="232"/>
                  </a:lnTo>
                  <a:lnTo>
                    <a:pt x="146" y="231"/>
                  </a:lnTo>
                  <a:lnTo>
                    <a:pt x="146" y="229"/>
                  </a:lnTo>
                  <a:lnTo>
                    <a:pt x="145" y="227"/>
                  </a:lnTo>
                  <a:lnTo>
                    <a:pt x="145" y="226"/>
                  </a:lnTo>
                  <a:lnTo>
                    <a:pt x="145" y="224"/>
                  </a:lnTo>
                  <a:lnTo>
                    <a:pt x="143" y="224"/>
                  </a:lnTo>
                  <a:lnTo>
                    <a:pt x="143" y="223"/>
                  </a:lnTo>
                  <a:lnTo>
                    <a:pt x="143" y="221"/>
                  </a:lnTo>
                  <a:lnTo>
                    <a:pt x="142" y="221"/>
                  </a:lnTo>
                  <a:lnTo>
                    <a:pt x="142" y="219"/>
                  </a:lnTo>
                  <a:lnTo>
                    <a:pt x="142" y="218"/>
                  </a:lnTo>
                  <a:lnTo>
                    <a:pt x="140" y="218"/>
                  </a:lnTo>
                  <a:lnTo>
                    <a:pt x="140" y="216"/>
                  </a:lnTo>
                  <a:lnTo>
                    <a:pt x="140" y="214"/>
                  </a:lnTo>
                  <a:lnTo>
                    <a:pt x="138" y="214"/>
                  </a:lnTo>
                  <a:lnTo>
                    <a:pt x="137" y="214"/>
                  </a:lnTo>
                  <a:lnTo>
                    <a:pt x="137" y="213"/>
                  </a:lnTo>
                  <a:lnTo>
                    <a:pt x="135" y="213"/>
                  </a:lnTo>
                  <a:lnTo>
                    <a:pt x="132" y="213"/>
                  </a:lnTo>
                  <a:lnTo>
                    <a:pt x="132" y="211"/>
                  </a:lnTo>
                  <a:lnTo>
                    <a:pt x="130" y="211"/>
                  </a:lnTo>
                  <a:lnTo>
                    <a:pt x="129" y="210"/>
                  </a:lnTo>
                  <a:lnTo>
                    <a:pt x="127" y="210"/>
                  </a:lnTo>
                  <a:lnTo>
                    <a:pt x="127" y="208"/>
                  </a:lnTo>
                  <a:lnTo>
                    <a:pt x="125" y="208"/>
                  </a:lnTo>
                  <a:lnTo>
                    <a:pt x="124" y="206"/>
                  </a:lnTo>
                  <a:lnTo>
                    <a:pt x="122" y="205"/>
                  </a:lnTo>
                  <a:lnTo>
                    <a:pt x="120" y="203"/>
                  </a:lnTo>
                  <a:lnTo>
                    <a:pt x="119" y="201"/>
                  </a:lnTo>
                  <a:lnTo>
                    <a:pt x="117" y="201"/>
                  </a:lnTo>
                  <a:lnTo>
                    <a:pt x="116" y="201"/>
                  </a:lnTo>
                  <a:lnTo>
                    <a:pt x="116" y="200"/>
                  </a:lnTo>
                  <a:lnTo>
                    <a:pt x="116" y="198"/>
                  </a:lnTo>
                  <a:lnTo>
                    <a:pt x="114" y="198"/>
                  </a:lnTo>
                  <a:lnTo>
                    <a:pt x="112" y="196"/>
                  </a:lnTo>
                  <a:lnTo>
                    <a:pt x="112" y="195"/>
                  </a:lnTo>
                  <a:lnTo>
                    <a:pt x="111" y="195"/>
                  </a:lnTo>
                  <a:lnTo>
                    <a:pt x="111" y="193"/>
                  </a:lnTo>
                  <a:lnTo>
                    <a:pt x="111" y="192"/>
                  </a:lnTo>
                  <a:lnTo>
                    <a:pt x="112" y="192"/>
                  </a:lnTo>
                  <a:lnTo>
                    <a:pt x="111" y="190"/>
                  </a:lnTo>
                  <a:lnTo>
                    <a:pt x="109" y="190"/>
                  </a:lnTo>
                  <a:lnTo>
                    <a:pt x="109" y="188"/>
                  </a:lnTo>
                  <a:lnTo>
                    <a:pt x="107" y="188"/>
                  </a:lnTo>
                  <a:lnTo>
                    <a:pt x="107" y="190"/>
                  </a:lnTo>
                  <a:lnTo>
                    <a:pt x="109" y="190"/>
                  </a:lnTo>
                  <a:lnTo>
                    <a:pt x="109" y="192"/>
                  </a:lnTo>
                  <a:lnTo>
                    <a:pt x="111" y="192"/>
                  </a:lnTo>
                  <a:lnTo>
                    <a:pt x="109" y="193"/>
                  </a:lnTo>
                  <a:lnTo>
                    <a:pt x="107" y="192"/>
                  </a:lnTo>
                  <a:lnTo>
                    <a:pt x="106" y="192"/>
                  </a:lnTo>
                  <a:lnTo>
                    <a:pt x="104" y="190"/>
                  </a:lnTo>
                  <a:lnTo>
                    <a:pt x="103" y="190"/>
                  </a:lnTo>
                  <a:lnTo>
                    <a:pt x="103" y="188"/>
                  </a:lnTo>
                  <a:lnTo>
                    <a:pt x="101" y="188"/>
                  </a:lnTo>
                  <a:lnTo>
                    <a:pt x="101" y="187"/>
                  </a:lnTo>
                  <a:lnTo>
                    <a:pt x="99" y="187"/>
                  </a:lnTo>
                  <a:lnTo>
                    <a:pt x="98" y="187"/>
                  </a:lnTo>
                  <a:close/>
                </a:path>
              </a:pathLst>
            </a:custGeom>
            <a:solidFill>
              <a:schemeClr val="bg1">
                <a:lumMod val="75000"/>
              </a:scheme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1186" name="Freeform 32">
              <a:extLst>
                <a:ext uri="{FF2B5EF4-FFF2-40B4-BE49-F238E27FC236}">
                  <a16:creationId xmlns:a16="http://schemas.microsoft.com/office/drawing/2014/main" id="{E62F0DAC-D1A1-0FD8-2DB5-5E17B9BABB27}"/>
                </a:ext>
              </a:extLst>
            </p:cNvPr>
            <p:cNvSpPr>
              <a:spLocks/>
            </p:cNvSpPr>
            <p:nvPr/>
          </p:nvSpPr>
          <p:spPr bwMode="auto">
            <a:xfrm>
              <a:off x="4808" y="3868"/>
              <a:ext cx="632" cy="448"/>
            </a:xfrm>
            <a:custGeom>
              <a:avLst/>
              <a:gdLst>
                <a:gd name="T0" fmla="*/ 510 w 632"/>
                <a:gd name="T1" fmla="*/ 28 h 448"/>
                <a:gd name="T2" fmla="*/ 540 w 632"/>
                <a:gd name="T3" fmla="*/ 20 h 448"/>
                <a:gd name="T4" fmla="*/ 562 w 632"/>
                <a:gd name="T5" fmla="*/ 13 h 448"/>
                <a:gd name="T6" fmla="*/ 585 w 632"/>
                <a:gd name="T7" fmla="*/ 33 h 448"/>
                <a:gd name="T8" fmla="*/ 606 w 632"/>
                <a:gd name="T9" fmla="*/ 51 h 448"/>
                <a:gd name="T10" fmla="*/ 627 w 632"/>
                <a:gd name="T11" fmla="*/ 51 h 448"/>
                <a:gd name="T12" fmla="*/ 629 w 632"/>
                <a:gd name="T13" fmla="*/ 75 h 448"/>
                <a:gd name="T14" fmla="*/ 603 w 632"/>
                <a:gd name="T15" fmla="*/ 98 h 448"/>
                <a:gd name="T16" fmla="*/ 579 w 632"/>
                <a:gd name="T17" fmla="*/ 114 h 448"/>
                <a:gd name="T18" fmla="*/ 562 w 632"/>
                <a:gd name="T19" fmla="*/ 153 h 448"/>
                <a:gd name="T20" fmla="*/ 553 w 632"/>
                <a:gd name="T21" fmla="*/ 183 h 448"/>
                <a:gd name="T22" fmla="*/ 538 w 632"/>
                <a:gd name="T23" fmla="*/ 213 h 448"/>
                <a:gd name="T24" fmla="*/ 531 w 632"/>
                <a:gd name="T25" fmla="*/ 235 h 448"/>
                <a:gd name="T26" fmla="*/ 530 w 632"/>
                <a:gd name="T27" fmla="*/ 264 h 448"/>
                <a:gd name="T28" fmla="*/ 512 w 632"/>
                <a:gd name="T29" fmla="*/ 280 h 448"/>
                <a:gd name="T30" fmla="*/ 505 w 632"/>
                <a:gd name="T31" fmla="*/ 313 h 448"/>
                <a:gd name="T32" fmla="*/ 486 w 632"/>
                <a:gd name="T33" fmla="*/ 337 h 448"/>
                <a:gd name="T34" fmla="*/ 457 w 632"/>
                <a:gd name="T35" fmla="*/ 358 h 448"/>
                <a:gd name="T36" fmla="*/ 431 w 632"/>
                <a:gd name="T37" fmla="*/ 361 h 448"/>
                <a:gd name="T38" fmla="*/ 395 w 632"/>
                <a:gd name="T39" fmla="*/ 366 h 448"/>
                <a:gd name="T40" fmla="*/ 346 w 632"/>
                <a:gd name="T41" fmla="*/ 373 h 448"/>
                <a:gd name="T42" fmla="*/ 312 w 632"/>
                <a:gd name="T43" fmla="*/ 400 h 448"/>
                <a:gd name="T44" fmla="*/ 284 w 632"/>
                <a:gd name="T45" fmla="*/ 415 h 448"/>
                <a:gd name="T46" fmla="*/ 260 w 632"/>
                <a:gd name="T47" fmla="*/ 427 h 448"/>
                <a:gd name="T48" fmla="*/ 242 w 632"/>
                <a:gd name="T49" fmla="*/ 444 h 448"/>
                <a:gd name="T50" fmla="*/ 216 w 632"/>
                <a:gd name="T51" fmla="*/ 443 h 448"/>
                <a:gd name="T52" fmla="*/ 187 w 632"/>
                <a:gd name="T53" fmla="*/ 446 h 448"/>
                <a:gd name="T54" fmla="*/ 161 w 632"/>
                <a:gd name="T55" fmla="*/ 431 h 448"/>
                <a:gd name="T56" fmla="*/ 131 w 632"/>
                <a:gd name="T57" fmla="*/ 425 h 448"/>
                <a:gd name="T58" fmla="*/ 117 w 632"/>
                <a:gd name="T59" fmla="*/ 407 h 448"/>
                <a:gd name="T60" fmla="*/ 91 w 632"/>
                <a:gd name="T61" fmla="*/ 387 h 448"/>
                <a:gd name="T62" fmla="*/ 74 w 632"/>
                <a:gd name="T63" fmla="*/ 371 h 448"/>
                <a:gd name="T64" fmla="*/ 60 w 632"/>
                <a:gd name="T65" fmla="*/ 365 h 448"/>
                <a:gd name="T66" fmla="*/ 39 w 632"/>
                <a:gd name="T67" fmla="*/ 347 h 448"/>
                <a:gd name="T68" fmla="*/ 19 w 632"/>
                <a:gd name="T69" fmla="*/ 321 h 448"/>
                <a:gd name="T70" fmla="*/ 1 w 632"/>
                <a:gd name="T71" fmla="*/ 308 h 448"/>
                <a:gd name="T72" fmla="*/ 19 w 632"/>
                <a:gd name="T73" fmla="*/ 287 h 448"/>
                <a:gd name="T74" fmla="*/ 32 w 632"/>
                <a:gd name="T75" fmla="*/ 279 h 448"/>
                <a:gd name="T76" fmla="*/ 29 w 632"/>
                <a:gd name="T77" fmla="*/ 259 h 448"/>
                <a:gd name="T78" fmla="*/ 26 w 632"/>
                <a:gd name="T79" fmla="*/ 230 h 448"/>
                <a:gd name="T80" fmla="*/ 43 w 632"/>
                <a:gd name="T81" fmla="*/ 210 h 448"/>
                <a:gd name="T82" fmla="*/ 24 w 632"/>
                <a:gd name="T83" fmla="*/ 192 h 448"/>
                <a:gd name="T84" fmla="*/ 35 w 632"/>
                <a:gd name="T85" fmla="*/ 176 h 448"/>
                <a:gd name="T86" fmla="*/ 83 w 632"/>
                <a:gd name="T87" fmla="*/ 178 h 448"/>
                <a:gd name="T88" fmla="*/ 83 w 632"/>
                <a:gd name="T89" fmla="*/ 147 h 448"/>
                <a:gd name="T90" fmla="*/ 104 w 632"/>
                <a:gd name="T91" fmla="*/ 137 h 448"/>
                <a:gd name="T92" fmla="*/ 126 w 632"/>
                <a:gd name="T93" fmla="*/ 158 h 448"/>
                <a:gd name="T94" fmla="*/ 170 w 632"/>
                <a:gd name="T95" fmla="*/ 163 h 448"/>
                <a:gd name="T96" fmla="*/ 222 w 632"/>
                <a:gd name="T97" fmla="*/ 155 h 448"/>
                <a:gd name="T98" fmla="*/ 247 w 632"/>
                <a:gd name="T99" fmla="*/ 139 h 448"/>
                <a:gd name="T100" fmla="*/ 244 w 632"/>
                <a:gd name="T101" fmla="*/ 114 h 448"/>
                <a:gd name="T102" fmla="*/ 263 w 632"/>
                <a:gd name="T103" fmla="*/ 106 h 448"/>
                <a:gd name="T104" fmla="*/ 284 w 632"/>
                <a:gd name="T105" fmla="*/ 103 h 448"/>
                <a:gd name="T106" fmla="*/ 305 w 632"/>
                <a:gd name="T107" fmla="*/ 96 h 448"/>
                <a:gd name="T108" fmla="*/ 317 w 632"/>
                <a:gd name="T109" fmla="*/ 74 h 448"/>
                <a:gd name="T110" fmla="*/ 341 w 632"/>
                <a:gd name="T111" fmla="*/ 82 h 448"/>
                <a:gd name="T112" fmla="*/ 366 w 632"/>
                <a:gd name="T113" fmla="*/ 70 h 448"/>
                <a:gd name="T114" fmla="*/ 388 w 632"/>
                <a:gd name="T115" fmla="*/ 46 h 448"/>
                <a:gd name="T116" fmla="*/ 406 w 632"/>
                <a:gd name="T117" fmla="*/ 17 h 448"/>
                <a:gd name="T118" fmla="*/ 440 w 632"/>
                <a:gd name="T119" fmla="*/ 17 h 448"/>
                <a:gd name="T120" fmla="*/ 470 w 632"/>
                <a:gd name="T121" fmla="*/ 10 h 4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32" h="448">
                  <a:moveTo>
                    <a:pt x="486" y="4"/>
                  </a:moveTo>
                  <a:lnTo>
                    <a:pt x="487" y="4"/>
                  </a:lnTo>
                  <a:lnTo>
                    <a:pt x="487" y="5"/>
                  </a:lnTo>
                  <a:lnTo>
                    <a:pt x="489" y="7"/>
                  </a:lnTo>
                  <a:lnTo>
                    <a:pt x="491" y="10"/>
                  </a:lnTo>
                  <a:lnTo>
                    <a:pt x="492" y="10"/>
                  </a:lnTo>
                  <a:lnTo>
                    <a:pt x="494" y="10"/>
                  </a:lnTo>
                  <a:lnTo>
                    <a:pt x="496" y="10"/>
                  </a:lnTo>
                  <a:lnTo>
                    <a:pt x="497" y="10"/>
                  </a:lnTo>
                  <a:lnTo>
                    <a:pt x="497" y="9"/>
                  </a:lnTo>
                  <a:lnTo>
                    <a:pt x="499" y="9"/>
                  </a:lnTo>
                  <a:lnTo>
                    <a:pt x="501" y="12"/>
                  </a:lnTo>
                  <a:lnTo>
                    <a:pt x="501" y="15"/>
                  </a:lnTo>
                  <a:lnTo>
                    <a:pt x="502" y="17"/>
                  </a:lnTo>
                  <a:lnTo>
                    <a:pt x="504" y="18"/>
                  </a:lnTo>
                  <a:lnTo>
                    <a:pt x="505" y="22"/>
                  </a:lnTo>
                  <a:lnTo>
                    <a:pt x="505" y="23"/>
                  </a:lnTo>
                  <a:lnTo>
                    <a:pt x="507" y="25"/>
                  </a:lnTo>
                  <a:lnTo>
                    <a:pt x="509" y="25"/>
                  </a:lnTo>
                  <a:lnTo>
                    <a:pt x="510" y="26"/>
                  </a:lnTo>
                  <a:lnTo>
                    <a:pt x="510" y="28"/>
                  </a:lnTo>
                  <a:lnTo>
                    <a:pt x="514" y="30"/>
                  </a:lnTo>
                  <a:lnTo>
                    <a:pt x="515" y="30"/>
                  </a:lnTo>
                  <a:lnTo>
                    <a:pt x="517" y="31"/>
                  </a:lnTo>
                  <a:lnTo>
                    <a:pt x="518" y="31"/>
                  </a:lnTo>
                  <a:lnTo>
                    <a:pt x="520" y="31"/>
                  </a:lnTo>
                  <a:lnTo>
                    <a:pt x="522" y="30"/>
                  </a:lnTo>
                  <a:lnTo>
                    <a:pt x="523" y="30"/>
                  </a:lnTo>
                  <a:lnTo>
                    <a:pt x="523" y="28"/>
                  </a:lnTo>
                  <a:lnTo>
                    <a:pt x="523" y="26"/>
                  </a:lnTo>
                  <a:lnTo>
                    <a:pt x="525" y="26"/>
                  </a:lnTo>
                  <a:lnTo>
                    <a:pt x="527" y="26"/>
                  </a:lnTo>
                  <a:lnTo>
                    <a:pt x="528" y="26"/>
                  </a:lnTo>
                  <a:lnTo>
                    <a:pt x="528" y="25"/>
                  </a:lnTo>
                  <a:lnTo>
                    <a:pt x="530" y="25"/>
                  </a:lnTo>
                  <a:lnTo>
                    <a:pt x="531" y="25"/>
                  </a:lnTo>
                  <a:lnTo>
                    <a:pt x="533" y="25"/>
                  </a:lnTo>
                  <a:lnTo>
                    <a:pt x="533" y="23"/>
                  </a:lnTo>
                  <a:lnTo>
                    <a:pt x="535" y="22"/>
                  </a:lnTo>
                  <a:lnTo>
                    <a:pt x="536" y="22"/>
                  </a:lnTo>
                  <a:lnTo>
                    <a:pt x="538" y="22"/>
                  </a:lnTo>
                  <a:lnTo>
                    <a:pt x="540" y="20"/>
                  </a:lnTo>
                  <a:lnTo>
                    <a:pt x="541" y="20"/>
                  </a:lnTo>
                  <a:lnTo>
                    <a:pt x="541" y="22"/>
                  </a:lnTo>
                  <a:lnTo>
                    <a:pt x="543" y="22"/>
                  </a:lnTo>
                  <a:lnTo>
                    <a:pt x="544" y="22"/>
                  </a:lnTo>
                  <a:lnTo>
                    <a:pt x="544" y="20"/>
                  </a:lnTo>
                  <a:lnTo>
                    <a:pt x="546" y="20"/>
                  </a:lnTo>
                  <a:lnTo>
                    <a:pt x="546" y="22"/>
                  </a:lnTo>
                  <a:lnTo>
                    <a:pt x="548" y="22"/>
                  </a:lnTo>
                  <a:lnTo>
                    <a:pt x="549" y="20"/>
                  </a:lnTo>
                  <a:lnTo>
                    <a:pt x="551" y="20"/>
                  </a:lnTo>
                  <a:lnTo>
                    <a:pt x="551" y="18"/>
                  </a:lnTo>
                  <a:lnTo>
                    <a:pt x="553" y="17"/>
                  </a:lnTo>
                  <a:lnTo>
                    <a:pt x="553" y="15"/>
                  </a:lnTo>
                  <a:lnTo>
                    <a:pt x="553" y="13"/>
                  </a:lnTo>
                  <a:lnTo>
                    <a:pt x="554" y="13"/>
                  </a:lnTo>
                  <a:lnTo>
                    <a:pt x="556" y="13"/>
                  </a:lnTo>
                  <a:lnTo>
                    <a:pt x="556" y="12"/>
                  </a:lnTo>
                  <a:lnTo>
                    <a:pt x="557" y="12"/>
                  </a:lnTo>
                  <a:lnTo>
                    <a:pt x="559" y="13"/>
                  </a:lnTo>
                  <a:lnTo>
                    <a:pt x="561" y="13"/>
                  </a:lnTo>
                  <a:lnTo>
                    <a:pt x="562" y="13"/>
                  </a:lnTo>
                  <a:lnTo>
                    <a:pt x="562" y="15"/>
                  </a:lnTo>
                  <a:lnTo>
                    <a:pt x="562" y="17"/>
                  </a:lnTo>
                  <a:lnTo>
                    <a:pt x="561" y="17"/>
                  </a:lnTo>
                  <a:lnTo>
                    <a:pt x="562" y="18"/>
                  </a:lnTo>
                  <a:lnTo>
                    <a:pt x="564" y="20"/>
                  </a:lnTo>
                  <a:lnTo>
                    <a:pt x="567" y="20"/>
                  </a:lnTo>
                  <a:lnTo>
                    <a:pt x="569" y="22"/>
                  </a:lnTo>
                  <a:lnTo>
                    <a:pt x="569" y="23"/>
                  </a:lnTo>
                  <a:lnTo>
                    <a:pt x="569" y="25"/>
                  </a:lnTo>
                  <a:lnTo>
                    <a:pt x="570" y="25"/>
                  </a:lnTo>
                  <a:lnTo>
                    <a:pt x="570" y="26"/>
                  </a:lnTo>
                  <a:lnTo>
                    <a:pt x="572" y="26"/>
                  </a:lnTo>
                  <a:lnTo>
                    <a:pt x="572" y="28"/>
                  </a:lnTo>
                  <a:lnTo>
                    <a:pt x="574" y="31"/>
                  </a:lnTo>
                  <a:lnTo>
                    <a:pt x="575" y="33"/>
                  </a:lnTo>
                  <a:lnTo>
                    <a:pt x="577" y="35"/>
                  </a:lnTo>
                  <a:lnTo>
                    <a:pt x="577" y="36"/>
                  </a:lnTo>
                  <a:lnTo>
                    <a:pt x="579" y="35"/>
                  </a:lnTo>
                  <a:lnTo>
                    <a:pt x="582" y="33"/>
                  </a:lnTo>
                  <a:lnTo>
                    <a:pt x="583" y="33"/>
                  </a:lnTo>
                  <a:lnTo>
                    <a:pt x="585" y="33"/>
                  </a:lnTo>
                  <a:lnTo>
                    <a:pt x="587" y="33"/>
                  </a:lnTo>
                  <a:lnTo>
                    <a:pt x="587" y="31"/>
                  </a:lnTo>
                  <a:lnTo>
                    <a:pt x="588" y="31"/>
                  </a:lnTo>
                  <a:lnTo>
                    <a:pt x="588" y="33"/>
                  </a:lnTo>
                  <a:lnTo>
                    <a:pt x="590" y="35"/>
                  </a:lnTo>
                  <a:lnTo>
                    <a:pt x="590" y="36"/>
                  </a:lnTo>
                  <a:lnTo>
                    <a:pt x="592" y="36"/>
                  </a:lnTo>
                  <a:lnTo>
                    <a:pt x="596" y="39"/>
                  </a:lnTo>
                  <a:lnTo>
                    <a:pt x="596" y="41"/>
                  </a:lnTo>
                  <a:lnTo>
                    <a:pt x="596" y="43"/>
                  </a:lnTo>
                  <a:lnTo>
                    <a:pt x="598" y="44"/>
                  </a:lnTo>
                  <a:lnTo>
                    <a:pt x="600" y="44"/>
                  </a:lnTo>
                  <a:lnTo>
                    <a:pt x="600" y="46"/>
                  </a:lnTo>
                  <a:lnTo>
                    <a:pt x="600" y="48"/>
                  </a:lnTo>
                  <a:lnTo>
                    <a:pt x="601" y="49"/>
                  </a:lnTo>
                  <a:lnTo>
                    <a:pt x="600" y="49"/>
                  </a:lnTo>
                  <a:lnTo>
                    <a:pt x="600" y="51"/>
                  </a:lnTo>
                  <a:lnTo>
                    <a:pt x="601" y="51"/>
                  </a:lnTo>
                  <a:lnTo>
                    <a:pt x="603" y="51"/>
                  </a:lnTo>
                  <a:lnTo>
                    <a:pt x="605" y="52"/>
                  </a:lnTo>
                  <a:lnTo>
                    <a:pt x="606" y="51"/>
                  </a:lnTo>
                  <a:lnTo>
                    <a:pt x="608" y="52"/>
                  </a:lnTo>
                  <a:lnTo>
                    <a:pt x="609" y="51"/>
                  </a:lnTo>
                  <a:lnTo>
                    <a:pt x="611" y="49"/>
                  </a:lnTo>
                  <a:lnTo>
                    <a:pt x="613" y="48"/>
                  </a:lnTo>
                  <a:lnTo>
                    <a:pt x="614" y="46"/>
                  </a:lnTo>
                  <a:lnTo>
                    <a:pt x="614" y="48"/>
                  </a:lnTo>
                  <a:lnTo>
                    <a:pt x="616" y="46"/>
                  </a:lnTo>
                  <a:lnTo>
                    <a:pt x="616" y="48"/>
                  </a:lnTo>
                  <a:lnTo>
                    <a:pt x="618" y="48"/>
                  </a:lnTo>
                  <a:lnTo>
                    <a:pt x="618" y="46"/>
                  </a:lnTo>
                  <a:lnTo>
                    <a:pt x="619" y="46"/>
                  </a:lnTo>
                  <a:lnTo>
                    <a:pt x="621" y="46"/>
                  </a:lnTo>
                  <a:lnTo>
                    <a:pt x="621" y="48"/>
                  </a:lnTo>
                  <a:lnTo>
                    <a:pt x="621" y="46"/>
                  </a:lnTo>
                  <a:lnTo>
                    <a:pt x="622" y="46"/>
                  </a:lnTo>
                  <a:lnTo>
                    <a:pt x="622" y="48"/>
                  </a:lnTo>
                  <a:lnTo>
                    <a:pt x="622" y="49"/>
                  </a:lnTo>
                  <a:lnTo>
                    <a:pt x="624" y="49"/>
                  </a:lnTo>
                  <a:lnTo>
                    <a:pt x="626" y="49"/>
                  </a:lnTo>
                  <a:lnTo>
                    <a:pt x="626" y="51"/>
                  </a:lnTo>
                  <a:lnTo>
                    <a:pt x="627" y="51"/>
                  </a:lnTo>
                  <a:lnTo>
                    <a:pt x="627" y="52"/>
                  </a:lnTo>
                  <a:lnTo>
                    <a:pt x="627" y="54"/>
                  </a:lnTo>
                  <a:lnTo>
                    <a:pt x="629" y="52"/>
                  </a:lnTo>
                  <a:lnTo>
                    <a:pt x="629" y="54"/>
                  </a:lnTo>
                  <a:lnTo>
                    <a:pt x="629" y="56"/>
                  </a:lnTo>
                  <a:lnTo>
                    <a:pt x="629" y="57"/>
                  </a:lnTo>
                  <a:lnTo>
                    <a:pt x="629" y="59"/>
                  </a:lnTo>
                  <a:lnTo>
                    <a:pt x="629" y="61"/>
                  </a:lnTo>
                  <a:lnTo>
                    <a:pt x="627" y="61"/>
                  </a:lnTo>
                  <a:lnTo>
                    <a:pt x="626" y="64"/>
                  </a:lnTo>
                  <a:lnTo>
                    <a:pt x="627" y="64"/>
                  </a:lnTo>
                  <a:lnTo>
                    <a:pt x="629" y="64"/>
                  </a:lnTo>
                  <a:lnTo>
                    <a:pt x="629" y="65"/>
                  </a:lnTo>
                  <a:lnTo>
                    <a:pt x="631" y="65"/>
                  </a:lnTo>
                  <a:lnTo>
                    <a:pt x="632" y="65"/>
                  </a:lnTo>
                  <a:lnTo>
                    <a:pt x="632" y="67"/>
                  </a:lnTo>
                  <a:lnTo>
                    <a:pt x="632" y="69"/>
                  </a:lnTo>
                  <a:lnTo>
                    <a:pt x="631" y="70"/>
                  </a:lnTo>
                  <a:lnTo>
                    <a:pt x="631" y="72"/>
                  </a:lnTo>
                  <a:lnTo>
                    <a:pt x="631" y="74"/>
                  </a:lnTo>
                  <a:lnTo>
                    <a:pt x="629" y="75"/>
                  </a:lnTo>
                  <a:lnTo>
                    <a:pt x="627" y="75"/>
                  </a:lnTo>
                  <a:lnTo>
                    <a:pt x="624" y="78"/>
                  </a:lnTo>
                  <a:lnTo>
                    <a:pt x="621" y="78"/>
                  </a:lnTo>
                  <a:lnTo>
                    <a:pt x="621" y="80"/>
                  </a:lnTo>
                  <a:lnTo>
                    <a:pt x="622" y="80"/>
                  </a:lnTo>
                  <a:lnTo>
                    <a:pt x="622" y="82"/>
                  </a:lnTo>
                  <a:lnTo>
                    <a:pt x="622" y="83"/>
                  </a:lnTo>
                  <a:lnTo>
                    <a:pt x="624" y="83"/>
                  </a:lnTo>
                  <a:lnTo>
                    <a:pt x="624" y="85"/>
                  </a:lnTo>
                  <a:lnTo>
                    <a:pt x="622" y="87"/>
                  </a:lnTo>
                  <a:lnTo>
                    <a:pt x="621" y="87"/>
                  </a:lnTo>
                  <a:lnTo>
                    <a:pt x="619" y="87"/>
                  </a:lnTo>
                  <a:lnTo>
                    <a:pt x="618" y="87"/>
                  </a:lnTo>
                  <a:lnTo>
                    <a:pt x="618" y="91"/>
                  </a:lnTo>
                  <a:lnTo>
                    <a:pt x="616" y="95"/>
                  </a:lnTo>
                  <a:lnTo>
                    <a:pt x="614" y="96"/>
                  </a:lnTo>
                  <a:lnTo>
                    <a:pt x="613" y="96"/>
                  </a:lnTo>
                  <a:lnTo>
                    <a:pt x="611" y="96"/>
                  </a:lnTo>
                  <a:lnTo>
                    <a:pt x="609" y="98"/>
                  </a:lnTo>
                  <a:lnTo>
                    <a:pt x="605" y="100"/>
                  </a:lnTo>
                  <a:lnTo>
                    <a:pt x="603" y="98"/>
                  </a:lnTo>
                  <a:lnTo>
                    <a:pt x="596" y="95"/>
                  </a:lnTo>
                  <a:lnTo>
                    <a:pt x="595" y="96"/>
                  </a:lnTo>
                  <a:lnTo>
                    <a:pt x="593" y="96"/>
                  </a:lnTo>
                  <a:lnTo>
                    <a:pt x="593" y="98"/>
                  </a:lnTo>
                  <a:lnTo>
                    <a:pt x="593" y="103"/>
                  </a:lnTo>
                  <a:lnTo>
                    <a:pt x="593" y="104"/>
                  </a:lnTo>
                  <a:lnTo>
                    <a:pt x="592" y="106"/>
                  </a:lnTo>
                  <a:lnTo>
                    <a:pt x="592" y="104"/>
                  </a:lnTo>
                  <a:lnTo>
                    <a:pt x="590" y="104"/>
                  </a:lnTo>
                  <a:lnTo>
                    <a:pt x="588" y="106"/>
                  </a:lnTo>
                  <a:lnTo>
                    <a:pt x="587" y="106"/>
                  </a:lnTo>
                  <a:lnTo>
                    <a:pt x="587" y="104"/>
                  </a:lnTo>
                  <a:lnTo>
                    <a:pt x="585" y="104"/>
                  </a:lnTo>
                  <a:lnTo>
                    <a:pt x="583" y="103"/>
                  </a:lnTo>
                  <a:lnTo>
                    <a:pt x="582" y="103"/>
                  </a:lnTo>
                  <a:lnTo>
                    <a:pt x="583" y="104"/>
                  </a:lnTo>
                  <a:lnTo>
                    <a:pt x="583" y="106"/>
                  </a:lnTo>
                  <a:lnTo>
                    <a:pt x="582" y="108"/>
                  </a:lnTo>
                  <a:lnTo>
                    <a:pt x="580" y="109"/>
                  </a:lnTo>
                  <a:lnTo>
                    <a:pt x="579" y="109"/>
                  </a:lnTo>
                  <a:lnTo>
                    <a:pt x="579" y="114"/>
                  </a:lnTo>
                  <a:lnTo>
                    <a:pt x="575" y="116"/>
                  </a:lnTo>
                  <a:lnTo>
                    <a:pt x="575" y="117"/>
                  </a:lnTo>
                  <a:lnTo>
                    <a:pt x="575" y="119"/>
                  </a:lnTo>
                  <a:lnTo>
                    <a:pt x="575" y="121"/>
                  </a:lnTo>
                  <a:lnTo>
                    <a:pt x="574" y="121"/>
                  </a:lnTo>
                  <a:lnTo>
                    <a:pt x="574" y="127"/>
                  </a:lnTo>
                  <a:lnTo>
                    <a:pt x="572" y="131"/>
                  </a:lnTo>
                  <a:lnTo>
                    <a:pt x="569" y="131"/>
                  </a:lnTo>
                  <a:lnTo>
                    <a:pt x="567" y="132"/>
                  </a:lnTo>
                  <a:lnTo>
                    <a:pt x="567" y="134"/>
                  </a:lnTo>
                  <a:lnTo>
                    <a:pt x="566" y="137"/>
                  </a:lnTo>
                  <a:lnTo>
                    <a:pt x="564" y="135"/>
                  </a:lnTo>
                  <a:lnTo>
                    <a:pt x="562" y="139"/>
                  </a:lnTo>
                  <a:lnTo>
                    <a:pt x="564" y="140"/>
                  </a:lnTo>
                  <a:lnTo>
                    <a:pt x="562" y="140"/>
                  </a:lnTo>
                  <a:lnTo>
                    <a:pt x="561" y="142"/>
                  </a:lnTo>
                  <a:lnTo>
                    <a:pt x="559" y="144"/>
                  </a:lnTo>
                  <a:lnTo>
                    <a:pt x="559" y="147"/>
                  </a:lnTo>
                  <a:lnTo>
                    <a:pt x="559" y="150"/>
                  </a:lnTo>
                  <a:lnTo>
                    <a:pt x="561" y="152"/>
                  </a:lnTo>
                  <a:lnTo>
                    <a:pt x="562" y="153"/>
                  </a:lnTo>
                  <a:lnTo>
                    <a:pt x="562" y="155"/>
                  </a:lnTo>
                  <a:lnTo>
                    <a:pt x="562" y="157"/>
                  </a:lnTo>
                  <a:lnTo>
                    <a:pt x="564" y="158"/>
                  </a:lnTo>
                  <a:lnTo>
                    <a:pt x="562" y="161"/>
                  </a:lnTo>
                  <a:lnTo>
                    <a:pt x="562" y="163"/>
                  </a:lnTo>
                  <a:lnTo>
                    <a:pt x="559" y="163"/>
                  </a:lnTo>
                  <a:lnTo>
                    <a:pt x="557" y="163"/>
                  </a:lnTo>
                  <a:lnTo>
                    <a:pt x="557" y="165"/>
                  </a:lnTo>
                  <a:lnTo>
                    <a:pt x="556" y="165"/>
                  </a:lnTo>
                  <a:lnTo>
                    <a:pt x="556" y="166"/>
                  </a:lnTo>
                  <a:lnTo>
                    <a:pt x="554" y="168"/>
                  </a:lnTo>
                  <a:lnTo>
                    <a:pt x="554" y="170"/>
                  </a:lnTo>
                  <a:lnTo>
                    <a:pt x="554" y="171"/>
                  </a:lnTo>
                  <a:lnTo>
                    <a:pt x="553" y="173"/>
                  </a:lnTo>
                  <a:lnTo>
                    <a:pt x="553" y="174"/>
                  </a:lnTo>
                  <a:lnTo>
                    <a:pt x="553" y="176"/>
                  </a:lnTo>
                  <a:lnTo>
                    <a:pt x="551" y="178"/>
                  </a:lnTo>
                  <a:lnTo>
                    <a:pt x="551" y="179"/>
                  </a:lnTo>
                  <a:lnTo>
                    <a:pt x="553" y="179"/>
                  </a:lnTo>
                  <a:lnTo>
                    <a:pt x="553" y="181"/>
                  </a:lnTo>
                  <a:lnTo>
                    <a:pt x="553" y="183"/>
                  </a:lnTo>
                  <a:lnTo>
                    <a:pt x="551" y="183"/>
                  </a:lnTo>
                  <a:lnTo>
                    <a:pt x="551" y="184"/>
                  </a:lnTo>
                  <a:lnTo>
                    <a:pt x="549" y="186"/>
                  </a:lnTo>
                  <a:lnTo>
                    <a:pt x="549" y="187"/>
                  </a:lnTo>
                  <a:lnTo>
                    <a:pt x="551" y="187"/>
                  </a:lnTo>
                  <a:lnTo>
                    <a:pt x="551" y="189"/>
                  </a:lnTo>
                  <a:lnTo>
                    <a:pt x="551" y="192"/>
                  </a:lnTo>
                  <a:lnTo>
                    <a:pt x="549" y="194"/>
                  </a:lnTo>
                  <a:lnTo>
                    <a:pt x="549" y="196"/>
                  </a:lnTo>
                  <a:lnTo>
                    <a:pt x="548" y="196"/>
                  </a:lnTo>
                  <a:lnTo>
                    <a:pt x="548" y="197"/>
                  </a:lnTo>
                  <a:lnTo>
                    <a:pt x="548" y="200"/>
                  </a:lnTo>
                  <a:lnTo>
                    <a:pt x="546" y="202"/>
                  </a:lnTo>
                  <a:lnTo>
                    <a:pt x="548" y="205"/>
                  </a:lnTo>
                  <a:lnTo>
                    <a:pt x="546" y="205"/>
                  </a:lnTo>
                  <a:lnTo>
                    <a:pt x="544" y="205"/>
                  </a:lnTo>
                  <a:lnTo>
                    <a:pt x="541" y="207"/>
                  </a:lnTo>
                  <a:lnTo>
                    <a:pt x="540" y="209"/>
                  </a:lnTo>
                  <a:lnTo>
                    <a:pt x="540" y="210"/>
                  </a:lnTo>
                  <a:lnTo>
                    <a:pt x="540" y="212"/>
                  </a:lnTo>
                  <a:lnTo>
                    <a:pt x="538" y="213"/>
                  </a:lnTo>
                  <a:lnTo>
                    <a:pt x="538" y="215"/>
                  </a:lnTo>
                  <a:lnTo>
                    <a:pt x="536" y="215"/>
                  </a:lnTo>
                  <a:lnTo>
                    <a:pt x="536" y="217"/>
                  </a:lnTo>
                  <a:lnTo>
                    <a:pt x="535" y="217"/>
                  </a:lnTo>
                  <a:lnTo>
                    <a:pt x="535" y="218"/>
                  </a:lnTo>
                  <a:lnTo>
                    <a:pt x="536" y="220"/>
                  </a:lnTo>
                  <a:lnTo>
                    <a:pt x="538" y="220"/>
                  </a:lnTo>
                  <a:lnTo>
                    <a:pt x="540" y="222"/>
                  </a:lnTo>
                  <a:lnTo>
                    <a:pt x="538" y="223"/>
                  </a:lnTo>
                  <a:lnTo>
                    <a:pt x="538" y="225"/>
                  </a:lnTo>
                  <a:lnTo>
                    <a:pt x="538" y="226"/>
                  </a:lnTo>
                  <a:lnTo>
                    <a:pt x="540" y="226"/>
                  </a:lnTo>
                  <a:lnTo>
                    <a:pt x="540" y="228"/>
                  </a:lnTo>
                  <a:lnTo>
                    <a:pt x="538" y="228"/>
                  </a:lnTo>
                  <a:lnTo>
                    <a:pt x="538" y="230"/>
                  </a:lnTo>
                  <a:lnTo>
                    <a:pt x="536" y="230"/>
                  </a:lnTo>
                  <a:lnTo>
                    <a:pt x="536" y="231"/>
                  </a:lnTo>
                  <a:lnTo>
                    <a:pt x="536" y="233"/>
                  </a:lnTo>
                  <a:lnTo>
                    <a:pt x="533" y="233"/>
                  </a:lnTo>
                  <a:lnTo>
                    <a:pt x="531" y="233"/>
                  </a:lnTo>
                  <a:lnTo>
                    <a:pt x="531" y="235"/>
                  </a:lnTo>
                  <a:lnTo>
                    <a:pt x="533" y="236"/>
                  </a:lnTo>
                  <a:lnTo>
                    <a:pt x="533" y="238"/>
                  </a:lnTo>
                  <a:lnTo>
                    <a:pt x="535" y="239"/>
                  </a:lnTo>
                  <a:lnTo>
                    <a:pt x="533" y="239"/>
                  </a:lnTo>
                  <a:lnTo>
                    <a:pt x="533" y="241"/>
                  </a:lnTo>
                  <a:lnTo>
                    <a:pt x="533" y="243"/>
                  </a:lnTo>
                  <a:lnTo>
                    <a:pt x="531" y="244"/>
                  </a:lnTo>
                  <a:lnTo>
                    <a:pt x="530" y="244"/>
                  </a:lnTo>
                  <a:lnTo>
                    <a:pt x="530" y="246"/>
                  </a:lnTo>
                  <a:lnTo>
                    <a:pt x="528" y="248"/>
                  </a:lnTo>
                  <a:lnTo>
                    <a:pt x="527" y="248"/>
                  </a:lnTo>
                  <a:lnTo>
                    <a:pt x="527" y="249"/>
                  </a:lnTo>
                  <a:lnTo>
                    <a:pt x="527" y="251"/>
                  </a:lnTo>
                  <a:lnTo>
                    <a:pt x="527" y="254"/>
                  </a:lnTo>
                  <a:lnTo>
                    <a:pt x="527" y="256"/>
                  </a:lnTo>
                  <a:lnTo>
                    <a:pt x="525" y="257"/>
                  </a:lnTo>
                  <a:lnTo>
                    <a:pt x="525" y="259"/>
                  </a:lnTo>
                  <a:lnTo>
                    <a:pt x="527" y="259"/>
                  </a:lnTo>
                  <a:lnTo>
                    <a:pt x="528" y="261"/>
                  </a:lnTo>
                  <a:lnTo>
                    <a:pt x="530" y="262"/>
                  </a:lnTo>
                  <a:lnTo>
                    <a:pt x="530" y="264"/>
                  </a:lnTo>
                  <a:lnTo>
                    <a:pt x="530" y="265"/>
                  </a:lnTo>
                  <a:lnTo>
                    <a:pt x="528" y="265"/>
                  </a:lnTo>
                  <a:lnTo>
                    <a:pt x="528" y="267"/>
                  </a:lnTo>
                  <a:lnTo>
                    <a:pt x="527" y="269"/>
                  </a:lnTo>
                  <a:lnTo>
                    <a:pt x="525" y="269"/>
                  </a:lnTo>
                  <a:lnTo>
                    <a:pt x="523" y="270"/>
                  </a:lnTo>
                  <a:lnTo>
                    <a:pt x="522" y="269"/>
                  </a:lnTo>
                  <a:lnTo>
                    <a:pt x="520" y="269"/>
                  </a:lnTo>
                  <a:lnTo>
                    <a:pt x="520" y="270"/>
                  </a:lnTo>
                  <a:lnTo>
                    <a:pt x="522" y="270"/>
                  </a:lnTo>
                  <a:lnTo>
                    <a:pt x="522" y="272"/>
                  </a:lnTo>
                  <a:lnTo>
                    <a:pt x="523" y="274"/>
                  </a:lnTo>
                  <a:lnTo>
                    <a:pt x="522" y="275"/>
                  </a:lnTo>
                  <a:lnTo>
                    <a:pt x="520" y="277"/>
                  </a:lnTo>
                  <a:lnTo>
                    <a:pt x="520" y="280"/>
                  </a:lnTo>
                  <a:lnTo>
                    <a:pt x="517" y="280"/>
                  </a:lnTo>
                  <a:lnTo>
                    <a:pt x="517" y="279"/>
                  </a:lnTo>
                  <a:lnTo>
                    <a:pt x="515" y="279"/>
                  </a:lnTo>
                  <a:lnTo>
                    <a:pt x="515" y="280"/>
                  </a:lnTo>
                  <a:lnTo>
                    <a:pt x="514" y="280"/>
                  </a:lnTo>
                  <a:lnTo>
                    <a:pt x="512" y="280"/>
                  </a:lnTo>
                  <a:lnTo>
                    <a:pt x="510" y="282"/>
                  </a:lnTo>
                  <a:lnTo>
                    <a:pt x="510" y="285"/>
                  </a:lnTo>
                  <a:lnTo>
                    <a:pt x="510" y="287"/>
                  </a:lnTo>
                  <a:lnTo>
                    <a:pt x="512" y="287"/>
                  </a:lnTo>
                  <a:lnTo>
                    <a:pt x="512" y="290"/>
                  </a:lnTo>
                  <a:lnTo>
                    <a:pt x="510" y="290"/>
                  </a:lnTo>
                  <a:lnTo>
                    <a:pt x="510" y="293"/>
                  </a:lnTo>
                  <a:lnTo>
                    <a:pt x="509" y="293"/>
                  </a:lnTo>
                  <a:lnTo>
                    <a:pt x="509" y="295"/>
                  </a:lnTo>
                  <a:lnTo>
                    <a:pt x="509" y="300"/>
                  </a:lnTo>
                  <a:lnTo>
                    <a:pt x="510" y="303"/>
                  </a:lnTo>
                  <a:lnTo>
                    <a:pt x="512" y="303"/>
                  </a:lnTo>
                  <a:lnTo>
                    <a:pt x="514" y="305"/>
                  </a:lnTo>
                  <a:lnTo>
                    <a:pt x="515" y="306"/>
                  </a:lnTo>
                  <a:lnTo>
                    <a:pt x="515" y="308"/>
                  </a:lnTo>
                  <a:lnTo>
                    <a:pt x="514" y="309"/>
                  </a:lnTo>
                  <a:lnTo>
                    <a:pt x="514" y="311"/>
                  </a:lnTo>
                  <a:lnTo>
                    <a:pt x="514" y="313"/>
                  </a:lnTo>
                  <a:lnTo>
                    <a:pt x="512" y="313"/>
                  </a:lnTo>
                  <a:lnTo>
                    <a:pt x="507" y="313"/>
                  </a:lnTo>
                  <a:lnTo>
                    <a:pt x="505" y="313"/>
                  </a:lnTo>
                  <a:lnTo>
                    <a:pt x="505" y="314"/>
                  </a:lnTo>
                  <a:lnTo>
                    <a:pt x="505" y="319"/>
                  </a:lnTo>
                  <a:lnTo>
                    <a:pt x="505" y="322"/>
                  </a:lnTo>
                  <a:lnTo>
                    <a:pt x="505" y="324"/>
                  </a:lnTo>
                  <a:lnTo>
                    <a:pt x="504" y="324"/>
                  </a:lnTo>
                  <a:lnTo>
                    <a:pt x="504" y="326"/>
                  </a:lnTo>
                  <a:lnTo>
                    <a:pt x="504" y="327"/>
                  </a:lnTo>
                  <a:lnTo>
                    <a:pt x="504" y="329"/>
                  </a:lnTo>
                  <a:lnTo>
                    <a:pt x="502" y="329"/>
                  </a:lnTo>
                  <a:lnTo>
                    <a:pt x="501" y="329"/>
                  </a:lnTo>
                  <a:lnTo>
                    <a:pt x="499" y="329"/>
                  </a:lnTo>
                  <a:lnTo>
                    <a:pt x="499" y="331"/>
                  </a:lnTo>
                  <a:lnTo>
                    <a:pt x="497" y="335"/>
                  </a:lnTo>
                  <a:lnTo>
                    <a:pt x="496" y="337"/>
                  </a:lnTo>
                  <a:lnTo>
                    <a:pt x="494" y="337"/>
                  </a:lnTo>
                  <a:lnTo>
                    <a:pt x="494" y="339"/>
                  </a:lnTo>
                  <a:lnTo>
                    <a:pt x="492" y="339"/>
                  </a:lnTo>
                  <a:lnTo>
                    <a:pt x="491" y="339"/>
                  </a:lnTo>
                  <a:lnTo>
                    <a:pt x="489" y="335"/>
                  </a:lnTo>
                  <a:lnTo>
                    <a:pt x="489" y="337"/>
                  </a:lnTo>
                  <a:lnTo>
                    <a:pt x="486" y="337"/>
                  </a:lnTo>
                  <a:lnTo>
                    <a:pt x="484" y="337"/>
                  </a:lnTo>
                  <a:lnTo>
                    <a:pt x="483" y="337"/>
                  </a:lnTo>
                  <a:lnTo>
                    <a:pt x="483" y="335"/>
                  </a:lnTo>
                  <a:lnTo>
                    <a:pt x="479" y="337"/>
                  </a:lnTo>
                  <a:lnTo>
                    <a:pt x="479" y="339"/>
                  </a:lnTo>
                  <a:lnTo>
                    <a:pt x="478" y="337"/>
                  </a:lnTo>
                  <a:lnTo>
                    <a:pt x="476" y="337"/>
                  </a:lnTo>
                  <a:lnTo>
                    <a:pt x="474" y="335"/>
                  </a:lnTo>
                  <a:lnTo>
                    <a:pt x="466" y="339"/>
                  </a:lnTo>
                  <a:lnTo>
                    <a:pt x="465" y="339"/>
                  </a:lnTo>
                  <a:lnTo>
                    <a:pt x="463" y="342"/>
                  </a:lnTo>
                  <a:lnTo>
                    <a:pt x="465" y="348"/>
                  </a:lnTo>
                  <a:lnTo>
                    <a:pt x="463" y="348"/>
                  </a:lnTo>
                  <a:lnTo>
                    <a:pt x="461" y="348"/>
                  </a:lnTo>
                  <a:lnTo>
                    <a:pt x="463" y="350"/>
                  </a:lnTo>
                  <a:lnTo>
                    <a:pt x="461" y="352"/>
                  </a:lnTo>
                  <a:lnTo>
                    <a:pt x="461" y="355"/>
                  </a:lnTo>
                  <a:lnTo>
                    <a:pt x="460" y="357"/>
                  </a:lnTo>
                  <a:lnTo>
                    <a:pt x="460" y="358"/>
                  </a:lnTo>
                  <a:lnTo>
                    <a:pt x="458" y="358"/>
                  </a:lnTo>
                  <a:lnTo>
                    <a:pt x="457" y="358"/>
                  </a:lnTo>
                  <a:lnTo>
                    <a:pt x="455" y="358"/>
                  </a:lnTo>
                  <a:lnTo>
                    <a:pt x="455" y="360"/>
                  </a:lnTo>
                  <a:lnTo>
                    <a:pt x="455" y="361"/>
                  </a:lnTo>
                  <a:lnTo>
                    <a:pt x="453" y="361"/>
                  </a:lnTo>
                  <a:lnTo>
                    <a:pt x="453" y="360"/>
                  </a:lnTo>
                  <a:lnTo>
                    <a:pt x="452" y="360"/>
                  </a:lnTo>
                  <a:lnTo>
                    <a:pt x="450" y="358"/>
                  </a:lnTo>
                  <a:lnTo>
                    <a:pt x="447" y="357"/>
                  </a:lnTo>
                  <a:lnTo>
                    <a:pt x="445" y="357"/>
                  </a:lnTo>
                  <a:lnTo>
                    <a:pt x="445" y="355"/>
                  </a:lnTo>
                  <a:lnTo>
                    <a:pt x="444" y="355"/>
                  </a:lnTo>
                  <a:lnTo>
                    <a:pt x="442" y="355"/>
                  </a:lnTo>
                  <a:lnTo>
                    <a:pt x="440" y="355"/>
                  </a:lnTo>
                  <a:lnTo>
                    <a:pt x="439" y="355"/>
                  </a:lnTo>
                  <a:lnTo>
                    <a:pt x="440" y="357"/>
                  </a:lnTo>
                  <a:lnTo>
                    <a:pt x="437" y="361"/>
                  </a:lnTo>
                  <a:lnTo>
                    <a:pt x="435" y="361"/>
                  </a:lnTo>
                  <a:lnTo>
                    <a:pt x="434" y="361"/>
                  </a:lnTo>
                  <a:lnTo>
                    <a:pt x="432" y="361"/>
                  </a:lnTo>
                  <a:lnTo>
                    <a:pt x="431" y="360"/>
                  </a:lnTo>
                  <a:lnTo>
                    <a:pt x="431" y="361"/>
                  </a:lnTo>
                  <a:lnTo>
                    <a:pt x="429" y="361"/>
                  </a:lnTo>
                  <a:lnTo>
                    <a:pt x="427" y="361"/>
                  </a:lnTo>
                  <a:lnTo>
                    <a:pt x="426" y="360"/>
                  </a:lnTo>
                  <a:lnTo>
                    <a:pt x="422" y="361"/>
                  </a:lnTo>
                  <a:lnTo>
                    <a:pt x="421" y="361"/>
                  </a:lnTo>
                  <a:lnTo>
                    <a:pt x="421" y="363"/>
                  </a:lnTo>
                  <a:lnTo>
                    <a:pt x="418" y="366"/>
                  </a:lnTo>
                  <a:lnTo>
                    <a:pt x="416" y="366"/>
                  </a:lnTo>
                  <a:lnTo>
                    <a:pt x="414" y="366"/>
                  </a:lnTo>
                  <a:lnTo>
                    <a:pt x="409" y="363"/>
                  </a:lnTo>
                  <a:lnTo>
                    <a:pt x="406" y="366"/>
                  </a:lnTo>
                  <a:lnTo>
                    <a:pt x="405" y="366"/>
                  </a:lnTo>
                  <a:lnTo>
                    <a:pt x="403" y="365"/>
                  </a:lnTo>
                  <a:lnTo>
                    <a:pt x="401" y="363"/>
                  </a:lnTo>
                  <a:lnTo>
                    <a:pt x="401" y="361"/>
                  </a:lnTo>
                  <a:lnTo>
                    <a:pt x="400" y="361"/>
                  </a:lnTo>
                  <a:lnTo>
                    <a:pt x="400" y="363"/>
                  </a:lnTo>
                  <a:lnTo>
                    <a:pt x="398" y="366"/>
                  </a:lnTo>
                  <a:lnTo>
                    <a:pt x="396" y="366"/>
                  </a:lnTo>
                  <a:lnTo>
                    <a:pt x="395" y="368"/>
                  </a:lnTo>
                  <a:lnTo>
                    <a:pt x="395" y="366"/>
                  </a:lnTo>
                  <a:lnTo>
                    <a:pt x="393" y="363"/>
                  </a:lnTo>
                  <a:lnTo>
                    <a:pt x="385" y="365"/>
                  </a:lnTo>
                  <a:lnTo>
                    <a:pt x="383" y="365"/>
                  </a:lnTo>
                  <a:lnTo>
                    <a:pt x="382" y="366"/>
                  </a:lnTo>
                  <a:lnTo>
                    <a:pt x="379" y="368"/>
                  </a:lnTo>
                  <a:lnTo>
                    <a:pt x="377" y="370"/>
                  </a:lnTo>
                  <a:lnTo>
                    <a:pt x="374" y="373"/>
                  </a:lnTo>
                  <a:lnTo>
                    <a:pt x="372" y="371"/>
                  </a:lnTo>
                  <a:lnTo>
                    <a:pt x="370" y="371"/>
                  </a:lnTo>
                  <a:lnTo>
                    <a:pt x="369" y="371"/>
                  </a:lnTo>
                  <a:lnTo>
                    <a:pt x="367" y="371"/>
                  </a:lnTo>
                  <a:lnTo>
                    <a:pt x="366" y="368"/>
                  </a:lnTo>
                  <a:lnTo>
                    <a:pt x="364" y="368"/>
                  </a:lnTo>
                  <a:lnTo>
                    <a:pt x="362" y="366"/>
                  </a:lnTo>
                  <a:lnTo>
                    <a:pt x="361" y="366"/>
                  </a:lnTo>
                  <a:lnTo>
                    <a:pt x="359" y="366"/>
                  </a:lnTo>
                  <a:lnTo>
                    <a:pt x="357" y="366"/>
                  </a:lnTo>
                  <a:lnTo>
                    <a:pt x="354" y="370"/>
                  </a:lnTo>
                  <a:lnTo>
                    <a:pt x="348" y="368"/>
                  </a:lnTo>
                  <a:lnTo>
                    <a:pt x="348" y="371"/>
                  </a:lnTo>
                  <a:lnTo>
                    <a:pt x="346" y="373"/>
                  </a:lnTo>
                  <a:lnTo>
                    <a:pt x="344" y="373"/>
                  </a:lnTo>
                  <a:lnTo>
                    <a:pt x="343" y="373"/>
                  </a:lnTo>
                  <a:lnTo>
                    <a:pt x="343" y="374"/>
                  </a:lnTo>
                  <a:lnTo>
                    <a:pt x="344" y="378"/>
                  </a:lnTo>
                  <a:lnTo>
                    <a:pt x="343" y="379"/>
                  </a:lnTo>
                  <a:lnTo>
                    <a:pt x="341" y="379"/>
                  </a:lnTo>
                  <a:lnTo>
                    <a:pt x="339" y="383"/>
                  </a:lnTo>
                  <a:lnTo>
                    <a:pt x="339" y="384"/>
                  </a:lnTo>
                  <a:lnTo>
                    <a:pt x="338" y="386"/>
                  </a:lnTo>
                  <a:lnTo>
                    <a:pt x="336" y="387"/>
                  </a:lnTo>
                  <a:lnTo>
                    <a:pt x="335" y="389"/>
                  </a:lnTo>
                  <a:lnTo>
                    <a:pt x="333" y="391"/>
                  </a:lnTo>
                  <a:lnTo>
                    <a:pt x="331" y="391"/>
                  </a:lnTo>
                  <a:lnTo>
                    <a:pt x="330" y="389"/>
                  </a:lnTo>
                  <a:lnTo>
                    <a:pt x="323" y="396"/>
                  </a:lnTo>
                  <a:lnTo>
                    <a:pt x="323" y="397"/>
                  </a:lnTo>
                  <a:lnTo>
                    <a:pt x="325" y="399"/>
                  </a:lnTo>
                  <a:lnTo>
                    <a:pt x="323" y="399"/>
                  </a:lnTo>
                  <a:lnTo>
                    <a:pt x="318" y="399"/>
                  </a:lnTo>
                  <a:lnTo>
                    <a:pt x="315" y="399"/>
                  </a:lnTo>
                  <a:lnTo>
                    <a:pt x="312" y="400"/>
                  </a:lnTo>
                  <a:lnTo>
                    <a:pt x="310" y="400"/>
                  </a:lnTo>
                  <a:lnTo>
                    <a:pt x="310" y="399"/>
                  </a:lnTo>
                  <a:lnTo>
                    <a:pt x="309" y="397"/>
                  </a:lnTo>
                  <a:lnTo>
                    <a:pt x="307" y="394"/>
                  </a:lnTo>
                  <a:lnTo>
                    <a:pt x="305" y="394"/>
                  </a:lnTo>
                  <a:lnTo>
                    <a:pt x="302" y="400"/>
                  </a:lnTo>
                  <a:lnTo>
                    <a:pt x="304" y="405"/>
                  </a:lnTo>
                  <a:lnTo>
                    <a:pt x="300" y="405"/>
                  </a:lnTo>
                  <a:lnTo>
                    <a:pt x="297" y="405"/>
                  </a:lnTo>
                  <a:lnTo>
                    <a:pt x="297" y="407"/>
                  </a:lnTo>
                  <a:lnTo>
                    <a:pt x="296" y="407"/>
                  </a:lnTo>
                  <a:lnTo>
                    <a:pt x="296" y="409"/>
                  </a:lnTo>
                  <a:lnTo>
                    <a:pt x="297" y="410"/>
                  </a:lnTo>
                  <a:lnTo>
                    <a:pt x="297" y="412"/>
                  </a:lnTo>
                  <a:lnTo>
                    <a:pt x="296" y="412"/>
                  </a:lnTo>
                  <a:lnTo>
                    <a:pt x="296" y="410"/>
                  </a:lnTo>
                  <a:lnTo>
                    <a:pt x="292" y="412"/>
                  </a:lnTo>
                  <a:lnTo>
                    <a:pt x="287" y="412"/>
                  </a:lnTo>
                  <a:lnTo>
                    <a:pt x="286" y="413"/>
                  </a:lnTo>
                  <a:lnTo>
                    <a:pt x="284" y="413"/>
                  </a:lnTo>
                  <a:lnTo>
                    <a:pt x="284" y="415"/>
                  </a:lnTo>
                  <a:lnTo>
                    <a:pt x="283" y="415"/>
                  </a:lnTo>
                  <a:lnTo>
                    <a:pt x="279" y="417"/>
                  </a:lnTo>
                  <a:lnTo>
                    <a:pt x="279" y="415"/>
                  </a:lnTo>
                  <a:lnTo>
                    <a:pt x="278" y="417"/>
                  </a:lnTo>
                  <a:lnTo>
                    <a:pt x="278" y="418"/>
                  </a:lnTo>
                  <a:lnTo>
                    <a:pt x="278" y="420"/>
                  </a:lnTo>
                  <a:lnTo>
                    <a:pt x="276" y="420"/>
                  </a:lnTo>
                  <a:lnTo>
                    <a:pt x="274" y="418"/>
                  </a:lnTo>
                  <a:lnTo>
                    <a:pt x="271" y="418"/>
                  </a:lnTo>
                  <a:lnTo>
                    <a:pt x="270" y="418"/>
                  </a:lnTo>
                  <a:lnTo>
                    <a:pt x="266" y="417"/>
                  </a:lnTo>
                  <a:lnTo>
                    <a:pt x="263" y="417"/>
                  </a:lnTo>
                  <a:lnTo>
                    <a:pt x="263" y="418"/>
                  </a:lnTo>
                  <a:lnTo>
                    <a:pt x="263" y="420"/>
                  </a:lnTo>
                  <a:lnTo>
                    <a:pt x="261" y="420"/>
                  </a:lnTo>
                  <a:lnTo>
                    <a:pt x="261" y="422"/>
                  </a:lnTo>
                  <a:lnTo>
                    <a:pt x="263" y="423"/>
                  </a:lnTo>
                  <a:lnTo>
                    <a:pt x="261" y="425"/>
                  </a:lnTo>
                  <a:lnTo>
                    <a:pt x="261" y="423"/>
                  </a:lnTo>
                  <a:lnTo>
                    <a:pt x="260" y="423"/>
                  </a:lnTo>
                  <a:lnTo>
                    <a:pt x="260" y="427"/>
                  </a:lnTo>
                  <a:lnTo>
                    <a:pt x="260" y="428"/>
                  </a:lnTo>
                  <a:lnTo>
                    <a:pt x="258" y="430"/>
                  </a:lnTo>
                  <a:lnTo>
                    <a:pt x="258" y="431"/>
                  </a:lnTo>
                  <a:lnTo>
                    <a:pt x="257" y="431"/>
                  </a:lnTo>
                  <a:lnTo>
                    <a:pt x="255" y="433"/>
                  </a:lnTo>
                  <a:lnTo>
                    <a:pt x="257" y="435"/>
                  </a:lnTo>
                  <a:lnTo>
                    <a:pt x="255" y="435"/>
                  </a:lnTo>
                  <a:lnTo>
                    <a:pt x="255" y="436"/>
                  </a:lnTo>
                  <a:lnTo>
                    <a:pt x="252" y="436"/>
                  </a:lnTo>
                  <a:lnTo>
                    <a:pt x="250" y="438"/>
                  </a:lnTo>
                  <a:lnTo>
                    <a:pt x="248" y="436"/>
                  </a:lnTo>
                  <a:lnTo>
                    <a:pt x="247" y="436"/>
                  </a:lnTo>
                  <a:lnTo>
                    <a:pt x="247" y="438"/>
                  </a:lnTo>
                  <a:lnTo>
                    <a:pt x="247" y="440"/>
                  </a:lnTo>
                  <a:lnTo>
                    <a:pt x="247" y="441"/>
                  </a:lnTo>
                  <a:lnTo>
                    <a:pt x="245" y="441"/>
                  </a:lnTo>
                  <a:lnTo>
                    <a:pt x="244" y="441"/>
                  </a:lnTo>
                  <a:lnTo>
                    <a:pt x="244" y="443"/>
                  </a:lnTo>
                  <a:lnTo>
                    <a:pt x="245" y="444"/>
                  </a:lnTo>
                  <a:lnTo>
                    <a:pt x="244" y="444"/>
                  </a:lnTo>
                  <a:lnTo>
                    <a:pt x="242" y="444"/>
                  </a:lnTo>
                  <a:lnTo>
                    <a:pt x="240" y="444"/>
                  </a:lnTo>
                  <a:lnTo>
                    <a:pt x="239" y="444"/>
                  </a:lnTo>
                  <a:lnTo>
                    <a:pt x="239" y="443"/>
                  </a:lnTo>
                  <a:lnTo>
                    <a:pt x="239" y="441"/>
                  </a:lnTo>
                  <a:lnTo>
                    <a:pt x="237" y="441"/>
                  </a:lnTo>
                  <a:lnTo>
                    <a:pt x="235" y="441"/>
                  </a:lnTo>
                  <a:lnTo>
                    <a:pt x="235" y="443"/>
                  </a:lnTo>
                  <a:lnTo>
                    <a:pt x="234" y="444"/>
                  </a:lnTo>
                  <a:lnTo>
                    <a:pt x="232" y="444"/>
                  </a:lnTo>
                  <a:lnTo>
                    <a:pt x="231" y="444"/>
                  </a:lnTo>
                  <a:lnTo>
                    <a:pt x="229" y="443"/>
                  </a:lnTo>
                  <a:lnTo>
                    <a:pt x="227" y="444"/>
                  </a:lnTo>
                  <a:lnTo>
                    <a:pt x="226" y="443"/>
                  </a:lnTo>
                  <a:lnTo>
                    <a:pt x="224" y="444"/>
                  </a:lnTo>
                  <a:lnTo>
                    <a:pt x="224" y="443"/>
                  </a:lnTo>
                  <a:lnTo>
                    <a:pt x="222" y="443"/>
                  </a:lnTo>
                  <a:lnTo>
                    <a:pt x="222" y="441"/>
                  </a:lnTo>
                  <a:lnTo>
                    <a:pt x="221" y="441"/>
                  </a:lnTo>
                  <a:lnTo>
                    <a:pt x="219" y="441"/>
                  </a:lnTo>
                  <a:lnTo>
                    <a:pt x="218" y="441"/>
                  </a:lnTo>
                  <a:lnTo>
                    <a:pt x="216" y="443"/>
                  </a:lnTo>
                  <a:lnTo>
                    <a:pt x="214" y="441"/>
                  </a:lnTo>
                  <a:lnTo>
                    <a:pt x="213" y="441"/>
                  </a:lnTo>
                  <a:lnTo>
                    <a:pt x="211" y="441"/>
                  </a:lnTo>
                  <a:lnTo>
                    <a:pt x="211" y="443"/>
                  </a:lnTo>
                  <a:lnTo>
                    <a:pt x="209" y="444"/>
                  </a:lnTo>
                  <a:lnTo>
                    <a:pt x="208" y="444"/>
                  </a:lnTo>
                  <a:lnTo>
                    <a:pt x="205" y="444"/>
                  </a:lnTo>
                  <a:lnTo>
                    <a:pt x="203" y="444"/>
                  </a:lnTo>
                  <a:lnTo>
                    <a:pt x="201" y="444"/>
                  </a:lnTo>
                  <a:lnTo>
                    <a:pt x="201" y="443"/>
                  </a:lnTo>
                  <a:lnTo>
                    <a:pt x="200" y="443"/>
                  </a:lnTo>
                  <a:lnTo>
                    <a:pt x="200" y="441"/>
                  </a:lnTo>
                  <a:lnTo>
                    <a:pt x="198" y="441"/>
                  </a:lnTo>
                  <a:lnTo>
                    <a:pt x="196" y="443"/>
                  </a:lnTo>
                  <a:lnTo>
                    <a:pt x="195" y="443"/>
                  </a:lnTo>
                  <a:lnTo>
                    <a:pt x="193" y="443"/>
                  </a:lnTo>
                  <a:lnTo>
                    <a:pt x="191" y="444"/>
                  </a:lnTo>
                  <a:lnTo>
                    <a:pt x="190" y="443"/>
                  </a:lnTo>
                  <a:lnTo>
                    <a:pt x="188" y="443"/>
                  </a:lnTo>
                  <a:lnTo>
                    <a:pt x="187" y="444"/>
                  </a:lnTo>
                  <a:lnTo>
                    <a:pt x="187" y="446"/>
                  </a:lnTo>
                  <a:lnTo>
                    <a:pt x="187" y="448"/>
                  </a:lnTo>
                  <a:lnTo>
                    <a:pt x="185" y="448"/>
                  </a:lnTo>
                  <a:lnTo>
                    <a:pt x="185" y="446"/>
                  </a:lnTo>
                  <a:lnTo>
                    <a:pt x="185" y="444"/>
                  </a:lnTo>
                  <a:lnTo>
                    <a:pt x="183" y="444"/>
                  </a:lnTo>
                  <a:lnTo>
                    <a:pt x="182" y="444"/>
                  </a:lnTo>
                  <a:lnTo>
                    <a:pt x="182" y="443"/>
                  </a:lnTo>
                  <a:lnTo>
                    <a:pt x="182" y="441"/>
                  </a:lnTo>
                  <a:lnTo>
                    <a:pt x="180" y="443"/>
                  </a:lnTo>
                  <a:lnTo>
                    <a:pt x="178" y="443"/>
                  </a:lnTo>
                  <a:lnTo>
                    <a:pt x="177" y="441"/>
                  </a:lnTo>
                  <a:lnTo>
                    <a:pt x="175" y="441"/>
                  </a:lnTo>
                  <a:lnTo>
                    <a:pt x="174" y="441"/>
                  </a:lnTo>
                  <a:lnTo>
                    <a:pt x="172" y="440"/>
                  </a:lnTo>
                  <a:lnTo>
                    <a:pt x="170" y="440"/>
                  </a:lnTo>
                  <a:lnTo>
                    <a:pt x="169" y="440"/>
                  </a:lnTo>
                  <a:lnTo>
                    <a:pt x="165" y="440"/>
                  </a:lnTo>
                  <a:lnTo>
                    <a:pt x="164" y="438"/>
                  </a:lnTo>
                  <a:lnTo>
                    <a:pt x="162" y="436"/>
                  </a:lnTo>
                  <a:lnTo>
                    <a:pt x="162" y="435"/>
                  </a:lnTo>
                  <a:lnTo>
                    <a:pt x="161" y="431"/>
                  </a:lnTo>
                  <a:lnTo>
                    <a:pt x="159" y="430"/>
                  </a:lnTo>
                  <a:lnTo>
                    <a:pt x="157" y="428"/>
                  </a:lnTo>
                  <a:lnTo>
                    <a:pt x="156" y="428"/>
                  </a:lnTo>
                  <a:lnTo>
                    <a:pt x="156" y="427"/>
                  </a:lnTo>
                  <a:lnTo>
                    <a:pt x="154" y="427"/>
                  </a:lnTo>
                  <a:lnTo>
                    <a:pt x="152" y="427"/>
                  </a:lnTo>
                  <a:lnTo>
                    <a:pt x="151" y="427"/>
                  </a:lnTo>
                  <a:lnTo>
                    <a:pt x="149" y="427"/>
                  </a:lnTo>
                  <a:lnTo>
                    <a:pt x="148" y="427"/>
                  </a:lnTo>
                  <a:lnTo>
                    <a:pt x="144" y="427"/>
                  </a:lnTo>
                  <a:lnTo>
                    <a:pt x="141" y="425"/>
                  </a:lnTo>
                  <a:lnTo>
                    <a:pt x="139" y="425"/>
                  </a:lnTo>
                  <a:lnTo>
                    <a:pt x="139" y="427"/>
                  </a:lnTo>
                  <a:lnTo>
                    <a:pt x="139" y="428"/>
                  </a:lnTo>
                  <a:lnTo>
                    <a:pt x="138" y="428"/>
                  </a:lnTo>
                  <a:lnTo>
                    <a:pt x="136" y="427"/>
                  </a:lnTo>
                  <a:lnTo>
                    <a:pt x="135" y="427"/>
                  </a:lnTo>
                  <a:lnTo>
                    <a:pt x="133" y="428"/>
                  </a:lnTo>
                  <a:lnTo>
                    <a:pt x="131" y="428"/>
                  </a:lnTo>
                  <a:lnTo>
                    <a:pt x="131" y="427"/>
                  </a:lnTo>
                  <a:lnTo>
                    <a:pt x="131" y="425"/>
                  </a:lnTo>
                  <a:lnTo>
                    <a:pt x="131" y="423"/>
                  </a:lnTo>
                  <a:lnTo>
                    <a:pt x="130" y="423"/>
                  </a:lnTo>
                  <a:lnTo>
                    <a:pt x="128" y="425"/>
                  </a:lnTo>
                  <a:lnTo>
                    <a:pt x="128" y="423"/>
                  </a:lnTo>
                  <a:lnTo>
                    <a:pt x="126" y="423"/>
                  </a:lnTo>
                  <a:lnTo>
                    <a:pt x="125" y="423"/>
                  </a:lnTo>
                  <a:lnTo>
                    <a:pt x="125" y="422"/>
                  </a:lnTo>
                  <a:lnTo>
                    <a:pt x="126" y="422"/>
                  </a:lnTo>
                  <a:lnTo>
                    <a:pt x="126" y="420"/>
                  </a:lnTo>
                  <a:lnTo>
                    <a:pt x="125" y="420"/>
                  </a:lnTo>
                  <a:lnTo>
                    <a:pt x="123" y="420"/>
                  </a:lnTo>
                  <a:lnTo>
                    <a:pt x="123" y="418"/>
                  </a:lnTo>
                  <a:lnTo>
                    <a:pt x="122" y="417"/>
                  </a:lnTo>
                  <a:lnTo>
                    <a:pt x="122" y="415"/>
                  </a:lnTo>
                  <a:lnTo>
                    <a:pt x="122" y="413"/>
                  </a:lnTo>
                  <a:lnTo>
                    <a:pt x="122" y="412"/>
                  </a:lnTo>
                  <a:lnTo>
                    <a:pt x="122" y="410"/>
                  </a:lnTo>
                  <a:lnTo>
                    <a:pt x="120" y="410"/>
                  </a:lnTo>
                  <a:lnTo>
                    <a:pt x="118" y="409"/>
                  </a:lnTo>
                  <a:lnTo>
                    <a:pt x="117" y="409"/>
                  </a:lnTo>
                  <a:lnTo>
                    <a:pt x="117" y="407"/>
                  </a:lnTo>
                  <a:lnTo>
                    <a:pt x="115" y="405"/>
                  </a:lnTo>
                  <a:lnTo>
                    <a:pt x="113" y="405"/>
                  </a:lnTo>
                  <a:lnTo>
                    <a:pt x="112" y="404"/>
                  </a:lnTo>
                  <a:lnTo>
                    <a:pt x="112" y="402"/>
                  </a:lnTo>
                  <a:lnTo>
                    <a:pt x="113" y="402"/>
                  </a:lnTo>
                  <a:lnTo>
                    <a:pt x="112" y="400"/>
                  </a:lnTo>
                  <a:lnTo>
                    <a:pt x="112" y="399"/>
                  </a:lnTo>
                  <a:lnTo>
                    <a:pt x="110" y="399"/>
                  </a:lnTo>
                  <a:lnTo>
                    <a:pt x="110" y="397"/>
                  </a:lnTo>
                  <a:lnTo>
                    <a:pt x="109" y="397"/>
                  </a:lnTo>
                  <a:lnTo>
                    <a:pt x="107" y="397"/>
                  </a:lnTo>
                  <a:lnTo>
                    <a:pt x="105" y="396"/>
                  </a:lnTo>
                  <a:lnTo>
                    <a:pt x="104" y="396"/>
                  </a:lnTo>
                  <a:lnTo>
                    <a:pt x="104" y="394"/>
                  </a:lnTo>
                  <a:lnTo>
                    <a:pt x="102" y="394"/>
                  </a:lnTo>
                  <a:lnTo>
                    <a:pt x="100" y="394"/>
                  </a:lnTo>
                  <a:lnTo>
                    <a:pt x="97" y="392"/>
                  </a:lnTo>
                  <a:lnTo>
                    <a:pt x="94" y="391"/>
                  </a:lnTo>
                  <a:lnTo>
                    <a:pt x="92" y="391"/>
                  </a:lnTo>
                  <a:lnTo>
                    <a:pt x="91" y="391"/>
                  </a:lnTo>
                  <a:lnTo>
                    <a:pt x="91" y="387"/>
                  </a:lnTo>
                  <a:lnTo>
                    <a:pt x="89" y="387"/>
                  </a:lnTo>
                  <a:lnTo>
                    <a:pt x="86" y="386"/>
                  </a:lnTo>
                  <a:lnTo>
                    <a:pt x="84" y="386"/>
                  </a:lnTo>
                  <a:lnTo>
                    <a:pt x="84" y="384"/>
                  </a:lnTo>
                  <a:lnTo>
                    <a:pt x="83" y="384"/>
                  </a:lnTo>
                  <a:lnTo>
                    <a:pt x="81" y="384"/>
                  </a:lnTo>
                  <a:lnTo>
                    <a:pt x="81" y="381"/>
                  </a:lnTo>
                  <a:lnTo>
                    <a:pt x="79" y="379"/>
                  </a:lnTo>
                  <a:lnTo>
                    <a:pt x="79" y="378"/>
                  </a:lnTo>
                  <a:lnTo>
                    <a:pt x="79" y="376"/>
                  </a:lnTo>
                  <a:lnTo>
                    <a:pt x="81" y="376"/>
                  </a:lnTo>
                  <a:lnTo>
                    <a:pt x="79" y="376"/>
                  </a:lnTo>
                  <a:lnTo>
                    <a:pt x="79" y="374"/>
                  </a:lnTo>
                  <a:lnTo>
                    <a:pt x="78" y="374"/>
                  </a:lnTo>
                  <a:lnTo>
                    <a:pt x="79" y="373"/>
                  </a:lnTo>
                  <a:lnTo>
                    <a:pt x="78" y="373"/>
                  </a:lnTo>
                  <a:lnTo>
                    <a:pt x="78" y="374"/>
                  </a:lnTo>
                  <a:lnTo>
                    <a:pt x="78" y="373"/>
                  </a:lnTo>
                  <a:lnTo>
                    <a:pt x="76" y="373"/>
                  </a:lnTo>
                  <a:lnTo>
                    <a:pt x="76" y="371"/>
                  </a:lnTo>
                  <a:lnTo>
                    <a:pt x="74" y="371"/>
                  </a:lnTo>
                  <a:lnTo>
                    <a:pt x="73" y="371"/>
                  </a:lnTo>
                  <a:lnTo>
                    <a:pt x="71" y="371"/>
                  </a:lnTo>
                  <a:lnTo>
                    <a:pt x="73" y="370"/>
                  </a:lnTo>
                  <a:lnTo>
                    <a:pt x="71" y="370"/>
                  </a:lnTo>
                  <a:lnTo>
                    <a:pt x="70" y="370"/>
                  </a:lnTo>
                  <a:lnTo>
                    <a:pt x="70" y="371"/>
                  </a:lnTo>
                  <a:lnTo>
                    <a:pt x="70" y="370"/>
                  </a:lnTo>
                  <a:lnTo>
                    <a:pt x="68" y="370"/>
                  </a:lnTo>
                  <a:lnTo>
                    <a:pt x="68" y="371"/>
                  </a:lnTo>
                  <a:lnTo>
                    <a:pt x="68" y="370"/>
                  </a:lnTo>
                  <a:lnTo>
                    <a:pt x="66" y="370"/>
                  </a:lnTo>
                  <a:lnTo>
                    <a:pt x="65" y="370"/>
                  </a:lnTo>
                  <a:lnTo>
                    <a:pt x="66" y="368"/>
                  </a:lnTo>
                  <a:lnTo>
                    <a:pt x="65" y="368"/>
                  </a:lnTo>
                  <a:lnTo>
                    <a:pt x="65" y="370"/>
                  </a:lnTo>
                  <a:lnTo>
                    <a:pt x="63" y="370"/>
                  </a:lnTo>
                  <a:lnTo>
                    <a:pt x="63" y="368"/>
                  </a:lnTo>
                  <a:lnTo>
                    <a:pt x="61" y="368"/>
                  </a:lnTo>
                  <a:lnTo>
                    <a:pt x="61" y="366"/>
                  </a:lnTo>
                  <a:lnTo>
                    <a:pt x="61" y="365"/>
                  </a:lnTo>
                  <a:lnTo>
                    <a:pt x="60" y="365"/>
                  </a:lnTo>
                  <a:lnTo>
                    <a:pt x="60" y="363"/>
                  </a:lnTo>
                  <a:lnTo>
                    <a:pt x="58" y="363"/>
                  </a:lnTo>
                  <a:lnTo>
                    <a:pt x="58" y="361"/>
                  </a:lnTo>
                  <a:lnTo>
                    <a:pt x="57" y="361"/>
                  </a:lnTo>
                  <a:lnTo>
                    <a:pt x="58" y="361"/>
                  </a:lnTo>
                  <a:lnTo>
                    <a:pt x="58" y="360"/>
                  </a:lnTo>
                  <a:lnTo>
                    <a:pt x="57" y="360"/>
                  </a:lnTo>
                  <a:lnTo>
                    <a:pt x="55" y="360"/>
                  </a:lnTo>
                  <a:lnTo>
                    <a:pt x="55" y="358"/>
                  </a:lnTo>
                  <a:lnTo>
                    <a:pt x="53" y="358"/>
                  </a:lnTo>
                  <a:lnTo>
                    <a:pt x="52" y="358"/>
                  </a:lnTo>
                  <a:lnTo>
                    <a:pt x="50" y="358"/>
                  </a:lnTo>
                  <a:lnTo>
                    <a:pt x="48" y="358"/>
                  </a:lnTo>
                  <a:lnTo>
                    <a:pt x="48" y="357"/>
                  </a:lnTo>
                  <a:lnTo>
                    <a:pt x="43" y="355"/>
                  </a:lnTo>
                  <a:lnTo>
                    <a:pt x="43" y="353"/>
                  </a:lnTo>
                  <a:lnTo>
                    <a:pt x="43" y="352"/>
                  </a:lnTo>
                  <a:lnTo>
                    <a:pt x="43" y="350"/>
                  </a:lnTo>
                  <a:lnTo>
                    <a:pt x="42" y="350"/>
                  </a:lnTo>
                  <a:lnTo>
                    <a:pt x="40" y="347"/>
                  </a:lnTo>
                  <a:lnTo>
                    <a:pt x="39" y="347"/>
                  </a:lnTo>
                  <a:lnTo>
                    <a:pt x="39" y="345"/>
                  </a:lnTo>
                  <a:lnTo>
                    <a:pt x="37" y="344"/>
                  </a:lnTo>
                  <a:lnTo>
                    <a:pt x="35" y="344"/>
                  </a:lnTo>
                  <a:lnTo>
                    <a:pt x="35" y="342"/>
                  </a:lnTo>
                  <a:lnTo>
                    <a:pt x="34" y="340"/>
                  </a:lnTo>
                  <a:lnTo>
                    <a:pt x="30" y="340"/>
                  </a:lnTo>
                  <a:lnTo>
                    <a:pt x="30" y="339"/>
                  </a:lnTo>
                  <a:lnTo>
                    <a:pt x="29" y="337"/>
                  </a:lnTo>
                  <a:lnTo>
                    <a:pt x="29" y="335"/>
                  </a:lnTo>
                  <a:lnTo>
                    <a:pt x="29" y="334"/>
                  </a:lnTo>
                  <a:lnTo>
                    <a:pt x="30" y="334"/>
                  </a:lnTo>
                  <a:lnTo>
                    <a:pt x="30" y="332"/>
                  </a:lnTo>
                  <a:lnTo>
                    <a:pt x="30" y="329"/>
                  </a:lnTo>
                  <a:lnTo>
                    <a:pt x="26" y="329"/>
                  </a:lnTo>
                  <a:lnTo>
                    <a:pt x="26" y="327"/>
                  </a:lnTo>
                  <a:lnTo>
                    <a:pt x="26" y="326"/>
                  </a:lnTo>
                  <a:lnTo>
                    <a:pt x="24" y="326"/>
                  </a:lnTo>
                  <a:lnTo>
                    <a:pt x="22" y="324"/>
                  </a:lnTo>
                  <a:lnTo>
                    <a:pt x="21" y="322"/>
                  </a:lnTo>
                  <a:lnTo>
                    <a:pt x="21" y="321"/>
                  </a:lnTo>
                  <a:lnTo>
                    <a:pt x="19" y="321"/>
                  </a:lnTo>
                  <a:lnTo>
                    <a:pt x="21" y="319"/>
                  </a:lnTo>
                  <a:lnTo>
                    <a:pt x="21" y="318"/>
                  </a:lnTo>
                  <a:lnTo>
                    <a:pt x="19" y="318"/>
                  </a:lnTo>
                  <a:lnTo>
                    <a:pt x="19" y="316"/>
                  </a:lnTo>
                  <a:lnTo>
                    <a:pt x="19" y="314"/>
                  </a:lnTo>
                  <a:lnTo>
                    <a:pt x="21" y="314"/>
                  </a:lnTo>
                  <a:lnTo>
                    <a:pt x="21" y="313"/>
                  </a:lnTo>
                  <a:lnTo>
                    <a:pt x="21" y="311"/>
                  </a:lnTo>
                  <a:lnTo>
                    <a:pt x="22" y="309"/>
                  </a:lnTo>
                  <a:lnTo>
                    <a:pt x="21" y="308"/>
                  </a:lnTo>
                  <a:lnTo>
                    <a:pt x="19" y="308"/>
                  </a:lnTo>
                  <a:lnTo>
                    <a:pt x="19" y="306"/>
                  </a:lnTo>
                  <a:lnTo>
                    <a:pt x="17" y="306"/>
                  </a:lnTo>
                  <a:lnTo>
                    <a:pt x="16" y="305"/>
                  </a:lnTo>
                  <a:lnTo>
                    <a:pt x="11" y="305"/>
                  </a:lnTo>
                  <a:lnTo>
                    <a:pt x="9" y="305"/>
                  </a:lnTo>
                  <a:lnTo>
                    <a:pt x="8" y="305"/>
                  </a:lnTo>
                  <a:lnTo>
                    <a:pt x="6" y="306"/>
                  </a:lnTo>
                  <a:lnTo>
                    <a:pt x="4" y="308"/>
                  </a:lnTo>
                  <a:lnTo>
                    <a:pt x="3" y="308"/>
                  </a:lnTo>
                  <a:lnTo>
                    <a:pt x="1" y="308"/>
                  </a:lnTo>
                  <a:lnTo>
                    <a:pt x="0" y="308"/>
                  </a:lnTo>
                  <a:lnTo>
                    <a:pt x="0" y="306"/>
                  </a:lnTo>
                  <a:lnTo>
                    <a:pt x="0" y="305"/>
                  </a:lnTo>
                  <a:lnTo>
                    <a:pt x="3" y="301"/>
                  </a:lnTo>
                  <a:lnTo>
                    <a:pt x="4" y="301"/>
                  </a:lnTo>
                  <a:lnTo>
                    <a:pt x="4" y="300"/>
                  </a:lnTo>
                  <a:lnTo>
                    <a:pt x="6" y="296"/>
                  </a:lnTo>
                  <a:lnTo>
                    <a:pt x="8" y="296"/>
                  </a:lnTo>
                  <a:lnTo>
                    <a:pt x="8" y="295"/>
                  </a:lnTo>
                  <a:lnTo>
                    <a:pt x="9" y="296"/>
                  </a:lnTo>
                  <a:lnTo>
                    <a:pt x="9" y="295"/>
                  </a:lnTo>
                  <a:lnTo>
                    <a:pt x="11" y="295"/>
                  </a:lnTo>
                  <a:lnTo>
                    <a:pt x="11" y="293"/>
                  </a:lnTo>
                  <a:lnTo>
                    <a:pt x="11" y="292"/>
                  </a:lnTo>
                  <a:lnTo>
                    <a:pt x="13" y="292"/>
                  </a:lnTo>
                  <a:lnTo>
                    <a:pt x="13" y="290"/>
                  </a:lnTo>
                  <a:lnTo>
                    <a:pt x="13" y="288"/>
                  </a:lnTo>
                  <a:lnTo>
                    <a:pt x="14" y="285"/>
                  </a:lnTo>
                  <a:lnTo>
                    <a:pt x="16" y="287"/>
                  </a:lnTo>
                  <a:lnTo>
                    <a:pt x="17" y="285"/>
                  </a:lnTo>
                  <a:lnTo>
                    <a:pt x="19" y="287"/>
                  </a:lnTo>
                  <a:lnTo>
                    <a:pt x="19" y="285"/>
                  </a:lnTo>
                  <a:lnTo>
                    <a:pt x="21" y="285"/>
                  </a:lnTo>
                  <a:lnTo>
                    <a:pt x="22" y="285"/>
                  </a:lnTo>
                  <a:lnTo>
                    <a:pt x="24" y="285"/>
                  </a:lnTo>
                  <a:lnTo>
                    <a:pt x="26" y="285"/>
                  </a:lnTo>
                  <a:lnTo>
                    <a:pt x="27" y="287"/>
                  </a:lnTo>
                  <a:lnTo>
                    <a:pt x="29" y="287"/>
                  </a:lnTo>
                  <a:lnTo>
                    <a:pt x="29" y="285"/>
                  </a:lnTo>
                  <a:lnTo>
                    <a:pt x="30" y="285"/>
                  </a:lnTo>
                  <a:lnTo>
                    <a:pt x="32" y="285"/>
                  </a:lnTo>
                  <a:lnTo>
                    <a:pt x="34" y="285"/>
                  </a:lnTo>
                  <a:lnTo>
                    <a:pt x="35" y="285"/>
                  </a:lnTo>
                  <a:lnTo>
                    <a:pt x="35" y="283"/>
                  </a:lnTo>
                  <a:lnTo>
                    <a:pt x="34" y="283"/>
                  </a:lnTo>
                  <a:lnTo>
                    <a:pt x="32" y="282"/>
                  </a:lnTo>
                  <a:lnTo>
                    <a:pt x="32" y="280"/>
                  </a:lnTo>
                  <a:lnTo>
                    <a:pt x="30" y="280"/>
                  </a:lnTo>
                  <a:lnTo>
                    <a:pt x="29" y="282"/>
                  </a:lnTo>
                  <a:lnTo>
                    <a:pt x="29" y="280"/>
                  </a:lnTo>
                  <a:lnTo>
                    <a:pt x="30" y="279"/>
                  </a:lnTo>
                  <a:lnTo>
                    <a:pt x="32" y="279"/>
                  </a:lnTo>
                  <a:lnTo>
                    <a:pt x="34" y="279"/>
                  </a:lnTo>
                  <a:lnTo>
                    <a:pt x="35" y="277"/>
                  </a:lnTo>
                  <a:lnTo>
                    <a:pt x="35" y="275"/>
                  </a:lnTo>
                  <a:lnTo>
                    <a:pt x="34" y="275"/>
                  </a:lnTo>
                  <a:lnTo>
                    <a:pt x="32" y="274"/>
                  </a:lnTo>
                  <a:lnTo>
                    <a:pt x="30" y="274"/>
                  </a:lnTo>
                  <a:lnTo>
                    <a:pt x="30" y="272"/>
                  </a:lnTo>
                  <a:lnTo>
                    <a:pt x="30" y="270"/>
                  </a:lnTo>
                  <a:lnTo>
                    <a:pt x="30" y="269"/>
                  </a:lnTo>
                  <a:lnTo>
                    <a:pt x="32" y="270"/>
                  </a:lnTo>
                  <a:lnTo>
                    <a:pt x="32" y="269"/>
                  </a:lnTo>
                  <a:lnTo>
                    <a:pt x="34" y="269"/>
                  </a:lnTo>
                  <a:lnTo>
                    <a:pt x="34" y="267"/>
                  </a:lnTo>
                  <a:lnTo>
                    <a:pt x="35" y="265"/>
                  </a:lnTo>
                  <a:lnTo>
                    <a:pt x="35" y="264"/>
                  </a:lnTo>
                  <a:lnTo>
                    <a:pt x="34" y="262"/>
                  </a:lnTo>
                  <a:lnTo>
                    <a:pt x="32" y="262"/>
                  </a:lnTo>
                  <a:lnTo>
                    <a:pt x="29" y="264"/>
                  </a:lnTo>
                  <a:lnTo>
                    <a:pt x="29" y="262"/>
                  </a:lnTo>
                  <a:lnTo>
                    <a:pt x="29" y="261"/>
                  </a:lnTo>
                  <a:lnTo>
                    <a:pt x="29" y="259"/>
                  </a:lnTo>
                  <a:lnTo>
                    <a:pt x="27" y="259"/>
                  </a:lnTo>
                  <a:lnTo>
                    <a:pt x="27" y="257"/>
                  </a:lnTo>
                  <a:lnTo>
                    <a:pt x="27" y="259"/>
                  </a:lnTo>
                  <a:lnTo>
                    <a:pt x="26" y="259"/>
                  </a:lnTo>
                  <a:lnTo>
                    <a:pt x="26" y="257"/>
                  </a:lnTo>
                  <a:lnTo>
                    <a:pt x="24" y="256"/>
                  </a:lnTo>
                  <a:lnTo>
                    <a:pt x="24" y="254"/>
                  </a:lnTo>
                  <a:lnTo>
                    <a:pt x="26" y="256"/>
                  </a:lnTo>
                  <a:lnTo>
                    <a:pt x="26" y="254"/>
                  </a:lnTo>
                  <a:lnTo>
                    <a:pt x="26" y="251"/>
                  </a:lnTo>
                  <a:lnTo>
                    <a:pt x="26" y="249"/>
                  </a:lnTo>
                  <a:lnTo>
                    <a:pt x="27" y="248"/>
                  </a:lnTo>
                  <a:lnTo>
                    <a:pt x="29" y="248"/>
                  </a:lnTo>
                  <a:lnTo>
                    <a:pt x="29" y="246"/>
                  </a:lnTo>
                  <a:lnTo>
                    <a:pt x="29" y="244"/>
                  </a:lnTo>
                  <a:lnTo>
                    <a:pt x="30" y="244"/>
                  </a:lnTo>
                  <a:lnTo>
                    <a:pt x="27" y="238"/>
                  </a:lnTo>
                  <a:lnTo>
                    <a:pt x="24" y="235"/>
                  </a:lnTo>
                  <a:lnTo>
                    <a:pt x="26" y="233"/>
                  </a:lnTo>
                  <a:lnTo>
                    <a:pt x="26" y="231"/>
                  </a:lnTo>
                  <a:lnTo>
                    <a:pt x="26" y="230"/>
                  </a:lnTo>
                  <a:lnTo>
                    <a:pt x="26" y="228"/>
                  </a:lnTo>
                  <a:lnTo>
                    <a:pt x="26" y="226"/>
                  </a:lnTo>
                  <a:lnTo>
                    <a:pt x="27" y="226"/>
                  </a:lnTo>
                  <a:lnTo>
                    <a:pt x="29" y="226"/>
                  </a:lnTo>
                  <a:lnTo>
                    <a:pt x="29" y="228"/>
                  </a:lnTo>
                  <a:lnTo>
                    <a:pt x="30" y="228"/>
                  </a:lnTo>
                  <a:lnTo>
                    <a:pt x="30" y="226"/>
                  </a:lnTo>
                  <a:lnTo>
                    <a:pt x="32" y="225"/>
                  </a:lnTo>
                  <a:lnTo>
                    <a:pt x="35" y="226"/>
                  </a:lnTo>
                  <a:lnTo>
                    <a:pt x="37" y="226"/>
                  </a:lnTo>
                  <a:lnTo>
                    <a:pt x="37" y="225"/>
                  </a:lnTo>
                  <a:lnTo>
                    <a:pt x="39" y="223"/>
                  </a:lnTo>
                  <a:lnTo>
                    <a:pt x="40" y="222"/>
                  </a:lnTo>
                  <a:lnTo>
                    <a:pt x="42" y="222"/>
                  </a:lnTo>
                  <a:lnTo>
                    <a:pt x="42" y="220"/>
                  </a:lnTo>
                  <a:lnTo>
                    <a:pt x="43" y="220"/>
                  </a:lnTo>
                  <a:lnTo>
                    <a:pt x="43" y="218"/>
                  </a:lnTo>
                  <a:lnTo>
                    <a:pt x="45" y="218"/>
                  </a:lnTo>
                  <a:lnTo>
                    <a:pt x="45" y="215"/>
                  </a:lnTo>
                  <a:lnTo>
                    <a:pt x="43" y="212"/>
                  </a:lnTo>
                  <a:lnTo>
                    <a:pt x="43" y="210"/>
                  </a:lnTo>
                  <a:lnTo>
                    <a:pt x="45" y="210"/>
                  </a:lnTo>
                  <a:lnTo>
                    <a:pt x="47" y="210"/>
                  </a:lnTo>
                  <a:lnTo>
                    <a:pt x="47" y="209"/>
                  </a:lnTo>
                  <a:lnTo>
                    <a:pt x="48" y="209"/>
                  </a:lnTo>
                  <a:lnTo>
                    <a:pt x="48" y="207"/>
                  </a:lnTo>
                  <a:lnTo>
                    <a:pt x="48" y="205"/>
                  </a:lnTo>
                  <a:lnTo>
                    <a:pt x="47" y="204"/>
                  </a:lnTo>
                  <a:lnTo>
                    <a:pt x="45" y="202"/>
                  </a:lnTo>
                  <a:lnTo>
                    <a:pt x="43" y="202"/>
                  </a:lnTo>
                  <a:lnTo>
                    <a:pt x="45" y="200"/>
                  </a:lnTo>
                  <a:lnTo>
                    <a:pt x="43" y="199"/>
                  </a:lnTo>
                  <a:lnTo>
                    <a:pt x="42" y="194"/>
                  </a:lnTo>
                  <a:lnTo>
                    <a:pt x="40" y="194"/>
                  </a:lnTo>
                  <a:lnTo>
                    <a:pt x="39" y="194"/>
                  </a:lnTo>
                  <a:lnTo>
                    <a:pt x="37" y="196"/>
                  </a:lnTo>
                  <a:lnTo>
                    <a:pt x="35" y="196"/>
                  </a:lnTo>
                  <a:lnTo>
                    <a:pt x="34" y="196"/>
                  </a:lnTo>
                  <a:lnTo>
                    <a:pt x="29" y="192"/>
                  </a:lnTo>
                  <a:lnTo>
                    <a:pt x="27" y="192"/>
                  </a:lnTo>
                  <a:lnTo>
                    <a:pt x="26" y="192"/>
                  </a:lnTo>
                  <a:lnTo>
                    <a:pt x="24" y="192"/>
                  </a:lnTo>
                  <a:lnTo>
                    <a:pt x="21" y="191"/>
                  </a:lnTo>
                  <a:lnTo>
                    <a:pt x="19" y="191"/>
                  </a:lnTo>
                  <a:lnTo>
                    <a:pt x="19" y="189"/>
                  </a:lnTo>
                  <a:lnTo>
                    <a:pt x="21" y="189"/>
                  </a:lnTo>
                  <a:lnTo>
                    <a:pt x="21" y="186"/>
                  </a:lnTo>
                  <a:lnTo>
                    <a:pt x="22" y="186"/>
                  </a:lnTo>
                  <a:lnTo>
                    <a:pt x="22" y="187"/>
                  </a:lnTo>
                  <a:lnTo>
                    <a:pt x="24" y="187"/>
                  </a:lnTo>
                  <a:lnTo>
                    <a:pt x="24" y="186"/>
                  </a:lnTo>
                  <a:lnTo>
                    <a:pt x="26" y="184"/>
                  </a:lnTo>
                  <a:lnTo>
                    <a:pt x="27" y="184"/>
                  </a:lnTo>
                  <a:lnTo>
                    <a:pt x="27" y="183"/>
                  </a:lnTo>
                  <a:lnTo>
                    <a:pt x="29" y="183"/>
                  </a:lnTo>
                  <a:lnTo>
                    <a:pt x="30" y="183"/>
                  </a:lnTo>
                  <a:lnTo>
                    <a:pt x="30" y="181"/>
                  </a:lnTo>
                  <a:lnTo>
                    <a:pt x="29" y="179"/>
                  </a:lnTo>
                  <a:lnTo>
                    <a:pt x="30" y="178"/>
                  </a:lnTo>
                  <a:lnTo>
                    <a:pt x="30" y="176"/>
                  </a:lnTo>
                  <a:lnTo>
                    <a:pt x="32" y="176"/>
                  </a:lnTo>
                  <a:lnTo>
                    <a:pt x="34" y="176"/>
                  </a:lnTo>
                  <a:lnTo>
                    <a:pt x="35" y="176"/>
                  </a:lnTo>
                  <a:lnTo>
                    <a:pt x="35" y="174"/>
                  </a:lnTo>
                  <a:lnTo>
                    <a:pt x="39" y="176"/>
                  </a:lnTo>
                  <a:lnTo>
                    <a:pt x="40" y="176"/>
                  </a:lnTo>
                  <a:lnTo>
                    <a:pt x="43" y="178"/>
                  </a:lnTo>
                  <a:lnTo>
                    <a:pt x="45" y="178"/>
                  </a:lnTo>
                  <a:lnTo>
                    <a:pt x="47" y="178"/>
                  </a:lnTo>
                  <a:lnTo>
                    <a:pt x="48" y="183"/>
                  </a:lnTo>
                  <a:lnTo>
                    <a:pt x="50" y="184"/>
                  </a:lnTo>
                  <a:lnTo>
                    <a:pt x="52" y="184"/>
                  </a:lnTo>
                  <a:lnTo>
                    <a:pt x="53" y="184"/>
                  </a:lnTo>
                  <a:lnTo>
                    <a:pt x="57" y="184"/>
                  </a:lnTo>
                  <a:lnTo>
                    <a:pt x="58" y="184"/>
                  </a:lnTo>
                  <a:lnTo>
                    <a:pt x="58" y="181"/>
                  </a:lnTo>
                  <a:lnTo>
                    <a:pt x="60" y="181"/>
                  </a:lnTo>
                  <a:lnTo>
                    <a:pt x="61" y="178"/>
                  </a:lnTo>
                  <a:lnTo>
                    <a:pt x="61" y="183"/>
                  </a:lnTo>
                  <a:lnTo>
                    <a:pt x="63" y="183"/>
                  </a:lnTo>
                  <a:lnTo>
                    <a:pt x="66" y="183"/>
                  </a:lnTo>
                  <a:lnTo>
                    <a:pt x="71" y="181"/>
                  </a:lnTo>
                  <a:lnTo>
                    <a:pt x="78" y="179"/>
                  </a:lnTo>
                  <a:lnTo>
                    <a:pt x="83" y="178"/>
                  </a:lnTo>
                  <a:lnTo>
                    <a:pt x="81" y="176"/>
                  </a:lnTo>
                  <a:lnTo>
                    <a:pt x="81" y="174"/>
                  </a:lnTo>
                  <a:lnTo>
                    <a:pt x="81" y="171"/>
                  </a:lnTo>
                  <a:lnTo>
                    <a:pt x="79" y="168"/>
                  </a:lnTo>
                  <a:lnTo>
                    <a:pt x="78" y="166"/>
                  </a:lnTo>
                  <a:lnTo>
                    <a:pt x="78" y="165"/>
                  </a:lnTo>
                  <a:lnTo>
                    <a:pt x="79" y="163"/>
                  </a:lnTo>
                  <a:lnTo>
                    <a:pt x="78" y="161"/>
                  </a:lnTo>
                  <a:lnTo>
                    <a:pt x="76" y="160"/>
                  </a:lnTo>
                  <a:lnTo>
                    <a:pt x="74" y="157"/>
                  </a:lnTo>
                  <a:lnTo>
                    <a:pt x="73" y="157"/>
                  </a:lnTo>
                  <a:lnTo>
                    <a:pt x="74" y="157"/>
                  </a:lnTo>
                  <a:lnTo>
                    <a:pt x="76" y="155"/>
                  </a:lnTo>
                  <a:lnTo>
                    <a:pt x="78" y="155"/>
                  </a:lnTo>
                  <a:lnTo>
                    <a:pt x="79" y="155"/>
                  </a:lnTo>
                  <a:lnTo>
                    <a:pt x="79" y="153"/>
                  </a:lnTo>
                  <a:lnTo>
                    <a:pt x="79" y="155"/>
                  </a:lnTo>
                  <a:lnTo>
                    <a:pt x="81" y="153"/>
                  </a:lnTo>
                  <a:lnTo>
                    <a:pt x="81" y="150"/>
                  </a:lnTo>
                  <a:lnTo>
                    <a:pt x="81" y="148"/>
                  </a:lnTo>
                  <a:lnTo>
                    <a:pt x="83" y="147"/>
                  </a:lnTo>
                  <a:lnTo>
                    <a:pt x="81" y="147"/>
                  </a:lnTo>
                  <a:lnTo>
                    <a:pt x="79" y="145"/>
                  </a:lnTo>
                  <a:lnTo>
                    <a:pt x="83" y="142"/>
                  </a:lnTo>
                  <a:lnTo>
                    <a:pt x="81" y="140"/>
                  </a:lnTo>
                  <a:lnTo>
                    <a:pt x="79" y="140"/>
                  </a:lnTo>
                  <a:lnTo>
                    <a:pt x="81" y="139"/>
                  </a:lnTo>
                  <a:lnTo>
                    <a:pt x="83" y="139"/>
                  </a:lnTo>
                  <a:lnTo>
                    <a:pt x="83" y="137"/>
                  </a:lnTo>
                  <a:lnTo>
                    <a:pt x="86" y="135"/>
                  </a:lnTo>
                  <a:lnTo>
                    <a:pt x="86" y="134"/>
                  </a:lnTo>
                  <a:lnTo>
                    <a:pt x="89" y="132"/>
                  </a:lnTo>
                  <a:lnTo>
                    <a:pt x="91" y="132"/>
                  </a:lnTo>
                  <a:lnTo>
                    <a:pt x="92" y="132"/>
                  </a:lnTo>
                  <a:lnTo>
                    <a:pt x="94" y="132"/>
                  </a:lnTo>
                  <a:lnTo>
                    <a:pt x="94" y="134"/>
                  </a:lnTo>
                  <a:lnTo>
                    <a:pt x="96" y="135"/>
                  </a:lnTo>
                  <a:lnTo>
                    <a:pt x="97" y="135"/>
                  </a:lnTo>
                  <a:lnTo>
                    <a:pt x="100" y="135"/>
                  </a:lnTo>
                  <a:lnTo>
                    <a:pt x="102" y="135"/>
                  </a:lnTo>
                  <a:lnTo>
                    <a:pt x="104" y="135"/>
                  </a:lnTo>
                  <a:lnTo>
                    <a:pt x="104" y="137"/>
                  </a:lnTo>
                  <a:lnTo>
                    <a:pt x="105" y="137"/>
                  </a:lnTo>
                  <a:lnTo>
                    <a:pt x="107" y="140"/>
                  </a:lnTo>
                  <a:lnTo>
                    <a:pt x="109" y="140"/>
                  </a:lnTo>
                  <a:lnTo>
                    <a:pt x="110" y="140"/>
                  </a:lnTo>
                  <a:lnTo>
                    <a:pt x="110" y="142"/>
                  </a:lnTo>
                  <a:lnTo>
                    <a:pt x="112" y="144"/>
                  </a:lnTo>
                  <a:lnTo>
                    <a:pt x="113" y="145"/>
                  </a:lnTo>
                  <a:lnTo>
                    <a:pt x="113" y="147"/>
                  </a:lnTo>
                  <a:lnTo>
                    <a:pt x="115" y="148"/>
                  </a:lnTo>
                  <a:lnTo>
                    <a:pt x="115" y="150"/>
                  </a:lnTo>
                  <a:lnTo>
                    <a:pt x="117" y="150"/>
                  </a:lnTo>
                  <a:lnTo>
                    <a:pt x="118" y="150"/>
                  </a:lnTo>
                  <a:lnTo>
                    <a:pt x="118" y="152"/>
                  </a:lnTo>
                  <a:lnTo>
                    <a:pt x="120" y="152"/>
                  </a:lnTo>
                  <a:lnTo>
                    <a:pt x="122" y="152"/>
                  </a:lnTo>
                  <a:lnTo>
                    <a:pt x="123" y="152"/>
                  </a:lnTo>
                  <a:lnTo>
                    <a:pt x="125" y="153"/>
                  </a:lnTo>
                  <a:lnTo>
                    <a:pt x="125" y="155"/>
                  </a:lnTo>
                  <a:lnTo>
                    <a:pt x="125" y="157"/>
                  </a:lnTo>
                  <a:lnTo>
                    <a:pt x="126" y="157"/>
                  </a:lnTo>
                  <a:lnTo>
                    <a:pt x="126" y="158"/>
                  </a:lnTo>
                  <a:lnTo>
                    <a:pt x="128" y="158"/>
                  </a:lnTo>
                  <a:lnTo>
                    <a:pt x="130" y="157"/>
                  </a:lnTo>
                  <a:lnTo>
                    <a:pt x="131" y="157"/>
                  </a:lnTo>
                  <a:lnTo>
                    <a:pt x="135" y="160"/>
                  </a:lnTo>
                  <a:lnTo>
                    <a:pt x="138" y="161"/>
                  </a:lnTo>
                  <a:lnTo>
                    <a:pt x="139" y="163"/>
                  </a:lnTo>
                  <a:lnTo>
                    <a:pt x="141" y="165"/>
                  </a:lnTo>
                  <a:lnTo>
                    <a:pt x="144" y="166"/>
                  </a:lnTo>
                  <a:lnTo>
                    <a:pt x="146" y="166"/>
                  </a:lnTo>
                  <a:lnTo>
                    <a:pt x="148" y="166"/>
                  </a:lnTo>
                  <a:lnTo>
                    <a:pt x="149" y="166"/>
                  </a:lnTo>
                  <a:lnTo>
                    <a:pt x="151" y="166"/>
                  </a:lnTo>
                  <a:lnTo>
                    <a:pt x="152" y="166"/>
                  </a:lnTo>
                  <a:lnTo>
                    <a:pt x="154" y="166"/>
                  </a:lnTo>
                  <a:lnTo>
                    <a:pt x="156" y="165"/>
                  </a:lnTo>
                  <a:lnTo>
                    <a:pt x="161" y="166"/>
                  </a:lnTo>
                  <a:lnTo>
                    <a:pt x="161" y="165"/>
                  </a:lnTo>
                  <a:lnTo>
                    <a:pt x="164" y="165"/>
                  </a:lnTo>
                  <a:lnTo>
                    <a:pt x="165" y="163"/>
                  </a:lnTo>
                  <a:lnTo>
                    <a:pt x="167" y="163"/>
                  </a:lnTo>
                  <a:lnTo>
                    <a:pt x="170" y="163"/>
                  </a:lnTo>
                  <a:lnTo>
                    <a:pt x="172" y="161"/>
                  </a:lnTo>
                  <a:lnTo>
                    <a:pt x="178" y="161"/>
                  </a:lnTo>
                  <a:lnTo>
                    <a:pt x="180" y="161"/>
                  </a:lnTo>
                  <a:lnTo>
                    <a:pt x="182" y="161"/>
                  </a:lnTo>
                  <a:lnTo>
                    <a:pt x="187" y="163"/>
                  </a:lnTo>
                  <a:lnTo>
                    <a:pt x="188" y="163"/>
                  </a:lnTo>
                  <a:lnTo>
                    <a:pt x="190" y="161"/>
                  </a:lnTo>
                  <a:lnTo>
                    <a:pt x="193" y="161"/>
                  </a:lnTo>
                  <a:lnTo>
                    <a:pt x="195" y="161"/>
                  </a:lnTo>
                  <a:lnTo>
                    <a:pt x="198" y="163"/>
                  </a:lnTo>
                  <a:lnTo>
                    <a:pt x="206" y="160"/>
                  </a:lnTo>
                  <a:lnTo>
                    <a:pt x="208" y="158"/>
                  </a:lnTo>
                  <a:lnTo>
                    <a:pt x="209" y="158"/>
                  </a:lnTo>
                  <a:lnTo>
                    <a:pt x="211" y="158"/>
                  </a:lnTo>
                  <a:lnTo>
                    <a:pt x="213" y="157"/>
                  </a:lnTo>
                  <a:lnTo>
                    <a:pt x="214" y="157"/>
                  </a:lnTo>
                  <a:lnTo>
                    <a:pt x="216" y="157"/>
                  </a:lnTo>
                  <a:lnTo>
                    <a:pt x="218" y="158"/>
                  </a:lnTo>
                  <a:lnTo>
                    <a:pt x="219" y="157"/>
                  </a:lnTo>
                  <a:lnTo>
                    <a:pt x="221" y="157"/>
                  </a:lnTo>
                  <a:lnTo>
                    <a:pt x="222" y="155"/>
                  </a:lnTo>
                  <a:lnTo>
                    <a:pt x="224" y="155"/>
                  </a:lnTo>
                  <a:lnTo>
                    <a:pt x="227" y="155"/>
                  </a:lnTo>
                  <a:lnTo>
                    <a:pt x="229" y="155"/>
                  </a:lnTo>
                  <a:lnTo>
                    <a:pt x="231" y="155"/>
                  </a:lnTo>
                  <a:lnTo>
                    <a:pt x="232" y="155"/>
                  </a:lnTo>
                  <a:lnTo>
                    <a:pt x="234" y="153"/>
                  </a:lnTo>
                  <a:lnTo>
                    <a:pt x="239" y="150"/>
                  </a:lnTo>
                  <a:lnTo>
                    <a:pt x="239" y="148"/>
                  </a:lnTo>
                  <a:lnTo>
                    <a:pt x="239" y="147"/>
                  </a:lnTo>
                  <a:lnTo>
                    <a:pt x="240" y="147"/>
                  </a:lnTo>
                  <a:lnTo>
                    <a:pt x="242" y="145"/>
                  </a:lnTo>
                  <a:lnTo>
                    <a:pt x="244" y="145"/>
                  </a:lnTo>
                  <a:lnTo>
                    <a:pt x="245" y="145"/>
                  </a:lnTo>
                  <a:lnTo>
                    <a:pt x="247" y="145"/>
                  </a:lnTo>
                  <a:lnTo>
                    <a:pt x="248" y="145"/>
                  </a:lnTo>
                  <a:lnTo>
                    <a:pt x="250" y="145"/>
                  </a:lnTo>
                  <a:lnTo>
                    <a:pt x="250" y="144"/>
                  </a:lnTo>
                  <a:lnTo>
                    <a:pt x="250" y="142"/>
                  </a:lnTo>
                  <a:lnTo>
                    <a:pt x="248" y="142"/>
                  </a:lnTo>
                  <a:lnTo>
                    <a:pt x="247" y="140"/>
                  </a:lnTo>
                  <a:lnTo>
                    <a:pt x="247" y="139"/>
                  </a:lnTo>
                  <a:lnTo>
                    <a:pt x="244" y="139"/>
                  </a:lnTo>
                  <a:lnTo>
                    <a:pt x="242" y="137"/>
                  </a:lnTo>
                  <a:lnTo>
                    <a:pt x="240" y="137"/>
                  </a:lnTo>
                  <a:lnTo>
                    <a:pt x="240" y="135"/>
                  </a:lnTo>
                  <a:lnTo>
                    <a:pt x="240" y="134"/>
                  </a:lnTo>
                  <a:lnTo>
                    <a:pt x="240" y="132"/>
                  </a:lnTo>
                  <a:lnTo>
                    <a:pt x="240" y="131"/>
                  </a:lnTo>
                  <a:lnTo>
                    <a:pt x="240" y="129"/>
                  </a:lnTo>
                  <a:lnTo>
                    <a:pt x="240" y="127"/>
                  </a:lnTo>
                  <a:lnTo>
                    <a:pt x="240" y="126"/>
                  </a:lnTo>
                  <a:lnTo>
                    <a:pt x="240" y="124"/>
                  </a:lnTo>
                  <a:lnTo>
                    <a:pt x="239" y="124"/>
                  </a:lnTo>
                  <a:lnTo>
                    <a:pt x="239" y="122"/>
                  </a:lnTo>
                  <a:lnTo>
                    <a:pt x="239" y="121"/>
                  </a:lnTo>
                  <a:lnTo>
                    <a:pt x="240" y="121"/>
                  </a:lnTo>
                  <a:lnTo>
                    <a:pt x="242" y="121"/>
                  </a:lnTo>
                  <a:lnTo>
                    <a:pt x="244" y="121"/>
                  </a:lnTo>
                  <a:lnTo>
                    <a:pt x="244" y="119"/>
                  </a:lnTo>
                  <a:lnTo>
                    <a:pt x="244" y="117"/>
                  </a:lnTo>
                  <a:lnTo>
                    <a:pt x="244" y="116"/>
                  </a:lnTo>
                  <a:lnTo>
                    <a:pt x="244" y="114"/>
                  </a:lnTo>
                  <a:lnTo>
                    <a:pt x="245" y="114"/>
                  </a:lnTo>
                  <a:lnTo>
                    <a:pt x="244" y="113"/>
                  </a:lnTo>
                  <a:lnTo>
                    <a:pt x="245" y="113"/>
                  </a:lnTo>
                  <a:lnTo>
                    <a:pt x="245" y="111"/>
                  </a:lnTo>
                  <a:lnTo>
                    <a:pt x="247" y="111"/>
                  </a:lnTo>
                  <a:lnTo>
                    <a:pt x="248" y="111"/>
                  </a:lnTo>
                  <a:lnTo>
                    <a:pt x="250" y="111"/>
                  </a:lnTo>
                  <a:lnTo>
                    <a:pt x="250" y="109"/>
                  </a:lnTo>
                  <a:lnTo>
                    <a:pt x="252" y="109"/>
                  </a:lnTo>
                  <a:lnTo>
                    <a:pt x="253" y="109"/>
                  </a:lnTo>
                  <a:lnTo>
                    <a:pt x="255" y="108"/>
                  </a:lnTo>
                  <a:lnTo>
                    <a:pt x="257" y="106"/>
                  </a:lnTo>
                  <a:lnTo>
                    <a:pt x="257" y="108"/>
                  </a:lnTo>
                  <a:lnTo>
                    <a:pt x="258" y="108"/>
                  </a:lnTo>
                  <a:lnTo>
                    <a:pt x="258" y="109"/>
                  </a:lnTo>
                  <a:lnTo>
                    <a:pt x="260" y="108"/>
                  </a:lnTo>
                  <a:lnTo>
                    <a:pt x="260" y="106"/>
                  </a:lnTo>
                  <a:lnTo>
                    <a:pt x="261" y="106"/>
                  </a:lnTo>
                  <a:lnTo>
                    <a:pt x="261" y="104"/>
                  </a:lnTo>
                  <a:lnTo>
                    <a:pt x="261" y="106"/>
                  </a:lnTo>
                  <a:lnTo>
                    <a:pt x="263" y="106"/>
                  </a:lnTo>
                  <a:lnTo>
                    <a:pt x="261" y="106"/>
                  </a:lnTo>
                  <a:lnTo>
                    <a:pt x="263" y="106"/>
                  </a:lnTo>
                  <a:lnTo>
                    <a:pt x="265" y="106"/>
                  </a:lnTo>
                  <a:lnTo>
                    <a:pt x="266" y="108"/>
                  </a:lnTo>
                  <a:lnTo>
                    <a:pt x="266" y="106"/>
                  </a:lnTo>
                  <a:lnTo>
                    <a:pt x="268" y="106"/>
                  </a:lnTo>
                  <a:lnTo>
                    <a:pt x="268" y="104"/>
                  </a:lnTo>
                  <a:lnTo>
                    <a:pt x="270" y="104"/>
                  </a:lnTo>
                  <a:lnTo>
                    <a:pt x="270" y="106"/>
                  </a:lnTo>
                  <a:lnTo>
                    <a:pt x="271" y="106"/>
                  </a:lnTo>
                  <a:lnTo>
                    <a:pt x="271" y="104"/>
                  </a:lnTo>
                  <a:lnTo>
                    <a:pt x="273" y="104"/>
                  </a:lnTo>
                  <a:lnTo>
                    <a:pt x="274" y="104"/>
                  </a:lnTo>
                  <a:lnTo>
                    <a:pt x="276" y="104"/>
                  </a:lnTo>
                  <a:lnTo>
                    <a:pt x="278" y="106"/>
                  </a:lnTo>
                  <a:lnTo>
                    <a:pt x="279" y="104"/>
                  </a:lnTo>
                  <a:lnTo>
                    <a:pt x="281" y="104"/>
                  </a:lnTo>
                  <a:lnTo>
                    <a:pt x="283" y="106"/>
                  </a:lnTo>
                  <a:lnTo>
                    <a:pt x="284" y="106"/>
                  </a:lnTo>
                  <a:lnTo>
                    <a:pt x="284" y="104"/>
                  </a:lnTo>
                  <a:lnTo>
                    <a:pt x="284" y="103"/>
                  </a:lnTo>
                  <a:lnTo>
                    <a:pt x="286" y="103"/>
                  </a:lnTo>
                  <a:lnTo>
                    <a:pt x="287" y="103"/>
                  </a:lnTo>
                  <a:lnTo>
                    <a:pt x="287" y="101"/>
                  </a:lnTo>
                  <a:lnTo>
                    <a:pt x="289" y="100"/>
                  </a:lnTo>
                  <a:lnTo>
                    <a:pt x="291" y="100"/>
                  </a:lnTo>
                  <a:lnTo>
                    <a:pt x="292" y="100"/>
                  </a:lnTo>
                  <a:lnTo>
                    <a:pt x="294" y="100"/>
                  </a:lnTo>
                  <a:lnTo>
                    <a:pt x="296" y="100"/>
                  </a:lnTo>
                  <a:lnTo>
                    <a:pt x="297" y="98"/>
                  </a:lnTo>
                  <a:lnTo>
                    <a:pt x="297" y="100"/>
                  </a:lnTo>
                  <a:lnTo>
                    <a:pt x="299" y="100"/>
                  </a:lnTo>
                  <a:lnTo>
                    <a:pt x="300" y="100"/>
                  </a:lnTo>
                  <a:lnTo>
                    <a:pt x="300" y="98"/>
                  </a:lnTo>
                  <a:lnTo>
                    <a:pt x="302" y="96"/>
                  </a:lnTo>
                  <a:lnTo>
                    <a:pt x="302" y="98"/>
                  </a:lnTo>
                  <a:lnTo>
                    <a:pt x="304" y="98"/>
                  </a:lnTo>
                  <a:lnTo>
                    <a:pt x="304" y="100"/>
                  </a:lnTo>
                  <a:lnTo>
                    <a:pt x="305" y="98"/>
                  </a:lnTo>
                  <a:lnTo>
                    <a:pt x="304" y="98"/>
                  </a:lnTo>
                  <a:lnTo>
                    <a:pt x="305" y="98"/>
                  </a:lnTo>
                  <a:lnTo>
                    <a:pt x="305" y="96"/>
                  </a:lnTo>
                  <a:lnTo>
                    <a:pt x="305" y="95"/>
                  </a:lnTo>
                  <a:lnTo>
                    <a:pt x="307" y="95"/>
                  </a:lnTo>
                  <a:lnTo>
                    <a:pt x="307" y="93"/>
                  </a:lnTo>
                  <a:lnTo>
                    <a:pt x="307" y="91"/>
                  </a:lnTo>
                  <a:lnTo>
                    <a:pt x="305" y="90"/>
                  </a:lnTo>
                  <a:lnTo>
                    <a:pt x="307" y="90"/>
                  </a:lnTo>
                  <a:lnTo>
                    <a:pt x="307" y="88"/>
                  </a:lnTo>
                  <a:lnTo>
                    <a:pt x="307" y="87"/>
                  </a:lnTo>
                  <a:lnTo>
                    <a:pt x="307" y="85"/>
                  </a:lnTo>
                  <a:lnTo>
                    <a:pt x="307" y="83"/>
                  </a:lnTo>
                  <a:lnTo>
                    <a:pt x="309" y="83"/>
                  </a:lnTo>
                  <a:lnTo>
                    <a:pt x="309" y="82"/>
                  </a:lnTo>
                  <a:lnTo>
                    <a:pt x="309" y="80"/>
                  </a:lnTo>
                  <a:lnTo>
                    <a:pt x="310" y="80"/>
                  </a:lnTo>
                  <a:lnTo>
                    <a:pt x="312" y="78"/>
                  </a:lnTo>
                  <a:lnTo>
                    <a:pt x="313" y="77"/>
                  </a:lnTo>
                  <a:lnTo>
                    <a:pt x="315" y="77"/>
                  </a:lnTo>
                  <a:lnTo>
                    <a:pt x="315" y="75"/>
                  </a:lnTo>
                  <a:lnTo>
                    <a:pt x="317" y="74"/>
                  </a:lnTo>
                  <a:lnTo>
                    <a:pt x="317" y="72"/>
                  </a:lnTo>
                  <a:lnTo>
                    <a:pt x="317" y="74"/>
                  </a:lnTo>
                  <a:lnTo>
                    <a:pt x="318" y="74"/>
                  </a:lnTo>
                  <a:lnTo>
                    <a:pt x="320" y="74"/>
                  </a:lnTo>
                  <a:lnTo>
                    <a:pt x="323" y="78"/>
                  </a:lnTo>
                  <a:lnTo>
                    <a:pt x="325" y="78"/>
                  </a:lnTo>
                  <a:lnTo>
                    <a:pt x="326" y="78"/>
                  </a:lnTo>
                  <a:lnTo>
                    <a:pt x="328" y="77"/>
                  </a:lnTo>
                  <a:lnTo>
                    <a:pt x="330" y="77"/>
                  </a:lnTo>
                  <a:lnTo>
                    <a:pt x="331" y="78"/>
                  </a:lnTo>
                  <a:lnTo>
                    <a:pt x="333" y="78"/>
                  </a:lnTo>
                  <a:lnTo>
                    <a:pt x="335" y="78"/>
                  </a:lnTo>
                  <a:lnTo>
                    <a:pt x="335" y="80"/>
                  </a:lnTo>
                  <a:lnTo>
                    <a:pt x="333" y="82"/>
                  </a:lnTo>
                  <a:lnTo>
                    <a:pt x="333" y="83"/>
                  </a:lnTo>
                  <a:lnTo>
                    <a:pt x="335" y="85"/>
                  </a:lnTo>
                  <a:lnTo>
                    <a:pt x="336" y="83"/>
                  </a:lnTo>
                  <a:lnTo>
                    <a:pt x="336" y="82"/>
                  </a:lnTo>
                  <a:lnTo>
                    <a:pt x="338" y="82"/>
                  </a:lnTo>
                  <a:lnTo>
                    <a:pt x="339" y="82"/>
                  </a:lnTo>
                  <a:lnTo>
                    <a:pt x="339" y="80"/>
                  </a:lnTo>
                  <a:lnTo>
                    <a:pt x="339" y="82"/>
                  </a:lnTo>
                  <a:lnTo>
                    <a:pt x="341" y="82"/>
                  </a:lnTo>
                  <a:lnTo>
                    <a:pt x="343" y="82"/>
                  </a:lnTo>
                  <a:lnTo>
                    <a:pt x="344" y="82"/>
                  </a:lnTo>
                  <a:lnTo>
                    <a:pt x="344" y="83"/>
                  </a:lnTo>
                  <a:lnTo>
                    <a:pt x="344" y="87"/>
                  </a:lnTo>
                  <a:lnTo>
                    <a:pt x="346" y="87"/>
                  </a:lnTo>
                  <a:lnTo>
                    <a:pt x="348" y="87"/>
                  </a:lnTo>
                  <a:lnTo>
                    <a:pt x="348" y="85"/>
                  </a:lnTo>
                  <a:lnTo>
                    <a:pt x="349" y="85"/>
                  </a:lnTo>
                  <a:lnTo>
                    <a:pt x="349" y="83"/>
                  </a:lnTo>
                  <a:lnTo>
                    <a:pt x="351" y="82"/>
                  </a:lnTo>
                  <a:lnTo>
                    <a:pt x="353" y="82"/>
                  </a:lnTo>
                  <a:lnTo>
                    <a:pt x="354" y="80"/>
                  </a:lnTo>
                  <a:lnTo>
                    <a:pt x="356" y="78"/>
                  </a:lnTo>
                  <a:lnTo>
                    <a:pt x="357" y="78"/>
                  </a:lnTo>
                  <a:lnTo>
                    <a:pt x="359" y="78"/>
                  </a:lnTo>
                  <a:lnTo>
                    <a:pt x="361" y="77"/>
                  </a:lnTo>
                  <a:lnTo>
                    <a:pt x="359" y="75"/>
                  </a:lnTo>
                  <a:lnTo>
                    <a:pt x="361" y="75"/>
                  </a:lnTo>
                  <a:lnTo>
                    <a:pt x="362" y="74"/>
                  </a:lnTo>
                  <a:lnTo>
                    <a:pt x="362" y="72"/>
                  </a:lnTo>
                  <a:lnTo>
                    <a:pt x="366" y="70"/>
                  </a:lnTo>
                  <a:lnTo>
                    <a:pt x="366" y="69"/>
                  </a:lnTo>
                  <a:lnTo>
                    <a:pt x="366" y="67"/>
                  </a:lnTo>
                  <a:lnTo>
                    <a:pt x="366" y="65"/>
                  </a:lnTo>
                  <a:lnTo>
                    <a:pt x="369" y="67"/>
                  </a:lnTo>
                  <a:lnTo>
                    <a:pt x="372" y="65"/>
                  </a:lnTo>
                  <a:lnTo>
                    <a:pt x="372" y="64"/>
                  </a:lnTo>
                  <a:lnTo>
                    <a:pt x="374" y="64"/>
                  </a:lnTo>
                  <a:lnTo>
                    <a:pt x="374" y="62"/>
                  </a:lnTo>
                  <a:lnTo>
                    <a:pt x="374" y="61"/>
                  </a:lnTo>
                  <a:lnTo>
                    <a:pt x="375" y="61"/>
                  </a:lnTo>
                  <a:lnTo>
                    <a:pt x="377" y="61"/>
                  </a:lnTo>
                  <a:lnTo>
                    <a:pt x="379" y="62"/>
                  </a:lnTo>
                  <a:lnTo>
                    <a:pt x="380" y="62"/>
                  </a:lnTo>
                  <a:lnTo>
                    <a:pt x="382" y="62"/>
                  </a:lnTo>
                  <a:lnTo>
                    <a:pt x="382" y="61"/>
                  </a:lnTo>
                  <a:lnTo>
                    <a:pt x="383" y="57"/>
                  </a:lnTo>
                  <a:lnTo>
                    <a:pt x="385" y="54"/>
                  </a:lnTo>
                  <a:lnTo>
                    <a:pt x="385" y="52"/>
                  </a:lnTo>
                  <a:lnTo>
                    <a:pt x="387" y="51"/>
                  </a:lnTo>
                  <a:lnTo>
                    <a:pt x="387" y="48"/>
                  </a:lnTo>
                  <a:lnTo>
                    <a:pt x="388" y="46"/>
                  </a:lnTo>
                  <a:lnTo>
                    <a:pt x="388" y="44"/>
                  </a:lnTo>
                  <a:lnTo>
                    <a:pt x="388" y="41"/>
                  </a:lnTo>
                  <a:lnTo>
                    <a:pt x="388" y="38"/>
                  </a:lnTo>
                  <a:lnTo>
                    <a:pt x="390" y="36"/>
                  </a:lnTo>
                  <a:lnTo>
                    <a:pt x="390" y="35"/>
                  </a:lnTo>
                  <a:lnTo>
                    <a:pt x="392" y="35"/>
                  </a:lnTo>
                  <a:lnTo>
                    <a:pt x="393" y="33"/>
                  </a:lnTo>
                  <a:lnTo>
                    <a:pt x="392" y="31"/>
                  </a:lnTo>
                  <a:lnTo>
                    <a:pt x="393" y="30"/>
                  </a:lnTo>
                  <a:lnTo>
                    <a:pt x="393" y="28"/>
                  </a:lnTo>
                  <a:lnTo>
                    <a:pt x="395" y="28"/>
                  </a:lnTo>
                  <a:lnTo>
                    <a:pt x="395" y="25"/>
                  </a:lnTo>
                  <a:lnTo>
                    <a:pt x="395" y="23"/>
                  </a:lnTo>
                  <a:lnTo>
                    <a:pt x="395" y="22"/>
                  </a:lnTo>
                  <a:lnTo>
                    <a:pt x="396" y="22"/>
                  </a:lnTo>
                  <a:lnTo>
                    <a:pt x="398" y="22"/>
                  </a:lnTo>
                  <a:lnTo>
                    <a:pt x="398" y="20"/>
                  </a:lnTo>
                  <a:lnTo>
                    <a:pt x="401" y="20"/>
                  </a:lnTo>
                  <a:lnTo>
                    <a:pt x="403" y="20"/>
                  </a:lnTo>
                  <a:lnTo>
                    <a:pt x="405" y="18"/>
                  </a:lnTo>
                  <a:lnTo>
                    <a:pt x="406" y="17"/>
                  </a:lnTo>
                  <a:lnTo>
                    <a:pt x="408" y="17"/>
                  </a:lnTo>
                  <a:lnTo>
                    <a:pt x="411" y="15"/>
                  </a:lnTo>
                  <a:lnTo>
                    <a:pt x="411" y="13"/>
                  </a:lnTo>
                  <a:lnTo>
                    <a:pt x="413" y="13"/>
                  </a:lnTo>
                  <a:lnTo>
                    <a:pt x="418" y="12"/>
                  </a:lnTo>
                  <a:lnTo>
                    <a:pt x="421" y="12"/>
                  </a:lnTo>
                  <a:lnTo>
                    <a:pt x="424" y="10"/>
                  </a:lnTo>
                  <a:lnTo>
                    <a:pt x="426" y="12"/>
                  </a:lnTo>
                  <a:lnTo>
                    <a:pt x="427" y="12"/>
                  </a:lnTo>
                  <a:lnTo>
                    <a:pt x="427" y="13"/>
                  </a:lnTo>
                  <a:lnTo>
                    <a:pt x="429" y="13"/>
                  </a:lnTo>
                  <a:lnTo>
                    <a:pt x="431" y="13"/>
                  </a:lnTo>
                  <a:lnTo>
                    <a:pt x="432" y="12"/>
                  </a:lnTo>
                  <a:lnTo>
                    <a:pt x="434" y="12"/>
                  </a:lnTo>
                  <a:lnTo>
                    <a:pt x="434" y="13"/>
                  </a:lnTo>
                  <a:lnTo>
                    <a:pt x="435" y="13"/>
                  </a:lnTo>
                  <a:lnTo>
                    <a:pt x="435" y="15"/>
                  </a:lnTo>
                  <a:lnTo>
                    <a:pt x="437" y="15"/>
                  </a:lnTo>
                  <a:lnTo>
                    <a:pt x="437" y="17"/>
                  </a:lnTo>
                  <a:lnTo>
                    <a:pt x="439" y="17"/>
                  </a:lnTo>
                  <a:lnTo>
                    <a:pt x="440" y="17"/>
                  </a:lnTo>
                  <a:lnTo>
                    <a:pt x="440" y="15"/>
                  </a:lnTo>
                  <a:lnTo>
                    <a:pt x="442" y="15"/>
                  </a:lnTo>
                  <a:lnTo>
                    <a:pt x="445" y="15"/>
                  </a:lnTo>
                  <a:lnTo>
                    <a:pt x="448" y="15"/>
                  </a:lnTo>
                  <a:lnTo>
                    <a:pt x="450" y="15"/>
                  </a:lnTo>
                  <a:lnTo>
                    <a:pt x="450" y="17"/>
                  </a:lnTo>
                  <a:lnTo>
                    <a:pt x="450" y="18"/>
                  </a:lnTo>
                  <a:lnTo>
                    <a:pt x="452" y="18"/>
                  </a:lnTo>
                  <a:lnTo>
                    <a:pt x="453" y="18"/>
                  </a:lnTo>
                  <a:lnTo>
                    <a:pt x="455" y="17"/>
                  </a:lnTo>
                  <a:lnTo>
                    <a:pt x="457" y="15"/>
                  </a:lnTo>
                  <a:lnTo>
                    <a:pt x="457" y="13"/>
                  </a:lnTo>
                  <a:lnTo>
                    <a:pt x="460" y="13"/>
                  </a:lnTo>
                  <a:lnTo>
                    <a:pt x="461" y="10"/>
                  </a:lnTo>
                  <a:lnTo>
                    <a:pt x="463" y="10"/>
                  </a:lnTo>
                  <a:lnTo>
                    <a:pt x="465" y="12"/>
                  </a:lnTo>
                  <a:lnTo>
                    <a:pt x="468" y="12"/>
                  </a:lnTo>
                  <a:lnTo>
                    <a:pt x="470" y="12"/>
                  </a:lnTo>
                  <a:lnTo>
                    <a:pt x="470" y="10"/>
                  </a:lnTo>
                  <a:lnTo>
                    <a:pt x="471" y="10"/>
                  </a:lnTo>
                  <a:lnTo>
                    <a:pt x="470" y="10"/>
                  </a:lnTo>
                  <a:lnTo>
                    <a:pt x="470" y="9"/>
                  </a:lnTo>
                  <a:lnTo>
                    <a:pt x="471" y="9"/>
                  </a:lnTo>
                  <a:lnTo>
                    <a:pt x="470" y="9"/>
                  </a:lnTo>
                  <a:lnTo>
                    <a:pt x="471" y="9"/>
                  </a:lnTo>
                  <a:lnTo>
                    <a:pt x="470" y="9"/>
                  </a:lnTo>
                  <a:lnTo>
                    <a:pt x="470" y="7"/>
                  </a:lnTo>
                  <a:lnTo>
                    <a:pt x="471" y="7"/>
                  </a:lnTo>
                  <a:lnTo>
                    <a:pt x="474" y="5"/>
                  </a:lnTo>
                  <a:lnTo>
                    <a:pt x="476" y="5"/>
                  </a:lnTo>
                  <a:lnTo>
                    <a:pt x="478" y="5"/>
                  </a:lnTo>
                  <a:lnTo>
                    <a:pt x="479" y="5"/>
                  </a:lnTo>
                  <a:lnTo>
                    <a:pt x="479" y="4"/>
                  </a:lnTo>
                  <a:lnTo>
                    <a:pt x="479" y="2"/>
                  </a:lnTo>
                  <a:lnTo>
                    <a:pt x="481" y="0"/>
                  </a:lnTo>
                  <a:lnTo>
                    <a:pt x="483" y="0"/>
                  </a:lnTo>
                  <a:lnTo>
                    <a:pt x="484" y="2"/>
                  </a:lnTo>
                  <a:lnTo>
                    <a:pt x="486" y="4"/>
                  </a:lnTo>
                  <a:close/>
                </a:path>
              </a:pathLst>
            </a:custGeom>
            <a:solidFill>
              <a:schemeClr val="bg1">
                <a:lumMod val="75000"/>
              </a:scheme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1187" name="Freeform 33">
              <a:extLst>
                <a:ext uri="{FF2B5EF4-FFF2-40B4-BE49-F238E27FC236}">
                  <a16:creationId xmlns:a16="http://schemas.microsoft.com/office/drawing/2014/main" id="{8721A482-03BF-96CB-6C96-4A69ACE4E9D6}"/>
                </a:ext>
              </a:extLst>
            </p:cNvPr>
            <p:cNvSpPr>
              <a:spLocks noEditPoints="1"/>
            </p:cNvSpPr>
            <p:nvPr/>
          </p:nvSpPr>
          <p:spPr bwMode="auto">
            <a:xfrm>
              <a:off x="2405" y="2803"/>
              <a:ext cx="453" cy="511"/>
            </a:xfrm>
            <a:custGeom>
              <a:avLst/>
              <a:gdLst>
                <a:gd name="T0" fmla="*/ 181 w 453"/>
                <a:gd name="T1" fmla="*/ 355 h 511"/>
                <a:gd name="T2" fmla="*/ 135 w 453"/>
                <a:gd name="T3" fmla="*/ 353 h 511"/>
                <a:gd name="T4" fmla="*/ 101 w 453"/>
                <a:gd name="T5" fmla="*/ 335 h 511"/>
                <a:gd name="T6" fmla="*/ 150 w 453"/>
                <a:gd name="T7" fmla="*/ 286 h 511"/>
                <a:gd name="T8" fmla="*/ 184 w 453"/>
                <a:gd name="T9" fmla="*/ 272 h 511"/>
                <a:gd name="T10" fmla="*/ 140 w 453"/>
                <a:gd name="T11" fmla="*/ 249 h 511"/>
                <a:gd name="T12" fmla="*/ 119 w 453"/>
                <a:gd name="T13" fmla="*/ 238 h 511"/>
                <a:gd name="T14" fmla="*/ 106 w 453"/>
                <a:gd name="T15" fmla="*/ 220 h 511"/>
                <a:gd name="T16" fmla="*/ 119 w 453"/>
                <a:gd name="T17" fmla="*/ 205 h 511"/>
                <a:gd name="T18" fmla="*/ 137 w 453"/>
                <a:gd name="T19" fmla="*/ 176 h 511"/>
                <a:gd name="T20" fmla="*/ 165 w 453"/>
                <a:gd name="T21" fmla="*/ 166 h 511"/>
                <a:gd name="T22" fmla="*/ 124 w 453"/>
                <a:gd name="T23" fmla="*/ 137 h 511"/>
                <a:gd name="T24" fmla="*/ 145 w 453"/>
                <a:gd name="T25" fmla="*/ 143 h 511"/>
                <a:gd name="T26" fmla="*/ 142 w 453"/>
                <a:gd name="T27" fmla="*/ 114 h 511"/>
                <a:gd name="T28" fmla="*/ 145 w 453"/>
                <a:gd name="T29" fmla="*/ 111 h 511"/>
                <a:gd name="T30" fmla="*/ 187 w 453"/>
                <a:gd name="T31" fmla="*/ 107 h 511"/>
                <a:gd name="T32" fmla="*/ 241 w 453"/>
                <a:gd name="T33" fmla="*/ 132 h 511"/>
                <a:gd name="T34" fmla="*/ 257 w 453"/>
                <a:gd name="T35" fmla="*/ 125 h 511"/>
                <a:gd name="T36" fmla="*/ 309 w 453"/>
                <a:gd name="T37" fmla="*/ 94 h 511"/>
                <a:gd name="T38" fmla="*/ 266 w 453"/>
                <a:gd name="T39" fmla="*/ 83 h 511"/>
                <a:gd name="T40" fmla="*/ 298 w 453"/>
                <a:gd name="T41" fmla="*/ 60 h 511"/>
                <a:gd name="T42" fmla="*/ 308 w 453"/>
                <a:gd name="T43" fmla="*/ 29 h 511"/>
                <a:gd name="T44" fmla="*/ 350 w 453"/>
                <a:gd name="T45" fmla="*/ 24 h 511"/>
                <a:gd name="T46" fmla="*/ 363 w 453"/>
                <a:gd name="T47" fmla="*/ 23 h 511"/>
                <a:gd name="T48" fmla="*/ 373 w 453"/>
                <a:gd name="T49" fmla="*/ 51 h 511"/>
                <a:gd name="T50" fmla="*/ 404 w 453"/>
                <a:gd name="T51" fmla="*/ 10 h 511"/>
                <a:gd name="T52" fmla="*/ 342 w 453"/>
                <a:gd name="T53" fmla="*/ 91 h 511"/>
                <a:gd name="T54" fmla="*/ 335 w 453"/>
                <a:gd name="T55" fmla="*/ 174 h 511"/>
                <a:gd name="T56" fmla="*/ 401 w 453"/>
                <a:gd name="T57" fmla="*/ 177 h 511"/>
                <a:gd name="T58" fmla="*/ 430 w 453"/>
                <a:gd name="T59" fmla="*/ 225 h 511"/>
                <a:gd name="T60" fmla="*/ 430 w 453"/>
                <a:gd name="T61" fmla="*/ 304 h 511"/>
                <a:gd name="T62" fmla="*/ 409 w 453"/>
                <a:gd name="T63" fmla="*/ 400 h 511"/>
                <a:gd name="T64" fmla="*/ 374 w 453"/>
                <a:gd name="T65" fmla="*/ 472 h 511"/>
                <a:gd name="T66" fmla="*/ 324 w 453"/>
                <a:gd name="T67" fmla="*/ 439 h 511"/>
                <a:gd name="T68" fmla="*/ 306 w 453"/>
                <a:gd name="T69" fmla="*/ 459 h 511"/>
                <a:gd name="T70" fmla="*/ 241 w 453"/>
                <a:gd name="T71" fmla="*/ 473 h 511"/>
                <a:gd name="T72" fmla="*/ 207 w 453"/>
                <a:gd name="T73" fmla="*/ 477 h 511"/>
                <a:gd name="T74" fmla="*/ 187 w 453"/>
                <a:gd name="T75" fmla="*/ 482 h 511"/>
                <a:gd name="T76" fmla="*/ 166 w 453"/>
                <a:gd name="T77" fmla="*/ 506 h 511"/>
                <a:gd name="T78" fmla="*/ 121 w 453"/>
                <a:gd name="T79" fmla="*/ 503 h 511"/>
                <a:gd name="T80" fmla="*/ 88 w 453"/>
                <a:gd name="T81" fmla="*/ 496 h 511"/>
                <a:gd name="T82" fmla="*/ 69 w 453"/>
                <a:gd name="T83" fmla="*/ 488 h 511"/>
                <a:gd name="T84" fmla="*/ 74 w 453"/>
                <a:gd name="T85" fmla="*/ 473 h 511"/>
                <a:gd name="T86" fmla="*/ 48 w 453"/>
                <a:gd name="T87" fmla="*/ 457 h 511"/>
                <a:gd name="T88" fmla="*/ 41 w 453"/>
                <a:gd name="T89" fmla="*/ 449 h 511"/>
                <a:gd name="T90" fmla="*/ 30 w 453"/>
                <a:gd name="T91" fmla="*/ 418 h 511"/>
                <a:gd name="T92" fmla="*/ 65 w 453"/>
                <a:gd name="T93" fmla="*/ 405 h 511"/>
                <a:gd name="T94" fmla="*/ 48 w 453"/>
                <a:gd name="T95" fmla="*/ 374 h 511"/>
                <a:gd name="T96" fmla="*/ 83 w 453"/>
                <a:gd name="T97" fmla="*/ 368 h 511"/>
                <a:gd name="T98" fmla="*/ 137 w 453"/>
                <a:gd name="T99" fmla="*/ 246 h 511"/>
                <a:gd name="T100" fmla="*/ 49 w 453"/>
                <a:gd name="T101" fmla="*/ 475 h 511"/>
                <a:gd name="T102" fmla="*/ 87 w 453"/>
                <a:gd name="T103" fmla="*/ 506 h 511"/>
                <a:gd name="T104" fmla="*/ 122 w 453"/>
                <a:gd name="T105" fmla="*/ 117 h 511"/>
                <a:gd name="T106" fmla="*/ 212 w 453"/>
                <a:gd name="T107" fmla="*/ 132 h 511"/>
                <a:gd name="T108" fmla="*/ 259 w 453"/>
                <a:gd name="T109" fmla="*/ 112 h 511"/>
                <a:gd name="T110" fmla="*/ 163 w 453"/>
                <a:gd name="T111" fmla="*/ 347 h 511"/>
                <a:gd name="T112" fmla="*/ 121 w 453"/>
                <a:gd name="T113" fmla="*/ 194 h 511"/>
                <a:gd name="T114" fmla="*/ 101 w 453"/>
                <a:gd name="T115" fmla="*/ 223 h 511"/>
                <a:gd name="T116" fmla="*/ 296 w 453"/>
                <a:gd name="T117" fmla="*/ 41 h 511"/>
                <a:gd name="T118" fmla="*/ 155 w 453"/>
                <a:gd name="T119" fmla="*/ 164 h 511"/>
                <a:gd name="T120" fmla="*/ 113 w 453"/>
                <a:gd name="T121" fmla="*/ 234 h 511"/>
                <a:gd name="T122" fmla="*/ 155 w 453"/>
                <a:gd name="T123" fmla="*/ 350 h 511"/>
                <a:gd name="T124" fmla="*/ 157 w 453"/>
                <a:gd name="T125" fmla="*/ 168 h 5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53" h="511">
                  <a:moveTo>
                    <a:pt x="101" y="360"/>
                  </a:moveTo>
                  <a:lnTo>
                    <a:pt x="103" y="358"/>
                  </a:lnTo>
                  <a:lnTo>
                    <a:pt x="103" y="356"/>
                  </a:lnTo>
                  <a:lnTo>
                    <a:pt x="103" y="355"/>
                  </a:lnTo>
                  <a:lnTo>
                    <a:pt x="103" y="353"/>
                  </a:lnTo>
                  <a:lnTo>
                    <a:pt x="105" y="353"/>
                  </a:lnTo>
                  <a:lnTo>
                    <a:pt x="103" y="353"/>
                  </a:lnTo>
                  <a:lnTo>
                    <a:pt x="105" y="353"/>
                  </a:lnTo>
                  <a:lnTo>
                    <a:pt x="105" y="351"/>
                  </a:lnTo>
                  <a:lnTo>
                    <a:pt x="105" y="350"/>
                  </a:lnTo>
                  <a:lnTo>
                    <a:pt x="106" y="350"/>
                  </a:lnTo>
                  <a:lnTo>
                    <a:pt x="106" y="348"/>
                  </a:lnTo>
                  <a:lnTo>
                    <a:pt x="108" y="348"/>
                  </a:lnTo>
                  <a:lnTo>
                    <a:pt x="109" y="348"/>
                  </a:lnTo>
                  <a:lnTo>
                    <a:pt x="111" y="347"/>
                  </a:lnTo>
                  <a:lnTo>
                    <a:pt x="113" y="348"/>
                  </a:lnTo>
                  <a:lnTo>
                    <a:pt x="114" y="350"/>
                  </a:lnTo>
                  <a:lnTo>
                    <a:pt x="116" y="350"/>
                  </a:lnTo>
                  <a:lnTo>
                    <a:pt x="116" y="351"/>
                  </a:lnTo>
                  <a:lnTo>
                    <a:pt x="118" y="351"/>
                  </a:lnTo>
                  <a:lnTo>
                    <a:pt x="119" y="350"/>
                  </a:lnTo>
                  <a:lnTo>
                    <a:pt x="119" y="351"/>
                  </a:lnTo>
                  <a:lnTo>
                    <a:pt x="121" y="351"/>
                  </a:lnTo>
                  <a:lnTo>
                    <a:pt x="119" y="351"/>
                  </a:lnTo>
                  <a:lnTo>
                    <a:pt x="119" y="350"/>
                  </a:lnTo>
                  <a:lnTo>
                    <a:pt x="121" y="350"/>
                  </a:lnTo>
                  <a:lnTo>
                    <a:pt x="121" y="351"/>
                  </a:lnTo>
                  <a:lnTo>
                    <a:pt x="121" y="353"/>
                  </a:lnTo>
                  <a:lnTo>
                    <a:pt x="122" y="353"/>
                  </a:lnTo>
                  <a:lnTo>
                    <a:pt x="121" y="353"/>
                  </a:lnTo>
                  <a:lnTo>
                    <a:pt x="122" y="353"/>
                  </a:lnTo>
                  <a:lnTo>
                    <a:pt x="122" y="351"/>
                  </a:lnTo>
                  <a:lnTo>
                    <a:pt x="124" y="351"/>
                  </a:lnTo>
                  <a:lnTo>
                    <a:pt x="126" y="351"/>
                  </a:lnTo>
                  <a:lnTo>
                    <a:pt x="127" y="351"/>
                  </a:lnTo>
                  <a:lnTo>
                    <a:pt x="129" y="353"/>
                  </a:lnTo>
                  <a:lnTo>
                    <a:pt x="129" y="351"/>
                  </a:lnTo>
                  <a:lnTo>
                    <a:pt x="131" y="351"/>
                  </a:lnTo>
                  <a:lnTo>
                    <a:pt x="132" y="351"/>
                  </a:lnTo>
                  <a:lnTo>
                    <a:pt x="132" y="353"/>
                  </a:lnTo>
                  <a:lnTo>
                    <a:pt x="132" y="351"/>
                  </a:lnTo>
                  <a:lnTo>
                    <a:pt x="132" y="353"/>
                  </a:lnTo>
                  <a:lnTo>
                    <a:pt x="131" y="353"/>
                  </a:lnTo>
                  <a:lnTo>
                    <a:pt x="131" y="355"/>
                  </a:lnTo>
                  <a:lnTo>
                    <a:pt x="132" y="355"/>
                  </a:lnTo>
                  <a:lnTo>
                    <a:pt x="134" y="355"/>
                  </a:lnTo>
                  <a:lnTo>
                    <a:pt x="135" y="355"/>
                  </a:lnTo>
                  <a:lnTo>
                    <a:pt x="135" y="356"/>
                  </a:lnTo>
                  <a:lnTo>
                    <a:pt x="137" y="356"/>
                  </a:lnTo>
                  <a:lnTo>
                    <a:pt x="139" y="356"/>
                  </a:lnTo>
                  <a:lnTo>
                    <a:pt x="140" y="355"/>
                  </a:lnTo>
                  <a:lnTo>
                    <a:pt x="142" y="355"/>
                  </a:lnTo>
                  <a:lnTo>
                    <a:pt x="144" y="355"/>
                  </a:lnTo>
                  <a:lnTo>
                    <a:pt x="145" y="355"/>
                  </a:lnTo>
                  <a:lnTo>
                    <a:pt x="147" y="355"/>
                  </a:lnTo>
                  <a:lnTo>
                    <a:pt x="145" y="355"/>
                  </a:lnTo>
                  <a:lnTo>
                    <a:pt x="147" y="355"/>
                  </a:lnTo>
                  <a:lnTo>
                    <a:pt x="150" y="355"/>
                  </a:lnTo>
                  <a:lnTo>
                    <a:pt x="152" y="355"/>
                  </a:lnTo>
                  <a:lnTo>
                    <a:pt x="153" y="353"/>
                  </a:lnTo>
                  <a:lnTo>
                    <a:pt x="155" y="355"/>
                  </a:lnTo>
                  <a:lnTo>
                    <a:pt x="157" y="355"/>
                  </a:lnTo>
                  <a:lnTo>
                    <a:pt x="158" y="353"/>
                  </a:lnTo>
                  <a:lnTo>
                    <a:pt x="160" y="351"/>
                  </a:lnTo>
                  <a:lnTo>
                    <a:pt x="160" y="353"/>
                  </a:lnTo>
                  <a:lnTo>
                    <a:pt x="160" y="355"/>
                  </a:lnTo>
                  <a:lnTo>
                    <a:pt x="161" y="355"/>
                  </a:lnTo>
                  <a:lnTo>
                    <a:pt x="161" y="353"/>
                  </a:lnTo>
                  <a:lnTo>
                    <a:pt x="161" y="355"/>
                  </a:lnTo>
                  <a:lnTo>
                    <a:pt x="163" y="355"/>
                  </a:lnTo>
                  <a:lnTo>
                    <a:pt x="163" y="356"/>
                  </a:lnTo>
                  <a:lnTo>
                    <a:pt x="163" y="355"/>
                  </a:lnTo>
                  <a:lnTo>
                    <a:pt x="165" y="355"/>
                  </a:lnTo>
                  <a:lnTo>
                    <a:pt x="163" y="355"/>
                  </a:lnTo>
                  <a:lnTo>
                    <a:pt x="163" y="353"/>
                  </a:lnTo>
                  <a:lnTo>
                    <a:pt x="163" y="355"/>
                  </a:lnTo>
                  <a:lnTo>
                    <a:pt x="165" y="355"/>
                  </a:lnTo>
                  <a:lnTo>
                    <a:pt x="165" y="356"/>
                  </a:lnTo>
                  <a:lnTo>
                    <a:pt x="165" y="355"/>
                  </a:lnTo>
                  <a:lnTo>
                    <a:pt x="165" y="353"/>
                  </a:lnTo>
                  <a:lnTo>
                    <a:pt x="166" y="353"/>
                  </a:lnTo>
                  <a:lnTo>
                    <a:pt x="168" y="353"/>
                  </a:lnTo>
                  <a:lnTo>
                    <a:pt x="166" y="351"/>
                  </a:lnTo>
                  <a:lnTo>
                    <a:pt x="168" y="351"/>
                  </a:lnTo>
                  <a:lnTo>
                    <a:pt x="170" y="351"/>
                  </a:lnTo>
                  <a:lnTo>
                    <a:pt x="171" y="353"/>
                  </a:lnTo>
                  <a:lnTo>
                    <a:pt x="171" y="351"/>
                  </a:lnTo>
                  <a:lnTo>
                    <a:pt x="173" y="353"/>
                  </a:lnTo>
                  <a:lnTo>
                    <a:pt x="173" y="351"/>
                  </a:lnTo>
                  <a:lnTo>
                    <a:pt x="173" y="353"/>
                  </a:lnTo>
                  <a:lnTo>
                    <a:pt x="173" y="351"/>
                  </a:lnTo>
                  <a:lnTo>
                    <a:pt x="173" y="353"/>
                  </a:lnTo>
                  <a:lnTo>
                    <a:pt x="174" y="353"/>
                  </a:lnTo>
                  <a:lnTo>
                    <a:pt x="174" y="351"/>
                  </a:lnTo>
                  <a:lnTo>
                    <a:pt x="176" y="351"/>
                  </a:lnTo>
                  <a:lnTo>
                    <a:pt x="178" y="353"/>
                  </a:lnTo>
                  <a:lnTo>
                    <a:pt x="179" y="353"/>
                  </a:lnTo>
                  <a:lnTo>
                    <a:pt x="181" y="353"/>
                  </a:lnTo>
                  <a:lnTo>
                    <a:pt x="181" y="355"/>
                  </a:lnTo>
                  <a:lnTo>
                    <a:pt x="183" y="355"/>
                  </a:lnTo>
                  <a:lnTo>
                    <a:pt x="183" y="356"/>
                  </a:lnTo>
                  <a:lnTo>
                    <a:pt x="183" y="355"/>
                  </a:lnTo>
                  <a:lnTo>
                    <a:pt x="181" y="355"/>
                  </a:lnTo>
                  <a:lnTo>
                    <a:pt x="183" y="355"/>
                  </a:lnTo>
                  <a:lnTo>
                    <a:pt x="184" y="355"/>
                  </a:lnTo>
                  <a:lnTo>
                    <a:pt x="186" y="355"/>
                  </a:lnTo>
                  <a:lnTo>
                    <a:pt x="187" y="355"/>
                  </a:lnTo>
                  <a:lnTo>
                    <a:pt x="189" y="355"/>
                  </a:lnTo>
                  <a:lnTo>
                    <a:pt x="191" y="356"/>
                  </a:lnTo>
                  <a:lnTo>
                    <a:pt x="189" y="358"/>
                  </a:lnTo>
                  <a:lnTo>
                    <a:pt x="191" y="358"/>
                  </a:lnTo>
                  <a:lnTo>
                    <a:pt x="192" y="358"/>
                  </a:lnTo>
                  <a:lnTo>
                    <a:pt x="194" y="358"/>
                  </a:lnTo>
                  <a:lnTo>
                    <a:pt x="196" y="358"/>
                  </a:lnTo>
                  <a:lnTo>
                    <a:pt x="194" y="358"/>
                  </a:lnTo>
                  <a:lnTo>
                    <a:pt x="192" y="358"/>
                  </a:lnTo>
                  <a:lnTo>
                    <a:pt x="191" y="358"/>
                  </a:lnTo>
                  <a:lnTo>
                    <a:pt x="191" y="356"/>
                  </a:lnTo>
                  <a:lnTo>
                    <a:pt x="191" y="355"/>
                  </a:lnTo>
                  <a:lnTo>
                    <a:pt x="189" y="355"/>
                  </a:lnTo>
                  <a:lnTo>
                    <a:pt x="187" y="353"/>
                  </a:lnTo>
                  <a:lnTo>
                    <a:pt x="186" y="353"/>
                  </a:lnTo>
                  <a:lnTo>
                    <a:pt x="184" y="353"/>
                  </a:lnTo>
                  <a:lnTo>
                    <a:pt x="183" y="353"/>
                  </a:lnTo>
                  <a:lnTo>
                    <a:pt x="183" y="351"/>
                  </a:lnTo>
                  <a:lnTo>
                    <a:pt x="181" y="351"/>
                  </a:lnTo>
                  <a:lnTo>
                    <a:pt x="183" y="351"/>
                  </a:lnTo>
                  <a:lnTo>
                    <a:pt x="183" y="350"/>
                  </a:lnTo>
                  <a:lnTo>
                    <a:pt x="181" y="350"/>
                  </a:lnTo>
                  <a:lnTo>
                    <a:pt x="181" y="351"/>
                  </a:lnTo>
                  <a:lnTo>
                    <a:pt x="181" y="350"/>
                  </a:lnTo>
                  <a:lnTo>
                    <a:pt x="179" y="351"/>
                  </a:lnTo>
                  <a:lnTo>
                    <a:pt x="179" y="350"/>
                  </a:lnTo>
                  <a:lnTo>
                    <a:pt x="178" y="350"/>
                  </a:lnTo>
                  <a:lnTo>
                    <a:pt x="178" y="348"/>
                  </a:lnTo>
                  <a:lnTo>
                    <a:pt x="176" y="348"/>
                  </a:lnTo>
                  <a:lnTo>
                    <a:pt x="174" y="348"/>
                  </a:lnTo>
                  <a:lnTo>
                    <a:pt x="173" y="348"/>
                  </a:lnTo>
                  <a:lnTo>
                    <a:pt x="173" y="350"/>
                  </a:lnTo>
                  <a:lnTo>
                    <a:pt x="171" y="348"/>
                  </a:lnTo>
                  <a:lnTo>
                    <a:pt x="170" y="348"/>
                  </a:lnTo>
                  <a:lnTo>
                    <a:pt x="168" y="348"/>
                  </a:lnTo>
                  <a:lnTo>
                    <a:pt x="170" y="347"/>
                  </a:lnTo>
                  <a:lnTo>
                    <a:pt x="170" y="345"/>
                  </a:lnTo>
                  <a:lnTo>
                    <a:pt x="171" y="345"/>
                  </a:lnTo>
                  <a:lnTo>
                    <a:pt x="171" y="343"/>
                  </a:lnTo>
                  <a:lnTo>
                    <a:pt x="170" y="343"/>
                  </a:lnTo>
                  <a:lnTo>
                    <a:pt x="171" y="343"/>
                  </a:lnTo>
                  <a:lnTo>
                    <a:pt x="171" y="342"/>
                  </a:lnTo>
                  <a:lnTo>
                    <a:pt x="173" y="342"/>
                  </a:lnTo>
                  <a:lnTo>
                    <a:pt x="173" y="340"/>
                  </a:lnTo>
                  <a:lnTo>
                    <a:pt x="171" y="340"/>
                  </a:lnTo>
                  <a:lnTo>
                    <a:pt x="171" y="338"/>
                  </a:lnTo>
                  <a:lnTo>
                    <a:pt x="171" y="337"/>
                  </a:lnTo>
                  <a:lnTo>
                    <a:pt x="173" y="337"/>
                  </a:lnTo>
                  <a:lnTo>
                    <a:pt x="174" y="337"/>
                  </a:lnTo>
                  <a:lnTo>
                    <a:pt x="174" y="335"/>
                  </a:lnTo>
                  <a:lnTo>
                    <a:pt x="174" y="333"/>
                  </a:lnTo>
                  <a:lnTo>
                    <a:pt x="173" y="332"/>
                  </a:lnTo>
                  <a:lnTo>
                    <a:pt x="174" y="332"/>
                  </a:lnTo>
                  <a:lnTo>
                    <a:pt x="173" y="332"/>
                  </a:lnTo>
                  <a:lnTo>
                    <a:pt x="173" y="333"/>
                  </a:lnTo>
                  <a:lnTo>
                    <a:pt x="174" y="333"/>
                  </a:lnTo>
                  <a:lnTo>
                    <a:pt x="174" y="335"/>
                  </a:lnTo>
                  <a:lnTo>
                    <a:pt x="173" y="335"/>
                  </a:lnTo>
                  <a:lnTo>
                    <a:pt x="171" y="335"/>
                  </a:lnTo>
                  <a:lnTo>
                    <a:pt x="171" y="337"/>
                  </a:lnTo>
                  <a:lnTo>
                    <a:pt x="170" y="337"/>
                  </a:lnTo>
                  <a:lnTo>
                    <a:pt x="170" y="335"/>
                  </a:lnTo>
                  <a:lnTo>
                    <a:pt x="168" y="337"/>
                  </a:lnTo>
                  <a:lnTo>
                    <a:pt x="166" y="337"/>
                  </a:lnTo>
                  <a:lnTo>
                    <a:pt x="165" y="337"/>
                  </a:lnTo>
                  <a:lnTo>
                    <a:pt x="166" y="338"/>
                  </a:lnTo>
                  <a:lnTo>
                    <a:pt x="165" y="338"/>
                  </a:lnTo>
                  <a:lnTo>
                    <a:pt x="165" y="340"/>
                  </a:lnTo>
                  <a:lnTo>
                    <a:pt x="165" y="342"/>
                  </a:lnTo>
                  <a:lnTo>
                    <a:pt x="163" y="342"/>
                  </a:lnTo>
                  <a:lnTo>
                    <a:pt x="161" y="342"/>
                  </a:lnTo>
                  <a:lnTo>
                    <a:pt x="161" y="345"/>
                  </a:lnTo>
                  <a:lnTo>
                    <a:pt x="160" y="345"/>
                  </a:lnTo>
                  <a:lnTo>
                    <a:pt x="160" y="347"/>
                  </a:lnTo>
                  <a:lnTo>
                    <a:pt x="158" y="347"/>
                  </a:lnTo>
                  <a:lnTo>
                    <a:pt x="157" y="347"/>
                  </a:lnTo>
                  <a:lnTo>
                    <a:pt x="157" y="348"/>
                  </a:lnTo>
                  <a:lnTo>
                    <a:pt x="155" y="350"/>
                  </a:lnTo>
                  <a:lnTo>
                    <a:pt x="153" y="350"/>
                  </a:lnTo>
                  <a:lnTo>
                    <a:pt x="152" y="351"/>
                  </a:lnTo>
                  <a:lnTo>
                    <a:pt x="150" y="353"/>
                  </a:lnTo>
                  <a:lnTo>
                    <a:pt x="148" y="351"/>
                  </a:lnTo>
                  <a:lnTo>
                    <a:pt x="147" y="351"/>
                  </a:lnTo>
                  <a:lnTo>
                    <a:pt x="145" y="351"/>
                  </a:lnTo>
                  <a:lnTo>
                    <a:pt x="144" y="350"/>
                  </a:lnTo>
                  <a:lnTo>
                    <a:pt x="142" y="350"/>
                  </a:lnTo>
                  <a:lnTo>
                    <a:pt x="142" y="351"/>
                  </a:lnTo>
                  <a:lnTo>
                    <a:pt x="142" y="353"/>
                  </a:lnTo>
                  <a:lnTo>
                    <a:pt x="139" y="353"/>
                  </a:lnTo>
                  <a:lnTo>
                    <a:pt x="137" y="353"/>
                  </a:lnTo>
                  <a:lnTo>
                    <a:pt x="135" y="353"/>
                  </a:lnTo>
                  <a:lnTo>
                    <a:pt x="135" y="351"/>
                  </a:lnTo>
                  <a:lnTo>
                    <a:pt x="134" y="351"/>
                  </a:lnTo>
                  <a:lnTo>
                    <a:pt x="135" y="351"/>
                  </a:lnTo>
                  <a:lnTo>
                    <a:pt x="135" y="350"/>
                  </a:lnTo>
                  <a:lnTo>
                    <a:pt x="137" y="350"/>
                  </a:lnTo>
                  <a:lnTo>
                    <a:pt x="139" y="348"/>
                  </a:lnTo>
                  <a:lnTo>
                    <a:pt x="140" y="348"/>
                  </a:lnTo>
                  <a:lnTo>
                    <a:pt x="142" y="348"/>
                  </a:lnTo>
                  <a:lnTo>
                    <a:pt x="142" y="347"/>
                  </a:lnTo>
                  <a:lnTo>
                    <a:pt x="140" y="347"/>
                  </a:lnTo>
                  <a:lnTo>
                    <a:pt x="139" y="347"/>
                  </a:lnTo>
                  <a:lnTo>
                    <a:pt x="137" y="348"/>
                  </a:lnTo>
                  <a:lnTo>
                    <a:pt x="135" y="347"/>
                  </a:lnTo>
                  <a:lnTo>
                    <a:pt x="135" y="348"/>
                  </a:lnTo>
                  <a:lnTo>
                    <a:pt x="134" y="348"/>
                  </a:lnTo>
                  <a:lnTo>
                    <a:pt x="132" y="348"/>
                  </a:lnTo>
                  <a:lnTo>
                    <a:pt x="131" y="348"/>
                  </a:lnTo>
                  <a:lnTo>
                    <a:pt x="129" y="350"/>
                  </a:lnTo>
                  <a:lnTo>
                    <a:pt x="129" y="348"/>
                  </a:lnTo>
                  <a:lnTo>
                    <a:pt x="127" y="348"/>
                  </a:lnTo>
                  <a:lnTo>
                    <a:pt x="127" y="347"/>
                  </a:lnTo>
                  <a:lnTo>
                    <a:pt x="126" y="347"/>
                  </a:lnTo>
                  <a:lnTo>
                    <a:pt x="124" y="347"/>
                  </a:lnTo>
                  <a:lnTo>
                    <a:pt x="124" y="345"/>
                  </a:lnTo>
                  <a:lnTo>
                    <a:pt x="122" y="345"/>
                  </a:lnTo>
                  <a:lnTo>
                    <a:pt x="122" y="343"/>
                  </a:lnTo>
                  <a:lnTo>
                    <a:pt x="121" y="343"/>
                  </a:lnTo>
                  <a:lnTo>
                    <a:pt x="121" y="342"/>
                  </a:lnTo>
                  <a:lnTo>
                    <a:pt x="121" y="343"/>
                  </a:lnTo>
                  <a:lnTo>
                    <a:pt x="119" y="342"/>
                  </a:lnTo>
                  <a:lnTo>
                    <a:pt x="121" y="342"/>
                  </a:lnTo>
                  <a:lnTo>
                    <a:pt x="119" y="342"/>
                  </a:lnTo>
                  <a:lnTo>
                    <a:pt x="119" y="340"/>
                  </a:lnTo>
                  <a:lnTo>
                    <a:pt x="119" y="338"/>
                  </a:lnTo>
                  <a:lnTo>
                    <a:pt x="121" y="338"/>
                  </a:lnTo>
                  <a:lnTo>
                    <a:pt x="121" y="337"/>
                  </a:lnTo>
                  <a:lnTo>
                    <a:pt x="119" y="337"/>
                  </a:lnTo>
                  <a:lnTo>
                    <a:pt x="118" y="337"/>
                  </a:lnTo>
                  <a:lnTo>
                    <a:pt x="116" y="337"/>
                  </a:lnTo>
                  <a:lnTo>
                    <a:pt x="118" y="337"/>
                  </a:lnTo>
                  <a:lnTo>
                    <a:pt x="118" y="338"/>
                  </a:lnTo>
                  <a:lnTo>
                    <a:pt x="118" y="340"/>
                  </a:lnTo>
                  <a:lnTo>
                    <a:pt x="119" y="340"/>
                  </a:lnTo>
                  <a:lnTo>
                    <a:pt x="118" y="342"/>
                  </a:lnTo>
                  <a:lnTo>
                    <a:pt x="116" y="342"/>
                  </a:lnTo>
                  <a:lnTo>
                    <a:pt x="114" y="342"/>
                  </a:lnTo>
                  <a:lnTo>
                    <a:pt x="113" y="342"/>
                  </a:lnTo>
                  <a:lnTo>
                    <a:pt x="111" y="342"/>
                  </a:lnTo>
                  <a:lnTo>
                    <a:pt x="109" y="342"/>
                  </a:lnTo>
                  <a:lnTo>
                    <a:pt x="108" y="342"/>
                  </a:lnTo>
                  <a:lnTo>
                    <a:pt x="106" y="342"/>
                  </a:lnTo>
                  <a:lnTo>
                    <a:pt x="105" y="342"/>
                  </a:lnTo>
                  <a:lnTo>
                    <a:pt x="105" y="343"/>
                  </a:lnTo>
                  <a:lnTo>
                    <a:pt x="103" y="343"/>
                  </a:lnTo>
                  <a:lnTo>
                    <a:pt x="105" y="345"/>
                  </a:lnTo>
                  <a:lnTo>
                    <a:pt x="103" y="345"/>
                  </a:lnTo>
                  <a:lnTo>
                    <a:pt x="101" y="345"/>
                  </a:lnTo>
                  <a:lnTo>
                    <a:pt x="103" y="345"/>
                  </a:lnTo>
                  <a:lnTo>
                    <a:pt x="103" y="343"/>
                  </a:lnTo>
                  <a:lnTo>
                    <a:pt x="101" y="343"/>
                  </a:lnTo>
                  <a:lnTo>
                    <a:pt x="101" y="345"/>
                  </a:lnTo>
                  <a:lnTo>
                    <a:pt x="101" y="343"/>
                  </a:lnTo>
                  <a:lnTo>
                    <a:pt x="100" y="343"/>
                  </a:lnTo>
                  <a:lnTo>
                    <a:pt x="100" y="345"/>
                  </a:lnTo>
                  <a:lnTo>
                    <a:pt x="98" y="345"/>
                  </a:lnTo>
                  <a:lnTo>
                    <a:pt x="95" y="345"/>
                  </a:lnTo>
                  <a:lnTo>
                    <a:pt x="93" y="345"/>
                  </a:lnTo>
                  <a:lnTo>
                    <a:pt x="93" y="343"/>
                  </a:lnTo>
                  <a:lnTo>
                    <a:pt x="92" y="343"/>
                  </a:lnTo>
                  <a:lnTo>
                    <a:pt x="90" y="343"/>
                  </a:lnTo>
                  <a:lnTo>
                    <a:pt x="88" y="345"/>
                  </a:lnTo>
                  <a:lnTo>
                    <a:pt x="87" y="345"/>
                  </a:lnTo>
                  <a:lnTo>
                    <a:pt x="87" y="343"/>
                  </a:lnTo>
                  <a:lnTo>
                    <a:pt x="85" y="343"/>
                  </a:lnTo>
                  <a:lnTo>
                    <a:pt x="83" y="343"/>
                  </a:lnTo>
                  <a:lnTo>
                    <a:pt x="83" y="342"/>
                  </a:lnTo>
                  <a:lnTo>
                    <a:pt x="85" y="342"/>
                  </a:lnTo>
                  <a:lnTo>
                    <a:pt x="87" y="340"/>
                  </a:lnTo>
                  <a:lnTo>
                    <a:pt x="88" y="340"/>
                  </a:lnTo>
                  <a:lnTo>
                    <a:pt x="88" y="342"/>
                  </a:lnTo>
                  <a:lnTo>
                    <a:pt x="88" y="340"/>
                  </a:lnTo>
                  <a:lnTo>
                    <a:pt x="88" y="342"/>
                  </a:lnTo>
                  <a:lnTo>
                    <a:pt x="88" y="340"/>
                  </a:lnTo>
                  <a:lnTo>
                    <a:pt x="90" y="340"/>
                  </a:lnTo>
                  <a:lnTo>
                    <a:pt x="88" y="340"/>
                  </a:lnTo>
                  <a:lnTo>
                    <a:pt x="90" y="340"/>
                  </a:lnTo>
                  <a:lnTo>
                    <a:pt x="92" y="340"/>
                  </a:lnTo>
                  <a:lnTo>
                    <a:pt x="93" y="340"/>
                  </a:lnTo>
                  <a:lnTo>
                    <a:pt x="95" y="340"/>
                  </a:lnTo>
                  <a:lnTo>
                    <a:pt x="95" y="338"/>
                  </a:lnTo>
                  <a:lnTo>
                    <a:pt x="96" y="338"/>
                  </a:lnTo>
                  <a:lnTo>
                    <a:pt x="96" y="337"/>
                  </a:lnTo>
                  <a:lnTo>
                    <a:pt x="98" y="338"/>
                  </a:lnTo>
                  <a:lnTo>
                    <a:pt x="98" y="337"/>
                  </a:lnTo>
                  <a:lnTo>
                    <a:pt x="100" y="337"/>
                  </a:lnTo>
                  <a:lnTo>
                    <a:pt x="101" y="337"/>
                  </a:lnTo>
                  <a:lnTo>
                    <a:pt x="101" y="335"/>
                  </a:lnTo>
                  <a:lnTo>
                    <a:pt x="101" y="337"/>
                  </a:lnTo>
                  <a:lnTo>
                    <a:pt x="101" y="335"/>
                  </a:lnTo>
                  <a:lnTo>
                    <a:pt x="103" y="335"/>
                  </a:lnTo>
                  <a:lnTo>
                    <a:pt x="105" y="335"/>
                  </a:lnTo>
                  <a:lnTo>
                    <a:pt x="105" y="333"/>
                  </a:lnTo>
                  <a:lnTo>
                    <a:pt x="106" y="333"/>
                  </a:lnTo>
                  <a:lnTo>
                    <a:pt x="108" y="333"/>
                  </a:lnTo>
                  <a:lnTo>
                    <a:pt x="108" y="332"/>
                  </a:lnTo>
                  <a:lnTo>
                    <a:pt x="108" y="333"/>
                  </a:lnTo>
                  <a:lnTo>
                    <a:pt x="109" y="332"/>
                  </a:lnTo>
                  <a:lnTo>
                    <a:pt x="111" y="332"/>
                  </a:lnTo>
                  <a:lnTo>
                    <a:pt x="111" y="333"/>
                  </a:lnTo>
                  <a:lnTo>
                    <a:pt x="113" y="332"/>
                  </a:lnTo>
                  <a:lnTo>
                    <a:pt x="111" y="332"/>
                  </a:lnTo>
                  <a:lnTo>
                    <a:pt x="113" y="330"/>
                  </a:lnTo>
                  <a:lnTo>
                    <a:pt x="111" y="330"/>
                  </a:lnTo>
                  <a:lnTo>
                    <a:pt x="113" y="330"/>
                  </a:lnTo>
                  <a:lnTo>
                    <a:pt x="111" y="330"/>
                  </a:lnTo>
                  <a:lnTo>
                    <a:pt x="113" y="329"/>
                  </a:lnTo>
                  <a:lnTo>
                    <a:pt x="114" y="329"/>
                  </a:lnTo>
                  <a:lnTo>
                    <a:pt x="116" y="329"/>
                  </a:lnTo>
                  <a:lnTo>
                    <a:pt x="116" y="327"/>
                  </a:lnTo>
                  <a:lnTo>
                    <a:pt x="114" y="327"/>
                  </a:lnTo>
                  <a:lnTo>
                    <a:pt x="116" y="327"/>
                  </a:lnTo>
                  <a:lnTo>
                    <a:pt x="116" y="325"/>
                  </a:lnTo>
                  <a:lnTo>
                    <a:pt x="118" y="327"/>
                  </a:lnTo>
                  <a:lnTo>
                    <a:pt x="118" y="325"/>
                  </a:lnTo>
                  <a:lnTo>
                    <a:pt x="119" y="325"/>
                  </a:lnTo>
                  <a:lnTo>
                    <a:pt x="121" y="324"/>
                  </a:lnTo>
                  <a:lnTo>
                    <a:pt x="122" y="325"/>
                  </a:lnTo>
                  <a:lnTo>
                    <a:pt x="124" y="325"/>
                  </a:lnTo>
                  <a:lnTo>
                    <a:pt x="124" y="327"/>
                  </a:lnTo>
                  <a:lnTo>
                    <a:pt x="124" y="325"/>
                  </a:lnTo>
                  <a:lnTo>
                    <a:pt x="124" y="327"/>
                  </a:lnTo>
                  <a:lnTo>
                    <a:pt x="126" y="327"/>
                  </a:lnTo>
                  <a:lnTo>
                    <a:pt x="127" y="327"/>
                  </a:lnTo>
                  <a:lnTo>
                    <a:pt x="126" y="327"/>
                  </a:lnTo>
                  <a:lnTo>
                    <a:pt x="127" y="327"/>
                  </a:lnTo>
                  <a:lnTo>
                    <a:pt x="127" y="325"/>
                  </a:lnTo>
                  <a:lnTo>
                    <a:pt x="127" y="324"/>
                  </a:lnTo>
                  <a:lnTo>
                    <a:pt x="129" y="324"/>
                  </a:lnTo>
                  <a:lnTo>
                    <a:pt x="129" y="322"/>
                  </a:lnTo>
                  <a:lnTo>
                    <a:pt x="129" y="324"/>
                  </a:lnTo>
                  <a:lnTo>
                    <a:pt x="131" y="324"/>
                  </a:lnTo>
                  <a:lnTo>
                    <a:pt x="131" y="322"/>
                  </a:lnTo>
                  <a:lnTo>
                    <a:pt x="129" y="322"/>
                  </a:lnTo>
                  <a:lnTo>
                    <a:pt x="129" y="320"/>
                  </a:lnTo>
                  <a:lnTo>
                    <a:pt x="131" y="320"/>
                  </a:lnTo>
                  <a:lnTo>
                    <a:pt x="131" y="319"/>
                  </a:lnTo>
                  <a:lnTo>
                    <a:pt x="129" y="319"/>
                  </a:lnTo>
                  <a:lnTo>
                    <a:pt x="131" y="319"/>
                  </a:lnTo>
                  <a:lnTo>
                    <a:pt x="134" y="317"/>
                  </a:lnTo>
                  <a:lnTo>
                    <a:pt x="132" y="317"/>
                  </a:lnTo>
                  <a:lnTo>
                    <a:pt x="134" y="317"/>
                  </a:lnTo>
                  <a:lnTo>
                    <a:pt x="134" y="316"/>
                  </a:lnTo>
                  <a:lnTo>
                    <a:pt x="135" y="316"/>
                  </a:lnTo>
                  <a:lnTo>
                    <a:pt x="135" y="314"/>
                  </a:lnTo>
                  <a:lnTo>
                    <a:pt x="134" y="314"/>
                  </a:lnTo>
                  <a:lnTo>
                    <a:pt x="135" y="314"/>
                  </a:lnTo>
                  <a:lnTo>
                    <a:pt x="135" y="312"/>
                  </a:lnTo>
                  <a:lnTo>
                    <a:pt x="137" y="312"/>
                  </a:lnTo>
                  <a:lnTo>
                    <a:pt x="135" y="312"/>
                  </a:lnTo>
                  <a:lnTo>
                    <a:pt x="135" y="311"/>
                  </a:lnTo>
                  <a:lnTo>
                    <a:pt x="137" y="311"/>
                  </a:lnTo>
                  <a:lnTo>
                    <a:pt x="135" y="311"/>
                  </a:lnTo>
                  <a:lnTo>
                    <a:pt x="137" y="311"/>
                  </a:lnTo>
                  <a:lnTo>
                    <a:pt x="137" y="309"/>
                  </a:lnTo>
                  <a:lnTo>
                    <a:pt x="139" y="309"/>
                  </a:lnTo>
                  <a:lnTo>
                    <a:pt x="140" y="309"/>
                  </a:lnTo>
                  <a:lnTo>
                    <a:pt x="142" y="309"/>
                  </a:lnTo>
                  <a:lnTo>
                    <a:pt x="142" y="307"/>
                  </a:lnTo>
                  <a:lnTo>
                    <a:pt x="144" y="307"/>
                  </a:lnTo>
                  <a:lnTo>
                    <a:pt x="144" y="306"/>
                  </a:lnTo>
                  <a:lnTo>
                    <a:pt x="145" y="306"/>
                  </a:lnTo>
                  <a:lnTo>
                    <a:pt x="147" y="304"/>
                  </a:lnTo>
                  <a:lnTo>
                    <a:pt x="145" y="304"/>
                  </a:lnTo>
                  <a:lnTo>
                    <a:pt x="147" y="303"/>
                  </a:lnTo>
                  <a:lnTo>
                    <a:pt x="145" y="303"/>
                  </a:lnTo>
                  <a:lnTo>
                    <a:pt x="144" y="303"/>
                  </a:lnTo>
                  <a:lnTo>
                    <a:pt x="142" y="303"/>
                  </a:lnTo>
                  <a:lnTo>
                    <a:pt x="140" y="303"/>
                  </a:lnTo>
                  <a:lnTo>
                    <a:pt x="139" y="303"/>
                  </a:lnTo>
                  <a:lnTo>
                    <a:pt x="137" y="303"/>
                  </a:lnTo>
                  <a:lnTo>
                    <a:pt x="135" y="301"/>
                  </a:lnTo>
                  <a:lnTo>
                    <a:pt x="137" y="301"/>
                  </a:lnTo>
                  <a:lnTo>
                    <a:pt x="135" y="301"/>
                  </a:lnTo>
                  <a:lnTo>
                    <a:pt x="137" y="301"/>
                  </a:lnTo>
                  <a:lnTo>
                    <a:pt x="137" y="299"/>
                  </a:lnTo>
                  <a:lnTo>
                    <a:pt x="139" y="299"/>
                  </a:lnTo>
                  <a:lnTo>
                    <a:pt x="140" y="298"/>
                  </a:lnTo>
                  <a:lnTo>
                    <a:pt x="142" y="296"/>
                  </a:lnTo>
                  <a:lnTo>
                    <a:pt x="142" y="294"/>
                  </a:lnTo>
                  <a:lnTo>
                    <a:pt x="144" y="294"/>
                  </a:lnTo>
                  <a:lnTo>
                    <a:pt x="144" y="293"/>
                  </a:lnTo>
                  <a:lnTo>
                    <a:pt x="145" y="293"/>
                  </a:lnTo>
                  <a:lnTo>
                    <a:pt x="145" y="291"/>
                  </a:lnTo>
                  <a:lnTo>
                    <a:pt x="147" y="291"/>
                  </a:lnTo>
                  <a:lnTo>
                    <a:pt x="147" y="290"/>
                  </a:lnTo>
                  <a:lnTo>
                    <a:pt x="148" y="288"/>
                  </a:lnTo>
                  <a:lnTo>
                    <a:pt x="150" y="288"/>
                  </a:lnTo>
                  <a:lnTo>
                    <a:pt x="150" y="286"/>
                  </a:lnTo>
                  <a:lnTo>
                    <a:pt x="150" y="285"/>
                  </a:lnTo>
                  <a:lnTo>
                    <a:pt x="152" y="285"/>
                  </a:lnTo>
                  <a:lnTo>
                    <a:pt x="150" y="285"/>
                  </a:lnTo>
                  <a:lnTo>
                    <a:pt x="153" y="283"/>
                  </a:lnTo>
                  <a:lnTo>
                    <a:pt x="155" y="283"/>
                  </a:lnTo>
                  <a:lnTo>
                    <a:pt x="157" y="283"/>
                  </a:lnTo>
                  <a:lnTo>
                    <a:pt x="157" y="281"/>
                  </a:lnTo>
                  <a:lnTo>
                    <a:pt x="158" y="281"/>
                  </a:lnTo>
                  <a:lnTo>
                    <a:pt x="158" y="280"/>
                  </a:lnTo>
                  <a:lnTo>
                    <a:pt x="158" y="278"/>
                  </a:lnTo>
                  <a:lnTo>
                    <a:pt x="160" y="277"/>
                  </a:lnTo>
                  <a:lnTo>
                    <a:pt x="161" y="277"/>
                  </a:lnTo>
                  <a:lnTo>
                    <a:pt x="161" y="275"/>
                  </a:lnTo>
                  <a:lnTo>
                    <a:pt x="163" y="277"/>
                  </a:lnTo>
                  <a:lnTo>
                    <a:pt x="165" y="278"/>
                  </a:lnTo>
                  <a:lnTo>
                    <a:pt x="168" y="280"/>
                  </a:lnTo>
                  <a:lnTo>
                    <a:pt x="170" y="280"/>
                  </a:lnTo>
                  <a:lnTo>
                    <a:pt x="170" y="281"/>
                  </a:lnTo>
                  <a:lnTo>
                    <a:pt x="168" y="281"/>
                  </a:lnTo>
                  <a:lnTo>
                    <a:pt x="170" y="281"/>
                  </a:lnTo>
                  <a:lnTo>
                    <a:pt x="170" y="283"/>
                  </a:lnTo>
                  <a:lnTo>
                    <a:pt x="171" y="283"/>
                  </a:lnTo>
                  <a:lnTo>
                    <a:pt x="171" y="281"/>
                  </a:lnTo>
                  <a:lnTo>
                    <a:pt x="173" y="281"/>
                  </a:lnTo>
                  <a:lnTo>
                    <a:pt x="174" y="281"/>
                  </a:lnTo>
                  <a:lnTo>
                    <a:pt x="176" y="281"/>
                  </a:lnTo>
                  <a:lnTo>
                    <a:pt x="174" y="281"/>
                  </a:lnTo>
                  <a:lnTo>
                    <a:pt x="176" y="281"/>
                  </a:lnTo>
                  <a:lnTo>
                    <a:pt x="176" y="283"/>
                  </a:lnTo>
                  <a:lnTo>
                    <a:pt x="176" y="285"/>
                  </a:lnTo>
                  <a:lnTo>
                    <a:pt x="176" y="283"/>
                  </a:lnTo>
                  <a:lnTo>
                    <a:pt x="178" y="283"/>
                  </a:lnTo>
                  <a:lnTo>
                    <a:pt x="176" y="281"/>
                  </a:lnTo>
                  <a:lnTo>
                    <a:pt x="176" y="280"/>
                  </a:lnTo>
                  <a:lnTo>
                    <a:pt x="174" y="281"/>
                  </a:lnTo>
                  <a:lnTo>
                    <a:pt x="174" y="280"/>
                  </a:lnTo>
                  <a:lnTo>
                    <a:pt x="173" y="281"/>
                  </a:lnTo>
                  <a:lnTo>
                    <a:pt x="174" y="280"/>
                  </a:lnTo>
                  <a:lnTo>
                    <a:pt x="173" y="280"/>
                  </a:lnTo>
                  <a:lnTo>
                    <a:pt x="173" y="278"/>
                  </a:lnTo>
                  <a:lnTo>
                    <a:pt x="173" y="280"/>
                  </a:lnTo>
                  <a:lnTo>
                    <a:pt x="174" y="280"/>
                  </a:lnTo>
                  <a:lnTo>
                    <a:pt x="174" y="278"/>
                  </a:lnTo>
                  <a:lnTo>
                    <a:pt x="173" y="278"/>
                  </a:lnTo>
                  <a:lnTo>
                    <a:pt x="174" y="278"/>
                  </a:lnTo>
                  <a:lnTo>
                    <a:pt x="176" y="278"/>
                  </a:lnTo>
                  <a:lnTo>
                    <a:pt x="178" y="280"/>
                  </a:lnTo>
                  <a:lnTo>
                    <a:pt x="179" y="280"/>
                  </a:lnTo>
                  <a:lnTo>
                    <a:pt x="179" y="281"/>
                  </a:lnTo>
                  <a:lnTo>
                    <a:pt x="181" y="281"/>
                  </a:lnTo>
                  <a:lnTo>
                    <a:pt x="183" y="283"/>
                  </a:lnTo>
                  <a:lnTo>
                    <a:pt x="183" y="281"/>
                  </a:lnTo>
                  <a:lnTo>
                    <a:pt x="183" y="280"/>
                  </a:lnTo>
                  <a:lnTo>
                    <a:pt x="181" y="280"/>
                  </a:lnTo>
                  <a:lnTo>
                    <a:pt x="179" y="278"/>
                  </a:lnTo>
                  <a:lnTo>
                    <a:pt x="179" y="280"/>
                  </a:lnTo>
                  <a:lnTo>
                    <a:pt x="178" y="280"/>
                  </a:lnTo>
                  <a:lnTo>
                    <a:pt x="178" y="278"/>
                  </a:lnTo>
                  <a:lnTo>
                    <a:pt x="176" y="278"/>
                  </a:lnTo>
                  <a:lnTo>
                    <a:pt x="178" y="278"/>
                  </a:lnTo>
                  <a:lnTo>
                    <a:pt x="179" y="278"/>
                  </a:lnTo>
                  <a:lnTo>
                    <a:pt x="181" y="278"/>
                  </a:lnTo>
                  <a:lnTo>
                    <a:pt x="183" y="278"/>
                  </a:lnTo>
                  <a:lnTo>
                    <a:pt x="184" y="278"/>
                  </a:lnTo>
                  <a:lnTo>
                    <a:pt x="184" y="280"/>
                  </a:lnTo>
                  <a:lnTo>
                    <a:pt x="186" y="280"/>
                  </a:lnTo>
                  <a:lnTo>
                    <a:pt x="187" y="280"/>
                  </a:lnTo>
                  <a:lnTo>
                    <a:pt x="187" y="281"/>
                  </a:lnTo>
                  <a:lnTo>
                    <a:pt x="187" y="280"/>
                  </a:lnTo>
                  <a:lnTo>
                    <a:pt x="186" y="280"/>
                  </a:lnTo>
                  <a:lnTo>
                    <a:pt x="186" y="281"/>
                  </a:lnTo>
                  <a:lnTo>
                    <a:pt x="187" y="281"/>
                  </a:lnTo>
                  <a:lnTo>
                    <a:pt x="187" y="283"/>
                  </a:lnTo>
                  <a:lnTo>
                    <a:pt x="189" y="283"/>
                  </a:lnTo>
                  <a:lnTo>
                    <a:pt x="187" y="283"/>
                  </a:lnTo>
                  <a:lnTo>
                    <a:pt x="189" y="283"/>
                  </a:lnTo>
                  <a:lnTo>
                    <a:pt x="187" y="283"/>
                  </a:lnTo>
                  <a:lnTo>
                    <a:pt x="189" y="285"/>
                  </a:lnTo>
                  <a:lnTo>
                    <a:pt x="189" y="283"/>
                  </a:lnTo>
                  <a:lnTo>
                    <a:pt x="189" y="281"/>
                  </a:lnTo>
                  <a:lnTo>
                    <a:pt x="187" y="280"/>
                  </a:lnTo>
                  <a:lnTo>
                    <a:pt x="189" y="278"/>
                  </a:lnTo>
                  <a:lnTo>
                    <a:pt x="189" y="277"/>
                  </a:lnTo>
                  <a:lnTo>
                    <a:pt x="191" y="277"/>
                  </a:lnTo>
                  <a:lnTo>
                    <a:pt x="192" y="275"/>
                  </a:lnTo>
                  <a:lnTo>
                    <a:pt x="194" y="275"/>
                  </a:lnTo>
                  <a:lnTo>
                    <a:pt x="192" y="275"/>
                  </a:lnTo>
                  <a:lnTo>
                    <a:pt x="194" y="275"/>
                  </a:lnTo>
                  <a:lnTo>
                    <a:pt x="192" y="275"/>
                  </a:lnTo>
                  <a:lnTo>
                    <a:pt x="191" y="275"/>
                  </a:lnTo>
                  <a:lnTo>
                    <a:pt x="189" y="275"/>
                  </a:lnTo>
                  <a:lnTo>
                    <a:pt x="187" y="273"/>
                  </a:lnTo>
                  <a:lnTo>
                    <a:pt x="187" y="275"/>
                  </a:lnTo>
                  <a:lnTo>
                    <a:pt x="189" y="275"/>
                  </a:lnTo>
                  <a:lnTo>
                    <a:pt x="187" y="275"/>
                  </a:lnTo>
                  <a:lnTo>
                    <a:pt x="186" y="273"/>
                  </a:lnTo>
                  <a:lnTo>
                    <a:pt x="184" y="273"/>
                  </a:lnTo>
                  <a:lnTo>
                    <a:pt x="183" y="272"/>
                  </a:lnTo>
                  <a:lnTo>
                    <a:pt x="184" y="272"/>
                  </a:lnTo>
                  <a:lnTo>
                    <a:pt x="186" y="272"/>
                  </a:lnTo>
                  <a:lnTo>
                    <a:pt x="187" y="272"/>
                  </a:lnTo>
                  <a:lnTo>
                    <a:pt x="189" y="270"/>
                  </a:lnTo>
                  <a:lnTo>
                    <a:pt x="187" y="270"/>
                  </a:lnTo>
                  <a:lnTo>
                    <a:pt x="186" y="270"/>
                  </a:lnTo>
                  <a:lnTo>
                    <a:pt x="187" y="270"/>
                  </a:lnTo>
                  <a:lnTo>
                    <a:pt x="189" y="270"/>
                  </a:lnTo>
                  <a:lnTo>
                    <a:pt x="191" y="270"/>
                  </a:lnTo>
                  <a:lnTo>
                    <a:pt x="189" y="270"/>
                  </a:lnTo>
                  <a:lnTo>
                    <a:pt x="189" y="268"/>
                  </a:lnTo>
                  <a:lnTo>
                    <a:pt x="187" y="268"/>
                  </a:lnTo>
                  <a:lnTo>
                    <a:pt x="189" y="268"/>
                  </a:lnTo>
                  <a:lnTo>
                    <a:pt x="191" y="268"/>
                  </a:lnTo>
                  <a:lnTo>
                    <a:pt x="192" y="268"/>
                  </a:lnTo>
                  <a:lnTo>
                    <a:pt x="192" y="267"/>
                  </a:lnTo>
                  <a:lnTo>
                    <a:pt x="194" y="267"/>
                  </a:lnTo>
                  <a:lnTo>
                    <a:pt x="192" y="267"/>
                  </a:lnTo>
                  <a:lnTo>
                    <a:pt x="191" y="267"/>
                  </a:lnTo>
                  <a:lnTo>
                    <a:pt x="189" y="267"/>
                  </a:lnTo>
                  <a:lnTo>
                    <a:pt x="187" y="267"/>
                  </a:lnTo>
                  <a:lnTo>
                    <a:pt x="187" y="265"/>
                  </a:lnTo>
                  <a:lnTo>
                    <a:pt x="186" y="265"/>
                  </a:lnTo>
                  <a:lnTo>
                    <a:pt x="184" y="265"/>
                  </a:lnTo>
                  <a:lnTo>
                    <a:pt x="183" y="265"/>
                  </a:lnTo>
                  <a:lnTo>
                    <a:pt x="184" y="267"/>
                  </a:lnTo>
                  <a:lnTo>
                    <a:pt x="183" y="267"/>
                  </a:lnTo>
                  <a:lnTo>
                    <a:pt x="183" y="265"/>
                  </a:lnTo>
                  <a:lnTo>
                    <a:pt x="181" y="265"/>
                  </a:lnTo>
                  <a:lnTo>
                    <a:pt x="179" y="265"/>
                  </a:lnTo>
                  <a:lnTo>
                    <a:pt x="178" y="265"/>
                  </a:lnTo>
                  <a:lnTo>
                    <a:pt x="178" y="267"/>
                  </a:lnTo>
                  <a:lnTo>
                    <a:pt x="178" y="265"/>
                  </a:lnTo>
                  <a:lnTo>
                    <a:pt x="179" y="265"/>
                  </a:lnTo>
                  <a:lnTo>
                    <a:pt x="178" y="265"/>
                  </a:lnTo>
                  <a:lnTo>
                    <a:pt x="178" y="264"/>
                  </a:lnTo>
                  <a:lnTo>
                    <a:pt x="178" y="265"/>
                  </a:lnTo>
                  <a:lnTo>
                    <a:pt x="176" y="265"/>
                  </a:lnTo>
                  <a:lnTo>
                    <a:pt x="178" y="265"/>
                  </a:lnTo>
                  <a:lnTo>
                    <a:pt x="176" y="265"/>
                  </a:lnTo>
                  <a:lnTo>
                    <a:pt x="174" y="265"/>
                  </a:lnTo>
                  <a:lnTo>
                    <a:pt x="173" y="265"/>
                  </a:lnTo>
                  <a:lnTo>
                    <a:pt x="171" y="265"/>
                  </a:lnTo>
                  <a:lnTo>
                    <a:pt x="170" y="264"/>
                  </a:lnTo>
                  <a:lnTo>
                    <a:pt x="168" y="264"/>
                  </a:lnTo>
                  <a:lnTo>
                    <a:pt x="166" y="264"/>
                  </a:lnTo>
                  <a:lnTo>
                    <a:pt x="165" y="264"/>
                  </a:lnTo>
                  <a:lnTo>
                    <a:pt x="163" y="264"/>
                  </a:lnTo>
                  <a:lnTo>
                    <a:pt x="163" y="262"/>
                  </a:lnTo>
                  <a:lnTo>
                    <a:pt x="161" y="262"/>
                  </a:lnTo>
                  <a:lnTo>
                    <a:pt x="161" y="264"/>
                  </a:lnTo>
                  <a:lnTo>
                    <a:pt x="161" y="262"/>
                  </a:lnTo>
                  <a:lnTo>
                    <a:pt x="160" y="262"/>
                  </a:lnTo>
                  <a:lnTo>
                    <a:pt x="158" y="262"/>
                  </a:lnTo>
                  <a:lnTo>
                    <a:pt x="157" y="262"/>
                  </a:lnTo>
                  <a:lnTo>
                    <a:pt x="155" y="262"/>
                  </a:lnTo>
                  <a:lnTo>
                    <a:pt x="153" y="262"/>
                  </a:lnTo>
                  <a:lnTo>
                    <a:pt x="152" y="260"/>
                  </a:lnTo>
                  <a:lnTo>
                    <a:pt x="150" y="260"/>
                  </a:lnTo>
                  <a:lnTo>
                    <a:pt x="148" y="260"/>
                  </a:lnTo>
                  <a:lnTo>
                    <a:pt x="148" y="262"/>
                  </a:lnTo>
                  <a:lnTo>
                    <a:pt x="147" y="260"/>
                  </a:lnTo>
                  <a:lnTo>
                    <a:pt x="145" y="260"/>
                  </a:lnTo>
                  <a:lnTo>
                    <a:pt x="144" y="260"/>
                  </a:lnTo>
                  <a:lnTo>
                    <a:pt x="142" y="260"/>
                  </a:lnTo>
                  <a:lnTo>
                    <a:pt x="142" y="259"/>
                  </a:lnTo>
                  <a:lnTo>
                    <a:pt x="142" y="257"/>
                  </a:lnTo>
                  <a:lnTo>
                    <a:pt x="142" y="259"/>
                  </a:lnTo>
                  <a:lnTo>
                    <a:pt x="140" y="257"/>
                  </a:lnTo>
                  <a:lnTo>
                    <a:pt x="142" y="257"/>
                  </a:lnTo>
                  <a:lnTo>
                    <a:pt x="142" y="255"/>
                  </a:lnTo>
                  <a:lnTo>
                    <a:pt x="140" y="254"/>
                  </a:lnTo>
                  <a:lnTo>
                    <a:pt x="142" y="254"/>
                  </a:lnTo>
                  <a:lnTo>
                    <a:pt x="142" y="252"/>
                  </a:lnTo>
                  <a:lnTo>
                    <a:pt x="142" y="254"/>
                  </a:lnTo>
                  <a:lnTo>
                    <a:pt x="142" y="252"/>
                  </a:lnTo>
                  <a:lnTo>
                    <a:pt x="144" y="252"/>
                  </a:lnTo>
                  <a:lnTo>
                    <a:pt x="144" y="251"/>
                  </a:lnTo>
                  <a:lnTo>
                    <a:pt x="142" y="251"/>
                  </a:lnTo>
                  <a:lnTo>
                    <a:pt x="144" y="251"/>
                  </a:lnTo>
                  <a:lnTo>
                    <a:pt x="144" y="252"/>
                  </a:lnTo>
                  <a:lnTo>
                    <a:pt x="142" y="251"/>
                  </a:lnTo>
                  <a:lnTo>
                    <a:pt x="142" y="252"/>
                  </a:lnTo>
                  <a:lnTo>
                    <a:pt x="140" y="252"/>
                  </a:lnTo>
                  <a:lnTo>
                    <a:pt x="140" y="254"/>
                  </a:lnTo>
                  <a:lnTo>
                    <a:pt x="140" y="255"/>
                  </a:lnTo>
                  <a:lnTo>
                    <a:pt x="139" y="255"/>
                  </a:lnTo>
                  <a:lnTo>
                    <a:pt x="139" y="257"/>
                  </a:lnTo>
                  <a:lnTo>
                    <a:pt x="137" y="257"/>
                  </a:lnTo>
                  <a:lnTo>
                    <a:pt x="137" y="255"/>
                  </a:lnTo>
                  <a:lnTo>
                    <a:pt x="137" y="257"/>
                  </a:lnTo>
                  <a:lnTo>
                    <a:pt x="135" y="257"/>
                  </a:lnTo>
                  <a:lnTo>
                    <a:pt x="135" y="255"/>
                  </a:lnTo>
                  <a:lnTo>
                    <a:pt x="135" y="254"/>
                  </a:lnTo>
                  <a:lnTo>
                    <a:pt x="135" y="252"/>
                  </a:lnTo>
                  <a:lnTo>
                    <a:pt x="137" y="252"/>
                  </a:lnTo>
                  <a:lnTo>
                    <a:pt x="137" y="251"/>
                  </a:lnTo>
                  <a:lnTo>
                    <a:pt x="139" y="251"/>
                  </a:lnTo>
                  <a:lnTo>
                    <a:pt x="139" y="249"/>
                  </a:lnTo>
                  <a:lnTo>
                    <a:pt x="140" y="249"/>
                  </a:lnTo>
                  <a:lnTo>
                    <a:pt x="139" y="249"/>
                  </a:lnTo>
                  <a:lnTo>
                    <a:pt x="139" y="247"/>
                  </a:lnTo>
                  <a:lnTo>
                    <a:pt x="139" y="246"/>
                  </a:lnTo>
                  <a:lnTo>
                    <a:pt x="139" y="244"/>
                  </a:lnTo>
                  <a:lnTo>
                    <a:pt x="140" y="244"/>
                  </a:lnTo>
                  <a:lnTo>
                    <a:pt x="142" y="244"/>
                  </a:lnTo>
                  <a:lnTo>
                    <a:pt x="144" y="244"/>
                  </a:lnTo>
                  <a:lnTo>
                    <a:pt x="144" y="242"/>
                  </a:lnTo>
                  <a:lnTo>
                    <a:pt x="145" y="242"/>
                  </a:lnTo>
                  <a:lnTo>
                    <a:pt x="144" y="244"/>
                  </a:lnTo>
                  <a:lnTo>
                    <a:pt x="145" y="242"/>
                  </a:lnTo>
                  <a:lnTo>
                    <a:pt x="144" y="241"/>
                  </a:lnTo>
                  <a:lnTo>
                    <a:pt x="144" y="242"/>
                  </a:lnTo>
                  <a:lnTo>
                    <a:pt x="144" y="241"/>
                  </a:lnTo>
                  <a:lnTo>
                    <a:pt x="142" y="239"/>
                  </a:lnTo>
                  <a:lnTo>
                    <a:pt x="144" y="239"/>
                  </a:lnTo>
                  <a:lnTo>
                    <a:pt x="144" y="238"/>
                  </a:lnTo>
                  <a:lnTo>
                    <a:pt x="145" y="238"/>
                  </a:lnTo>
                  <a:lnTo>
                    <a:pt x="147" y="238"/>
                  </a:lnTo>
                  <a:lnTo>
                    <a:pt x="145" y="238"/>
                  </a:lnTo>
                  <a:lnTo>
                    <a:pt x="144" y="238"/>
                  </a:lnTo>
                  <a:lnTo>
                    <a:pt x="144" y="236"/>
                  </a:lnTo>
                  <a:lnTo>
                    <a:pt x="144" y="238"/>
                  </a:lnTo>
                  <a:lnTo>
                    <a:pt x="142" y="238"/>
                  </a:lnTo>
                  <a:lnTo>
                    <a:pt x="142" y="236"/>
                  </a:lnTo>
                  <a:lnTo>
                    <a:pt x="142" y="238"/>
                  </a:lnTo>
                  <a:lnTo>
                    <a:pt x="142" y="239"/>
                  </a:lnTo>
                  <a:lnTo>
                    <a:pt x="142" y="241"/>
                  </a:lnTo>
                  <a:lnTo>
                    <a:pt x="140" y="241"/>
                  </a:lnTo>
                  <a:lnTo>
                    <a:pt x="142" y="241"/>
                  </a:lnTo>
                  <a:lnTo>
                    <a:pt x="144" y="241"/>
                  </a:lnTo>
                  <a:lnTo>
                    <a:pt x="142" y="242"/>
                  </a:lnTo>
                  <a:lnTo>
                    <a:pt x="144" y="242"/>
                  </a:lnTo>
                  <a:lnTo>
                    <a:pt x="142" y="242"/>
                  </a:lnTo>
                  <a:lnTo>
                    <a:pt x="144" y="242"/>
                  </a:lnTo>
                  <a:lnTo>
                    <a:pt x="142" y="242"/>
                  </a:lnTo>
                  <a:lnTo>
                    <a:pt x="140" y="242"/>
                  </a:lnTo>
                  <a:lnTo>
                    <a:pt x="142" y="242"/>
                  </a:lnTo>
                  <a:lnTo>
                    <a:pt x="140" y="242"/>
                  </a:lnTo>
                  <a:lnTo>
                    <a:pt x="139" y="242"/>
                  </a:lnTo>
                  <a:lnTo>
                    <a:pt x="137" y="242"/>
                  </a:lnTo>
                  <a:lnTo>
                    <a:pt x="135" y="241"/>
                  </a:lnTo>
                  <a:lnTo>
                    <a:pt x="137" y="241"/>
                  </a:lnTo>
                  <a:lnTo>
                    <a:pt x="139" y="241"/>
                  </a:lnTo>
                  <a:lnTo>
                    <a:pt x="137" y="239"/>
                  </a:lnTo>
                  <a:lnTo>
                    <a:pt x="139" y="239"/>
                  </a:lnTo>
                  <a:lnTo>
                    <a:pt x="137" y="239"/>
                  </a:lnTo>
                  <a:lnTo>
                    <a:pt x="135" y="239"/>
                  </a:lnTo>
                  <a:lnTo>
                    <a:pt x="135" y="238"/>
                  </a:lnTo>
                  <a:lnTo>
                    <a:pt x="137" y="238"/>
                  </a:lnTo>
                  <a:lnTo>
                    <a:pt x="135" y="239"/>
                  </a:lnTo>
                  <a:lnTo>
                    <a:pt x="137" y="239"/>
                  </a:lnTo>
                  <a:lnTo>
                    <a:pt x="139" y="239"/>
                  </a:lnTo>
                  <a:lnTo>
                    <a:pt x="140" y="239"/>
                  </a:lnTo>
                  <a:lnTo>
                    <a:pt x="139" y="238"/>
                  </a:lnTo>
                  <a:lnTo>
                    <a:pt x="140" y="238"/>
                  </a:lnTo>
                  <a:lnTo>
                    <a:pt x="140" y="236"/>
                  </a:lnTo>
                  <a:lnTo>
                    <a:pt x="139" y="236"/>
                  </a:lnTo>
                  <a:lnTo>
                    <a:pt x="139" y="238"/>
                  </a:lnTo>
                  <a:lnTo>
                    <a:pt x="139" y="236"/>
                  </a:lnTo>
                  <a:lnTo>
                    <a:pt x="140" y="236"/>
                  </a:lnTo>
                  <a:lnTo>
                    <a:pt x="140" y="234"/>
                  </a:lnTo>
                  <a:lnTo>
                    <a:pt x="139" y="234"/>
                  </a:lnTo>
                  <a:lnTo>
                    <a:pt x="139" y="236"/>
                  </a:lnTo>
                  <a:lnTo>
                    <a:pt x="137" y="236"/>
                  </a:lnTo>
                  <a:lnTo>
                    <a:pt x="137" y="238"/>
                  </a:lnTo>
                  <a:lnTo>
                    <a:pt x="135" y="236"/>
                  </a:lnTo>
                  <a:lnTo>
                    <a:pt x="135" y="238"/>
                  </a:lnTo>
                  <a:lnTo>
                    <a:pt x="134" y="238"/>
                  </a:lnTo>
                  <a:lnTo>
                    <a:pt x="132" y="239"/>
                  </a:lnTo>
                  <a:lnTo>
                    <a:pt x="132" y="241"/>
                  </a:lnTo>
                  <a:lnTo>
                    <a:pt x="131" y="241"/>
                  </a:lnTo>
                  <a:lnTo>
                    <a:pt x="129" y="242"/>
                  </a:lnTo>
                  <a:lnTo>
                    <a:pt x="129" y="244"/>
                  </a:lnTo>
                  <a:lnTo>
                    <a:pt x="127" y="244"/>
                  </a:lnTo>
                  <a:lnTo>
                    <a:pt x="129" y="244"/>
                  </a:lnTo>
                  <a:lnTo>
                    <a:pt x="127" y="242"/>
                  </a:lnTo>
                  <a:lnTo>
                    <a:pt x="127" y="244"/>
                  </a:lnTo>
                  <a:lnTo>
                    <a:pt x="127" y="242"/>
                  </a:lnTo>
                  <a:lnTo>
                    <a:pt x="126" y="244"/>
                  </a:lnTo>
                  <a:lnTo>
                    <a:pt x="124" y="244"/>
                  </a:lnTo>
                  <a:lnTo>
                    <a:pt x="126" y="244"/>
                  </a:lnTo>
                  <a:lnTo>
                    <a:pt x="124" y="244"/>
                  </a:lnTo>
                  <a:lnTo>
                    <a:pt x="124" y="242"/>
                  </a:lnTo>
                  <a:lnTo>
                    <a:pt x="122" y="242"/>
                  </a:lnTo>
                  <a:lnTo>
                    <a:pt x="122" y="241"/>
                  </a:lnTo>
                  <a:lnTo>
                    <a:pt x="121" y="241"/>
                  </a:lnTo>
                  <a:lnTo>
                    <a:pt x="119" y="241"/>
                  </a:lnTo>
                  <a:lnTo>
                    <a:pt x="119" y="242"/>
                  </a:lnTo>
                  <a:lnTo>
                    <a:pt x="121" y="244"/>
                  </a:lnTo>
                  <a:lnTo>
                    <a:pt x="119" y="244"/>
                  </a:lnTo>
                  <a:lnTo>
                    <a:pt x="119" y="242"/>
                  </a:lnTo>
                  <a:lnTo>
                    <a:pt x="118" y="242"/>
                  </a:lnTo>
                  <a:lnTo>
                    <a:pt x="118" y="241"/>
                  </a:lnTo>
                  <a:lnTo>
                    <a:pt x="119" y="241"/>
                  </a:lnTo>
                  <a:lnTo>
                    <a:pt x="119" y="239"/>
                  </a:lnTo>
                  <a:lnTo>
                    <a:pt x="121" y="239"/>
                  </a:lnTo>
                  <a:lnTo>
                    <a:pt x="119" y="239"/>
                  </a:lnTo>
                  <a:lnTo>
                    <a:pt x="119" y="238"/>
                  </a:lnTo>
                  <a:lnTo>
                    <a:pt x="119" y="239"/>
                  </a:lnTo>
                  <a:lnTo>
                    <a:pt x="118" y="239"/>
                  </a:lnTo>
                  <a:lnTo>
                    <a:pt x="116" y="239"/>
                  </a:lnTo>
                  <a:lnTo>
                    <a:pt x="116" y="238"/>
                  </a:lnTo>
                  <a:lnTo>
                    <a:pt x="116" y="236"/>
                  </a:lnTo>
                  <a:lnTo>
                    <a:pt x="118" y="236"/>
                  </a:lnTo>
                  <a:lnTo>
                    <a:pt x="118" y="234"/>
                  </a:lnTo>
                  <a:lnTo>
                    <a:pt x="118" y="236"/>
                  </a:lnTo>
                  <a:lnTo>
                    <a:pt x="118" y="234"/>
                  </a:lnTo>
                  <a:lnTo>
                    <a:pt x="119" y="234"/>
                  </a:lnTo>
                  <a:lnTo>
                    <a:pt x="118" y="234"/>
                  </a:lnTo>
                  <a:lnTo>
                    <a:pt x="118" y="233"/>
                  </a:lnTo>
                  <a:lnTo>
                    <a:pt x="119" y="233"/>
                  </a:lnTo>
                  <a:lnTo>
                    <a:pt x="118" y="233"/>
                  </a:lnTo>
                  <a:lnTo>
                    <a:pt x="119" y="231"/>
                  </a:lnTo>
                  <a:lnTo>
                    <a:pt x="121" y="231"/>
                  </a:lnTo>
                  <a:lnTo>
                    <a:pt x="121" y="233"/>
                  </a:lnTo>
                  <a:lnTo>
                    <a:pt x="121" y="231"/>
                  </a:lnTo>
                  <a:lnTo>
                    <a:pt x="122" y="231"/>
                  </a:lnTo>
                  <a:lnTo>
                    <a:pt x="124" y="231"/>
                  </a:lnTo>
                  <a:lnTo>
                    <a:pt x="124" y="233"/>
                  </a:lnTo>
                  <a:lnTo>
                    <a:pt x="126" y="231"/>
                  </a:lnTo>
                  <a:lnTo>
                    <a:pt x="124" y="231"/>
                  </a:lnTo>
                  <a:lnTo>
                    <a:pt x="126" y="231"/>
                  </a:lnTo>
                  <a:lnTo>
                    <a:pt x="127" y="231"/>
                  </a:lnTo>
                  <a:lnTo>
                    <a:pt x="127" y="229"/>
                  </a:lnTo>
                  <a:lnTo>
                    <a:pt x="127" y="231"/>
                  </a:lnTo>
                  <a:lnTo>
                    <a:pt x="127" y="229"/>
                  </a:lnTo>
                  <a:lnTo>
                    <a:pt x="127" y="228"/>
                  </a:lnTo>
                  <a:lnTo>
                    <a:pt x="129" y="228"/>
                  </a:lnTo>
                  <a:lnTo>
                    <a:pt x="127" y="228"/>
                  </a:lnTo>
                  <a:lnTo>
                    <a:pt x="126" y="229"/>
                  </a:lnTo>
                  <a:lnTo>
                    <a:pt x="126" y="228"/>
                  </a:lnTo>
                  <a:lnTo>
                    <a:pt x="127" y="226"/>
                  </a:lnTo>
                  <a:lnTo>
                    <a:pt x="127" y="228"/>
                  </a:lnTo>
                  <a:lnTo>
                    <a:pt x="127" y="226"/>
                  </a:lnTo>
                  <a:lnTo>
                    <a:pt x="126" y="226"/>
                  </a:lnTo>
                  <a:lnTo>
                    <a:pt x="124" y="228"/>
                  </a:lnTo>
                  <a:lnTo>
                    <a:pt x="124" y="229"/>
                  </a:lnTo>
                  <a:lnTo>
                    <a:pt x="122" y="229"/>
                  </a:lnTo>
                  <a:lnTo>
                    <a:pt x="122" y="228"/>
                  </a:lnTo>
                  <a:lnTo>
                    <a:pt x="122" y="229"/>
                  </a:lnTo>
                  <a:lnTo>
                    <a:pt x="121" y="229"/>
                  </a:lnTo>
                  <a:lnTo>
                    <a:pt x="121" y="228"/>
                  </a:lnTo>
                  <a:lnTo>
                    <a:pt x="121" y="226"/>
                  </a:lnTo>
                  <a:lnTo>
                    <a:pt x="122" y="225"/>
                  </a:lnTo>
                  <a:lnTo>
                    <a:pt x="124" y="225"/>
                  </a:lnTo>
                  <a:lnTo>
                    <a:pt x="126" y="225"/>
                  </a:lnTo>
                  <a:lnTo>
                    <a:pt x="124" y="225"/>
                  </a:lnTo>
                  <a:lnTo>
                    <a:pt x="124" y="223"/>
                  </a:lnTo>
                  <a:lnTo>
                    <a:pt x="122" y="223"/>
                  </a:lnTo>
                  <a:lnTo>
                    <a:pt x="124" y="223"/>
                  </a:lnTo>
                  <a:lnTo>
                    <a:pt x="124" y="225"/>
                  </a:lnTo>
                  <a:lnTo>
                    <a:pt x="122" y="225"/>
                  </a:lnTo>
                  <a:lnTo>
                    <a:pt x="121" y="225"/>
                  </a:lnTo>
                  <a:lnTo>
                    <a:pt x="121" y="223"/>
                  </a:lnTo>
                  <a:lnTo>
                    <a:pt x="119" y="223"/>
                  </a:lnTo>
                  <a:lnTo>
                    <a:pt x="121" y="225"/>
                  </a:lnTo>
                  <a:lnTo>
                    <a:pt x="119" y="225"/>
                  </a:lnTo>
                  <a:lnTo>
                    <a:pt x="121" y="226"/>
                  </a:lnTo>
                  <a:lnTo>
                    <a:pt x="119" y="226"/>
                  </a:lnTo>
                  <a:lnTo>
                    <a:pt x="119" y="228"/>
                  </a:lnTo>
                  <a:lnTo>
                    <a:pt x="119" y="229"/>
                  </a:lnTo>
                  <a:lnTo>
                    <a:pt x="119" y="231"/>
                  </a:lnTo>
                  <a:lnTo>
                    <a:pt x="118" y="229"/>
                  </a:lnTo>
                  <a:lnTo>
                    <a:pt x="118" y="228"/>
                  </a:lnTo>
                  <a:lnTo>
                    <a:pt x="119" y="228"/>
                  </a:lnTo>
                  <a:lnTo>
                    <a:pt x="118" y="228"/>
                  </a:lnTo>
                  <a:lnTo>
                    <a:pt x="119" y="226"/>
                  </a:lnTo>
                  <a:lnTo>
                    <a:pt x="118" y="226"/>
                  </a:lnTo>
                  <a:lnTo>
                    <a:pt x="119" y="226"/>
                  </a:lnTo>
                  <a:lnTo>
                    <a:pt x="119" y="225"/>
                  </a:lnTo>
                  <a:lnTo>
                    <a:pt x="118" y="225"/>
                  </a:lnTo>
                  <a:lnTo>
                    <a:pt x="119" y="225"/>
                  </a:lnTo>
                  <a:lnTo>
                    <a:pt x="118" y="226"/>
                  </a:lnTo>
                  <a:lnTo>
                    <a:pt x="118" y="228"/>
                  </a:lnTo>
                  <a:lnTo>
                    <a:pt x="116" y="228"/>
                  </a:lnTo>
                  <a:lnTo>
                    <a:pt x="116" y="229"/>
                  </a:lnTo>
                  <a:lnTo>
                    <a:pt x="114" y="229"/>
                  </a:lnTo>
                  <a:lnTo>
                    <a:pt x="114" y="228"/>
                  </a:lnTo>
                  <a:lnTo>
                    <a:pt x="113" y="228"/>
                  </a:lnTo>
                  <a:lnTo>
                    <a:pt x="113" y="229"/>
                  </a:lnTo>
                  <a:lnTo>
                    <a:pt x="114" y="229"/>
                  </a:lnTo>
                  <a:lnTo>
                    <a:pt x="113" y="229"/>
                  </a:lnTo>
                  <a:lnTo>
                    <a:pt x="111" y="229"/>
                  </a:lnTo>
                  <a:lnTo>
                    <a:pt x="113" y="228"/>
                  </a:lnTo>
                  <a:lnTo>
                    <a:pt x="111" y="228"/>
                  </a:lnTo>
                  <a:lnTo>
                    <a:pt x="111" y="226"/>
                  </a:lnTo>
                  <a:lnTo>
                    <a:pt x="109" y="226"/>
                  </a:lnTo>
                  <a:lnTo>
                    <a:pt x="109" y="228"/>
                  </a:lnTo>
                  <a:lnTo>
                    <a:pt x="109" y="226"/>
                  </a:lnTo>
                  <a:lnTo>
                    <a:pt x="108" y="226"/>
                  </a:lnTo>
                  <a:lnTo>
                    <a:pt x="108" y="225"/>
                  </a:lnTo>
                  <a:lnTo>
                    <a:pt x="108" y="223"/>
                  </a:lnTo>
                  <a:lnTo>
                    <a:pt x="106" y="223"/>
                  </a:lnTo>
                  <a:lnTo>
                    <a:pt x="108" y="223"/>
                  </a:lnTo>
                  <a:lnTo>
                    <a:pt x="108" y="221"/>
                  </a:lnTo>
                  <a:lnTo>
                    <a:pt x="106" y="221"/>
                  </a:lnTo>
                  <a:lnTo>
                    <a:pt x="106" y="220"/>
                  </a:lnTo>
                  <a:lnTo>
                    <a:pt x="105" y="220"/>
                  </a:lnTo>
                  <a:lnTo>
                    <a:pt x="105" y="221"/>
                  </a:lnTo>
                  <a:lnTo>
                    <a:pt x="105" y="220"/>
                  </a:lnTo>
                  <a:lnTo>
                    <a:pt x="103" y="221"/>
                  </a:lnTo>
                  <a:lnTo>
                    <a:pt x="103" y="220"/>
                  </a:lnTo>
                  <a:lnTo>
                    <a:pt x="101" y="221"/>
                  </a:lnTo>
                  <a:lnTo>
                    <a:pt x="100" y="221"/>
                  </a:lnTo>
                  <a:lnTo>
                    <a:pt x="101" y="221"/>
                  </a:lnTo>
                  <a:lnTo>
                    <a:pt x="100" y="220"/>
                  </a:lnTo>
                  <a:lnTo>
                    <a:pt x="100" y="218"/>
                  </a:lnTo>
                  <a:lnTo>
                    <a:pt x="98" y="218"/>
                  </a:lnTo>
                  <a:lnTo>
                    <a:pt x="96" y="218"/>
                  </a:lnTo>
                  <a:lnTo>
                    <a:pt x="96" y="220"/>
                  </a:lnTo>
                  <a:lnTo>
                    <a:pt x="95" y="220"/>
                  </a:lnTo>
                  <a:lnTo>
                    <a:pt x="95" y="218"/>
                  </a:lnTo>
                  <a:lnTo>
                    <a:pt x="96" y="218"/>
                  </a:lnTo>
                  <a:lnTo>
                    <a:pt x="98" y="218"/>
                  </a:lnTo>
                  <a:lnTo>
                    <a:pt x="98" y="216"/>
                  </a:lnTo>
                  <a:lnTo>
                    <a:pt x="100" y="216"/>
                  </a:lnTo>
                  <a:lnTo>
                    <a:pt x="100" y="215"/>
                  </a:lnTo>
                  <a:lnTo>
                    <a:pt x="100" y="216"/>
                  </a:lnTo>
                  <a:lnTo>
                    <a:pt x="98" y="216"/>
                  </a:lnTo>
                  <a:lnTo>
                    <a:pt x="98" y="215"/>
                  </a:lnTo>
                  <a:lnTo>
                    <a:pt x="100" y="215"/>
                  </a:lnTo>
                  <a:lnTo>
                    <a:pt x="101" y="215"/>
                  </a:lnTo>
                  <a:lnTo>
                    <a:pt x="101" y="213"/>
                  </a:lnTo>
                  <a:lnTo>
                    <a:pt x="103" y="213"/>
                  </a:lnTo>
                  <a:lnTo>
                    <a:pt x="103" y="215"/>
                  </a:lnTo>
                  <a:lnTo>
                    <a:pt x="105" y="215"/>
                  </a:lnTo>
                  <a:lnTo>
                    <a:pt x="105" y="216"/>
                  </a:lnTo>
                  <a:lnTo>
                    <a:pt x="106" y="216"/>
                  </a:lnTo>
                  <a:lnTo>
                    <a:pt x="106" y="218"/>
                  </a:lnTo>
                  <a:lnTo>
                    <a:pt x="106" y="216"/>
                  </a:lnTo>
                  <a:lnTo>
                    <a:pt x="108" y="216"/>
                  </a:lnTo>
                  <a:lnTo>
                    <a:pt x="108" y="215"/>
                  </a:lnTo>
                  <a:lnTo>
                    <a:pt x="109" y="215"/>
                  </a:lnTo>
                  <a:lnTo>
                    <a:pt x="111" y="215"/>
                  </a:lnTo>
                  <a:lnTo>
                    <a:pt x="109" y="215"/>
                  </a:lnTo>
                  <a:lnTo>
                    <a:pt x="108" y="215"/>
                  </a:lnTo>
                  <a:lnTo>
                    <a:pt x="108" y="213"/>
                  </a:lnTo>
                  <a:lnTo>
                    <a:pt x="106" y="213"/>
                  </a:lnTo>
                  <a:lnTo>
                    <a:pt x="108" y="213"/>
                  </a:lnTo>
                  <a:lnTo>
                    <a:pt x="106" y="212"/>
                  </a:lnTo>
                  <a:lnTo>
                    <a:pt x="106" y="210"/>
                  </a:lnTo>
                  <a:lnTo>
                    <a:pt x="106" y="212"/>
                  </a:lnTo>
                  <a:lnTo>
                    <a:pt x="108" y="210"/>
                  </a:lnTo>
                  <a:lnTo>
                    <a:pt x="108" y="212"/>
                  </a:lnTo>
                  <a:lnTo>
                    <a:pt x="109" y="212"/>
                  </a:lnTo>
                  <a:lnTo>
                    <a:pt x="109" y="213"/>
                  </a:lnTo>
                  <a:lnTo>
                    <a:pt x="111" y="215"/>
                  </a:lnTo>
                  <a:lnTo>
                    <a:pt x="113" y="213"/>
                  </a:lnTo>
                  <a:lnTo>
                    <a:pt x="111" y="213"/>
                  </a:lnTo>
                  <a:lnTo>
                    <a:pt x="111" y="212"/>
                  </a:lnTo>
                  <a:lnTo>
                    <a:pt x="109" y="212"/>
                  </a:lnTo>
                  <a:lnTo>
                    <a:pt x="109" y="210"/>
                  </a:lnTo>
                  <a:lnTo>
                    <a:pt x="108" y="210"/>
                  </a:lnTo>
                  <a:lnTo>
                    <a:pt x="106" y="208"/>
                  </a:lnTo>
                  <a:lnTo>
                    <a:pt x="105" y="208"/>
                  </a:lnTo>
                  <a:lnTo>
                    <a:pt x="105" y="207"/>
                  </a:lnTo>
                  <a:lnTo>
                    <a:pt x="106" y="207"/>
                  </a:lnTo>
                  <a:lnTo>
                    <a:pt x="105" y="207"/>
                  </a:lnTo>
                  <a:lnTo>
                    <a:pt x="105" y="205"/>
                  </a:lnTo>
                  <a:lnTo>
                    <a:pt x="106" y="207"/>
                  </a:lnTo>
                  <a:lnTo>
                    <a:pt x="106" y="205"/>
                  </a:lnTo>
                  <a:lnTo>
                    <a:pt x="105" y="205"/>
                  </a:lnTo>
                  <a:lnTo>
                    <a:pt x="105" y="203"/>
                  </a:lnTo>
                  <a:lnTo>
                    <a:pt x="105" y="202"/>
                  </a:lnTo>
                  <a:lnTo>
                    <a:pt x="103" y="200"/>
                  </a:lnTo>
                  <a:lnTo>
                    <a:pt x="101" y="202"/>
                  </a:lnTo>
                  <a:lnTo>
                    <a:pt x="101" y="200"/>
                  </a:lnTo>
                  <a:lnTo>
                    <a:pt x="100" y="200"/>
                  </a:lnTo>
                  <a:lnTo>
                    <a:pt x="101" y="200"/>
                  </a:lnTo>
                  <a:lnTo>
                    <a:pt x="101" y="199"/>
                  </a:lnTo>
                  <a:lnTo>
                    <a:pt x="103" y="199"/>
                  </a:lnTo>
                  <a:lnTo>
                    <a:pt x="105" y="199"/>
                  </a:lnTo>
                  <a:lnTo>
                    <a:pt x="105" y="197"/>
                  </a:lnTo>
                  <a:lnTo>
                    <a:pt x="105" y="199"/>
                  </a:lnTo>
                  <a:lnTo>
                    <a:pt x="106" y="199"/>
                  </a:lnTo>
                  <a:lnTo>
                    <a:pt x="106" y="200"/>
                  </a:lnTo>
                  <a:lnTo>
                    <a:pt x="106" y="199"/>
                  </a:lnTo>
                  <a:lnTo>
                    <a:pt x="108" y="199"/>
                  </a:lnTo>
                  <a:lnTo>
                    <a:pt x="108" y="200"/>
                  </a:lnTo>
                  <a:lnTo>
                    <a:pt x="109" y="202"/>
                  </a:lnTo>
                  <a:lnTo>
                    <a:pt x="109" y="200"/>
                  </a:lnTo>
                  <a:lnTo>
                    <a:pt x="108" y="199"/>
                  </a:lnTo>
                  <a:lnTo>
                    <a:pt x="108" y="197"/>
                  </a:lnTo>
                  <a:lnTo>
                    <a:pt x="109" y="197"/>
                  </a:lnTo>
                  <a:lnTo>
                    <a:pt x="111" y="199"/>
                  </a:lnTo>
                  <a:lnTo>
                    <a:pt x="113" y="199"/>
                  </a:lnTo>
                  <a:lnTo>
                    <a:pt x="113" y="200"/>
                  </a:lnTo>
                  <a:lnTo>
                    <a:pt x="114" y="200"/>
                  </a:lnTo>
                  <a:lnTo>
                    <a:pt x="116" y="200"/>
                  </a:lnTo>
                  <a:lnTo>
                    <a:pt x="116" y="202"/>
                  </a:lnTo>
                  <a:lnTo>
                    <a:pt x="116" y="203"/>
                  </a:lnTo>
                  <a:lnTo>
                    <a:pt x="116" y="205"/>
                  </a:lnTo>
                  <a:lnTo>
                    <a:pt x="116" y="203"/>
                  </a:lnTo>
                  <a:lnTo>
                    <a:pt x="118" y="203"/>
                  </a:lnTo>
                  <a:lnTo>
                    <a:pt x="119" y="203"/>
                  </a:lnTo>
                  <a:lnTo>
                    <a:pt x="119" y="205"/>
                  </a:lnTo>
                  <a:lnTo>
                    <a:pt x="121" y="205"/>
                  </a:lnTo>
                  <a:lnTo>
                    <a:pt x="119" y="203"/>
                  </a:lnTo>
                  <a:lnTo>
                    <a:pt x="118" y="203"/>
                  </a:lnTo>
                  <a:lnTo>
                    <a:pt x="118" y="202"/>
                  </a:lnTo>
                  <a:lnTo>
                    <a:pt x="118" y="203"/>
                  </a:lnTo>
                  <a:lnTo>
                    <a:pt x="118" y="202"/>
                  </a:lnTo>
                  <a:lnTo>
                    <a:pt x="119" y="202"/>
                  </a:lnTo>
                  <a:lnTo>
                    <a:pt x="118" y="202"/>
                  </a:lnTo>
                  <a:lnTo>
                    <a:pt x="119" y="202"/>
                  </a:lnTo>
                  <a:lnTo>
                    <a:pt x="121" y="202"/>
                  </a:lnTo>
                  <a:lnTo>
                    <a:pt x="119" y="202"/>
                  </a:lnTo>
                  <a:lnTo>
                    <a:pt x="118" y="200"/>
                  </a:lnTo>
                  <a:lnTo>
                    <a:pt x="116" y="199"/>
                  </a:lnTo>
                  <a:lnTo>
                    <a:pt x="114" y="197"/>
                  </a:lnTo>
                  <a:lnTo>
                    <a:pt x="116" y="197"/>
                  </a:lnTo>
                  <a:lnTo>
                    <a:pt x="114" y="197"/>
                  </a:lnTo>
                  <a:lnTo>
                    <a:pt x="116" y="195"/>
                  </a:lnTo>
                  <a:lnTo>
                    <a:pt x="114" y="195"/>
                  </a:lnTo>
                  <a:lnTo>
                    <a:pt x="116" y="195"/>
                  </a:lnTo>
                  <a:lnTo>
                    <a:pt x="116" y="194"/>
                  </a:lnTo>
                  <a:lnTo>
                    <a:pt x="114" y="194"/>
                  </a:lnTo>
                  <a:lnTo>
                    <a:pt x="116" y="194"/>
                  </a:lnTo>
                  <a:lnTo>
                    <a:pt x="118" y="195"/>
                  </a:lnTo>
                  <a:lnTo>
                    <a:pt x="119" y="195"/>
                  </a:lnTo>
                  <a:lnTo>
                    <a:pt x="121" y="195"/>
                  </a:lnTo>
                  <a:lnTo>
                    <a:pt x="121" y="197"/>
                  </a:lnTo>
                  <a:lnTo>
                    <a:pt x="122" y="199"/>
                  </a:lnTo>
                  <a:lnTo>
                    <a:pt x="124" y="199"/>
                  </a:lnTo>
                  <a:lnTo>
                    <a:pt x="126" y="199"/>
                  </a:lnTo>
                  <a:lnTo>
                    <a:pt x="127" y="199"/>
                  </a:lnTo>
                  <a:lnTo>
                    <a:pt x="127" y="197"/>
                  </a:lnTo>
                  <a:lnTo>
                    <a:pt x="129" y="197"/>
                  </a:lnTo>
                  <a:lnTo>
                    <a:pt x="129" y="199"/>
                  </a:lnTo>
                  <a:lnTo>
                    <a:pt x="129" y="197"/>
                  </a:lnTo>
                  <a:lnTo>
                    <a:pt x="131" y="199"/>
                  </a:lnTo>
                  <a:lnTo>
                    <a:pt x="132" y="199"/>
                  </a:lnTo>
                  <a:lnTo>
                    <a:pt x="131" y="199"/>
                  </a:lnTo>
                  <a:lnTo>
                    <a:pt x="131" y="197"/>
                  </a:lnTo>
                  <a:lnTo>
                    <a:pt x="129" y="197"/>
                  </a:lnTo>
                  <a:lnTo>
                    <a:pt x="131" y="197"/>
                  </a:lnTo>
                  <a:lnTo>
                    <a:pt x="131" y="195"/>
                  </a:lnTo>
                  <a:lnTo>
                    <a:pt x="129" y="195"/>
                  </a:lnTo>
                  <a:lnTo>
                    <a:pt x="131" y="195"/>
                  </a:lnTo>
                  <a:lnTo>
                    <a:pt x="131" y="197"/>
                  </a:lnTo>
                  <a:lnTo>
                    <a:pt x="132" y="197"/>
                  </a:lnTo>
                  <a:lnTo>
                    <a:pt x="132" y="199"/>
                  </a:lnTo>
                  <a:lnTo>
                    <a:pt x="134" y="199"/>
                  </a:lnTo>
                  <a:lnTo>
                    <a:pt x="135" y="200"/>
                  </a:lnTo>
                  <a:lnTo>
                    <a:pt x="135" y="202"/>
                  </a:lnTo>
                  <a:lnTo>
                    <a:pt x="137" y="202"/>
                  </a:lnTo>
                  <a:lnTo>
                    <a:pt x="137" y="203"/>
                  </a:lnTo>
                  <a:lnTo>
                    <a:pt x="140" y="203"/>
                  </a:lnTo>
                  <a:lnTo>
                    <a:pt x="142" y="203"/>
                  </a:lnTo>
                  <a:lnTo>
                    <a:pt x="144" y="205"/>
                  </a:lnTo>
                  <a:lnTo>
                    <a:pt x="144" y="203"/>
                  </a:lnTo>
                  <a:lnTo>
                    <a:pt x="145" y="203"/>
                  </a:lnTo>
                  <a:lnTo>
                    <a:pt x="147" y="203"/>
                  </a:lnTo>
                  <a:lnTo>
                    <a:pt x="147" y="202"/>
                  </a:lnTo>
                  <a:lnTo>
                    <a:pt x="145" y="202"/>
                  </a:lnTo>
                  <a:lnTo>
                    <a:pt x="145" y="203"/>
                  </a:lnTo>
                  <a:lnTo>
                    <a:pt x="144" y="203"/>
                  </a:lnTo>
                  <a:lnTo>
                    <a:pt x="142" y="203"/>
                  </a:lnTo>
                  <a:lnTo>
                    <a:pt x="140" y="202"/>
                  </a:lnTo>
                  <a:lnTo>
                    <a:pt x="139" y="202"/>
                  </a:lnTo>
                  <a:lnTo>
                    <a:pt x="137" y="202"/>
                  </a:lnTo>
                  <a:lnTo>
                    <a:pt x="135" y="202"/>
                  </a:lnTo>
                  <a:lnTo>
                    <a:pt x="135" y="200"/>
                  </a:lnTo>
                  <a:lnTo>
                    <a:pt x="135" y="199"/>
                  </a:lnTo>
                  <a:lnTo>
                    <a:pt x="134" y="199"/>
                  </a:lnTo>
                  <a:lnTo>
                    <a:pt x="132" y="197"/>
                  </a:lnTo>
                  <a:lnTo>
                    <a:pt x="131" y="197"/>
                  </a:lnTo>
                  <a:lnTo>
                    <a:pt x="131" y="195"/>
                  </a:lnTo>
                  <a:lnTo>
                    <a:pt x="129" y="195"/>
                  </a:lnTo>
                  <a:lnTo>
                    <a:pt x="131" y="195"/>
                  </a:lnTo>
                  <a:lnTo>
                    <a:pt x="131" y="194"/>
                  </a:lnTo>
                  <a:lnTo>
                    <a:pt x="129" y="194"/>
                  </a:lnTo>
                  <a:lnTo>
                    <a:pt x="131" y="194"/>
                  </a:lnTo>
                  <a:lnTo>
                    <a:pt x="131" y="192"/>
                  </a:lnTo>
                  <a:lnTo>
                    <a:pt x="129" y="192"/>
                  </a:lnTo>
                  <a:lnTo>
                    <a:pt x="127" y="192"/>
                  </a:lnTo>
                  <a:lnTo>
                    <a:pt x="127" y="190"/>
                  </a:lnTo>
                  <a:lnTo>
                    <a:pt x="129" y="190"/>
                  </a:lnTo>
                  <a:lnTo>
                    <a:pt x="129" y="189"/>
                  </a:lnTo>
                  <a:lnTo>
                    <a:pt x="129" y="190"/>
                  </a:lnTo>
                  <a:lnTo>
                    <a:pt x="129" y="189"/>
                  </a:lnTo>
                  <a:lnTo>
                    <a:pt x="129" y="185"/>
                  </a:lnTo>
                  <a:lnTo>
                    <a:pt x="131" y="185"/>
                  </a:lnTo>
                  <a:lnTo>
                    <a:pt x="131" y="184"/>
                  </a:lnTo>
                  <a:lnTo>
                    <a:pt x="132" y="182"/>
                  </a:lnTo>
                  <a:lnTo>
                    <a:pt x="132" y="181"/>
                  </a:lnTo>
                  <a:lnTo>
                    <a:pt x="132" y="179"/>
                  </a:lnTo>
                  <a:lnTo>
                    <a:pt x="132" y="177"/>
                  </a:lnTo>
                  <a:lnTo>
                    <a:pt x="132" y="176"/>
                  </a:lnTo>
                  <a:lnTo>
                    <a:pt x="134" y="176"/>
                  </a:lnTo>
                  <a:lnTo>
                    <a:pt x="135" y="176"/>
                  </a:lnTo>
                  <a:lnTo>
                    <a:pt x="135" y="177"/>
                  </a:lnTo>
                  <a:lnTo>
                    <a:pt x="135" y="176"/>
                  </a:lnTo>
                  <a:lnTo>
                    <a:pt x="135" y="177"/>
                  </a:lnTo>
                  <a:lnTo>
                    <a:pt x="137" y="176"/>
                  </a:lnTo>
                  <a:lnTo>
                    <a:pt x="137" y="177"/>
                  </a:lnTo>
                  <a:lnTo>
                    <a:pt x="137" y="176"/>
                  </a:lnTo>
                  <a:lnTo>
                    <a:pt x="139" y="177"/>
                  </a:lnTo>
                  <a:lnTo>
                    <a:pt x="140" y="177"/>
                  </a:lnTo>
                  <a:lnTo>
                    <a:pt x="142" y="176"/>
                  </a:lnTo>
                  <a:lnTo>
                    <a:pt x="144" y="176"/>
                  </a:lnTo>
                  <a:lnTo>
                    <a:pt x="145" y="177"/>
                  </a:lnTo>
                  <a:lnTo>
                    <a:pt x="147" y="177"/>
                  </a:lnTo>
                  <a:lnTo>
                    <a:pt x="147" y="179"/>
                  </a:lnTo>
                  <a:lnTo>
                    <a:pt x="148" y="179"/>
                  </a:lnTo>
                  <a:lnTo>
                    <a:pt x="150" y="179"/>
                  </a:lnTo>
                  <a:lnTo>
                    <a:pt x="153" y="179"/>
                  </a:lnTo>
                  <a:lnTo>
                    <a:pt x="153" y="177"/>
                  </a:lnTo>
                  <a:lnTo>
                    <a:pt x="153" y="179"/>
                  </a:lnTo>
                  <a:lnTo>
                    <a:pt x="155" y="177"/>
                  </a:lnTo>
                  <a:lnTo>
                    <a:pt x="155" y="179"/>
                  </a:lnTo>
                  <a:lnTo>
                    <a:pt x="153" y="179"/>
                  </a:lnTo>
                  <a:lnTo>
                    <a:pt x="155" y="179"/>
                  </a:lnTo>
                  <a:lnTo>
                    <a:pt x="157" y="179"/>
                  </a:lnTo>
                  <a:lnTo>
                    <a:pt x="157" y="181"/>
                  </a:lnTo>
                  <a:lnTo>
                    <a:pt x="157" y="179"/>
                  </a:lnTo>
                  <a:lnTo>
                    <a:pt x="158" y="181"/>
                  </a:lnTo>
                  <a:lnTo>
                    <a:pt x="157" y="181"/>
                  </a:lnTo>
                  <a:lnTo>
                    <a:pt x="158" y="181"/>
                  </a:lnTo>
                  <a:lnTo>
                    <a:pt x="158" y="179"/>
                  </a:lnTo>
                  <a:lnTo>
                    <a:pt x="158" y="181"/>
                  </a:lnTo>
                  <a:lnTo>
                    <a:pt x="158" y="179"/>
                  </a:lnTo>
                  <a:lnTo>
                    <a:pt x="160" y="179"/>
                  </a:lnTo>
                  <a:lnTo>
                    <a:pt x="160" y="181"/>
                  </a:lnTo>
                  <a:lnTo>
                    <a:pt x="158" y="181"/>
                  </a:lnTo>
                  <a:lnTo>
                    <a:pt x="160" y="181"/>
                  </a:lnTo>
                  <a:lnTo>
                    <a:pt x="161" y="181"/>
                  </a:lnTo>
                  <a:lnTo>
                    <a:pt x="160" y="181"/>
                  </a:lnTo>
                  <a:lnTo>
                    <a:pt x="160" y="179"/>
                  </a:lnTo>
                  <a:lnTo>
                    <a:pt x="161" y="179"/>
                  </a:lnTo>
                  <a:lnTo>
                    <a:pt x="161" y="181"/>
                  </a:lnTo>
                  <a:lnTo>
                    <a:pt x="161" y="179"/>
                  </a:lnTo>
                  <a:lnTo>
                    <a:pt x="163" y="179"/>
                  </a:lnTo>
                  <a:lnTo>
                    <a:pt x="163" y="177"/>
                  </a:lnTo>
                  <a:lnTo>
                    <a:pt x="161" y="177"/>
                  </a:lnTo>
                  <a:lnTo>
                    <a:pt x="163" y="179"/>
                  </a:lnTo>
                  <a:lnTo>
                    <a:pt x="161" y="179"/>
                  </a:lnTo>
                  <a:lnTo>
                    <a:pt x="161" y="177"/>
                  </a:lnTo>
                  <a:lnTo>
                    <a:pt x="160" y="177"/>
                  </a:lnTo>
                  <a:lnTo>
                    <a:pt x="158" y="176"/>
                  </a:lnTo>
                  <a:lnTo>
                    <a:pt x="157" y="176"/>
                  </a:lnTo>
                  <a:lnTo>
                    <a:pt x="158" y="176"/>
                  </a:lnTo>
                  <a:lnTo>
                    <a:pt x="160" y="176"/>
                  </a:lnTo>
                  <a:lnTo>
                    <a:pt x="158" y="174"/>
                  </a:lnTo>
                  <a:lnTo>
                    <a:pt x="160" y="174"/>
                  </a:lnTo>
                  <a:lnTo>
                    <a:pt x="158" y="174"/>
                  </a:lnTo>
                  <a:lnTo>
                    <a:pt x="160" y="174"/>
                  </a:lnTo>
                  <a:lnTo>
                    <a:pt x="161" y="174"/>
                  </a:lnTo>
                  <a:lnTo>
                    <a:pt x="160" y="174"/>
                  </a:lnTo>
                  <a:lnTo>
                    <a:pt x="158" y="172"/>
                  </a:lnTo>
                  <a:lnTo>
                    <a:pt x="160" y="172"/>
                  </a:lnTo>
                  <a:lnTo>
                    <a:pt x="160" y="171"/>
                  </a:lnTo>
                  <a:lnTo>
                    <a:pt x="161" y="172"/>
                  </a:lnTo>
                  <a:lnTo>
                    <a:pt x="161" y="171"/>
                  </a:lnTo>
                  <a:lnTo>
                    <a:pt x="161" y="172"/>
                  </a:lnTo>
                  <a:lnTo>
                    <a:pt x="165" y="172"/>
                  </a:lnTo>
                  <a:lnTo>
                    <a:pt x="163" y="172"/>
                  </a:lnTo>
                  <a:lnTo>
                    <a:pt x="161" y="171"/>
                  </a:lnTo>
                  <a:lnTo>
                    <a:pt x="163" y="171"/>
                  </a:lnTo>
                  <a:lnTo>
                    <a:pt x="163" y="172"/>
                  </a:lnTo>
                  <a:lnTo>
                    <a:pt x="163" y="171"/>
                  </a:lnTo>
                  <a:lnTo>
                    <a:pt x="163" y="172"/>
                  </a:lnTo>
                  <a:lnTo>
                    <a:pt x="165" y="172"/>
                  </a:lnTo>
                  <a:lnTo>
                    <a:pt x="163" y="171"/>
                  </a:lnTo>
                  <a:lnTo>
                    <a:pt x="165" y="171"/>
                  </a:lnTo>
                  <a:lnTo>
                    <a:pt x="163" y="171"/>
                  </a:lnTo>
                  <a:lnTo>
                    <a:pt x="165" y="171"/>
                  </a:lnTo>
                  <a:lnTo>
                    <a:pt x="163" y="171"/>
                  </a:lnTo>
                  <a:lnTo>
                    <a:pt x="163" y="169"/>
                  </a:lnTo>
                  <a:lnTo>
                    <a:pt x="165" y="169"/>
                  </a:lnTo>
                  <a:lnTo>
                    <a:pt x="163" y="169"/>
                  </a:lnTo>
                  <a:lnTo>
                    <a:pt x="161" y="169"/>
                  </a:lnTo>
                  <a:lnTo>
                    <a:pt x="163" y="169"/>
                  </a:lnTo>
                  <a:lnTo>
                    <a:pt x="163" y="168"/>
                  </a:lnTo>
                  <a:lnTo>
                    <a:pt x="163" y="169"/>
                  </a:lnTo>
                  <a:lnTo>
                    <a:pt x="165" y="169"/>
                  </a:lnTo>
                  <a:lnTo>
                    <a:pt x="166" y="169"/>
                  </a:lnTo>
                  <a:lnTo>
                    <a:pt x="165" y="169"/>
                  </a:lnTo>
                  <a:lnTo>
                    <a:pt x="163" y="168"/>
                  </a:lnTo>
                  <a:lnTo>
                    <a:pt x="165" y="168"/>
                  </a:lnTo>
                  <a:lnTo>
                    <a:pt x="163" y="168"/>
                  </a:lnTo>
                  <a:lnTo>
                    <a:pt x="165" y="168"/>
                  </a:lnTo>
                  <a:lnTo>
                    <a:pt x="166" y="168"/>
                  </a:lnTo>
                  <a:lnTo>
                    <a:pt x="166" y="166"/>
                  </a:lnTo>
                  <a:lnTo>
                    <a:pt x="166" y="168"/>
                  </a:lnTo>
                  <a:lnTo>
                    <a:pt x="165" y="166"/>
                  </a:lnTo>
                  <a:lnTo>
                    <a:pt x="163" y="166"/>
                  </a:lnTo>
                  <a:lnTo>
                    <a:pt x="163" y="168"/>
                  </a:lnTo>
                  <a:lnTo>
                    <a:pt x="163" y="166"/>
                  </a:lnTo>
                  <a:lnTo>
                    <a:pt x="165" y="166"/>
                  </a:lnTo>
                  <a:lnTo>
                    <a:pt x="166" y="166"/>
                  </a:lnTo>
                  <a:lnTo>
                    <a:pt x="165" y="166"/>
                  </a:lnTo>
                  <a:lnTo>
                    <a:pt x="163" y="166"/>
                  </a:lnTo>
                  <a:lnTo>
                    <a:pt x="165" y="166"/>
                  </a:lnTo>
                  <a:lnTo>
                    <a:pt x="165" y="164"/>
                  </a:lnTo>
                  <a:lnTo>
                    <a:pt x="163" y="164"/>
                  </a:lnTo>
                  <a:lnTo>
                    <a:pt x="163" y="166"/>
                  </a:lnTo>
                  <a:lnTo>
                    <a:pt x="161" y="166"/>
                  </a:lnTo>
                  <a:lnTo>
                    <a:pt x="163" y="166"/>
                  </a:lnTo>
                  <a:lnTo>
                    <a:pt x="161" y="166"/>
                  </a:lnTo>
                  <a:lnTo>
                    <a:pt x="161" y="164"/>
                  </a:lnTo>
                  <a:lnTo>
                    <a:pt x="160" y="164"/>
                  </a:lnTo>
                  <a:lnTo>
                    <a:pt x="161" y="164"/>
                  </a:lnTo>
                  <a:lnTo>
                    <a:pt x="160" y="164"/>
                  </a:lnTo>
                  <a:lnTo>
                    <a:pt x="158" y="164"/>
                  </a:lnTo>
                  <a:lnTo>
                    <a:pt x="158" y="163"/>
                  </a:lnTo>
                  <a:lnTo>
                    <a:pt x="158" y="164"/>
                  </a:lnTo>
                  <a:lnTo>
                    <a:pt x="157" y="164"/>
                  </a:lnTo>
                  <a:lnTo>
                    <a:pt x="157" y="163"/>
                  </a:lnTo>
                  <a:lnTo>
                    <a:pt x="155" y="163"/>
                  </a:lnTo>
                  <a:lnTo>
                    <a:pt x="157" y="163"/>
                  </a:lnTo>
                  <a:lnTo>
                    <a:pt x="155" y="163"/>
                  </a:lnTo>
                  <a:lnTo>
                    <a:pt x="153" y="161"/>
                  </a:lnTo>
                  <a:lnTo>
                    <a:pt x="153" y="163"/>
                  </a:lnTo>
                  <a:lnTo>
                    <a:pt x="153" y="161"/>
                  </a:lnTo>
                  <a:lnTo>
                    <a:pt x="152" y="161"/>
                  </a:lnTo>
                  <a:lnTo>
                    <a:pt x="152" y="163"/>
                  </a:lnTo>
                  <a:lnTo>
                    <a:pt x="150" y="163"/>
                  </a:lnTo>
                  <a:lnTo>
                    <a:pt x="150" y="161"/>
                  </a:lnTo>
                  <a:lnTo>
                    <a:pt x="148" y="161"/>
                  </a:lnTo>
                  <a:lnTo>
                    <a:pt x="147" y="161"/>
                  </a:lnTo>
                  <a:lnTo>
                    <a:pt x="145" y="163"/>
                  </a:lnTo>
                  <a:lnTo>
                    <a:pt x="144" y="163"/>
                  </a:lnTo>
                  <a:lnTo>
                    <a:pt x="142" y="163"/>
                  </a:lnTo>
                  <a:lnTo>
                    <a:pt x="139" y="163"/>
                  </a:lnTo>
                  <a:lnTo>
                    <a:pt x="137" y="163"/>
                  </a:lnTo>
                  <a:lnTo>
                    <a:pt x="135" y="161"/>
                  </a:lnTo>
                  <a:lnTo>
                    <a:pt x="134" y="161"/>
                  </a:lnTo>
                  <a:lnTo>
                    <a:pt x="134" y="159"/>
                  </a:lnTo>
                  <a:lnTo>
                    <a:pt x="134" y="161"/>
                  </a:lnTo>
                  <a:lnTo>
                    <a:pt x="135" y="161"/>
                  </a:lnTo>
                  <a:lnTo>
                    <a:pt x="134" y="159"/>
                  </a:lnTo>
                  <a:lnTo>
                    <a:pt x="135" y="159"/>
                  </a:lnTo>
                  <a:lnTo>
                    <a:pt x="137" y="158"/>
                  </a:lnTo>
                  <a:lnTo>
                    <a:pt x="137" y="156"/>
                  </a:lnTo>
                  <a:lnTo>
                    <a:pt x="137" y="155"/>
                  </a:lnTo>
                  <a:lnTo>
                    <a:pt x="139" y="155"/>
                  </a:lnTo>
                  <a:lnTo>
                    <a:pt x="140" y="153"/>
                  </a:lnTo>
                  <a:lnTo>
                    <a:pt x="139" y="153"/>
                  </a:lnTo>
                  <a:lnTo>
                    <a:pt x="137" y="153"/>
                  </a:lnTo>
                  <a:lnTo>
                    <a:pt x="137" y="155"/>
                  </a:lnTo>
                  <a:lnTo>
                    <a:pt x="137" y="153"/>
                  </a:lnTo>
                  <a:lnTo>
                    <a:pt x="137" y="155"/>
                  </a:lnTo>
                  <a:lnTo>
                    <a:pt x="135" y="155"/>
                  </a:lnTo>
                  <a:lnTo>
                    <a:pt x="135" y="156"/>
                  </a:lnTo>
                  <a:lnTo>
                    <a:pt x="135" y="158"/>
                  </a:lnTo>
                  <a:lnTo>
                    <a:pt x="135" y="159"/>
                  </a:lnTo>
                  <a:lnTo>
                    <a:pt x="134" y="159"/>
                  </a:lnTo>
                  <a:lnTo>
                    <a:pt x="132" y="159"/>
                  </a:lnTo>
                  <a:lnTo>
                    <a:pt x="132" y="158"/>
                  </a:lnTo>
                  <a:lnTo>
                    <a:pt x="131" y="156"/>
                  </a:lnTo>
                  <a:lnTo>
                    <a:pt x="131" y="155"/>
                  </a:lnTo>
                  <a:lnTo>
                    <a:pt x="131" y="153"/>
                  </a:lnTo>
                  <a:lnTo>
                    <a:pt x="131" y="151"/>
                  </a:lnTo>
                  <a:lnTo>
                    <a:pt x="129" y="153"/>
                  </a:lnTo>
                  <a:lnTo>
                    <a:pt x="129" y="151"/>
                  </a:lnTo>
                  <a:lnTo>
                    <a:pt x="129" y="153"/>
                  </a:lnTo>
                  <a:lnTo>
                    <a:pt x="127" y="151"/>
                  </a:lnTo>
                  <a:lnTo>
                    <a:pt x="127" y="150"/>
                  </a:lnTo>
                  <a:lnTo>
                    <a:pt x="127" y="148"/>
                  </a:lnTo>
                  <a:lnTo>
                    <a:pt x="129" y="148"/>
                  </a:lnTo>
                  <a:lnTo>
                    <a:pt x="127" y="148"/>
                  </a:lnTo>
                  <a:lnTo>
                    <a:pt x="129" y="146"/>
                  </a:lnTo>
                  <a:lnTo>
                    <a:pt x="129" y="145"/>
                  </a:lnTo>
                  <a:lnTo>
                    <a:pt x="127" y="143"/>
                  </a:lnTo>
                  <a:lnTo>
                    <a:pt x="126" y="143"/>
                  </a:lnTo>
                  <a:lnTo>
                    <a:pt x="126" y="145"/>
                  </a:lnTo>
                  <a:lnTo>
                    <a:pt x="124" y="143"/>
                  </a:lnTo>
                  <a:lnTo>
                    <a:pt x="124" y="145"/>
                  </a:lnTo>
                  <a:lnTo>
                    <a:pt x="124" y="143"/>
                  </a:lnTo>
                  <a:lnTo>
                    <a:pt x="124" y="142"/>
                  </a:lnTo>
                  <a:lnTo>
                    <a:pt x="122" y="142"/>
                  </a:lnTo>
                  <a:lnTo>
                    <a:pt x="121" y="143"/>
                  </a:lnTo>
                  <a:lnTo>
                    <a:pt x="121" y="142"/>
                  </a:lnTo>
                  <a:lnTo>
                    <a:pt x="119" y="142"/>
                  </a:lnTo>
                  <a:lnTo>
                    <a:pt x="118" y="142"/>
                  </a:lnTo>
                  <a:lnTo>
                    <a:pt x="118" y="143"/>
                  </a:lnTo>
                  <a:lnTo>
                    <a:pt x="118" y="142"/>
                  </a:lnTo>
                  <a:lnTo>
                    <a:pt x="116" y="142"/>
                  </a:lnTo>
                  <a:lnTo>
                    <a:pt x="116" y="140"/>
                  </a:lnTo>
                  <a:lnTo>
                    <a:pt x="114" y="140"/>
                  </a:lnTo>
                  <a:lnTo>
                    <a:pt x="114" y="138"/>
                  </a:lnTo>
                  <a:lnTo>
                    <a:pt x="113" y="138"/>
                  </a:lnTo>
                  <a:lnTo>
                    <a:pt x="114" y="138"/>
                  </a:lnTo>
                  <a:lnTo>
                    <a:pt x="116" y="138"/>
                  </a:lnTo>
                  <a:lnTo>
                    <a:pt x="118" y="138"/>
                  </a:lnTo>
                  <a:lnTo>
                    <a:pt x="119" y="138"/>
                  </a:lnTo>
                  <a:lnTo>
                    <a:pt x="119" y="137"/>
                  </a:lnTo>
                  <a:lnTo>
                    <a:pt x="119" y="135"/>
                  </a:lnTo>
                  <a:lnTo>
                    <a:pt x="121" y="135"/>
                  </a:lnTo>
                  <a:lnTo>
                    <a:pt x="121" y="137"/>
                  </a:lnTo>
                  <a:lnTo>
                    <a:pt x="122" y="137"/>
                  </a:lnTo>
                  <a:lnTo>
                    <a:pt x="124" y="137"/>
                  </a:lnTo>
                  <a:lnTo>
                    <a:pt x="124" y="138"/>
                  </a:lnTo>
                  <a:lnTo>
                    <a:pt x="126" y="138"/>
                  </a:lnTo>
                  <a:lnTo>
                    <a:pt x="127" y="138"/>
                  </a:lnTo>
                  <a:lnTo>
                    <a:pt x="127" y="137"/>
                  </a:lnTo>
                  <a:lnTo>
                    <a:pt x="129" y="137"/>
                  </a:lnTo>
                  <a:lnTo>
                    <a:pt x="131" y="137"/>
                  </a:lnTo>
                  <a:lnTo>
                    <a:pt x="132" y="137"/>
                  </a:lnTo>
                  <a:lnTo>
                    <a:pt x="132" y="138"/>
                  </a:lnTo>
                  <a:lnTo>
                    <a:pt x="134" y="138"/>
                  </a:lnTo>
                  <a:lnTo>
                    <a:pt x="135" y="138"/>
                  </a:lnTo>
                  <a:lnTo>
                    <a:pt x="135" y="140"/>
                  </a:lnTo>
                  <a:lnTo>
                    <a:pt x="135" y="138"/>
                  </a:lnTo>
                  <a:lnTo>
                    <a:pt x="137" y="138"/>
                  </a:lnTo>
                  <a:lnTo>
                    <a:pt x="137" y="137"/>
                  </a:lnTo>
                  <a:lnTo>
                    <a:pt x="139" y="138"/>
                  </a:lnTo>
                  <a:lnTo>
                    <a:pt x="139" y="140"/>
                  </a:lnTo>
                  <a:lnTo>
                    <a:pt x="140" y="142"/>
                  </a:lnTo>
                  <a:lnTo>
                    <a:pt x="140" y="143"/>
                  </a:lnTo>
                  <a:lnTo>
                    <a:pt x="140" y="145"/>
                  </a:lnTo>
                  <a:lnTo>
                    <a:pt x="139" y="143"/>
                  </a:lnTo>
                  <a:lnTo>
                    <a:pt x="137" y="143"/>
                  </a:lnTo>
                  <a:lnTo>
                    <a:pt x="139" y="145"/>
                  </a:lnTo>
                  <a:lnTo>
                    <a:pt x="137" y="145"/>
                  </a:lnTo>
                  <a:lnTo>
                    <a:pt x="137" y="146"/>
                  </a:lnTo>
                  <a:lnTo>
                    <a:pt x="137" y="148"/>
                  </a:lnTo>
                  <a:lnTo>
                    <a:pt x="135" y="148"/>
                  </a:lnTo>
                  <a:lnTo>
                    <a:pt x="137" y="148"/>
                  </a:lnTo>
                  <a:lnTo>
                    <a:pt x="135" y="150"/>
                  </a:lnTo>
                  <a:lnTo>
                    <a:pt x="135" y="148"/>
                  </a:lnTo>
                  <a:lnTo>
                    <a:pt x="137" y="150"/>
                  </a:lnTo>
                  <a:lnTo>
                    <a:pt x="137" y="148"/>
                  </a:lnTo>
                  <a:lnTo>
                    <a:pt x="139" y="148"/>
                  </a:lnTo>
                  <a:lnTo>
                    <a:pt x="137" y="148"/>
                  </a:lnTo>
                  <a:lnTo>
                    <a:pt x="139" y="148"/>
                  </a:lnTo>
                  <a:lnTo>
                    <a:pt x="140" y="148"/>
                  </a:lnTo>
                  <a:lnTo>
                    <a:pt x="139" y="150"/>
                  </a:lnTo>
                  <a:lnTo>
                    <a:pt x="140" y="150"/>
                  </a:lnTo>
                  <a:lnTo>
                    <a:pt x="139" y="150"/>
                  </a:lnTo>
                  <a:lnTo>
                    <a:pt x="139" y="151"/>
                  </a:lnTo>
                  <a:lnTo>
                    <a:pt x="137" y="151"/>
                  </a:lnTo>
                  <a:lnTo>
                    <a:pt x="137" y="153"/>
                  </a:lnTo>
                  <a:lnTo>
                    <a:pt x="139" y="153"/>
                  </a:lnTo>
                  <a:lnTo>
                    <a:pt x="139" y="151"/>
                  </a:lnTo>
                  <a:lnTo>
                    <a:pt x="140" y="151"/>
                  </a:lnTo>
                  <a:lnTo>
                    <a:pt x="140" y="150"/>
                  </a:lnTo>
                  <a:lnTo>
                    <a:pt x="142" y="150"/>
                  </a:lnTo>
                  <a:lnTo>
                    <a:pt x="144" y="150"/>
                  </a:lnTo>
                  <a:lnTo>
                    <a:pt x="145" y="151"/>
                  </a:lnTo>
                  <a:lnTo>
                    <a:pt x="147" y="150"/>
                  </a:lnTo>
                  <a:lnTo>
                    <a:pt x="147" y="151"/>
                  </a:lnTo>
                  <a:lnTo>
                    <a:pt x="147" y="153"/>
                  </a:lnTo>
                  <a:lnTo>
                    <a:pt x="148" y="153"/>
                  </a:lnTo>
                  <a:lnTo>
                    <a:pt x="148" y="155"/>
                  </a:lnTo>
                  <a:lnTo>
                    <a:pt x="148" y="156"/>
                  </a:lnTo>
                  <a:lnTo>
                    <a:pt x="147" y="156"/>
                  </a:lnTo>
                  <a:lnTo>
                    <a:pt x="147" y="155"/>
                  </a:lnTo>
                  <a:lnTo>
                    <a:pt x="147" y="156"/>
                  </a:lnTo>
                  <a:lnTo>
                    <a:pt x="147" y="158"/>
                  </a:lnTo>
                  <a:lnTo>
                    <a:pt x="148" y="158"/>
                  </a:lnTo>
                  <a:lnTo>
                    <a:pt x="148" y="156"/>
                  </a:lnTo>
                  <a:lnTo>
                    <a:pt x="148" y="155"/>
                  </a:lnTo>
                  <a:lnTo>
                    <a:pt x="150" y="155"/>
                  </a:lnTo>
                  <a:lnTo>
                    <a:pt x="150" y="153"/>
                  </a:lnTo>
                  <a:lnTo>
                    <a:pt x="148" y="153"/>
                  </a:lnTo>
                  <a:lnTo>
                    <a:pt x="150" y="151"/>
                  </a:lnTo>
                  <a:lnTo>
                    <a:pt x="148" y="151"/>
                  </a:lnTo>
                  <a:lnTo>
                    <a:pt x="150" y="151"/>
                  </a:lnTo>
                  <a:lnTo>
                    <a:pt x="150" y="150"/>
                  </a:lnTo>
                  <a:lnTo>
                    <a:pt x="148" y="150"/>
                  </a:lnTo>
                  <a:lnTo>
                    <a:pt x="150" y="150"/>
                  </a:lnTo>
                  <a:lnTo>
                    <a:pt x="148" y="150"/>
                  </a:lnTo>
                  <a:lnTo>
                    <a:pt x="148" y="151"/>
                  </a:lnTo>
                  <a:lnTo>
                    <a:pt x="148" y="150"/>
                  </a:lnTo>
                  <a:lnTo>
                    <a:pt x="147" y="150"/>
                  </a:lnTo>
                  <a:lnTo>
                    <a:pt x="148" y="150"/>
                  </a:lnTo>
                  <a:lnTo>
                    <a:pt x="148" y="151"/>
                  </a:lnTo>
                  <a:lnTo>
                    <a:pt x="147" y="153"/>
                  </a:lnTo>
                  <a:lnTo>
                    <a:pt x="147" y="151"/>
                  </a:lnTo>
                  <a:lnTo>
                    <a:pt x="147" y="150"/>
                  </a:lnTo>
                  <a:lnTo>
                    <a:pt x="145" y="150"/>
                  </a:lnTo>
                  <a:lnTo>
                    <a:pt x="145" y="148"/>
                  </a:lnTo>
                  <a:lnTo>
                    <a:pt x="147" y="148"/>
                  </a:lnTo>
                  <a:lnTo>
                    <a:pt x="145" y="148"/>
                  </a:lnTo>
                  <a:lnTo>
                    <a:pt x="147" y="146"/>
                  </a:lnTo>
                  <a:lnTo>
                    <a:pt x="147" y="145"/>
                  </a:lnTo>
                  <a:lnTo>
                    <a:pt x="148" y="146"/>
                  </a:lnTo>
                  <a:lnTo>
                    <a:pt x="147" y="145"/>
                  </a:lnTo>
                  <a:lnTo>
                    <a:pt x="145" y="143"/>
                  </a:lnTo>
                  <a:lnTo>
                    <a:pt x="144" y="143"/>
                  </a:lnTo>
                  <a:lnTo>
                    <a:pt x="144" y="145"/>
                  </a:lnTo>
                  <a:lnTo>
                    <a:pt x="144" y="146"/>
                  </a:lnTo>
                  <a:lnTo>
                    <a:pt x="142" y="146"/>
                  </a:lnTo>
                  <a:lnTo>
                    <a:pt x="144" y="145"/>
                  </a:lnTo>
                  <a:lnTo>
                    <a:pt x="142" y="145"/>
                  </a:lnTo>
                  <a:lnTo>
                    <a:pt x="140" y="145"/>
                  </a:lnTo>
                  <a:lnTo>
                    <a:pt x="140" y="143"/>
                  </a:lnTo>
                  <a:lnTo>
                    <a:pt x="142" y="143"/>
                  </a:lnTo>
                  <a:lnTo>
                    <a:pt x="144" y="143"/>
                  </a:lnTo>
                  <a:lnTo>
                    <a:pt x="145" y="143"/>
                  </a:lnTo>
                  <a:lnTo>
                    <a:pt x="145" y="142"/>
                  </a:lnTo>
                  <a:lnTo>
                    <a:pt x="144" y="140"/>
                  </a:lnTo>
                  <a:lnTo>
                    <a:pt x="145" y="142"/>
                  </a:lnTo>
                  <a:lnTo>
                    <a:pt x="144" y="142"/>
                  </a:lnTo>
                  <a:lnTo>
                    <a:pt x="144" y="140"/>
                  </a:lnTo>
                  <a:lnTo>
                    <a:pt x="144" y="138"/>
                  </a:lnTo>
                  <a:lnTo>
                    <a:pt x="144" y="137"/>
                  </a:lnTo>
                  <a:lnTo>
                    <a:pt x="145" y="137"/>
                  </a:lnTo>
                  <a:lnTo>
                    <a:pt x="147" y="135"/>
                  </a:lnTo>
                  <a:lnTo>
                    <a:pt x="147" y="133"/>
                  </a:lnTo>
                  <a:lnTo>
                    <a:pt x="147" y="135"/>
                  </a:lnTo>
                  <a:lnTo>
                    <a:pt x="147" y="137"/>
                  </a:lnTo>
                  <a:lnTo>
                    <a:pt x="148" y="137"/>
                  </a:lnTo>
                  <a:lnTo>
                    <a:pt x="148" y="135"/>
                  </a:lnTo>
                  <a:lnTo>
                    <a:pt x="150" y="135"/>
                  </a:lnTo>
                  <a:lnTo>
                    <a:pt x="148" y="135"/>
                  </a:lnTo>
                  <a:lnTo>
                    <a:pt x="147" y="135"/>
                  </a:lnTo>
                  <a:lnTo>
                    <a:pt x="147" y="133"/>
                  </a:lnTo>
                  <a:lnTo>
                    <a:pt x="148" y="133"/>
                  </a:lnTo>
                  <a:lnTo>
                    <a:pt x="148" y="132"/>
                  </a:lnTo>
                  <a:lnTo>
                    <a:pt x="150" y="133"/>
                  </a:lnTo>
                  <a:lnTo>
                    <a:pt x="150" y="132"/>
                  </a:lnTo>
                  <a:lnTo>
                    <a:pt x="152" y="132"/>
                  </a:lnTo>
                  <a:lnTo>
                    <a:pt x="150" y="132"/>
                  </a:lnTo>
                  <a:lnTo>
                    <a:pt x="150" y="130"/>
                  </a:lnTo>
                  <a:lnTo>
                    <a:pt x="152" y="130"/>
                  </a:lnTo>
                  <a:lnTo>
                    <a:pt x="153" y="130"/>
                  </a:lnTo>
                  <a:lnTo>
                    <a:pt x="153" y="129"/>
                  </a:lnTo>
                  <a:lnTo>
                    <a:pt x="152" y="129"/>
                  </a:lnTo>
                  <a:lnTo>
                    <a:pt x="153" y="130"/>
                  </a:lnTo>
                  <a:lnTo>
                    <a:pt x="152" y="130"/>
                  </a:lnTo>
                  <a:lnTo>
                    <a:pt x="152" y="129"/>
                  </a:lnTo>
                  <a:lnTo>
                    <a:pt x="150" y="129"/>
                  </a:lnTo>
                  <a:lnTo>
                    <a:pt x="148" y="129"/>
                  </a:lnTo>
                  <a:lnTo>
                    <a:pt x="150" y="130"/>
                  </a:lnTo>
                  <a:lnTo>
                    <a:pt x="148" y="130"/>
                  </a:lnTo>
                  <a:lnTo>
                    <a:pt x="148" y="132"/>
                  </a:lnTo>
                  <a:lnTo>
                    <a:pt x="147" y="132"/>
                  </a:lnTo>
                  <a:lnTo>
                    <a:pt x="147" y="130"/>
                  </a:lnTo>
                  <a:lnTo>
                    <a:pt x="147" y="132"/>
                  </a:lnTo>
                  <a:lnTo>
                    <a:pt x="147" y="133"/>
                  </a:lnTo>
                  <a:lnTo>
                    <a:pt x="145" y="133"/>
                  </a:lnTo>
                  <a:lnTo>
                    <a:pt x="144" y="133"/>
                  </a:lnTo>
                  <a:lnTo>
                    <a:pt x="144" y="135"/>
                  </a:lnTo>
                  <a:lnTo>
                    <a:pt x="142" y="133"/>
                  </a:lnTo>
                  <a:lnTo>
                    <a:pt x="140" y="133"/>
                  </a:lnTo>
                  <a:lnTo>
                    <a:pt x="139" y="133"/>
                  </a:lnTo>
                  <a:lnTo>
                    <a:pt x="140" y="133"/>
                  </a:lnTo>
                  <a:lnTo>
                    <a:pt x="140" y="132"/>
                  </a:lnTo>
                  <a:lnTo>
                    <a:pt x="140" y="130"/>
                  </a:lnTo>
                  <a:lnTo>
                    <a:pt x="140" y="129"/>
                  </a:lnTo>
                  <a:lnTo>
                    <a:pt x="140" y="127"/>
                  </a:lnTo>
                  <a:lnTo>
                    <a:pt x="139" y="127"/>
                  </a:lnTo>
                  <a:lnTo>
                    <a:pt x="140" y="127"/>
                  </a:lnTo>
                  <a:lnTo>
                    <a:pt x="142" y="127"/>
                  </a:lnTo>
                  <a:lnTo>
                    <a:pt x="144" y="127"/>
                  </a:lnTo>
                  <a:lnTo>
                    <a:pt x="145" y="127"/>
                  </a:lnTo>
                  <a:lnTo>
                    <a:pt x="147" y="127"/>
                  </a:lnTo>
                  <a:lnTo>
                    <a:pt x="147" y="125"/>
                  </a:lnTo>
                  <a:lnTo>
                    <a:pt x="145" y="125"/>
                  </a:lnTo>
                  <a:lnTo>
                    <a:pt x="145" y="124"/>
                  </a:lnTo>
                  <a:lnTo>
                    <a:pt x="144" y="122"/>
                  </a:lnTo>
                  <a:lnTo>
                    <a:pt x="144" y="120"/>
                  </a:lnTo>
                  <a:lnTo>
                    <a:pt x="145" y="120"/>
                  </a:lnTo>
                  <a:lnTo>
                    <a:pt x="145" y="122"/>
                  </a:lnTo>
                  <a:lnTo>
                    <a:pt x="147" y="122"/>
                  </a:lnTo>
                  <a:lnTo>
                    <a:pt x="147" y="120"/>
                  </a:lnTo>
                  <a:lnTo>
                    <a:pt x="145" y="122"/>
                  </a:lnTo>
                  <a:lnTo>
                    <a:pt x="145" y="120"/>
                  </a:lnTo>
                  <a:lnTo>
                    <a:pt x="145" y="119"/>
                  </a:lnTo>
                  <a:lnTo>
                    <a:pt x="145" y="117"/>
                  </a:lnTo>
                  <a:lnTo>
                    <a:pt x="144" y="117"/>
                  </a:lnTo>
                  <a:lnTo>
                    <a:pt x="144" y="116"/>
                  </a:lnTo>
                  <a:lnTo>
                    <a:pt x="144" y="117"/>
                  </a:lnTo>
                  <a:lnTo>
                    <a:pt x="145" y="116"/>
                  </a:lnTo>
                  <a:lnTo>
                    <a:pt x="145" y="117"/>
                  </a:lnTo>
                  <a:lnTo>
                    <a:pt x="145" y="119"/>
                  </a:lnTo>
                  <a:lnTo>
                    <a:pt x="145" y="117"/>
                  </a:lnTo>
                  <a:lnTo>
                    <a:pt x="147" y="117"/>
                  </a:lnTo>
                  <a:lnTo>
                    <a:pt x="147" y="119"/>
                  </a:lnTo>
                  <a:lnTo>
                    <a:pt x="147" y="117"/>
                  </a:lnTo>
                  <a:lnTo>
                    <a:pt x="147" y="116"/>
                  </a:lnTo>
                  <a:lnTo>
                    <a:pt x="148" y="116"/>
                  </a:lnTo>
                  <a:lnTo>
                    <a:pt x="148" y="117"/>
                  </a:lnTo>
                  <a:lnTo>
                    <a:pt x="148" y="116"/>
                  </a:lnTo>
                  <a:lnTo>
                    <a:pt x="147" y="116"/>
                  </a:lnTo>
                  <a:lnTo>
                    <a:pt x="145" y="114"/>
                  </a:lnTo>
                  <a:lnTo>
                    <a:pt x="145" y="112"/>
                  </a:lnTo>
                  <a:lnTo>
                    <a:pt x="144" y="112"/>
                  </a:lnTo>
                  <a:lnTo>
                    <a:pt x="144" y="111"/>
                  </a:lnTo>
                  <a:lnTo>
                    <a:pt x="144" y="109"/>
                  </a:lnTo>
                  <a:lnTo>
                    <a:pt x="144" y="111"/>
                  </a:lnTo>
                  <a:lnTo>
                    <a:pt x="144" y="109"/>
                  </a:lnTo>
                  <a:lnTo>
                    <a:pt x="142" y="109"/>
                  </a:lnTo>
                  <a:lnTo>
                    <a:pt x="144" y="111"/>
                  </a:lnTo>
                  <a:lnTo>
                    <a:pt x="142" y="112"/>
                  </a:lnTo>
                  <a:lnTo>
                    <a:pt x="142" y="111"/>
                  </a:lnTo>
                  <a:lnTo>
                    <a:pt x="142" y="112"/>
                  </a:lnTo>
                  <a:lnTo>
                    <a:pt x="142" y="114"/>
                  </a:lnTo>
                  <a:lnTo>
                    <a:pt x="142" y="116"/>
                  </a:lnTo>
                  <a:lnTo>
                    <a:pt x="140" y="116"/>
                  </a:lnTo>
                  <a:lnTo>
                    <a:pt x="140" y="114"/>
                  </a:lnTo>
                  <a:lnTo>
                    <a:pt x="139" y="114"/>
                  </a:lnTo>
                  <a:lnTo>
                    <a:pt x="139" y="116"/>
                  </a:lnTo>
                  <a:lnTo>
                    <a:pt x="139" y="117"/>
                  </a:lnTo>
                  <a:lnTo>
                    <a:pt x="137" y="119"/>
                  </a:lnTo>
                  <a:lnTo>
                    <a:pt x="137" y="117"/>
                  </a:lnTo>
                  <a:lnTo>
                    <a:pt x="137" y="116"/>
                  </a:lnTo>
                  <a:lnTo>
                    <a:pt x="137" y="117"/>
                  </a:lnTo>
                  <a:lnTo>
                    <a:pt x="137" y="116"/>
                  </a:lnTo>
                  <a:lnTo>
                    <a:pt x="135" y="117"/>
                  </a:lnTo>
                  <a:lnTo>
                    <a:pt x="135" y="116"/>
                  </a:lnTo>
                  <a:lnTo>
                    <a:pt x="135" y="117"/>
                  </a:lnTo>
                  <a:lnTo>
                    <a:pt x="134" y="117"/>
                  </a:lnTo>
                  <a:lnTo>
                    <a:pt x="135" y="119"/>
                  </a:lnTo>
                  <a:lnTo>
                    <a:pt x="135" y="120"/>
                  </a:lnTo>
                  <a:lnTo>
                    <a:pt x="134" y="120"/>
                  </a:lnTo>
                  <a:lnTo>
                    <a:pt x="135" y="120"/>
                  </a:lnTo>
                  <a:lnTo>
                    <a:pt x="134" y="122"/>
                  </a:lnTo>
                  <a:lnTo>
                    <a:pt x="132" y="122"/>
                  </a:lnTo>
                  <a:lnTo>
                    <a:pt x="132" y="124"/>
                  </a:lnTo>
                  <a:lnTo>
                    <a:pt x="134" y="124"/>
                  </a:lnTo>
                  <a:lnTo>
                    <a:pt x="134" y="125"/>
                  </a:lnTo>
                  <a:lnTo>
                    <a:pt x="134" y="127"/>
                  </a:lnTo>
                  <a:lnTo>
                    <a:pt x="132" y="127"/>
                  </a:lnTo>
                  <a:lnTo>
                    <a:pt x="131" y="127"/>
                  </a:lnTo>
                  <a:lnTo>
                    <a:pt x="131" y="125"/>
                  </a:lnTo>
                  <a:lnTo>
                    <a:pt x="129" y="125"/>
                  </a:lnTo>
                  <a:lnTo>
                    <a:pt x="129" y="124"/>
                  </a:lnTo>
                  <a:lnTo>
                    <a:pt x="127" y="122"/>
                  </a:lnTo>
                  <a:lnTo>
                    <a:pt x="129" y="124"/>
                  </a:lnTo>
                  <a:lnTo>
                    <a:pt x="129" y="122"/>
                  </a:lnTo>
                  <a:lnTo>
                    <a:pt x="129" y="124"/>
                  </a:lnTo>
                  <a:lnTo>
                    <a:pt x="129" y="122"/>
                  </a:lnTo>
                  <a:lnTo>
                    <a:pt x="129" y="120"/>
                  </a:lnTo>
                  <a:lnTo>
                    <a:pt x="131" y="120"/>
                  </a:lnTo>
                  <a:lnTo>
                    <a:pt x="131" y="119"/>
                  </a:lnTo>
                  <a:lnTo>
                    <a:pt x="132" y="119"/>
                  </a:lnTo>
                  <a:lnTo>
                    <a:pt x="134" y="117"/>
                  </a:lnTo>
                  <a:lnTo>
                    <a:pt x="134" y="116"/>
                  </a:lnTo>
                  <a:lnTo>
                    <a:pt x="135" y="114"/>
                  </a:lnTo>
                  <a:lnTo>
                    <a:pt x="135" y="112"/>
                  </a:lnTo>
                  <a:lnTo>
                    <a:pt x="134" y="111"/>
                  </a:lnTo>
                  <a:lnTo>
                    <a:pt x="135" y="111"/>
                  </a:lnTo>
                  <a:lnTo>
                    <a:pt x="137" y="111"/>
                  </a:lnTo>
                  <a:lnTo>
                    <a:pt x="139" y="111"/>
                  </a:lnTo>
                  <a:lnTo>
                    <a:pt x="139" y="109"/>
                  </a:lnTo>
                  <a:lnTo>
                    <a:pt x="139" y="107"/>
                  </a:lnTo>
                  <a:lnTo>
                    <a:pt x="137" y="107"/>
                  </a:lnTo>
                  <a:lnTo>
                    <a:pt x="137" y="106"/>
                  </a:lnTo>
                  <a:lnTo>
                    <a:pt x="135" y="106"/>
                  </a:lnTo>
                  <a:lnTo>
                    <a:pt x="135" y="104"/>
                  </a:lnTo>
                  <a:lnTo>
                    <a:pt x="137" y="106"/>
                  </a:lnTo>
                  <a:lnTo>
                    <a:pt x="139" y="106"/>
                  </a:lnTo>
                  <a:lnTo>
                    <a:pt x="139" y="107"/>
                  </a:lnTo>
                  <a:lnTo>
                    <a:pt x="139" y="106"/>
                  </a:lnTo>
                  <a:lnTo>
                    <a:pt x="137" y="106"/>
                  </a:lnTo>
                  <a:lnTo>
                    <a:pt x="137" y="104"/>
                  </a:lnTo>
                  <a:lnTo>
                    <a:pt x="139" y="104"/>
                  </a:lnTo>
                  <a:lnTo>
                    <a:pt x="139" y="103"/>
                  </a:lnTo>
                  <a:lnTo>
                    <a:pt x="140" y="103"/>
                  </a:lnTo>
                  <a:lnTo>
                    <a:pt x="140" y="101"/>
                  </a:lnTo>
                  <a:lnTo>
                    <a:pt x="142" y="101"/>
                  </a:lnTo>
                  <a:lnTo>
                    <a:pt x="144" y="101"/>
                  </a:lnTo>
                  <a:lnTo>
                    <a:pt x="145" y="101"/>
                  </a:lnTo>
                  <a:lnTo>
                    <a:pt x="145" y="99"/>
                  </a:lnTo>
                  <a:lnTo>
                    <a:pt x="145" y="101"/>
                  </a:lnTo>
                  <a:lnTo>
                    <a:pt x="147" y="99"/>
                  </a:lnTo>
                  <a:lnTo>
                    <a:pt x="147" y="98"/>
                  </a:lnTo>
                  <a:lnTo>
                    <a:pt x="147" y="99"/>
                  </a:lnTo>
                  <a:lnTo>
                    <a:pt x="148" y="101"/>
                  </a:lnTo>
                  <a:lnTo>
                    <a:pt x="147" y="101"/>
                  </a:lnTo>
                  <a:lnTo>
                    <a:pt x="148" y="101"/>
                  </a:lnTo>
                  <a:lnTo>
                    <a:pt x="148" y="103"/>
                  </a:lnTo>
                  <a:lnTo>
                    <a:pt x="148" y="104"/>
                  </a:lnTo>
                  <a:lnTo>
                    <a:pt x="150" y="104"/>
                  </a:lnTo>
                  <a:lnTo>
                    <a:pt x="150" y="106"/>
                  </a:lnTo>
                  <a:lnTo>
                    <a:pt x="152" y="106"/>
                  </a:lnTo>
                  <a:lnTo>
                    <a:pt x="152" y="104"/>
                  </a:lnTo>
                  <a:lnTo>
                    <a:pt x="152" y="106"/>
                  </a:lnTo>
                  <a:lnTo>
                    <a:pt x="152" y="107"/>
                  </a:lnTo>
                  <a:lnTo>
                    <a:pt x="153" y="107"/>
                  </a:lnTo>
                  <a:lnTo>
                    <a:pt x="155" y="106"/>
                  </a:lnTo>
                  <a:lnTo>
                    <a:pt x="153" y="107"/>
                  </a:lnTo>
                  <a:lnTo>
                    <a:pt x="153" y="109"/>
                  </a:lnTo>
                  <a:lnTo>
                    <a:pt x="152" y="109"/>
                  </a:lnTo>
                  <a:lnTo>
                    <a:pt x="152" y="111"/>
                  </a:lnTo>
                  <a:lnTo>
                    <a:pt x="150" y="111"/>
                  </a:lnTo>
                  <a:lnTo>
                    <a:pt x="150" y="112"/>
                  </a:lnTo>
                  <a:lnTo>
                    <a:pt x="150" y="111"/>
                  </a:lnTo>
                  <a:lnTo>
                    <a:pt x="148" y="112"/>
                  </a:lnTo>
                  <a:lnTo>
                    <a:pt x="148" y="111"/>
                  </a:lnTo>
                  <a:lnTo>
                    <a:pt x="148" y="112"/>
                  </a:lnTo>
                  <a:lnTo>
                    <a:pt x="147" y="112"/>
                  </a:lnTo>
                  <a:lnTo>
                    <a:pt x="147" y="111"/>
                  </a:lnTo>
                  <a:lnTo>
                    <a:pt x="147" y="109"/>
                  </a:lnTo>
                  <a:lnTo>
                    <a:pt x="147" y="111"/>
                  </a:lnTo>
                  <a:lnTo>
                    <a:pt x="145" y="111"/>
                  </a:lnTo>
                  <a:lnTo>
                    <a:pt x="147" y="112"/>
                  </a:lnTo>
                  <a:lnTo>
                    <a:pt x="150" y="114"/>
                  </a:lnTo>
                  <a:lnTo>
                    <a:pt x="152" y="114"/>
                  </a:lnTo>
                  <a:lnTo>
                    <a:pt x="153" y="114"/>
                  </a:lnTo>
                  <a:lnTo>
                    <a:pt x="153" y="112"/>
                  </a:lnTo>
                  <a:lnTo>
                    <a:pt x="152" y="112"/>
                  </a:lnTo>
                  <a:lnTo>
                    <a:pt x="153" y="112"/>
                  </a:lnTo>
                  <a:lnTo>
                    <a:pt x="155" y="112"/>
                  </a:lnTo>
                  <a:lnTo>
                    <a:pt x="155" y="114"/>
                  </a:lnTo>
                  <a:lnTo>
                    <a:pt x="157" y="114"/>
                  </a:lnTo>
                  <a:lnTo>
                    <a:pt x="155" y="114"/>
                  </a:lnTo>
                  <a:lnTo>
                    <a:pt x="155" y="112"/>
                  </a:lnTo>
                  <a:lnTo>
                    <a:pt x="155" y="111"/>
                  </a:lnTo>
                  <a:lnTo>
                    <a:pt x="153" y="111"/>
                  </a:lnTo>
                  <a:lnTo>
                    <a:pt x="155" y="111"/>
                  </a:lnTo>
                  <a:lnTo>
                    <a:pt x="155" y="109"/>
                  </a:lnTo>
                  <a:lnTo>
                    <a:pt x="155" y="107"/>
                  </a:lnTo>
                  <a:lnTo>
                    <a:pt x="157" y="107"/>
                  </a:lnTo>
                  <a:lnTo>
                    <a:pt x="157" y="106"/>
                  </a:lnTo>
                  <a:lnTo>
                    <a:pt x="158" y="106"/>
                  </a:lnTo>
                  <a:lnTo>
                    <a:pt x="160" y="106"/>
                  </a:lnTo>
                  <a:lnTo>
                    <a:pt x="161" y="106"/>
                  </a:lnTo>
                  <a:lnTo>
                    <a:pt x="161" y="107"/>
                  </a:lnTo>
                  <a:lnTo>
                    <a:pt x="161" y="109"/>
                  </a:lnTo>
                  <a:lnTo>
                    <a:pt x="163" y="109"/>
                  </a:lnTo>
                  <a:lnTo>
                    <a:pt x="163" y="111"/>
                  </a:lnTo>
                  <a:lnTo>
                    <a:pt x="165" y="111"/>
                  </a:lnTo>
                  <a:lnTo>
                    <a:pt x="165" y="112"/>
                  </a:lnTo>
                  <a:lnTo>
                    <a:pt x="166" y="112"/>
                  </a:lnTo>
                  <a:lnTo>
                    <a:pt x="166" y="111"/>
                  </a:lnTo>
                  <a:lnTo>
                    <a:pt x="165" y="111"/>
                  </a:lnTo>
                  <a:lnTo>
                    <a:pt x="165" y="112"/>
                  </a:lnTo>
                  <a:lnTo>
                    <a:pt x="165" y="111"/>
                  </a:lnTo>
                  <a:lnTo>
                    <a:pt x="165" y="109"/>
                  </a:lnTo>
                  <a:lnTo>
                    <a:pt x="163" y="109"/>
                  </a:lnTo>
                  <a:lnTo>
                    <a:pt x="161" y="107"/>
                  </a:lnTo>
                  <a:lnTo>
                    <a:pt x="161" y="106"/>
                  </a:lnTo>
                  <a:lnTo>
                    <a:pt x="163" y="106"/>
                  </a:lnTo>
                  <a:lnTo>
                    <a:pt x="165" y="107"/>
                  </a:lnTo>
                  <a:lnTo>
                    <a:pt x="165" y="106"/>
                  </a:lnTo>
                  <a:lnTo>
                    <a:pt x="163" y="106"/>
                  </a:lnTo>
                  <a:lnTo>
                    <a:pt x="165" y="106"/>
                  </a:lnTo>
                  <a:lnTo>
                    <a:pt x="163" y="104"/>
                  </a:lnTo>
                  <a:lnTo>
                    <a:pt x="161" y="104"/>
                  </a:lnTo>
                  <a:lnTo>
                    <a:pt x="161" y="106"/>
                  </a:lnTo>
                  <a:lnTo>
                    <a:pt x="160" y="104"/>
                  </a:lnTo>
                  <a:lnTo>
                    <a:pt x="160" y="103"/>
                  </a:lnTo>
                  <a:lnTo>
                    <a:pt x="160" y="104"/>
                  </a:lnTo>
                  <a:lnTo>
                    <a:pt x="158" y="104"/>
                  </a:lnTo>
                  <a:lnTo>
                    <a:pt x="160" y="103"/>
                  </a:lnTo>
                  <a:lnTo>
                    <a:pt x="158" y="103"/>
                  </a:lnTo>
                  <a:lnTo>
                    <a:pt x="158" y="101"/>
                  </a:lnTo>
                  <a:lnTo>
                    <a:pt x="158" y="99"/>
                  </a:lnTo>
                  <a:lnTo>
                    <a:pt x="160" y="99"/>
                  </a:lnTo>
                  <a:lnTo>
                    <a:pt x="161" y="99"/>
                  </a:lnTo>
                  <a:lnTo>
                    <a:pt x="163" y="99"/>
                  </a:lnTo>
                  <a:lnTo>
                    <a:pt x="163" y="98"/>
                  </a:lnTo>
                  <a:lnTo>
                    <a:pt x="163" y="99"/>
                  </a:lnTo>
                  <a:lnTo>
                    <a:pt x="163" y="98"/>
                  </a:lnTo>
                  <a:lnTo>
                    <a:pt x="165" y="98"/>
                  </a:lnTo>
                  <a:lnTo>
                    <a:pt x="165" y="99"/>
                  </a:lnTo>
                  <a:lnTo>
                    <a:pt x="165" y="98"/>
                  </a:lnTo>
                  <a:lnTo>
                    <a:pt x="166" y="98"/>
                  </a:lnTo>
                  <a:lnTo>
                    <a:pt x="166" y="99"/>
                  </a:lnTo>
                  <a:lnTo>
                    <a:pt x="166" y="98"/>
                  </a:lnTo>
                  <a:lnTo>
                    <a:pt x="166" y="99"/>
                  </a:lnTo>
                  <a:lnTo>
                    <a:pt x="165" y="101"/>
                  </a:lnTo>
                  <a:lnTo>
                    <a:pt x="166" y="101"/>
                  </a:lnTo>
                  <a:lnTo>
                    <a:pt x="166" y="99"/>
                  </a:lnTo>
                  <a:lnTo>
                    <a:pt x="168" y="99"/>
                  </a:lnTo>
                  <a:lnTo>
                    <a:pt x="168" y="101"/>
                  </a:lnTo>
                  <a:lnTo>
                    <a:pt x="168" y="103"/>
                  </a:lnTo>
                  <a:lnTo>
                    <a:pt x="170" y="101"/>
                  </a:lnTo>
                  <a:lnTo>
                    <a:pt x="170" y="103"/>
                  </a:lnTo>
                  <a:lnTo>
                    <a:pt x="171" y="103"/>
                  </a:lnTo>
                  <a:lnTo>
                    <a:pt x="170" y="103"/>
                  </a:lnTo>
                  <a:lnTo>
                    <a:pt x="171" y="103"/>
                  </a:lnTo>
                  <a:lnTo>
                    <a:pt x="171" y="104"/>
                  </a:lnTo>
                  <a:lnTo>
                    <a:pt x="171" y="103"/>
                  </a:lnTo>
                  <a:lnTo>
                    <a:pt x="171" y="104"/>
                  </a:lnTo>
                  <a:lnTo>
                    <a:pt x="173" y="104"/>
                  </a:lnTo>
                  <a:lnTo>
                    <a:pt x="174" y="104"/>
                  </a:lnTo>
                  <a:lnTo>
                    <a:pt x="174" y="106"/>
                  </a:lnTo>
                  <a:lnTo>
                    <a:pt x="176" y="106"/>
                  </a:lnTo>
                  <a:lnTo>
                    <a:pt x="176" y="104"/>
                  </a:lnTo>
                  <a:lnTo>
                    <a:pt x="178" y="104"/>
                  </a:lnTo>
                  <a:lnTo>
                    <a:pt x="176" y="104"/>
                  </a:lnTo>
                  <a:lnTo>
                    <a:pt x="176" y="106"/>
                  </a:lnTo>
                  <a:lnTo>
                    <a:pt x="178" y="104"/>
                  </a:lnTo>
                  <a:lnTo>
                    <a:pt x="179" y="104"/>
                  </a:lnTo>
                  <a:lnTo>
                    <a:pt x="179" y="106"/>
                  </a:lnTo>
                  <a:lnTo>
                    <a:pt x="181" y="106"/>
                  </a:lnTo>
                  <a:lnTo>
                    <a:pt x="183" y="106"/>
                  </a:lnTo>
                  <a:lnTo>
                    <a:pt x="183" y="107"/>
                  </a:lnTo>
                  <a:lnTo>
                    <a:pt x="184" y="107"/>
                  </a:lnTo>
                  <a:lnTo>
                    <a:pt x="184" y="109"/>
                  </a:lnTo>
                  <a:lnTo>
                    <a:pt x="186" y="109"/>
                  </a:lnTo>
                  <a:lnTo>
                    <a:pt x="187" y="109"/>
                  </a:lnTo>
                  <a:lnTo>
                    <a:pt x="187" y="107"/>
                  </a:lnTo>
                  <a:lnTo>
                    <a:pt x="187" y="109"/>
                  </a:lnTo>
                  <a:lnTo>
                    <a:pt x="189" y="109"/>
                  </a:lnTo>
                  <a:lnTo>
                    <a:pt x="191" y="111"/>
                  </a:lnTo>
                  <a:lnTo>
                    <a:pt x="192" y="111"/>
                  </a:lnTo>
                  <a:lnTo>
                    <a:pt x="194" y="111"/>
                  </a:lnTo>
                  <a:lnTo>
                    <a:pt x="194" y="112"/>
                  </a:lnTo>
                  <a:lnTo>
                    <a:pt x="196" y="112"/>
                  </a:lnTo>
                  <a:lnTo>
                    <a:pt x="196" y="114"/>
                  </a:lnTo>
                  <a:lnTo>
                    <a:pt x="197" y="114"/>
                  </a:lnTo>
                  <a:lnTo>
                    <a:pt x="197" y="112"/>
                  </a:lnTo>
                  <a:lnTo>
                    <a:pt x="199" y="112"/>
                  </a:lnTo>
                  <a:lnTo>
                    <a:pt x="200" y="112"/>
                  </a:lnTo>
                  <a:lnTo>
                    <a:pt x="200" y="111"/>
                  </a:lnTo>
                  <a:lnTo>
                    <a:pt x="200" y="112"/>
                  </a:lnTo>
                  <a:lnTo>
                    <a:pt x="202" y="112"/>
                  </a:lnTo>
                  <a:lnTo>
                    <a:pt x="204" y="112"/>
                  </a:lnTo>
                  <a:lnTo>
                    <a:pt x="204" y="114"/>
                  </a:lnTo>
                  <a:lnTo>
                    <a:pt x="205" y="114"/>
                  </a:lnTo>
                  <a:lnTo>
                    <a:pt x="207" y="116"/>
                  </a:lnTo>
                  <a:lnTo>
                    <a:pt x="207" y="117"/>
                  </a:lnTo>
                  <a:lnTo>
                    <a:pt x="205" y="119"/>
                  </a:lnTo>
                  <a:lnTo>
                    <a:pt x="205" y="120"/>
                  </a:lnTo>
                  <a:lnTo>
                    <a:pt x="207" y="120"/>
                  </a:lnTo>
                  <a:lnTo>
                    <a:pt x="207" y="119"/>
                  </a:lnTo>
                  <a:lnTo>
                    <a:pt x="207" y="120"/>
                  </a:lnTo>
                  <a:lnTo>
                    <a:pt x="207" y="119"/>
                  </a:lnTo>
                  <a:lnTo>
                    <a:pt x="209" y="120"/>
                  </a:lnTo>
                  <a:lnTo>
                    <a:pt x="209" y="119"/>
                  </a:lnTo>
                  <a:lnTo>
                    <a:pt x="210" y="120"/>
                  </a:lnTo>
                  <a:lnTo>
                    <a:pt x="209" y="122"/>
                  </a:lnTo>
                  <a:lnTo>
                    <a:pt x="209" y="124"/>
                  </a:lnTo>
                  <a:lnTo>
                    <a:pt x="207" y="124"/>
                  </a:lnTo>
                  <a:lnTo>
                    <a:pt x="207" y="125"/>
                  </a:lnTo>
                  <a:lnTo>
                    <a:pt x="205" y="125"/>
                  </a:lnTo>
                  <a:lnTo>
                    <a:pt x="204" y="125"/>
                  </a:lnTo>
                  <a:lnTo>
                    <a:pt x="204" y="127"/>
                  </a:lnTo>
                  <a:lnTo>
                    <a:pt x="204" y="125"/>
                  </a:lnTo>
                  <a:lnTo>
                    <a:pt x="205" y="125"/>
                  </a:lnTo>
                  <a:lnTo>
                    <a:pt x="205" y="127"/>
                  </a:lnTo>
                  <a:lnTo>
                    <a:pt x="205" y="125"/>
                  </a:lnTo>
                  <a:lnTo>
                    <a:pt x="207" y="125"/>
                  </a:lnTo>
                  <a:lnTo>
                    <a:pt x="209" y="125"/>
                  </a:lnTo>
                  <a:lnTo>
                    <a:pt x="209" y="127"/>
                  </a:lnTo>
                  <a:lnTo>
                    <a:pt x="207" y="129"/>
                  </a:lnTo>
                  <a:lnTo>
                    <a:pt x="207" y="127"/>
                  </a:lnTo>
                  <a:lnTo>
                    <a:pt x="209" y="127"/>
                  </a:lnTo>
                  <a:lnTo>
                    <a:pt x="207" y="127"/>
                  </a:lnTo>
                  <a:lnTo>
                    <a:pt x="207" y="129"/>
                  </a:lnTo>
                  <a:lnTo>
                    <a:pt x="205" y="129"/>
                  </a:lnTo>
                  <a:lnTo>
                    <a:pt x="207" y="129"/>
                  </a:lnTo>
                  <a:lnTo>
                    <a:pt x="205" y="130"/>
                  </a:lnTo>
                  <a:lnTo>
                    <a:pt x="207" y="130"/>
                  </a:lnTo>
                  <a:lnTo>
                    <a:pt x="209" y="130"/>
                  </a:lnTo>
                  <a:lnTo>
                    <a:pt x="209" y="132"/>
                  </a:lnTo>
                  <a:lnTo>
                    <a:pt x="210" y="132"/>
                  </a:lnTo>
                  <a:lnTo>
                    <a:pt x="210" y="133"/>
                  </a:lnTo>
                  <a:lnTo>
                    <a:pt x="210" y="135"/>
                  </a:lnTo>
                  <a:lnTo>
                    <a:pt x="212" y="135"/>
                  </a:lnTo>
                  <a:lnTo>
                    <a:pt x="210" y="137"/>
                  </a:lnTo>
                  <a:lnTo>
                    <a:pt x="210" y="138"/>
                  </a:lnTo>
                  <a:lnTo>
                    <a:pt x="210" y="140"/>
                  </a:lnTo>
                  <a:lnTo>
                    <a:pt x="210" y="142"/>
                  </a:lnTo>
                  <a:lnTo>
                    <a:pt x="209" y="143"/>
                  </a:lnTo>
                  <a:lnTo>
                    <a:pt x="210" y="142"/>
                  </a:lnTo>
                  <a:lnTo>
                    <a:pt x="210" y="140"/>
                  </a:lnTo>
                  <a:lnTo>
                    <a:pt x="210" y="138"/>
                  </a:lnTo>
                  <a:lnTo>
                    <a:pt x="212" y="138"/>
                  </a:lnTo>
                  <a:lnTo>
                    <a:pt x="212" y="137"/>
                  </a:lnTo>
                  <a:lnTo>
                    <a:pt x="212" y="135"/>
                  </a:lnTo>
                  <a:lnTo>
                    <a:pt x="213" y="133"/>
                  </a:lnTo>
                  <a:lnTo>
                    <a:pt x="212" y="132"/>
                  </a:lnTo>
                  <a:lnTo>
                    <a:pt x="213" y="132"/>
                  </a:lnTo>
                  <a:lnTo>
                    <a:pt x="215" y="132"/>
                  </a:lnTo>
                  <a:lnTo>
                    <a:pt x="217" y="132"/>
                  </a:lnTo>
                  <a:lnTo>
                    <a:pt x="217" y="130"/>
                  </a:lnTo>
                  <a:lnTo>
                    <a:pt x="217" y="129"/>
                  </a:lnTo>
                  <a:lnTo>
                    <a:pt x="218" y="129"/>
                  </a:lnTo>
                  <a:lnTo>
                    <a:pt x="220" y="127"/>
                  </a:lnTo>
                  <a:lnTo>
                    <a:pt x="220" y="125"/>
                  </a:lnTo>
                  <a:lnTo>
                    <a:pt x="222" y="125"/>
                  </a:lnTo>
                  <a:lnTo>
                    <a:pt x="222" y="124"/>
                  </a:lnTo>
                  <a:lnTo>
                    <a:pt x="222" y="122"/>
                  </a:lnTo>
                  <a:lnTo>
                    <a:pt x="225" y="122"/>
                  </a:lnTo>
                  <a:lnTo>
                    <a:pt x="226" y="122"/>
                  </a:lnTo>
                  <a:lnTo>
                    <a:pt x="226" y="124"/>
                  </a:lnTo>
                  <a:lnTo>
                    <a:pt x="228" y="124"/>
                  </a:lnTo>
                  <a:lnTo>
                    <a:pt x="230" y="124"/>
                  </a:lnTo>
                  <a:lnTo>
                    <a:pt x="231" y="124"/>
                  </a:lnTo>
                  <a:lnTo>
                    <a:pt x="231" y="125"/>
                  </a:lnTo>
                  <a:lnTo>
                    <a:pt x="233" y="124"/>
                  </a:lnTo>
                  <a:lnTo>
                    <a:pt x="233" y="125"/>
                  </a:lnTo>
                  <a:lnTo>
                    <a:pt x="235" y="125"/>
                  </a:lnTo>
                  <a:lnTo>
                    <a:pt x="235" y="129"/>
                  </a:lnTo>
                  <a:lnTo>
                    <a:pt x="236" y="129"/>
                  </a:lnTo>
                  <a:lnTo>
                    <a:pt x="236" y="130"/>
                  </a:lnTo>
                  <a:lnTo>
                    <a:pt x="238" y="130"/>
                  </a:lnTo>
                  <a:lnTo>
                    <a:pt x="238" y="132"/>
                  </a:lnTo>
                  <a:lnTo>
                    <a:pt x="240" y="132"/>
                  </a:lnTo>
                  <a:lnTo>
                    <a:pt x="241" y="132"/>
                  </a:lnTo>
                  <a:lnTo>
                    <a:pt x="243" y="132"/>
                  </a:lnTo>
                  <a:lnTo>
                    <a:pt x="243" y="130"/>
                  </a:lnTo>
                  <a:lnTo>
                    <a:pt x="244" y="130"/>
                  </a:lnTo>
                  <a:lnTo>
                    <a:pt x="246" y="130"/>
                  </a:lnTo>
                  <a:lnTo>
                    <a:pt x="246" y="132"/>
                  </a:lnTo>
                  <a:lnTo>
                    <a:pt x="248" y="132"/>
                  </a:lnTo>
                  <a:lnTo>
                    <a:pt x="248" y="133"/>
                  </a:lnTo>
                  <a:lnTo>
                    <a:pt x="249" y="133"/>
                  </a:lnTo>
                  <a:lnTo>
                    <a:pt x="251" y="133"/>
                  </a:lnTo>
                  <a:lnTo>
                    <a:pt x="251" y="132"/>
                  </a:lnTo>
                  <a:lnTo>
                    <a:pt x="253" y="133"/>
                  </a:lnTo>
                  <a:lnTo>
                    <a:pt x="254" y="133"/>
                  </a:lnTo>
                  <a:lnTo>
                    <a:pt x="254" y="135"/>
                  </a:lnTo>
                  <a:lnTo>
                    <a:pt x="254" y="137"/>
                  </a:lnTo>
                  <a:lnTo>
                    <a:pt x="256" y="137"/>
                  </a:lnTo>
                  <a:lnTo>
                    <a:pt x="254" y="137"/>
                  </a:lnTo>
                  <a:lnTo>
                    <a:pt x="256" y="138"/>
                  </a:lnTo>
                  <a:lnTo>
                    <a:pt x="254" y="138"/>
                  </a:lnTo>
                  <a:lnTo>
                    <a:pt x="256" y="138"/>
                  </a:lnTo>
                  <a:lnTo>
                    <a:pt x="254" y="138"/>
                  </a:lnTo>
                  <a:lnTo>
                    <a:pt x="256" y="138"/>
                  </a:lnTo>
                  <a:lnTo>
                    <a:pt x="256" y="140"/>
                  </a:lnTo>
                  <a:lnTo>
                    <a:pt x="256" y="142"/>
                  </a:lnTo>
                  <a:lnTo>
                    <a:pt x="257" y="142"/>
                  </a:lnTo>
                  <a:lnTo>
                    <a:pt x="257" y="143"/>
                  </a:lnTo>
                  <a:lnTo>
                    <a:pt x="257" y="145"/>
                  </a:lnTo>
                  <a:lnTo>
                    <a:pt x="257" y="143"/>
                  </a:lnTo>
                  <a:lnTo>
                    <a:pt x="259" y="143"/>
                  </a:lnTo>
                  <a:lnTo>
                    <a:pt x="261" y="143"/>
                  </a:lnTo>
                  <a:lnTo>
                    <a:pt x="262" y="143"/>
                  </a:lnTo>
                  <a:lnTo>
                    <a:pt x="262" y="145"/>
                  </a:lnTo>
                  <a:lnTo>
                    <a:pt x="262" y="143"/>
                  </a:lnTo>
                  <a:lnTo>
                    <a:pt x="264" y="145"/>
                  </a:lnTo>
                  <a:lnTo>
                    <a:pt x="264" y="143"/>
                  </a:lnTo>
                  <a:lnTo>
                    <a:pt x="262" y="143"/>
                  </a:lnTo>
                  <a:lnTo>
                    <a:pt x="262" y="142"/>
                  </a:lnTo>
                  <a:lnTo>
                    <a:pt x="262" y="143"/>
                  </a:lnTo>
                  <a:lnTo>
                    <a:pt x="261" y="143"/>
                  </a:lnTo>
                  <a:lnTo>
                    <a:pt x="261" y="142"/>
                  </a:lnTo>
                  <a:lnTo>
                    <a:pt x="259" y="142"/>
                  </a:lnTo>
                  <a:lnTo>
                    <a:pt x="259" y="140"/>
                  </a:lnTo>
                  <a:lnTo>
                    <a:pt x="259" y="138"/>
                  </a:lnTo>
                  <a:lnTo>
                    <a:pt x="259" y="137"/>
                  </a:lnTo>
                  <a:lnTo>
                    <a:pt x="257" y="137"/>
                  </a:lnTo>
                  <a:lnTo>
                    <a:pt x="256" y="137"/>
                  </a:lnTo>
                  <a:lnTo>
                    <a:pt x="256" y="135"/>
                  </a:lnTo>
                  <a:lnTo>
                    <a:pt x="257" y="135"/>
                  </a:lnTo>
                  <a:lnTo>
                    <a:pt x="257" y="133"/>
                  </a:lnTo>
                  <a:lnTo>
                    <a:pt x="257" y="132"/>
                  </a:lnTo>
                  <a:lnTo>
                    <a:pt x="259" y="132"/>
                  </a:lnTo>
                  <a:lnTo>
                    <a:pt x="259" y="133"/>
                  </a:lnTo>
                  <a:lnTo>
                    <a:pt x="257" y="133"/>
                  </a:lnTo>
                  <a:lnTo>
                    <a:pt x="259" y="133"/>
                  </a:lnTo>
                  <a:lnTo>
                    <a:pt x="259" y="135"/>
                  </a:lnTo>
                  <a:lnTo>
                    <a:pt x="261" y="135"/>
                  </a:lnTo>
                  <a:lnTo>
                    <a:pt x="261" y="133"/>
                  </a:lnTo>
                  <a:lnTo>
                    <a:pt x="261" y="135"/>
                  </a:lnTo>
                  <a:lnTo>
                    <a:pt x="262" y="135"/>
                  </a:lnTo>
                  <a:lnTo>
                    <a:pt x="264" y="135"/>
                  </a:lnTo>
                  <a:lnTo>
                    <a:pt x="266" y="135"/>
                  </a:lnTo>
                  <a:lnTo>
                    <a:pt x="267" y="135"/>
                  </a:lnTo>
                  <a:lnTo>
                    <a:pt x="267" y="137"/>
                  </a:lnTo>
                  <a:lnTo>
                    <a:pt x="269" y="137"/>
                  </a:lnTo>
                  <a:lnTo>
                    <a:pt x="267" y="137"/>
                  </a:lnTo>
                  <a:lnTo>
                    <a:pt x="267" y="135"/>
                  </a:lnTo>
                  <a:lnTo>
                    <a:pt x="269" y="135"/>
                  </a:lnTo>
                  <a:lnTo>
                    <a:pt x="267" y="135"/>
                  </a:lnTo>
                  <a:lnTo>
                    <a:pt x="267" y="133"/>
                  </a:lnTo>
                  <a:lnTo>
                    <a:pt x="266" y="132"/>
                  </a:lnTo>
                  <a:lnTo>
                    <a:pt x="264" y="132"/>
                  </a:lnTo>
                  <a:lnTo>
                    <a:pt x="264" y="130"/>
                  </a:lnTo>
                  <a:lnTo>
                    <a:pt x="262" y="132"/>
                  </a:lnTo>
                  <a:lnTo>
                    <a:pt x="262" y="130"/>
                  </a:lnTo>
                  <a:lnTo>
                    <a:pt x="261" y="130"/>
                  </a:lnTo>
                  <a:lnTo>
                    <a:pt x="262" y="130"/>
                  </a:lnTo>
                  <a:lnTo>
                    <a:pt x="262" y="129"/>
                  </a:lnTo>
                  <a:lnTo>
                    <a:pt x="264" y="127"/>
                  </a:lnTo>
                  <a:lnTo>
                    <a:pt x="264" y="129"/>
                  </a:lnTo>
                  <a:lnTo>
                    <a:pt x="266" y="129"/>
                  </a:lnTo>
                  <a:lnTo>
                    <a:pt x="266" y="130"/>
                  </a:lnTo>
                  <a:lnTo>
                    <a:pt x="267" y="130"/>
                  </a:lnTo>
                  <a:lnTo>
                    <a:pt x="269" y="130"/>
                  </a:lnTo>
                  <a:lnTo>
                    <a:pt x="267" y="129"/>
                  </a:lnTo>
                  <a:lnTo>
                    <a:pt x="266" y="129"/>
                  </a:lnTo>
                  <a:lnTo>
                    <a:pt x="264" y="127"/>
                  </a:lnTo>
                  <a:lnTo>
                    <a:pt x="266" y="127"/>
                  </a:lnTo>
                  <a:lnTo>
                    <a:pt x="264" y="127"/>
                  </a:lnTo>
                  <a:lnTo>
                    <a:pt x="266" y="127"/>
                  </a:lnTo>
                  <a:lnTo>
                    <a:pt x="264" y="125"/>
                  </a:lnTo>
                  <a:lnTo>
                    <a:pt x="262" y="125"/>
                  </a:lnTo>
                  <a:lnTo>
                    <a:pt x="261" y="125"/>
                  </a:lnTo>
                  <a:lnTo>
                    <a:pt x="259" y="125"/>
                  </a:lnTo>
                  <a:lnTo>
                    <a:pt x="257" y="125"/>
                  </a:lnTo>
                  <a:lnTo>
                    <a:pt x="257" y="127"/>
                  </a:lnTo>
                  <a:lnTo>
                    <a:pt x="256" y="127"/>
                  </a:lnTo>
                  <a:lnTo>
                    <a:pt x="256" y="125"/>
                  </a:lnTo>
                  <a:lnTo>
                    <a:pt x="257" y="125"/>
                  </a:lnTo>
                  <a:lnTo>
                    <a:pt x="256" y="125"/>
                  </a:lnTo>
                  <a:lnTo>
                    <a:pt x="257" y="125"/>
                  </a:lnTo>
                  <a:lnTo>
                    <a:pt x="257" y="124"/>
                  </a:lnTo>
                  <a:lnTo>
                    <a:pt x="256" y="124"/>
                  </a:lnTo>
                  <a:lnTo>
                    <a:pt x="256" y="122"/>
                  </a:lnTo>
                  <a:lnTo>
                    <a:pt x="254" y="122"/>
                  </a:lnTo>
                  <a:lnTo>
                    <a:pt x="256" y="122"/>
                  </a:lnTo>
                  <a:lnTo>
                    <a:pt x="254" y="120"/>
                  </a:lnTo>
                  <a:lnTo>
                    <a:pt x="256" y="122"/>
                  </a:lnTo>
                  <a:lnTo>
                    <a:pt x="256" y="120"/>
                  </a:lnTo>
                  <a:lnTo>
                    <a:pt x="257" y="120"/>
                  </a:lnTo>
                  <a:lnTo>
                    <a:pt x="259" y="120"/>
                  </a:lnTo>
                  <a:lnTo>
                    <a:pt x="261" y="120"/>
                  </a:lnTo>
                  <a:lnTo>
                    <a:pt x="261" y="119"/>
                  </a:lnTo>
                  <a:lnTo>
                    <a:pt x="262" y="119"/>
                  </a:lnTo>
                  <a:lnTo>
                    <a:pt x="264" y="119"/>
                  </a:lnTo>
                  <a:lnTo>
                    <a:pt x="266" y="119"/>
                  </a:lnTo>
                  <a:lnTo>
                    <a:pt x="266" y="117"/>
                  </a:lnTo>
                  <a:lnTo>
                    <a:pt x="266" y="116"/>
                  </a:lnTo>
                  <a:lnTo>
                    <a:pt x="267" y="117"/>
                  </a:lnTo>
                  <a:lnTo>
                    <a:pt x="269" y="117"/>
                  </a:lnTo>
                  <a:lnTo>
                    <a:pt x="269" y="116"/>
                  </a:lnTo>
                  <a:lnTo>
                    <a:pt x="270" y="116"/>
                  </a:lnTo>
                  <a:lnTo>
                    <a:pt x="272" y="116"/>
                  </a:lnTo>
                  <a:lnTo>
                    <a:pt x="270" y="116"/>
                  </a:lnTo>
                  <a:lnTo>
                    <a:pt x="269" y="117"/>
                  </a:lnTo>
                  <a:lnTo>
                    <a:pt x="270" y="117"/>
                  </a:lnTo>
                  <a:lnTo>
                    <a:pt x="269" y="117"/>
                  </a:lnTo>
                  <a:lnTo>
                    <a:pt x="267" y="117"/>
                  </a:lnTo>
                  <a:lnTo>
                    <a:pt x="266" y="117"/>
                  </a:lnTo>
                  <a:lnTo>
                    <a:pt x="267" y="119"/>
                  </a:lnTo>
                  <a:lnTo>
                    <a:pt x="269" y="117"/>
                  </a:lnTo>
                  <a:lnTo>
                    <a:pt x="270" y="117"/>
                  </a:lnTo>
                  <a:lnTo>
                    <a:pt x="272" y="117"/>
                  </a:lnTo>
                  <a:lnTo>
                    <a:pt x="274" y="116"/>
                  </a:lnTo>
                  <a:lnTo>
                    <a:pt x="275" y="114"/>
                  </a:lnTo>
                  <a:lnTo>
                    <a:pt x="275" y="112"/>
                  </a:lnTo>
                  <a:lnTo>
                    <a:pt x="274" y="112"/>
                  </a:lnTo>
                  <a:lnTo>
                    <a:pt x="274" y="111"/>
                  </a:lnTo>
                  <a:lnTo>
                    <a:pt x="274" y="112"/>
                  </a:lnTo>
                  <a:lnTo>
                    <a:pt x="275" y="112"/>
                  </a:lnTo>
                  <a:lnTo>
                    <a:pt x="275" y="111"/>
                  </a:lnTo>
                  <a:lnTo>
                    <a:pt x="277" y="109"/>
                  </a:lnTo>
                  <a:lnTo>
                    <a:pt x="279" y="111"/>
                  </a:lnTo>
                  <a:lnTo>
                    <a:pt x="277" y="111"/>
                  </a:lnTo>
                  <a:lnTo>
                    <a:pt x="277" y="112"/>
                  </a:lnTo>
                  <a:lnTo>
                    <a:pt x="279" y="112"/>
                  </a:lnTo>
                  <a:lnTo>
                    <a:pt x="280" y="112"/>
                  </a:lnTo>
                  <a:lnTo>
                    <a:pt x="282" y="112"/>
                  </a:lnTo>
                  <a:lnTo>
                    <a:pt x="283" y="112"/>
                  </a:lnTo>
                  <a:lnTo>
                    <a:pt x="285" y="112"/>
                  </a:lnTo>
                  <a:lnTo>
                    <a:pt x="287" y="112"/>
                  </a:lnTo>
                  <a:lnTo>
                    <a:pt x="288" y="112"/>
                  </a:lnTo>
                  <a:lnTo>
                    <a:pt x="290" y="112"/>
                  </a:lnTo>
                  <a:lnTo>
                    <a:pt x="292" y="112"/>
                  </a:lnTo>
                  <a:lnTo>
                    <a:pt x="292" y="111"/>
                  </a:lnTo>
                  <a:lnTo>
                    <a:pt x="293" y="111"/>
                  </a:lnTo>
                  <a:lnTo>
                    <a:pt x="295" y="109"/>
                  </a:lnTo>
                  <a:lnTo>
                    <a:pt x="295" y="111"/>
                  </a:lnTo>
                  <a:lnTo>
                    <a:pt x="296" y="111"/>
                  </a:lnTo>
                  <a:lnTo>
                    <a:pt x="298" y="111"/>
                  </a:lnTo>
                  <a:lnTo>
                    <a:pt x="300" y="111"/>
                  </a:lnTo>
                  <a:lnTo>
                    <a:pt x="298" y="111"/>
                  </a:lnTo>
                  <a:lnTo>
                    <a:pt x="296" y="109"/>
                  </a:lnTo>
                  <a:lnTo>
                    <a:pt x="295" y="109"/>
                  </a:lnTo>
                  <a:lnTo>
                    <a:pt x="295" y="107"/>
                  </a:lnTo>
                  <a:lnTo>
                    <a:pt x="295" y="106"/>
                  </a:lnTo>
                  <a:lnTo>
                    <a:pt x="296" y="106"/>
                  </a:lnTo>
                  <a:lnTo>
                    <a:pt x="298" y="106"/>
                  </a:lnTo>
                  <a:lnTo>
                    <a:pt x="298" y="104"/>
                  </a:lnTo>
                  <a:lnTo>
                    <a:pt x="300" y="104"/>
                  </a:lnTo>
                  <a:lnTo>
                    <a:pt x="300" y="103"/>
                  </a:lnTo>
                  <a:lnTo>
                    <a:pt x="300" y="101"/>
                  </a:lnTo>
                  <a:lnTo>
                    <a:pt x="301" y="101"/>
                  </a:lnTo>
                  <a:lnTo>
                    <a:pt x="303" y="99"/>
                  </a:lnTo>
                  <a:lnTo>
                    <a:pt x="305" y="99"/>
                  </a:lnTo>
                  <a:lnTo>
                    <a:pt x="306" y="98"/>
                  </a:lnTo>
                  <a:lnTo>
                    <a:pt x="306" y="96"/>
                  </a:lnTo>
                  <a:lnTo>
                    <a:pt x="306" y="94"/>
                  </a:lnTo>
                  <a:lnTo>
                    <a:pt x="308" y="94"/>
                  </a:lnTo>
                  <a:lnTo>
                    <a:pt x="308" y="96"/>
                  </a:lnTo>
                  <a:lnTo>
                    <a:pt x="306" y="96"/>
                  </a:lnTo>
                  <a:lnTo>
                    <a:pt x="308" y="96"/>
                  </a:lnTo>
                  <a:lnTo>
                    <a:pt x="306" y="96"/>
                  </a:lnTo>
                  <a:lnTo>
                    <a:pt x="308" y="96"/>
                  </a:lnTo>
                  <a:lnTo>
                    <a:pt x="306" y="96"/>
                  </a:lnTo>
                  <a:lnTo>
                    <a:pt x="308" y="98"/>
                  </a:lnTo>
                  <a:lnTo>
                    <a:pt x="306" y="98"/>
                  </a:lnTo>
                  <a:lnTo>
                    <a:pt x="308" y="98"/>
                  </a:lnTo>
                  <a:lnTo>
                    <a:pt x="309" y="98"/>
                  </a:lnTo>
                  <a:lnTo>
                    <a:pt x="308" y="96"/>
                  </a:lnTo>
                  <a:lnTo>
                    <a:pt x="309" y="96"/>
                  </a:lnTo>
                  <a:lnTo>
                    <a:pt x="309" y="98"/>
                  </a:lnTo>
                  <a:lnTo>
                    <a:pt x="309" y="96"/>
                  </a:lnTo>
                  <a:lnTo>
                    <a:pt x="309" y="98"/>
                  </a:lnTo>
                  <a:lnTo>
                    <a:pt x="311" y="98"/>
                  </a:lnTo>
                  <a:lnTo>
                    <a:pt x="309" y="98"/>
                  </a:lnTo>
                  <a:lnTo>
                    <a:pt x="311" y="98"/>
                  </a:lnTo>
                  <a:lnTo>
                    <a:pt x="311" y="96"/>
                  </a:lnTo>
                  <a:lnTo>
                    <a:pt x="309" y="96"/>
                  </a:lnTo>
                  <a:lnTo>
                    <a:pt x="309" y="94"/>
                  </a:lnTo>
                  <a:lnTo>
                    <a:pt x="311" y="94"/>
                  </a:lnTo>
                  <a:lnTo>
                    <a:pt x="309" y="94"/>
                  </a:lnTo>
                  <a:lnTo>
                    <a:pt x="308" y="94"/>
                  </a:lnTo>
                  <a:lnTo>
                    <a:pt x="309" y="94"/>
                  </a:lnTo>
                  <a:lnTo>
                    <a:pt x="311" y="93"/>
                  </a:lnTo>
                  <a:lnTo>
                    <a:pt x="311" y="91"/>
                  </a:lnTo>
                  <a:lnTo>
                    <a:pt x="309" y="93"/>
                  </a:lnTo>
                  <a:lnTo>
                    <a:pt x="311" y="91"/>
                  </a:lnTo>
                  <a:lnTo>
                    <a:pt x="309" y="91"/>
                  </a:lnTo>
                  <a:lnTo>
                    <a:pt x="309" y="93"/>
                  </a:lnTo>
                  <a:lnTo>
                    <a:pt x="308" y="93"/>
                  </a:lnTo>
                  <a:lnTo>
                    <a:pt x="306" y="94"/>
                  </a:lnTo>
                  <a:lnTo>
                    <a:pt x="308" y="93"/>
                  </a:lnTo>
                  <a:lnTo>
                    <a:pt x="306" y="93"/>
                  </a:lnTo>
                  <a:lnTo>
                    <a:pt x="308" y="93"/>
                  </a:lnTo>
                  <a:lnTo>
                    <a:pt x="308" y="91"/>
                  </a:lnTo>
                  <a:lnTo>
                    <a:pt x="306" y="91"/>
                  </a:lnTo>
                  <a:lnTo>
                    <a:pt x="306" y="93"/>
                  </a:lnTo>
                  <a:lnTo>
                    <a:pt x="305" y="93"/>
                  </a:lnTo>
                  <a:lnTo>
                    <a:pt x="303" y="93"/>
                  </a:lnTo>
                  <a:lnTo>
                    <a:pt x="301" y="93"/>
                  </a:lnTo>
                  <a:lnTo>
                    <a:pt x="301" y="94"/>
                  </a:lnTo>
                  <a:lnTo>
                    <a:pt x="300" y="94"/>
                  </a:lnTo>
                  <a:lnTo>
                    <a:pt x="298" y="94"/>
                  </a:lnTo>
                  <a:lnTo>
                    <a:pt x="296" y="94"/>
                  </a:lnTo>
                  <a:lnTo>
                    <a:pt x="295" y="94"/>
                  </a:lnTo>
                  <a:lnTo>
                    <a:pt x="296" y="93"/>
                  </a:lnTo>
                  <a:lnTo>
                    <a:pt x="296" y="91"/>
                  </a:lnTo>
                  <a:lnTo>
                    <a:pt x="298" y="91"/>
                  </a:lnTo>
                  <a:lnTo>
                    <a:pt x="298" y="90"/>
                  </a:lnTo>
                  <a:lnTo>
                    <a:pt x="296" y="90"/>
                  </a:lnTo>
                  <a:lnTo>
                    <a:pt x="295" y="90"/>
                  </a:lnTo>
                  <a:lnTo>
                    <a:pt x="293" y="90"/>
                  </a:lnTo>
                  <a:lnTo>
                    <a:pt x="292" y="91"/>
                  </a:lnTo>
                  <a:lnTo>
                    <a:pt x="292" y="93"/>
                  </a:lnTo>
                  <a:lnTo>
                    <a:pt x="290" y="93"/>
                  </a:lnTo>
                  <a:lnTo>
                    <a:pt x="288" y="93"/>
                  </a:lnTo>
                  <a:lnTo>
                    <a:pt x="287" y="94"/>
                  </a:lnTo>
                  <a:lnTo>
                    <a:pt x="283" y="94"/>
                  </a:lnTo>
                  <a:lnTo>
                    <a:pt x="282" y="94"/>
                  </a:lnTo>
                  <a:lnTo>
                    <a:pt x="283" y="96"/>
                  </a:lnTo>
                  <a:lnTo>
                    <a:pt x="282" y="96"/>
                  </a:lnTo>
                  <a:lnTo>
                    <a:pt x="280" y="96"/>
                  </a:lnTo>
                  <a:lnTo>
                    <a:pt x="282" y="96"/>
                  </a:lnTo>
                  <a:lnTo>
                    <a:pt x="282" y="94"/>
                  </a:lnTo>
                  <a:lnTo>
                    <a:pt x="282" y="93"/>
                  </a:lnTo>
                  <a:lnTo>
                    <a:pt x="283" y="94"/>
                  </a:lnTo>
                  <a:lnTo>
                    <a:pt x="285" y="94"/>
                  </a:lnTo>
                  <a:lnTo>
                    <a:pt x="287" y="93"/>
                  </a:lnTo>
                  <a:lnTo>
                    <a:pt x="288" y="93"/>
                  </a:lnTo>
                  <a:lnTo>
                    <a:pt x="288" y="91"/>
                  </a:lnTo>
                  <a:lnTo>
                    <a:pt x="288" y="90"/>
                  </a:lnTo>
                  <a:lnTo>
                    <a:pt x="288" y="88"/>
                  </a:lnTo>
                  <a:lnTo>
                    <a:pt x="288" y="90"/>
                  </a:lnTo>
                  <a:lnTo>
                    <a:pt x="288" y="88"/>
                  </a:lnTo>
                  <a:lnTo>
                    <a:pt x="287" y="90"/>
                  </a:lnTo>
                  <a:lnTo>
                    <a:pt x="285" y="91"/>
                  </a:lnTo>
                  <a:lnTo>
                    <a:pt x="285" y="90"/>
                  </a:lnTo>
                  <a:lnTo>
                    <a:pt x="285" y="91"/>
                  </a:lnTo>
                  <a:lnTo>
                    <a:pt x="283" y="91"/>
                  </a:lnTo>
                  <a:lnTo>
                    <a:pt x="283" y="90"/>
                  </a:lnTo>
                  <a:lnTo>
                    <a:pt x="285" y="90"/>
                  </a:lnTo>
                  <a:lnTo>
                    <a:pt x="285" y="88"/>
                  </a:lnTo>
                  <a:lnTo>
                    <a:pt x="287" y="86"/>
                  </a:lnTo>
                  <a:lnTo>
                    <a:pt x="285" y="86"/>
                  </a:lnTo>
                  <a:lnTo>
                    <a:pt x="285" y="88"/>
                  </a:lnTo>
                  <a:lnTo>
                    <a:pt x="283" y="90"/>
                  </a:lnTo>
                  <a:lnTo>
                    <a:pt x="282" y="90"/>
                  </a:lnTo>
                  <a:lnTo>
                    <a:pt x="282" y="91"/>
                  </a:lnTo>
                  <a:lnTo>
                    <a:pt x="280" y="91"/>
                  </a:lnTo>
                  <a:lnTo>
                    <a:pt x="280" y="90"/>
                  </a:lnTo>
                  <a:lnTo>
                    <a:pt x="280" y="88"/>
                  </a:lnTo>
                  <a:lnTo>
                    <a:pt x="282" y="88"/>
                  </a:lnTo>
                  <a:lnTo>
                    <a:pt x="280" y="88"/>
                  </a:lnTo>
                  <a:lnTo>
                    <a:pt x="282" y="88"/>
                  </a:lnTo>
                  <a:lnTo>
                    <a:pt x="282" y="86"/>
                  </a:lnTo>
                  <a:lnTo>
                    <a:pt x="280" y="86"/>
                  </a:lnTo>
                  <a:lnTo>
                    <a:pt x="279" y="86"/>
                  </a:lnTo>
                  <a:lnTo>
                    <a:pt x="279" y="88"/>
                  </a:lnTo>
                  <a:lnTo>
                    <a:pt x="277" y="88"/>
                  </a:lnTo>
                  <a:lnTo>
                    <a:pt x="275" y="88"/>
                  </a:lnTo>
                  <a:lnTo>
                    <a:pt x="274" y="88"/>
                  </a:lnTo>
                  <a:lnTo>
                    <a:pt x="272" y="88"/>
                  </a:lnTo>
                  <a:lnTo>
                    <a:pt x="272" y="86"/>
                  </a:lnTo>
                  <a:lnTo>
                    <a:pt x="269" y="86"/>
                  </a:lnTo>
                  <a:lnTo>
                    <a:pt x="270" y="86"/>
                  </a:lnTo>
                  <a:lnTo>
                    <a:pt x="270" y="85"/>
                  </a:lnTo>
                  <a:lnTo>
                    <a:pt x="270" y="86"/>
                  </a:lnTo>
                  <a:lnTo>
                    <a:pt x="269" y="85"/>
                  </a:lnTo>
                  <a:lnTo>
                    <a:pt x="269" y="83"/>
                  </a:lnTo>
                  <a:lnTo>
                    <a:pt x="269" y="81"/>
                  </a:lnTo>
                  <a:lnTo>
                    <a:pt x="269" y="83"/>
                  </a:lnTo>
                  <a:lnTo>
                    <a:pt x="269" y="85"/>
                  </a:lnTo>
                  <a:lnTo>
                    <a:pt x="267" y="85"/>
                  </a:lnTo>
                  <a:lnTo>
                    <a:pt x="266" y="85"/>
                  </a:lnTo>
                  <a:lnTo>
                    <a:pt x="264" y="85"/>
                  </a:lnTo>
                  <a:lnTo>
                    <a:pt x="266" y="85"/>
                  </a:lnTo>
                  <a:lnTo>
                    <a:pt x="264" y="83"/>
                  </a:lnTo>
                  <a:lnTo>
                    <a:pt x="266" y="83"/>
                  </a:lnTo>
                  <a:lnTo>
                    <a:pt x="264" y="81"/>
                  </a:lnTo>
                  <a:lnTo>
                    <a:pt x="264" y="80"/>
                  </a:lnTo>
                  <a:lnTo>
                    <a:pt x="262" y="80"/>
                  </a:lnTo>
                  <a:lnTo>
                    <a:pt x="261" y="78"/>
                  </a:lnTo>
                  <a:lnTo>
                    <a:pt x="259" y="78"/>
                  </a:lnTo>
                  <a:lnTo>
                    <a:pt x="259" y="77"/>
                  </a:lnTo>
                  <a:lnTo>
                    <a:pt x="257" y="77"/>
                  </a:lnTo>
                  <a:lnTo>
                    <a:pt x="257" y="75"/>
                  </a:lnTo>
                  <a:lnTo>
                    <a:pt x="259" y="75"/>
                  </a:lnTo>
                  <a:lnTo>
                    <a:pt x="259" y="73"/>
                  </a:lnTo>
                  <a:lnTo>
                    <a:pt x="257" y="72"/>
                  </a:lnTo>
                  <a:lnTo>
                    <a:pt x="257" y="70"/>
                  </a:lnTo>
                  <a:lnTo>
                    <a:pt x="259" y="70"/>
                  </a:lnTo>
                  <a:lnTo>
                    <a:pt x="261" y="70"/>
                  </a:lnTo>
                  <a:lnTo>
                    <a:pt x="262" y="70"/>
                  </a:lnTo>
                  <a:lnTo>
                    <a:pt x="261" y="70"/>
                  </a:lnTo>
                  <a:lnTo>
                    <a:pt x="262" y="70"/>
                  </a:lnTo>
                  <a:lnTo>
                    <a:pt x="264" y="70"/>
                  </a:lnTo>
                  <a:lnTo>
                    <a:pt x="262" y="70"/>
                  </a:lnTo>
                  <a:lnTo>
                    <a:pt x="262" y="68"/>
                  </a:lnTo>
                  <a:lnTo>
                    <a:pt x="264" y="68"/>
                  </a:lnTo>
                  <a:lnTo>
                    <a:pt x="262" y="68"/>
                  </a:lnTo>
                  <a:lnTo>
                    <a:pt x="264" y="68"/>
                  </a:lnTo>
                  <a:lnTo>
                    <a:pt x="264" y="67"/>
                  </a:lnTo>
                  <a:lnTo>
                    <a:pt x="266" y="67"/>
                  </a:lnTo>
                  <a:lnTo>
                    <a:pt x="267" y="67"/>
                  </a:lnTo>
                  <a:lnTo>
                    <a:pt x="267" y="65"/>
                  </a:lnTo>
                  <a:lnTo>
                    <a:pt x="269" y="65"/>
                  </a:lnTo>
                  <a:lnTo>
                    <a:pt x="269" y="64"/>
                  </a:lnTo>
                  <a:lnTo>
                    <a:pt x="270" y="64"/>
                  </a:lnTo>
                  <a:lnTo>
                    <a:pt x="270" y="65"/>
                  </a:lnTo>
                  <a:lnTo>
                    <a:pt x="270" y="64"/>
                  </a:lnTo>
                  <a:lnTo>
                    <a:pt x="272" y="64"/>
                  </a:lnTo>
                  <a:lnTo>
                    <a:pt x="274" y="64"/>
                  </a:lnTo>
                  <a:lnTo>
                    <a:pt x="275" y="64"/>
                  </a:lnTo>
                  <a:lnTo>
                    <a:pt x="277" y="64"/>
                  </a:lnTo>
                  <a:lnTo>
                    <a:pt x="279" y="64"/>
                  </a:lnTo>
                  <a:lnTo>
                    <a:pt x="280" y="67"/>
                  </a:lnTo>
                  <a:lnTo>
                    <a:pt x="282" y="67"/>
                  </a:lnTo>
                  <a:lnTo>
                    <a:pt x="283" y="67"/>
                  </a:lnTo>
                  <a:lnTo>
                    <a:pt x="283" y="68"/>
                  </a:lnTo>
                  <a:lnTo>
                    <a:pt x="285" y="68"/>
                  </a:lnTo>
                  <a:lnTo>
                    <a:pt x="287" y="70"/>
                  </a:lnTo>
                  <a:lnTo>
                    <a:pt x="290" y="70"/>
                  </a:lnTo>
                  <a:lnTo>
                    <a:pt x="288" y="70"/>
                  </a:lnTo>
                  <a:lnTo>
                    <a:pt x="287" y="70"/>
                  </a:lnTo>
                  <a:lnTo>
                    <a:pt x="287" y="68"/>
                  </a:lnTo>
                  <a:lnTo>
                    <a:pt x="287" y="67"/>
                  </a:lnTo>
                  <a:lnTo>
                    <a:pt x="285" y="67"/>
                  </a:lnTo>
                  <a:lnTo>
                    <a:pt x="283" y="67"/>
                  </a:lnTo>
                  <a:lnTo>
                    <a:pt x="282" y="65"/>
                  </a:lnTo>
                  <a:lnTo>
                    <a:pt x="282" y="64"/>
                  </a:lnTo>
                  <a:lnTo>
                    <a:pt x="283" y="64"/>
                  </a:lnTo>
                  <a:lnTo>
                    <a:pt x="283" y="65"/>
                  </a:lnTo>
                  <a:lnTo>
                    <a:pt x="285" y="65"/>
                  </a:lnTo>
                  <a:lnTo>
                    <a:pt x="287" y="65"/>
                  </a:lnTo>
                  <a:lnTo>
                    <a:pt x="288" y="65"/>
                  </a:lnTo>
                  <a:lnTo>
                    <a:pt x="288" y="67"/>
                  </a:lnTo>
                  <a:lnTo>
                    <a:pt x="288" y="68"/>
                  </a:lnTo>
                  <a:lnTo>
                    <a:pt x="290" y="68"/>
                  </a:lnTo>
                  <a:lnTo>
                    <a:pt x="290" y="70"/>
                  </a:lnTo>
                  <a:lnTo>
                    <a:pt x="292" y="70"/>
                  </a:lnTo>
                  <a:lnTo>
                    <a:pt x="292" y="68"/>
                  </a:lnTo>
                  <a:lnTo>
                    <a:pt x="290" y="68"/>
                  </a:lnTo>
                  <a:lnTo>
                    <a:pt x="290" y="67"/>
                  </a:lnTo>
                  <a:lnTo>
                    <a:pt x="290" y="65"/>
                  </a:lnTo>
                  <a:lnTo>
                    <a:pt x="288" y="65"/>
                  </a:lnTo>
                  <a:lnTo>
                    <a:pt x="290" y="65"/>
                  </a:lnTo>
                  <a:lnTo>
                    <a:pt x="288" y="65"/>
                  </a:lnTo>
                  <a:lnTo>
                    <a:pt x="288" y="64"/>
                  </a:lnTo>
                  <a:lnTo>
                    <a:pt x="287" y="64"/>
                  </a:lnTo>
                  <a:lnTo>
                    <a:pt x="285" y="64"/>
                  </a:lnTo>
                  <a:lnTo>
                    <a:pt x="287" y="64"/>
                  </a:lnTo>
                  <a:lnTo>
                    <a:pt x="287" y="62"/>
                  </a:lnTo>
                  <a:lnTo>
                    <a:pt x="285" y="62"/>
                  </a:lnTo>
                  <a:lnTo>
                    <a:pt x="283" y="60"/>
                  </a:lnTo>
                  <a:lnTo>
                    <a:pt x="285" y="60"/>
                  </a:lnTo>
                  <a:lnTo>
                    <a:pt x="283" y="60"/>
                  </a:lnTo>
                  <a:lnTo>
                    <a:pt x="283" y="59"/>
                  </a:lnTo>
                  <a:lnTo>
                    <a:pt x="282" y="59"/>
                  </a:lnTo>
                  <a:lnTo>
                    <a:pt x="282" y="57"/>
                  </a:lnTo>
                  <a:lnTo>
                    <a:pt x="283" y="57"/>
                  </a:lnTo>
                  <a:lnTo>
                    <a:pt x="285" y="57"/>
                  </a:lnTo>
                  <a:lnTo>
                    <a:pt x="285" y="59"/>
                  </a:lnTo>
                  <a:lnTo>
                    <a:pt x="287" y="59"/>
                  </a:lnTo>
                  <a:lnTo>
                    <a:pt x="287" y="57"/>
                  </a:lnTo>
                  <a:lnTo>
                    <a:pt x="288" y="57"/>
                  </a:lnTo>
                  <a:lnTo>
                    <a:pt x="290" y="57"/>
                  </a:lnTo>
                  <a:lnTo>
                    <a:pt x="290" y="59"/>
                  </a:lnTo>
                  <a:lnTo>
                    <a:pt x="292" y="59"/>
                  </a:lnTo>
                  <a:lnTo>
                    <a:pt x="293" y="59"/>
                  </a:lnTo>
                  <a:lnTo>
                    <a:pt x="293" y="57"/>
                  </a:lnTo>
                  <a:lnTo>
                    <a:pt x="295" y="57"/>
                  </a:lnTo>
                  <a:lnTo>
                    <a:pt x="295" y="59"/>
                  </a:lnTo>
                  <a:lnTo>
                    <a:pt x="296" y="59"/>
                  </a:lnTo>
                  <a:lnTo>
                    <a:pt x="296" y="60"/>
                  </a:lnTo>
                  <a:lnTo>
                    <a:pt x="298" y="60"/>
                  </a:lnTo>
                  <a:lnTo>
                    <a:pt x="298" y="62"/>
                  </a:lnTo>
                  <a:lnTo>
                    <a:pt x="298" y="60"/>
                  </a:lnTo>
                  <a:lnTo>
                    <a:pt x="300" y="62"/>
                  </a:lnTo>
                  <a:lnTo>
                    <a:pt x="301" y="62"/>
                  </a:lnTo>
                  <a:lnTo>
                    <a:pt x="300" y="62"/>
                  </a:lnTo>
                  <a:lnTo>
                    <a:pt x="301" y="62"/>
                  </a:lnTo>
                  <a:lnTo>
                    <a:pt x="303" y="60"/>
                  </a:lnTo>
                  <a:lnTo>
                    <a:pt x="305" y="60"/>
                  </a:lnTo>
                  <a:lnTo>
                    <a:pt x="306" y="60"/>
                  </a:lnTo>
                  <a:lnTo>
                    <a:pt x="308" y="59"/>
                  </a:lnTo>
                  <a:lnTo>
                    <a:pt x="309" y="57"/>
                  </a:lnTo>
                  <a:lnTo>
                    <a:pt x="308" y="59"/>
                  </a:lnTo>
                  <a:lnTo>
                    <a:pt x="306" y="59"/>
                  </a:lnTo>
                  <a:lnTo>
                    <a:pt x="303" y="60"/>
                  </a:lnTo>
                  <a:lnTo>
                    <a:pt x="301" y="60"/>
                  </a:lnTo>
                  <a:lnTo>
                    <a:pt x="300" y="60"/>
                  </a:lnTo>
                  <a:lnTo>
                    <a:pt x="300" y="59"/>
                  </a:lnTo>
                  <a:lnTo>
                    <a:pt x="298" y="59"/>
                  </a:lnTo>
                  <a:lnTo>
                    <a:pt x="296" y="59"/>
                  </a:lnTo>
                  <a:lnTo>
                    <a:pt x="298" y="57"/>
                  </a:lnTo>
                  <a:lnTo>
                    <a:pt x="298" y="55"/>
                  </a:lnTo>
                  <a:lnTo>
                    <a:pt x="298" y="54"/>
                  </a:lnTo>
                  <a:lnTo>
                    <a:pt x="300" y="55"/>
                  </a:lnTo>
                  <a:lnTo>
                    <a:pt x="301" y="55"/>
                  </a:lnTo>
                  <a:lnTo>
                    <a:pt x="303" y="57"/>
                  </a:lnTo>
                  <a:lnTo>
                    <a:pt x="303" y="55"/>
                  </a:lnTo>
                  <a:lnTo>
                    <a:pt x="305" y="55"/>
                  </a:lnTo>
                  <a:lnTo>
                    <a:pt x="303" y="55"/>
                  </a:lnTo>
                  <a:lnTo>
                    <a:pt x="301" y="54"/>
                  </a:lnTo>
                  <a:lnTo>
                    <a:pt x="303" y="54"/>
                  </a:lnTo>
                  <a:lnTo>
                    <a:pt x="303" y="52"/>
                  </a:lnTo>
                  <a:lnTo>
                    <a:pt x="301" y="52"/>
                  </a:lnTo>
                  <a:lnTo>
                    <a:pt x="300" y="52"/>
                  </a:lnTo>
                  <a:lnTo>
                    <a:pt x="300" y="51"/>
                  </a:lnTo>
                  <a:lnTo>
                    <a:pt x="300" y="52"/>
                  </a:lnTo>
                  <a:lnTo>
                    <a:pt x="300" y="54"/>
                  </a:lnTo>
                  <a:lnTo>
                    <a:pt x="298" y="54"/>
                  </a:lnTo>
                  <a:lnTo>
                    <a:pt x="298" y="52"/>
                  </a:lnTo>
                  <a:lnTo>
                    <a:pt x="296" y="52"/>
                  </a:lnTo>
                  <a:lnTo>
                    <a:pt x="296" y="51"/>
                  </a:lnTo>
                  <a:lnTo>
                    <a:pt x="295" y="51"/>
                  </a:lnTo>
                  <a:lnTo>
                    <a:pt x="295" y="49"/>
                  </a:lnTo>
                  <a:lnTo>
                    <a:pt x="293" y="49"/>
                  </a:lnTo>
                  <a:lnTo>
                    <a:pt x="293" y="47"/>
                  </a:lnTo>
                  <a:lnTo>
                    <a:pt x="295" y="47"/>
                  </a:lnTo>
                  <a:lnTo>
                    <a:pt x="295" y="46"/>
                  </a:lnTo>
                  <a:lnTo>
                    <a:pt x="295" y="44"/>
                  </a:lnTo>
                  <a:lnTo>
                    <a:pt x="296" y="44"/>
                  </a:lnTo>
                  <a:lnTo>
                    <a:pt x="296" y="46"/>
                  </a:lnTo>
                  <a:lnTo>
                    <a:pt x="295" y="46"/>
                  </a:lnTo>
                  <a:lnTo>
                    <a:pt x="296" y="46"/>
                  </a:lnTo>
                  <a:lnTo>
                    <a:pt x="298" y="46"/>
                  </a:lnTo>
                  <a:lnTo>
                    <a:pt x="300" y="46"/>
                  </a:lnTo>
                  <a:lnTo>
                    <a:pt x="301" y="46"/>
                  </a:lnTo>
                  <a:lnTo>
                    <a:pt x="303" y="46"/>
                  </a:lnTo>
                  <a:lnTo>
                    <a:pt x="301" y="44"/>
                  </a:lnTo>
                  <a:lnTo>
                    <a:pt x="300" y="42"/>
                  </a:lnTo>
                  <a:lnTo>
                    <a:pt x="298" y="42"/>
                  </a:lnTo>
                  <a:lnTo>
                    <a:pt x="298" y="41"/>
                  </a:lnTo>
                  <a:lnTo>
                    <a:pt x="298" y="39"/>
                  </a:lnTo>
                  <a:lnTo>
                    <a:pt x="296" y="39"/>
                  </a:lnTo>
                  <a:lnTo>
                    <a:pt x="298" y="39"/>
                  </a:lnTo>
                  <a:lnTo>
                    <a:pt x="296" y="37"/>
                  </a:lnTo>
                  <a:lnTo>
                    <a:pt x="298" y="37"/>
                  </a:lnTo>
                  <a:lnTo>
                    <a:pt x="296" y="37"/>
                  </a:lnTo>
                  <a:lnTo>
                    <a:pt x="296" y="36"/>
                  </a:lnTo>
                  <a:lnTo>
                    <a:pt x="296" y="37"/>
                  </a:lnTo>
                  <a:lnTo>
                    <a:pt x="296" y="36"/>
                  </a:lnTo>
                  <a:lnTo>
                    <a:pt x="298" y="36"/>
                  </a:lnTo>
                  <a:lnTo>
                    <a:pt x="296" y="36"/>
                  </a:lnTo>
                  <a:lnTo>
                    <a:pt x="298" y="36"/>
                  </a:lnTo>
                  <a:lnTo>
                    <a:pt x="296" y="34"/>
                  </a:lnTo>
                  <a:lnTo>
                    <a:pt x="298" y="34"/>
                  </a:lnTo>
                  <a:lnTo>
                    <a:pt x="298" y="36"/>
                  </a:lnTo>
                  <a:lnTo>
                    <a:pt x="300" y="36"/>
                  </a:lnTo>
                  <a:lnTo>
                    <a:pt x="301" y="36"/>
                  </a:lnTo>
                  <a:lnTo>
                    <a:pt x="300" y="36"/>
                  </a:lnTo>
                  <a:lnTo>
                    <a:pt x="301" y="36"/>
                  </a:lnTo>
                  <a:lnTo>
                    <a:pt x="301" y="37"/>
                  </a:lnTo>
                  <a:lnTo>
                    <a:pt x="301" y="36"/>
                  </a:lnTo>
                  <a:lnTo>
                    <a:pt x="300" y="34"/>
                  </a:lnTo>
                  <a:lnTo>
                    <a:pt x="300" y="33"/>
                  </a:lnTo>
                  <a:lnTo>
                    <a:pt x="301" y="33"/>
                  </a:lnTo>
                  <a:lnTo>
                    <a:pt x="301" y="31"/>
                  </a:lnTo>
                  <a:lnTo>
                    <a:pt x="301" y="29"/>
                  </a:lnTo>
                  <a:lnTo>
                    <a:pt x="301" y="31"/>
                  </a:lnTo>
                  <a:lnTo>
                    <a:pt x="301" y="33"/>
                  </a:lnTo>
                  <a:lnTo>
                    <a:pt x="301" y="34"/>
                  </a:lnTo>
                  <a:lnTo>
                    <a:pt x="301" y="36"/>
                  </a:lnTo>
                  <a:lnTo>
                    <a:pt x="301" y="34"/>
                  </a:lnTo>
                  <a:lnTo>
                    <a:pt x="303" y="34"/>
                  </a:lnTo>
                  <a:lnTo>
                    <a:pt x="301" y="33"/>
                  </a:lnTo>
                  <a:lnTo>
                    <a:pt x="303" y="33"/>
                  </a:lnTo>
                  <a:lnTo>
                    <a:pt x="301" y="33"/>
                  </a:lnTo>
                  <a:lnTo>
                    <a:pt x="303" y="33"/>
                  </a:lnTo>
                  <a:lnTo>
                    <a:pt x="303" y="31"/>
                  </a:lnTo>
                  <a:lnTo>
                    <a:pt x="305" y="33"/>
                  </a:lnTo>
                  <a:lnTo>
                    <a:pt x="306" y="33"/>
                  </a:lnTo>
                  <a:lnTo>
                    <a:pt x="308" y="33"/>
                  </a:lnTo>
                  <a:lnTo>
                    <a:pt x="308" y="31"/>
                  </a:lnTo>
                  <a:lnTo>
                    <a:pt x="308" y="29"/>
                  </a:lnTo>
                  <a:lnTo>
                    <a:pt x="309" y="29"/>
                  </a:lnTo>
                  <a:lnTo>
                    <a:pt x="309" y="31"/>
                  </a:lnTo>
                  <a:lnTo>
                    <a:pt x="309" y="33"/>
                  </a:lnTo>
                  <a:lnTo>
                    <a:pt x="308" y="33"/>
                  </a:lnTo>
                  <a:lnTo>
                    <a:pt x="308" y="34"/>
                  </a:lnTo>
                  <a:lnTo>
                    <a:pt x="308" y="36"/>
                  </a:lnTo>
                  <a:lnTo>
                    <a:pt x="309" y="36"/>
                  </a:lnTo>
                  <a:lnTo>
                    <a:pt x="308" y="36"/>
                  </a:lnTo>
                  <a:lnTo>
                    <a:pt x="309" y="34"/>
                  </a:lnTo>
                  <a:lnTo>
                    <a:pt x="308" y="34"/>
                  </a:lnTo>
                  <a:lnTo>
                    <a:pt x="309" y="34"/>
                  </a:lnTo>
                  <a:lnTo>
                    <a:pt x="309" y="33"/>
                  </a:lnTo>
                  <a:lnTo>
                    <a:pt x="309" y="34"/>
                  </a:lnTo>
                  <a:lnTo>
                    <a:pt x="309" y="33"/>
                  </a:lnTo>
                  <a:lnTo>
                    <a:pt x="311" y="33"/>
                  </a:lnTo>
                  <a:lnTo>
                    <a:pt x="311" y="34"/>
                  </a:lnTo>
                  <a:lnTo>
                    <a:pt x="311" y="33"/>
                  </a:lnTo>
                  <a:lnTo>
                    <a:pt x="309" y="33"/>
                  </a:lnTo>
                  <a:lnTo>
                    <a:pt x="309" y="31"/>
                  </a:lnTo>
                  <a:lnTo>
                    <a:pt x="311" y="31"/>
                  </a:lnTo>
                  <a:lnTo>
                    <a:pt x="311" y="29"/>
                  </a:lnTo>
                  <a:lnTo>
                    <a:pt x="311" y="28"/>
                  </a:lnTo>
                  <a:lnTo>
                    <a:pt x="309" y="28"/>
                  </a:lnTo>
                  <a:lnTo>
                    <a:pt x="311" y="28"/>
                  </a:lnTo>
                  <a:lnTo>
                    <a:pt x="311" y="26"/>
                  </a:lnTo>
                  <a:lnTo>
                    <a:pt x="311" y="24"/>
                  </a:lnTo>
                  <a:lnTo>
                    <a:pt x="313" y="24"/>
                  </a:lnTo>
                  <a:lnTo>
                    <a:pt x="313" y="23"/>
                  </a:lnTo>
                  <a:lnTo>
                    <a:pt x="314" y="21"/>
                  </a:lnTo>
                  <a:lnTo>
                    <a:pt x="314" y="23"/>
                  </a:lnTo>
                  <a:lnTo>
                    <a:pt x="314" y="21"/>
                  </a:lnTo>
                  <a:lnTo>
                    <a:pt x="314" y="20"/>
                  </a:lnTo>
                  <a:lnTo>
                    <a:pt x="316" y="20"/>
                  </a:lnTo>
                  <a:lnTo>
                    <a:pt x="314" y="18"/>
                  </a:lnTo>
                  <a:lnTo>
                    <a:pt x="316" y="18"/>
                  </a:lnTo>
                  <a:lnTo>
                    <a:pt x="318" y="18"/>
                  </a:lnTo>
                  <a:lnTo>
                    <a:pt x="318" y="20"/>
                  </a:lnTo>
                  <a:lnTo>
                    <a:pt x="319" y="20"/>
                  </a:lnTo>
                  <a:lnTo>
                    <a:pt x="321" y="20"/>
                  </a:lnTo>
                  <a:lnTo>
                    <a:pt x="321" y="21"/>
                  </a:lnTo>
                  <a:lnTo>
                    <a:pt x="322" y="21"/>
                  </a:lnTo>
                  <a:lnTo>
                    <a:pt x="324" y="21"/>
                  </a:lnTo>
                  <a:lnTo>
                    <a:pt x="326" y="21"/>
                  </a:lnTo>
                  <a:lnTo>
                    <a:pt x="327" y="20"/>
                  </a:lnTo>
                  <a:lnTo>
                    <a:pt x="329" y="20"/>
                  </a:lnTo>
                  <a:lnTo>
                    <a:pt x="329" y="21"/>
                  </a:lnTo>
                  <a:lnTo>
                    <a:pt x="327" y="21"/>
                  </a:lnTo>
                  <a:lnTo>
                    <a:pt x="329" y="21"/>
                  </a:lnTo>
                  <a:lnTo>
                    <a:pt x="327" y="21"/>
                  </a:lnTo>
                  <a:lnTo>
                    <a:pt x="327" y="23"/>
                  </a:lnTo>
                  <a:lnTo>
                    <a:pt x="326" y="23"/>
                  </a:lnTo>
                  <a:lnTo>
                    <a:pt x="324" y="23"/>
                  </a:lnTo>
                  <a:lnTo>
                    <a:pt x="326" y="23"/>
                  </a:lnTo>
                  <a:lnTo>
                    <a:pt x="326" y="24"/>
                  </a:lnTo>
                  <a:lnTo>
                    <a:pt x="324" y="24"/>
                  </a:lnTo>
                  <a:lnTo>
                    <a:pt x="326" y="24"/>
                  </a:lnTo>
                  <a:lnTo>
                    <a:pt x="327" y="24"/>
                  </a:lnTo>
                  <a:lnTo>
                    <a:pt x="327" y="26"/>
                  </a:lnTo>
                  <a:lnTo>
                    <a:pt x="327" y="24"/>
                  </a:lnTo>
                  <a:lnTo>
                    <a:pt x="327" y="23"/>
                  </a:lnTo>
                  <a:lnTo>
                    <a:pt x="329" y="23"/>
                  </a:lnTo>
                  <a:lnTo>
                    <a:pt x="329" y="24"/>
                  </a:lnTo>
                  <a:lnTo>
                    <a:pt x="329" y="23"/>
                  </a:lnTo>
                  <a:lnTo>
                    <a:pt x="329" y="21"/>
                  </a:lnTo>
                  <a:lnTo>
                    <a:pt x="331" y="21"/>
                  </a:lnTo>
                  <a:lnTo>
                    <a:pt x="332" y="21"/>
                  </a:lnTo>
                  <a:lnTo>
                    <a:pt x="334" y="21"/>
                  </a:lnTo>
                  <a:lnTo>
                    <a:pt x="335" y="20"/>
                  </a:lnTo>
                  <a:lnTo>
                    <a:pt x="335" y="21"/>
                  </a:lnTo>
                  <a:lnTo>
                    <a:pt x="337" y="21"/>
                  </a:lnTo>
                  <a:lnTo>
                    <a:pt x="339" y="21"/>
                  </a:lnTo>
                  <a:lnTo>
                    <a:pt x="339" y="20"/>
                  </a:lnTo>
                  <a:lnTo>
                    <a:pt x="339" y="18"/>
                  </a:lnTo>
                  <a:lnTo>
                    <a:pt x="339" y="16"/>
                  </a:lnTo>
                  <a:lnTo>
                    <a:pt x="340" y="15"/>
                  </a:lnTo>
                  <a:lnTo>
                    <a:pt x="342" y="15"/>
                  </a:lnTo>
                  <a:lnTo>
                    <a:pt x="344" y="15"/>
                  </a:lnTo>
                  <a:lnTo>
                    <a:pt x="344" y="16"/>
                  </a:lnTo>
                  <a:lnTo>
                    <a:pt x="345" y="16"/>
                  </a:lnTo>
                  <a:lnTo>
                    <a:pt x="345" y="18"/>
                  </a:lnTo>
                  <a:lnTo>
                    <a:pt x="345" y="20"/>
                  </a:lnTo>
                  <a:lnTo>
                    <a:pt x="344" y="20"/>
                  </a:lnTo>
                  <a:lnTo>
                    <a:pt x="342" y="20"/>
                  </a:lnTo>
                  <a:lnTo>
                    <a:pt x="342" y="21"/>
                  </a:lnTo>
                  <a:lnTo>
                    <a:pt x="344" y="21"/>
                  </a:lnTo>
                  <a:lnTo>
                    <a:pt x="344" y="20"/>
                  </a:lnTo>
                  <a:lnTo>
                    <a:pt x="344" y="21"/>
                  </a:lnTo>
                  <a:lnTo>
                    <a:pt x="345" y="21"/>
                  </a:lnTo>
                  <a:lnTo>
                    <a:pt x="345" y="23"/>
                  </a:lnTo>
                  <a:lnTo>
                    <a:pt x="345" y="21"/>
                  </a:lnTo>
                  <a:lnTo>
                    <a:pt x="347" y="21"/>
                  </a:lnTo>
                  <a:lnTo>
                    <a:pt x="348" y="21"/>
                  </a:lnTo>
                  <a:lnTo>
                    <a:pt x="348" y="23"/>
                  </a:lnTo>
                  <a:lnTo>
                    <a:pt x="347" y="23"/>
                  </a:lnTo>
                  <a:lnTo>
                    <a:pt x="348" y="24"/>
                  </a:lnTo>
                  <a:lnTo>
                    <a:pt x="348" y="23"/>
                  </a:lnTo>
                  <a:lnTo>
                    <a:pt x="348" y="24"/>
                  </a:lnTo>
                  <a:lnTo>
                    <a:pt x="350" y="23"/>
                  </a:lnTo>
                  <a:lnTo>
                    <a:pt x="350" y="24"/>
                  </a:lnTo>
                  <a:lnTo>
                    <a:pt x="348" y="24"/>
                  </a:lnTo>
                  <a:lnTo>
                    <a:pt x="347" y="24"/>
                  </a:lnTo>
                  <a:lnTo>
                    <a:pt x="345" y="26"/>
                  </a:lnTo>
                  <a:lnTo>
                    <a:pt x="347" y="26"/>
                  </a:lnTo>
                  <a:lnTo>
                    <a:pt x="348" y="26"/>
                  </a:lnTo>
                  <a:lnTo>
                    <a:pt x="348" y="24"/>
                  </a:lnTo>
                  <a:lnTo>
                    <a:pt x="350" y="24"/>
                  </a:lnTo>
                  <a:lnTo>
                    <a:pt x="350" y="26"/>
                  </a:lnTo>
                  <a:lnTo>
                    <a:pt x="350" y="28"/>
                  </a:lnTo>
                  <a:lnTo>
                    <a:pt x="348" y="28"/>
                  </a:lnTo>
                  <a:lnTo>
                    <a:pt x="347" y="28"/>
                  </a:lnTo>
                  <a:lnTo>
                    <a:pt x="345" y="29"/>
                  </a:lnTo>
                  <a:lnTo>
                    <a:pt x="347" y="29"/>
                  </a:lnTo>
                  <a:lnTo>
                    <a:pt x="347" y="28"/>
                  </a:lnTo>
                  <a:lnTo>
                    <a:pt x="347" y="29"/>
                  </a:lnTo>
                  <a:lnTo>
                    <a:pt x="348" y="29"/>
                  </a:lnTo>
                  <a:lnTo>
                    <a:pt x="348" y="28"/>
                  </a:lnTo>
                  <a:lnTo>
                    <a:pt x="348" y="29"/>
                  </a:lnTo>
                  <a:lnTo>
                    <a:pt x="348" y="31"/>
                  </a:lnTo>
                  <a:lnTo>
                    <a:pt x="350" y="31"/>
                  </a:lnTo>
                  <a:lnTo>
                    <a:pt x="348" y="29"/>
                  </a:lnTo>
                  <a:lnTo>
                    <a:pt x="350" y="29"/>
                  </a:lnTo>
                  <a:lnTo>
                    <a:pt x="352" y="28"/>
                  </a:lnTo>
                  <a:lnTo>
                    <a:pt x="350" y="28"/>
                  </a:lnTo>
                  <a:lnTo>
                    <a:pt x="352" y="26"/>
                  </a:lnTo>
                  <a:lnTo>
                    <a:pt x="353" y="26"/>
                  </a:lnTo>
                  <a:lnTo>
                    <a:pt x="353" y="24"/>
                  </a:lnTo>
                  <a:lnTo>
                    <a:pt x="353" y="23"/>
                  </a:lnTo>
                  <a:lnTo>
                    <a:pt x="353" y="21"/>
                  </a:lnTo>
                  <a:lnTo>
                    <a:pt x="352" y="23"/>
                  </a:lnTo>
                  <a:lnTo>
                    <a:pt x="352" y="21"/>
                  </a:lnTo>
                  <a:lnTo>
                    <a:pt x="350" y="20"/>
                  </a:lnTo>
                  <a:lnTo>
                    <a:pt x="352" y="20"/>
                  </a:lnTo>
                  <a:lnTo>
                    <a:pt x="352" y="18"/>
                  </a:lnTo>
                  <a:lnTo>
                    <a:pt x="352" y="16"/>
                  </a:lnTo>
                  <a:lnTo>
                    <a:pt x="353" y="16"/>
                  </a:lnTo>
                  <a:lnTo>
                    <a:pt x="353" y="18"/>
                  </a:lnTo>
                  <a:lnTo>
                    <a:pt x="353" y="16"/>
                  </a:lnTo>
                  <a:lnTo>
                    <a:pt x="355" y="16"/>
                  </a:lnTo>
                  <a:lnTo>
                    <a:pt x="355" y="18"/>
                  </a:lnTo>
                  <a:lnTo>
                    <a:pt x="357" y="18"/>
                  </a:lnTo>
                  <a:lnTo>
                    <a:pt x="357" y="16"/>
                  </a:lnTo>
                  <a:lnTo>
                    <a:pt x="357" y="15"/>
                  </a:lnTo>
                  <a:lnTo>
                    <a:pt x="358" y="15"/>
                  </a:lnTo>
                  <a:lnTo>
                    <a:pt x="360" y="15"/>
                  </a:lnTo>
                  <a:lnTo>
                    <a:pt x="360" y="16"/>
                  </a:lnTo>
                  <a:lnTo>
                    <a:pt x="358" y="16"/>
                  </a:lnTo>
                  <a:lnTo>
                    <a:pt x="358" y="18"/>
                  </a:lnTo>
                  <a:lnTo>
                    <a:pt x="357" y="20"/>
                  </a:lnTo>
                  <a:lnTo>
                    <a:pt x="357" y="21"/>
                  </a:lnTo>
                  <a:lnTo>
                    <a:pt x="355" y="21"/>
                  </a:lnTo>
                  <a:lnTo>
                    <a:pt x="355" y="23"/>
                  </a:lnTo>
                  <a:lnTo>
                    <a:pt x="357" y="23"/>
                  </a:lnTo>
                  <a:lnTo>
                    <a:pt x="355" y="24"/>
                  </a:lnTo>
                  <a:lnTo>
                    <a:pt x="357" y="24"/>
                  </a:lnTo>
                  <a:lnTo>
                    <a:pt x="358" y="24"/>
                  </a:lnTo>
                  <a:lnTo>
                    <a:pt x="360" y="24"/>
                  </a:lnTo>
                  <a:lnTo>
                    <a:pt x="360" y="26"/>
                  </a:lnTo>
                  <a:lnTo>
                    <a:pt x="361" y="28"/>
                  </a:lnTo>
                  <a:lnTo>
                    <a:pt x="361" y="26"/>
                  </a:lnTo>
                  <a:lnTo>
                    <a:pt x="361" y="28"/>
                  </a:lnTo>
                  <a:lnTo>
                    <a:pt x="361" y="29"/>
                  </a:lnTo>
                  <a:lnTo>
                    <a:pt x="363" y="29"/>
                  </a:lnTo>
                  <a:lnTo>
                    <a:pt x="363" y="31"/>
                  </a:lnTo>
                  <a:lnTo>
                    <a:pt x="363" y="33"/>
                  </a:lnTo>
                  <a:lnTo>
                    <a:pt x="361" y="34"/>
                  </a:lnTo>
                  <a:lnTo>
                    <a:pt x="361" y="36"/>
                  </a:lnTo>
                  <a:lnTo>
                    <a:pt x="360" y="37"/>
                  </a:lnTo>
                  <a:lnTo>
                    <a:pt x="361" y="37"/>
                  </a:lnTo>
                  <a:lnTo>
                    <a:pt x="361" y="36"/>
                  </a:lnTo>
                  <a:lnTo>
                    <a:pt x="363" y="36"/>
                  </a:lnTo>
                  <a:lnTo>
                    <a:pt x="361" y="34"/>
                  </a:lnTo>
                  <a:lnTo>
                    <a:pt x="363" y="34"/>
                  </a:lnTo>
                  <a:lnTo>
                    <a:pt x="363" y="36"/>
                  </a:lnTo>
                  <a:lnTo>
                    <a:pt x="363" y="34"/>
                  </a:lnTo>
                  <a:lnTo>
                    <a:pt x="363" y="33"/>
                  </a:lnTo>
                  <a:lnTo>
                    <a:pt x="365" y="33"/>
                  </a:lnTo>
                  <a:lnTo>
                    <a:pt x="365" y="31"/>
                  </a:lnTo>
                  <a:lnTo>
                    <a:pt x="365" y="29"/>
                  </a:lnTo>
                  <a:lnTo>
                    <a:pt x="365" y="28"/>
                  </a:lnTo>
                  <a:lnTo>
                    <a:pt x="365" y="26"/>
                  </a:lnTo>
                  <a:lnTo>
                    <a:pt x="365" y="28"/>
                  </a:lnTo>
                  <a:lnTo>
                    <a:pt x="365" y="26"/>
                  </a:lnTo>
                  <a:lnTo>
                    <a:pt x="365" y="28"/>
                  </a:lnTo>
                  <a:lnTo>
                    <a:pt x="363" y="26"/>
                  </a:lnTo>
                  <a:lnTo>
                    <a:pt x="365" y="26"/>
                  </a:lnTo>
                  <a:lnTo>
                    <a:pt x="365" y="24"/>
                  </a:lnTo>
                  <a:lnTo>
                    <a:pt x="365" y="26"/>
                  </a:lnTo>
                  <a:lnTo>
                    <a:pt x="363" y="26"/>
                  </a:lnTo>
                  <a:lnTo>
                    <a:pt x="363" y="24"/>
                  </a:lnTo>
                  <a:lnTo>
                    <a:pt x="363" y="23"/>
                  </a:lnTo>
                  <a:lnTo>
                    <a:pt x="365" y="24"/>
                  </a:lnTo>
                  <a:lnTo>
                    <a:pt x="365" y="23"/>
                  </a:lnTo>
                  <a:lnTo>
                    <a:pt x="363" y="21"/>
                  </a:lnTo>
                  <a:lnTo>
                    <a:pt x="365" y="21"/>
                  </a:lnTo>
                  <a:lnTo>
                    <a:pt x="365" y="20"/>
                  </a:lnTo>
                  <a:lnTo>
                    <a:pt x="363" y="20"/>
                  </a:lnTo>
                  <a:lnTo>
                    <a:pt x="363" y="21"/>
                  </a:lnTo>
                  <a:lnTo>
                    <a:pt x="363" y="23"/>
                  </a:lnTo>
                  <a:lnTo>
                    <a:pt x="363" y="24"/>
                  </a:lnTo>
                  <a:lnTo>
                    <a:pt x="363" y="26"/>
                  </a:lnTo>
                  <a:lnTo>
                    <a:pt x="363" y="28"/>
                  </a:lnTo>
                  <a:lnTo>
                    <a:pt x="361" y="28"/>
                  </a:lnTo>
                  <a:lnTo>
                    <a:pt x="361" y="26"/>
                  </a:lnTo>
                  <a:lnTo>
                    <a:pt x="360" y="24"/>
                  </a:lnTo>
                  <a:lnTo>
                    <a:pt x="361" y="24"/>
                  </a:lnTo>
                  <a:lnTo>
                    <a:pt x="361" y="23"/>
                  </a:lnTo>
                  <a:lnTo>
                    <a:pt x="360" y="23"/>
                  </a:lnTo>
                  <a:lnTo>
                    <a:pt x="360" y="24"/>
                  </a:lnTo>
                  <a:lnTo>
                    <a:pt x="360" y="23"/>
                  </a:lnTo>
                  <a:lnTo>
                    <a:pt x="358" y="24"/>
                  </a:lnTo>
                  <a:lnTo>
                    <a:pt x="358" y="23"/>
                  </a:lnTo>
                  <a:lnTo>
                    <a:pt x="358" y="21"/>
                  </a:lnTo>
                  <a:lnTo>
                    <a:pt x="357" y="21"/>
                  </a:lnTo>
                  <a:lnTo>
                    <a:pt x="357" y="20"/>
                  </a:lnTo>
                  <a:lnTo>
                    <a:pt x="358" y="20"/>
                  </a:lnTo>
                  <a:lnTo>
                    <a:pt x="360" y="18"/>
                  </a:lnTo>
                  <a:lnTo>
                    <a:pt x="361" y="18"/>
                  </a:lnTo>
                  <a:lnTo>
                    <a:pt x="361" y="16"/>
                  </a:lnTo>
                  <a:lnTo>
                    <a:pt x="361" y="15"/>
                  </a:lnTo>
                  <a:lnTo>
                    <a:pt x="363" y="16"/>
                  </a:lnTo>
                  <a:lnTo>
                    <a:pt x="363" y="15"/>
                  </a:lnTo>
                  <a:lnTo>
                    <a:pt x="363" y="16"/>
                  </a:lnTo>
                  <a:lnTo>
                    <a:pt x="363" y="15"/>
                  </a:lnTo>
                  <a:lnTo>
                    <a:pt x="363" y="16"/>
                  </a:lnTo>
                  <a:lnTo>
                    <a:pt x="365" y="16"/>
                  </a:lnTo>
                  <a:lnTo>
                    <a:pt x="366" y="16"/>
                  </a:lnTo>
                  <a:lnTo>
                    <a:pt x="366" y="15"/>
                  </a:lnTo>
                  <a:lnTo>
                    <a:pt x="368" y="15"/>
                  </a:lnTo>
                  <a:lnTo>
                    <a:pt x="370" y="15"/>
                  </a:lnTo>
                  <a:lnTo>
                    <a:pt x="370" y="13"/>
                  </a:lnTo>
                  <a:lnTo>
                    <a:pt x="371" y="13"/>
                  </a:lnTo>
                  <a:lnTo>
                    <a:pt x="371" y="15"/>
                  </a:lnTo>
                  <a:lnTo>
                    <a:pt x="373" y="15"/>
                  </a:lnTo>
                  <a:lnTo>
                    <a:pt x="371" y="15"/>
                  </a:lnTo>
                  <a:lnTo>
                    <a:pt x="373" y="16"/>
                  </a:lnTo>
                  <a:lnTo>
                    <a:pt x="373" y="18"/>
                  </a:lnTo>
                  <a:lnTo>
                    <a:pt x="373" y="20"/>
                  </a:lnTo>
                  <a:lnTo>
                    <a:pt x="373" y="21"/>
                  </a:lnTo>
                  <a:lnTo>
                    <a:pt x="373" y="23"/>
                  </a:lnTo>
                  <a:lnTo>
                    <a:pt x="371" y="24"/>
                  </a:lnTo>
                  <a:lnTo>
                    <a:pt x="370" y="24"/>
                  </a:lnTo>
                  <a:lnTo>
                    <a:pt x="370" y="26"/>
                  </a:lnTo>
                  <a:lnTo>
                    <a:pt x="371" y="26"/>
                  </a:lnTo>
                  <a:lnTo>
                    <a:pt x="370" y="26"/>
                  </a:lnTo>
                  <a:lnTo>
                    <a:pt x="371" y="28"/>
                  </a:lnTo>
                  <a:lnTo>
                    <a:pt x="373" y="28"/>
                  </a:lnTo>
                  <a:lnTo>
                    <a:pt x="373" y="29"/>
                  </a:lnTo>
                  <a:lnTo>
                    <a:pt x="373" y="31"/>
                  </a:lnTo>
                  <a:lnTo>
                    <a:pt x="374" y="33"/>
                  </a:lnTo>
                  <a:lnTo>
                    <a:pt x="374" y="34"/>
                  </a:lnTo>
                  <a:lnTo>
                    <a:pt x="374" y="36"/>
                  </a:lnTo>
                  <a:lnTo>
                    <a:pt x="376" y="36"/>
                  </a:lnTo>
                  <a:lnTo>
                    <a:pt x="376" y="37"/>
                  </a:lnTo>
                  <a:lnTo>
                    <a:pt x="374" y="39"/>
                  </a:lnTo>
                  <a:lnTo>
                    <a:pt x="374" y="41"/>
                  </a:lnTo>
                  <a:lnTo>
                    <a:pt x="374" y="42"/>
                  </a:lnTo>
                  <a:lnTo>
                    <a:pt x="373" y="42"/>
                  </a:lnTo>
                  <a:lnTo>
                    <a:pt x="371" y="42"/>
                  </a:lnTo>
                  <a:lnTo>
                    <a:pt x="370" y="42"/>
                  </a:lnTo>
                  <a:lnTo>
                    <a:pt x="368" y="44"/>
                  </a:lnTo>
                  <a:lnTo>
                    <a:pt x="368" y="46"/>
                  </a:lnTo>
                  <a:lnTo>
                    <a:pt x="366" y="46"/>
                  </a:lnTo>
                  <a:lnTo>
                    <a:pt x="365" y="46"/>
                  </a:lnTo>
                  <a:lnTo>
                    <a:pt x="365" y="47"/>
                  </a:lnTo>
                  <a:lnTo>
                    <a:pt x="363" y="47"/>
                  </a:lnTo>
                  <a:lnTo>
                    <a:pt x="365" y="47"/>
                  </a:lnTo>
                  <a:lnTo>
                    <a:pt x="366" y="47"/>
                  </a:lnTo>
                  <a:lnTo>
                    <a:pt x="368" y="47"/>
                  </a:lnTo>
                  <a:lnTo>
                    <a:pt x="370" y="47"/>
                  </a:lnTo>
                  <a:lnTo>
                    <a:pt x="370" y="49"/>
                  </a:lnTo>
                  <a:lnTo>
                    <a:pt x="370" y="51"/>
                  </a:lnTo>
                  <a:lnTo>
                    <a:pt x="368" y="51"/>
                  </a:lnTo>
                  <a:lnTo>
                    <a:pt x="366" y="52"/>
                  </a:lnTo>
                  <a:lnTo>
                    <a:pt x="368" y="52"/>
                  </a:lnTo>
                  <a:lnTo>
                    <a:pt x="366" y="52"/>
                  </a:lnTo>
                  <a:lnTo>
                    <a:pt x="363" y="52"/>
                  </a:lnTo>
                  <a:lnTo>
                    <a:pt x="363" y="54"/>
                  </a:lnTo>
                  <a:lnTo>
                    <a:pt x="361" y="54"/>
                  </a:lnTo>
                  <a:lnTo>
                    <a:pt x="361" y="55"/>
                  </a:lnTo>
                  <a:lnTo>
                    <a:pt x="360" y="55"/>
                  </a:lnTo>
                  <a:lnTo>
                    <a:pt x="360" y="57"/>
                  </a:lnTo>
                  <a:lnTo>
                    <a:pt x="358" y="57"/>
                  </a:lnTo>
                  <a:lnTo>
                    <a:pt x="357" y="57"/>
                  </a:lnTo>
                  <a:lnTo>
                    <a:pt x="357" y="59"/>
                  </a:lnTo>
                  <a:lnTo>
                    <a:pt x="358" y="59"/>
                  </a:lnTo>
                  <a:lnTo>
                    <a:pt x="360" y="59"/>
                  </a:lnTo>
                  <a:lnTo>
                    <a:pt x="361" y="57"/>
                  </a:lnTo>
                  <a:lnTo>
                    <a:pt x="361" y="59"/>
                  </a:lnTo>
                  <a:lnTo>
                    <a:pt x="363" y="57"/>
                  </a:lnTo>
                  <a:lnTo>
                    <a:pt x="365" y="55"/>
                  </a:lnTo>
                  <a:lnTo>
                    <a:pt x="365" y="54"/>
                  </a:lnTo>
                  <a:lnTo>
                    <a:pt x="366" y="54"/>
                  </a:lnTo>
                  <a:lnTo>
                    <a:pt x="368" y="54"/>
                  </a:lnTo>
                  <a:lnTo>
                    <a:pt x="370" y="52"/>
                  </a:lnTo>
                  <a:lnTo>
                    <a:pt x="371" y="52"/>
                  </a:lnTo>
                  <a:lnTo>
                    <a:pt x="373" y="52"/>
                  </a:lnTo>
                  <a:lnTo>
                    <a:pt x="373" y="51"/>
                  </a:lnTo>
                  <a:lnTo>
                    <a:pt x="374" y="51"/>
                  </a:lnTo>
                  <a:lnTo>
                    <a:pt x="376" y="51"/>
                  </a:lnTo>
                  <a:lnTo>
                    <a:pt x="378" y="49"/>
                  </a:lnTo>
                  <a:lnTo>
                    <a:pt x="376" y="49"/>
                  </a:lnTo>
                  <a:lnTo>
                    <a:pt x="374" y="49"/>
                  </a:lnTo>
                  <a:lnTo>
                    <a:pt x="374" y="47"/>
                  </a:lnTo>
                  <a:lnTo>
                    <a:pt x="373" y="47"/>
                  </a:lnTo>
                  <a:lnTo>
                    <a:pt x="373" y="46"/>
                  </a:lnTo>
                  <a:lnTo>
                    <a:pt x="373" y="44"/>
                  </a:lnTo>
                  <a:lnTo>
                    <a:pt x="374" y="44"/>
                  </a:lnTo>
                  <a:lnTo>
                    <a:pt x="376" y="44"/>
                  </a:lnTo>
                  <a:lnTo>
                    <a:pt x="376" y="46"/>
                  </a:lnTo>
                  <a:lnTo>
                    <a:pt x="378" y="46"/>
                  </a:lnTo>
                  <a:lnTo>
                    <a:pt x="378" y="47"/>
                  </a:lnTo>
                  <a:lnTo>
                    <a:pt x="379" y="47"/>
                  </a:lnTo>
                  <a:lnTo>
                    <a:pt x="379" y="46"/>
                  </a:lnTo>
                  <a:lnTo>
                    <a:pt x="378" y="44"/>
                  </a:lnTo>
                  <a:lnTo>
                    <a:pt x="378" y="42"/>
                  </a:lnTo>
                  <a:lnTo>
                    <a:pt x="379" y="42"/>
                  </a:lnTo>
                  <a:lnTo>
                    <a:pt x="379" y="41"/>
                  </a:lnTo>
                  <a:lnTo>
                    <a:pt x="381" y="41"/>
                  </a:lnTo>
                  <a:lnTo>
                    <a:pt x="381" y="39"/>
                  </a:lnTo>
                  <a:lnTo>
                    <a:pt x="381" y="37"/>
                  </a:lnTo>
                  <a:lnTo>
                    <a:pt x="379" y="36"/>
                  </a:lnTo>
                  <a:lnTo>
                    <a:pt x="379" y="34"/>
                  </a:lnTo>
                  <a:lnTo>
                    <a:pt x="379" y="33"/>
                  </a:lnTo>
                  <a:lnTo>
                    <a:pt x="378" y="33"/>
                  </a:lnTo>
                  <a:lnTo>
                    <a:pt x="378" y="31"/>
                  </a:lnTo>
                  <a:lnTo>
                    <a:pt x="378" y="29"/>
                  </a:lnTo>
                  <a:lnTo>
                    <a:pt x="376" y="28"/>
                  </a:lnTo>
                  <a:lnTo>
                    <a:pt x="376" y="26"/>
                  </a:lnTo>
                  <a:lnTo>
                    <a:pt x="376" y="28"/>
                  </a:lnTo>
                  <a:lnTo>
                    <a:pt x="376" y="26"/>
                  </a:lnTo>
                  <a:lnTo>
                    <a:pt x="378" y="26"/>
                  </a:lnTo>
                  <a:lnTo>
                    <a:pt x="376" y="26"/>
                  </a:lnTo>
                  <a:lnTo>
                    <a:pt x="378" y="24"/>
                  </a:lnTo>
                  <a:lnTo>
                    <a:pt x="378" y="23"/>
                  </a:lnTo>
                  <a:lnTo>
                    <a:pt x="379" y="23"/>
                  </a:lnTo>
                  <a:lnTo>
                    <a:pt x="379" y="21"/>
                  </a:lnTo>
                  <a:lnTo>
                    <a:pt x="379" y="20"/>
                  </a:lnTo>
                  <a:lnTo>
                    <a:pt x="381" y="20"/>
                  </a:lnTo>
                  <a:lnTo>
                    <a:pt x="381" y="18"/>
                  </a:lnTo>
                  <a:lnTo>
                    <a:pt x="381" y="16"/>
                  </a:lnTo>
                  <a:lnTo>
                    <a:pt x="381" y="15"/>
                  </a:lnTo>
                  <a:lnTo>
                    <a:pt x="383" y="15"/>
                  </a:lnTo>
                  <a:lnTo>
                    <a:pt x="384" y="16"/>
                  </a:lnTo>
                  <a:lnTo>
                    <a:pt x="386" y="16"/>
                  </a:lnTo>
                  <a:lnTo>
                    <a:pt x="386" y="15"/>
                  </a:lnTo>
                  <a:lnTo>
                    <a:pt x="388" y="16"/>
                  </a:lnTo>
                  <a:lnTo>
                    <a:pt x="388" y="18"/>
                  </a:lnTo>
                  <a:lnTo>
                    <a:pt x="389" y="18"/>
                  </a:lnTo>
                  <a:lnTo>
                    <a:pt x="388" y="16"/>
                  </a:lnTo>
                  <a:lnTo>
                    <a:pt x="389" y="16"/>
                  </a:lnTo>
                  <a:lnTo>
                    <a:pt x="391" y="16"/>
                  </a:lnTo>
                  <a:lnTo>
                    <a:pt x="392" y="16"/>
                  </a:lnTo>
                  <a:lnTo>
                    <a:pt x="392" y="18"/>
                  </a:lnTo>
                  <a:lnTo>
                    <a:pt x="392" y="16"/>
                  </a:lnTo>
                  <a:lnTo>
                    <a:pt x="394" y="15"/>
                  </a:lnTo>
                  <a:lnTo>
                    <a:pt x="394" y="13"/>
                  </a:lnTo>
                  <a:lnTo>
                    <a:pt x="396" y="15"/>
                  </a:lnTo>
                  <a:lnTo>
                    <a:pt x="397" y="15"/>
                  </a:lnTo>
                  <a:lnTo>
                    <a:pt x="397" y="16"/>
                  </a:lnTo>
                  <a:lnTo>
                    <a:pt x="399" y="16"/>
                  </a:lnTo>
                  <a:lnTo>
                    <a:pt x="399" y="18"/>
                  </a:lnTo>
                  <a:lnTo>
                    <a:pt x="399" y="20"/>
                  </a:lnTo>
                  <a:lnTo>
                    <a:pt x="397" y="20"/>
                  </a:lnTo>
                  <a:lnTo>
                    <a:pt x="396" y="18"/>
                  </a:lnTo>
                  <a:lnTo>
                    <a:pt x="396" y="20"/>
                  </a:lnTo>
                  <a:lnTo>
                    <a:pt x="397" y="20"/>
                  </a:lnTo>
                  <a:lnTo>
                    <a:pt x="399" y="20"/>
                  </a:lnTo>
                  <a:lnTo>
                    <a:pt x="399" y="21"/>
                  </a:lnTo>
                  <a:lnTo>
                    <a:pt x="401" y="21"/>
                  </a:lnTo>
                  <a:lnTo>
                    <a:pt x="402" y="21"/>
                  </a:lnTo>
                  <a:lnTo>
                    <a:pt x="401" y="21"/>
                  </a:lnTo>
                  <a:lnTo>
                    <a:pt x="402" y="21"/>
                  </a:lnTo>
                  <a:lnTo>
                    <a:pt x="402" y="20"/>
                  </a:lnTo>
                  <a:lnTo>
                    <a:pt x="401" y="20"/>
                  </a:lnTo>
                  <a:lnTo>
                    <a:pt x="401" y="18"/>
                  </a:lnTo>
                  <a:lnTo>
                    <a:pt x="399" y="16"/>
                  </a:lnTo>
                  <a:lnTo>
                    <a:pt x="397" y="16"/>
                  </a:lnTo>
                  <a:lnTo>
                    <a:pt x="397" y="15"/>
                  </a:lnTo>
                  <a:lnTo>
                    <a:pt x="397" y="13"/>
                  </a:lnTo>
                  <a:lnTo>
                    <a:pt x="396" y="11"/>
                  </a:lnTo>
                  <a:lnTo>
                    <a:pt x="397" y="11"/>
                  </a:lnTo>
                  <a:lnTo>
                    <a:pt x="397" y="10"/>
                  </a:lnTo>
                  <a:lnTo>
                    <a:pt x="397" y="8"/>
                  </a:lnTo>
                  <a:lnTo>
                    <a:pt x="396" y="8"/>
                  </a:lnTo>
                  <a:lnTo>
                    <a:pt x="396" y="7"/>
                  </a:lnTo>
                  <a:lnTo>
                    <a:pt x="394" y="7"/>
                  </a:lnTo>
                  <a:lnTo>
                    <a:pt x="396" y="7"/>
                  </a:lnTo>
                  <a:lnTo>
                    <a:pt x="394" y="7"/>
                  </a:lnTo>
                  <a:lnTo>
                    <a:pt x="394" y="5"/>
                  </a:lnTo>
                  <a:lnTo>
                    <a:pt x="396" y="5"/>
                  </a:lnTo>
                  <a:lnTo>
                    <a:pt x="397" y="5"/>
                  </a:lnTo>
                  <a:lnTo>
                    <a:pt x="399" y="7"/>
                  </a:lnTo>
                  <a:lnTo>
                    <a:pt x="399" y="8"/>
                  </a:lnTo>
                  <a:lnTo>
                    <a:pt x="401" y="8"/>
                  </a:lnTo>
                  <a:lnTo>
                    <a:pt x="402" y="8"/>
                  </a:lnTo>
                  <a:lnTo>
                    <a:pt x="404" y="10"/>
                  </a:lnTo>
                  <a:lnTo>
                    <a:pt x="405" y="10"/>
                  </a:lnTo>
                  <a:lnTo>
                    <a:pt x="405" y="11"/>
                  </a:lnTo>
                  <a:lnTo>
                    <a:pt x="407" y="11"/>
                  </a:lnTo>
                  <a:lnTo>
                    <a:pt x="407" y="13"/>
                  </a:lnTo>
                  <a:lnTo>
                    <a:pt x="409" y="13"/>
                  </a:lnTo>
                  <a:lnTo>
                    <a:pt x="410" y="15"/>
                  </a:lnTo>
                  <a:lnTo>
                    <a:pt x="410" y="16"/>
                  </a:lnTo>
                  <a:lnTo>
                    <a:pt x="410" y="18"/>
                  </a:lnTo>
                  <a:lnTo>
                    <a:pt x="410" y="20"/>
                  </a:lnTo>
                  <a:lnTo>
                    <a:pt x="412" y="20"/>
                  </a:lnTo>
                  <a:lnTo>
                    <a:pt x="410" y="21"/>
                  </a:lnTo>
                  <a:lnTo>
                    <a:pt x="412" y="21"/>
                  </a:lnTo>
                  <a:lnTo>
                    <a:pt x="412" y="23"/>
                  </a:lnTo>
                  <a:lnTo>
                    <a:pt x="414" y="21"/>
                  </a:lnTo>
                  <a:lnTo>
                    <a:pt x="414" y="23"/>
                  </a:lnTo>
                  <a:lnTo>
                    <a:pt x="415" y="23"/>
                  </a:lnTo>
                  <a:lnTo>
                    <a:pt x="415" y="24"/>
                  </a:lnTo>
                  <a:lnTo>
                    <a:pt x="417" y="24"/>
                  </a:lnTo>
                  <a:lnTo>
                    <a:pt x="417" y="26"/>
                  </a:lnTo>
                  <a:lnTo>
                    <a:pt x="418" y="26"/>
                  </a:lnTo>
                  <a:lnTo>
                    <a:pt x="420" y="28"/>
                  </a:lnTo>
                  <a:lnTo>
                    <a:pt x="422" y="28"/>
                  </a:lnTo>
                  <a:lnTo>
                    <a:pt x="420" y="29"/>
                  </a:lnTo>
                  <a:lnTo>
                    <a:pt x="422" y="29"/>
                  </a:lnTo>
                  <a:lnTo>
                    <a:pt x="422" y="31"/>
                  </a:lnTo>
                  <a:lnTo>
                    <a:pt x="422" y="29"/>
                  </a:lnTo>
                  <a:lnTo>
                    <a:pt x="423" y="29"/>
                  </a:lnTo>
                  <a:lnTo>
                    <a:pt x="423" y="31"/>
                  </a:lnTo>
                  <a:lnTo>
                    <a:pt x="425" y="31"/>
                  </a:lnTo>
                  <a:lnTo>
                    <a:pt x="427" y="33"/>
                  </a:lnTo>
                  <a:lnTo>
                    <a:pt x="427" y="34"/>
                  </a:lnTo>
                  <a:lnTo>
                    <a:pt x="427" y="36"/>
                  </a:lnTo>
                  <a:lnTo>
                    <a:pt x="425" y="36"/>
                  </a:lnTo>
                  <a:lnTo>
                    <a:pt x="425" y="37"/>
                  </a:lnTo>
                  <a:lnTo>
                    <a:pt x="423" y="37"/>
                  </a:lnTo>
                  <a:lnTo>
                    <a:pt x="418" y="37"/>
                  </a:lnTo>
                  <a:lnTo>
                    <a:pt x="418" y="39"/>
                  </a:lnTo>
                  <a:lnTo>
                    <a:pt x="417" y="39"/>
                  </a:lnTo>
                  <a:lnTo>
                    <a:pt x="415" y="39"/>
                  </a:lnTo>
                  <a:lnTo>
                    <a:pt x="414" y="39"/>
                  </a:lnTo>
                  <a:lnTo>
                    <a:pt x="410" y="41"/>
                  </a:lnTo>
                  <a:lnTo>
                    <a:pt x="409" y="41"/>
                  </a:lnTo>
                  <a:lnTo>
                    <a:pt x="407" y="41"/>
                  </a:lnTo>
                  <a:lnTo>
                    <a:pt x="405" y="41"/>
                  </a:lnTo>
                  <a:lnTo>
                    <a:pt x="405" y="42"/>
                  </a:lnTo>
                  <a:lnTo>
                    <a:pt x="404" y="42"/>
                  </a:lnTo>
                  <a:lnTo>
                    <a:pt x="402" y="44"/>
                  </a:lnTo>
                  <a:lnTo>
                    <a:pt x="401" y="44"/>
                  </a:lnTo>
                  <a:lnTo>
                    <a:pt x="401" y="46"/>
                  </a:lnTo>
                  <a:lnTo>
                    <a:pt x="399" y="47"/>
                  </a:lnTo>
                  <a:lnTo>
                    <a:pt x="397" y="49"/>
                  </a:lnTo>
                  <a:lnTo>
                    <a:pt x="396" y="49"/>
                  </a:lnTo>
                  <a:lnTo>
                    <a:pt x="396" y="51"/>
                  </a:lnTo>
                  <a:lnTo>
                    <a:pt x="394" y="52"/>
                  </a:lnTo>
                  <a:lnTo>
                    <a:pt x="392" y="52"/>
                  </a:lnTo>
                  <a:lnTo>
                    <a:pt x="392" y="54"/>
                  </a:lnTo>
                  <a:lnTo>
                    <a:pt x="391" y="54"/>
                  </a:lnTo>
                  <a:lnTo>
                    <a:pt x="391" y="52"/>
                  </a:lnTo>
                  <a:lnTo>
                    <a:pt x="389" y="52"/>
                  </a:lnTo>
                  <a:lnTo>
                    <a:pt x="388" y="52"/>
                  </a:lnTo>
                  <a:lnTo>
                    <a:pt x="383" y="54"/>
                  </a:lnTo>
                  <a:lnTo>
                    <a:pt x="381" y="57"/>
                  </a:lnTo>
                  <a:lnTo>
                    <a:pt x="381" y="59"/>
                  </a:lnTo>
                  <a:lnTo>
                    <a:pt x="379" y="59"/>
                  </a:lnTo>
                  <a:lnTo>
                    <a:pt x="379" y="62"/>
                  </a:lnTo>
                  <a:lnTo>
                    <a:pt x="379" y="64"/>
                  </a:lnTo>
                  <a:lnTo>
                    <a:pt x="379" y="65"/>
                  </a:lnTo>
                  <a:lnTo>
                    <a:pt x="378" y="65"/>
                  </a:lnTo>
                  <a:lnTo>
                    <a:pt x="376" y="65"/>
                  </a:lnTo>
                  <a:lnTo>
                    <a:pt x="374" y="65"/>
                  </a:lnTo>
                  <a:lnTo>
                    <a:pt x="374" y="67"/>
                  </a:lnTo>
                  <a:lnTo>
                    <a:pt x="374" y="70"/>
                  </a:lnTo>
                  <a:lnTo>
                    <a:pt x="373" y="72"/>
                  </a:lnTo>
                  <a:lnTo>
                    <a:pt x="373" y="73"/>
                  </a:lnTo>
                  <a:lnTo>
                    <a:pt x="373" y="75"/>
                  </a:lnTo>
                  <a:lnTo>
                    <a:pt x="371" y="77"/>
                  </a:lnTo>
                  <a:lnTo>
                    <a:pt x="371" y="78"/>
                  </a:lnTo>
                  <a:lnTo>
                    <a:pt x="370" y="78"/>
                  </a:lnTo>
                  <a:lnTo>
                    <a:pt x="370" y="80"/>
                  </a:lnTo>
                  <a:lnTo>
                    <a:pt x="368" y="80"/>
                  </a:lnTo>
                  <a:lnTo>
                    <a:pt x="368" y="81"/>
                  </a:lnTo>
                  <a:lnTo>
                    <a:pt x="366" y="81"/>
                  </a:lnTo>
                  <a:lnTo>
                    <a:pt x="365" y="83"/>
                  </a:lnTo>
                  <a:lnTo>
                    <a:pt x="365" y="81"/>
                  </a:lnTo>
                  <a:lnTo>
                    <a:pt x="363" y="83"/>
                  </a:lnTo>
                  <a:lnTo>
                    <a:pt x="361" y="83"/>
                  </a:lnTo>
                  <a:lnTo>
                    <a:pt x="361" y="85"/>
                  </a:lnTo>
                  <a:lnTo>
                    <a:pt x="361" y="86"/>
                  </a:lnTo>
                  <a:lnTo>
                    <a:pt x="361" y="88"/>
                  </a:lnTo>
                  <a:lnTo>
                    <a:pt x="361" y="90"/>
                  </a:lnTo>
                  <a:lnTo>
                    <a:pt x="361" y="91"/>
                  </a:lnTo>
                  <a:lnTo>
                    <a:pt x="360" y="91"/>
                  </a:lnTo>
                  <a:lnTo>
                    <a:pt x="358" y="90"/>
                  </a:lnTo>
                  <a:lnTo>
                    <a:pt x="355" y="90"/>
                  </a:lnTo>
                  <a:lnTo>
                    <a:pt x="355" y="88"/>
                  </a:lnTo>
                  <a:lnTo>
                    <a:pt x="353" y="88"/>
                  </a:lnTo>
                  <a:lnTo>
                    <a:pt x="348" y="90"/>
                  </a:lnTo>
                  <a:lnTo>
                    <a:pt x="345" y="90"/>
                  </a:lnTo>
                  <a:lnTo>
                    <a:pt x="342" y="91"/>
                  </a:lnTo>
                  <a:lnTo>
                    <a:pt x="340" y="91"/>
                  </a:lnTo>
                  <a:lnTo>
                    <a:pt x="340" y="90"/>
                  </a:lnTo>
                  <a:lnTo>
                    <a:pt x="339" y="90"/>
                  </a:lnTo>
                  <a:lnTo>
                    <a:pt x="339" y="88"/>
                  </a:lnTo>
                  <a:lnTo>
                    <a:pt x="337" y="86"/>
                  </a:lnTo>
                  <a:lnTo>
                    <a:pt x="334" y="88"/>
                  </a:lnTo>
                  <a:lnTo>
                    <a:pt x="332" y="90"/>
                  </a:lnTo>
                  <a:lnTo>
                    <a:pt x="331" y="90"/>
                  </a:lnTo>
                  <a:lnTo>
                    <a:pt x="329" y="90"/>
                  </a:lnTo>
                  <a:lnTo>
                    <a:pt x="329" y="91"/>
                  </a:lnTo>
                  <a:lnTo>
                    <a:pt x="331" y="91"/>
                  </a:lnTo>
                  <a:lnTo>
                    <a:pt x="329" y="93"/>
                  </a:lnTo>
                  <a:lnTo>
                    <a:pt x="329" y="94"/>
                  </a:lnTo>
                  <a:lnTo>
                    <a:pt x="329" y="96"/>
                  </a:lnTo>
                  <a:lnTo>
                    <a:pt x="331" y="96"/>
                  </a:lnTo>
                  <a:lnTo>
                    <a:pt x="332" y="98"/>
                  </a:lnTo>
                  <a:lnTo>
                    <a:pt x="332" y="99"/>
                  </a:lnTo>
                  <a:lnTo>
                    <a:pt x="332" y="101"/>
                  </a:lnTo>
                  <a:lnTo>
                    <a:pt x="334" y="101"/>
                  </a:lnTo>
                  <a:lnTo>
                    <a:pt x="335" y="99"/>
                  </a:lnTo>
                  <a:lnTo>
                    <a:pt x="337" y="101"/>
                  </a:lnTo>
                  <a:lnTo>
                    <a:pt x="339" y="103"/>
                  </a:lnTo>
                  <a:lnTo>
                    <a:pt x="340" y="104"/>
                  </a:lnTo>
                  <a:lnTo>
                    <a:pt x="344" y="103"/>
                  </a:lnTo>
                  <a:lnTo>
                    <a:pt x="344" y="104"/>
                  </a:lnTo>
                  <a:lnTo>
                    <a:pt x="344" y="106"/>
                  </a:lnTo>
                  <a:lnTo>
                    <a:pt x="342" y="106"/>
                  </a:lnTo>
                  <a:lnTo>
                    <a:pt x="342" y="107"/>
                  </a:lnTo>
                  <a:lnTo>
                    <a:pt x="342" y="106"/>
                  </a:lnTo>
                  <a:lnTo>
                    <a:pt x="340" y="107"/>
                  </a:lnTo>
                  <a:lnTo>
                    <a:pt x="339" y="107"/>
                  </a:lnTo>
                  <a:lnTo>
                    <a:pt x="337" y="107"/>
                  </a:lnTo>
                  <a:lnTo>
                    <a:pt x="335" y="107"/>
                  </a:lnTo>
                  <a:lnTo>
                    <a:pt x="335" y="109"/>
                  </a:lnTo>
                  <a:lnTo>
                    <a:pt x="334" y="109"/>
                  </a:lnTo>
                  <a:lnTo>
                    <a:pt x="332" y="111"/>
                  </a:lnTo>
                  <a:lnTo>
                    <a:pt x="331" y="111"/>
                  </a:lnTo>
                  <a:lnTo>
                    <a:pt x="331" y="112"/>
                  </a:lnTo>
                  <a:lnTo>
                    <a:pt x="331" y="114"/>
                  </a:lnTo>
                  <a:lnTo>
                    <a:pt x="329" y="114"/>
                  </a:lnTo>
                  <a:lnTo>
                    <a:pt x="327" y="114"/>
                  </a:lnTo>
                  <a:lnTo>
                    <a:pt x="326" y="112"/>
                  </a:lnTo>
                  <a:lnTo>
                    <a:pt x="324" y="112"/>
                  </a:lnTo>
                  <a:lnTo>
                    <a:pt x="322" y="112"/>
                  </a:lnTo>
                  <a:lnTo>
                    <a:pt x="321" y="112"/>
                  </a:lnTo>
                  <a:lnTo>
                    <a:pt x="321" y="111"/>
                  </a:lnTo>
                  <a:lnTo>
                    <a:pt x="319" y="109"/>
                  </a:lnTo>
                  <a:lnTo>
                    <a:pt x="318" y="109"/>
                  </a:lnTo>
                  <a:lnTo>
                    <a:pt x="316" y="109"/>
                  </a:lnTo>
                  <a:lnTo>
                    <a:pt x="314" y="111"/>
                  </a:lnTo>
                  <a:lnTo>
                    <a:pt x="313" y="112"/>
                  </a:lnTo>
                  <a:lnTo>
                    <a:pt x="313" y="114"/>
                  </a:lnTo>
                  <a:lnTo>
                    <a:pt x="311" y="116"/>
                  </a:lnTo>
                  <a:lnTo>
                    <a:pt x="309" y="116"/>
                  </a:lnTo>
                  <a:lnTo>
                    <a:pt x="308" y="116"/>
                  </a:lnTo>
                  <a:lnTo>
                    <a:pt x="306" y="116"/>
                  </a:lnTo>
                  <a:lnTo>
                    <a:pt x="305" y="117"/>
                  </a:lnTo>
                  <a:lnTo>
                    <a:pt x="301" y="116"/>
                  </a:lnTo>
                  <a:lnTo>
                    <a:pt x="300" y="117"/>
                  </a:lnTo>
                  <a:lnTo>
                    <a:pt x="301" y="119"/>
                  </a:lnTo>
                  <a:lnTo>
                    <a:pt x="301" y="120"/>
                  </a:lnTo>
                  <a:lnTo>
                    <a:pt x="300" y="120"/>
                  </a:lnTo>
                  <a:lnTo>
                    <a:pt x="301" y="122"/>
                  </a:lnTo>
                  <a:lnTo>
                    <a:pt x="305" y="125"/>
                  </a:lnTo>
                  <a:lnTo>
                    <a:pt x="305" y="129"/>
                  </a:lnTo>
                  <a:lnTo>
                    <a:pt x="305" y="130"/>
                  </a:lnTo>
                  <a:lnTo>
                    <a:pt x="306" y="133"/>
                  </a:lnTo>
                  <a:lnTo>
                    <a:pt x="308" y="135"/>
                  </a:lnTo>
                  <a:lnTo>
                    <a:pt x="309" y="135"/>
                  </a:lnTo>
                  <a:lnTo>
                    <a:pt x="309" y="137"/>
                  </a:lnTo>
                  <a:lnTo>
                    <a:pt x="311" y="140"/>
                  </a:lnTo>
                  <a:lnTo>
                    <a:pt x="311" y="143"/>
                  </a:lnTo>
                  <a:lnTo>
                    <a:pt x="313" y="143"/>
                  </a:lnTo>
                  <a:lnTo>
                    <a:pt x="314" y="145"/>
                  </a:lnTo>
                  <a:lnTo>
                    <a:pt x="316" y="146"/>
                  </a:lnTo>
                  <a:lnTo>
                    <a:pt x="316" y="145"/>
                  </a:lnTo>
                  <a:lnTo>
                    <a:pt x="318" y="146"/>
                  </a:lnTo>
                  <a:lnTo>
                    <a:pt x="319" y="146"/>
                  </a:lnTo>
                  <a:lnTo>
                    <a:pt x="319" y="148"/>
                  </a:lnTo>
                  <a:lnTo>
                    <a:pt x="318" y="148"/>
                  </a:lnTo>
                  <a:lnTo>
                    <a:pt x="318" y="150"/>
                  </a:lnTo>
                  <a:lnTo>
                    <a:pt x="318" y="153"/>
                  </a:lnTo>
                  <a:lnTo>
                    <a:pt x="316" y="156"/>
                  </a:lnTo>
                  <a:lnTo>
                    <a:pt x="316" y="158"/>
                  </a:lnTo>
                  <a:lnTo>
                    <a:pt x="318" y="158"/>
                  </a:lnTo>
                  <a:lnTo>
                    <a:pt x="318" y="159"/>
                  </a:lnTo>
                  <a:lnTo>
                    <a:pt x="319" y="161"/>
                  </a:lnTo>
                  <a:lnTo>
                    <a:pt x="321" y="161"/>
                  </a:lnTo>
                  <a:lnTo>
                    <a:pt x="322" y="161"/>
                  </a:lnTo>
                  <a:lnTo>
                    <a:pt x="324" y="161"/>
                  </a:lnTo>
                  <a:lnTo>
                    <a:pt x="326" y="161"/>
                  </a:lnTo>
                  <a:lnTo>
                    <a:pt x="329" y="163"/>
                  </a:lnTo>
                  <a:lnTo>
                    <a:pt x="331" y="163"/>
                  </a:lnTo>
                  <a:lnTo>
                    <a:pt x="331" y="166"/>
                  </a:lnTo>
                  <a:lnTo>
                    <a:pt x="332" y="168"/>
                  </a:lnTo>
                  <a:lnTo>
                    <a:pt x="334" y="169"/>
                  </a:lnTo>
                  <a:lnTo>
                    <a:pt x="334" y="171"/>
                  </a:lnTo>
                  <a:lnTo>
                    <a:pt x="334" y="172"/>
                  </a:lnTo>
                  <a:lnTo>
                    <a:pt x="335" y="174"/>
                  </a:lnTo>
                  <a:lnTo>
                    <a:pt x="337" y="174"/>
                  </a:lnTo>
                  <a:lnTo>
                    <a:pt x="337" y="176"/>
                  </a:lnTo>
                  <a:lnTo>
                    <a:pt x="339" y="177"/>
                  </a:lnTo>
                  <a:lnTo>
                    <a:pt x="340" y="177"/>
                  </a:lnTo>
                  <a:lnTo>
                    <a:pt x="340" y="176"/>
                  </a:lnTo>
                  <a:lnTo>
                    <a:pt x="344" y="177"/>
                  </a:lnTo>
                  <a:lnTo>
                    <a:pt x="345" y="177"/>
                  </a:lnTo>
                  <a:lnTo>
                    <a:pt x="345" y="176"/>
                  </a:lnTo>
                  <a:lnTo>
                    <a:pt x="347" y="176"/>
                  </a:lnTo>
                  <a:lnTo>
                    <a:pt x="350" y="176"/>
                  </a:lnTo>
                  <a:lnTo>
                    <a:pt x="348" y="177"/>
                  </a:lnTo>
                  <a:lnTo>
                    <a:pt x="350" y="177"/>
                  </a:lnTo>
                  <a:lnTo>
                    <a:pt x="352" y="179"/>
                  </a:lnTo>
                  <a:lnTo>
                    <a:pt x="353" y="177"/>
                  </a:lnTo>
                  <a:lnTo>
                    <a:pt x="353" y="179"/>
                  </a:lnTo>
                  <a:lnTo>
                    <a:pt x="352" y="179"/>
                  </a:lnTo>
                  <a:lnTo>
                    <a:pt x="352" y="181"/>
                  </a:lnTo>
                  <a:lnTo>
                    <a:pt x="353" y="181"/>
                  </a:lnTo>
                  <a:lnTo>
                    <a:pt x="355" y="181"/>
                  </a:lnTo>
                  <a:lnTo>
                    <a:pt x="355" y="182"/>
                  </a:lnTo>
                  <a:lnTo>
                    <a:pt x="357" y="182"/>
                  </a:lnTo>
                  <a:lnTo>
                    <a:pt x="357" y="184"/>
                  </a:lnTo>
                  <a:lnTo>
                    <a:pt x="357" y="182"/>
                  </a:lnTo>
                  <a:lnTo>
                    <a:pt x="358" y="182"/>
                  </a:lnTo>
                  <a:lnTo>
                    <a:pt x="358" y="181"/>
                  </a:lnTo>
                  <a:lnTo>
                    <a:pt x="357" y="181"/>
                  </a:lnTo>
                  <a:lnTo>
                    <a:pt x="357" y="179"/>
                  </a:lnTo>
                  <a:lnTo>
                    <a:pt x="357" y="177"/>
                  </a:lnTo>
                  <a:lnTo>
                    <a:pt x="358" y="177"/>
                  </a:lnTo>
                  <a:lnTo>
                    <a:pt x="358" y="176"/>
                  </a:lnTo>
                  <a:lnTo>
                    <a:pt x="360" y="176"/>
                  </a:lnTo>
                  <a:lnTo>
                    <a:pt x="361" y="176"/>
                  </a:lnTo>
                  <a:lnTo>
                    <a:pt x="361" y="177"/>
                  </a:lnTo>
                  <a:lnTo>
                    <a:pt x="360" y="179"/>
                  </a:lnTo>
                  <a:lnTo>
                    <a:pt x="360" y="181"/>
                  </a:lnTo>
                  <a:lnTo>
                    <a:pt x="358" y="181"/>
                  </a:lnTo>
                  <a:lnTo>
                    <a:pt x="358" y="182"/>
                  </a:lnTo>
                  <a:lnTo>
                    <a:pt x="360" y="182"/>
                  </a:lnTo>
                  <a:lnTo>
                    <a:pt x="361" y="182"/>
                  </a:lnTo>
                  <a:lnTo>
                    <a:pt x="363" y="179"/>
                  </a:lnTo>
                  <a:lnTo>
                    <a:pt x="365" y="177"/>
                  </a:lnTo>
                  <a:lnTo>
                    <a:pt x="365" y="176"/>
                  </a:lnTo>
                  <a:lnTo>
                    <a:pt x="365" y="174"/>
                  </a:lnTo>
                  <a:lnTo>
                    <a:pt x="366" y="174"/>
                  </a:lnTo>
                  <a:lnTo>
                    <a:pt x="366" y="172"/>
                  </a:lnTo>
                  <a:lnTo>
                    <a:pt x="365" y="172"/>
                  </a:lnTo>
                  <a:lnTo>
                    <a:pt x="366" y="172"/>
                  </a:lnTo>
                  <a:lnTo>
                    <a:pt x="366" y="171"/>
                  </a:lnTo>
                  <a:lnTo>
                    <a:pt x="371" y="171"/>
                  </a:lnTo>
                  <a:lnTo>
                    <a:pt x="373" y="171"/>
                  </a:lnTo>
                  <a:lnTo>
                    <a:pt x="374" y="171"/>
                  </a:lnTo>
                  <a:lnTo>
                    <a:pt x="374" y="169"/>
                  </a:lnTo>
                  <a:lnTo>
                    <a:pt x="374" y="168"/>
                  </a:lnTo>
                  <a:lnTo>
                    <a:pt x="376" y="168"/>
                  </a:lnTo>
                  <a:lnTo>
                    <a:pt x="374" y="164"/>
                  </a:lnTo>
                  <a:lnTo>
                    <a:pt x="374" y="161"/>
                  </a:lnTo>
                  <a:lnTo>
                    <a:pt x="371" y="159"/>
                  </a:lnTo>
                  <a:lnTo>
                    <a:pt x="373" y="158"/>
                  </a:lnTo>
                  <a:lnTo>
                    <a:pt x="374" y="158"/>
                  </a:lnTo>
                  <a:lnTo>
                    <a:pt x="376" y="156"/>
                  </a:lnTo>
                  <a:lnTo>
                    <a:pt x="376" y="155"/>
                  </a:lnTo>
                  <a:lnTo>
                    <a:pt x="378" y="156"/>
                  </a:lnTo>
                  <a:lnTo>
                    <a:pt x="379" y="155"/>
                  </a:lnTo>
                  <a:lnTo>
                    <a:pt x="381" y="155"/>
                  </a:lnTo>
                  <a:lnTo>
                    <a:pt x="383" y="153"/>
                  </a:lnTo>
                  <a:lnTo>
                    <a:pt x="383" y="151"/>
                  </a:lnTo>
                  <a:lnTo>
                    <a:pt x="384" y="151"/>
                  </a:lnTo>
                  <a:lnTo>
                    <a:pt x="386" y="150"/>
                  </a:lnTo>
                  <a:lnTo>
                    <a:pt x="389" y="146"/>
                  </a:lnTo>
                  <a:lnTo>
                    <a:pt x="391" y="146"/>
                  </a:lnTo>
                  <a:lnTo>
                    <a:pt x="391" y="148"/>
                  </a:lnTo>
                  <a:lnTo>
                    <a:pt x="392" y="148"/>
                  </a:lnTo>
                  <a:lnTo>
                    <a:pt x="392" y="146"/>
                  </a:lnTo>
                  <a:lnTo>
                    <a:pt x="392" y="148"/>
                  </a:lnTo>
                  <a:lnTo>
                    <a:pt x="392" y="150"/>
                  </a:lnTo>
                  <a:lnTo>
                    <a:pt x="394" y="148"/>
                  </a:lnTo>
                  <a:lnTo>
                    <a:pt x="394" y="150"/>
                  </a:lnTo>
                  <a:lnTo>
                    <a:pt x="396" y="150"/>
                  </a:lnTo>
                  <a:lnTo>
                    <a:pt x="396" y="151"/>
                  </a:lnTo>
                  <a:lnTo>
                    <a:pt x="397" y="151"/>
                  </a:lnTo>
                  <a:lnTo>
                    <a:pt x="396" y="153"/>
                  </a:lnTo>
                  <a:lnTo>
                    <a:pt x="397" y="153"/>
                  </a:lnTo>
                  <a:lnTo>
                    <a:pt x="397" y="155"/>
                  </a:lnTo>
                  <a:lnTo>
                    <a:pt x="399" y="155"/>
                  </a:lnTo>
                  <a:lnTo>
                    <a:pt x="399" y="156"/>
                  </a:lnTo>
                  <a:lnTo>
                    <a:pt x="399" y="158"/>
                  </a:lnTo>
                  <a:lnTo>
                    <a:pt x="401" y="159"/>
                  </a:lnTo>
                  <a:lnTo>
                    <a:pt x="401" y="161"/>
                  </a:lnTo>
                  <a:lnTo>
                    <a:pt x="401" y="163"/>
                  </a:lnTo>
                  <a:lnTo>
                    <a:pt x="401" y="164"/>
                  </a:lnTo>
                  <a:lnTo>
                    <a:pt x="401" y="166"/>
                  </a:lnTo>
                  <a:lnTo>
                    <a:pt x="401" y="168"/>
                  </a:lnTo>
                  <a:lnTo>
                    <a:pt x="401" y="169"/>
                  </a:lnTo>
                  <a:lnTo>
                    <a:pt x="399" y="169"/>
                  </a:lnTo>
                  <a:lnTo>
                    <a:pt x="399" y="171"/>
                  </a:lnTo>
                  <a:lnTo>
                    <a:pt x="401" y="171"/>
                  </a:lnTo>
                  <a:lnTo>
                    <a:pt x="402" y="171"/>
                  </a:lnTo>
                  <a:lnTo>
                    <a:pt x="402" y="172"/>
                  </a:lnTo>
                  <a:lnTo>
                    <a:pt x="401" y="177"/>
                  </a:lnTo>
                  <a:lnTo>
                    <a:pt x="402" y="177"/>
                  </a:lnTo>
                  <a:lnTo>
                    <a:pt x="402" y="179"/>
                  </a:lnTo>
                  <a:lnTo>
                    <a:pt x="404" y="181"/>
                  </a:lnTo>
                  <a:lnTo>
                    <a:pt x="405" y="182"/>
                  </a:lnTo>
                  <a:lnTo>
                    <a:pt x="405" y="184"/>
                  </a:lnTo>
                  <a:lnTo>
                    <a:pt x="407" y="184"/>
                  </a:lnTo>
                  <a:lnTo>
                    <a:pt x="407" y="185"/>
                  </a:lnTo>
                  <a:lnTo>
                    <a:pt x="409" y="184"/>
                  </a:lnTo>
                  <a:lnTo>
                    <a:pt x="410" y="184"/>
                  </a:lnTo>
                  <a:lnTo>
                    <a:pt x="412" y="184"/>
                  </a:lnTo>
                  <a:lnTo>
                    <a:pt x="414" y="184"/>
                  </a:lnTo>
                  <a:lnTo>
                    <a:pt x="414" y="185"/>
                  </a:lnTo>
                  <a:lnTo>
                    <a:pt x="414" y="187"/>
                  </a:lnTo>
                  <a:lnTo>
                    <a:pt x="415" y="189"/>
                  </a:lnTo>
                  <a:lnTo>
                    <a:pt x="414" y="190"/>
                  </a:lnTo>
                  <a:lnTo>
                    <a:pt x="414" y="192"/>
                  </a:lnTo>
                  <a:lnTo>
                    <a:pt x="412" y="195"/>
                  </a:lnTo>
                  <a:lnTo>
                    <a:pt x="410" y="195"/>
                  </a:lnTo>
                  <a:lnTo>
                    <a:pt x="410" y="197"/>
                  </a:lnTo>
                  <a:lnTo>
                    <a:pt x="410" y="199"/>
                  </a:lnTo>
                  <a:lnTo>
                    <a:pt x="410" y="200"/>
                  </a:lnTo>
                  <a:lnTo>
                    <a:pt x="409" y="202"/>
                  </a:lnTo>
                  <a:lnTo>
                    <a:pt x="409" y="203"/>
                  </a:lnTo>
                  <a:lnTo>
                    <a:pt x="410" y="203"/>
                  </a:lnTo>
                  <a:lnTo>
                    <a:pt x="410" y="205"/>
                  </a:lnTo>
                  <a:lnTo>
                    <a:pt x="410" y="207"/>
                  </a:lnTo>
                  <a:lnTo>
                    <a:pt x="412" y="207"/>
                  </a:lnTo>
                  <a:lnTo>
                    <a:pt x="414" y="207"/>
                  </a:lnTo>
                  <a:lnTo>
                    <a:pt x="415" y="207"/>
                  </a:lnTo>
                  <a:lnTo>
                    <a:pt x="415" y="205"/>
                  </a:lnTo>
                  <a:lnTo>
                    <a:pt x="415" y="207"/>
                  </a:lnTo>
                  <a:lnTo>
                    <a:pt x="417" y="207"/>
                  </a:lnTo>
                  <a:lnTo>
                    <a:pt x="418" y="207"/>
                  </a:lnTo>
                  <a:lnTo>
                    <a:pt x="420" y="208"/>
                  </a:lnTo>
                  <a:lnTo>
                    <a:pt x="420" y="207"/>
                  </a:lnTo>
                  <a:lnTo>
                    <a:pt x="423" y="207"/>
                  </a:lnTo>
                  <a:lnTo>
                    <a:pt x="423" y="205"/>
                  </a:lnTo>
                  <a:lnTo>
                    <a:pt x="425" y="205"/>
                  </a:lnTo>
                  <a:lnTo>
                    <a:pt x="425" y="207"/>
                  </a:lnTo>
                  <a:lnTo>
                    <a:pt x="427" y="207"/>
                  </a:lnTo>
                  <a:lnTo>
                    <a:pt x="427" y="208"/>
                  </a:lnTo>
                  <a:lnTo>
                    <a:pt x="428" y="208"/>
                  </a:lnTo>
                  <a:lnTo>
                    <a:pt x="431" y="208"/>
                  </a:lnTo>
                  <a:lnTo>
                    <a:pt x="433" y="208"/>
                  </a:lnTo>
                  <a:lnTo>
                    <a:pt x="433" y="207"/>
                  </a:lnTo>
                  <a:lnTo>
                    <a:pt x="435" y="202"/>
                  </a:lnTo>
                  <a:lnTo>
                    <a:pt x="436" y="202"/>
                  </a:lnTo>
                  <a:lnTo>
                    <a:pt x="436" y="203"/>
                  </a:lnTo>
                  <a:lnTo>
                    <a:pt x="436" y="205"/>
                  </a:lnTo>
                  <a:lnTo>
                    <a:pt x="438" y="205"/>
                  </a:lnTo>
                  <a:lnTo>
                    <a:pt x="440" y="203"/>
                  </a:lnTo>
                  <a:lnTo>
                    <a:pt x="441" y="203"/>
                  </a:lnTo>
                  <a:lnTo>
                    <a:pt x="441" y="205"/>
                  </a:lnTo>
                  <a:lnTo>
                    <a:pt x="443" y="207"/>
                  </a:lnTo>
                  <a:lnTo>
                    <a:pt x="443" y="208"/>
                  </a:lnTo>
                  <a:lnTo>
                    <a:pt x="443" y="210"/>
                  </a:lnTo>
                  <a:lnTo>
                    <a:pt x="444" y="210"/>
                  </a:lnTo>
                  <a:lnTo>
                    <a:pt x="446" y="212"/>
                  </a:lnTo>
                  <a:lnTo>
                    <a:pt x="446" y="213"/>
                  </a:lnTo>
                  <a:lnTo>
                    <a:pt x="446" y="215"/>
                  </a:lnTo>
                  <a:lnTo>
                    <a:pt x="448" y="216"/>
                  </a:lnTo>
                  <a:lnTo>
                    <a:pt x="448" y="215"/>
                  </a:lnTo>
                  <a:lnTo>
                    <a:pt x="448" y="216"/>
                  </a:lnTo>
                  <a:lnTo>
                    <a:pt x="449" y="218"/>
                  </a:lnTo>
                  <a:lnTo>
                    <a:pt x="451" y="218"/>
                  </a:lnTo>
                  <a:lnTo>
                    <a:pt x="451" y="220"/>
                  </a:lnTo>
                  <a:lnTo>
                    <a:pt x="451" y="221"/>
                  </a:lnTo>
                  <a:lnTo>
                    <a:pt x="453" y="221"/>
                  </a:lnTo>
                  <a:lnTo>
                    <a:pt x="453" y="223"/>
                  </a:lnTo>
                  <a:lnTo>
                    <a:pt x="451" y="223"/>
                  </a:lnTo>
                  <a:lnTo>
                    <a:pt x="449" y="225"/>
                  </a:lnTo>
                  <a:lnTo>
                    <a:pt x="448" y="225"/>
                  </a:lnTo>
                  <a:lnTo>
                    <a:pt x="446" y="225"/>
                  </a:lnTo>
                  <a:lnTo>
                    <a:pt x="444" y="225"/>
                  </a:lnTo>
                  <a:lnTo>
                    <a:pt x="443" y="223"/>
                  </a:lnTo>
                  <a:lnTo>
                    <a:pt x="441" y="223"/>
                  </a:lnTo>
                  <a:lnTo>
                    <a:pt x="441" y="221"/>
                  </a:lnTo>
                  <a:lnTo>
                    <a:pt x="440" y="221"/>
                  </a:lnTo>
                  <a:lnTo>
                    <a:pt x="438" y="220"/>
                  </a:lnTo>
                  <a:lnTo>
                    <a:pt x="436" y="218"/>
                  </a:lnTo>
                  <a:lnTo>
                    <a:pt x="435" y="216"/>
                  </a:lnTo>
                  <a:lnTo>
                    <a:pt x="433" y="216"/>
                  </a:lnTo>
                  <a:lnTo>
                    <a:pt x="431" y="216"/>
                  </a:lnTo>
                  <a:lnTo>
                    <a:pt x="433" y="216"/>
                  </a:lnTo>
                  <a:lnTo>
                    <a:pt x="431" y="215"/>
                  </a:lnTo>
                  <a:lnTo>
                    <a:pt x="431" y="213"/>
                  </a:lnTo>
                  <a:lnTo>
                    <a:pt x="431" y="215"/>
                  </a:lnTo>
                  <a:lnTo>
                    <a:pt x="431" y="216"/>
                  </a:lnTo>
                  <a:lnTo>
                    <a:pt x="430" y="216"/>
                  </a:lnTo>
                  <a:lnTo>
                    <a:pt x="428" y="215"/>
                  </a:lnTo>
                  <a:lnTo>
                    <a:pt x="430" y="216"/>
                  </a:lnTo>
                  <a:lnTo>
                    <a:pt x="431" y="216"/>
                  </a:lnTo>
                  <a:lnTo>
                    <a:pt x="433" y="218"/>
                  </a:lnTo>
                  <a:lnTo>
                    <a:pt x="433" y="220"/>
                  </a:lnTo>
                  <a:lnTo>
                    <a:pt x="431" y="220"/>
                  </a:lnTo>
                  <a:lnTo>
                    <a:pt x="431" y="221"/>
                  </a:lnTo>
                  <a:lnTo>
                    <a:pt x="430" y="221"/>
                  </a:lnTo>
                  <a:lnTo>
                    <a:pt x="430" y="223"/>
                  </a:lnTo>
                  <a:lnTo>
                    <a:pt x="430" y="225"/>
                  </a:lnTo>
                  <a:lnTo>
                    <a:pt x="428" y="225"/>
                  </a:lnTo>
                  <a:lnTo>
                    <a:pt x="428" y="226"/>
                  </a:lnTo>
                  <a:lnTo>
                    <a:pt x="428" y="228"/>
                  </a:lnTo>
                  <a:lnTo>
                    <a:pt x="428" y="229"/>
                  </a:lnTo>
                  <a:lnTo>
                    <a:pt x="427" y="229"/>
                  </a:lnTo>
                  <a:lnTo>
                    <a:pt x="427" y="231"/>
                  </a:lnTo>
                  <a:lnTo>
                    <a:pt x="428" y="233"/>
                  </a:lnTo>
                  <a:lnTo>
                    <a:pt x="430" y="236"/>
                  </a:lnTo>
                  <a:lnTo>
                    <a:pt x="431" y="236"/>
                  </a:lnTo>
                  <a:lnTo>
                    <a:pt x="433" y="236"/>
                  </a:lnTo>
                  <a:lnTo>
                    <a:pt x="433" y="238"/>
                  </a:lnTo>
                  <a:lnTo>
                    <a:pt x="435" y="238"/>
                  </a:lnTo>
                  <a:lnTo>
                    <a:pt x="435" y="239"/>
                  </a:lnTo>
                  <a:lnTo>
                    <a:pt x="436" y="239"/>
                  </a:lnTo>
                  <a:lnTo>
                    <a:pt x="436" y="241"/>
                  </a:lnTo>
                  <a:lnTo>
                    <a:pt x="435" y="242"/>
                  </a:lnTo>
                  <a:lnTo>
                    <a:pt x="433" y="244"/>
                  </a:lnTo>
                  <a:lnTo>
                    <a:pt x="433" y="247"/>
                  </a:lnTo>
                  <a:lnTo>
                    <a:pt x="435" y="247"/>
                  </a:lnTo>
                  <a:lnTo>
                    <a:pt x="433" y="247"/>
                  </a:lnTo>
                  <a:lnTo>
                    <a:pt x="435" y="249"/>
                  </a:lnTo>
                  <a:lnTo>
                    <a:pt x="436" y="249"/>
                  </a:lnTo>
                  <a:lnTo>
                    <a:pt x="435" y="251"/>
                  </a:lnTo>
                  <a:lnTo>
                    <a:pt x="433" y="252"/>
                  </a:lnTo>
                  <a:lnTo>
                    <a:pt x="433" y="254"/>
                  </a:lnTo>
                  <a:lnTo>
                    <a:pt x="431" y="257"/>
                  </a:lnTo>
                  <a:lnTo>
                    <a:pt x="431" y="259"/>
                  </a:lnTo>
                  <a:lnTo>
                    <a:pt x="431" y="257"/>
                  </a:lnTo>
                  <a:lnTo>
                    <a:pt x="430" y="257"/>
                  </a:lnTo>
                  <a:lnTo>
                    <a:pt x="431" y="257"/>
                  </a:lnTo>
                  <a:lnTo>
                    <a:pt x="430" y="257"/>
                  </a:lnTo>
                  <a:lnTo>
                    <a:pt x="428" y="257"/>
                  </a:lnTo>
                  <a:lnTo>
                    <a:pt x="428" y="259"/>
                  </a:lnTo>
                  <a:lnTo>
                    <a:pt x="427" y="259"/>
                  </a:lnTo>
                  <a:lnTo>
                    <a:pt x="428" y="259"/>
                  </a:lnTo>
                  <a:lnTo>
                    <a:pt x="430" y="259"/>
                  </a:lnTo>
                  <a:lnTo>
                    <a:pt x="430" y="257"/>
                  </a:lnTo>
                  <a:lnTo>
                    <a:pt x="431" y="259"/>
                  </a:lnTo>
                  <a:lnTo>
                    <a:pt x="431" y="264"/>
                  </a:lnTo>
                  <a:lnTo>
                    <a:pt x="431" y="265"/>
                  </a:lnTo>
                  <a:lnTo>
                    <a:pt x="430" y="265"/>
                  </a:lnTo>
                  <a:lnTo>
                    <a:pt x="431" y="265"/>
                  </a:lnTo>
                  <a:lnTo>
                    <a:pt x="431" y="267"/>
                  </a:lnTo>
                  <a:lnTo>
                    <a:pt x="431" y="268"/>
                  </a:lnTo>
                  <a:lnTo>
                    <a:pt x="431" y="272"/>
                  </a:lnTo>
                  <a:lnTo>
                    <a:pt x="433" y="273"/>
                  </a:lnTo>
                  <a:lnTo>
                    <a:pt x="433" y="275"/>
                  </a:lnTo>
                  <a:lnTo>
                    <a:pt x="433" y="277"/>
                  </a:lnTo>
                  <a:lnTo>
                    <a:pt x="435" y="277"/>
                  </a:lnTo>
                  <a:lnTo>
                    <a:pt x="435" y="278"/>
                  </a:lnTo>
                  <a:lnTo>
                    <a:pt x="435" y="280"/>
                  </a:lnTo>
                  <a:lnTo>
                    <a:pt x="436" y="280"/>
                  </a:lnTo>
                  <a:lnTo>
                    <a:pt x="438" y="281"/>
                  </a:lnTo>
                  <a:lnTo>
                    <a:pt x="440" y="281"/>
                  </a:lnTo>
                  <a:lnTo>
                    <a:pt x="438" y="281"/>
                  </a:lnTo>
                  <a:lnTo>
                    <a:pt x="440" y="281"/>
                  </a:lnTo>
                  <a:lnTo>
                    <a:pt x="438" y="281"/>
                  </a:lnTo>
                  <a:lnTo>
                    <a:pt x="438" y="283"/>
                  </a:lnTo>
                  <a:lnTo>
                    <a:pt x="440" y="285"/>
                  </a:lnTo>
                  <a:lnTo>
                    <a:pt x="440" y="286"/>
                  </a:lnTo>
                  <a:lnTo>
                    <a:pt x="440" y="288"/>
                  </a:lnTo>
                  <a:lnTo>
                    <a:pt x="438" y="290"/>
                  </a:lnTo>
                  <a:lnTo>
                    <a:pt x="440" y="290"/>
                  </a:lnTo>
                  <a:lnTo>
                    <a:pt x="440" y="291"/>
                  </a:lnTo>
                  <a:lnTo>
                    <a:pt x="438" y="291"/>
                  </a:lnTo>
                  <a:lnTo>
                    <a:pt x="436" y="291"/>
                  </a:lnTo>
                  <a:lnTo>
                    <a:pt x="435" y="291"/>
                  </a:lnTo>
                  <a:lnTo>
                    <a:pt x="433" y="291"/>
                  </a:lnTo>
                  <a:lnTo>
                    <a:pt x="431" y="291"/>
                  </a:lnTo>
                  <a:lnTo>
                    <a:pt x="431" y="293"/>
                  </a:lnTo>
                  <a:lnTo>
                    <a:pt x="431" y="291"/>
                  </a:lnTo>
                  <a:lnTo>
                    <a:pt x="433" y="293"/>
                  </a:lnTo>
                  <a:lnTo>
                    <a:pt x="435" y="293"/>
                  </a:lnTo>
                  <a:lnTo>
                    <a:pt x="435" y="291"/>
                  </a:lnTo>
                  <a:lnTo>
                    <a:pt x="436" y="294"/>
                  </a:lnTo>
                  <a:lnTo>
                    <a:pt x="435" y="296"/>
                  </a:lnTo>
                  <a:lnTo>
                    <a:pt x="433" y="298"/>
                  </a:lnTo>
                  <a:lnTo>
                    <a:pt x="431" y="299"/>
                  </a:lnTo>
                  <a:lnTo>
                    <a:pt x="431" y="298"/>
                  </a:lnTo>
                  <a:lnTo>
                    <a:pt x="433" y="298"/>
                  </a:lnTo>
                  <a:lnTo>
                    <a:pt x="433" y="296"/>
                  </a:lnTo>
                  <a:lnTo>
                    <a:pt x="431" y="296"/>
                  </a:lnTo>
                  <a:lnTo>
                    <a:pt x="430" y="296"/>
                  </a:lnTo>
                  <a:lnTo>
                    <a:pt x="428" y="296"/>
                  </a:lnTo>
                  <a:lnTo>
                    <a:pt x="427" y="296"/>
                  </a:lnTo>
                  <a:lnTo>
                    <a:pt x="428" y="298"/>
                  </a:lnTo>
                  <a:lnTo>
                    <a:pt x="430" y="298"/>
                  </a:lnTo>
                  <a:lnTo>
                    <a:pt x="431" y="298"/>
                  </a:lnTo>
                  <a:lnTo>
                    <a:pt x="431" y="299"/>
                  </a:lnTo>
                  <a:lnTo>
                    <a:pt x="433" y="301"/>
                  </a:lnTo>
                  <a:lnTo>
                    <a:pt x="433" y="303"/>
                  </a:lnTo>
                  <a:lnTo>
                    <a:pt x="431" y="303"/>
                  </a:lnTo>
                  <a:lnTo>
                    <a:pt x="431" y="304"/>
                  </a:lnTo>
                  <a:lnTo>
                    <a:pt x="433" y="306"/>
                  </a:lnTo>
                  <a:lnTo>
                    <a:pt x="433" y="307"/>
                  </a:lnTo>
                  <a:lnTo>
                    <a:pt x="431" y="307"/>
                  </a:lnTo>
                  <a:lnTo>
                    <a:pt x="431" y="306"/>
                  </a:lnTo>
                  <a:lnTo>
                    <a:pt x="431" y="304"/>
                  </a:lnTo>
                  <a:lnTo>
                    <a:pt x="430" y="304"/>
                  </a:lnTo>
                  <a:lnTo>
                    <a:pt x="430" y="306"/>
                  </a:lnTo>
                  <a:lnTo>
                    <a:pt x="431" y="306"/>
                  </a:lnTo>
                  <a:lnTo>
                    <a:pt x="431" y="307"/>
                  </a:lnTo>
                  <a:lnTo>
                    <a:pt x="433" y="307"/>
                  </a:lnTo>
                  <a:lnTo>
                    <a:pt x="435" y="309"/>
                  </a:lnTo>
                  <a:lnTo>
                    <a:pt x="436" y="309"/>
                  </a:lnTo>
                  <a:lnTo>
                    <a:pt x="438" y="311"/>
                  </a:lnTo>
                  <a:lnTo>
                    <a:pt x="438" y="312"/>
                  </a:lnTo>
                  <a:lnTo>
                    <a:pt x="436" y="312"/>
                  </a:lnTo>
                  <a:lnTo>
                    <a:pt x="436" y="314"/>
                  </a:lnTo>
                  <a:lnTo>
                    <a:pt x="436" y="312"/>
                  </a:lnTo>
                  <a:lnTo>
                    <a:pt x="435" y="312"/>
                  </a:lnTo>
                  <a:lnTo>
                    <a:pt x="433" y="312"/>
                  </a:lnTo>
                  <a:lnTo>
                    <a:pt x="433" y="311"/>
                  </a:lnTo>
                  <a:lnTo>
                    <a:pt x="433" y="309"/>
                  </a:lnTo>
                  <a:lnTo>
                    <a:pt x="431" y="307"/>
                  </a:lnTo>
                  <a:lnTo>
                    <a:pt x="430" y="309"/>
                  </a:lnTo>
                  <a:lnTo>
                    <a:pt x="428" y="309"/>
                  </a:lnTo>
                  <a:lnTo>
                    <a:pt x="427" y="309"/>
                  </a:lnTo>
                  <a:lnTo>
                    <a:pt x="425" y="311"/>
                  </a:lnTo>
                  <a:lnTo>
                    <a:pt x="423" y="311"/>
                  </a:lnTo>
                  <a:lnTo>
                    <a:pt x="422" y="311"/>
                  </a:lnTo>
                  <a:lnTo>
                    <a:pt x="423" y="311"/>
                  </a:lnTo>
                  <a:lnTo>
                    <a:pt x="423" y="312"/>
                  </a:lnTo>
                  <a:lnTo>
                    <a:pt x="425" y="312"/>
                  </a:lnTo>
                  <a:lnTo>
                    <a:pt x="423" y="312"/>
                  </a:lnTo>
                  <a:lnTo>
                    <a:pt x="422" y="312"/>
                  </a:lnTo>
                  <a:lnTo>
                    <a:pt x="420" y="312"/>
                  </a:lnTo>
                  <a:lnTo>
                    <a:pt x="422" y="312"/>
                  </a:lnTo>
                  <a:lnTo>
                    <a:pt x="423" y="314"/>
                  </a:lnTo>
                  <a:lnTo>
                    <a:pt x="425" y="314"/>
                  </a:lnTo>
                  <a:lnTo>
                    <a:pt x="423" y="314"/>
                  </a:lnTo>
                  <a:lnTo>
                    <a:pt x="422" y="314"/>
                  </a:lnTo>
                  <a:lnTo>
                    <a:pt x="422" y="316"/>
                  </a:lnTo>
                  <a:lnTo>
                    <a:pt x="422" y="317"/>
                  </a:lnTo>
                  <a:lnTo>
                    <a:pt x="423" y="319"/>
                  </a:lnTo>
                  <a:lnTo>
                    <a:pt x="425" y="320"/>
                  </a:lnTo>
                  <a:lnTo>
                    <a:pt x="427" y="320"/>
                  </a:lnTo>
                  <a:lnTo>
                    <a:pt x="428" y="320"/>
                  </a:lnTo>
                  <a:lnTo>
                    <a:pt x="427" y="322"/>
                  </a:lnTo>
                  <a:lnTo>
                    <a:pt x="428" y="322"/>
                  </a:lnTo>
                  <a:lnTo>
                    <a:pt x="430" y="324"/>
                  </a:lnTo>
                  <a:lnTo>
                    <a:pt x="430" y="325"/>
                  </a:lnTo>
                  <a:lnTo>
                    <a:pt x="428" y="325"/>
                  </a:lnTo>
                  <a:lnTo>
                    <a:pt x="428" y="327"/>
                  </a:lnTo>
                  <a:lnTo>
                    <a:pt x="427" y="329"/>
                  </a:lnTo>
                  <a:lnTo>
                    <a:pt x="427" y="330"/>
                  </a:lnTo>
                  <a:lnTo>
                    <a:pt x="427" y="332"/>
                  </a:lnTo>
                  <a:lnTo>
                    <a:pt x="427" y="333"/>
                  </a:lnTo>
                  <a:lnTo>
                    <a:pt x="427" y="335"/>
                  </a:lnTo>
                  <a:lnTo>
                    <a:pt x="428" y="335"/>
                  </a:lnTo>
                  <a:lnTo>
                    <a:pt x="428" y="337"/>
                  </a:lnTo>
                  <a:lnTo>
                    <a:pt x="428" y="338"/>
                  </a:lnTo>
                  <a:lnTo>
                    <a:pt x="428" y="340"/>
                  </a:lnTo>
                  <a:lnTo>
                    <a:pt x="428" y="343"/>
                  </a:lnTo>
                  <a:lnTo>
                    <a:pt x="428" y="345"/>
                  </a:lnTo>
                  <a:lnTo>
                    <a:pt x="430" y="345"/>
                  </a:lnTo>
                  <a:lnTo>
                    <a:pt x="430" y="347"/>
                  </a:lnTo>
                  <a:lnTo>
                    <a:pt x="428" y="350"/>
                  </a:lnTo>
                  <a:lnTo>
                    <a:pt x="428" y="351"/>
                  </a:lnTo>
                  <a:lnTo>
                    <a:pt x="428" y="353"/>
                  </a:lnTo>
                  <a:lnTo>
                    <a:pt x="428" y="355"/>
                  </a:lnTo>
                  <a:lnTo>
                    <a:pt x="428" y="356"/>
                  </a:lnTo>
                  <a:lnTo>
                    <a:pt x="427" y="360"/>
                  </a:lnTo>
                  <a:lnTo>
                    <a:pt x="425" y="363"/>
                  </a:lnTo>
                  <a:lnTo>
                    <a:pt x="425" y="364"/>
                  </a:lnTo>
                  <a:lnTo>
                    <a:pt x="425" y="366"/>
                  </a:lnTo>
                  <a:lnTo>
                    <a:pt x="425" y="368"/>
                  </a:lnTo>
                  <a:lnTo>
                    <a:pt x="427" y="368"/>
                  </a:lnTo>
                  <a:lnTo>
                    <a:pt x="427" y="369"/>
                  </a:lnTo>
                  <a:lnTo>
                    <a:pt x="428" y="369"/>
                  </a:lnTo>
                  <a:lnTo>
                    <a:pt x="428" y="371"/>
                  </a:lnTo>
                  <a:lnTo>
                    <a:pt x="427" y="371"/>
                  </a:lnTo>
                  <a:lnTo>
                    <a:pt x="427" y="373"/>
                  </a:lnTo>
                  <a:lnTo>
                    <a:pt x="425" y="374"/>
                  </a:lnTo>
                  <a:lnTo>
                    <a:pt x="425" y="376"/>
                  </a:lnTo>
                  <a:lnTo>
                    <a:pt x="423" y="376"/>
                  </a:lnTo>
                  <a:lnTo>
                    <a:pt x="423" y="377"/>
                  </a:lnTo>
                  <a:lnTo>
                    <a:pt x="422" y="377"/>
                  </a:lnTo>
                  <a:lnTo>
                    <a:pt x="423" y="377"/>
                  </a:lnTo>
                  <a:lnTo>
                    <a:pt x="422" y="379"/>
                  </a:lnTo>
                  <a:lnTo>
                    <a:pt x="420" y="381"/>
                  </a:lnTo>
                  <a:lnTo>
                    <a:pt x="420" y="382"/>
                  </a:lnTo>
                  <a:lnTo>
                    <a:pt x="418" y="382"/>
                  </a:lnTo>
                  <a:lnTo>
                    <a:pt x="420" y="384"/>
                  </a:lnTo>
                  <a:lnTo>
                    <a:pt x="417" y="384"/>
                  </a:lnTo>
                  <a:lnTo>
                    <a:pt x="417" y="386"/>
                  </a:lnTo>
                  <a:lnTo>
                    <a:pt x="415" y="386"/>
                  </a:lnTo>
                  <a:lnTo>
                    <a:pt x="414" y="387"/>
                  </a:lnTo>
                  <a:lnTo>
                    <a:pt x="414" y="389"/>
                  </a:lnTo>
                  <a:lnTo>
                    <a:pt x="410" y="390"/>
                  </a:lnTo>
                  <a:lnTo>
                    <a:pt x="410" y="392"/>
                  </a:lnTo>
                  <a:lnTo>
                    <a:pt x="410" y="394"/>
                  </a:lnTo>
                  <a:lnTo>
                    <a:pt x="409" y="395"/>
                  </a:lnTo>
                  <a:lnTo>
                    <a:pt x="409" y="397"/>
                  </a:lnTo>
                  <a:lnTo>
                    <a:pt x="410" y="397"/>
                  </a:lnTo>
                  <a:lnTo>
                    <a:pt x="409" y="397"/>
                  </a:lnTo>
                  <a:lnTo>
                    <a:pt x="409" y="399"/>
                  </a:lnTo>
                  <a:lnTo>
                    <a:pt x="409" y="400"/>
                  </a:lnTo>
                  <a:lnTo>
                    <a:pt x="407" y="400"/>
                  </a:lnTo>
                  <a:lnTo>
                    <a:pt x="407" y="402"/>
                  </a:lnTo>
                  <a:lnTo>
                    <a:pt x="405" y="402"/>
                  </a:lnTo>
                  <a:lnTo>
                    <a:pt x="404" y="403"/>
                  </a:lnTo>
                  <a:lnTo>
                    <a:pt x="404" y="405"/>
                  </a:lnTo>
                  <a:lnTo>
                    <a:pt x="402" y="405"/>
                  </a:lnTo>
                  <a:lnTo>
                    <a:pt x="402" y="407"/>
                  </a:lnTo>
                  <a:lnTo>
                    <a:pt x="401" y="407"/>
                  </a:lnTo>
                  <a:lnTo>
                    <a:pt x="401" y="408"/>
                  </a:lnTo>
                  <a:lnTo>
                    <a:pt x="399" y="410"/>
                  </a:lnTo>
                  <a:lnTo>
                    <a:pt x="399" y="412"/>
                  </a:lnTo>
                  <a:lnTo>
                    <a:pt x="397" y="412"/>
                  </a:lnTo>
                  <a:lnTo>
                    <a:pt x="397" y="413"/>
                  </a:lnTo>
                  <a:lnTo>
                    <a:pt x="397" y="415"/>
                  </a:lnTo>
                  <a:lnTo>
                    <a:pt x="399" y="415"/>
                  </a:lnTo>
                  <a:lnTo>
                    <a:pt x="397" y="415"/>
                  </a:lnTo>
                  <a:lnTo>
                    <a:pt x="399" y="416"/>
                  </a:lnTo>
                  <a:lnTo>
                    <a:pt x="399" y="418"/>
                  </a:lnTo>
                  <a:lnTo>
                    <a:pt x="397" y="418"/>
                  </a:lnTo>
                  <a:lnTo>
                    <a:pt x="397" y="420"/>
                  </a:lnTo>
                  <a:lnTo>
                    <a:pt x="399" y="420"/>
                  </a:lnTo>
                  <a:lnTo>
                    <a:pt x="397" y="421"/>
                  </a:lnTo>
                  <a:lnTo>
                    <a:pt x="399" y="421"/>
                  </a:lnTo>
                  <a:lnTo>
                    <a:pt x="399" y="423"/>
                  </a:lnTo>
                  <a:lnTo>
                    <a:pt x="397" y="426"/>
                  </a:lnTo>
                  <a:lnTo>
                    <a:pt x="396" y="426"/>
                  </a:lnTo>
                  <a:lnTo>
                    <a:pt x="394" y="428"/>
                  </a:lnTo>
                  <a:lnTo>
                    <a:pt x="392" y="431"/>
                  </a:lnTo>
                  <a:lnTo>
                    <a:pt x="391" y="433"/>
                  </a:lnTo>
                  <a:lnTo>
                    <a:pt x="388" y="434"/>
                  </a:lnTo>
                  <a:lnTo>
                    <a:pt x="384" y="438"/>
                  </a:lnTo>
                  <a:lnTo>
                    <a:pt x="383" y="439"/>
                  </a:lnTo>
                  <a:lnTo>
                    <a:pt x="381" y="441"/>
                  </a:lnTo>
                  <a:lnTo>
                    <a:pt x="379" y="441"/>
                  </a:lnTo>
                  <a:lnTo>
                    <a:pt x="379" y="442"/>
                  </a:lnTo>
                  <a:lnTo>
                    <a:pt x="378" y="444"/>
                  </a:lnTo>
                  <a:lnTo>
                    <a:pt x="378" y="447"/>
                  </a:lnTo>
                  <a:lnTo>
                    <a:pt x="378" y="449"/>
                  </a:lnTo>
                  <a:lnTo>
                    <a:pt x="376" y="449"/>
                  </a:lnTo>
                  <a:lnTo>
                    <a:pt x="376" y="451"/>
                  </a:lnTo>
                  <a:lnTo>
                    <a:pt x="378" y="451"/>
                  </a:lnTo>
                  <a:lnTo>
                    <a:pt x="376" y="449"/>
                  </a:lnTo>
                  <a:lnTo>
                    <a:pt x="376" y="451"/>
                  </a:lnTo>
                  <a:lnTo>
                    <a:pt x="378" y="451"/>
                  </a:lnTo>
                  <a:lnTo>
                    <a:pt x="376" y="451"/>
                  </a:lnTo>
                  <a:lnTo>
                    <a:pt x="376" y="449"/>
                  </a:lnTo>
                  <a:lnTo>
                    <a:pt x="371" y="447"/>
                  </a:lnTo>
                  <a:lnTo>
                    <a:pt x="370" y="449"/>
                  </a:lnTo>
                  <a:lnTo>
                    <a:pt x="370" y="447"/>
                  </a:lnTo>
                  <a:lnTo>
                    <a:pt x="368" y="447"/>
                  </a:lnTo>
                  <a:lnTo>
                    <a:pt x="368" y="446"/>
                  </a:lnTo>
                  <a:lnTo>
                    <a:pt x="370" y="444"/>
                  </a:lnTo>
                  <a:lnTo>
                    <a:pt x="368" y="444"/>
                  </a:lnTo>
                  <a:lnTo>
                    <a:pt x="366" y="446"/>
                  </a:lnTo>
                  <a:lnTo>
                    <a:pt x="365" y="446"/>
                  </a:lnTo>
                  <a:lnTo>
                    <a:pt x="363" y="446"/>
                  </a:lnTo>
                  <a:lnTo>
                    <a:pt x="361" y="444"/>
                  </a:lnTo>
                  <a:lnTo>
                    <a:pt x="361" y="442"/>
                  </a:lnTo>
                  <a:lnTo>
                    <a:pt x="361" y="441"/>
                  </a:lnTo>
                  <a:lnTo>
                    <a:pt x="363" y="441"/>
                  </a:lnTo>
                  <a:lnTo>
                    <a:pt x="363" y="439"/>
                  </a:lnTo>
                  <a:lnTo>
                    <a:pt x="363" y="438"/>
                  </a:lnTo>
                  <a:lnTo>
                    <a:pt x="363" y="436"/>
                  </a:lnTo>
                  <a:lnTo>
                    <a:pt x="363" y="438"/>
                  </a:lnTo>
                  <a:lnTo>
                    <a:pt x="363" y="439"/>
                  </a:lnTo>
                  <a:lnTo>
                    <a:pt x="361" y="439"/>
                  </a:lnTo>
                  <a:lnTo>
                    <a:pt x="361" y="441"/>
                  </a:lnTo>
                  <a:lnTo>
                    <a:pt x="361" y="442"/>
                  </a:lnTo>
                  <a:lnTo>
                    <a:pt x="361" y="444"/>
                  </a:lnTo>
                  <a:lnTo>
                    <a:pt x="361" y="446"/>
                  </a:lnTo>
                  <a:lnTo>
                    <a:pt x="363" y="446"/>
                  </a:lnTo>
                  <a:lnTo>
                    <a:pt x="365" y="446"/>
                  </a:lnTo>
                  <a:lnTo>
                    <a:pt x="366" y="446"/>
                  </a:lnTo>
                  <a:lnTo>
                    <a:pt x="368" y="447"/>
                  </a:lnTo>
                  <a:lnTo>
                    <a:pt x="368" y="449"/>
                  </a:lnTo>
                  <a:lnTo>
                    <a:pt x="370" y="449"/>
                  </a:lnTo>
                  <a:lnTo>
                    <a:pt x="370" y="451"/>
                  </a:lnTo>
                  <a:lnTo>
                    <a:pt x="370" y="452"/>
                  </a:lnTo>
                  <a:lnTo>
                    <a:pt x="370" y="454"/>
                  </a:lnTo>
                  <a:lnTo>
                    <a:pt x="370" y="455"/>
                  </a:lnTo>
                  <a:lnTo>
                    <a:pt x="371" y="454"/>
                  </a:lnTo>
                  <a:lnTo>
                    <a:pt x="371" y="455"/>
                  </a:lnTo>
                  <a:lnTo>
                    <a:pt x="371" y="457"/>
                  </a:lnTo>
                  <a:lnTo>
                    <a:pt x="373" y="457"/>
                  </a:lnTo>
                  <a:lnTo>
                    <a:pt x="373" y="455"/>
                  </a:lnTo>
                  <a:lnTo>
                    <a:pt x="374" y="454"/>
                  </a:lnTo>
                  <a:lnTo>
                    <a:pt x="373" y="457"/>
                  </a:lnTo>
                  <a:lnTo>
                    <a:pt x="373" y="460"/>
                  </a:lnTo>
                  <a:lnTo>
                    <a:pt x="373" y="462"/>
                  </a:lnTo>
                  <a:lnTo>
                    <a:pt x="374" y="462"/>
                  </a:lnTo>
                  <a:lnTo>
                    <a:pt x="374" y="464"/>
                  </a:lnTo>
                  <a:lnTo>
                    <a:pt x="376" y="464"/>
                  </a:lnTo>
                  <a:lnTo>
                    <a:pt x="378" y="465"/>
                  </a:lnTo>
                  <a:lnTo>
                    <a:pt x="378" y="467"/>
                  </a:lnTo>
                  <a:lnTo>
                    <a:pt x="376" y="468"/>
                  </a:lnTo>
                  <a:lnTo>
                    <a:pt x="374" y="468"/>
                  </a:lnTo>
                  <a:lnTo>
                    <a:pt x="374" y="470"/>
                  </a:lnTo>
                  <a:lnTo>
                    <a:pt x="373" y="470"/>
                  </a:lnTo>
                  <a:lnTo>
                    <a:pt x="374" y="472"/>
                  </a:lnTo>
                  <a:lnTo>
                    <a:pt x="373" y="472"/>
                  </a:lnTo>
                  <a:lnTo>
                    <a:pt x="374" y="472"/>
                  </a:lnTo>
                  <a:lnTo>
                    <a:pt x="373" y="473"/>
                  </a:lnTo>
                  <a:lnTo>
                    <a:pt x="371" y="475"/>
                  </a:lnTo>
                  <a:lnTo>
                    <a:pt x="371" y="473"/>
                  </a:lnTo>
                  <a:lnTo>
                    <a:pt x="370" y="473"/>
                  </a:lnTo>
                  <a:lnTo>
                    <a:pt x="370" y="472"/>
                  </a:lnTo>
                  <a:lnTo>
                    <a:pt x="368" y="472"/>
                  </a:lnTo>
                  <a:lnTo>
                    <a:pt x="365" y="470"/>
                  </a:lnTo>
                  <a:lnTo>
                    <a:pt x="361" y="468"/>
                  </a:lnTo>
                  <a:lnTo>
                    <a:pt x="360" y="470"/>
                  </a:lnTo>
                  <a:lnTo>
                    <a:pt x="357" y="468"/>
                  </a:lnTo>
                  <a:lnTo>
                    <a:pt x="355" y="470"/>
                  </a:lnTo>
                  <a:lnTo>
                    <a:pt x="353" y="470"/>
                  </a:lnTo>
                  <a:lnTo>
                    <a:pt x="352" y="470"/>
                  </a:lnTo>
                  <a:lnTo>
                    <a:pt x="352" y="468"/>
                  </a:lnTo>
                  <a:lnTo>
                    <a:pt x="352" y="467"/>
                  </a:lnTo>
                  <a:lnTo>
                    <a:pt x="350" y="467"/>
                  </a:lnTo>
                  <a:lnTo>
                    <a:pt x="348" y="465"/>
                  </a:lnTo>
                  <a:lnTo>
                    <a:pt x="348" y="464"/>
                  </a:lnTo>
                  <a:lnTo>
                    <a:pt x="347" y="464"/>
                  </a:lnTo>
                  <a:lnTo>
                    <a:pt x="345" y="462"/>
                  </a:lnTo>
                  <a:lnTo>
                    <a:pt x="344" y="462"/>
                  </a:lnTo>
                  <a:lnTo>
                    <a:pt x="344" y="460"/>
                  </a:lnTo>
                  <a:lnTo>
                    <a:pt x="344" y="462"/>
                  </a:lnTo>
                  <a:lnTo>
                    <a:pt x="345" y="462"/>
                  </a:lnTo>
                  <a:lnTo>
                    <a:pt x="347" y="462"/>
                  </a:lnTo>
                  <a:lnTo>
                    <a:pt x="347" y="464"/>
                  </a:lnTo>
                  <a:lnTo>
                    <a:pt x="348" y="464"/>
                  </a:lnTo>
                  <a:lnTo>
                    <a:pt x="350" y="464"/>
                  </a:lnTo>
                  <a:lnTo>
                    <a:pt x="350" y="465"/>
                  </a:lnTo>
                  <a:lnTo>
                    <a:pt x="350" y="464"/>
                  </a:lnTo>
                  <a:lnTo>
                    <a:pt x="348" y="464"/>
                  </a:lnTo>
                  <a:lnTo>
                    <a:pt x="348" y="462"/>
                  </a:lnTo>
                  <a:lnTo>
                    <a:pt x="347" y="462"/>
                  </a:lnTo>
                  <a:lnTo>
                    <a:pt x="345" y="462"/>
                  </a:lnTo>
                  <a:lnTo>
                    <a:pt x="344" y="462"/>
                  </a:lnTo>
                  <a:lnTo>
                    <a:pt x="344" y="460"/>
                  </a:lnTo>
                  <a:lnTo>
                    <a:pt x="342" y="460"/>
                  </a:lnTo>
                  <a:lnTo>
                    <a:pt x="340" y="462"/>
                  </a:lnTo>
                  <a:lnTo>
                    <a:pt x="340" y="460"/>
                  </a:lnTo>
                  <a:lnTo>
                    <a:pt x="339" y="460"/>
                  </a:lnTo>
                  <a:lnTo>
                    <a:pt x="339" y="462"/>
                  </a:lnTo>
                  <a:lnTo>
                    <a:pt x="337" y="462"/>
                  </a:lnTo>
                  <a:lnTo>
                    <a:pt x="335" y="460"/>
                  </a:lnTo>
                  <a:lnTo>
                    <a:pt x="335" y="459"/>
                  </a:lnTo>
                  <a:lnTo>
                    <a:pt x="337" y="459"/>
                  </a:lnTo>
                  <a:lnTo>
                    <a:pt x="335" y="460"/>
                  </a:lnTo>
                  <a:lnTo>
                    <a:pt x="337" y="460"/>
                  </a:lnTo>
                  <a:lnTo>
                    <a:pt x="337" y="459"/>
                  </a:lnTo>
                  <a:lnTo>
                    <a:pt x="339" y="457"/>
                  </a:lnTo>
                  <a:lnTo>
                    <a:pt x="340" y="455"/>
                  </a:lnTo>
                  <a:lnTo>
                    <a:pt x="340" y="454"/>
                  </a:lnTo>
                  <a:lnTo>
                    <a:pt x="340" y="455"/>
                  </a:lnTo>
                  <a:lnTo>
                    <a:pt x="339" y="455"/>
                  </a:lnTo>
                  <a:lnTo>
                    <a:pt x="337" y="455"/>
                  </a:lnTo>
                  <a:lnTo>
                    <a:pt x="335" y="457"/>
                  </a:lnTo>
                  <a:lnTo>
                    <a:pt x="334" y="457"/>
                  </a:lnTo>
                  <a:lnTo>
                    <a:pt x="334" y="459"/>
                  </a:lnTo>
                  <a:lnTo>
                    <a:pt x="332" y="459"/>
                  </a:lnTo>
                  <a:lnTo>
                    <a:pt x="334" y="459"/>
                  </a:lnTo>
                  <a:lnTo>
                    <a:pt x="334" y="460"/>
                  </a:lnTo>
                  <a:lnTo>
                    <a:pt x="332" y="462"/>
                  </a:lnTo>
                  <a:lnTo>
                    <a:pt x="334" y="462"/>
                  </a:lnTo>
                  <a:lnTo>
                    <a:pt x="332" y="464"/>
                  </a:lnTo>
                  <a:lnTo>
                    <a:pt x="332" y="465"/>
                  </a:lnTo>
                  <a:lnTo>
                    <a:pt x="331" y="465"/>
                  </a:lnTo>
                  <a:lnTo>
                    <a:pt x="329" y="465"/>
                  </a:lnTo>
                  <a:lnTo>
                    <a:pt x="327" y="465"/>
                  </a:lnTo>
                  <a:lnTo>
                    <a:pt x="326" y="467"/>
                  </a:lnTo>
                  <a:lnTo>
                    <a:pt x="324" y="467"/>
                  </a:lnTo>
                  <a:lnTo>
                    <a:pt x="324" y="468"/>
                  </a:lnTo>
                  <a:lnTo>
                    <a:pt x="322" y="470"/>
                  </a:lnTo>
                  <a:lnTo>
                    <a:pt x="321" y="470"/>
                  </a:lnTo>
                  <a:lnTo>
                    <a:pt x="321" y="468"/>
                  </a:lnTo>
                  <a:lnTo>
                    <a:pt x="322" y="468"/>
                  </a:lnTo>
                  <a:lnTo>
                    <a:pt x="324" y="467"/>
                  </a:lnTo>
                  <a:lnTo>
                    <a:pt x="324" y="465"/>
                  </a:lnTo>
                  <a:lnTo>
                    <a:pt x="326" y="465"/>
                  </a:lnTo>
                  <a:lnTo>
                    <a:pt x="326" y="464"/>
                  </a:lnTo>
                  <a:lnTo>
                    <a:pt x="326" y="462"/>
                  </a:lnTo>
                  <a:lnTo>
                    <a:pt x="326" y="460"/>
                  </a:lnTo>
                  <a:lnTo>
                    <a:pt x="326" y="459"/>
                  </a:lnTo>
                  <a:lnTo>
                    <a:pt x="326" y="457"/>
                  </a:lnTo>
                  <a:lnTo>
                    <a:pt x="324" y="455"/>
                  </a:lnTo>
                  <a:lnTo>
                    <a:pt x="324" y="452"/>
                  </a:lnTo>
                  <a:lnTo>
                    <a:pt x="322" y="452"/>
                  </a:lnTo>
                  <a:lnTo>
                    <a:pt x="321" y="451"/>
                  </a:lnTo>
                  <a:lnTo>
                    <a:pt x="322" y="449"/>
                  </a:lnTo>
                  <a:lnTo>
                    <a:pt x="322" y="447"/>
                  </a:lnTo>
                  <a:lnTo>
                    <a:pt x="321" y="447"/>
                  </a:lnTo>
                  <a:lnTo>
                    <a:pt x="321" y="446"/>
                  </a:lnTo>
                  <a:lnTo>
                    <a:pt x="319" y="444"/>
                  </a:lnTo>
                  <a:lnTo>
                    <a:pt x="321" y="444"/>
                  </a:lnTo>
                  <a:lnTo>
                    <a:pt x="322" y="444"/>
                  </a:lnTo>
                  <a:lnTo>
                    <a:pt x="322" y="442"/>
                  </a:lnTo>
                  <a:lnTo>
                    <a:pt x="324" y="441"/>
                  </a:lnTo>
                  <a:lnTo>
                    <a:pt x="322" y="439"/>
                  </a:lnTo>
                  <a:lnTo>
                    <a:pt x="324" y="439"/>
                  </a:lnTo>
                  <a:lnTo>
                    <a:pt x="324" y="438"/>
                  </a:lnTo>
                  <a:lnTo>
                    <a:pt x="324" y="434"/>
                  </a:lnTo>
                  <a:lnTo>
                    <a:pt x="326" y="434"/>
                  </a:lnTo>
                  <a:lnTo>
                    <a:pt x="327" y="434"/>
                  </a:lnTo>
                  <a:lnTo>
                    <a:pt x="327" y="433"/>
                  </a:lnTo>
                  <a:lnTo>
                    <a:pt x="329" y="431"/>
                  </a:lnTo>
                  <a:lnTo>
                    <a:pt x="327" y="433"/>
                  </a:lnTo>
                  <a:lnTo>
                    <a:pt x="327" y="434"/>
                  </a:lnTo>
                  <a:lnTo>
                    <a:pt x="324" y="434"/>
                  </a:lnTo>
                  <a:lnTo>
                    <a:pt x="324" y="436"/>
                  </a:lnTo>
                  <a:lnTo>
                    <a:pt x="322" y="438"/>
                  </a:lnTo>
                  <a:lnTo>
                    <a:pt x="322" y="439"/>
                  </a:lnTo>
                  <a:lnTo>
                    <a:pt x="324" y="441"/>
                  </a:lnTo>
                  <a:lnTo>
                    <a:pt x="322" y="441"/>
                  </a:lnTo>
                  <a:lnTo>
                    <a:pt x="321" y="442"/>
                  </a:lnTo>
                  <a:lnTo>
                    <a:pt x="319" y="444"/>
                  </a:lnTo>
                  <a:lnTo>
                    <a:pt x="319" y="446"/>
                  </a:lnTo>
                  <a:lnTo>
                    <a:pt x="321" y="446"/>
                  </a:lnTo>
                  <a:lnTo>
                    <a:pt x="319" y="447"/>
                  </a:lnTo>
                  <a:lnTo>
                    <a:pt x="318" y="447"/>
                  </a:lnTo>
                  <a:lnTo>
                    <a:pt x="318" y="449"/>
                  </a:lnTo>
                  <a:lnTo>
                    <a:pt x="316" y="449"/>
                  </a:lnTo>
                  <a:lnTo>
                    <a:pt x="314" y="447"/>
                  </a:lnTo>
                  <a:lnTo>
                    <a:pt x="313" y="449"/>
                  </a:lnTo>
                  <a:lnTo>
                    <a:pt x="311" y="447"/>
                  </a:lnTo>
                  <a:lnTo>
                    <a:pt x="309" y="446"/>
                  </a:lnTo>
                  <a:lnTo>
                    <a:pt x="308" y="444"/>
                  </a:lnTo>
                  <a:lnTo>
                    <a:pt x="308" y="442"/>
                  </a:lnTo>
                  <a:lnTo>
                    <a:pt x="306" y="444"/>
                  </a:lnTo>
                  <a:lnTo>
                    <a:pt x="305" y="444"/>
                  </a:lnTo>
                  <a:lnTo>
                    <a:pt x="303" y="446"/>
                  </a:lnTo>
                  <a:lnTo>
                    <a:pt x="301" y="447"/>
                  </a:lnTo>
                  <a:lnTo>
                    <a:pt x="300" y="446"/>
                  </a:lnTo>
                  <a:lnTo>
                    <a:pt x="300" y="444"/>
                  </a:lnTo>
                  <a:lnTo>
                    <a:pt x="298" y="442"/>
                  </a:lnTo>
                  <a:lnTo>
                    <a:pt x="298" y="441"/>
                  </a:lnTo>
                  <a:lnTo>
                    <a:pt x="296" y="439"/>
                  </a:lnTo>
                  <a:lnTo>
                    <a:pt x="298" y="438"/>
                  </a:lnTo>
                  <a:lnTo>
                    <a:pt x="296" y="438"/>
                  </a:lnTo>
                  <a:lnTo>
                    <a:pt x="296" y="436"/>
                  </a:lnTo>
                  <a:lnTo>
                    <a:pt x="296" y="434"/>
                  </a:lnTo>
                  <a:lnTo>
                    <a:pt x="295" y="434"/>
                  </a:lnTo>
                  <a:lnTo>
                    <a:pt x="296" y="436"/>
                  </a:lnTo>
                  <a:lnTo>
                    <a:pt x="296" y="438"/>
                  </a:lnTo>
                  <a:lnTo>
                    <a:pt x="296" y="439"/>
                  </a:lnTo>
                  <a:lnTo>
                    <a:pt x="296" y="441"/>
                  </a:lnTo>
                  <a:lnTo>
                    <a:pt x="298" y="442"/>
                  </a:lnTo>
                  <a:lnTo>
                    <a:pt x="298" y="444"/>
                  </a:lnTo>
                  <a:lnTo>
                    <a:pt x="300" y="444"/>
                  </a:lnTo>
                  <a:lnTo>
                    <a:pt x="300" y="446"/>
                  </a:lnTo>
                  <a:lnTo>
                    <a:pt x="301" y="447"/>
                  </a:lnTo>
                  <a:lnTo>
                    <a:pt x="303" y="447"/>
                  </a:lnTo>
                  <a:lnTo>
                    <a:pt x="303" y="446"/>
                  </a:lnTo>
                  <a:lnTo>
                    <a:pt x="305" y="446"/>
                  </a:lnTo>
                  <a:lnTo>
                    <a:pt x="306" y="444"/>
                  </a:lnTo>
                  <a:lnTo>
                    <a:pt x="308" y="444"/>
                  </a:lnTo>
                  <a:lnTo>
                    <a:pt x="309" y="446"/>
                  </a:lnTo>
                  <a:lnTo>
                    <a:pt x="311" y="447"/>
                  </a:lnTo>
                  <a:lnTo>
                    <a:pt x="313" y="449"/>
                  </a:lnTo>
                  <a:lnTo>
                    <a:pt x="314" y="449"/>
                  </a:lnTo>
                  <a:lnTo>
                    <a:pt x="314" y="451"/>
                  </a:lnTo>
                  <a:lnTo>
                    <a:pt x="316" y="451"/>
                  </a:lnTo>
                  <a:lnTo>
                    <a:pt x="318" y="449"/>
                  </a:lnTo>
                  <a:lnTo>
                    <a:pt x="318" y="447"/>
                  </a:lnTo>
                  <a:lnTo>
                    <a:pt x="319" y="447"/>
                  </a:lnTo>
                  <a:lnTo>
                    <a:pt x="321" y="447"/>
                  </a:lnTo>
                  <a:lnTo>
                    <a:pt x="321" y="449"/>
                  </a:lnTo>
                  <a:lnTo>
                    <a:pt x="321" y="451"/>
                  </a:lnTo>
                  <a:lnTo>
                    <a:pt x="322" y="452"/>
                  </a:lnTo>
                  <a:lnTo>
                    <a:pt x="322" y="454"/>
                  </a:lnTo>
                  <a:lnTo>
                    <a:pt x="322" y="455"/>
                  </a:lnTo>
                  <a:lnTo>
                    <a:pt x="321" y="455"/>
                  </a:lnTo>
                  <a:lnTo>
                    <a:pt x="321" y="457"/>
                  </a:lnTo>
                  <a:lnTo>
                    <a:pt x="319" y="459"/>
                  </a:lnTo>
                  <a:lnTo>
                    <a:pt x="319" y="460"/>
                  </a:lnTo>
                  <a:lnTo>
                    <a:pt x="319" y="462"/>
                  </a:lnTo>
                  <a:lnTo>
                    <a:pt x="321" y="462"/>
                  </a:lnTo>
                  <a:lnTo>
                    <a:pt x="322" y="462"/>
                  </a:lnTo>
                  <a:lnTo>
                    <a:pt x="321" y="462"/>
                  </a:lnTo>
                  <a:lnTo>
                    <a:pt x="319" y="462"/>
                  </a:lnTo>
                  <a:lnTo>
                    <a:pt x="319" y="464"/>
                  </a:lnTo>
                  <a:lnTo>
                    <a:pt x="318" y="464"/>
                  </a:lnTo>
                  <a:lnTo>
                    <a:pt x="318" y="465"/>
                  </a:lnTo>
                  <a:lnTo>
                    <a:pt x="316" y="465"/>
                  </a:lnTo>
                  <a:lnTo>
                    <a:pt x="316" y="467"/>
                  </a:lnTo>
                  <a:lnTo>
                    <a:pt x="314" y="467"/>
                  </a:lnTo>
                  <a:lnTo>
                    <a:pt x="313" y="467"/>
                  </a:lnTo>
                  <a:lnTo>
                    <a:pt x="313" y="465"/>
                  </a:lnTo>
                  <a:lnTo>
                    <a:pt x="311" y="465"/>
                  </a:lnTo>
                  <a:lnTo>
                    <a:pt x="309" y="465"/>
                  </a:lnTo>
                  <a:lnTo>
                    <a:pt x="308" y="465"/>
                  </a:lnTo>
                  <a:lnTo>
                    <a:pt x="306" y="465"/>
                  </a:lnTo>
                  <a:lnTo>
                    <a:pt x="308" y="464"/>
                  </a:lnTo>
                  <a:lnTo>
                    <a:pt x="309" y="462"/>
                  </a:lnTo>
                  <a:lnTo>
                    <a:pt x="311" y="460"/>
                  </a:lnTo>
                  <a:lnTo>
                    <a:pt x="309" y="462"/>
                  </a:lnTo>
                  <a:lnTo>
                    <a:pt x="309" y="460"/>
                  </a:lnTo>
                  <a:lnTo>
                    <a:pt x="308" y="460"/>
                  </a:lnTo>
                  <a:lnTo>
                    <a:pt x="306" y="459"/>
                  </a:lnTo>
                  <a:lnTo>
                    <a:pt x="306" y="460"/>
                  </a:lnTo>
                  <a:lnTo>
                    <a:pt x="306" y="459"/>
                  </a:lnTo>
                  <a:lnTo>
                    <a:pt x="306" y="460"/>
                  </a:lnTo>
                  <a:lnTo>
                    <a:pt x="308" y="462"/>
                  </a:lnTo>
                  <a:lnTo>
                    <a:pt x="309" y="462"/>
                  </a:lnTo>
                  <a:lnTo>
                    <a:pt x="309" y="464"/>
                  </a:lnTo>
                  <a:lnTo>
                    <a:pt x="308" y="462"/>
                  </a:lnTo>
                  <a:lnTo>
                    <a:pt x="305" y="460"/>
                  </a:lnTo>
                  <a:lnTo>
                    <a:pt x="303" y="462"/>
                  </a:lnTo>
                  <a:lnTo>
                    <a:pt x="301" y="464"/>
                  </a:lnTo>
                  <a:lnTo>
                    <a:pt x="300" y="464"/>
                  </a:lnTo>
                  <a:lnTo>
                    <a:pt x="298" y="464"/>
                  </a:lnTo>
                  <a:lnTo>
                    <a:pt x="298" y="462"/>
                  </a:lnTo>
                  <a:lnTo>
                    <a:pt x="298" y="464"/>
                  </a:lnTo>
                  <a:lnTo>
                    <a:pt x="296" y="464"/>
                  </a:lnTo>
                  <a:lnTo>
                    <a:pt x="296" y="462"/>
                  </a:lnTo>
                  <a:lnTo>
                    <a:pt x="295" y="462"/>
                  </a:lnTo>
                  <a:lnTo>
                    <a:pt x="293" y="460"/>
                  </a:lnTo>
                  <a:lnTo>
                    <a:pt x="292" y="460"/>
                  </a:lnTo>
                  <a:lnTo>
                    <a:pt x="290" y="460"/>
                  </a:lnTo>
                  <a:lnTo>
                    <a:pt x="288" y="460"/>
                  </a:lnTo>
                  <a:lnTo>
                    <a:pt x="287" y="459"/>
                  </a:lnTo>
                  <a:lnTo>
                    <a:pt x="285" y="459"/>
                  </a:lnTo>
                  <a:lnTo>
                    <a:pt x="283" y="459"/>
                  </a:lnTo>
                  <a:lnTo>
                    <a:pt x="283" y="460"/>
                  </a:lnTo>
                  <a:lnTo>
                    <a:pt x="282" y="460"/>
                  </a:lnTo>
                  <a:lnTo>
                    <a:pt x="282" y="459"/>
                  </a:lnTo>
                  <a:lnTo>
                    <a:pt x="280" y="459"/>
                  </a:lnTo>
                  <a:lnTo>
                    <a:pt x="279" y="459"/>
                  </a:lnTo>
                  <a:lnTo>
                    <a:pt x="277" y="459"/>
                  </a:lnTo>
                  <a:lnTo>
                    <a:pt x="275" y="459"/>
                  </a:lnTo>
                  <a:lnTo>
                    <a:pt x="275" y="460"/>
                  </a:lnTo>
                  <a:lnTo>
                    <a:pt x="274" y="460"/>
                  </a:lnTo>
                  <a:lnTo>
                    <a:pt x="272" y="460"/>
                  </a:lnTo>
                  <a:lnTo>
                    <a:pt x="270" y="460"/>
                  </a:lnTo>
                  <a:lnTo>
                    <a:pt x="269" y="460"/>
                  </a:lnTo>
                  <a:lnTo>
                    <a:pt x="267" y="462"/>
                  </a:lnTo>
                  <a:lnTo>
                    <a:pt x="267" y="464"/>
                  </a:lnTo>
                  <a:lnTo>
                    <a:pt x="266" y="462"/>
                  </a:lnTo>
                  <a:lnTo>
                    <a:pt x="266" y="460"/>
                  </a:lnTo>
                  <a:lnTo>
                    <a:pt x="266" y="459"/>
                  </a:lnTo>
                  <a:lnTo>
                    <a:pt x="264" y="459"/>
                  </a:lnTo>
                  <a:lnTo>
                    <a:pt x="266" y="459"/>
                  </a:lnTo>
                  <a:lnTo>
                    <a:pt x="264" y="459"/>
                  </a:lnTo>
                  <a:lnTo>
                    <a:pt x="264" y="460"/>
                  </a:lnTo>
                  <a:lnTo>
                    <a:pt x="262" y="460"/>
                  </a:lnTo>
                  <a:lnTo>
                    <a:pt x="262" y="459"/>
                  </a:lnTo>
                  <a:lnTo>
                    <a:pt x="261" y="457"/>
                  </a:lnTo>
                  <a:lnTo>
                    <a:pt x="261" y="459"/>
                  </a:lnTo>
                  <a:lnTo>
                    <a:pt x="262" y="459"/>
                  </a:lnTo>
                  <a:lnTo>
                    <a:pt x="261" y="459"/>
                  </a:lnTo>
                  <a:lnTo>
                    <a:pt x="262" y="460"/>
                  </a:lnTo>
                  <a:lnTo>
                    <a:pt x="261" y="460"/>
                  </a:lnTo>
                  <a:lnTo>
                    <a:pt x="261" y="462"/>
                  </a:lnTo>
                  <a:lnTo>
                    <a:pt x="261" y="460"/>
                  </a:lnTo>
                  <a:lnTo>
                    <a:pt x="261" y="462"/>
                  </a:lnTo>
                  <a:lnTo>
                    <a:pt x="259" y="462"/>
                  </a:lnTo>
                  <a:lnTo>
                    <a:pt x="261" y="464"/>
                  </a:lnTo>
                  <a:lnTo>
                    <a:pt x="259" y="464"/>
                  </a:lnTo>
                  <a:lnTo>
                    <a:pt x="261" y="464"/>
                  </a:lnTo>
                  <a:lnTo>
                    <a:pt x="262" y="464"/>
                  </a:lnTo>
                  <a:lnTo>
                    <a:pt x="262" y="465"/>
                  </a:lnTo>
                  <a:lnTo>
                    <a:pt x="262" y="467"/>
                  </a:lnTo>
                  <a:lnTo>
                    <a:pt x="264" y="467"/>
                  </a:lnTo>
                  <a:lnTo>
                    <a:pt x="267" y="467"/>
                  </a:lnTo>
                  <a:lnTo>
                    <a:pt x="267" y="468"/>
                  </a:lnTo>
                  <a:lnTo>
                    <a:pt x="266" y="468"/>
                  </a:lnTo>
                  <a:lnTo>
                    <a:pt x="264" y="468"/>
                  </a:lnTo>
                  <a:lnTo>
                    <a:pt x="262" y="470"/>
                  </a:lnTo>
                  <a:lnTo>
                    <a:pt x="262" y="472"/>
                  </a:lnTo>
                  <a:lnTo>
                    <a:pt x="262" y="473"/>
                  </a:lnTo>
                  <a:lnTo>
                    <a:pt x="261" y="475"/>
                  </a:lnTo>
                  <a:lnTo>
                    <a:pt x="259" y="475"/>
                  </a:lnTo>
                  <a:lnTo>
                    <a:pt x="257" y="475"/>
                  </a:lnTo>
                  <a:lnTo>
                    <a:pt x="256" y="475"/>
                  </a:lnTo>
                  <a:lnTo>
                    <a:pt x="254" y="475"/>
                  </a:lnTo>
                  <a:lnTo>
                    <a:pt x="253" y="475"/>
                  </a:lnTo>
                  <a:lnTo>
                    <a:pt x="251" y="475"/>
                  </a:lnTo>
                  <a:lnTo>
                    <a:pt x="249" y="475"/>
                  </a:lnTo>
                  <a:lnTo>
                    <a:pt x="249" y="477"/>
                  </a:lnTo>
                  <a:lnTo>
                    <a:pt x="248" y="477"/>
                  </a:lnTo>
                  <a:lnTo>
                    <a:pt x="248" y="478"/>
                  </a:lnTo>
                  <a:lnTo>
                    <a:pt x="249" y="478"/>
                  </a:lnTo>
                  <a:lnTo>
                    <a:pt x="248" y="480"/>
                  </a:lnTo>
                  <a:lnTo>
                    <a:pt x="248" y="478"/>
                  </a:lnTo>
                  <a:lnTo>
                    <a:pt x="248" y="480"/>
                  </a:lnTo>
                  <a:lnTo>
                    <a:pt x="248" y="478"/>
                  </a:lnTo>
                  <a:lnTo>
                    <a:pt x="246" y="478"/>
                  </a:lnTo>
                  <a:lnTo>
                    <a:pt x="244" y="478"/>
                  </a:lnTo>
                  <a:lnTo>
                    <a:pt x="244" y="477"/>
                  </a:lnTo>
                  <a:lnTo>
                    <a:pt x="243" y="477"/>
                  </a:lnTo>
                  <a:lnTo>
                    <a:pt x="241" y="477"/>
                  </a:lnTo>
                  <a:lnTo>
                    <a:pt x="240" y="477"/>
                  </a:lnTo>
                  <a:lnTo>
                    <a:pt x="238" y="477"/>
                  </a:lnTo>
                  <a:lnTo>
                    <a:pt x="238" y="475"/>
                  </a:lnTo>
                  <a:lnTo>
                    <a:pt x="240" y="473"/>
                  </a:lnTo>
                  <a:lnTo>
                    <a:pt x="240" y="472"/>
                  </a:lnTo>
                  <a:lnTo>
                    <a:pt x="240" y="473"/>
                  </a:lnTo>
                  <a:lnTo>
                    <a:pt x="241" y="473"/>
                  </a:lnTo>
                  <a:lnTo>
                    <a:pt x="240" y="472"/>
                  </a:lnTo>
                  <a:lnTo>
                    <a:pt x="238" y="470"/>
                  </a:lnTo>
                  <a:lnTo>
                    <a:pt x="236" y="470"/>
                  </a:lnTo>
                  <a:lnTo>
                    <a:pt x="236" y="468"/>
                  </a:lnTo>
                  <a:lnTo>
                    <a:pt x="236" y="467"/>
                  </a:lnTo>
                  <a:lnTo>
                    <a:pt x="236" y="468"/>
                  </a:lnTo>
                  <a:lnTo>
                    <a:pt x="238" y="467"/>
                  </a:lnTo>
                  <a:lnTo>
                    <a:pt x="240" y="467"/>
                  </a:lnTo>
                  <a:lnTo>
                    <a:pt x="240" y="465"/>
                  </a:lnTo>
                  <a:lnTo>
                    <a:pt x="240" y="464"/>
                  </a:lnTo>
                  <a:lnTo>
                    <a:pt x="240" y="462"/>
                  </a:lnTo>
                  <a:lnTo>
                    <a:pt x="241" y="460"/>
                  </a:lnTo>
                  <a:lnTo>
                    <a:pt x="240" y="460"/>
                  </a:lnTo>
                  <a:lnTo>
                    <a:pt x="240" y="459"/>
                  </a:lnTo>
                  <a:lnTo>
                    <a:pt x="240" y="457"/>
                  </a:lnTo>
                  <a:lnTo>
                    <a:pt x="241" y="455"/>
                  </a:lnTo>
                  <a:lnTo>
                    <a:pt x="240" y="457"/>
                  </a:lnTo>
                  <a:lnTo>
                    <a:pt x="240" y="459"/>
                  </a:lnTo>
                  <a:lnTo>
                    <a:pt x="240" y="460"/>
                  </a:lnTo>
                  <a:lnTo>
                    <a:pt x="241" y="460"/>
                  </a:lnTo>
                  <a:lnTo>
                    <a:pt x="240" y="462"/>
                  </a:lnTo>
                  <a:lnTo>
                    <a:pt x="240" y="464"/>
                  </a:lnTo>
                  <a:lnTo>
                    <a:pt x="240" y="465"/>
                  </a:lnTo>
                  <a:lnTo>
                    <a:pt x="238" y="465"/>
                  </a:lnTo>
                  <a:lnTo>
                    <a:pt x="238" y="467"/>
                  </a:lnTo>
                  <a:lnTo>
                    <a:pt x="236" y="467"/>
                  </a:lnTo>
                  <a:lnTo>
                    <a:pt x="235" y="468"/>
                  </a:lnTo>
                  <a:lnTo>
                    <a:pt x="236" y="468"/>
                  </a:lnTo>
                  <a:lnTo>
                    <a:pt x="236" y="470"/>
                  </a:lnTo>
                  <a:lnTo>
                    <a:pt x="238" y="470"/>
                  </a:lnTo>
                  <a:lnTo>
                    <a:pt x="236" y="470"/>
                  </a:lnTo>
                  <a:lnTo>
                    <a:pt x="236" y="472"/>
                  </a:lnTo>
                  <a:lnTo>
                    <a:pt x="238" y="472"/>
                  </a:lnTo>
                  <a:lnTo>
                    <a:pt x="238" y="473"/>
                  </a:lnTo>
                  <a:lnTo>
                    <a:pt x="238" y="475"/>
                  </a:lnTo>
                  <a:lnTo>
                    <a:pt x="238" y="477"/>
                  </a:lnTo>
                  <a:lnTo>
                    <a:pt x="235" y="477"/>
                  </a:lnTo>
                  <a:lnTo>
                    <a:pt x="235" y="478"/>
                  </a:lnTo>
                  <a:lnTo>
                    <a:pt x="233" y="480"/>
                  </a:lnTo>
                  <a:lnTo>
                    <a:pt x="231" y="480"/>
                  </a:lnTo>
                  <a:lnTo>
                    <a:pt x="231" y="478"/>
                  </a:lnTo>
                  <a:lnTo>
                    <a:pt x="230" y="478"/>
                  </a:lnTo>
                  <a:lnTo>
                    <a:pt x="230" y="480"/>
                  </a:lnTo>
                  <a:lnTo>
                    <a:pt x="228" y="480"/>
                  </a:lnTo>
                  <a:lnTo>
                    <a:pt x="230" y="480"/>
                  </a:lnTo>
                  <a:lnTo>
                    <a:pt x="231" y="478"/>
                  </a:lnTo>
                  <a:lnTo>
                    <a:pt x="231" y="480"/>
                  </a:lnTo>
                  <a:lnTo>
                    <a:pt x="230" y="480"/>
                  </a:lnTo>
                  <a:lnTo>
                    <a:pt x="230" y="482"/>
                  </a:lnTo>
                  <a:lnTo>
                    <a:pt x="231" y="482"/>
                  </a:lnTo>
                  <a:lnTo>
                    <a:pt x="233" y="483"/>
                  </a:lnTo>
                  <a:lnTo>
                    <a:pt x="233" y="485"/>
                  </a:lnTo>
                  <a:lnTo>
                    <a:pt x="231" y="485"/>
                  </a:lnTo>
                  <a:lnTo>
                    <a:pt x="230" y="485"/>
                  </a:lnTo>
                  <a:lnTo>
                    <a:pt x="228" y="485"/>
                  </a:lnTo>
                  <a:lnTo>
                    <a:pt x="226" y="485"/>
                  </a:lnTo>
                  <a:lnTo>
                    <a:pt x="223" y="483"/>
                  </a:lnTo>
                  <a:lnTo>
                    <a:pt x="222" y="485"/>
                  </a:lnTo>
                  <a:lnTo>
                    <a:pt x="220" y="485"/>
                  </a:lnTo>
                  <a:lnTo>
                    <a:pt x="218" y="486"/>
                  </a:lnTo>
                  <a:lnTo>
                    <a:pt x="217" y="486"/>
                  </a:lnTo>
                  <a:lnTo>
                    <a:pt x="218" y="486"/>
                  </a:lnTo>
                  <a:lnTo>
                    <a:pt x="218" y="488"/>
                  </a:lnTo>
                  <a:lnTo>
                    <a:pt x="220" y="488"/>
                  </a:lnTo>
                  <a:lnTo>
                    <a:pt x="220" y="490"/>
                  </a:lnTo>
                  <a:lnTo>
                    <a:pt x="218" y="490"/>
                  </a:lnTo>
                  <a:lnTo>
                    <a:pt x="217" y="490"/>
                  </a:lnTo>
                  <a:lnTo>
                    <a:pt x="215" y="490"/>
                  </a:lnTo>
                  <a:lnTo>
                    <a:pt x="213" y="490"/>
                  </a:lnTo>
                  <a:lnTo>
                    <a:pt x="212" y="490"/>
                  </a:lnTo>
                  <a:lnTo>
                    <a:pt x="210" y="490"/>
                  </a:lnTo>
                  <a:lnTo>
                    <a:pt x="209" y="490"/>
                  </a:lnTo>
                  <a:lnTo>
                    <a:pt x="207" y="490"/>
                  </a:lnTo>
                  <a:lnTo>
                    <a:pt x="205" y="490"/>
                  </a:lnTo>
                  <a:lnTo>
                    <a:pt x="205" y="491"/>
                  </a:lnTo>
                  <a:lnTo>
                    <a:pt x="204" y="491"/>
                  </a:lnTo>
                  <a:lnTo>
                    <a:pt x="204" y="490"/>
                  </a:lnTo>
                  <a:lnTo>
                    <a:pt x="202" y="490"/>
                  </a:lnTo>
                  <a:lnTo>
                    <a:pt x="200" y="490"/>
                  </a:lnTo>
                  <a:lnTo>
                    <a:pt x="200" y="488"/>
                  </a:lnTo>
                  <a:lnTo>
                    <a:pt x="199" y="488"/>
                  </a:lnTo>
                  <a:lnTo>
                    <a:pt x="197" y="488"/>
                  </a:lnTo>
                  <a:lnTo>
                    <a:pt x="197" y="486"/>
                  </a:lnTo>
                  <a:lnTo>
                    <a:pt x="197" y="485"/>
                  </a:lnTo>
                  <a:lnTo>
                    <a:pt x="199" y="483"/>
                  </a:lnTo>
                  <a:lnTo>
                    <a:pt x="197" y="483"/>
                  </a:lnTo>
                  <a:lnTo>
                    <a:pt x="199" y="483"/>
                  </a:lnTo>
                  <a:lnTo>
                    <a:pt x="200" y="483"/>
                  </a:lnTo>
                  <a:lnTo>
                    <a:pt x="199" y="483"/>
                  </a:lnTo>
                  <a:lnTo>
                    <a:pt x="200" y="482"/>
                  </a:lnTo>
                  <a:lnTo>
                    <a:pt x="202" y="482"/>
                  </a:lnTo>
                  <a:lnTo>
                    <a:pt x="204" y="482"/>
                  </a:lnTo>
                  <a:lnTo>
                    <a:pt x="205" y="482"/>
                  </a:lnTo>
                  <a:lnTo>
                    <a:pt x="204" y="482"/>
                  </a:lnTo>
                  <a:lnTo>
                    <a:pt x="205" y="480"/>
                  </a:lnTo>
                  <a:lnTo>
                    <a:pt x="204" y="480"/>
                  </a:lnTo>
                  <a:lnTo>
                    <a:pt x="204" y="478"/>
                  </a:lnTo>
                  <a:lnTo>
                    <a:pt x="205" y="477"/>
                  </a:lnTo>
                  <a:lnTo>
                    <a:pt x="207" y="477"/>
                  </a:lnTo>
                  <a:lnTo>
                    <a:pt x="207" y="475"/>
                  </a:lnTo>
                  <a:lnTo>
                    <a:pt x="205" y="475"/>
                  </a:lnTo>
                  <a:lnTo>
                    <a:pt x="205" y="477"/>
                  </a:lnTo>
                  <a:lnTo>
                    <a:pt x="204" y="477"/>
                  </a:lnTo>
                  <a:lnTo>
                    <a:pt x="204" y="475"/>
                  </a:lnTo>
                  <a:lnTo>
                    <a:pt x="202" y="475"/>
                  </a:lnTo>
                  <a:lnTo>
                    <a:pt x="202" y="477"/>
                  </a:lnTo>
                  <a:lnTo>
                    <a:pt x="202" y="475"/>
                  </a:lnTo>
                  <a:lnTo>
                    <a:pt x="200" y="475"/>
                  </a:lnTo>
                  <a:lnTo>
                    <a:pt x="199" y="475"/>
                  </a:lnTo>
                  <a:lnTo>
                    <a:pt x="200" y="475"/>
                  </a:lnTo>
                  <a:lnTo>
                    <a:pt x="199" y="473"/>
                  </a:lnTo>
                  <a:lnTo>
                    <a:pt x="199" y="475"/>
                  </a:lnTo>
                  <a:lnTo>
                    <a:pt x="199" y="473"/>
                  </a:lnTo>
                  <a:lnTo>
                    <a:pt x="197" y="473"/>
                  </a:lnTo>
                  <a:lnTo>
                    <a:pt x="199" y="473"/>
                  </a:lnTo>
                  <a:lnTo>
                    <a:pt x="197" y="473"/>
                  </a:lnTo>
                  <a:lnTo>
                    <a:pt x="197" y="475"/>
                  </a:lnTo>
                  <a:lnTo>
                    <a:pt x="199" y="475"/>
                  </a:lnTo>
                  <a:lnTo>
                    <a:pt x="199" y="477"/>
                  </a:lnTo>
                  <a:lnTo>
                    <a:pt x="200" y="477"/>
                  </a:lnTo>
                  <a:lnTo>
                    <a:pt x="202" y="477"/>
                  </a:lnTo>
                  <a:lnTo>
                    <a:pt x="204" y="477"/>
                  </a:lnTo>
                  <a:lnTo>
                    <a:pt x="204" y="478"/>
                  </a:lnTo>
                  <a:lnTo>
                    <a:pt x="202" y="478"/>
                  </a:lnTo>
                  <a:lnTo>
                    <a:pt x="202" y="480"/>
                  </a:lnTo>
                  <a:lnTo>
                    <a:pt x="200" y="480"/>
                  </a:lnTo>
                  <a:lnTo>
                    <a:pt x="199" y="478"/>
                  </a:lnTo>
                  <a:lnTo>
                    <a:pt x="197" y="478"/>
                  </a:lnTo>
                  <a:lnTo>
                    <a:pt x="197" y="480"/>
                  </a:lnTo>
                  <a:lnTo>
                    <a:pt x="194" y="480"/>
                  </a:lnTo>
                  <a:lnTo>
                    <a:pt x="192" y="480"/>
                  </a:lnTo>
                  <a:lnTo>
                    <a:pt x="192" y="478"/>
                  </a:lnTo>
                  <a:lnTo>
                    <a:pt x="192" y="477"/>
                  </a:lnTo>
                  <a:lnTo>
                    <a:pt x="194" y="477"/>
                  </a:lnTo>
                  <a:lnTo>
                    <a:pt x="194" y="475"/>
                  </a:lnTo>
                  <a:lnTo>
                    <a:pt x="192" y="475"/>
                  </a:lnTo>
                  <a:lnTo>
                    <a:pt x="194" y="473"/>
                  </a:lnTo>
                  <a:lnTo>
                    <a:pt x="196" y="473"/>
                  </a:lnTo>
                  <a:lnTo>
                    <a:pt x="196" y="472"/>
                  </a:lnTo>
                  <a:lnTo>
                    <a:pt x="194" y="472"/>
                  </a:lnTo>
                  <a:lnTo>
                    <a:pt x="196" y="472"/>
                  </a:lnTo>
                  <a:lnTo>
                    <a:pt x="197" y="472"/>
                  </a:lnTo>
                  <a:lnTo>
                    <a:pt x="199" y="472"/>
                  </a:lnTo>
                  <a:lnTo>
                    <a:pt x="197" y="472"/>
                  </a:lnTo>
                  <a:lnTo>
                    <a:pt x="196" y="472"/>
                  </a:lnTo>
                  <a:lnTo>
                    <a:pt x="196" y="470"/>
                  </a:lnTo>
                  <a:lnTo>
                    <a:pt x="196" y="472"/>
                  </a:lnTo>
                  <a:lnTo>
                    <a:pt x="197" y="472"/>
                  </a:lnTo>
                  <a:lnTo>
                    <a:pt x="197" y="470"/>
                  </a:lnTo>
                  <a:lnTo>
                    <a:pt x="196" y="470"/>
                  </a:lnTo>
                  <a:lnTo>
                    <a:pt x="194" y="470"/>
                  </a:lnTo>
                  <a:lnTo>
                    <a:pt x="196" y="470"/>
                  </a:lnTo>
                  <a:lnTo>
                    <a:pt x="196" y="472"/>
                  </a:lnTo>
                  <a:lnTo>
                    <a:pt x="194" y="472"/>
                  </a:lnTo>
                  <a:lnTo>
                    <a:pt x="194" y="473"/>
                  </a:lnTo>
                  <a:lnTo>
                    <a:pt x="192" y="473"/>
                  </a:lnTo>
                  <a:lnTo>
                    <a:pt x="192" y="472"/>
                  </a:lnTo>
                  <a:lnTo>
                    <a:pt x="191" y="472"/>
                  </a:lnTo>
                  <a:lnTo>
                    <a:pt x="189" y="470"/>
                  </a:lnTo>
                  <a:lnTo>
                    <a:pt x="189" y="468"/>
                  </a:lnTo>
                  <a:lnTo>
                    <a:pt x="189" y="470"/>
                  </a:lnTo>
                  <a:lnTo>
                    <a:pt x="187" y="470"/>
                  </a:lnTo>
                  <a:lnTo>
                    <a:pt x="186" y="468"/>
                  </a:lnTo>
                  <a:lnTo>
                    <a:pt x="184" y="468"/>
                  </a:lnTo>
                  <a:lnTo>
                    <a:pt x="187" y="470"/>
                  </a:lnTo>
                  <a:lnTo>
                    <a:pt x="189" y="470"/>
                  </a:lnTo>
                  <a:lnTo>
                    <a:pt x="189" y="472"/>
                  </a:lnTo>
                  <a:lnTo>
                    <a:pt x="187" y="473"/>
                  </a:lnTo>
                  <a:lnTo>
                    <a:pt x="187" y="472"/>
                  </a:lnTo>
                  <a:lnTo>
                    <a:pt x="186" y="472"/>
                  </a:lnTo>
                  <a:lnTo>
                    <a:pt x="187" y="473"/>
                  </a:lnTo>
                  <a:lnTo>
                    <a:pt x="187" y="472"/>
                  </a:lnTo>
                  <a:lnTo>
                    <a:pt x="187" y="473"/>
                  </a:lnTo>
                  <a:lnTo>
                    <a:pt x="189" y="473"/>
                  </a:lnTo>
                  <a:lnTo>
                    <a:pt x="191" y="473"/>
                  </a:lnTo>
                  <a:lnTo>
                    <a:pt x="192" y="473"/>
                  </a:lnTo>
                  <a:lnTo>
                    <a:pt x="192" y="475"/>
                  </a:lnTo>
                  <a:lnTo>
                    <a:pt x="192" y="477"/>
                  </a:lnTo>
                  <a:lnTo>
                    <a:pt x="192" y="478"/>
                  </a:lnTo>
                  <a:lnTo>
                    <a:pt x="191" y="478"/>
                  </a:lnTo>
                  <a:lnTo>
                    <a:pt x="191" y="480"/>
                  </a:lnTo>
                  <a:lnTo>
                    <a:pt x="189" y="480"/>
                  </a:lnTo>
                  <a:lnTo>
                    <a:pt x="191" y="480"/>
                  </a:lnTo>
                  <a:lnTo>
                    <a:pt x="192" y="480"/>
                  </a:lnTo>
                  <a:lnTo>
                    <a:pt x="192" y="482"/>
                  </a:lnTo>
                  <a:lnTo>
                    <a:pt x="192" y="480"/>
                  </a:lnTo>
                  <a:lnTo>
                    <a:pt x="194" y="482"/>
                  </a:lnTo>
                  <a:lnTo>
                    <a:pt x="194" y="483"/>
                  </a:lnTo>
                  <a:lnTo>
                    <a:pt x="192" y="483"/>
                  </a:lnTo>
                  <a:lnTo>
                    <a:pt x="192" y="482"/>
                  </a:lnTo>
                  <a:lnTo>
                    <a:pt x="192" y="483"/>
                  </a:lnTo>
                  <a:lnTo>
                    <a:pt x="194" y="485"/>
                  </a:lnTo>
                  <a:lnTo>
                    <a:pt x="192" y="485"/>
                  </a:lnTo>
                  <a:lnTo>
                    <a:pt x="191" y="485"/>
                  </a:lnTo>
                  <a:lnTo>
                    <a:pt x="189" y="483"/>
                  </a:lnTo>
                  <a:lnTo>
                    <a:pt x="189" y="482"/>
                  </a:lnTo>
                  <a:lnTo>
                    <a:pt x="187" y="483"/>
                  </a:lnTo>
                  <a:lnTo>
                    <a:pt x="187" y="482"/>
                  </a:lnTo>
                  <a:lnTo>
                    <a:pt x="187" y="483"/>
                  </a:lnTo>
                  <a:lnTo>
                    <a:pt x="186" y="482"/>
                  </a:lnTo>
                  <a:lnTo>
                    <a:pt x="186" y="483"/>
                  </a:lnTo>
                  <a:lnTo>
                    <a:pt x="187" y="483"/>
                  </a:lnTo>
                  <a:lnTo>
                    <a:pt x="189" y="483"/>
                  </a:lnTo>
                  <a:lnTo>
                    <a:pt x="191" y="485"/>
                  </a:lnTo>
                  <a:lnTo>
                    <a:pt x="192" y="485"/>
                  </a:lnTo>
                  <a:lnTo>
                    <a:pt x="194" y="486"/>
                  </a:lnTo>
                  <a:lnTo>
                    <a:pt x="194" y="485"/>
                  </a:lnTo>
                  <a:lnTo>
                    <a:pt x="196" y="485"/>
                  </a:lnTo>
                  <a:lnTo>
                    <a:pt x="196" y="486"/>
                  </a:lnTo>
                  <a:lnTo>
                    <a:pt x="194" y="486"/>
                  </a:lnTo>
                  <a:lnTo>
                    <a:pt x="194" y="488"/>
                  </a:lnTo>
                  <a:lnTo>
                    <a:pt x="192" y="488"/>
                  </a:lnTo>
                  <a:lnTo>
                    <a:pt x="192" y="490"/>
                  </a:lnTo>
                  <a:lnTo>
                    <a:pt x="191" y="490"/>
                  </a:lnTo>
                  <a:lnTo>
                    <a:pt x="189" y="490"/>
                  </a:lnTo>
                  <a:lnTo>
                    <a:pt x="191" y="490"/>
                  </a:lnTo>
                  <a:lnTo>
                    <a:pt x="192" y="490"/>
                  </a:lnTo>
                  <a:lnTo>
                    <a:pt x="192" y="491"/>
                  </a:lnTo>
                  <a:lnTo>
                    <a:pt x="192" y="493"/>
                  </a:lnTo>
                  <a:lnTo>
                    <a:pt x="191" y="493"/>
                  </a:lnTo>
                  <a:lnTo>
                    <a:pt x="191" y="495"/>
                  </a:lnTo>
                  <a:lnTo>
                    <a:pt x="189" y="495"/>
                  </a:lnTo>
                  <a:lnTo>
                    <a:pt x="187" y="495"/>
                  </a:lnTo>
                  <a:lnTo>
                    <a:pt x="187" y="496"/>
                  </a:lnTo>
                  <a:lnTo>
                    <a:pt x="186" y="496"/>
                  </a:lnTo>
                  <a:lnTo>
                    <a:pt x="183" y="496"/>
                  </a:lnTo>
                  <a:lnTo>
                    <a:pt x="183" y="498"/>
                  </a:lnTo>
                  <a:lnTo>
                    <a:pt x="181" y="498"/>
                  </a:lnTo>
                  <a:lnTo>
                    <a:pt x="183" y="498"/>
                  </a:lnTo>
                  <a:lnTo>
                    <a:pt x="181" y="498"/>
                  </a:lnTo>
                  <a:lnTo>
                    <a:pt x="181" y="496"/>
                  </a:lnTo>
                  <a:lnTo>
                    <a:pt x="179" y="496"/>
                  </a:lnTo>
                  <a:lnTo>
                    <a:pt x="179" y="498"/>
                  </a:lnTo>
                  <a:lnTo>
                    <a:pt x="178" y="498"/>
                  </a:lnTo>
                  <a:lnTo>
                    <a:pt x="178" y="499"/>
                  </a:lnTo>
                  <a:lnTo>
                    <a:pt x="176" y="499"/>
                  </a:lnTo>
                  <a:lnTo>
                    <a:pt x="176" y="498"/>
                  </a:lnTo>
                  <a:lnTo>
                    <a:pt x="178" y="498"/>
                  </a:lnTo>
                  <a:lnTo>
                    <a:pt x="178" y="496"/>
                  </a:lnTo>
                  <a:lnTo>
                    <a:pt x="176" y="496"/>
                  </a:lnTo>
                  <a:lnTo>
                    <a:pt x="176" y="495"/>
                  </a:lnTo>
                  <a:lnTo>
                    <a:pt x="174" y="495"/>
                  </a:lnTo>
                  <a:lnTo>
                    <a:pt x="174" y="493"/>
                  </a:lnTo>
                  <a:lnTo>
                    <a:pt x="173" y="493"/>
                  </a:lnTo>
                  <a:lnTo>
                    <a:pt x="174" y="493"/>
                  </a:lnTo>
                  <a:lnTo>
                    <a:pt x="174" y="495"/>
                  </a:lnTo>
                  <a:lnTo>
                    <a:pt x="176" y="496"/>
                  </a:lnTo>
                  <a:lnTo>
                    <a:pt x="176" y="498"/>
                  </a:lnTo>
                  <a:lnTo>
                    <a:pt x="176" y="499"/>
                  </a:lnTo>
                  <a:lnTo>
                    <a:pt x="174" y="499"/>
                  </a:lnTo>
                  <a:lnTo>
                    <a:pt x="173" y="499"/>
                  </a:lnTo>
                  <a:lnTo>
                    <a:pt x="171" y="499"/>
                  </a:lnTo>
                  <a:lnTo>
                    <a:pt x="171" y="498"/>
                  </a:lnTo>
                  <a:lnTo>
                    <a:pt x="173" y="498"/>
                  </a:lnTo>
                  <a:lnTo>
                    <a:pt x="173" y="496"/>
                  </a:lnTo>
                  <a:lnTo>
                    <a:pt x="171" y="495"/>
                  </a:lnTo>
                  <a:lnTo>
                    <a:pt x="171" y="496"/>
                  </a:lnTo>
                  <a:lnTo>
                    <a:pt x="170" y="496"/>
                  </a:lnTo>
                  <a:lnTo>
                    <a:pt x="170" y="495"/>
                  </a:lnTo>
                  <a:lnTo>
                    <a:pt x="168" y="495"/>
                  </a:lnTo>
                  <a:lnTo>
                    <a:pt x="168" y="493"/>
                  </a:lnTo>
                  <a:lnTo>
                    <a:pt x="168" y="495"/>
                  </a:lnTo>
                  <a:lnTo>
                    <a:pt x="166" y="495"/>
                  </a:lnTo>
                  <a:lnTo>
                    <a:pt x="165" y="495"/>
                  </a:lnTo>
                  <a:lnTo>
                    <a:pt x="165" y="493"/>
                  </a:lnTo>
                  <a:lnTo>
                    <a:pt x="163" y="491"/>
                  </a:lnTo>
                  <a:lnTo>
                    <a:pt x="165" y="491"/>
                  </a:lnTo>
                  <a:lnTo>
                    <a:pt x="163" y="490"/>
                  </a:lnTo>
                  <a:lnTo>
                    <a:pt x="163" y="488"/>
                  </a:lnTo>
                  <a:lnTo>
                    <a:pt x="161" y="486"/>
                  </a:lnTo>
                  <a:lnTo>
                    <a:pt x="161" y="488"/>
                  </a:lnTo>
                  <a:lnTo>
                    <a:pt x="163" y="488"/>
                  </a:lnTo>
                  <a:lnTo>
                    <a:pt x="163" y="490"/>
                  </a:lnTo>
                  <a:lnTo>
                    <a:pt x="163" y="491"/>
                  </a:lnTo>
                  <a:lnTo>
                    <a:pt x="163" y="493"/>
                  </a:lnTo>
                  <a:lnTo>
                    <a:pt x="165" y="495"/>
                  </a:lnTo>
                  <a:lnTo>
                    <a:pt x="166" y="495"/>
                  </a:lnTo>
                  <a:lnTo>
                    <a:pt x="168" y="495"/>
                  </a:lnTo>
                  <a:lnTo>
                    <a:pt x="170" y="496"/>
                  </a:lnTo>
                  <a:lnTo>
                    <a:pt x="171" y="496"/>
                  </a:lnTo>
                  <a:lnTo>
                    <a:pt x="171" y="495"/>
                  </a:lnTo>
                  <a:lnTo>
                    <a:pt x="171" y="496"/>
                  </a:lnTo>
                  <a:lnTo>
                    <a:pt x="171" y="498"/>
                  </a:lnTo>
                  <a:lnTo>
                    <a:pt x="170" y="498"/>
                  </a:lnTo>
                  <a:lnTo>
                    <a:pt x="170" y="496"/>
                  </a:lnTo>
                  <a:lnTo>
                    <a:pt x="170" y="498"/>
                  </a:lnTo>
                  <a:lnTo>
                    <a:pt x="170" y="499"/>
                  </a:lnTo>
                  <a:lnTo>
                    <a:pt x="168" y="499"/>
                  </a:lnTo>
                  <a:lnTo>
                    <a:pt x="168" y="501"/>
                  </a:lnTo>
                  <a:lnTo>
                    <a:pt x="166" y="501"/>
                  </a:lnTo>
                  <a:lnTo>
                    <a:pt x="166" y="503"/>
                  </a:lnTo>
                  <a:lnTo>
                    <a:pt x="166" y="504"/>
                  </a:lnTo>
                  <a:lnTo>
                    <a:pt x="168" y="504"/>
                  </a:lnTo>
                  <a:lnTo>
                    <a:pt x="166" y="506"/>
                  </a:lnTo>
                  <a:lnTo>
                    <a:pt x="166" y="508"/>
                  </a:lnTo>
                  <a:lnTo>
                    <a:pt x="165" y="508"/>
                  </a:lnTo>
                  <a:lnTo>
                    <a:pt x="166" y="506"/>
                  </a:lnTo>
                  <a:lnTo>
                    <a:pt x="165" y="506"/>
                  </a:lnTo>
                  <a:lnTo>
                    <a:pt x="165" y="504"/>
                  </a:lnTo>
                  <a:lnTo>
                    <a:pt x="165" y="503"/>
                  </a:lnTo>
                  <a:lnTo>
                    <a:pt x="163" y="503"/>
                  </a:lnTo>
                  <a:lnTo>
                    <a:pt x="163" y="501"/>
                  </a:lnTo>
                  <a:lnTo>
                    <a:pt x="161" y="501"/>
                  </a:lnTo>
                  <a:lnTo>
                    <a:pt x="160" y="501"/>
                  </a:lnTo>
                  <a:lnTo>
                    <a:pt x="158" y="501"/>
                  </a:lnTo>
                  <a:lnTo>
                    <a:pt x="157" y="501"/>
                  </a:lnTo>
                  <a:lnTo>
                    <a:pt x="157" y="499"/>
                  </a:lnTo>
                  <a:lnTo>
                    <a:pt x="157" y="498"/>
                  </a:lnTo>
                  <a:lnTo>
                    <a:pt x="155" y="498"/>
                  </a:lnTo>
                  <a:lnTo>
                    <a:pt x="157" y="498"/>
                  </a:lnTo>
                  <a:lnTo>
                    <a:pt x="155" y="498"/>
                  </a:lnTo>
                  <a:lnTo>
                    <a:pt x="155" y="499"/>
                  </a:lnTo>
                  <a:lnTo>
                    <a:pt x="153" y="499"/>
                  </a:lnTo>
                  <a:lnTo>
                    <a:pt x="153" y="498"/>
                  </a:lnTo>
                  <a:lnTo>
                    <a:pt x="153" y="499"/>
                  </a:lnTo>
                  <a:lnTo>
                    <a:pt x="152" y="499"/>
                  </a:lnTo>
                  <a:lnTo>
                    <a:pt x="152" y="498"/>
                  </a:lnTo>
                  <a:lnTo>
                    <a:pt x="150" y="498"/>
                  </a:lnTo>
                  <a:lnTo>
                    <a:pt x="148" y="498"/>
                  </a:lnTo>
                  <a:lnTo>
                    <a:pt x="150" y="498"/>
                  </a:lnTo>
                  <a:lnTo>
                    <a:pt x="150" y="499"/>
                  </a:lnTo>
                  <a:lnTo>
                    <a:pt x="152" y="499"/>
                  </a:lnTo>
                  <a:lnTo>
                    <a:pt x="153" y="499"/>
                  </a:lnTo>
                  <a:lnTo>
                    <a:pt x="155" y="499"/>
                  </a:lnTo>
                  <a:lnTo>
                    <a:pt x="155" y="501"/>
                  </a:lnTo>
                  <a:lnTo>
                    <a:pt x="153" y="501"/>
                  </a:lnTo>
                  <a:lnTo>
                    <a:pt x="153" y="503"/>
                  </a:lnTo>
                  <a:lnTo>
                    <a:pt x="152" y="503"/>
                  </a:lnTo>
                  <a:lnTo>
                    <a:pt x="153" y="503"/>
                  </a:lnTo>
                  <a:lnTo>
                    <a:pt x="153" y="504"/>
                  </a:lnTo>
                  <a:lnTo>
                    <a:pt x="153" y="503"/>
                  </a:lnTo>
                  <a:lnTo>
                    <a:pt x="153" y="504"/>
                  </a:lnTo>
                  <a:lnTo>
                    <a:pt x="152" y="504"/>
                  </a:lnTo>
                  <a:lnTo>
                    <a:pt x="150" y="506"/>
                  </a:lnTo>
                  <a:lnTo>
                    <a:pt x="152" y="506"/>
                  </a:lnTo>
                  <a:lnTo>
                    <a:pt x="152" y="508"/>
                  </a:lnTo>
                  <a:lnTo>
                    <a:pt x="150" y="508"/>
                  </a:lnTo>
                  <a:lnTo>
                    <a:pt x="150" y="509"/>
                  </a:lnTo>
                  <a:lnTo>
                    <a:pt x="148" y="509"/>
                  </a:lnTo>
                  <a:lnTo>
                    <a:pt x="148" y="508"/>
                  </a:lnTo>
                  <a:lnTo>
                    <a:pt x="147" y="508"/>
                  </a:lnTo>
                  <a:lnTo>
                    <a:pt x="145" y="508"/>
                  </a:lnTo>
                  <a:lnTo>
                    <a:pt x="147" y="506"/>
                  </a:lnTo>
                  <a:lnTo>
                    <a:pt x="147" y="504"/>
                  </a:lnTo>
                  <a:lnTo>
                    <a:pt x="145" y="504"/>
                  </a:lnTo>
                  <a:lnTo>
                    <a:pt x="147" y="504"/>
                  </a:lnTo>
                  <a:lnTo>
                    <a:pt x="145" y="506"/>
                  </a:lnTo>
                  <a:lnTo>
                    <a:pt x="144" y="506"/>
                  </a:lnTo>
                  <a:lnTo>
                    <a:pt x="144" y="504"/>
                  </a:lnTo>
                  <a:lnTo>
                    <a:pt x="142" y="503"/>
                  </a:lnTo>
                  <a:lnTo>
                    <a:pt x="140" y="503"/>
                  </a:lnTo>
                  <a:lnTo>
                    <a:pt x="139" y="503"/>
                  </a:lnTo>
                  <a:lnTo>
                    <a:pt x="139" y="501"/>
                  </a:lnTo>
                  <a:lnTo>
                    <a:pt x="139" y="499"/>
                  </a:lnTo>
                  <a:lnTo>
                    <a:pt x="137" y="499"/>
                  </a:lnTo>
                  <a:lnTo>
                    <a:pt x="137" y="498"/>
                  </a:lnTo>
                  <a:lnTo>
                    <a:pt x="137" y="499"/>
                  </a:lnTo>
                  <a:lnTo>
                    <a:pt x="137" y="501"/>
                  </a:lnTo>
                  <a:lnTo>
                    <a:pt x="137" y="499"/>
                  </a:lnTo>
                  <a:lnTo>
                    <a:pt x="139" y="499"/>
                  </a:lnTo>
                  <a:lnTo>
                    <a:pt x="139" y="501"/>
                  </a:lnTo>
                  <a:lnTo>
                    <a:pt x="137" y="501"/>
                  </a:lnTo>
                  <a:lnTo>
                    <a:pt x="135" y="501"/>
                  </a:lnTo>
                  <a:lnTo>
                    <a:pt x="135" y="499"/>
                  </a:lnTo>
                  <a:lnTo>
                    <a:pt x="135" y="501"/>
                  </a:lnTo>
                  <a:lnTo>
                    <a:pt x="137" y="501"/>
                  </a:lnTo>
                  <a:lnTo>
                    <a:pt x="137" y="503"/>
                  </a:lnTo>
                  <a:lnTo>
                    <a:pt x="137" y="504"/>
                  </a:lnTo>
                  <a:lnTo>
                    <a:pt x="135" y="504"/>
                  </a:lnTo>
                  <a:lnTo>
                    <a:pt x="137" y="504"/>
                  </a:lnTo>
                  <a:lnTo>
                    <a:pt x="135" y="504"/>
                  </a:lnTo>
                  <a:lnTo>
                    <a:pt x="134" y="504"/>
                  </a:lnTo>
                  <a:lnTo>
                    <a:pt x="134" y="506"/>
                  </a:lnTo>
                  <a:lnTo>
                    <a:pt x="134" y="508"/>
                  </a:lnTo>
                  <a:lnTo>
                    <a:pt x="132" y="508"/>
                  </a:lnTo>
                  <a:lnTo>
                    <a:pt x="131" y="508"/>
                  </a:lnTo>
                  <a:lnTo>
                    <a:pt x="129" y="508"/>
                  </a:lnTo>
                  <a:lnTo>
                    <a:pt x="127" y="509"/>
                  </a:lnTo>
                  <a:lnTo>
                    <a:pt x="127" y="508"/>
                  </a:lnTo>
                  <a:lnTo>
                    <a:pt x="127" y="509"/>
                  </a:lnTo>
                  <a:lnTo>
                    <a:pt x="127" y="508"/>
                  </a:lnTo>
                  <a:lnTo>
                    <a:pt x="127" y="506"/>
                  </a:lnTo>
                  <a:lnTo>
                    <a:pt x="127" y="504"/>
                  </a:lnTo>
                  <a:lnTo>
                    <a:pt x="126" y="504"/>
                  </a:lnTo>
                  <a:lnTo>
                    <a:pt x="126" y="503"/>
                  </a:lnTo>
                  <a:lnTo>
                    <a:pt x="124" y="503"/>
                  </a:lnTo>
                  <a:lnTo>
                    <a:pt x="122" y="503"/>
                  </a:lnTo>
                  <a:lnTo>
                    <a:pt x="122" y="501"/>
                  </a:lnTo>
                  <a:lnTo>
                    <a:pt x="122" y="499"/>
                  </a:lnTo>
                  <a:lnTo>
                    <a:pt x="122" y="501"/>
                  </a:lnTo>
                  <a:lnTo>
                    <a:pt x="122" y="503"/>
                  </a:lnTo>
                  <a:lnTo>
                    <a:pt x="124" y="503"/>
                  </a:lnTo>
                  <a:lnTo>
                    <a:pt x="122" y="504"/>
                  </a:lnTo>
                  <a:lnTo>
                    <a:pt x="122" y="503"/>
                  </a:lnTo>
                  <a:lnTo>
                    <a:pt x="121" y="504"/>
                  </a:lnTo>
                  <a:lnTo>
                    <a:pt x="121" y="503"/>
                  </a:lnTo>
                  <a:lnTo>
                    <a:pt x="121" y="504"/>
                  </a:lnTo>
                  <a:lnTo>
                    <a:pt x="119" y="504"/>
                  </a:lnTo>
                  <a:lnTo>
                    <a:pt x="119" y="503"/>
                  </a:lnTo>
                  <a:lnTo>
                    <a:pt x="118" y="503"/>
                  </a:lnTo>
                  <a:lnTo>
                    <a:pt x="119" y="503"/>
                  </a:lnTo>
                  <a:lnTo>
                    <a:pt x="118" y="504"/>
                  </a:lnTo>
                  <a:lnTo>
                    <a:pt x="116" y="504"/>
                  </a:lnTo>
                  <a:lnTo>
                    <a:pt x="116" y="503"/>
                  </a:lnTo>
                  <a:lnTo>
                    <a:pt x="114" y="503"/>
                  </a:lnTo>
                  <a:lnTo>
                    <a:pt x="114" y="501"/>
                  </a:lnTo>
                  <a:lnTo>
                    <a:pt x="114" y="499"/>
                  </a:lnTo>
                  <a:lnTo>
                    <a:pt x="114" y="501"/>
                  </a:lnTo>
                  <a:lnTo>
                    <a:pt x="113" y="501"/>
                  </a:lnTo>
                  <a:lnTo>
                    <a:pt x="113" y="499"/>
                  </a:lnTo>
                  <a:lnTo>
                    <a:pt x="113" y="498"/>
                  </a:lnTo>
                  <a:lnTo>
                    <a:pt x="113" y="499"/>
                  </a:lnTo>
                  <a:lnTo>
                    <a:pt x="113" y="501"/>
                  </a:lnTo>
                  <a:lnTo>
                    <a:pt x="114" y="501"/>
                  </a:lnTo>
                  <a:lnTo>
                    <a:pt x="114" y="503"/>
                  </a:lnTo>
                  <a:lnTo>
                    <a:pt x="114" y="504"/>
                  </a:lnTo>
                  <a:lnTo>
                    <a:pt x="113" y="504"/>
                  </a:lnTo>
                  <a:lnTo>
                    <a:pt x="111" y="504"/>
                  </a:lnTo>
                  <a:lnTo>
                    <a:pt x="113" y="506"/>
                  </a:lnTo>
                  <a:lnTo>
                    <a:pt x="111" y="506"/>
                  </a:lnTo>
                  <a:lnTo>
                    <a:pt x="109" y="506"/>
                  </a:lnTo>
                  <a:lnTo>
                    <a:pt x="109" y="504"/>
                  </a:lnTo>
                  <a:lnTo>
                    <a:pt x="111" y="504"/>
                  </a:lnTo>
                  <a:lnTo>
                    <a:pt x="109" y="504"/>
                  </a:lnTo>
                  <a:lnTo>
                    <a:pt x="109" y="506"/>
                  </a:lnTo>
                  <a:lnTo>
                    <a:pt x="108" y="506"/>
                  </a:lnTo>
                  <a:lnTo>
                    <a:pt x="109" y="504"/>
                  </a:lnTo>
                  <a:lnTo>
                    <a:pt x="109" y="503"/>
                  </a:lnTo>
                  <a:lnTo>
                    <a:pt x="109" y="501"/>
                  </a:lnTo>
                  <a:lnTo>
                    <a:pt x="109" y="503"/>
                  </a:lnTo>
                  <a:lnTo>
                    <a:pt x="109" y="504"/>
                  </a:lnTo>
                  <a:lnTo>
                    <a:pt x="108" y="504"/>
                  </a:lnTo>
                  <a:lnTo>
                    <a:pt x="106" y="504"/>
                  </a:lnTo>
                  <a:lnTo>
                    <a:pt x="108" y="506"/>
                  </a:lnTo>
                  <a:lnTo>
                    <a:pt x="106" y="506"/>
                  </a:lnTo>
                  <a:lnTo>
                    <a:pt x="105" y="506"/>
                  </a:lnTo>
                  <a:lnTo>
                    <a:pt x="103" y="508"/>
                  </a:lnTo>
                  <a:lnTo>
                    <a:pt x="105" y="508"/>
                  </a:lnTo>
                  <a:lnTo>
                    <a:pt x="103" y="508"/>
                  </a:lnTo>
                  <a:lnTo>
                    <a:pt x="105" y="509"/>
                  </a:lnTo>
                  <a:lnTo>
                    <a:pt x="103" y="509"/>
                  </a:lnTo>
                  <a:lnTo>
                    <a:pt x="101" y="509"/>
                  </a:lnTo>
                  <a:lnTo>
                    <a:pt x="101" y="508"/>
                  </a:lnTo>
                  <a:lnTo>
                    <a:pt x="100" y="508"/>
                  </a:lnTo>
                  <a:lnTo>
                    <a:pt x="98" y="508"/>
                  </a:lnTo>
                  <a:lnTo>
                    <a:pt x="100" y="506"/>
                  </a:lnTo>
                  <a:lnTo>
                    <a:pt x="98" y="506"/>
                  </a:lnTo>
                  <a:lnTo>
                    <a:pt x="96" y="506"/>
                  </a:lnTo>
                  <a:lnTo>
                    <a:pt x="98" y="506"/>
                  </a:lnTo>
                  <a:lnTo>
                    <a:pt x="96" y="506"/>
                  </a:lnTo>
                  <a:lnTo>
                    <a:pt x="95" y="508"/>
                  </a:lnTo>
                  <a:lnTo>
                    <a:pt x="93" y="508"/>
                  </a:lnTo>
                  <a:lnTo>
                    <a:pt x="92" y="508"/>
                  </a:lnTo>
                  <a:lnTo>
                    <a:pt x="92" y="509"/>
                  </a:lnTo>
                  <a:lnTo>
                    <a:pt x="92" y="508"/>
                  </a:lnTo>
                  <a:lnTo>
                    <a:pt x="90" y="508"/>
                  </a:lnTo>
                  <a:lnTo>
                    <a:pt x="88" y="508"/>
                  </a:lnTo>
                  <a:lnTo>
                    <a:pt x="88" y="506"/>
                  </a:lnTo>
                  <a:lnTo>
                    <a:pt x="88" y="508"/>
                  </a:lnTo>
                  <a:lnTo>
                    <a:pt x="88" y="506"/>
                  </a:lnTo>
                  <a:lnTo>
                    <a:pt x="90" y="504"/>
                  </a:lnTo>
                  <a:lnTo>
                    <a:pt x="90" y="506"/>
                  </a:lnTo>
                  <a:lnTo>
                    <a:pt x="92" y="506"/>
                  </a:lnTo>
                  <a:lnTo>
                    <a:pt x="92" y="504"/>
                  </a:lnTo>
                  <a:lnTo>
                    <a:pt x="90" y="504"/>
                  </a:lnTo>
                  <a:lnTo>
                    <a:pt x="88" y="504"/>
                  </a:lnTo>
                  <a:lnTo>
                    <a:pt x="88" y="503"/>
                  </a:lnTo>
                  <a:lnTo>
                    <a:pt x="88" y="504"/>
                  </a:lnTo>
                  <a:lnTo>
                    <a:pt x="90" y="503"/>
                  </a:lnTo>
                  <a:lnTo>
                    <a:pt x="88" y="503"/>
                  </a:lnTo>
                  <a:lnTo>
                    <a:pt x="92" y="501"/>
                  </a:lnTo>
                  <a:lnTo>
                    <a:pt x="92" y="499"/>
                  </a:lnTo>
                  <a:lnTo>
                    <a:pt x="93" y="499"/>
                  </a:lnTo>
                  <a:lnTo>
                    <a:pt x="95" y="501"/>
                  </a:lnTo>
                  <a:lnTo>
                    <a:pt x="93" y="501"/>
                  </a:lnTo>
                  <a:lnTo>
                    <a:pt x="95" y="501"/>
                  </a:lnTo>
                  <a:lnTo>
                    <a:pt x="95" y="499"/>
                  </a:lnTo>
                  <a:lnTo>
                    <a:pt x="96" y="499"/>
                  </a:lnTo>
                  <a:lnTo>
                    <a:pt x="95" y="499"/>
                  </a:lnTo>
                  <a:lnTo>
                    <a:pt x="93" y="499"/>
                  </a:lnTo>
                  <a:lnTo>
                    <a:pt x="92" y="499"/>
                  </a:lnTo>
                  <a:lnTo>
                    <a:pt x="92" y="501"/>
                  </a:lnTo>
                  <a:lnTo>
                    <a:pt x="90" y="501"/>
                  </a:lnTo>
                  <a:lnTo>
                    <a:pt x="88" y="503"/>
                  </a:lnTo>
                  <a:lnTo>
                    <a:pt x="87" y="503"/>
                  </a:lnTo>
                  <a:lnTo>
                    <a:pt x="87" y="501"/>
                  </a:lnTo>
                  <a:lnTo>
                    <a:pt x="85" y="501"/>
                  </a:lnTo>
                  <a:lnTo>
                    <a:pt x="87" y="501"/>
                  </a:lnTo>
                  <a:lnTo>
                    <a:pt x="85" y="501"/>
                  </a:lnTo>
                  <a:lnTo>
                    <a:pt x="87" y="499"/>
                  </a:lnTo>
                  <a:lnTo>
                    <a:pt x="88" y="499"/>
                  </a:lnTo>
                  <a:lnTo>
                    <a:pt x="88" y="498"/>
                  </a:lnTo>
                  <a:lnTo>
                    <a:pt x="90" y="498"/>
                  </a:lnTo>
                  <a:lnTo>
                    <a:pt x="90" y="496"/>
                  </a:lnTo>
                  <a:lnTo>
                    <a:pt x="88" y="496"/>
                  </a:lnTo>
                  <a:lnTo>
                    <a:pt x="88" y="495"/>
                  </a:lnTo>
                  <a:lnTo>
                    <a:pt x="88" y="496"/>
                  </a:lnTo>
                  <a:lnTo>
                    <a:pt x="88" y="495"/>
                  </a:lnTo>
                  <a:lnTo>
                    <a:pt x="87" y="496"/>
                  </a:lnTo>
                  <a:lnTo>
                    <a:pt x="87" y="495"/>
                  </a:lnTo>
                  <a:lnTo>
                    <a:pt x="85" y="493"/>
                  </a:lnTo>
                  <a:lnTo>
                    <a:pt x="85" y="495"/>
                  </a:lnTo>
                  <a:lnTo>
                    <a:pt x="87" y="495"/>
                  </a:lnTo>
                  <a:lnTo>
                    <a:pt x="85" y="496"/>
                  </a:lnTo>
                  <a:lnTo>
                    <a:pt x="87" y="496"/>
                  </a:lnTo>
                  <a:lnTo>
                    <a:pt x="85" y="498"/>
                  </a:lnTo>
                  <a:lnTo>
                    <a:pt x="83" y="498"/>
                  </a:lnTo>
                  <a:lnTo>
                    <a:pt x="83" y="496"/>
                  </a:lnTo>
                  <a:lnTo>
                    <a:pt x="82" y="498"/>
                  </a:lnTo>
                  <a:lnTo>
                    <a:pt x="80" y="498"/>
                  </a:lnTo>
                  <a:lnTo>
                    <a:pt x="78" y="498"/>
                  </a:lnTo>
                  <a:lnTo>
                    <a:pt x="77" y="498"/>
                  </a:lnTo>
                  <a:lnTo>
                    <a:pt x="77" y="496"/>
                  </a:lnTo>
                  <a:lnTo>
                    <a:pt x="78" y="496"/>
                  </a:lnTo>
                  <a:lnTo>
                    <a:pt x="77" y="496"/>
                  </a:lnTo>
                  <a:lnTo>
                    <a:pt x="77" y="495"/>
                  </a:lnTo>
                  <a:lnTo>
                    <a:pt x="77" y="496"/>
                  </a:lnTo>
                  <a:lnTo>
                    <a:pt x="77" y="498"/>
                  </a:lnTo>
                  <a:lnTo>
                    <a:pt x="75" y="498"/>
                  </a:lnTo>
                  <a:lnTo>
                    <a:pt x="74" y="498"/>
                  </a:lnTo>
                  <a:lnTo>
                    <a:pt x="72" y="498"/>
                  </a:lnTo>
                  <a:lnTo>
                    <a:pt x="72" y="496"/>
                  </a:lnTo>
                  <a:lnTo>
                    <a:pt x="72" y="498"/>
                  </a:lnTo>
                  <a:lnTo>
                    <a:pt x="70" y="498"/>
                  </a:lnTo>
                  <a:lnTo>
                    <a:pt x="72" y="498"/>
                  </a:lnTo>
                  <a:lnTo>
                    <a:pt x="72" y="499"/>
                  </a:lnTo>
                  <a:lnTo>
                    <a:pt x="70" y="499"/>
                  </a:lnTo>
                  <a:lnTo>
                    <a:pt x="67" y="498"/>
                  </a:lnTo>
                  <a:lnTo>
                    <a:pt x="69" y="498"/>
                  </a:lnTo>
                  <a:lnTo>
                    <a:pt x="67" y="498"/>
                  </a:lnTo>
                  <a:lnTo>
                    <a:pt x="69" y="496"/>
                  </a:lnTo>
                  <a:lnTo>
                    <a:pt x="67" y="496"/>
                  </a:lnTo>
                  <a:lnTo>
                    <a:pt x="69" y="496"/>
                  </a:lnTo>
                  <a:lnTo>
                    <a:pt x="67" y="496"/>
                  </a:lnTo>
                  <a:lnTo>
                    <a:pt x="67" y="495"/>
                  </a:lnTo>
                  <a:lnTo>
                    <a:pt x="65" y="495"/>
                  </a:lnTo>
                  <a:lnTo>
                    <a:pt x="65" y="496"/>
                  </a:lnTo>
                  <a:lnTo>
                    <a:pt x="64" y="496"/>
                  </a:lnTo>
                  <a:lnTo>
                    <a:pt x="65" y="496"/>
                  </a:lnTo>
                  <a:lnTo>
                    <a:pt x="64" y="496"/>
                  </a:lnTo>
                  <a:lnTo>
                    <a:pt x="62" y="496"/>
                  </a:lnTo>
                  <a:lnTo>
                    <a:pt x="61" y="498"/>
                  </a:lnTo>
                  <a:lnTo>
                    <a:pt x="61" y="499"/>
                  </a:lnTo>
                  <a:lnTo>
                    <a:pt x="59" y="499"/>
                  </a:lnTo>
                  <a:lnTo>
                    <a:pt x="59" y="498"/>
                  </a:lnTo>
                  <a:lnTo>
                    <a:pt x="61" y="498"/>
                  </a:lnTo>
                  <a:lnTo>
                    <a:pt x="57" y="499"/>
                  </a:lnTo>
                  <a:lnTo>
                    <a:pt x="56" y="499"/>
                  </a:lnTo>
                  <a:lnTo>
                    <a:pt x="57" y="499"/>
                  </a:lnTo>
                  <a:lnTo>
                    <a:pt x="59" y="499"/>
                  </a:lnTo>
                  <a:lnTo>
                    <a:pt x="61" y="499"/>
                  </a:lnTo>
                  <a:lnTo>
                    <a:pt x="59" y="499"/>
                  </a:lnTo>
                  <a:lnTo>
                    <a:pt x="57" y="499"/>
                  </a:lnTo>
                  <a:lnTo>
                    <a:pt x="57" y="501"/>
                  </a:lnTo>
                  <a:lnTo>
                    <a:pt x="56" y="501"/>
                  </a:lnTo>
                  <a:lnTo>
                    <a:pt x="56" y="499"/>
                  </a:lnTo>
                  <a:lnTo>
                    <a:pt x="54" y="501"/>
                  </a:lnTo>
                  <a:lnTo>
                    <a:pt x="56" y="499"/>
                  </a:lnTo>
                  <a:lnTo>
                    <a:pt x="54" y="499"/>
                  </a:lnTo>
                  <a:lnTo>
                    <a:pt x="54" y="498"/>
                  </a:lnTo>
                  <a:lnTo>
                    <a:pt x="56" y="498"/>
                  </a:lnTo>
                  <a:lnTo>
                    <a:pt x="56" y="496"/>
                  </a:lnTo>
                  <a:lnTo>
                    <a:pt x="54" y="498"/>
                  </a:lnTo>
                  <a:lnTo>
                    <a:pt x="54" y="499"/>
                  </a:lnTo>
                  <a:lnTo>
                    <a:pt x="52" y="499"/>
                  </a:lnTo>
                  <a:lnTo>
                    <a:pt x="52" y="501"/>
                  </a:lnTo>
                  <a:lnTo>
                    <a:pt x="51" y="499"/>
                  </a:lnTo>
                  <a:lnTo>
                    <a:pt x="51" y="501"/>
                  </a:lnTo>
                  <a:lnTo>
                    <a:pt x="51" y="499"/>
                  </a:lnTo>
                  <a:lnTo>
                    <a:pt x="49" y="499"/>
                  </a:lnTo>
                  <a:lnTo>
                    <a:pt x="51" y="498"/>
                  </a:lnTo>
                  <a:lnTo>
                    <a:pt x="51" y="496"/>
                  </a:lnTo>
                  <a:lnTo>
                    <a:pt x="49" y="496"/>
                  </a:lnTo>
                  <a:lnTo>
                    <a:pt x="49" y="495"/>
                  </a:lnTo>
                  <a:lnTo>
                    <a:pt x="52" y="495"/>
                  </a:lnTo>
                  <a:lnTo>
                    <a:pt x="52" y="493"/>
                  </a:lnTo>
                  <a:lnTo>
                    <a:pt x="54" y="495"/>
                  </a:lnTo>
                  <a:lnTo>
                    <a:pt x="54" y="493"/>
                  </a:lnTo>
                  <a:lnTo>
                    <a:pt x="56" y="493"/>
                  </a:lnTo>
                  <a:lnTo>
                    <a:pt x="56" y="491"/>
                  </a:lnTo>
                  <a:lnTo>
                    <a:pt x="57" y="491"/>
                  </a:lnTo>
                  <a:lnTo>
                    <a:pt x="59" y="491"/>
                  </a:lnTo>
                  <a:lnTo>
                    <a:pt x="61" y="491"/>
                  </a:lnTo>
                  <a:lnTo>
                    <a:pt x="62" y="491"/>
                  </a:lnTo>
                  <a:lnTo>
                    <a:pt x="64" y="491"/>
                  </a:lnTo>
                  <a:lnTo>
                    <a:pt x="65" y="491"/>
                  </a:lnTo>
                  <a:lnTo>
                    <a:pt x="65" y="490"/>
                  </a:lnTo>
                  <a:lnTo>
                    <a:pt x="67" y="490"/>
                  </a:lnTo>
                  <a:lnTo>
                    <a:pt x="67" y="491"/>
                  </a:lnTo>
                  <a:lnTo>
                    <a:pt x="67" y="490"/>
                  </a:lnTo>
                  <a:lnTo>
                    <a:pt x="69" y="490"/>
                  </a:lnTo>
                  <a:lnTo>
                    <a:pt x="69" y="488"/>
                  </a:lnTo>
                  <a:lnTo>
                    <a:pt x="67" y="488"/>
                  </a:lnTo>
                  <a:lnTo>
                    <a:pt x="69" y="488"/>
                  </a:lnTo>
                  <a:lnTo>
                    <a:pt x="70" y="488"/>
                  </a:lnTo>
                  <a:lnTo>
                    <a:pt x="72" y="488"/>
                  </a:lnTo>
                  <a:lnTo>
                    <a:pt x="72" y="486"/>
                  </a:lnTo>
                  <a:lnTo>
                    <a:pt x="74" y="486"/>
                  </a:lnTo>
                  <a:lnTo>
                    <a:pt x="75" y="485"/>
                  </a:lnTo>
                  <a:lnTo>
                    <a:pt x="75" y="486"/>
                  </a:lnTo>
                  <a:lnTo>
                    <a:pt x="75" y="485"/>
                  </a:lnTo>
                  <a:lnTo>
                    <a:pt x="77" y="485"/>
                  </a:lnTo>
                  <a:lnTo>
                    <a:pt x="78" y="485"/>
                  </a:lnTo>
                  <a:lnTo>
                    <a:pt x="80" y="485"/>
                  </a:lnTo>
                  <a:lnTo>
                    <a:pt x="80" y="483"/>
                  </a:lnTo>
                  <a:lnTo>
                    <a:pt x="78" y="483"/>
                  </a:lnTo>
                  <a:lnTo>
                    <a:pt x="77" y="483"/>
                  </a:lnTo>
                  <a:lnTo>
                    <a:pt x="75" y="483"/>
                  </a:lnTo>
                  <a:lnTo>
                    <a:pt x="74" y="483"/>
                  </a:lnTo>
                  <a:lnTo>
                    <a:pt x="72" y="485"/>
                  </a:lnTo>
                  <a:lnTo>
                    <a:pt x="72" y="483"/>
                  </a:lnTo>
                  <a:lnTo>
                    <a:pt x="70" y="483"/>
                  </a:lnTo>
                  <a:lnTo>
                    <a:pt x="70" y="485"/>
                  </a:lnTo>
                  <a:lnTo>
                    <a:pt x="69" y="485"/>
                  </a:lnTo>
                  <a:lnTo>
                    <a:pt x="67" y="485"/>
                  </a:lnTo>
                  <a:lnTo>
                    <a:pt x="65" y="485"/>
                  </a:lnTo>
                  <a:lnTo>
                    <a:pt x="65" y="486"/>
                  </a:lnTo>
                  <a:lnTo>
                    <a:pt x="64" y="485"/>
                  </a:lnTo>
                  <a:lnTo>
                    <a:pt x="64" y="486"/>
                  </a:lnTo>
                  <a:lnTo>
                    <a:pt x="64" y="485"/>
                  </a:lnTo>
                  <a:lnTo>
                    <a:pt x="62" y="485"/>
                  </a:lnTo>
                  <a:lnTo>
                    <a:pt x="62" y="486"/>
                  </a:lnTo>
                  <a:lnTo>
                    <a:pt x="61" y="486"/>
                  </a:lnTo>
                  <a:lnTo>
                    <a:pt x="59" y="486"/>
                  </a:lnTo>
                  <a:lnTo>
                    <a:pt x="57" y="486"/>
                  </a:lnTo>
                  <a:lnTo>
                    <a:pt x="56" y="486"/>
                  </a:lnTo>
                  <a:lnTo>
                    <a:pt x="54" y="486"/>
                  </a:lnTo>
                  <a:lnTo>
                    <a:pt x="52" y="486"/>
                  </a:lnTo>
                  <a:lnTo>
                    <a:pt x="51" y="486"/>
                  </a:lnTo>
                  <a:lnTo>
                    <a:pt x="52" y="485"/>
                  </a:lnTo>
                  <a:lnTo>
                    <a:pt x="54" y="485"/>
                  </a:lnTo>
                  <a:lnTo>
                    <a:pt x="57" y="483"/>
                  </a:lnTo>
                  <a:lnTo>
                    <a:pt x="59" y="482"/>
                  </a:lnTo>
                  <a:lnTo>
                    <a:pt x="61" y="482"/>
                  </a:lnTo>
                  <a:lnTo>
                    <a:pt x="64" y="482"/>
                  </a:lnTo>
                  <a:lnTo>
                    <a:pt x="65" y="480"/>
                  </a:lnTo>
                  <a:lnTo>
                    <a:pt x="67" y="480"/>
                  </a:lnTo>
                  <a:lnTo>
                    <a:pt x="69" y="478"/>
                  </a:lnTo>
                  <a:lnTo>
                    <a:pt x="70" y="478"/>
                  </a:lnTo>
                  <a:lnTo>
                    <a:pt x="72" y="478"/>
                  </a:lnTo>
                  <a:lnTo>
                    <a:pt x="74" y="478"/>
                  </a:lnTo>
                  <a:lnTo>
                    <a:pt x="75" y="478"/>
                  </a:lnTo>
                  <a:lnTo>
                    <a:pt x="78" y="478"/>
                  </a:lnTo>
                  <a:lnTo>
                    <a:pt x="78" y="477"/>
                  </a:lnTo>
                  <a:lnTo>
                    <a:pt x="80" y="477"/>
                  </a:lnTo>
                  <a:lnTo>
                    <a:pt x="85" y="477"/>
                  </a:lnTo>
                  <a:lnTo>
                    <a:pt x="87" y="477"/>
                  </a:lnTo>
                  <a:lnTo>
                    <a:pt x="87" y="475"/>
                  </a:lnTo>
                  <a:lnTo>
                    <a:pt x="88" y="477"/>
                  </a:lnTo>
                  <a:lnTo>
                    <a:pt x="90" y="477"/>
                  </a:lnTo>
                  <a:lnTo>
                    <a:pt x="90" y="475"/>
                  </a:lnTo>
                  <a:lnTo>
                    <a:pt x="92" y="475"/>
                  </a:lnTo>
                  <a:lnTo>
                    <a:pt x="90" y="473"/>
                  </a:lnTo>
                  <a:lnTo>
                    <a:pt x="92" y="473"/>
                  </a:lnTo>
                  <a:lnTo>
                    <a:pt x="90" y="473"/>
                  </a:lnTo>
                  <a:lnTo>
                    <a:pt x="92" y="473"/>
                  </a:lnTo>
                  <a:lnTo>
                    <a:pt x="92" y="472"/>
                  </a:lnTo>
                  <a:lnTo>
                    <a:pt x="93" y="472"/>
                  </a:lnTo>
                  <a:lnTo>
                    <a:pt x="93" y="470"/>
                  </a:lnTo>
                  <a:lnTo>
                    <a:pt x="92" y="470"/>
                  </a:lnTo>
                  <a:lnTo>
                    <a:pt x="92" y="472"/>
                  </a:lnTo>
                  <a:lnTo>
                    <a:pt x="90" y="472"/>
                  </a:lnTo>
                  <a:lnTo>
                    <a:pt x="92" y="472"/>
                  </a:lnTo>
                  <a:lnTo>
                    <a:pt x="92" y="470"/>
                  </a:lnTo>
                  <a:lnTo>
                    <a:pt x="92" y="468"/>
                  </a:lnTo>
                  <a:lnTo>
                    <a:pt x="92" y="470"/>
                  </a:lnTo>
                  <a:lnTo>
                    <a:pt x="90" y="470"/>
                  </a:lnTo>
                  <a:lnTo>
                    <a:pt x="88" y="470"/>
                  </a:lnTo>
                  <a:lnTo>
                    <a:pt x="87" y="470"/>
                  </a:lnTo>
                  <a:lnTo>
                    <a:pt x="87" y="468"/>
                  </a:lnTo>
                  <a:lnTo>
                    <a:pt x="85" y="468"/>
                  </a:lnTo>
                  <a:lnTo>
                    <a:pt x="85" y="467"/>
                  </a:lnTo>
                  <a:lnTo>
                    <a:pt x="87" y="465"/>
                  </a:lnTo>
                  <a:lnTo>
                    <a:pt x="85" y="465"/>
                  </a:lnTo>
                  <a:lnTo>
                    <a:pt x="87" y="465"/>
                  </a:lnTo>
                  <a:lnTo>
                    <a:pt x="85" y="465"/>
                  </a:lnTo>
                  <a:lnTo>
                    <a:pt x="85" y="464"/>
                  </a:lnTo>
                  <a:lnTo>
                    <a:pt x="85" y="465"/>
                  </a:lnTo>
                  <a:lnTo>
                    <a:pt x="83" y="465"/>
                  </a:lnTo>
                  <a:lnTo>
                    <a:pt x="83" y="467"/>
                  </a:lnTo>
                  <a:lnTo>
                    <a:pt x="83" y="468"/>
                  </a:lnTo>
                  <a:lnTo>
                    <a:pt x="83" y="470"/>
                  </a:lnTo>
                  <a:lnTo>
                    <a:pt x="82" y="468"/>
                  </a:lnTo>
                  <a:lnTo>
                    <a:pt x="82" y="470"/>
                  </a:lnTo>
                  <a:lnTo>
                    <a:pt x="80" y="470"/>
                  </a:lnTo>
                  <a:lnTo>
                    <a:pt x="80" y="468"/>
                  </a:lnTo>
                  <a:lnTo>
                    <a:pt x="80" y="470"/>
                  </a:lnTo>
                  <a:lnTo>
                    <a:pt x="78" y="470"/>
                  </a:lnTo>
                  <a:lnTo>
                    <a:pt x="78" y="472"/>
                  </a:lnTo>
                  <a:lnTo>
                    <a:pt x="77" y="472"/>
                  </a:lnTo>
                  <a:lnTo>
                    <a:pt x="75" y="472"/>
                  </a:lnTo>
                  <a:lnTo>
                    <a:pt x="74" y="472"/>
                  </a:lnTo>
                  <a:lnTo>
                    <a:pt x="74" y="473"/>
                  </a:lnTo>
                  <a:lnTo>
                    <a:pt x="72" y="472"/>
                  </a:lnTo>
                  <a:lnTo>
                    <a:pt x="70" y="472"/>
                  </a:lnTo>
                  <a:lnTo>
                    <a:pt x="72" y="472"/>
                  </a:lnTo>
                  <a:lnTo>
                    <a:pt x="70" y="472"/>
                  </a:lnTo>
                  <a:lnTo>
                    <a:pt x="72" y="472"/>
                  </a:lnTo>
                  <a:lnTo>
                    <a:pt x="72" y="470"/>
                  </a:lnTo>
                  <a:lnTo>
                    <a:pt x="72" y="472"/>
                  </a:lnTo>
                  <a:lnTo>
                    <a:pt x="70" y="472"/>
                  </a:lnTo>
                  <a:lnTo>
                    <a:pt x="69" y="472"/>
                  </a:lnTo>
                  <a:lnTo>
                    <a:pt x="69" y="470"/>
                  </a:lnTo>
                  <a:lnTo>
                    <a:pt x="67" y="470"/>
                  </a:lnTo>
                  <a:lnTo>
                    <a:pt x="67" y="468"/>
                  </a:lnTo>
                  <a:lnTo>
                    <a:pt x="65" y="468"/>
                  </a:lnTo>
                  <a:lnTo>
                    <a:pt x="67" y="468"/>
                  </a:lnTo>
                  <a:lnTo>
                    <a:pt x="67" y="470"/>
                  </a:lnTo>
                  <a:lnTo>
                    <a:pt x="67" y="472"/>
                  </a:lnTo>
                  <a:lnTo>
                    <a:pt x="65" y="472"/>
                  </a:lnTo>
                  <a:lnTo>
                    <a:pt x="64" y="470"/>
                  </a:lnTo>
                  <a:lnTo>
                    <a:pt x="64" y="472"/>
                  </a:lnTo>
                  <a:lnTo>
                    <a:pt x="62" y="472"/>
                  </a:lnTo>
                  <a:lnTo>
                    <a:pt x="61" y="472"/>
                  </a:lnTo>
                  <a:lnTo>
                    <a:pt x="59" y="472"/>
                  </a:lnTo>
                  <a:lnTo>
                    <a:pt x="57" y="470"/>
                  </a:lnTo>
                  <a:lnTo>
                    <a:pt x="56" y="470"/>
                  </a:lnTo>
                  <a:lnTo>
                    <a:pt x="54" y="470"/>
                  </a:lnTo>
                  <a:lnTo>
                    <a:pt x="52" y="470"/>
                  </a:lnTo>
                  <a:lnTo>
                    <a:pt x="51" y="470"/>
                  </a:lnTo>
                  <a:lnTo>
                    <a:pt x="49" y="470"/>
                  </a:lnTo>
                  <a:lnTo>
                    <a:pt x="51" y="470"/>
                  </a:lnTo>
                  <a:lnTo>
                    <a:pt x="49" y="470"/>
                  </a:lnTo>
                  <a:lnTo>
                    <a:pt x="49" y="472"/>
                  </a:lnTo>
                  <a:lnTo>
                    <a:pt x="48" y="472"/>
                  </a:lnTo>
                  <a:lnTo>
                    <a:pt x="48" y="470"/>
                  </a:lnTo>
                  <a:lnTo>
                    <a:pt x="48" y="472"/>
                  </a:lnTo>
                  <a:lnTo>
                    <a:pt x="48" y="473"/>
                  </a:lnTo>
                  <a:lnTo>
                    <a:pt x="46" y="473"/>
                  </a:lnTo>
                  <a:lnTo>
                    <a:pt x="44" y="473"/>
                  </a:lnTo>
                  <a:lnTo>
                    <a:pt x="43" y="473"/>
                  </a:lnTo>
                  <a:lnTo>
                    <a:pt x="41" y="473"/>
                  </a:lnTo>
                  <a:lnTo>
                    <a:pt x="39" y="475"/>
                  </a:lnTo>
                  <a:lnTo>
                    <a:pt x="38" y="475"/>
                  </a:lnTo>
                  <a:lnTo>
                    <a:pt x="36" y="475"/>
                  </a:lnTo>
                  <a:lnTo>
                    <a:pt x="36" y="473"/>
                  </a:lnTo>
                  <a:lnTo>
                    <a:pt x="35" y="473"/>
                  </a:lnTo>
                  <a:lnTo>
                    <a:pt x="36" y="473"/>
                  </a:lnTo>
                  <a:lnTo>
                    <a:pt x="35" y="473"/>
                  </a:lnTo>
                  <a:lnTo>
                    <a:pt x="35" y="472"/>
                  </a:lnTo>
                  <a:lnTo>
                    <a:pt x="33" y="472"/>
                  </a:lnTo>
                  <a:lnTo>
                    <a:pt x="31" y="472"/>
                  </a:lnTo>
                  <a:lnTo>
                    <a:pt x="30" y="472"/>
                  </a:lnTo>
                  <a:lnTo>
                    <a:pt x="28" y="472"/>
                  </a:lnTo>
                  <a:lnTo>
                    <a:pt x="26" y="473"/>
                  </a:lnTo>
                  <a:lnTo>
                    <a:pt x="25" y="473"/>
                  </a:lnTo>
                  <a:lnTo>
                    <a:pt x="26" y="472"/>
                  </a:lnTo>
                  <a:lnTo>
                    <a:pt x="28" y="472"/>
                  </a:lnTo>
                  <a:lnTo>
                    <a:pt x="28" y="470"/>
                  </a:lnTo>
                  <a:lnTo>
                    <a:pt x="26" y="468"/>
                  </a:lnTo>
                  <a:lnTo>
                    <a:pt x="28" y="468"/>
                  </a:lnTo>
                  <a:lnTo>
                    <a:pt x="30" y="468"/>
                  </a:lnTo>
                  <a:lnTo>
                    <a:pt x="30" y="470"/>
                  </a:lnTo>
                  <a:lnTo>
                    <a:pt x="31" y="470"/>
                  </a:lnTo>
                  <a:lnTo>
                    <a:pt x="31" y="468"/>
                  </a:lnTo>
                  <a:lnTo>
                    <a:pt x="33" y="468"/>
                  </a:lnTo>
                  <a:lnTo>
                    <a:pt x="35" y="470"/>
                  </a:lnTo>
                  <a:lnTo>
                    <a:pt x="36" y="470"/>
                  </a:lnTo>
                  <a:lnTo>
                    <a:pt x="36" y="468"/>
                  </a:lnTo>
                  <a:lnTo>
                    <a:pt x="36" y="467"/>
                  </a:lnTo>
                  <a:lnTo>
                    <a:pt x="38" y="467"/>
                  </a:lnTo>
                  <a:lnTo>
                    <a:pt x="38" y="465"/>
                  </a:lnTo>
                  <a:lnTo>
                    <a:pt x="36" y="465"/>
                  </a:lnTo>
                  <a:lnTo>
                    <a:pt x="36" y="464"/>
                  </a:lnTo>
                  <a:lnTo>
                    <a:pt x="35" y="464"/>
                  </a:lnTo>
                  <a:lnTo>
                    <a:pt x="33" y="464"/>
                  </a:lnTo>
                  <a:lnTo>
                    <a:pt x="35" y="462"/>
                  </a:lnTo>
                  <a:lnTo>
                    <a:pt x="36" y="462"/>
                  </a:lnTo>
                  <a:lnTo>
                    <a:pt x="38" y="462"/>
                  </a:lnTo>
                  <a:lnTo>
                    <a:pt x="38" y="464"/>
                  </a:lnTo>
                  <a:lnTo>
                    <a:pt x="39" y="464"/>
                  </a:lnTo>
                  <a:lnTo>
                    <a:pt x="39" y="462"/>
                  </a:lnTo>
                  <a:lnTo>
                    <a:pt x="41" y="462"/>
                  </a:lnTo>
                  <a:lnTo>
                    <a:pt x="41" y="464"/>
                  </a:lnTo>
                  <a:lnTo>
                    <a:pt x="43" y="464"/>
                  </a:lnTo>
                  <a:lnTo>
                    <a:pt x="44" y="462"/>
                  </a:lnTo>
                  <a:lnTo>
                    <a:pt x="44" y="464"/>
                  </a:lnTo>
                  <a:lnTo>
                    <a:pt x="46" y="464"/>
                  </a:lnTo>
                  <a:lnTo>
                    <a:pt x="46" y="462"/>
                  </a:lnTo>
                  <a:lnTo>
                    <a:pt x="48" y="462"/>
                  </a:lnTo>
                  <a:lnTo>
                    <a:pt x="48" y="460"/>
                  </a:lnTo>
                  <a:lnTo>
                    <a:pt x="49" y="460"/>
                  </a:lnTo>
                  <a:lnTo>
                    <a:pt x="49" y="459"/>
                  </a:lnTo>
                  <a:lnTo>
                    <a:pt x="48" y="459"/>
                  </a:lnTo>
                  <a:lnTo>
                    <a:pt x="48" y="460"/>
                  </a:lnTo>
                  <a:lnTo>
                    <a:pt x="48" y="459"/>
                  </a:lnTo>
                  <a:lnTo>
                    <a:pt x="46" y="459"/>
                  </a:lnTo>
                  <a:lnTo>
                    <a:pt x="44" y="459"/>
                  </a:lnTo>
                  <a:lnTo>
                    <a:pt x="44" y="457"/>
                  </a:lnTo>
                  <a:lnTo>
                    <a:pt x="46" y="457"/>
                  </a:lnTo>
                  <a:lnTo>
                    <a:pt x="48" y="455"/>
                  </a:lnTo>
                  <a:lnTo>
                    <a:pt x="48" y="457"/>
                  </a:lnTo>
                  <a:lnTo>
                    <a:pt x="49" y="455"/>
                  </a:lnTo>
                  <a:lnTo>
                    <a:pt x="51" y="455"/>
                  </a:lnTo>
                  <a:lnTo>
                    <a:pt x="51" y="457"/>
                  </a:lnTo>
                  <a:lnTo>
                    <a:pt x="52" y="455"/>
                  </a:lnTo>
                  <a:lnTo>
                    <a:pt x="54" y="455"/>
                  </a:lnTo>
                  <a:lnTo>
                    <a:pt x="56" y="455"/>
                  </a:lnTo>
                  <a:lnTo>
                    <a:pt x="56" y="454"/>
                  </a:lnTo>
                  <a:lnTo>
                    <a:pt x="57" y="454"/>
                  </a:lnTo>
                  <a:lnTo>
                    <a:pt x="57" y="455"/>
                  </a:lnTo>
                  <a:lnTo>
                    <a:pt x="56" y="455"/>
                  </a:lnTo>
                  <a:lnTo>
                    <a:pt x="56" y="457"/>
                  </a:lnTo>
                  <a:lnTo>
                    <a:pt x="57" y="457"/>
                  </a:lnTo>
                  <a:lnTo>
                    <a:pt x="59" y="457"/>
                  </a:lnTo>
                  <a:lnTo>
                    <a:pt x="59" y="455"/>
                  </a:lnTo>
                  <a:lnTo>
                    <a:pt x="59" y="454"/>
                  </a:lnTo>
                  <a:lnTo>
                    <a:pt x="61" y="454"/>
                  </a:lnTo>
                  <a:lnTo>
                    <a:pt x="61" y="455"/>
                  </a:lnTo>
                  <a:lnTo>
                    <a:pt x="62" y="455"/>
                  </a:lnTo>
                  <a:lnTo>
                    <a:pt x="64" y="455"/>
                  </a:lnTo>
                  <a:lnTo>
                    <a:pt x="64" y="457"/>
                  </a:lnTo>
                  <a:lnTo>
                    <a:pt x="65" y="457"/>
                  </a:lnTo>
                  <a:lnTo>
                    <a:pt x="65" y="455"/>
                  </a:lnTo>
                  <a:lnTo>
                    <a:pt x="64" y="455"/>
                  </a:lnTo>
                  <a:lnTo>
                    <a:pt x="64" y="454"/>
                  </a:lnTo>
                  <a:lnTo>
                    <a:pt x="62" y="454"/>
                  </a:lnTo>
                  <a:lnTo>
                    <a:pt x="62" y="452"/>
                  </a:lnTo>
                  <a:lnTo>
                    <a:pt x="64" y="452"/>
                  </a:lnTo>
                  <a:lnTo>
                    <a:pt x="67" y="452"/>
                  </a:lnTo>
                  <a:lnTo>
                    <a:pt x="67" y="451"/>
                  </a:lnTo>
                  <a:lnTo>
                    <a:pt x="69" y="451"/>
                  </a:lnTo>
                  <a:lnTo>
                    <a:pt x="70" y="449"/>
                  </a:lnTo>
                  <a:lnTo>
                    <a:pt x="72" y="449"/>
                  </a:lnTo>
                  <a:lnTo>
                    <a:pt x="72" y="447"/>
                  </a:lnTo>
                  <a:lnTo>
                    <a:pt x="72" y="449"/>
                  </a:lnTo>
                  <a:lnTo>
                    <a:pt x="72" y="447"/>
                  </a:lnTo>
                  <a:lnTo>
                    <a:pt x="74" y="447"/>
                  </a:lnTo>
                  <a:lnTo>
                    <a:pt x="75" y="447"/>
                  </a:lnTo>
                  <a:lnTo>
                    <a:pt x="77" y="449"/>
                  </a:lnTo>
                  <a:lnTo>
                    <a:pt x="78" y="449"/>
                  </a:lnTo>
                  <a:lnTo>
                    <a:pt x="80" y="449"/>
                  </a:lnTo>
                  <a:lnTo>
                    <a:pt x="80" y="447"/>
                  </a:lnTo>
                  <a:lnTo>
                    <a:pt x="82" y="447"/>
                  </a:lnTo>
                  <a:lnTo>
                    <a:pt x="83" y="447"/>
                  </a:lnTo>
                  <a:lnTo>
                    <a:pt x="87" y="447"/>
                  </a:lnTo>
                  <a:lnTo>
                    <a:pt x="88" y="446"/>
                  </a:lnTo>
                  <a:lnTo>
                    <a:pt x="88" y="447"/>
                  </a:lnTo>
                  <a:lnTo>
                    <a:pt x="88" y="446"/>
                  </a:lnTo>
                  <a:lnTo>
                    <a:pt x="87" y="446"/>
                  </a:lnTo>
                  <a:lnTo>
                    <a:pt x="87" y="447"/>
                  </a:lnTo>
                  <a:lnTo>
                    <a:pt x="87" y="446"/>
                  </a:lnTo>
                  <a:lnTo>
                    <a:pt x="85" y="446"/>
                  </a:lnTo>
                  <a:lnTo>
                    <a:pt x="83" y="446"/>
                  </a:lnTo>
                  <a:lnTo>
                    <a:pt x="82" y="446"/>
                  </a:lnTo>
                  <a:lnTo>
                    <a:pt x="80" y="446"/>
                  </a:lnTo>
                  <a:lnTo>
                    <a:pt x="78" y="446"/>
                  </a:lnTo>
                  <a:lnTo>
                    <a:pt x="77" y="446"/>
                  </a:lnTo>
                  <a:lnTo>
                    <a:pt x="75" y="446"/>
                  </a:lnTo>
                  <a:lnTo>
                    <a:pt x="74" y="446"/>
                  </a:lnTo>
                  <a:lnTo>
                    <a:pt x="72" y="446"/>
                  </a:lnTo>
                  <a:lnTo>
                    <a:pt x="70" y="446"/>
                  </a:lnTo>
                  <a:lnTo>
                    <a:pt x="69" y="446"/>
                  </a:lnTo>
                  <a:lnTo>
                    <a:pt x="69" y="447"/>
                  </a:lnTo>
                  <a:lnTo>
                    <a:pt x="67" y="447"/>
                  </a:lnTo>
                  <a:lnTo>
                    <a:pt x="65" y="449"/>
                  </a:lnTo>
                  <a:lnTo>
                    <a:pt x="64" y="449"/>
                  </a:lnTo>
                  <a:lnTo>
                    <a:pt x="65" y="449"/>
                  </a:lnTo>
                  <a:lnTo>
                    <a:pt x="64" y="447"/>
                  </a:lnTo>
                  <a:lnTo>
                    <a:pt x="65" y="447"/>
                  </a:lnTo>
                  <a:lnTo>
                    <a:pt x="64" y="447"/>
                  </a:lnTo>
                  <a:lnTo>
                    <a:pt x="62" y="447"/>
                  </a:lnTo>
                  <a:lnTo>
                    <a:pt x="64" y="447"/>
                  </a:lnTo>
                  <a:lnTo>
                    <a:pt x="64" y="449"/>
                  </a:lnTo>
                  <a:lnTo>
                    <a:pt x="62" y="449"/>
                  </a:lnTo>
                  <a:lnTo>
                    <a:pt x="61" y="449"/>
                  </a:lnTo>
                  <a:lnTo>
                    <a:pt x="59" y="449"/>
                  </a:lnTo>
                  <a:lnTo>
                    <a:pt x="59" y="451"/>
                  </a:lnTo>
                  <a:lnTo>
                    <a:pt x="59" y="449"/>
                  </a:lnTo>
                  <a:lnTo>
                    <a:pt x="61" y="449"/>
                  </a:lnTo>
                  <a:lnTo>
                    <a:pt x="61" y="447"/>
                  </a:lnTo>
                  <a:lnTo>
                    <a:pt x="59" y="447"/>
                  </a:lnTo>
                  <a:lnTo>
                    <a:pt x="57" y="447"/>
                  </a:lnTo>
                  <a:lnTo>
                    <a:pt x="57" y="446"/>
                  </a:lnTo>
                  <a:lnTo>
                    <a:pt x="57" y="444"/>
                  </a:lnTo>
                  <a:lnTo>
                    <a:pt x="57" y="446"/>
                  </a:lnTo>
                  <a:lnTo>
                    <a:pt x="57" y="447"/>
                  </a:lnTo>
                  <a:lnTo>
                    <a:pt x="57" y="449"/>
                  </a:lnTo>
                  <a:lnTo>
                    <a:pt x="56" y="449"/>
                  </a:lnTo>
                  <a:lnTo>
                    <a:pt x="56" y="447"/>
                  </a:lnTo>
                  <a:lnTo>
                    <a:pt x="54" y="447"/>
                  </a:lnTo>
                  <a:lnTo>
                    <a:pt x="52" y="447"/>
                  </a:lnTo>
                  <a:lnTo>
                    <a:pt x="51" y="449"/>
                  </a:lnTo>
                  <a:lnTo>
                    <a:pt x="49" y="449"/>
                  </a:lnTo>
                  <a:lnTo>
                    <a:pt x="48" y="449"/>
                  </a:lnTo>
                  <a:lnTo>
                    <a:pt x="48" y="451"/>
                  </a:lnTo>
                  <a:lnTo>
                    <a:pt x="46" y="451"/>
                  </a:lnTo>
                  <a:lnTo>
                    <a:pt x="44" y="451"/>
                  </a:lnTo>
                  <a:lnTo>
                    <a:pt x="44" y="449"/>
                  </a:lnTo>
                  <a:lnTo>
                    <a:pt x="43" y="449"/>
                  </a:lnTo>
                  <a:lnTo>
                    <a:pt x="41" y="449"/>
                  </a:lnTo>
                  <a:lnTo>
                    <a:pt x="43" y="449"/>
                  </a:lnTo>
                  <a:lnTo>
                    <a:pt x="43" y="451"/>
                  </a:lnTo>
                  <a:lnTo>
                    <a:pt x="41" y="451"/>
                  </a:lnTo>
                  <a:lnTo>
                    <a:pt x="39" y="451"/>
                  </a:lnTo>
                  <a:lnTo>
                    <a:pt x="38" y="451"/>
                  </a:lnTo>
                  <a:lnTo>
                    <a:pt x="38" y="452"/>
                  </a:lnTo>
                  <a:lnTo>
                    <a:pt x="36" y="451"/>
                  </a:lnTo>
                  <a:lnTo>
                    <a:pt x="35" y="451"/>
                  </a:lnTo>
                  <a:lnTo>
                    <a:pt x="35" y="452"/>
                  </a:lnTo>
                  <a:lnTo>
                    <a:pt x="33" y="452"/>
                  </a:lnTo>
                  <a:lnTo>
                    <a:pt x="33" y="451"/>
                  </a:lnTo>
                  <a:lnTo>
                    <a:pt x="36" y="449"/>
                  </a:lnTo>
                  <a:lnTo>
                    <a:pt x="35" y="449"/>
                  </a:lnTo>
                  <a:lnTo>
                    <a:pt x="33" y="449"/>
                  </a:lnTo>
                  <a:lnTo>
                    <a:pt x="35" y="449"/>
                  </a:lnTo>
                  <a:lnTo>
                    <a:pt x="35" y="447"/>
                  </a:lnTo>
                  <a:lnTo>
                    <a:pt x="33" y="447"/>
                  </a:lnTo>
                  <a:lnTo>
                    <a:pt x="31" y="447"/>
                  </a:lnTo>
                  <a:lnTo>
                    <a:pt x="30" y="446"/>
                  </a:lnTo>
                  <a:lnTo>
                    <a:pt x="30" y="444"/>
                  </a:lnTo>
                  <a:lnTo>
                    <a:pt x="30" y="446"/>
                  </a:lnTo>
                  <a:lnTo>
                    <a:pt x="28" y="444"/>
                  </a:lnTo>
                  <a:lnTo>
                    <a:pt x="28" y="442"/>
                  </a:lnTo>
                  <a:lnTo>
                    <a:pt x="28" y="444"/>
                  </a:lnTo>
                  <a:lnTo>
                    <a:pt x="30" y="444"/>
                  </a:lnTo>
                  <a:lnTo>
                    <a:pt x="31" y="444"/>
                  </a:lnTo>
                  <a:lnTo>
                    <a:pt x="33" y="444"/>
                  </a:lnTo>
                  <a:lnTo>
                    <a:pt x="33" y="442"/>
                  </a:lnTo>
                  <a:lnTo>
                    <a:pt x="33" y="441"/>
                  </a:lnTo>
                  <a:lnTo>
                    <a:pt x="33" y="439"/>
                  </a:lnTo>
                  <a:lnTo>
                    <a:pt x="35" y="439"/>
                  </a:lnTo>
                  <a:lnTo>
                    <a:pt x="35" y="438"/>
                  </a:lnTo>
                  <a:lnTo>
                    <a:pt x="33" y="438"/>
                  </a:lnTo>
                  <a:lnTo>
                    <a:pt x="33" y="436"/>
                  </a:lnTo>
                  <a:lnTo>
                    <a:pt x="31" y="436"/>
                  </a:lnTo>
                  <a:lnTo>
                    <a:pt x="33" y="436"/>
                  </a:lnTo>
                  <a:lnTo>
                    <a:pt x="35" y="434"/>
                  </a:lnTo>
                  <a:lnTo>
                    <a:pt x="33" y="434"/>
                  </a:lnTo>
                  <a:lnTo>
                    <a:pt x="31" y="436"/>
                  </a:lnTo>
                  <a:lnTo>
                    <a:pt x="30" y="434"/>
                  </a:lnTo>
                  <a:lnTo>
                    <a:pt x="28" y="434"/>
                  </a:lnTo>
                  <a:lnTo>
                    <a:pt x="28" y="436"/>
                  </a:lnTo>
                  <a:lnTo>
                    <a:pt x="26" y="436"/>
                  </a:lnTo>
                  <a:lnTo>
                    <a:pt x="25" y="438"/>
                  </a:lnTo>
                  <a:lnTo>
                    <a:pt x="25" y="439"/>
                  </a:lnTo>
                  <a:lnTo>
                    <a:pt x="23" y="439"/>
                  </a:lnTo>
                  <a:lnTo>
                    <a:pt x="22" y="439"/>
                  </a:lnTo>
                  <a:lnTo>
                    <a:pt x="20" y="439"/>
                  </a:lnTo>
                  <a:lnTo>
                    <a:pt x="20" y="441"/>
                  </a:lnTo>
                  <a:lnTo>
                    <a:pt x="18" y="441"/>
                  </a:lnTo>
                  <a:lnTo>
                    <a:pt x="18" y="439"/>
                  </a:lnTo>
                  <a:lnTo>
                    <a:pt x="18" y="438"/>
                  </a:lnTo>
                  <a:lnTo>
                    <a:pt x="20" y="438"/>
                  </a:lnTo>
                  <a:lnTo>
                    <a:pt x="20" y="436"/>
                  </a:lnTo>
                  <a:lnTo>
                    <a:pt x="20" y="434"/>
                  </a:lnTo>
                  <a:lnTo>
                    <a:pt x="22" y="433"/>
                  </a:lnTo>
                  <a:lnTo>
                    <a:pt x="20" y="431"/>
                  </a:lnTo>
                  <a:lnTo>
                    <a:pt x="18" y="431"/>
                  </a:lnTo>
                  <a:lnTo>
                    <a:pt x="17" y="431"/>
                  </a:lnTo>
                  <a:lnTo>
                    <a:pt x="15" y="431"/>
                  </a:lnTo>
                  <a:lnTo>
                    <a:pt x="17" y="431"/>
                  </a:lnTo>
                  <a:lnTo>
                    <a:pt x="17" y="429"/>
                  </a:lnTo>
                  <a:lnTo>
                    <a:pt x="18" y="429"/>
                  </a:lnTo>
                  <a:lnTo>
                    <a:pt x="17" y="428"/>
                  </a:lnTo>
                  <a:lnTo>
                    <a:pt x="18" y="428"/>
                  </a:lnTo>
                  <a:lnTo>
                    <a:pt x="17" y="428"/>
                  </a:lnTo>
                  <a:lnTo>
                    <a:pt x="18" y="428"/>
                  </a:lnTo>
                  <a:lnTo>
                    <a:pt x="17" y="426"/>
                  </a:lnTo>
                  <a:lnTo>
                    <a:pt x="18" y="425"/>
                  </a:lnTo>
                  <a:lnTo>
                    <a:pt x="18" y="426"/>
                  </a:lnTo>
                  <a:lnTo>
                    <a:pt x="20" y="426"/>
                  </a:lnTo>
                  <a:lnTo>
                    <a:pt x="22" y="426"/>
                  </a:lnTo>
                  <a:lnTo>
                    <a:pt x="23" y="426"/>
                  </a:lnTo>
                  <a:lnTo>
                    <a:pt x="25" y="426"/>
                  </a:lnTo>
                  <a:lnTo>
                    <a:pt x="26" y="426"/>
                  </a:lnTo>
                  <a:lnTo>
                    <a:pt x="28" y="425"/>
                  </a:lnTo>
                  <a:lnTo>
                    <a:pt x="30" y="425"/>
                  </a:lnTo>
                  <a:lnTo>
                    <a:pt x="31" y="426"/>
                  </a:lnTo>
                  <a:lnTo>
                    <a:pt x="31" y="425"/>
                  </a:lnTo>
                  <a:lnTo>
                    <a:pt x="31" y="423"/>
                  </a:lnTo>
                  <a:lnTo>
                    <a:pt x="30" y="421"/>
                  </a:lnTo>
                  <a:lnTo>
                    <a:pt x="31" y="421"/>
                  </a:lnTo>
                  <a:lnTo>
                    <a:pt x="33" y="421"/>
                  </a:lnTo>
                  <a:lnTo>
                    <a:pt x="33" y="420"/>
                  </a:lnTo>
                  <a:lnTo>
                    <a:pt x="35" y="420"/>
                  </a:lnTo>
                  <a:lnTo>
                    <a:pt x="36" y="420"/>
                  </a:lnTo>
                  <a:lnTo>
                    <a:pt x="38" y="420"/>
                  </a:lnTo>
                  <a:lnTo>
                    <a:pt x="39" y="420"/>
                  </a:lnTo>
                  <a:lnTo>
                    <a:pt x="38" y="418"/>
                  </a:lnTo>
                  <a:lnTo>
                    <a:pt x="38" y="420"/>
                  </a:lnTo>
                  <a:lnTo>
                    <a:pt x="36" y="420"/>
                  </a:lnTo>
                  <a:lnTo>
                    <a:pt x="35" y="420"/>
                  </a:lnTo>
                  <a:lnTo>
                    <a:pt x="33" y="420"/>
                  </a:lnTo>
                  <a:lnTo>
                    <a:pt x="33" y="421"/>
                  </a:lnTo>
                  <a:lnTo>
                    <a:pt x="33" y="420"/>
                  </a:lnTo>
                  <a:lnTo>
                    <a:pt x="31" y="420"/>
                  </a:lnTo>
                  <a:lnTo>
                    <a:pt x="31" y="421"/>
                  </a:lnTo>
                  <a:lnTo>
                    <a:pt x="30" y="420"/>
                  </a:lnTo>
                  <a:lnTo>
                    <a:pt x="30" y="418"/>
                  </a:lnTo>
                  <a:lnTo>
                    <a:pt x="28" y="418"/>
                  </a:lnTo>
                  <a:lnTo>
                    <a:pt x="26" y="418"/>
                  </a:lnTo>
                  <a:lnTo>
                    <a:pt x="26" y="416"/>
                  </a:lnTo>
                  <a:lnTo>
                    <a:pt x="28" y="416"/>
                  </a:lnTo>
                  <a:lnTo>
                    <a:pt x="30" y="416"/>
                  </a:lnTo>
                  <a:lnTo>
                    <a:pt x="31" y="416"/>
                  </a:lnTo>
                  <a:lnTo>
                    <a:pt x="33" y="415"/>
                  </a:lnTo>
                  <a:lnTo>
                    <a:pt x="33" y="413"/>
                  </a:lnTo>
                  <a:lnTo>
                    <a:pt x="35" y="413"/>
                  </a:lnTo>
                  <a:lnTo>
                    <a:pt x="35" y="415"/>
                  </a:lnTo>
                  <a:lnTo>
                    <a:pt x="35" y="413"/>
                  </a:lnTo>
                  <a:lnTo>
                    <a:pt x="35" y="415"/>
                  </a:lnTo>
                  <a:lnTo>
                    <a:pt x="35" y="413"/>
                  </a:lnTo>
                  <a:lnTo>
                    <a:pt x="36" y="415"/>
                  </a:lnTo>
                  <a:lnTo>
                    <a:pt x="36" y="413"/>
                  </a:lnTo>
                  <a:lnTo>
                    <a:pt x="36" y="415"/>
                  </a:lnTo>
                  <a:lnTo>
                    <a:pt x="38" y="415"/>
                  </a:lnTo>
                  <a:lnTo>
                    <a:pt x="38" y="413"/>
                  </a:lnTo>
                  <a:lnTo>
                    <a:pt x="39" y="413"/>
                  </a:lnTo>
                  <a:lnTo>
                    <a:pt x="41" y="413"/>
                  </a:lnTo>
                  <a:lnTo>
                    <a:pt x="43" y="413"/>
                  </a:lnTo>
                  <a:lnTo>
                    <a:pt x="44" y="412"/>
                  </a:lnTo>
                  <a:lnTo>
                    <a:pt x="46" y="412"/>
                  </a:lnTo>
                  <a:lnTo>
                    <a:pt x="48" y="412"/>
                  </a:lnTo>
                  <a:lnTo>
                    <a:pt x="48" y="413"/>
                  </a:lnTo>
                  <a:lnTo>
                    <a:pt x="49" y="412"/>
                  </a:lnTo>
                  <a:lnTo>
                    <a:pt x="51" y="412"/>
                  </a:lnTo>
                  <a:lnTo>
                    <a:pt x="52" y="412"/>
                  </a:lnTo>
                  <a:lnTo>
                    <a:pt x="54" y="413"/>
                  </a:lnTo>
                  <a:lnTo>
                    <a:pt x="56" y="413"/>
                  </a:lnTo>
                  <a:lnTo>
                    <a:pt x="57" y="413"/>
                  </a:lnTo>
                  <a:lnTo>
                    <a:pt x="57" y="412"/>
                  </a:lnTo>
                  <a:lnTo>
                    <a:pt x="59" y="412"/>
                  </a:lnTo>
                  <a:lnTo>
                    <a:pt x="61" y="412"/>
                  </a:lnTo>
                  <a:lnTo>
                    <a:pt x="61" y="410"/>
                  </a:lnTo>
                  <a:lnTo>
                    <a:pt x="61" y="408"/>
                  </a:lnTo>
                  <a:lnTo>
                    <a:pt x="62" y="407"/>
                  </a:lnTo>
                  <a:lnTo>
                    <a:pt x="62" y="408"/>
                  </a:lnTo>
                  <a:lnTo>
                    <a:pt x="62" y="410"/>
                  </a:lnTo>
                  <a:lnTo>
                    <a:pt x="61" y="410"/>
                  </a:lnTo>
                  <a:lnTo>
                    <a:pt x="61" y="412"/>
                  </a:lnTo>
                  <a:lnTo>
                    <a:pt x="62" y="412"/>
                  </a:lnTo>
                  <a:lnTo>
                    <a:pt x="61" y="412"/>
                  </a:lnTo>
                  <a:lnTo>
                    <a:pt x="62" y="410"/>
                  </a:lnTo>
                  <a:lnTo>
                    <a:pt x="64" y="410"/>
                  </a:lnTo>
                  <a:lnTo>
                    <a:pt x="64" y="412"/>
                  </a:lnTo>
                  <a:lnTo>
                    <a:pt x="65" y="412"/>
                  </a:lnTo>
                  <a:lnTo>
                    <a:pt x="65" y="410"/>
                  </a:lnTo>
                  <a:lnTo>
                    <a:pt x="65" y="412"/>
                  </a:lnTo>
                  <a:lnTo>
                    <a:pt x="64" y="412"/>
                  </a:lnTo>
                  <a:lnTo>
                    <a:pt x="64" y="410"/>
                  </a:lnTo>
                  <a:lnTo>
                    <a:pt x="65" y="410"/>
                  </a:lnTo>
                  <a:lnTo>
                    <a:pt x="64" y="410"/>
                  </a:lnTo>
                  <a:lnTo>
                    <a:pt x="65" y="410"/>
                  </a:lnTo>
                  <a:lnTo>
                    <a:pt x="64" y="408"/>
                  </a:lnTo>
                  <a:lnTo>
                    <a:pt x="65" y="408"/>
                  </a:lnTo>
                  <a:lnTo>
                    <a:pt x="65" y="407"/>
                  </a:lnTo>
                  <a:lnTo>
                    <a:pt x="67" y="407"/>
                  </a:lnTo>
                  <a:lnTo>
                    <a:pt x="69" y="405"/>
                  </a:lnTo>
                  <a:lnTo>
                    <a:pt x="69" y="403"/>
                  </a:lnTo>
                  <a:lnTo>
                    <a:pt x="69" y="402"/>
                  </a:lnTo>
                  <a:lnTo>
                    <a:pt x="70" y="402"/>
                  </a:lnTo>
                  <a:lnTo>
                    <a:pt x="70" y="403"/>
                  </a:lnTo>
                  <a:lnTo>
                    <a:pt x="69" y="405"/>
                  </a:lnTo>
                  <a:lnTo>
                    <a:pt x="69" y="407"/>
                  </a:lnTo>
                  <a:lnTo>
                    <a:pt x="72" y="407"/>
                  </a:lnTo>
                  <a:lnTo>
                    <a:pt x="72" y="405"/>
                  </a:lnTo>
                  <a:lnTo>
                    <a:pt x="74" y="407"/>
                  </a:lnTo>
                  <a:lnTo>
                    <a:pt x="74" y="405"/>
                  </a:lnTo>
                  <a:lnTo>
                    <a:pt x="75" y="405"/>
                  </a:lnTo>
                  <a:lnTo>
                    <a:pt x="77" y="405"/>
                  </a:lnTo>
                  <a:lnTo>
                    <a:pt x="78" y="405"/>
                  </a:lnTo>
                  <a:lnTo>
                    <a:pt x="78" y="407"/>
                  </a:lnTo>
                  <a:lnTo>
                    <a:pt x="80" y="407"/>
                  </a:lnTo>
                  <a:lnTo>
                    <a:pt x="78" y="407"/>
                  </a:lnTo>
                  <a:lnTo>
                    <a:pt x="78" y="405"/>
                  </a:lnTo>
                  <a:lnTo>
                    <a:pt x="78" y="403"/>
                  </a:lnTo>
                  <a:lnTo>
                    <a:pt x="80" y="403"/>
                  </a:lnTo>
                  <a:lnTo>
                    <a:pt x="82" y="403"/>
                  </a:lnTo>
                  <a:lnTo>
                    <a:pt x="83" y="403"/>
                  </a:lnTo>
                  <a:lnTo>
                    <a:pt x="82" y="402"/>
                  </a:lnTo>
                  <a:lnTo>
                    <a:pt x="82" y="403"/>
                  </a:lnTo>
                  <a:lnTo>
                    <a:pt x="80" y="403"/>
                  </a:lnTo>
                  <a:lnTo>
                    <a:pt x="80" y="402"/>
                  </a:lnTo>
                  <a:lnTo>
                    <a:pt x="78" y="402"/>
                  </a:lnTo>
                  <a:lnTo>
                    <a:pt x="77" y="402"/>
                  </a:lnTo>
                  <a:lnTo>
                    <a:pt x="77" y="400"/>
                  </a:lnTo>
                  <a:lnTo>
                    <a:pt x="75" y="400"/>
                  </a:lnTo>
                  <a:lnTo>
                    <a:pt x="74" y="400"/>
                  </a:lnTo>
                  <a:lnTo>
                    <a:pt x="72" y="400"/>
                  </a:lnTo>
                  <a:lnTo>
                    <a:pt x="70" y="400"/>
                  </a:lnTo>
                  <a:lnTo>
                    <a:pt x="69" y="400"/>
                  </a:lnTo>
                  <a:lnTo>
                    <a:pt x="67" y="400"/>
                  </a:lnTo>
                  <a:lnTo>
                    <a:pt x="65" y="400"/>
                  </a:lnTo>
                  <a:lnTo>
                    <a:pt x="64" y="400"/>
                  </a:lnTo>
                  <a:lnTo>
                    <a:pt x="64" y="402"/>
                  </a:lnTo>
                  <a:lnTo>
                    <a:pt x="65" y="402"/>
                  </a:lnTo>
                  <a:lnTo>
                    <a:pt x="65" y="403"/>
                  </a:lnTo>
                  <a:lnTo>
                    <a:pt x="65" y="405"/>
                  </a:lnTo>
                  <a:lnTo>
                    <a:pt x="64" y="405"/>
                  </a:lnTo>
                  <a:lnTo>
                    <a:pt x="64" y="403"/>
                  </a:lnTo>
                  <a:lnTo>
                    <a:pt x="64" y="400"/>
                  </a:lnTo>
                  <a:lnTo>
                    <a:pt x="62" y="400"/>
                  </a:lnTo>
                  <a:lnTo>
                    <a:pt x="62" y="399"/>
                  </a:lnTo>
                  <a:lnTo>
                    <a:pt x="61" y="399"/>
                  </a:lnTo>
                  <a:lnTo>
                    <a:pt x="59" y="399"/>
                  </a:lnTo>
                  <a:lnTo>
                    <a:pt x="57" y="399"/>
                  </a:lnTo>
                  <a:lnTo>
                    <a:pt x="56" y="399"/>
                  </a:lnTo>
                  <a:lnTo>
                    <a:pt x="54" y="399"/>
                  </a:lnTo>
                  <a:lnTo>
                    <a:pt x="52" y="400"/>
                  </a:lnTo>
                  <a:lnTo>
                    <a:pt x="51" y="399"/>
                  </a:lnTo>
                  <a:lnTo>
                    <a:pt x="51" y="400"/>
                  </a:lnTo>
                  <a:lnTo>
                    <a:pt x="49" y="400"/>
                  </a:lnTo>
                  <a:lnTo>
                    <a:pt x="48" y="400"/>
                  </a:lnTo>
                  <a:lnTo>
                    <a:pt x="48" y="399"/>
                  </a:lnTo>
                  <a:lnTo>
                    <a:pt x="49" y="399"/>
                  </a:lnTo>
                  <a:lnTo>
                    <a:pt x="48" y="399"/>
                  </a:lnTo>
                  <a:lnTo>
                    <a:pt x="46" y="399"/>
                  </a:lnTo>
                  <a:lnTo>
                    <a:pt x="44" y="399"/>
                  </a:lnTo>
                  <a:lnTo>
                    <a:pt x="43" y="399"/>
                  </a:lnTo>
                  <a:lnTo>
                    <a:pt x="43" y="397"/>
                  </a:lnTo>
                  <a:lnTo>
                    <a:pt x="43" y="395"/>
                  </a:lnTo>
                  <a:lnTo>
                    <a:pt x="44" y="395"/>
                  </a:lnTo>
                  <a:lnTo>
                    <a:pt x="43" y="395"/>
                  </a:lnTo>
                  <a:lnTo>
                    <a:pt x="43" y="397"/>
                  </a:lnTo>
                  <a:lnTo>
                    <a:pt x="41" y="397"/>
                  </a:lnTo>
                  <a:lnTo>
                    <a:pt x="39" y="397"/>
                  </a:lnTo>
                  <a:lnTo>
                    <a:pt x="39" y="395"/>
                  </a:lnTo>
                  <a:lnTo>
                    <a:pt x="38" y="395"/>
                  </a:lnTo>
                  <a:lnTo>
                    <a:pt x="39" y="395"/>
                  </a:lnTo>
                  <a:lnTo>
                    <a:pt x="38" y="394"/>
                  </a:lnTo>
                  <a:lnTo>
                    <a:pt x="38" y="392"/>
                  </a:lnTo>
                  <a:lnTo>
                    <a:pt x="36" y="394"/>
                  </a:lnTo>
                  <a:lnTo>
                    <a:pt x="36" y="392"/>
                  </a:lnTo>
                  <a:lnTo>
                    <a:pt x="35" y="394"/>
                  </a:lnTo>
                  <a:lnTo>
                    <a:pt x="36" y="394"/>
                  </a:lnTo>
                  <a:lnTo>
                    <a:pt x="38" y="395"/>
                  </a:lnTo>
                  <a:lnTo>
                    <a:pt x="38" y="397"/>
                  </a:lnTo>
                  <a:lnTo>
                    <a:pt x="36" y="397"/>
                  </a:lnTo>
                  <a:lnTo>
                    <a:pt x="35" y="395"/>
                  </a:lnTo>
                  <a:lnTo>
                    <a:pt x="33" y="395"/>
                  </a:lnTo>
                  <a:lnTo>
                    <a:pt x="33" y="394"/>
                  </a:lnTo>
                  <a:lnTo>
                    <a:pt x="31" y="394"/>
                  </a:lnTo>
                  <a:lnTo>
                    <a:pt x="31" y="392"/>
                  </a:lnTo>
                  <a:lnTo>
                    <a:pt x="30" y="392"/>
                  </a:lnTo>
                  <a:lnTo>
                    <a:pt x="28" y="394"/>
                  </a:lnTo>
                  <a:lnTo>
                    <a:pt x="30" y="394"/>
                  </a:lnTo>
                  <a:lnTo>
                    <a:pt x="30" y="395"/>
                  </a:lnTo>
                  <a:lnTo>
                    <a:pt x="31" y="395"/>
                  </a:lnTo>
                  <a:lnTo>
                    <a:pt x="30" y="395"/>
                  </a:lnTo>
                  <a:lnTo>
                    <a:pt x="28" y="395"/>
                  </a:lnTo>
                  <a:lnTo>
                    <a:pt x="26" y="395"/>
                  </a:lnTo>
                  <a:lnTo>
                    <a:pt x="25" y="395"/>
                  </a:lnTo>
                  <a:lnTo>
                    <a:pt x="23" y="395"/>
                  </a:lnTo>
                  <a:lnTo>
                    <a:pt x="22" y="394"/>
                  </a:lnTo>
                  <a:lnTo>
                    <a:pt x="22" y="392"/>
                  </a:lnTo>
                  <a:lnTo>
                    <a:pt x="20" y="392"/>
                  </a:lnTo>
                  <a:lnTo>
                    <a:pt x="18" y="392"/>
                  </a:lnTo>
                  <a:lnTo>
                    <a:pt x="20" y="392"/>
                  </a:lnTo>
                  <a:lnTo>
                    <a:pt x="22" y="392"/>
                  </a:lnTo>
                  <a:lnTo>
                    <a:pt x="22" y="390"/>
                  </a:lnTo>
                  <a:lnTo>
                    <a:pt x="22" y="389"/>
                  </a:lnTo>
                  <a:lnTo>
                    <a:pt x="22" y="387"/>
                  </a:lnTo>
                  <a:lnTo>
                    <a:pt x="22" y="386"/>
                  </a:lnTo>
                  <a:lnTo>
                    <a:pt x="23" y="386"/>
                  </a:lnTo>
                  <a:lnTo>
                    <a:pt x="25" y="384"/>
                  </a:lnTo>
                  <a:lnTo>
                    <a:pt x="23" y="384"/>
                  </a:lnTo>
                  <a:lnTo>
                    <a:pt x="25" y="384"/>
                  </a:lnTo>
                  <a:lnTo>
                    <a:pt x="25" y="382"/>
                  </a:lnTo>
                  <a:lnTo>
                    <a:pt x="23" y="382"/>
                  </a:lnTo>
                  <a:lnTo>
                    <a:pt x="25" y="381"/>
                  </a:lnTo>
                  <a:lnTo>
                    <a:pt x="26" y="381"/>
                  </a:lnTo>
                  <a:lnTo>
                    <a:pt x="28" y="381"/>
                  </a:lnTo>
                  <a:lnTo>
                    <a:pt x="30" y="381"/>
                  </a:lnTo>
                  <a:lnTo>
                    <a:pt x="30" y="379"/>
                  </a:lnTo>
                  <a:lnTo>
                    <a:pt x="30" y="381"/>
                  </a:lnTo>
                  <a:lnTo>
                    <a:pt x="28" y="381"/>
                  </a:lnTo>
                  <a:lnTo>
                    <a:pt x="28" y="382"/>
                  </a:lnTo>
                  <a:lnTo>
                    <a:pt x="28" y="384"/>
                  </a:lnTo>
                  <a:lnTo>
                    <a:pt x="30" y="384"/>
                  </a:lnTo>
                  <a:lnTo>
                    <a:pt x="31" y="386"/>
                  </a:lnTo>
                  <a:lnTo>
                    <a:pt x="33" y="384"/>
                  </a:lnTo>
                  <a:lnTo>
                    <a:pt x="31" y="384"/>
                  </a:lnTo>
                  <a:lnTo>
                    <a:pt x="31" y="382"/>
                  </a:lnTo>
                  <a:lnTo>
                    <a:pt x="33" y="381"/>
                  </a:lnTo>
                  <a:lnTo>
                    <a:pt x="35" y="381"/>
                  </a:lnTo>
                  <a:lnTo>
                    <a:pt x="33" y="381"/>
                  </a:lnTo>
                  <a:lnTo>
                    <a:pt x="33" y="379"/>
                  </a:lnTo>
                  <a:lnTo>
                    <a:pt x="35" y="377"/>
                  </a:lnTo>
                  <a:lnTo>
                    <a:pt x="36" y="377"/>
                  </a:lnTo>
                  <a:lnTo>
                    <a:pt x="38" y="377"/>
                  </a:lnTo>
                  <a:lnTo>
                    <a:pt x="39" y="377"/>
                  </a:lnTo>
                  <a:lnTo>
                    <a:pt x="41" y="377"/>
                  </a:lnTo>
                  <a:lnTo>
                    <a:pt x="41" y="376"/>
                  </a:lnTo>
                  <a:lnTo>
                    <a:pt x="43" y="376"/>
                  </a:lnTo>
                  <a:lnTo>
                    <a:pt x="44" y="376"/>
                  </a:lnTo>
                  <a:lnTo>
                    <a:pt x="46" y="374"/>
                  </a:lnTo>
                  <a:lnTo>
                    <a:pt x="48" y="374"/>
                  </a:lnTo>
                  <a:lnTo>
                    <a:pt x="48" y="376"/>
                  </a:lnTo>
                  <a:lnTo>
                    <a:pt x="49" y="376"/>
                  </a:lnTo>
                  <a:lnTo>
                    <a:pt x="49" y="374"/>
                  </a:lnTo>
                  <a:lnTo>
                    <a:pt x="51" y="374"/>
                  </a:lnTo>
                  <a:lnTo>
                    <a:pt x="52" y="374"/>
                  </a:lnTo>
                  <a:lnTo>
                    <a:pt x="54" y="376"/>
                  </a:lnTo>
                  <a:lnTo>
                    <a:pt x="52" y="376"/>
                  </a:lnTo>
                  <a:lnTo>
                    <a:pt x="54" y="376"/>
                  </a:lnTo>
                  <a:lnTo>
                    <a:pt x="52" y="376"/>
                  </a:lnTo>
                  <a:lnTo>
                    <a:pt x="54" y="377"/>
                  </a:lnTo>
                  <a:lnTo>
                    <a:pt x="52" y="377"/>
                  </a:lnTo>
                  <a:lnTo>
                    <a:pt x="54" y="379"/>
                  </a:lnTo>
                  <a:lnTo>
                    <a:pt x="52" y="381"/>
                  </a:lnTo>
                  <a:lnTo>
                    <a:pt x="51" y="381"/>
                  </a:lnTo>
                  <a:lnTo>
                    <a:pt x="49" y="382"/>
                  </a:lnTo>
                  <a:lnTo>
                    <a:pt x="51" y="382"/>
                  </a:lnTo>
                  <a:lnTo>
                    <a:pt x="52" y="382"/>
                  </a:lnTo>
                  <a:lnTo>
                    <a:pt x="54" y="382"/>
                  </a:lnTo>
                  <a:lnTo>
                    <a:pt x="52" y="382"/>
                  </a:lnTo>
                  <a:lnTo>
                    <a:pt x="52" y="381"/>
                  </a:lnTo>
                  <a:lnTo>
                    <a:pt x="54" y="381"/>
                  </a:lnTo>
                  <a:lnTo>
                    <a:pt x="54" y="382"/>
                  </a:lnTo>
                  <a:lnTo>
                    <a:pt x="57" y="382"/>
                  </a:lnTo>
                  <a:lnTo>
                    <a:pt x="59" y="382"/>
                  </a:lnTo>
                  <a:lnTo>
                    <a:pt x="61" y="382"/>
                  </a:lnTo>
                  <a:lnTo>
                    <a:pt x="61" y="381"/>
                  </a:lnTo>
                  <a:lnTo>
                    <a:pt x="62" y="381"/>
                  </a:lnTo>
                  <a:lnTo>
                    <a:pt x="64" y="379"/>
                  </a:lnTo>
                  <a:lnTo>
                    <a:pt x="64" y="377"/>
                  </a:lnTo>
                  <a:lnTo>
                    <a:pt x="64" y="376"/>
                  </a:lnTo>
                  <a:lnTo>
                    <a:pt x="62" y="374"/>
                  </a:lnTo>
                  <a:lnTo>
                    <a:pt x="64" y="374"/>
                  </a:lnTo>
                  <a:lnTo>
                    <a:pt x="65" y="374"/>
                  </a:lnTo>
                  <a:lnTo>
                    <a:pt x="65" y="376"/>
                  </a:lnTo>
                  <a:lnTo>
                    <a:pt x="67" y="376"/>
                  </a:lnTo>
                  <a:lnTo>
                    <a:pt x="67" y="374"/>
                  </a:lnTo>
                  <a:lnTo>
                    <a:pt x="67" y="376"/>
                  </a:lnTo>
                  <a:lnTo>
                    <a:pt x="65" y="376"/>
                  </a:lnTo>
                  <a:lnTo>
                    <a:pt x="65" y="377"/>
                  </a:lnTo>
                  <a:lnTo>
                    <a:pt x="65" y="379"/>
                  </a:lnTo>
                  <a:lnTo>
                    <a:pt x="64" y="381"/>
                  </a:lnTo>
                  <a:lnTo>
                    <a:pt x="65" y="382"/>
                  </a:lnTo>
                  <a:lnTo>
                    <a:pt x="65" y="384"/>
                  </a:lnTo>
                  <a:lnTo>
                    <a:pt x="67" y="386"/>
                  </a:lnTo>
                  <a:lnTo>
                    <a:pt x="69" y="387"/>
                  </a:lnTo>
                  <a:lnTo>
                    <a:pt x="69" y="389"/>
                  </a:lnTo>
                  <a:lnTo>
                    <a:pt x="70" y="389"/>
                  </a:lnTo>
                  <a:lnTo>
                    <a:pt x="72" y="389"/>
                  </a:lnTo>
                  <a:lnTo>
                    <a:pt x="74" y="389"/>
                  </a:lnTo>
                  <a:lnTo>
                    <a:pt x="75" y="389"/>
                  </a:lnTo>
                  <a:lnTo>
                    <a:pt x="77" y="389"/>
                  </a:lnTo>
                  <a:lnTo>
                    <a:pt x="78" y="389"/>
                  </a:lnTo>
                  <a:lnTo>
                    <a:pt x="78" y="387"/>
                  </a:lnTo>
                  <a:lnTo>
                    <a:pt x="80" y="387"/>
                  </a:lnTo>
                  <a:lnTo>
                    <a:pt x="82" y="387"/>
                  </a:lnTo>
                  <a:lnTo>
                    <a:pt x="80" y="387"/>
                  </a:lnTo>
                  <a:lnTo>
                    <a:pt x="80" y="389"/>
                  </a:lnTo>
                  <a:lnTo>
                    <a:pt x="82" y="389"/>
                  </a:lnTo>
                  <a:lnTo>
                    <a:pt x="83" y="389"/>
                  </a:lnTo>
                  <a:lnTo>
                    <a:pt x="85" y="390"/>
                  </a:lnTo>
                  <a:lnTo>
                    <a:pt x="87" y="389"/>
                  </a:lnTo>
                  <a:lnTo>
                    <a:pt x="88" y="389"/>
                  </a:lnTo>
                  <a:lnTo>
                    <a:pt x="87" y="389"/>
                  </a:lnTo>
                  <a:lnTo>
                    <a:pt x="87" y="387"/>
                  </a:lnTo>
                  <a:lnTo>
                    <a:pt x="85" y="387"/>
                  </a:lnTo>
                  <a:lnTo>
                    <a:pt x="87" y="387"/>
                  </a:lnTo>
                  <a:lnTo>
                    <a:pt x="85" y="386"/>
                  </a:lnTo>
                  <a:lnTo>
                    <a:pt x="83" y="386"/>
                  </a:lnTo>
                  <a:lnTo>
                    <a:pt x="82" y="386"/>
                  </a:lnTo>
                  <a:lnTo>
                    <a:pt x="82" y="384"/>
                  </a:lnTo>
                  <a:lnTo>
                    <a:pt x="80" y="384"/>
                  </a:lnTo>
                  <a:lnTo>
                    <a:pt x="78" y="384"/>
                  </a:lnTo>
                  <a:lnTo>
                    <a:pt x="77" y="384"/>
                  </a:lnTo>
                  <a:lnTo>
                    <a:pt x="77" y="382"/>
                  </a:lnTo>
                  <a:lnTo>
                    <a:pt x="77" y="381"/>
                  </a:lnTo>
                  <a:lnTo>
                    <a:pt x="77" y="379"/>
                  </a:lnTo>
                  <a:lnTo>
                    <a:pt x="78" y="379"/>
                  </a:lnTo>
                  <a:lnTo>
                    <a:pt x="78" y="381"/>
                  </a:lnTo>
                  <a:lnTo>
                    <a:pt x="78" y="382"/>
                  </a:lnTo>
                  <a:lnTo>
                    <a:pt x="77" y="382"/>
                  </a:lnTo>
                  <a:lnTo>
                    <a:pt x="78" y="382"/>
                  </a:lnTo>
                  <a:lnTo>
                    <a:pt x="80" y="382"/>
                  </a:lnTo>
                  <a:lnTo>
                    <a:pt x="82" y="382"/>
                  </a:lnTo>
                  <a:lnTo>
                    <a:pt x="82" y="381"/>
                  </a:lnTo>
                  <a:lnTo>
                    <a:pt x="80" y="381"/>
                  </a:lnTo>
                  <a:lnTo>
                    <a:pt x="78" y="381"/>
                  </a:lnTo>
                  <a:lnTo>
                    <a:pt x="80" y="379"/>
                  </a:lnTo>
                  <a:lnTo>
                    <a:pt x="82" y="379"/>
                  </a:lnTo>
                  <a:lnTo>
                    <a:pt x="83" y="379"/>
                  </a:lnTo>
                  <a:lnTo>
                    <a:pt x="83" y="377"/>
                  </a:lnTo>
                  <a:lnTo>
                    <a:pt x="82" y="377"/>
                  </a:lnTo>
                  <a:lnTo>
                    <a:pt x="82" y="379"/>
                  </a:lnTo>
                  <a:lnTo>
                    <a:pt x="80" y="379"/>
                  </a:lnTo>
                  <a:lnTo>
                    <a:pt x="82" y="377"/>
                  </a:lnTo>
                  <a:lnTo>
                    <a:pt x="83" y="376"/>
                  </a:lnTo>
                  <a:lnTo>
                    <a:pt x="83" y="373"/>
                  </a:lnTo>
                  <a:lnTo>
                    <a:pt x="85" y="371"/>
                  </a:lnTo>
                  <a:lnTo>
                    <a:pt x="85" y="369"/>
                  </a:lnTo>
                  <a:lnTo>
                    <a:pt x="83" y="368"/>
                  </a:lnTo>
                  <a:lnTo>
                    <a:pt x="82" y="368"/>
                  </a:lnTo>
                  <a:lnTo>
                    <a:pt x="80" y="366"/>
                  </a:lnTo>
                  <a:lnTo>
                    <a:pt x="78" y="366"/>
                  </a:lnTo>
                  <a:lnTo>
                    <a:pt x="78" y="364"/>
                  </a:lnTo>
                  <a:lnTo>
                    <a:pt x="77" y="364"/>
                  </a:lnTo>
                  <a:lnTo>
                    <a:pt x="77" y="363"/>
                  </a:lnTo>
                  <a:lnTo>
                    <a:pt x="77" y="361"/>
                  </a:lnTo>
                  <a:lnTo>
                    <a:pt x="78" y="361"/>
                  </a:lnTo>
                  <a:lnTo>
                    <a:pt x="80" y="361"/>
                  </a:lnTo>
                  <a:lnTo>
                    <a:pt x="82" y="361"/>
                  </a:lnTo>
                  <a:lnTo>
                    <a:pt x="82" y="363"/>
                  </a:lnTo>
                  <a:lnTo>
                    <a:pt x="83" y="361"/>
                  </a:lnTo>
                  <a:lnTo>
                    <a:pt x="83" y="363"/>
                  </a:lnTo>
                  <a:lnTo>
                    <a:pt x="85" y="363"/>
                  </a:lnTo>
                  <a:lnTo>
                    <a:pt x="87" y="363"/>
                  </a:lnTo>
                  <a:lnTo>
                    <a:pt x="88" y="363"/>
                  </a:lnTo>
                  <a:lnTo>
                    <a:pt x="90" y="363"/>
                  </a:lnTo>
                  <a:lnTo>
                    <a:pt x="90" y="361"/>
                  </a:lnTo>
                  <a:lnTo>
                    <a:pt x="92" y="361"/>
                  </a:lnTo>
                  <a:lnTo>
                    <a:pt x="93" y="361"/>
                  </a:lnTo>
                  <a:lnTo>
                    <a:pt x="95" y="361"/>
                  </a:lnTo>
                  <a:lnTo>
                    <a:pt x="95" y="360"/>
                  </a:lnTo>
                  <a:lnTo>
                    <a:pt x="96" y="360"/>
                  </a:lnTo>
                  <a:lnTo>
                    <a:pt x="98" y="360"/>
                  </a:lnTo>
                  <a:lnTo>
                    <a:pt x="100" y="360"/>
                  </a:lnTo>
                  <a:lnTo>
                    <a:pt x="101" y="360"/>
                  </a:lnTo>
                  <a:lnTo>
                    <a:pt x="103" y="360"/>
                  </a:lnTo>
                  <a:lnTo>
                    <a:pt x="103" y="361"/>
                  </a:lnTo>
                  <a:lnTo>
                    <a:pt x="105" y="361"/>
                  </a:lnTo>
                  <a:lnTo>
                    <a:pt x="105" y="363"/>
                  </a:lnTo>
                  <a:lnTo>
                    <a:pt x="105" y="361"/>
                  </a:lnTo>
                  <a:lnTo>
                    <a:pt x="105" y="360"/>
                  </a:lnTo>
                  <a:lnTo>
                    <a:pt x="105" y="361"/>
                  </a:lnTo>
                  <a:lnTo>
                    <a:pt x="105" y="360"/>
                  </a:lnTo>
                  <a:lnTo>
                    <a:pt x="103" y="360"/>
                  </a:lnTo>
                  <a:lnTo>
                    <a:pt x="101" y="360"/>
                  </a:lnTo>
                  <a:close/>
                  <a:moveTo>
                    <a:pt x="137" y="246"/>
                  </a:moveTo>
                  <a:lnTo>
                    <a:pt x="139" y="246"/>
                  </a:lnTo>
                  <a:lnTo>
                    <a:pt x="137" y="246"/>
                  </a:lnTo>
                  <a:lnTo>
                    <a:pt x="137" y="247"/>
                  </a:lnTo>
                  <a:lnTo>
                    <a:pt x="137" y="249"/>
                  </a:lnTo>
                  <a:lnTo>
                    <a:pt x="137" y="247"/>
                  </a:lnTo>
                  <a:lnTo>
                    <a:pt x="135" y="247"/>
                  </a:lnTo>
                  <a:lnTo>
                    <a:pt x="135" y="249"/>
                  </a:lnTo>
                  <a:lnTo>
                    <a:pt x="134" y="247"/>
                  </a:lnTo>
                  <a:lnTo>
                    <a:pt x="132" y="247"/>
                  </a:lnTo>
                  <a:lnTo>
                    <a:pt x="132" y="249"/>
                  </a:lnTo>
                  <a:lnTo>
                    <a:pt x="134" y="249"/>
                  </a:lnTo>
                  <a:lnTo>
                    <a:pt x="135" y="249"/>
                  </a:lnTo>
                  <a:lnTo>
                    <a:pt x="135" y="251"/>
                  </a:lnTo>
                  <a:lnTo>
                    <a:pt x="134" y="251"/>
                  </a:lnTo>
                  <a:lnTo>
                    <a:pt x="135" y="252"/>
                  </a:lnTo>
                  <a:lnTo>
                    <a:pt x="134" y="254"/>
                  </a:lnTo>
                  <a:lnTo>
                    <a:pt x="134" y="255"/>
                  </a:lnTo>
                  <a:lnTo>
                    <a:pt x="134" y="257"/>
                  </a:lnTo>
                  <a:lnTo>
                    <a:pt x="132" y="257"/>
                  </a:lnTo>
                  <a:lnTo>
                    <a:pt x="131" y="257"/>
                  </a:lnTo>
                  <a:lnTo>
                    <a:pt x="129" y="255"/>
                  </a:lnTo>
                  <a:lnTo>
                    <a:pt x="129" y="257"/>
                  </a:lnTo>
                  <a:lnTo>
                    <a:pt x="129" y="255"/>
                  </a:lnTo>
                  <a:lnTo>
                    <a:pt x="127" y="255"/>
                  </a:lnTo>
                  <a:lnTo>
                    <a:pt x="127" y="254"/>
                  </a:lnTo>
                  <a:lnTo>
                    <a:pt x="127" y="252"/>
                  </a:lnTo>
                  <a:lnTo>
                    <a:pt x="127" y="254"/>
                  </a:lnTo>
                  <a:lnTo>
                    <a:pt x="127" y="255"/>
                  </a:lnTo>
                  <a:lnTo>
                    <a:pt x="126" y="254"/>
                  </a:lnTo>
                  <a:lnTo>
                    <a:pt x="124" y="254"/>
                  </a:lnTo>
                  <a:lnTo>
                    <a:pt x="122" y="254"/>
                  </a:lnTo>
                  <a:lnTo>
                    <a:pt x="124" y="254"/>
                  </a:lnTo>
                  <a:lnTo>
                    <a:pt x="126" y="254"/>
                  </a:lnTo>
                  <a:lnTo>
                    <a:pt x="126" y="252"/>
                  </a:lnTo>
                  <a:lnTo>
                    <a:pt x="124" y="252"/>
                  </a:lnTo>
                  <a:lnTo>
                    <a:pt x="126" y="252"/>
                  </a:lnTo>
                  <a:lnTo>
                    <a:pt x="124" y="252"/>
                  </a:lnTo>
                  <a:lnTo>
                    <a:pt x="124" y="251"/>
                  </a:lnTo>
                  <a:lnTo>
                    <a:pt x="126" y="251"/>
                  </a:lnTo>
                  <a:lnTo>
                    <a:pt x="126" y="252"/>
                  </a:lnTo>
                  <a:lnTo>
                    <a:pt x="126" y="251"/>
                  </a:lnTo>
                  <a:lnTo>
                    <a:pt x="126" y="249"/>
                  </a:lnTo>
                  <a:lnTo>
                    <a:pt x="127" y="251"/>
                  </a:lnTo>
                  <a:lnTo>
                    <a:pt x="127" y="252"/>
                  </a:lnTo>
                  <a:lnTo>
                    <a:pt x="129" y="252"/>
                  </a:lnTo>
                  <a:lnTo>
                    <a:pt x="129" y="251"/>
                  </a:lnTo>
                  <a:lnTo>
                    <a:pt x="127" y="251"/>
                  </a:lnTo>
                  <a:lnTo>
                    <a:pt x="129" y="249"/>
                  </a:lnTo>
                  <a:lnTo>
                    <a:pt x="129" y="251"/>
                  </a:lnTo>
                  <a:lnTo>
                    <a:pt x="131" y="251"/>
                  </a:lnTo>
                  <a:lnTo>
                    <a:pt x="131" y="249"/>
                  </a:lnTo>
                  <a:lnTo>
                    <a:pt x="132" y="249"/>
                  </a:lnTo>
                  <a:lnTo>
                    <a:pt x="132" y="247"/>
                  </a:lnTo>
                  <a:lnTo>
                    <a:pt x="131" y="247"/>
                  </a:lnTo>
                  <a:lnTo>
                    <a:pt x="132" y="247"/>
                  </a:lnTo>
                  <a:lnTo>
                    <a:pt x="131" y="246"/>
                  </a:lnTo>
                  <a:lnTo>
                    <a:pt x="131" y="244"/>
                  </a:lnTo>
                  <a:lnTo>
                    <a:pt x="132" y="244"/>
                  </a:lnTo>
                  <a:lnTo>
                    <a:pt x="134" y="244"/>
                  </a:lnTo>
                  <a:lnTo>
                    <a:pt x="134" y="246"/>
                  </a:lnTo>
                  <a:lnTo>
                    <a:pt x="135" y="246"/>
                  </a:lnTo>
                  <a:lnTo>
                    <a:pt x="137" y="246"/>
                  </a:lnTo>
                  <a:lnTo>
                    <a:pt x="135" y="246"/>
                  </a:lnTo>
                  <a:lnTo>
                    <a:pt x="135" y="244"/>
                  </a:lnTo>
                  <a:lnTo>
                    <a:pt x="137" y="244"/>
                  </a:lnTo>
                  <a:lnTo>
                    <a:pt x="139" y="244"/>
                  </a:lnTo>
                  <a:lnTo>
                    <a:pt x="137" y="246"/>
                  </a:lnTo>
                  <a:close/>
                  <a:moveTo>
                    <a:pt x="116" y="264"/>
                  </a:moveTo>
                  <a:lnTo>
                    <a:pt x="118" y="264"/>
                  </a:lnTo>
                  <a:lnTo>
                    <a:pt x="119" y="264"/>
                  </a:lnTo>
                  <a:lnTo>
                    <a:pt x="119" y="265"/>
                  </a:lnTo>
                  <a:lnTo>
                    <a:pt x="119" y="264"/>
                  </a:lnTo>
                  <a:lnTo>
                    <a:pt x="121" y="265"/>
                  </a:lnTo>
                  <a:lnTo>
                    <a:pt x="121" y="267"/>
                  </a:lnTo>
                  <a:lnTo>
                    <a:pt x="121" y="268"/>
                  </a:lnTo>
                  <a:lnTo>
                    <a:pt x="122" y="267"/>
                  </a:lnTo>
                  <a:lnTo>
                    <a:pt x="124" y="267"/>
                  </a:lnTo>
                  <a:lnTo>
                    <a:pt x="126" y="267"/>
                  </a:lnTo>
                  <a:lnTo>
                    <a:pt x="126" y="268"/>
                  </a:lnTo>
                  <a:lnTo>
                    <a:pt x="127" y="268"/>
                  </a:lnTo>
                  <a:lnTo>
                    <a:pt x="127" y="270"/>
                  </a:lnTo>
                  <a:lnTo>
                    <a:pt x="129" y="270"/>
                  </a:lnTo>
                  <a:lnTo>
                    <a:pt x="127" y="270"/>
                  </a:lnTo>
                  <a:lnTo>
                    <a:pt x="127" y="272"/>
                  </a:lnTo>
                  <a:lnTo>
                    <a:pt x="126" y="272"/>
                  </a:lnTo>
                  <a:lnTo>
                    <a:pt x="127" y="272"/>
                  </a:lnTo>
                  <a:lnTo>
                    <a:pt x="127" y="273"/>
                  </a:lnTo>
                  <a:lnTo>
                    <a:pt x="129" y="273"/>
                  </a:lnTo>
                  <a:lnTo>
                    <a:pt x="131" y="273"/>
                  </a:lnTo>
                  <a:lnTo>
                    <a:pt x="129" y="275"/>
                  </a:lnTo>
                  <a:lnTo>
                    <a:pt x="129" y="277"/>
                  </a:lnTo>
                  <a:lnTo>
                    <a:pt x="127" y="275"/>
                  </a:lnTo>
                  <a:lnTo>
                    <a:pt x="126" y="275"/>
                  </a:lnTo>
                  <a:lnTo>
                    <a:pt x="126" y="273"/>
                  </a:lnTo>
                  <a:lnTo>
                    <a:pt x="124" y="273"/>
                  </a:lnTo>
                  <a:lnTo>
                    <a:pt x="124" y="272"/>
                  </a:lnTo>
                  <a:lnTo>
                    <a:pt x="122" y="272"/>
                  </a:lnTo>
                  <a:lnTo>
                    <a:pt x="121" y="270"/>
                  </a:lnTo>
                  <a:lnTo>
                    <a:pt x="121" y="268"/>
                  </a:lnTo>
                  <a:lnTo>
                    <a:pt x="119" y="268"/>
                  </a:lnTo>
                  <a:lnTo>
                    <a:pt x="119" y="267"/>
                  </a:lnTo>
                  <a:lnTo>
                    <a:pt x="118" y="267"/>
                  </a:lnTo>
                  <a:lnTo>
                    <a:pt x="116" y="265"/>
                  </a:lnTo>
                  <a:lnTo>
                    <a:pt x="114" y="265"/>
                  </a:lnTo>
                  <a:lnTo>
                    <a:pt x="114" y="264"/>
                  </a:lnTo>
                  <a:lnTo>
                    <a:pt x="116" y="264"/>
                  </a:lnTo>
                  <a:close/>
                  <a:moveTo>
                    <a:pt x="23" y="420"/>
                  </a:moveTo>
                  <a:lnTo>
                    <a:pt x="25" y="420"/>
                  </a:lnTo>
                  <a:lnTo>
                    <a:pt x="25" y="421"/>
                  </a:lnTo>
                  <a:lnTo>
                    <a:pt x="25" y="420"/>
                  </a:lnTo>
                  <a:lnTo>
                    <a:pt x="26" y="420"/>
                  </a:lnTo>
                  <a:lnTo>
                    <a:pt x="26" y="421"/>
                  </a:lnTo>
                  <a:lnTo>
                    <a:pt x="28" y="421"/>
                  </a:lnTo>
                  <a:lnTo>
                    <a:pt x="28" y="423"/>
                  </a:lnTo>
                  <a:lnTo>
                    <a:pt x="28" y="425"/>
                  </a:lnTo>
                  <a:lnTo>
                    <a:pt x="26" y="425"/>
                  </a:lnTo>
                  <a:lnTo>
                    <a:pt x="25" y="425"/>
                  </a:lnTo>
                  <a:lnTo>
                    <a:pt x="23" y="425"/>
                  </a:lnTo>
                  <a:lnTo>
                    <a:pt x="22" y="425"/>
                  </a:lnTo>
                  <a:lnTo>
                    <a:pt x="20" y="425"/>
                  </a:lnTo>
                  <a:lnTo>
                    <a:pt x="18" y="425"/>
                  </a:lnTo>
                  <a:lnTo>
                    <a:pt x="17" y="425"/>
                  </a:lnTo>
                  <a:lnTo>
                    <a:pt x="15" y="425"/>
                  </a:lnTo>
                  <a:lnTo>
                    <a:pt x="15" y="423"/>
                  </a:lnTo>
                  <a:lnTo>
                    <a:pt x="17" y="421"/>
                  </a:lnTo>
                  <a:lnTo>
                    <a:pt x="18" y="421"/>
                  </a:lnTo>
                  <a:lnTo>
                    <a:pt x="20" y="421"/>
                  </a:lnTo>
                  <a:lnTo>
                    <a:pt x="22" y="421"/>
                  </a:lnTo>
                  <a:lnTo>
                    <a:pt x="23" y="421"/>
                  </a:lnTo>
                  <a:lnTo>
                    <a:pt x="23" y="420"/>
                  </a:lnTo>
                  <a:close/>
                  <a:moveTo>
                    <a:pt x="290" y="31"/>
                  </a:moveTo>
                  <a:lnTo>
                    <a:pt x="292" y="31"/>
                  </a:lnTo>
                  <a:lnTo>
                    <a:pt x="292" y="33"/>
                  </a:lnTo>
                  <a:lnTo>
                    <a:pt x="293" y="34"/>
                  </a:lnTo>
                  <a:lnTo>
                    <a:pt x="293" y="36"/>
                  </a:lnTo>
                  <a:lnTo>
                    <a:pt x="293" y="37"/>
                  </a:lnTo>
                  <a:lnTo>
                    <a:pt x="293" y="39"/>
                  </a:lnTo>
                  <a:lnTo>
                    <a:pt x="292" y="39"/>
                  </a:lnTo>
                  <a:lnTo>
                    <a:pt x="290" y="39"/>
                  </a:lnTo>
                  <a:lnTo>
                    <a:pt x="290" y="37"/>
                  </a:lnTo>
                  <a:lnTo>
                    <a:pt x="288" y="39"/>
                  </a:lnTo>
                  <a:lnTo>
                    <a:pt x="288" y="37"/>
                  </a:lnTo>
                  <a:lnTo>
                    <a:pt x="287" y="37"/>
                  </a:lnTo>
                  <a:lnTo>
                    <a:pt x="287" y="36"/>
                  </a:lnTo>
                  <a:lnTo>
                    <a:pt x="288" y="36"/>
                  </a:lnTo>
                  <a:lnTo>
                    <a:pt x="288" y="34"/>
                  </a:lnTo>
                  <a:lnTo>
                    <a:pt x="290" y="34"/>
                  </a:lnTo>
                  <a:lnTo>
                    <a:pt x="290" y="33"/>
                  </a:lnTo>
                  <a:lnTo>
                    <a:pt x="288" y="33"/>
                  </a:lnTo>
                  <a:lnTo>
                    <a:pt x="290" y="33"/>
                  </a:lnTo>
                  <a:lnTo>
                    <a:pt x="290" y="31"/>
                  </a:lnTo>
                  <a:close/>
                  <a:moveTo>
                    <a:pt x="59" y="473"/>
                  </a:moveTo>
                  <a:lnTo>
                    <a:pt x="59" y="475"/>
                  </a:lnTo>
                  <a:lnTo>
                    <a:pt x="59" y="473"/>
                  </a:lnTo>
                  <a:lnTo>
                    <a:pt x="59" y="475"/>
                  </a:lnTo>
                  <a:lnTo>
                    <a:pt x="57" y="475"/>
                  </a:lnTo>
                  <a:lnTo>
                    <a:pt x="56" y="475"/>
                  </a:lnTo>
                  <a:lnTo>
                    <a:pt x="54" y="475"/>
                  </a:lnTo>
                  <a:lnTo>
                    <a:pt x="52" y="475"/>
                  </a:lnTo>
                  <a:lnTo>
                    <a:pt x="51" y="475"/>
                  </a:lnTo>
                  <a:lnTo>
                    <a:pt x="49" y="475"/>
                  </a:lnTo>
                  <a:lnTo>
                    <a:pt x="48" y="475"/>
                  </a:lnTo>
                  <a:lnTo>
                    <a:pt x="48" y="473"/>
                  </a:lnTo>
                  <a:lnTo>
                    <a:pt x="49" y="472"/>
                  </a:lnTo>
                  <a:lnTo>
                    <a:pt x="51" y="472"/>
                  </a:lnTo>
                  <a:lnTo>
                    <a:pt x="52" y="472"/>
                  </a:lnTo>
                  <a:lnTo>
                    <a:pt x="54" y="472"/>
                  </a:lnTo>
                  <a:lnTo>
                    <a:pt x="56" y="472"/>
                  </a:lnTo>
                  <a:lnTo>
                    <a:pt x="57" y="473"/>
                  </a:lnTo>
                  <a:lnTo>
                    <a:pt x="56" y="473"/>
                  </a:lnTo>
                  <a:lnTo>
                    <a:pt x="57" y="473"/>
                  </a:lnTo>
                  <a:lnTo>
                    <a:pt x="59" y="473"/>
                  </a:lnTo>
                  <a:lnTo>
                    <a:pt x="61" y="473"/>
                  </a:lnTo>
                  <a:lnTo>
                    <a:pt x="59" y="473"/>
                  </a:lnTo>
                  <a:close/>
                  <a:moveTo>
                    <a:pt x="131" y="166"/>
                  </a:moveTo>
                  <a:lnTo>
                    <a:pt x="131" y="168"/>
                  </a:lnTo>
                  <a:lnTo>
                    <a:pt x="131" y="169"/>
                  </a:lnTo>
                  <a:lnTo>
                    <a:pt x="132" y="169"/>
                  </a:lnTo>
                  <a:lnTo>
                    <a:pt x="131" y="169"/>
                  </a:lnTo>
                  <a:lnTo>
                    <a:pt x="131" y="171"/>
                  </a:lnTo>
                  <a:lnTo>
                    <a:pt x="127" y="171"/>
                  </a:lnTo>
                  <a:lnTo>
                    <a:pt x="122" y="169"/>
                  </a:lnTo>
                  <a:lnTo>
                    <a:pt x="122" y="168"/>
                  </a:lnTo>
                  <a:lnTo>
                    <a:pt x="124" y="168"/>
                  </a:lnTo>
                  <a:lnTo>
                    <a:pt x="126" y="168"/>
                  </a:lnTo>
                  <a:lnTo>
                    <a:pt x="127" y="168"/>
                  </a:lnTo>
                  <a:lnTo>
                    <a:pt x="129" y="166"/>
                  </a:lnTo>
                  <a:lnTo>
                    <a:pt x="131" y="166"/>
                  </a:lnTo>
                  <a:close/>
                  <a:moveTo>
                    <a:pt x="105" y="187"/>
                  </a:moveTo>
                  <a:lnTo>
                    <a:pt x="106" y="189"/>
                  </a:lnTo>
                  <a:lnTo>
                    <a:pt x="105" y="189"/>
                  </a:lnTo>
                  <a:lnTo>
                    <a:pt x="106" y="190"/>
                  </a:lnTo>
                  <a:lnTo>
                    <a:pt x="105" y="190"/>
                  </a:lnTo>
                  <a:lnTo>
                    <a:pt x="105" y="192"/>
                  </a:lnTo>
                  <a:lnTo>
                    <a:pt x="103" y="192"/>
                  </a:lnTo>
                  <a:lnTo>
                    <a:pt x="103" y="190"/>
                  </a:lnTo>
                  <a:lnTo>
                    <a:pt x="101" y="190"/>
                  </a:lnTo>
                  <a:lnTo>
                    <a:pt x="103" y="190"/>
                  </a:lnTo>
                  <a:lnTo>
                    <a:pt x="101" y="190"/>
                  </a:lnTo>
                  <a:lnTo>
                    <a:pt x="101" y="189"/>
                  </a:lnTo>
                  <a:lnTo>
                    <a:pt x="100" y="190"/>
                  </a:lnTo>
                  <a:lnTo>
                    <a:pt x="100" y="189"/>
                  </a:lnTo>
                  <a:lnTo>
                    <a:pt x="98" y="189"/>
                  </a:lnTo>
                  <a:lnTo>
                    <a:pt x="98" y="187"/>
                  </a:lnTo>
                  <a:lnTo>
                    <a:pt x="98" y="185"/>
                  </a:lnTo>
                  <a:lnTo>
                    <a:pt x="100" y="185"/>
                  </a:lnTo>
                  <a:lnTo>
                    <a:pt x="100" y="187"/>
                  </a:lnTo>
                  <a:lnTo>
                    <a:pt x="101" y="189"/>
                  </a:lnTo>
                  <a:lnTo>
                    <a:pt x="101" y="187"/>
                  </a:lnTo>
                  <a:lnTo>
                    <a:pt x="103" y="187"/>
                  </a:lnTo>
                  <a:lnTo>
                    <a:pt x="105" y="187"/>
                  </a:lnTo>
                  <a:close/>
                  <a:moveTo>
                    <a:pt x="134" y="275"/>
                  </a:moveTo>
                  <a:lnTo>
                    <a:pt x="134" y="277"/>
                  </a:lnTo>
                  <a:lnTo>
                    <a:pt x="134" y="275"/>
                  </a:lnTo>
                  <a:lnTo>
                    <a:pt x="134" y="277"/>
                  </a:lnTo>
                  <a:lnTo>
                    <a:pt x="135" y="277"/>
                  </a:lnTo>
                  <a:lnTo>
                    <a:pt x="135" y="278"/>
                  </a:lnTo>
                  <a:lnTo>
                    <a:pt x="134" y="278"/>
                  </a:lnTo>
                  <a:lnTo>
                    <a:pt x="134" y="280"/>
                  </a:lnTo>
                  <a:lnTo>
                    <a:pt x="132" y="280"/>
                  </a:lnTo>
                  <a:lnTo>
                    <a:pt x="131" y="280"/>
                  </a:lnTo>
                  <a:lnTo>
                    <a:pt x="129" y="280"/>
                  </a:lnTo>
                  <a:lnTo>
                    <a:pt x="129" y="278"/>
                  </a:lnTo>
                  <a:lnTo>
                    <a:pt x="131" y="278"/>
                  </a:lnTo>
                  <a:lnTo>
                    <a:pt x="131" y="277"/>
                  </a:lnTo>
                  <a:lnTo>
                    <a:pt x="132" y="277"/>
                  </a:lnTo>
                  <a:lnTo>
                    <a:pt x="132" y="275"/>
                  </a:lnTo>
                  <a:lnTo>
                    <a:pt x="134" y="275"/>
                  </a:lnTo>
                  <a:close/>
                  <a:moveTo>
                    <a:pt x="80" y="509"/>
                  </a:moveTo>
                  <a:lnTo>
                    <a:pt x="78" y="509"/>
                  </a:lnTo>
                  <a:lnTo>
                    <a:pt x="78" y="511"/>
                  </a:lnTo>
                  <a:lnTo>
                    <a:pt x="77" y="511"/>
                  </a:lnTo>
                  <a:lnTo>
                    <a:pt x="77" y="509"/>
                  </a:lnTo>
                  <a:lnTo>
                    <a:pt x="77" y="511"/>
                  </a:lnTo>
                  <a:lnTo>
                    <a:pt x="75" y="511"/>
                  </a:lnTo>
                  <a:lnTo>
                    <a:pt x="74" y="511"/>
                  </a:lnTo>
                  <a:lnTo>
                    <a:pt x="74" y="509"/>
                  </a:lnTo>
                  <a:lnTo>
                    <a:pt x="75" y="509"/>
                  </a:lnTo>
                  <a:lnTo>
                    <a:pt x="75" y="508"/>
                  </a:lnTo>
                  <a:lnTo>
                    <a:pt x="77" y="508"/>
                  </a:lnTo>
                  <a:lnTo>
                    <a:pt x="78" y="508"/>
                  </a:lnTo>
                  <a:lnTo>
                    <a:pt x="80" y="508"/>
                  </a:lnTo>
                  <a:lnTo>
                    <a:pt x="80" y="509"/>
                  </a:lnTo>
                  <a:close/>
                  <a:moveTo>
                    <a:pt x="114" y="179"/>
                  </a:moveTo>
                  <a:lnTo>
                    <a:pt x="116" y="179"/>
                  </a:lnTo>
                  <a:lnTo>
                    <a:pt x="116" y="181"/>
                  </a:lnTo>
                  <a:lnTo>
                    <a:pt x="114" y="181"/>
                  </a:lnTo>
                  <a:lnTo>
                    <a:pt x="113" y="181"/>
                  </a:lnTo>
                  <a:lnTo>
                    <a:pt x="111" y="181"/>
                  </a:lnTo>
                  <a:lnTo>
                    <a:pt x="111" y="179"/>
                  </a:lnTo>
                  <a:lnTo>
                    <a:pt x="113" y="179"/>
                  </a:lnTo>
                  <a:lnTo>
                    <a:pt x="114" y="179"/>
                  </a:lnTo>
                  <a:close/>
                  <a:moveTo>
                    <a:pt x="87" y="504"/>
                  </a:moveTo>
                  <a:lnTo>
                    <a:pt x="87" y="503"/>
                  </a:lnTo>
                  <a:lnTo>
                    <a:pt x="87" y="504"/>
                  </a:lnTo>
                  <a:lnTo>
                    <a:pt x="88" y="504"/>
                  </a:lnTo>
                  <a:lnTo>
                    <a:pt x="87" y="504"/>
                  </a:lnTo>
                  <a:lnTo>
                    <a:pt x="87" y="506"/>
                  </a:lnTo>
                  <a:lnTo>
                    <a:pt x="87" y="508"/>
                  </a:lnTo>
                  <a:lnTo>
                    <a:pt x="87" y="506"/>
                  </a:lnTo>
                  <a:lnTo>
                    <a:pt x="87" y="508"/>
                  </a:lnTo>
                  <a:lnTo>
                    <a:pt x="85" y="508"/>
                  </a:lnTo>
                  <a:lnTo>
                    <a:pt x="83" y="508"/>
                  </a:lnTo>
                  <a:lnTo>
                    <a:pt x="83" y="509"/>
                  </a:lnTo>
                  <a:lnTo>
                    <a:pt x="83" y="508"/>
                  </a:lnTo>
                  <a:lnTo>
                    <a:pt x="82" y="508"/>
                  </a:lnTo>
                  <a:lnTo>
                    <a:pt x="83" y="508"/>
                  </a:lnTo>
                  <a:lnTo>
                    <a:pt x="83" y="506"/>
                  </a:lnTo>
                  <a:lnTo>
                    <a:pt x="85" y="506"/>
                  </a:lnTo>
                  <a:lnTo>
                    <a:pt x="83" y="506"/>
                  </a:lnTo>
                  <a:lnTo>
                    <a:pt x="83" y="504"/>
                  </a:lnTo>
                  <a:lnTo>
                    <a:pt x="85" y="504"/>
                  </a:lnTo>
                  <a:lnTo>
                    <a:pt x="85" y="506"/>
                  </a:lnTo>
                  <a:lnTo>
                    <a:pt x="87" y="506"/>
                  </a:lnTo>
                  <a:lnTo>
                    <a:pt x="85" y="506"/>
                  </a:lnTo>
                  <a:lnTo>
                    <a:pt x="85" y="504"/>
                  </a:lnTo>
                  <a:lnTo>
                    <a:pt x="87" y="504"/>
                  </a:lnTo>
                  <a:lnTo>
                    <a:pt x="85" y="504"/>
                  </a:lnTo>
                  <a:lnTo>
                    <a:pt x="87" y="504"/>
                  </a:lnTo>
                  <a:close/>
                  <a:moveTo>
                    <a:pt x="25" y="468"/>
                  </a:moveTo>
                  <a:lnTo>
                    <a:pt x="26" y="468"/>
                  </a:lnTo>
                  <a:lnTo>
                    <a:pt x="26" y="470"/>
                  </a:lnTo>
                  <a:lnTo>
                    <a:pt x="25" y="470"/>
                  </a:lnTo>
                  <a:lnTo>
                    <a:pt x="23" y="470"/>
                  </a:lnTo>
                  <a:lnTo>
                    <a:pt x="22" y="470"/>
                  </a:lnTo>
                  <a:lnTo>
                    <a:pt x="20" y="472"/>
                  </a:lnTo>
                  <a:lnTo>
                    <a:pt x="18" y="470"/>
                  </a:lnTo>
                  <a:lnTo>
                    <a:pt x="20" y="470"/>
                  </a:lnTo>
                  <a:lnTo>
                    <a:pt x="22" y="470"/>
                  </a:lnTo>
                  <a:lnTo>
                    <a:pt x="22" y="468"/>
                  </a:lnTo>
                  <a:lnTo>
                    <a:pt x="23" y="468"/>
                  </a:lnTo>
                  <a:lnTo>
                    <a:pt x="25" y="468"/>
                  </a:lnTo>
                  <a:close/>
                  <a:moveTo>
                    <a:pt x="135" y="281"/>
                  </a:moveTo>
                  <a:lnTo>
                    <a:pt x="137" y="281"/>
                  </a:lnTo>
                  <a:lnTo>
                    <a:pt x="139" y="281"/>
                  </a:lnTo>
                  <a:lnTo>
                    <a:pt x="139" y="283"/>
                  </a:lnTo>
                  <a:lnTo>
                    <a:pt x="139" y="285"/>
                  </a:lnTo>
                  <a:lnTo>
                    <a:pt x="139" y="283"/>
                  </a:lnTo>
                  <a:lnTo>
                    <a:pt x="137" y="285"/>
                  </a:lnTo>
                  <a:lnTo>
                    <a:pt x="135" y="285"/>
                  </a:lnTo>
                  <a:lnTo>
                    <a:pt x="134" y="283"/>
                  </a:lnTo>
                  <a:lnTo>
                    <a:pt x="135" y="281"/>
                  </a:lnTo>
                  <a:close/>
                  <a:moveTo>
                    <a:pt x="17" y="392"/>
                  </a:moveTo>
                  <a:lnTo>
                    <a:pt x="17" y="394"/>
                  </a:lnTo>
                  <a:lnTo>
                    <a:pt x="15" y="394"/>
                  </a:lnTo>
                  <a:lnTo>
                    <a:pt x="13" y="394"/>
                  </a:lnTo>
                  <a:lnTo>
                    <a:pt x="12" y="394"/>
                  </a:lnTo>
                  <a:lnTo>
                    <a:pt x="12" y="395"/>
                  </a:lnTo>
                  <a:lnTo>
                    <a:pt x="10" y="394"/>
                  </a:lnTo>
                  <a:lnTo>
                    <a:pt x="10" y="395"/>
                  </a:lnTo>
                  <a:lnTo>
                    <a:pt x="10" y="394"/>
                  </a:lnTo>
                  <a:lnTo>
                    <a:pt x="12" y="394"/>
                  </a:lnTo>
                  <a:lnTo>
                    <a:pt x="13" y="392"/>
                  </a:lnTo>
                  <a:lnTo>
                    <a:pt x="15" y="392"/>
                  </a:lnTo>
                  <a:lnTo>
                    <a:pt x="17" y="390"/>
                  </a:lnTo>
                  <a:lnTo>
                    <a:pt x="17" y="392"/>
                  </a:lnTo>
                  <a:close/>
                  <a:moveTo>
                    <a:pt x="324" y="3"/>
                  </a:moveTo>
                  <a:lnTo>
                    <a:pt x="326" y="3"/>
                  </a:lnTo>
                  <a:lnTo>
                    <a:pt x="326" y="5"/>
                  </a:lnTo>
                  <a:lnTo>
                    <a:pt x="327" y="5"/>
                  </a:lnTo>
                  <a:lnTo>
                    <a:pt x="327" y="7"/>
                  </a:lnTo>
                  <a:lnTo>
                    <a:pt x="326" y="7"/>
                  </a:lnTo>
                  <a:lnTo>
                    <a:pt x="326" y="5"/>
                  </a:lnTo>
                  <a:lnTo>
                    <a:pt x="324" y="5"/>
                  </a:lnTo>
                  <a:lnTo>
                    <a:pt x="324" y="3"/>
                  </a:lnTo>
                  <a:lnTo>
                    <a:pt x="322" y="3"/>
                  </a:lnTo>
                  <a:lnTo>
                    <a:pt x="322" y="2"/>
                  </a:lnTo>
                  <a:lnTo>
                    <a:pt x="324" y="2"/>
                  </a:lnTo>
                  <a:lnTo>
                    <a:pt x="324" y="3"/>
                  </a:lnTo>
                  <a:close/>
                  <a:moveTo>
                    <a:pt x="88" y="473"/>
                  </a:moveTo>
                  <a:lnTo>
                    <a:pt x="87" y="475"/>
                  </a:lnTo>
                  <a:lnTo>
                    <a:pt x="85" y="475"/>
                  </a:lnTo>
                  <a:lnTo>
                    <a:pt x="83" y="475"/>
                  </a:lnTo>
                  <a:lnTo>
                    <a:pt x="83" y="473"/>
                  </a:lnTo>
                  <a:lnTo>
                    <a:pt x="85" y="473"/>
                  </a:lnTo>
                  <a:lnTo>
                    <a:pt x="87" y="473"/>
                  </a:lnTo>
                  <a:lnTo>
                    <a:pt x="87" y="472"/>
                  </a:lnTo>
                  <a:lnTo>
                    <a:pt x="87" y="473"/>
                  </a:lnTo>
                  <a:lnTo>
                    <a:pt x="88" y="472"/>
                  </a:lnTo>
                  <a:lnTo>
                    <a:pt x="88" y="473"/>
                  </a:lnTo>
                  <a:close/>
                  <a:moveTo>
                    <a:pt x="431" y="309"/>
                  </a:moveTo>
                  <a:lnTo>
                    <a:pt x="428" y="311"/>
                  </a:lnTo>
                  <a:lnTo>
                    <a:pt x="427" y="312"/>
                  </a:lnTo>
                  <a:lnTo>
                    <a:pt x="425" y="312"/>
                  </a:lnTo>
                  <a:lnTo>
                    <a:pt x="425" y="311"/>
                  </a:lnTo>
                  <a:lnTo>
                    <a:pt x="427" y="311"/>
                  </a:lnTo>
                  <a:lnTo>
                    <a:pt x="428" y="311"/>
                  </a:lnTo>
                  <a:lnTo>
                    <a:pt x="428" y="309"/>
                  </a:lnTo>
                  <a:lnTo>
                    <a:pt x="430" y="309"/>
                  </a:lnTo>
                  <a:lnTo>
                    <a:pt x="431" y="309"/>
                  </a:lnTo>
                  <a:close/>
                  <a:moveTo>
                    <a:pt x="124" y="116"/>
                  </a:moveTo>
                  <a:lnTo>
                    <a:pt x="124" y="117"/>
                  </a:lnTo>
                  <a:lnTo>
                    <a:pt x="126" y="117"/>
                  </a:lnTo>
                  <a:lnTo>
                    <a:pt x="124" y="117"/>
                  </a:lnTo>
                  <a:lnTo>
                    <a:pt x="126" y="119"/>
                  </a:lnTo>
                  <a:lnTo>
                    <a:pt x="124" y="119"/>
                  </a:lnTo>
                  <a:lnTo>
                    <a:pt x="122" y="119"/>
                  </a:lnTo>
                  <a:lnTo>
                    <a:pt x="124" y="117"/>
                  </a:lnTo>
                  <a:lnTo>
                    <a:pt x="122" y="117"/>
                  </a:lnTo>
                  <a:lnTo>
                    <a:pt x="124" y="117"/>
                  </a:lnTo>
                  <a:lnTo>
                    <a:pt x="124" y="116"/>
                  </a:lnTo>
                  <a:close/>
                  <a:moveTo>
                    <a:pt x="95" y="187"/>
                  </a:moveTo>
                  <a:lnTo>
                    <a:pt x="96" y="187"/>
                  </a:lnTo>
                  <a:lnTo>
                    <a:pt x="98" y="189"/>
                  </a:lnTo>
                  <a:lnTo>
                    <a:pt x="98" y="190"/>
                  </a:lnTo>
                  <a:lnTo>
                    <a:pt x="96" y="190"/>
                  </a:lnTo>
                  <a:lnTo>
                    <a:pt x="96" y="189"/>
                  </a:lnTo>
                  <a:lnTo>
                    <a:pt x="95" y="190"/>
                  </a:lnTo>
                  <a:lnTo>
                    <a:pt x="95" y="189"/>
                  </a:lnTo>
                  <a:lnTo>
                    <a:pt x="95" y="187"/>
                  </a:lnTo>
                  <a:close/>
                  <a:moveTo>
                    <a:pt x="441" y="296"/>
                  </a:moveTo>
                  <a:lnTo>
                    <a:pt x="443" y="294"/>
                  </a:lnTo>
                  <a:lnTo>
                    <a:pt x="444" y="294"/>
                  </a:lnTo>
                  <a:lnTo>
                    <a:pt x="444" y="296"/>
                  </a:lnTo>
                  <a:lnTo>
                    <a:pt x="443" y="298"/>
                  </a:lnTo>
                  <a:lnTo>
                    <a:pt x="443" y="296"/>
                  </a:lnTo>
                  <a:lnTo>
                    <a:pt x="441" y="296"/>
                  </a:lnTo>
                  <a:close/>
                  <a:moveTo>
                    <a:pt x="296" y="42"/>
                  </a:moveTo>
                  <a:lnTo>
                    <a:pt x="298" y="44"/>
                  </a:lnTo>
                  <a:lnTo>
                    <a:pt x="296" y="44"/>
                  </a:lnTo>
                  <a:lnTo>
                    <a:pt x="298" y="44"/>
                  </a:lnTo>
                  <a:lnTo>
                    <a:pt x="296" y="44"/>
                  </a:lnTo>
                  <a:lnTo>
                    <a:pt x="295" y="44"/>
                  </a:lnTo>
                  <a:lnTo>
                    <a:pt x="295" y="42"/>
                  </a:lnTo>
                  <a:lnTo>
                    <a:pt x="296" y="42"/>
                  </a:lnTo>
                  <a:lnTo>
                    <a:pt x="296" y="41"/>
                  </a:lnTo>
                  <a:lnTo>
                    <a:pt x="296" y="42"/>
                  </a:lnTo>
                  <a:close/>
                  <a:moveTo>
                    <a:pt x="145" y="146"/>
                  </a:moveTo>
                  <a:lnTo>
                    <a:pt x="145" y="145"/>
                  </a:lnTo>
                  <a:lnTo>
                    <a:pt x="145" y="146"/>
                  </a:lnTo>
                  <a:lnTo>
                    <a:pt x="147" y="146"/>
                  </a:lnTo>
                  <a:lnTo>
                    <a:pt x="145" y="146"/>
                  </a:lnTo>
                  <a:lnTo>
                    <a:pt x="145" y="148"/>
                  </a:lnTo>
                  <a:lnTo>
                    <a:pt x="144" y="148"/>
                  </a:lnTo>
                  <a:lnTo>
                    <a:pt x="145" y="148"/>
                  </a:lnTo>
                  <a:lnTo>
                    <a:pt x="145" y="146"/>
                  </a:lnTo>
                  <a:lnTo>
                    <a:pt x="144" y="146"/>
                  </a:lnTo>
                  <a:lnTo>
                    <a:pt x="145" y="146"/>
                  </a:lnTo>
                  <a:lnTo>
                    <a:pt x="144" y="145"/>
                  </a:lnTo>
                  <a:lnTo>
                    <a:pt x="145" y="146"/>
                  </a:lnTo>
                  <a:close/>
                  <a:moveTo>
                    <a:pt x="122" y="119"/>
                  </a:moveTo>
                  <a:lnTo>
                    <a:pt x="122" y="120"/>
                  </a:lnTo>
                  <a:lnTo>
                    <a:pt x="124" y="120"/>
                  </a:lnTo>
                  <a:lnTo>
                    <a:pt x="122" y="120"/>
                  </a:lnTo>
                  <a:lnTo>
                    <a:pt x="121" y="120"/>
                  </a:lnTo>
                  <a:lnTo>
                    <a:pt x="119" y="122"/>
                  </a:lnTo>
                  <a:lnTo>
                    <a:pt x="119" y="120"/>
                  </a:lnTo>
                  <a:lnTo>
                    <a:pt x="121" y="120"/>
                  </a:lnTo>
                  <a:lnTo>
                    <a:pt x="121" y="119"/>
                  </a:lnTo>
                  <a:lnTo>
                    <a:pt x="122" y="119"/>
                  </a:lnTo>
                  <a:close/>
                  <a:moveTo>
                    <a:pt x="101" y="202"/>
                  </a:moveTo>
                  <a:lnTo>
                    <a:pt x="103" y="202"/>
                  </a:lnTo>
                  <a:lnTo>
                    <a:pt x="105" y="202"/>
                  </a:lnTo>
                  <a:lnTo>
                    <a:pt x="105" y="203"/>
                  </a:lnTo>
                  <a:lnTo>
                    <a:pt x="103" y="203"/>
                  </a:lnTo>
                  <a:lnTo>
                    <a:pt x="101" y="203"/>
                  </a:lnTo>
                  <a:lnTo>
                    <a:pt x="103" y="203"/>
                  </a:lnTo>
                  <a:lnTo>
                    <a:pt x="101" y="202"/>
                  </a:lnTo>
                  <a:close/>
                  <a:moveTo>
                    <a:pt x="83" y="501"/>
                  </a:moveTo>
                  <a:lnTo>
                    <a:pt x="85" y="501"/>
                  </a:lnTo>
                  <a:lnTo>
                    <a:pt x="85" y="503"/>
                  </a:lnTo>
                  <a:lnTo>
                    <a:pt x="85" y="504"/>
                  </a:lnTo>
                  <a:lnTo>
                    <a:pt x="83" y="504"/>
                  </a:lnTo>
                  <a:lnTo>
                    <a:pt x="83" y="503"/>
                  </a:lnTo>
                  <a:lnTo>
                    <a:pt x="82" y="503"/>
                  </a:lnTo>
                  <a:lnTo>
                    <a:pt x="83" y="503"/>
                  </a:lnTo>
                  <a:lnTo>
                    <a:pt x="83" y="501"/>
                  </a:lnTo>
                  <a:lnTo>
                    <a:pt x="83" y="503"/>
                  </a:lnTo>
                  <a:lnTo>
                    <a:pt x="85" y="501"/>
                  </a:lnTo>
                  <a:lnTo>
                    <a:pt x="83" y="501"/>
                  </a:lnTo>
                  <a:close/>
                  <a:moveTo>
                    <a:pt x="308" y="26"/>
                  </a:moveTo>
                  <a:lnTo>
                    <a:pt x="308" y="28"/>
                  </a:lnTo>
                  <a:lnTo>
                    <a:pt x="308" y="26"/>
                  </a:lnTo>
                  <a:lnTo>
                    <a:pt x="306" y="26"/>
                  </a:lnTo>
                  <a:lnTo>
                    <a:pt x="306" y="24"/>
                  </a:lnTo>
                  <a:lnTo>
                    <a:pt x="308" y="24"/>
                  </a:lnTo>
                  <a:lnTo>
                    <a:pt x="308" y="26"/>
                  </a:lnTo>
                  <a:close/>
                  <a:moveTo>
                    <a:pt x="165" y="343"/>
                  </a:moveTo>
                  <a:lnTo>
                    <a:pt x="163" y="343"/>
                  </a:lnTo>
                  <a:lnTo>
                    <a:pt x="163" y="342"/>
                  </a:lnTo>
                  <a:lnTo>
                    <a:pt x="165" y="342"/>
                  </a:lnTo>
                  <a:lnTo>
                    <a:pt x="166" y="342"/>
                  </a:lnTo>
                  <a:lnTo>
                    <a:pt x="165" y="343"/>
                  </a:lnTo>
                  <a:close/>
                  <a:moveTo>
                    <a:pt x="259" y="130"/>
                  </a:moveTo>
                  <a:lnTo>
                    <a:pt x="261" y="130"/>
                  </a:lnTo>
                  <a:lnTo>
                    <a:pt x="261" y="132"/>
                  </a:lnTo>
                  <a:lnTo>
                    <a:pt x="261" y="133"/>
                  </a:lnTo>
                  <a:lnTo>
                    <a:pt x="259" y="132"/>
                  </a:lnTo>
                  <a:lnTo>
                    <a:pt x="259" y="130"/>
                  </a:lnTo>
                  <a:close/>
                  <a:moveTo>
                    <a:pt x="75" y="499"/>
                  </a:moveTo>
                  <a:lnTo>
                    <a:pt x="74" y="499"/>
                  </a:lnTo>
                  <a:lnTo>
                    <a:pt x="72" y="499"/>
                  </a:lnTo>
                  <a:lnTo>
                    <a:pt x="74" y="499"/>
                  </a:lnTo>
                  <a:lnTo>
                    <a:pt x="75" y="499"/>
                  </a:lnTo>
                  <a:lnTo>
                    <a:pt x="77" y="499"/>
                  </a:lnTo>
                  <a:lnTo>
                    <a:pt x="75" y="499"/>
                  </a:lnTo>
                  <a:close/>
                  <a:moveTo>
                    <a:pt x="212" y="133"/>
                  </a:moveTo>
                  <a:lnTo>
                    <a:pt x="212" y="132"/>
                  </a:lnTo>
                  <a:lnTo>
                    <a:pt x="210" y="130"/>
                  </a:lnTo>
                  <a:lnTo>
                    <a:pt x="209" y="130"/>
                  </a:lnTo>
                  <a:lnTo>
                    <a:pt x="209" y="129"/>
                  </a:lnTo>
                  <a:lnTo>
                    <a:pt x="210" y="129"/>
                  </a:lnTo>
                  <a:lnTo>
                    <a:pt x="212" y="130"/>
                  </a:lnTo>
                  <a:lnTo>
                    <a:pt x="212" y="132"/>
                  </a:lnTo>
                  <a:lnTo>
                    <a:pt x="212" y="133"/>
                  </a:lnTo>
                  <a:close/>
                  <a:moveTo>
                    <a:pt x="129" y="247"/>
                  </a:moveTo>
                  <a:lnTo>
                    <a:pt x="131" y="247"/>
                  </a:lnTo>
                  <a:lnTo>
                    <a:pt x="129" y="247"/>
                  </a:lnTo>
                  <a:lnTo>
                    <a:pt x="131" y="247"/>
                  </a:lnTo>
                  <a:lnTo>
                    <a:pt x="131" y="249"/>
                  </a:lnTo>
                  <a:lnTo>
                    <a:pt x="129" y="249"/>
                  </a:lnTo>
                  <a:lnTo>
                    <a:pt x="129" y="247"/>
                  </a:lnTo>
                  <a:close/>
                  <a:moveTo>
                    <a:pt x="134" y="161"/>
                  </a:moveTo>
                  <a:lnTo>
                    <a:pt x="134" y="163"/>
                  </a:lnTo>
                  <a:lnTo>
                    <a:pt x="132" y="161"/>
                  </a:lnTo>
                  <a:lnTo>
                    <a:pt x="132" y="159"/>
                  </a:lnTo>
                  <a:lnTo>
                    <a:pt x="134" y="159"/>
                  </a:lnTo>
                  <a:lnTo>
                    <a:pt x="134" y="161"/>
                  </a:lnTo>
                  <a:close/>
                  <a:moveTo>
                    <a:pt x="300" y="29"/>
                  </a:moveTo>
                  <a:lnTo>
                    <a:pt x="298" y="29"/>
                  </a:lnTo>
                  <a:lnTo>
                    <a:pt x="298" y="28"/>
                  </a:lnTo>
                  <a:lnTo>
                    <a:pt x="300" y="28"/>
                  </a:lnTo>
                  <a:lnTo>
                    <a:pt x="300" y="29"/>
                  </a:lnTo>
                  <a:close/>
                  <a:moveTo>
                    <a:pt x="155" y="169"/>
                  </a:moveTo>
                  <a:lnTo>
                    <a:pt x="155" y="171"/>
                  </a:lnTo>
                  <a:lnTo>
                    <a:pt x="158" y="169"/>
                  </a:lnTo>
                  <a:lnTo>
                    <a:pt x="158" y="171"/>
                  </a:lnTo>
                  <a:lnTo>
                    <a:pt x="157" y="171"/>
                  </a:lnTo>
                  <a:lnTo>
                    <a:pt x="155" y="171"/>
                  </a:lnTo>
                  <a:lnTo>
                    <a:pt x="157" y="171"/>
                  </a:lnTo>
                  <a:lnTo>
                    <a:pt x="158" y="171"/>
                  </a:lnTo>
                  <a:lnTo>
                    <a:pt x="157" y="171"/>
                  </a:lnTo>
                  <a:lnTo>
                    <a:pt x="155" y="171"/>
                  </a:lnTo>
                  <a:lnTo>
                    <a:pt x="155" y="172"/>
                  </a:lnTo>
                  <a:lnTo>
                    <a:pt x="153" y="172"/>
                  </a:lnTo>
                  <a:lnTo>
                    <a:pt x="153" y="171"/>
                  </a:lnTo>
                  <a:lnTo>
                    <a:pt x="155" y="171"/>
                  </a:lnTo>
                  <a:lnTo>
                    <a:pt x="155" y="169"/>
                  </a:lnTo>
                  <a:lnTo>
                    <a:pt x="157" y="169"/>
                  </a:lnTo>
                  <a:lnTo>
                    <a:pt x="155" y="169"/>
                  </a:lnTo>
                  <a:close/>
                  <a:moveTo>
                    <a:pt x="23" y="451"/>
                  </a:moveTo>
                  <a:lnTo>
                    <a:pt x="23" y="449"/>
                  </a:lnTo>
                  <a:lnTo>
                    <a:pt x="25" y="449"/>
                  </a:lnTo>
                  <a:lnTo>
                    <a:pt x="25" y="451"/>
                  </a:lnTo>
                  <a:lnTo>
                    <a:pt x="23" y="451"/>
                  </a:lnTo>
                  <a:close/>
                  <a:moveTo>
                    <a:pt x="326" y="16"/>
                  </a:moveTo>
                  <a:lnTo>
                    <a:pt x="326" y="18"/>
                  </a:lnTo>
                  <a:lnTo>
                    <a:pt x="327" y="18"/>
                  </a:lnTo>
                  <a:lnTo>
                    <a:pt x="326" y="18"/>
                  </a:lnTo>
                  <a:lnTo>
                    <a:pt x="326" y="20"/>
                  </a:lnTo>
                  <a:lnTo>
                    <a:pt x="326" y="18"/>
                  </a:lnTo>
                  <a:lnTo>
                    <a:pt x="324" y="18"/>
                  </a:lnTo>
                  <a:lnTo>
                    <a:pt x="326" y="16"/>
                  </a:lnTo>
                  <a:close/>
                  <a:moveTo>
                    <a:pt x="316" y="451"/>
                  </a:moveTo>
                  <a:lnTo>
                    <a:pt x="314" y="451"/>
                  </a:lnTo>
                  <a:lnTo>
                    <a:pt x="314" y="449"/>
                  </a:lnTo>
                  <a:lnTo>
                    <a:pt x="316" y="449"/>
                  </a:lnTo>
                  <a:lnTo>
                    <a:pt x="316" y="451"/>
                  </a:lnTo>
                  <a:close/>
                  <a:moveTo>
                    <a:pt x="135" y="242"/>
                  </a:moveTo>
                  <a:lnTo>
                    <a:pt x="135" y="244"/>
                  </a:lnTo>
                  <a:lnTo>
                    <a:pt x="134" y="244"/>
                  </a:lnTo>
                  <a:lnTo>
                    <a:pt x="134" y="242"/>
                  </a:lnTo>
                  <a:lnTo>
                    <a:pt x="135" y="242"/>
                  </a:lnTo>
                  <a:close/>
                  <a:moveTo>
                    <a:pt x="296" y="36"/>
                  </a:moveTo>
                  <a:lnTo>
                    <a:pt x="295" y="37"/>
                  </a:lnTo>
                  <a:lnTo>
                    <a:pt x="296" y="37"/>
                  </a:lnTo>
                  <a:lnTo>
                    <a:pt x="296" y="39"/>
                  </a:lnTo>
                  <a:lnTo>
                    <a:pt x="296" y="37"/>
                  </a:lnTo>
                  <a:lnTo>
                    <a:pt x="295" y="37"/>
                  </a:lnTo>
                  <a:lnTo>
                    <a:pt x="295" y="36"/>
                  </a:lnTo>
                  <a:lnTo>
                    <a:pt x="296" y="36"/>
                  </a:lnTo>
                  <a:close/>
                  <a:moveTo>
                    <a:pt x="165" y="343"/>
                  </a:moveTo>
                  <a:lnTo>
                    <a:pt x="166" y="343"/>
                  </a:lnTo>
                  <a:lnTo>
                    <a:pt x="166" y="342"/>
                  </a:lnTo>
                  <a:lnTo>
                    <a:pt x="168" y="343"/>
                  </a:lnTo>
                  <a:lnTo>
                    <a:pt x="168" y="342"/>
                  </a:lnTo>
                  <a:lnTo>
                    <a:pt x="168" y="343"/>
                  </a:lnTo>
                  <a:lnTo>
                    <a:pt x="166" y="343"/>
                  </a:lnTo>
                  <a:lnTo>
                    <a:pt x="165" y="343"/>
                  </a:lnTo>
                  <a:close/>
                  <a:moveTo>
                    <a:pt x="348" y="478"/>
                  </a:moveTo>
                  <a:lnTo>
                    <a:pt x="347" y="478"/>
                  </a:lnTo>
                  <a:lnTo>
                    <a:pt x="347" y="477"/>
                  </a:lnTo>
                  <a:lnTo>
                    <a:pt x="350" y="477"/>
                  </a:lnTo>
                  <a:lnTo>
                    <a:pt x="348" y="477"/>
                  </a:lnTo>
                  <a:lnTo>
                    <a:pt x="348" y="478"/>
                  </a:lnTo>
                  <a:close/>
                  <a:moveTo>
                    <a:pt x="161" y="348"/>
                  </a:moveTo>
                  <a:lnTo>
                    <a:pt x="160" y="348"/>
                  </a:lnTo>
                  <a:lnTo>
                    <a:pt x="161" y="348"/>
                  </a:lnTo>
                  <a:lnTo>
                    <a:pt x="161" y="347"/>
                  </a:lnTo>
                  <a:lnTo>
                    <a:pt x="163" y="347"/>
                  </a:lnTo>
                  <a:lnTo>
                    <a:pt x="161" y="348"/>
                  </a:lnTo>
                  <a:close/>
                  <a:moveTo>
                    <a:pt x="259" y="112"/>
                  </a:moveTo>
                  <a:lnTo>
                    <a:pt x="259" y="111"/>
                  </a:lnTo>
                  <a:lnTo>
                    <a:pt x="257" y="111"/>
                  </a:lnTo>
                  <a:lnTo>
                    <a:pt x="259" y="111"/>
                  </a:lnTo>
                  <a:lnTo>
                    <a:pt x="261" y="111"/>
                  </a:lnTo>
                  <a:lnTo>
                    <a:pt x="259" y="112"/>
                  </a:lnTo>
                  <a:close/>
                  <a:moveTo>
                    <a:pt x="186" y="277"/>
                  </a:moveTo>
                  <a:lnTo>
                    <a:pt x="186" y="275"/>
                  </a:lnTo>
                  <a:lnTo>
                    <a:pt x="187" y="277"/>
                  </a:lnTo>
                  <a:lnTo>
                    <a:pt x="186" y="277"/>
                  </a:lnTo>
                  <a:lnTo>
                    <a:pt x="184" y="277"/>
                  </a:lnTo>
                  <a:lnTo>
                    <a:pt x="186" y="277"/>
                  </a:lnTo>
                  <a:close/>
                  <a:moveTo>
                    <a:pt x="296" y="41"/>
                  </a:moveTo>
                  <a:lnTo>
                    <a:pt x="295" y="41"/>
                  </a:lnTo>
                  <a:lnTo>
                    <a:pt x="295" y="39"/>
                  </a:lnTo>
                  <a:lnTo>
                    <a:pt x="296" y="39"/>
                  </a:lnTo>
                  <a:lnTo>
                    <a:pt x="296" y="41"/>
                  </a:lnTo>
                  <a:close/>
                  <a:moveTo>
                    <a:pt x="124" y="127"/>
                  </a:moveTo>
                  <a:lnTo>
                    <a:pt x="122" y="127"/>
                  </a:lnTo>
                  <a:lnTo>
                    <a:pt x="124" y="127"/>
                  </a:lnTo>
                  <a:close/>
                  <a:moveTo>
                    <a:pt x="12" y="387"/>
                  </a:moveTo>
                  <a:lnTo>
                    <a:pt x="10" y="387"/>
                  </a:lnTo>
                  <a:lnTo>
                    <a:pt x="12" y="387"/>
                  </a:lnTo>
                  <a:lnTo>
                    <a:pt x="12" y="386"/>
                  </a:lnTo>
                  <a:lnTo>
                    <a:pt x="13" y="386"/>
                  </a:lnTo>
                  <a:lnTo>
                    <a:pt x="13" y="387"/>
                  </a:lnTo>
                  <a:lnTo>
                    <a:pt x="12" y="387"/>
                  </a:lnTo>
                  <a:close/>
                  <a:moveTo>
                    <a:pt x="157" y="172"/>
                  </a:moveTo>
                  <a:lnTo>
                    <a:pt x="158" y="172"/>
                  </a:lnTo>
                  <a:lnTo>
                    <a:pt x="158" y="174"/>
                  </a:lnTo>
                  <a:lnTo>
                    <a:pt x="157" y="174"/>
                  </a:lnTo>
                  <a:lnTo>
                    <a:pt x="157" y="172"/>
                  </a:lnTo>
                  <a:lnTo>
                    <a:pt x="158" y="172"/>
                  </a:lnTo>
                  <a:lnTo>
                    <a:pt x="157" y="172"/>
                  </a:lnTo>
                  <a:lnTo>
                    <a:pt x="155" y="172"/>
                  </a:lnTo>
                  <a:lnTo>
                    <a:pt x="157" y="172"/>
                  </a:lnTo>
                  <a:close/>
                  <a:moveTo>
                    <a:pt x="95" y="220"/>
                  </a:moveTo>
                  <a:lnTo>
                    <a:pt x="93" y="220"/>
                  </a:lnTo>
                  <a:lnTo>
                    <a:pt x="92" y="220"/>
                  </a:lnTo>
                  <a:lnTo>
                    <a:pt x="92" y="218"/>
                  </a:lnTo>
                  <a:lnTo>
                    <a:pt x="93" y="220"/>
                  </a:lnTo>
                  <a:lnTo>
                    <a:pt x="95" y="218"/>
                  </a:lnTo>
                  <a:lnTo>
                    <a:pt x="95" y="220"/>
                  </a:lnTo>
                  <a:close/>
                  <a:moveTo>
                    <a:pt x="161" y="347"/>
                  </a:moveTo>
                  <a:lnTo>
                    <a:pt x="163" y="345"/>
                  </a:lnTo>
                  <a:lnTo>
                    <a:pt x="163" y="347"/>
                  </a:lnTo>
                  <a:lnTo>
                    <a:pt x="161" y="347"/>
                  </a:lnTo>
                  <a:close/>
                  <a:moveTo>
                    <a:pt x="127" y="317"/>
                  </a:moveTo>
                  <a:lnTo>
                    <a:pt x="129" y="317"/>
                  </a:lnTo>
                  <a:lnTo>
                    <a:pt x="127" y="317"/>
                  </a:lnTo>
                  <a:lnTo>
                    <a:pt x="126" y="317"/>
                  </a:lnTo>
                  <a:lnTo>
                    <a:pt x="127" y="317"/>
                  </a:lnTo>
                  <a:close/>
                  <a:moveTo>
                    <a:pt x="122" y="244"/>
                  </a:moveTo>
                  <a:lnTo>
                    <a:pt x="121" y="244"/>
                  </a:lnTo>
                  <a:lnTo>
                    <a:pt x="122" y="242"/>
                  </a:lnTo>
                  <a:lnTo>
                    <a:pt x="124" y="242"/>
                  </a:lnTo>
                  <a:lnTo>
                    <a:pt x="122" y="244"/>
                  </a:lnTo>
                  <a:close/>
                  <a:moveTo>
                    <a:pt x="137" y="251"/>
                  </a:moveTo>
                  <a:lnTo>
                    <a:pt x="135" y="251"/>
                  </a:lnTo>
                  <a:lnTo>
                    <a:pt x="137" y="251"/>
                  </a:lnTo>
                  <a:lnTo>
                    <a:pt x="137" y="249"/>
                  </a:lnTo>
                  <a:lnTo>
                    <a:pt x="139" y="249"/>
                  </a:lnTo>
                  <a:lnTo>
                    <a:pt x="139" y="251"/>
                  </a:lnTo>
                  <a:lnTo>
                    <a:pt x="137" y="251"/>
                  </a:lnTo>
                  <a:close/>
                  <a:moveTo>
                    <a:pt x="5" y="397"/>
                  </a:moveTo>
                  <a:lnTo>
                    <a:pt x="7" y="397"/>
                  </a:lnTo>
                  <a:lnTo>
                    <a:pt x="7" y="399"/>
                  </a:lnTo>
                  <a:lnTo>
                    <a:pt x="5" y="399"/>
                  </a:lnTo>
                  <a:lnTo>
                    <a:pt x="5" y="397"/>
                  </a:lnTo>
                  <a:close/>
                  <a:moveTo>
                    <a:pt x="26" y="420"/>
                  </a:moveTo>
                  <a:lnTo>
                    <a:pt x="28" y="420"/>
                  </a:lnTo>
                  <a:lnTo>
                    <a:pt x="30" y="421"/>
                  </a:lnTo>
                  <a:lnTo>
                    <a:pt x="28" y="420"/>
                  </a:lnTo>
                  <a:lnTo>
                    <a:pt x="28" y="421"/>
                  </a:lnTo>
                  <a:lnTo>
                    <a:pt x="26" y="420"/>
                  </a:lnTo>
                  <a:close/>
                  <a:moveTo>
                    <a:pt x="168" y="343"/>
                  </a:moveTo>
                  <a:lnTo>
                    <a:pt x="170" y="343"/>
                  </a:lnTo>
                  <a:lnTo>
                    <a:pt x="170" y="345"/>
                  </a:lnTo>
                  <a:lnTo>
                    <a:pt x="168" y="345"/>
                  </a:lnTo>
                  <a:lnTo>
                    <a:pt x="170" y="345"/>
                  </a:lnTo>
                  <a:lnTo>
                    <a:pt x="168" y="343"/>
                  </a:lnTo>
                  <a:close/>
                  <a:moveTo>
                    <a:pt x="109" y="236"/>
                  </a:moveTo>
                  <a:lnTo>
                    <a:pt x="109" y="234"/>
                  </a:lnTo>
                  <a:lnTo>
                    <a:pt x="111" y="234"/>
                  </a:lnTo>
                  <a:lnTo>
                    <a:pt x="111" y="236"/>
                  </a:lnTo>
                  <a:lnTo>
                    <a:pt x="109" y="236"/>
                  </a:lnTo>
                  <a:close/>
                  <a:moveTo>
                    <a:pt x="119" y="345"/>
                  </a:moveTo>
                  <a:lnTo>
                    <a:pt x="119" y="347"/>
                  </a:lnTo>
                  <a:lnTo>
                    <a:pt x="119" y="345"/>
                  </a:lnTo>
                  <a:lnTo>
                    <a:pt x="121" y="345"/>
                  </a:lnTo>
                  <a:lnTo>
                    <a:pt x="119" y="345"/>
                  </a:lnTo>
                  <a:close/>
                  <a:moveTo>
                    <a:pt x="158" y="348"/>
                  </a:moveTo>
                  <a:lnTo>
                    <a:pt x="157" y="348"/>
                  </a:lnTo>
                  <a:lnTo>
                    <a:pt x="157" y="347"/>
                  </a:lnTo>
                  <a:lnTo>
                    <a:pt x="158" y="347"/>
                  </a:lnTo>
                  <a:lnTo>
                    <a:pt x="160" y="348"/>
                  </a:lnTo>
                  <a:lnTo>
                    <a:pt x="158" y="348"/>
                  </a:lnTo>
                  <a:close/>
                  <a:moveTo>
                    <a:pt x="80" y="499"/>
                  </a:moveTo>
                  <a:lnTo>
                    <a:pt x="78" y="499"/>
                  </a:lnTo>
                  <a:lnTo>
                    <a:pt x="80" y="498"/>
                  </a:lnTo>
                  <a:lnTo>
                    <a:pt x="80" y="499"/>
                  </a:lnTo>
                  <a:close/>
                  <a:moveTo>
                    <a:pt x="165" y="347"/>
                  </a:moveTo>
                  <a:lnTo>
                    <a:pt x="165" y="348"/>
                  </a:lnTo>
                  <a:lnTo>
                    <a:pt x="163" y="348"/>
                  </a:lnTo>
                  <a:lnTo>
                    <a:pt x="163" y="347"/>
                  </a:lnTo>
                  <a:lnTo>
                    <a:pt x="165" y="347"/>
                  </a:lnTo>
                  <a:close/>
                  <a:moveTo>
                    <a:pt x="83" y="499"/>
                  </a:moveTo>
                  <a:lnTo>
                    <a:pt x="82" y="499"/>
                  </a:lnTo>
                  <a:lnTo>
                    <a:pt x="82" y="498"/>
                  </a:lnTo>
                  <a:lnTo>
                    <a:pt x="82" y="499"/>
                  </a:lnTo>
                  <a:lnTo>
                    <a:pt x="82" y="498"/>
                  </a:lnTo>
                  <a:lnTo>
                    <a:pt x="83" y="498"/>
                  </a:lnTo>
                  <a:lnTo>
                    <a:pt x="83" y="499"/>
                  </a:lnTo>
                  <a:close/>
                  <a:moveTo>
                    <a:pt x="101" y="207"/>
                  </a:moveTo>
                  <a:lnTo>
                    <a:pt x="103" y="207"/>
                  </a:lnTo>
                  <a:lnTo>
                    <a:pt x="105" y="207"/>
                  </a:lnTo>
                  <a:lnTo>
                    <a:pt x="103" y="208"/>
                  </a:lnTo>
                  <a:lnTo>
                    <a:pt x="103" y="207"/>
                  </a:lnTo>
                  <a:lnTo>
                    <a:pt x="101" y="207"/>
                  </a:lnTo>
                  <a:close/>
                  <a:moveTo>
                    <a:pt x="116" y="241"/>
                  </a:moveTo>
                  <a:lnTo>
                    <a:pt x="116" y="239"/>
                  </a:lnTo>
                  <a:lnTo>
                    <a:pt x="116" y="241"/>
                  </a:lnTo>
                  <a:lnTo>
                    <a:pt x="118" y="241"/>
                  </a:lnTo>
                  <a:lnTo>
                    <a:pt x="116" y="241"/>
                  </a:lnTo>
                  <a:lnTo>
                    <a:pt x="118" y="241"/>
                  </a:lnTo>
                  <a:lnTo>
                    <a:pt x="118" y="242"/>
                  </a:lnTo>
                  <a:lnTo>
                    <a:pt x="116" y="241"/>
                  </a:lnTo>
                  <a:close/>
                  <a:moveTo>
                    <a:pt x="116" y="231"/>
                  </a:moveTo>
                  <a:lnTo>
                    <a:pt x="114" y="231"/>
                  </a:lnTo>
                  <a:lnTo>
                    <a:pt x="116" y="229"/>
                  </a:lnTo>
                  <a:lnTo>
                    <a:pt x="116" y="231"/>
                  </a:lnTo>
                  <a:close/>
                  <a:moveTo>
                    <a:pt x="56" y="451"/>
                  </a:moveTo>
                  <a:lnTo>
                    <a:pt x="57" y="451"/>
                  </a:lnTo>
                  <a:lnTo>
                    <a:pt x="57" y="449"/>
                  </a:lnTo>
                  <a:lnTo>
                    <a:pt x="57" y="451"/>
                  </a:lnTo>
                  <a:lnTo>
                    <a:pt x="56" y="451"/>
                  </a:lnTo>
                  <a:close/>
                  <a:moveTo>
                    <a:pt x="103" y="207"/>
                  </a:moveTo>
                  <a:lnTo>
                    <a:pt x="101" y="207"/>
                  </a:lnTo>
                  <a:lnTo>
                    <a:pt x="101" y="205"/>
                  </a:lnTo>
                  <a:lnTo>
                    <a:pt x="103" y="205"/>
                  </a:lnTo>
                  <a:lnTo>
                    <a:pt x="103" y="207"/>
                  </a:lnTo>
                  <a:close/>
                  <a:moveTo>
                    <a:pt x="285" y="52"/>
                  </a:moveTo>
                  <a:lnTo>
                    <a:pt x="287" y="52"/>
                  </a:lnTo>
                  <a:lnTo>
                    <a:pt x="287" y="54"/>
                  </a:lnTo>
                  <a:lnTo>
                    <a:pt x="285" y="54"/>
                  </a:lnTo>
                  <a:lnTo>
                    <a:pt x="285" y="52"/>
                  </a:lnTo>
                  <a:close/>
                  <a:moveTo>
                    <a:pt x="95" y="199"/>
                  </a:moveTo>
                  <a:lnTo>
                    <a:pt x="96" y="197"/>
                  </a:lnTo>
                  <a:lnTo>
                    <a:pt x="96" y="199"/>
                  </a:lnTo>
                  <a:lnTo>
                    <a:pt x="95" y="199"/>
                  </a:lnTo>
                  <a:close/>
                  <a:moveTo>
                    <a:pt x="121" y="181"/>
                  </a:moveTo>
                  <a:lnTo>
                    <a:pt x="121" y="179"/>
                  </a:lnTo>
                  <a:lnTo>
                    <a:pt x="122" y="181"/>
                  </a:lnTo>
                  <a:lnTo>
                    <a:pt x="121" y="181"/>
                  </a:lnTo>
                  <a:close/>
                  <a:moveTo>
                    <a:pt x="13" y="433"/>
                  </a:moveTo>
                  <a:lnTo>
                    <a:pt x="13" y="431"/>
                  </a:lnTo>
                  <a:lnTo>
                    <a:pt x="15" y="431"/>
                  </a:lnTo>
                  <a:lnTo>
                    <a:pt x="13" y="433"/>
                  </a:lnTo>
                  <a:close/>
                  <a:moveTo>
                    <a:pt x="129" y="247"/>
                  </a:moveTo>
                  <a:lnTo>
                    <a:pt x="127" y="247"/>
                  </a:lnTo>
                  <a:lnTo>
                    <a:pt x="127" y="246"/>
                  </a:lnTo>
                  <a:lnTo>
                    <a:pt x="127" y="247"/>
                  </a:lnTo>
                  <a:lnTo>
                    <a:pt x="129" y="247"/>
                  </a:lnTo>
                  <a:close/>
                  <a:moveTo>
                    <a:pt x="311" y="23"/>
                  </a:moveTo>
                  <a:lnTo>
                    <a:pt x="311" y="21"/>
                  </a:lnTo>
                  <a:lnTo>
                    <a:pt x="309" y="21"/>
                  </a:lnTo>
                  <a:lnTo>
                    <a:pt x="311" y="21"/>
                  </a:lnTo>
                  <a:lnTo>
                    <a:pt x="311" y="23"/>
                  </a:lnTo>
                  <a:close/>
                  <a:moveTo>
                    <a:pt x="26" y="451"/>
                  </a:moveTo>
                  <a:lnTo>
                    <a:pt x="26" y="449"/>
                  </a:lnTo>
                  <a:lnTo>
                    <a:pt x="28" y="449"/>
                  </a:lnTo>
                  <a:lnTo>
                    <a:pt x="26" y="451"/>
                  </a:lnTo>
                  <a:close/>
                  <a:moveTo>
                    <a:pt x="409" y="0"/>
                  </a:moveTo>
                  <a:lnTo>
                    <a:pt x="410" y="0"/>
                  </a:lnTo>
                  <a:lnTo>
                    <a:pt x="410" y="2"/>
                  </a:lnTo>
                  <a:lnTo>
                    <a:pt x="409" y="0"/>
                  </a:lnTo>
                  <a:lnTo>
                    <a:pt x="409" y="2"/>
                  </a:lnTo>
                  <a:lnTo>
                    <a:pt x="409" y="0"/>
                  </a:lnTo>
                  <a:close/>
                  <a:moveTo>
                    <a:pt x="292" y="57"/>
                  </a:moveTo>
                  <a:lnTo>
                    <a:pt x="292" y="59"/>
                  </a:lnTo>
                  <a:lnTo>
                    <a:pt x="290" y="57"/>
                  </a:lnTo>
                  <a:lnTo>
                    <a:pt x="292" y="57"/>
                  </a:lnTo>
                  <a:close/>
                  <a:moveTo>
                    <a:pt x="158" y="169"/>
                  </a:moveTo>
                  <a:lnTo>
                    <a:pt x="160" y="171"/>
                  </a:lnTo>
                  <a:lnTo>
                    <a:pt x="161" y="171"/>
                  </a:lnTo>
                  <a:lnTo>
                    <a:pt x="160" y="171"/>
                  </a:lnTo>
                  <a:lnTo>
                    <a:pt x="158" y="169"/>
                  </a:lnTo>
                  <a:close/>
                  <a:moveTo>
                    <a:pt x="292" y="41"/>
                  </a:moveTo>
                  <a:lnTo>
                    <a:pt x="293" y="41"/>
                  </a:lnTo>
                  <a:lnTo>
                    <a:pt x="293" y="42"/>
                  </a:lnTo>
                  <a:lnTo>
                    <a:pt x="292" y="42"/>
                  </a:lnTo>
                  <a:lnTo>
                    <a:pt x="292" y="41"/>
                  </a:lnTo>
                  <a:close/>
                  <a:moveTo>
                    <a:pt x="98" y="202"/>
                  </a:moveTo>
                  <a:lnTo>
                    <a:pt x="96" y="202"/>
                  </a:lnTo>
                  <a:lnTo>
                    <a:pt x="98" y="202"/>
                  </a:lnTo>
                  <a:lnTo>
                    <a:pt x="100" y="202"/>
                  </a:lnTo>
                  <a:lnTo>
                    <a:pt x="98" y="202"/>
                  </a:lnTo>
                  <a:close/>
                  <a:moveTo>
                    <a:pt x="352" y="475"/>
                  </a:moveTo>
                  <a:lnTo>
                    <a:pt x="350" y="475"/>
                  </a:lnTo>
                  <a:lnTo>
                    <a:pt x="352" y="475"/>
                  </a:lnTo>
                  <a:lnTo>
                    <a:pt x="352" y="473"/>
                  </a:lnTo>
                  <a:lnTo>
                    <a:pt x="352" y="475"/>
                  </a:lnTo>
                  <a:close/>
                  <a:moveTo>
                    <a:pt x="119" y="192"/>
                  </a:moveTo>
                  <a:lnTo>
                    <a:pt x="121" y="194"/>
                  </a:lnTo>
                  <a:lnTo>
                    <a:pt x="121" y="195"/>
                  </a:lnTo>
                  <a:lnTo>
                    <a:pt x="121" y="194"/>
                  </a:lnTo>
                  <a:lnTo>
                    <a:pt x="119" y="194"/>
                  </a:lnTo>
                  <a:lnTo>
                    <a:pt x="119" y="192"/>
                  </a:lnTo>
                  <a:close/>
                  <a:moveTo>
                    <a:pt x="254" y="75"/>
                  </a:moveTo>
                  <a:lnTo>
                    <a:pt x="256" y="75"/>
                  </a:lnTo>
                  <a:lnTo>
                    <a:pt x="254" y="75"/>
                  </a:lnTo>
                  <a:close/>
                  <a:moveTo>
                    <a:pt x="43" y="459"/>
                  </a:moveTo>
                  <a:lnTo>
                    <a:pt x="41" y="459"/>
                  </a:lnTo>
                  <a:lnTo>
                    <a:pt x="43" y="459"/>
                  </a:lnTo>
                  <a:lnTo>
                    <a:pt x="44" y="459"/>
                  </a:lnTo>
                  <a:lnTo>
                    <a:pt x="43" y="459"/>
                  </a:lnTo>
                  <a:close/>
                  <a:moveTo>
                    <a:pt x="5" y="397"/>
                  </a:moveTo>
                  <a:lnTo>
                    <a:pt x="5" y="395"/>
                  </a:lnTo>
                  <a:lnTo>
                    <a:pt x="7" y="395"/>
                  </a:lnTo>
                  <a:lnTo>
                    <a:pt x="7" y="397"/>
                  </a:lnTo>
                  <a:lnTo>
                    <a:pt x="5" y="397"/>
                  </a:lnTo>
                  <a:close/>
                  <a:moveTo>
                    <a:pt x="106" y="192"/>
                  </a:moveTo>
                  <a:lnTo>
                    <a:pt x="105" y="192"/>
                  </a:lnTo>
                  <a:lnTo>
                    <a:pt x="105" y="190"/>
                  </a:lnTo>
                  <a:lnTo>
                    <a:pt x="106" y="190"/>
                  </a:lnTo>
                  <a:lnTo>
                    <a:pt x="106" y="192"/>
                  </a:lnTo>
                  <a:close/>
                  <a:moveTo>
                    <a:pt x="108" y="189"/>
                  </a:moveTo>
                  <a:lnTo>
                    <a:pt x="109" y="190"/>
                  </a:lnTo>
                  <a:lnTo>
                    <a:pt x="108" y="190"/>
                  </a:lnTo>
                  <a:lnTo>
                    <a:pt x="108" y="189"/>
                  </a:lnTo>
                  <a:close/>
                  <a:moveTo>
                    <a:pt x="153" y="163"/>
                  </a:moveTo>
                  <a:lnTo>
                    <a:pt x="152" y="164"/>
                  </a:lnTo>
                  <a:lnTo>
                    <a:pt x="152" y="163"/>
                  </a:lnTo>
                  <a:lnTo>
                    <a:pt x="152" y="164"/>
                  </a:lnTo>
                  <a:lnTo>
                    <a:pt x="152" y="163"/>
                  </a:lnTo>
                  <a:lnTo>
                    <a:pt x="153" y="163"/>
                  </a:lnTo>
                  <a:close/>
                  <a:moveTo>
                    <a:pt x="114" y="264"/>
                  </a:moveTo>
                  <a:lnTo>
                    <a:pt x="113" y="264"/>
                  </a:lnTo>
                  <a:lnTo>
                    <a:pt x="114" y="264"/>
                  </a:lnTo>
                  <a:lnTo>
                    <a:pt x="113" y="264"/>
                  </a:lnTo>
                  <a:lnTo>
                    <a:pt x="114" y="264"/>
                  </a:lnTo>
                  <a:close/>
                  <a:moveTo>
                    <a:pt x="114" y="239"/>
                  </a:moveTo>
                  <a:lnTo>
                    <a:pt x="114" y="241"/>
                  </a:lnTo>
                  <a:lnTo>
                    <a:pt x="113" y="239"/>
                  </a:lnTo>
                  <a:lnTo>
                    <a:pt x="114" y="239"/>
                  </a:lnTo>
                  <a:close/>
                  <a:moveTo>
                    <a:pt x="309" y="23"/>
                  </a:moveTo>
                  <a:lnTo>
                    <a:pt x="311" y="24"/>
                  </a:lnTo>
                  <a:lnTo>
                    <a:pt x="309" y="24"/>
                  </a:lnTo>
                  <a:lnTo>
                    <a:pt x="309" y="23"/>
                  </a:lnTo>
                  <a:close/>
                  <a:moveTo>
                    <a:pt x="357" y="23"/>
                  </a:moveTo>
                  <a:lnTo>
                    <a:pt x="357" y="24"/>
                  </a:lnTo>
                  <a:lnTo>
                    <a:pt x="357" y="23"/>
                  </a:lnTo>
                  <a:close/>
                  <a:moveTo>
                    <a:pt x="80" y="503"/>
                  </a:moveTo>
                  <a:lnTo>
                    <a:pt x="78" y="503"/>
                  </a:lnTo>
                  <a:lnTo>
                    <a:pt x="80" y="503"/>
                  </a:lnTo>
                  <a:close/>
                  <a:moveTo>
                    <a:pt x="153" y="174"/>
                  </a:moveTo>
                  <a:lnTo>
                    <a:pt x="155" y="176"/>
                  </a:lnTo>
                  <a:lnTo>
                    <a:pt x="153" y="176"/>
                  </a:lnTo>
                  <a:lnTo>
                    <a:pt x="155" y="176"/>
                  </a:lnTo>
                  <a:lnTo>
                    <a:pt x="153" y="176"/>
                  </a:lnTo>
                  <a:lnTo>
                    <a:pt x="153" y="174"/>
                  </a:lnTo>
                  <a:lnTo>
                    <a:pt x="155" y="174"/>
                  </a:lnTo>
                  <a:lnTo>
                    <a:pt x="153" y="174"/>
                  </a:lnTo>
                  <a:close/>
                  <a:moveTo>
                    <a:pt x="127" y="192"/>
                  </a:moveTo>
                  <a:lnTo>
                    <a:pt x="127" y="194"/>
                  </a:lnTo>
                  <a:lnTo>
                    <a:pt x="129" y="194"/>
                  </a:lnTo>
                  <a:lnTo>
                    <a:pt x="127" y="194"/>
                  </a:lnTo>
                  <a:lnTo>
                    <a:pt x="127" y="192"/>
                  </a:lnTo>
                  <a:lnTo>
                    <a:pt x="127" y="194"/>
                  </a:lnTo>
                  <a:lnTo>
                    <a:pt x="127" y="192"/>
                  </a:lnTo>
                  <a:close/>
                  <a:moveTo>
                    <a:pt x="272" y="116"/>
                  </a:moveTo>
                  <a:lnTo>
                    <a:pt x="272" y="117"/>
                  </a:lnTo>
                  <a:lnTo>
                    <a:pt x="272" y="116"/>
                  </a:lnTo>
                  <a:close/>
                  <a:moveTo>
                    <a:pt x="78" y="446"/>
                  </a:moveTo>
                  <a:lnTo>
                    <a:pt x="78" y="447"/>
                  </a:lnTo>
                  <a:lnTo>
                    <a:pt x="78" y="446"/>
                  </a:lnTo>
                  <a:lnTo>
                    <a:pt x="80" y="446"/>
                  </a:lnTo>
                  <a:lnTo>
                    <a:pt x="78" y="446"/>
                  </a:lnTo>
                  <a:close/>
                  <a:moveTo>
                    <a:pt x="158" y="171"/>
                  </a:moveTo>
                  <a:lnTo>
                    <a:pt x="158" y="172"/>
                  </a:lnTo>
                  <a:lnTo>
                    <a:pt x="158" y="171"/>
                  </a:lnTo>
                  <a:lnTo>
                    <a:pt x="158" y="172"/>
                  </a:lnTo>
                  <a:lnTo>
                    <a:pt x="157" y="171"/>
                  </a:lnTo>
                  <a:lnTo>
                    <a:pt x="158" y="171"/>
                  </a:lnTo>
                  <a:close/>
                  <a:moveTo>
                    <a:pt x="196" y="480"/>
                  </a:moveTo>
                  <a:lnTo>
                    <a:pt x="194" y="480"/>
                  </a:lnTo>
                  <a:lnTo>
                    <a:pt x="196" y="480"/>
                  </a:lnTo>
                  <a:close/>
                  <a:moveTo>
                    <a:pt x="126" y="229"/>
                  </a:moveTo>
                  <a:lnTo>
                    <a:pt x="126" y="231"/>
                  </a:lnTo>
                  <a:lnTo>
                    <a:pt x="126" y="229"/>
                  </a:lnTo>
                  <a:lnTo>
                    <a:pt x="127" y="229"/>
                  </a:lnTo>
                  <a:lnTo>
                    <a:pt x="126" y="229"/>
                  </a:lnTo>
                  <a:close/>
                  <a:moveTo>
                    <a:pt x="124" y="229"/>
                  </a:moveTo>
                  <a:lnTo>
                    <a:pt x="126" y="229"/>
                  </a:lnTo>
                  <a:lnTo>
                    <a:pt x="124" y="229"/>
                  </a:lnTo>
                  <a:close/>
                  <a:moveTo>
                    <a:pt x="160" y="348"/>
                  </a:moveTo>
                  <a:lnTo>
                    <a:pt x="160" y="347"/>
                  </a:lnTo>
                  <a:lnTo>
                    <a:pt x="160" y="348"/>
                  </a:lnTo>
                  <a:close/>
                  <a:moveTo>
                    <a:pt x="101" y="223"/>
                  </a:moveTo>
                  <a:lnTo>
                    <a:pt x="100" y="223"/>
                  </a:lnTo>
                  <a:lnTo>
                    <a:pt x="100" y="221"/>
                  </a:lnTo>
                  <a:lnTo>
                    <a:pt x="101" y="221"/>
                  </a:lnTo>
                  <a:lnTo>
                    <a:pt x="101" y="223"/>
                  </a:lnTo>
                  <a:close/>
                  <a:moveTo>
                    <a:pt x="77" y="503"/>
                  </a:moveTo>
                  <a:lnTo>
                    <a:pt x="78" y="503"/>
                  </a:lnTo>
                  <a:lnTo>
                    <a:pt x="78" y="504"/>
                  </a:lnTo>
                  <a:lnTo>
                    <a:pt x="77" y="503"/>
                  </a:lnTo>
                  <a:close/>
                  <a:moveTo>
                    <a:pt x="122" y="247"/>
                  </a:moveTo>
                  <a:lnTo>
                    <a:pt x="122" y="246"/>
                  </a:lnTo>
                  <a:lnTo>
                    <a:pt x="122" y="247"/>
                  </a:lnTo>
                  <a:close/>
                  <a:moveTo>
                    <a:pt x="309" y="29"/>
                  </a:moveTo>
                  <a:lnTo>
                    <a:pt x="309" y="28"/>
                  </a:lnTo>
                  <a:lnTo>
                    <a:pt x="309" y="29"/>
                  </a:lnTo>
                  <a:close/>
                  <a:moveTo>
                    <a:pt x="134" y="109"/>
                  </a:moveTo>
                  <a:lnTo>
                    <a:pt x="132" y="109"/>
                  </a:lnTo>
                  <a:lnTo>
                    <a:pt x="134" y="109"/>
                  </a:lnTo>
                  <a:close/>
                  <a:moveTo>
                    <a:pt x="98" y="199"/>
                  </a:moveTo>
                  <a:lnTo>
                    <a:pt x="98" y="197"/>
                  </a:lnTo>
                  <a:lnTo>
                    <a:pt x="98" y="199"/>
                  </a:lnTo>
                  <a:close/>
                  <a:moveTo>
                    <a:pt x="305" y="29"/>
                  </a:moveTo>
                  <a:lnTo>
                    <a:pt x="305" y="28"/>
                  </a:lnTo>
                  <a:lnTo>
                    <a:pt x="306" y="29"/>
                  </a:lnTo>
                  <a:lnTo>
                    <a:pt x="305" y="29"/>
                  </a:lnTo>
                  <a:close/>
                  <a:moveTo>
                    <a:pt x="142" y="241"/>
                  </a:moveTo>
                  <a:lnTo>
                    <a:pt x="142" y="239"/>
                  </a:lnTo>
                  <a:lnTo>
                    <a:pt x="142" y="241"/>
                  </a:lnTo>
                  <a:close/>
                  <a:moveTo>
                    <a:pt x="127" y="127"/>
                  </a:moveTo>
                  <a:lnTo>
                    <a:pt x="126" y="127"/>
                  </a:lnTo>
                  <a:lnTo>
                    <a:pt x="127" y="127"/>
                  </a:lnTo>
                  <a:close/>
                  <a:moveTo>
                    <a:pt x="77" y="504"/>
                  </a:moveTo>
                  <a:lnTo>
                    <a:pt x="77" y="503"/>
                  </a:lnTo>
                  <a:lnTo>
                    <a:pt x="77" y="504"/>
                  </a:lnTo>
                  <a:close/>
                  <a:moveTo>
                    <a:pt x="157" y="174"/>
                  </a:moveTo>
                  <a:lnTo>
                    <a:pt x="155" y="174"/>
                  </a:lnTo>
                  <a:lnTo>
                    <a:pt x="157" y="172"/>
                  </a:lnTo>
                  <a:lnTo>
                    <a:pt x="157" y="174"/>
                  </a:lnTo>
                  <a:close/>
                  <a:moveTo>
                    <a:pt x="157" y="176"/>
                  </a:moveTo>
                  <a:lnTo>
                    <a:pt x="158" y="176"/>
                  </a:lnTo>
                  <a:lnTo>
                    <a:pt x="157" y="176"/>
                  </a:lnTo>
                  <a:close/>
                  <a:moveTo>
                    <a:pt x="366" y="47"/>
                  </a:moveTo>
                  <a:lnTo>
                    <a:pt x="366" y="46"/>
                  </a:lnTo>
                  <a:lnTo>
                    <a:pt x="368" y="46"/>
                  </a:lnTo>
                  <a:lnTo>
                    <a:pt x="368" y="47"/>
                  </a:lnTo>
                  <a:lnTo>
                    <a:pt x="366" y="47"/>
                  </a:lnTo>
                  <a:close/>
                  <a:moveTo>
                    <a:pt x="67" y="373"/>
                  </a:moveTo>
                  <a:lnTo>
                    <a:pt x="65" y="373"/>
                  </a:lnTo>
                  <a:lnTo>
                    <a:pt x="67" y="373"/>
                  </a:lnTo>
                  <a:close/>
                  <a:moveTo>
                    <a:pt x="113" y="506"/>
                  </a:moveTo>
                  <a:lnTo>
                    <a:pt x="113" y="504"/>
                  </a:lnTo>
                  <a:lnTo>
                    <a:pt x="114" y="504"/>
                  </a:lnTo>
                  <a:lnTo>
                    <a:pt x="114" y="506"/>
                  </a:lnTo>
                  <a:lnTo>
                    <a:pt x="113" y="506"/>
                  </a:lnTo>
                  <a:close/>
                  <a:moveTo>
                    <a:pt x="262" y="132"/>
                  </a:moveTo>
                  <a:lnTo>
                    <a:pt x="261" y="132"/>
                  </a:lnTo>
                  <a:lnTo>
                    <a:pt x="261" y="130"/>
                  </a:lnTo>
                  <a:lnTo>
                    <a:pt x="262" y="130"/>
                  </a:lnTo>
                  <a:lnTo>
                    <a:pt x="262" y="132"/>
                  </a:lnTo>
                  <a:close/>
                  <a:moveTo>
                    <a:pt x="2" y="392"/>
                  </a:moveTo>
                  <a:lnTo>
                    <a:pt x="4" y="392"/>
                  </a:lnTo>
                  <a:lnTo>
                    <a:pt x="2" y="392"/>
                  </a:lnTo>
                  <a:close/>
                  <a:moveTo>
                    <a:pt x="334" y="459"/>
                  </a:moveTo>
                  <a:lnTo>
                    <a:pt x="335" y="459"/>
                  </a:lnTo>
                  <a:lnTo>
                    <a:pt x="334" y="459"/>
                  </a:lnTo>
                  <a:close/>
                  <a:moveTo>
                    <a:pt x="262" y="462"/>
                  </a:moveTo>
                  <a:lnTo>
                    <a:pt x="262" y="460"/>
                  </a:lnTo>
                  <a:lnTo>
                    <a:pt x="262" y="462"/>
                  </a:lnTo>
                  <a:lnTo>
                    <a:pt x="262" y="464"/>
                  </a:lnTo>
                  <a:lnTo>
                    <a:pt x="262" y="462"/>
                  </a:lnTo>
                  <a:close/>
                  <a:moveTo>
                    <a:pt x="0" y="438"/>
                  </a:moveTo>
                  <a:lnTo>
                    <a:pt x="2" y="438"/>
                  </a:lnTo>
                  <a:lnTo>
                    <a:pt x="0" y="438"/>
                  </a:lnTo>
                  <a:close/>
                  <a:moveTo>
                    <a:pt x="85" y="501"/>
                  </a:moveTo>
                  <a:lnTo>
                    <a:pt x="83" y="501"/>
                  </a:lnTo>
                  <a:lnTo>
                    <a:pt x="85" y="501"/>
                  </a:lnTo>
                  <a:close/>
                  <a:moveTo>
                    <a:pt x="118" y="234"/>
                  </a:moveTo>
                  <a:lnTo>
                    <a:pt x="116" y="234"/>
                  </a:lnTo>
                  <a:lnTo>
                    <a:pt x="116" y="233"/>
                  </a:lnTo>
                  <a:lnTo>
                    <a:pt x="118" y="233"/>
                  </a:lnTo>
                  <a:lnTo>
                    <a:pt x="118" y="234"/>
                  </a:lnTo>
                  <a:close/>
                  <a:moveTo>
                    <a:pt x="300" y="44"/>
                  </a:moveTo>
                  <a:lnTo>
                    <a:pt x="300" y="46"/>
                  </a:lnTo>
                  <a:lnTo>
                    <a:pt x="300" y="44"/>
                  </a:lnTo>
                  <a:close/>
                  <a:moveTo>
                    <a:pt x="82" y="501"/>
                  </a:moveTo>
                  <a:lnTo>
                    <a:pt x="83" y="501"/>
                  </a:lnTo>
                  <a:lnTo>
                    <a:pt x="82" y="501"/>
                  </a:lnTo>
                  <a:close/>
                  <a:moveTo>
                    <a:pt x="121" y="246"/>
                  </a:moveTo>
                  <a:lnTo>
                    <a:pt x="119" y="246"/>
                  </a:lnTo>
                  <a:lnTo>
                    <a:pt x="121" y="246"/>
                  </a:lnTo>
                  <a:close/>
                  <a:moveTo>
                    <a:pt x="160" y="171"/>
                  </a:moveTo>
                  <a:lnTo>
                    <a:pt x="160" y="169"/>
                  </a:lnTo>
                  <a:lnTo>
                    <a:pt x="161" y="169"/>
                  </a:lnTo>
                  <a:lnTo>
                    <a:pt x="161" y="171"/>
                  </a:lnTo>
                  <a:lnTo>
                    <a:pt x="160" y="171"/>
                  </a:lnTo>
                  <a:close/>
                  <a:moveTo>
                    <a:pt x="98" y="192"/>
                  </a:moveTo>
                  <a:lnTo>
                    <a:pt x="96" y="192"/>
                  </a:lnTo>
                  <a:lnTo>
                    <a:pt x="98" y="192"/>
                  </a:lnTo>
                  <a:lnTo>
                    <a:pt x="96" y="192"/>
                  </a:lnTo>
                  <a:lnTo>
                    <a:pt x="96" y="190"/>
                  </a:lnTo>
                  <a:lnTo>
                    <a:pt x="98" y="190"/>
                  </a:lnTo>
                  <a:lnTo>
                    <a:pt x="98" y="192"/>
                  </a:lnTo>
                  <a:close/>
                  <a:moveTo>
                    <a:pt x="298" y="41"/>
                  </a:moveTo>
                  <a:lnTo>
                    <a:pt x="296" y="41"/>
                  </a:lnTo>
                  <a:lnTo>
                    <a:pt x="298" y="41"/>
                  </a:lnTo>
                  <a:lnTo>
                    <a:pt x="296" y="41"/>
                  </a:lnTo>
                  <a:lnTo>
                    <a:pt x="298" y="41"/>
                  </a:lnTo>
                  <a:close/>
                  <a:moveTo>
                    <a:pt x="436" y="306"/>
                  </a:moveTo>
                  <a:lnTo>
                    <a:pt x="436" y="307"/>
                  </a:lnTo>
                  <a:lnTo>
                    <a:pt x="436" y="306"/>
                  </a:lnTo>
                  <a:close/>
                  <a:moveTo>
                    <a:pt x="85" y="467"/>
                  </a:moveTo>
                  <a:lnTo>
                    <a:pt x="83" y="467"/>
                  </a:lnTo>
                  <a:lnTo>
                    <a:pt x="85" y="465"/>
                  </a:lnTo>
                  <a:lnTo>
                    <a:pt x="85" y="467"/>
                  </a:lnTo>
                  <a:close/>
                  <a:moveTo>
                    <a:pt x="160" y="168"/>
                  </a:moveTo>
                  <a:lnTo>
                    <a:pt x="158" y="168"/>
                  </a:lnTo>
                  <a:lnTo>
                    <a:pt x="161" y="168"/>
                  </a:lnTo>
                  <a:lnTo>
                    <a:pt x="160" y="168"/>
                  </a:lnTo>
                  <a:close/>
                  <a:moveTo>
                    <a:pt x="131" y="246"/>
                  </a:moveTo>
                  <a:lnTo>
                    <a:pt x="129" y="246"/>
                  </a:lnTo>
                  <a:lnTo>
                    <a:pt x="131" y="246"/>
                  </a:lnTo>
                  <a:close/>
                  <a:moveTo>
                    <a:pt x="309" y="94"/>
                  </a:moveTo>
                  <a:lnTo>
                    <a:pt x="308" y="94"/>
                  </a:lnTo>
                  <a:lnTo>
                    <a:pt x="308" y="93"/>
                  </a:lnTo>
                  <a:lnTo>
                    <a:pt x="309" y="93"/>
                  </a:lnTo>
                  <a:lnTo>
                    <a:pt x="309" y="94"/>
                  </a:lnTo>
                  <a:close/>
                  <a:moveTo>
                    <a:pt x="165" y="337"/>
                  </a:moveTo>
                  <a:lnTo>
                    <a:pt x="166" y="337"/>
                  </a:lnTo>
                  <a:lnTo>
                    <a:pt x="166" y="338"/>
                  </a:lnTo>
                  <a:lnTo>
                    <a:pt x="165" y="337"/>
                  </a:lnTo>
                  <a:close/>
                  <a:moveTo>
                    <a:pt x="114" y="194"/>
                  </a:moveTo>
                  <a:lnTo>
                    <a:pt x="113" y="194"/>
                  </a:lnTo>
                  <a:lnTo>
                    <a:pt x="114" y="194"/>
                  </a:lnTo>
                  <a:close/>
                  <a:moveTo>
                    <a:pt x="113" y="262"/>
                  </a:moveTo>
                  <a:lnTo>
                    <a:pt x="113" y="264"/>
                  </a:lnTo>
                  <a:lnTo>
                    <a:pt x="113" y="262"/>
                  </a:lnTo>
                  <a:close/>
                  <a:moveTo>
                    <a:pt x="106" y="508"/>
                  </a:moveTo>
                  <a:lnTo>
                    <a:pt x="106" y="506"/>
                  </a:lnTo>
                  <a:lnTo>
                    <a:pt x="108" y="506"/>
                  </a:lnTo>
                  <a:lnTo>
                    <a:pt x="106" y="508"/>
                  </a:lnTo>
                  <a:close/>
                  <a:moveTo>
                    <a:pt x="111" y="508"/>
                  </a:moveTo>
                  <a:lnTo>
                    <a:pt x="111" y="506"/>
                  </a:lnTo>
                  <a:lnTo>
                    <a:pt x="113" y="508"/>
                  </a:lnTo>
                  <a:lnTo>
                    <a:pt x="111" y="508"/>
                  </a:lnTo>
                  <a:close/>
                  <a:moveTo>
                    <a:pt x="122" y="345"/>
                  </a:moveTo>
                  <a:lnTo>
                    <a:pt x="121" y="345"/>
                  </a:lnTo>
                  <a:lnTo>
                    <a:pt x="122" y="343"/>
                  </a:lnTo>
                  <a:lnTo>
                    <a:pt x="122" y="345"/>
                  </a:lnTo>
                  <a:close/>
                  <a:moveTo>
                    <a:pt x="293" y="44"/>
                  </a:moveTo>
                  <a:lnTo>
                    <a:pt x="293" y="46"/>
                  </a:lnTo>
                  <a:lnTo>
                    <a:pt x="293" y="44"/>
                  </a:lnTo>
                  <a:close/>
                  <a:moveTo>
                    <a:pt x="135" y="249"/>
                  </a:moveTo>
                  <a:lnTo>
                    <a:pt x="135" y="247"/>
                  </a:lnTo>
                  <a:lnTo>
                    <a:pt x="137" y="249"/>
                  </a:lnTo>
                  <a:lnTo>
                    <a:pt x="135" y="249"/>
                  </a:lnTo>
                  <a:close/>
                  <a:moveTo>
                    <a:pt x="26" y="439"/>
                  </a:moveTo>
                  <a:lnTo>
                    <a:pt x="25" y="439"/>
                  </a:lnTo>
                  <a:lnTo>
                    <a:pt x="26" y="439"/>
                  </a:lnTo>
                  <a:close/>
                  <a:moveTo>
                    <a:pt x="308" y="23"/>
                  </a:moveTo>
                  <a:lnTo>
                    <a:pt x="308" y="24"/>
                  </a:lnTo>
                  <a:lnTo>
                    <a:pt x="308" y="23"/>
                  </a:lnTo>
                  <a:close/>
                  <a:moveTo>
                    <a:pt x="124" y="189"/>
                  </a:moveTo>
                  <a:lnTo>
                    <a:pt x="126" y="189"/>
                  </a:lnTo>
                  <a:lnTo>
                    <a:pt x="126" y="190"/>
                  </a:lnTo>
                  <a:lnTo>
                    <a:pt x="124" y="189"/>
                  </a:lnTo>
                  <a:close/>
                  <a:moveTo>
                    <a:pt x="137" y="238"/>
                  </a:moveTo>
                  <a:lnTo>
                    <a:pt x="137" y="239"/>
                  </a:lnTo>
                  <a:lnTo>
                    <a:pt x="137" y="238"/>
                  </a:lnTo>
                  <a:close/>
                  <a:moveTo>
                    <a:pt x="153" y="163"/>
                  </a:moveTo>
                  <a:lnTo>
                    <a:pt x="153" y="164"/>
                  </a:lnTo>
                  <a:lnTo>
                    <a:pt x="155" y="164"/>
                  </a:lnTo>
                  <a:lnTo>
                    <a:pt x="153" y="164"/>
                  </a:lnTo>
                  <a:lnTo>
                    <a:pt x="153" y="163"/>
                  </a:lnTo>
                  <a:close/>
                  <a:moveTo>
                    <a:pt x="158" y="166"/>
                  </a:moveTo>
                  <a:lnTo>
                    <a:pt x="160" y="166"/>
                  </a:lnTo>
                  <a:lnTo>
                    <a:pt x="158" y="166"/>
                  </a:lnTo>
                  <a:close/>
                  <a:moveTo>
                    <a:pt x="157" y="169"/>
                  </a:moveTo>
                  <a:lnTo>
                    <a:pt x="158" y="169"/>
                  </a:lnTo>
                  <a:lnTo>
                    <a:pt x="157" y="169"/>
                  </a:lnTo>
                  <a:close/>
                  <a:moveTo>
                    <a:pt x="161" y="169"/>
                  </a:moveTo>
                  <a:lnTo>
                    <a:pt x="161" y="171"/>
                  </a:lnTo>
                  <a:lnTo>
                    <a:pt x="161" y="169"/>
                  </a:lnTo>
                  <a:close/>
                  <a:moveTo>
                    <a:pt x="4" y="436"/>
                  </a:moveTo>
                  <a:lnTo>
                    <a:pt x="5" y="436"/>
                  </a:lnTo>
                  <a:lnTo>
                    <a:pt x="4" y="438"/>
                  </a:lnTo>
                  <a:lnTo>
                    <a:pt x="4" y="436"/>
                  </a:lnTo>
                  <a:close/>
                  <a:moveTo>
                    <a:pt x="327" y="15"/>
                  </a:moveTo>
                  <a:lnTo>
                    <a:pt x="327" y="13"/>
                  </a:lnTo>
                  <a:lnTo>
                    <a:pt x="327" y="15"/>
                  </a:lnTo>
                  <a:close/>
                  <a:moveTo>
                    <a:pt x="153" y="166"/>
                  </a:moveTo>
                  <a:lnTo>
                    <a:pt x="153" y="164"/>
                  </a:lnTo>
                  <a:lnTo>
                    <a:pt x="153" y="166"/>
                  </a:lnTo>
                  <a:close/>
                  <a:moveTo>
                    <a:pt x="308" y="96"/>
                  </a:moveTo>
                  <a:lnTo>
                    <a:pt x="308" y="94"/>
                  </a:lnTo>
                  <a:lnTo>
                    <a:pt x="309" y="96"/>
                  </a:lnTo>
                  <a:lnTo>
                    <a:pt x="308" y="96"/>
                  </a:lnTo>
                  <a:close/>
                  <a:moveTo>
                    <a:pt x="155" y="177"/>
                  </a:moveTo>
                  <a:lnTo>
                    <a:pt x="157" y="177"/>
                  </a:lnTo>
                  <a:lnTo>
                    <a:pt x="155" y="177"/>
                  </a:lnTo>
                  <a:close/>
                  <a:moveTo>
                    <a:pt x="126" y="116"/>
                  </a:moveTo>
                  <a:lnTo>
                    <a:pt x="126" y="114"/>
                  </a:lnTo>
                  <a:lnTo>
                    <a:pt x="126" y="116"/>
                  </a:lnTo>
                  <a:close/>
                  <a:moveTo>
                    <a:pt x="155" y="164"/>
                  </a:moveTo>
                  <a:lnTo>
                    <a:pt x="155" y="163"/>
                  </a:lnTo>
                  <a:lnTo>
                    <a:pt x="155" y="164"/>
                  </a:lnTo>
                  <a:close/>
                  <a:moveTo>
                    <a:pt x="157" y="174"/>
                  </a:moveTo>
                  <a:lnTo>
                    <a:pt x="157" y="176"/>
                  </a:lnTo>
                  <a:lnTo>
                    <a:pt x="157" y="174"/>
                  </a:lnTo>
                  <a:close/>
                  <a:moveTo>
                    <a:pt x="132" y="111"/>
                  </a:moveTo>
                  <a:lnTo>
                    <a:pt x="132" y="109"/>
                  </a:lnTo>
                  <a:lnTo>
                    <a:pt x="132" y="111"/>
                  </a:lnTo>
                  <a:close/>
                  <a:moveTo>
                    <a:pt x="70" y="449"/>
                  </a:moveTo>
                  <a:lnTo>
                    <a:pt x="69" y="449"/>
                  </a:lnTo>
                  <a:lnTo>
                    <a:pt x="70" y="449"/>
                  </a:lnTo>
                  <a:close/>
                  <a:moveTo>
                    <a:pt x="18" y="390"/>
                  </a:moveTo>
                  <a:lnTo>
                    <a:pt x="17" y="390"/>
                  </a:lnTo>
                  <a:lnTo>
                    <a:pt x="18" y="390"/>
                  </a:lnTo>
                  <a:close/>
                  <a:moveTo>
                    <a:pt x="131" y="242"/>
                  </a:moveTo>
                  <a:lnTo>
                    <a:pt x="132" y="242"/>
                  </a:lnTo>
                  <a:lnTo>
                    <a:pt x="131" y="242"/>
                  </a:lnTo>
                  <a:close/>
                  <a:moveTo>
                    <a:pt x="158" y="176"/>
                  </a:moveTo>
                  <a:lnTo>
                    <a:pt x="158" y="174"/>
                  </a:lnTo>
                  <a:lnTo>
                    <a:pt x="157" y="174"/>
                  </a:lnTo>
                  <a:lnTo>
                    <a:pt x="158" y="174"/>
                  </a:lnTo>
                  <a:lnTo>
                    <a:pt x="158" y="176"/>
                  </a:lnTo>
                  <a:close/>
                  <a:moveTo>
                    <a:pt x="48" y="449"/>
                  </a:moveTo>
                  <a:lnTo>
                    <a:pt x="49" y="449"/>
                  </a:lnTo>
                  <a:lnTo>
                    <a:pt x="48" y="451"/>
                  </a:lnTo>
                  <a:lnTo>
                    <a:pt x="48" y="449"/>
                  </a:lnTo>
                  <a:close/>
                  <a:moveTo>
                    <a:pt x="157" y="169"/>
                  </a:moveTo>
                  <a:lnTo>
                    <a:pt x="155" y="169"/>
                  </a:lnTo>
                  <a:lnTo>
                    <a:pt x="157" y="168"/>
                  </a:lnTo>
                  <a:lnTo>
                    <a:pt x="157" y="169"/>
                  </a:lnTo>
                  <a:close/>
                  <a:moveTo>
                    <a:pt x="132" y="242"/>
                  </a:moveTo>
                  <a:lnTo>
                    <a:pt x="132" y="244"/>
                  </a:lnTo>
                  <a:lnTo>
                    <a:pt x="132" y="242"/>
                  </a:lnTo>
                  <a:close/>
                  <a:moveTo>
                    <a:pt x="191" y="267"/>
                  </a:moveTo>
                  <a:lnTo>
                    <a:pt x="192" y="267"/>
                  </a:lnTo>
                  <a:lnTo>
                    <a:pt x="191" y="267"/>
                  </a:lnTo>
                  <a:close/>
                  <a:moveTo>
                    <a:pt x="78" y="449"/>
                  </a:moveTo>
                  <a:lnTo>
                    <a:pt x="78" y="447"/>
                  </a:lnTo>
                  <a:lnTo>
                    <a:pt x="80" y="447"/>
                  </a:lnTo>
                  <a:lnTo>
                    <a:pt x="78" y="449"/>
                  </a:lnTo>
                  <a:close/>
                  <a:moveTo>
                    <a:pt x="153" y="163"/>
                  </a:moveTo>
                  <a:lnTo>
                    <a:pt x="155" y="163"/>
                  </a:lnTo>
                  <a:lnTo>
                    <a:pt x="153" y="163"/>
                  </a:lnTo>
                  <a:close/>
                  <a:moveTo>
                    <a:pt x="171" y="103"/>
                  </a:moveTo>
                  <a:lnTo>
                    <a:pt x="170" y="103"/>
                  </a:lnTo>
                  <a:lnTo>
                    <a:pt x="170" y="101"/>
                  </a:lnTo>
                  <a:lnTo>
                    <a:pt x="171" y="101"/>
                  </a:lnTo>
                  <a:lnTo>
                    <a:pt x="171" y="103"/>
                  </a:lnTo>
                  <a:close/>
                  <a:moveTo>
                    <a:pt x="103" y="223"/>
                  </a:moveTo>
                  <a:lnTo>
                    <a:pt x="103" y="221"/>
                  </a:lnTo>
                  <a:lnTo>
                    <a:pt x="103" y="223"/>
                  </a:lnTo>
                  <a:close/>
                  <a:moveTo>
                    <a:pt x="64" y="371"/>
                  </a:moveTo>
                  <a:lnTo>
                    <a:pt x="65" y="371"/>
                  </a:lnTo>
                  <a:lnTo>
                    <a:pt x="64" y="371"/>
                  </a:lnTo>
                  <a:close/>
                  <a:moveTo>
                    <a:pt x="119" y="338"/>
                  </a:moveTo>
                  <a:lnTo>
                    <a:pt x="119" y="337"/>
                  </a:lnTo>
                  <a:lnTo>
                    <a:pt x="119" y="338"/>
                  </a:lnTo>
                  <a:close/>
                  <a:moveTo>
                    <a:pt x="161" y="345"/>
                  </a:moveTo>
                  <a:lnTo>
                    <a:pt x="161" y="343"/>
                  </a:lnTo>
                  <a:lnTo>
                    <a:pt x="161" y="345"/>
                  </a:lnTo>
                  <a:close/>
                  <a:moveTo>
                    <a:pt x="100" y="190"/>
                  </a:moveTo>
                  <a:lnTo>
                    <a:pt x="98" y="190"/>
                  </a:lnTo>
                  <a:lnTo>
                    <a:pt x="100" y="190"/>
                  </a:lnTo>
                  <a:close/>
                  <a:moveTo>
                    <a:pt x="161" y="168"/>
                  </a:moveTo>
                  <a:lnTo>
                    <a:pt x="163" y="168"/>
                  </a:lnTo>
                  <a:lnTo>
                    <a:pt x="161" y="168"/>
                  </a:lnTo>
                  <a:close/>
                  <a:moveTo>
                    <a:pt x="33" y="452"/>
                  </a:moveTo>
                  <a:lnTo>
                    <a:pt x="31" y="452"/>
                  </a:lnTo>
                  <a:lnTo>
                    <a:pt x="33" y="452"/>
                  </a:lnTo>
                  <a:lnTo>
                    <a:pt x="33" y="451"/>
                  </a:lnTo>
                  <a:lnTo>
                    <a:pt x="33" y="452"/>
                  </a:lnTo>
                  <a:close/>
                  <a:moveTo>
                    <a:pt x="139" y="101"/>
                  </a:moveTo>
                  <a:lnTo>
                    <a:pt x="139" y="99"/>
                  </a:lnTo>
                  <a:lnTo>
                    <a:pt x="139" y="101"/>
                  </a:lnTo>
                  <a:close/>
                  <a:moveTo>
                    <a:pt x="160" y="168"/>
                  </a:moveTo>
                  <a:lnTo>
                    <a:pt x="160" y="166"/>
                  </a:lnTo>
                  <a:lnTo>
                    <a:pt x="161" y="166"/>
                  </a:lnTo>
                  <a:lnTo>
                    <a:pt x="160" y="166"/>
                  </a:lnTo>
                  <a:lnTo>
                    <a:pt x="160" y="168"/>
                  </a:lnTo>
                  <a:close/>
                  <a:moveTo>
                    <a:pt x="157" y="164"/>
                  </a:moveTo>
                  <a:lnTo>
                    <a:pt x="158" y="164"/>
                  </a:lnTo>
                  <a:lnTo>
                    <a:pt x="157" y="164"/>
                  </a:lnTo>
                  <a:close/>
                  <a:moveTo>
                    <a:pt x="88" y="475"/>
                  </a:moveTo>
                  <a:lnTo>
                    <a:pt x="88" y="473"/>
                  </a:lnTo>
                  <a:lnTo>
                    <a:pt x="90" y="473"/>
                  </a:lnTo>
                  <a:lnTo>
                    <a:pt x="88" y="475"/>
                  </a:lnTo>
                  <a:close/>
                  <a:moveTo>
                    <a:pt x="118" y="194"/>
                  </a:moveTo>
                  <a:lnTo>
                    <a:pt x="119" y="194"/>
                  </a:lnTo>
                  <a:lnTo>
                    <a:pt x="118" y="194"/>
                  </a:lnTo>
                  <a:close/>
                  <a:moveTo>
                    <a:pt x="157" y="177"/>
                  </a:moveTo>
                  <a:lnTo>
                    <a:pt x="157" y="176"/>
                  </a:lnTo>
                  <a:lnTo>
                    <a:pt x="157" y="177"/>
                  </a:lnTo>
                  <a:close/>
                  <a:moveTo>
                    <a:pt x="87" y="498"/>
                  </a:moveTo>
                  <a:lnTo>
                    <a:pt x="87" y="496"/>
                  </a:lnTo>
                  <a:lnTo>
                    <a:pt x="88" y="496"/>
                  </a:lnTo>
                  <a:lnTo>
                    <a:pt x="88" y="498"/>
                  </a:lnTo>
                  <a:lnTo>
                    <a:pt x="87" y="498"/>
                  </a:lnTo>
                  <a:close/>
                  <a:moveTo>
                    <a:pt x="113" y="233"/>
                  </a:moveTo>
                  <a:lnTo>
                    <a:pt x="113" y="234"/>
                  </a:lnTo>
                  <a:lnTo>
                    <a:pt x="111" y="234"/>
                  </a:lnTo>
                  <a:lnTo>
                    <a:pt x="113" y="233"/>
                  </a:lnTo>
                  <a:close/>
                  <a:moveTo>
                    <a:pt x="384" y="15"/>
                  </a:moveTo>
                  <a:lnTo>
                    <a:pt x="384" y="16"/>
                  </a:lnTo>
                  <a:lnTo>
                    <a:pt x="384" y="15"/>
                  </a:lnTo>
                  <a:close/>
                  <a:moveTo>
                    <a:pt x="111" y="124"/>
                  </a:moveTo>
                  <a:lnTo>
                    <a:pt x="113" y="125"/>
                  </a:lnTo>
                  <a:lnTo>
                    <a:pt x="111" y="125"/>
                  </a:lnTo>
                  <a:lnTo>
                    <a:pt x="111" y="124"/>
                  </a:lnTo>
                  <a:close/>
                  <a:moveTo>
                    <a:pt x="158" y="169"/>
                  </a:moveTo>
                  <a:lnTo>
                    <a:pt x="160" y="169"/>
                  </a:lnTo>
                  <a:lnTo>
                    <a:pt x="158" y="169"/>
                  </a:lnTo>
                  <a:close/>
                  <a:moveTo>
                    <a:pt x="131" y="272"/>
                  </a:moveTo>
                  <a:lnTo>
                    <a:pt x="131" y="273"/>
                  </a:lnTo>
                  <a:lnTo>
                    <a:pt x="131" y="272"/>
                  </a:lnTo>
                  <a:close/>
                  <a:moveTo>
                    <a:pt x="235" y="485"/>
                  </a:moveTo>
                  <a:lnTo>
                    <a:pt x="235" y="483"/>
                  </a:lnTo>
                  <a:lnTo>
                    <a:pt x="235" y="485"/>
                  </a:lnTo>
                  <a:close/>
                  <a:moveTo>
                    <a:pt x="111" y="233"/>
                  </a:moveTo>
                  <a:lnTo>
                    <a:pt x="113" y="233"/>
                  </a:lnTo>
                  <a:lnTo>
                    <a:pt x="111" y="233"/>
                  </a:lnTo>
                  <a:close/>
                  <a:moveTo>
                    <a:pt x="15" y="468"/>
                  </a:moveTo>
                  <a:lnTo>
                    <a:pt x="13" y="468"/>
                  </a:lnTo>
                  <a:lnTo>
                    <a:pt x="15" y="468"/>
                  </a:lnTo>
                  <a:close/>
                  <a:moveTo>
                    <a:pt x="402" y="5"/>
                  </a:moveTo>
                  <a:lnTo>
                    <a:pt x="401" y="5"/>
                  </a:lnTo>
                  <a:lnTo>
                    <a:pt x="402" y="5"/>
                  </a:lnTo>
                  <a:close/>
                  <a:moveTo>
                    <a:pt x="158" y="171"/>
                  </a:moveTo>
                  <a:lnTo>
                    <a:pt x="160" y="171"/>
                  </a:lnTo>
                  <a:lnTo>
                    <a:pt x="158" y="171"/>
                  </a:lnTo>
                  <a:close/>
                  <a:moveTo>
                    <a:pt x="287" y="36"/>
                  </a:moveTo>
                  <a:lnTo>
                    <a:pt x="287" y="37"/>
                  </a:lnTo>
                  <a:lnTo>
                    <a:pt x="287" y="36"/>
                  </a:lnTo>
                  <a:close/>
                  <a:moveTo>
                    <a:pt x="96" y="216"/>
                  </a:moveTo>
                  <a:lnTo>
                    <a:pt x="98" y="216"/>
                  </a:lnTo>
                  <a:lnTo>
                    <a:pt x="96" y="216"/>
                  </a:lnTo>
                  <a:close/>
                  <a:moveTo>
                    <a:pt x="287" y="90"/>
                  </a:moveTo>
                  <a:lnTo>
                    <a:pt x="288" y="90"/>
                  </a:lnTo>
                  <a:lnTo>
                    <a:pt x="287" y="90"/>
                  </a:lnTo>
                  <a:close/>
                  <a:moveTo>
                    <a:pt x="101" y="205"/>
                  </a:moveTo>
                  <a:lnTo>
                    <a:pt x="101" y="207"/>
                  </a:lnTo>
                  <a:lnTo>
                    <a:pt x="101" y="205"/>
                  </a:lnTo>
                  <a:close/>
                  <a:moveTo>
                    <a:pt x="431" y="325"/>
                  </a:moveTo>
                  <a:lnTo>
                    <a:pt x="430" y="325"/>
                  </a:lnTo>
                  <a:lnTo>
                    <a:pt x="431" y="325"/>
                  </a:lnTo>
                  <a:close/>
                  <a:moveTo>
                    <a:pt x="124" y="246"/>
                  </a:moveTo>
                  <a:lnTo>
                    <a:pt x="122" y="246"/>
                  </a:lnTo>
                  <a:lnTo>
                    <a:pt x="124" y="246"/>
                  </a:lnTo>
                  <a:close/>
                  <a:moveTo>
                    <a:pt x="441" y="283"/>
                  </a:moveTo>
                  <a:lnTo>
                    <a:pt x="440" y="283"/>
                  </a:lnTo>
                  <a:lnTo>
                    <a:pt x="441" y="283"/>
                  </a:lnTo>
                  <a:close/>
                  <a:moveTo>
                    <a:pt x="127" y="127"/>
                  </a:moveTo>
                  <a:lnTo>
                    <a:pt x="127" y="125"/>
                  </a:lnTo>
                  <a:lnTo>
                    <a:pt x="129" y="125"/>
                  </a:lnTo>
                  <a:lnTo>
                    <a:pt x="127" y="127"/>
                  </a:lnTo>
                  <a:close/>
                  <a:moveTo>
                    <a:pt x="121" y="229"/>
                  </a:moveTo>
                  <a:lnTo>
                    <a:pt x="119" y="229"/>
                  </a:lnTo>
                  <a:lnTo>
                    <a:pt x="121" y="229"/>
                  </a:lnTo>
                  <a:close/>
                  <a:moveTo>
                    <a:pt x="220" y="124"/>
                  </a:moveTo>
                  <a:lnTo>
                    <a:pt x="220" y="125"/>
                  </a:lnTo>
                  <a:lnTo>
                    <a:pt x="222" y="125"/>
                  </a:lnTo>
                  <a:lnTo>
                    <a:pt x="220" y="125"/>
                  </a:lnTo>
                  <a:lnTo>
                    <a:pt x="220" y="124"/>
                  </a:lnTo>
                  <a:close/>
                  <a:moveTo>
                    <a:pt x="82" y="508"/>
                  </a:moveTo>
                  <a:lnTo>
                    <a:pt x="83" y="508"/>
                  </a:lnTo>
                  <a:lnTo>
                    <a:pt x="82" y="508"/>
                  </a:lnTo>
                  <a:close/>
                  <a:moveTo>
                    <a:pt x="119" y="246"/>
                  </a:moveTo>
                  <a:lnTo>
                    <a:pt x="119" y="244"/>
                  </a:lnTo>
                  <a:lnTo>
                    <a:pt x="119" y="246"/>
                  </a:lnTo>
                  <a:close/>
                  <a:moveTo>
                    <a:pt x="100" y="223"/>
                  </a:moveTo>
                  <a:lnTo>
                    <a:pt x="100" y="221"/>
                  </a:lnTo>
                  <a:lnTo>
                    <a:pt x="100" y="223"/>
                  </a:lnTo>
                  <a:close/>
                  <a:moveTo>
                    <a:pt x="126" y="116"/>
                  </a:moveTo>
                  <a:lnTo>
                    <a:pt x="126" y="114"/>
                  </a:lnTo>
                  <a:lnTo>
                    <a:pt x="126" y="116"/>
                  </a:lnTo>
                  <a:close/>
                  <a:moveTo>
                    <a:pt x="165" y="348"/>
                  </a:moveTo>
                  <a:lnTo>
                    <a:pt x="166" y="348"/>
                  </a:lnTo>
                  <a:lnTo>
                    <a:pt x="165" y="348"/>
                  </a:lnTo>
                  <a:close/>
                  <a:moveTo>
                    <a:pt x="179" y="277"/>
                  </a:moveTo>
                  <a:lnTo>
                    <a:pt x="179" y="275"/>
                  </a:lnTo>
                  <a:lnTo>
                    <a:pt x="179" y="277"/>
                  </a:lnTo>
                  <a:close/>
                  <a:moveTo>
                    <a:pt x="134" y="242"/>
                  </a:moveTo>
                  <a:lnTo>
                    <a:pt x="134" y="241"/>
                  </a:lnTo>
                  <a:lnTo>
                    <a:pt x="134" y="242"/>
                  </a:lnTo>
                  <a:close/>
                  <a:moveTo>
                    <a:pt x="98" y="190"/>
                  </a:moveTo>
                  <a:lnTo>
                    <a:pt x="98" y="189"/>
                  </a:lnTo>
                  <a:lnTo>
                    <a:pt x="100" y="189"/>
                  </a:lnTo>
                  <a:lnTo>
                    <a:pt x="98" y="190"/>
                  </a:lnTo>
                  <a:close/>
                  <a:moveTo>
                    <a:pt x="160" y="168"/>
                  </a:moveTo>
                  <a:lnTo>
                    <a:pt x="158" y="168"/>
                  </a:lnTo>
                  <a:lnTo>
                    <a:pt x="160" y="168"/>
                  </a:lnTo>
                  <a:close/>
                  <a:moveTo>
                    <a:pt x="166" y="94"/>
                  </a:moveTo>
                  <a:lnTo>
                    <a:pt x="166" y="96"/>
                  </a:lnTo>
                  <a:lnTo>
                    <a:pt x="166" y="94"/>
                  </a:lnTo>
                  <a:close/>
                  <a:moveTo>
                    <a:pt x="62" y="373"/>
                  </a:moveTo>
                  <a:lnTo>
                    <a:pt x="62" y="371"/>
                  </a:lnTo>
                  <a:lnTo>
                    <a:pt x="62" y="373"/>
                  </a:lnTo>
                  <a:close/>
                  <a:moveTo>
                    <a:pt x="157" y="350"/>
                  </a:moveTo>
                  <a:lnTo>
                    <a:pt x="155" y="350"/>
                  </a:lnTo>
                  <a:lnTo>
                    <a:pt x="157" y="350"/>
                  </a:lnTo>
                  <a:lnTo>
                    <a:pt x="157" y="348"/>
                  </a:lnTo>
                  <a:lnTo>
                    <a:pt x="157" y="350"/>
                  </a:lnTo>
                  <a:close/>
                  <a:moveTo>
                    <a:pt x="64" y="371"/>
                  </a:moveTo>
                  <a:lnTo>
                    <a:pt x="65" y="371"/>
                  </a:lnTo>
                  <a:lnTo>
                    <a:pt x="64" y="371"/>
                  </a:lnTo>
                  <a:close/>
                  <a:moveTo>
                    <a:pt x="275" y="90"/>
                  </a:moveTo>
                  <a:lnTo>
                    <a:pt x="275" y="91"/>
                  </a:lnTo>
                  <a:lnTo>
                    <a:pt x="275" y="90"/>
                  </a:lnTo>
                  <a:close/>
                  <a:moveTo>
                    <a:pt x="171" y="281"/>
                  </a:moveTo>
                  <a:lnTo>
                    <a:pt x="171" y="283"/>
                  </a:lnTo>
                  <a:lnTo>
                    <a:pt x="171" y="281"/>
                  </a:lnTo>
                  <a:close/>
                  <a:moveTo>
                    <a:pt x="212" y="135"/>
                  </a:moveTo>
                  <a:lnTo>
                    <a:pt x="210" y="135"/>
                  </a:lnTo>
                  <a:lnTo>
                    <a:pt x="212" y="133"/>
                  </a:lnTo>
                  <a:lnTo>
                    <a:pt x="212" y="135"/>
                  </a:lnTo>
                  <a:close/>
                  <a:moveTo>
                    <a:pt x="306" y="28"/>
                  </a:moveTo>
                  <a:lnTo>
                    <a:pt x="308" y="28"/>
                  </a:lnTo>
                  <a:lnTo>
                    <a:pt x="306" y="28"/>
                  </a:lnTo>
                  <a:close/>
                  <a:moveTo>
                    <a:pt x="124" y="145"/>
                  </a:moveTo>
                  <a:lnTo>
                    <a:pt x="126" y="145"/>
                  </a:lnTo>
                  <a:lnTo>
                    <a:pt x="124" y="145"/>
                  </a:lnTo>
                  <a:close/>
                  <a:moveTo>
                    <a:pt x="15" y="470"/>
                  </a:moveTo>
                  <a:lnTo>
                    <a:pt x="17" y="468"/>
                  </a:lnTo>
                  <a:lnTo>
                    <a:pt x="17" y="470"/>
                  </a:lnTo>
                  <a:lnTo>
                    <a:pt x="15" y="470"/>
                  </a:lnTo>
                  <a:close/>
                  <a:moveTo>
                    <a:pt x="100" y="200"/>
                  </a:moveTo>
                  <a:lnTo>
                    <a:pt x="100" y="199"/>
                  </a:lnTo>
                  <a:lnTo>
                    <a:pt x="100" y="200"/>
                  </a:lnTo>
                  <a:close/>
                  <a:moveTo>
                    <a:pt x="96" y="216"/>
                  </a:moveTo>
                  <a:lnTo>
                    <a:pt x="98" y="216"/>
                  </a:lnTo>
                  <a:lnTo>
                    <a:pt x="96" y="216"/>
                  </a:lnTo>
                  <a:close/>
                  <a:moveTo>
                    <a:pt x="257" y="130"/>
                  </a:moveTo>
                  <a:lnTo>
                    <a:pt x="257" y="129"/>
                  </a:lnTo>
                  <a:lnTo>
                    <a:pt x="259" y="129"/>
                  </a:lnTo>
                  <a:lnTo>
                    <a:pt x="259" y="130"/>
                  </a:lnTo>
                  <a:lnTo>
                    <a:pt x="257" y="130"/>
                  </a:lnTo>
                  <a:close/>
                  <a:moveTo>
                    <a:pt x="103" y="197"/>
                  </a:moveTo>
                  <a:lnTo>
                    <a:pt x="105" y="197"/>
                  </a:lnTo>
                  <a:lnTo>
                    <a:pt x="103" y="197"/>
                  </a:lnTo>
                  <a:close/>
                  <a:moveTo>
                    <a:pt x="293" y="36"/>
                  </a:moveTo>
                  <a:lnTo>
                    <a:pt x="295" y="36"/>
                  </a:lnTo>
                  <a:lnTo>
                    <a:pt x="293" y="36"/>
                  </a:lnTo>
                  <a:close/>
                  <a:moveTo>
                    <a:pt x="261" y="120"/>
                  </a:moveTo>
                  <a:lnTo>
                    <a:pt x="259" y="119"/>
                  </a:lnTo>
                  <a:lnTo>
                    <a:pt x="261" y="119"/>
                  </a:lnTo>
                  <a:lnTo>
                    <a:pt x="261" y="120"/>
                  </a:lnTo>
                  <a:close/>
                  <a:moveTo>
                    <a:pt x="158" y="166"/>
                  </a:moveTo>
                  <a:lnTo>
                    <a:pt x="158" y="168"/>
                  </a:lnTo>
                  <a:lnTo>
                    <a:pt x="158" y="166"/>
                  </a:lnTo>
                  <a:close/>
                  <a:moveTo>
                    <a:pt x="303" y="31"/>
                  </a:moveTo>
                  <a:lnTo>
                    <a:pt x="301" y="31"/>
                  </a:lnTo>
                  <a:lnTo>
                    <a:pt x="303" y="31"/>
                  </a:lnTo>
                  <a:close/>
                  <a:moveTo>
                    <a:pt x="114" y="504"/>
                  </a:moveTo>
                  <a:lnTo>
                    <a:pt x="116" y="504"/>
                  </a:lnTo>
                  <a:lnTo>
                    <a:pt x="114" y="504"/>
                  </a:lnTo>
                  <a:close/>
                  <a:moveTo>
                    <a:pt x="116" y="239"/>
                  </a:moveTo>
                  <a:lnTo>
                    <a:pt x="114" y="239"/>
                  </a:lnTo>
                  <a:lnTo>
                    <a:pt x="116" y="239"/>
                  </a:lnTo>
                  <a:close/>
                  <a:moveTo>
                    <a:pt x="168" y="343"/>
                  </a:moveTo>
                  <a:lnTo>
                    <a:pt x="170" y="343"/>
                  </a:lnTo>
                  <a:lnTo>
                    <a:pt x="168" y="343"/>
                  </a:lnTo>
                  <a:close/>
                  <a:moveTo>
                    <a:pt x="118" y="249"/>
                  </a:moveTo>
                  <a:lnTo>
                    <a:pt x="119" y="249"/>
                  </a:lnTo>
                  <a:lnTo>
                    <a:pt x="118" y="249"/>
                  </a:lnTo>
                  <a:close/>
                  <a:moveTo>
                    <a:pt x="220" y="490"/>
                  </a:moveTo>
                  <a:lnTo>
                    <a:pt x="220" y="488"/>
                  </a:lnTo>
                  <a:lnTo>
                    <a:pt x="220" y="490"/>
                  </a:lnTo>
                  <a:close/>
                  <a:moveTo>
                    <a:pt x="210" y="133"/>
                  </a:moveTo>
                  <a:lnTo>
                    <a:pt x="212" y="133"/>
                  </a:lnTo>
                  <a:lnTo>
                    <a:pt x="210" y="133"/>
                  </a:lnTo>
                  <a:close/>
                  <a:moveTo>
                    <a:pt x="160" y="345"/>
                  </a:moveTo>
                  <a:lnTo>
                    <a:pt x="161" y="345"/>
                  </a:lnTo>
                  <a:lnTo>
                    <a:pt x="160" y="345"/>
                  </a:lnTo>
                  <a:close/>
                  <a:moveTo>
                    <a:pt x="111" y="229"/>
                  </a:moveTo>
                  <a:lnTo>
                    <a:pt x="113" y="229"/>
                  </a:lnTo>
                  <a:lnTo>
                    <a:pt x="111" y="229"/>
                  </a:lnTo>
                  <a:close/>
                  <a:moveTo>
                    <a:pt x="103" y="335"/>
                  </a:moveTo>
                  <a:lnTo>
                    <a:pt x="105" y="335"/>
                  </a:lnTo>
                  <a:lnTo>
                    <a:pt x="103" y="335"/>
                  </a:lnTo>
                  <a:close/>
                  <a:moveTo>
                    <a:pt x="210" y="137"/>
                  </a:moveTo>
                  <a:lnTo>
                    <a:pt x="212" y="137"/>
                  </a:lnTo>
                  <a:lnTo>
                    <a:pt x="210" y="137"/>
                  </a:lnTo>
                  <a:close/>
                  <a:moveTo>
                    <a:pt x="189" y="277"/>
                  </a:moveTo>
                  <a:lnTo>
                    <a:pt x="187" y="278"/>
                  </a:lnTo>
                  <a:lnTo>
                    <a:pt x="189" y="277"/>
                  </a:lnTo>
                  <a:close/>
                  <a:moveTo>
                    <a:pt x="155" y="169"/>
                  </a:moveTo>
                  <a:lnTo>
                    <a:pt x="153" y="169"/>
                  </a:lnTo>
                  <a:lnTo>
                    <a:pt x="155" y="169"/>
                  </a:lnTo>
                  <a:close/>
                  <a:moveTo>
                    <a:pt x="157" y="163"/>
                  </a:moveTo>
                  <a:lnTo>
                    <a:pt x="157" y="164"/>
                  </a:lnTo>
                  <a:lnTo>
                    <a:pt x="157" y="163"/>
                  </a:lnTo>
                  <a:close/>
                  <a:moveTo>
                    <a:pt x="158" y="172"/>
                  </a:moveTo>
                  <a:lnTo>
                    <a:pt x="160" y="172"/>
                  </a:lnTo>
                  <a:lnTo>
                    <a:pt x="158" y="172"/>
                  </a:lnTo>
                  <a:close/>
                  <a:moveTo>
                    <a:pt x="306" y="28"/>
                  </a:moveTo>
                  <a:lnTo>
                    <a:pt x="306" y="26"/>
                  </a:lnTo>
                  <a:lnTo>
                    <a:pt x="306" y="28"/>
                  </a:lnTo>
                  <a:close/>
                  <a:moveTo>
                    <a:pt x="157" y="168"/>
                  </a:moveTo>
                  <a:lnTo>
                    <a:pt x="158" y="168"/>
                  </a:lnTo>
                  <a:lnTo>
                    <a:pt x="157" y="168"/>
                  </a:lnTo>
                  <a:close/>
                  <a:moveTo>
                    <a:pt x="144" y="291"/>
                  </a:moveTo>
                  <a:lnTo>
                    <a:pt x="145" y="291"/>
                  </a:lnTo>
                  <a:lnTo>
                    <a:pt x="144" y="291"/>
                  </a:lnTo>
                  <a:close/>
                  <a:moveTo>
                    <a:pt x="160" y="168"/>
                  </a:moveTo>
                  <a:lnTo>
                    <a:pt x="160" y="166"/>
                  </a:lnTo>
                  <a:lnTo>
                    <a:pt x="160" y="168"/>
                  </a:lnTo>
                  <a:close/>
                  <a:moveTo>
                    <a:pt x="157" y="164"/>
                  </a:moveTo>
                  <a:lnTo>
                    <a:pt x="155" y="164"/>
                  </a:lnTo>
                  <a:lnTo>
                    <a:pt x="157" y="164"/>
                  </a:lnTo>
                  <a:close/>
                  <a:moveTo>
                    <a:pt x="160" y="347"/>
                  </a:moveTo>
                  <a:lnTo>
                    <a:pt x="161" y="347"/>
                  </a:lnTo>
                  <a:lnTo>
                    <a:pt x="160" y="347"/>
                  </a:lnTo>
                  <a:close/>
                  <a:moveTo>
                    <a:pt x="160" y="348"/>
                  </a:moveTo>
                  <a:lnTo>
                    <a:pt x="160" y="347"/>
                  </a:lnTo>
                  <a:lnTo>
                    <a:pt x="160" y="348"/>
                  </a:lnTo>
                  <a:close/>
                  <a:moveTo>
                    <a:pt x="101" y="199"/>
                  </a:moveTo>
                  <a:lnTo>
                    <a:pt x="101" y="197"/>
                  </a:lnTo>
                  <a:lnTo>
                    <a:pt x="101" y="199"/>
                  </a:lnTo>
                  <a:close/>
                  <a:moveTo>
                    <a:pt x="105" y="212"/>
                  </a:moveTo>
                  <a:lnTo>
                    <a:pt x="106" y="212"/>
                  </a:lnTo>
                  <a:lnTo>
                    <a:pt x="105" y="212"/>
                  </a:lnTo>
                  <a:close/>
                  <a:moveTo>
                    <a:pt x="155" y="164"/>
                  </a:moveTo>
                  <a:lnTo>
                    <a:pt x="155" y="166"/>
                  </a:lnTo>
                  <a:lnTo>
                    <a:pt x="155" y="164"/>
                  </a:lnTo>
                  <a:close/>
                  <a:moveTo>
                    <a:pt x="308" y="28"/>
                  </a:moveTo>
                  <a:lnTo>
                    <a:pt x="309" y="28"/>
                  </a:lnTo>
                  <a:lnTo>
                    <a:pt x="309" y="29"/>
                  </a:lnTo>
                  <a:lnTo>
                    <a:pt x="308" y="28"/>
                  </a:lnTo>
                  <a:close/>
                  <a:moveTo>
                    <a:pt x="106" y="223"/>
                  </a:moveTo>
                  <a:lnTo>
                    <a:pt x="106" y="221"/>
                  </a:lnTo>
                  <a:lnTo>
                    <a:pt x="106" y="223"/>
                  </a:lnTo>
                  <a:close/>
                  <a:moveTo>
                    <a:pt x="105" y="223"/>
                  </a:moveTo>
                  <a:lnTo>
                    <a:pt x="105" y="221"/>
                  </a:lnTo>
                  <a:lnTo>
                    <a:pt x="105" y="223"/>
                  </a:lnTo>
                  <a:close/>
                  <a:moveTo>
                    <a:pt x="101" y="197"/>
                  </a:moveTo>
                  <a:lnTo>
                    <a:pt x="103" y="197"/>
                  </a:lnTo>
                  <a:lnTo>
                    <a:pt x="101" y="197"/>
                  </a:lnTo>
                  <a:close/>
                  <a:moveTo>
                    <a:pt x="17" y="426"/>
                  </a:moveTo>
                  <a:lnTo>
                    <a:pt x="17" y="425"/>
                  </a:lnTo>
                  <a:lnTo>
                    <a:pt x="17" y="426"/>
                  </a:lnTo>
                  <a:close/>
                  <a:moveTo>
                    <a:pt x="98" y="213"/>
                  </a:moveTo>
                  <a:lnTo>
                    <a:pt x="98" y="215"/>
                  </a:lnTo>
                  <a:lnTo>
                    <a:pt x="98" y="213"/>
                  </a:lnTo>
                  <a:close/>
                  <a:moveTo>
                    <a:pt x="165" y="340"/>
                  </a:moveTo>
                  <a:lnTo>
                    <a:pt x="166" y="340"/>
                  </a:lnTo>
                  <a:lnTo>
                    <a:pt x="165" y="340"/>
                  </a:lnTo>
                  <a:close/>
                  <a:moveTo>
                    <a:pt x="96" y="218"/>
                  </a:moveTo>
                  <a:lnTo>
                    <a:pt x="98" y="216"/>
                  </a:lnTo>
                  <a:lnTo>
                    <a:pt x="98" y="218"/>
                  </a:lnTo>
                  <a:lnTo>
                    <a:pt x="96" y="218"/>
                  </a:lnTo>
                  <a:close/>
                  <a:moveTo>
                    <a:pt x="296" y="464"/>
                  </a:moveTo>
                  <a:lnTo>
                    <a:pt x="295" y="464"/>
                  </a:lnTo>
                  <a:lnTo>
                    <a:pt x="296" y="462"/>
                  </a:lnTo>
                  <a:lnTo>
                    <a:pt x="296" y="464"/>
                  </a:lnTo>
                  <a:close/>
                  <a:moveTo>
                    <a:pt x="127" y="273"/>
                  </a:moveTo>
                  <a:lnTo>
                    <a:pt x="129" y="273"/>
                  </a:lnTo>
                  <a:lnTo>
                    <a:pt x="127" y="273"/>
                  </a:lnTo>
                  <a:close/>
                  <a:moveTo>
                    <a:pt x="113" y="199"/>
                  </a:moveTo>
                  <a:lnTo>
                    <a:pt x="114" y="199"/>
                  </a:lnTo>
                  <a:lnTo>
                    <a:pt x="113" y="199"/>
                  </a:lnTo>
                  <a:close/>
                  <a:moveTo>
                    <a:pt x="160" y="169"/>
                  </a:moveTo>
                  <a:lnTo>
                    <a:pt x="160" y="171"/>
                  </a:lnTo>
                  <a:lnTo>
                    <a:pt x="160" y="169"/>
                  </a:lnTo>
                  <a:close/>
                  <a:moveTo>
                    <a:pt x="95" y="218"/>
                  </a:moveTo>
                  <a:lnTo>
                    <a:pt x="96" y="218"/>
                  </a:lnTo>
                  <a:lnTo>
                    <a:pt x="95" y="218"/>
                  </a:lnTo>
                  <a:close/>
                  <a:moveTo>
                    <a:pt x="295" y="37"/>
                  </a:moveTo>
                  <a:lnTo>
                    <a:pt x="295" y="39"/>
                  </a:lnTo>
                  <a:lnTo>
                    <a:pt x="295" y="37"/>
                  </a:lnTo>
                  <a:close/>
                  <a:moveTo>
                    <a:pt x="119" y="143"/>
                  </a:moveTo>
                  <a:lnTo>
                    <a:pt x="121" y="143"/>
                  </a:lnTo>
                  <a:lnTo>
                    <a:pt x="119" y="143"/>
                  </a:lnTo>
                  <a:close/>
                  <a:moveTo>
                    <a:pt x="152" y="112"/>
                  </a:moveTo>
                  <a:lnTo>
                    <a:pt x="152" y="114"/>
                  </a:lnTo>
                  <a:lnTo>
                    <a:pt x="152" y="112"/>
                  </a:lnTo>
                  <a:close/>
                  <a:moveTo>
                    <a:pt x="160" y="168"/>
                  </a:moveTo>
                  <a:lnTo>
                    <a:pt x="158" y="168"/>
                  </a:lnTo>
                  <a:lnTo>
                    <a:pt x="160" y="168"/>
                  </a:lnTo>
                  <a:close/>
                  <a:moveTo>
                    <a:pt x="126" y="255"/>
                  </a:moveTo>
                  <a:lnTo>
                    <a:pt x="127" y="254"/>
                  </a:lnTo>
                  <a:lnTo>
                    <a:pt x="127" y="255"/>
                  </a:lnTo>
                  <a:lnTo>
                    <a:pt x="126" y="255"/>
                  </a:lnTo>
                  <a:close/>
                  <a:moveTo>
                    <a:pt x="158" y="166"/>
                  </a:moveTo>
                  <a:lnTo>
                    <a:pt x="158" y="168"/>
                  </a:lnTo>
                  <a:lnTo>
                    <a:pt x="158" y="166"/>
                  </a:lnTo>
                  <a:close/>
                  <a:moveTo>
                    <a:pt x="194" y="480"/>
                  </a:moveTo>
                  <a:lnTo>
                    <a:pt x="194" y="482"/>
                  </a:lnTo>
                  <a:lnTo>
                    <a:pt x="194" y="480"/>
                  </a:lnTo>
                  <a:close/>
                </a:path>
              </a:pathLst>
            </a:custGeom>
            <a:solidFill>
              <a:srgbClr val="FFC0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1188" name="Freeform 34">
              <a:extLst>
                <a:ext uri="{FF2B5EF4-FFF2-40B4-BE49-F238E27FC236}">
                  <a16:creationId xmlns:a16="http://schemas.microsoft.com/office/drawing/2014/main" id="{2849B6BB-7A04-9FB1-C68F-EF4C9F0BDD6B}"/>
                </a:ext>
              </a:extLst>
            </p:cNvPr>
            <p:cNvSpPr>
              <a:spLocks/>
            </p:cNvSpPr>
            <p:nvPr/>
          </p:nvSpPr>
          <p:spPr bwMode="auto">
            <a:xfrm>
              <a:off x="7180" y="5623"/>
              <a:ext cx="147" cy="353"/>
            </a:xfrm>
            <a:custGeom>
              <a:avLst/>
              <a:gdLst>
                <a:gd name="T0" fmla="*/ 9 w 147"/>
                <a:gd name="T1" fmla="*/ 322 h 353"/>
                <a:gd name="T2" fmla="*/ 10 w 147"/>
                <a:gd name="T3" fmla="*/ 303 h 353"/>
                <a:gd name="T4" fmla="*/ 20 w 147"/>
                <a:gd name="T5" fmla="*/ 287 h 353"/>
                <a:gd name="T6" fmla="*/ 17 w 147"/>
                <a:gd name="T7" fmla="*/ 267 h 353"/>
                <a:gd name="T8" fmla="*/ 22 w 147"/>
                <a:gd name="T9" fmla="*/ 236 h 353"/>
                <a:gd name="T10" fmla="*/ 25 w 147"/>
                <a:gd name="T11" fmla="*/ 223 h 353"/>
                <a:gd name="T12" fmla="*/ 26 w 147"/>
                <a:gd name="T13" fmla="*/ 200 h 353"/>
                <a:gd name="T14" fmla="*/ 28 w 147"/>
                <a:gd name="T15" fmla="*/ 187 h 353"/>
                <a:gd name="T16" fmla="*/ 28 w 147"/>
                <a:gd name="T17" fmla="*/ 171 h 353"/>
                <a:gd name="T18" fmla="*/ 28 w 147"/>
                <a:gd name="T19" fmla="*/ 155 h 353"/>
                <a:gd name="T20" fmla="*/ 26 w 147"/>
                <a:gd name="T21" fmla="*/ 139 h 353"/>
                <a:gd name="T22" fmla="*/ 25 w 147"/>
                <a:gd name="T23" fmla="*/ 129 h 353"/>
                <a:gd name="T24" fmla="*/ 25 w 147"/>
                <a:gd name="T25" fmla="*/ 114 h 353"/>
                <a:gd name="T26" fmla="*/ 22 w 147"/>
                <a:gd name="T27" fmla="*/ 93 h 353"/>
                <a:gd name="T28" fmla="*/ 26 w 147"/>
                <a:gd name="T29" fmla="*/ 86 h 353"/>
                <a:gd name="T30" fmla="*/ 30 w 147"/>
                <a:gd name="T31" fmla="*/ 86 h 353"/>
                <a:gd name="T32" fmla="*/ 30 w 147"/>
                <a:gd name="T33" fmla="*/ 70 h 353"/>
                <a:gd name="T34" fmla="*/ 30 w 147"/>
                <a:gd name="T35" fmla="*/ 54 h 353"/>
                <a:gd name="T36" fmla="*/ 36 w 147"/>
                <a:gd name="T37" fmla="*/ 43 h 353"/>
                <a:gd name="T38" fmla="*/ 46 w 147"/>
                <a:gd name="T39" fmla="*/ 38 h 353"/>
                <a:gd name="T40" fmla="*/ 57 w 147"/>
                <a:gd name="T41" fmla="*/ 41 h 353"/>
                <a:gd name="T42" fmla="*/ 74 w 147"/>
                <a:gd name="T43" fmla="*/ 26 h 353"/>
                <a:gd name="T44" fmla="*/ 74 w 147"/>
                <a:gd name="T45" fmla="*/ 15 h 353"/>
                <a:gd name="T46" fmla="*/ 74 w 147"/>
                <a:gd name="T47" fmla="*/ 2 h 353"/>
                <a:gd name="T48" fmla="*/ 88 w 147"/>
                <a:gd name="T49" fmla="*/ 2 h 353"/>
                <a:gd name="T50" fmla="*/ 92 w 147"/>
                <a:gd name="T51" fmla="*/ 26 h 353"/>
                <a:gd name="T52" fmla="*/ 93 w 147"/>
                <a:gd name="T53" fmla="*/ 41 h 353"/>
                <a:gd name="T54" fmla="*/ 96 w 147"/>
                <a:gd name="T55" fmla="*/ 54 h 353"/>
                <a:gd name="T56" fmla="*/ 101 w 147"/>
                <a:gd name="T57" fmla="*/ 64 h 353"/>
                <a:gd name="T58" fmla="*/ 103 w 147"/>
                <a:gd name="T59" fmla="*/ 82 h 353"/>
                <a:gd name="T60" fmla="*/ 100 w 147"/>
                <a:gd name="T61" fmla="*/ 88 h 353"/>
                <a:gd name="T62" fmla="*/ 103 w 147"/>
                <a:gd name="T63" fmla="*/ 96 h 353"/>
                <a:gd name="T64" fmla="*/ 103 w 147"/>
                <a:gd name="T65" fmla="*/ 108 h 353"/>
                <a:gd name="T66" fmla="*/ 105 w 147"/>
                <a:gd name="T67" fmla="*/ 113 h 353"/>
                <a:gd name="T68" fmla="*/ 108 w 147"/>
                <a:gd name="T69" fmla="*/ 122 h 353"/>
                <a:gd name="T70" fmla="*/ 98 w 147"/>
                <a:gd name="T71" fmla="*/ 124 h 353"/>
                <a:gd name="T72" fmla="*/ 87 w 147"/>
                <a:gd name="T73" fmla="*/ 114 h 353"/>
                <a:gd name="T74" fmla="*/ 72 w 147"/>
                <a:gd name="T75" fmla="*/ 117 h 353"/>
                <a:gd name="T76" fmla="*/ 59 w 147"/>
                <a:gd name="T77" fmla="*/ 122 h 353"/>
                <a:gd name="T78" fmla="*/ 49 w 147"/>
                <a:gd name="T79" fmla="*/ 140 h 353"/>
                <a:gd name="T80" fmla="*/ 48 w 147"/>
                <a:gd name="T81" fmla="*/ 155 h 353"/>
                <a:gd name="T82" fmla="*/ 49 w 147"/>
                <a:gd name="T83" fmla="*/ 171 h 353"/>
                <a:gd name="T84" fmla="*/ 51 w 147"/>
                <a:gd name="T85" fmla="*/ 181 h 353"/>
                <a:gd name="T86" fmla="*/ 57 w 147"/>
                <a:gd name="T87" fmla="*/ 197 h 353"/>
                <a:gd name="T88" fmla="*/ 61 w 147"/>
                <a:gd name="T89" fmla="*/ 208 h 353"/>
                <a:gd name="T90" fmla="*/ 59 w 147"/>
                <a:gd name="T91" fmla="*/ 221 h 353"/>
                <a:gd name="T92" fmla="*/ 70 w 147"/>
                <a:gd name="T93" fmla="*/ 217 h 353"/>
                <a:gd name="T94" fmla="*/ 93 w 147"/>
                <a:gd name="T95" fmla="*/ 221 h 353"/>
                <a:gd name="T96" fmla="*/ 85 w 147"/>
                <a:gd name="T97" fmla="*/ 230 h 353"/>
                <a:gd name="T98" fmla="*/ 70 w 147"/>
                <a:gd name="T99" fmla="*/ 244 h 353"/>
                <a:gd name="T100" fmla="*/ 70 w 147"/>
                <a:gd name="T101" fmla="*/ 269 h 353"/>
                <a:gd name="T102" fmla="*/ 72 w 147"/>
                <a:gd name="T103" fmla="*/ 290 h 353"/>
                <a:gd name="T104" fmla="*/ 93 w 147"/>
                <a:gd name="T105" fmla="*/ 283 h 353"/>
                <a:gd name="T106" fmla="*/ 121 w 147"/>
                <a:gd name="T107" fmla="*/ 259 h 353"/>
                <a:gd name="T108" fmla="*/ 134 w 147"/>
                <a:gd name="T109" fmla="*/ 278 h 353"/>
                <a:gd name="T110" fmla="*/ 145 w 147"/>
                <a:gd name="T111" fmla="*/ 303 h 353"/>
                <a:gd name="T112" fmla="*/ 147 w 147"/>
                <a:gd name="T113" fmla="*/ 326 h 353"/>
                <a:gd name="T114" fmla="*/ 140 w 147"/>
                <a:gd name="T115" fmla="*/ 337 h 353"/>
                <a:gd name="T116" fmla="*/ 140 w 147"/>
                <a:gd name="T117" fmla="*/ 352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47" h="353">
                  <a:moveTo>
                    <a:pt x="13" y="353"/>
                  </a:moveTo>
                  <a:lnTo>
                    <a:pt x="0" y="334"/>
                  </a:lnTo>
                  <a:lnTo>
                    <a:pt x="2" y="332"/>
                  </a:lnTo>
                  <a:lnTo>
                    <a:pt x="4" y="330"/>
                  </a:lnTo>
                  <a:lnTo>
                    <a:pt x="5" y="329"/>
                  </a:lnTo>
                  <a:lnTo>
                    <a:pt x="5" y="327"/>
                  </a:lnTo>
                  <a:lnTo>
                    <a:pt x="7" y="327"/>
                  </a:lnTo>
                  <a:lnTo>
                    <a:pt x="7" y="326"/>
                  </a:lnTo>
                  <a:lnTo>
                    <a:pt x="9" y="322"/>
                  </a:lnTo>
                  <a:lnTo>
                    <a:pt x="10" y="321"/>
                  </a:lnTo>
                  <a:lnTo>
                    <a:pt x="10" y="317"/>
                  </a:lnTo>
                  <a:lnTo>
                    <a:pt x="7" y="311"/>
                  </a:lnTo>
                  <a:lnTo>
                    <a:pt x="7" y="309"/>
                  </a:lnTo>
                  <a:lnTo>
                    <a:pt x="9" y="309"/>
                  </a:lnTo>
                  <a:lnTo>
                    <a:pt x="9" y="308"/>
                  </a:lnTo>
                  <a:lnTo>
                    <a:pt x="9" y="306"/>
                  </a:lnTo>
                  <a:lnTo>
                    <a:pt x="10" y="304"/>
                  </a:lnTo>
                  <a:lnTo>
                    <a:pt x="10" y="303"/>
                  </a:lnTo>
                  <a:lnTo>
                    <a:pt x="10" y="301"/>
                  </a:lnTo>
                  <a:lnTo>
                    <a:pt x="12" y="301"/>
                  </a:lnTo>
                  <a:lnTo>
                    <a:pt x="12" y="300"/>
                  </a:lnTo>
                  <a:lnTo>
                    <a:pt x="13" y="298"/>
                  </a:lnTo>
                  <a:lnTo>
                    <a:pt x="13" y="296"/>
                  </a:lnTo>
                  <a:lnTo>
                    <a:pt x="15" y="295"/>
                  </a:lnTo>
                  <a:lnTo>
                    <a:pt x="15" y="293"/>
                  </a:lnTo>
                  <a:lnTo>
                    <a:pt x="18" y="288"/>
                  </a:lnTo>
                  <a:lnTo>
                    <a:pt x="20" y="287"/>
                  </a:lnTo>
                  <a:lnTo>
                    <a:pt x="22" y="285"/>
                  </a:lnTo>
                  <a:lnTo>
                    <a:pt x="23" y="283"/>
                  </a:lnTo>
                  <a:lnTo>
                    <a:pt x="23" y="282"/>
                  </a:lnTo>
                  <a:lnTo>
                    <a:pt x="25" y="280"/>
                  </a:lnTo>
                  <a:lnTo>
                    <a:pt x="25" y="278"/>
                  </a:lnTo>
                  <a:lnTo>
                    <a:pt x="13" y="274"/>
                  </a:lnTo>
                  <a:lnTo>
                    <a:pt x="15" y="269"/>
                  </a:lnTo>
                  <a:lnTo>
                    <a:pt x="15" y="267"/>
                  </a:lnTo>
                  <a:lnTo>
                    <a:pt x="17" y="267"/>
                  </a:lnTo>
                  <a:lnTo>
                    <a:pt x="17" y="264"/>
                  </a:lnTo>
                  <a:lnTo>
                    <a:pt x="17" y="262"/>
                  </a:lnTo>
                  <a:lnTo>
                    <a:pt x="18" y="259"/>
                  </a:lnTo>
                  <a:lnTo>
                    <a:pt x="20" y="252"/>
                  </a:lnTo>
                  <a:lnTo>
                    <a:pt x="20" y="251"/>
                  </a:lnTo>
                  <a:lnTo>
                    <a:pt x="22" y="241"/>
                  </a:lnTo>
                  <a:lnTo>
                    <a:pt x="23" y="238"/>
                  </a:lnTo>
                  <a:lnTo>
                    <a:pt x="22" y="238"/>
                  </a:lnTo>
                  <a:lnTo>
                    <a:pt x="22" y="236"/>
                  </a:lnTo>
                  <a:lnTo>
                    <a:pt x="22" y="238"/>
                  </a:lnTo>
                  <a:lnTo>
                    <a:pt x="23" y="238"/>
                  </a:lnTo>
                  <a:lnTo>
                    <a:pt x="23" y="236"/>
                  </a:lnTo>
                  <a:lnTo>
                    <a:pt x="22" y="236"/>
                  </a:lnTo>
                  <a:lnTo>
                    <a:pt x="23" y="236"/>
                  </a:lnTo>
                  <a:lnTo>
                    <a:pt x="23" y="235"/>
                  </a:lnTo>
                  <a:lnTo>
                    <a:pt x="23" y="233"/>
                  </a:lnTo>
                  <a:lnTo>
                    <a:pt x="25" y="228"/>
                  </a:lnTo>
                  <a:lnTo>
                    <a:pt x="25" y="223"/>
                  </a:lnTo>
                  <a:lnTo>
                    <a:pt x="25" y="221"/>
                  </a:lnTo>
                  <a:lnTo>
                    <a:pt x="26" y="218"/>
                  </a:lnTo>
                  <a:lnTo>
                    <a:pt x="26" y="213"/>
                  </a:lnTo>
                  <a:lnTo>
                    <a:pt x="26" y="210"/>
                  </a:lnTo>
                  <a:lnTo>
                    <a:pt x="26" y="207"/>
                  </a:lnTo>
                  <a:lnTo>
                    <a:pt x="26" y="205"/>
                  </a:lnTo>
                  <a:lnTo>
                    <a:pt x="26" y="204"/>
                  </a:lnTo>
                  <a:lnTo>
                    <a:pt x="26" y="202"/>
                  </a:lnTo>
                  <a:lnTo>
                    <a:pt x="26" y="200"/>
                  </a:lnTo>
                  <a:lnTo>
                    <a:pt x="28" y="199"/>
                  </a:lnTo>
                  <a:lnTo>
                    <a:pt x="28" y="197"/>
                  </a:lnTo>
                  <a:lnTo>
                    <a:pt x="28" y="195"/>
                  </a:lnTo>
                  <a:lnTo>
                    <a:pt x="26" y="195"/>
                  </a:lnTo>
                  <a:lnTo>
                    <a:pt x="28" y="194"/>
                  </a:lnTo>
                  <a:lnTo>
                    <a:pt x="28" y="192"/>
                  </a:lnTo>
                  <a:lnTo>
                    <a:pt x="28" y="191"/>
                  </a:lnTo>
                  <a:lnTo>
                    <a:pt x="28" y="189"/>
                  </a:lnTo>
                  <a:lnTo>
                    <a:pt x="28" y="187"/>
                  </a:lnTo>
                  <a:lnTo>
                    <a:pt x="28" y="186"/>
                  </a:lnTo>
                  <a:lnTo>
                    <a:pt x="28" y="184"/>
                  </a:lnTo>
                  <a:lnTo>
                    <a:pt x="28" y="181"/>
                  </a:lnTo>
                  <a:lnTo>
                    <a:pt x="28" y="179"/>
                  </a:lnTo>
                  <a:lnTo>
                    <a:pt x="28" y="178"/>
                  </a:lnTo>
                  <a:lnTo>
                    <a:pt x="28" y="176"/>
                  </a:lnTo>
                  <a:lnTo>
                    <a:pt x="28" y="174"/>
                  </a:lnTo>
                  <a:lnTo>
                    <a:pt x="28" y="173"/>
                  </a:lnTo>
                  <a:lnTo>
                    <a:pt x="28" y="171"/>
                  </a:lnTo>
                  <a:lnTo>
                    <a:pt x="28" y="168"/>
                  </a:lnTo>
                  <a:lnTo>
                    <a:pt x="28" y="166"/>
                  </a:lnTo>
                  <a:lnTo>
                    <a:pt x="28" y="165"/>
                  </a:lnTo>
                  <a:lnTo>
                    <a:pt x="28" y="163"/>
                  </a:lnTo>
                  <a:lnTo>
                    <a:pt x="28" y="160"/>
                  </a:lnTo>
                  <a:lnTo>
                    <a:pt x="26" y="160"/>
                  </a:lnTo>
                  <a:lnTo>
                    <a:pt x="28" y="160"/>
                  </a:lnTo>
                  <a:lnTo>
                    <a:pt x="28" y="158"/>
                  </a:lnTo>
                  <a:lnTo>
                    <a:pt x="28" y="155"/>
                  </a:lnTo>
                  <a:lnTo>
                    <a:pt x="26" y="153"/>
                  </a:lnTo>
                  <a:lnTo>
                    <a:pt x="26" y="152"/>
                  </a:lnTo>
                  <a:lnTo>
                    <a:pt x="26" y="150"/>
                  </a:lnTo>
                  <a:lnTo>
                    <a:pt x="26" y="148"/>
                  </a:lnTo>
                  <a:lnTo>
                    <a:pt x="26" y="147"/>
                  </a:lnTo>
                  <a:lnTo>
                    <a:pt x="26" y="143"/>
                  </a:lnTo>
                  <a:lnTo>
                    <a:pt x="26" y="142"/>
                  </a:lnTo>
                  <a:lnTo>
                    <a:pt x="26" y="140"/>
                  </a:lnTo>
                  <a:lnTo>
                    <a:pt x="26" y="139"/>
                  </a:lnTo>
                  <a:lnTo>
                    <a:pt x="25" y="140"/>
                  </a:lnTo>
                  <a:lnTo>
                    <a:pt x="26" y="139"/>
                  </a:lnTo>
                  <a:lnTo>
                    <a:pt x="26" y="137"/>
                  </a:lnTo>
                  <a:lnTo>
                    <a:pt x="26" y="135"/>
                  </a:lnTo>
                  <a:lnTo>
                    <a:pt x="26" y="134"/>
                  </a:lnTo>
                  <a:lnTo>
                    <a:pt x="26" y="132"/>
                  </a:lnTo>
                  <a:lnTo>
                    <a:pt x="26" y="130"/>
                  </a:lnTo>
                  <a:lnTo>
                    <a:pt x="26" y="129"/>
                  </a:lnTo>
                  <a:lnTo>
                    <a:pt x="25" y="129"/>
                  </a:lnTo>
                  <a:lnTo>
                    <a:pt x="26" y="127"/>
                  </a:lnTo>
                  <a:lnTo>
                    <a:pt x="25" y="127"/>
                  </a:lnTo>
                  <a:lnTo>
                    <a:pt x="25" y="126"/>
                  </a:lnTo>
                  <a:lnTo>
                    <a:pt x="25" y="124"/>
                  </a:lnTo>
                  <a:lnTo>
                    <a:pt x="25" y="122"/>
                  </a:lnTo>
                  <a:lnTo>
                    <a:pt x="25" y="121"/>
                  </a:lnTo>
                  <a:lnTo>
                    <a:pt x="25" y="119"/>
                  </a:lnTo>
                  <a:lnTo>
                    <a:pt x="25" y="117"/>
                  </a:lnTo>
                  <a:lnTo>
                    <a:pt x="25" y="114"/>
                  </a:lnTo>
                  <a:lnTo>
                    <a:pt x="23" y="113"/>
                  </a:lnTo>
                  <a:lnTo>
                    <a:pt x="25" y="113"/>
                  </a:lnTo>
                  <a:lnTo>
                    <a:pt x="23" y="108"/>
                  </a:lnTo>
                  <a:lnTo>
                    <a:pt x="23" y="106"/>
                  </a:lnTo>
                  <a:lnTo>
                    <a:pt x="23" y="104"/>
                  </a:lnTo>
                  <a:lnTo>
                    <a:pt x="23" y="103"/>
                  </a:lnTo>
                  <a:lnTo>
                    <a:pt x="23" y="100"/>
                  </a:lnTo>
                  <a:lnTo>
                    <a:pt x="23" y="93"/>
                  </a:lnTo>
                  <a:lnTo>
                    <a:pt x="22" y="93"/>
                  </a:lnTo>
                  <a:lnTo>
                    <a:pt x="22" y="91"/>
                  </a:lnTo>
                  <a:lnTo>
                    <a:pt x="22" y="90"/>
                  </a:lnTo>
                  <a:lnTo>
                    <a:pt x="22" y="88"/>
                  </a:lnTo>
                  <a:lnTo>
                    <a:pt x="22" y="86"/>
                  </a:lnTo>
                  <a:lnTo>
                    <a:pt x="23" y="86"/>
                  </a:lnTo>
                  <a:lnTo>
                    <a:pt x="23" y="85"/>
                  </a:lnTo>
                  <a:lnTo>
                    <a:pt x="25" y="85"/>
                  </a:lnTo>
                  <a:lnTo>
                    <a:pt x="26" y="85"/>
                  </a:lnTo>
                  <a:lnTo>
                    <a:pt x="26" y="86"/>
                  </a:lnTo>
                  <a:lnTo>
                    <a:pt x="28" y="85"/>
                  </a:lnTo>
                  <a:lnTo>
                    <a:pt x="26" y="86"/>
                  </a:lnTo>
                  <a:lnTo>
                    <a:pt x="25" y="85"/>
                  </a:lnTo>
                  <a:lnTo>
                    <a:pt x="25" y="86"/>
                  </a:lnTo>
                  <a:lnTo>
                    <a:pt x="26" y="86"/>
                  </a:lnTo>
                  <a:lnTo>
                    <a:pt x="28" y="86"/>
                  </a:lnTo>
                  <a:lnTo>
                    <a:pt x="30" y="86"/>
                  </a:lnTo>
                  <a:lnTo>
                    <a:pt x="31" y="86"/>
                  </a:lnTo>
                  <a:lnTo>
                    <a:pt x="30" y="86"/>
                  </a:lnTo>
                  <a:lnTo>
                    <a:pt x="31" y="85"/>
                  </a:lnTo>
                  <a:lnTo>
                    <a:pt x="33" y="82"/>
                  </a:lnTo>
                  <a:lnTo>
                    <a:pt x="33" y="78"/>
                  </a:lnTo>
                  <a:lnTo>
                    <a:pt x="33" y="77"/>
                  </a:lnTo>
                  <a:lnTo>
                    <a:pt x="33" y="75"/>
                  </a:lnTo>
                  <a:lnTo>
                    <a:pt x="33" y="72"/>
                  </a:lnTo>
                  <a:lnTo>
                    <a:pt x="33" y="70"/>
                  </a:lnTo>
                  <a:lnTo>
                    <a:pt x="31" y="70"/>
                  </a:lnTo>
                  <a:lnTo>
                    <a:pt x="30" y="70"/>
                  </a:lnTo>
                  <a:lnTo>
                    <a:pt x="30" y="69"/>
                  </a:lnTo>
                  <a:lnTo>
                    <a:pt x="30" y="65"/>
                  </a:lnTo>
                  <a:lnTo>
                    <a:pt x="30" y="64"/>
                  </a:lnTo>
                  <a:lnTo>
                    <a:pt x="30" y="62"/>
                  </a:lnTo>
                  <a:lnTo>
                    <a:pt x="30" y="60"/>
                  </a:lnTo>
                  <a:lnTo>
                    <a:pt x="30" y="59"/>
                  </a:lnTo>
                  <a:lnTo>
                    <a:pt x="30" y="57"/>
                  </a:lnTo>
                  <a:lnTo>
                    <a:pt x="30" y="56"/>
                  </a:lnTo>
                  <a:lnTo>
                    <a:pt x="30" y="54"/>
                  </a:lnTo>
                  <a:lnTo>
                    <a:pt x="30" y="52"/>
                  </a:lnTo>
                  <a:lnTo>
                    <a:pt x="30" y="51"/>
                  </a:lnTo>
                  <a:lnTo>
                    <a:pt x="28" y="47"/>
                  </a:lnTo>
                  <a:lnTo>
                    <a:pt x="28" y="46"/>
                  </a:lnTo>
                  <a:lnTo>
                    <a:pt x="30" y="44"/>
                  </a:lnTo>
                  <a:lnTo>
                    <a:pt x="31" y="44"/>
                  </a:lnTo>
                  <a:lnTo>
                    <a:pt x="33" y="44"/>
                  </a:lnTo>
                  <a:lnTo>
                    <a:pt x="35" y="44"/>
                  </a:lnTo>
                  <a:lnTo>
                    <a:pt x="36" y="43"/>
                  </a:lnTo>
                  <a:lnTo>
                    <a:pt x="38" y="43"/>
                  </a:lnTo>
                  <a:lnTo>
                    <a:pt x="39" y="43"/>
                  </a:lnTo>
                  <a:lnTo>
                    <a:pt x="39" y="41"/>
                  </a:lnTo>
                  <a:lnTo>
                    <a:pt x="39" y="39"/>
                  </a:lnTo>
                  <a:lnTo>
                    <a:pt x="41" y="39"/>
                  </a:lnTo>
                  <a:lnTo>
                    <a:pt x="43" y="39"/>
                  </a:lnTo>
                  <a:lnTo>
                    <a:pt x="43" y="41"/>
                  </a:lnTo>
                  <a:lnTo>
                    <a:pt x="44" y="39"/>
                  </a:lnTo>
                  <a:lnTo>
                    <a:pt x="46" y="38"/>
                  </a:lnTo>
                  <a:lnTo>
                    <a:pt x="48" y="38"/>
                  </a:lnTo>
                  <a:lnTo>
                    <a:pt x="49" y="36"/>
                  </a:lnTo>
                  <a:lnTo>
                    <a:pt x="51" y="36"/>
                  </a:lnTo>
                  <a:lnTo>
                    <a:pt x="53" y="34"/>
                  </a:lnTo>
                  <a:lnTo>
                    <a:pt x="54" y="36"/>
                  </a:lnTo>
                  <a:lnTo>
                    <a:pt x="54" y="38"/>
                  </a:lnTo>
                  <a:lnTo>
                    <a:pt x="56" y="38"/>
                  </a:lnTo>
                  <a:lnTo>
                    <a:pt x="57" y="39"/>
                  </a:lnTo>
                  <a:lnTo>
                    <a:pt x="57" y="41"/>
                  </a:lnTo>
                  <a:lnTo>
                    <a:pt x="59" y="41"/>
                  </a:lnTo>
                  <a:lnTo>
                    <a:pt x="61" y="39"/>
                  </a:lnTo>
                  <a:lnTo>
                    <a:pt x="62" y="39"/>
                  </a:lnTo>
                  <a:lnTo>
                    <a:pt x="67" y="36"/>
                  </a:lnTo>
                  <a:lnTo>
                    <a:pt x="67" y="34"/>
                  </a:lnTo>
                  <a:lnTo>
                    <a:pt x="67" y="33"/>
                  </a:lnTo>
                  <a:lnTo>
                    <a:pt x="70" y="31"/>
                  </a:lnTo>
                  <a:lnTo>
                    <a:pt x="74" y="30"/>
                  </a:lnTo>
                  <a:lnTo>
                    <a:pt x="74" y="26"/>
                  </a:lnTo>
                  <a:lnTo>
                    <a:pt x="75" y="26"/>
                  </a:lnTo>
                  <a:lnTo>
                    <a:pt x="75" y="25"/>
                  </a:lnTo>
                  <a:lnTo>
                    <a:pt x="75" y="23"/>
                  </a:lnTo>
                  <a:lnTo>
                    <a:pt x="75" y="21"/>
                  </a:lnTo>
                  <a:lnTo>
                    <a:pt x="75" y="20"/>
                  </a:lnTo>
                  <a:lnTo>
                    <a:pt x="75" y="18"/>
                  </a:lnTo>
                  <a:lnTo>
                    <a:pt x="75" y="17"/>
                  </a:lnTo>
                  <a:lnTo>
                    <a:pt x="74" y="17"/>
                  </a:lnTo>
                  <a:lnTo>
                    <a:pt x="74" y="15"/>
                  </a:lnTo>
                  <a:lnTo>
                    <a:pt x="74" y="13"/>
                  </a:lnTo>
                  <a:lnTo>
                    <a:pt x="72" y="12"/>
                  </a:lnTo>
                  <a:lnTo>
                    <a:pt x="72" y="10"/>
                  </a:lnTo>
                  <a:lnTo>
                    <a:pt x="72" y="8"/>
                  </a:lnTo>
                  <a:lnTo>
                    <a:pt x="74" y="8"/>
                  </a:lnTo>
                  <a:lnTo>
                    <a:pt x="72" y="7"/>
                  </a:lnTo>
                  <a:lnTo>
                    <a:pt x="74" y="5"/>
                  </a:lnTo>
                  <a:lnTo>
                    <a:pt x="74" y="4"/>
                  </a:lnTo>
                  <a:lnTo>
                    <a:pt x="74" y="2"/>
                  </a:lnTo>
                  <a:lnTo>
                    <a:pt x="74" y="0"/>
                  </a:lnTo>
                  <a:lnTo>
                    <a:pt x="77" y="0"/>
                  </a:lnTo>
                  <a:lnTo>
                    <a:pt x="77" y="2"/>
                  </a:lnTo>
                  <a:lnTo>
                    <a:pt x="79" y="4"/>
                  </a:lnTo>
                  <a:lnTo>
                    <a:pt x="82" y="5"/>
                  </a:lnTo>
                  <a:lnTo>
                    <a:pt x="83" y="5"/>
                  </a:lnTo>
                  <a:lnTo>
                    <a:pt x="83" y="4"/>
                  </a:lnTo>
                  <a:lnTo>
                    <a:pt x="85" y="2"/>
                  </a:lnTo>
                  <a:lnTo>
                    <a:pt x="88" y="2"/>
                  </a:lnTo>
                  <a:lnTo>
                    <a:pt x="88" y="4"/>
                  </a:lnTo>
                  <a:lnTo>
                    <a:pt x="88" y="5"/>
                  </a:lnTo>
                  <a:lnTo>
                    <a:pt x="88" y="8"/>
                  </a:lnTo>
                  <a:lnTo>
                    <a:pt x="88" y="10"/>
                  </a:lnTo>
                  <a:lnTo>
                    <a:pt x="88" y="12"/>
                  </a:lnTo>
                  <a:lnTo>
                    <a:pt x="90" y="13"/>
                  </a:lnTo>
                  <a:lnTo>
                    <a:pt x="90" y="17"/>
                  </a:lnTo>
                  <a:lnTo>
                    <a:pt x="90" y="20"/>
                  </a:lnTo>
                  <a:lnTo>
                    <a:pt x="92" y="26"/>
                  </a:lnTo>
                  <a:lnTo>
                    <a:pt x="92" y="28"/>
                  </a:lnTo>
                  <a:lnTo>
                    <a:pt x="92" y="30"/>
                  </a:lnTo>
                  <a:lnTo>
                    <a:pt x="92" y="31"/>
                  </a:lnTo>
                  <a:lnTo>
                    <a:pt x="92" y="33"/>
                  </a:lnTo>
                  <a:lnTo>
                    <a:pt x="90" y="33"/>
                  </a:lnTo>
                  <a:lnTo>
                    <a:pt x="88" y="36"/>
                  </a:lnTo>
                  <a:lnTo>
                    <a:pt x="92" y="38"/>
                  </a:lnTo>
                  <a:lnTo>
                    <a:pt x="92" y="39"/>
                  </a:lnTo>
                  <a:lnTo>
                    <a:pt x="93" y="41"/>
                  </a:lnTo>
                  <a:lnTo>
                    <a:pt x="93" y="43"/>
                  </a:lnTo>
                  <a:lnTo>
                    <a:pt x="93" y="44"/>
                  </a:lnTo>
                  <a:lnTo>
                    <a:pt x="95" y="46"/>
                  </a:lnTo>
                  <a:lnTo>
                    <a:pt x="95" y="47"/>
                  </a:lnTo>
                  <a:lnTo>
                    <a:pt x="95" y="49"/>
                  </a:lnTo>
                  <a:lnTo>
                    <a:pt x="95" y="51"/>
                  </a:lnTo>
                  <a:lnTo>
                    <a:pt x="95" y="52"/>
                  </a:lnTo>
                  <a:lnTo>
                    <a:pt x="95" y="54"/>
                  </a:lnTo>
                  <a:lnTo>
                    <a:pt x="96" y="54"/>
                  </a:lnTo>
                  <a:lnTo>
                    <a:pt x="98" y="54"/>
                  </a:lnTo>
                  <a:lnTo>
                    <a:pt x="98" y="56"/>
                  </a:lnTo>
                  <a:lnTo>
                    <a:pt x="100" y="56"/>
                  </a:lnTo>
                  <a:lnTo>
                    <a:pt x="101" y="57"/>
                  </a:lnTo>
                  <a:lnTo>
                    <a:pt x="101" y="59"/>
                  </a:lnTo>
                  <a:lnTo>
                    <a:pt x="100" y="60"/>
                  </a:lnTo>
                  <a:lnTo>
                    <a:pt x="101" y="60"/>
                  </a:lnTo>
                  <a:lnTo>
                    <a:pt x="101" y="62"/>
                  </a:lnTo>
                  <a:lnTo>
                    <a:pt x="101" y="64"/>
                  </a:lnTo>
                  <a:lnTo>
                    <a:pt x="101" y="65"/>
                  </a:lnTo>
                  <a:lnTo>
                    <a:pt x="101" y="67"/>
                  </a:lnTo>
                  <a:lnTo>
                    <a:pt x="103" y="69"/>
                  </a:lnTo>
                  <a:lnTo>
                    <a:pt x="103" y="72"/>
                  </a:lnTo>
                  <a:lnTo>
                    <a:pt x="103" y="73"/>
                  </a:lnTo>
                  <a:lnTo>
                    <a:pt x="101" y="77"/>
                  </a:lnTo>
                  <a:lnTo>
                    <a:pt x="100" y="78"/>
                  </a:lnTo>
                  <a:lnTo>
                    <a:pt x="105" y="82"/>
                  </a:lnTo>
                  <a:lnTo>
                    <a:pt x="103" y="82"/>
                  </a:lnTo>
                  <a:lnTo>
                    <a:pt x="101" y="83"/>
                  </a:lnTo>
                  <a:lnTo>
                    <a:pt x="103" y="83"/>
                  </a:lnTo>
                  <a:lnTo>
                    <a:pt x="101" y="83"/>
                  </a:lnTo>
                  <a:lnTo>
                    <a:pt x="101" y="85"/>
                  </a:lnTo>
                  <a:lnTo>
                    <a:pt x="103" y="85"/>
                  </a:lnTo>
                  <a:lnTo>
                    <a:pt x="103" y="86"/>
                  </a:lnTo>
                  <a:lnTo>
                    <a:pt x="101" y="86"/>
                  </a:lnTo>
                  <a:lnTo>
                    <a:pt x="101" y="88"/>
                  </a:lnTo>
                  <a:lnTo>
                    <a:pt x="100" y="88"/>
                  </a:lnTo>
                  <a:lnTo>
                    <a:pt x="98" y="88"/>
                  </a:lnTo>
                  <a:lnTo>
                    <a:pt x="100" y="88"/>
                  </a:lnTo>
                  <a:lnTo>
                    <a:pt x="98" y="90"/>
                  </a:lnTo>
                  <a:lnTo>
                    <a:pt x="100" y="90"/>
                  </a:lnTo>
                  <a:lnTo>
                    <a:pt x="100" y="91"/>
                  </a:lnTo>
                  <a:lnTo>
                    <a:pt x="101" y="93"/>
                  </a:lnTo>
                  <a:lnTo>
                    <a:pt x="100" y="95"/>
                  </a:lnTo>
                  <a:lnTo>
                    <a:pt x="101" y="95"/>
                  </a:lnTo>
                  <a:lnTo>
                    <a:pt x="103" y="96"/>
                  </a:lnTo>
                  <a:lnTo>
                    <a:pt x="103" y="98"/>
                  </a:lnTo>
                  <a:lnTo>
                    <a:pt x="103" y="100"/>
                  </a:lnTo>
                  <a:lnTo>
                    <a:pt x="103" y="101"/>
                  </a:lnTo>
                  <a:lnTo>
                    <a:pt x="103" y="103"/>
                  </a:lnTo>
                  <a:lnTo>
                    <a:pt x="101" y="103"/>
                  </a:lnTo>
                  <a:lnTo>
                    <a:pt x="103" y="103"/>
                  </a:lnTo>
                  <a:lnTo>
                    <a:pt x="103" y="104"/>
                  </a:lnTo>
                  <a:lnTo>
                    <a:pt x="103" y="106"/>
                  </a:lnTo>
                  <a:lnTo>
                    <a:pt x="103" y="108"/>
                  </a:lnTo>
                  <a:lnTo>
                    <a:pt x="105" y="108"/>
                  </a:lnTo>
                  <a:lnTo>
                    <a:pt x="106" y="108"/>
                  </a:lnTo>
                  <a:lnTo>
                    <a:pt x="106" y="109"/>
                  </a:lnTo>
                  <a:lnTo>
                    <a:pt x="105" y="111"/>
                  </a:lnTo>
                  <a:lnTo>
                    <a:pt x="106" y="111"/>
                  </a:lnTo>
                  <a:lnTo>
                    <a:pt x="105" y="111"/>
                  </a:lnTo>
                  <a:lnTo>
                    <a:pt x="105" y="113"/>
                  </a:lnTo>
                  <a:lnTo>
                    <a:pt x="106" y="113"/>
                  </a:lnTo>
                  <a:lnTo>
                    <a:pt x="105" y="113"/>
                  </a:lnTo>
                  <a:lnTo>
                    <a:pt x="106" y="113"/>
                  </a:lnTo>
                  <a:lnTo>
                    <a:pt x="106" y="114"/>
                  </a:lnTo>
                  <a:lnTo>
                    <a:pt x="106" y="116"/>
                  </a:lnTo>
                  <a:lnTo>
                    <a:pt x="108" y="116"/>
                  </a:lnTo>
                  <a:lnTo>
                    <a:pt x="106" y="117"/>
                  </a:lnTo>
                  <a:lnTo>
                    <a:pt x="106" y="119"/>
                  </a:lnTo>
                  <a:lnTo>
                    <a:pt x="106" y="121"/>
                  </a:lnTo>
                  <a:lnTo>
                    <a:pt x="108" y="121"/>
                  </a:lnTo>
                  <a:lnTo>
                    <a:pt x="108" y="122"/>
                  </a:lnTo>
                  <a:lnTo>
                    <a:pt x="106" y="122"/>
                  </a:lnTo>
                  <a:lnTo>
                    <a:pt x="106" y="124"/>
                  </a:lnTo>
                  <a:lnTo>
                    <a:pt x="108" y="124"/>
                  </a:lnTo>
                  <a:lnTo>
                    <a:pt x="106" y="124"/>
                  </a:lnTo>
                  <a:lnTo>
                    <a:pt x="105" y="124"/>
                  </a:lnTo>
                  <a:lnTo>
                    <a:pt x="103" y="124"/>
                  </a:lnTo>
                  <a:lnTo>
                    <a:pt x="101" y="126"/>
                  </a:lnTo>
                  <a:lnTo>
                    <a:pt x="100" y="124"/>
                  </a:lnTo>
                  <a:lnTo>
                    <a:pt x="98" y="124"/>
                  </a:lnTo>
                  <a:lnTo>
                    <a:pt x="96" y="124"/>
                  </a:lnTo>
                  <a:lnTo>
                    <a:pt x="95" y="124"/>
                  </a:lnTo>
                  <a:lnTo>
                    <a:pt x="95" y="126"/>
                  </a:lnTo>
                  <a:lnTo>
                    <a:pt x="93" y="126"/>
                  </a:lnTo>
                  <a:lnTo>
                    <a:pt x="92" y="124"/>
                  </a:lnTo>
                  <a:lnTo>
                    <a:pt x="92" y="122"/>
                  </a:lnTo>
                  <a:lnTo>
                    <a:pt x="92" y="119"/>
                  </a:lnTo>
                  <a:lnTo>
                    <a:pt x="88" y="117"/>
                  </a:lnTo>
                  <a:lnTo>
                    <a:pt x="87" y="114"/>
                  </a:lnTo>
                  <a:lnTo>
                    <a:pt x="85" y="114"/>
                  </a:lnTo>
                  <a:lnTo>
                    <a:pt x="83" y="114"/>
                  </a:lnTo>
                  <a:lnTo>
                    <a:pt x="82" y="114"/>
                  </a:lnTo>
                  <a:lnTo>
                    <a:pt x="80" y="114"/>
                  </a:lnTo>
                  <a:lnTo>
                    <a:pt x="79" y="114"/>
                  </a:lnTo>
                  <a:lnTo>
                    <a:pt x="77" y="116"/>
                  </a:lnTo>
                  <a:lnTo>
                    <a:pt x="75" y="116"/>
                  </a:lnTo>
                  <a:lnTo>
                    <a:pt x="74" y="117"/>
                  </a:lnTo>
                  <a:lnTo>
                    <a:pt x="72" y="117"/>
                  </a:lnTo>
                  <a:lnTo>
                    <a:pt x="70" y="117"/>
                  </a:lnTo>
                  <a:lnTo>
                    <a:pt x="67" y="117"/>
                  </a:lnTo>
                  <a:lnTo>
                    <a:pt x="66" y="116"/>
                  </a:lnTo>
                  <a:lnTo>
                    <a:pt x="62" y="114"/>
                  </a:lnTo>
                  <a:lnTo>
                    <a:pt x="62" y="116"/>
                  </a:lnTo>
                  <a:lnTo>
                    <a:pt x="61" y="117"/>
                  </a:lnTo>
                  <a:lnTo>
                    <a:pt x="61" y="119"/>
                  </a:lnTo>
                  <a:lnTo>
                    <a:pt x="59" y="121"/>
                  </a:lnTo>
                  <a:lnTo>
                    <a:pt x="59" y="122"/>
                  </a:lnTo>
                  <a:lnTo>
                    <a:pt x="56" y="126"/>
                  </a:lnTo>
                  <a:lnTo>
                    <a:pt x="53" y="129"/>
                  </a:lnTo>
                  <a:lnTo>
                    <a:pt x="53" y="130"/>
                  </a:lnTo>
                  <a:lnTo>
                    <a:pt x="51" y="130"/>
                  </a:lnTo>
                  <a:lnTo>
                    <a:pt x="51" y="132"/>
                  </a:lnTo>
                  <a:lnTo>
                    <a:pt x="49" y="134"/>
                  </a:lnTo>
                  <a:lnTo>
                    <a:pt x="49" y="135"/>
                  </a:lnTo>
                  <a:lnTo>
                    <a:pt x="49" y="137"/>
                  </a:lnTo>
                  <a:lnTo>
                    <a:pt x="49" y="140"/>
                  </a:lnTo>
                  <a:lnTo>
                    <a:pt x="49" y="142"/>
                  </a:lnTo>
                  <a:lnTo>
                    <a:pt x="49" y="143"/>
                  </a:lnTo>
                  <a:lnTo>
                    <a:pt x="48" y="145"/>
                  </a:lnTo>
                  <a:lnTo>
                    <a:pt x="49" y="145"/>
                  </a:lnTo>
                  <a:lnTo>
                    <a:pt x="49" y="147"/>
                  </a:lnTo>
                  <a:lnTo>
                    <a:pt x="49" y="148"/>
                  </a:lnTo>
                  <a:lnTo>
                    <a:pt x="49" y="150"/>
                  </a:lnTo>
                  <a:lnTo>
                    <a:pt x="48" y="152"/>
                  </a:lnTo>
                  <a:lnTo>
                    <a:pt x="48" y="155"/>
                  </a:lnTo>
                  <a:lnTo>
                    <a:pt x="48" y="156"/>
                  </a:lnTo>
                  <a:lnTo>
                    <a:pt x="48" y="160"/>
                  </a:lnTo>
                  <a:lnTo>
                    <a:pt x="49" y="160"/>
                  </a:lnTo>
                  <a:lnTo>
                    <a:pt x="51" y="161"/>
                  </a:lnTo>
                  <a:lnTo>
                    <a:pt x="51" y="163"/>
                  </a:lnTo>
                  <a:lnTo>
                    <a:pt x="51" y="165"/>
                  </a:lnTo>
                  <a:lnTo>
                    <a:pt x="51" y="166"/>
                  </a:lnTo>
                  <a:lnTo>
                    <a:pt x="49" y="169"/>
                  </a:lnTo>
                  <a:lnTo>
                    <a:pt x="49" y="171"/>
                  </a:lnTo>
                  <a:lnTo>
                    <a:pt x="48" y="171"/>
                  </a:lnTo>
                  <a:lnTo>
                    <a:pt x="48" y="173"/>
                  </a:lnTo>
                  <a:lnTo>
                    <a:pt x="46" y="173"/>
                  </a:lnTo>
                  <a:lnTo>
                    <a:pt x="46" y="174"/>
                  </a:lnTo>
                  <a:lnTo>
                    <a:pt x="46" y="176"/>
                  </a:lnTo>
                  <a:lnTo>
                    <a:pt x="49" y="178"/>
                  </a:lnTo>
                  <a:lnTo>
                    <a:pt x="49" y="179"/>
                  </a:lnTo>
                  <a:lnTo>
                    <a:pt x="51" y="179"/>
                  </a:lnTo>
                  <a:lnTo>
                    <a:pt x="51" y="181"/>
                  </a:lnTo>
                  <a:lnTo>
                    <a:pt x="51" y="182"/>
                  </a:lnTo>
                  <a:lnTo>
                    <a:pt x="53" y="184"/>
                  </a:lnTo>
                  <a:lnTo>
                    <a:pt x="53" y="186"/>
                  </a:lnTo>
                  <a:lnTo>
                    <a:pt x="53" y="187"/>
                  </a:lnTo>
                  <a:lnTo>
                    <a:pt x="54" y="189"/>
                  </a:lnTo>
                  <a:lnTo>
                    <a:pt x="56" y="192"/>
                  </a:lnTo>
                  <a:lnTo>
                    <a:pt x="57" y="194"/>
                  </a:lnTo>
                  <a:lnTo>
                    <a:pt x="57" y="195"/>
                  </a:lnTo>
                  <a:lnTo>
                    <a:pt x="57" y="197"/>
                  </a:lnTo>
                  <a:lnTo>
                    <a:pt x="57" y="199"/>
                  </a:lnTo>
                  <a:lnTo>
                    <a:pt x="57" y="200"/>
                  </a:lnTo>
                  <a:lnTo>
                    <a:pt x="57" y="202"/>
                  </a:lnTo>
                  <a:lnTo>
                    <a:pt x="57" y="204"/>
                  </a:lnTo>
                  <a:lnTo>
                    <a:pt x="57" y="205"/>
                  </a:lnTo>
                  <a:lnTo>
                    <a:pt x="56" y="205"/>
                  </a:lnTo>
                  <a:lnTo>
                    <a:pt x="57" y="207"/>
                  </a:lnTo>
                  <a:lnTo>
                    <a:pt x="59" y="207"/>
                  </a:lnTo>
                  <a:lnTo>
                    <a:pt x="61" y="208"/>
                  </a:lnTo>
                  <a:lnTo>
                    <a:pt x="62" y="208"/>
                  </a:lnTo>
                  <a:lnTo>
                    <a:pt x="64" y="208"/>
                  </a:lnTo>
                  <a:lnTo>
                    <a:pt x="64" y="210"/>
                  </a:lnTo>
                  <a:lnTo>
                    <a:pt x="66" y="212"/>
                  </a:lnTo>
                  <a:lnTo>
                    <a:pt x="66" y="215"/>
                  </a:lnTo>
                  <a:lnTo>
                    <a:pt x="64" y="217"/>
                  </a:lnTo>
                  <a:lnTo>
                    <a:pt x="62" y="217"/>
                  </a:lnTo>
                  <a:lnTo>
                    <a:pt x="59" y="220"/>
                  </a:lnTo>
                  <a:lnTo>
                    <a:pt x="59" y="221"/>
                  </a:lnTo>
                  <a:lnTo>
                    <a:pt x="61" y="225"/>
                  </a:lnTo>
                  <a:lnTo>
                    <a:pt x="62" y="225"/>
                  </a:lnTo>
                  <a:lnTo>
                    <a:pt x="64" y="225"/>
                  </a:lnTo>
                  <a:lnTo>
                    <a:pt x="64" y="223"/>
                  </a:lnTo>
                  <a:lnTo>
                    <a:pt x="66" y="223"/>
                  </a:lnTo>
                  <a:lnTo>
                    <a:pt x="67" y="223"/>
                  </a:lnTo>
                  <a:lnTo>
                    <a:pt x="69" y="221"/>
                  </a:lnTo>
                  <a:lnTo>
                    <a:pt x="70" y="220"/>
                  </a:lnTo>
                  <a:lnTo>
                    <a:pt x="70" y="217"/>
                  </a:lnTo>
                  <a:lnTo>
                    <a:pt x="72" y="217"/>
                  </a:lnTo>
                  <a:lnTo>
                    <a:pt x="74" y="218"/>
                  </a:lnTo>
                  <a:lnTo>
                    <a:pt x="85" y="218"/>
                  </a:lnTo>
                  <a:lnTo>
                    <a:pt x="88" y="218"/>
                  </a:lnTo>
                  <a:lnTo>
                    <a:pt x="90" y="218"/>
                  </a:lnTo>
                  <a:lnTo>
                    <a:pt x="92" y="218"/>
                  </a:lnTo>
                  <a:lnTo>
                    <a:pt x="93" y="218"/>
                  </a:lnTo>
                  <a:lnTo>
                    <a:pt x="93" y="220"/>
                  </a:lnTo>
                  <a:lnTo>
                    <a:pt x="93" y="221"/>
                  </a:lnTo>
                  <a:lnTo>
                    <a:pt x="95" y="223"/>
                  </a:lnTo>
                  <a:lnTo>
                    <a:pt x="95" y="225"/>
                  </a:lnTo>
                  <a:lnTo>
                    <a:pt x="95" y="226"/>
                  </a:lnTo>
                  <a:lnTo>
                    <a:pt x="93" y="226"/>
                  </a:lnTo>
                  <a:lnTo>
                    <a:pt x="92" y="225"/>
                  </a:lnTo>
                  <a:lnTo>
                    <a:pt x="90" y="226"/>
                  </a:lnTo>
                  <a:lnTo>
                    <a:pt x="88" y="226"/>
                  </a:lnTo>
                  <a:lnTo>
                    <a:pt x="87" y="228"/>
                  </a:lnTo>
                  <a:lnTo>
                    <a:pt x="85" y="230"/>
                  </a:lnTo>
                  <a:lnTo>
                    <a:pt x="83" y="230"/>
                  </a:lnTo>
                  <a:lnTo>
                    <a:pt x="83" y="231"/>
                  </a:lnTo>
                  <a:lnTo>
                    <a:pt x="82" y="231"/>
                  </a:lnTo>
                  <a:lnTo>
                    <a:pt x="79" y="233"/>
                  </a:lnTo>
                  <a:lnTo>
                    <a:pt x="79" y="235"/>
                  </a:lnTo>
                  <a:lnTo>
                    <a:pt x="77" y="235"/>
                  </a:lnTo>
                  <a:lnTo>
                    <a:pt x="77" y="236"/>
                  </a:lnTo>
                  <a:lnTo>
                    <a:pt x="74" y="239"/>
                  </a:lnTo>
                  <a:lnTo>
                    <a:pt x="70" y="244"/>
                  </a:lnTo>
                  <a:lnTo>
                    <a:pt x="70" y="246"/>
                  </a:lnTo>
                  <a:lnTo>
                    <a:pt x="69" y="252"/>
                  </a:lnTo>
                  <a:lnTo>
                    <a:pt x="69" y="254"/>
                  </a:lnTo>
                  <a:lnTo>
                    <a:pt x="67" y="254"/>
                  </a:lnTo>
                  <a:lnTo>
                    <a:pt x="67" y="256"/>
                  </a:lnTo>
                  <a:lnTo>
                    <a:pt x="67" y="259"/>
                  </a:lnTo>
                  <a:lnTo>
                    <a:pt x="69" y="262"/>
                  </a:lnTo>
                  <a:lnTo>
                    <a:pt x="69" y="265"/>
                  </a:lnTo>
                  <a:lnTo>
                    <a:pt x="70" y="269"/>
                  </a:lnTo>
                  <a:lnTo>
                    <a:pt x="70" y="272"/>
                  </a:lnTo>
                  <a:lnTo>
                    <a:pt x="70" y="274"/>
                  </a:lnTo>
                  <a:lnTo>
                    <a:pt x="69" y="277"/>
                  </a:lnTo>
                  <a:lnTo>
                    <a:pt x="67" y="278"/>
                  </a:lnTo>
                  <a:lnTo>
                    <a:pt x="67" y="285"/>
                  </a:lnTo>
                  <a:lnTo>
                    <a:pt x="67" y="287"/>
                  </a:lnTo>
                  <a:lnTo>
                    <a:pt x="69" y="288"/>
                  </a:lnTo>
                  <a:lnTo>
                    <a:pt x="70" y="290"/>
                  </a:lnTo>
                  <a:lnTo>
                    <a:pt x="72" y="290"/>
                  </a:lnTo>
                  <a:lnTo>
                    <a:pt x="72" y="291"/>
                  </a:lnTo>
                  <a:lnTo>
                    <a:pt x="74" y="291"/>
                  </a:lnTo>
                  <a:lnTo>
                    <a:pt x="75" y="291"/>
                  </a:lnTo>
                  <a:lnTo>
                    <a:pt x="77" y="290"/>
                  </a:lnTo>
                  <a:lnTo>
                    <a:pt x="79" y="290"/>
                  </a:lnTo>
                  <a:lnTo>
                    <a:pt x="82" y="288"/>
                  </a:lnTo>
                  <a:lnTo>
                    <a:pt x="83" y="288"/>
                  </a:lnTo>
                  <a:lnTo>
                    <a:pt x="90" y="285"/>
                  </a:lnTo>
                  <a:lnTo>
                    <a:pt x="93" y="283"/>
                  </a:lnTo>
                  <a:lnTo>
                    <a:pt x="96" y="282"/>
                  </a:lnTo>
                  <a:lnTo>
                    <a:pt x="101" y="280"/>
                  </a:lnTo>
                  <a:lnTo>
                    <a:pt x="103" y="278"/>
                  </a:lnTo>
                  <a:lnTo>
                    <a:pt x="106" y="277"/>
                  </a:lnTo>
                  <a:lnTo>
                    <a:pt x="109" y="275"/>
                  </a:lnTo>
                  <a:lnTo>
                    <a:pt x="109" y="274"/>
                  </a:lnTo>
                  <a:lnTo>
                    <a:pt x="114" y="265"/>
                  </a:lnTo>
                  <a:lnTo>
                    <a:pt x="118" y="262"/>
                  </a:lnTo>
                  <a:lnTo>
                    <a:pt x="121" y="259"/>
                  </a:lnTo>
                  <a:lnTo>
                    <a:pt x="126" y="256"/>
                  </a:lnTo>
                  <a:lnTo>
                    <a:pt x="129" y="252"/>
                  </a:lnTo>
                  <a:lnTo>
                    <a:pt x="131" y="251"/>
                  </a:lnTo>
                  <a:lnTo>
                    <a:pt x="134" y="249"/>
                  </a:lnTo>
                  <a:lnTo>
                    <a:pt x="135" y="259"/>
                  </a:lnTo>
                  <a:lnTo>
                    <a:pt x="135" y="262"/>
                  </a:lnTo>
                  <a:lnTo>
                    <a:pt x="135" y="269"/>
                  </a:lnTo>
                  <a:lnTo>
                    <a:pt x="134" y="274"/>
                  </a:lnTo>
                  <a:lnTo>
                    <a:pt x="134" y="278"/>
                  </a:lnTo>
                  <a:lnTo>
                    <a:pt x="132" y="283"/>
                  </a:lnTo>
                  <a:lnTo>
                    <a:pt x="132" y="285"/>
                  </a:lnTo>
                  <a:lnTo>
                    <a:pt x="134" y="287"/>
                  </a:lnTo>
                  <a:lnTo>
                    <a:pt x="142" y="293"/>
                  </a:lnTo>
                  <a:lnTo>
                    <a:pt x="144" y="295"/>
                  </a:lnTo>
                  <a:lnTo>
                    <a:pt x="144" y="296"/>
                  </a:lnTo>
                  <a:lnTo>
                    <a:pt x="145" y="298"/>
                  </a:lnTo>
                  <a:lnTo>
                    <a:pt x="145" y="301"/>
                  </a:lnTo>
                  <a:lnTo>
                    <a:pt x="145" y="303"/>
                  </a:lnTo>
                  <a:lnTo>
                    <a:pt x="145" y="306"/>
                  </a:lnTo>
                  <a:lnTo>
                    <a:pt x="145" y="308"/>
                  </a:lnTo>
                  <a:lnTo>
                    <a:pt x="145" y="311"/>
                  </a:lnTo>
                  <a:lnTo>
                    <a:pt x="144" y="313"/>
                  </a:lnTo>
                  <a:lnTo>
                    <a:pt x="144" y="316"/>
                  </a:lnTo>
                  <a:lnTo>
                    <a:pt x="144" y="317"/>
                  </a:lnTo>
                  <a:lnTo>
                    <a:pt x="145" y="319"/>
                  </a:lnTo>
                  <a:lnTo>
                    <a:pt x="147" y="324"/>
                  </a:lnTo>
                  <a:lnTo>
                    <a:pt x="147" y="326"/>
                  </a:lnTo>
                  <a:lnTo>
                    <a:pt x="147" y="327"/>
                  </a:lnTo>
                  <a:lnTo>
                    <a:pt x="145" y="327"/>
                  </a:lnTo>
                  <a:lnTo>
                    <a:pt x="145" y="329"/>
                  </a:lnTo>
                  <a:lnTo>
                    <a:pt x="144" y="330"/>
                  </a:lnTo>
                  <a:lnTo>
                    <a:pt x="142" y="330"/>
                  </a:lnTo>
                  <a:lnTo>
                    <a:pt x="142" y="332"/>
                  </a:lnTo>
                  <a:lnTo>
                    <a:pt x="142" y="334"/>
                  </a:lnTo>
                  <a:lnTo>
                    <a:pt x="140" y="335"/>
                  </a:lnTo>
                  <a:lnTo>
                    <a:pt x="140" y="337"/>
                  </a:lnTo>
                  <a:lnTo>
                    <a:pt x="140" y="339"/>
                  </a:lnTo>
                  <a:lnTo>
                    <a:pt x="140" y="340"/>
                  </a:lnTo>
                  <a:lnTo>
                    <a:pt x="140" y="342"/>
                  </a:lnTo>
                  <a:lnTo>
                    <a:pt x="140" y="343"/>
                  </a:lnTo>
                  <a:lnTo>
                    <a:pt x="142" y="343"/>
                  </a:lnTo>
                  <a:lnTo>
                    <a:pt x="142" y="345"/>
                  </a:lnTo>
                  <a:lnTo>
                    <a:pt x="142" y="347"/>
                  </a:lnTo>
                  <a:lnTo>
                    <a:pt x="140" y="350"/>
                  </a:lnTo>
                  <a:lnTo>
                    <a:pt x="140" y="352"/>
                  </a:lnTo>
                  <a:lnTo>
                    <a:pt x="140" y="353"/>
                  </a:lnTo>
                  <a:lnTo>
                    <a:pt x="13" y="353"/>
                  </a:lnTo>
                  <a:close/>
                </a:path>
              </a:pathLst>
            </a:custGeom>
            <a:solidFill>
              <a:srgbClr val="E5E5E5"/>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1189" name="Freeform 35">
              <a:extLst>
                <a:ext uri="{FF2B5EF4-FFF2-40B4-BE49-F238E27FC236}">
                  <a16:creationId xmlns:a16="http://schemas.microsoft.com/office/drawing/2014/main" id="{67E45E36-E4FC-1BAD-6053-0369805D6DD3}"/>
                </a:ext>
              </a:extLst>
            </p:cNvPr>
            <p:cNvSpPr>
              <a:spLocks noEditPoints="1"/>
            </p:cNvSpPr>
            <p:nvPr/>
          </p:nvSpPr>
          <p:spPr bwMode="auto">
            <a:xfrm>
              <a:off x="2963" y="2998"/>
              <a:ext cx="51" cy="47"/>
            </a:xfrm>
            <a:custGeom>
              <a:avLst/>
              <a:gdLst>
                <a:gd name="T0" fmla="*/ 47 w 51"/>
                <a:gd name="T1" fmla="*/ 15 h 47"/>
                <a:gd name="T2" fmla="*/ 51 w 51"/>
                <a:gd name="T3" fmla="*/ 18 h 47"/>
                <a:gd name="T4" fmla="*/ 49 w 51"/>
                <a:gd name="T5" fmla="*/ 18 h 47"/>
                <a:gd name="T6" fmla="*/ 47 w 51"/>
                <a:gd name="T7" fmla="*/ 21 h 47"/>
                <a:gd name="T8" fmla="*/ 46 w 51"/>
                <a:gd name="T9" fmla="*/ 21 h 47"/>
                <a:gd name="T10" fmla="*/ 44 w 51"/>
                <a:gd name="T11" fmla="*/ 25 h 47"/>
                <a:gd name="T12" fmla="*/ 44 w 51"/>
                <a:gd name="T13" fmla="*/ 26 h 47"/>
                <a:gd name="T14" fmla="*/ 41 w 51"/>
                <a:gd name="T15" fmla="*/ 28 h 47"/>
                <a:gd name="T16" fmla="*/ 41 w 51"/>
                <a:gd name="T17" fmla="*/ 31 h 47"/>
                <a:gd name="T18" fmla="*/ 39 w 51"/>
                <a:gd name="T19" fmla="*/ 33 h 47"/>
                <a:gd name="T20" fmla="*/ 38 w 51"/>
                <a:gd name="T21" fmla="*/ 33 h 47"/>
                <a:gd name="T22" fmla="*/ 34 w 51"/>
                <a:gd name="T23" fmla="*/ 33 h 47"/>
                <a:gd name="T24" fmla="*/ 33 w 51"/>
                <a:gd name="T25" fmla="*/ 34 h 47"/>
                <a:gd name="T26" fmla="*/ 33 w 51"/>
                <a:gd name="T27" fmla="*/ 36 h 47"/>
                <a:gd name="T28" fmla="*/ 31 w 51"/>
                <a:gd name="T29" fmla="*/ 38 h 47"/>
                <a:gd name="T30" fmla="*/ 30 w 51"/>
                <a:gd name="T31" fmla="*/ 38 h 47"/>
                <a:gd name="T32" fmla="*/ 26 w 51"/>
                <a:gd name="T33" fmla="*/ 39 h 47"/>
                <a:gd name="T34" fmla="*/ 25 w 51"/>
                <a:gd name="T35" fmla="*/ 41 h 47"/>
                <a:gd name="T36" fmla="*/ 23 w 51"/>
                <a:gd name="T37" fmla="*/ 41 h 47"/>
                <a:gd name="T38" fmla="*/ 21 w 51"/>
                <a:gd name="T39" fmla="*/ 41 h 47"/>
                <a:gd name="T40" fmla="*/ 20 w 51"/>
                <a:gd name="T41" fmla="*/ 43 h 47"/>
                <a:gd name="T42" fmla="*/ 18 w 51"/>
                <a:gd name="T43" fmla="*/ 44 h 47"/>
                <a:gd name="T44" fmla="*/ 20 w 51"/>
                <a:gd name="T45" fmla="*/ 44 h 47"/>
                <a:gd name="T46" fmla="*/ 18 w 51"/>
                <a:gd name="T47" fmla="*/ 46 h 47"/>
                <a:gd name="T48" fmla="*/ 17 w 51"/>
                <a:gd name="T49" fmla="*/ 46 h 47"/>
                <a:gd name="T50" fmla="*/ 17 w 51"/>
                <a:gd name="T51" fmla="*/ 43 h 47"/>
                <a:gd name="T52" fmla="*/ 15 w 51"/>
                <a:gd name="T53" fmla="*/ 44 h 47"/>
                <a:gd name="T54" fmla="*/ 13 w 51"/>
                <a:gd name="T55" fmla="*/ 44 h 47"/>
                <a:gd name="T56" fmla="*/ 13 w 51"/>
                <a:gd name="T57" fmla="*/ 41 h 47"/>
                <a:gd name="T58" fmla="*/ 12 w 51"/>
                <a:gd name="T59" fmla="*/ 41 h 47"/>
                <a:gd name="T60" fmla="*/ 10 w 51"/>
                <a:gd name="T61" fmla="*/ 41 h 47"/>
                <a:gd name="T62" fmla="*/ 10 w 51"/>
                <a:gd name="T63" fmla="*/ 41 h 47"/>
                <a:gd name="T64" fmla="*/ 8 w 51"/>
                <a:gd name="T65" fmla="*/ 43 h 47"/>
                <a:gd name="T66" fmla="*/ 8 w 51"/>
                <a:gd name="T67" fmla="*/ 43 h 47"/>
                <a:gd name="T68" fmla="*/ 7 w 51"/>
                <a:gd name="T69" fmla="*/ 44 h 47"/>
                <a:gd name="T70" fmla="*/ 5 w 51"/>
                <a:gd name="T71" fmla="*/ 44 h 47"/>
                <a:gd name="T72" fmla="*/ 4 w 51"/>
                <a:gd name="T73" fmla="*/ 43 h 47"/>
                <a:gd name="T74" fmla="*/ 5 w 51"/>
                <a:gd name="T75" fmla="*/ 41 h 47"/>
                <a:gd name="T76" fmla="*/ 7 w 51"/>
                <a:gd name="T77" fmla="*/ 39 h 47"/>
                <a:gd name="T78" fmla="*/ 7 w 51"/>
                <a:gd name="T79" fmla="*/ 39 h 47"/>
                <a:gd name="T80" fmla="*/ 5 w 51"/>
                <a:gd name="T81" fmla="*/ 38 h 47"/>
                <a:gd name="T82" fmla="*/ 7 w 51"/>
                <a:gd name="T83" fmla="*/ 36 h 47"/>
                <a:gd name="T84" fmla="*/ 10 w 51"/>
                <a:gd name="T85" fmla="*/ 34 h 47"/>
                <a:gd name="T86" fmla="*/ 12 w 51"/>
                <a:gd name="T87" fmla="*/ 33 h 47"/>
                <a:gd name="T88" fmla="*/ 12 w 51"/>
                <a:gd name="T89" fmla="*/ 30 h 47"/>
                <a:gd name="T90" fmla="*/ 13 w 51"/>
                <a:gd name="T91" fmla="*/ 26 h 47"/>
                <a:gd name="T92" fmla="*/ 15 w 51"/>
                <a:gd name="T93" fmla="*/ 23 h 47"/>
                <a:gd name="T94" fmla="*/ 17 w 51"/>
                <a:gd name="T95" fmla="*/ 21 h 47"/>
                <a:gd name="T96" fmla="*/ 17 w 51"/>
                <a:gd name="T97" fmla="*/ 21 h 47"/>
                <a:gd name="T98" fmla="*/ 20 w 51"/>
                <a:gd name="T99" fmla="*/ 20 h 47"/>
                <a:gd name="T100" fmla="*/ 28 w 51"/>
                <a:gd name="T101" fmla="*/ 13 h 47"/>
                <a:gd name="T102" fmla="*/ 31 w 51"/>
                <a:gd name="T103" fmla="*/ 8 h 47"/>
                <a:gd name="T104" fmla="*/ 36 w 51"/>
                <a:gd name="T105" fmla="*/ 2 h 47"/>
                <a:gd name="T106" fmla="*/ 44 w 51"/>
                <a:gd name="T107" fmla="*/ 0 h 47"/>
                <a:gd name="T108" fmla="*/ 49 w 51"/>
                <a:gd name="T109" fmla="*/ 0 h 47"/>
                <a:gd name="T110" fmla="*/ 47 w 51"/>
                <a:gd name="T111" fmla="*/ 7 h 47"/>
                <a:gd name="T112" fmla="*/ 46 w 51"/>
                <a:gd name="T113" fmla="*/ 13 h 47"/>
                <a:gd name="T114" fmla="*/ 4 w 51"/>
                <a:gd name="T115" fmla="*/ 44 h 47"/>
                <a:gd name="T116" fmla="*/ 0 w 51"/>
                <a:gd name="T117" fmla="*/ 44 h 47"/>
                <a:gd name="T118" fmla="*/ 4 w 51"/>
                <a:gd name="T119" fmla="*/ 43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1" h="47">
                  <a:moveTo>
                    <a:pt x="46" y="13"/>
                  </a:moveTo>
                  <a:lnTo>
                    <a:pt x="47" y="15"/>
                  </a:lnTo>
                  <a:lnTo>
                    <a:pt x="47" y="15"/>
                  </a:lnTo>
                  <a:lnTo>
                    <a:pt x="47" y="15"/>
                  </a:lnTo>
                  <a:lnTo>
                    <a:pt x="49" y="17"/>
                  </a:lnTo>
                  <a:lnTo>
                    <a:pt x="51" y="17"/>
                  </a:lnTo>
                  <a:lnTo>
                    <a:pt x="51" y="18"/>
                  </a:lnTo>
                  <a:lnTo>
                    <a:pt x="51" y="18"/>
                  </a:lnTo>
                  <a:lnTo>
                    <a:pt x="51" y="18"/>
                  </a:lnTo>
                  <a:lnTo>
                    <a:pt x="49" y="18"/>
                  </a:lnTo>
                  <a:lnTo>
                    <a:pt x="49" y="18"/>
                  </a:lnTo>
                  <a:lnTo>
                    <a:pt x="49" y="18"/>
                  </a:lnTo>
                  <a:lnTo>
                    <a:pt x="49" y="20"/>
                  </a:lnTo>
                  <a:lnTo>
                    <a:pt x="49" y="20"/>
                  </a:lnTo>
                  <a:lnTo>
                    <a:pt x="47" y="20"/>
                  </a:lnTo>
                  <a:lnTo>
                    <a:pt x="47" y="21"/>
                  </a:lnTo>
                  <a:lnTo>
                    <a:pt x="47" y="21"/>
                  </a:lnTo>
                  <a:lnTo>
                    <a:pt x="46" y="21"/>
                  </a:lnTo>
                  <a:lnTo>
                    <a:pt x="46" y="21"/>
                  </a:lnTo>
                  <a:lnTo>
                    <a:pt x="46" y="21"/>
                  </a:lnTo>
                  <a:lnTo>
                    <a:pt x="46" y="23"/>
                  </a:lnTo>
                  <a:lnTo>
                    <a:pt x="44" y="23"/>
                  </a:lnTo>
                  <a:lnTo>
                    <a:pt x="44" y="23"/>
                  </a:lnTo>
                  <a:lnTo>
                    <a:pt x="44" y="25"/>
                  </a:lnTo>
                  <a:lnTo>
                    <a:pt x="44" y="25"/>
                  </a:lnTo>
                  <a:lnTo>
                    <a:pt x="44" y="25"/>
                  </a:lnTo>
                  <a:lnTo>
                    <a:pt x="44" y="25"/>
                  </a:lnTo>
                  <a:lnTo>
                    <a:pt x="44" y="26"/>
                  </a:lnTo>
                  <a:lnTo>
                    <a:pt x="43" y="26"/>
                  </a:lnTo>
                  <a:lnTo>
                    <a:pt x="41" y="26"/>
                  </a:lnTo>
                  <a:lnTo>
                    <a:pt x="41" y="26"/>
                  </a:lnTo>
                  <a:lnTo>
                    <a:pt x="41" y="28"/>
                  </a:lnTo>
                  <a:lnTo>
                    <a:pt x="41" y="30"/>
                  </a:lnTo>
                  <a:lnTo>
                    <a:pt x="41" y="30"/>
                  </a:lnTo>
                  <a:lnTo>
                    <a:pt x="41" y="30"/>
                  </a:lnTo>
                  <a:lnTo>
                    <a:pt x="41" y="31"/>
                  </a:lnTo>
                  <a:lnTo>
                    <a:pt x="41" y="31"/>
                  </a:lnTo>
                  <a:lnTo>
                    <a:pt x="41" y="31"/>
                  </a:lnTo>
                  <a:lnTo>
                    <a:pt x="39" y="33"/>
                  </a:lnTo>
                  <a:lnTo>
                    <a:pt x="39" y="33"/>
                  </a:lnTo>
                  <a:lnTo>
                    <a:pt x="39" y="33"/>
                  </a:lnTo>
                  <a:lnTo>
                    <a:pt x="38" y="33"/>
                  </a:lnTo>
                  <a:lnTo>
                    <a:pt x="38" y="33"/>
                  </a:lnTo>
                  <a:lnTo>
                    <a:pt x="38" y="33"/>
                  </a:lnTo>
                  <a:lnTo>
                    <a:pt x="36" y="34"/>
                  </a:lnTo>
                  <a:lnTo>
                    <a:pt x="36" y="33"/>
                  </a:lnTo>
                  <a:lnTo>
                    <a:pt x="36" y="34"/>
                  </a:lnTo>
                  <a:lnTo>
                    <a:pt x="34" y="33"/>
                  </a:lnTo>
                  <a:lnTo>
                    <a:pt x="34" y="33"/>
                  </a:lnTo>
                  <a:lnTo>
                    <a:pt x="33" y="34"/>
                  </a:lnTo>
                  <a:lnTo>
                    <a:pt x="33" y="34"/>
                  </a:lnTo>
                  <a:lnTo>
                    <a:pt x="33" y="34"/>
                  </a:lnTo>
                  <a:lnTo>
                    <a:pt x="33" y="36"/>
                  </a:lnTo>
                  <a:lnTo>
                    <a:pt x="33" y="36"/>
                  </a:lnTo>
                  <a:lnTo>
                    <a:pt x="33" y="36"/>
                  </a:lnTo>
                  <a:lnTo>
                    <a:pt x="33" y="36"/>
                  </a:lnTo>
                  <a:lnTo>
                    <a:pt x="33" y="36"/>
                  </a:lnTo>
                  <a:lnTo>
                    <a:pt x="33" y="38"/>
                  </a:lnTo>
                  <a:lnTo>
                    <a:pt x="33" y="38"/>
                  </a:lnTo>
                  <a:lnTo>
                    <a:pt x="31" y="38"/>
                  </a:lnTo>
                  <a:lnTo>
                    <a:pt x="31" y="38"/>
                  </a:lnTo>
                  <a:lnTo>
                    <a:pt x="30" y="38"/>
                  </a:lnTo>
                  <a:lnTo>
                    <a:pt x="30" y="39"/>
                  </a:lnTo>
                  <a:lnTo>
                    <a:pt x="30" y="38"/>
                  </a:lnTo>
                  <a:lnTo>
                    <a:pt x="28" y="38"/>
                  </a:lnTo>
                  <a:lnTo>
                    <a:pt x="28" y="38"/>
                  </a:lnTo>
                  <a:lnTo>
                    <a:pt x="28" y="39"/>
                  </a:lnTo>
                  <a:lnTo>
                    <a:pt x="26" y="39"/>
                  </a:lnTo>
                  <a:lnTo>
                    <a:pt x="26" y="39"/>
                  </a:lnTo>
                  <a:lnTo>
                    <a:pt x="26" y="41"/>
                  </a:lnTo>
                  <a:lnTo>
                    <a:pt x="25" y="41"/>
                  </a:lnTo>
                  <a:lnTo>
                    <a:pt x="25" y="41"/>
                  </a:lnTo>
                  <a:lnTo>
                    <a:pt x="23" y="41"/>
                  </a:lnTo>
                  <a:lnTo>
                    <a:pt x="23" y="41"/>
                  </a:lnTo>
                  <a:lnTo>
                    <a:pt x="23" y="41"/>
                  </a:lnTo>
                  <a:lnTo>
                    <a:pt x="23" y="41"/>
                  </a:lnTo>
                  <a:lnTo>
                    <a:pt x="21" y="41"/>
                  </a:lnTo>
                  <a:lnTo>
                    <a:pt x="21" y="41"/>
                  </a:lnTo>
                  <a:lnTo>
                    <a:pt x="21" y="41"/>
                  </a:lnTo>
                  <a:lnTo>
                    <a:pt x="21" y="41"/>
                  </a:lnTo>
                  <a:lnTo>
                    <a:pt x="21" y="41"/>
                  </a:lnTo>
                  <a:lnTo>
                    <a:pt x="20" y="43"/>
                  </a:lnTo>
                  <a:lnTo>
                    <a:pt x="20" y="43"/>
                  </a:lnTo>
                  <a:lnTo>
                    <a:pt x="20" y="43"/>
                  </a:lnTo>
                  <a:lnTo>
                    <a:pt x="20" y="43"/>
                  </a:lnTo>
                  <a:lnTo>
                    <a:pt x="18" y="43"/>
                  </a:lnTo>
                  <a:lnTo>
                    <a:pt x="18" y="43"/>
                  </a:lnTo>
                  <a:lnTo>
                    <a:pt x="18" y="44"/>
                  </a:lnTo>
                  <a:lnTo>
                    <a:pt x="18" y="44"/>
                  </a:lnTo>
                  <a:lnTo>
                    <a:pt x="20" y="44"/>
                  </a:lnTo>
                  <a:lnTo>
                    <a:pt x="20" y="44"/>
                  </a:lnTo>
                  <a:lnTo>
                    <a:pt x="20" y="44"/>
                  </a:lnTo>
                  <a:lnTo>
                    <a:pt x="20" y="44"/>
                  </a:lnTo>
                  <a:lnTo>
                    <a:pt x="20" y="44"/>
                  </a:lnTo>
                  <a:lnTo>
                    <a:pt x="20" y="44"/>
                  </a:lnTo>
                  <a:lnTo>
                    <a:pt x="18" y="46"/>
                  </a:lnTo>
                  <a:lnTo>
                    <a:pt x="18" y="46"/>
                  </a:lnTo>
                  <a:lnTo>
                    <a:pt x="18" y="47"/>
                  </a:lnTo>
                  <a:lnTo>
                    <a:pt x="17" y="46"/>
                  </a:lnTo>
                  <a:lnTo>
                    <a:pt x="17" y="46"/>
                  </a:lnTo>
                  <a:lnTo>
                    <a:pt x="18" y="44"/>
                  </a:lnTo>
                  <a:lnTo>
                    <a:pt x="18" y="44"/>
                  </a:lnTo>
                  <a:lnTo>
                    <a:pt x="18" y="43"/>
                  </a:lnTo>
                  <a:lnTo>
                    <a:pt x="17" y="43"/>
                  </a:lnTo>
                  <a:lnTo>
                    <a:pt x="17" y="43"/>
                  </a:lnTo>
                  <a:lnTo>
                    <a:pt x="17" y="44"/>
                  </a:lnTo>
                  <a:lnTo>
                    <a:pt x="15" y="44"/>
                  </a:lnTo>
                  <a:lnTo>
                    <a:pt x="15" y="44"/>
                  </a:lnTo>
                  <a:lnTo>
                    <a:pt x="15" y="44"/>
                  </a:lnTo>
                  <a:lnTo>
                    <a:pt x="15" y="44"/>
                  </a:lnTo>
                  <a:lnTo>
                    <a:pt x="15" y="44"/>
                  </a:lnTo>
                  <a:lnTo>
                    <a:pt x="13" y="44"/>
                  </a:lnTo>
                  <a:lnTo>
                    <a:pt x="13" y="44"/>
                  </a:lnTo>
                  <a:lnTo>
                    <a:pt x="13" y="43"/>
                  </a:lnTo>
                  <a:lnTo>
                    <a:pt x="13" y="43"/>
                  </a:lnTo>
                  <a:lnTo>
                    <a:pt x="13" y="41"/>
                  </a:lnTo>
                  <a:lnTo>
                    <a:pt x="12" y="41"/>
                  </a:lnTo>
                  <a:lnTo>
                    <a:pt x="12" y="41"/>
                  </a:lnTo>
                  <a:lnTo>
                    <a:pt x="12" y="41"/>
                  </a:lnTo>
                  <a:lnTo>
                    <a:pt x="12" y="41"/>
                  </a:lnTo>
                  <a:lnTo>
                    <a:pt x="12" y="41"/>
                  </a:lnTo>
                  <a:lnTo>
                    <a:pt x="12" y="41"/>
                  </a:lnTo>
                  <a:lnTo>
                    <a:pt x="10" y="41"/>
                  </a:lnTo>
                  <a:lnTo>
                    <a:pt x="10" y="41"/>
                  </a:lnTo>
                  <a:lnTo>
                    <a:pt x="10" y="41"/>
                  </a:lnTo>
                  <a:lnTo>
                    <a:pt x="10" y="41"/>
                  </a:lnTo>
                  <a:lnTo>
                    <a:pt x="10" y="41"/>
                  </a:lnTo>
                  <a:lnTo>
                    <a:pt x="10" y="41"/>
                  </a:lnTo>
                  <a:lnTo>
                    <a:pt x="10" y="41"/>
                  </a:lnTo>
                  <a:lnTo>
                    <a:pt x="8" y="41"/>
                  </a:lnTo>
                  <a:lnTo>
                    <a:pt x="8" y="41"/>
                  </a:lnTo>
                  <a:lnTo>
                    <a:pt x="8" y="43"/>
                  </a:lnTo>
                  <a:lnTo>
                    <a:pt x="8" y="43"/>
                  </a:lnTo>
                  <a:lnTo>
                    <a:pt x="8" y="43"/>
                  </a:lnTo>
                  <a:lnTo>
                    <a:pt x="8" y="43"/>
                  </a:lnTo>
                  <a:lnTo>
                    <a:pt x="8" y="43"/>
                  </a:lnTo>
                  <a:lnTo>
                    <a:pt x="8" y="43"/>
                  </a:lnTo>
                  <a:lnTo>
                    <a:pt x="7" y="43"/>
                  </a:lnTo>
                  <a:lnTo>
                    <a:pt x="7" y="43"/>
                  </a:lnTo>
                  <a:lnTo>
                    <a:pt x="7" y="44"/>
                  </a:lnTo>
                  <a:lnTo>
                    <a:pt x="7" y="44"/>
                  </a:lnTo>
                  <a:lnTo>
                    <a:pt x="5" y="43"/>
                  </a:lnTo>
                  <a:lnTo>
                    <a:pt x="5" y="44"/>
                  </a:lnTo>
                  <a:lnTo>
                    <a:pt x="5" y="44"/>
                  </a:lnTo>
                  <a:lnTo>
                    <a:pt x="5" y="44"/>
                  </a:lnTo>
                  <a:lnTo>
                    <a:pt x="5" y="43"/>
                  </a:lnTo>
                  <a:lnTo>
                    <a:pt x="4" y="43"/>
                  </a:lnTo>
                  <a:lnTo>
                    <a:pt x="4" y="43"/>
                  </a:lnTo>
                  <a:lnTo>
                    <a:pt x="4" y="41"/>
                  </a:lnTo>
                  <a:lnTo>
                    <a:pt x="5" y="41"/>
                  </a:lnTo>
                  <a:lnTo>
                    <a:pt x="5" y="41"/>
                  </a:lnTo>
                  <a:lnTo>
                    <a:pt x="5" y="41"/>
                  </a:lnTo>
                  <a:lnTo>
                    <a:pt x="5" y="41"/>
                  </a:lnTo>
                  <a:lnTo>
                    <a:pt x="7" y="39"/>
                  </a:lnTo>
                  <a:lnTo>
                    <a:pt x="7" y="39"/>
                  </a:lnTo>
                  <a:lnTo>
                    <a:pt x="7" y="39"/>
                  </a:lnTo>
                  <a:lnTo>
                    <a:pt x="7" y="39"/>
                  </a:lnTo>
                  <a:lnTo>
                    <a:pt x="7" y="39"/>
                  </a:lnTo>
                  <a:lnTo>
                    <a:pt x="7" y="39"/>
                  </a:lnTo>
                  <a:lnTo>
                    <a:pt x="7" y="39"/>
                  </a:lnTo>
                  <a:lnTo>
                    <a:pt x="7" y="39"/>
                  </a:lnTo>
                  <a:lnTo>
                    <a:pt x="7" y="39"/>
                  </a:lnTo>
                  <a:lnTo>
                    <a:pt x="5" y="38"/>
                  </a:lnTo>
                  <a:lnTo>
                    <a:pt x="5" y="38"/>
                  </a:lnTo>
                  <a:lnTo>
                    <a:pt x="7" y="38"/>
                  </a:lnTo>
                  <a:lnTo>
                    <a:pt x="7" y="38"/>
                  </a:lnTo>
                  <a:lnTo>
                    <a:pt x="7" y="38"/>
                  </a:lnTo>
                  <a:lnTo>
                    <a:pt x="7" y="36"/>
                  </a:lnTo>
                  <a:lnTo>
                    <a:pt x="8" y="36"/>
                  </a:lnTo>
                  <a:lnTo>
                    <a:pt x="8" y="36"/>
                  </a:lnTo>
                  <a:lnTo>
                    <a:pt x="10" y="36"/>
                  </a:lnTo>
                  <a:lnTo>
                    <a:pt x="10" y="34"/>
                  </a:lnTo>
                  <a:lnTo>
                    <a:pt x="10" y="34"/>
                  </a:lnTo>
                  <a:lnTo>
                    <a:pt x="12" y="33"/>
                  </a:lnTo>
                  <a:lnTo>
                    <a:pt x="12" y="33"/>
                  </a:lnTo>
                  <a:lnTo>
                    <a:pt x="12" y="33"/>
                  </a:lnTo>
                  <a:lnTo>
                    <a:pt x="12" y="31"/>
                  </a:lnTo>
                  <a:lnTo>
                    <a:pt x="12" y="31"/>
                  </a:lnTo>
                  <a:lnTo>
                    <a:pt x="12" y="30"/>
                  </a:lnTo>
                  <a:lnTo>
                    <a:pt x="12" y="30"/>
                  </a:lnTo>
                  <a:lnTo>
                    <a:pt x="12" y="28"/>
                  </a:lnTo>
                  <a:lnTo>
                    <a:pt x="12" y="28"/>
                  </a:lnTo>
                  <a:lnTo>
                    <a:pt x="13" y="28"/>
                  </a:lnTo>
                  <a:lnTo>
                    <a:pt x="13" y="26"/>
                  </a:lnTo>
                  <a:lnTo>
                    <a:pt x="13" y="25"/>
                  </a:lnTo>
                  <a:lnTo>
                    <a:pt x="15" y="25"/>
                  </a:lnTo>
                  <a:lnTo>
                    <a:pt x="15" y="23"/>
                  </a:lnTo>
                  <a:lnTo>
                    <a:pt x="15" y="23"/>
                  </a:lnTo>
                  <a:lnTo>
                    <a:pt x="15" y="23"/>
                  </a:lnTo>
                  <a:lnTo>
                    <a:pt x="15" y="21"/>
                  </a:lnTo>
                  <a:lnTo>
                    <a:pt x="17" y="21"/>
                  </a:lnTo>
                  <a:lnTo>
                    <a:pt x="17" y="21"/>
                  </a:lnTo>
                  <a:lnTo>
                    <a:pt x="17" y="21"/>
                  </a:lnTo>
                  <a:lnTo>
                    <a:pt x="17" y="21"/>
                  </a:lnTo>
                  <a:lnTo>
                    <a:pt x="17" y="21"/>
                  </a:lnTo>
                  <a:lnTo>
                    <a:pt x="17" y="21"/>
                  </a:lnTo>
                  <a:lnTo>
                    <a:pt x="18" y="21"/>
                  </a:lnTo>
                  <a:lnTo>
                    <a:pt x="18" y="21"/>
                  </a:lnTo>
                  <a:lnTo>
                    <a:pt x="20" y="20"/>
                  </a:lnTo>
                  <a:lnTo>
                    <a:pt x="20" y="20"/>
                  </a:lnTo>
                  <a:lnTo>
                    <a:pt x="23" y="18"/>
                  </a:lnTo>
                  <a:lnTo>
                    <a:pt x="25" y="17"/>
                  </a:lnTo>
                  <a:lnTo>
                    <a:pt x="25" y="17"/>
                  </a:lnTo>
                  <a:lnTo>
                    <a:pt x="28" y="13"/>
                  </a:lnTo>
                  <a:lnTo>
                    <a:pt x="30" y="10"/>
                  </a:lnTo>
                  <a:lnTo>
                    <a:pt x="30" y="10"/>
                  </a:lnTo>
                  <a:lnTo>
                    <a:pt x="31" y="8"/>
                  </a:lnTo>
                  <a:lnTo>
                    <a:pt x="31" y="8"/>
                  </a:lnTo>
                  <a:lnTo>
                    <a:pt x="33" y="5"/>
                  </a:lnTo>
                  <a:lnTo>
                    <a:pt x="33" y="5"/>
                  </a:lnTo>
                  <a:lnTo>
                    <a:pt x="34" y="4"/>
                  </a:lnTo>
                  <a:lnTo>
                    <a:pt x="36" y="2"/>
                  </a:lnTo>
                  <a:lnTo>
                    <a:pt x="39" y="2"/>
                  </a:lnTo>
                  <a:lnTo>
                    <a:pt x="41" y="0"/>
                  </a:lnTo>
                  <a:lnTo>
                    <a:pt x="43" y="0"/>
                  </a:lnTo>
                  <a:lnTo>
                    <a:pt x="44" y="0"/>
                  </a:lnTo>
                  <a:lnTo>
                    <a:pt x="47" y="0"/>
                  </a:lnTo>
                  <a:lnTo>
                    <a:pt x="49" y="0"/>
                  </a:lnTo>
                  <a:lnTo>
                    <a:pt x="49" y="0"/>
                  </a:lnTo>
                  <a:lnTo>
                    <a:pt x="49" y="0"/>
                  </a:lnTo>
                  <a:lnTo>
                    <a:pt x="49" y="4"/>
                  </a:lnTo>
                  <a:lnTo>
                    <a:pt x="49" y="5"/>
                  </a:lnTo>
                  <a:lnTo>
                    <a:pt x="47" y="5"/>
                  </a:lnTo>
                  <a:lnTo>
                    <a:pt x="47" y="7"/>
                  </a:lnTo>
                  <a:lnTo>
                    <a:pt x="46" y="10"/>
                  </a:lnTo>
                  <a:lnTo>
                    <a:pt x="46" y="10"/>
                  </a:lnTo>
                  <a:lnTo>
                    <a:pt x="46" y="12"/>
                  </a:lnTo>
                  <a:lnTo>
                    <a:pt x="46" y="13"/>
                  </a:lnTo>
                  <a:lnTo>
                    <a:pt x="46" y="13"/>
                  </a:lnTo>
                  <a:lnTo>
                    <a:pt x="46" y="13"/>
                  </a:lnTo>
                  <a:lnTo>
                    <a:pt x="46" y="13"/>
                  </a:lnTo>
                  <a:close/>
                  <a:moveTo>
                    <a:pt x="4" y="44"/>
                  </a:moveTo>
                  <a:lnTo>
                    <a:pt x="2" y="44"/>
                  </a:lnTo>
                  <a:lnTo>
                    <a:pt x="2" y="44"/>
                  </a:lnTo>
                  <a:lnTo>
                    <a:pt x="2" y="44"/>
                  </a:lnTo>
                  <a:lnTo>
                    <a:pt x="0" y="44"/>
                  </a:lnTo>
                  <a:lnTo>
                    <a:pt x="0" y="43"/>
                  </a:lnTo>
                  <a:lnTo>
                    <a:pt x="0" y="43"/>
                  </a:lnTo>
                  <a:lnTo>
                    <a:pt x="2" y="43"/>
                  </a:lnTo>
                  <a:lnTo>
                    <a:pt x="4" y="43"/>
                  </a:lnTo>
                  <a:lnTo>
                    <a:pt x="4" y="43"/>
                  </a:lnTo>
                  <a:lnTo>
                    <a:pt x="4" y="43"/>
                  </a:lnTo>
                  <a:lnTo>
                    <a:pt x="4" y="44"/>
                  </a:lnTo>
                  <a:close/>
                </a:path>
              </a:pathLst>
            </a:custGeom>
            <a:solidFill>
              <a:srgbClr val="E5E5E5"/>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1190" name="Freeform 36">
              <a:extLst>
                <a:ext uri="{FF2B5EF4-FFF2-40B4-BE49-F238E27FC236}">
                  <a16:creationId xmlns:a16="http://schemas.microsoft.com/office/drawing/2014/main" id="{5FAF01AD-8397-416B-E7C3-A97DC64B0F65}"/>
                </a:ext>
              </a:extLst>
            </p:cNvPr>
            <p:cNvSpPr>
              <a:spLocks noEditPoints="1"/>
            </p:cNvSpPr>
            <p:nvPr/>
          </p:nvSpPr>
          <p:spPr bwMode="auto">
            <a:xfrm>
              <a:off x="2205" y="946"/>
              <a:ext cx="615" cy="514"/>
            </a:xfrm>
            <a:custGeom>
              <a:avLst/>
              <a:gdLst>
                <a:gd name="T0" fmla="*/ 28 w 615"/>
                <a:gd name="T1" fmla="*/ 78 h 514"/>
                <a:gd name="T2" fmla="*/ 78 w 615"/>
                <a:gd name="T3" fmla="*/ 65 h 514"/>
                <a:gd name="T4" fmla="*/ 98 w 615"/>
                <a:gd name="T5" fmla="*/ 50 h 514"/>
                <a:gd name="T6" fmla="*/ 127 w 615"/>
                <a:gd name="T7" fmla="*/ 37 h 514"/>
                <a:gd name="T8" fmla="*/ 144 w 615"/>
                <a:gd name="T9" fmla="*/ 66 h 514"/>
                <a:gd name="T10" fmla="*/ 161 w 615"/>
                <a:gd name="T11" fmla="*/ 88 h 514"/>
                <a:gd name="T12" fmla="*/ 183 w 615"/>
                <a:gd name="T13" fmla="*/ 40 h 514"/>
                <a:gd name="T14" fmla="*/ 170 w 615"/>
                <a:gd name="T15" fmla="*/ 5 h 514"/>
                <a:gd name="T16" fmla="*/ 209 w 615"/>
                <a:gd name="T17" fmla="*/ 52 h 514"/>
                <a:gd name="T18" fmla="*/ 223 w 615"/>
                <a:gd name="T19" fmla="*/ 112 h 514"/>
                <a:gd name="T20" fmla="*/ 200 w 615"/>
                <a:gd name="T21" fmla="*/ 154 h 514"/>
                <a:gd name="T22" fmla="*/ 207 w 615"/>
                <a:gd name="T23" fmla="*/ 190 h 514"/>
                <a:gd name="T24" fmla="*/ 239 w 615"/>
                <a:gd name="T25" fmla="*/ 177 h 514"/>
                <a:gd name="T26" fmla="*/ 296 w 615"/>
                <a:gd name="T27" fmla="*/ 117 h 514"/>
                <a:gd name="T28" fmla="*/ 344 w 615"/>
                <a:gd name="T29" fmla="*/ 146 h 514"/>
                <a:gd name="T30" fmla="*/ 379 w 615"/>
                <a:gd name="T31" fmla="*/ 210 h 514"/>
                <a:gd name="T32" fmla="*/ 422 w 615"/>
                <a:gd name="T33" fmla="*/ 193 h 514"/>
                <a:gd name="T34" fmla="*/ 503 w 615"/>
                <a:gd name="T35" fmla="*/ 174 h 514"/>
                <a:gd name="T36" fmla="*/ 540 w 615"/>
                <a:gd name="T37" fmla="*/ 195 h 514"/>
                <a:gd name="T38" fmla="*/ 579 w 615"/>
                <a:gd name="T39" fmla="*/ 216 h 514"/>
                <a:gd name="T40" fmla="*/ 566 w 615"/>
                <a:gd name="T41" fmla="*/ 291 h 514"/>
                <a:gd name="T42" fmla="*/ 571 w 615"/>
                <a:gd name="T43" fmla="*/ 328 h 514"/>
                <a:gd name="T44" fmla="*/ 561 w 615"/>
                <a:gd name="T45" fmla="*/ 348 h 514"/>
                <a:gd name="T46" fmla="*/ 599 w 615"/>
                <a:gd name="T47" fmla="*/ 362 h 514"/>
                <a:gd name="T48" fmla="*/ 597 w 615"/>
                <a:gd name="T49" fmla="*/ 403 h 514"/>
                <a:gd name="T50" fmla="*/ 566 w 615"/>
                <a:gd name="T51" fmla="*/ 432 h 514"/>
                <a:gd name="T52" fmla="*/ 529 w 615"/>
                <a:gd name="T53" fmla="*/ 445 h 514"/>
                <a:gd name="T54" fmla="*/ 456 w 615"/>
                <a:gd name="T55" fmla="*/ 481 h 514"/>
                <a:gd name="T56" fmla="*/ 422 w 615"/>
                <a:gd name="T57" fmla="*/ 478 h 514"/>
                <a:gd name="T58" fmla="*/ 235 w 615"/>
                <a:gd name="T59" fmla="*/ 499 h 514"/>
                <a:gd name="T60" fmla="*/ 127 w 615"/>
                <a:gd name="T61" fmla="*/ 414 h 514"/>
                <a:gd name="T62" fmla="*/ 153 w 615"/>
                <a:gd name="T63" fmla="*/ 390 h 514"/>
                <a:gd name="T64" fmla="*/ 98 w 615"/>
                <a:gd name="T65" fmla="*/ 374 h 514"/>
                <a:gd name="T66" fmla="*/ 117 w 615"/>
                <a:gd name="T67" fmla="*/ 371 h 514"/>
                <a:gd name="T68" fmla="*/ 23 w 615"/>
                <a:gd name="T69" fmla="*/ 349 h 514"/>
                <a:gd name="T70" fmla="*/ 43 w 615"/>
                <a:gd name="T71" fmla="*/ 330 h 514"/>
                <a:gd name="T72" fmla="*/ 82 w 615"/>
                <a:gd name="T73" fmla="*/ 323 h 514"/>
                <a:gd name="T74" fmla="*/ 90 w 615"/>
                <a:gd name="T75" fmla="*/ 302 h 514"/>
                <a:gd name="T76" fmla="*/ 113 w 615"/>
                <a:gd name="T77" fmla="*/ 271 h 514"/>
                <a:gd name="T78" fmla="*/ 90 w 615"/>
                <a:gd name="T79" fmla="*/ 270 h 514"/>
                <a:gd name="T80" fmla="*/ 78 w 615"/>
                <a:gd name="T81" fmla="*/ 249 h 514"/>
                <a:gd name="T82" fmla="*/ 72 w 615"/>
                <a:gd name="T83" fmla="*/ 221 h 514"/>
                <a:gd name="T84" fmla="*/ 18 w 615"/>
                <a:gd name="T85" fmla="*/ 170 h 514"/>
                <a:gd name="T86" fmla="*/ 75 w 615"/>
                <a:gd name="T87" fmla="*/ 188 h 514"/>
                <a:gd name="T88" fmla="*/ 119 w 615"/>
                <a:gd name="T89" fmla="*/ 205 h 514"/>
                <a:gd name="T90" fmla="*/ 104 w 615"/>
                <a:gd name="T91" fmla="*/ 179 h 514"/>
                <a:gd name="T92" fmla="*/ 163 w 615"/>
                <a:gd name="T93" fmla="*/ 166 h 514"/>
                <a:gd name="T94" fmla="*/ 153 w 615"/>
                <a:gd name="T95" fmla="*/ 136 h 514"/>
                <a:gd name="T96" fmla="*/ 126 w 615"/>
                <a:gd name="T97" fmla="*/ 112 h 514"/>
                <a:gd name="T98" fmla="*/ 381 w 615"/>
                <a:gd name="T99" fmla="*/ 174 h 514"/>
                <a:gd name="T100" fmla="*/ 106 w 615"/>
                <a:gd name="T101" fmla="*/ 180 h 514"/>
                <a:gd name="T102" fmla="*/ 74 w 615"/>
                <a:gd name="T103" fmla="*/ 323 h 514"/>
                <a:gd name="T104" fmla="*/ 511 w 615"/>
                <a:gd name="T105" fmla="*/ 452 h 514"/>
                <a:gd name="T106" fmla="*/ 96 w 615"/>
                <a:gd name="T107" fmla="*/ 182 h 514"/>
                <a:gd name="T108" fmla="*/ 80 w 615"/>
                <a:gd name="T109" fmla="*/ 226 h 514"/>
                <a:gd name="T110" fmla="*/ 93 w 615"/>
                <a:gd name="T111" fmla="*/ 192 h 514"/>
                <a:gd name="T112" fmla="*/ 100 w 615"/>
                <a:gd name="T113" fmla="*/ 136 h 514"/>
                <a:gd name="T114" fmla="*/ 111 w 615"/>
                <a:gd name="T115" fmla="*/ 182 h 514"/>
                <a:gd name="T116" fmla="*/ 108 w 615"/>
                <a:gd name="T117" fmla="*/ 143 h 514"/>
                <a:gd name="T118" fmla="*/ 555 w 615"/>
                <a:gd name="T119" fmla="*/ 437 h 514"/>
                <a:gd name="T120" fmla="*/ 134 w 615"/>
                <a:gd name="T121" fmla="*/ 159 h 514"/>
                <a:gd name="T122" fmla="*/ 539 w 615"/>
                <a:gd name="T123" fmla="*/ 197 h 514"/>
                <a:gd name="T124" fmla="*/ 116 w 615"/>
                <a:gd name="T125" fmla="*/ 185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615" h="514">
                  <a:moveTo>
                    <a:pt x="111" y="115"/>
                  </a:moveTo>
                  <a:lnTo>
                    <a:pt x="109" y="115"/>
                  </a:lnTo>
                  <a:lnTo>
                    <a:pt x="109" y="117"/>
                  </a:lnTo>
                  <a:lnTo>
                    <a:pt x="108" y="117"/>
                  </a:lnTo>
                  <a:lnTo>
                    <a:pt x="106" y="117"/>
                  </a:lnTo>
                  <a:lnTo>
                    <a:pt x="106" y="115"/>
                  </a:lnTo>
                  <a:lnTo>
                    <a:pt x="104" y="115"/>
                  </a:lnTo>
                  <a:lnTo>
                    <a:pt x="104" y="114"/>
                  </a:lnTo>
                  <a:lnTo>
                    <a:pt x="103" y="114"/>
                  </a:lnTo>
                  <a:lnTo>
                    <a:pt x="103" y="112"/>
                  </a:lnTo>
                  <a:lnTo>
                    <a:pt x="101" y="112"/>
                  </a:lnTo>
                  <a:lnTo>
                    <a:pt x="101" y="110"/>
                  </a:lnTo>
                  <a:lnTo>
                    <a:pt x="103" y="110"/>
                  </a:lnTo>
                  <a:lnTo>
                    <a:pt x="101" y="110"/>
                  </a:lnTo>
                  <a:lnTo>
                    <a:pt x="103" y="110"/>
                  </a:lnTo>
                  <a:lnTo>
                    <a:pt x="103" y="109"/>
                  </a:lnTo>
                  <a:lnTo>
                    <a:pt x="104" y="109"/>
                  </a:lnTo>
                  <a:lnTo>
                    <a:pt x="104" y="107"/>
                  </a:lnTo>
                  <a:lnTo>
                    <a:pt x="103" y="107"/>
                  </a:lnTo>
                  <a:lnTo>
                    <a:pt x="101" y="107"/>
                  </a:lnTo>
                  <a:lnTo>
                    <a:pt x="101" y="109"/>
                  </a:lnTo>
                  <a:lnTo>
                    <a:pt x="100" y="109"/>
                  </a:lnTo>
                  <a:lnTo>
                    <a:pt x="98" y="110"/>
                  </a:lnTo>
                  <a:lnTo>
                    <a:pt x="98" y="112"/>
                  </a:lnTo>
                  <a:lnTo>
                    <a:pt x="98" y="114"/>
                  </a:lnTo>
                  <a:lnTo>
                    <a:pt x="96" y="114"/>
                  </a:lnTo>
                  <a:lnTo>
                    <a:pt x="98" y="114"/>
                  </a:lnTo>
                  <a:lnTo>
                    <a:pt x="96" y="115"/>
                  </a:lnTo>
                  <a:lnTo>
                    <a:pt x="95" y="117"/>
                  </a:lnTo>
                  <a:lnTo>
                    <a:pt x="93" y="117"/>
                  </a:lnTo>
                  <a:lnTo>
                    <a:pt x="91" y="117"/>
                  </a:lnTo>
                  <a:lnTo>
                    <a:pt x="90" y="117"/>
                  </a:lnTo>
                  <a:lnTo>
                    <a:pt x="90" y="115"/>
                  </a:lnTo>
                  <a:lnTo>
                    <a:pt x="88" y="115"/>
                  </a:lnTo>
                  <a:lnTo>
                    <a:pt x="87" y="114"/>
                  </a:lnTo>
                  <a:lnTo>
                    <a:pt x="85" y="112"/>
                  </a:lnTo>
                  <a:lnTo>
                    <a:pt x="87" y="112"/>
                  </a:lnTo>
                  <a:lnTo>
                    <a:pt x="87" y="110"/>
                  </a:lnTo>
                  <a:lnTo>
                    <a:pt x="85" y="110"/>
                  </a:lnTo>
                  <a:lnTo>
                    <a:pt x="87" y="110"/>
                  </a:lnTo>
                  <a:lnTo>
                    <a:pt x="87" y="109"/>
                  </a:lnTo>
                  <a:lnTo>
                    <a:pt x="85" y="109"/>
                  </a:lnTo>
                  <a:lnTo>
                    <a:pt x="83" y="109"/>
                  </a:lnTo>
                  <a:lnTo>
                    <a:pt x="83" y="110"/>
                  </a:lnTo>
                  <a:lnTo>
                    <a:pt x="85" y="110"/>
                  </a:lnTo>
                  <a:lnTo>
                    <a:pt x="85" y="112"/>
                  </a:lnTo>
                  <a:lnTo>
                    <a:pt x="83" y="110"/>
                  </a:lnTo>
                  <a:lnTo>
                    <a:pt x="82" y="110"/>
                  </a:lnTo>
                  <a:lnTo>
                    <a:pt x="80" y="112"/>
                  </a:lnTo>
                  <a:lnTo>
                    <a:pt x="78" y="110"/>
                  </a:lnTo>
                  <a:lnTo>
                    <a:pt x="77" y="110"/>
                  </a:lnTo>
                  <a:lnTo>
                    <a:pt x="75" y="110"/>
                  </a:lnTo>
                  <a:lnTo>
                    <a:pt x="74" y="110"/>
                  </a:lnTo>
                  <a:lnTo>
                    <a:pt x="72" y="110"/>
                  </a:lnTo>
                  <a:lnTo>
                    <a:pt x="72" y="109"/>
                  </a:lnTo>
                  <a:lnTo>
                    <a:pt x="70" y="109"/>
                  </a:lnTo>
                  <a:lnTo>
                    <a:pt x="69" y="109"/>
                  </a:lnTo>
                  <a:lnTo>
                    <a:pt x="69" y="110"/>
                  </a:lnTo>
                  <a:lnTo>
                    <a:pt x="67" y="110"/>
                  </a:lnTo>
                  <a:lnTo>
                    <a:pt x="65" y="110"/>
                  </a:lnTo>
                  <a:lnTo>
                    <a:pt x="65" y="112"/>
                  </a:lnTo>
                  <a:lnTo>
                    <a:pt x="64" y="112"/>
                  </a:lnTo>
                  <a:lnTo>
                    <a:pt x="62" y="114"/>
                  </a:lnTo>
                  <a:lnTo>
                    <a:pt x="62" y="112"/>
                  </a:lnTo>
                  <a:lnTo>
                    <a:pt x="61" y="112"/>
                  </a:lnTo>
                  <a:lnTo>
                    <a:pt x="59" y="110"/>
                  </a:lnTo>
                  <a:lnTo>
                    <a:pt x="57" y="110"/>
                  </a:lnTo>
                  <a:lnTo>
                    <a:pt x="54" y="110"/>
                  </a:lnTo>
                  <a:lnTo>
                    <a:pt x="54" y="109"/>
                  </a:lnTo>
                  <a:lnTo>
                    <a:pt x="52" y="109"/>
                  </a:lnTo>
                  <a:lnTo>
                    <a:pt x="51" y="107"/>
                  </a:lnTo>
                  <a:lnTo>
                    <a:pt x="49" y="107"/>
                  </a:lnTo>
                  <a:lnTo>
                    <a:pt x="49" y="105"/>
                  </a:lnTo>
                  <a:lnTo>
                    <a:pt x="51" y="104"/>
                  </a:lnTo>
                  <a:lnTo>
                    <a:pt x="51" y="102"/>
                  </a:lnTo>
                  <a:lnTo>
                    <a:pt x="51" y="101"/>
                  </a:lnTo>
                  <a:lnTo>
                    <a:pt x="52" y="101"/>
                  </a:lnTo>
                  <a:lnTo>
                    <a:pt x="52" y="102"/>
                  </a:lnTo>
                  <a:lnTo>
                    <a:pt x="52" y="101"/>
                  </a:lnTo>
                  <a:lnTo>
                    <a:pt x="52" y="99"/>
                  </a:lnTo>
                  <a:lnTo>
                    <a:pt x="54" y="101"/>
                  </a:lnTo>
                  <a:lnTo>
                    <a:pt x="54" y="99"/>
                  </a:lnTo>
                  <a:lnTo>
                    <a:pt x="52" y="99"/>
                  </a:lnTo>
                  <a:lnTo>
                    <a:pt x="52" y="97"/>
                  </a:lnTo>
                  <a:lnTo>
                    <a:pt x="51" y="97"/>
                  </a:lnTo>
                  <a:lnTo>
                    <a:pt x="49" y="97"/>
                  </a:lnTo>
                  <a:lnTo>
                    <a:pt x="51" y="99"/>
                  </a:lnTo>
                  <a:lnTo>
                    <a:pt x="49" y="99"/>
                  </a:lnTo>
                  <a:lnTo>
                    <a:pt x="48" y="94"/>
                  </a:lnTo>
                  <a:lnTo>
                    <a:pt x="44" y="91"/>
                  </a:lnTo>
                  <a:lnTo>
                    <a:pt x="44" y="89"/>
                  </a:lnTo>
                  <a:lnTo>
                    <a:pt x="43" y="89"/>
                  </a:lnTo>
                  <a:lnTo>
                    <a:pt x="43" y="88"/>
                  </a:lnTo>
                  <a:lnTo>
                    <a:pt x="41" y="86"/>
                  </a:lnTo>
                  <a:lnTo>
                    <a:pt x="39" y="86"/>
                  </a:lnTo>
                  <a:lnTo>
                    <a:pt x="38" y="86"/>
                  </a:lnTo>
                  <a:lnTo>
                    <a:pt x="36" y="86"/>
                  </a:lnTo>
                  <a:lnTo>
                    <a:pt x="36" y="84"/>
                  </a:lnTo>
                  <a:lnTo>
                    <a:pt x="35" y="84"/>
                  </a:lnTo>
                  <a:lnTo>
                    <a:pt x="31" y="83"/>
                  </a:lnTo>
                  <a:lnTo>
                    <a:pt x="30" y="83"/>
                  </a:lnTo>
                  <a:lnTo>
                    <a:pt x="28" y="83"/>
                  </a:lnTo>
                  <a:lnTo>
                    <a:pt x="28" y="81"/>
                  </a:lnTo>
                  <a:lnTo>
                    <a:pt x="26" y="81"/>
                  </a:lnTo>
                  <a:lnTo>
                    <a:pt x="26" y="79"/>
                  </a:lnTo>
                  <a:lnTo>
                    <a:pt x="26" y="78"/>
                  </a:lnTo>
                  <a:lnTo>
                    <a:pt x="28" y="78"/>
                  </a:lnTo>
                  <a:lnTo>
                    <a:pt x="30" y="78"/>
                  </a:lnTo>
                  <a:lnTo>
                    <a:pt x="31" y="78"/>
                  </a:lnTo>
                  <a:lnTo>
                    <a:pt x="31" y="76"/>
                  </a:lnTo>
                  <a:lnTo>
                    <a:pt x="33" y="76"/>
                  </a:lnTo>
                  <a:lnTo>
                    <a:pt x="35" y="76"/>
                  </a:lnTo>
                  <a:lnTo>
                    <a:pt x="36" y="76"/>
                  </a:lnTo>
                  <a:lnTo>
                    <a:pt x="38" y="76"/>
                  </a:lnTo>
                  <a:lnTo>
                    <a:pt x="39" y="76"/>
                  </a:lnTo>
                  <a:lnTo>
                    <a:pt x="39" y="75"/>
                  </a:lnTo>
                  <a:lnTo>
                    <a:pt x="39" y="73"/>
                  </a:lnTo>
                  <a:lnTo>
                    <a:pt x="41" y="73"/>
                  </a:lnTo>
                  <a:lnTo>
                    <a:pt x="41" y="71"/>
                  </a:lnTo>
                  <a:lnTo>
                    <a:pt x="43" y="71"/>
                  </a:lnTo>
                  <a:lnTo>
                    <a:pt x="43" y="70"/>
                  </a:lnTo>
                  <a:lnTo>
                    <a:pt x="44" y="70"/>
                  </a:lnTo>
                  <a:lnTo>
                    <a:pt x="46" y="70"/>
                  </a:lnTo>
                  <a:lnTo>
                    <a:pt x="46" y="68"/>
                  </a:lnTo>
                  <a:lnTo>
                    <a:pt x="48" y="66"/>
                  </a:lnTo>
                  <a:lnTo>
                    <a:pt x="48" y="68"/>
                  </a:lnTo>
                  <a:lnTo>
                    <a:pt x="49" y="70"/>
                  </a:lnTo>
                  <a:lnTo>
                    <a:pt x="51" y="71"/>
                  </a:lnTo>
                  <a:lnTo>
                    <a:pt x="51" y="73"/>
                  </a:lnTo>
                  <a:lnTo>
                    <a:pt x="52" y="73"/>
                  </a:lnTo>
                  <a:lnTo>
                    <a:pt x="52" y="75"/>
                  </a:lnTo>
                  <a:lnTo>
                    <a:pt x="52" y="76"/>
                  </a:lnTo>
                  <a:lnTo>
                    <a:pt x="54" y="76"/>
                  </a:lnTo>
                  <a:lnTo>
                    <a:pt x="54" y="78"/>
                  </a:lnTo>
                  <a:lnTo>
                    <a:pt x="54" y="79"/>
                  </a:lnTo>
                  <a:lnTo>
                    <a:pt x="54" y="81"/>
                  </a:lnTo>
                  <a:lnTo>
                    <a:pt x="56" y="81"/>
                  </a:lnTo>
                  <a:lnTo>
                    <a:pt x="56" y="83"/>
                  </a:lnTo>
                  <a:lnTo>
                    <a:pt x="56" y="84"/>
                  </a:lnTo>
                  <a:lnTo>
                    <a:pt x="56" y="86"/>
                  </a:lnTo>
                  <a:lnTo>
                    <a:pt x="57" y="86"/>
                  </a:lnTo>
                  <a:lnTo>
                    <a:pt x="59" y="86"/>
                  </a:lnTo>
                  <a:lnTo>
                    <a:pt x="59" y="88"/>
                  </a:lnTo>
                  <a:lnTo>
                    <a:pt x="61" y="88"/>
                  </a:lnTo>
                  <a:lnTo>
                    <a:pt x="61" y="89"/>
                  </a:lnTo>
                  <a:lnTo>
                    <a:pt x="59" y="89"/>
                  </a:lnTo>
                  <a:lnTo>
                    <a:pt x="59" y="91"/>
                  </a:lnTo>
                  <a:lnTo>
                    <a:pt x="61" y="91"/>
                  </a:lnTo>
                  <a:lnTo>
                    <a:pt x="61" y="92"/>
                  </a:lnTo>
                  <a:lnTo>
                    <a:pt x="61" y="94"/>
                  </a:lnTo>
                  <a:lnTo>
                    <a:pt x="62" y="96"/>
                  </a:lnTo>
                  <a:lnTo>
                    <a:pt x="62" y="97"/>
                  </a:lnTo>
                  <a:lnTo>
                    <a:pt x="64" y="96"/>
                  </a:lnTo>
                  <a:lnTo>
                    <a:pt x="65" y="96"/>
                  </a:lnTo>
                  <a:lnTo>
                    <a:pt x="67" y="96"/>
                  </a:lnTo>
                  <a:lnTo>
                    <a:pt x="65" y="94"/>
                  </a:lnTo>
                  <a:lnTo>
                    <a:pt x="64" y="94"/>
                  </a:lnTo>
                  <a:lnTo>
                    <a:pt x="64" y="92"/>
                  </a:lnTo>
                  <a:lnTo>
                    <a:pt x="62" y="92"/>
                  </a:lnTo>
                  <a:lnTo>
                    <a:pt x="62" y="91"/>
                  </a:lnTo>
                  <a:lnTo>
                    <a:pt x="62" y="89"/>
                  </a:lnTo>
                  <a:lnTo>
                    <a:pt x="62" y="88"/>
                  </a:lnTo>
                  <a:lnTo>
                    <a:pt x="62" y="86"/>
                  </a:lnTo>
                  <a:lnTo>
                    <a:pt x="61" y="84"/>
                  </a:lnTo>
                  <a:lnTo>
                    <a:pt x="61" y="83"/>
                  </a:lnTo>
                  <a:lnTo>
                    <a:pt x="61" y="81"/>
                  </a:lnTo>
                  <a:lnTo>
                    <a:pt x="61" y="83"/>
                  </a:lnTo>
                  <a:lnTo>
                    <a:pt x="61" y="81"/>
                  </a:lnTo>
                  <a:lnTo>
                    <a:pt x="61" y="79"/>
                  </a:lnTo>
                  <a:lnTo>
                    <a:pt x="61" y="78"/>
                  </a:lnTo>
                  <a:lnTo>
                    <a:pt x="59" y="75"/>
                  </a:lnTo>
                  <a:lnTo>
                    <a:pt x="61" y="73"/>
                  </a:lnTo>
                  <a:lnTo>
                    <a:pt x="62" y="75"/>
                  </a:lnTo>
                  <a:lnTo>
                    <a:pt x="64" y="75"/>
                  </a:lnTo>
                  <a:lnTo>
                    <a:pt x="64" y="76"/>
                  </a:lnTo>
                  <a:lnTo>
                    <a:pt x="65" y="76"/>
                  </a:lnTo>
                  <a:lnTo>
                    <a:pt x="67" y="78"/>
                  </a:lnTo>
                  <a:lnTo>
                    <a:pt x="69" y="81"/>
                  </a:lnTo>
                  <a:lnTo>
                    <a:pt x="69" y="83"/>
                  </a:lnTo>
                  <a:lnTo>
                    <a:pt x="70" y="84"/>
                  </a:lnTo>
                  <a:lnTo>
                    <a:pt x="70" y="86"/>
                  </a:lnTo>
                  <a:lnTo>
                    <a:pt x="70" y="88"/>
                  </a:lnTo>
                  <a:lnTo>
                    <a:pt x="72" y="88"/>
                  </a:lnTo>
                  <a:lnTo>
                    <a:pt x="72" y="86"/>
                  </a:lnTo>
                  <a:lnTo>
                    <a:pt x="72" y="84"/>
                  </a:lnTo>
                  <a:lnTo>
                    <a:pt x="72" y="83"/>
                  </a:lnTo>
                  <a:lnTo>
                    <a:pt x="70" y="83"/>
                  </a:lnTo>
                  <a:lnTo>
                    <a:pt x="70" y="81"/>
                  </a:lnTo>
                  <a:lnTo>
                    <a:pt x="69" y="78"/>
                  </a:lnTo>
                  <a:lnTo>
                    <a:pt x="69" y="76"/>
                  </a:lnTo>
                  <a:lnTo>
                    <a:pt x="69" y="75"/>
                  </a:lnTo>
                  <a:lnTo>
                    <a:pt x="67" y="75"/>
                  </a:lnTo>
                  <a:lnTo>
                    <a:pt x="67" y="73"/>
                  </a:lnTo>
                  <a:lnTo>
                    <a:pt x="65" y="71"/>
                  </a:lnTo>
                  <a:lnTo>
                    <a:pt x="65" y="70"/>
                  </a:lnTo>
                  <a:lnTo>
                    <a:pt x="64" y="68"/>
                  </a:lnTo>
                  <a:lnTo>
                    <a:pt x="65" y="63"/>
                  </a:lnTo>
                  <a:lnTo>
                    <a:pt x="65" y="62"/>
                  </a:lnTo>
                  <a:lnTo>
                    <a:pt x="65" y="60"/>
                  </a:lnTo>
                  <a:lnTo>
                    <a:pt x="67" y="58"/>
                  </a:lnTo>
                  <a:lnTo>
                    <a:pt x="67" y="57"/>
                  </a:lnTo>
                  <a:lnTo>
                    <a:pt x="67" y="55"/>
                  </a:lnTo>
                  <a:lnTo>
                    <a:pt x="69" y="53"/>
                  </a:lnTo>
                  <a:lnTo>
                    <a:pt x="70" y="52"/>
                  </a:lnTo>
                  <a:lnTo>
                    <a:pt x="72" y="53"/>
                  </a:lnTo>
                  <a:lnTo>
                    <a:pt x="72" y="55"/>
                  </a:lnTo>
                  <a:lnTo>
                    <a:pt x="74" y="55"/>
                  </a:lnTo>
                  <a:lnTo>
                    <a:pt x="75" y="57"/>
                  </a:lnTo>
                  <a:lnTo>
                    <a:pt x="75" y="58"/>
                  </a:lnTo>
                  <a:lnTo>
                    <a:pt x="77" y="58"/>
                  </a:lnTo>
                  <a:lnTo>
                    <a:pt x="77" y="60"/>
                  </a:lnTo>
                  <a:lnTo>
                    <a:pt x="77" y="62"/>
                  </a:lnTo>
                  <a:lnTo>
                    <a:pt x="77" y="63"/>
                  </a:lnTo>
                  <a:lnTo>
                    <a:pt x="78" y="65"/>
                  </a:lnTo>
                  <a:lnTo>
                    <a:pt x="80" y="65"/>
                  </a:lnTo>
                  <a:lnTo>
                    <a:pt x="80" y="68"/>
                  </a:lnTo>
                  <a:lnTo>
                    <a:pt x="80" y="70"/>
                  </a:lnTo>
                  <a:lnTo>
                    <a:pt x="82" y="70"/>
                  </a:lnTo>
                  <a:lnTo>
                    <a:pt x="82" y="71"/>
                  </a:lnTo>
                  <a:lnTo>
                    <a:pt x="83" y="71"/>
                  </a:lnTo>
                  <a:lnTo>
                    <a:pt x="83" y="73"/>
                  </a:lnTo>
                  <a:lnTo>
                    <a:pt x="85" y="76"/>
                  </a:lnTo>
                  <a:lnTo>
                    <a:pt x="87" y="76"/>
                  </a:lnTo>
                  <a:lnTo>
                    <a:pt x="87" y="78"/>
                  </a:lnTo>
                  <a:lnTo>
                    <a:pt x="88" y="81"/>
                  </a:lnTo>
                  <a:lnTo>
                    <a:pt x="87" y="83"/>
                  </a:lnTo>
                  <a:lnTo>
                    <a:pt x="88" y="83"/>
                  </a:lnTo>
                  <a:lnTo>
                    <a:pt x="88" y="84"/>
                  </a:lnTo>
                  <a:lnTo>
                    <a:pt x="88" y="86"/>
                  </a:lnTo>
                  <a:lnTo>
                    <a:pt x="88" y="88"/>
                  </a:lnTo>
                  <a:lnTo>
                    <a:pt x="88" y="89"/>
                  </a:lnTo>
                  <a:lnTo>
                    <a:pt x="87" y="89"/>
                  </a:lnTo>
                  <a:lnTo>
                    <a:pt x="85" y="89"/>
                  </a:lnTo>
                  <a:lnTo>
                    <a:pt x="85" y="91"/>
                  </a:lnTo>
                  <a:lnTo>
                    <a:pt x="83" y="92"/>
                  </a:lnTo>
                  <a:lnTo>
                    <a:pt x="85" y="94"/>
                  </a:lnTo>
                  <a:lnTo>
                    <a:pt x="87" y="92"/>
                  </a:lnTo>
                  <a:lnTo>
                    <a:pt x="88" y="91"/>
                  </a:lnTo>
                  <a:lnTo>
                    <a:pt x="90" y="91"/>
                  </a:lnTo>
                  <a:lnTo>
                    <a:pt x="90" y="92"/>
                  </a:lnTo>
                  <a:lnTo>
                    <a:pt x="91" y="91"/>
                  </a:lnTo>
                  <a:lnTo>
                    <a:pt x="91" y="92"/>
                  </a:lnTo>
                  <a:lnTo>
                    <a:pt x="91" y="94"/>
                  </a:lnTo>
                  <a:lnTo>
                    <a:pt x="93" y="96"/>
                  </a:lnTo>
                  <a:lnTo>
                    <a:pt x="95" y="96"/>
                  </a:lnTo>
                  <a:lnTo>
                    <a:pt x="95" y="94"/>
                  </a:lnTo>
                  <a:lnTo>
                    <a:pt x="95" y="96"/>
                  </a:lnTo>
                  <a:lnTo>
                    <a:pt x="95" y="94"/>
                  </a:lnTo>
                  <a:lnTo>
                    <a:pt x="95" y="92"/>
                  </a:lnTo>
                  <a:lnTo>
                    <a:pt x="95" y="91"/>
                  </a:lnTo>
                  <a:lnTo>
                    <a:pt x="96" y="91"/>
                  </a:lnTo>
                  <a:lnTo>
                    <a:pt x="96" y="92"/>
                  </a:lnTo>
                  <a:lnTo>
                    <a:pt x="98" y="92"/>
                  </a:lnTo>
                  <a:lnTo>
                    <a:pt x="100" y="91"/>
                  </a:lnTo>
                  <a:lnTo>
                    <a:pt x="101" y="92"/>
                  </a:lnTo>
                  <a:lnTo>
                    <a:pt x="103" y="92"/>
                  </a:lnTo>
                  <a:lnTo>
                    <a:pt x="104" y="92"/>
                  </a:lnTo>
                  <a:lnTo>
                    <a:pt x="104" y="91"/>
                  </a:lnTo>
                  <a:lnTo>
                    <a:pt x="103" y="91"/>
                  </a:lnTo>
                  <a:lnTo>
                    <a:pt x="101" y="91"/>
                  </a:lnTo>
                  <a:lnTo>
                    <a:pt x="100" y="89"/>
                  </a:lnTo>
                  <a:lnTo>
                    <a:pt x="98" y="89"/>
                  </a:lnTo>
                  <a:lnTo>
                    <a:pt x="95" y="88"/>
                  </a:lnTo>
                  <a:lnTo>
                    <a:pt x="95" y="86"/>
                  </a:lnTo>
                  <a:lnTo>
                    <a:pt x="93" y="84"/>
                  </a:lnTo>
                  <a:lnTo>
                    <a:pt x="93" y="83"/>
                  </a:lnTo>
                  <a:lnTo>
                    <a:pt x="93" y="81"/>
                  </a:lnTo>
                  <a:lnTo>
                    <a:pt x="93" y="79"/>
                  </a:lnTo>
                  <a:lnTo>
                    <a:pt x="95" y="79"/>
                  </a:lnTo>
                  <a:lnTo>
                    <a:pt x="96" y="79"/>
                  </a:lnTo>
                  <a:lnTo>
                    <a:pt x="98" y="81"/>
                  </a:lnTo>
                  <a:lnTo>
                    <a:pt x="100" y="81"/>
                  </a:lnTo>
                  <a:lnTo>
                    <a:pt x="101" y="81"/>
                  </a:lnTo>
                  <a:lnTo>
                    <a:pt x="101" y="83"/>
                  </a:lnTo>
                  <a:lnTo>
                    <a:pt x="103" y="83"/>
                  </a:lnTo>
                  <a:lnTo>
                    <a:pt x="104" y="83"/>
                  </a:lnTo>
                  <a:lnTo>
                    <a:pt x="106" y="83"/>
                  </a:lnTo>
                  <a:lnTo>
                    <a:pt x="108" y="83"/>
                  </a:lnTo>
                  <a:lnTo>
                    <a:pt x="109" y="84"/>
                  </a:lnTo>
                  <a:lnTo>
                    <a:pt x="111" y="86"/>
                  </a:lnTo>
                  <a:lnTo>
                    <a:pt x="113" y="84"/>
                  </a:lnTo>
                  <a:lnTo>
                    <a:pt x="111" y="84"/>
                  </a:lnTo>
                  <a:lnTo>
                    <a:pt x="111" y="83"/>
                  </a:lnTo>
                  <a:lnTo>
                    <a:pt x="113" y="83"/>
                  </a:lnTo>
                  <a:lnTo>
                    <a:pt x="114" y="83"/>
                  </a:lnTo>
                  <a:lnTo>
                    <a:pt x="116" y="83"/>
                  </a:lnTo>
                  <a:lnTo>
                    <a:pt x="116" y="81"/>
                  </a:lnTo>
                  <a:lnTo>
                    <a:pt x="114" y="79"/>
                  </a:lnTo>
                  <a:lnTo>
                    <a:pt x="111" y="81"/>
                  </a:lnTo>
                  <a:lnTo>
                    <a:pt x="109" y="81"/>
                  </a:lnTo>
                  <a:lnTo>
                    <a:pt x="108" y="79"/>
                  </a:lnTo>
                  <a:lnTo>
                    <a:pt x="106" y="79"/>
                  </a:lnTo>
                  <a:lnTo>
                    <a:pt x="104" y="79"/>
                  </a:lnTo>
                  <a:lnTo>
                    <a:pt x="103" y="78"/>
                  </a:lnTo>
                  <a:lnTo>
                    <a:pt x="101" y="78"/>
                  </a:lnTo>
                  <a:lnTo>
                    <a:pt x="100" y="76"/>
                  </a:lnTo>
                  <a:lnTo>
                    <a:pt x="98" y="75"/>
                  </a:lnTo>
                  <a:lnTo>
                    <a:pt x="96" y="75"/>
                  </a:lnTo>
                  <a:lnTo>
                    <a:pt x="95" y="75"/>
                  </a:lnTo>
                  <a:lnTo>
                    <a:pt x="93" y="71"/>
                  </a:lnTo>
                  <a:lnTo>
                    <a:pt x="91" y="70"/>
                  </a:lnTo>
                  <a:lnTo>
                    <a:pt x="90" y="68"/>
                  </a:lnTo>
                  <a:lnTo>
                    <a:pt x="88" y="66"/>
                  </a:lnTo>
                  <a:lnTo>
                    <a:pt x="88" y="65"/>
                  </a:lnTo>
                  <a:lnTo>
                    <a:pt x="88" y="63"/>
                  </a:lnTo>
                  <a:lnTo>
                    <a:pt x="87" y="60"/>
                  </a:lnTo>
                  <a:lnTo>
                    <a:pt x="87" y="58"/>
                  </a:lnTo>
                  <a:lnTo>
                    <a:pt x="87" y="57"/>
                  </a:lnTo>
                  <a:lnTo>
                    <a:pt x="87" y="55"/>
                  </a:lnTo>
                  <a:lnTo>
                    <a:pt x="88" y="53"/>
                  </a:lnTo>
                  <a:lnTo>
                    <a:pt x="88" y="52"/>
                  </a:lnTo>
                  <a:lnTo>
                    <a:pt x="88" y="50"/>
                  </a:lnTo>
                  <a:lnTo>
                    <a:pt x="88" y="49"/>
                  </a:lnTo>
                  <a:lnTo>
                    <a:pt x="90" y="49"/>
                  </a:lnTo>
                  <a:lnTo>
                    <a:pt x="91" y="47"/>
                  </a:lnTo>
                  <a:lnTo>
                    <a:pt x="93" y="45"/>
                  </a:lnTo>
                  <a:lnTo>
                    <a:pt x="95" y="45"/>
                  </a:lnTo>
                  <a:lnTo>
                    <a:pt x="95" y="47"/>
                  </a:lnTo>
                  <a:lnTo>
                    <a:pt x="96" y="47"/>
                  </a:lnTo>
                  <a:lnTo>
                    <a:pt x="96" y="49"/>
                  </a:lnTo>
                  <a:lnTo>
                    <a:pt x="98" y="50"/>
                  </a:lnTo>
                  <a:lnTo>
                    <a:pt x="100" y="52"/>
                  </a:lnTo>
                  <a:lnTo>
                    <a:pt x="100" y="53"/>
                  </a:lnTo>
                  <a:lnTo>
                    <a:pt x="101" y="53"/>
                  </a:lnTo>
                  <a:lnTo>
                    <a:pt x="100" y="55"/>
                  </a:lnTo>
                  <a:lnTo>
                    <a:pt x="100" y="57"/>
                  </a:lnTo>
                  <a:lnTo>
                    <a:pt x="101" y="57"/>
                  </a:lnTo>
                  <a:lnTo>
                    <a:pt x="101" y="58"/>
                  </a:lnTo>
                  <a:lnTo>
                    <a:pt x="103" y="60"/>
                  </a:lnTo>
                  <a:lnTo>
                    <a:pt x="104" y="60"/>
                  </a:lnTo>
                  <a:lnTo>
                    <a:pt x="106" y="58"/>
                  </a:lnTo>
                  <a:lnTo>
                    <a:pt x="106" y="60"/>
                  </a:lnTo>
                  <a:lnTo>
                    <a:pt x="108" y="60"/>
                  </a:lnTo>
                  <a:lnTo>
                    <a:pt x="108" y="62"/>
                  </a:lnTo>
                  <a:lnTo>
                    <a:pt x="108" y="65"/>
                  </a:lnTo>
                  <a:lnTo>
                    <a:pt x="109" y="65"/>
                  </a:lnTo>
                  <a:lnTo>
                    <a:pt x="109" y="66"/>
                  </a:lnTo>
                  <a:lnTo>
                    <a:pt x="111" y="66"/>
                  </a:lnTo>
                  <a:lnTo>
                    <a:pt x="111" y="68"/>
                  </a:lnTo>
                  <a:lnTo>
                    <a:pt x="113" y="68"/>
                  </a:lnTo>
                  <a:lnTo>
                    <a:pt x="113" y="66"/>
                  </a:lnTo>
                  <a:lnTo>
                    <a:pt x="113" y="68"/>
                  </a:lnTo>
                  <a:lnTo>
                    <a:pt x="114" y="70"/>
                  </a:lnTo>
                  <a:lnTo>
                    <a:pt x="116" y="71"/>
                  </a:lnTo>
                  <a:lnTo>
                    <a:pt x="117" y="73"/>
                  </a:lnTo>
                  <a:lnTo>
                    <a:pt x="119" y="75"/>
                  </a:lnTo>
                  <a:lnTo>
                    <a:pt x="121" y="75"/>
                  </a:lnTo>
                  <a:lnTo>
                    <a:pt x="119" y="73"/>
                  </a:lnTo>
                  <a:lnTo>
                    <a:pt x="117" y="71"/>
                  </a:lnTo>
                  <a:lnTo>
                    <a:pt x="116" y="70"/>
                  </a:lnTo>
                  <a:lnTo>
                    <a:pt x="117" y="70"/>
                  </a:lnTo>
                  <a:lnTo>
                    <a:pt x="116" y="70"/>
                  </a:lnTo>
                  <a:lnTo>
                    <a:pt x="116" y="68"/>
                  </a:lnTo>
                  <a:lnTo>
                    <a:pt x="114" y="68"/>
                  </a:lnTo>
                  <a:lnTo>
                    <a:pt x="114" y="66"/>
                  </a:lnTo>
                  <a:lnTo>
                    <a:pt x="111" y="65"/>
                  </a:lnTo>
                  <a:lnTo>
                    <a:pt x="111" y="63"/>
                  </a:lnTo>
                  <a:lnTo>
                    <a:pt x="109" y="63"/>
                  </a:lnTo>
                  <a:lnTo>
                    <a:pt x="109" y="62"/>
                  </a:lnTo>
                  <a:lnTo>
                    <a:pt x="109" y="60"/>
                  </a:lnTo>
                  <a:lnTo>
                    <a:pt x="109" y="58"/>
                  </a:lnTo>
                  <a:lnTo>
                    <a:pt x="108" y="58"/>
                  </a:lnTo>
                  <a:lnTo>
                    <a:pt x="106" y="57"/>
                  </a:lnTo>
                  <a:lnTo>
                    <a:pt x="106" y="55"/>
                  </a:lnTo>
                  <a:lnTo>
                    <a:pt x="104" y="55"/>
                  </a:lnTo>
                  <a:lnTo>
                    <a:pt x="104" y="53"/>
                  </a:lnTo>
                  <a:lnTo>
                    <a:pt x="104" y="52"/>
                  </a:lnTo>
                  <a:lnTo>
                    <a:pt x="104" y="50"/>
                  </a:lnTo>
                  <a:lnTo>
                    <a:pt x="103" y="49"/>
                  </a:lnTo>
                  <a:lnTo>
                    <a:pt x="103" y="47"/>
                  </a:lnTo>
                  <a:lnTo>
                    <a:pt x="101" y="45"/>
                  </a:lnTo>
                  <a:lnTo>
                    <a:pt x="101" y="44"/>
                  </a:lnTo>
                  <a:lnTo>
                    <a:pt x="101" y="42"/>
                  </a:lnTo>
                  <a:lnTo>
                    <a:pt x="101" y="40"/>
                  </a:lnTo>
                  <a:lnTo>
                    <a:pt x="101" y="37"/>
                  </a:lnTo>
                  <a:lnTo>
                    <a:pt x="101" y="35"/>
                  </a:lnTo>
                  <a:lnTo>
                    <a:pt x="100" y="35"/>
                  </a:lnTo>
                  <a:lnTo>
                    <a:pt x="101" y="35"/>
                  </a:lnTo>
                  <a:lnTo>
                    <a:pt x="101" y="34"/>
                  </a:lnTo>
                  <a:lnTo>
                    <a:pt x="101" y="32"/>
                  </a:lnTo>
                  <a:lnTo>
                    <a:pt x="103" y="31"/>
                  </a:lnTo>
                  <a:lnTo>
                    <a:pt x="106" y="29"/>
                  </a:lnTo>
                  <a:lnTo>
                    <a:pt x="108" y="29"/>
                  </a:lnTo>
                  <a:lnTo>
                    <a:pt x="109" y="32"/>
                  </a:lnTo>
                  <a:lnTo>
                    <a:pt x="111" y="32"/>
                  </a:lnTo>
                  <a:lnTo>
                    <a:pt x="113" y="34"/>
                  </a:lnTo>
                  <a:lnTo>
                    <a:pt x="113" y="35"/>
                  </a:lnTo>
                  <a:lnTo>
                    <a:pt x="114" y="37"/>
                  </a:lnTo>
                  <a:lnTo>
                    <a:pt x="114" y="39"/>
                  </a:lnTo>
                  <a:lnTo>
                    <a:pt x="116" y="39"/>
                  </a:lnTo>
                  <a:lnTo>
                    <a:pt x="116" y="40"/>
                  </a:lnTo>
                  <a:lnTo>
                    <a:pt x="117" y="42"/>
                  </a:lnTo>
                  <a:lnTo>
                    <a:pt x="119" y="44"/>
                  </a:lnTo>
                  <a:lnTo>
                    <a:pt x="121" y="44"/>
                  </a:lnTo>
                  <a:lnTo>
                    <a:pt x="119" y="47"/>
                  </a:lnTo>
                  <a:lnTo>
                    <a:pt x="119" y="49"/>
                  </a:lnTo>
                  <a:lnTo>
                    <a:pt x="119" y="50"/>
                  </a:lnTo>
                  <a:lnTo>
                    <a:pt x="121" y="50"/>
                  </a:lnTo>
                  <a:lnTo>
                    <a:pt x="121" y="49"/>
                  </a:lnTo>
                  <a:lnTo>
                    <a:pt x="121" y="47"/>
                  </a:lnTo>
                  <a:lnTo>
                    <a:pt x="121" y="45"/>
                  </a:lnTo>
                  <a:lnTo>
                    <a:pt x="122" y="45"/>
                  </a:lnTo>
                  <a:lnTo>
                    <a:pt x="121" y="44"/>
                  </a:lnTo>
                  <a:lnTo>
                    <a:pt x="121" y="42"/>
                  </a:lnTo>
                  <a:lnTo>
                    <a:pt x="121" y="40"/>
                  </a:lnTo>
                  <a:lnTo>
                    <a:pt x="121" y="39"/>
                  </a:lnTo>
                  <a:lnTo>
                    <a:pt x="119" y="39"/>
                  </a:lnTo>
                  <a:lnTo>
                    <a:pt x="117" y="39"/>
                  </a:lnTo>
                  <a:lnTo>
                    <a:pt x="117" y="37"/>
                  </a:lnTo>
                  <a:lnTo>
                    <a:pt x="119" y="37"/>
                  </a:lnTo>
                  <a:lnTo>
                    <a:pt x="117" y="35"/>
                  </a:lnTo>
                  <a:lnTo>
                    <a:pt x="117" y="34"/>
                  </a:lnTo>
                  <a:lnTo>
                    <a:pt x="117" y="32"/>
                  </a:lnTo>
                  <a:lnTo>
                    <a:pt x="116" y="31"/>
                  </a:lnTo>
                  <a:lnTo>
                    <a:pt x="116" y="29"/>
                  </a:lnTo>
                  <a:lnTo>
                    <a:pt x="116" y="27"/>
                  </a:lnTo>
                  <a:lnTo>
                    <a:pt x="116" y="26"/>
                  </a:lnTo>
                  <a:lnTo>
                    <a:pt x="117" y="26"/>
                  </a:lnTo>
                  <a:lnTo>
                    <a:pt x="119" y="27"/>
                  </a:lnTo>
                  <a:lnTo>
                    <a:pt x="121" y="27"/>
                  </a:lnTo>
                  <a:lnTo>
                    <a:pt x="122" y="27"/>
                  </a:lnTo>
                  <a:lnTo>
                    <a:pt x="124" y="27"/>
                  </a:lnTo>
                  <a:lnTo>
                    <a:pt x="124" y="29"/>
                  </a:lnTo>
                  <a:lnTo>
                    <a:pt x="126" y="31"/>
                  </a:lnTo>
                  <a:lnTo>
                    <a:pt x="126" y="32"/>
                  </a:lnTo>
                  <a:lnTo>
                    <a:pt x="126" y="34"/>
                  </a:lnTo>
                  <a:lnTo>
                    <a:pt x="127" y="35"/>
                  </a:lnTo>
                  <a:lnTo>
                    <a:pt x="127" y="37"/>
                  </a:lnTo>
                  <a:lnTo>
                    <a:pt x="129" y="37"/>
                  </a:lnTo>
                  <a:lnTo>
                    <a:pt x="127" y="35"/>
                  </a:lnTo>
                  <a:lnTo>
                    <a:pt x="127" y="34"/>
                  </a:lnTo>
                  <a:lnTo>
                    <a:pt x="126" y="32"/>
                  </a:lnTo>
                  <a:lnTo>
                    <a:pt x="127" y="31"/>
                  </a:lnTo>
                  <a:lnTo>
                    <a:pt x="126" y="29"/>
                  </a:lnTo>
                  <a:lnTo>
                    <a:pt x="126" y="27"/>
                  </a:lnTo>
                  <a:lnTo>
                    <a:pt x="124" y="26"/>
                  </a:lnTo>
                  <a:lnTo>
                    <a:pt x="122" y="24"/>
                  </a:lnTo>
                  <a:lnTo>
                    <a:pt x="121" y="24"/>
                  </a:lnTo>
                  <a:lnTo>
                    <a:pt x="121" y="22"/>
                  </a:lnTo>
                  <a:lnTo>
                    <a:pt x="122" y="22"/>
                  </a:lnTo>
                  <a:lnTo>
                    <a:pt x="126" y="21"/>
                  </a:lnTo>
                  <a:lnTo>
                    <a:pt x="127" y="21"/>
                  </a:lnTo>
                  <a:lnTo>
                    <a:pt x="129" y="22"/>
                  </a:lnTo>
                  <a:lnTo>
                    <a:pt x="129" y="21"/>
                  </a:lnTo>
                  <a:lnTo>
                    <a:pt x="130" y="21"/>
                  </a:lnTo>
                  <a:lnTo>
                    <a:pt x="132" y="21"/>
                  </a:lnTo>
                  <a:lnTo>
                    <a:pt x="134" y="22"/>
                  </a:lnTo>
                  <a:lnTo>
                    <a:pt x="135" y="24"/>
                  </a:lnTo>
                  <a:lnTo>
                    <a:pt x="137" y="24"/>
                  </a:lnTo>
                  <a:lnTo>
                    <a:pt x="139" y="27"/>
                  </a:lnTo>
                  <a:lnTo>
                    <a:pt x="140" y="29"/>
                  </a:lnTo>
                  <a:lnTo>
                    <a:pt x="140" y="31"/>
                  </a:lnTo>
                  <a:lnTo>
                    <a:pt x="140" y="32"/>
                  </a:lnTo>
                  <a:lnTo>
                    <a:pt x="139" y="32"/>
                  </a:lnTo>
                  <a:lnTo>
                    <a:pt x="140" y="32"/>
                  </a:lnTo>
                  <a:lnTo>
                    <a:pt x="140" y="34"/>
                  </a:lnTo>
                  <a:lnTo>
                    <a:pt x="142" y="34"/>
                  </a:lnTo>
                  <a:lnTo>
                    <a:pt x="142" y="35"/>
                  </a:lnTo>
                  <a:lnTo>
                    <a:pt x="144" y="35"/>
                  </a:lnTo>
                  <a:lnTo>
                    <a:pt x="144" y="37"/>
                  </a:lnTo>
                  <a:lnTo>
                    <a:pt x="144" y="40"/>
                  </a:lnTo>
                  <a:lnTo>
                    <a:pt x="142" y="40"/>
                  </a:lnTo>
                  <a:lnTo>
                    <a:pt x="144" y="42"/>
                  </a:lnTo>
                  <a:lnTo>
                    <a:pt x="142" y="42"/>
                  </a:lnTo>
                  <a:lnTo>
                    <a:pt x="142" y="44"/>
                  </a:lnTo>
                  <a:lnTo>
                    <a:pt x="140" y="45"/>
                  </a:lnTo>
                  <a:lnTo>
                    <a:pt x="140" y="47"/>
                  </a:lnTo>
                  <a:lnTo>
                    <a:pt x="139" y="47"/>
                  </a:lnTo>
                  <a:lnTo>
                    <a:pt x="140" y="45"/>
                  </a:lnTo>
                  <a:lnTo>
                    <a:pt x="139" y="45"/>
                  </a:lnTo>
                  <a:lnTo>
                    <a:pt x="137" y="45"/>
                  </a:lnTo>
                  <a:lnTo>
                    <a:pt x="137" y="47"/>
                  </a:lnTo>
                  <a:lnTo>
                    <a:pt x="135" y="49"/>
                  </a:lnTo>
                  <a:lnTo>
                    <a:pt x="137" y="49"/>
                  </a:lnTo>
                  <a:lnTo>
                    <a:pt x="137" y="47"/>
                  </a:lnTo>
                  <a:lnTo>
                    <a:pt x="139" y="47"/>
                  </a:lnTo>
                  <a:lnTo>
                    <a:pt x="140" y="47"/>
                  </a:lnTo>
                  <a:lnTo>
                    <a:pt x="144" y="45"/>
                  </a:lnTo>
                  <a:lnTo>
                    <a:pt x="145" y="45"/>
                  </a:lnTo>
                  <a:lnTo>
                    <a:pt x="147" y="45"/>
                  </a:lnTo>
                  <a:lnTo>
                    <a:pt x="147" y="47"/>
                  </a:lnTo>
                  <a:lnTo>
                    <a:pt x="147" y="49"/>
                  </a:lnTo>
                  <a:lnTo>
                    <a:pt x="147" y="50"/>
                  </a:lnTo>
                  <a:lnTo>
                    <a:pt x="145" y="53"/>
                  </a:lnTo>
                  <a:lnTo>
                    <a:pt x="144" y="55"/>
                  </a:lnTo>
                  <a:lnTo>
                    <a:pt x="144" y="57"/>
                  </a:lnTo>
                  <a:lnTo>
                    <a:pt x="142" y="57"/>
                  </a:lnTo>
                  <a:lnTo>
                    <a:pt x="139" y="57"/>
                  </a:lnTo>
                  <a:lnTo>
                    <a:pt x="135" y="60"/>
                  </a:lnTo>
                  <a:lnTo>
                    <a:pt x="134" y="60"/>
                  </a:lnTo>
                  <a:lnTo>
                    <a:pt x="134" y="62"/>
                  </a:lnTo>
                  <a:lnTo>
                    <a:pt x="134" y="60"/>
                  </a:lnTo>
                  <a:lnTo>
                    <a:pt x="134" y="62"/>
                  </a:lnTo>
                  <a:lnTo>
                    <a:pt x="135" y="62"/>
                  </a:lnTo>
                  <a:lnTo>
                    <a:pt x="137" y="60"/>
                  </a:lnTo>
                  <a:lnTo>
                    <a:pt x="137" y="62"/>
                  </a:lnTo>
                  <a:lnTo>
                    <a:pt x="139" y="60"/>
                  </a:lnTo>
                  <a:lnTo>
                    <a:pt x="140" y="60"/>
                  </a:lnTo>
                  <a:lnTo>
                    <a:pt x="144" y="58"/>
                  </a:lnTo>
                  <a:lnTo>
                    <a:pt x="144" y="57"/>
                  </a:lnTo>
                  <a:lnTo>
                    <a:pt x="145" y="55"/>
                  </a:lnTo>
                  <a:lnTo>
                    <a:pt x="147" y="53"/>
                  </a:lnTo>
                  <a:lnTo>
                    <a:pt x="147" y="55"/>
                  </a:lnTo>
                  <a:lnTo>
                    <a:pt x="147" y="58"/>
                  </a:lnTo>
                  <a:lnTo>
                    <a:pt x="145" y="60"/>
                  </a:lnTo>
                  <a:lnTo>
                    <a:pt x="144" y="60"/>
                  </a:lnTo>
                  <a:lnTo>
                    <a:pt x="144" y="62"/>
                  </a:lnTo>
                  <a:lnTo>
                    <a:pt x="142" y="63"/>
                  </a:lnTo>
                  <a:lnTo>
                    <a:pt x="142" y="65"/>
                  </a:lnTo>
                  <a:lnTo>
                    <a:pt x="144" y="65"/>
                  </a:lnTo>
                  <a:lnTo>
                    <a:pt x="144" y="63"/>
                  </a:lnTo>
                  <a:lnTo>
                    <a:pt x="144" y="62"/>
                  </a:lnTo>
                  <a:lnTo>
                    <a:pt x="145" y="62"/>
                  </a:lnTo>
                  <a:lnTo>
                    <a:pt x="147" y="60"/>
                  </a:lnTo>
                  <a:lnTo>
                    <a:pt x="148" y="58"/>
                  </a:lnTo>
                  <a:lnTo>
                    <a:pt x="148" y="57"/>
                  </a:lnTo>
                  <a:lnTo>
                    <a:pt x="150" y="57"/>
                  </a:lnTo>
                  <a:lnTo>
                    <a:pt x="150" y="58"/>
                  </a:lnTo>
                  <a:lnTo>
                    <a:pt x="150" y="60"/>
                  </a:lnTo>
                  <a:lnTo>
                    <a:pt x="148" y="62"/>
                  </a:lnTo>
                  <a:lnTo>
                    <a:pt x="147" y="62"/>
                  </a:lnTo>
                  <a:lnTo>
                    <a:pt x="147" y="63"/>
                  </a:lnTo>
                  <a:lnTo>
                    <a:pt x="145" y="63"/>
                  </a:lnTo>
                  <a:lnTo>
                    <a:pt x="144" y="65"/>
                  </a:lnTo>
                  <a:lnTo>
                    <a:pt x="142" y="66"/>
                  </a:lnTo>
                  <a:lnTo>
                    <a:pt x="140" y="66"/>
                  </a:lnTo>
                  <a:lnTo>
                    <a:pt x="139" y="68"/>
                  </a:lnTo>
                  <a:lnTo>
                    <a:pt x="137" y="68"/>
                  </a:lnTo>
                  <a:lnTo>
                    <a:pt x="135" y="70"/>
                  </a:lnTo>
                  <a:lnTo>
                    <a:pt x="135" y="71"/>
                  </a:lnTo>
                  <a:lnTo>
                    <a:pt x="137" y="70"/>
                  </a:lnTo>
                  <a:lnTo>
                    <a:pt x="139" y="70"/>
                  </a:lnTo>
                  <a:lnTo>
                    <a:pt x="140" y="68"/>
                  </a:lnTo>
                  <a:lnTo>
                    <a:pt x="144" y="68"/>
                  </a:lnTo>
                  <a:lnTo>
                    <a:pt x="144" y="66"/>
                  </a:lnTo>
                  <a:lnTo>
                    <a:pt x="145" y="66"/>
                  </a:lnTo>
                  <a:lnTo>
                    <a:pt x="147" y="65"/>
                  </a:lnTo>
                  <a:lnTo>
                    <a:pt x="148" y="63"/>
                  </a:lnTo>
                  <a:lnTo>
                    <a:pt x="150" y="63"/>
                  </a:lnTo>
                  <a:lnTo>
                    <a:pt x="150" y="65"/>
                  </a:lnTo>
                  <a:lnTo>
                    <a:pt x="148" y="66"/>
                  </a:lnTo>
                  <a:lnTo>
                    <a:pt x="147" y="68"/>
                  </a:lnTo>
                  <a:lnTo>
                    <a:pt x="147" y="70"/>
                  </a:lnTo>
                  <a:lnTo>
                    <a:pt x="145" y="71"/>
                  </a:lnTo>
                  <a:lnTo>
                    <a:pt x="142" y="73"/>
                  </a:lnTo>
                  <a:lnTo>
                    <a:pt x="142" y="75"/>
                  </a:lnTo>
                  <a:lnTo>
                    <a:pt x="140" y="76"/>
                  </a:lnTo>
                  <a:lnTo>
                    <a:pt x="142" y="76"/>
                  </a:lnTo>
                  <a:lnTo>
                    <a:pt x="140" y="76"/>
                  </a:lnTo>
                  <a:lnTo>
                    <a:pt x="142" y="76"/>
                  </a:lnTo>
                  <a:lnTo>
                    <a:pt x="144" y="75"/>
                  </a:lnTo>
                  <a:lnTo>
                    <a:pt x="145" y="73"/>
                  </a:lnTo>
                  <a:lnTo>
                    <a:pt x="148" y="71"/>
                  </a:lnTo>
                  <a:lnTo>
                    <a:pt x="148" y="70"/>
                  </a:lnTo>
                  <a:lnTo>
                    <a:pt x="148" y="68"/>
                  </a:lnTo>
                  <a:lnTo>
                    <a:pt x="152" y="66"/>
                  </a:lnTo>
                  <a:lnTo>
                    <a:pt x="152" y="65"/>
                  </a:lnTo>
                  <a:lnTo>
                    <a:pt x="152" y="63"/>
                  </a:lnTo>
                  <a:lnTo>
                    <a:pt x="153" y="63"/>
                  </a:lnTo>
                  <a:lnTo>
                    <a:pt x="153" y="62"/>
                  </a:lnTo>
                  <a:lnTo>
                    <a:pt x="155" y="60"/>
                  </a:lnTo>
                  <a:lnTo>
                    <a:pt x="157" y="58"/>
                  </a:lnTo>
                  <a:lnTo>
                    <a:pt x="158" y="60"/>
                  </a:lnTo>
                  <a:lnTo>
                    <a:pt x="160" y="60"/>
                  </a:lnTo>
                  <a:lnTo>
                    <a:pt x="160" y="62"/>
                  </a:lnTo>
                  <a:lnTo>
                    <a:pt x="160" y="60"/>
                  </a:lnTo>
                  <a:lnTo>
                    <a:pt x="161" y="60"/>
                  </a:lnTo>
                  <a:lnTo>
                    <a:pt x="161" y="62"/>
                  </a:lnTo>
                  <a:lnTo>
                    <a:pt x="160" y="62"/>
                  </a:lnTo>
                  <a:lnTo>
                    <a:pt x="160" y="63"/>
                  </a:lnTo>
                  <a:lnTo>
                    <a:pt x="160" y="65"/>
                  </a:lnTo>
                  <a:lnTo>
                    <a:pt x="160" y="66"/>
                  </a:lnTo>
                  <a:lnTo>
                    <a:pt x="161" y="66"/>
                  </a:lnTo>
                  <a:lnTo>
                    <a:pt x="161" y="68"/>
                  </a:lnTo>
                  <a:lnTo>
                    <a:pt x="160" y="70"/>
                  </a:lnTo>
                  <a:lnTo>
                    <a:pt x="160" y="71"/>
                  </a:lnTo>
                  <a:lnTo>
                    <a:pt x="161" y="70"/>
                  </a:lnTo>
                  <a:lnTo>
                    <a:pt x="161" y="71"/>
                  </a:lnTo>
                  <a:lnTo>
                    <a:pt x="160" y="71"/>
                  </a:lnTo>
                  <a:lnTo>
                    <a:pt x="160" y="73"/>
                  </a:lnTo>
                  <a:lnTo>
                    <a:pt x="160" y="71"/>
                  </a:lnTo>
                  <a:lnTo>
                    <a:pt x="160" y="73"/>
                  </a:lnTo>
                  <a:lnTo>
                    <a:pt x="161" y="73"/>
                  </a:lnTo>
                  <a:lnTo>
                    <a:pt x="160" y="75"/>
                  </a:lnTo>
                  <a:lnTo>
                    <a:pt x="158" y="76"/>
                  </a:lnTo>
                  <a:lnTo>
                    <a:pt x="158" y="78"/>
                  </a:lnTo>
                  <a:lnTo>
                    <a:pt x="157" y="79"/>
                  </a:lnTo>
                  <a:lnTo>
                    <a:pt x="155" y="81"/>
                  </a:lnTo>
                  <a:lnTo>
                    <a:pt x="153" y="83"/>
                  </a:lnTo>
                  <a:lnTo>
                    <a:pt x="153" y="84"/>
                  </a:lnTo>
                  <a:lnTo>
                    <a:pt x="150" y="84"/>
                  </a:lnTo>
                  <a:lnTo>
                    <a:pt x="148" y="86"/>
                  </a:lnTo>
                  <a:lnTo>
                    <a:pt x="148" y="88"/>
                  </a:lnTo>
                  <a:lnTo>
                    <a:pt x="148" y="89"/>
                  </a:lnTo>
                  <a:lnTo>
                    <a:pt x="147" y="89"/>
                  </a:lnTo>
                  <a:lnTo>
                    <a:pt x="145" y="89"/>
                  </a:lnTo>
                  <a:lnTo>
                    <a:pt x="145" y="91"/>
                  </a:lnTo>
                  <a:lnTo>
                    <a:pt x="147" y="91"/>
                  </a:lnTo>
                  <a:lnTo>
                    <a:pt x="148" y="89"/>
                  </a:lnTo>
                  <a:lnTo>
                    <a:pt x="150" y="89"/>
                  </a:lnTo>
                  <a:lnTo>
                    <a:pt x="152" y="86"/>
                  </a:lnTo>
                  <a:lnTo>
                    <a:pt x="153" y="84"/>
                  </a:lnTo>
                  <a:lnTo>
                    <a:pt x="155" y="83"/>
                  </a:lnTo>
                  <a:lnTo>
                    <a:pt x="157" y="83"/>
                  </a:lnTo>
                  <a:lnTo>
                    <a:pt x="158" y="81"/>
                  </a:lnTo>
                  <a:lnTo>
                    <a:pt x="157" y="79"/>
                  </a:lnTo>
                  <a:lnTo>
                    <a:pt x="158" y="79"/>
                  </a:lnTo>
                  <a:lnTo>
                    <a:pt x="160" y="79"/>
                  </a:lnTo>
                  <a:lnTo>
                    <a:pt x="161" y="78"/>
                  </a:lnTo>
                  <a:lnTo>
                    <a:pt x="161" y="76"/>
                  </a:lnTo>
                  <a:lnTo>
                    <a:pt x="163" y="76"/>
                  </a:lnTo>
                  <a:lnTo>
                    <a:pt x="163" y="75"/>
                  </a:lnTo>
                  <a:lnTo>
                    <a:pt x="165" y="73"/>
                  </a:lnTo>
                  <a:lnTo>
                    <a:pt x="165" y="75"/>
                  </a:lnTo>
                  <a:lnTo>
                    <a:pt x="165" y="76"/>
                  </a:lnTo>
                  <a:lnTo>
                    <a:pt x="163" y="78"/>
                  </a:lnTo>
                  <a:lnTo>
                    <a:pt x="163" y="79"/>
                  </a:lnTo>
                  <a:lnTo>
                    <a:pt x="163" y="81"/>
                  </a:lnTo>
                  <a:lnTo>
                    <a:pt x="165" y="81"/>
                  </a:lnTo>
                  <a:lnTo>
                    <a:pt x="163" y="81"/>
                  </a:lnTo>
                  <a:lnTo>
                    <a:pt x="163" y="79"/>
                  </a:lnTo>
                  <a:lnTo>
                    <a:pt x="165" y="79"/>
                  </a:lnTo>
                  <a:lnTo>
                    <a:pt x="165" y="78"/>
                  </a:lnTo>
                  <a:lnTo>
                    <a:pt x="165" y="79"/>
                  </a:lnTo>
                  <a:lnTo>
                    <a:pt x="165" y="81"/>
                  </a:lnTo>
                  <a:lnTo>
                    <a:pt x="165" y="83"/>
                  </a:lnTo>
                  <a:lnTo>
                    <a:pt x="163" y="83"/>
                  </a:lnTo>
                  <a:lnTo>
                    <a:pt x="161" y="86"/>
                  </a:lnTo>
                  <a:lnTo>
                    <a:pt x="161" y="88"/>
                  </a:lnTo>
                  <a:lnTo>
                    <a:pt x="163" y="88"/>
                  </a:lnTo>
                  <a:lnTo>
                    <a:pt x="163" y="86"/>
                  </a:lnTo>
                  <a:lnTo>
                    <a:pt x="165" y="86"/>
                  </a:lnTo>
                  <a:lnTo>
                    <a:pt x="163" y="86"/>
                  </a:lnTo>
                  <a:lnTo>
                    <a:pt x="163" y="84"/>
                  </a:lnTo>
                  <a:lnTo>
                    <a:pt x="165" y="84"/>
                  </a:lnTo>
                  <a:lnTo>
                    <a:pt x="165" y="83"/>
                  </a:lnTo>
                  <a:lnTo>
                    <a:pt x="166" y="83"/>
                  </a:lnTo>
                  <a:lnTo>
                    <a:pt x="165" y="84"/>
                  </a:lnTo>
                  <a:lnTo>
                    <a:pt x="165" y="86"/>
                  </a:lnTo>
                  <a:lnTo>
                    <a:pt x="163" y="86"/>
                  </a:lnTo>
                  <a:lnTo>
                    <a:pt x="163" y="88"/>
                  </a:lnTo>
                  <a:lnTo>
                    <a:pt x="161" y="88"/>
                  </a:lnTo>
                  <a:lnTo>
                    <a:pt x="161" y="89"/>
                  </a:lnTo>
                  <a:lnTo>
                    <a:pt x="158" y="91"/>
                  </a:lnTo>
                  <a:lnTo>
                    <a:pt x="158" y="92"/>
                  </a:lnTo>
                  <a:lnTo>
                    <a:pt x="157" y="92"/>
                  </a:lnTo>
                  <a:lnTo>
                    <a:pt x="155" y="94"/>
                  </a:lnTo>
                  <a:lnTo>
                    <a:pt x="153" y="96"/>
                  </a:lnTo>
                  <a:lnTo>
                    <a:pt x="152" y="96"/>
                  </a:lnTo>
                  <a:lnTo>
                    <a:pt x="150" y="96"/>
                  </a:lnTo>
                  <a:lnTo>
                    <a:pt x="148" y="97"/>
                  </a:lnTo>
                  <a:lnTo>
                    <a:pt x="147" y="97"/>
                  </a:lnTo>
                  <a:lnTo>
                    <a:pt x="148" y="97"/>
                  </a:lnTo>
                  <a:lnTo>
                    <a:pt x="150" y="97"/>
                  </a:lnTo>
                  <a:lnTo>
                    <a:pt x="152" y="97"/>
                  </a:lnTo>
                  <a:lnTo>
                    <a:pt x="153" y="97"/>
                  </a:lnTo>
                  <a:lnTo>
                    <a:pt x="153" y="96"/>
                  </a:lnTo>
                  <a:lnTo>
                    <a:pt x="155" y="96"/>
                  </a:lnTo>
                  <a:lnTo>
                    <a:pt x="157" y="94"/>
                  </a:lnTo>
                  <a:lnTo>
                    <a:pt x="157" y="96"/>
                  </a:lnTo>
                  <a:lnTo>
                    <a:pt x="157" y="94"/>
                  </a:lnTo>
                  <a:lnTo>
                    <a:pt x="158" y="96"/>
                  </a:lnTo>
                  <a:lnTo>
                    <a:pt x="158" y="94"/>
                  </a:lnTo>
                  <a:lnTo>
                    <a:pt x="160" y="94"/>
                  </a:lnTo>
                  <a:lnTo>
                    <a:pt x="161" y="92"/>
                  </a:lnTo>
                  <a:lnTo>
                    <a:pt x="165" y="89"/>
                  </a:lnTo>
                  <a:lnTo>
                    <a:pt x="166" y="88"/>
                  </a:lnTo>
                  <a:lnTo>
                    <a:pt x="168" y="88"/>
                  </a:lnTo>
                  <a:lnTo>
                    <a:pt x="168" y="89"/>
                  </a:lnTo>
                  <a:lnTo>
                    <a:pt x="168" y="88"/>
                  </a:lnTo>
                  <a:lnTo>
                    <a:pt x="168" y="86"/>
                  </a:lnTo>
                  <a:lnTo>
                    <a:pt x="168" y="84"/>
                  </a:lnTo>
                  <a:lnTo>
                    <a:pt x="168" y="86"/>
                  </a:lnTo>
                  <a:lnTo>
                    <a:pt x="168" y="83"/>
                  </a:lnTo>
                  <a:lnTo>
                    <a:pt x="170" y="81"/>
                  </a:lnTo>
                  <a:lnTo>
                    <a:pt x="170" y="78"/>
                  </a:lnTo>
                  <a:lnTo>
                    <a:pt x="171" y="75"/>
                  </a:lnTo>
                  <a:lnTo>
                    <a:pt x="171" y="73"/>
                  </a:lnTo>
                  <a:lnTo>
                    <a:pt x="170" y="73"/>
                  </a:lnTo>
                  <a:lnTo>
                    <a:pt x="170" y="71"/>
                  </a:lnTo>
                  <a:lnTo>
                    <a:pt x="170" y="70"/>
                  </a:lnTo>
                  <a:lnTo>
                    <a:pt x="170" y="68"/>
                  </a:lnTo>
                  <a:lnTo>
                    <a:pt x="171" y="68"/>
                  </a:lnTo>
                  <a:lnTo>
                    <a:pt x="173" y="68"/>
                  </a:lnTo>
                  <a:lnTo>
                    <a:pt x="173" y="70"/>
                  </a:lnTo>
                  <a:lnTo>
                    <a:pt x="173" y="68"/>
                  </a:lnTo>
                  <a:lnTo>
                    <a:pt x="171" y="68"/>
                  </a:lnTo>
                  <a:lnTo>
                    <a:pt x="171" y="66"/>
                  </a:lnTo>
                  <a:lnTo>
                    <a:pt x="173" y="66"/>
                  </a:lnTo>
                  <a:lnTo>
                    <a:pt x="173" y="65"/>
                  </a:lnTo>
                  <a:lnTo>
                    <a:pt x="174" y="65"/>
                  </a:lnTo>
                  <a:lnTo>
                    <a:pt x="176" y="65"/>
                  </a:lnTo>
                  <a:lnTo>
                    <a:pt x="178" y="65"/>
                  </a:lnTo>
                  <a:lnTo>
                    <a:pt x="178" y="63"/>
                  </a:lnTo>
                  <a:lnTo>
                    <a:pt x="176" y="63"/>
                  </a:lnTo>
                  <a:lnTo>
                    <a:pt x="178" y="63"/>
                  </a:lnTo>
                  <a:lnTo>
                    <a:pt x="176" y="63"/>
                  </a:lnTo>
                  <a:lnTo>
                    <a:pt x="174" y="63"/>
                  </a:lnTo>
                  <a:lnTo>
                    <a:pt x="171" y="62"/>
                  </a:lnTo>
                  <a:lnTo>
                    <a:pt x="171" y="60"/>
                  </a:lnTo>
                  <a:lnTo>
                    <a:pt x="170" y="58"/>
                  </a:lnTo>
                  <a:lnTo>
                    <a:pt x="170" y="57"/>
                  </a:lnTo>
                  <a:lnTo>
                    <a:pt x="170" y="55"/>
                  </a:lnTo>
                  <a:lnTo>
                    <a:pt x="168" y="55"/>
                  </a:lnTo>
                  <a:lnTo>
                    <a:pt x="168" y="53"/>
                  </a:lnTo>
                  <a:lnTo>
                    <a:pt x="166" y="53"/>
                  </a:lnTo>
                  <a:lnTo>
                    <a:pt x="166" y="52"/>
                  </a:lnTo>
                  <a:lnTo>
                    <a:pt x="165" y="52"/>
                  </a:lnTo>
                  <a:lnTo>
                    <a:pt x="165" y="50"/>
                  </a:lnTo>
                  <a:lnTo>
                    <a:pt x="165" y="49"/>
                  </a:lnTo>
                  <a:lnTo>
                    <a:pt x="163" y="49"/>
                  </a:lnTo>
                  <a:lnTo>
                    <a:pt x="163" y="47"/>
                  </a:lnTo>
                  <a:lnTo>
                    <a:pt x="161" y="47"/>
                  </a:lnTo>
                  <a:lnTo>
                    <a:pt x="163" y="47"/>
                  </a:lnTo>
                  <a:lnTo>
                    <a:pt x="161" y="45"/>
                  </a:lnTo>
                  <a:lnTo>
                    <a:pt x="160" y="44"/>
                  </a:lnTo>
                  <a:lnTo>
                    <a:pt x="160" y="42"/>
                  </a:lnTo>
                  <a:lnTo>
                    <a:pt x="158" y="42"/>
                  </a:lnTo>
                  <a:lnTo>
                    <a:pt x="158" y="39"/>
                  </a:lnTo>
                  <a:lnTo>
                    <a:pt x="157" y="37"/>
                  </a:lnTo>
                  <a:lnTo>
                    <a:pt x="158" y="35"/>
                  </a:lnTo>
                  <a:lnTo>
                    <a:pt x="157" y="34"/>
                  </a:lnTo>
                  <a:lnTo>
                    <a:pt x="158" y="32"/>
                  </a:lnTo>
                  <a:lnTo>
                    <a:pt x="158" y="31"/>
                  </a:lnTo>
                  <a:lnTo>
                    <a:pt x="160" y="31"/>
                  </a:lnTo>
                  <a:lnTo>
                    <a:pt x="161" y="31"/>
                  </a:lnTo>
                  <a:lnTo>
                    <a:pt x="163" y="31"/>
                  </a:lnTo>
                  <a:lnTo>
                    <a:pt x="165" y="31"/>
                  </a:lnTo>
                  <a:lnTo>
                    <a:pt x="166" y="31"/>
                  </a:lnTo>
                  <a:lnTo>
                    <a:pt x="170" y="31"/>
                  </a:lnTo>
                  <a:lnTo>
                    <a:pt x="171" y="32"/>
                  </a:lnTo>
                  <a:lnTo>
                    <a:pt x="173" y="32"/>
                  </a:lnTo>
                  <a:lnTo>
                    <a:pt x="173" y="34"/>
                  </a:lnTo>
                  <a:lnTo>
                    <a:pt x="173" y="35"/>
                  </a:lnTo>
                  <a:lnTo>
                    <a:pt x="174" y="37"/>
                  </a:lnTo>
                  <a:lnTo>
                    <a:pt x="176" y="37"/>
                  </a:lnTo>
                  <a:lnTo>
                    <a:pt x="178" y="39"/>
                  </a:lnTo>
                  <a:lnTo>
                    <a:pt x="178" y="37"/>
                  </a:lnTo>
                  <a:lnTo>
                    <a:pt x="178" y="39"/>
                  </a:lnTo>
                  <a:lnTo>
                    <a:pt x="178" y="40"/>
                  </a:lnTo>
                  <a:lnTo>
                    <a:pt x="178" y="42"/>
                  </a:lnTo>
                  <a:lnTo>
                    <a:pt x="179" y="42"/>
                  </a:lnTo>
                  <a:lnTo>
                    <a:pt x="179" y="44"/>
                  </a:lnTo>
                  <a:lnTo>
                    <a:pt x="181" y="44"/>
                  </a:lnTo>
                  <a:lnTo>
                    <a:pt x="181" y="42"/>
                  </a:lnTo>
                  <a:lnTo>
                    <a:pt x="179" y="40"/>
                  </a:lnTo>
                  <a:lnTo>
                    <a:pt x="181" y="39"/>
                  </a:lnTo>
                  <a:lnTo>
                    <a:pt x="181" y="40"/>
                  </a:lnTo>
                  <a:lnTo>
                    <a:pt x="183" y="40"/>
                  </a:lnTo>
                  <a:lnTo>
                    <a:pt x="184" y="40"/>
                  </a:lnTo>
                  <a:lnTo>
                    <a:pt x="186" y="40"/>
                  </a:lnTo>
                  <a:lnTo>
                    <a:pt x="187" y="40"/>
                  </a:lnTo>
                  <a:lnTo>
                    <a:pt x="189" y="40"/>
                  </a:lnTo>
                  <a:lnTo>
                    <a:pt x="191" y="42"/>
                  </a:lnTo>
                  <a:lnTo>
                    <a:pt x="192" y="40"/>
                  </a:lnTo>
                  <a:lnTo>
                    <a:pt x="192" y="42"/>
                  </a:lnTo>
                  <a:lnTo>
                    <a:pt x="192" y="40"/>
                  </a:lnTo>
                  <a:lnTo>
                    <a:pt x="191" y="40"/>
                  </a:lnTo>
                  <a:lnTo>
                    <a:pt x="191" y="39"/>
                  </a:lnTo>
                  <a:lnTo>
                    <a:pt x="187" y="39"/>
                  </a:lnTo>
                  <a:lnTo>
                    <a:pt x="186" y="39"/>
                  </a:lnTo>
                  <a:lnTo>
                    <a:pt x="183" y="37"/>
                  </a:lnTo>
                  <a:lnTo>
                    <a:pt x="183" y="35"/>
                  </a:lnTo>
                  <a:lnTo>
                    <a:pt x="184" y="34"/>
                  </a:lnTo>
                  <a:lnTo>
                    <a:pt x="186" y="35"/>
                  </a:lnTo>
                  <a:lnTo>
                    <a:pt x="187" y="34"/>
                  </a:lnTo>
                  <a:lnTo>
                    <a:pt x="189" y="34"/>
                  </a:lnTo>
                  <a:lnTo>
                    <a:pt x="191" y="34"/>
                  </a:lnTo>
                  <a:lnTo>
                    <a:pt x="191" y="32"/>
                  </a:lnTo>
                  <a:lnTo>
                    <a:pt x="189" y="32"/>
                  </a:lnTo>
                  <a:lnTo>
                    <a:pt x="191" y="31"/>
                  </a:lnTo>
                  <a:lnTo>
                    <a:pt x="189" y="31"/>
                  </a:lnTo>
                  <a:lnTo>
                    <a:pt x="189" y="29"/>
                  </a:lnTo>
                  <a:lnTo>
                    <a:pt x="189" y="31"/>
                  </a:lnTo>
                  <a:lnTo>
                    <a:pt x="187" y="32"/>
                  </a:lnTo>
                  <a:lnTo>
                    <a:pt x="186" y="32"/>
                  </a:lnTo>
                  <a:lnTo>
                    <a:pt x="184" y="32"/>
                  </a:lnTo>
                  <a:lnTo>
                    <a:pt x="183" y="32"/>
                  </a:lnTo>
                  <a:lnTo>
                    <a:pt x="183" y="34"/>
                  </a:lnTo>
                  <a:lnTo>
                    <a:pt x="181" y="34"/>
                  </a:lnTo>
                  <a:lnTo>
                    <a:pt x="181" y="32"/>
                  </a:lnTo>
                  <a:lnTo>
                    <a:pt x="179" y="31"/>
                  </a:lnTo>
                  <a:lnTo>
                    <a:pt x="178" y="31"/>
                  </a:lnTo>
                  <a:lnTo>
                    <a:pt x="178" y="29"/>
                  </a:lnTo>
                  <a:lnTo>
                    <a:pt x="178" y="27"/>
                  </a:lnTo>
                  <a:lnTo>
                    <a:pt x="181" y="26"/>
                  </a:lnTo>
                  <a:lnTo>
                    <a:pt x="181" y="24"/>
                  </a:lnTo>
                  <a:lnTo>
                    <a:pt x="183" y="24"/>
                  </a:lnTo>
                  <a:lnTo>
                    <a:pt x="183" y="22"/>
                  </a:lnTo>
                  <a:lnTo>
                    <a:pt x="184" y="22"/>
                  </a:lnTo>
                  <a:lnTo>
                    <a:pt x="186" y="24"/>
                  </a:lnTo>
                  <a:lnTo>
                    <a:pt x="187" y="24"/>
                  </a:lnTo>
                  <a:lnTo>
                    <a:pt x="186" y="22"/>
                  </a:lnTo>
                  <a:lnTo>
                    <a:pt x="187" y="22"/>
                  </a:lnTo>
                  <a:lnTo>
                    <a:pt x="186" y="22"/>
                  </a:lnTo>
                  <a:lnTo>
                    <a:pt x="184" y="22"/>
                  </a:lnTo>
                  <a:lnTo>
                    <a:pt x="183" y="21"/>
                  </a:lnTo>
                  <a:lnTo>
                    <a:pt x="181" y="21"/>
                  </a:lnTo>
                  <a:lnTo>
                    <a:pt x="181" y="22"/>
                  </a:lnTo>
                  <a:lnTo>
                    <a:pt x="179" y="22"/>
                  </a:lnTo>
                  <a:lnTo>
                    <a:pt x="179" y="24"/>
                  </a:lnTo>
                  <a:lnTo>
                    <a:pt x="178" y="24"/>
                  </a:lnTo>
                  <a:lnTo>
                    <a:pt x="176" y="24"/>
                  </a:lnTo>
                  <a:lnTo>
                    <a:pt x="173" y="24"/>
                  </a:lnTo>
                  <a:lnTo>
                    <a:pt x="171" y="24"/>
                  </a:lnTo>
                  <a:lnTo>
                    <a:pt x="171" y="22"/>
                  </a:lnTo>
                  <a:lnTo>
                    <a:pt x="173" y="21"/>
                  </a:lnTo>
                  <a:lnTo>
                    <a:pt x="174" y="21"/>
                  </a:lnTo>
                  <a:lnTo>
                    <a:pt x="174" y="19"/>
                  </a:lnTo>
                  <a:lnTo>
                    <a:pt x="176" y="21"/>
                  </a:lnTo>
                  <a:lnTo>
                    <a:pt x="176" y="19"/>
                  </a:lnTo>
                  <a:lnTo>
                    <a:pt x="178" y="18"/>
                  </a:lnTo>
                  <a:lnTo>
                    <a:pt x="176" y="19"/>
                  </a:lnTo>
                  <a:lnTo>
                    <a:pt x="174" y="19"/>
                  </a:lnTo>
                  <a:lnTo>
                    <a:pt x="173" y="19"/>
                  </a:lnTo>
                  <a:lnTo>
                    <a:pt x="171" y="19"/>
                  </a:lnTo>
                  <a:lnTo>
                    <a:pt x="170" y="21"/>
                  </a:lnTo>
                  <a:lnTo>
                    <a:pt x="168" y="22"/>
                  </a:lnTo>
                  <a:lnTo>
                    <a:pt x="166" y="22"/>
                  </a:lnTo>
                  <a:lnTo>
                    <a:pt x="166" y="21"/>
                  </a:lnTo>
                  <a:lnTo>
                    <a:pt x="165" y="21"/>
                  </a:lnTo>
                  <a:lnTo>
                    <a:pt x="165" y="22"/>
                  </a:lnTo>
                  <a:lnTo>
                    <a:pt x="165" y="21"/>
                  </a:lnTo>
                  <a:lnTo>
                    <a:pt x="163" y="21"/>
                  </a:lnTo>
                  <a:lnTo>
                    <a:pt x="161" y="21"/>
                  </a:lnTo>
                  <a:lnTo>
                    <a:pt x="160" y="19"/>
                  </a:lnTo>
                  <a:lnTo>
                    <a:pt x="160" y="18"/>
                  </a:lnTo>
                  <a:lnTo>
                    <a:pt x="160" y="16"/>
                  </a:lnTo>
                  <a:lnTo>
                    <a:pt x="158" y="16"/>
                  </a:lnTo>
                  <a:lnTo>
                    <a:pt x="158" y="14"/>
                  </a:lnTo>
                  <a:lnTo>
                    <a:pt x="157" y="13"/>
                  </a:lnTo>
                  <a:lnTo>
                    <a:pt x="157" y="9"/>
                  </a:lnTo>
                  <a:lnTo>
                    <a:pt x="157" y="8"/>
                  </a:lnTo>
                  <a:lnTo>
                    <a:pt x="158" y="8"/>
                  </a:lnTo>
                  <a:lnTo>
                    <a:pt x="158" y="9"/>
                  </a:lnTo>
                  <a:lnTo>
                    <a:pt x="160" y="11"/>
                  </a:lnTo>
                  <a:lnTo>
                    <a:pt x="160" y="13"/>
                  </a:lnTo>
                  <a:lnTo>
                    <a:pt x="161" y="13"/>
                  </a:lnTo>
                  <a:lnTo>
                    <a:pt x="163" y="13"/>
                  </a:lnTo>
                  <a:lnTo>
                    <a:pt x="165" y="13"/>
                  </a:lnTo>
                  <a:lnTo>
                    <a:pt x="166" y="11"/>
                  </a:lnTo>
                  <a:lnTo>
                    <a:pt x="168" y="9"/>
                  </a:lnTo>
                  <a:lnTo>
                    <a:pt x="168" y="8"/>
                  </a:lnTo>
                  <a:lnTo>
                    <a:pt x="166" y="8"/>
                  </a:lnTo>
                  <a:lnTo>
                    <a:pt x="166" y="6"/>
                  </a:lnTo>
                  <a:lnTo>
                    <a:pt x="165" y="6"/>
                  </a:lnTo>
                  <a:lnTo>
                    <a:pt x="165" y="3"/>
                  </a:lnTo>
                  <a:lnTo>
                    <a:pt x="165" y="0"/>
                  </a:lnTo>
                  <a:lnTo>
                    <a:pt x="166" y="0"/>
                  </a:lnTo>
                  <a:lnTo>
                    <a:pt x="168" y="1"/>
                  </a:lnTo>
                  <a:lnTo>
                    <a:pt x="168" y="3"/>
                  </a:lnTo>
                  <a:lnTo>
                    <a:pt x="168" y="5"/>
                  </a:lnTo>
                  <a:lnTo>
                    <a:pt x="170" y="5"/>
                  </a:lnTo>
                  <a:lnTo>
                    <a:pt x="168" y="6"/>
                  </a:lnTo>
                  <a:lnTo>
                    <a:pt x="170" y="6"/>
                  </a:lnTo>
                  <a:lnTo>
                    <a:pt x="170" y="5"/>
                  </a:lnTo>
                  <a:lnTo>
                    <a:pt x="170" y="3"/>
                  </a:lnTo>
                  <a:lnTo>
                    <a:pt x="171" y="3"/>
                  </a:lnTo>
                  <a:lnTo>
                    <a:pt x="173" y="5"/>
                  </a:lnTo>
                  <a:lnTo>
                    <a:pt x="174" y="5"/>
                  </a:lnTo>
                  <a:lnTo>
                    <a:pt x="176" y="5"/>
                  </a:lnTo>
                  <a:lnTo>
                    <a:pt x="178" y="5"/>
                  </a:lnTo>
                  <a:lnTo>
                    <a:pt x="178" y="6"/>
                  </a:lnTo>
                  <a:lnTo>
                    <a:pt x="178" y="8"/>
                  </a:lnTo>
                  <a:lnTo>
                    <a:pt x="178" y="9"/>
                  </a:lnTo>
                  <a:lnTo>
                    <a:pt x="178" y="11"/>
                  </a:lnTo>
                  <a:lnTo>
                    <a:pt x="178" y="9"/>
                  </a:lnTo>
                  <a:lnTo>
                    <a:pt x="179" y="9"/>
                  </a:lnTo>
                  <a:lnTo>
                    <a:pt x="179" y="8"/>
                  </a:lnTo>
                  <a:lnTo>
                    <a:pt x="179" y="6"/>
                  </a:lnTo>
                  <a:lnTo>
                    <a:pt x="178" y="6"/>
                  </a:lnTo>
                  <a:lnTo>
                    <a:pt x="178" y="5"/>
                  </a:lnTo>
                  <a:lnTo>
                    <a:pt x="176" y="5"/>
                  </a:lnTo>
                  <a:lnTo>
                    <a:pt x="178" y="3"/>
                  </a:lnTo>
                  <a:lnTo>
                    <a:pt x="176" y="1"/>
                  </a:lnTo>
                  <a:lnTo>
                    <a:pt x="178" y="1"/>
                  </a:lnTo>
                  <a:lnTo>
                    <a:pt x="179" y="1"/>
                  </a:lnTo>
                  <a:lnTo>
                    <a:pt x="179" y="3"/>
                  </a:lnTo>
                  <a:lnTo>
                    <a:pt x="181" y="3"/>
                  </a:lnTo>
                  <a:lnTo>
                    <a:pt x="181" y="5"/>
                  </a:lnTo>
                  <a:lnTo>
                    <a:pt x="183" y="6"/>
                  </a:lnTo>
                  <a:lnTo>
                    <a:pt x="183" y="8"/>
                  </a:lnTo>
                  <a:lnTo>
                    <a:pt x="184" y="8"/>
                  </a:lnTo>
                  <a:lnTo>
                    <a:pt x="184" y="9"/>
                  </a:lnTo>
                  <a:lnTo>
                    <a:pt x="186" y="9"/>
                  </a:lnTo>
                  <a:lnTo>
                    <a:pt x="186" y="11"/>
                  </a:lnTo>
                  <a:lnTo>
                    <a:pt x="186" y="13"/>
                  </a:lnTo>
                  <a:lnTo>
                    <a:pt x="184" y="13"/>
                  </a:lnTo>
                  <a:lnTo>
                    <a:pt x="186" y="13"/>
                  </a:lnTo>
                  <a:lnTo>
                    <a:pt x="186" y="14"/>
                  </a:lnTo>
                  <a:lnTo>
                    <a:pt x="187" y="14"/>
                  </a:lnTo>
                  <a:lnTo>
                    <a:pt x="189" y="14"/>
                  </a:lnTo>
                  <a:lnTo>
                    <a:pt x="189" y="13"/>
                  </a:lnTo>
                  <a:lnTo>
                    <a:pt x="191" y="13"/>
                  </a:lnTo>
                  <a:lnTo>
                    <a:pt x="192" y="13"/>
                  </a:lnTo>
                  <a:lnTo>
                    <a:pt x="192" y="11"/>
                  </a:lnTo>
                  <a:lnTo>
                    <a:pt x="192" y="9"/>
                  </a:lnTo>
                  <a:lnTo>
                    <a:pt x="194" y="9"/>
                  </a:lnTo>
                  <a:lnTo>
                    <a:pt x="196" y="11"/>
                  </a:lnTo>
                  <a:lnTo>
                    <a:pt x="196" y="13"/>
                  </a:lnTo>
                  <a:lnTo>
                    <a:pt x="197" y="14"/>
                  </a:lnTo>
                  <a:lnTo>
                    <a:pt x="197" y="16"/>
                  </a:lnTo>
                  <a:lnTo>
                    <a:pt x="196" y="16"/>
                  </a:lnTo>
                  <a:lnTo>
                    <a:pt x="197" y="18"/>
                  </a:lnTo>
                  <a:lnTo>
                    <a:pt x="199" y="19"/>
                  </a:lnTo>
                  <a:lnTo>
                    <a:pt x="197" y="21"/>
                  </a:lnTo>
                  <a:lnTo>
                    <a:pt x="196" y="21"/>
                  </a:lnTo>
                  <a:lnTo>
                    <a:pt x="197" y="21"/>
                  </a:lnTo>
                  <a:lnTo>
                    <a:pt x="199" y="19"/>
                  </a:lnTo>
                  <a:lnTo>
                    <a:pt x="200" y="19"/>
                  </a:lnTo>
                  <a:lnTo>
                    <a:pt x="200" y="18"/>
                  </a:lnTo>
                  <a:lnTo>
                    <a:pt x="200" y="16"/>
                  </a:lnTo>
                  <a:lnTo>
                    <a:pt x="200" y="14"/>
                  </a:lnTo>
                  <a:lnTo>
                    <a:pt x="202" y="14"/>
                  </a:lnTo>
                  <a:lnTo>
                    <a:pt x="204" y="16"/>
                  </a:lnTo>
                  <a:lnTo>
                    <a:pt x="204" y="18"/>
                  </a:lnTo>
                  <a:lnTo>
                    <a:pt x="204" y="19"/>
                  </a:lnTo>
                  <a:lnTo>
                    <a:pt x="202" y="19"/>
                  </a:lnTo>
                  <a:lnTo>
                    <a:pt x="202" y="22"/>
                  </a:lnTo>
                  <a:lnTo>
                    <a:pt x="202" y="24"/>
                  </a:lnTo>
                  <a:lnTo>
                    <a:pt x="200" y="26"/>
                  </a:lnTo>
                  <a:lnTo>
                    <a:pt x="202" y="26"/>
                  </a:lnTo>
                  <a:lnTo>
                    <a:pt x="202" y="27"/>
                  </a:lnTo>
                  <a:lnTo>
                    <a:pt x="204" y="29"/>
                  </a:lnTo>
                  <a:lnTo>
                    <a:pt x="204" y="31"/>
                  </a:lnTo>
                  <a:lnTo>
                    <a:pt x="204" y="32"/>
                  </a:lnTo>
                  <a:lnTo>
                    <a:pt x="205" y="34"/>
                  </a:lnTo>
                  <a:lnTo>
                    <a:pt x="204" y="34"/>
                  </a:lnTo>
                  <a:lnTo>
                    <a:pt x="204" y="35"/>
                  </a:lnTo>
                  <a:lnTo>
                    <a:pt x="204" y="37"/>
                  </a:lnTo>
                  <a:lnTo>
                    <a:pt x="205" y="37"/>
                  </a:lnTo>
                  <a:lnTo>
                    <a:pt x="204" y="39"/>
                  </a:lnTo>
                  <a:lnTo>
                    <a:pt x="202" y="39"/>
                  </a:lnTo>
                  <a:lnTo>
                    <a:pt x="202" y="40"/>
                  </a:lnTo>
                  <a:lnTo>
                    <a:pt x="202" y="42"/>
                  </a:lnTo>
                  <a:lnTo>
                    <a:pt x="200" y="44"/>
                  </a:lnTo>
                  <a:lnTo>
                    <a:pt x="199" y="44"/>
                  </a:lnTo>
                  <a:lnTo>
                    <a:pt x="199" y="45"/>
                  </a:lnTo>
                  <a:lnTo>
                    <a:pt x="199" y="47"/>
                  </a:lnTo>
                  <a:lnTo>
                    <a:pt x="200" y="47"/>
                  </a:lnTo>
                  <a:lnTo>
                    <a:pt x="202" y="45"/>
                  </a:lnTo>
                  <a:lnTo>
                    <a:pt x="204" y="45"/>
                  </a:lnTo>
                  <a:lnTo>
                    <a:pt x="205" y="45"/>
                  </a:lnTo>
                  <a:lnTo>
                    <a:pt x="204" y="47"/>
                  </a:lnTo>
                  <a:lnTo>
                    <a:pt x="204" y="49"/>
                  </a:lnTo>
                  <a:lnTo>
                    <a:pt x="202" y="49"/>
                  </a:lnTo>
                  <a:lnTo>
                    <a:pt x="202" y="50"/>
                  </a:lnTo>
                  <a:lnTo>
                    <a:pt x="202" y="49"/>
                  </a:lnTo>
                  <a:lnTo>
                    <a:pt x="202" y="50"/>
                  </a:lnTo>
                  <a:lnTo>
                    <a:pt x="204" y="49"/>
                  </a:lnTo>
                  <a:lnTo>
                    <a:pt x="205" y="49"/>
                  </a:lnTo>
                  <a:lnTo>
                    <a:pt x="205" y="47"/>
                  </a:lnTo>
                  <a:lnTo>
                    <a:pt x="207" y="47"/>
                  </a:lnTo>
                  <a:lnTo>
                    <a:pt x="207" y="45"/>
                  </a:lnTo>
                  <a:lnTo>
                    <a:pt x="209" y="45"/>
                  </a:lnTo>
                  <a:lnTo>
                    <a:pt x="209" y="47"/>
                  </a:lnTo>
                  <a:lnTo>
                    <a:pt x="207" y="49"/>
                  </a:lnTo>
                  <a:lnTo>
                    <a:pt x="205" y="49"/>
                  </a:lnTo>
                  <a:lnTo>
                    <a:pt x="207" y="50"/>
                  </a:lnTo>
                  <a:lnTo>
                    <a:pt x="205" y="50"/>
                  </a:lnTo>
                  <a:lnTo>
                    <a:pt x="207" y="50"/>
                  </a:lnTo>
                  <a:lnTo>
                    <a:pt x="207" y="52"/>
                  </a:lnTo>
                  <a:lnTo>
                    <a:pt x="209" y="52"/>
                  </a:lnTo>
                  <a:lnTo>
                    <a:pt x="212" y="52"/>
                  </a:lnTo>
                  <a:lnTo>
                    <a:pt x="213" y="52"/>
                  </a:lnTo>
                  <a:lnTo>
                    <a:pt x="212" y="53"/>
                  </a:lnTo>
                  <a:lnTo>
                    <a:pt x="212" y="55"/>
                  </a:lnTo>
                  <a:lnTo>
                    <a:pt x="213" y="57"/>
                  </a:lnTo>
                  <a:lnTo>
                    <a:pt x="212" y="58"/>
                  </a:lnTo>
                  <a:lnTo>
                    <a:pt x="209" y="58"/>
                  </a:lnTo>
                  <a:lnTo>
                    <a:pt x="207" y="60"/>
                  </a:lnTo>
                  <a:lnTo>
                    <a:pt x="205" y="60"/>
                  </a:lnTo>
                  <a:lnTo>
                    <a:pt x="207" y="60"/>
                  </a:lnTo>
                  <a:lnTo>
                    <a:pt x="210" y="60"/>
                  </a:lnTo>
                  <a:lnTo>
                    <a:pt x="212" y="60"/>
                  </a:lnTo>
                  <a:lnTo>
                    <a:pt x="212" y="62"/>
                  </a:lnTo>
                  <a:lnTo>
                    <a:pt x="212" y="63"/>
                  </a:lnTo>
                  <a:lnTo>
                    <a:pt x="213" y="65"/>
                  </a:lnTo>
                  <a:lnTo>
                    <a:pt x="215" y="66"/>
                  </a:lnTo>
                  <a:lnTo>
                    <a:pt x="217" y="68"/>
                  </a:lnTo>
                  <a:lnTo>
                    <a:pt x="218" y="68"/>
                  </a:lnTo>
                  <a:lnTo>
                    <a:pt x="217" y="70"/>
                  </a:lnTo>
                  <a:lnTo>
                    <a:pt x="215" y="70"/>
                  </a:lnTo>
                  <a:lnTo>
                    <a:pt x="215" y="71"/>
                  </a:lnTo>
                  <a:lnTo>
                    <a:pt x="217" y="71"/>
                  </a:lnTo>
                  <a:lnTo>
                    <a:pt x="217" y="73"/>
                  </a:lnTo>
                  <a:lnTo>
                    <a:pt x="215" y="75"/>
                  </a:lnTo>
                  <a:lnTo>
                    <a:pt x="215" y="76"/>
                  </a:lnTo>
                  <a:lnTo>
                    <a:pt x="213" y="76"/>
                  </a:lnTo>
                  <a:lnTo>
                    <a:pt x="212" y="76"/>
                  </a:lnTo>
                  <a:lnTo>
                    <a:pt x="213" y="78"/>
                  </a:lnTo>
                  <a:lnTo>
                    <a:pt x="213" y="79"/>
                  </a:lnTo>
                  <a:lnTo>
                    <a:pt x="212" y="79"/>
                  </a:lnTo>
                  <a:lnTo>
                    <a:pt x="212" y="81"/>
                  </a:lnTo>
                  <a:lnTo>
                    <a:pt x="212" y="83"/>
                  </a:lnTo>
                  <a:lnTo>
                    <a:pt x="210" y="84"/>
                  </a:lnTo>
                  <a:lnTo>
                    <a:pt x="210" y="86"/>
                  </a:lnTo>
                  <a:lnTo>
                    <a:pt x="212" y="86"/>
                  </a:lnTo>
                  <a:lnTo>
                    <a:pt x="212" y="88"/>
                  </a:lnTo>
                  <a:lnTo>
                    <a:pt x="212" y="86"/>
                  </a:lnTo>
                  <a:lnTo>
                    <a:pt x="213" y="86"/>
                  </a:lnTo>
                  <a:lnTo>
                    <a:pt x="215" y="86"/>
                  </a:lnTo>
                  <a:lnTo>
                    <a:pt x="215" y="88"/>
                  </a:lnTo>
                  <a:lnTo>
                    <a:pt x="215" y="89"/>
                  </a:lnTo>
                  <a:lnTo>
                    <a:pt x="213" y="91"/>
                  </a:lnTo>
                  <a:lnTo>
                    <a:pt x="212" y="91"/>
                  </a:lnTo>
                  <a:lnTo>
                    <a:pt x="210" y="91"/>
                  </a:lnTo>
                  <a:lnTo>
                    <a:pt x="210" y="92"/>
                  </a:lnTo>
                  <a:lnTo>
                    <a:pt x="212" y="92"/>
                  </a:lnTo>
                  <a:lnTo>
                    <a:pt x="213" y="92"/>
                  </a:lnTo>
                  <a:lnTo>
                    <a:pt x="213" y="91"/>
                  </a:lnTo>
                  <a:lnTo>
                    <a:pt x="215" y="91"/>
                  </a:lnTo>
                  <a:lnTo>
                    <a:pt x="217" y="89"/>
                  </a:lnTo>
                  <a:lnTo>
                    <a:pt x="217" y="88"/>
                  </a:lnTo>
                  <a:lnTo>
                    <a:pt x="217" y="86"/>
                  </a:lnTo>
                  <a:lnTo>
                    <a:pt x="217" y="84"/>
                  </a:lnTo>
                  <a:lnTo>
                    <a:pt x="218" y="84"/>
                  </a:lnTo>
                  <a:lnTo>
                    <a:pt x="218" y="86"/>
                  </a:lnTo>
                  <a:lnTo>
                    <a:pt x="220" y="86"/>
                  </a:lnTo>
                  <a:lnTo>
                    <a:pt x="222" y="86"/>
                  </a:lnTo>
                  <a:lnTo>
                    <a:pt x="222" y="88"/>
                  </a:lnTo>
                  <a:lnTo>
                    <a:pt x="222" y="92"/>
                  </a:lnTo>
                  <a:lnTo>
                    <a:pt x="220" y="92"/>
                  </a:lnTo>
                  <a:lnTo>
                    <a:pt x="218" y="89"/>
                  </a:lnTo>
                  <a:lnTo>
                    <a:pt x="218" y="91"/>
                  </a:lnTo>
                  <a:lnTo>
                    <a:pt x="218" y="92"/>
                  </a:lnTo>
                  <a:lnTo>
                    <a:pt x="218" y="94"/>
                  </a:lnTo>
                  <a:lnTo>
                    <a:pt x="218" y="96"/>
                  </a:lnTo>
                  <a:lnTo>
                    <a:pt x="218" y="97"/>
                  </a:lnTo>
                  <a:lnTo>
                    <a:pt x="220" y="96"/>
                  </a:lnTo>
                  <a:lnTo>
                    <a:pt x="220" y="97"/>
                  </a:lnTo>
                  <a:lnTo>
                    <a:pt x="222" y="97"/>
                  </a:lnTo>
                  <a:lnTo>
                    <a:pt x="223" y="97"/>
                  </a:lnTo>
                  <a:lnTo>
                    <a:pt x="225" y="97"/>
                  </a:lnTo>
                  <a:lnTo>
                    <a:pt x="226" y="99"/>
                  </a:lnTo>
                  <a:lnTo>
                    <a:pt x="226" y="101"/>
                  </a:lnTo>
                  <a:lnTo>
                    <a:pt x="226" y="102"/>
                  </a:lnTo>
                  <a:lnTo>
                    <a:pt x="228" y="102"/>
                  </a:lnTo>
                  <a:lnTo>
                    <a:pt x="228" y="104"/>
                  </a:lnTo>
                  <a:lnTo>
                    <a:pt x="226" y="104"/>
                  </a:lnTo>
                  <a:lnTo>
                    <a:pt x="225" y="104"/>
                  </a:lnTo>
                  <a:lnTo>
                    <a:pt x="223" y="102"/>
                  </a:lnTo>
                  <a:lnTo>
                    <a:pt x="222" y="102"/>
                  </a:lnTo>
                  <a:lnTo>
                    <a:pt x="218" y="102"/>
                  </a:lnTo>
                  <a:lnTo>
                    <a:pt x="217" y="102"/>
                  </a:lnTo>
                  <a:lnTo>
                    <a:pt x="215" y="101"/>
                  </a:lnTo>
                  <a:lnTo>
                    <a:pt x="213" y="101"/>
                  </a:lnTo>
                  <a:lnTo>
                    <a:pt x="212" y="101"/>
                  </a:lnTo>
                  <a:lnTo>
                    <a:pt x="210" y="101"/>
                  </a:lnTo>
                  <a:lnTo>
                    <a:pt x="210" y="102"/>
                  </a:lnTo>
                  <a:lnTo>
                    <a:pt x="209" y="102"/>
                  </a:lnTo>
                  <a:lnTo>
                    <a:pt x="209" y="104"/>
                  </a:lnTo>
                  <a:lnTo>
                    <a:pt x="210" y="104"/>
                  </a:lnTo>
                  <a:lnTo>
                    <a:pt x="212" y="104"/>
                  </a:lnTo>
                  <a:lnTo>
                    <a:pt x="215" y="104"/>
                  </a:lnTo>
                  <a:lnTo>
                    <a:pt x="217" y="105"/>
                  </a:lnTo>
                  <a:lnTo>
                    <a:pt x="218" y="105"/>
                  </a:lnTo>
                  <a:lnTo>
                    <a:pt x="220" y="105"/>
                  </a:lnTo>
                  <a:lnTo>
                    <a:pt x="222" y="105"/>
                  </a:lnTo>
                  <a:lnTo>
                    <a:pt x="222" y="107"/>
                  </a:lnTo>
                  <a:lnTo>
                    <a:pt x="220" y="107"/>
                  </a:lnTo>
                  <a:lnTo>
                    <a:pt x="218" y="107"/>
                  </a:lnTo>
                  <a:lnTo>
                    <a:pt x="217" y="107"/>
                  </a:lnTo>
                  <a:lnTo>
                    <a:pt x="215" y="109"/>
                  </a:lnTo>
                  <a:lnTo>
                    <a:pt x="217" y="109"/>
                  </a:lnTo>
                  <a:lnTo>
                    <a:pt x="218" y="109"/>
                  </a:lnTo>
                  <a:lnTo>
                    <a:pt x="220" y="110"/>
                  </a:lnTo>
                  <a:lnTo>
                    <a:pt x="222" y="110"/>
                  </a:lnTo>
                  <a:lnTo>
                    <a:pt x="223" y="110"/>
                  </a:lnTo>
                  <a:lnTo>
                    <a:pt x="223" y="112"/>
                  </a:lnTo>
                  <a:lnTo>
                    <a:pt x="223" y="114"/>
                  </a:lnTo>
                  <a:lnTo>
                    <a:pt x="223" y="115"/>
                  </a:lnTo>
                  <a:lnTo>
                    <a:pt x="223" y="117"/>
                  </a:lnTo>
                  <a:lnTo>
                    <a:pt x="222" y="118"/>
                  </a:lnTo>
                  <a:lnTo>
                    <a:pt x="220" y="118"/>
                  </a:lnTo>
                  <a:lnTo>
                    <a:pt x="218" y="118"/>
                  </a:lnTo>
                  <a:lnTo>
                    <a:pt x="218" y="120"/>
                  </a:lnTo>
                  <a:lnTo>
                    <a:pt x="220" y="120"/>
                  </a:lnTo>
                  <a:lnTo>
                    <a:pt x="218" y="120"/>
                  </a:lnTo>
                  <a:lnTo>
                    <a:pt x="220" y="120"/>
                  </a:lnTo>
                  <a:lnTo>
                    <a:pt x="220" y="122"/>
                  </a:lnTo>
                  <a:lnTo>
                    <a:pt x="218" y="123"/>
                  </a:lnTo>
                  <a:lnTo>
                    <a:pt x="218" y="125"/>
                  </a:lnTo>
                  <a:lnTo>
                    <a:pt x="217" y="125"/>
                  </a:lnTo>
                  <a:lnTo>
                    <a:pt x="215" y="127"/>
                  </a:lnTo>
                  <a:lnTo>
                    <a:pt x="213" y="128"/>
                  </a:lnTo>
                  <a:lnTo>
                    <a:pt x="210" y="130"/>
                  </a:lnTo>
                  <a:lnTo>
                    <a:pt x="209" y="128"/>
                  </a:lnTo>
                  <a:lnTo>
                    <a:pt x="207" y="128"/>
                  </a:lnTo>
                  <a:lnTo>
                    <a:pt x="205" y="128"/>
                  </a:lnTo>
                  <a:lnTo>
                    <a:pt x="204" y="128"/>
                  </a:lnTo>
                  <a:lnTo>
                    <a:pt x="204" y="130"/>
                  </a:lnTo>
                  <a:lnTo>
                    <a:pt x="205" y="131"/>
                  </a:lnTo>
                  <a:lnTo>
                    <a:pt x="207" y="131"/>
                  </a:lnTo>
                  <a:lnTo>
                    <a:pt x="207" y="130"/>
                  </a:lnTo>
                  <a:lnTo>
                    <a:pt x="207" y="131"/>
                  </a:lnTo>
                  <a:lnTo>
                    <a:pt x="207" y="133"/>
                  </a:lnTo>
                  <a:lnTo>
                    <a:pt x="209" y="133"/>
                  </a:lnTo>
                  <a:lnTo>
                    <a:pt x="209" y="135"/>
                  </a:lnTo>
                  <a:lnTo>
                    <a:pt x="209" y="136"/>
                  </a:lnTo>
                  <a:lnTo>
                    <a:pt x="207" y="136"/>
                  </a:lnTo>
                  <a:lnTo>
                    <a:pt x="205" y="136"/>
                  </a:lnTo>
                  <a:lnTo>
                    <a:pt x="204" y="138"/>
                  </a:lnTo>
                  <a:lnTo>
                    <a:pt x="202" y="138"/>
                  </a:lnTo>
                  <a:lnTo>
                    <a:pt x="200" y="140"/>
                  </a:lnTo>
                  <a:lnTo>
                    <a:pt x="199" y="140"/>
                  </a:lnTo>
                  <a:lnTo>
                    <a:pt x="197" y="138"/>
                  </a:lnTo>
                  <a:lnTo>
                    <a:pt x="196" y="138"/>
                  </a:lnTo>
                  <a:lnTo>
                    <a:pt x="197" y="138"/>
                  </a:lnTo>
                  <a:lnTo>
                    <a:pt x="196" y="138"/>
                  </a:lnTo>
                  <a:lnTo>
                    <a:pt x="196" y="136"/>
                  </a:lnTo>
                  <a:lnTo>
                    <a:pt x="194" y="136"/>
                  </a:lnTo>
                  <a:lnTo>
                    <a:pt x="194" y="135"/>
                  </a:lnTo>
                  <a:lnTo>
                    <a:pt x="192" y="135"/>
                  </a:lnTo>
                  <a:lnTo>
                    <a:pt x="192" y="133"/>
                  </a:lnTo>
                  <a:lnTo>
                    <a:pt x="192" y="131"/>
                  </a:lnTo>
                  <a:lnTo>
                    <a:pt x="192" y="130"/>
                  </a:lnTo>
                  <a:lnTo>
                    <a:pt x="192" y="128"/>
                  </a:lnTo>
                  <a:lnTo>
                    <a:pt x="192" y="127"/>
                  </a:lnTo>
                  <a:lnTo>
                    <a:pt x="192" y="125"/>
                  </a:lnTo>
                  <a:lnTo>
                    <a:pt x="192" y="123"/>
                  </a:lnTo>
                  <a:lnTo>
                    <a:pt x="192" y="122"/>
                  </a:lnTo>
                  <a:lnTo>
                    <a:pt x="191" y="122"/>
                  </a:lnTo>
                  <a:lnTo>
                    <a:pt x="189" y="120"/>
                  </a:lnTo>
                  <a:lnTo>
                    <a:pt x="187" y="120"/>
                  </a:lnTo>
                  <a:lnTo>
                    <a:pt x="187" y="122"/>
                  </a:lnTo>
                  <a:lnTo>
                    <a:pt x="189" y="123"/>
                  </a:lnTo>
                  <a:lnTo>
                    <a:pt x="191" y="125"/>
                  </a:lnTo>
                  <a:lnTo>
                    <a:pt x="191" y="127"/>
                  </a:lnTo>
                  <a:lnTo>
                    <a:pt x="191" y="128"/>
                  </a:lnTo>
                  <a:lnTo>
                    <a:pt x="191" y="130"/>
                  </a:lnTo>
                  <a:lnTo>
                    <a:pt x="189" y="131"/>
                  </a:lnTo>
                  <a:lnTo>
                    <a:pt x="187" y="131"/>
                  </a:lnTo>
                  <a:lnTo>
                    <a:pt x="187" y="133"/>
                  </a:lnTo>
                  <a:lnTo>
                    <a:pt x="187" y="135"/>
                  </a:lnTo>
                  <a:lnTo>
                    <a:pt x="187" y="136"/>
                  </a:lnTo>
                  <a:lnTo>
                    <a:pt x="186" y="136"/>
                  </a:lnTo>
                  <a:lnTo>
                    <a:pt x="186" y="138"/>
                  </a:lnTo>
                  <a:lnTo>
                    <a:pt x="187" y="138"/>
                  </a:lnTo>
                  <a:lnTo>
                    <a:pt x="186" y="138"/>
                  </a:lnTo>
                  <a:lnTo>
                    <a:pt x="187" y="138"/>
                  </a:lnTo>
                  <a:lnTo>
                    <a:pt x="186" y="138"/>
                  </a:lnTo>
                  <a:lnTo>
                    <a:pt x="186" y="140"/>
                  </a:lnTo>
                  <a:lnTo>
                    <a:pt x="187" y="140"/>
                  </a:lnTo>
                  <a:lnTo>
                    <a:pt x="186" y="140"/>
                  </a:lnTo>
                  <a:lnTo>
                    <a:pt x="187" y="141"/>
                  </a:lnTo>
                  <a:lnTo>
                    <a:pt x="187" y="140"/>
                  </a:lnTo>
                  <a:lnTo>
                    <a:pt x="187" y="141"/>
                  </a:lnTo>
                  <a:lnTo>
                    <a:pt x="189" y="141"/>
                  </a:lnTo>
                  <a:lnTo>
                    <a:pt x="189" y="143"/>
                  </a:lnTo>
                  <a:lnTo>
                    <a:pt x="191" y="143"/>
                  </a:lnTo>
                  <a:lnTo>
                    <a:pt x="192" y="143"/>
                  </a:lnTo>
                  <a:lnTo>
                    <a:pt x="192" y="144"/>
                  </a:lnTo>
                  <a:lnTo>
                    <a:pt x="194" y="144"/>
                  </a:lnTo>
                  <a:lnTo>
                    <a:pt x="196" y="144"/>
                  </a:lnTo>
                  <a:lnTo>
                    <a:pt x="196" y="146"/>
                  </a:lnTo>
                  <a:lnTo>
                    <a:pt x="197" y="148"/>
                  </a:lnTo>
                  <a:lnTo>
                    <a:pt x="199" y="148"/>
                  </a:lnTo>
                  <a:lnTo>
                    <a:pt x="197" y="149"/>
                  </a:lnTo>
                  <a:lnTo>
                    <a:pt x="199" y="149"/>
                  </a:lnTo>
                  <a:lnTo>
                    <a:pt x="197" y="149"/>
                  </a:lnTo>
                  <a:lnTo>
                    <a:pt x="197" y="151"/>
                  </a:lnTo>
                  <a:lnTo>
                    <a:pt x="196" y="151"/>
                  </a:lnTo>
                  <a:lnTo>
                    <a:pt x="194" y="153"/>
                  </a:lnTo>
                  <a:lnTo>
                    <a:pt x="192" y="153"/>
                  </a:lnTo>
                  <a:lnTo>
                    <a:pt x="191" y="153"/>
                  </a:lnTo>
                  <a:lnTo>
                    <a:pt x="191" y="154"/>
                  </a:lnTo>
                  <a:lnTo>
                    <a:pt x="189" y="154"/>
                  </a:lnTo>
                  <a:lnTo>
                    <a:pt x="189" y="156"/>
                  </a:lnTo>
                  <a:lnTo>
                    <a:pt x="194" y="154"/>
                  </a:lnTo>
                  <a:lnTo>
                    <a:pt x="196" y="153"/>
                  </a:lnTo>
                  <a:lnTo>
                    <a:pt x="196" y="154"/>
                  </a:lnTo>
                  <a:lnTo>
                    <a:pt x="197" y="153"/>
                  </a:lnTo>
                  <a:lnTo>
                    <a:pt x="199" y="153"/>
                  </a:lnTo>
                  <a:lnTo>
                    <a:pt x="197" y="154"/>
                  </a:lnTo>
                  <a:lnTo>
                    <a:pt x="199" y="154"/>
                  </a:lnTo>
                  <a:lnTo>
                    <a:pt x="200" y="154"/>
                  </a:lnTo>
                  <a:lnTo>
                    <a:pt x="200" y="156"/>
                  </a:lnTo>
                  <a:lnTo>
                    <a:pt x="200" y="157"/>
                  </a:lnTo>
                  <a:lnTo>
                    <a:pt x="200" y="159"/>
                  </a:lnTo>
                  <a:lnTo>
                    <a:pt x="199" y="159"/>
                  </a:lnTo>
                  <a:lnTo>
                    <a:pt x="199" y="161"/>
                  </a:lnTo>
                  <a:lnTo>
                    <a:pt x="199" y="162"/>
                  </a:lnTo>
                  <a:lnTo>
                    <a:pt x="196" y="164"/>
                  </a:lnTo>
                  <a:lnTo>
                    <a:pt x="192" y="166"/>
                  </a:lnTo>
                  <a:lnTo>
                    <a:pt x="189" y="167"/>
                  </a:lnTo>
                  <a:lnTo>
                    <a:pt x="189" y="169"/>
                  </a:lnTo>
                  <a:lnTo>
                    <a:pt x="187" y="169"/>
                  </a:lnTo>
                  <a:lnTo>
                    <a:pt x="184" y="169"/>
                  </a:lnTo>
                  <a:lnTo>
                    <a:pt x="183" y="169"/>
                  </a:lnTo>
                  <a:lnTo>
                    <a:pt x="181" y="170"/>
                  </a:lnTo>
                  <a:lnTo>
                    <a:pt x="183" y="170"/>
                  </a:lnTo>
                  <a:lnTo>
                    <a:pt x="186" y="170"/>
                  </a:lnTo>
                  <a:lnTo>
                    <a:pt x="187" y="170"/>
                  </a:lnTo>
                  <a:lnTo>
                    <a:pt x="191" y="170"/>
                  </a:lnTo>
                  <a:lnTo>
                    <a:pt x="192" y="170"/>
                  </a:lnTo>
                  <a:lnTo>
                    <a:pt x="194" y="170"/>
                  </a:lnTo>
                  <a:lnTo>
                    <a:pt x="194" y="172"/>
                  </a:lnTo>
                  <a:lnTo>
                    <a:pt x="194" y="174"/>
                  </a:lnTo>
                  <a:lnTo>
                    <a:pt x="194" y="175"/>
                  </a:lnTo>
                  <a:lnTo>
                    <a:pt x="194" y="177"/>
                  </a:lnTo>
                  <a:lnTo>
                    <a:pt x="196" y="177"/>
                  </a:lnTo>
                  <a:lnTo>
                    <a:pt x="194" y="179"/>
                  </a:lnTo>
                  <a:lnTo>
                    <a:pt x="196" y="179"/>
                  </a:lnTo>
                  <a:lnTo>
                    <a:pt x="196" y="180"/>
                  </a:lnTo>
                  <a:lnTo>
                    <a:pt x="194" y="180"/>
                  </a:lnTo>
                  <a:lnTo>
                    <a:pt x="194" y="182"/>
                  </a:lnTo>
                  <a:lnTo>
                    <a:pt x="194" y="183"/>
                  </a:lnTo>
                  <a:lnTo>
                    <a:pt x="194" y="185"/>
                  </a:lnTo>
                  <a:lnTo>
                    <a:pt x="192" y="185"/>
                  </a:lnTo>
                  <a:lnTo>
                    <a:pt x="192" y="187"/>
                  </a:lnTo>
                  <a:lnTo>
                    <a:pt x="191" y="188"/>
                  </a:lnTo>
                  <a:lnTo>
                    <a:pt x="191" y="190"/>
                  </a:lnTo>
                  <a:lnTo>
                    <a:pt x="191" y="192"/>
                  </a:lnTo>
                  <a:lnTo>
                    <a:pt x="189" y="192"/>
                  </a:lnTo>
                  <a:lnTo>
                    <a:pt x="191" y="192"/>
                  </a:lnTo>
                  <a:lnTo>
                    <a:pt x="189" y="193"/>
                  </a:lnTo>
                  <a:lnTo>
                    <a:pt x="187" y="193"/>
                  </a:lnTo>
                  <a:lnTo>
                    <a:pt x="187" y="195"/>
                  </a:lnTo>
                  <a:lnTo>
                    <a:pt x="186" y="197"/>
                  </a:lnTo>
                  <a:lnTo>
                    <a:pt x="187" y="198"/>
                  </a:lnTo>
                  <a:lnTo>
                    <a:pt x="186" y="198"/>
                  </a:lnTo>
                  <a:lnTo>
                    <a:pt x="187" y="200"/>
                  </a:lnTo>
                  <a:lnTo>
                    <a:pt x="186" y="200"/>
                  </a:lnTo>
                  <a:lnTo>
                    <a:pt x="186" y="201"/>
                  </a:lnTo>
                  <a:lnTo>
                    <a:pt x="186" y="203"/>
                  </a:lnTo>
                  <a:lnTo>
                    <a:pt x="186" y="205"/>
                  </a:lnTo>
                  <a:lnTo>
                    <a:pt x="186" y="206"/>
                  </a:lnTo>
                  <a:lnTo>
                    <a:pt x="186" y="208"/>
                  </a:lnTo>
                  <a:lnTo>
                    <a:pt x="186" y="210"/>
                  </a:lnTo>
                  <a:lnTo>
                    <a:pt x="186" y="211"/>
                  </a:lnTo>
                  <a:lnTo>
                    <a:pt x="184" y="211"/>
                  </a:lnTo>
                  <a:lnTo>
                    <a:pt x="184" y="213"/>
                  </a:lnTo>
                  <a:lnTo>
                    <a:pt x="184" y="214"/>
                  </a:lnTo>
                  <a:lnTo>
                    <a:pt x="183" y="218"/>
                  </a:lnTo>
                  <a:lnTo>
                    <a:pt x="184" y="218"/>
                  </a:lnTo>
                  <a:lnTo>
                    <a:pt x="184" y="216"/>
                  </a:lnTo>
                  <a:lnTo>
                    <a:pt x="186" y="216"/>
                  </a:lnTo>
                  <a:lnTo>
                    <a:pt x="186" y="214"/>
                  </a:lnTo>
                  <a:lnTo>
                    <a:pt x="186" y="213"/>
                  </a:lnTo>
                  <a:lnTo>
                    <a:pt x="187" y="210"/>
                  </a:lnTo>
                  <a:lnTo>
                    <a:pt x="187" y="208"/>
                  </a:lnTo>
                  <a:lnTo>
                    <a:pt x="187" y="206"/>
                  </a:lnTo>
                  <a:lnTo>
                    <a:pt x="189" y="206"/>
                  </a:lnTo>
                  <a:lnTo>
                    <a:pt x="189" y="205"/>
                  </a:lnTo>
                  <a:lnTo>
                    <a:pt x="187" y="205"/>
                  </a:lnTo>
                  <a:lnTo>
                    <a:pt x="189" y="205"/>
                  </a:lnTo>
                  <a:lnTo>
                    <a:pt x="189" y="203"/>
                  </a:lnTo>
                  <a:lnTo>
                    <a:pt x="189" y="201"/>
                  </a:lnTo>
                  <a:lnTo>
                    <a:pt x="191" y="201"/>
                  </a:lnTo>
                  <a:lnTo>
                    <a:pt x="191" y="200"/>
                  </a:lnTo>
                  <a:lnTo>
                    <a:pt x="192" y="198"/>
                  </a:lnTo>
                  <a:lnTo>
                    <a:pt x="194" y="198"/>
                  </a:lnTo>
                  <a:lnTo>
                    <a:pt x="194" y="197"/>
                  </a:lnTo>
                  <a:lnTo>
                    <a:pt x="196" y="197"/>
                  </a:lnTo>
                  <a:lnTo>
                    <a:pt x="196" y="195"/>
                  </a:lnTo>
                  <a:lnTo>
                    <a:pt x="196" y="193"/>
                  </a:lnTo>
                  <a:lnTo>
                    <a:pt x="197" y="193"/>
                  </a:lnTo>
                  <a:lnTo>
                    <a:pt x="197" y="190"/>
                  </a:lnTo>
                  <a:lnTo>
                    <a:pt x="199" y="187"/>
                  </a:lnTo>
                  <a:lnTo>
                    <a:pt x="199" y="185"/>
                  </a:lnTo>
                  <a:lnTo>
                    <a:pt x="200" y="183"/>
                  </a:lnTo>
                  <a:lnTo>
                    <a:pt x="202" y="182"/>
                  </a:lnTo>
                  <a:lnTo>
                    <a:pt x="202" y="180"/>
                  </a:lnTo>
                  <a:lnTo>
                    <a:pt x="202" y="179"/>
                  </a:lnTo>
                  <a:lnTo>
                    <a:pt x="204" y="179"/>
                  </a:lnTo>
                  <a:lnTo>
                    <a:pt x="204" y="180"/>
                  </a:lnTo>
                  <a:lnTo>
                    <a:pt x="204" y="182"/>
                  </a:lnTo>
                  <a:lnTo>
                    <a:pt x="204" y="183"/>
                  </a:lnTo>
                  <a:lnTo>
                    <a:pt x="204" y="187"/>
                  </a:lnTo>
                  <a:lnTo>
                    <a:pt x="204" y="188"/>
                  </a:lnTo>
                  <a:lnTo>
                    <a:pt x="202" y="190"/>
                  </a:lnTo>
                  <a:lnTo>
                    <a:pt x="202" y="192"/>
                  </a:lnTo>
                  <a:lnTo>
                    <a:pt x="202" y="193"/>
                  </a:lnTo>
                  <a:lnTo>
                    <a:pt x="202" y="195"/>
                  </a:lnTo>
                  <a:lnTo>
                    <a:pt x="202" y="197"/>
                  </a:lnTo>
                  <a:lnTo>
                    <a:pt x="204" y="197"/>
                  </a:lnTo>
                  <a:lnTo>
                    <a:pt x="205" y="197"/>
                  </a:lnTo>
                  <a:lnTo>
                    <a:pt x="205" y="198"/>
                  </a:lnTo>
                  <a:lnTo>
                    <a:pt x="204" y="198"/>
                  </a:lnTo>
                  <a:lnTo>
                    <a:pt x="205" y="198"/>
                  </a:lnTo>
                  <a:lnTo>
                    <a:pt x="205" y="197"/>
                  </a:lnTo>
                  <a:lnTo>
                    <a:pt x="205" y="193"/>
                  </a:lnTo>
                  <a:lnTo>
                    <a:pt x="207" y="190"/>
                  </a:lnTo>
                  <a:lnTo>
                    <a:pt x="205" y="190"/>
                  </a:lnTo>
                  <a:lnTo>
                    <a:pt x="207" y="187"/>
                  </a:lnTo>
                  <a:lnTo>
                    <a:pt x="207" y="183"/>
                  </a:lnTo>
                  <a:lnTo>
                    <a:pt x="209" y="183"/>
                  </a:lnTo>
                  <a:lnTo>
                    <a:pt x="209" y="182"/>
                  </a:lnTo>
                  <a:lnTo>
                    <a:pt x="209" y="180"/>
                  </a:lnTo>
                  <a:lnTo>
                    <a:pt x="209" y="179"/>
                  </a:lnTo>
                  <a:lnTo>
                    <a:pt x="210" y="179"/>
                  </a:lnTo>
                  <a:lnTo>
                    <a:pt x="210" y="175"/>
                  </a:lnTo>
                  <a:lnTo>
                    <a:pt x="212" y="175"/>
                  </a:lnTo>
                  <a:lnTo>
                    <a:pt x="212" y="174"/>
                  </a:lnTo>
                  <a:lnTo>
                    <a:pt x="213" y="174"/>
                  </a:lnTo>
                  <a:lnTo>
                    <a:pt x="215" y="172"/>
                  </a:lnTo>
                  <a:lnTo>
                    <a:pt x="215" y="170"/>
                  </a:lnTo>
                  <a:lnTo>
                    <a:pt x="217" y="170"/>
                  </a:lnTo>
                  <a:lnTo>
                    <a:pt x="218" y="169"/>
                  </a:lnTo>
                  <a:lnTo>
                    <a:pt x="218" y="167"/>
                  </a:lnTo>
                  <a:lnTo>
                    <a:pt x="220" y="167"/>
                  </a:lnTo>
                  <a:lnTo>
                    <a:pt x="220" y="166"/>
                  </a:lnTo>
                  <a:lnTo>
                    <a:pt x="222" y="166"/>
                  </a:lnTo>
                  <a:lnTo>
                    <a:pt x="223" y="164"/>
                  </a:lnTo>
                  <a:lnTo>
                    <a:pt x="226" y="164"/>
                  </a:lnTo>
                  <a:lnTo>
                    <a:pt x="228" y="162"/>
                  </a:lnTo>
                  <a:lnTo>
                    <a:pt x="230" y="162"/>
                  </a:lnTo>
                  <a:lnTo>
                    <a:pt x="231" y="162"/>
                  </a:lnTo>
                  <a:lnTo>
                    <a:pt x="233" y="162"/>
                  </a:lnTo>
                  <a:lnTo>
                    <a:pt x="233" y="161"/>
                  </a:lnTo>
                  <a:lnTo>
                    <a:pt x="235" y="161"/>
                  </a:lnTo>
                  <a:lnTo>
                    <a:pt x="236" y="161"/>
                  </a:lnTo>
                  <a:lnTo>
                    <a:pt x="238" y="159"/>
                  </a:lnTo>
                  <a:lnTo>
                    <a:pt x="238" y="161"/>
                  </a:lnTo>
                  <a:lnTo>
                    <a:pt x="239" y="161"/>
                  </a:lnTo>
                  <a:lnTo>
                    <a:pt x="239" y="159"/>
                  </a:lnTo>
                  <a:lnTo>
                    <a:pt x="241" y="159"/>
                  </a:lnTo>
                  <a:lnTo>
                    <a:pt x="241" y="161"/>
                  </a:lnTo>
                  <a:lnTo>
                    <a:pt x="241" y="162"/>
                  </a:lnTo>
                  <a:lnTo>
                    <a:pt x="241" y="164"/>
                  </a:lnTo>
                  <a:lnTo>
                    <a:pt x="239" y="164"/>
                  </a:lnTo>
                  <a:lnTo>
                    <a:pt x="239" y="166"/>
                  </a:lnTo>
                  <a:lnTo>
                    <a:pt x="239" y="167"/>
                  </a:lnTo>
                  <a:lnTo>
                    <a:pt x="238" y="169"/>
                  </a:lnTo>
                  <a:lnTo>
                    <a:pt x="236" y="170"/>
                  </a:lnTo>
                  <a:lnTo>
                    <a:pt x="236" y="172"/>
                  </a:lnTo>
                  <a:lnTo>
                    <a:pt x="235" y="174"/>
                  </a:lnTo>
                  <a:lnTo>
                    <a:pt x="235" y="175"/>
                  </a:lnTo>
                  <a:lnTo>
                    <a:pt x="233" y="175"/>
                  </a:lnTo>
                  <a:lnTo>
                    <a:pt x="233" y="177"/>
                  </a:lnTo>
                  <a:lnTo>
                    <a:pt x="231" y="179"/>
                  </a:lnTo>
                  <a:lnTo>
                    <a:pt x="233" y="179"/>
                  </a:lnTo>
                  <a:lnTo>
                    <a:pt x="231" y="179"/>
                  </a:lnTo>
                  <a:lnTo>
                    <a:pt x="233" y="180"/>
                  </a:lnTo>
                  <a:lnTo>
                    <a:pt x="233" y="179"/>
                  </a:lnTo>
                  <a:lnTo>
                    <a:pt x="235" y="177"/>
                  </a:lnTo>
                  <a:lnTo>
                    <a:pt x="235" y="179"/>
                  </a:lnTo>
                  <a:lnTo>
                    <a:pt x="235" y="177"/>
                  </a:lnTo>
                  <a:lnTo>
                    <a:pt x="236" y="177"/>
                  </a:lnTo>
                  <a:lnTo>
                    <a:pt x="236" y="179"/>
                  </a:lnTo>
                  <a:lnTo>
                    <a:pt x="235" y="179"/>
                  </a:lnTo>
                  <a:lnTo>
                    <a:pt x="235" y="180"/>
                  </a:lnTo>
                  <a:lnTo>
                    <a:pt x="235" y="179"/>
                  </a:lnTo>
                  <a:lnTo>
                    <a:pt x="236" y="179"/>
                  </a:lnTo>
                  <a:lnTo>
                    <a:pt x="238" y="177"/>
                  </a:lnTo>
                  <a:lnTo>
                    <a:pt x="236" y="180"/>
                  </a:lnTo>
                  <a:lnTo>
                    <a:pt x="235" y="182"/>
                  </a:lnTo>
                  <a:lnTo>
                    <a:pt x="235" y="183"/>
                  </a:lnTo>
                  <a:lnTo>
                    <a:pt x="236" y="183"/>
                  </a:lnTo>
                  <a:lnTo>
                    <a:pt x="235" y="183"/>
                  </a:lnTo>
                  <a:lnTo>
                    <a:pt x="235" y="185"/>
                  </a:lnTo>
                  <a:lnTo>
                    <a:pt x="235" y="187"/>
                  </a:lnTo>
                  <a:lnTo>
                    <a:pt x="235" y="188"/>
                  </a:lnTo>
                  <a:lnTo>
                    <a:pt x="236" y="188"/>
                  </a:lnTo>
                  <a:lnTo>
                    <a:pt x="235" y="188"/>
                  </a:lnTo>
                  <a:lnTo>
                    <a:pt x="236" y="190"/>
                  </a:lnTo>
                  <a:lnTo>
                    <a:pt x="238" y="190"/>
                  </a:lnTo>
                  <a:lnTo>
                    <a:pt x="238" y="188"/>
                  </a:lnTo>
                  <a:lnTo>
                    <a:pt x="239" y="190"/>
                  </a:lnTo>
                  <a:lnTo>
                    <a:pt x="239" y="188"/>
                  </a:lnTo>
                  <a:lnTo>
                    <a:pt x="241" y="187"/>
                  </a:lnTo>
                  <a:lnTo>
                    <a:pt x="243" y="187"/>
                  </a:lnTo>
                  <a:lnTo>
                    <a:pt x="243" y="185"/>
                  </a:lnTo>
                  <a:lnTo>
                    <a:pt x="244" y="185"/>
                  </a:lnTo>
                  <a:lnTo>
                    <a:pt x="244" y="183"/>
                  </a:lnTo>
                  <a:lnTo>
                    <a:pt x="244" y="182"/>
                  </a:lnTo>
                  <a:lnTo>
                    <a:pt x="244" y="180"/>
                  </a:lnTo>
                  <a:lnTo>
                    <a:pt x="243" y="180"/>
                  </a:lnTo>
                  <a:lnTo>
                    <a:pt x="244" y="180"/>
                  </a:lnTo>
                  <a:lnTo>
                    <a:pt x="243" y="180"/>
                  </a:lnTo>
                  <a:lnTo>
                    <a:pt x="243" y="179"/>
                  </a:lnTo>
                  <a:lnTo>
                    <a:pt x="243" y="180"/>
                  </a:lnTo>
                  <a:lnTo>
                    <a:pt x="243" y="179"/>
                  </a:lnTo>
                  <a:lnTo>
                    <a:pt x="244" y="179"/>
                  </a:lnTo>
                  <a:lnTo>
                    <a:pt x="243" y="179"/>
                  </a:lnTo>
                  <a:lnTo>
                    <a:pt x="241" y="179"/>
                  </a:lnTo>
                  <a:lnTo>
                    <a:pt x="241" y="177"/>
                  </a:lnTo>
                  <a:lnTo>
                    <a:pt x="241" y="179"/>
                  </a:lnTo>
                  <a:lnTo>
                    <a:pt x="243" y="179"/>
                  </a:lnTo>
                  <a:lnTo>
                    <a:pt x="241" y="179"/>
                  </a:lnTo>
                  <a:lnTo>
                    <a:pt x="243" y="179"/>
                  </a:lnTo>
                  <a:lnTo>
                    <a:pt x="241" y="179"/>
                  </a:lnTo>
                  <a:lnTo>
                    <a:pt x="241" y="180"/>
                  </a:lnTo>
                  <a:lnTo>
                    <a:pt x="241" y="179"/>
                  </a:lnTo>
                  <a:lnTo>
                    <a:pt x="239" y="179"/>
                  </a:lnTo>
                  <a:lnTo>
                    <a:pt x="241" y="179"/>
                  </a:lnTo>
                  <a:lnTo>
                    <a:pt x="239" y="179"/>
                  </a:lnTo>
                  <a:lnTo>
                    <a:pt x="241" y="179"/>
                  </a:lnTo>
                  <a:lnTo>
                    <a:pt x="239" y="179"/>
                  </a:lnTo>
                  <a:lnTo>
                    <a:pt x="239" y="177"/>
                  </a:lnTo>
                  <a:lnTo>
                    <a:pt x="241" y="177"/>
                  </a:lnTo>
                  <a:lnTo>
                    <a:pt x="241" y="179"/>
                  </a:lnTo>
                  <a:lnTo>
                    <a:pt x="241" y="177"/>
                  </a:lnTo>
                  <a:lnTo>
                    <a:pt x="243" y="177"/>
                  </a:lnTo>
                  <a:lnTo>
                    <a:pt x="243" y="179"/>
                  </a:lnTo>
                  <a:lnTo>
                    <a:pt x="243" y="177"/>
                  </a:lnTo>
                  <a:lnTo>
                    <a:pt x="243" y="179"/>
                  </a:lnTo>
                  <a:lnTo>
                    <a:pt x="243" y="177"/>
                  </a:lnTo>
                  <a:lnTo>
                    <a:pt x="244" y="177"/>
                  </a:lnTo>
                  <a:lnTo>
                    <a:pt x="243" y="177"/>
                  </a:lnTo>
                  <a:lnTo>
                    <a:pt x="244" y="177"/>
                  </a:lnTo>
                  <a:lnTo>
                    <a:pt x="246" y="177"/>
                  </a:lnTo>
                  <a:lnTo>
                    <a:pt x="248" y="177"/>
                  </a:lnTo>
                  <a:lnTo>
                    <a:pt x="249" y="177"/>
                  </a:lnTo>
                  <a:lnTo>
                    <a:pt x="249" y="179"/>
                  </a:lnTo>
                  <a:lnTo>
                    <a:pt x="248" y="179"/>
                  </a:lnTo>
                  <a:lnTo>
                    <a:pt x="249" y="179"/>
                  </a:lnTo>
                  <a:lnTo>
                    <a:pt x="249" y="180"/>
                  </a:lnTo>
                  <a:lnTo>
                    <a:pt x="248" y="180"/>
                  </a:lnTo>
                  <a:lnTo>
                    <a:pt x="249" y="180"/>
                  </a:lnTo>
                  <a:lnTo>
                    <a:pt x="248" y="182"/>
                  </a:lnTo>
                  <a:lnTo>
                    <a:pt x="248" y="183"/>
                  </a:lnTo>
                  <a:lnTo>
                    <a:pt x="246" y="183"/>
                  </a:lnTo>
                  <a:lnTo>
                    <a:pt x="246" y="185"/>
                  </a:lnTo>
                  <a:lnTo>
                    <a:pt x="246" y="183"/>
                  </a:lnTo>
                  <a:lnTo>
                    <a:pt x="246" y="185"/>
                  </a:lnTo>
                  <a:lnTo>
                    <a:pt x="248" y="183"/>
                  </a:lnTo>
                  <a:lnTo>
                    <a:pt x="249" y="183"/>
                  </a:lnTo>
                  <a:lnTo>
                    <a:pt x="249" y="182"/>
                  </a:lnTo>
                  <a:lnTo>
                    <a:pt x="248" y="182"/>
                  </a:lnTo>
                  <a:lnTo>
                    <a:pt x="249" y="182"/>
                  </a:lnTo>
                  <a:lnTo>
                    <a:pt x="249" y="180"/>
                  </a:lnTo>
                  <a:lnTo>
                    <a:pt x="249" y="179"/>
                  </a:lnTo>
                  <a:lnTo>
                    <a:pt x="251" y="179"/>
                  </a:lnTo>
                  <a:lnTo>
                    <a:pt x="252" y="179"/>
                  </a:lnTo>
                  <a:lnTo>
                    <a:pt x="252" y="177"/>
                  </a:lnTo>
                  <a:lnTo>
                    <a:pt x="254" y="177"/>
                  </a:lnTo>
                  <a:lnTo>
                    <a:pt x="256" y="175"/>
                  </a:lnTo>
                  <a:lnTo>
                    <a:pt x="257" y="174"/>
                  </a:lnTo>
                  <a:lnTo>
                    <a:pt x="257" y="172"/>
                  </a:lnTo>
                  <a:lnTo>
                    <a:pt x="259" y="174"/>
                  </a:lnTo>
                  <a:lnTo>
                    <a:pt x="259" y="172"/>
                  </a:lnTo>
                  <a:lnTo>
                    <a:pt x="259" y="169"/>
                  </a:lnTo>
                  <a:lnTo>
                    <a:pt x="261" y="169"/>
                  </a:lnTo>
                  <a:lnTo>
                    <a:pt x="261" y="167"/>
                  </a:lnTo>
                  <a:lnTo>
                    <a:pt x="262" y="167"/>
                  </a:lnTo>
                  <a:lnTo>
                    <a:pt x="262" y="166"/>
                  </a:lnTo>
                  <a:lnTo>
                    <a:pt x="264" y="166"/>
                  </a:lnTo>
                  <a:lnTo>
                    <a:pt x="264" y="164"/>
                  </a:lnTo>
                  <a:lnTo>
                    <a:pt x="265" y="164"/>
                  </a:lnTo>
                  <a:lnTo>
                    <a:pt x="265" y="162"/>
                  </a:lnTo>
                  <a:lnTo>
                    <a:pt x="265" y="161"/>
                  </a:lnTo>
                  <a:lnTo>
                    <a:pt x="265" y="159"/>
                  </a:lnTo>
                  <a:lnTo>
                    <a:pt x="267" y="159"/>
                  </a:lnTo>
                  <a:lnTo>
                    <a:pt x="267" y="157"/>
                  </a:lnTo>
                  <a:lnTo>
                    <a:pt x="267" y="156"/>
                  </a:lnTo>
                  <a:lnTo>
                    <a:pt x="267" y="154"/>
                  </a:lnTo>
                  <a:lnTo>
                    <a:pt x="267" y="153"/>
                  </a:lnTo>
                  <a:lnTo>
                    <a:pt x="269" y="151"/>
                  </a:lnTo>
                  <a:lnTo>
                    <a:pt x="267" y="151"/>
                  </a:lnTo>
                  <a:lnTo>
                    <a:pt x="269" y="149"/>
                  </a:lnTo>
                  <a:lnTo>
                    <a:pt x="270" y="149"/>
                  </a:lnTo>
                  <a:lnTo>
                    <a:pt x="270" y="148"/>
                  </a:lnTo>
                  <a:lnTo>
                    <a:pt x="270" y="146"/>
                  </a:lnTo>
                  <a:lnTo>
                    <a:pt x="272" y="144"/>
                  </a:lnTo>
                  <a:lnTo>
                    <a:pt x="270" y="144"/>
                  </a:lnTo>
                  <a:lnTo>
                    <a:pt x="272" y="144"/>
                  </a:lnTo>
                  <a:lnTo>
                    <a:pt x="272" y="143"/>
                  </a:lnTo>
                  <a:lnTo>
                    <a:pt x="270" y="143"/>
                  </a:lnTo>
                  <a:lnTo>
                    <a:pt x="272" y="141"/>
                  </a:lnTo>
                  <a:lnTo>
                    <a:pt x="272" y="140"/>
                  </a:lnTo>
                  <a:lnTo>
                    <a:pt x="272" y="138"/>
                  </a:lnTo>
                  <a:lnTo>
                    <a:pt x="272" y="136"/>
                  </a:lnTo>
                  <a:lnTo>
                    <a:pt x="272" y="135"/>
                  </a:lnTo>
                  <a:lnTo>
                    <a:pt x="274" y="135"/>
                  </a:lnTo>
                  <a:lnTo>
                    <a:pt x="272" y="133"/>
                  </a:lnTo>
                  <a:lnTo>
                    <a:pt x="274" y="133"/>
                  </a:lnTo>
                  <a:lnTo>
                    <a:pt x="274" y="131"/>
                  </a:lnTo>
                  <a:lnTo>
                    <a:pt x="274" y="130"/>
                  </a:lnTo>
                  <a:lnTo>
                    <a:pt x="275" y="130"/>
                  </a:lnTo>
                  <a:lnTo>
                    <a:pt x="275" y="128"/>
                  </a:lnTo>
                  <a:lnTo>
                    <a:pt x="275" y="125"/>
                  </a:lnTo>
                  <a:lnTo>
                    <a:pt x="275" y="123"/>
                  </a:lnTo>
                  <a:lnTo>
                    <a:pt x="275" y="122"/>
                  </a:lnTo>
                  <a:lnTo>
                    <a:pt x="277" y="122"/>
                  </a:lnTo>
                  <a:lnTo>
                    <a:pt x="277" y="120"/>
                  </a:lnTo>
                  <a:lnTo>
                    <a:pt x="278" y="118"/>
                  </a:lnTo>
                  <a:lnTo>
                    <a:pt x="280" y="117"/>
                  </a:lnTo>
                  <a:lnTo>
                    <a:pt x="280" y="115"/>
                  </a:lnTo>
                  <a:lnTo>
                    <a:pt x="282" y="115"/>
                  </a:lnTo>
                  <a:lnTo>
                    <a:pt x="283" y="115"/>
                  </a:lnTo>
                  <a:lnTo>
                    <a:pt x="283" y="117"/>
                  </a:lnTo>
                  <a:lnTo>
                    <a:pt x="282" y="117"/>
                  </a:lnTo>
                  <a:lnTo>
                    <a:pt x="283" y="117"/>
                  </a:lnTo>
                  <a:lnTo>
                    <a:pt x="283" y="115"/>
                  </a:lnTo>
                  <a:lnTo>
                    <a:pt x="283" y="117"/>
                  </a:lnTo>
                  <a:lnTo>
                    <a:pt x="285" y="115"/>
                  </a:lnTo>
                  <a:lnTo>
                    <a:pt x="287" y="115"/>
                  </a:lnTo>
                  <a:lnTo>
                    <a:pt x="288" y="115"/>
                  </a:lnTo>
                  <a:lnTo>
                    <a:pt x="288" y="117"/>
                  </a:lnTo>
                  <a:lnTo>
                    <a:pt x="290" y="117"/>
                  </a:lnTo>
                  <a:lnTo>
                    <a:pt x="292" y="117"/>
                  </a:lnTo>
                  <a:lnTo>
                    <a:pt x="293" y="117"/>
                  </a:lnTo>
                  <a:lnTo>
                    <a:pt x="295" y="117"/>
                  </a:lnTo>
                  <a:lnTo>
                    <a:pt x="295" y="115"/>
                  </a:lnTo>
                  <a:lnTo>
                    <a:pt x="295" y="117"/>
                  </a:lnTo>
                  <a:lnTo>
                    <a:pt x="296" y="117"/>
                  </a:lnTo>
                  <a:lnTo>
                    <a:pt x="296" y="118"/>
                  </a:lnTo>
                  <a:lnTo>
                    <a:pt x="298" y="118"/>
                  </a:lnTo>
                  <a:lnTo>
                    <a:pt x="300" y="118"/>
                  </a:lnTo>
                  <a:lnTo>
                    <a:pt x="298" y="118"/>
                  </a:lnTo>
                  <a:lnTo>
                    <a:pt x="298" y="120"/>
                  </a:lnTo>
                  <a:lnTo>
                    <a:pt x="298" y="122"/>
                  </a:lnTo>
                  <a:lnTo>
                    <a:pt x="298" y="123"/>
                  </a:lnTo>
                  <a:lnTo>
                    <a:pt x="300" y="123"/>
                  </a:lnTo>
                  <a:lnTo>
                    <a:pt x="300" y="125"/>
                  </a:lnTo>
                  <a:lnTo>
                    <a:pt x="300" y="127"/>
                  </a:lnTo>
                  <a:lnTo>
                    <a:pt x="298" y="128"/>
                  </a:lnTo>
                  <a:lnTo>
                    <a:pt x="300" y="128"/>
                  </a:lnTo>
                  <a:lnTo>
                    <a:pt x="300" y="130"/>
                  </a:lnTo>
                  <a:lnTo>
                    <a:pt x="298" y="131"/>
                  </a:lnTo>
                  <a:lnTo>
                    <a:pt x="298" y="133"/>
                  </a:lnTo>
                  <a:lnTo>
                    <a:pt x="298" y="135"/>
                  </a:lnTo>
                  <a:lnTo>
                    <a:pt x="298" y="136"/>
                  </a:lnTo>
                  <a:lnTo>
                    <a:pt x="298" y="138"/>
                  </a:lnTo>
                  <a:lnTo>
                    <a:pt x="300" y="138"/>
                  </a:lnTo>
                  <a:lnTo>
                    <a:pt x="298" y="140"/>
                  </a:lnTo>
                  <a:lnTo>
                    <a:pt x="298" y="141"/>
                  </a:lnTo>
                  <a:lnTo>
                    <a:pt x="298" y="143"/>
                  </a:lnTo>
                  <a:lnTo>
                    <a:pt x="296" y="143"/>
                  </a:lnTo>
                  <a:lnTo>
                    <a:pt x="298" y="143"/>
                  </a:lnTo>
                  <a:lnTo>
                    <a:pt x="298" y="144"/>
                  </a:lnTo>
                  <a:lnTo>
                    <a:pt x="296" y="146"/>
                  </a:lnTo>
                  <a:lnTo>
                    <a:pt x="298" y="146"/>
                  </a:lnTo>
                  <a:lnTo>
                    <a:pt x="298" y="148"/>
                  </a:lnTo>
                  <a:lnTo>
                    <a:pt x="298" y="149"/>
                  </a:lnTo>
                  <a:lnTo>
                    <a:pt x="296" y="151"/>
                  </a:lnTo>
                  <a:lnTo>
                    <a:pt x="296" y="153"/>
                  </a:lnTo>
                  <a:lnTo>
                    <a:pt x="298" y="153"/>
                  </a:lnTo>
                  <a:lnTo>
                    <a:pt x="298" y="154"/>
                  </a:lnTo>
                  <a:lnTo>
                    <a:pt x="300" y="153"/>
                  </a:lnTo>
                  <a:lnTo>
                    <a:pt x="300" y="156"/>
                  </a:lnTo>
                  <a:lnTo>
                    <a:pt x="301" y="157"/>
                  </a:lnTo>
                  <a:lnTo>
                    <a:pt x="303" y="157"/>
                  </a:lnTo>
                  <a:lnTo>
                    <a:pt x="303" y="159"/>
                  </a:lnTo>
                  <a:lnTo>
                    <a:pt x="303" y="161"/>
                  </a:lnTo>
                  <a:lnTo>
                    <a:pt x="303" y="162"/>
                  </a:lnTo>
                  <a:lnTo>
                    <a:pt x="303" y="164"/>
                  </a:lnTo>
                  <a:lnTo>
                    <a:pt x="303" y="166"/>
                  </a:lnTo>
                  <a:lnTo>
                    <a:pt x="301" y="166"/>
                  </a:lnTo>
                  <a:lnTo>
                    <a:pt x="301" y="167"/>
                  </a:lnTo>
                  <a:lnTo>
                    <a:pt x="301" y="169"/>
                  </a:lnTo>
                  <a:lnTo>
                    <a:pt x="300" y="175"/>
                  </a:lnTo>
                  <a:lnTo>
                    <a:pt x="298" y="177"/>
                  </a:lnTo>
                  <a:lnTo>
                    <a:pt x="300" y="179"/>
                  </a:lnTo>
                  <a:lnTo>
                    <a:pt x="301" y="179"/>
                  </a:lnTo>
                  <a:lnTo>
                    <a:pt x="301" y="180"/>
                  </a:lnTo>
                  <a:lnTo>
                    <a:pt x="303" y="180"/>
                  </a:lnTo>
                  <a:lnTo>
                    <a:pt x="303" y="179"/>
                  </a:lnTo>
                  <a:lnTo>
                    <a:pt x="305" y="179"/>
                  </a:lnTo>
                  <a:lnTo>
                    <a:pt x="306" y="177"/>
                  </a:lnTo>
                  <a:lnTo>
                    <a:pt x="306" y="179"/>
                  </a:lnTo>
                  <a:lnTo>
                    <a:pt x="306" y="180"/>
                  </a:lnTo>
                  <a:lnTo>
                    <a:pt x="306" y="182"/>
                  </a:lnTo>
                  <a:lnTo>
                    <a:pt x="306" y="183"/>
                  </a:lnTo>
                  <a:lnTo>
                    <a:pt x="308" y="183"/>
                  </a:lnTo>
                  <a:lnTo>
                    <a:pt x="308" y="185"/>
                  </a:lnTo>
                  <a:lnTo>
                    <a:pt x="308" y="187"/>
                  </a:lnTo>
                  <a:lnTo>
                    <a:pt x="309" y="185"/>
                  </a:lnTo>
                  <a:lnTo>
                    <a:pt x="309" y="187"/>
                  </a:lnTo>
                  <a:lnTo>
                    <a:pt x="309" y="188"/>
                  </a:lnTo>
                  <a:lnTo>
                    <a:pt x="309" y="187"/>
                  </a:lnTo>
                  <a:lnTo>
                    <a:pt x="309" y="185"/>
                  </a:lnTo>
                  <a:lnTo>
                    <a:pt x="311" y="185"/>
                  </a:lnTo>
                  <a:lnTo>
                    <a:pt x="311" y="183"/>
                  </a:lnTo>
                  <a:lnTo>
                    <a:pt x="313" y="183"/>
                  </a:lnTo>
                  <a:lnTo>
                    <a:pt x="313" y="182"/>
                  </a:lnTo>
                  <a:lnTo>
                    <a:pt x="313" y="180"/>
                  </a:lnTo>
                  <a:lnTo>
                    <a:pt x="316" y="180"/>
                  </a:lnTo>
                  <a:lnTo>
                    <a:pt x="316" y="179"/>
                  </a:lnTo>
                  <a:lnTo>
                    <a:pt x="316" y="175"/>
                  </a:lnTo>
                  <a:lnTo>
                    <a:pt x="318" y="175"/>
                  </a:lnTo>
                  <a:lnTo>
                    <a:pt x="318" y="174"/>
                  </a:lnTo>
                  <a:lnTo>
                    <a:pt x="319" y="174"/>
                  </a:lnTo>
                  <a:lnTo>
                    <a:pt x="319" y="170"/>
                  </a:lnTo>
                  <a:lnTo>
                    <a:pt x="319" y="167"/>
                  </a:lnTo>
                  <a:lnTo>
                    <a:pt x="321" y="166"/>
                  </a:lnTo>
                  <a:lnTo>
                    <a:pt x="321" y="164"/>
                  </a:lnTo>
                  <a:lnTo>
                    <a:pt x="321" y="162"/>
                  </a:lnTo>
                  <a:lnTo>
                    <a:pt x="321" y="161"/>
                  </a:lnTo>
                  <a:lnTo>
                    <a:pt x="321" y="159"/>
                  </a:lnTo>
                  <a:lnTo>
                    <a:pt x="321" y="157"/>
                  </a:lnTo>
                  <a:lnTo>
                    <a:pt x="322" y="157"/>
                  </a:lnTo>
                  <a:lnTo>
                    <a:pt x="324" y="157"/>
                  </a:lnTo>
                  <a:lnTo>
                    <a:pt x="324" y="156"/>
                  </a:lnTo>
                  <a:lnTo>
                    <a:pt x="326" y="154"/>
                  </a:lnTo>
                  <a:lnTo>
                    <a:pt x="326" y="153"/>
                  </a:lnTo>
                  <a:lnTo>
                    <a:pt x="327" y="151"/>
                  </a:lnTo>
                  <a:lnTo>
                    <a:pt x="327" y="149"/>
                  </a:lnTo>
                  <a:lnTo>
                    <a:pt x="327" y="146"/>
                  </a:lnTo>
                  <a:lnTo>
                    <a:pt x="329" y="144"/>
                  </a:lnTo>
                  <a:lnTo>
                    <a:pt x="331" y="143"/>
                  </a:lnTo>
                  <a:lnTo>
                    <a:pt x="332" y="143"/>
                  </a:lnTo>
                  <a:lnTo>
                    <a:pt x="334" y="143"/>
                  </a:lnTo>
                  <a:lnTo>
                    <a:pt x="335" y="141"/>
                  </a:lnTo>
                  <a:lnTo>
                    <a:pt x="335" y="143"/>
                  </a:lnTo>
                  <a:lnTo>
                    <a:pt x="337" y="143"/>
                  </a:lnTo>
                  <a:lnTo>
                    <a:pt x="339" y="144"/>
                  </a:lnTo>
                  <a:lnTo>
                    <a:pt x="339" y="143"/>
                  </a:lnTo>
                  <a:lnTo>
                    <a:pt x="339" y="144"/>
                  </a:lnTo>
                  <a:lnTo>
                    <a:pt x="340" y="144"/>
                  </a:lnTo>
                  <a:lnTo>
                    <a:pt x="342" y="144"/>
                  </a:lnTo>
                  <a:lnTo>
                    <a:pt x="344" y="144"/>
                  </a:lnTo>
                  <a:lnTo>
                    <a:pt x="344" y="146"/>
                  </a:lnTo>
                  <a:lnTo>
                    <a:pt x="344" y="148"/>
                  </a:lnTo>
                  <a:lnTo>
                    <a:pt x="345" y="148"/>
                  </a:lnTo>
                  <a:lnTo>
                    <a:pt x="345" y="149"/>
                  </a:lnTo>
                  <a:lnTo>
                    <a:pt x="347" y="149"/>
                  </a:lnTo>
                  <a:lnTo>
                    <a:pt x="347" y="148"/>
                  </a:lnTo>
                  <a:lnTo>
                    <a:pt x="347" y="146"/>
                  </a:lnTo>
                  <a:lnTo>
                    <a:pt x="348" y="146"/>
                  </a:lnTo>
                  <a:lnTo>
                    <a:pt x="350" y="146"/>
                  </a:lnTo>
                  <a:lnTo>
                    <a:pt x="350" y="144"/>
                  </a:lnTo>
                  <a:lnTo>
                    <a:pt x="352" y="144"/>
                  </a:lnTo>
                  <a:lnTo>
                    <a:pt x="352" y="143"/>
                  </a:lnTo>
                  <a:lnTo>
                    <a:pt x="353" y="141"/>
                  </a:lnTo>
                  <a:lnTo>
                    <a:pt x="355" y="140"/>
                  </a:lnTo>
                  <a:lnTo>
                    <a:pt x="358" y="138"/>
                  </a:lnTo>
                  <a:lnTo>
                    <a:pt x="360" y="138"/>
                  </a:lnTo>
                  <a:lnTo>
                    <a:pt x="361" y="138"/>
                  </a:lnTo>
                  <a:lnTo>
                    <a:pt x="363" y="138"/>
                  </a:lnTo>
                  <a:lnTo>
                    <a:pt x="365" y="138"/>
                  </a:lnTo>
                  <a:lnTo>
                    <a:pt x="365" y="140"/>
                  </a:lnTo>
                  <a:lnTo>
                    <a:pt x="365" y="141"/>
                  </a:lnTo>
                  <a:lnTo>
                    <a:pt x="363" y="143"/>
                  </a:lnTo>
                  <a:lnTo>
                    <a:pt x="365" y="143"/>
                  </a:lnTo>
                  <a:lnTo>
                    <a:pt x="363" y="143"/>
                  </a:lnTo>
                  <a:lnTo>
                    <a:pt x="363" y="144"/>
                  </a:lnTo>
                  <a:lnTo>
                    <a:pt x="361" y="144"/>
                  </a:lnTo>
                  <a:lnTo>
                    <a:pt x="363" y="144"/>
                  </a:lnTo>
                  <a:lnTo>
                    <a:pt x="365" y="144"/>
                  </a:lnTo>
                  <a:lnTo>
                    <a:pt x="366" y="143"/>
                  </a:lnTo>
                  <a:lnTo>
                    <a:pt x="368" y="141"/>
                  </a:lnTo>
                  <a:lnTo>
                    <a:pt x="370" y="140"/>
                  </a:lnTo>
                  <a:lnTo>
                    <a:pt x="370" y="138"/>
                  </a:lnTo>
                  <a:lnTo>
                    <a:pt x="371" y="140"/>
                  </a:lnTo>
                  <a:lnTo>
                    <a:pt x="373" y="140"/>
                  </a:lnTo>
                  <a:lnTo>
                    <a:pt x="373" y="141"/>
                  </a:lnTo>
                  <a:lnTo>
                    <a:pt x="373" y="143"/>
                  </a:lnTo>
                  <a:lnTo>
                    <a:pt x="373" y="144"/>
                  </a:lnTo>
                  <a:lnTo>
                    <a:pt x="371" y="144"/>
                  </a:lnTo>
                  <a:lnTo>
                    <a:pt x="370" y="146"/>
                  </a:lnTo>
                  <a:lnTo>
                    <a:pt x="370" y="148"/>
                  </a:lnTo>
                  <a:lnTo>
                    <a:pt x="368" y="148"/>
                  </a:lnTo>
                  <a:lnTo>
                    <a:pt x="370" y="149"/>
                  </a:lnTo>
                  <a:lnTo>
                    <a:pt x="370" y="148"/>
                  </a:lnTo>
                  <a:lnTo>
                    <a:pt x="371" y="148"/>
                  </a:lnTo>
                  <a:lnTo>
                    <a:pt x="373" y="146"/>
                  </a:lnTo>
                  <a:lnTo>
                    <a:pt x="374" y="146"/>
                  </a:lnTo>
                  <a:lnTo>
                    <a:pt x="376" y="146"/>
                  </a:lnTo>
                  <a:lnTo>
                    <a:pt x="376" y="148"/>
                  </a:lnTo>
                  <a:lnTo>
                    <a:pt x="378" y="149"/>
                  </a:lnTo>
                  <a:lnTo>
                    <a:pt x="378" y="151"/>
                  </a:lnTo>
                  <a:lnTo>
                    <a:pt x="378" y="153"/>
                  </a:lnTo>
                  <a:lnTo>
                    <a:pt x="378" y="154"/>
                  </a:lnTo>
                  <a:lnTo>
                    <a:pt x="376" y="156"/>
                  </a:lnTo>
                  <a:lnTo>
                    <a:pt x="374" y="157"/>
                  </a:lnTo>
                  <a:lnTo>
                    <a:pt x="373" y="157"/>
                  </a:lnTo>
                  <a:lnTo>
                    <a:pt x="371" y="157"/>
                  </a:lnTo>
                  <a:lnTo>
                    <a:pt x="371" y="159"/>
                  </a:lnTo>
                  <a:lnTo>
                    <a:pt x="370" y="159"/>
                  </a:lnTo>
                  <a:lnTo>
                    <a:pt x="370" y="161"/>
                  </a:lnTo>
                  <a:lnTo>
                    <a:pt x="370" y="159"/>
                  </a:lnTo>
                  <a:lnTo>
                    <a:pt x="370" y="161"/>
                  </a:lnTo>
                  <a:lnTo>
                    <a:pt x="368" y="161"/>
                  </a:lnTo>
                  <a:lnTo>
                    <a:pt x="368" y="162"/>
                  </a:lnTo>
                  <a:lnTo>
                    <a:pt x="370" y="162"/>
                  </a:lnTo>
                  <a:lnTo>
                    <a:pt x="370" y="161"/>
                  </a:lnTo>
                  <a:lnTo>
                    <a:pt x="371" y="161"/>
                  </a:lnTo>
                  <a:lnTo>
                    <a:pt x="371" y="159"/>
                  </a:lnTo>
                  <a:lnTo>
                    <a:pt x="373" y="159"/>
                  </a:lnTo>
                  <a:lnTo>
                    <a:pt x="374" y="159"/>
                  </a:lnTo>
                  <a:lnTo>
                    <a:pt x="378" y="159"/>
                  </a:lnTo>
                  <a:lnTo>
                    <a:pt x="378" y="161"/>
                  </a:lnTo>
                  <a:lnTo>
                    <a:pt x="378" y="162"/>
                  </a:lnTo>
                  <a:lnTo>
                    <a:pt x="378" y="164"/>
                  </a:lnTo>
                  <a:lnTo>
                    <a:pt x="378" y="166"/>
                  </a:lnTo>
                  <a:lnTo>
                    <a:pt x="376" y="167"/>
                  </a:lnTo>
                  <a:lnTo>
                    <a:pt x="376" y="169"/>
                  </a:lnTo>
                  <a:lnTo>
                    <a:pt x="376" y="170"/>
                  </a:lnTo>
                  <a:lnTo>
                    <a:pt x="374" y="172"/>
                  </a:lnTo>
                  <a:lnTo>
                    <a:pt x="373" y="174"/>
                  </a:lnTo>
                  <a:lnTo>
                    <a:pt x="373" y="175"/>
                  </a:lnTo>
                  <a:lnTo>
                    <a:pt x="373" y="177"/>
                  </a:lnTo>
                  <a:lnTo>
                    <a:pt x="374" y="177"/>
                  </a:lnTo>
                  <a:lnTo>
                    <a:pt x="376" y="179"/>
                  </a:lnTo>
                  <a:lnTo>
                    <a:pt x="376" y="180"/>
                  </a:lnTo>
                  <a:lnTo>
                    <a:pt x="376" y="182"/>
                  </a:lnTo>
                  <a:lnTo>
                    <a:pt x="378" y="182"/>
                  </a:lnTo>
                  <a:lnTo>
                    <a:pt x="379" y="182"/>
                  </a:lnTo>
                  <a:lnTo>
                    <a:pt x="379" y="183"/>
                  </a:lnTo>
                  <a:lnTo>
                    <a:pt x="381" y="183"/>
                  </a:lnTo>
                  <a:lnTo>
                    <a:pt x="381" y="185"/>
                  </a:lnTo>
                  <a:lnTo>
                    <a:pt x="381" y="187"/>
                  </a:lnTo>
                  <a:lnTo>
                    <a:pt x="381" y="188"/>
                  </a:lnTo>
                  <a:lnTo>
                    <a:pt x="381" y="190"/>
                  </a:lnTo>
                  <a:lnTo>
                    <a:pt x="381" y="192"/>
                  </a:lnTo>
                  <a:lnTo>
                    <a:pt x="381" y="193"/>
                  </a:lnTo>
                  <a:lnTo>
                    <a:pt x="381" y="195"/>
                  </a:lnTo>
                  <a:lnTo>
                    <a:pt x="379" y="195"/>
                  </a:lnTo>
                  <a:lnTo>
                    <a:pt x="381" y="197"/>
                  </a:lnTo>
                  <a:lnTo>
                    <a:pt x="383" y="197"/>
                  </a:lnTo>
                  <a:lnTo>
                    <a:pt x="383" y="198"/>
                  </a:lnTo>
                  <a:lnTo>
                    <a:pt x="383" y="200"/>
                  </a:lnTo>
                  <a:lnTo>
                    <a:pt x="383" y="201"/>
                  </a:lnTo>
                  <a:lnTo>
                    <a:pt x="379" y="205"/>
                  </a:lnTo>
                  <a:lnTo>
                    <a:pt x="379" y="206"/>
                  </a:lnTo>
                  <a:lnTo>
                    <a:pt x="379" y="208"/>
                  </a:lnTo>
                  <a:lnTo>
                    <a:pt x="381" y="208"/>
                  </a:lnTo>
                  <a:lnTo>
                    <a:pt x="379" y="208"/>
                  </a:lnTo>
                  <a:lnTo>
                    <a:pt x="379" y="210"/>
                  </a:lnTo>
                  <a:lnTo>
                    <a:pt x="381" y="208"/>
                  </a:lnTo>
                  <a:lnTo>
                    <a:pt x="381" y="210"/>
                  </a:lnTo>
                  <a:lnTo>
                    <a:pt x="379" y="210"/>
                  </a:lnTo>
                  <a:lnTo>
                    <a:pt x="379" y="211"/>
                  </a:lnTo>
                  <a:lnTo>
                    <a:pt x="379" y="213"/>
                  </a:lnTo>
                  <a:lnTo>
                    <a:pt x="378" y="214"/>
                  </a:lnTo>
                  <a:lnTo>
                    <a:pt x="378" y="216"/>
                  </a:lnTo>
                  <a:lnTo>
                    <a:pt x="378" y="218"/>
                  </a:lnTo>
                  <a:lnTo>
                    <a:pt x="378" y="219"/>
                  </a:lnTo>
                  <a:lnTo>
                    <a:pt x="378" y="221"/>
                  </a:lnTo>
                  <a:lnTo>
                    <a:pt x="379" y="223"/>
                  </a:lnTo>
                  <a:lnTo>
                    <a:pt x="379" y="224"/>
                  </a:lnTo>
                  <a:lnTo>
                    <a:pt x="378" y="224"/>
                  </a:lnTo>
                  <a:lnTo>
                    <a:pt x="378" y="226"/>
                  </a:lnTo>
                  <a:lnTo>
                    <a:pt x="378" y="227"/>
                  </a:lnTo>
                  <a:lnTo>
                    <a:pt x="378" y="226"/>
                  </a:lnTo>
                  <a:lnTo>
                    <a:pt x="378" y="227"/>
                  </a:lnTo>
                  <a:lnTo>
                    <a:pt x="379" y="227"/>
                  </a:lnTo>
                  <a:lnTo>
                    <a:pt x="379" y="226"/>
                  </a:lnTo>
                  <a:lnTo>
                    <a:pt x="381" y="219"/>
                  </a:lnTo>
                  <a:lnTo>
                    <a:pt x="381" y="216"/>
                  </a:lnTo>
                  <a:lnTo>
                    <a:pt x="383" y="214"/>
                  </a:lnTo>
                  <a:lnTo>
                    <a:pt x="383" y="213"/>
                  </a:lnTo>
                  <a:lnTo>
                    <a:pt x="384" y="211"/>
                  </a:lnTo>
                  <a:lnTo>
                    <a:pt x="386" y="210"/>
                  </a:lnTo>
                  <a:lnTo>
                    <a:pt x="387" y="208"/>
                  </a:lnTo>
                  <a:lnTo>
                    <a:pt x="387" y="206"/>
                  </a:lnTo>
                  <a:lnTo>
                    <a:pt x="387" y="205"/>
                  </a:lnTo>
                  <a:lnTo>
                    <a:pt x="389" y="205"/>
                  </a:lnTo>
                  <a:lnTo>
                    <a:pt x="389" y="201"/>
                  </a:lnTo>
                  <a:lnTo>
                    <a:pt x="389" y="200"/>
                  </a:lnTo>
                  <a:lnTo>
                    <a:pt x="391" y="198"/>
                  </a:lnTo>
                  <a:lnTo>
                    <a:pt x="389" y="197"/>
                  </a:lnTo>
                  <a:lnTo>
                    <a:pt x="391" y="197"/>
                  </a:lnTo>
                  <a:lnTo>
                    <a:pt x="389" y="197"/>
                  </a:lnTo>
                  <a:lnTo>
                    <a:pt x="389" y="195"/>
                  </a:lnTo>
                  <a:lnTo>
                    <a:pt x="389" y="193"/>
                  </a:lnTo>
                  <a:lnTo>
                    <a:pt x="391" y="193"/>
                  </a:lnTo>
                  <a:lnTo>
                    <a:pt x="389" y="192"/>
                  </a:lnTo>
                  <a:lnTo>
                    <a:pt x="389" y="193"/>
                  </a:lnTo>
                  <a:lnTo>
                    <a:pt x="387" y="192"/>
                  </a:lnTo>
                  <a:lnTo>
                    <a:pt x="387" y="193"/>
                  </a:lnTo>
                  <a:lnTo>
                    <a:pt x="387" y="192"/>
                  </a:lnTo>
                  <a:lnTo>
                    <a:pt x="387" y="190"/>
                  </a:lnTo>
                  <a:lnTo>
                    <a:pt x="386" y="190"/>
                  </a:lnTo>
                  <a:lnTo>
                    <a:pt x="387" y="188"/>
                  </a:lnTo>
                  <a:lnTo>
                    <a:pt x="387" y="187"/>
                  </a:lnTo>
                  <a:lnTo>
                    <a:pt x="389" y="187"/>
                  </a:lnTo>
                  <a:lnTo>
                    <a:pt x="389" y="183"/>
                  </a:lnTo>
                  <a:lnTo>
                    <a:pt x="387" y="182"/>
                  </a:lnTo>
                  <a:lnTo>
                    <a:pt x="387" y="180"/>
                  </a:lnTo>
                  <a:lnTo>
                    <a:pt x="387" y="179"/>
                  </a:lnTo>
                  <a:lnTo>
                    <a:pt x="387" y="177"/>
                  </a:lnTo>
                  <a:lnTo>
                    <a:pt x="387" y="175"/>
                  </a:lnTo>
                  <a:lnTo>
                    <a:pt x="389" y="175"/>
                  </a:lnTo>
                  <a:lnTo>
                    <a:pt x="389" y="174"/>
                  </a:lnTo>
                  <a:lnTo>
                    <a:pt x="389" y="172"/>
                  </a:lnTo>
                  <a:lnTo>
                    <a:pt x="389" y="170"/>
                  </a:lnTo>
                  <a:lnTo>
                    <a:pt x="389" y="169"/>
                  </a:lnTo>
                  <a:lnTo>
                    <a:pt x="391" y="169"/>
                  </a:lnTo>
                  <a:lnTo>
                    <a:pt x="391" y="167"/>
                  </a:lnTo>
                  <a:lnTo>
                    <a:pt x="391" y="166"/>
                  </a:lnTo>
                  <a:lnTo>
                    <a:pt x="392" y="164"/>
                  </a:lnTo>
                  <a:lnTo>
                    <a:pt x="392" y="161"/>
                  </a:lnTo>
                  <a:lnTo>
                    <a:pt x="394" y="159"/>
                  </a:lnTo>
                  <a:lnTo>
                    <a:pt x="394" y="157"/>
                  </a:lnTo>
                  <a:lnTo>
                    <a:pt x="396" y="156"/>
                  </a:lnTo>
                  <a:lnTo>
                    <a:pt x="399" y="156"/>
                  </a:lnTo>
                  <a:lnTo>
                    <a:pt x="400" y="156"/>
                  </a:lnTo>
                  <a:lnTo>
                    <a:pt x="402" y="157"/>
                  </a:lnTo>
                  <a:lnTo>
                    <a:pt x="404" y="159"/>
                  </a:lnTo>
                  <a:lnTo>
                    <a:pt x="404" y="161"/>
                  </a:lnTo>
                  <a:lnTo>
                    <a:pt x="405" y="161"/>
                  </a:lnTo>
                  <a:lnTo>
                    <a:pt x="405" y="159"/>
                  </a:lnTo>
                  <a:lnTo>
                    <a:pt x="407" y="161"/>
                  </a:lnTo>
                  <a:lnTo>
                    <a:pt x="409" y="161"/>
                  </a:lnTo>
                  <a:lnTo>
                    <a:pt x="409" y="162"/>
                  </a:lnTo>
                  <a:lnTo>
                    <a:pt x="407" y="162"/>
                  </a:lnTo>
                  <a:lnTo>
                    <a:pt x="407" y="164"/>
                  </a:lnTo>
                  <a:lnTo>
                    <a:pt x="409" y="164"/>
                  </a:lnTo>
                  <a:lnTo>
                    <a:pt x="410" y="164"/>
                  </a:lnTo>
                  <a:lnTo>
                    <a:pt x="410" y="162"/>
                  </a:lnTo>
                  <a:lnTo>
                    <a:pt x="412" y="164"/>
                  </a:lnTo>
                  <a:lnTo>
                    <a:pt x="413" y="164"/>
                  </a:lnTo>
                  <a:lnTo>
                    <a:pt x="413" y="166"/>
                  </a:lnTo>
                  <a:lnTo>
                    <a:pt x="415" y="166"/>
                  </a:lnTo>
                  <a:lnTo>
                    <a:pt x="415" y="167"/>
                  </a:lnTo>
                  <a:lnTo>
                    <a:pt x="415" y="169"/>
                  </a:lnTo>
                  <a:lnTo>
                    <a:pt x="417" y="169"/>
                  </a:lnTo>
                  <a:lnTo>
                    <a:pt x="415" y="169"/>
                  </a:lnTo>
                  <a:lnTo>
                    <a:pt x="415" y="170"/>
                  </a:lnTo>
                  <a:lnTo>
                    <a:pt x="415" y="172"/>
                  </a:lnTo>
                  <a:lnTo>
                    <a:pt x="415" y="174"/>
                  </a:lnTo>
                  <a:lnTo>
                    <a:pt x="418" y="174"/>
                  </a:lnTo>
                  <a:lnTo>
                    <a:pt x="418" y="175"/>
                  </a:lnTo>
                  <a:lnTo>
                    <a:pt x="418" y="177"/>
                  </a:lnTo>
                  <a:lnTo>
                    <a:pt x="420" y="179"/>
                  </a:lnTo>
                  <a:lnTo>
                    <a:pt x="420" y="180"/>
                  </a:lnTo>
                  <a:lnTo>
                    <a:pt x="420" y="182"/>
                  </a:lnTo>
                  <a:lnTo>
                    <a:pt x="420" y="183"/>
                  </a:lnTo>
                  <a:lnTo>
                    <a:pt x="420" y="185"/>
                  </a:lnTo>
                  <a:lnTo>
                    <a:pt x="422" y="187"/>
                  </a:lnTo>
                  <a:lnTo>
                    <a:pt x="422" y="188"/>
                  </a:lnTo>
                  <a:lnTo>
                    <a:pt x="420" y="190"/>
                  </a:lnTo>
                  <a:lnTo>
                    <a:pt x="420" y="192"/>
                  </a:lnTo>
                  <a:lnTo>
                    <a:pt x="420" y="193"/>
                  </a:lnTo>
                  <a:lnTo>
                    <a:pt x="422" y="193"/>
                  </a:lnTo>
                  <a:lnTo>
                    <a:pt x="420" y="195"/>
                  </a:lnTo>
                  <a:lnTo>
                    <a:pt x="422" y="195"/>
                  </a:lnTo>
                  <a:lnTo>
                    <a:pt x="422" y="197"/>
                  </a:lnTo>
                  <a:lnTo>
                    <a:pt x="422" y="198"/>
                  </a:lnTo>
                  <a:lnTo>
                    <a:pt x="422" y="200"/>
                  </a:lnTo>
                  <a:lnTo>
                    <a:pt x="422" y="201"/>
                  </a:lnTo>
                  <a:lnTo>
                    <a:pt x="422" y="203"/>
                  </a:lnTo>
                  <a:lnTo>
                    <a:pt x="423" y="201"/>
                  </a:lnTo>
                  <a:lnTo>
                    <a:pt x="423" y="198"/>
                  </a:lnTo>
                  <a:lnTo>
                    <a:pt x="423" y="197"/>
                  </a:lnTo>
                  <a:lnTo>
                    <a:pt x="426" y="197"/>
                  </a:lnTo>
                  <a:lnTo>
                    <a:pt x="430" y="198"/>
                  </a:lnTo>
                  <a:lnTo>
                    <a:pt x="431" y="198"/>
                  </a:lnTo>
                  <a:lnTo>
                    <a:pt x="433" y="198"/>
                  </a:lnTo>
                  <a:lnTo>
                    <a:pt x="435" y="198"/>
                  </a:lnTo>
                  <a:lnTo>
                    <a:pt x="436" y="197"/>
                  </a:lnTo>
                  <a:lnTo>
                    <a:pt x="438" y="195"/>
                  </a:lnTo>
                  <a:lnTo>
                    <a:pt x="440" y="195"/>
                  </a:lnTo>
                  <a:lnTo>
                    <a:pt x="440" y="193"/>
                  </a:lnTo>
                  <a:lnTo>
                    <a:pt x="440" y="192"/>
                  </a:lnTo>
                  <a:lnTo>
                    <a:pt x="441" y="190"/>
                  </a:lnTo>
                  <a:lnTo>
                    <a:pt x="441" y="188"/>
                  </a:lnTo>
                  <a:lnTo>
                    <a:pt x="443" y="188"/>
                  </a:lnTo>
                  <a:lnTo>
                    <a:pt x="443" y="187"/>
                  </a:lnTo>
                  <a:lnTo>
                    <a:pt x="444" y="187"/>
                  </a:lnTo>
                  <a:lnTo>
                    <a:pt x="446" y="187"/>
                  </a:lnTo>
                  <a:lnTo>
                    <a:pt x="448" y="187"/>
                  </a:lnTo>
                  <a:lnTo>
                    <a:pt x="448" y="185"/>
                  </a:lnTo>
                  <a:lnTo>
                    <a:pt x="449" y="185"/>
                  </a:lnTo>
                  <a:lnTo>
                    <a:pt x="449" y="183"/>
                  </a:lnTo>
                  <a:lnTo>
                    <a:pt x="451" y="182"/>
                  </a:lnTo>
                  <a:lnTo>
                    <a:pt x="451" y="180"/>
                  </a:lnTo>
                  <a:lnTo>
                    <a:pt x="451" y="179"/>
                  </a:lnTo>
                  <a:lnTo>
                    <a:pt x="453" y="179"/>
                  </a:lnTo>
                  <a:lnTo>
                    <a:pt x="454" y="177"/>
                  </a:lnTo>
                  <a:lnTo>
                    <a:pt x="456" y="177"/>
                  </a:lnTo>
                  <a:lnTo>
                    <a:pt x="457" y="177"/>
                  </a:lnTo>
                  <a:lnTo>
                    <a:pt x="457" y="179"/>
                  </a:lnTo>
                  <a:lnTo>
                    <a:pt x="459" y="179"/>
                  </a:lnTo>
                  <a:lnTo>
                    <a:pt x="461" y="177"/>
                  </a:lnTo>
                  <a:lnTo>
                    <a:pt x="462" y="179"/>
                  </a:lnTo>
                  <a:lnTo>
                    <a:pt x="462" y="177"/>
                  </a:lnTo>
                  <a:lnTo>
                    <a:pt x="464" y="179"/>
                  </a:lnTo>
                  <a:lnTo>
                    <a:pt x="466" y="179"/>
                  </a:lnTo>
                  <a:lnTo>
                    <a:pt x="466" y="180"/>
                  </a:lnTo>
                  <a:lnTo>
                    <a:pt x="467" y="180"/>
                  </a:lnTo>
                  <a:lnTo>
                    <a:pt x="467" y="182"/>
                  </a:lnTo>
                  <a:lnTo>
                    <a:pt x="467" y="183"/>
                  </a:lnTo>
                  <a:lnTo>
                    <a:pt x="467" y="185"/>
                  </a:lnTo>
                  <a:lnTo>
                    <a:pt x="466" y="187"/>
                  </a:lnTo>
                  <a:lnTo>
                    <a:pt x="467" y="190"/>
                  </a:lnTo>
                  <a:lnTo>
                    <a:pt x="466" y="192"/>
                  </a:lnTo>
                  <a:lnTo>
                    <a:pt x="466" y="193"/>
                  </a:lnTo>
                  <a:lnTo>
                    <a:pt x="464" y="193"/>
                  </a:lnTo>
                  <a:lnTo>
                    <a:pt x="464" y="195"/>
                  </a:lnTo>
                  <a:lnTo>
                    <a:pt x="466" y="195"/>
                  </a:lnTo>
                  <a:lnTo>
                    <a:pt x="466" y="197"/>
                  </a:lnTo>
                  <a:lnTo>
                    <a:pt x="466" y="195"/>
                  </a:lnTo>
                  <a:lnTo>
                    <a:pt x="467" y="195"/>
                  </a:lnTo>
                  <a:lnTo>
                    <a:pt x="466" y="195"/>
                  </a:lnTo>
                  <a:lnTo>
                    <a:pt x="467" y="195"/>
                  </a:lnTo>
                  <a:lnTo>
                    <a:pt x="466" y="195"/>
                  </a:lnTo>
                  <a:lnTo>
                    <a:pt x="467" y="195"/>
                  </a:lnTo>
                  <a:lnTo>
                    <a:pt x="467" y="193"/>
                  </a:lnTo>
                  <a:lnTo>
                    <a:pt x="467" y="192"/>
                  </a:lnTo>
                  <a:lnTo>
                    <a:pt x="469" y="193"/>
                  </a:lnTo>
                  <a:lnTo>
                    <a:pt x="470" y="193"/>
                  </a:lnTo>
                  <a:lnTo>
                    <a:pt x="475" y="195"/>
                  </a:lnTo>
                  <a:lnTo>
                    <a:pt x="475" y="197"/>
                  </a:lnTo>
                  <a:lnTo>
                    <a:pt x="477" y="195"/>
                  </a:lnTo>
                  <a:lnTo>
                    <a:pt x="479" y="195"/>
                  </a:lnTo>
                  <a:lnTo>
                    <a:pt x="480" y="195"/>
                  </a:lnTo>
                  <a:lnTo>
                    <a:pt x="480" y="197"/>
                  </a:lnTo>
                  <a:lnTo>
                    <a:pt x="480" y="198"/>
                  </a:lnTo>
                  <a:lnTo>
                    <a:pt x="480" y="200"/>
                  </a:lnTo>
                  <a:lnTo>
                    <a:pt x="480" y="201"/>
                  </a:lnTo>
                  <a:lnTo>
                    <a:pt x="482" y="203"/>
                  </a:lnTo>
                  <a:lnTo>
                    <a:pt x="482" y="205"/>
                  </a:lnTo>
                  <a:lnTo>
                    <a:pt x="483" y="205"/>
                  </a:lnTo>
                  <a:lnTo>
                    <a:pt x="483" y="206"/>
                  </a:lnTo>
                  <a:lnTo>
                    <a:pt x="483" y="205"/>
                  </a:lnTo>
                  <a:lnTo>
                    <a:pt x="483" y="203"/>
                  </a:lnTo>
                  <a:lnTo>
                    <a:pt x="482" y="203"/>
                  </a:lnTo>
                  <a:lnTo>
                    <a:pt x="482" y="201"/>
                  </a:lnTo>
                  <a:lnTo>
                    <a:pt x="480" y="198"/>
                  </a:lnTo>
                  <a:lnTo>
                    <a:pt x="480" y="197"/>
                  </a:lnTo>
                  <a:lnTo>
                    <a:pt x="482" y="195"/>
                  </a:lnTo>
                  <a:lnTo>
                    <a:pt x="485" y="193"/>
                  </a:lnTo>
                  <a:lnTo>
                    <a:pt x="487" y="193"/>
                  </a:lnTo>
                  <a:lnTo>
                    <a:pt x="490" y="193"/>
                  </a:lnTo>
                  <a:lnTo>
                    <a:pt x="492" y="193"/>
                  </a:lnTo>
                  <a:lnTo>
                    <a:pt x="493" y="192"/>
                  </a:lnTo>
                  <a:lnTo>
                    <a:pt x="495" y="192"/>
                  </a:lnTo>
                  <a:lnTo>
                    <a:pt x="496" y="190"/>
                  </a:lnTo>
                  <a:lnTo>
                    <a:pt x="498" y="190"/>
                  </a:lnTo>
                  <a:lnTo>
                    <a:pt x="500" y="188"/>
                  </a:lnTo>
                  <a:lnTo>
                    <a:pt x="501" y="188"/>
                  </a:lnTo>
                  <a:lnTo>
                    <a:pt x="501" y="185"/>
                  </a:lnTo>
                  <a:lnTo>
                    <a:pt x="503" y="185"/>
                  </a:lnTo>
                  <a:lnTo>
                    <a:pt x="503" y="183"/>
                  </a:lnTo>
                  <a:lnTo>
                    <a:pt x="503" y="182"/>
                  </a:lnTo>
                  <a:lnTo>
                    <a:pt x="503" y="180"/>
                  </a:lnTo>
                  <a:lnTo>
                    <a:pt x="503" y="179"/>
                  </a:lnTo>
                  <a:lnTo>
                    <a:pt x="501" y="179"/>
                  </a:lnTo>
                  <a:lnTo>
                    <a:pt x="503" y="177"/>
                  </a:lnTo>
                  <a:lnTo>
                    <a:pt x="503" y="175"/>
                  </a:lnTo>
                  <a:lnTo>
                    <a:pt x="503" y="174"/>
                  </a:lnTo>
                  <a:lnTo>
                    <a:pt x="503" y="172"/>
                  </a:lnTo>
                  <a:lnTo>
                    <a:pt x="503" y="170"/>
                  </a:lnTo>
                  <a:lnTo>
                    <a:pt x="503" y="169"/>
                  </a:lnTo>
                  <a:lnTo>
                    <a:pt x="505" y="167"/>
                  </a:lnTo>
                  <a:lnTo>
                    <a:pt x="503" y="167"/>
                  </a:lnTo>
                  <a:lnTo>
                    <a:pt x="505" y="167"/>
                  </a:lnTo>
                  <a:lnTo>
                    <a:pt x="505" y="166"/>
                  </a:lnTo>
                  <a:lnTo>
                    <a:pt x="505" y="167"/>
                  </a:lnTo>
                  <a:lnTo>
                    <a:pt x="505" y="166"/>
                  </a:lnTo>
                  <a:lnTo>
                    <a:pt x="505" y="164"/>
                  </a:lnTo>
                  <a:lnTo>
                    <a:pt x="505" y="162"/>
                  </a:lnTo>
                  <a:lnTo>
                    <a:pt x="506" y="162"/>
                  </a:lnTo>
                  <a:lnTo>
                    <a:pt x="506" y="161"/>
                  </a:lnTo>
                  <a:lnTo>
                    <a:pt x="508" y="159"/>
                  </a:lnTo>
                  <a:lnTo>
                    <a:pt x="506" y="157"/>
                  </a:lnTo>
                  <a:lnTo>
                    <a:pt x="508" y="156"/>
                  </a:lnTo>
                  <a:lnTo>
                    <a:pt x="508" y="154"/>
                  </a:lnTo>
                  <a:lnTo>
                    <a:pt x="506" y="153"/>
                  </a:lnTo>
                  <a:lnTo>
                    <a:pt x="508" y="153"/>
                  </a:lnTo>
                  <a:lnTo>
                    <a:pt x="508" y="151"/>
                  </a:lnTo>
                  <a:lnTo>
                    <a:pt x="509" y="151"/>
                  </a:lnTo>
                  <a:lnTo>
                    <a:pt x="509" y="149"/>
                  </a:lnTo>
                  <a:lnTo>
                    <a:pt x="511" y="151"/>
                  </a:lnTo>
                  <a:lnTo>
                    <a:pt x="513" y="151"/>
                  </a:lnTo>
                  <a:lnTo>
                    <a:pt x="514" y="151"/>
                  </a:lnTo>
                  <a:lnTo>
                    <a:pt x="516" y="151"/>
                  </a:lnTo>
                  <a:lnTo>
                    <a:pt x="516" y="153"/>
                  </a:lnTo>
                  <a:lnTo>
                    <a:pt x="516" y="154"/>
                  </a:lnTo>
                  <a:lnTo>
                    <a:pt x="516" y="153"/>
                  </a:lnTo>
                  <a:lnTo>
                    <a:pt x="518" y="153"/>
                  </a:lnTo>
                  <a:lnTo>
                    <a:pt x="516" y="153"/>
                  </a:lnTo>
                  <a:lnTo>
                    <a:pt x="519" y="153"/>
                  </a:lnTo>
                  <a:lnTo>
                    <a:pt x="519" y="154"/>
                  </a:lnTo>
                  <a:lnTo>
                    <a:pt x="519" y="156"/>
                  </a:lnTo>
                  <a:lnTo>
                    <a:pt x="521" y="156"/>
                  </a:lnTo>
                  <a:lnTo>
                    <a:pt x="519" y="157"/>
                  </a:lnTo>
                  <a:lnTo>
                    <a:pt x="521" y="157"/>
                  </a:lnTo>
                  <a:lnTo>
                    <a:pt x="522" y="157"/>
                  </a:lnTo>
                  <a:lnTo>
                    <a:pt x="524" y="157"/>
                  </a:lnTo>
                  <a:lnTo>
                    <a:pt x="526" y="157"/>
                  </a:lnTo>
                  <a:lnTo>
                    <a:pt x="526" y="156"/>
                  </a:lnTo>
                  <a:lnTo>
                    <a:pt x="526" y="157"/>
                  </a:lnTo>
                  <a:lnTo>
                    <a:pt x="527" y="157"/>
                  </a:lnTo>
                  <a:lnTo>
                    <a:pt x="529" y="156"/>
                  </a:lnTo>
                  <a:lnTo>
                    <a:pt x="529" y="154"/>
                  </a:lnTo>
                  <a:lnTo>
                    <a:pt x="531" y="153"/>
                  </a:lnTo>
                  <a:lnTo>
                    <a:pt x="531" y="154"/>
                  </a:lnTo>
                  <a:lnTo>
                    <a:pt x="532" y="154"/>
                  </a:lnTo>
                  <a:lnTo>
                    <a:pt x="532" y="156"/>
                  </a:lnTo>
                  <a:lnTo>
                    <a:pt x="534" y="156"/>
                  </a:lnTo>
                  <a:lnTo>
                    <a:pt x="535" y="156"/>
                  </a:lnTo>
                  <a:lnTo>
                    <a:pt x="535" y="157"/>
                  </a:lnTo>
                  <a:lnTo>
                    <a:pt x="537" y="157"/>
                  </a:lnTo>
                  <a:lnTo>
                    <a:pt x="537" y="159"/>
                  </a:lnTo>
                  <a:lnTo>
                    <a:pt x="535" y="161"/>
                  </a:lnTo>
                  <a:lnTo>
                    <a:pt x="534" y="161"/>
                  </a:lnTo>
                  <a:lnTo>
                    <a:pt x="535" y="161"/>
                  </a:lnTo>
                  <a:lnTo>
                    <a:pt x="537" y="161"/>
                  </a:lnTo>
                  <a:lnTo>
                    <a:pt x="539" y="161"/>
                  </a:lnTo>
                  <a:lnTo>
                    <a:pt x="540" y="161"/>
                  </a:lnTo>
                  <a:lnTo>
                    <a:pt x="542" y="161"/>
                  </a:lnTo>
                  <a:lnTo>
                    <a:pt x="542" y="162"/>
                  </a:lnTo>
                  <a:lnTo>
                    <a:pt x="540" y="162"/>
                  </a:lnTo>
                  <a:lnTo>
                    <a:pt x="540" y="164"/>
                  </a:lnTo>
                  <a:lnTo>
                    <a:pt x="542" y="164"/>
                  </a:lnTo>
                  <a:lnTo>
                    <a:pt x="540" y="166"/>
                  </a:lnTo>
                  <a:lnTo>
                    <a:pt x="542" y="166"/>
                  </a:lnTo>
                  <a:lnTo>
                    <a:pt x="544" y="166"/>
                  </a:lnTo>
                  <a:lnTo>
                    <a:pt x="544" y="167"/>
                  </a:lnTo>
                  <a:lnTo>
                    <a:pt x="542" y="167"/>
                  </a:lnTo>
                  <a:lnTo>
                    <a:pt x="542" y="166"/>
                  </a:lnTo>
                  <a:lnTo>
                    <a:pt x="542" y="167"/>
                  </a:lnTo>
                  <a:lnTo>
                    <a:pt x="540" y="167"/>
                  </a:lnTo>
                  <a:lnTo>
                    <a:pt x="540" y="169"/>
                  </a:lnTo>
                  <a:lnTo>
                    <a:pt x="539" y="169"/>
                  </a:lnTo>
                  <a:lnTo>
                    <a:pt x="540" y="169"/>
                  </a:lnTo>
                  <a:lnTo>
                    <a:pt x="540" y="170"/>
                  </a:lnTo>
                  <a:lnTo>
                    <a:pt x="539" y="170"/>
                  </a:lnTo>
                  <a:lnTo>
                    <a:pt x="539" y="169"/>
                  </a:lnTo>
                  <a:lnTo>
                    <a:pt x="539" y="170"/>
                  </a:lnTo>
                  <a:lnTo>
                    <a:pt x="539" y="172"/>
                  </a:lnTo>
                  <a:lnTo>
                    <a:pt x="537" y="172"/>
                  </a:lnTo>
                  <a:lnTo>
                    <a:pt x="539" y="172"/>
                  </a:lnTo>
                  <a:lnTo>
                    <a:pt x="539" y="174"/>
                  </a:lnTo>
                  <a:lnTo>
                    <a:pt x="537" y="174"/>
                  </a:lnTo>
                  <a:lnTo>
                    <a:pt x="537" y="175"/>
                  </a:lnTo>
                  <a:lnTo>
                    <a:pt x="539" y="175"/>
                  </a:lnTo>
                  <a:lnTo>
                    <a:pt x="540" y="175"/>
                  </a:lnTo>
                  <a:lnTo>
                    <a:pt x="540" y="177"/>
                  </a:lnTo>
                  <a:lnTo>
                    <a:pt x="542" y="177"/>
                  </a:lnTo>
                  <a:lnTo>
                    <a:pt x="544" y="177"/>
                  </a:lnTo>
                  <a:lnTo>
                    <a:pt x="542" y="177"/>
                  </a:lnTo>
                  <a:lnTo>
                    <a:pt x="542" y="179"/>
                  </a:lnTo>
                  <a:lnTo>
                    <a:pt x="540" y="179"/>
                  </a:lnTo>
                  <a:lnTo>
                    <a:pt x="542" y="180"/>
                  </a:lnTo>
                  <a:lnTo>
                    <a:pt x="544" y="179"/>
                  </a:lnTo>
                  <a:lnTo>
                    <a:pt x="544" y="180"/>
                  </a:lnTo>
                  <a:lnTo>
                    <a:pt x="545" y="180"/>
                  </a:lnTo>
                  <a:lnTo>
                    <a:pt x="547" y="182"/>
                  </a:lnTo>
                  <a:lnTo>
                    <a:pt x="548" y="182"/>
                  </a:lnTo>
                  <a:lnTo>
                    <a:pt x="548" y="185"/>
                  </a:lnTo>
                  <a:lnTo>
                    <a:pt x="547" y="188"/>
                  </a:lnTo>
                  <a:lnTo>
                    <a:pt x="547" y="190"/>
                  </a:lnTo>
                  <a:lnTo>
                    <a:pt x="545" y="192"/>
                  </a:lnTo>
                  <a:lnTo>
                    <a:pt x="544" y="193"/>
                  </a:lnTo>
                  <a:lnTo>
                    <a:pt x="542" y="195"/>
                  </a:lnTo>
                  <a:lnTo>
                    <a:pt x="540" y="195"/>
                  </a:lnTo>
                  <a:lnTo>
                    <a:pt x="540" y="197"/>
                  </a:lnTo>
                  <a:lnTo>
                    <a:pt x="539" y="197"/>
                  </a:lnTo>
                  <a:lnTo>
                    <a:pt x="537" y="195"/>
                  </a:lnTo>
                  <a:lnTo>
                    <a:pt x="537" y="197"/>
                  </a:lnTo>
                  <a:lnTo>
                    <a:pt x="537" y="198"/>
                  </a:lnTo>
                  <a:lnTo>
                    <a:pt x="539" y="198"/>
                  </a:lnTo>
                  <a:lnTo>
                    <a:pt x="539" y="200"/>
                  </a:lnTo>
                  <a:lnTo>
                    <a:pt x="540" y="200"/>
                  </a:lnTo>
                  <a:lnTo>
                    <a:pt x="542" y="200"/>
                  </a:lnTo>
                  <a:lnTo>
                    <a:pt x="542" y="201"/>
                  </a:lnTo>
                  <a:lnTo>
                    <a:pt x="540" y="201"/>
                  </a:lnTo>
                  <a:lnTo>
                    <a:pt x="540" y="203"/>
                  </a:lnTo>
                  <a:lnTo>
                    <a:pt x="539" y="203"/>
                  </a:lnTo>
                  <a:lnTo>
                    <a:pt x="539" y="205"/>
                  </a:lnTo>
                  <a:lnTo>
                    <a:pt x="539" y="206"/>
                  </a:lnTo>
                  <a:lnTo>
                    <a:pt x="540" y="206"/>
                  </a:lnTo>
                  <a:lnTo>
                    <a:pt x="542" y="206"/>
                  </a:lnTo>
                  <a:lnTo>
                    <a:pt x="542" y="208"/>
                  </a:lnTo>
                  <a:lnTo>
                    <a:pt x="544" y="208"/>
                  </a:lnTo>
                  <a:lnTo>
                    <a:pt x="544" y="206"/>
                  </a:lnTo>
                  <a:lnTo>
                    <a:pt x="545" y="206"/>
                  </a:lnTo>
                  <a:lnTo>
                    <a:pt x="545" y="208"/>
                  </a:lnTo>
                  <a:lnTo>
                    <a:pt x="545" y="210"/>
                  </a:lnTo>
                  <a:lnTo>
                    <a:pt x="547" y="210"/>
                  </a:lnTo>
                  <a:lnTo>
                    <a:pt x="547" y="211"/>
                  </a:lnTo>
                  <a:lnTo>
                    <a:pt x="547" y="210"/>
                  </a:lnTo>
                  <a:lnTo>
                    <a:pt x="547" y="211"/>
                  </a:lnTo>
                  <a:lnTo>
                    <a:pt x="547" y="213"/>
                  </a:lnTo>
                  <a:lnTo>
                    <a:pt x="547" y="214"/>
                  </a:lnTo>
                  <a:lnTo>
                    <a:pt x="548" y="216"/>
                  </a:lnTo>
                  <a:lnTo>
                    <a:pt x="548" y="214"/>
                  </a:lnTo>
                  <a:lnTo>
                    <a:pt x="550" y="216"/>
                  </a:lnTo>
                  <a:lnTo>
                    <a:pt x="550" y="219"/>
                  </a:lnTo>
                  <a:lnTo>
                    <a:pt x="550" y="221"/>
                  </a:lnTo>
                  <a:lnTo>
                    <a:pt x="552" y="221"/>
                  </a:lnTo>
                  <a:lnTo>
                    <a:pt x="552" y="223"/>
                  </a:lnTo>
                  <a:lnTo>
                    <a:pt x="550" y="223"/>
                  </a:lnTo>
                  <a:lnTo>
                    <a:pt x="550" y="224"/>
                  </a:lnTo>
                  <a:lnTo>
                    <a:pt x="552" y="224"/>
                  </a:lnTo>
                  <a:lnTo>
                    <a:pt x="552" y="223"/>
                  </a:lnTo>
                  <a:lnTo>
                    <a:pt x="553" y="221"/>
                  </a:lnTo>
                  <a:lnTo>
                    <a:pt x="555" y="221"/>
                  </a:lnTo>
                  <a:lnTo>
                    <a:pt x="555" y="219"/>
                  </a:lnTo>
                  <a:lnTo>
                    <a:pt x="557" y="218"/>
                  </a:lnTo>
                  <a:lnTo>
                    <a:pt x="557" y="216"/>
                  </a:lnTo>
                  <a:lnTo>
                    <a:pt x="557" y="214"/>
                  </a:lnTo>
                  <a:lnTo>
                    <a:pt x="558" y="213"/>
                  </a:lnTo>
                  <a:lnTo>
                    <a:pt x="558" y="211"/>
                  </a:lnTo>
                  <a:lnTo>
                    <a:pt x="558" y="210"/>
                  </a:lnTo>
                  <a:lnTo>
                    <a:pt x="560" y="210"/>
                  </a:lnTo>
                  <a:lnTo>
                    <a:pt x="560" y="208"/>
                  </a:lnTo>
                  <a:lnTo>
                    <a:pt x="561" y="210"/>
                  </a:lnTo>
                  <a:lnTo>
                    <a:pt x="561" y="208"/>
                  </a:lnTo>
                  <a:lnTo>
                    <a:pt x="561" y="210"/>
                  </a:lnTo>
                  <a:lnTo>
                    <a:pt x="563" y="210"/>
                  </a:lnTo>
                  <a:lnTo>
                    <a:pt x="563" y="211"/>
                  </a:lnTo>
                  <a:lnTo>
                    <a:pt x="565" y="211"/>
                  </a:lnTo>
                  <a:lnTo>
                    <a:pt x="570" y="211"/>
                  </a:lnTo>
                  <a:lnTo>
                    <a:pt x="571" y="211"/>
                  </a:lnTo>
                  <a:lnTo>
                    <a:pt x="573" y="211"/>
                  </a:lnTo>
                  <a:lnTo>
                    <a:pt x="574" y="211"/>
                  </a:lnTo>
                  <a:lnTo>
                    <a:pt x="574" y="210"/>
                  </a:lnTo>
                  <a:lnTo>
                    <a:pt x="576" y="210"/>
                  </a:lnTo>
                  <a:lnTo>
                    <a:pt x="578" y="210"/>
                  </a:lnTo>
                  <a:lnTo>
                    <a:pt x="579" y="208"/>
                  </a:lnTo>
                  <a:lnTo>
                    <a:pt x="581" y="206"/>
                  </a:lnTo>
                  <a:lnTo>
                    <a:pt x="581" y="205"/>
                  </a:lnTo>
                  <a:lnTo>
                    <a:pt x="583" y="205"/>
                  </a:lnTo>
                  <a:lnTo>
                    <a:pt x="583" y="203"/>
                  </a:lnTo>
                  <a:lnTo>
                    <a:pt x="584" y="203"/>
                  </a:lnTo>
                  <a:lnTo>
                    <a:pt x="586" y="203"/>
                  </a:lnTo>
                  <a:lnTo>
                    <a:pt x="588" y="201"/>
                  </a:lnTo>
                  <a:lnTo>
                    <a:pt x="589" y="201"/>
                  </a:lnTo>
                  <a:lnTo>
                    <a:pt x="591" y="201"/>
                  </a:lnTo>
                  <a:lnTo>
                    <a:pt x="592" y="201"/>
                  </a:lnTo>
                  <a:lnTo>
                    <a:pt x="594" y="201"/>
                  </a:lnTo>
                  <a:lnTo>
                    <a:pt x="594" y="203"/>
                  </a:lnTo>
                  <a:lnTo>
                    <a:pt x="596" y="205"/>
                  </a:lnTo>
                  <a:lnTo>
                    <a:pt x="596" y="206"/>
                  </a:lnTo>
                  <a:lnTo>
                    <a:pt x="597" y="206"/>
                  </a:lnTo>
                  <a:lnTo>
                    <a:pt x="599" y="208"/>
                  </a:lnTo>
                  <a:lnTo>
                    <a:pt x="601" y="208"/>
                  </a:lnTo>
                  <a:lnTo>
                    <a:pt x="602" y="208"/>
                  </a:lnTo>
                  <a:lnTo>
                    <a:pt x="604" y="208"/>
                  </a:lnTo>
                  <a:lnTo>
                    <a:pt x="605" y="208"/>
                  </a:lnTo>
                  <a:lnTo>
                    <a:pt x="607" y="208"/>
                  </a:lnTo>
                  <a:lnTo>
                    <a:pt x="609" y="210"/>
                  </a:lnTo>
                  <a:lnTo>
                    <a:pt x="610" y="210"/>
                  </a:lnTo>
                  <a:lnTo>
                    <a:pt x="609" y="210"/>
                  </a:lnTo>
                  <a:lnTo>
                    <a:pt x="607" y="211"/>
                  </a:lnTo>
                  <a:lnTo>
                    <a:pt x="604" y="211"/>
                  </a:lnTo>
                  <a:lnTo>
                    <a:pt x="601" y="211"/>
                  </a:lnTo>
                  <a:lnTo>
                    <a:pt x="601" y="210"/>
                  </a:lnTo>
                  <a:lnTo>
                    <a:pt x="599" y="211"/>
                  </a:lnTo>
                  <a:lnTo>
                    <a:pt x="596" y="211"/>
                  </a:lnTo>
                  <a:lnTo>
                    <a:pt x="594" y="211"/>
                  </a:lnTo>
                  <a:lnTo>
                    <a:pt x="592" y="211"/>
                  </a:lnTo>
                  <a:lnTo>
                    <a:pt x="589" y="213"/>
                  </a:lnTo>
                  <a:lnTo>
                    <a:pt x="588" y="213"/>
                  </a:lnTo>
                  <a:lnTo>
                    <a:pt x="586" y="213"/>
                  </a:lnTo>
                  <a:lnTo>
                    <a:pt x="584" y="213"/>
                  </a:lnTo>
                  <a:lnTo>
                    <a:pt x="583" y="213"/>
                  </a:lnTo>
                  <a:lnTo>
                    <a:pt x="581" y="213"/>
                  </a:lnTo>
                  <a:lnTo>
                    <a:pt x="579" y="214"/>
                  </a:lnTo>
                  <a:lnTo>
                    <a:pt x="578" y="214"/>
                  </a:lnTo>
                  <a:lnTo>
                    <a:pt x="578" y="216"/>
                  </a:lnTo>
                  <a:lnTo>
                    <a:pt x="579" y="216"/>
                  </a:lnTo>
                  <a:lnTo>
                    <a:pt x="579" y="218"/>
                  </a:lnTo>
                  <a:lnTo>
                    <a:pt x="579" y="219"/>
                  </a:lnTo>
                  <a:lnTo>
                    <a:pt x="579" y="221"/>
                  </a:lnTo>
                  <a:lnTo>
                    <a:pt x="579" y="223"/>
                  </a:lnTo>
                  <a:lnTo>
                    <a:pt x="579" y="224"/>
                  </a:lnTo>
                  <a:lnTo>
                    <a:pt x="578" y="224"/>
                  </a:lnTo>
                  <a:lnTo>
                    <a:pt x="578" y="226"/>
                  </a:lnTo>
                  <a:lnTo>
                    <a:pt x="576" y="227"/>
                  </a:lnTo>
                  <a:lnTo>
                    <a:pt x="573" y="227"/>
                  </a:lnTo>
                  <a:lnTo>
                    <a:pt x="571" y="229"/>
                  </a:lnTo>
                  <a:lnTo>
                    <a:pt x="568" y="231"/>
                  </a:lnTo>
                  <a:lnTo>
                    <a:pt x="566" y="231"/>
                  </a:lnTo>
                  <a:lnTo>
                    <a:pt x="565" y="229"/>
                  </a:lnTo>
                  <a:lnTo>
                    <a:pt x="563" y="229"/>
                  </a:lnTo>
                  <a:lnTo>
                    <a:pt x="561" y="231"/>
                  </a:lnTo>
                  <a:lnTo>
                    <a:pt x="560" y="231"/>
                  </a:lnTo>
                  <a:lnTo>
                    <a:pt x="560" y="232"/>
                  </a:lnTo>
                  <a:lnTo>
                    <a:pt x="560" y="234"/>
                  </a:lnTo>
                  <a:lnTo>
                    <a:pt x="561" y="234"/>
                  </a:lnTo>
                  <a:lnTo>
                    <a:pt x="560" y="234"/>
                  </a:lnTo>
                  <a:lnTo>
                    <a:pt x="560" y="236"/>
                  </a:lnTo>
                  <a:lnTo>
                    <a:pt x="561" y="236"/>
                  </a:lnTo>
                  <a:lnTo>
                    <a:pt x="563" y="236"/>
                  </a:lnTo>
                  <a:lnTo>
                    <a:pt x="565" y="236"/>
                  </a:lnTo>
                  <a:lnTo>
                    <a:pt x="566" y="236"/>
                  </a:lnTo>
                  <a:lnTo>
                    <a:pt x="565" y="237"/>
                  </a:lnTo>
                  <a:lnTo>
                    <a:pt x="565" y="239"/>
                  </a:lnTo>
                  <a:lnTo>
                    <a:pt x="565" y="240"/>
                  </a:lnTo>
                  <a:lnTo>
                    <a:pt x="563" y="240"/>
                  </a:lnTo>
                  <a:lnTo>
                    <a:pt x="561" y="242"/>
                  </a:lnTo>
                  <a:lnTo>
                    <a:pt x="561" y="244"/>
                  </a:lnTo>
                  <a:lnTo>
                    <a:pt x="563" y="244"/>
                  </a:lnTo>
                  <a:lnTo>
                    <a:pt x="565" y="244"/>
                  </a:lnTo>
                  <a:lnTo>
                    <a:pt x="566" y="244"/>
                  </a:lnTo>
                  <a:lnTo>
                    <a:pt x="566" y="245"/>
                  </a:lnTo>
                  <a:lnTo>
                    <a:pt x="568" y="247"/>
                  </a:lnTo>
                  <a:lnTo>
                    <a:pt x="570" y="247"/>
                  </a:lnTo>
                  <a:lnTo>
                    <a:pt x="571" y="247"/>
                  </a:lnTo>
                  <a:lnTo>
                    <a:pt x="571" y="249"/>
                  </a:lnTo>
                  <a:lnTo>
                    <a:pt x="571" y="250"/>
                  </a:lnTo>
                  <a:lnTo>
                    <a:pt x="571" y="252"/>
                  </a:lnTo>
                  <a:lnTo>
                    <a:pt x="573" y="252"/>
                  </a:lnTo>
                  <a:lnTo>
                    <a:pt x="574" y="252"/>
                  </a:lnTo>
                  <a:lnTo>
                    <a:pt x="576" y="250"/>
                  </a:lnTo>
                  <a:lnTo>
                    <a:pt x="578" y="249"/>
                  </a:lnTo>
                  <a:lnTo>
                    <a:pt x="579" y="249"/>
                  </a:lnTo>
                  <a:lnTo>
                    <a:pt x="581" y="249"/>
                  </a:lnTo>
                  <a:lnTo>
                    <a:pt x="583" y="250"/>
                  </a:lnTo>
                  <a:lnTo>
                    <a:pt x="584" y="250"/>
                  </a:lnTo>
                  <a:lnTo>
                    <a:pt x="584" y="252"/>
                  </a:lnTo>
                  <a:lnTo>
                    <a:pt x="583" y="253"/>
                  </a:lnTo>
                  <a:lnTo>
                    <a:pt x="584" y="253"/>
                  </a:lnTo>
                  <a:lnTo>
                    <a:pt x="583" y="255"/>
                  </a:lnTo>
                  <a:lnTo>
                    <a:pt x="584" y="255"/>
                  </a:lnTo>
                  <a:lnTo>
                    <a:pt x="583" y="255"/>
                  </a:lnTo>
                  <a:lnTo>
                    <a:pt x="583" y="257"/>
                  </a:lnTo>
                  <a:lnTo>
                    <a:pt x="584" y="258"/>
                  </a:lnTo>
                  <a:lnTo>
                    <a:pt x="584" y="260"/>
                  </a:lnTo>
                  <a:lnTo>
                    <a:pt x="584" y="262"/>
                  </a:lnTo>
                  <a:lnTo>
                    <a:pt x="583" y="263"/>
                  </a:lnTo>
                  <a:lnTo>
                    <a:pt x="583" y="266"/>
                  </a:lnTo>
                  <a:lnTo>
                    <a:pt x="581" y="268"/>
                  </a:lnTo>
                  <a:lnTo>
                    <a:pt x="579" y="268"/>
                  </a:lnTo>
                  <a:lnTo>
                    <a:pt x="579" y="270"/>
                  </a:lnTo>
                  <a:lnTo>
                    <a:pt x="578" y="270"/>
                  </a:lnTo>
                  <a:lnTo>
                    <a:pt x="578" y="271"/>
                  </a:lnTo>
                  <a:lnTo>
                    <a:pt x="576" y="271"/>
                  </a:lnTo>
                  <a:lnTo>
                    <a:pt x="576" y="273"/>
                  </a:lnTo>
                  <a:lnTo>
                    <a:pt x="574" y="273"/>
                  </a:lnTo>
                  <a:lnTo>
                    <a:pt x="571" y="273"/>
                  </a:lnTo>
                  <a:lnTo>
                    <a:pt x="571" y="275"/>
                  </a:lnTo>
                  <a:lnTo>
                    <a:pt x="570" y="276"/>
                  </a:lnTo>
                  <a:lnTo>
                    <a:pt x="571" y="276"/>
                  </a:lnTo>
                  <a:lnTo>
                    <a:pt x="570" y="276"/>
                  </a:lnTo>
                  <a:lnTo>
                    <a:pt x="568" y="276"/>
                  </a:lnTo>
                  <a:lnTo>
                    <a:pt x="566" y="276"/>
                  </a:lnTo>
                  <a:lnTo>
                    <a:pt x="565" y="278"/>
                  </a:lnTo>
                  <a:lnTo>
                    <a:pt x="563" y="279"/>
                  </a:lnTo>
                  <a:lnTo>
                    <a:pt x="561" y="283"/>
                  </a:lnTo>
                  <a:lnTo>
                    <a:pt x="563" y="283"/>
                  </a:lnTo>
                  <a:lnTo>
                    <a:pt x="561" y="283"/>
                  </a:lnTo>
                  <a:lnTo>
                    <a:pt x="561" y="281"/>
                  </a:lnTo>
                  <a:lnTo>
                    <a:pt x="561" y="283"/>
                  </a:lnTo>
                  <a:lnTo>
                    <a:pt x="560" y="284"/>
                  </a:lnTo>
                  <a:lnTo>
                    <a:pt x="560" y="283"/>
                  </a:lnTo>
                  <a:lnTo>
                    <a:pt x="560" y="284"/>
                  </a:lnTo>
                  <a:lnTo>
                    <a:pt x="558" y="284"/>
                  </a:lnTo>
                  <a:lnTo>
                    <a:pt x="557" y="284"/>
                  </a:lnTo>
                  <a:lnTo>
                    <a:pt x="557" y="286"/>
                  </a:lnTo>
                  <a:lnTo>
                    <a:pt x="561" y="284"/>
                  </a:lnTo>
                  <a:lnTo>
                    <a:pt x="563" y="283"/>
                  </a:lnTo>
                  <a:lnTo>
                    <a:pt x="565" y="283"/>
                  </a:lnTo>
                  <a:lnTo>
                    <a:pt x="565" y="284"/>
                  </a:lnTo>
                  <a:lnTo>
                    <a:pt x="563" y="284"/>
                  </a:lnTo>
                  <a:lnTo>
                    <a:pt x="563" y="286"/>
                  </a:lnTo>
                  <a:lnTo>
                    <a:pt x="561" y="286"/>
                  </a:lnTo>
                  <a:lnTo>
                    <a:pt x="560" y="286"/>
                  </a:lnTo>
                  <a:lnTo>
                    <a:pt x="558" y="288"/>
                  </a:lnTo>
                  <a:lnTo>
                    <a:pt x="557" y="288"/>
                  </a:lnTo>
                  <a:lnTo>
                    <a:pt x="557" y="289"/>
                  </a:lnTo>
                  <a:lnTo>
                    <a:pt x="558" y="291"/>
                  </a:lnTo>
                  <a:lnTo>
                    <a:pt x="560" y="292"/>
                  </a:lnTo>
                  <a:lnTo>
                    <a:pt x="560" y="291"/>
                  </a:lnTo>
                  <a:lnTo>
                    <a:pt x="561" y="291"/>
                  </a:lnTo>
                  <a:lnTo>
                    <a:pt x="563" y="291"/>
                  </a:lnTo>
                  <a:lnTo>
                    <a:pt x="565" y="291"/>
                  </a:lnTo>
                  <a:lnTo>
                    <a:pt x="566" y="291"/>
                  </a:lnTo>
                  <a:lnTo>
                    <a:pt x="566" y="289"/>
                  </a:lnTo>
                  <a:lnTo>
                    <a:pt x="568" y="289"/>
                  </a:lnTo>
                  <a:lnTo>
                    <a:pt x="568" y="291"/>
                  </a:lnTo>
                  <a:lnTo>
                    <a:pt x="570" y="291"/>
                  </a:lnTo>
                  <a:lnTo>
                    <a:pt x="571" y="291"/>
                  </a:lnTo>
                  <a:lnTo>
                    <a:pt x="573" y="291"/>
                  </a:lnTo>
                  <a:lnTo>
                    <a:pt x="574" y="291"/>
                  </a:lnTo>
                  <a:lnTo>
                    <a:pt x="574" y="292"/>
                  </a:lnTo>
                  <a:lnTo>
                    <a:pt x="576" y="292"/>
                  </a:lnTo>
                  <a:lnTo>
                    <a:pt x="578" y="292"/>
                  </a:lnTo>
                  <a:lnTo>
                    <a:pt x="579" y="292"/>
                  </a:lnTo>
                  <a:lnTo>
                    <a:pt x="579" y="291"/>
                  </a:lnTo>
                  <a:lnTo>
                    <a:pt x="581" y="291"/>
                  </a:lnTo>
                  <a:lnTo>
                    <a:pt x="583" y="291"/>
                  </a:lnTo>
                  <a:lnTo>
                    <a:pt x="584" y="291"/>
                  </a:lnTo>
                  <a:lnTo>
                    <a:pt x="586" y="292"/>
                  </a:lnTo>
                  <a:lnTo>
                    <a:pt x="588" y="292"/>
                  </a:lnTo>
                  <a:lnTo>
                    <a:pt x="589" y="292"/>
                  </a:lnTo>
                  <a:lnTo>
                    <a:pt x="589" y="294"/>
                  </a:lnTo>
                  <a:lnTo>
                    <a:pt x="588" y="294"/>
                  </a:lnTo>
                  <a:lnTo>
                    <a:pt x="586" y="296"/>
                  </a:lnTo>
                  <a:lnTo>
                    <a:pt x="586" y="297"/>
                  </a:lnTo>
                  <a:lnTo>
                    <a:pt x="584" y="297"/>
                  </a:lnTo>
                  <a:lnTo>
                    <a:pt x="584" y="299"/>
                  </a:lnTo>
                  <a:lnTo>
                    <a:pt x="583" y="299"/>
                  </a:lnTo>
                  <a:lnTo>
                    <a:pt x="583" y="301"/>
                  </a:lnTo>
                  <a:lnTo>
                    <a:pt x="581" y="301"/>
                  </a:lnTo>
                  <a:lnTo>
                    <a:pt x="583" y="305"/>
                  </a:lnTo>
                  <a:lnTo>
                    <a:pt x="583" y="307"/>
                  </a:lnTo>
                  <a:lnTo>
                    <a:pt x="583" y="309"/>
                  </a:lnTo>
                  <a:lnTo>
                    <a:pt x="581" y="310"/>
                  </a:lnTo>
                  <a:lnTo>
                    <a:pt x="581" y="312"/>
                  </a:lnTo>
                  <a:lnTo>
                    <a:pt x="579" y="312"/>
                  </a:lnTo>
                  <a:lnTo>
                    <a:pt x="578" y="312"/>
                  </a:lnTo>
                  <a:lnTo>
                    <a:pt x="578" y="314"/>
                  </a:lnTo>
                  <a:lnTo>
                    <a:pt x="576" y="314"/>
                  </a:lnTo>
                  <a:lnTo>
                    <a:pt x="574" y="314"/>
                  </a:lnTo>
                  <a:lnTo>
                    <a:pt x="576" y="314"/>
                  </a:lnTo>
                  <a:lnTo>
                    <a:pt x="574" y="314"/>
                  </a:lnTo>
                  <a:lnTo>
                    <a:pt x="573" y="315"/>
                  </a:lnTo>
                  <a:lnTo>
                    <a:pt x="571" y="315"/>
                  </a:lnTo>
                  <a:lnTo>
                    <a:pt x="571" y="317"/>
                  </a:lnTo>
                  <a:lnTo>
                    <a:pt x="570" y="317"/>
                  </a:lnTo>
                  <a:lnTo>
                    <a:pt x="571" y="317"/>
                  </a:lnTo>
                  <a:lnTo>
                    <a:pt x="570" y="318"/>
                  </a:lnTo>
                  <a:lnTo>
                    <a:pt x="568" y="318"/>
                  </a:lnTo>
                  <a:lnTo>
                    <a:pt x="568" y="320"/>
                  </a:lnTo>
                  <a:lnTo>
                    <a:pt x="566" y="320"/>
                  </a:lnTo>
                  <a:lnTo>
                    <a:pt x="565" y="322"/>
                  </a:lnTo>
                  <a:lnTo>
                    <a:pt x="565" y="323"/>
                  </a:lnTo>
                  <a:lnTo>
                    <a:pt x="563" y="323"/>
                  </a:lnTo>
                  <a:lnTo>
                    <a:pt x="561" y="325"/>
                  </a:lnTo>
                  <a:lnTo>
                    <a:pt x="560" y="327"/>
                  </a:lnTo>
                  <a:lnTo>
                    <a:pt x="560" y="328"/>
                  </a:lnTo>
                  <a:lnTo>
                    <a:pt x="558" y="330"/>
                  </a:lnTo>
                  <a:lnTo>
                    <a:pt x="558" y="331"/>
                  </a:lnTo>
                  <a:lnTo>
                    <a:pt x="557" y="331"/>
                  </a:lnTo>
                  <a:lnTo>
                    <a:pt x="557" y="333"/>
                  </a:lnTo>
                  <a:lnTo>
                    <a:pt x="560" y="330"/>
                  </a:lnTo>
                  <a:lnTo>
                    <a:pt x="561" y="328"/>
                  </a:lnTo>
                  <a:lnTo>
                    <a:pt x="561" y="327"/>
                  </a:lnTo>
                  <a:lnTo>
                    <a:pt x="563" y="325"/>
                  </a:lnTo>
                  <a:lnTo>
                    <a:pt x="563" y="323"/>
                  </a:lnTo>
                  <a:lnTo>
                    <a:pt x="565" y="323"/>
                  </a:lnTo>
                  <a:lnTo>
                    <a:pt x="565" y="322"/>
                  </a:lnTo>
                  <a:lnTo>
                    <a:pt x="566" y="322"/>
                  </a:lnTo>
                  <a:lnTo>
                    <a:pt x="568" y="322"/>
                  </a:lnTo>
                  <a:lnTo>
                    <a:pt x="568" y="320"/>
                  </a:lnTo>
                  <a:lnTo>
                    <a:pt x="570" y="320"/>
                  </a:lnTo>
                  <a:lnTo>
                    <a:pt x="571" y="318"/>
                  </a:lnTo>
                  <a:lnTo>
                    <a:pt x="571" y="317"/>
                  </a:lnTo>
                  <a:lnTo>
                    <a:pt x="573" y="317"/>
                  </a:lnTo>
                  <a:lnTo>
                    <a:pt x="574" y="315"/>
                  </a:lnTo>
                  <a:lnTo>
                    <a:pt x="574" y="317"/>
                  </a:lnTo>
                  <a:lnTo>
                    <a:pt x="576" y="315"/>
                  </a:lnTo>
                  <a:lnTo>
                    <a:pt x="576" y="317"/>
                  </a:lnTo>
                  <a:lnTo>
                    <a:pt x="578" y="315"/>
                  </a:lnTo>
                  <a:lnTo>
                    <a:pt x="579" y="315"/>
                  </a:lnTo>
                  <a:lnTo>
                    <a:pt x="579" y="314"/>
                  </a:lnTo>
                  <a:lnTo>
                    <a:pt x="581" y="314"/>
                  </a:lnTo>
                  <a:lnTo>
                    <a:pt x="581" y="312"/>
                  </a:lnTo>
                  <a:lnTo>
                    <a:pt x="583" y="312"/>
                  </a:lnTo>
                  <a:lnTo>
                    <a:pt x="584" y="312"/>
                  </a:lnTo>
                  <a:lnTo>
                    <a:pt x="586" y="312"/>
                  </a:lnTo>
                  <a:lnTo>
                    <a:pt x="586" y="314"/>
                  </a:lnTo>
                  <a:lnTo>
                    <a:pt x="586" y="315"/>
                  </a:lnTo>
                  <a:lnTo>
                    <a:pt x="588" y="315"/>
                  </a:lnTo>
                  <a:lnTo>
                    <a:pt x="586" y="317"/>
                  </a:lnTo>
                  <a:lnTo>
                    <a:pt x="586" y="315"/>
                  </a:lnTo>
                  <a:lnTo>
                    <a:pt x="584" y="315"/>
                  </a:lnTo>
                  <a:lnTo>
                    <a:pt x="584" y="317"/>
                  </a:lnTo>
                  <a:lnTo>
                    <a:pt x="584" y="318"/>
                  </a:lnTo>
                  <a:lnTo>
                    <a:pt x="584" y="317"/>
                  </a:lnTo>
                  <a:lnTo>
                    <a:pt x="583" y="317"/>
                  </a:lnTo>
                  <a:lnTo>
                    <a:pt x="583" y="318"/>
                  </a:lnTo>
                  <a:lnTo>
                    <a:pt x="581" y="318"/>
                  </a:lnTo>
                  <a:lnTo>
                    <a:pt x="579" y="318"/>
                  </a:lnTo>
                  <a:lnTo>
                    <a:pt x="579" y="320"/>
                  </a:lnTo>
                  <a:lnTo>
                    <a:pt x="576" y="322"/>
                  </a:lnTo>
                  <a:lnTo>
                    <a:pt x="576" y="323"/>
                  </a:lnTo>
                  <a:lnTo>
                    <a:pt x="574" y="323"/>
                  </a:lnTo>
                  <a:lnTo>
                    <a:pt x="574" y="325"/>
                  </a:lnTo>
                  <a:lnTo>
                    <a:pt x="573" y="325"/>
                  </a:lnTo>
                  <a:lnTo>
                    <a:pt x="573" y="327"/>
                  </a:lnTo>
                  <a:lnTo>
                    <a:pt x="571" y="327"/>
                  </a:lnTo>
                  <a:lnTo>
                    <a:pt x="573" y="327"/>
                  </a:lnTo>
                  <a:lnTo>
                    <a:pt x="571" y="328"/>
                  </a:lnTo>
                  <a:lnTo>
                    <a:pt x="573" y="328"/>
                  </a:lnTo>
                  <a:lnTo>
                    <a:pt x="571" y="328"/>
                  </a:lnTo>
                  <a:lnTo>
                    <a:pt x="571" y="330"/>
                  </a:lnTo>
                  <a:lnTo>
                    <a:pt x="571" y="331"/>
                  </a:lnTo>
                  <a:lnTo>
                    <a:pt x="570" y="333"/>
                  </a:lnTo>
                  <a:lnTo>
                    <a:pt x="568" y="335"/>
                  </a:lnTo>
                  <a:lnTo>
                    <a:pt x="568" y="336"/>
                  </a:lnTo>
                  <a:lnTo>
                    <a:pt x="566" y="340"/>
                  </a:lnTo>
                  <a:lnTo>
                    <a:pt x="565" y="341"/>
                  </a:lnTo>
                  <a:lnTo>
                    <a:pt x="563" y="345"/>
                  </a:lnTo>
                  <a:lnTo>
                    <a:pt x="563" y="346"/>
                  </a:lnTo>
                  <a:lnTo>
                    <a:pt x="561" y="348"/>
                  </a:lnTo>
                  <a:lnTo>
                    <a:pt x="561" y="349"/>
                  </a:lnTo>
                  <a:lnTo>
                    <a:pt x="560" y="351"/>
                  </a:lnTo>
                  <a:lnTo>
                    <a:pt x="561" y="351"/>
                  </a:lnTo>
                  <a:lnTo>
                    <a:pt x="560" y="353"/>
                  </a:lnTo>
                  <a:lnTo>
                    <a:pt x="560" y="354"/>
                  </a:lnTo>
                  <a:lnTo>
                    <a:pt x="558" y="358"/>
                  </a:lnTo>
                  <a:lnTo>
                    <a:pt x="557" y="358"/>
                  </a:lnTo>
                  <a:lnTo>
                    <a:pt x="555" y="359"/>
                  </a:lnTo>
                  <a:lnTo>
                    <a:pt x="555" y="361"/>
                  </a:lnTo>
                  <a:lnTo>
                    <a:pt x="553" y="361"/>
                  </a:lnTo>
                  <a:lnTo>
                    <a:pt x="552" y="361"/>
                  </a:lnTo>
                  <a:lnTo>
                    <a:pt x="550" y="362"/>
                  </a:lnTo>
                  <a:lnTo>
                    <a:pt x="548" y="362"/>
                  </a:lnTo>
                  <a:lnTo>
                    <a:pt x="547" y="362"/>
                  </a:lnTo>
                  <a:lnTo>
                    <a:pt x="545" y="362"/>
                  </a:lnTo>
                  <a:lnTo>
                    <a:pt x="544" y="364"/>
                  </a:lnTo>
                  <a:lnTo>
                    <a:pt x="542" y="366"/>
                  </a:lnTo>
                  <a:lnTo>
                    <a:pt x="540" y="366"/>
                  </a:lnTo>
                  <a:lnTo>
                    <a:pt x="540" y="367"/>
                  </a:lnTo>
                  <a:lnTo>
                    <a:pt x="539" y="367"/>
                  </a:lnTo>
                  <a:lnTo>
                    <a:pt x="535" y="369"/>
                  </a:lnTo>
                  <a:lnTo>
                    <a:pt x="534" y="369"/>
                  </a:lnTo>
                  <a:lnTo>
                    <a:pt x="532" y="371"/>
                  </a:lnTo>
                  <a:lnTo>
                    <a:pt x="529" y="372"/>
                  </a:lnTo>
                  <a:lnTo>
                    <a:pt x="527" y="372"/>
                  </a:lnTo>
                  <a:lnTo>
                    <a:pt x="526" y="374"/>
                  </a:lnTo>
                  <a:lnTo>
                    <a:pt x="524" y="375"/>
                  </a:lnTo>
                  <a:lnTo>
                    <a:pt x="522" y="375"/>
                  </a:lnTo>
                  <a:lnTo>
                    <a:pt x="522" y="377"/>
                  </a:lnTo>
                  <a:lnTo>
                    <a:pt x="521" y="377"/>
                  </a:lnTo>
                  <a:lnTo>
                    <a:pt x="519" y="377"/>
                  </a:lnTo>
                  <a:lnTo>
                    <a:pt x="519" y="379"/>
                  </a:lnTo>
                  <a:lnTo>
                    <a:pt x="518" y="379"/>
                  </a:lnTo>
                  <a:lnTo>
                    <a:pt x="514" y="380"/>
                  </a:lnTo>
                  <a:lnTo>
                    <a:pt x="514" y="382"/>
                  </a:lnTo>
                  <a:lnTo>
                    <a:pt x="513" y="382"/>
                  </a:lnTo>
                  <a:lnTo>
                    <a:pt x="511" y="382"/>
                  </a:lnTo>
                  <a:lnTo>
                    <a:pt x="511" y="384"/>
                  </a:lnTo>
                  <a:lnTo>
                    <a:pt x="509" y="382"/>
                  </a:lnTo>
                  <a:lnTo>
                    <a:pt x="511" y="382"/>
                  </a:lnTo>
                  <a:lnTo>
                    <a:pt x="509" y="382"/>
                  </a:lnTo>
                  <a:lnTo>
                    <a:pt x="509" y="384"/>
                  </a:lnTo>
                  <a:lnTo>
                    <a:pt x="511" y="384"/>
                  </a:lnTo>
                  <a:lnTo>
                    <a:pt x="511" y="382"/>
                  </a:lnTo>
                  <a:lnTo>
                    <a:pt x="513" y="382"/>
                  </a:lnTo>
                  <a:lnTo>
                    <a:pt x="514" y="382"/>
                  </a:lnTo>
                  <a:lnTo>
                    <a:pt x="516" y="382"/>
                  </a:lnTo>
                  <a:lnTo>
                    <a:pt x="516" y="380"/>
                  </a:lnTo>
                  <a:lnTo>
                    <a:pt x="518" y="380"/>
                  </a:lnTo>
                  <a:lnTo>
                    <a:pt x="518" y="379"/>
                  </a:lnTo>
                  <a:lnTo>
                    <a:pt x="519" y="379"/>
                  </a:lnTo>
                  <a:lnTo>
                    <a:pt x="521" y="379"/>
                  </a:lnTo>
                  <a:lnTo>
                    <a:pt x="521" y="377"/>
                  </a:lnTo>
                  <a:lnTo>
                    <a:pt x="522" y="377"/>
                  </a:lnTo>
                  <a:lnTo>
                    <a:pt x="524" y="377"/>
                  </a:lnTo>
                  <a:lnTo>
                    <a:pt x="526" y="377"/>
                  </a:lnTo>
                  <a:lnTo>
                    <a:pt x="527" y="377"/>
                  </a:lnTo>
                  <a:lnTo>
                    <a:pt x="527" y="375"/>
                  </a:lnTo>
                  <a:lnTo>
                    <a:pt x="529" y="375"/>
                  </a:lnTo>
                  <a:lnTo>
                    <a:pt x="531" y="375"/>
                  </a:lnTo>
                  <a:lnTo>
                    <a:pt x="532" y="374"/>
                  </a:lnTo>
                  <a:lnTo>
                    <a:pt x="534" y="374"/>
                  </a:lnTo>
                  <a:lnTo>
                    <a:pt x="534" y="372"/>
                  </a:lnTo>
                  <a:lnTo>
                    <a:pt x="535" y="372"/>
                  </a:lnTo>
                  <a:lnTo>
                    <a:pt x="535" y="371"/>
                  </a:lnTo>
                  <a:lnTo>
                    <a:pt x="537" y="371"/>
                  </a:lnTo>
                  <a:lnTo>
                    <a:pt x="539" y="371"/>
                  </a:lnTo>
                  <a:lnTo>
                    <a:pt x="540" y="371"/>
                  </a:lnTo>
                  <a:lnTo>
                    <a:pt x="540" y="369"/>
                  </a:lnTo>
                  <a:lnTo>
                    <a:pt x="544" y="367"/>
                  </a:lnTo>
                  <a:lnTo>
                    <a:pt x="545" y="367"/>
                  </a:lnTo>
                  <a:lnTo>
                    <a:pt x="545" y="366"/>
                  </a:lnTo>
                  <a:lnTo>
                    <a:pt x="547" y="366"/>
                  </a:lnTo>
                  <a:lnTo>
                    <a:pt x="547" y="364"/>
                  </a:lnTo>
                  <a:lnTo>
                    <a:pt x="548" y="364"/>
                  </a:lnTo>
                  <a:lnTo>
                    <a:pt x="550" y="364"/>
                  </a:lnTo>
                  <a:lnTo>
                    <a:pt x="550" y="366"/>
                  </a:lnTo>
                  <a:lnTo>
                    <a:pt x="550" y="364"/>
                  </a:lnTo>
                  <a:lnTo>
                    <a:pt x="552" y="364"/>
                  </a:lnTo>
                  <a:lnTo>
                    <a:pt x="552" y="362"/>
                  </a:lnTo>
                  <a:lnTo>
                    <a:pt x="553" y="362"/>
                  </a:lnTo>
                  <a:lnTo>
                    <a:pt x="553" y="361"/>
                  </a:lnTo>
                  <a:lnTo>
                    <a:pt x="553" y="362"/>
                  </a:lnTo>
                  <a:lnTo>
                    <a:pt x="555" y="362"/>
                  </a:lnTo>
                  <a:lnTo>
                    <a:pt x="555" y="361"/>
                  </a:lnTo>
                  <a:lnTo>
                    <a:pt x="557" y="361"/>
                  </a:lnTo>
                  <a:lnTo>
                    <a:pt x="557" y="359"/>
                  </a:lnTo>
                  <a:lnTo>
                    <a:pt x="558" y="359"/>
                  </a:lnTo>
                  <a:lnTo>
                    <a:pt x="558" y="358"/>
                  </a:lnTo>
                  <a:lnTo>
                    <a:pt x="560" y="356"/>
                  </a:lnTo>
                  <a:lnTo>
                    <a:pt x="561" y="354"/>
                  </a:lnTo>
                  <a:lnTo>
                    <a:pt x="561" y="353"/>
                  </a:lnTo>
                  <a:lnTo>
                    <a:pt x="561" y="351"/>
                  </a:lnTo>
                  <a:lnTo>
                    <a:pt x="561" y="349"/>
                  </a:lnTo>
                  <a:lnTo>
                    <a:pt x="561" y="348"/>
                  </a:lnTo>
                  <a:lnTo>
                    <a:pt x="563" y="348"/>
                  </a:lnTo>
                  <a:lnTo>
                    <a:pt x="565" y="346"/>
                  </a:lnTo>
                  <a:lnTo>
                    <a:pt x="563" y="346"/>
                  </a:lnTo>
                  <a:lnTo>
                    <a:pt x="565" y="346"/>
                  </a:lnTo>
                  <a:lnTo>
                    <a:pt x="566" y="345"/>
                  </a:lnTo>
                  <a:lnTo>
                    <a:pt x="566" y="341"/>
                  </a:lnTo>
                  <a:lnTo>
                    <a:pt x="566" y="340"/>
                  </a:lnTo>
                  <a:lnTo>
                    <a:pt x="568" y="340"/>
                  </a:lnTo>
                  <a:lnTo>
                    <a:pt x="566" y="340"/>
                  </a:lnTo>
                  <a:lnTo>
                    <a:pt x="568" y="340"/>
                  </a:lnTo>
                  <a:lnTo>
                    <a:pt x="568" y="338"/>
                  </a:lnTo>
                  <a:lnTo>
                    <a:pt x="568" y="336"/>
                  </a:lnTo>
                  <a:lnTo>
                    <a:pt x="570" y="336"/>
                  </a:lnTo>
                  <a:lnTo>
                    <a:pt x="570" y="335"/>
                  </a:lnTo>
                  <a:lnTo>
                    <a:pt x="571" y="335"/>
                  </a:lnTo>
                  <a:lnTo>
                    <a:pt x="571" y="333"/>
                  </a:lnTo>
                  <a:lnTo>
                    <a:pt x="571" y="331"/>
                  </a:lnTo>
                  <a:lnTo>
                    <a:pt x="573" y="330"/>
                  </a:lnTo>
                  <a:lnTo>
                    <a:pt x="571" y="330"/>
                  </a:lnTo>
                  <a:lnTo>
                    <a:pt x="573" y="328"/>
                  </a:lnTo>
                  <a:lnTo>
                    <a:pt x="573" y="327"/>
                  </a:lnTo>
                  <a:lnTo>
                    <a:pt x="573" y="325"/>
                  </a:lnTo>
                  <a:lnTo>
                    <a:pt x="574" y="325"/>
                  </a:lnTo>
                  <a:lnTo>
                    <a:pt x="574" y="323"/>
                  </a:lnTo>
                  <a:lnTo>
                    <a:pt x="576" y="323"/>
                  </a:lnTo>
                  <a:lnTo>
                    <a:pt x="578" y="322"/>
                  </a:lnTo>
                  <a:lnTo>
                    <a:pt x="579" y="320"/>
                  </a:lnTo>
                  <a:lnTo>
                    <a:pt x="579" y="318"/>
                  </a:lnTo>
                  <a:lnTo>
                    <a:pt x="581" y="318"/>
                  </a:lnTo>
                  <a:lnTo>
                    <a:pt x="583" y="320"/>
                  </a:lnTo>
                  <a:lnTo>
                    <a:pt x="583" y="318"/>
                  </a:lnTo>
                  <a:lnTo>
                    <a:pt x="583" y="317"/>
                  </a:lnTo>
                  <a:lnTo>
                    <a:pt x="584" y="317"/>
                  </a:lnTo>
                  <a:lnTo>
                    <a:pt x="584" y="318"/>
                  </a:lnTo>
                  <a:lnTo>
                    <a:pt x="584" y="317"/>
                  </a:lnTo>
                  <a:lnTo>
                    <a:pt x="584" y="315"/>
                  </a:lnTo>
                  <a:lnTo>
                    <a:pt x="586" y="317"/>
                  </a:lnTo>
                  <a:lnTo>
                    <a:pt x="588" y="317"/>
                  </a:lnTo>
                  <a:lnTo>
                    <a:pt x="589" y="317"/>
                  </a:lnTo>
                  <a:lnTo>
                    <a:pt x="591" y="320"/>
                  </a:lnTo>
                  <a:lnTo>
                    <a:pt x="592" y="322"/>
                  </a:lnTo>
                  <a:lnTo>
                    <a:pt x="592" y="323"/>
                  </a:lnTo>
                  <a:lnTo>
                    <a:pt x="594" y="323"/>
                  </a:lnTo>
                  <a:lnTo>
                    <a:pt x="596" y="323"/>
                  </a:lnTo>
                  <a:lnTo>
                    <a:pt x="596" y="325"/>
                  </a:lnTo>
                  <a:lnTo>
                    <a:pt x="594" y="327"/>
                  </a:lnTo>
                  <a:lnTo>
                    <a:pt x="592" y="327"/>
                  </a:lnTo>
                  <a:lnTo>
                    <a:pt x="594" y="327"/>
                  </a:lnTo>
                  <a:lnTo>
                    <a:pt x="596" y="327"/>
                  </a:lnTo>
                  <a:lnTo>
                    <a:pt x="597" y="325"/>
                  </a:lnTo>
                  <a:lnTo>
                    <a:pt x="601" y="323"/>
                  </a:lnTo>
                  <a:lnTo>
                    <a:pt x="602" y="323"/>
                  </a:lnTo>
                  <a:lnTo>
                    <a:pt x="604" y="323"/>
                  </a:lnTo>
                  <a:lnTo>
                    <a:pt x="604" y="325"/>
                  </a:lnTo>
                  <a:lnTo>
                    <a:pt x="605" y="325"/>
                  </a:lnTo>
                  <a:lnTo>
                    <a:pt x="605" y="327"/>
                  </a:lnTo>
                  <a:lnTo>
                    <a:pt x="605" y="328"/>
                  </a:lnTo>
                  <a:lnTo>
                    <a:pt x="604" y="330"/>
                  </a:lnTo>
                  <a:lnTo>
                    <a:pt x="604" y="328"/>
                  </a:lnTo>
                  <a:lnTo>
                    <a:pt x="602" y="328"/>
                  </a:lnTo>
                  <a:lnTo>
                    <a:pt x="602" y="330"/>
                  </a:lnTo>
                  <a:lnTo>
                    <a:pt x="604" y="330"/>
                  </a:lnTo>
                  <a:lnTo>
                    <a:pt x="604" y="331"/>
                  </a:lnTo>
                  <a:lnTo>
                    <a:pt x="605" y="331"/>
                  </a:lnTo>
                  <a:lnTo>
                    <a:pt x="605" y="333"/>
                  </a:lnTo>
                  <a:lnTo>
                    <a:pt x="605" y="335"/>
                  </a:lnTo>
                  <a:lnTo>
                    <a:pt x="604" y="336"/>
                  </a:lnTo>
                  <a:lnTo>
                    <a:pt x="605" y="336"/>
                  </a:lnTo>
                  <a:lnTo>
                    <a:pt x="604" y="338"/>
                  </a:lnTo>
                  <a:lnTo>
                    <a:pt x="605" y="338"/>
                  </a:lnTo>
                  <a:lnTo>
                    <a:pt x="604" y="340"/>
                  </a:lnTo>
                  <a:lnTo>
                    <a:pt x="605" y="340"/>
                  </a:lnTo>
                  <a:lnTo>
                    <a:pt x="607" y="340"/>
                  </a:lnTo>
                  <a:lnTo>
                    <a:pt x="607" y="338"/>
                  </a:lnTo>
                  <a:lnTo>
                    <a:pt x="607" y="336"/>
                  </a:lnTo>
                  <a:lnTo>
                    <a:pt x="609" y="336"/>
                  </a:lnTo>
                  <a:lnTo>
                    <a:pt x="610" y="336"/>
                  </a:lnTo>
                  <a:lnTo>
                    <a:pt x="612" y="336"/>
                  </a:lnTo>
                  <a:lnTo>
                    <a:pt x="614" y="336"/>
                  </a:lnTo>
                  <a:lnTo>
                    <a:pt x="612" y="338"/>
                  </a:lnTo>
                  <a:lnTo>
                    <a:pt x="612" y="340"/>
                  </a:lnTo>
                  <a:lnTo>
                    <a:pt x="612" y="341"/>
                  </a:lnTo>
                  <a:lnTo>
                    <a:pt x="614" y="340"/>
                  </a:lnTo>
                  <a:lnTo>
                    <a:pt x="614" y="341"/>
                  </a:lnTo>
                  <a:lnTo>
                    <a:pt x="614" y="343"/>
                  </a:lnTo>
                  <a:lnTo>
                    <a:pt x="615" y="345"/>
                  </a:lnTo>
                  <a:lnTo>
                    <a:pt x="614" y="345"/>
                  </a:lnTo>
                  <a:lnTo>
                    <a:pt x="614" y="346"/>
                  </a:lnTo>
                  <a:lnTo>
                    <a:pt x="612" y="348"/>
                  </a:lnTo>
                  <a:lnTo>
                    <a:pt x="612" y="349"/>
                  </a:lnTo>
                  <a:lnTo>
                    <a:pt x="610" y="349"/>
                  </a:lnTo>
                  <a:lnTo>
                    <a:pt x="609" y="349"/>
                  </a:lnTo>
                  <a:lnTo>
                    <a:pt x="609" y="351"/>
                  </a:lnTo>
                  <a:lnTo>
                    <a:pt x="609" y="353"/>
                  </a:lnTo>
                  <a:lnTo>
                    <a:pt x="609" y="354"/>
                  </a:lnTo>
                  <a:lnTo>
                    <a:pt x="609" y="353"/>
                  </a:lnTo>
                  <a:lnTo>
                    <a:pt x="609" y="354"/>
                  </a:lnTo>
                  <a:lnTo>
                    <a:pt x="609" y="356"/>
                  </a:lnTo>
                  <a:lnTo>
                    <a:pt x="607" y="356"/>
                  </a:lnTo>
                  <a:lnTo>
                    <a:pt x="605" y="356"/>
                  </a:lnTo>
                  <a:lnTo>
                    <a:pt x="605" y="358"/>
                  </a:lnTo>
                  <a:lnTo>
                    <a:pt x="605" y="359"/>
                  </a:lnTo>
                  <a:lnTo>
                    <a:pt x="605" y="361"/>
                  </a:lnTo>
                  <a:lnTo>
                    <a:pt x="604" y="361"/>
                  </a:lnTo>
                  <a:lnTo>
                    <a:pt x="602" y="361"/>
                  </a:lnTo>
                  <a:lnTo>
                    <a:pt x="601" y="362"/>
                  </a:lnTo>
                  <a:lnTo>
                    <a:pt x="599" y="362"/>
                  </a:lnTo>
                  <a:lnTo>
                    <a:pt x="599" y="361"/>
                  </a:lnTo>
                  <a:lnTo>
                    <a:pt x="597" y="361"/>
                  </a:lnTo>
                  <a:lnTo>
                    <a:pt x="596" y="361"/>
                  </a:lnTo>
                  <a:lnTo>
                    <a:pt x="594" y="359"/>
                  </a:lnTo>
                  <a:lnTo>
                    <a:pt x="592" y="359"/>
                  </a:lnTo>
                  <a:lnTo>
                    <a:pt x="592" y="361"/>
                  </a:lnTo>
                  <a:lnTo>
                    <a:pt x="594" y="362"/>
                  </a:lnTo>
                  <a:lnTo>
                    <a:pt x="597" y="364"/>
                  </a:lnTo>
                  <a:lnTo>
                    <a:pt x="599" y="366"/>
                  </a:lnTo>
                  <a:lnTo>
                    <a:pt x="597" y="367"/>
                  </a:lnTo>
                  <a:lnTo>
                    <a:pt x="596" y="367"/>
                  </a:lnTo>
                  <a:lnTo>
                    <a:pt x="592" y="367"/>
                  </a:lnTo>
                  <a:lnTo>
                    <a:pt x="591" y="366"/>
                  </a:lnTo>
                  <a:lnTo>
                    <a:pt x="589" y="366"/>
                  </a:lnTo>
                  <a:lnTo>
                    <a:pt x="588" y="366"/>
                  </a:lnTo>
                  <a:lnTo>
                    <a:pt x="588" y="367"/>
                  </a:lnTo>
                  <a:lnTo>
                    <a:pt x="586" y="367"/>
                  </a:lnTo>
                  <a:lnTo>
                    <a:pt x="584" y="367"/>
                  </a:lnTo>
                  <a:lnTo>
                    <a:pt x="583" y="367"/>
                  </a:lnTo>
                  <a:lnTo>
                    <a:pt x="581" y="367"/>
                  </a:lnTo>
                  <a:lnTo>
                    <a:pt x="579" y="367"/>
                  </a:lnTo>
                  <a:lnTo>
                    <a:pt x="579" y="369"/>
                  </a:lnTo>
                  <a:lnTo>
                    <a:pt x="581" y="369"/>
                  </a:lnTo>
                  <a:lnTo>
                    <a:pt x="583" y="369"/>
                  </a:lnTo>
                  <a:lnTo>
                    <a:pt x="584" y="369"/>
                  </a:lnTo>
                  <a:lnTo>
                    <a:pt x="586" y="369"/>
                  </a:lnTo>
                  <a:lnTo>
                    <a:pt x="588" y="369"/>
                  </a:lnTo>
                  <a:lnTo>
                    <a:pt x="589" y="369"/>
                  </a:lnTo>
                  <a:lnTo>
                    <a:pt x="591" y="369"/>
                  </a:lnTo>
                  <a:lnTo>
                    <a:pt x="592" y="369"/>
                  </a:lnTo>
                  <a:lnTo>
                    <a:pt x="594" y="371"/>
                  </a:lnTo>
                  <a:lnTo>
                    <a:pt x="594" y="372"/>
                  </a:lnTo>
                  <a:lnTo>
                    <a:pt x="596" y="372"/>
                  </a:lnTo>
                  <a:lnTo>
                    <a:pt x="597" y="372"/>
                  </a:lnTo>
                  <a:lnTo>
                    <a:pt x="597" y="371"/>
                  </a:lnTo>
                  <a:lnTo>
                    <a:pt x="599" y="371"/>
                  </a:lnTo>
                  <a:lnTo>
                    <a:pt x="602" y="374"/>
                  </a:lnTo>
                  <a:lnTo>
                    <a:pt x="602" y="375"/>
                  </a:lnTo>
                  <a:lnTo>
                    <a:pt x="604" y="375"/>
                  </a:lnTo>
                  <a:lnTo>
                    <a:pt x="604" y="377"/>
                  </a:lnTo>
                  <a:lnTo>
                    <a:pt x="602" y="379"/>
                  </a:lnTo>
                  <a:lnTo>
                    <a:pt x="601" y="380"/>
                  </a:lnTo>
                  <a:lnTo>
                    <a:pt x="599" y="382"/>
                  </a:lnTo>
                  <a:lnTo>
                    <a:pt x="597" y="382"/>
                  </a:lnTo>
                  <a:lnTo>
                    <a:pt x="596" y="384"/>
                  </a:lnTo>
                  <a:lnTo>
                    <a:pt x="594" y="384"/>
                  </a:lnTo>
                  <a:lnTo>
                    <a:pt x="592" y="382"/>
                  </a:lnTo>
                  <a:lnTo>
                    <a:pt x="589" y="382"/>
                  </a:lnTo>
                  <a:lnTo>
                    <a:pt x="586" y="380"/>
                  </a:lnTo>
                  <a:lnTo>
                    <a:pt x="583" y="379"/>
                  </a:lnTo>
                  <a:lnTo>
                    <a:pt x="581" y="379"/>
                  </a:lnTo>
                  <a:lnTo>
                    <a:pt x="581" y="380"/>
                  </a:lnTo>
                  <a:lnTo>
                    <a:pt x="576" y="379"/>
                  </a:lnTo>
                  <a:lnTo>
                    <a:pt x="574" y="379"/>
                  </a:lnTo>
                  <a:lnTo>
                    <a:pt x="574" y="380"/>
                  </a:lnTo>
                  <a:lnTo>
                    <a:pt x="576" y="380"/>
                  </a:lnTo>
                  <a:lnTo>
                    <a:pt x="578" y="380"/>
                  </a:lnTo>
                  <a:lnTo>
                    <a:pt x="581" y="380"/>
                  </a:lnTo>
                  <a:lnTo>
                    <a:pt x="583" y="380"/>
                  </a:lnTo>
                  <a:lnTo>
                    <a:pt x="584" y="382"/>
                  </a:lnTo>
                  <a:lnTo>
                    <a:pt x="586" y="384"/>
                  </a:lnTo>
                  <a:lnTo>
                    <a:pt x="588" y="384"/>
                  </a:lnTo>
                  <a:lnTo>
                    <a:pt x="589" y="385"/>
                  </a:lnTo>
                  <a:lnTo>
                    <a:pt x="591" y="385"/>
                  </a:lnTo>
                  <a:lnTo>
                    <a:pt x="592" y="385"/>
                  </a:lnTo>
                  <a:lnTo>
                    <a:pt x="594" y="385"/>
                  </a:lnTo>
                  <a:lnTo>
                    <a:pt x="596" y="385"/>
                  </a:lnTo>
                  <a:lnTo>
                    <a:pt x="596" y="387"/>
                  </a:lnTo>
                  <a:lnTo>
                    <a:pt x="597" y="387"/>
                  </a:lnTo>
                  <a:lnTo>
                    <a:pt x="596" y="390"/>
                  </a:lnTo>
                  <a:lnTo>
                    <a:pt x="594" y="390"/>
                  </a:lnTo>
                  <a:lnTo>
                    <a:pt x="594" y="392"/>
                  </a:lnTo>
                  <a:lnTo>
                    <a:pt x="592" y="392"/>
                  </a:lnTo>
                  <a:lnTo>
                    <a:pt x="591" y="392"/>
                  </a:lnTo>
                  <a:lnTo>
                    <a:pt x="589" y="390"/>
                  </a:lnTo>
                  <a:lnTo>
                    <a:pt x="589" y="392"/>
                  </a:lnTo>
                  <a:lnTo>
                    <a:pt x="588" y="392"/>
                  </a:lnTo>
                  <a:lnTo>
                    <a:pt x="589" y="393"/>
                  </a:lnTo>
                  <a:lnTo>
                    <a:pt x="591" y="393"/>
                  </a:lnTo>
                  <a:lnTo>
                    <a:pt x="592" y="395"/>
                  </a:lnTo>
                  <a:lnTo>
                    <a:pt x="591" y="397"/>
                  </a:lnTo>
                  <a:lnTo>
                    <a:pt x="589" y="397"/>
                  </a:lnTo>
                  <a:lnTo>
                    <a:pt x="591" y="397"/>
                  </a:lnTo>
                  <a:lnTo>
                    <a:pt x="592" y="397"/>
                  </a:lnTo>
                  <a:lnTo>
                    <a:pt x="592" y="398"/>
                  </a:lnTo>
                  <a:lnTo>
                    <a:pt x="591" y="400"/>
                  </a:lnTo>
                  <a:lnTo>
                    <a:pt x="591" y="401"/>
                  </a:lnTo>
                  <a:lnTo>
                    <a:pt x="592" y="400"/>
                  </a:lnTo>
                  <a:lnTo>
                    <a:pt x="594" y="400"/>
                  </a:lnTo>
                  <a:lnTo>
                    <a:pt x="597" y="397"/>
                  </a:lnTo>
                  <a:lnTo>
                    <a:pt x="597" y="395"/>
                  </a:lnTo>
                  <a:lnTo>
                    <a:pt x="599" y="395"/>
                  </a:lnTo>
                  <a:lnTo>
                    <a:pt x="599" y="393"/>
                  </a:lnTo>
                  <a:lnTo>
                    <a:pt x="601" y="393"/>
                  </a:lnTo>
                  <a:lnTo>
                    <a:pt x="601" y="392"/>
                  </a:lnTo>
                  <a:lnTo>
                    <a:pt x="602" y="392"/>
                  </a:lnTo>
                  <a:lnTo>
                    <a:pt x="602" y="393"/>
                  </a:lnTo>
                  <a:lnTo>
                    <a:pt x="601" y="393"/>
                  </a:lnTo>
                  <a:lnTo>
                    <a:pt x="602" y="393"/>
                  </a:lnTo>
                  <a:lnTo>
                    <a:pt x="601" y="395"/>
                  </a:lnTo>
                  <a:lnTo>
                    <a:pt x="599" y="397"/>
                  </a:lnTo>
                  <a:lnTo>
                    <a:pt x="599" y="398"/>
                  </a:lnTo>
                  <a:lnTo>
                    <a:pt x="599" y="400"/>
                  </a:lnTo>
                  <a:lnTo>
                    <a:pt x="597" y="401"/>
                  </a:lnTo>
                  <a:lnTo>
                    <a:pt x="596" y="401"/>
                  </a:lnTo>
                  <a:lnTo>
                    <a:pt x="596" y="403"/>
                  </a:lnTo>
                  <a:lnTo>
                    <a:pt x="597" y="403"/>
                  </a:lnTo>
                  <a:lnTo>
                    <a:pt x="599" y="403"/>
                  </a:lnTo>
                  <a:lnTo>
                    <a:pt x="599" y="405"/>
                  </a:lnTo>
                  <a:lnTo>
                    <a:pt x="597" y="406"/>
                  </a:lnTo>
                  <a:lnTo>
                    <a:pt x="596" y="408"/>
                  </a:lnTo>
                  <a:lnTo>
                    <a:pt x="594" y="408"/>
                  </a:lnTo>
                  <a:lnTo>
                    <a:pt x="592" y="408"/>
                  </a:lnTo>
                  <a:lnTo>
                    <a:pt x="591" y="408"/>
                  </a:lnTo>
                  <a:lnTo>
                    <a:pt x="589" y="408"/>
                  </a:lnTo>
                  <a:lnTo>
                    <a:pt x="589" y="410"/>
                  </a:lnTo>
                  <a:lnTo>
                    <a:pt x="589" y="411"/>
                  </a:lnTo>
                  <a:lnTo>
                    <a:pt x="589" y="413"/>
                  </a:lnTo>
                  <a:lnTo>
                    <a:pt x="588" y="413"/>
                  </a:lnTo>
                  <a:lnTo>
                    <a:pt x="586" y="413"/>
                  </a:lnTo>
                  <a:lnTo>
                    <a:pt x="586" y="414"/>
                  </a:lnTo>
                  <a:lnTo>
                    <a:pt x="586" y="413"/>
                  </a:lnTo>
                  <a:lnTo>
                    <a:pt x="584" y="414"/>
                  </a:lnTo>
                  <a:lnTo>
                    <a:pt x="584" y="413"/>
                  </a:lnTo>
                  <a:lnTo>
                    <a:pt x="583" y="413"/>
                  </a:lnTo>
                  <a:lnTo>
                    <a:pt x="581" y="413"/>
                  </a:lnTo>
                  <a:lnTo>
                    <a:pt x="579" y="411"/>
                  </a:lnTo>
                  <a:lnTo>
                    <a:pt x="578" y="411"/>
                  </a:lnTo>
                  <a:lnTo>
                    <a:pt x="578" y="410"/>
                  </a:lnTo>
                  <a:lnTo>
                    <a:pt x="578" y="408"/>
                  </a:lnTo>
                  <a:lnTo>
                    <a:pt x="576" y="408"/>
                  </a:lnTo>
                  <a:lnTo>
                    <a:pt x="578" y="406"/>
                  </a:lnTo>
                  <a:lnTo>
                    <a:pt x="576" y="406"/>
                  </a:lnTo>
                  <a:lnTo>
                    <a:pt x="576" y="405"/>
                  </a:lnTo>
                  <a:lnTo>
                    <a:pt x="576" y="403"/>
                  </a:lnTo>
                  <a:lnTo>
                    <a:pt x="573" y="400"/>
                  </a:lnTo>
                  <a:lnTo>
                    <a:pt x="571" y="400"/>
                  </a:lnTo>
                  <a:lnTo>
                    <a:pt x="570" y="398"/>
                  </a:lnTo>
                  <a:lnTo>
                    <a:pt x="570" y="397"/>
                  </a:lnTo>
                  <a:lnTo>
                    <a:pt x="568" y="395"/>
                  </a:lnTo>
                  <a:lnTo>
                    <a:pt x="568" y="393"/>
                  </a:lnTo>
                  <a:lnTo>
                    <a:pt x="568" y="395"/>
                  </a:lnTo>
                  <a:lnTo>
                    <a:pt x="568" y="397"/>
                  </a:lnTo>
                  <a:lnTo>
                    <a:pt x="568" y="398"/>
                  </a:lnTo>
                  <a:lnTo>
                    <a:pt x="568" y="400"/>
                  </a:lnTo>
                  <a:lnTo>
                    <a:pt x="566" y="400"/>
                  </a:lnTo>
                  <a:lnTo>
                    <a:pt x="566" y="398"/>
                  </a:lnTo>
                  <a:lnTo>
                    <a:pt x="565" y="398"/>
                  </a:lnTo>
                  <a:lnTo>
                    <a:pt x="563" y="398"/>
                  </a:lnTo>
                  <a:lnTo>
                    <a:pt x="561" y="398"/>
                  </a:lnTo>
                  <a:lnTo>
                    <a:pt x="560" y="398"/>
                  </a:lnTo>
                  <a:lnTo>
                    <a:pt x="558" y="398"/>
                  </a:lnTo>
                  <a:lnTo>
                    <a:pt x="555" y="397"/>
                  </a:lnTo>
                  <a:lnTo>
                    <a:pt x="555" y="395"/>
                  </a:lnTo>
                  <a:lnTo>
                    <a:pt x="553" y="395"/>
                  </a:lnTo>
                  <a:lnTo>
                    <a:pt x="553" y="397"/>
                  </a:lnTo>
                  <a:lnTo>
                    <a:pt x="555" y="398"/>
                  </a:lnTo>
                  <a:lnTo>
                    <a:pt x="557" y="400"/>
                  </a:lnTo>
                  <a:lnTo>
                    <a:pt x="560" y="400"/>
                  </a:lnTo>
                  <a:lnTo>
                    <a:pt x="563" y="401"/>
                  </a:lnTo>
                  <a:lnTo>
                    <a:pt x="565" y="401"/>
                  </a:lnTo>
                  <a:lnTo>
                    <a:pt x="565" y="403"/>
                  </a:lnTo>
                  <a:lnTo>
                    <a:pt x="566" y="403"/>
                  </a:lnTo>
                  <a:lnTo>
                    <a:pt x="568" y="405"/>
                  </a:lnTo>
                  <a:lnTo>
                    <a:pt x="570" y="405"/>
                  </a:lnTo>
                  <a:lnTo>
                    <a:pt x="571" y="406"/>
                  </a:lnTo>
                  <a:lnTo>
                    <a:pt x="571" y="408"/>
                  </a:lnTo>
                  <a:lnTo>
                    <a:pt x="571" y="410"/>
                  </a:lnTo>
                  <a:lnTo>
                    <a:pt x="573" y="410"/>
                  </a:lnTo>
                  <a:lnTo>
                    <a:pt x="571" y="410"/>
                  </a:lnTo>
                  <a:lnTo>
                    <a:pt x="571" y="411"/>
                  </a:lnTo>
                  <a:lnTo>
                    <a:pt x="573" y="411"/>
                  </a:lnTo>
                  <a:lnTo>
                    <a:pt x="573" y="413"/>
                  </a:lnTo>
                  <a:lnTo>
                    <a:pt x="574" y="414"/>
                  </a:lnTo>
                  <a:lnTo>
                    <a:pt x="574" y="416"/>
                  </a:lnTo>
                  <a:lnTo>
                    <a:pt x="574" y="418"/>
                  </a:lnTo>
                  <a:lnTo>
                    <a:pt x="576" y="418"/>
                  </a:lnTo>
                  <a:lnTo>
                    <a:pt x="578" y="419"/>
                  </a:lnTo>
                  <a:lnTo>
                    <a:pt x="579" y="419"/>
                  </a:lnTo>
                  <a:lnTo>
                    <a:pt x="581" y="419"/>
                  </a:lnTo>
                  <a:lnTo>
                    <a:pt x="579" y="423"/>
                  </a:lnTo>
                  <a:lnTo>
                    <a:pt x="578" y="423"/>
                  </a:lnTo>
                  <a:lnTo>
                    <a:pt x="576" y="423"/>
                  </a:lnTo>
                  <a:lnTo>
                    <a:pt x="574" y="423"/>
                  </a:lnTo>
                  <a:lnTo>
                    <a:pt x="574" y="421"/>
                  </a:lnTo>
                  <a:lnTo>
                    <a:pt x="573" y="421"/>
                  </a:lnTo>
                  <a:lnTo>
                    <a:pt x="571" y="421"/>
                  </a:lnTo>
                  <a:lnTo>
                    <a:pt x="571" y="419"/>
                  </a:lnTo>
                  <a:lnTo>
                    <a:pt x="570" y="418"/>
                  </a:lnTo>
                  <a:lnTo>
                    <a:pt x="568" y="418"/>
                  </a:lnTo>
                  <a:lnTo>
                    <a:pt x="566" y="418"/>
                  </a:lnTo>
                  <a:lnTo>
                    <a:pt x="565" y="418"/>
                  </a:lnTo>
                  <a:lnTo>
                    <a:pt x="563" y="416"/>
                  </a:lnTo>
                  <a:lnTo>
                    <a:pt x="561" y="414"/>
                  </a:lnTo>
                  <a:lnTo>
                    <a:pt x="560" y="413"/>
                  </a:lnTo>
                  <a:lnTo>
                    <a:pt x="560" y="414"/>
                  </a:lnTo>
                  <a:lnTo>
                    <a:pt x="560" y="416"/>
                  </a:lnTo>
                  <a:lnTo>
                    <a:pt x="561" y="418"/>
                  </a:lnTo>
                  <a:lnTo>
                    <a:pt x="563" y="418"/>
                  </a:lnTo>
                  <a:lnTo>
                    <a:pt x="565" y="419"/>
                  </a:lnTo>
                  <a:lnTo>
                    <a:pt x="566" y="419"/>
                  </a:lnTo>
                  <a:lnTo>
                    <a:pt x="568" y="421"/>
                  </a:lnTo>
                  <a:lnTo>
                    <a:pt x="570" y="423"/>
                  </a:lnTo>
                  <a:lnTo>
                    <a:pt x="570" y="424"/>
                  </a:lnTo>
                  <a:lnTo>
                    <a:pt x="571" y="424"/>
                  </a:lnTo>
                  <a:lnTo>
                    <a:pt x="571" y="426"/>
                  </a:lnTo>
                  <a:lnTo>
                    <a:pt x="573" y="426"/>
                  </a:lnTo>
                  <a:lnTo>
                    <a:pt x="573" y="427"/>
                  </a:lnTo>
                  <a:lnTo>
                    <a:pt x="573" y="429"/>
                  </a:lnTo>
                  <a:lnTo>
                    <a:pt x="571" y="429"/>
                  </a:lnTo>
                  <a:lnTo>
                    <a:pt x="571" y="431"/>
                  </a:lnTo>
                  <a:lnTo>
                    <a:pt x="570" y="431"/>
                  </a:lnTo>
                  <a:lnTo>
                    <a:pt x="568" y="431"/>
                  </a:lnTo>
                  <a:lnTo>
                    <a:pt x="566" y="432"/>
                  </a:lnTo>
                  <a:lnTo>
                    <a:pt x="566" y="431"/>
                  </a:lnTo>
                  <a:lnTo>
                    <a:pt x="566" y="432"/>
                  </a:lnTo>
                  <a:lnTo>
                    <a:pt x="566" y="431"/>
                  </a:lnTo>
                  <a:lnTo>
                    <a:pt x="565" y="431"/>
                  </a:lnTo>
                  <a:lnTo>
                    <a:pt x="565" y="429"/>
                  </a:lnTo>
                  <a:lnTo>
                    <a:pt x="563" y="429"/>
                  </a:lnTo>
                  <a:lnTo>
                    <a:pt x="561" y="427"/>
                  </a:lnTo>
                  <a:lnTo>
                    <a:pt x="560" y="427"/>
                  </a:lnTo>
                  <a:lnTo>
                    <a:pt x="561" y="431"/>
                  </a:lnTo>
                  <a:lnTo>
                    <a:pt x="563" y="432"/>
                  </a:lnTo>
                  <a:lnTo>
                    <a:pt x="563" y="434"/>
                  </a:lnTo>
                  <a:lnTo>
                    <a:pt x="565" y="434"/>
                  </a:lnTo>
                  <a:lnTo>
                    <a:pt x="565" y="436"/>
                  </a:lnTo>
                  <a:lnTo>
                    <a:pt x="563" y="434"/>
                  </a:lnTo>
                  <a:lnTo>
                    <a:pt x="561" y="434"/>
                  </a:lnTo>
                  <a:lnTo>
                    <a:pt x="560" y="434"/>
                  </a:lnTo>
                  <a:lnTo>
                    <a:pt x="558" y="434"/>
                  </a:lnTo>
                  <a:lnTo>
                    <a:pt x="557" y="432"/>
                  </a:lnTo>
                  <a:lnTo>
                    <a:pt x="557" y="434"/>
                  </a:lnTo>
                  <a:lnTo>
                    <a:pt x="557" y="432"/>
                  </a:lnTo>
                  <a:lnTo>
                    <a:pt x="555" y="432"/>
                  </a:lnTo>
                  <a:lnTo>
                    <a:pt x="557" y="432"/>
                  </a:lnTo>
                  <a:lnTo>
                    <a:pt x="555" y="432"/>
                  </a:lnTo>
                  <a:lnTo>
                    <a:pt x="553" y="434"/>
                  </a:lnTo>
                  <a:lnTo>
                    <a:pt x="555" y="432"/>
                  </a:lnTo>
                  <a:lnTo>
                    <a:pt x="553" y="432"/>
                  </a:lnTo>
                  <a:lnTo>
                    <a:pt x="552" y="432"/>
                  </a:lnTo>
                  <a:lnTo>
                    <a:pt x="553" y="431"/>
                  </a:lnTo>
                  <a:lnTo>
                    <a:pt x="552" y="431"/>
                  </a:lnTo>
                  <a:lnTo>
                    <a:pt x="550" y="431"/>
                  </a:lnTo>
                  <a:lnTo>
                    <a:pt x="550" y="432"/>
                  </a:lnTo>
                  <a:lnTo>
                    <a:pt x="550" y="434"/>
                  </a:lnTo>
                  <a:lnTo>
                    <a:pt x="550" y="436"/>
                  </a:lnTo>
                  <a:lnTo>
                    <a:pt x="552" y="436"/>
                  </a:lnTo>
                  <a:lnTo>
                    <a:pt x="552" y="437"/>
                  </a:lnTo>
                  <a:lnTo>
                    <a:pt x="552" y="439"/>
                  </a:lnTo>
                  <a:lnTo>
                    <a:pt x="553" y="440"/>
                  </a:lnTo>
                  <a:lnTo>
                    <a:pt x="552" y="440"/>
                  </a:lnTo>
                  <a:lnTo>
                    <a:pt x="552" y="442"/>
                  </a:lnTo>
                  <a:lnTo>
                    <a:pt x="550" y="442"/>
                  </a:lnTo>
                  <a:lnTo>
                    <a:pt x="548" y="442"/>
                  </a:lnTo>
                  <a:lnTo>
                    <a:pt x="547" y="442"/>
                  </a:lnTo>
                  <a:lnTo>
                    <a:pt x="545" y="444"/>
                  </a:lnTo>
                  <a:lnTo>
                    <a:pt x="545" y="442"/>
                  </a:lnTo>
                  <a:lnTo>
                    <a:pt x="544" y="442"/>
                  </a:lnTo>
                  <a:lnTo>
                    <a:pt x="544" y="444"/>
                  </a:lnTo>
                  <a:lnTo>
                    <a:pt x="544" y="442"/>
                  </a:lnTo>
                  <a:lnTo>
                    <a:pt x="542" y="442"/>
                  </a:lnTo>
                  <a:lnTo>
                    <a:pt x="540" y="442"/>
                  </a:lnTo>
                  <a:lnTo>
                    <a:pt x="539" y="442"/>
                  </a:lnTo>
                  <a:lnTo>
                    <a:pt x="537" y="442"/>
                  </a:lnTo>
                  <a:lnTo>
                    <a:pt x="535" y="442"/>
                  </a:lnTo>
                  <a:lnTo>
                    <a:pt x="535" y="440"/>
                  </a:lnTo>
                  <a:lnTo>
                    <a:pt x="535" y="442"/>
                  </a:lnTo>
                  <a:lnTo>
                    <a:pt x="535" y="440"/>
                  </a:lnTo>
                  <a:lnTo>
                    <a:pt x="534" y="440"/>
                  </a:lnTo>
                  <a:lnTo>
                    <a:pt x="535" y="440"/>
                  </a:lnTo>
                  <a:lnTo>
                    <a:pt x="534" y="440"/>
                  </a:lnTo>
                  <a:lnTo>
                    <a:pt x="534" y="439"/>
                  </a:lnTo>
                  <a:lnTo>
                    <a:pt x="532" y="439"/>
                  </a:lnTo>
                  <a:lnTo>
                    <a:pt x="534" y="439"/>
                  </a:lnTo>
                  <a:lnTo>
                    <a:pt x="532" y="439"/>
                  </a:lnTo>
                  <a:lnTo>
                    <a:pt x="532" y="437"/>
                  </a:lnTo>
                  <a:lnTo>
                    <a:pt x="531" y="437"/>
                  </a:lnTo>
                  <a:lnTo>
                    <a:pt x="531" y="436"/>
                  </a:lnTo>
                  <a:lnTo>
                    <a:pt x="532" y="436"/>
                  </a:lnTo>
                  <a:lnTo>
                    <a:pt x="532" y="434"/>
                  </a:lnTo>
                  <a:lnTo>
                    <a:pt x="532" y="432"/>
                  </a:lnTo>
                  <a:lnTo>
                    <a:pt x="531" y="434"/>
                  </a:lnTo>
                  <a:lnTo>
                    <a:pt x="531" y="432"/>
                  </a:lnTo>
                  <a:lnTo>
                    <a:pt x="531" y="431"/>
                  </a:lnTo>
                  <a:lnTo>
                    <a:pt x="531" y="429"/>
                  </a:lnTo>
                  <a:lnTo>
                    <a:pt x="531" y="431"/>
                  </a:lnTo>
                  <a:lnTo>
                    <a:pt x="531" y="429"/>
                  </a:lnTo>
                  <a:lnTo>
                    <a:pt x="531" y="427"/>
                  </a:lnTo>
                  <a:lnTo>
                    <a:pt x="529" y="427"/>
                  </a:lnTo>
                  <a:lnTo>
                    <a:pt x="529" y="424"/>
                  </a:lnTo>
                  <a:lnTo>
                    <a:pt x="527" y="423"/>
                  </a:lnTo>
                  <a:lnTo>
                    <a:pt x="526" y="423"/>
                  </a:lnTo>
                  <a:lnTo>
                    <a:pt x="527" y="424"/>
                  </a:lnTo>
                  <a:lnTo>
                    <a:pt x="527" y="426"/>
                  </a:lnTo>
                  <a:lnTo>
                    <a:pt x="526" y="426"/>
                  </a:lnTo>
                  <a:lnTo>
                    <a:pt x="526" y="427"/>
                  </a:lnTo>
                  <a:lnTo>
                    <a:pt x="526" y="429"/>
                  </a:lnTo>
                  <a:lnTo>
                    <a:pt x="527" y="429"/>
                  </a:lnTo>
                  <a:lnTo>
                    <a:pt x="527" y="431"/>
                  </a:lnTo>
                  <a:lnTo>
                    <a:pt x="527" y="432"/>
                  </a:lnTo>
                  <a:lnTo>
                    <a:pt x="529" y="432"/>
                  </a:lnTo>
                  <a:lnTo>
                    <a:pt x="529" y="434"/>
                  </a:lnTo>
                  <a:lnTo>
                    <a:pt x="527" y="434"/>
                  </a:lnTo>
                  <a:lnTo>
                    <a:pt x="527" y="436"/>
                  </a:lnTo>
                  <a:lnTo>
                    <a:pt x="527" y="437"/>
                  </a:lnTo>
                  <a:lnTo>
                    <a:pt x="529" y="437"/>
                  </a:lnTo>
                  <a:lnTo>
                    <a:pt x="529" y="439"/>
                  </a:lnTo>
                  <a:lnTo>
                    <a:pt x="529" y="440"/>
                  </a:lnTo>
                  <a:lnTo>
                    <a:pt x="529" y="442"/>
                  </a:lnTo>
                  <a:lnTo>
                    <a:pt x="531" y="442"/>
                  </a:lnTo>
                  <a:lnTo>
                    <a:pt x="532" y="444"/>
                  </a:lnTo>
                  <a:lnTo>
                    <a:pt x="531" y="444"/>
                  </a:lnTo>
                  <a:lnTo>
                    <a:pt x="532" y="444"/>
                  </a:lnTo>
                  <a:lnTo>
                    <a:pt x="532" y="445"/>
                  </a:lnTo>
                  <a:lnTo>
                    <a:pt x="532" y="444"/>
                  </a:lnTo>
                  <a:lnTo>
                    <a:pt x="532" y="445"/>
                  </a:lnTo>
                  <a:lnTo>
                    <a:pt x="532" y="447"/>
                  </a:lnTo>
                  <a:lnTo>
                    <a:pt x="531" y="447"/>
                  </a:lnTo>
                  <a:lnTo>
                    <a:pt x="529" y="447"/>
                  </a:lnTo>
                  <a:lnTo>
                    <a:pt x="529" y="445"/>
                  </a:lnTo>
                  <a:lnTo>
                    <a:pt x="527" y="445"/>
                  </a:lnTo>
                  <a:lnTo>
                    <a:pt x="527" y="444"/>
                  </a:lnTo>
                  <a:lnTo>
                    <a:pt x="526" y="444"/>
                  </a:lnTo>
                  <a:lnTo>
                    <a:pt x="527" y="444"/>
                  </a:lnTo>
                  <a:lnTo>
                    <a:pt x="526" y="444"/>
                  </a:lnTo>
                  <a:lnTo>
                    <a:pt x="526" y="442"/>
                  </a:lnTo>
                  <a:lnTo>
                    <a:pt x="524" y="442"/>
                  </a:lnTo>
                  <a:lnTo>
                    <a:pt x="522" y="442"/>
                  </a:lnTo>
                  <a:lnTo>
                    <a:pt x="521" y="440"/>
                  </a:lnTo>
                  <a:lnTo>
                    <a:pt x="519" y="440"/>
                  </a:lnTo>
                  <a:lnTo>
                    <a:pt x="519" y="442"/>
                  </a:lnTo>
                  <a:lnTo>
                    <a:pt x="519" y="444"/>
                  </a:lnTo>
                  <a:lnTo>
                    <a:pt x="521" y="445"/>
                  </a:lnTo>
                  <a:lnTo>
                    <a:pt x="522" y="445"/>
                  </a:lnTo>
                  <a:lnTo>
                    <a:pt x="521" y="445"/>
                  </a:lnTo>
                  <a:lnTo>
                    <a:pt x="521" y="447"/>
                  </a:lnTo>
                  <a:lnTo>
                    <a:pt x="522" y="447"/>
                  </a:lnTo>
                  <a:lnTo>
                    <a:pt x="522" y="449"/>
                  </a:lnTo>
                  <a:lnTo>
                    <a:pt x="521" y="449"/>
                  </a:lnTo>
                  <a:lnTo>
                    <a:pt x="521" y="450"/>
                  </a:lnTo>
                  <a:lnTo>
                    <a:pt x="519" y="450"/>
                  </a:lnTo>
                  <a:lnTo>
                    <a:pt x="518" y="450"/>
                  </a:lnTo>
                  <a:lnTo>
                    <a:pt x="516" y="450"/>
                  </a:lnTo>
                  <a:lnTo>
                    <a:pt x="516" y="449"/>
                  </a:lnTo>
                  <a:lnTo>
                    <a:pt x="514" y="449"/>
                  </a:lnTo>
                  <a:lnTo>
                    <a:pt x="513" y="449"/>
                  </a:lnTo>
                  <a:lnTo>
                    <a:pt x="513" y="447"/>
                  </a:lnTo>
                  <a:lnTo>
                    <a:pt x="511" y="447"/>
                  </a:lnTo>
                  <a:lnTo>
                    <a:pt x="511" y="449"/>
                  </a:lnTo>
                  <a:lnTo>
                    <a:pt x="509" y="449"/>
                  </a:lnTo>
                  <a:lnTo>
                    <a:pt x="509" y="450"/>
                  </a:lnTo>
                  <a:lnTo>
                    <a:pt x="509" y="452"/>
                  </a:lnTo>
                  <a:lnTo>
                    <a:pt x="509" y="453"/>
                  </a:lnTo>
                  <a:lnTo>
                    <a:pt x="508" y="453"/>
                  </a:lnTo>
                  <a:lnTo>
                    <a:pt x="508" y="455"/>
                  </a:lnTo>
                  <a:lnTo>
                    <a:pt x="509" y="455"/>
                  </a:lnTo>
                  <a:lnTo>
                    <a:pt x="511" y="455"/>
                  </a:lnTo>
                  <a:lnTo>
                    <a:pt x="511" y="457"/>
                  </a:lnTo>
                  <a:lnTo>
                    <a:pt x="513" y="457"/>
                  </a:lnTo>
                  <a:lnTo>
                    <a:pt x="514" y="457"/>
                  </a:lnTo>
                  <a:lnTo>
                    <a:pt x="513" y="457"/>
                  </a:lnTo>
                  <a:lnTo>
                    <a:pt x="513" y="458"/>
                  </a:lnTo>
                  <a:lnTo>
                    <a:pt x="513" y="460"/>
                  </a:lnTo>
                  <a:lnTo>
                    <a:pt x="513" y="462"/>
                  </a:lnTo>
                  <a:lnTo>
                    <a:pt x="513" y="463"/>
                  </a:lnTo>
                  <a:lnTo>
                    <a:pt x="511" y="463"/>
                  </a:lnTo>
                  <a:lnTo>
                    <a:pt x="511" y="465"/>
                  </a:lnTo>
                  <a:lnTo>
                    <a:pt x="509" y="465"/>
                  </a:lnTo>
                  <a:lnTo>
                    <a:pt x="508" y="466"/>
                  </a:lnTo>
                  <a:lnTo>
                    <a:pt x="508" y="468"/>
                  </a:lnTo>
                  <a:lnTo>
                    <a:pt x="508" y="470"/>
                  </a:lnTo>
                  <a:lnTo>
                    <a:pt x="506" y="470"/>
                  </a:lnTo>
                  <a:lnTo>
                    <a:pt x="505" y="471"/>
                  </a:lnTo>
                  <a:lnTo>
                    <a:pt x="505" y="473"/>
                  </a:lnTo>
                  <a:lnTo>
                    <a:pt x="503" y="473"/>
                  </a:lnTo>
                  <a:lnTo>
                    <a:pt x="503" y="475"/>
                  </a:lnTo>
                  <a:lnTo>
                    <a:pt x="503" y="473"/>
                  </a:lnTo>
                  <a:lnTo>
                    <a:pt x="503" y="471"/>
                  </a:lnTo>
                  <a:lnTo>
                    <a:pt x="501" y="471"/>
                  </a:lnTo>
                  <a:lnTo>
                    <a:pt x="500" y="470"/>
                  </a:lnTo>
                  <a:lnTo>
                    <a:pt x="500" y="468"/>
                  </a:lnTo>
                  <a:lnTo>
                    <a:pt x="498" y="468"/>
                  </a:lnTo>
                  <a:lnTo>
                    <a:pt x="496" y="468"/>
                  </a:lnTo>
                  <a:lnTo>
                    <a:pt x="496" y="466"/>
                  </a:lnTo>
                  <a:lnTo>
                    <a:pt x="495" y="466"/>
                  </a:lnTo>
                  <a:lnTo>
                    <a:pt x="493" y="468"/>
                  </a:lnTo>
                  <a:lnTo>
                    <a:pt x="493" y="470"/>
                  </a:lnTo>
                  <a:lnTo>
                    <a:pt x="492" y="470"/>
                  </a:lnTo>
                  <a:lnTo>
                    <a:pt x="492" y="471"/>
                  </a:lnTo>
                  <a:lnTo>
                    <a:pt x="490" y="471"/>
                  </a:lnTo>
                  <a:lnTo>
                    <a:pt x="490" y="470"/>
                  </a:lnTo>
                  <a:lnTo>
                    <a:pt x="490" y="471"/>
                  </a:lnTo>
                  <a:lnTo>
                    <a:pt x="488" y="471"/>
                  </a:lnTo>
                  <a:lnTo>
                    <a:pt x="487" y="473"/>
                  </a:lnTo>
                  <a:lnTo>
                    <a:pt x="485" y="473"/>
                  </a:lnTo>
                  <a:lnTo>
                    <a:pt x="483" y="473"/>
                  </a:lnTo>
                  <a:lnTo>
                    <a:pt x="482" y="473"/>
                  </a:lnTo>
                  <a:lnTo>
                    <a:pt x="480" y="475"/>
                  </a:lnTo>
                  <a:lnTo>
                    <a:pt x="480" y="473"/>
                  </a:lnTo>
                  <a:lnTo>
                    <a:pt x="479" y="473"/>
                  </a:lnTo>
                  <a:lnTo>
                    <a:pt x="479" y="475"/>
                  </a:lnTo>
                  <a:lnTo>
                    <a:pt x="477" y="475"/>
                  </a:lnTo>
                  <a:lnTo>
                    <a:pt x="475" y="476"/>
                  </a:lnTo>
                  <a:lnTo>
                    <a:pt x="474" y="476"/>
                  </a:lnTo>
                  <a:lnTo>
                    <a:pt x="474" y="478"/>
                  </a:lnTo>
                  <a:lnTo>
                    <a:pt x="472" y="478"/>
                  </a:lnTo>
                  <a:lnTo>
                    <a:pt x="474" y="480"/>
                  </a:lnTo>
                  <a:lnTo>
                    <a:pt x="475" y="480"/>
                  </a:lnTo>
                  <a:lnTo>
                    <a:pt x="477" y="480"/>
                  </a:lnTo>
                  <a:lnTo>
                    <a:pt x="475" y="481"/>
                  </a:lnTo>
                  <a:lnTo>
                    <a:pt x="475" y="483"/>
                  </a:lnTo>
                  <a:lnTo>
                    <a:pt x="475" y="481"/>
                  </a:lnTo>
                  <a:lnTo>
                    <a:pt x="474" y="481"/>
                  </a:lnTo>
                  <a:lnTo>
                    <a:pt x="474" y="483"/>
                  </a:lnTo>
                  <a:lnTo>
                    <a:pt x="472" y="483"/>
                  </a:lnTo>
                  <a:lnTo>
                    <a:pt x="472" y="484"/>
                  </a:lnTo>
                  <a:lnTo>
                    <a:pt x="470" y="484"/>
                  </a:lnTo>
                  <a:lnTo>
                    <a:pt x="470" y="486"/>
                  </a:lnTo>
                  <a:lnTo>
                    <a:pt x="469" y="486"/>
                  </a:lnTo>
                  <a:lnTo>
                    <a:pt x="467" y="486"/>
                  </a:lnTo>
                  <a:lnTo>
                    <a:pt x="467" y="484"/>
                  </a:lnTo>
                  <a:lnTo>
                    <a:pt x="466" y="486"/>
                  </a:lnTo>
                  <a:lnTo>
                    <a:pt x="466" y="484"/>
                  </a:lnTo>
                  <a:lnTo>
                    <a:pt x="461" y="483"/>
                  </a:lnTo>
                  <a:lnTo>
                    <a:pt x="457" y="483"/>
                  </a:lnTo>
                  <a:lnTo>
                    <a:pt x="457" y="481"/>
                  </a:lnTo>
                  <a:lnTo>
                    <a:pt x="456" y="481"/>
                  </a:lnTo>
                  <a:lnTo>
                    <a:pt x="457" y="481"/>
                  </a:lnTo>
                  <a:lnTo>
                    <a:pt x="461" y="481"/>
                  </a:lnTo>
                  <a:lnTo>
                    <a:pt x="462" y="483"/>
                  </a:lnTo>
                  <a:lnTo>
                    <a:pt x="464" y="483"/>
                  </a:lnTo>
                  <a:lnTo>
                    <a:pt x="466" y="484"/>
                  </a:lnTo>
                  <a:lnTo>
                    <a:pt x="466" y="483"/>
                  </a:lnTo>
                  <a:lnTo>
                    <a:pt x="467" y="483"/>
                  </a:lnTo>
                  <a:lnTo>
                    <a:pt x="469" y="483"/>
                  </a:lnTo>
                  <a:lnTo>
                    <a:pt x="467" y="483"/>
                  </a:lnTo>
                  <a:lnTo>
                    <a:pt x="467" y="481"/>
                  </a:lnTo>
                  <a:lnTo>
                    <a:pt x="467" y="480"/>
                  </a:lnTo>
                  <a:lnTo>
                    <a:pt x="466" y="478"/>
                  </a:lnTo>
                  <a:lnTo>
                    <a:pt x="466" y="476"/>
                  </a:lnTo>
                  <a:lnTo>
                    <a:pt x="464" y="476"/>
                  </a:lnTo>
                  <a:lnTo>
                    <a:pt x="462" y="478"/>
                  </a:lnTo>
                  <a:lnTo>
                    <a:pt x="461" y="478"/>
                  </a:lnTo>
                  <a:lnTo>
                    <a:pt x="461" y="476"/>
                  </a:lnTo>
                  <a:lnTo>
                    <a:pt x="459" y="476"/>
                  </a:lnTo>
                  <a:lnTo>
                    <a:pt x="457" y="476"/>
                  </a:lnTo>
                  <a:lnTo>
                    <a:pt x="459" y="476"/>
                  </a:lnTo>
                  <a:lnTo>
                    <a:pt x="459" y="478"/>
                  </a:lnTo>
                  <a:lnTo>
                    <a:pt x="457" y="478"/>
                  </a:lnTo>
                  <a:lnTo>
                    <a:pt x="457" y="480"/>
                  </a:lnTo>
                  <a:lnTo>
                    <a:pt x="457" y="478"/>
                  </a:lnTo>
                  <a:lnTo>
                    <a:pt x="457" y="480"/>
                  </a:lnTo>
                  <a:lnTo>
                    <a:pt x="456" y="480"/>
                  </a:lnTo>
                  <a:lnTo>
                    <a:pt x="457" y="480"/>
                  </a:lnTo>
                  <a:lnTo>
                    <a:pt x="456" y="481"/>
                  </a:lnTo>
                  <a:lnTo>
                    <a:pt x="456" y="480"/>
                  </a:lnTo>
                  <a:lnTo>
                    <a:pt x="456" y="478"/>
                  </a:lnTo>
                  <a:lnTo>
                    <a:pt x="457" y="476"/>
                  </a:lnTo>
                  <a:lnTo>
                    <a:pt x="457" y="475"/>
                  </a:lnTo>
                  <a:lnTo>
                    <a:pt x="456" y="475"/>
                  </a:lnTo>
                  <a:lnTo>
                    <a:pt x="456" y="473"/>
                  </a:lnTo>
                  <a:lnTo>
                    <a:pt x="456" y="475"/>
                  </a:lnTo>
                  <a:lnTo>
                    <a:pt x="454" y="475"/>
                  </a:lnTo>
                  <a:lnTo>
                    <a:pt x="454" y="473"/>
                  </a:lnTo>
                  <a:lnTo>
                    <a:pt x="453" y="473"/>
                  </a:lnTo>
                  <a:lnTo>
                    <a:pt x="453" y="471"/>
                  </a:lnTo>
                  <a:lnTo>
                    <a:pt x="451" y="471"/>
                  </a:lnTo>
                  <a:lnTo>
                    <a:pt x="451" y="470"/>
                  </a:lnTo>
                  <a:lnTo>
                    <a:pt x="453" y="468"/>
                  </a:lnTo>
                  <a:lnTo>
                    <a:pt x="454" y="466"/>
                  </a:lnTo>
                  <a:lnTo>
                    <a:pt x="454" y="463"/>
                  </a:lnTo>
                  <a:lnTo>
                    <a:pt x="453" y="463"/>
                  </a:lnTo>
                  <a:lnTo>
                    <a:pt x="453" y="462"/>
                  </a:lnTo>
                  <a:lnTo>
                    <a:pt x="454" y="462"/>
                  </a:lnTo>
                  <a:lnTo>
                    <a:pt x="454" y="460"/>
                  </a:lnTo>
                  <a:lnTo>
                    <a:pt x="454" y="458"/>
                  </a:lnTo>
                  <a:lnTo>
                    <a:pt x="454" y="457"/>
                  </a:lnTo>
                  <a:lnTo>
                    <a:pt x="456" y="457"/>
                  </a:lnTo>
                  <a:lnTo>
                    <a:pt x="454" y="455"/>
                  </a:lnTo>
                  <a:lnTo>
                    <a:pt x="456" y="455"/>
                  </a:lnTo>
                  <a:lnTo>
                    <a:pt x="454" y="455"/>
                  </a:lnTo>
                  <a:lnTo>
                    <a:pt x="454" y="453"/>
                  </a:lnTo>
                  <a:lnTo>
                    <a:pt x="454" y="455"/>
                  </a:lnTo>
                  <a:lnTo>
                    <a:pt x="454" y="457"/>
                  </a:lnTo>
                  <a:lnTo>
                    <a:pt x="454" y="458"/>
                  </a:lnTo>
                  <a:lnTo>
                    <a:pt x="453" y="458"/>
                  </a:lnTo>
                  <a:lnTo>
                    <a:pt x="453" y="460"/>
                  </a:lnTo>
                  <a:lnTo>
                    <a:pt x="453" y="462"/>
                  </a:lnTo>
                  <a:lnTo>
                    <a:pt x="453" y="463"/>
                  </a:lnTo>
                  <a:lnTo>
                    <a:pt x="451" y="463"/>
                  </a:lnTo>
                  <a:lnTo>
                    <a:pt x="451" y="465"/>
                  </a:lnTo>
                  <a:lnTo>
                    <a:pt x="451" y="466"/>
                  </a:lnTo>
                  <a:lnTo>
                    <a:pt x="451" y="468"/>
                  </a:lnTo>
                  <a:lnTo>
                    <a:pt x="449" y="470"/>
                  </a:lnTo>
                  <a:lnTo>
                    <a:pt x="448" y="471"/>
                  </a:lnTo>
                  <a:lnTo>
                    <a:pt x="448" y="473"/>
                  </a:lnTo>
                  <a:lnTo>
                    <a:pt x="448" y="471"/>
                  </a:lnTo>
                  <a:lnTo>
                    <a:pt x="448" y="473"/>
                  </a:lnTo>
                  <a:lnTo>
                    <a:pt x="446" y="473"/>
                  </a:lnTo>
                  <a:lnTo>
                    <a:pt x="446" y="471"/>
                  </a:lnTo>
                  <a:lnTo>
                    <a:pt x="444" y="473"/>
                  </a:lnTo>
                  <a:lnTo>
                    <a:pt x="443" y="473"/>
                  </a:lnTo>
                  <a:lnTo>
                    <a:pt x="443" y="475"/>
                  </a:lnTo>
                  <a:lnTo>
                    <a:pt x="441" y="475"/>
                  </a:lnTo>
                  <a:lnTo>
                    <a:pt x="441" y="473"/>
                  </a:lnTo>
                  <a:lnTo>
                    <a:pt x="440" y="471"/>
                  </a:lnTo>
                  <a:lnTo>
                    <a:pt x="438" y="471"/>
                  </a:lnTo>
                  <a:lnTo>
                    <a:pt x="438" y="473"/>
                  </a:lnTo>
                  <a:lnTo>
                    <a:pt x="440" y="473"/>
                  </a:lnTo>
                  <a:lnTo>
                    <a:pt x="438" y="473"/>
                  </a:lnTo>
                  <a:lnTo>
                    <a:pt x="438" y="475"/>
                  </a:lnTo>
                  <a:lnTo>
                    <a:pt x="438" y="476"/>
                  </a:lnTo>
                  <a:lnTo>
                    <a:pt x="440" y="476"/>
                  </a:lnTo>
                  <a:lnTo>
                    <a:pt x="440" y="475"/>
                  </a:lnTo>
                  <a:lnTo>
                    <a:pt x="444" y="476"/>
                  </a:lnTo>
                  <a:lnTo>
                    <a:pt x="446" y="476"/>
                  </a:lnTo>
                  <a:lnTo>
                    <a:pt x="448" y="476"/>
                  </a:lnTo>
                  <a:lnTo>
                    <a:pt x="448" y="478"/>
                  </a:lnTo>
                  <a:lnTo>
                    <a:pt x="453" y="480"/>
                  </a:lnTo>
                  <a:lnTo>
                    <a:pt x="454" y="480"/>
                  </a:lnTo>
                  <a:lnTo>
                    <a:pt x="456" y="481"/>
                  </a:lnTo>
                  <a:lnTo>
                    <a:pt x="456" y="483"/>
                  </a:lnTo>
                  <a:lnTo>
                    <a:pt x="454" y="481"/>
                  </a:lnTo>
                  <a:lnTo>
                    <a:pt x="449" y="480"/>
                  </a:lnTo>
                  <a:lnTo>
                    <a:pt x="444" y="476"/>
                  </a:lnTo>
                  <a:lnTo>
                    <a:pt x="443" y="476"/>
                  </a:lnTo>
                  <a:lnTo>
                    <a:pt x="441" y="476"/>
                  </a:lnTo>
                  <a:lnTo>
                    <a:pt x="440" y="476"/>
                  </a:lnTo>
                  <a:lnTo>
                    <a:pt x="431" y="475"/>
                  </a:lnTo>
                  <a:lnTo>
                    <a:pt x="428" y="475"/>
                  </a:lnTo>
                  <a:lnTo>
                    <a:pt x="426" y="475"/>
                  </a:lnTo>
                  <a:lnTo>
                    <a:pt x="425" y="476"/>
                  </a:lnTo>
                  <a:lnTo>
                    <a:pt x="423" y="478"/>
                  </a:lnTo>
                  <a:lnTo>
                    <a:pt x="422" y="478"/>
                  </a:lnTo>
                  <a:lnTo>
                    <a:pt x="415" y="476"/>
                  </a:lnTo>
                  <a:lnTo>
                    <a:pt x="415" y="478"/>
                  </a:lnTo>
                  <a:lnTo>
                    <a:pt x="413" y="478"/>
                  </a:lnTo>
                  <a:lnTo>
                    <a:pt x="409" y="478"/>
                  </a:lnTo>
                  <a:lnTo>
                    <a:pt x="407" y="478"/>
                  </a:lnTo>
                  <a:lnTo>
                    <a:pt x="405" y="478"/>
                  </a:lnTo>
                  <a:lnTo>
                    <a:pt x="396" y="481"/>
                  </a:lnTo>
                  <a:lnTo>
                    <a:pt x="392" y="484"/>
                  </a:lnTo>
                  <a:lnTo>
                    <a:pt x="387" y="486"/>
                  </a:lnTo>
                  <a:lnTo>
                    <a:pt x="383" y="486"/>
                  </a:lnTo>
                  <a:lnTo>
                    <a:pt x="381" y="488"/>
                  </a:lnTo>
                  <a:lnTo>
                    <a:pt x="376" y="491"/>
                  </a:lnTo>
                  <a:lnTo>
                    <a:pt x="370" y="494"/>
                  </a:lnTo>
                  <a:lnTo>
                    <a:pt x="368" y="494"/>
                  </a:lnTo>
                  <a:lnTo>
                    <a:pt x="368" y="493"/>
                  </a:lnTo>
                  <a:lnTo>
                    <a:pt x="368" y="494"/>
                  </a:lnTo>
                  <a:lnTo>
                    <a:pt x="363" y="497"/>
                  </a:lnTo>
                  <a:lnTo>
                    <a:pt x="360" y="497"/>
                  </a:lnTo>
                  <a:lnTo>
                    <a:pt x="355" y="501"/>
                  </a:lnTo>
                  <a:lnTo>
                    <a:pt x="348" y="506"/>
                  </a:lnTo>
                  <a:lnTo>
                    <a:pt x="347" y="507"/>
                  </a:lnTo>
                  <a:lnTo>
                    <a:pt x="345" y="507"/>
                  </a:lnTo>
                  <a:lnTo>
                    <a:pt x="340" y="506"/>
                  </a:lnTo>
                  <a:lnTo>
                    <a:pt x="337" y="504"/>
                  </a:lnTo>
                  <a:lnTo>
                    <a:pt x="332" y="504"/>
                  </a:lnTo>
                  <a:lnTo>
                    <a:pt x="324" y="501"/>
                  </a:lnTo>
                  <a:lnTo>
                    <a:pt x="316" y="496"/>
                  </a:lnTo>
                  <a:lnTo>
                    <a:pt x="314" y="496"/>
                  </a:lnTo>
                  <a:lnTo>
                    <a:pt x="311" y="494"/>
                  </a:lnTo>
                  <a:lnTo>
                    <a:pt x="308" y="494"/>
                  </a:lnTo>
                  <a:lnTo>
                    <a:pt x="303" y="493"/>
                  </a:lnTo>
                  <a:lnTo>
                    <a:pt x="301" y="493"/>
                  </a:lnTo>
                  <a:lnTo>
                    <a:pt x="293" y="493"/>
                  </a:lnTo>
                  <a:lnTo>
                    <a:pt x="290" y="493"/>
                  </a:lnTo>
                  <a:lnTo>
                    <a:pt x="288" y="493"/>
                  </a:lnTo>
                  <a:lnTo>
                    <a:pt x="287" y="493"/>
                  </a:lnTo>
                  <a:lnTo>
                    <a:pt x="285" y="493"/>
                  </a:lnTo>
                  <a:lnTo>
                    <a:pt x="282" y="493"/>
                  </a:lnTo>
                  <a:lnTo>
                    <a:pt x="278" y="493"/>
                  </a:lnTo>
                  <a:lnTo>
                    <a:pt x="277" y="494"/>
                  </a:lnTo>
                  <a:lnTo>
                    <a:pt x="275" y="496"/>
                  </a:lnTo>
                  <a:lnTo>
                    <a:pt x="274" y="497"/>
                  </a:lnTo>
                  <a:lnTo>
                    <a:pt x="272" y="497"/>
                  </a:lnTo>
                  <a:lnTo>
                    <a:pt x="270" y="497"/>
                  </a:lnTo>
                  <a:lnTo>
                    <a:pt x="270" y="499"/>
                  </a:lnTo>
                  <a:lnTo>
                    <a:pt x="269" y="501"/>
                  </a:lnTo>
                  <a:lnTo>
                    <a:pt x="265" y="502"/>
                  </a:lnTo>
                  <a:lnTo>
                    <a:pt x="264" y="504"/>
                  </a:lnTo>
                  <a:lnTo>
                    <a:pt x="262" y="507"/>
                  </a:lnTo>
                  <a:lnTo>
                    <a:pt x="259" y="509"/>
                  </a:lnTo>
                  <a:lnTo>
                    <a:pt x="254" y="510"/>
                  </a:lnTo>
                  <a:lnTo>
                    <a:pt x="251" y="512"/>
                  </a:lnTo>
                  <a:lnTo>
                    <a:pt x="246" y="512"/>
                  </a:lnTo>
                  <a:lnTo>
                    <a:pt x="241" y="514"/>
                  </a:lnTo>
                  <a:lnTo>
                    <a:pt x="239" y="514"/>
                  </a:lnTo>
                  <a:lnTo>
                    <a:pt x="238" y="514"/>
                  </a:lnTo>
                  <a:lnTo>
                    <a:pt x="238" y="512"/>
                  </a:lnTo>
                  <a:lnTo>
                    <a:pt x="236" y="512"/>
                  </a:lnTo>
                  <a:lnTo>
                    <a:pt x="236" y="510"/>
                  </a:lnTo>
                  <a:lnTo>
                    <a:pt x="236" y="509"/>
                  </a:lnTo>
                  <a:lnTo>
                    <a:pt x="236" y="507"/>
                  </a:lnTo>
                  <a:lnTo>
                    <a:pt x="236" y="506"/>
                  </a:lnTo>
                  <a:lnTo>
                    <a:pt x="236" y="504"/>
                  </a:lnTo>
                  <a:lnTo>
                    <a:pt x="236" y="502"/>
                  </a:lnTo>
                  <a:lnTo>
                    <a:pt x="238" y="502"/>
                  </a:lnTo>
                  <a:lnTo>
                    <a:pt x="238" y="501"/>
                  </a:lnTo>
                  <a:lnTo>
                    <a:pt x="238" y="499"/>
                  </a:lnTo>
                  <a:lnTo>
                    <a:pt x="236" y="499"/>
                  </a:lnTo>
                  <a:lnTo>
                    <a:pt x="236" y="497"/>
                  </a:lnTo>
                  <a:lnTo>
                    <a:pt x="236" y="494"/>
                  </a:lnTo>
                  <a:lnTo>
                    <a:pt x="236" y="493"/>
                  </a:lnTo>
                  <a:lnTo>
                    <a:pt x="236" y="491"/>
                  </a:lnTo>
                  <a:lnTo>
                    <a:pt x="236" y="489"/>
                  </a:lnTo>
                  <a:lnTo>
                    <a:pt x="235" y="489"/>
                  </a:lnTo>
                  <a:lnTo>
                    <a:pt x="233" y="488"/>
                  </a:lnTo>
                  <a:lnTo>
                    <a:pt x="233" y="486"/>
                  </a:lnTo>
                  <a:lnTo>
                    <a:pt x="231" y="484"/>
                  </a:lnTo>
                  <a:lnTo>
                    <a:pt x="231" y="483"/>
                  </a:lnTo>
                  <a:lnTo>
                    <a:pt x="231" y="481"/>
                  </a:lnTo>
                  <a:lnTo>
                    <a:pt x="233" y="481"/>
                  </a:lnTo>
                  <a:lnTo>
                    <a:pt x="233" y="480"/>
                  </a:lnTo>
                  <a:lnTo>
                    <a:pt x="235" y="480"/>
                  </a:lnTo>
                  <a:lnTo>
                    <a:pt x="235" y="478"/>
                  </a:lnTo>
                  <a:lnTo>
                    <a:pt x="233" y="478"/>
                  </a:lnTo>
                  <a:lnTo>
                    <a:pt x="235" y="478"/>
                  </a:lnTo>
                  <a:lnTo>
                    <a:pt x="233" y="478"/>
                  </a:lnTo>
                  <a:lnTo>
                    <a:pt x="233" y="476"/>
                  </a:lnTo>
                  <a:lnTo>
                    <a:pt x="233" y="475"/>
                  </a:lnTo>
                  <a:lnTo>
                    <a:pt x="233" y="476"/>
                  </a:lnTo>
                  <a:lnTo>
                    <a:pt x="233" y="478"/>
                  </a:lnTo>
                  <a:lnTo>
                    <a:pt x="231" y="480"/>
                  </a:lnTo>
                  <a:lnTo>
                    <a:pt x="231" y="481"/>
                  </a:lnTo>
                  <a:lnTo>
                    <a:pt x="231" y="480"/>
                  </a:lnTo>
                  <a:lnTo>
                    <a:pt x="231" y="481"/>
                  </a:lnTo>
                  <a:lnTo>
                    <a:pt x="230" y="481"/>
                  </a:lnTo>
                  <a:lnTo>
                    <a:pt x="230" y="483"/>
                  </a:lnTo>
                  <a:lnTo>
                    <a:pt x="231" y="484"/>
                  </a:lnTo>
                  <a:lnTo>
                    <a:pt x="231" y="486"/>
                  </a:lnTo>
                  <a:lnTo>
                    <a:pt x="231" y="488"/>
                  </a:lnTo>
                  <a:lnTo>
                    <a:pt x="233" y="488"/>
                  </a:lnTo>
                  <a:lnTo>
                    <a:pt x="233" y="489"/>
                  </a:lnTo>
                  <a:lnTo>
                    <a:pt x="235" y="491"/>
                  </a:lnTo>
                  <a:lnTo>
                    <a:pt x="235" y="493"/>
                  </a:lnTo>
                  <a:lnTo>
                    <a:pt x="235" y="494"/>
                  </a:lnTo>
                  <a:lnTo>
                    <a:pt x="235" y="496"/>
                  </a:lnTo>
                  <a:lnTo>
                    <a:pt x="235" y="497"/>
                  </a:lnTo>
                  <a:lnTo>
                    <a:pt x="235" y="499"/>
                  </a:lnTo>
                  <a:lnTo>
                    <a:pt x="235" y="501"/>
                  </a:lnTo>
                  <a:lnTo>
                    <a:pt x="235" y="502"/>
                  </a:lnTo>
                  <a:lnTo>
                    <a:pt x="233" y="502"/>
                  </a:lnTo>
                  <a:lnTo>
                    <a:pt x="233" y="504"/>
                  </a:lnTo>
                  <a:lnTo>
                    <a:pt x="235" y="504"/>
                  </a:lnTo>
                  <a:lnTo>
                    <a:pt x="233" y="506"/>
                  </a:lnTo>
                  <a:lnTo>
                    <a:pt x="235" y="507"/>
                  </a:lnTo>
                  <a:lnTo>
                    <a:pt x="233" y="509"/>
                  </a:lnTo>
                  <a:lnTo>
                    <a:pt x="233" y="510"/>
                  </a:lnTo>
                  <a:lnTo>
                    <a:pt x="233" y="512"/>
                  </a:lnTo>
                  <a:lnTo>
                    <a:pt x="235" y="512"/>
                  </a:lnTo>
                  <a:lnTo>
                    <a:pt x="236" y="514"/>
                  </a:lnTo>
                  <a:lnTo>
                    <a:pt x="238" y="514"/>
                  </a:lnTo>
                  <a:lnTo>
                    <a:pt x="239" y="514"/>
                  </a:lnTo>
                  <a:lnTo>
                    <a:pt x="238" y="514"/>
                  </a:lnTo>
                  <a:lnTo>
                    <a:pt x="236" y="514"/>
                  </a:lnTo>
                  <a:lnTo>
                    <a:pt x="228" y="512"/>
                  </a:lnTo>
                  <a:lnTo>
                    <a:pt x="225" y="512"/>
                  </a:lnTo>
                  <a:lnTo>
                    <a:pt x="220" y="510"/>
                  </a:lnTo>
                  <a:lnTo>
                    <a:pt x="217" y="510"/>
                  </a:lnTo>
                  <a:lnTo>
                    <a:pt x="210" y="510"/>
                  </a:lnTo>
                  <a:lnTo>
                    <a:pt x="207" y="509"/>
                  </a:lnTo>
                  <a:lnTo>
                    <a:pt x="205" y="509"/>
                  </a:lnTo>
                  <a:lnTo>
                    <a:pt x="200" y="509"/>
                  </a:lnTo>
                  <a:lnTo>
                    <a:pt x="196" y="506"/>
                  </a:lnTo>
                  <a:lnTo>
                    <a:pt x="196" y="504"/>
                  </a:lnTo>
                  <a:lnTo>
                    <a:pt x="194" y="504"/>
                  </a:lnTo>
                  <a:lnTo>
                    <a:pt x="192" y="502"/>
                  </a:lnTo>
                  <a:lnTo>
                    <a:pt x="191" y="501"/>
                  </a:lnTo>
                  <a:lnTo>
                    <a:pt x="189" y="499"/>
                  </a:lnTo>
                  <a:lnTo>
                    <a:pt x="187" y="499"/>
                  </a:lnTo>
                  <a:lnTo>
                    <a:pt x="186" y="499"/>
                  </a:lnTo>
                  <a:lnTo>
                    <a:pt x="184" y="499"/>
                  </a:lnTo>
                  <a:lnTo>
                    <a:pt x="183" y="499"/>
                  </a:lnTo>
                  <a:lnTo>
                    <a:pt x="181" y="497"/>
                  </a:lnTo>
                  <a:lnTo>
                    <a:pt x="179" y="497"/>
                  </a:lnTo>
                  <a:lnTo>
                    <a:pt x="178" y="497"/>
                  </a:lnTo>
                  <a:lnTo>
                    <a:pt x="176" y="494"/>
                  </a:lnTo>
                  <a:lnTo>
                    <a:pt x="171" y="488"/>
                  </a:lnTo>
                  <a:lnTo>
                    <a:pt x="170" y="484"/>
                  </a:lnTo>
                  <a:lnTo>
                    <a:pt x="166" y="483"/>
                  </a:lnTo>
                  <a:lnTo>
                    <a:pt x="165" y="481"/>
                  </a:lnTo>
                  <a:lnTo>
                    <a:pt x="165" y="480"/>
                  </a:lnTo>
                  <a:lnTo>
                    <a:pt x="163" y="480"/>
                  </a:lnTo>
                  <a:lnTo>
                    <a:pt x="161" y="476"/>
                  </a:lnTo>
                  <a:lnTo>
                    <a:pt x="158" y="473"/>
                  </a:lnTo>
                  <a:lnTo>
                    <a:pt x="157" y="471"/>
                  </a:lnTo>
                  <a:lnTo>
                    <a:pt x="157" y="470"/>
                  </a:lnTo>
                  <a:lnTo>
                    <a:pt x="155" y="468"/>
                  </a:lnTo>
                  <a:lnTo>
                    <a:pt x="153" y="466"/>
                  </a:lnTo>
                  <a:lnTo>
                    <a:pt x="152" y="466"/>
                  </a:lnTo>
                  <a:lnTo>
                    <a:pt x="152" y="465"/>
                  </a:lnTo>
                  <a:lnTo>
                    <a:pt x="148" y="463"/>
                  </a:lnTo>
                  <a:lnTo>
                    <a:pt x="147" y="463"/>
                  </a:lnTo>
                  <a:lnTo>
                    <a:pt x="147" y="462"/>
                  </a:lnTo>
                  <a:lnTo>
                    <a:pt x="145" y="460"/>
                  </a:lnTo>
                  <a:lnTo>
                    <a:pt x="144" y="460"/>
                  </a:lnTo>
                  <a:lnTo>
                    <a:pt x="140" y="457"/>
                  </a:lnTo>
                  <a:lnTo>
                    <a:pt x="137" y="457"/>
                  </a:lnTo>
                  <a:lnTo>
                    <a:pt x="135" y="455"/>
                  </a:lnTo>
                  <a:lnTo>
                    <a:pt x="134" y="455"/>
                  </a:lnTo>
                  <a:lnTo>
                    <a:pt x="134" y="453"/>
                  </a:lnTo>
                  <a:lnTo>
                    <a:pt x="135" y="453"/>
                  </a:lnTo>
                  <a:lnTo>
                    <a:pt x="137" y="450"/>
                  </a:lnTo>
                  <a:lnTo>
                    <a:pt x="139" y="447"/>
                  </a:lnTo>
                  <a:lnTo>
                    <a:pt x="140" y="447"/>
                  </a:lnTo>
                  <a:lnTo>
                    <a:pt x="140" y="445"/>
                  </a:lnTo>
                  <a:lnTo>
                    <a:pt x="142" y="445"/>
                  </a:lnTo>
                  <a:lnTo>
                    <a:pt x="142" y="444"/>
                  </a:lnTo>
                  <a:lnTo>
                    <a:pt x="144" y="444"/>
                  </a:lnTo>
                  <a:lnTo>
                    <a:pt x="142" y="444"/>
                  </a:lnTo>
                  <a:lnTo>
                    <a:pt x="140" y="445"/>
                  </a:lnTo>
                  <a:lnTo>
                    <a:pt x="139" y="447"/>
                  </a:lnTo>
                  <a:lnTo>
                    <a:pt x="137" y="449"/>
                  </a:lnTo>
                  <a:lnTo>
                    <a:pt x="135" y="450"/>
                  </a:lnTo>
                  <a:lnTo>
                    <a:pt x="135" y="453"/>
                  </a:lnTo>
                  <a:lnTo>
                    <a:pt x="134" y="453"/>
                  </a:lnTo>
                  <a:lnTo>
                    <a:pt x="132" y="455"/>
                  </a:lnTo>
                  <a:lnTo>
                    <a:pt x="130" y="455"/>
                  </a:lnTo>
                  <a:lnTo>
                    <a:pt x="130" y="453"/>
                  </a:lnTo>
                  <a:lnTo>
                    <a:pt x="129" y="453"/>
                  </a:lnTo>
                  <a:lnTo>
                    <a:pt x="127" y="452"/>
                  </a:lnTo>
                  <a:lnTo>
                    <a:pt x="126" y="450"/>
                  </a:lnTo>
                  <a:lnTo>
                    <a:pt x="124" y="449"/>
                  </a:lnTo>
                  <a:lnTo>
                    <a:pt x="124" y="447"/>
                  </a:lnTo>
                  <a:lnTo>
                    <a:pt x="122" y="445"/>
                  </a:lnTo>
                  <a:lnTo>
                    <a:pt x="122" y="444"/>
                  </a:lnTo>
                  <a:lnTo>
                    <a:pt x="119" y="436"/>
                  </a:lnTo>
                  <a:lnTo>
                    <a:pt x="119" y="434"/>
                  </a:lnTo>
                  <a:lnTo>
                    <a:pt x="117" y="431"/>
                  </a:lnTo>
                  <a:lnTo>
                    <a:pt x="117" y="427"/>
                  </a:lnTo>
                  <a:lnTo>
                    <a:pt x="116" y="427"/>
                  </a:lnTo>
                  <a:lnTo>
                    <a:pt x="114" y="423"/>
                  </a:lnTo>
                  <a:lnTo>
                    <a:pt x="116" y="421"/>
                  </a:lnTo>
                  <a:lnTo>
                    <a:pt x="114" y="419"/>
                  </a:lnTo>
                  <a:lnTo>
                    <a:pt x="116" y="419"/>
                  </a:lnTo>
                  <a:lnTo>
                    <a:pt x="116" y="418"/>
                  </a:lnTo>
                  <a:lnTo>
                    <a:pt x="117" y="416"/>
                  </a:lnTo>
                  <a:lnTo>
                    <a:pt x="117" y="414"/>
                  </a:lnTo>
                  <a:lnTo>
                    <a:pt x="119" y="414"/>
                  </a:lnTo>
                  <a:lnTo>
                    <a:pt x="121" y="414"/>
                  </a:lnTo>
                  <a:lnTo>
                    <a:pt x="122" y="414"/>
                  </a:lnTo>
                  <a:lnTo>
                    <a:pt x="124" y="411"/>
                  </a:lnTo>
                  <a:lnTo>
                    <a:pt x="124" y="413"/>
                  </a:lnTo>
                  <a:lnTo>
                    <a:pt x="126" y="413"/>
                  </a:lnTo>
                  <a:lnTo>
                    <a:pt x="126" y="414"/>
                  </a:lnTo>
                  <a:lnTo>
                    <a:pt x="127" y="414"/>
                  </a:lnTo>
                  <a:lnTo>
                    <a:pt x="127" y="416"/>
                  </a:lnTo>
                  <a:lnTo>
                    <a:pt x="129" y="416"/>
                  </a:lnTo>
                  <a:lnTo>
                    <a:pt x="129" y="418"/>
                  </a:lnTo>
                  <a:lnTo>
                    <a:pt x="129" y="419"/>
                  </a:lnTo>
                  <a:lnTo>
                    <a:pt x="130" y="419"/>
                  </a:lnTo>
                  <a:lnTo>
                    <a:pt x="129" y="419"/>
                  </a:lnTo>
                  <a:lnTo>
                    <a:pt x="129" y="418"/>
                  </a:lnTo>
                  <a:lnTo>
                    <a:pt x="130" y="418"/>
                  </a:lnTo>
                  <a:lnTo>
                    <a:pt x="129" y="418"/>
                  </a:lnTo>
                  <a:lnTo>
                    <a:pt x="129" y="416"/>
                  </a:lnTo>
                  <a:lnTo>
                    <a:pt x="127" y="414"/>
                  </a:lnTo>
                  <a:lnTo>
                    <a:pt x="127" y="413"/>
                  </a:lnTo>
                  <a:lnTo>
                    <a:pt x="126" y="413"/>
                  </a:lnTo>
                  <a:lnTo>
                    <a:pt x="126" y="411"/>
                  </a:lnTo>
                  <a:lnTo>
                    <a:pt x="127" y="411"/>
                  </a:lnTo>
                  <a:lnTo>
                    <a:pt x="127" y="410"/>
                  </a:lnTo>
                  <a:lnTo>
                    <a:pt x="130" y="410"/>
                  </a:lnTo>
                  <a:lnTo>
                    <a:pt x="130" y="408"/>
                  </a:lnTo>
                  <a:lnTo>
                    <a:pt x="132" y="408"/>
                  </a:lnTo>
                  <a:lnTo>
                    <a:pt x="132" y="406"/>
                  </a:lnTo>
                  <a:lnTo>
                    <a:pt x="130" y="408"/>
                  </a:lnTo>
                  <a:lnTo>
                    <a:pt x="132" y="408"/>
                  </a:lnTo>
                  <a:lnTo>
                    <a:pt x="130" y="408"/>
                  </a:lnTo>
                  <a:lnTo>
                    <a:pt x="130" y="410"/>
                  </a:lnTo>
                  <a:lnTo>
                    <a:pt x="129" y="410"/>
                  </a:lnTo>
                  <a:lnTo>
                    <a:pt x="130" y="410"/>
                  </a:lnTo>
                  <a:lnTo>
                    <a:pt x="129" y="410"/>
                  </a:lnTo>
                  <a:lnTo>
                    <a:pt x="127" y="410"/>
                  </a:lnTo>
                  <a:lnTo>
                    <a:pt x="127" y="411"/>
                  </a:lnTo>
                  <a:lnTo>
                    <a:pt x="126" y="411"/>
                  </a:lnTo>
                  <a:lnTo>
                    <a:pt x="124" y="411"/>
                  </a:lnTo>
                  <a:lnTo>
                    <a:pt x="121" y="413"/>
                  </a:lnTo>
                  <a:lnTo>
                    <a:pt x="119" y="414"/>
                  </a:lnTo>
                  <a:lnTo>
                    <a:pt x="117" y="414"/>
                  </a:lnTo>
                  <a:lnTo>
                    <a:pt x="116" y="416"/>
                  </a:lnTo>
                  <a:lnTo>
                    <a:pt x="116" y="418"/>
                  </a:lnTo>
                  <a:lnTo>
                    <a:pt x="114" y="419"/>
                  </a:lnTo>
                  <a:lnTo>
                    <a:pt x="114" y="421"/>
                  </a:lnTo>
                  <a:lnTo>
                    <a:pt x="114" y="423"/>
                  </a:lnTo>
                  <a:lnTo>
                    <a:pt x="113" y="416"/>
                  </a:lnTo>
                  <a:lnTo>
                    <a:pt x="108" y="408"/>
                  </a:lnTo>
                  <a:lnTo>
                    <a:pt x="108" y="405"/>
                  </a:lnTo>
                  <a:lnTo>
                    <a:pt x="106" y="403"/>
                  </a:lnTo>
                  <a:lnTo>
                    <a:pt x="108" y="405"/>
                  </a:lnTo>
                  <a:lnTo>
                    <a:pt x="108" y="403"/>
                  </a:lnTo>
                  <a:lnTo>
                    <a:pt x="109" y="403"/>
                  </a:lnTo>
                  <a:lnTo>
                    <a:pt x="111" y="403"/>
                  </a:lnTo>
                  <a:lnTo>
                    <a:pt x="113" y="401"/>
                  </a:lnTo>
                  <a:lnTo>
                    <a:pt x="114" y="401"/>
                  </a:lnTo>
                  <a:lnTo>
                    <a:pt x="116" y="400"/>
                  </a:lnTo>
                  <a:lnTo>
                    <a:pt x="116" y="398"/>
                  </a:lnTo>
                  <a:lnTo>
                    <a:pt x="117" y="398"/>
                  </a:lnTo>
                  <a:lnTo>
                    <a:pt x="117" y="397"/>
                  </a:lnTo>
                  <a:lnTo>
                    <a:pt x="117" y="395"/>
                  </a:lnTo>
                  <a:lnTo>
                    <a:pt x="119" y="393"/>
                  </a:lnTo>
                  <a:lnTo>
                    <a:pt x="119" y="392"/>
                  </a:lnTo>
                  <a:lnTo>
                    <a:pt x="121" y="392"/>
                  </a:lnTo>
                  <a:lnTo>
                    <a:pt x="119" y="392"/>
                  </a:lnTo>
                  <a:lnTo>
                    <a:pt x="121" y="390"/>
                  </a:lnTo>
                  <a:lnTo>
                    <a:pt x="122" y="388"/>
                  </a:lnTo>
                  <a:lnTo>
                    <a:pt x="124" y="388"/>
                  </a:lnTo>
                  <a:lnTo>
                    <a:pt x="124" y="387"/>
                  </a:lnTo>
                  <a:lnTo>
                    <a:pt x="126" y="387"/>
                  </a:lnTo>
                  <a:lnTo>
                    <a:pt x="127" y="387"/>
                  </a:lnTo>
                  <a:lnTo>
                    <a:pt x="126" y="387"/>
                  </a:lnTo>
                  <a:lnTo>
                    <a:pt x="126" y="388"/>
                  </a:lnTo>
                  <a:lnTo>
                    <a:pt x="127" y="388"/>
                  </a:lnTo>
                  <a:lnTo>
                    <a:pt x="127" y="387"/>
                  </a:lnTo>
                  <a:lnTo>
                    <a:pt x="129" y="387"/>
                  </a:lnTo>
                  <a:lnTo>
                    <a:pt x="129" y="388"/>
                  </a:lnTo>
                  <a:lnTo>
                    <a:pt x="130" y="388"/>
                  </a:lnTo>
                  <a:lnTo>
                    <a:pt x="132" y="388"/>
                  </a:lnTo>
                  <a:lnTo>
                    <a:pt x="134" y="387"/>
                  </a:lnTo>
                  <a:lnTo>
                    <a:pt x="135" y="385"/>
                  </a:lnTo>
                  <a:lnTo>
                    <a:pt x="137" y="385"/>
                  </a:lnTo>
                  <a:lnTo>
                    <a:pt x="137" y="384"/>
                  </a:lnTo>
                  <a:lnTo>
                    <a:pt x="139" y="382"/>
                  </a:lnTo>
                  <a:lnTo>
                    <a:pt x="140" y="382"/>
                  </a:lnTo>
                  <a:lnTo>
                    <a:pt x="142" y="382"/>
                  </a:lnTo>
                  <a:lnTo>
                    <a:pt x="144" y="382"/>
                  </a:lnTo>
                  <a:lnTo>
                    <a:pt x="145" y="382"/>
                  </a:lnTo>
                  <a:lnTo>
                    <a:pt x="145" y="384"/>
                  </a:lnTo>
                  <a:lnTo>
                    <a:pt x="147" y="384"/>
                  </a:lnTo>
                  <a:lnTo>
                    <a:pt x="148" y="384"/>
                  </a:lnTo>
                  <a:lnTo>
                    <a:pt x="147" y="384"/>
                  </a:lnTo>
                  <a:lnTo>
                    <a:pt x="145" y="384"/>
                  </a:lnTo>
                  <a:lnTo>
                    <a:pt x="145" y="382"/>
                  </a:lnTo>
                  <a:lnTo>
                    <a:pt x="147" y="384"/>
                  </a:lnTo>
                  <a:lnTo>
                    <a:pt x="148" y="384"/>
                  </a:lnTo>
                  <a:lnTo>
                    <a:pt x="150" y="384"/>
                  </a:lnTo>
                  <a:lnTo>
                    <a:pt x="150" y="385"/>
                  </a:lnTo>
                  <a:lnTo>
                    <a:pt x="150" y="387"/>
                  </a:lnTo>
                  <a:lnTo>
                    <a:pt x="152" y="387"/>
                  </a:lnTo>
                  <a:lnTo>
                    <a:pt x="150" y="388"/>
                  </a:lnTo>
                  <a:lnTo>
                    <a:pt x="148" y="388"/>
                  </a:lnTo>
                  <a:lnTo>
                    <a:pt x="147" y="388"/>
                  </a:lnTo>
                  <a:lnTo>
                    <a:pt x="148" y="387"/>
                  </a:lnTo>
                  <a:lnTo>
                    <a:pt x="148" y="385"/>
                  </a:lnTo>
                  <a:lnTo>
                    <a:pt x="148" y="387"/>
                  </a:lnTo>
                  <a:lnTo>
                    <a:pt x="147" y="387"/>
                  </a:lnTo>
                  <a:lnTo>
                    <a:pt x="147" y="388"/>
                  </a:lnTo>
                  <a:lnTo>
                    <a:pt x="148" y="388"/>
                  </a:lnTo>
                  <a:lnTo>
                    <a:pt x="150" y="388"/>
                  </a:lnTo>
                  <a:lnTo>
                    <a:pt x="152" y="387"/>
                  </a:lnTo>
                  <a:lnTo>
                    <a:pt x="153" y="387"/>
                  </a:lnTo>
                  <a:lnTo>
                    <a:pt x="153" y="388"/>
                  </a:lnTo>
                  <a:lnTo>
                    <a:pt x="153" y="390"/>
                  </a:lnTo>
                  <a:lnTo>
                    <a:pt x="155" y="388"/>
                  </a:lnTo>
                  <a:lnTo>
                    <a:pt x="157" y="388"/>
                  </a:lnTo>
                  <a:lnTo>
                    <a:pt x="157" y="387"/>
                  </a:lnTo>
                  <a:lnTo>
                    <a:pt x="158" y="387"/>
                  </a:lnTo>
                  <a:lnTo>
                    <a:pt x="160" y="387"/>
                  </a:lnTo>
                  <a:lnTo>
                    <a:pt x="161" y="385"/>
                  </a:lnTo>
                  <a:lnTo>
                    <a:pt x="161" y="387"/>
                  </a:lnTo>
                  <a:lnTo>
                    <a:pt x="161" y="385"/>
                  </a:lnTo>
                  <a:lnTo>
                    <a:pt x="163" y="385"/>
                  </a:lnTo>
                  <a:lnTo>
                    <a:pt x="165" y="385"/>
                  </a:lnTo>
                  <a:lnTo>
                    <a:pt x="166" y="385"/>
                  </a:lnTo>
                  <a:lnTo>
                    <a:pt x="166" y="387"/>
                  </a:lnTo>
                  <a:lnTo>
                    <a:pt x="168" y="387"/>
                  </a:lnTo>
                  <a:lnTo>
                    <a:pt x="170" y="387"/>
                  </a:lnTo>
                  <a:lnTo>
                    <a:pt x="170" y="385"/>
                  </a:lnTo>
                  <a:lnTo>
                    <a:pt x="171" y="385"/>
                  </a:lnTo>
                  <a:lnTo>
                    <a:pt x="173" y="385"/>
                  </a:lnTo>
                  <a:lnTo>
                    <a:pt x="174" y="385"/>
                  </a:lnTo>
                  <a:lnTo>
                    <a:pt x="176" y="385"/>
                  </a:lnTo>
                  <a:lnTo>
                    <a:pt x="174" y="384"/>
                  </a:lnTo>
                  <a:lnTo>
                    <a:pt x="173" y="385"/>
                  </a:lnTo>
                  <a:lnTo>
                    <a:pt x="171" y="385"/>
                  </a:lnTo>
                  <a:lnTo>
                    <a:pt x="170" y="385"/>
                  </a:lnTo>
                  <a:lnTo>
                    <a:pt x="168" y="387"/>
                  </a:lnTo>
                  <a:lnTo>
                    <a:pt x="166" y="385"/>
                  </a:lnTo>
                  <a:lnTo>
                    <a:pt x="165" y="385"/>
                  </a:lnTo>
                  <a:lnTo>
                    <a:pt x="163" y="385"/>
                  </a:lnTo>
                  <a:lnTo>
                    <a:pt x="161" y="385"/>
                  </a:lnTo>
                  <a:lnTo>
                    <a:pt x="160" y="385"/>
                  </a:lnTo>
                  <a:lnTo>
                    <a:pt x="158" y="387"/>
                  </a:lnTo>
                  <a:lnTo>
                    <a:pt x="155" y="387"/>
                  </a:lnTo>
                  <a:lnTo>
                    <a:pt x="153" y="387"/>
                  </a:lnTo>
                  <a:lnTo>
                    <a:pt x="152" y="387"/>
                  </a:lnTo>
                  <a:lnTo>
                    <a:pt x="150" y="387"/>
                  </a:lnTo>
                  <a:lnTo>
                    <a:pt x="150" y="385"/>
                  </a:lnTo>
                  <a:lnTo>
                    <a:pt x="150" y="384"/>
                  </a:lnTo>
                  <a:lnTo>
                    <a:pt x="150" y="382"/>
                  </a:lnTo>
                  <a:lnTo>
                    <a:pt x="148" y="382"/>
                  </a:lnTo>
                  <a:lnTo>
                    <a:pt x="147" y="382"/>
                  </a:lnTo>
                  <a:lnTo>
                    <a:pt x="145" y="382"/>
                  </a:lnTo>
                  <a:lnTo>
                    <a:pt x="144" y="382"/>
                  </a:lnTo>
                  <a:lnTo>
                    <a:pt x="145" y="382"/>
                  </a:lnTo>
                  <a:lnTo>
                    <a:pt x="144" y="382"/>
                  </a:lnTo>
                  <a:lnTo>
                    <a:pt x="142" y="380"/>
                  </a:lnTo>
                  <a:lnTo>
                    <a:pt x="140" y="380"/>
                  </a:lnTo>
                  <a:lnTo>
                    <a:pt x="139" y="380"/>
                  </a:lnTo>
                  <a:lnTo>
                    <a:pt x="137" y="382"/>
                  </a:lnTo>
                  <a:lnTo>
                    <a:pt x="135" y="384"/>
                  </a:lnTo>
                  <a:lnTo>
                    <a:pt x="135" y="385"/>
                  </a:lnTo>
                  <a:lnTo>
                    <a:pt x="134" y="385"/>
                  </a:lnTo>
                  <a:lnTo>
                    <a:pt x="132" y="387"/>
                  </a:lnTo>
                  <a:lnTo>
                    <a:pt x="130" y="387"/>
                  </a:lnTo>
                  <a:lnTo>
                    <a:pt x="129" y="387"/>
                  </a:lnTo>
                  <a:lnTo>
                    <a:pt x="127" y="387"/>
                  </a:lnTo>
                  <a:lnTo>
                    <a:pt x="126" y="387"/>
                  </a:lnTo>
                  <a:lnTo>
                    <a:pt x="124" y="387"/>
                  </a:lnTo>
                  <a:lnTo>
                    <a:pt x="124" y="388"/>
                  </a:lnTo>
                  <a:lnTo>
                    <a:pt x="122" y="388"/>
                  </a:lnTo>
                  <a:lnTo>
                    <a:pt x="121" y="388"/>
                  </a:lnTo>
                  <a:lnTo>
                    <a:pt x="121" y="390"/>
                  </a:lnTo>
                  <a:lnTo>
                    <a:pt x="119" y="390"/>
                  </a:lnTo>
                  <a:lnTo>
                    <a:pt x="119" y="392"/>
                  </a:lnTo>
                  <a:lnTo>
                    <a:pt x="117" y="392"/>
                  </a:lnTo>
                  <a:lnTo>
                    <a:pt x="117" y="393"/>
                  </a:lnTo>
                  <a:lnTo>
                    <a:pt x="117" y="395"/>
                  </a:lnTo>
                  <a:lnTo>
                    <a:pt x="117" y="397"/>
                  </a:lnTo>
                  <a:lnTo>
                    <a:pt x="117" y="398"/>
                  </a:lnTo>
                  <a:lnTo>
                    <a:pt x="114" y="400"/>
                  </a:lnTo>
                  <a:lnTo>
                    <a:pt x="113" y="400"/>
                  </a:lnTo>
                  <a:lnTo>
                    <a:pt x="113" y="401"/>
                  </a:lnTo>
                  <a:lnTo>
                    <a:pt x="111" y="401"/>
                  </a:lnTo>
                  <a:lnTo>
                    <a:pt x="109" y="401"/>
                  </a:lnTo>
                  <a:lnTo>
                    <a:pt x="108" y="403"/>
                  </a:lnTo>
                  <a:lnTo>
                    <a:pt x="106" y="401"/>
                  </a:lnTo>
                  <a:lnTo>
                    <a:pt x="106" y="403"/>
                  </a:lnTo>
                  <a:lnTo>
                    <a:pt x="104" y="401"/>
                  </a:lnTo>
                  <a:lnTo>
                    <a:pt x="104" y="400"/>
                  </a:lnTo>
                  <a:lnTo>
                    <a:pt x="103" y="398"/>
                  </a:lnTo>
                  <a:lnTo>
                    <a:pt x="103" y="397"/>
                  </a:lnTo>
                  <a:lnTo>
                    <a:pt x="101" y="397"/>
                  </a:lnTo>
                  <a:lnTo>
                    <a:pt x="101" y="395"/>
                  </a:lnTo>
                  <a:lnTo>
                    <a:pt x="101" y="393"/>
                  </a:lnTo>
                  <a:lnTo>
                    <a:pt x="100" y="393"/>
                  </a:lnTo>
                  <a:lnTo>
                    <a:pt x="100" y="392"/>
                  </a:lnTo>
                  <a:lnTo>
                    <a:pt x="98" y="392"/>
                  </a:lnTo>
                  <a:lnTo>
                    <a:pt x="96" y="392"/>
                  </a:lnTo>
                  <a:lnTo>
                    <a:pt x="96" y="390"/>
                  </a:lnTo>
                  <a:lnTo>
                    <a:pt x="95" y="390"/>
                  </a:lnTo>
                  <a:lnTo>
                    <a:pt x="95" y="388"/>
                  </a:lnTo>
                  <a:lnTo>
                    <a:pt x="95" y="387"/>
                  </a:lnTo>
                  <a:lnTo>
                    <a:pt x="93" y="385"/>
                  </a:lnTo>
                  <a:lnTo>
                    <a:pt x="93" y="384"/>
                  </a:lnTo>
                  <a:lnTo>
                    <a:pt x="93" y="385"/>
                  </a:lnTo>
                  <a:lnTo>
                    <a:pt x="93" y="384"/>
                  </a:lnTo>
                  <a:lnTo>
                    <a:pt x="93" y="382"/>
                  </a:lnTo>
                  <a:lnTo>
                    <a:pt x="91" y="382"/>
                  </a:lnTo>
                  <a:lnTo>
                    <a:pt x="91" y="380"/>
                  </a:lnTo>
                  <a:lnTo>
                    <a:pt x="90" y="379"/>
                  </a:lnTo>
                  <a:lnTo>
                    <a:pt x="91" y="379"/>
                  </a:lnTo>
                  <a:lnTo>
                    <a:pt x="91" y="377"/>
                  </a:lnTo>
                  <a:lnTo>
                    <a:pt x="91" y="375"/>
                  </a:lnTo>
                  <a:lnTo>
                    <a:pt x="93" y="375"/>
                  </a:lnTo>
                  <a:lnTo>
                    <a:pt x="93" y="374"/>
                  </a:lnTo>
                  <a:lnTo>
                    <a:pt x="93" y="372"/>
                  </a:lnTo>
                  <a:lnTo>
                    <a:pt x="95" y="372"/>
                  </a:lnTo>
                  <a:lnTo>
                    <a:pt x="96" y="372"/>
                  </a:lnTo>
                  <a:lnTo>
                    <a:pt x="98" y="374"/>
                  </a:lnTo>
                  <a:lnTo>
                    <a:pt x="98" y="375"/>
                  </a:lnTo>
                  <a:lnTo>
                    <a:pt x="100" y="375"/>
                  </a:lnTo>
                  <a:lnTo>
                    <a:pt x="101" y="375"/>
                  </a:lnTo>
                  <a:lnTo>
                    <a:pt x="100" y="375"/>
                  </a:lnTo>
                  <a:lnTo>
                    <a:pt x="101" y="375"/>
                  </a:lnTo>
                  <a:lnTo>
                    <a:pt x="103" y="375"/>
                  </a:lnTo>
                  <a:lnTo>
                    <a:pt x="104" y="377"/>
                  </a:lnTo>
                  <a:lnTo>
                    <a:pt x="106" y="377"/>
                  </a:lnTo>
                  <a:lnTo>
                    <a:pt x="108" y="375"/>
                  </a:lnTo>
                  <a:lnTo>
                    <a:pt x="109" y="375"/>
                  </a:lnTo>
                  <a:lnTo>
                    <a:pt x="109" y="374"/>
                  </a:lnTo>
                  <a:lnTo>
                    <a:pt x="111" y="372"/>
                  </a:lnTo>
                  <a:lnTo>
                    <a:pt x="113" y="372"/>
                  </a:lnTo>
                  <a:lnTo>
                    <a:pt x="113" y="371"/>
                  </a:lnTo>
                  <a:lnTo>
                    <a:pt x="114" y="371"/>
                  </a:lnTo>
                  <a:lnTo>
                    <a:pt x="114" y="372"/>
                  </a:lnTo>
                  <a:lnTo>
                    <a:pt x="116" y="372"/>
                  </a:lnTo>
                  <a:lnTo>
                    <a:pt x="117" y="374"/>
                  </a:lnTo>
                  <a:lnTo>
                    <a:pt x="119" y="374"/>
                  </a:lnTo>
                  <a:lnTo>
                    <a:pt x="119" y="375"/>
                  </a:lnTo>
                  <a:lnTo>
                    <a:pt x="119" y="374"/>
                  </a:lnTo>
                  <a:lnTo>
                    <a:pt x="121" y="375"/>
                  </a:lnTo>
                  <a:lnTo>
                    <a:pt x="121" y="374"/>
                  </a:lnTo>
                  <a:lnTo>
                    <a:pt x="121" y="375"/>
                  </a:lnTo>
                  <a:lnTo>
                    <a:pt x="121" y="377"/>
                  </a:lnTo>
                  <a:lnTo>
                    <a:pt x="122" y="375"/>
                  </a:lnTo>
                  <a:lnTo>
                    <a:pt x="122" y="377"/>
                  </a:lnTo>
                  <a:lnTo>
                    <a:pt x="122" y="379"/>
                  </a:lnTo>
                  <a:lnTo>
                    <a:pt x="124" y="379"/>
                  </a:lnTo>
                  <a:lnTo>
                    <a:pt x="124" y="380"/>
                  </a:lnTo>
                  <a:lnTo>
                    <a:pt x="126" y="380"/>
                  </a:lnTo>
                  <a:lnTo>
                    <a:pt x="126" y="382"/>
                  </a:lnTo>
                  <a:lnTo>
                    <a:pt x="127" y="382"/>
                  </a:lnTo>
                  <a:lnTo>
                    <a:pt x="129" y="382"/>
                  </a:lnTo>
                  <a:lnTo>
                    <a:pt x="129" y="380"/>
                  </a:lnTo>
                  <a:lnTo>
                    <a:pt x="130" y="379"/>
                  </a:lnTo>
                  <a:lnTo>
                    <a:pt x="132" y="377"/>
                  </a:lnTo>
                  <a:lnTo>
                    <a:pt x="134" y="374"/>
                  </a:lnTo>
                  <a:lnTo>
                    <a:pt x="137" y="374"/>
                  </a:lnTo>
                  <a:lnTo>
                    <a:pt x="139" y="371"/>
                  </a:lnTo>
                  <a:lnTo>
                    <a:pt x="142" y="369"/>
                  </a:lnTo>
                  <a:lnTo>
                    <a:pt x="144" y="369"/>
                  </a:lnTo>
                  <a:lnTo>
                    <a:pt x="144" y="367"/>
                  </a:lnTo>
                  <a:lnTo>
                    <a:pt x="145" y="367"/>
                  </a:lnTo>
                  <a:lnTo>
                    <a:pt x="145" y="369"/>
                  </a:lnTo>
                  <a:lnTo>
                    <a:pt x="147" y="369"/>
                  </a:lnTo>
                  <a:lnTo>
                    <a:pt x="145" y="371"/>
                  </a:lnTo>
                  <a:lnTo>
                    <a:pt x="145" y="372"/>
                  </a:lnTo>
                  <a:lnTo>
                    <a:pt x="145" y="374"/>
                  </a:lnTo>
                  <a:lnTo>
                    <a:pt x="145" y="375"/>
                  </a:lnTo>
                  <a:lnTo>
                    <a:pt x="147" y="375"/>
                  </a:lnTo>
                  <a:lnTo>
                    <a:pt x="145" y="375"/>
                  </a:lnTo>
                  <a:lnTo>
                    <a:pt x="145" y="374"/>
                  </a:lnTo>
                  <a:lnTo>
                    <a:pt x="145" y="372"/>
                  </a:lnTo>
                  <a:lnTo>
                    <a:pt x="145" y="371"/>
                  </a:lnTo>
                  <a:lnTo>
                    <a:pt x="147" y="369"/>
                  </a:lnTo>
                  <a:lnTo>
                    <a:pt x="147" y="367"/>
                  </a:lnTo>
                  <a:lnTo>
                    <a:pt x="147" y="369"/>
                  </a:lnTo>
                  <a:lnTo>
                    <a:pt x="147" y="367"/>
                  </a:lnTo>
                  <a:lnTo>
                    <a:pt x="148" y="366"/>
                  </a:lnTo>
                  <a:lnTo>
                    <a:pt x="147" y="366"/>
                  </a:lnTo>
                  <a:lnTo>
                    <a:pt x="147" y="367"/>
                  </a:lnTo>
                  <a:lnTo>
                    <a:pt x="147" y="369"/>
                  </a:lnTo>
                  <a:lnTo>
                    <a:pt x="145" y="369"/>
                  </a:lnTo>
                  <a:lnTo>
                    <a:pt x="145" y="367"/>
                  </a:lnTo>
                  <a:lnTo>
                    <a:pt x="144" y="367"/>
                  </a:lnTo>
                  <a:lnTo>
                    <a:pt x="142" y="367"/>
                  </a:lnTo>
                  <a:lnTo>
                    <a:pt x="137" y="369"/>
                  </a:lnTo>
                  <a:lnTo>
                    <a:pt x="139" y="369"/>
                  </a:lnTo>
                  <a:lnTo>
                    <a:pt x="139" y="367"/>
                  </a:lnTo>
                  <a:lnTo>
                    <a:pt x="140" y="367"/>
                  </a:lnTo>
                  <a:lnTo>
                    <a:pt x="142" y="367"/>
                  </a:lnTo>
                  <a:lnTo>
                    <a:pt x="142" y="366"/>
                  </a:lnTo>
                  <a:lnTo>
                    <a:pt x="142" y="364"/>
                  </a:lnTo>
                  <a:lnTo>
                    <a:pt x="144" y="364"/>
                  </a:lnTo>
                  <a:lnTo>
                    <a:pt x="142" y="364"/>
                  </a:lnTo>
                  <a:lnTo>
                    <a:pt x="142" y="366"/>
                  </a:lnTo>
                  <a:lnTo>
                    <a:pt x="142" y="367"/>
                  </a:lnTo>
                  <a:lnTo>
                    <a:pt x="140" y="366"/>
                  </a:lnTo>
                  <a:lnTo>
                    <a:pt x="139" y="366"/>
                  </a:lnTo>
                  <a:lnTo>
                    <a:pt x="139" y="367"/>
                  </a:lnTo>
                  <a:lnTo>
                    <a:pt x="137" y="369"/>
                  </a:lnTo>
                  <a:lnTo>
                    <a:pt x="137" y="371"/>
                  </a:lnTo>
                  <a:lnTo>
                    <a:pt x="137" y="372"/>
                  </a:lnTo>
                  <a:lnTo>
                    <a:pt x="135" y="372"/>
                  </a:lnTo>
                  <a:lnTo>
                    <a:pt x="134" y="372"/>
                  </a:lnTo>
                  <a:lnTo>
                    <a:pt x="134" y="374"/>
                  </a:lnTo>
                  <a:lnTo>
                    <a:pt x="132" y="374"/>
                  </a:lnTo>
                  <a:lnTo>
                    <a:pt x="130" y="375"/>
                  </a:lnTo>
                  <a:lnTo>
                    <a:pt x="130" y="377"/>
                  </a:lnTo>
                  <a:lnTo>
                    <a:pt x="130" y="379"/>
                  </a:lnTo>
                  <a:lnTo>
                    <a:pt x="129" y="380"/>
                  </a:lnTo>
                  <a:lnTo>
                    <a:pt x="127" y="380"/>
                  </a:lnTo>
                  <a:lnTo>
                    <a:pt x="127" y="382"/>
                  </a:lnTo>
                  <a:lnTo>
                    <a:pt x="126" y="380"/>
                  </a:lnTo>
                  <a:lnTo>
                    <a:pt x="124" y="380"/>
                  </a:lnTo>
                  <a:lnTo>
                    <a:pt x="124" y="379"/>
                  </a:lnTo>
                  <a:lnTo>
                    <a:pt x="124" y="377"/>
                  </a:lnTo>
                  <a:lnTo>
                    <a:pt x="122" y="377"/>
                  </a:lnTo>
                  <a:lnTo>
                    <a:pt x="122" y="375"/>
                  </a:lnTo>
                  <a:lnTo>
                    <a:pt x="121" y="375"/>
                  </a:lnTo>
                  <a:lnTo>
                    <a:pt x="122" y="374"/>
                  </a:lnTo>
                  <a:lnTo>
                    <a:pt x="121" y="374"/>
                  </a:lnTo>
                  <a:lnTo>
                    <a:pt x="119" y="374"/>
                  </a:lnTo>
                  <a:lnTo>
                    <a:pt x="119" y="372"/>
                  </a:lnTo>
                  <a:lnTo>
                    <a:pt x="117" y="372"/>
                  </a:lnTo>
                  <a:lnTo>
                    <a:pt x="117" y="371"/>
                  </a:lnTo>
                  <a:lnTo>
                    <a:pt x="116" y="372"/>
                  </a:lnTo>
                  <a:lnTo>
                    <a:pt x="116" y="371"/>
                  </a:lnTo>
                  <a:lnTo>
                    <a:pt x="116" y="372"/>
                  </a:lnTo>
                  <a:lnTo>
                    <a:pt x="114" y="371"/>
                  </a:lnTo>
                  <a:lnTo>
                    <a:pt x="113" y="371"/>
                  </a:lnTo>
                  <a:lnTo>
                    <a:pt x="111" y="371"/>
                  </a:lnTo>
                  <a:lnTo>
                    <a:pt x="111" y="369"/>
                  </a:lnTo>
                  <a:lnTo>
                    <a:pt x="111" y="371"/>
                  </a:lnTo>
                  <a:lnTo>
                    <a:pt x="111" y="372"/>
                  </a:lnTo>
                  <a:lnTo>
                    <a:pt x="109" y="372"/>
                  </a:lnTo>
                  <a:lnTo>
                    <a:pt x="109" y="374"/>
                  </a:lnTo>
                  <a:lnTo>
                    <a:pt x="109" y="375"/>
                  </a:lnTo>
                  <a:lnTo>
                    <a:pt x="108" y="375"/>
                  </a:lnTo>
                  <a:lnTo>
                    <a:pt x="106" y="375"/>
                  </a:lnTo>
                  <a:lnTo>
                    <a:pt x="106" y="377"/>
                  </a:lnTo>
                  <a:lnTo>
                    <a:pt x="106" y="375"/>
                  </a:lnTo>
                  <a:lnTo>
                    <a:pt x="104" y="375"/>
                  </a:lnTo>
                  <a:lnTo>
                    <a:pt x="103" y="375"/>
                  </a:lnTo>
                  <a:lnTo>
                    <a:pt x="101" y="375"/>
                  </a:lnTo>
                  <a:lnTo>
                    <a:pt x="101" y="374"/>
                  </a:lnTo>
                  <a:lnTo>
                    <a:pt x="100" y="374"/>
                  </a:lnTo>
                  <a:lnTo>
                    <a:pt x="98" y="374"/>
                  </a:lnTo>
                  <a:lnTo>
                    <a:pt x="96" y="372"/>
                  </a:lnTo>
                  <a:lnTo>
                    <a:pt x="95" y="371"/>
                  </a:lnTo>
                  <a:lnTo>
                    <a:pt x="93" y="371"/>
                  </a:lnTo>
                  <a:lnTo>
                    <a:pt x="91" y="372"/>
                  </a:lnTo>
                  <a:lnTo>
                    <a:pt x="91" y="371"/>
                  </a:lnTo>
                  <a:lnTo>
                    <a:pt x="93" y="371"/>
                  </a:lnTo>
                  <a:lnTo>
                    <a:pt x="91" y="371"/>
                  </a:lnTo>
                  <a:lnTo>
                    <a:pt x="90" y="372"/>
                  </a:lnTo>
                  <a:lnTo>
                    <a:pt x="88" y="372"/>
                  </a:lnTo>
                  <a:lnTo>
                    <a:pt x="88" y="371"/>
                  </a:lnTo>
                  <a:lnTo>
                    <a:pt x="88" y="372"/>
                  </a:lnTo>
                  <a:lnTo>
                    <a:pt x="88" y="371"/>
                  </a:lnTo>
                  <a:lnTo>
                    <a:pt x="87" y="371"/>
                  </a:lnTo>
                  <a:lnTo>
                    <a:pt x="87" y="372"/>
                  </a:lnTo>
                  <a:lnTo>
                    <a:pt x="87" y="374"/>
                  </a:lnTo>
                  <a:lnTo>
                    <a:pt x="87" y="375"/>
                  </a:lnTo>
                  <a:lnTo>
                    <a:pt x="88" y="375"/>
                  </a:lnTo>
                  <a:lnTo>
                    <a:pt x="88" y="377"/>
                  </a:lnTo>
                  <a:lnTo>
                    <a:pt x="90" y="379"/>
                  </a:lnTo>
                  <a:lnTo>
                    <a:pt x="88" y="377"/>
                  </a:lnTo>
                  <a:lnTo>
                    <a:pt x="87" y="375"/>
                  </a:lnTo>
                  <a:lnTo>
                    <a:pt x="85" y="375"/>
                  </a:lnTo>
                  <a:lnTo>
                    <a:pt x="83" y="375"/>
                  </a:lnTo>
                  <a:lnTo>
                    <a:pt x="82" y="375"/>
                  </a:lnTo>
                  <a:lnTo>
                    <a:pt x="80" y="375"/>
                  </a:lnTo>
                  <a:lnTo>
                    <a:pt x="80" y="377"/>
                  </a:lnTo>
                  <a:lnTo>
                    <a:pt x="80" y="379"/>
                  </a:lnTo>
                  <a:lnTo>
                    <a:pt x="78" y="379"/>
                  </a:lnTo>
                  <a:lnTo>
                    <a:pt x="77" y="379"/>
                  </a:lnTo>
                  <a:lnTo>
                    <a:pt x="77" y="377"/>
                  </a:lnTo>
                  <a:lnTo>
                    <a:pt x="74" y="375"/>
                  </a:lnTo>
                  <a:lnTo>
                    <a:pt x="72" y="375"/>
                  </a:lnTo>
                  <a:lnTo>
                    <a:pt x="67" y="375"/>
                  </a:lnTo>
                  <a:lnTo>
                    <a:pt x="65" y="374"/>
                  </a:lnTo>
                  <a:lnTo>
                    <a:pt x="64" y="374"/>
                  </a:lnTo>
                  <a:lnTo>
                    <a:pt x="62" y="374"/>
                  </a:lnTo>
                  <a:lnTo>
                    <a:pt x="61" y="372"/>
                  </a:lnTo>
                  <a:lnTo>
                    <a:pt x="59" y="371"/>
                  </a:lnTo>
                  <a:lnTo>
                    <a:pt x="59" y="369"/>
                  </a:lnTo>
                  <a:lnTo>
                    <a:pt x="61" y="369"/>
                  </a:lnTo>
                  <a:lnTo>
                    <a:pt x="61" y="367"/>
                  </a:lnTo>
                  <a:lnTo>
                    <a:pt x="62" y="367"/>
                  </a:lnTo>
                  <a:lnTo>
                    <a:pt x="62" y="366"/>
                  </a:lnTo>
                  <a:lnTo>
                    <a:pt x="62" y="364"/>
                  </a:lnTo>
                  <a:lnTo>
                    <a:pt x="61" y="366"/>
                  </a:lnTo>
                  <a:lnTo>
                    <a:pt x="61" y="364"/>
                  </a:lnTo>
                  <a:lnTo>
                    <a:pt x="61" y="366"/>
                  </a:lnTo>
                  <a:lnTo>
                    <a:pt x="59" y="364"/>
                  </a:lnTo>
                  <a:lnTo>
                    <a:pt x="59" y="366"/>
                  </a:lnTo>
                  <a:lnTo>
                    <a:pt x="61" y="366"/>
                  </a:lnTo>
                  <a:lnTo>
                    <a:pt x="61" y="367"/>
                  </a:lnTo>
                  <a:lnTo>
                    <a:pt x="61" y="369"/>
                  </a:lnTo>
                  <a:lnTo>
                    <a:pt x="59" y="369"/>
                  </a:lnTo>
                  <a:lnTo>
                    <a:pt x="59" y="367"/>
                  </a:lnTo>
                  <a:lnTo>
                    <a:pt x="59" y="366"/>
                  </a:lnTo>
                  <a:lnTo>
                    <a:pt x="57" y="364"/>
                  </a:lnTo>
                  <a:lnTo>
                    <a:pt x="56" y="364"/>
                  </a:lnTo>
                  <a:lnTo>
                    <a:pt x="54" y="364"/>
                  </a:lnTo>
                  <a:lnTo>
                    <a:pt x="54" y="366"/>
                  </a:lnTo>
                  <a:lnTo>
                    <a:pt x="52" y="364"/>
                  </a:lnTo>
                  <a:lnTo>
                    <a:pt x="51" y="364"/>
                  </a:lnTo>
                  <a:lnTo>
                    <a:pt x="49" y="364"/>
                  </a:lnTo>
                  <a:lnTo>
                    <a:pt x="48" y="364"/>
                  </a:lnTo>
                  <a:lnTo>
                    <a:pt x="46" y="364"/>
                  </a:lnTo>
                  <a:lnTo>
                    <a:pt x="46" y="362"/>
                  </a:lnTo>
                  <a:lnTo>
                    <a:pt x="44" y="362"/>
                  </a:lnTo>
                  <a:lnTo>
                    <a:pt x="43" y="362"/>
                  </a:lnTo>
                  <a:lnTo>
                    <a:pt x="41" y="362"/>
                  </a:lnTo>
                  <a:lnTo>
                    <a:pt x="41" y="361"/>
                  </a:lnTo>
                  <a:lnTo>
                    <a:pt x="39" y="361"/>
                  </a:lnTo>
                  <a:lnTo>
                    <a:pt x="38" y="361"/>
                  </a:lnTo>
                  <a:lnTo>
                    <a:pt x="38" y="359"/>
                  </a:lnTo>
                  <a:lnTo>
                    <a:pt x="36" y="359"/>
                  </a:lnTo>
                  <a:lnTo>
                    <a:pt x="35" y="358"/>
                  </a:lnTo>
                  <a:lnTo>
                    <a:pt x="33" y="358"/>
                  </a:lnTo>
                  <a:lnTo>
                    <a:pt x="31" y="356"/>
                  </a:lnTo>
                  <a:lnTo>
                    <a:pt x="30" y="356"/>
                  </a:lnTo>
                  <a:lnTo>
                    <a:pt x="30" y="354"/>
                  </a:lnTo>
                  <a:lnTo>
                    <a:pt x="28" y="353"/>
                  </a:lnTo>
                  <a:lnTo>
                    <a:pt x="26" y="353"/>
                  </a:lnTo>
                  <a:lnTo>
                    <a:pt x="26" y="351"/>
                  </a:lnTo>
                  <a:lnTo>
                    <a:pt x="25" y="349"/>
                  </a:lnTo>
                  <a:lnTo>
                    <a:pt x="25" y="351"/>
                  </a:lnTo>
                  <a:lnTo>
                    <a:pt x="23" y="351"/>
                  </a:lnTo>
                  <a:lnTo>
                    <a:pt x="23" y="349"/>
                  </a:lnTo>
                  <a:lnTo>
                    <a:pt x="23" y="351"/>
                  </a:lnTo>
                  <a:lnTo>
                    <a:pt x="22" y="351"/>
                  </a:lnTo>
                  <a:lnTo>
                    <a:pt x="20" y="351"/>
                  </a:lnTo>
                  <a:lnTo>
                    <a:pt x="20" y="353"/>
                  </a:lnTo>
                  <a:lnTo>
                    <a:pt x="20" y="351"/>
                  </a:lnTo>
                  <a:lnTo>
                    <a:pt x="20" y="349"/>
                  </a:lnTo>
                  <a:lnTo>
                    <a:pt x="18" y="349"/>
                  </a:lnTo>
                  <a:lnTo>
                    <a:pt x="17" y="349"/>
                  </a:lnTo>
                  <a:lnTo>
                    <a:pt x="17" y="351"/>
                  </a:lnTo>
                  <a:lnTo>
                    <a:pt x="17" y="349"/>
                  </a:lnTo>
                  <a:lnTo>
                    <a:pt x="15" y="349"/>
                  </a:lnTo>
                  <a:lnTo>
                    <a:pt x="13" y="349"/>
                  </a:lnTo>
                  <a:lnTo>
                    <a:pt x="12" y="349"/>
                  </a:lnTo>
                  <a:lnTo>
                    <a:pt x="12" y="351"/>
                  </a:lnTo>
                  <a:lnTo>
                    <a:pt x="12" y="349"/>
                  </a:lnTo>
                  <a:lnTo>
                    <a:pt x="10" y="349"/>
                  </a:lnTo>
                  <a:lnTo>
                    <a:pt x="9" y="348"/>
                  </a:lnTo>
                  <a:lnTo>
                    <a:pt x="7" y="346"/>
                  </a:lnTo>
                  <a:lnTo>
                    <a:pt x="5" y="346"/>
                  </a:lnTo>
                  <a:lnTo>
                    <a:pt x="4" y="346"/>
                  </a:lnTo>
                  <a:lnTo>
                    <a:pt x="2" y="346"/>
                  </a:lnTo>
                  <a:lnTo>
                    <a:pt x="2" y="348"/>
                  </a:lnTo>
                  <a:lnTo>
                    <a:pt x="2" y="346"/>
                  </a:lnTo>
                  <a:lnTo>
                    <a:pt x="0" y="346"/>
                  </a:lnTo>
                  <a:lnTo>
                    <a:pt x="2" y="346"/>
                  </a:lnTo>
                  <a:lnTo>
                    <a:pt x="2" y="345"/>
                  </a:lnTo>
                  <a:lnTo>
                    <a:pt x="0" y="345"/>
                  </a:lnTo>
                  <a:lnTo>
                    <a:pt x="0" y="343"/>
                  </a:lnTo>
                  <a:lnTo>
                    <a:pt x="2" y="343"/>
                  </a:lnTo>
                  <a:lnTo>
                    <a:pt x="4" y="341"/>
                  </a:lnTo>
                  <a:lnTo>
                    <a:pt x="5" y="340"/>
                  </a:lnTo>
                  <a:lnTo>
                    <a:pt x="5" y="338"/>
                  </a:lnTo>
                  <a:lnTo>
                    <a:pt x="5" y="336"/>
                  </a:lnTo>
                  <a:lnTo>
                    <a:pt x="4" y="336"/>
                  </a:lnTo>
                  <a:lnTo>
                    <a:pt x="5" y="335"/>
                  </a:lnTo>
                  <a:lnTo>
                    <a:pt x="5" y="333"/>
                  </a:lnTo>
                  <a:lnTo>
                    <a:pt x="7" y="333"/>
                  </a:lnTo>
                  <a:lnTo>
                    <a:pt x="7" y="335"/>
                  </a:lnTo>
                  <a:lnTo>
                    <a:pt x="9" y="333"/>
                  </a:lnTo>
                  <a:lnTo>
                    <a:pt x="9" y="331"/>
                  </a:lnTo>
                  <a:lnTo>
                    <a:pt x="10" y="331"/>
                  </a:lnTo>
                  <a:lnTo>
                    <a:pt x="10" y="330"/>
                  </a:lnTo>
                  <a:lnTo>
                    <a:pt x="12" y="330"/>
                  </a:lnTo>
                  <a:lnTo>
                    <a:pt x="13" y="330"/>
                  </a:lnTo>
                  <a:lnTo>
                    <a:pt x="12" y="330"/>
                  </a:lnTo>
                  <a:lnTo>
                    <a:pt x="13" y="330"/>
                  </a:lnTo>
                  <a:lnTo>
                    <a:pt x="13" y="331"/>
                  </a:lnTo>
                  <a:lnTo>
                    <a:pt x="15" y="330"/>
                  </a:lnTo>
                  <a:lnTo>
                    <a:pt x="15" y="331"/>
                  </a:lnTo>
                  <a:lnTo>
                    <a:pt x="15" y="330"/>
                  </a:lnTo>
                  <a:lnTo>
                    <a:pt x="13" y="330"/>
                  </a:lnTo>
                  <a:lnTo>
                    <a:pt x="13" y="328"/>
                  </a:lnTo>
                  <a:lnTo>
                    <a:pt x="13" y="330"/>
                  </a:lnTo>
                  <a:lnTo>
                    <a:pt x="13" y="328"/>
                  </a:lnTo>
                  <a:lnTo>
                    <a:pt x="12" y="328"/>
                  </a:lnTo>
                  <a:lnTo>
                    <a:pt x="12" y="330"/>
                  </a:lnTo>
                  <a:lnTo>
                    <a:pt x="12" y="328"/>
                  </a:lnTo>
                  <a:lnTo>
                    <a:pt x="12" y="327"/>
                  </a:lnTo>
                  <a:lnTo>
                    <a:pt x="10" y="327"/>
                  </a:lnTo>
                  <a:lnTo>
                    <a:pt x="12" y="327"/>
                  </a:lnTo>
                  <a:lnTo>
                    <a:pt x="10" y="327"/>
                  </a:lnTo>
                  <a:lnTo>
                    <a:pt x="12" y="325"/>
                  </a:lnTo>
                  <a:lnTo>
                    <a:pt x="10" y="325"/>
                  </a:lnTo>
                  <a:lnTo>
                    <a:pt x="10" y="323"/>
                  </a:lnTo>
                  <a:lnTo>
                    <a:pt x="12" y="322"/>
                  </a:lnTo>
                  <a:lnTo>
                    <a:pt x="12" y="320"/>
                  </a:lnTo>
                  <a:lnTo>
                    <a:pt x="13" y="320"/>
                  </a:lnTo>
                  <a:lnTo>
                    <a:pt x="15" y="320"/>
                  </a:lnTo>
                  <a:lnTo>
                    <a:pt x="15" y="318"/>
                  </a:lnTo>
                  <a:lnTo>
                    <a:pt x="17" y="318"/>
                  </a:lnTo>
                  <a:lnTo>
                    <a:pt x="17" y="317"/>
                  </a:lnTo>
                  <a:lnTo>
                    <a:pt x="18" y="317"/>
                  </a:lnTo>
                  <a:lnTo>
                    <a:pt x="18" y="315"/>
                  </a:lnTo>
                  <a:lnTo>
                    <a:pt x="18" y="314"/>
                  </a:lnTo>
                  <a:lnTo>
                    <a:pt x="20" y="312"/>
                  </a:lnTo>
                  <a:lnTo>
                    <a:pt x="22" y="312"/>
                  </a:lnTo>
                  <a:lnTo>
                    <a:pt x="22" y="310"/>
                  </a:lnTo>
                  <a:lnTo>
                    <a:pt x="23" y="312"/>
                  </a:lnTo>
                  <a:lnTo>
                    <a:pt x="23" y="314"/>
                  </a:lnTo>
                  <a:lnTo>
                    <a:pt x="25" y="317"/>
                  </a:lnTo>
                  <a:lnTo>
                    <a:pt x="25" y="318"/>
                  </a:lnTo>
                  <a:lnTo>
                    <a:pt x="25" y="320"/>
                  </a:lnTo>
                  <a:lnTo>
                    <a:pt x="25" y="322"/>
                  </a:lnTo>
                  <a:lnTo>
                    <a:pt x="25" y="323"/>
                  </a:lnTo>
                  <a:lnTo>
                    <a:pt x="23" y="325"/>
                  </a:lnTo>
                  <a:lnTo>
                    <a:pt x="25" y="325"/>
                  </a:lnTo>
                  <a:lnTo>
                    <a:pt x="25" y="327"/>
                  </a:lnTo>
                  <a:lnTo>
                    <a:pt x="23" y="327"/>
                  </a:lnTo>
                  <a:lnTo>
                    <a:pt x="23" y="328"/>
                  </a:lnTo>
                  <a:lnTo>
                    <a:pt x="23" y="330"/>
                  </a:lnTo>
                  <a:lnTo>
                    <a:pt x="25" y="330"/>
                  </a:lnTo>
                  <a:lnTo>
                    <a:pt x="25" y="328"/>
                  </a:lnTo>
                  <a:lnTo>
                    <a:pt x="25" y="330"/>
                  </a:lnTo>
                  <a:lnTo>
                    <a:pt x="26" y="331"/>
                  </a:lnTo>
                  <a:lnTo>
                    <a:pt x="30" y="333"/>
                  </a:lnTo>
                  <a:lnTo>
                    <a:pt x="31" y="333"/>
                  </a:lnTo>
                  <a:lnTo>
                    <a:pt x="31" y="331"/>
                  </a:lnTo>
                  <a:lnTo>
                    <a:pt x="33" y="331"/>
                  </a:lnTo>
                  <a:lnTo>
                    <a:pt x="33" y="330"/>
                  </a:lnTo>
                  <a:lnTo>
                    <a:pt x="35" y="330"/>
                  </a:lnTo>
                  <a:lnTo>
                    <a:pt x="36" y="330"/>
                  </a:lnTo>
                  <a:lnTo>
                    <a:pt x="36" y="331"/>
                  </a:lnTo>
                  <a:lnTo>
                    <a:pt x="38" y="331"/>
                  </a:lnTo>
                  <a:lnTo>
                    <a:pt x="38" y="330"/>
                  </a:lnTo>
                  <a:lnTo>
                    <a:pt x="39" y="330"/>
                  </a:lnTo>
                  <a:lnTo>
                    <a:pt x="41" y="330"/>
                  </a:lnTo>
                  <a:lnTo>
                    <a:pt x="43" y="330"/>
                  </a:lnTo>
                  <a:lnTo>
                    <a:pt x="43" y="331"/>
                  </a:lnTo>
                  <a:lnTo>
                    <a:pt x="44" y="331"/>
                  </a:lnTo>
                  <a:lnTo>
                    <a:pt x="44" y="333"/>
                  </a:lnTo>
                  <a:lnTo>
                    <a:pt x="44" y="335"/>
                  </a:lnTo>
                  <a:lnTo>
                    <a:pt x="46" y="335"/>
                  </a:lnTo>
                  <a:lnTo>
                    <a:pt x="46" y="333"/>
                  </a:lnTo>
                  <a:lnTo>
                    <a:pt x="46" y="335"/>
                  </a:lnTo>
                  <a:lnTo>
                    <a:pt x="46" y="333"/>
                  </a:lnTo>
                  <a:lnTo>
                    <a:pt x="48" y="333"/>
                  </a:lnTo>
                  <a:lnTo>
                    <a:pt x="49" y="333"/>
                  </a:lnTo>
                  <a:lnTo>
                    <a:pt x="51" y="333"/>
                  </a:lnTo>
                  <a:lnTo>
                    <a:pt x="52" y="333"/>
                  </a:lnTo>
                  <a:lnTo>
                    <a:pt x="54" y="333"/>
                  </a:lnTo>
                  <a:lnTo>
                    <a:pt x="54" y="335"/>
                  </a:lnTo>
                  <a:lnTo>
                    <a:pt x="56" y="335"/>
                  </a:lnTo>
                  <a:lnTo>
                    <a:pt x="56" y="333"/>
                  </a:lnTo>
                  <a:lnTo>
                    <a:pt x="56" y="335"/>
                  </a:lnTo>
                  <a:lnTo>
                    <a:pt x="56" y="333"/>
                  </a:lnTo>
                  <a:lnTo>
                    <a:pt x="57" y="335"/>
                  </a:lnTo>
                  <a:lnTo>
                    <a:pt x="59" y="333"/>
                  </a:lnTo>
                  <a:lnTo>
                    <a:pt x="61" y="333"/>
                  </a:lnTo>
                  <a:lnTo>
                    <a:pt x="59" y="333"/>
                  </a:lnTo>
                  <a:lnTo>
                    <a:pt x="61" y="333"/>
                  </a:lnTo>
                  <a:lnTo>
                    <a:pt x="59" y="333"/>
                  </a:lnTo>
                  <a:lnTo>
                    <a:pt x="61" y="333"/>
                  </a:lnTo>
                  <a:lnTo>
                    <a:pt x="61" y="335"/>
                  </a:lnTo>
                  <a:lnTo>
                    <a:pt x="61" y="333"/>
                  </a:lnTo>
                  <a:lnTo>
                    <a:pt x="61" y="331"/>
                  </a:lnTo>
                  <a:lnTo>
                    <a:pt x="61" y="330"/>
                  </a:lnTo>
                  <a:lnTo>
                    <a:pt x="59" y="330"/>
                  </a:lnTo>
                  <a:lnTo>
                    <a:pt x="59" y="328"/>
                  </a:lnTo>
                  <a:lnTo>
                    <a:pt x="61" y="330"/>
                  </a:lnTo>
                  <a:lnTo>
                    <a:pt x="61" y="328"/>
                  </a:lnTo>
                  <a:lnTo>
                    <a:pt x="59" y="328"/>
                  </a:lnTo>
                  <a:lnTo>
                    <a:pt x="57" y="328"/>
                  </a:lnTo>
                  <a:lnTo>
                    <a:pt x="59" y="328"/>
                  </a:lnTo>
                  <a:lnTo>
                    <a:pt x="59" y="327"/>
                  </a:lnTo>
                  <a:lnTo>
                    <a:pt x="61" y="327"/>
                  </a:lnTo>
                  <a:lnTo>
                    <a:pt x="62" y="327"/>
                  </a:lnTo>
                  <a:lnTo>
                    <a:pt x="62" y="328"/>
                  </a:lnTo>
                  <a:lnTo>
                    <a:pt x="62" y="327"/>
                  </a:lnTo>
                  <a:lnTo>
                    <a:pt x="62" y="328"/>
                  </a:lnTo>
                  <a:lnTo>
                    <a:pt x="62" y="327"/>
                  </a:lnTo>
                  <a:lnTo>
                    <a:pt x="64" y="327"/>
                  </a:lnTo>
                  <a:lnTo>
                    <a:pt x="64" y="328"/>
                  </a:lnTo>
                  <a:lnTo>
                    <a:pt x="64" y="330"/>
                  </a:lnTo>
                  <a:lnTo>
                    <a:pt x="64" y="328"/>
                  </a:lnTo>
                  <a:lnTo>
                    <a:pt x="62" y="328"/>
                  </a:lnTo>
                  <a:lnTo>
                    <a:pt x="61" y="328"/>
                  </a:lnTo>
                  <a:lnTo>
                    <a:pt x="61" y="330"/>
                  </a:lnTo>
                  <a:lnTo>
                    <a:pt x="62" y="330"/>
                  </a:lnTo>
                  <a:lnTo>
                    <a:pt x="64" y="330"/>
                  </a:lnTo>
                  <a:lnTo>
                    <a:pt x="64" y="331"/>
                  </a:lnTo>
                  <a:lnTo>
                    <a:pt x="65" y="331"/>
                  </a:lnTo>
                  <a:lnTo>
                    <a:pt x="65" y="330"/>
                  </a:lnTo>
                  <a:lnTo>
                    <a:pt x="67" y="330"/>
                  </a:lnTo>
                  <a:lnTo>
                    <a:pt x="65" y="330"/>
                  </a:lnTo>
                  <a:lnTo>
                    <a:pt x="65" y="328"/>
                  </a:lnTo>
                  <a:lnTo>
                    <a:pt x="67" y="328"/>
                  </a:lnTo>
                  <a:lnTo>
                    <a:pt x="65" y="328"/>
                  </a:lnTo>
                  <a:lnTo>
                    <a:pt x="65" y="327"/>
                  </a:lnTo>
                  <a:lnTo>
                    <a:pt x="65" y="325"/>
                  </a:lnTo>
                  <a:lnTo>
                    <a:pt x="65" y="323"/>
                  </a:lnTo>
                  <a:lnTo>
                    <a:pt x="65" y="322"/>
                  </a:lnTo>
                  <a:lnTo>
                    <a:pt x="64" y="322"/>
                  </a:lnTo>
                  <a:lnTo>
                    <a:pt x="64" y="320"/>
                  </a:lnTo>
                  <a:lnTo>
                    <a:pt x="62" y="322"/>
                  </a:lnTo>
                  <a:lnTo>
                    <a:pt x="62" y="320"/>
                  </a:lnTo>
                  <a:lnTo>
                    <a:pt x="64" y="320"/>
                  </a:lnTo>
                  <a:lnTo>
                    <a:pt x="65" y="320"/>
                  </a:lnTo>
                  <a:lnTo>
                    <a:pt x="65" y="322"/>
                  </a:lnTo>
                  <a:lnTo>
                    <a:pt x="65" y="323"/>
                  </a:lnTo>
                  <a:lnTo>
                    <a:pt x="67" y="323"/>
                  </a:lnTo>
                  <a:lnTo>
                    <a:pt x="67" y="322"/>
                  </a:lnTo>
                  <a:lnTo>
                    <a:pt x="67" y="323"/>
                  </a:lnTo>
                  <a:lnTo>
                    <a:pt x="69" y="322"/>
                  </a:lnTo>
                  <a:lnTo>
                    <a:pt x="69" y="323"/>
                  </a:lnTo>
                  <a:lnTo>
                    <a:pt x="67" y="323"/>
                  </a:lnTo>
                  <a:lnTo>
                    <a:pt x="69" y="323"/>
                  </a:lnTo>
                  <a:lnTo>
                    <a:pt x="69" y="325"/>
                  </a:lnTo>
                  <a:lnTo>
                    <a:pt x="70" y="325"/>
                  </a:lnTo>
                  <a:lnTo>
                    <a:pt x="72" y="325"/>
                  </a:lnTo>
                  <a:lnTo>
                    <a:pt x="72" y="327"/>
                  </a:lnTo>
                  <a:lnTo>
                    <a:pt x="74" y="327"/>
                  </a:lnTo>
                  <a:lnTo>
                    <a:pt x="72" y="327"/>
                  </a:lnTo>
                  <a:lnTo>
                    <a:pt x="74" y="328"/>
                  </a:lnTo>
                  <a:lnTo>
                    <a:pt x="72" y="328"/>
                  </a:lnTo>
                  <a:lnTo>
                    <a:pt x="74" y="328"/>
                  </a:lnTo>
                  <a:lnTo>
                    <a:pt x="74" y="330"/>
                  </a:lnTo>
                  <a:lnTo>
                    <a:pt x="75" y="330"/>
                  </a:lnTo>
                  <a:lnTo>
                    <a:pt x="74" y="330"/>
                  </a:lnTo>
                  <a:lnTo>
                    <a:pt x="74" y="328"/>
                  </a:lnTo>
                  <a:lnTo>
                    <a:pt x="75" y="327"/>
                  </a:lnTo>
                  <a:lnTo>
                    <a:pt x="77" y="327"/>
                  </a:lnTo>
                  <a:lnTo>
                    <a:pt x="78" y="327"/>
                  </a:lnTo>
                  <a:lnTo>
                    <a:pt x="78" y="328"/>
                  </a:lnTo>
                  <a:lnTo>
                    <a:pt x="80" y="327"/>
                  </a:lnTo>
                  <a:lnTo>
                    <a:pt x="82" y="327"/>
                  </a:lnTo>
                  <a:lnTo>
                    <a:pt x="83" y="327"/>
                  </a:lnTo>
                  <a:lnTo>
                    <a:pt x="82" y="325"/>
                  </a:lnTo>
                  <a:lnTo>
                    <a:pt x="83" y="325"/>
                  </a:lnTo>
                  <a:lnTo>
                    <a:pt x="82" y="325"/>
                  </a:lnTo>
                  <a:lnTo>
                    <a:pt x="80" y="325"/>
                  </a:lnTo>
                  <a:lnTo>
                    <a:pt x="78" y="325"/>
                  </a:lnTo>
                  <a:lnTo>
                    <a:pt x="80" y="323"/>
                  </a:lnTo>
                  <a:lnTo>
                    <a:pt x="80" y="322"/>
                  </a:lnTo>
                  <a:lnTo>
                    <a:pt x="82" y="323"/>
                  </a:lnTo>
                  <a:lnTo>
                    <a:pt x="83" y="323"/>
                  </a:lnTo>
                  <a:lnTo>
                    <a:pt x="85" y="323"/>
                  </a:lnTo>
                  <a:lnTo>
                    <a:pt x="83" y="322"/>
                  </a:lnTo>
                  <a:lnTo>
                    <a:pt x="82" y="322"/>
                  </a:lnTo>
                  <a:lnTo>
                    <a:pt x="80" y="322"/>
                  </a:lnTo>
                  <a:lnTo>
                    <a:pt x="80" y="320"/>
                  </a:lnTo>
                  <a:lnTo>
                    <a:pt x="78" y="320"/>
                  </a:lnTo>
                  <a:lnTo>
                    <a:pt x="78" y="318"/>
                  </a:lnTo>
                  <a:lnTo>
                    <a:pt x="80" y="317"/>
                  </a:lnTo>
                  <a:lnTo>
                    <a:pt x="80" y="315"/>
                  </a:lnTo>
                  <a:lnTo>
                    <a:pt x="78" y="315"/>
                  </a:lnTo>
                  <a:lnTo>
                    <a:pt x="77" y="315"/>
                  </a:lnTo>
                  <a:lnTo>
                    <a:pt x="75" y="315"/>
                  </a:lnTo>
                  <a:lnTo>
                    <a:pt x="75" y="314"/>
                  </a:lnTo>
                  <a:lnTo>
                    <a:pt x="77" y="314"/>
                  </a:lnTo>
                  <a:lnTo>
                    <a:pt x="75" y="312"/>
                  </a:lnTo>
                  <a:lnTo>
                    <a:pt x="77" y="312"/>
                  </a:lnTo>
                  <a:lnTo>
                    <a:pt x="77" y="314"/>
                  </a:lnTo>
                  <a:lnTo>
                    <a:pt x="78" y="312"/>
                  </a:lnTo>
                  <a:lnTo>
                    <a:pt x="80" y="310"/>
                  </a:lnTo>
                  <a:lnTo>
                    <a:pt x="82" y="310"/>
                  </a:lnTo>
                  <a:lnTo>
                    <a:pt x="82" y="309"/>
                  </a:lnTo>
                  <a:lnTo>
                    <a:pt x="83" y="309"/>
                  </a:lnTo>
                  <a:lnTo>
                    <a:pt x="85" y="309"/>
                  </a:lnTo>
                  <a:lnTo>
                    <a:pt x="87" y="309"/>
                  </a:lnTo>
                  <a:lnTo>
                    <a:pt x="88" y="307"/>
                  </a:lnTo>
                  <a:lnTo>
                    <a:pt x="90" y="305"/>
                  </a:lnTo>
                  <a:lnTo>
                    <a:pt x="91" y="305"/>
                  </a:lnTo>
                  <a:lnTo>
                    <a:pt x="93" y="305"/>
                  </a:lnTo>
                  <a:lnTo>
                    <a:pt x="91" y="305"/>
                  </a:lnTo>
                  <a:lnTo>
                    <a:pt x="93" y="304"/>
                  </a:lnTo>
                  <a:lnTo>
                    <a:pt x="93" y="305"/>
                  </a:lnTo>
                  <a:lnTo>
                    <a:pt x="95" y="305"/>
                  </a:lnTo>
                  <a:lnTo>
                    <a:pt x="95" y="307"/>
                  </a:lnTo>
                  <a:lnTo>
                    <a:pt x="96" y="307"/>
                  </a:lnTo>
                  <a:lnTo>
                    <a:pt x="96" y="309"/>
                  </a:lnTo>
                  <a:lnTo>
                    <a:pt x="98" y="309"/>
                  </a:lnTo>
                  <a:lnTo>
                    <a:pt x="98" y="307"/>
                  </a:lnTo>
                  <a:lnTo>
                    <a:pt x="98" y="309"/>
                  </a:lnTo>
                  <a:lnTo>
                    <a:pt x="100" y="307"/>
                  </a:lnTo>
                  <a:lnTo>
                    <a:pt x="100" y="309"/>
                  </a:lnTo>
                  <a:lnTo>
                    <a:pt x="100" y="307"/>
                  </a:lnTo>
                  <a:lnTo>
                    <a:pt x="98" y="307"/>
                  </a:lnTo>
                  <a:lnTo>
                    <a:pt x="96" y="307"/>
                  </a:lnTo>
                  <a:lnTo>
                    <a:pt x="96" y="305"/>
                  </a:lnTo>
                  <a:lnTo>
                    <a:pt x="96" y="304"/>
                  </a:lnTo>
                  <a:lnTo>
                    <a:pt x="96" y="305"/>
                  </a:lnTo>
                  <a:lnTo>
                    <a:pt x="98" y="304"/>
                  </a:lnTo>
                  <a:lnTo>
                    <a:pt x="100" y="305"/>
                  </a:lnTo>
                  <a:lnTo>
                    <a:pt x="100" y="304"/>
                  </a:lnTo>
                  <a:lnTo>
                    <a:pt x="100" y="305"/>
                  </a:lnTo>
                  <a:lnTo>
                    <a:pt x="101" y="304"/>
                  </a:lnTo>
                  <a:lnTo>
                    <a:pt x="101" y="305"/>
                  </a:lnTo>
                  <a:lnTo>
                    <a:pt x="103" y="304"/>
                  </a:lnTo>
                  <a:lnTo>
                    <a:pt x="103" y="305"/>
                  </a:lnTo>
                  <a:lnTo>
                    <a:pt x="103" y="304"/>
                  </a:lnTo>
                  <a:lnTo>
                    <a:pt x="103" y="305"/>
                  </a:lnTo>
                  <a:lnTo>
                    <a:pt x="103" y="304"/>
                  </a:lnTo>
                  <a:lnTo>
                    <a:pt x="104" y="305"/>
                  </a:lnTo>
                  <a:lnTo>
                    <a:pt x="103" y="305"/>
                  </a:lnTo>
                  <a:lnTo>
                    <a:pt x="103" y="307"/>
                  </a:lnTo>
                  <a:lnTo>
                    <a:pt x="104" y="307"/>
                  </a:lnTo>
                  <a:lnTo>
                    <a:pt x="106" y="307"/>
                  </a:lnTo>
                  <a:lnTo>
                    <a:pt x="106" y="309"/>
                  </a:lnTo>
                  <a:lnTo>
                    <a:pt x="108" y="309"/>
                  </a:lnTo>
                  <a:lnTo>
                    <a:pt x="108" y="310"/>
                  </a:lnTo>
                  <a:lnTo>
                    <a:pt x="109" y="310"/>
                  </a:lnTo>
                  <a:lnTo>
                    <a:pt x="109" y="312"/>
                  </a:lnTo>
                  <a:lnTo>
                    <a:pt x="111" y="312"/>
                  </a:lnTo>
                  <a:lnTo>
                    <a:pt x="111" y="310"/>
                  </a:lnTo>
                  <a:lnTo>
                    <a:pt x="113" y="310"/>
                  </a:lnTo>
                  <a:lnTo>
                    <a:pt x="114" y="310"/>
                  </a:lnTo>
                  <a:lnTo>
                    <a:pt x="116" y="310"/>
                  </a:lnTo>
                  <a:lnTo>
                    <a:pt x="116" y="309"/>
                  </a:lnTo>
                  <a:lnTo>
                    <a:pt x="114" y="309"/>
                  </a:lnTo>
                  <a:lnTo>
                    <a:pt x="114" y="307"/>
                  </a:lnTo>
                  <a:lnTo>
                    <a:pt x="113" y="309"/>
                  </a:lnTo>
                  <a:lnTo>
                    <a:pt x="113" y="307"/>
                  </a:lnTo>
                  <a:lnTo>
                    <a:pt x="113" y="309"/>
                  </a:lnTo>
                  <a:lnTo>
                    <a:pt x="111" y="309"/>
                  </a:lnTo>
                  <a:lnTo>
                    <a:pt x="109" y="309"/>
                  </a:lnTo>
                  <a:lnTo>
                    <a:pt x="109" y="307"/>
                  </a:lnTo>
                  <a:lnTo>
                    <a:pt x="111" y="309"/>
                  </a:lnTo>
                  <a:lnTo>
                    <a:pt x="113" y="307"/>
                  </a:lnTo>
                  <a:lnTo>
                    <a:pt x="113" y="305"/>
                  </a:lnTo>
                  <a:lnTo>
                    <a:pt x="111" y="305"/>
                  </a:lnTo>
                  <a:lnTo>
                    <a:pt x="109" y="304"/>
                  </a:lnTo>
                  <a:lnTo>
                    <a:pt x="108" y="304"/>
                  </a:lnTo>
                  <a:lnTo>
                    <a:pt x="106" y="304"/>
                  </a:lnTo>
                  <a:lnTo>
                    <a:pt x="106" y="302"/>
                  </a:lnTo>
                  <a:lnTo>
                    <a:pt x="104" y="302"/>
                  </a:lnTo>
                  <a:lnTo>
                    <a:pt x="104" y="301"/>
                  </a:lnTo>
                  <a:lnTo>
                    <a:pt x="103" y="301"/>
                  </a:lnTo>
                  <a:lnTo>
                    <a:pt x="101" y="299"/>
                  </a:lnTo>
                  <a:lnTo>
                    <a:pt x="100" y="299"/>
                  </a:lnTo>
                  <a:lnTo>
                    <a:pt x="98" y="301"/>
                  </a:lnTo>
                  <a:lnTo>
                    <a:pt x="98" y="299"/>
                  </a:lnTo>
                  <a:lnTo>
                    <a:pt x="96" y="299"/>
                  </a:lnTo>
                  <a:lnTo>
                    <a:pt x="96" y="301"/>
                  </a:lnTo>
                  <a:lnTo>
                    <a:pt x="96" y="299"/>
                  </a:lnTo>
                  <a:lnTo>
                    <a:pt x="95" y="301"/>
                  </a:lnTo>
                  <a:lnTo>
                    <a:pt x="93" y="301"/>
                  </a:lnTo>
                  <a:lnTo>
                    <a:pt x="93" y="302"/>
                  </a:lnTo>
                  <a:lnTo>
                    <a:pt x="93" y="301"/>
                  </a:lnTo>
                  <a:lnTo>
                    <a:pt x="91" y="301"/>
                  </a:lnTo>
                  <a:lnTo>
                    <a:pt x="91" y="302"/>
                  </a:lnTo>
                  <a:lnTo>
                    <a:pt x="90" y="302"/>
                  </a:lnTo>
                  <a:lnTo>
                    <a:pt x="88" y="304"/>
                  </a:lnTo>
                  <a:lnTo>
                    <a:pt x="88" y="302"/>
                  </a:lnTo>
                  <a:lnTo>
                    <a:pt x="88" y="304"/>
                  </a:lnTo>
                  <a:lnTo>
                    <a:pt x="87" y="304"/>
                  </a:lnTo>
                  <a:lnTo>
                    <a:pt x="85" y="304"/>
                  </a:lnTo>
                  <a:lnTo>
                    <a:pt x="83" y="304"/>
                  </a:lnTo>
                  <a:lnTo>
                    <a:pt x="82" y="304"/>
                  </a:lnTo>
                  <a:lnTo>
                    <a:pt x="80" y="304"/>
                  </a:lnTo>
                  <a:lnTo>
                    <a:pt x="78" y="304"/>
                  </a:lnTo>
                  <a:lnTo>
                    <a:pt x="77" y="304"/>
                  </a:lnTo>
                  <a:lnTo>
                    <a:pt x="77" y="302"/>
                  </a:lnTo>
                  <a:lnTo>
                    <a:pt x="75" y="304"/>
                  </a:lnTo>
                  <a:lnTo>
                    <a:pt x="75" y="302"/>
                  </a:lnTo>
                  <a:lnTo>
                    <a:pt x="74" y="302"/>
                  </a:lnTo>
                  <a:lnTo>
                    <a:pt x="74" y="301"/>
                  </a:lnTo>
                  <a:lnTo>
                    <a:pt x="74" y="299"/>
                  </a:lnTo>
                  <a:lnTo>
                    <a:pt x="72" y="299"/>
                  </a:lnTo>
                  <a:lnTo>
                    <a:pt x="70" y="299"/>
                  </a:lnTo>
                  <a:lnTo>
                    <a:pt x="70" y="297"/>
                  </a:lnTo>
                  <a:lnTo>
                    <a:pt x="72" y="297"/>
                  </a:lnTo>
                  <a:lnTo>
                    <a:pt x="74" y="297"/>
                  </a:lnTo>
                  <a:lnTo>
                    <a:pt x="75" y="297"/>
                  </a:lnTo>
                  <a:lnTo>
                    <a:pt x="77" y="296"/>
                  </a:lnTo>
                  <a:lnTo>
                    <a:pt x="75" y="296"/>
                  </a:lnTo>
                  <a:lnTo>
                    <a:pt x="77" y="296"/>
                  </a:lnTo>
                  <a:lnTo>
                    <a:pt x="78" y="296"/>
                  </a:lnTo>
                  <a:lnTo>
                    <a:pt x="77" y="296"/>
                  </a:lnTo>
                  <a:lnTo>
                    <a:pt x="75" y="296"/>
                  </a:lnTo>
                  <a:lnTo>
                    <a:pt x="75" y="297"/>
                  </a:lnTo>
                  <a:lnTo>
                    <a:pt x="77" y="296"/>
                  </a:lnTo>
                  <a:lnTo>
                    <a:pt x="77" y="297"/>
                  </a:lnTo>
                  <a:lnTo>
                    <a:pt x="77" y="296"/>
                  </a:lnTo>
                  <a:lnTo>
                    <a:pt x="78" y="296"/>
                  </a:lnTo>
                  <a:lnTo>
                    <a:pt x="80" y="296"/>
                  </a:lnTo>
                  <a:lnTo>
                    <a:pt x="80" y="294"/>
                  </a:lnTo>
                  <a:lnTo>
                    <a:pt x="82" y="294"/>
                  </a:lnTo>
                  <a:lnTo>
                    <a:pt x="82" y="296"/>
                  </a:lnTo>
                  <a:lnTo>
                    <a:pt x="82" y="294"/>
                  </a:lnTo>
                  <a:lnTo>
                    <a:pt x="82" y="296"/>
                  </a:lnTo>
                  <a:lnTo>
                    <a:pt x="82" y="294"/>
                  </a:lnTo>
                  <a:lnTo>
                    <a:pt x="83" y="294"/>
                  </a:lnTo>
                  <a:lnTo>
                    <a:pt x="83" y="296"/>
                  </a:lnTo>
                  <a:lnTo>
                    <a:pt x="82" y="296"/>
                  </a:lnTo>
                  <a:lnTo>
                    <a:pt x="83" y="296"/>
                  </a:lnTo>
                  <a:lnTo>
                    <a:pt x="85" y="294"/>
                  </a:lnTo>
                  <a:lnTo>
                    <a:pt x="85" y="296"/>
                  </a:lnTo>
                  <a:lnTo>
                    <a:pt x="87" y="296"/>
                  </a:lnTo>
                  <a:lnTo>
                    <a:pt x="87" y="297"/>
                  </a:lnTo>
                  <a:lnTo>
                    <a:pt x="87" y="296"/>
                  </a:lnTo>
                  <a:lnTo>
                    <a:pt x="88" y="297"/>
                  </a:lnTo>
                  <a:lnTo>
                    <a:pt x="88" y="296"/>
                  </a:lnTo>
                  <a:lnTo>
                    <a:pt x="87" y="296"/>
                  </a:lnTo>
                  <a:lnTo>
                    <a:pt x="88" y="296"/>
                  </a:lnTo>
                  <a:lnTo>
                    <a:pt x="88" y="294"/>
                  </a:lnTo>
                  <a:lnTo>
                    <a:pt x="87" y="294"/>
                  </a:lnTo>
                  <a:lnTo>
                    <a:pt x="87" y="292"/>
                  </a:lnTo>
                  <a:lnTo>
                    <a:pt x="85" y="292"/>
                  </a:lnTo>
                  <a:lnTo>
                    <a:pt x="85" y="291"/>
                  </a:lnTo>
                  <a:lnTo>
                    <a:pt x="83" y="292"/>
                  </a:lnTo>
                  <a:lnTo>
                    <a:pt x="83" y="291"/>
                  </a:lnTo>
                  <a:lnTo>
                    <a:pt x="82" y="291"/>
                  </a:lnTo>
                  <a:lnTo>
                    <a:pt x="82" y="292"/>
                  </a:lnTo>
                  <a:lnTo>
                    <a:pt x="82" y="291"/>
                  </a:lnTo>
                  <a:lnTo>
                    <a:pt x="80" y="291"/>
                  </a:lnTo>
                  <a:lnTo>
                    <a:pt x="80" y="289"/>
                  </a:lnTo>
                  <a:lnTo>
                    <a:pt x="80" y="288"/>
                  </a:lnTo>
                  <a:lnTo>
                    <a:pt x="82" y="288"/>
                  </a:lnTo>
                  <a:lnTo>
                    <a:pt x="82" y="286"/>
                  </a:lnTo>
                  <a:lnTo>
                    <a:pt x="83" y="284"/>
                  </a:lnTo>
                  <a:lnTo>
                    <a:pt x="85" y="283"/>
                  </a:lnTo>
                  <a:lnTo>
                    <a:pt x="85" y="284"/>
                  </a:lnTo>
                  <a:lnTo>
                    <a:pt x="83" y="284"/>
                  </a:lnTo>
                  <a:lnTo>
                    <a:pt x="83" y="286"/>
                  </a:lnTo>
                  <a:lnTo>
                    <a:pt x="85" y="284"/>
                  </a:lnTo>
                  <a:lnTo>
                    <a:pt x="87" y="283"/>
                  </a:lnTo>
                  <a:lnTo>
                    <a:pt x="85" y="283"/>
                  </a:lnTo>
                  <a:lnTo>
                    <a:pt x="87" y="283"/>
                  </a:lnTo>
                  <a:lnTo>
                    <a:pt x="88" y="281"/>
                  </a:lnTo>
                  <a:lnTo>
                    <a:pt x="88" y="279"/>
                  </a:lnTo>
                  <a:lnTo>
                    <a:pt x="90" y="279"/>
                  </a:lnTo>
                  <a:lnTo>
                    <a:pt x="90" y="278"/>
                  </a:lnTo>
                  <a:lnTo>
                    <a:pt x="91" y="278"/>
                  </a:lnTo>
                  <a:lnTo>
                    <a:pt x="93" y="278"/>
                  </a:lnTo>
                  <a:lnTo>
                    <a:pt x="95" y="278"/>
                  </a:lnTo>
                  <a:lnTo>
                    <a:pt x="96" y="278"/>
                  </a:lnTo>
                  <a:lnTo>
                    <a:pt x="96" y="276"/>
                  </a:lnTo>
                  <a:lnTo>
                    <a:pt x="96" y="278"/>
                  </a:lnTo>
                  <a:lnTo>
                    <a:pt x="98" y="278"/>
                  </a:lnTo>
                  <a:lnTo>
                    <a:pt x="100" y="278"/>
                  </a:lnTo>
                  <a:lnTo>
                    <a:pt x="101" y="278"/>
                  </a:lnTo>
                  <a:lnTo>
                    <a:pt x="103" y="278"/>
                  </a:lnTo>
                  <a:lnTo>
                    <a:pt x="103" y="279"/>
                  </a:lnTo>
                  <a:lnTo>
                    <a:pt x="104" y="279"/>
                  </a:lnTo>
                  <a:lnTo>
                    <a:pt x="104" y="278"/>
                  </a:lnTo>
                  <a:lnTo>
                    <a:pt x="103" y="279"/>
                  </a:lnTo>
                  <a:lnTo>
                    <a:pt x="103" y="278"/>
                  </a:lnTo>
                  <a:lnTo>
                    <a:pt x="103" y="276"/>
                  </a:lnTo>
                  <a:lnTo>
                    <a:pt x="101" y="276"/>
                  </a:lnTo>
                  <a:lnTo>
                    <a:pt x="103" y="276"/>
                  </a:lnTo>
                  <a:lnTo>
                    <a:pt x="104" y="276"/>
                  </a:lnTo>
                  <a:lnTo>
                    <a:pt x="104" y="275"/>
                  </a:lnTo>
                  <a:lnTo>
                    <a:pt x="106" y="273"/>
                  </a:lnTo>
                  <a:lnTo>
                    <a:pt x="108" y="273"/>
                  </a:lnTo>
                  <a:lnTo>
                    <a:pt x="109" y="273"/>
                  </a:lnTo>
                  <a:lnTo>
                    <a:pt x="111" y="273"/>
                  </a:lnTo>
                  <a:lnTo>
                    <a:pt x="111" y="271"/>
                  </a:lnTo>
                  <a:lnTo>
                    <a:pt x="113" y="271"/>
                  </a:lnTo>
                  <a:lnTo>
                    <a:pt x="114" y="271"/>
                  </a:lnTo>
                  <a:lnTo>
                    <a:pt x="114" y="270"/>
                  </a:lnTo>
                  <a:lnTo>
                    <a:pt x="116" y="270"/>
                  </a:lnTo>
                  <a:lnTo>
                    <a:pt x="116" y="271"/>
                  </a:lnTo>
                  <a:lnTo>
                    <a:pt x="117" y="270"/>
                  </a:lnTo>
                  <a:lnTo>
                    <a:pt x="117" y="271"/>
                  </a:lnTo>
                  <a:lnTo>
                    <a:pt x="119" y="270"/>
                  </a:lnTo>
                  <a:lnTo>
                    <a:pt x="121" y="268"/>
                  </a:lnTo>
                  <a:lnTo>
                    <a:pt x="121" y="270"/>
                  </a:lnTo>
                  <a:lnTo>
                    <a:pt x="122" y="271"/>
                  </a:lnTo>
                  <a:lnTo>
                    <a:pt x="124" y="271"/>
                  </a:lnTo>
                  <a:lnTo>
                    <a:pt x="126" y="273"/>
                  </a:lnTo>
                  <a:lnTo>
                    <a:pt x="124" y="271"/>
                  </a:lnTo>
                  <a:lnTo>
                    <a:pt x="126" y="271"/>
                  </a:lnTo>
                  <a:lnTo>
                    <a:pt x="127" y="270"/>
                  </a:lnTo>
                  <a:lnTo>
                    <a:pt x="129" y="270"/>
                  </a:lnTo>
                  <a:lnTo>
                    <a:pt x="127" y="270"/>
                  </a:lnTo>
                  <a:lnTo>
                    <a:pt x="126" y="271"/>
                  </a:lnTo>
                  <a:lnTo>
                    <a:pt x="124" y="271"/>
                  </a:lnTo>
                  <a:lnTo>
                    <a:pt x="122" y="271"/>
                  </a:lnTo>
                  <a:lnTo>
                    <a:pt x="122" y="270"/>
                  </a:lnTo>
                  <a:lnTo>
                    <a:pt x="122" y="268"/>
                  </a:lnTo>
                  <a:lnTo>
                    <a:pt x="122" y="270"/>
                  </a:lnTo>
                  <a:lnTo>
                    <a:pt x="122" y="268"/>
                  </a:lnTo>
                  <a:lnTo>
                    <a:pt x="122" y="266"/>
                  </a:lnTo>
                  <a:lnTo>
                    <a:pt x="122" y="268"/>
                  </a:lnTo>
                  <a:lnTo>
                    <a:pt x="122" y="270"/>
                  </a:lnTo>
                  <a:lnTo>
                    <a:pt x="121" y="268"/>
                  </a:lnTo>
                  <a:lnTo>
                    <a:pt x="119" y="270"/>
                  </a:lnTo>
                  <a:lnTo>
                    <a:pt x="117" y="270"/>
                  </a:lnTo>
                  <a:lnTo>
                    <a:pt x="116" y="271"/>
                  </a:lnTo>
                  <a:lnTo>
                    <a:pt x="116" y="270"/>
                  </a:lnTo>
                  <a:lnTo>
                    <a:pt x="114" y="270"/>
                  </a:lnTo>
                  <a:lnTo>
                    <a:pt x="114" y="268"/>
                  </a:lnTo>
                  <a:lnTo>
                    <a:pt x="116" y="268"/>
                  </a:lnTo>
                  <a:lnTo>
                    <a:pt x="117" y="268"/>
                  </a:lnTo>
                  <a:lnTo>
                    <a:pt x="117" y="266"/>
                  </a:lnTo>
                  <a:lnTo>
                    <a:pt x="119" y="266"/>
                  </a:lnTo>
                  <a:lnTo>
                    <a:pt x="119" y="265"/>
                  </a:lnTo>
                  <a:lnTo>
                    <a:pt x="121" y="263"/>
                  </a:lnTo>
                  <a:lnTo>
                    <a:pt x="122" y="263"/>
                  </a:lnTo>
                  <a:lnTo>
                    <a:pt x="121" y="263"/>
                  </a:lnTo>
                  <a:lnTo>
                    <a:pt x="119" y="263"/>
                  </a:lnTo>
                  <a:lnTo>
                    <a:pt x="119" y="265"/>
                  </a:lnTo>
                  <a:lnTo>
                    <a:pt x="119" y="266"/>
                  </a:lnTo>
                  <a:lnTo>
                    <a:pt x="117" y="266"/>
                  </a:lnTo>
                  <a:lnTo>
                    <a:pt x="116" y="268"/>
                  </a:lnTo>
                  <a:lnTo>
                    <a:pt x="114" y="268"/>
                  </a:lnTo>
                  <a:lnTo>
                    <a:pt x="113" y="268"/>
                  </a:lnTo>
                  <a:lnTo>
                    <a:pt x="113" y="270"/>
                  </a:lnTo>
                  <a:lnTo>
                    <a:pt x="114" y="270"/>
                  </a:lnTo>
                  <a:lnTo>
                    <a:pt x="114" y="271"/>
                  </a:lnTo>
                  <a:lnTo>
                    <a:pt x="113" y="271"/>
                  </a:lnTo>
                  <a:lnTo>
                    <a:pt x="111" y="271"/>
                  </a:lnTo>
                  <a:lnTo>
                    <a:pt x="109" y="271"/>
                  </a:lnTo>
                  <a:lnTo>
                    <a:pt x="109" y="273"/>
                  </a:lnTo>
                  <a:lnTo>
                    <a:pt x="108" y="273"/>
                  </a:lnTo>
                  <a:lnTo>
                    <a:pt x="106" y="273"/>
                  </a:lnTo>
                  <a:lnTo>
                    <a:pt x="106" y="271"/>
                  </a:lnTo>
                  <a:lnTo>
                    <a:pt x="106" y="273"/>
                  </a:lnTo>
                  <a:lnTo>
                    <a:pt x="104" y="273"/>
                  </a:lnTo>
                  <a:lnTo>
                    <a:pt x="104" y="271"/>
                  </a:lnTo>
                  <a:lnTo>
                    <a:pt x="103" y="271"/>
                  </a:lnTo>
                  <a:lnTo>
                    <a:pt x="101" y="271"/>
                  </a:lnTo>
                  <a:lnTo>
                    <a:pt x="101" y="273"/>
                  </a:lnTo>
                  <a:lnTo>
                    <a:pt x="101" y="271"/>
                  </a:lnTo>
                  <a:lnTo>
                    <a:pt x="100" y="273"/>
                  </a:lnTo>
                  <a:lnTo>
                    <a:pt x="101" y="273"/>
                  </a:lnTo>
                  <a:lnTo>
                    <a:pt x="100" y="273"/>
                  </a:lnTo>
                  <a:lnTo>
                    <a:pt x="100" y="271"/>
                  </a:lnTo>
                  <a:lnTo>
                    <a:pt x="98" y="273"/>
                  </a:lnTo>
                  <a:lnTo>
                    <a:pt x="96" y="273"/>
                  </a:lnTo>
                  <a:lnTo>
                    <a:pt x="96" y="275"/>
                  </a:lnTo>
                  <a:lnTo>
                    <a:pt x="95" y="275"/>
                  </a:lnTo>
                  <a:lnTo>
                    <a:pt x="96" y="273"/>
                  </a:lnTo>
                  <a:lnTo>
                    <a:pt x="98" y="273"/>
                  </a:lnTo>
                  <a:lnTo>
                    <a:pt x="96" y="271"/>
                  </a:lnTo>
                  <a:lnTo>
                    <a:pt x="96" y="273"/>
                  </a:lnTo>
                  <a:lnTo>
                    <a:pt x="95" y="273"/>
                  </a:lnTo>
                  <a:lnTo>
                    <a:pt x="95" y="271"/>
                  </a:lnTo>
                  <a:lnTo>
                    <a:pt x="95" y="273"/>
                  </a:lnTo>
                  <a:lnTo>
                    <a:pt x="93" y="273"/>
                  </a:lnTo>
                  <a:lnTo>
                    <a:pt x="93" y="271"/>
                  </a:lnTo>
                  <a:lnTo>
                    <a:pt x="93" y="273"/>
                  </a:lnTo>
                  <a:lnTo>
                    <a:pt x="91" y="275"/>
                  </a:lnTo>
                  <a:lnTo>
                    <a:pt x="91" y="273"/>
                  </a:lnTo>
                  <a:lnTo>
                    <a:pt x="91" y="275"/>
                  </a:lnTo>
                  <a:lnTo>
                    <a:pt x="91" y="273"/>
                  </a:lnTo>
                  <a:lnTo>
                    <a:pt x="90" y="273"/>
                  </a:lnTo>
                  <a:lnTo>
                    <a:pt x="88" y="273"/>
                  </a:lnTo>
                  <a:lnTo>
                    <a:pt x="88" y="275"/>
                  </a:lnTo>
                  <a:lnTo>
                    <a:pt x="90" y="273"/>
                  </a:lnTo>
                  <a:lnTo>
                    <a:pt x="88" y="273"/>
                  </a:lnTo>
                  <a:lnTo>
                    <a:pt x="88" y="271"/>
                  </a:lnTo>
                  <a:lnTo>
                    <a:pt x="90" y="271"/>
                  </a:lnTo>
                  <a:lnTo>
                    <a:pt x="91" y="270"/>
                  </a:lnTo>
                  <a:lnTo>
                    <a:pt x="91" y="268"/>
                  </a:lnTo>
                  <a:lnTo>
                    <a:pt x="93" y="268"/>
                  </a:lnTo>
                  <a:lnTo>
                    <a:pt x="93" y="266"/>
                  </a:lnTo>
                  <a:lnTo>
                    <a:pt x="95" y="266"/>
                  </a:lnTo>
                  <a:lnTo>
                    <a:pt x="93" y="266"/>
                  </a:lnTo>
                  <a:lnTo>
                    <a:pt x="93" y="268"/>
                  </a:lnTo>
                  <a:lnTo>
                    <a:pt x="91" y="268"/>
                  </a:lnTo>
                  <a:lnTo>
                    <a:pt x="90" y="268"/>
                  </a:lnTo>
                  <a:lnTo>
                    <a:pt x="91" y="268"/>
                  </a:lnTo>
                  <a:lnTo>
                    <a:pt x="91" y="270"/>
                  </a:lnTo>
                  <a:lnTo>
                    <a:pt x="90" y="270"/>
                  </a:lnTo>
                  <a:lnTo>
                    <a:pt x="88" y="270"/>
                  </a:lnTo>
                  <a:lnTo>
                    <a:pt x="88" y="271"/>
                  </a:lnTo>
                  <a:lnTo>
                    <a:pt x="88" y="273"/>
                  </a:lnTo>
                  <a:lnTo>
                    <a:pt x="87" y="273"/>
                  </a:lnTo>
                  <a:lnTo>
                    <a:pt x="87" y="275"/>
                  </a:lnTo>
                  <a:lnTo>
                    <a:pt x="85" y="275"/>
                  </a:lnTo>
                  <a:lnTo>
                    <a:pt x="85" y="276"/>
                  </a:lnTo>
                  <a:lnTo>
                    <a:pt x="83" y="276"/>
                  </a:lnTo>
                  <a:lnTo>
                    <a:pt x="83" y="278"/>
                  </a:lnTo>
                  <a:lnTo>
                    <a:pt x="82" y="278"/>
                  </a:lnTo>
                  <a:lnTo>
                    <a:pt x="80" y="278"/>
                  </a:lnTo>
                  <a:lnTo>
                    <a:pt x="82" y="278"/>
                  </a:lnTo>
                  <a:lnTo>
                    <a:pt x="82" y="276"/>
                  </a:lnTo>
                  <a:lnTo>
                    <a:pt x="80" y="278"/>
                  </a:lnTo>
                  <a:lnTo>
                    <a:pt x="78" y="278"/>
                  </a:lnTo>
                  <a:lnTo>
                    <a:pt x="77" y="278"/>
                  </a:lnTo>
                  <a:lnTo>
                    <a:pt x="77" y="276"/>
                  </a:lnTo>
                  <a:lnTo>
                    <a:pt x="77" y="278"/>
                  </a:lnTo>
                  <a:lnTo>
                    <a:pt x="78" y="278"/>
                  </a:lnTo>
                  <a:lnTo>
                    <a:pt x="78" y="276"/>
                  </a:lnTo>
                  <a:lnTo>
                    <a:pt x="77" y="276"/>
                  </a:lnTo>
                  <a:lnTo>
                    <a:pt x="77" y="275"/>
                  </a:lnTo>
                  <a:lnTo>
                    <a:pt x="77" y="273"/>
                  </a:lnTo>
                  <a:lnTo>
                    <a:pt x="77" y="271"/>
                  </a:lnTo>
                  <a:lnTo>
                    <a:pt x="77" y="270"/>
                  </a:lnTo>
                  <a:lnTo>
                    <a:pt x="77" y="271"/>
                  </a:lnTo>
                  <a:lnTo>
                    <a:pt x="75" y="271"/>
                  </a:lnTo>
                  <a:lnTo>
                    <a:pt x="77" y="271"/>
                  </a:lnTo>
                  <a:lnTo>
                    <a:pt x="75" y="273"/>
                  </a:lnTo>
                  <a:lnTo>
                    <a:pt x="75" y="271"/>
                  </a:lnTo>
                  <a:lnTo>
                    <a:pt x="74" y="273"/>
                  </a:lnTo>
                  <a:lnTo>
                    <a:pt x="75" y="271"/>
                  </a:lnTo>
                  <a:lnTo>
                    <a:pt x="75" y="270"/>
                  </a:lnTo>
                  <a:lnTo>
                    <a:pt x="77" y="271"/>
                  </a:lnTo>
                  <a:lnTo>
                    <a:pt x="77" y="270"/>
                  </a:lnTo>
                  <a:lnTo>
                    <a:pt x="77" y="268"/>
                  </a:lnTo>
                  <a:lnTo>
                    <a:pt x="77" y="270"/>
                  </a:lnTo>
                  <a:lnTo>
                    <a:pt x="77" y="268"/>
                  </a:lnTo>
                  <a:lnTo>
                    <a:pt x="78" y="268"/>
                  </a:lnTo>
                  <a:lnTo>
                    <a:pt x="77" y="268"/>
                  </a:lnTo>
                  <a:lnTo>
                    <a:pt x="77" y="266"/>
                  </a:lnTo>
                  <a:lnTo>
                    <a:pt x="78" y="266"/>
                  </a:lnTo>
                  <a:lnTo>
                    <a:pt x="78" y="268"/>
                  </a:lnTo>
                  <a:lnTo>
                    <a:pt x="80" y="268"/>
                  </a:lnTo>
                  <a:lnTo>
                    <a:pt x="80" y="266"/>
                  </a:lnTo>
                  <a:lnTo>
                    <a:pt x="78" y="266"/>
                  </a:lnTo>
                  <a:lnTo>
                    <a:pt x="78" y="265"/>
                  </a:lnTo>
                  <a:lnTo>
                    <a:pt x="78" y="266"/>
                  </a:lnTo>
                  <a:lnTo>
                    <a:pt x="78" y="265"/>
                  </a:lnTo>
                  <a:lnTo>
                    <a:pt x="80" y="265"/>
                  </a:lnTo>
                  <a:lnTo>
                    <a:pt x="80" y="263"/>
                  </a:lnTo>
                  <a:lnTo>
                    <a:pt x="80" y="265"/>
                  </a:lnTo>
                  <a:lnTo>
                    <a:pt x="78" y="265"/>
                  </a:lnTo>
                  <a:lnTo>
                    <a:pt x="78" y="263"/>
                  </a:lnTo>
                  <a:lnTo>
                    <a:pt x="78" y="265"/>
                  </a:lnTo>
                  <a:lnTo>
                    <a:pt x="78" y="263"/>
                  </a:lnTo>
                  <a:lnTo>
                    <a:pt x="80" y="263"/>
                  </a:lnTo>
                  <a:lnTo>
                    <a:pt x="80" y="262"/>
                  </a:lnTo>
                  <a:lnTo>
                    <a:pt x="78" y="262"/>
                  </a:lnTo>
                  <a:lnTo>
                    <a:pt x="80" y="262"/>
                  </a:lnTo>
                  <a:lnTo>
                    <a:pt x="80" y="260"/>
                  </a:lnTo>
                  <a:lnTo>
                    <a:pt x="82" y="260"/>
                  </a:lnTo>
                  <a:lnTo>
                    <a:pt x="80" y="260"/>
                  </a:lnTo>
                  <a:lnTo>
                    <a:pt x="78" y="262"/>
                  </a:lnTo>
                  <a:lnTo>
                    <a:pt x="78" y="260"/>
                  </a:lnTo>
                  <a:lnTo>
                    <a:pt x="77" y="262"/>
                  </a:lnTo>
                  <a:lnTo>
                    <a:pt x="75" y="262"/>
                  </a:lnTo>
                  <a:lnTo>
                    <a:pt x="77" y="262"/>
                  </a:lnTo>
                  <a:lnTo>
                    <a:pt x="77" y="260"/>
                  </a:lnTo>
                  <a:lnTo>
                    <a:pt x="75" y="262"/>
                  </a:lnTo>
                  <a:lnTo>
                    <a:pt x="75" y="260"/>
                  </a:lnTo>
                  <a:lnTo>
                    <a:pt x="75" y="262"/>
                  </a:lnTo>
                  <a:lnTo>
                    <a:pt x="75" y="260"/>
                  </a:lnTo>
                  <a:lnTo>
                    <a:pt x="74" y="260"/>
                  </a:lnTo>
                  <a:lnTo>
                    <a:pt x="74" y="258"/>
                  </a:lnTo>
                  <a:lnTo>
                    <a:pt x="74" y="260"/>
                  </a:lnTo>
                  <a:lnTo>
                    <a:pt x="74" y="258"/>
                  </a:lnTo>
                  <a:lnTo>
                    <a:pt x="75" y="258"/>
                  </a:lnTo>
                  <a:lnTo>
                    <a:pt x="75" y="257"/>
                  </a:lnTo>
                  <a:lnTo>
                    <a:pt x="75" y="258"/>
                  </a:lnTo>
                  <a:lnTo>
                    <a:pt x="75" y="257"/>
                  </a:lnTo>
                  <a:lnTo>
                    <a:pt x="77" y="257"/>
                  </a:lnTo>
                  <a:lnTo>
                    <a:pt x="75" y="257"/>
                  </a:lnTo>
                  <a:lnTo>
                    <a:pt x="75" y="255"/>
                  </a:lnTo>
                  <a:lnTo>
                    <a:pt x="77" y="255"/>
                  </a:lnTo>
                  <a:lnTo>
                    <a:pt x="75" y="255"/>
                  </a:lnTo>
                  <a:lnTo>
                    <a:pt x="77" y="253"/>
                  </a:lnTo>
                  <a:lnTo>
                    <a:pt x="78" y="253"/>
                  </a:lnTo>
                  <a:lnTo>
                    <a:pt x="78" y="252"/>
                  </a:lnTo>
                  <a:lnTo>
                    <a:pt x="77" y="252"/>
                  </a:lnTo>
                  <a:lnTo>
                    <a:pt x="77" y="250"/>
                  </a:lnTo>
                  <a:lnTo>
                    <a:pt x="77" y="249"/>
                  </a:lnTo>
                  <a:lnTo>
                    <a:pt x="77" y="245"/>
                  </a:lnTo>
                  <a:lnTo>
                    <a:pt x="75" y="245"/>
                  </a:lnTo>
                  <a:lnTo>
                    <a:pt x="75" y="244"/>
                  </a:lnTo>
                  <a:lnTo>
                    <a:pt x="77" y="244"/>
                  </a:lnTo>
                  <a:lnTo>
                    <a:pt x="75" y="244"/>
                  </a:lnTo>
                  <a:lnTo>
                    <a:pt x="75" y="245"/>
                  </a:lnTo>
                  <a:lnTo>
                    <a:pt x="77" y="247"/>
                  </a:lnTo>
                  <a:lnTo>
                    <a:pt x="78" y="249"/>
                  </a:lnTo>
                  <a:lnTo>
                    <a:pt x="80" y="249"/>
                  </a:lnTo>
                  <a:lnTo>
                    <a:pt x="82" y="249"/>
                  </a:lnTo>
                  <a:lnTo>
                    <a:pt x="80" y="249"/>
                  </a:lnTo>
                  <a:lnTo>
                    <a:pt x="82" y="249"/>
                  </a:lnTo>
                  <a:lnTo>
                    <a:pt x="80" y="247"/>
                  </a:lnTo>
                  <a:lnTo>
                    <a:pt x="80" y="249"/>
                  </a:lnTo>
                  <a:lnTo>
                    <a:pt x="78" y="249"/>
                  </a:lnTo>
                  <a:lnTo>
                    <a:pt x="80" y="247"/>
                  </a:lnTo>
                  <a:lnTo>
                    <a:pt x="82" y="247"/>
                  </a:lnTo>
                  <a:lnTo>
                    <a:pt x="82" y="245"/>
                  </a:lnTo>
                  <a:lnTo>
                    <a:pt x="83" y="245"/>
                  </a:lnTo>
                  <a:lnTo>
                    <a:pt x="82" y="245"/>
                  </a:lnTo>
                  <a:lnTo>
                    <a:pt x="83" y="245"/>
                  </a:lnTo>
                  <a:lnTo>
                    <a:pt x="83" y="244"/>
                  </a:lnTo>
                  <a:lnTo>
                    <a:pt x="82" y="244"/>
                  </a:lnTo>
                  <a:lnTo>
                    <a:pt x="83" y="244"/>
                  </a:lnTo>
                  <a:lnTo>
                    <a:pt x="83" y="242"/>
                  </a:lnTo>
                  <a:lnTo>
                    <a:pt x="85" y="242"/>
                  </a:lnTo>
                  <a:lnTo>
                    <a:pt x="87" y="242"/>
                  </a:lnTo>
                  <a:lnTo>
                    <a:pt x="85" y="242"/>
                  </a:lnTo>
                  <a:lnTo>
                    <a:pt x="83" y="242"/>
                  </a:lnTo>
                  <a:lnTo>
                    <a:pt x="82" y="242"/>
                  </a:lnTo>
                  <a:lnTo>
                    <a:pt x="82" y="244"/>
                  </a:lnTo>
                  <a:lnTo>
                    <a:pt x="82" y="242"/>
                  </a:lnTo>
                  <a:lnTo>
                    <a:pt x="82" y="244"/>
                  </a:lnTo>
                  <a:lnTo>
                    <a:pt x="82" y="242"/>
                  </a:lnTo>
                  <a:lnTo>
                    <a:pt x="80" y="244"/>
                  </a:lnTo>
                  <a:lnTo>
                    <a:pt x="82" y="242"/>
                  </a:lnTo>
                  <a:lnTo>
                    <a:pt x="80" y="244"/>
                  </a:lnTo>
                  <a:lnTo>
                    <a:pt x="78" y="244"/>
                  </a:lnTo>
                  <a:lnTo>
                    <a:pt x="77" y="244"/>
                  </a:lnTo>
                  <a:lnTo>
                    <a:pt x="78" y="244"/>
                  </a:lnTo>
                  <a:lnTo>
                    <a:pt x="78" y="242"/>
                  </a:lnTo>
                  <a:lnTo>
                    <a:pt x="80" y="242"/>
                  </a:lnTo>
                  <a:lnTo>
                    <a:pt x="82" y="242"/>
                  </a:lnTo>
                  <a:lnTo>
                    <a:pt x="82" y="240"/>
                  </a:lnTo>
                  <a:lnTo>
                    <a:pt x="83" y="240"/>
                  </a:lnTo>
                  <a:lnTo>
                    <a:pt x="83" y="239"/>
                  </a:lnTo>
                  <a:lnTo>
                    <a:pt x="83" y="240"/>
                  </a:lnTo>
                  <a:lnTo>
                    <a:pt x="82" y="242"/>
                  </a:lnTo>
                  <a:lnTo>
                    <a:pt x="83" y="240"/>
                  </a:lnTo>
                  <a:lnTo>
                    <a:pt x="83" y="239"/>
                  </a:lnTo>
                  <a:lnTo>
                    <a:pt x="85" y="240"/>
                  </a:lnTo>
                  <a:lnTo>
                    <a:pt x="85" y="239"/>
                  </a:lnTo>
                  <a:lnTo>
                    <a:pt x="87" y="239"/>
                  </a:lnTo>
                  <a:lnTo>
                    <a:pt x="87" y="237"/>
                  </a:lnTo>
                  <a:lnTo>
                    <a:pt x="88" y="237"/>
                  </a:lnTo>
                  <a:lnTo>
                    <a:pt x="88" y="236"/>
                  </a:lnTo>
                  <a:lnTo>
                    <a:pt x="90" y="236"/>
                  </a:lnTo>
                  <a:lnTo>
                    <a:pt x="88" y="236"/>
                  </a:lnTo>
                  <a:lnTo>
                    <a:pt x="90" y="236"/>
                  </a:lnTo>
                  <a:lnTo>
                    <a:pt x="88" y="236"/>
                  </a:lnTo>
                  <a:lnTo>
                    <a:pt x="90" y="234"/>
                  </a:lnTo>
                  <a:lnTo>
                    <a:pt x="88" y="234"/>
                  </a:lnTo>
                  <a:lnTo>
                    <a:pt x="88" y="232"/>
                  </a:lnTo>
                  <a:lnTo>
                    <a:pt x="87" y="232"/>
                  </a:lnTo>
                  <a:lnTo>
                    <a:pt x="85" y="232"/>
                  </a:lnTo>
                  <a:lnTo>
                    <a:pt x="85" y="231"/>
                  </a:lnTo>
                  <a:lnTo>
                    <a:pt x="85" y="232"/>
                  </a:lnTo>
                  <a:lnTo>
                    <a:pt x="83" y="232"/>
                  </a:lnTo>
                  <a:lnTo>
                    <a:pt x="83" y="231"/>
                  </a:lnTo>
                  <a:lnTo>
                    <a:pt x="85" y="231"/>
                  </a:lnTo>
                  <a:lnTo>
                    <a:pt x="85" y="229"/>
                  </a:lnTo>
                  <a:lnTo>
                    <a:pt x="87" y="229"/>
                  </a:lnTo>
                  <a:lnTo>
                    <a:pt x="85" y="229"/>
                  </a:lnTo>
                  <a:lnTo>
                    <a:pt x="83" y="229"/>
                  </a:lnTo>
                  <a:lnTo>
                    <a:pt x="83" y="227"/>
                  </a:lnTo>
                  <a:lnTo>
                    <a:pt x="85" y="227"/>
                  </a:lnTo>
                  <a:lnTo>
                    <a:pt x="85" y="229"/>
                  </a:lnTo>
                  <a:lnTo>
                    <a:pt x="87" y="227"/>
                  </a:lnTo>
                  <a:lnTo>
                    <a:pt x="88" y="227"/>
                  </a:lnTo>
                  <a:lnTo>
                    <a:pt x="88" y="226"/>
                  </a:lnTo>
                  <a:lnTo>
                    <a:pt x="88" y="224"/>
                  </a:lnTo>
                  <a:lnTo>
                    <a:pt x="90" y="226"/>
                  </a:lnTo>
                  <a:lnTo>
                    <a:pt x="88" y="224"/>
                  </a:lnTo>
                  <a:lnTo>
                    <a:pt x="88" y="226"/>
                  </a:lnTo>
                  <a:lnTo>
                    <a:pt x="87" y="226"/>
                  </a:lnTo>
                  <a:lnTo>
                    <a:pt x="87" y="227"/>
                  </a:lnTo>
                  <a:lnTo>
                    <a:pt x="85" y="226"/>
                  </a:lnTo>
                  <a:lnTo>
                    <a:pt x="85" y="224"/>
                  </a:lnTo>
                  <a:lnTo>
                    <a:pt x="83" y="224"/>
                  </a:lnTo>
                  <a:lnTo>
                    <a:pt x="83" y="226"/>
                  </a:lnTo>
                  <a:lnTo>
                    <a:pt x="83" y="224"/>
                  </a:lnTo>
                  <a:lnTo>
                    <a:pt x="83" y="226"/>
                  </a:lnTo>
                  <a:lnTo>
                    <a:pt x="82" y="224"/>
                  </a:lnTo>
                  <a:lnTo>
                    <a:pt x="82" y="226"/>
                  </a:lnTo>
                  <a:lnTo>
                    <a:pt x="82" y="224"/>
                  </a:lnTo>
                  <a:lnTo>
                    <a:pt x="82" y="226"/>
                  </a:lnTo>
                  <a:lnTo>
                    <a:pt x="82" y="224"/>
                  </a:lnTo>
                  <a:lnTo>
                    <a:pt x="82" y="223"/>
                  </a:lnTo>
                  <a:lnTo>
                    <a:pt x="80" y="224"/>
                  </a:lnTo>
                  <a:lnTo>
                    <a:pt x="78" y="224"/>
                  </a:lnTo>
                  <a:lnTo>
                    <a:pt x="77" y="224"/>
                  </a:lnTo>
                  <a:lnTo>
                    <a:pt x="75" y="224"/>
                  </a:lnTo>
                  <a:lnTo>
                    <a:pt x="77" y="226"/>
                  </a:lnTo>
                  <a:lnTo>
                    <a:pt x="78" y="226"/>
                  </a:lnTo>
                  <a:lnTo>
                    <a:pt x="77" y="226"/>
                  </a:lnTo>
                  <a:lnTo>
                    <a:pt x="75" y="224"/>
                  </a:lnTo>
                  <a:lnTo>
                    <a:pt x="74" y="224"/>
                  </a:lnTo>
                  <a:lnTo>
                    <a:pt x="72" y="224"/>
                  </a:lnTo>
                  <a:lnTo>
                    <a:pt x="70" y="223"/>
                  </a:lnTo>
                  <a:lnTo>
                    <a:pt x="72" y="223"/>
                  </a:lnTo>
                  <a:lnTo>
                    <a:pt x="72" y="224"/>
                  </a:lnTo>
                  <a:lnTo>
                    <a:pt x="72" y="223"/>
                  </a:lnTo>
                  <a:lnTo>
                    <a:pt x="74" y="223"/>
                  </a:lnTo>
                  <a:lnTo>
                    <a:pt x="74" y="224"/>
                  </a:lnTo>
                  <a:lnTo>
                    <a:pt x="75" y="224"/>
                  </a:lnTo>
                  <a:lnTo>
                    <a:pt x="74" y="223"/>
                  </a:lnTo>
                  <a:lnTo>
                    <a:pt x="75" y="223"/>
                  </a:lnTo>
                  <a:lnTo>
                    <a:pt x="74" y="223"/>
                  </a:lnTo>
                  <a:lnTo>
                    <a:pt x="72" y="223"/>
                  </a:lnTo>
                  <a:lnTo>
                    <a:pt x="72" y="221"/>
                  </a:lnTo>
                  <a:lnTo>
                    <a:pt x="72" y="223"/>
                  </a:lnTo>
                  <a:lnTo>
                    <a:pt x="72" y="221"/>
                  </a:lnTo>
                  <a:lnTo>
                    <a:pt x="74" y="221"/>
                  </a:lnTo>
                  <a:lnTo>
                    <a:pt x="74" y="219"/>
                  </a:lnTo>
                  <a:lnTo>
                    <a:pt x="72" y="219"/>
                  </a:lnTo>
                  <a:lnTo>
                    <a:pt x="72" y="218"/>
                  </a:lnTo>
                  <a:lnTo>
                    <a:pt x="74" y="218"/>
                  </a:lnTo>
                  <a:lnTo>
                    <a:pt x="74" y="216"/>
                  </a:lnTo>
                  <a:lnTo>
                    <a:pt x="74" y="218"/>
                  </a:lnTo>
                  <a:lnTo>
                    <a:pt x="72" y="218"/>
                  </a:lnTo>
                  <a:lnTo>
                    <a:pt x="70" y="218"/>
                  </a:lnTo>
                  <a:lnTo>
                    <a:pt x="69" y="218"/>
                  </a:lnTo>
                  <a:lnTo>
                    <a:pt x="67" y="218"/>
                  </a:lnTo>
                  <a:lnTo>
                    <a:pt x="69" y="218"/>
                  </a:lnTo>
                  <a:lnTo>
                    <a:pt x="69" y="219"/>
                  </a:lnTo>
                  <a:lnTo>
                    <a:pt x="69" y="221"/>
                  </a:lnTo>
                  <a:lnTo>
                    <a:pt x="70" y="221"/>
                  </a:lnTo>
                  <a:lnTo>
                    <a:pt x="70" y="223"/>
                  </a:lnTo>
                  <a:lnTo>
                    <a:pt x="69" y="223"/>
                  </a:lnTo>
                  <a:lnTo>
                    <a:pt x="69" y="221"/>
                  </a:lnTo>
                  <a:lnTo>
                    <a:pt x="67" y="219"/>
                  </a:lnTo>
                  <a:lnTo>
                    <a:pt x="67" y="218"/>
                  </a:lnTo>
                  <a:lnTo>
                    <a:pt x="64" y="216"/>
                  </a:lnTo>
                  <a:lnTo>
                    <a:pt x="62" y="214"/>
                  </a:lnTo>
                  <a:lnTo>
                    <a:pt x="61" y="214"/>
                  </a:lnTo>
                  <a:lnTo>
                    <a:pt x="59" y="213"/>
                  </a:lnTo>
                  <a:lnTo>
                    <a:pt x="57" y="211"/>
                  </a:lnTo>
                  <a:lnTo>
                    <a:pt x="56" y="210"/>
                  </a:lnTo>
                  <a:lnTo>
                    <a:pt x="56" y="211"/>
                  </a:lnTo>
                  <a:lnTo>
                    <a:pt x="54" y="211"/>
                  </a:lnTo>
                  <a:lnTo>
                    <a:pt x="54" y="210"/>
                  </a:lnTo>
                  <a:lnTo>
                    <a:pt x="52" y="210"/>
                  </a:lnTo>
                  <a:lnTo>
                    <a:pt x="52" y="208"/>
                  </a:lnTo>
                  <a:lnTo>
                    <a:pt x="51" y="208"/>
                  </a:lnTo>
                  <a:lnTo>
                    <a:pt x="49" y="208"/>
                  </a:lnTo>
                  <a:lnTo>
                    <a:pt x="49" y="206"/>
                  </a:lnTo>
                  <a:lnTo>
                    <a:pt x="48" y="205"/>
                  </a:lnTo>
                  <a:lnTo>
                    <a:pt x="46" y="203"/>
                  </a:lnTo>
                  <a:lnTo>
                    <a:pt x="44" y="201"/>
                  </a:lnTo>
                  <a:lnTo>
                    <a:pt x="43" y="200"/>
                  </a:lnTo>
                  <a:lnTo>
                    <a:pt x="41" y="200"/>
                  </a:lnTo>
                  <a:lnTo>
                    <a:pt x="41" y="198"/>
                  </a:lnTo>
                  <a:lnTo>
                    <a:pt x="39" y="198"/>
                  </a:lnTo>
                  <a:lnTo>
                    <a:pt x="38" y="197"/>
                  </a:lnTo>
                  <a:lnTo>
                    <a:pt x="36" y="197"/>
                  </a:lnTo>
                  <a:lnTo>
                    <a:pt x="38" y="197"/>
                  </a:lnTo>
                  <a:lnTo>
                    <a:pt x="36" y="197"/>
                  </a:lnTo>
                  <a:lnTo>
                    <a:pt x="36" y="198"/>
                  </a:lnTo>
                  <a:lnTo>
                    <a:pt x="35" y="200"/>
                  </a:lnTo>
                  <a:lnTo>
                    <a:pt x="31" y="200"/>
                  </a:lnTo>
                  <a:lnTo>
                    <a:pt x="31" y="198"/>
                  </a:lnTo>
                  <a:lnTo>
                    <a:pt x="30" y="197"/>
                  </a:lnTo>
                  <a:lnTo>
                    <a:pt x="26" y="195"/>
                  </a:lnTo>
                  <a:lnTo>
                    <a:pt x="25" y="195"/>
                  </a:lnTo>
                  <a:lnTo>
                    <a:pt x="25" y="193"/>
                  </a:lnTo>
                  <a:lnTo>
                    <a:pt x="26" y="195"/>
                  </a:lnTo>
                  <a:lnTo>
                    <a:pt x="28" y="195"/>
                  </a:lnTo>
                  <a:lnTo>
                    <a:pt x="30" y="195"/>
                  </a:lnTo>
                  <a:lnTo>
                    <a:pt x="30" y="197"/>
                  </a:lnTo>
                  <a:lnTo>
                    <a:pt x="30" y="195"/>
                  </a:lnTo>
                  <a:lnTo>
                    <a:pt x="28" y="195"/>
                  </a:lnTo>
                  <a:lnTo>
                    <a:pt x="30" y="195"/>
                  </a:lnTo>
                  <a:lnTo>
                    <a:pt x="28" y="193"/>
                  </a:lnTo>
                  <a:lnTo>
                    <a:pt x="28" y="195"/>
                  </a:lnTo>
                  <a:lnTo>
                    <a:pt x="26" y="193"/>
                  </a:lnTo>
                  <a:lnTo>
                    <a:pt x="25" y="193"/>
                  </a:lnTo>
                  <a:lnTo>
                    <a:pt x="23" y="195"/>
                  </a:lnTo>
                  <a:lnTo>
                    <a:pt x="22" y="195"/>
                  </a:lnTo>
                  <a:lnTo>
                    <a:pt x="20" y="197"/>
                  </a:lnTo>
                  <a:lnTo>
                    <a:pt x="20" y="198"/>
                  </a:lnTo>
                  <a:lnTo>
                    <a:pt x="18" y="198"/>
                  </a:lnTo>
                  <a:lnTo>
                    <a:pt x="17" y="200"/>
                  </a:lnTo>
                  <a:lnTo>
                    <a:pt x="15" y="200"/>
                  </a:lnTo>
                  <a:lnTo>
                    <a:pt x="15" y="198"/>
                  </a:lnTo>
                  <a:lnTo>
                    <a:pt x="13" y="198"/>
                  </a:lnTo>
                  <a:lnTo>
                    <a:pt x="12" y="198"/>
                  </a:lnTo>
                  <a:lnTo>
                    <a:pt x="10" y="197"/>
                  </a:lnTo>
                  <a:lnTo>
                    <a:pt x="9" y="197"/>
                  </a:lnTo>
                  <a:lnTo>
                    <a:pt x="7" y="197"/>
                  </a:lnTo>
                  <a:lnTo>
                    <a:pt x="7" y="195"/>
                  </a:lnTo>
                  <a:lnTo>
                    <a:pt x="5" y="195"/>
                  </a:lnTo>
                  <a:lnTo>
                    <a:pt x="5" y="193"/>
                  </a:lnTo>
                  <a:lnTo>
                    <a:pt x="4" y="192"/>
                  </a:lnTo>
                  <a:lnTo>
                    <a:pt x="2" y="192"/>
                  </a:lnTo>
                  <a:lnTo>
                    <a:pt x="4" y="190"/>
                  </a:lnTo>
                  <a:lnTo>
                    <a:pt x="4" y="188"/>
                  </a:lnTo>
                  <a:lnTo>
                    <a:pt x="4" y="187"/>
                  </a:lnTo>
                  <a:lnTo>
                    <a:pt x="4" y="185"/>
                  </a:lnTo>
                  <a:lnTo>
                    <a:pt x="4" y="183"/>
                  </a:lnTo>
                  <a:lnTo>
                    <a:pt x="4" y="182"/>
                  </a:lnTo>
                  <a:lnTo>
                    <a:pt x="5" y="182"/>
                  </a:lnTo>
                  <a:lnTo>
                    <a:pt x="4" y="180"/>
                  </a:lnTo>
                  <a:lnTo>
                    <a:pt x="4" y="179"/>
                  </a:lnTo>
                  <a:lnTo>
                    <a:pt x="4" y="177"/>
                  </a:lnTo>
                  <a:lnTo>
                    <a:pt x="4" y="175"/>
                  </a:lnTo>
                  <a:lnTo>
                    <a:pt x="4" y="174"/>
                  </a:lnTo>
                  <a:lnTo>
                    <a:pt x="5" y="170"/>
                  </a:lnTo>
                  <a:lnTo>
                    <a:pt x="7" y="170"/>
                  </a:lnTo>
                  <a:lnTo>
                    <a:pt x="7" y="172"/>
                  </a:lnTo>
                  <a:lnTo>
                    <a:pt x="9" y="172"/>
                  </a:lnTo>
                  <a:lnTo>
                    <a:pt x="10" y="172"/>
                  </a:lnTo>
                  <a:lnTo>
                    <a:pt x="12" y="172"/>
                  </a:lnTo>
                  <a:lnTo>
                    <a:pt x="12" y="170"/>
                  </a:lnTo>
                  <a:lnTo>
                    <a:pt x="13" y="170"/>
                  </a:lnTo>
                  <a:lnTo>
                    <a:pt x="15" y="170"/>
                  </a:lnTo>
                  <a:lnTo>
                    <a:pt x="15" y="169"/>
                  </a:lnTo>
                  <a:lnTo>
                    <a:pt x="15" y="170"/>
                  </a:lnTo>
                  <a:lnTo>
                    <a:pt x="17" y="170"/>
                  </a:lnTo>
                  <a:lnTo>
                    <a:pt x="18" y="170"/>
                  </a:lnTo>
                  <a:lnTo>
                    <a:pt x="20" y="170"/>
                  </a:lnTo>
                  <a:lnTo>
                    <a:pt x="22" y="172"/>
                  </a:lnTo>
                  <a:lnTo>
                    <a:pt x="22" y="174"/>
                  </a:lnTo>
                  <a:lnTo>
                    <a:pt x="22" y="175"/>
                  </a:lnTo>
                  <a:lnTo>
                    <a:pt x="23" y="177"/>
                  </a:lnTo>
                  <a:lnTo>
                    <a:pt x="25" y="177"/>
                  </a:lnTo>
                  <a:lnTo>
                    <a:pt x="25" y="179"/>
                  </a:lnTo>
                  <a:lnTo>
                    <a:pt x="25" y="180"/>
                  </a:lnTo>
                  <a:lnTo>
                    <a:pt x="26" y="180"/>
                  </a:lnTo>
                  <a:lnTo>
                    <a:pt x="28" y="182"/>
                  </a:lnTo>
                  <a:lnTo>
                    <a:pt x="30" y="182"/>
                  </a:lnTo>
                  <a:lnTo>
                    <a:pt x="30" y="180"/>
                  </a:lnTo>
                  <a:lnTo>
                    <a:pt x="31" y="180"/>
                  </a:lnTo>
                  <a:lnTo>
                    <a:pt x="31" y="179"/>
                  </a:lnTo>
                  <a:lnTo>
                    <a:pt x="33" y="180"/>
                  </a:lnTo>
                  <a:lnTo>
                    <a:pt x="35" y="180"/>
                  </a:lnTo>
                  <a:lnTo>
                    <a:pt x="36" y="180"/>
                  </a:lnTo>
                  <a:lnTo>
                    <a:pt x="38" y="180"/>
                  </a:lnTo>
                  <a:lnTo>
                    <a:pt x="38" y="179"/>
                  </a:lnTo>
                  <a:lnTo>
                    <a:pt x="39" y="179"/>
                  </a:lnTo>
                  <a:lnTo>
                    <a:pt x="41" y="179"/>
                  </a:lnTo>
                  <a:lnTo>
                    <a:pt x="43" y="180"/>
                  </a:lnTo>
                  <a:lnTo>
                    <a:pt x="44" y="180"/>
                  </a:lnTo>
                  <a:lnTo>
                    <a:pt x="46" y="182"/>
                  </a:lnTo>
                  <a:lnTo>
                    <a:pt x="46" y="183"/>
                  </a:lnTo>
                  <a:lnTo>
                    <a:pt x="46" y="182"/>
                  </a:lnTo>
                  <a:lnTo>
                    <a:pt x="46" y="180"/>
                  </a:lnTo>
                  <a:lnTo>
                    <a:pt x="46" y="179"/>
                  </a:lnTo>
                  <a:lnTo>
                    <a:pt x="48" y="180"/>
                  </a:lnTo>
                  <a:lnTo>
                    <a:pt x="48" y="179"/>
                  </a:lnTo>
                  <a:lnTo>
                    <a:pt x="49" y="179"/>
                  </a:lnTo>
                  <a:lnTo>
                    <a:pt x="49" y="180"/>
                  </a:lnTo>
                  <a:lnTo>
                    <a:pt x="49" y="183"/>
                  </a:lnTo>
                  <a:lnTo>
                    <a:pt x="48" y="183"/>
                  </a:lnTo>
                  <a:lnTo>
                    <a:pt x="48" y="185"/>
                  </a:lnTo>
                  <a:lnTo>
                    <a:pt x="48" y="183"/>
                  </a:lnTo>
                  <a:lnTo>
                    <a:pt x="49" y="183"/>
                  </a:lnTo>
                  <a:lnTo>
                    <a:pt x="51" y="183"/>
                  </a:lnTo>
                  <a:lnTo>
                    <a:pt x="49" y="185"/>
                  </a:lnTo>
                  <a:lnTo>
                    <a:pt x="48" y="185"/>
                  </a:lnTo>
                  <a:lnTo>
                    <a:pt x="48" y="187"/>
                  </a:lnTo>
                  <a:lnTo>
                    <a:pt x="49" y="187"/>
                  </a:lnTo>
                  <a:lnTo>
                    <a:pt x="48" y="187"/>
                  </a:lnTo>
                  <a:lnTo>
                    <a:pt x="49" y="187"/>
                  </a:lnTo>
                  <a:lnTo>
                    <a:pt x="51" y="187"/>
                  </a:lnTo>
                  <a:lnTo>
                    <a:pt x="51" y="188"/>
                  </a:lnTo>
                  <a:lnTo>
                    <a:pt x="52" y="188"/>
                  </a:lnTo>
                  <a:lnTo>
                    <a:pt x="54" y="188"/>
                  </a:lnTo>
                  <a:lnTo>
                    <a:pt x="54" y="187"/>
                  </a:lnTo>
                  <a:lnTo>
                    <a:pt x="56" y="187"/>
                  </a:lnTo>
                  <a:lnTo>
                    <a:pt x="56" y="185"/>
                  </a:lnTo>
                  <a:lnTo>
                    <a:pt x="56" y="183"/>
                  </a:lnTo>
                  <a:lnTo>
                    <a:pt x="56" y="182"/>
                  </a:lnTo>
                  <a:lnTo>
                    <a:pt x="57" y="180"/>
                  </a:lnTo>
                  <a:lnTo>
                    <a:pt x="59" y="179"/>
                  </a:lnTo>
                  <a:lnTo>
                    <a:pt x="61" y="179"/>
                  </a:lnTo>
                  <a:lnTo>
                    <a:pt x="62" y="180"/>
                  </a:lnTo>
                  <a:lnTo>
                    <a:pt x="65" y="182"/>
                  </a:lnTo>
                  <a:lnTo>
                    <a:pt x="65" y="183"/>
                  </a:lnTo>
                  <a:lnTo>
                    <a:pt x="64" y="183"/>
                  </a:lnTo>
                  <a:lnTo>
                    <a:pt x="61" y="185"/>
                  </a:lnTo>
                  <a:lnTo>
                    <a:pt x="61" y="187"/>
                  </a:lnTo>
                  <a:lnTo>
                    <a:pt x="59" y="187"/>
                  </a:lnTo>
                  <a:lnTo>
                    <a:pt x="57" y="188"/>
                  </a:lnTo>
                  <a:lnTo>
                    <a:pt x="57" y="190"/>
                  </a:lnTo>
                  <a:lnTo>
                    <a:pt x="59" y="190"/>
                  </a:lnTo>
                  <a:lnTo>
                    <a:pt x="57" y="192"/>
                  </a:lnTo>
                  <a:lnTo>
                    <a:pt x="57" y="193"/>
                  </a:lnTo>
                  <a:lnTo>
                    <a:pt x="57" y="192"/>
                  </a:lnTo>
                  <a:lnTo>
                    <a:pt x="57" y="193"/>
                  </a:lnTo>
                  <a:lnTo>
                    <a:pt x="59" y="193"/>
                  </a:lnTo>
                  <a:lnTo>
                    <a:pt x="61" y="192"/>
                  </a:lnTo>
                  <a:lnTo>
                    <a:pt x="61" y="190"/>
                  </a:lnTo>
                  <a:lnTo>
                    <a:pt x="61" y="188"/>
                  </a:lnTo>
                  <a:lnTo>
                    <a:pt x="62" y="187"/>
                  </a:lnTo>
                  <a:lnTo>
                    <a:pt x="62" y="188"/>
                  </a:lnTo>
                  <a:lnTo>
                    <a:pt x="62" y="187"/>
                  </a:lnTo>
                  <a:lnTo>
                    <a:pt x="62" y="188"/>
                  </a:lnTo>
                  <a:lnTo>
                    <a:pt x="64" y="188"/>
                  </a:lnTo>
                  <a:lnTo>
                    <a:pt x="64" y="190"/>
                  </a:lnTo>
                  <a:lnTo>
                    <a:pt x="65" y="190"/>
                  </a:lnTo>
                  <a:lnTo>
                    <a:pt x="65" y="192"/>
                  </a:lnTo>
                  <a:lnTo>
                    <a:pt x="64" y="193"/>
                  </a:lnTo>
                  <a:lnTo>
                    <a:pt x="62" y="195"/>
                  </a:lnTo>
                  <a:lnTo>
                    <a:pt x="64" y="195"/>
                  </a:lnTo>
                  <a:lnTo>
                    <a:pt x="64" y="193"/>
                  </a:lnTo>
                  <a:lnTo>
                    <a:pt x="65" y="193"/>
                  </a:lnTo>
                  <a:lnTo>
                    <a:pt x="65" y="192"/>
                  </a:lnTo>
                  <a:lnTo>
                    <a:pt x="67" y="192"/>
                  </a:lnTo>
                  <a:lnTo>
                    <a:pt x="67" y="190"/>
                  </a:lnTo>
                  <a:lnTo>
                    <a:pt x="65" y="190"/>
                  </a:lnTo>
                  <a:lnTo>
                    <a:pt x="65" y="188"/>
                  </a:lnTo>
                  <a:lnTo>
                    <a:pt x="64" y="188"/>
                  </a:lnTo>
                  <a:lnTo>
                    <a:pt x="64" y="187"/>
                  </a:lnTo>
                  <a:lnTo>
                    <a:pt x="67" y="185"/>
                  </a:lnTo>
                  <a:lnTo>
                    <a:pt x="69" y="183"/>
                  </a:lnTo>
                  <a:lnTo>
                    <a:pt x="70" y="185"/>
                  </a:lnTo>
                  <a:lnTo>
                    <a:pt x="72" y="185"/>
                  </a:lnTo>
                  <a:lnTo>
                    <a:pt x="72" y="187"/>
                  </a:lnTo>
                  <a:lnTo>
                    <a:pt x="72" y="185"/>
                  </a:lnTo>
                  <a:lnTo>
                    <a:pt x="72" y="187"/>
                  </a:lnTo>
                  <a:lnTo>
                    <a:pt x="74" y="188"/>
                  </a:lnTo>
                  <a:lnTo>
                    <a:pt x="72" y="188"/>
                  </a:lnTo>
                  <a:lnTo>
                    <a:pt x="74" y="188"/>
                  </a:lnTo>
                  <a:lnTo>
                    <a:pt x="74" y="190"/>
                  </a:lnTo>
                  <a:lnTo>
                    <a:pt x="74" y="188"/>
                  </a:lnTo>
                  <a:lnTo>
                    <a:pt x="75" y="188"/>
                  </a:lnTo>
                  <a:lnTo>
                    <a:pt x="77" y="188"/>
                  </a:lnTo>
                  <a:lnTo>
                    <a:pt x="78" y="190"/>
                  </a:lnTo>
                  <a:lnTo>
                    <a:pt x="80" y="188"/>
                  </a:lnTo>
                  <a:lnTo>
                    <a:pt x="82" y="190"/>
                  </a:lnTo>
                  <a:lnTo>
                    <a:pt x="83" y="190"/>
                  </a:lnTo>
                  <a:lnTo>
                    <a:pt x="82" y="190"/>
                  </a:lnTo>
                  <a:lnTo>
                    <a:pt x="83" y="190"/>
                  </a:lnTo>
                  <a:lnTo>
                    <a:pt x="83" y="188"/>
                  </a:lnTo>
                  <a:lnTo>
                    <a:pt x="83" y="190"/>
                  </a:lnTo>
                  <a:lnTo>
                    <a:pt x="83" y="188"/>
                  </a:lnTo>
                  <a:lnTo>
                    <a:pt x="85" y="188"/>
                  </a:lnTo>
                  <a:lnTo>
                    <a:pt x="83" y="188"/>
                  </a:lnTo>
                  <a:lnTo>
                    <a:pt x="82" y="188"/>
                  </a:lnTo>
                  <a:lnTo>
                    <a:pt x="82" y="187"/>
                  </a:lnTo>
                  <a:lnTo>
                    <a:pt x="80" y="187"/>
                  </a:lnTo>
                  <a:lnTo>
                    <a:pt x="78" y="185"/>
                  </a:lnTo>
                  <a:lnTo>
                    <a:pt x="80" y="185"/>
                  </a:lnTo>
                  <a:lnTo>
                    <a:pt x="82" y="185"/>
                  </a:lnTo>
                  <a:lnTo>
                    <a:pt x="83" y="185"/>
                  </a:lnTo>
                  <a:lnTo>
                    <a:pt x="82" y="185"/>
                  </a:lnTo>
                  <a:lnTo>
                    <a:pt x="85" y="185"/>
                  </a:lnTo>
                  <a:lnTo>
                    <a:pt x="85" y="183"/>
                  </a:lnTo>
                  <a:lnTo>
                    <a:pt x="87" y="183"/>
                  </a:lnTo>
                  <a:lnTo>
                    <a:pt x="88" y="183"/>
                  </a:lnTo>
                  <a:lnTo>
                    <a:pt x="90" y="183"/>
                  </a:lnTo>
                  <a:lnTo>
                    <a:pt x="90" y="185"/>
                  </a:lnTo>
                  <a:lnTo>
                    <a:pt x="88" y="185"/>
                  </a:lnTo>
                  <a:lnTo>
                    <a:pt x="87" y="185"/>
                  </a:lnTo>
                  <a:lnTo>
                    <a:pt x="85" y="185"/>
                  </a:lnTo>
                  <a:lnTo>
                    <a:pt x="87" y="185"/>
                  </a:lnTo>
                  <a:lnTo>
                    <a:pt x="88" y="185"/>
                  </a:lnTo>
                  <a:lnTo>
                    <a:pt x="90" y="185"/>
                  </a:lnTo>
                  <a:lnTo>
                    <a:pt x="90" y="187"/>
                  </a:lnTo>
                  <a:lnTo>
                    <a:pt x="91" y="187"/>
                  </a:lnTo>
                  <a:lnTo>
                    <a:pt x="90" y="187"/>
                  </a:lnTo>
                  <a:lnTo>
                    <a:pt x="88" y="187"/>
                  </a:lnTo>
                  <a:lnTo>
                    <a:pt x="88" y="188"/>
                  </a:lnTo>
                  <a:lnTo>
                    <a:pt x="90" y="187"/>
                  </a:lnTo>
                  <a:lnTo>
                    <a:pt x="90" y="188"/>
                  </a:lnTo>
                  <a:lnTo>
                    <a:pt x="88" y="188"/>
                  </a:lnTo>
                  <a:lnTo>
                    <a:pt x="90" y="188"/>
                  </a:lnTo>
                  <a:lnTo>
                    <a:pt x="91" y="188"/>
                  </a:lnTo>
                  <a:lnTo>
                    <a:pt x="90" y="188"/>
                  </a:lnTo>
                  <a:lnTo>
                    <a:pt x="88" y="188"/>
                  </a:lnTo>
                  <a:lnTo>
                    <a:pt x="88" y="190"/>
                  </a:lnTo>
                  <a:lnTo>
                    <a:pt x="87" y="190"/>
                  </a:lnTo>
                  <a:lnTo>
                    <a:pt x="85" y="190"/>
                  </a:lnTo>
                  <a:lnTo>
                    <a:pt x="87" y="190"/>
                  </a:lnTo>
                  <a:lnTo>
                    <a:pt x="87" y="192"/>
                  </a:lnTo>
                  <a:lnTo>
                    <a:pt x="88" y="192"/>
                  </a:lnTo>
                  <a:lnTo>
                    <a:pt x="88" y="190"/>
                  </a:lnTo>
                  <a:lnTo>
                    <a:pt x="90" y="190"/>
                  </a:lnTo>
                  <a:lnTo>
                    <a:pt x="88" y="190"/>
                  </a:lnTo>
                  <a:lnTo>
                    <a:pt x="88" y="192"/>
                  </a:lnTo>
                  <a:lnTo>
                    <a:pt x="90" y="192"/>
                  </a:lnTo>
                  <a:lnTo>
                    <a:pt x="88" y="192"/>
                  </a:lnTo>
                  <a:lnTo>
                    <a:pt x="87" y="192"/>
                  </a:lnTo>
                  <a:lnTo>
                    <a:pt x="88" y="193"/>
                  </a:lnTo>
                  <a:lnTo>
                    <a:pt x="87" y="193"/>
                  </a:lnTo>
                  <a:lnTo>
                    <a:pt x="87" y="195"/>
                  </a:lnTo>
                  <a:lnTo>
                    <a:pt x="88" y="195"/>
                  </a:lnTo>
                  <a:lnTo>
                    <a:pt x="88" y="197"/>
                  </a:lnTo>
                  <a:lnTo>
                    <a:pt x="90" y="198"/>
                  </a:lnTo>
                  <a:lnTo>
                    <a:pt x="90" y="200"/>
                  </a:lnTo>
                  <a:lnTo>
                    <a:pt x="90" y="201"/>
                  </a:lnTo>
                  <a:lnTo>
                    <a:pt x="90" y="198"/>
                  </a:lnTo>
                  <a:lnTo>
                    <a:pt x="90" y="197"/>
                  </a:lnTo>
                  <a:lnTo>
                    <a:pt x="90" y="195"/>
                  </a:lnTo>
                  <a:lnTo>
                    <a:pt x="91" y="195"/>
                  </a:lnTo>
                  <a:lnTo>
                    <a:pt x="91" y="193"/>
                  </a:lnTo>
                  <a:lnTo>
                    <a:pt x="93" y="193"/>
                  </a:lnTo>
                  <a:lnTo>
                    <a:pt x="95" y="193"/>
                  </a:lnTo>
                  <a:lnTo>
                    <a:pt x="96" y="192"/>
                  </a:lnTo>
                  <a:lnTo>
                    <a:pt x="96" y="193"/>
                  </a:lnTo>
                  <a:lnTo>
                    <a:pt x="96" y="192"/>
                  </a:lnTo>
                  <a:lnTo>
                    <a:pt x="98" y="192"/>
                  </a:lnTo>
                  <a:lnTo>
                    <a:pt x="100" y="192"/>
                  </a:lnTo>
                  <a:lnTo>
                    <a:pt x="100" y="193"/>
                  </a:lnTo>
                  <a:lnTo>
                    <a:pt x="101" y="193"/>
                  </a:lnTo>
                  <a:lnTo>
                    <a:pt x="100" y="193"/>
                  </a:lnTo>
                  <a:lnTo>
                    <a:pt x="101" y="195"/>
                  </a:lnTo>
                  <a:lnTo>
                    <a:pt x="103" y="195"/>
                  </a:lnTo>
                  <a:lnTo>
                    <a:pt x="104" y="195"/>
                  </a:lnTo>
                  <a:lnTo>
                    <a:pt x="106" y="195"/>
                  </a:lnTo>
                  <a:lnTo>
                    <a:pt x="106" y="197"/>
                  </a:lnTo>
                  <a:lnTo>
                    <a:pt x="106" y="195"/>
                  </a:lnTo>
                  <a:lnTo>
                    <a:pt x="108" y="195"/>
                  </a:lnTo>
                  <a:lnTo>
                    <a:pt x="108" y="197"/>
                  </a:lnTo>
                  <a:lnTo>
                    <a:pt x="109" y="197"/>
                  </a:lnTo>
                  <a:lnTo>
                    <a:pt x="111" y="197"/>
                  </a:lnTo>
                  <a:lnTo>
                    <a:pt x="111" y="198"/>
                  </a:lnTo>
                  <a:lnTo>
                    <a:pt x="111" y="200"/>
                  </a:lnTo>
                  <a:lnTo>
                    <a:pt x="113" y="200"/>
                  </a:lnTo>
                  <a:lnTo>
                    <a:pt x="113" y="201"/>
                  </a:lnTo>
                  <a:lnTo>
                    <a:pt x="114" y="201"/>
                  </a:lnTo>
                  <a:lnTo>
                    <a:pt x="113" y="203"/>
                  </a:lnTo>
                  <a:lnTo>
                    <a:pt x="114" y="203"/>
                  </a:lnTo>
                  <a:lnTo>
                    <a:pt x="114" y="205"/>
                  </a:lnTo>
                  <a:lnTo>
                    <a:pt x="116" y="203"/>
                  </a:lnTo>
                  <a:lnTo>
                    <a:pt x="116" y="205"/>
                  </a:lnTo>
                  <a:lnTo>
                    <a:pt x="117" y="205"/>
                  </a:lnTo>
                  <a:lnTo>
                    <a:pt x="117" y="206"/>
                  </a:lnTo>
                  <a:lnTo>
                    <a:pt x="119" y="206"/>
                  </a:lnTo>
                  <a:lnTo>
                    <a:pt x="117" y="205"/>
                  </a:lnTo>
                  <a:lnTo>
                    <a:pt x="119" y="205"/>
                  </a:lnTo>
                  <a:lnTo>
                    <a:pt x="121" y="205"/>
                  </a:lnTo>
                  <a:lnTo>
                    <a:pt x="119" y="205"/>
                  </a:lnTo>
                  <a:lnTo>
                    <a:pt x="119" y="206"/>
                  </a:lnTo>
                  <a:lnTo>
                    <a:pt x="121" y="206"/>
                  </a:lnTo>
                  <a:lnTo>
                    <a:pt x="122" y="206"/>
                  </a:lnTo>
                  <a:lnTo>
                    <a:pt x="124" y="208"/>
                  </a:lnTo>
                  <a:lnTo>
                    <a:pt x="124" y="210"/>
                  </a:lnTo>
                  <a:lnTo>
                    <a:pt x="126" y="210"/>
                  </a:lnTo>
                  <a:lnTo>
                    <a:pt x="126" y="211"/>
                  </a:lnTo>
                  <a:lnTo>
                    <a:pt x="127" y="211"/>
                  </a:lnTo>
                  <a:lnTo>
                    <a:pt x="129" y="211"/>
                  </a:lnTo>
                  <a:lnTo>
                    <a:pt x="129" y="213"/>
                  </a:lnTo>
                  <a:lnTo>
                    <a:pt x="130" y="213"/>
                  </a:lnTo>
                  <a:lnTo>
                    <a:pt x="132" y="213"/>
                  </a:lnTo>
                  <a:lnTo>
                    <a:pt x="134" y="214"/>
                  </a:lnTo>
                  <a:lnTo>
                    <a:pt x="135" y="214"/>
                  </a:lnTo>
                  <a:lnTo>
                    <a:pt x="134" y="216"/>
                  </a:lnTo>
                  <a:lnTo>
                    <a:pt x="135" y="216"/>
                  </a:lnTo>
                  <a:lnTo>
                    <a:pt x="135" y="214"/>
                  </a:lnTo>
                  <a:lnTo>
                    <a:pt x="135" y="216"/>
                  </a:lnTo>
                  <a:lnTo>
                    <a:pt x="135" y="214"/>
                  </a:lnTo>
                  <a:lnTo>
                    <a:pt x="135" y="216"/>
                  </a:lnTo>
                  <a:lnTo>
                    <a:pt x="137" y="216"/>
                  </a:lnTo>
                  <a:lnTo>
                    <a:pt x="135" y="214"/>
                  </a:lnTo>
                  <a:lnTo>
                    <a:pt x="137" y="214"/>
                  </a:lnTo>
                  <a:lnTo>
                    <a:pt x="139" y="213"/>
                  </a:lnTo>
                  <a:lnTo>
                    <a:pt x="137" y="213"/>
                  </a:lnTo>
                  <a:lnTo>
                    <a:pt x="139" y="213"/>
                  </a:lnTo>
                  <a:lnTo>
                    <a:pt x="139" y="211"/>
                  </a:lnTo>
                  <a:lnTo>
                    <a:pt x="139" y="213"/>
                  </a:lnTo>
                  <a:lnTo>
                    <a:pt x="139" y="211"/>
                  </a:lnTo>
                  <a:lnTo>
                    <a:pt x="137" y="210"/>
                  </a:lnTo>
                  <a:lnTo>
                    <a:pt x="137" y="208"/>
                  </a:lnTo>
                  <a:lnTo>
                    <a:pt x="139" y="208"/>
                  </a:lnTo>
                  <a:lnTo>
                    <a:pt x="140" y="208"/>
                  </a:lnTo>
                  <a:lnTo>
                    <a:pt x="142" y="206"/>
                  </a:lnTo>
                  <a:lnTo>
                    <a:pt x="142" y="205"/>
                  </a:lnTo>
                  <a:lnTo>
                    <a:pt x="144" y="205"/>
                  </a:lnTo>
                  <a:lnTo>
                    <a:pt x="145" y="203"/>
                  </a:lnTo>
                  <a:lnTo>
                    <a:pt x="147" y="203"/>
                  </a:lnTo>
                  <a:lnTo>
                    <a:pt x="147" y="201"/>
                  </a:lnTo>
                  <a:lnTo>
                    <a:pt x="148" y="201"/>
                  </a:lnTo>
                  <a:lnTo>
                    <a:pt x="150" y="200"/>
                  </a:lnTo>
                  <a:lnTo>
                    <a:pt x="150" y="198"/>
                  </a:lnTo>
                  <a:lnTo>
                    <a:pt x="150" y="197"/>
                  </a:lnTo>
                  <a:lnTo>
                    <a:pt x="152" y="195"/>
                  </a:lnTo>
                  <a:lnTo>
                    <a:pt x="150" y="193"/>
                  </a:lnTo>
                  <a:lnTo>
                    <a:pt x="148" y="193"/>
                  </a:lnTo>
                  <a:lnTo>
                    <a:pt x="148" y="192"/>
                  </a:lnTo>
                  <a:lnTo>
                    <a:pt x="147" y="192"/>
                  </a:lnTo>
                  <a:lnTo>
                    <a:pt x="147" y="193"/>
                  </a:lnTo>
                  <a:lnTo>
                    <a:pt x="145" y="195"/>
                  </a:lnTo>
                  <a:lnTo>
                    <a:pt x="144" y="195"/>
                  </a:lnTo>
                  <a:lnTo>
                    <a:pt x="144" y="197"/>
                  </a:lnTo>
                  <a:lnTo>
                    <a:pt x="144" y="195"/>
                  </a:lnTo>
                  <a:lnTo>
                    <a:pt x="142" y="197"/>
                  </a:lnTo>
                  <a:lnTo>
                    <a:pt x="144" y="197"/>
                  </a:lnTo>
                  <a:lnTo>
                    <a:pt x="142" y="197"/>
                  </a:lnTo>
                  <a:lnTo>
                    <a:pt x="140" y="197"/>
                  </a:lnTo>
                  <a:lnTo>
                    <a:pt x="139" y="197"/>
                  </a:lnTo>
                  <a:lnTo>
                    <a:pt x="139" y="198"/>
                  </a:lnTo>
                  <a:lnTo>
                    <a:pt x="137" y="198"/>
                  </a:lnTo>
                  <a:lnTo>
                    <a:pt x="135" y="198"/>
                  </a:lnTo>
                  <a:lnTo>
                    <a:pt x="134" y="198"/>
                  </a:lnTo>
                  <a:lnTo>
                    <a:pt x="132" y="198"/>
                  </a:lnTo>
                  <a:lnTo>
                    <a:pt x="130" y="198"/>
                  </a:lnTo>
                  <a:lnTo>
                    <a:pt x="129" y="198"/>
                  </a:lnTo>
                  <a:lnTo>
                    <a:pt x="127" y="197"/>
                  </a:lnTo>
                  <a:lnTo>
                    <a:pt x="127" y="198"/>
                  </a:lnTo>
                  <a:lnTo>
                    <a:pt x="127" y="197"/>
                  </a:lnTo>
                  <a:lnTo>
                    <a:pt x="126" y="197"/>
                  </a:lnTo>
                  <a:lnTo>
                    <a:pt x="124" y="195"/>
                  </a:lnTo>
                  <a:lnTo>
                    <a:pt x="124" y="193"/>
                  </a:lnTo>
                  <a:lnTo>
                    <a:pt x="122" y="193"/>
                  </a:lnTo>
                  <a:lnTo>
                    <a:pt x="121" y="192"/>
                  </a:lnTo>
                  <a:lnTo>
                    <a:pt x="119" y="192"/>
                  </a:lnTo>
                  <a:lnTo>
                    <a:pt x="119" y="190"/>
                  </a:lnTo>
                  <a:lnTo>
                    <a:pt x="117" y="190"/>
                  </a:lnTo>
                  <a:lnTo>
                    <a:pt x="119" y="190"/>
                  </a:lnTo>
                  <a:lnTo>
                    <a:pt x="117" y="190"/>
                  </a:lnTo>
                  <a:lnTo>
                    <a:pt x="117" y="188"/>
                  </a:lnTo>
                  <a:lnTo>
                    <a:pt x="116" y="187"/>
                  </a:lnTo>
                  <a:lnTo>
                    <a:pt x="116" y="185"/>
                  </a:lnTo>
                  <a:lnTo>
                    <a:pt x="114" y="185"/>
                  </a:lnTo>
                  <a:lnTo>
                    <a:pt x="114" y="183"/>
                  </a:lnTo>
                  <a:lnTo>
                    <a:pt x="114" y="182"/>
                  </a:lnTo>
                  <a:lnTo>
                    <a:pt x="114" y="180"/>
                  </a:lnTo>
                  <a:lnTo>
                    <a:pt x="113" y="180"/>
                  </a:lnTo>
                  <a:lnTo>
                    <a:pt x="113" y="182"/>
                  </a:lnTo>
                  <a:lnTo>
                    <a:pt x="113" y="180"/>
                  </a:lnTo>
                  <a:lnTo>
                    <a:pt x="111" y="182"/>
                  </a:lnTo>
                  <a:lnTo>
                    <a:pt x="111" y="180"/>
                  </a:lnTo>
                  <a:lnTo>
                    <a:pt x="111" y="182"/>
                  </a:lnTo>
                  <a:lnTo>
                    <a:pt x="111" y="180"/>
                  </a:lnTo>
                  <a:lnTo>
                    <a:pt x="111" y="182"/>
                  </a:lnTo>
                  <a:lnTo>
                    <a:pt x="109" y="182"/>
                  </a:lnTo>
                  <a:lnTo>
                    <a:pt x="109" y="180"/>
                  </a:lnTo>
                  <a:lnTo>
                    <a:pt x="109" y="182"/>
                  </a:lnTo>
                  <a:lnTo>
                    <a:pt x="109" y="180"/>
                  </a:lnTo>
                  <a:lnTo>
                    <a:pt x="108" y="180"/>
                  </a:lnTo>
                  <a:lnTo>
                    <a:pt x="109" y="180"/>
                  </a:lnTo>
                  <a:lnTo>
                    <a:pt x="108" y="180"/>
                  </a:lnTo>
                  <a:lnTo>
                    <a:pt x="109" y="180"/>
                  </a:lnTo>
                  <a:lnTo>
                    <a:pt x="108" y="180"/>
                  </a:lnTo>
                  <a:lnTo>
                    <a:pt x="108" y="179"/>
                  </a:lnTo>
                  <a:lnTo>
                    <a:pt x="106" y="179"/>
                  </a:lnTo>
                  <a:lnTo>
                    <a:pt x="108" y="179"/>
                  </a:lnTo>
                  <a:lnTo>
                    <a:pt x="106" y="179"/>
                  </a:lnTo>
                  <a:lnTo>
                    <a:pt x="104" y="179"/>
                  </a:lnTo>
                  <a:lnTo>
                    <a:pt x="106" y="177"/>
                  </a:lnTo>
                  <a:lnTo>
                    <a:pt x="104" y="177"/>
                  </a:lnTo>
                  <a:lnTo>
                    <a:pt x="104" y="179"/>
                  </a:lnTo>
                  <a:lnTo>
                    <a:pt x="104" y="177"/>
                  </a:lnTo>
                  <a:lnTo>
                    <a:pt x="104" y="175"/>
                  </a:lnTo>
                  <a:lnTo>
                    <a:pt x="104" y="177"/>
                  </a:lnTo>
                  <a:lnTo>
                    <a:pt x="104" y="175"/>
                  </a:lnTo>
                  <a:lnTo>
                    <a:pt x="106" y="175"/>
                  </a:lnTo>
                  <a:lnTo>
                    <a:pt x="104" y="175"/>
                  </a:lnTo>
                  <a:lnTo>
                    <a:pt x="106" y="175"/>
                  </a:lnTo>
                  <a:lnTo>
                    <a:pt x="104" y="177"/>
                  </a:lnTo>
                  <a:lnTo>
                    <a:pt x="106" y="177"/>
                  </a:lnTo>
                  <a:lnTo>
                    <a:pt x="106" y="175"/>
                  </a:lnTo>
                  <a:lnTo>
                    <a:pt x="108" y="175"/>
                  </a:lnTo>
                  <a:lnTo>
                    <a:pt x="109" y="175"/>
                  </a:lnTo>
                  <a:lnTo>
                    <a:pt x="109" y="177"/>
                  </a:lnTo>
                  <a:lnTo>
                    <a:pt x="108" y="177"/>
                  </a:lnTo>
                  <a:lnTo>
                    <a:pt x="109" y="177"/>
                  </a:lnTo>
                  <a:lnTo>
                    <a:pt x="111" y="177"/>
                  </a:lnTo>
                  <a:lnTo>
                    <a:pt x="109" y="177"/>
                  </a:lnTo>
                  <a:lnTo>
                    <a:pt x="111" y="177"/>
                  </a:lnTo>
                  <a:lnTo>
                    <a:pt x="111" y="175"/>
                  </a:lnTo>
                  <a:lnTo>
                    <a:pt x="111" y="177"/>
                  </a:lnTo>
                  <a:lnTo>
                    <a:pt x="113" y="177"/>
                  </a:lnTo>
                  <a:lnTo>
                    <a:pt x="111" y="177"/>
                  </a:lnTo>
                  <a:lnTo>
                    <a:pt x="111" y="175"/>
                  </a:lnTo>
                  <a:lnTo>
                    <a:pt x="111" y="174"/>
                  </a:lnTo>
                  <a:lnTo>
                    <a:pt x="109" y="174"/>
                  </a:lnTo>
                  <a:lnTo>
                    <a:pt x="109" y="175"/>
                  </a:lnTo>
                  <a:lnTo>
                    <a:pt x="109" y="174"/>
                  </a:lnTo>
                  <a:lnTo>
                    <a:pt x="108" y="174"/>
                  </a:lnTo>
                  <a:lnTo>
                    <a:pt x="106" y="174"/>
                  </a:lnTo>
                  <a:lnTo>
                    <a:pt x="108" y="174"/>
                  </a:lnTo>
                  <a:lnTo>
                    <a:pt x="106" y="174"/>
                  </a:lnTo>
                  <a:lnTo>
                    <a:pt x="104" y="174"/>
                  </a:lnTo>
                  <a:lnTo>
                    <a:pt x="103" y="172"/>
                  </a:lnTo>
                  <a:lnTo>
                    <a:pt x="104" y="172"/>
                  </a:lnTo>
                  <a:lnTo>
                    <a:pt x="106" y="172"/>
                  </a:lnTo>
                  <a:lnTo>
                    <a:pt x="108" y="172"/>
                  </a:lnTo>
                  <a:lnTo>
                    <a:pt x="108" y="174"/>
                  </a:lnTo>
                  <a:lnTo>
                    <a:pt x="109" y="174"/>
                  </a:lnTo>
                  <a:lnTo>
                    <a:pt x="109" y="172"/>
                  </a:lnTo>
                  <a:lnTo>
                    <a:pt x="109" y="174"/>
                  </a:lnTo>
                  <a:lnTo>
                    <a:pt x="109" y="172"/>
                  </a:lnTo>
                  <a:lnTo>
                    <a:pt x="111" y="172"/>
                  </a:lnTo>
                  <a:lnTo>
                    <a:pt x="109" y="172"/>
                  </a:lnTo>
                  <a:lnTo>
                    <a:pt x="111" y="172"/>
                  </a:lnTo>
                  <a:lnTo>
                    <a:pt x="111" y="170"/>
                  </a:lnTo>
                  <a:lnTo>
                    <a:pt x="113" y="170"/>
                  </a:lnTo>
                  <a:lnTo>
                    <a:pt x="113" y="169"/>
                  </a:lnTo>
                  <a:lnTo>
                    <a:pt x="114" y="169"/>
                  </a:lnTo>
                  <a:lnTo>
                    <a:pt x="116" y="169"/>
                  </a:lnTo>
                  <a:lnTo>
                    <a:pt x="116" y="170"/>
                  </a:lnTo>
                  <a:lnTo>
                    <a:pt x="116" y="169"/>
                  </a:lnTo>
                  <a:lnTo>
                    <a:pt x="116" y="170"/>
                  </a:lnTo>
                  <a:lnTo>
                    <a:pt x="117" y="170"/>
                  </a:lnTo>
                  <a:lnTo>
                    <a:pt x="117" y="169"/>
                  </a:lnTo>
                  <a:lnTo>
                    <a:pt x="117" y="170"/>
                  </a:lnTo>
                  <a:lnTo>
                    <a:pt x="119" y="170"/>
                  </a:lnTo>
                  <a:lnTo>
                    <a:pt x="119" y="169"/>
                  </a:lnTo>
                  <a:lnTo>
                    <a:pt x="119" y="167"/>
                  </a:lnTo>
                  <a:lnTo>
                    <a:pt x="121" y="167"/>
                  </a:lnTo>
                  <a:lnTo>
                    <a:pt x="122" y="167"/>
                  </a:lnTo>
                  <a:lnTo>
                    <a:pt x="121" y="167"/>
                  </a:lnTo>
                  <a:lnTo>
                    <a:pt x="122" y="167"/>
                  </a:lnTo>
                  <a:lnTo>
                    <a:pt x="122" y="169"/>
                  </a:lnTo>
                  <a:lnTo>
                    <a:pt x="124" y="167"/>
                  </a:lnTo>
                  <a:lnTo>
                    <a:pt x="122" y="167"/>
                  </a:lnTo>
                  <a:lnTo>
                    <a:pt x="124" y="167"/>
                  </a:lnTo>
                  <a:lnTo>
                    <a:pt x="124" y="166"/>
                  </a:lnTo>
                  <a:lnTo>
                    <a:pt x="122" y="167"/>
                  </a:lnTo>
                  <a:lnTo>
                    <a:pt x="124" y="166"/>
                  </a:lnTo>
                  <a:lnTo>
                    <a:pt x="126" y="166"/>
                  </a:lnTo>
                  <a:lnTo>
                    <a:pt x="127" y="167"/>
                  </a:lnTo>
                  <a:lnTo>
                    <a:pt x="127" y="166"/>
                  </a:lnTo>
                  <a:lnTo>
                    <a:pt x="129" y="166"/>
                  </a:lnTo>
                  <a:lnTo>
                    <a:pt x="129" y="167"/>
                  </a:lnTo>
                  <a:lnTo>
                    <a:pt x="130" y="166"/>
                  </a:lnTo>
                  <a:lnTo>
                    <a:pt x="132" y="166"/>
                  </a:lnTo>
                  <a:lnTo>
                    <a:pt x="132" y="167"/>
                  </a:lnTo>
                  <a:lnTo>
                    <a:pt x="134" y="167"/>
                  </a:lnTo>
                  <a:lnTo>
                    <a:pt x="135" y="167"/>
                  </a:lnTo>
                  <a:lnTo>
                    <a:pt x="137" y="167"/>
                  </a:lnTo>
                  <a:lnTo>
                    <a:pt x="139" y="167"/>
                  </a:lnTo>
                  <a:lnTo>
                    <a:pt x="140" y="166"/>
                  </a:lnTo>
                  <a:lnTo>
                    <a:pt x="144" y="166"/>
                  </a:lnTo>
                  <a:lnTo>
                    <a:pt x="147" y="164"/>
                  </a:lnTo>
                  <a:lnTo>
                    <a:pt x="148" y="164"/>
                  </a:lnTo>
                  <a:lnTo>
                    <a:pt x="150" y="164"/>
                  </a:lnTo>
                  <a:lnTo>
                    <a:pt x="152" y="164"/>
                  </a:lnTo>
                  <a:lnTo>
                    <a:pt x="153" y="164"/>
                  </a:lnTo>
                  <a:lnTo>
                    <a:pt x="153" y="162"/>
                  </a:lnTo>
                  <a:lnTo>
                    <a:pt x="153" y="164"/>
                  </a:lnTo>
                  <a:lnTo>
                    <a:pt x="153" y="166"/>
                  </a:lnTo>
                  <a:lnTo>
                    <a:pt x="153" y="164"/>
                  </a:lnTo>
                  <a:lnTo>
                    <a:pt x="153" y="166"/>
                  </a:lnTo>
                  <a:lnTo>
                    <a:pt x="153" y="164"/>
                  </a:lnTo>
                  <a:lnTo>
                    <a:pt x="155" y="164"/>
                  </a:lnTo>
                  <a:lnTo>
                    <a:pt x="153" y="164"/>
                  </a:lnTo>
                  <a:lnTo>
                    <a:pt x="153" y="162"/>
                  </a:lnTo>
                  <a:lnTo>
                    <a:pt x="155" y="162"/>
                  </a:lnTo>
                  <a:lnTo>
                    <a:pt x="155" y="164"/>
                  </a:lnTo>
                  <a:lnTo>
                    <a:pt x="157" y="162"/>
                  </a:lnTo>
                  <a:lnTo>
                    <a:pt x="158" y="162"/>
                  </a:lnTo>
                  <a:lnTo>
                    <a:pt x="158" y="164"/>
                  </a:lnTo>
                  <a:lnTo>
                    <a:pt x="160" y="164"/>
                  </a:lnTo>
                  <a:lnTo>
                    <a:pt x="163" y="166"/>
                  </a:lnTo>
                  <a:lnTo>
                    <a:pt x="165" y="166"/>
                  </a:lnTo>
                  <a:lnTo>
                    <a:pt x="165" y="164"/>
                  </a:lnTo>
                  <a:lnTo>
                    <a:pt x="166" y="166"/>
                  </a:lnTo>
                  <a:lnTo>
                    <a:pt x="166" y="164"/>
                  </a:lnTo>
                  <a:lnTo>
                    <a:pt x="168" y="164"/>
                  </a:lnTo>
                  <a:lnTo>
                    <a:pt x="170" y="164"/>
                  </a:lnTo>
                  <a:lnTo>
                    <a:pt x="171" y="164"/>
                  </a:lnTo>
                  <a:lnTo>
                    <a:pt x="171" y="162"/>
                  </a:lnTo>
                  <a:lnTo>
                    <a:pt x="168" y="162"/>
                  </a:lnTo>
                  <a:lnTo>
                    <a:pt x="166" y="162"/>
                  </a:lnTo>
                  <a:lnTo>
                    <a:pt x="165" y="162"/>
                  </a:lnTo>
                  <a:lnTo>
                    <a:pt x="163" y="162"/>
                  </a:lnTo>
                  <a:lnTo>
                    <a:pt x="163" y="161"/>
                  </a:lnTo>
                  <a:lnTo>
                    <a:pt x="163" y="159"/>
                  </a:lnTo>
                  <a:lnTo>
                    <a:pt x="161" y="159"/>
                  </a:lnTo>
                  <a:lnTo>
                    <a:pt x="161" y="157"/>
                  </a:lnTo>
                  <a:lnTo>
                    <a:pt x="160" y="157"/>
                  </a:lnTo>
                  <a:lnTo>
                    <a:pt x="158" y="157"/>
                  </a:lnTo>
                  <a:lnTo>
                    <a:pt x="157" y="157"/>
                  </a:lnTo>
                  <a:lnTo>
                    <a:pt x="155" y="157"/>
                  </a:lnTo>
                  <a:lnTo>
                    <a:pt x="157" y="157"/>
                  </a:lnTo>
                  <a:lnTo>
                    <a:pt x="158" y="156"/>
                  </a:lnTo>
                  <a:lnTo>
                    <a:pt x="160" y="156"/>
                  </a:lnTo>
                  <a:lnTo>
                    <a:pt x="160" y="154"/>
                  </a:lnTo>
                  <a:lnTo>
                    <a:pt x="160" y="156"/>
                  </a:lnTo>
                  <a:lnTo>
                    <a:pt x="158" y="154"/>
                  </a:lnTo>
                  <a:lnTo>
                    <a:pt x="158" y="153"/>
                  </a:lnTo>
                  <a:lnTo>
                    <a:pt x="158" y="151"/>
                  </a:lnTo>
                  <a:lnTo>
                    <a:pt x="158" y="149"/>
                  </a:lnTo>
                  <a:lnTo>
                    <a:pt x="158" y="148"/>
                  </a:lnTo>
                  <a:lnTo>
                    <a:pt x="157" y="148"/>
                  </a:lnTo>
                  <a:lnTo>
                    <a:pt x="157" y="149"/>
                  </a:lnTo>
                  <a:lnTo>
                    <a:pt x="155" y="151"/>
                  </a:lnTo>
                  <a:lnTo>
                    <a:pt x="153" y="151"/>
                  </a:lnTo>
                  <a:lnTo>
                    <a:pt x="153" y="149"/>
                  </a:lnTo>
                  <a:lnTo>
                    <a:pt x="155" y="149"/>
                  </a:lnTo>
                  <a:lnTo>
                    <a:pt x="155" y="148"/>
                  </a:lnTo>
                  <a:lnTo>
                    <a:pt x="155" y="146"/>
                  </a:lnTo>
                  <a:lnTo>
                    <a:pt x="155" y="144"/>
                  </a:lnTo>
                  <a:lnTo>
                    <a:pt x="155" y="143"/>
                  </a:lnTo>
                  <a:lnTo>
                    <a:pt x="153" y="143"/>
                  </a:lnTo>
                  <a:lnTo>
                    <a:pt x="153" y="141"/>
                  </a:lnTo>
                  <a:lnTo>
                    <a:pt x="153" y="143"/>
                  </a:lnTo>
                  <a:lnTo>
                    <a:pt x="153" y="144"/>
                  </a:lnTo>
                  <a:lnTo>
                    <a:pt x="152" y="146"/>
                  </a:lnTo>
                  <a:lnTo>
                    <a:pt x="150" y="146"/>
                  </a:lnTo>
                  <a:lnTo>
                    <a:pt x="150" y="148"/>
                  </a:lnTo>
                  <a:lnTo>
                    <a:pt x="148" y="148"/>
                  </a:lnTo>
                  <a:lnTo>
                    <a:pt x="147" y="149"/>
                  </a:lnTo>
                  <a:lnTo>
                    <a:pt x="147" y="151"/>
                  </a:lnTo>
                  <a:lnTo>
                    <a:pt x="145" y="149"/>
                  </a:lnTo>
                  <a:lnTo>
                    <a:pt x="145" y="151"/>
                  </a:lnTo>
                  <a:lnTo>
                    <a:pt x="145" y="153"/>
                  </a:lnTo>
                  <a:lnTo>
                    <a:pt x="145" y="151"/>
                  </a:lnTo>
                  <a:lnTo>
                    <a:pt x="144" y="153"/>
                  </a:lnTo>
                  <a:lnTo>
                    <a:pt x="144" y="151"/>
                  </a:lnTo>
                  <a:lnTo>
                    <a:pt x="144" y="153"/>
                  </a:lnTo>
                  <a:lnTo>
                    <a:pt x="142" y="153"/>
                  </a:lnTo>
                  <a:lnTo>
                    <a:pt x="142" y="151"/>
                  </a:lnTo>
                  <a:lnTo>
                    <a:pt x="140" y="151"/>
                  </a:lnTo>
                  <a:lnTo>
                    <a:pt x="142" y="151"/>
                  </a:lnTo>
                  <a:lnTo>
                    <a:pt x="140" y="149"/>
                  </a:lnTo>
                  <a:lnTo>
                    <a:pt x="140" y="151"/>
                  </a:lnTo>
                  <a:lnTo>
                    <a:pt x="140" y="149"/>
                  </a:lnTo>
                  <a:lnTo>
                    <a:pt x="140" y="151"/>
                  </a:lnTo>
                  <a:lnTo>
                    <a:pt x="140" y="149"/>
                  </a:lnTo>
                  <a:lnTo>
                    <a:pt x="139" y="149"/>
                  </a:lnTo>
                  <a:lnTo>
                    <a:pt x="140" y="148"/>
                  </a:lnTo>
                  <a:lnTo>
                    <a:pt x="139" y="148"/>
                  </a:lnTo>
                  <a:lnTo>
                    <a:pt x="139" y="146"/>
                  </a:lnTo>
                  <a:lnTo>
                    <a:pt x="139" y="144"/>
                  </a:lnTo>
                  <a:lnTo>
                    <a:pt x="137" y="144"/>
                  </a:lnTo>
                  <a:lnTo>
                    <a:pt x="137" y="143"/>
                  </a:lnTo>
                  <a:lnTo>
                    <a:pt x="137" y="144"/>
                  </a:lnTo>
                  <a:lnTo>
                    <a:pt x="137" y="143"/>
                  </a:lnTo>
                  <a:lnTo>
                    <a:pt x="135" y="143"/>
                  </a:lnTo>
                  <a:lnTo>
                    <a:pt x="135" y="141"/>
                  </a:lnTo>
                  <a:lnTo>
                    <a:pt x="137" y="141"/>
                  </a:lnTo>
                  <a:lnTo>
                    <a:pt x="135" y="141"/>
                  </a:lnTo>
                  <a:lnTo>
                    <a:pt x="135" y="140"/>
                  </a:lnTo>
                  <a:lnTo>
                    <a:pt x="137" y="140"/>
                  </a:lnTo>
                  <a:lnTo>
                    <a:pt x="135" y="140"/>
                  </a:lnTo>
                  <a:lnTo>
                    <a:pt x="137" y="140"/>
                  </a:lnTo>
                  <a:lnTo>
                    <a:pt x="139" y="138"/>
                  </a:lnTo>
                  <a:lnTo>
                    <a:pt x="142" y="140"/>
                  </a:lnTo>
                  <a:lnTo>
                    <a:pt x="144" y="140"/>
                  </a:lnTo>
                  <a:lnTo>
                    <a:pt x="147" y="140"/>
                  </a:lnTo>
                  <a:lnTo>
                    <a:pt x="148" y="140"/>
                  </a:lnTo>
                  <a:lnTo>
                    <a:pt x="150" y="140"/>
                  </a:lnTo>
                  <a:lnTo>
                    <a:pt x="152" y="138"/>
                  </a:lnTo>
                  <a:lnTo>
                    <a:pt x="153" y="138"/>
                  </a:lnTo>
                  <a:lnTo>
                    <a:pt x="155" y="138"/>
                  </a:lnTo>
                  <a:lnTo>
                    <a:pt x="155" y="136"/>
                  </a:lnTo>
                  <a:lnTo>
                    <a:pt x="153" y="136"/>
                  </a:lnTo>
                  <a:lnTo>
                    <a:pt x="155" y="136"/>
                  </a:lnTo>
                  <a:lnTo>
                    <a:pt x="155" y="135"/>
                  </a:lnTo>
                  <a:lnTo>
                    <a:pt x="157" y="135"/>
                  </a:lnTo>
                  <a:lnTo>
                    <a:pt x="158" y="135"/>
                  </a:lnTo>
                  <a:lnTo>
                    <a:pt x="160" y="135"/>
                  </a:lnTo>
                  <a:lnTo>
                    <a:pt x="160" y="133"/>
                  </a:lnTo>
                  <a:lnTo>
                    <a:pt x="158" y="133"/>
                  </a:lnTo>
                  <a:lnTo>
                    <a:pt x="157" y="135"/>
                  </a:lnTo>
                  <a:lnTo>
                    <a:pt x="157" y="133"/>
                  </a:lnTo>
                  <a:lnTo>
                    <a:pt x="155" y="133"/>
                  </a:lnTo>
                  <a:lnTo>
                    <a:pt x="155" y="135"/>
                  </a:lnTo>
                  <a:lnTo>
                    <a:pt x="153" y="135"/>
                  </a:lnTo>
                  <a:lnTo>
                    <a:pt x="153" y="136"/>
                  </a:lnTo>
                  <a:lnTo>
                    <a:pt x="152" y="136"/>
                  </a:lnTo>
                  <a:lnTo>
                    <a:pt x="150" y="138"/>
                  </a:lnTo>
                  <a:lnTo>
                    <a:pt x="148" y="138"/>
                  </a:lnTo>
                  <a:lnTo>
                    <a:pt x="147" y="140"/>
                  </a:lnTo>
                  <a:lnTo>
                    <a:pt x="147" y="138"/>
                  </a:lnTo>
                  <a:lnTo>
                    <a:pt x="145" y="138"/>
                  </a:lnTo>
                  <a:lnTo>
                    <a:pt x="144" y="138"/>
                  </a:lnTo>
                  <a:lnTo>
                    <a:pt x="142" y="138"/>
                  </a:lnTo>
                  <a:lnTo>
                    <a:pt x="144" y="138"/>
                  </a:lnTo>
                  <a:lnTo>
                    <a:pt x="142" y="138"/>
                  </a:lnTo>
                  <a:lnTo>
                    <a:pt x="144" y="136"/>
                  </a:lnTo>
                  <a:lnTo>
                    <a:pt x="142" y="138"/>
                  </a:lnTo>
                  <a:lnTo>
                    <a:pt x="142" y="136"/>
                  </a:lnTo>
                  <a:lnTo>
                    <a:pt x="142" y="135"/>
                  </a:lnTo>
                  <a:lnTo>
                    <a:pt x="145" y="135"/>
                  </a:lnTo>
                  <a:lnTo>
                    <a:pt x="147" y="133"/>
                  </a:lnTo>
                  <a:lnTo>
                    <a:pt x="147" y="131"/>
                  </a:lnTo>
                  <a:lnTo>
                    <a:pt x="145" y="133"/>
                  </a:lnTo>
                  <a:lnTo>
                    <a:pt x="144" y="133"/>
                  </a:lnTo>
                  <a:lnTo>
                    <a:pt x="142" y="133"/>
                  </a:lnTo>
                  <a:lnTo>
                    <a:pt x="142" y="135"/>
                  </a:lnTo>
                  <a:lnTo>
                    <a:pt x="140" y="135"/>
                  </a:lnTo>
                  <a:lnTo>
                    <a:pt x="140" y="133"/>
                  </a:lnTo>
                  <a:lnTo>
                    <a:pt x="140" y="131"/>
                  </a:lnTo>
                  <a:lnTo>
                    <a:pt x="139" y="131"/>
                  </a:lnTo>
                  <a:lnTo>
                    <a:pt x="139" y="133"/>
                  </a:lnTo>
                  <a:lnTo>
                    <a:pt x="139" y="135"/>
                  </a:lnTo>
                  <a:lnTo>
                    <a:pt x="137" y="136"/>
                  </a:lnTo>
                  <a:lnTo>
                    <a:pt x="137" y="135"/>
                  </a:lnTo>
                  <a:lnTo>
                    <a:pt x="137" y="136"/>
                  </a:lnTo>
                  <a:lnTo>
                    <a:pt x="135" y="136"/>
                  </a:lnTo>
                  <a:lnTo>
                    <a:pt x="134" y="136"/>
                  </a:lnTo>
                  <a:lnTo>
                    <a:pt x="134" y="135"/>
                  </a:lnTo>
                  <a:lnTo>
                    <a:pt x="134" y="133"/>
                  </a:lnTo>
                  <a:lnTo>
                    <a:pt x="132" y="133"/>
                  </a:lnTo>
                  <a:lnTo>
                    <a:pt x="134" y="133"/>
                  </a:lnTo>
                  <a:lnTo>
                    <a:pt x="134" y="131"/>
                  </a:lnTo>
                  <a:lnTo>
                    <a:pt x="135" y="131"/>
                  </a:lnTo>
                  <a:lnTo>
                    <a:pt x="135" y="130"/>
                  </a:lnTo>
                  <a:lnTo>
                    <a:pt x="137" y="130"/>
                  </a:lnTo>
                  <a:lnTo>
                    <a:pt x="137" y="128"/>
                  </a:lnTo>
                  <a:lnTo>
                    <a:pt x="137" y="127"/>
                  </a:lnTo>
                  <a:lnTo>
                    <a:pt x="137" y="125"/>
                  </a:lnTo>
                  <a:lnTo>
                    <a:pt x="137" y="123"/>
                  </a:lnTo>
                  <a:lnTo>
                    <a:pt x="137" y="122"/>
                  </a:lnTo>
                  <a:lnTo>
                    <a:pt x="139" y="122"/>
                  </a:lnTo>
                  <a:lnTo>
                    <a:pt x="139" y="120"/>
                  </a:lnTo>
                  <a:lnTo>
                    <a:pt x="139" y="118"/>
                  </a:lnTo>
                  <a:lnTo>
                    <a:pt x="139" y="117"/>
                  </a:lnTo>
                  <a:lnTo>
                    <a:pt x="139" y="115"/>
                  </a:lnTo>
                  <a:lnTo>
                    <a:pt x="139" y="117"/>
                  </a:lnTo>
                  <a:lnTo>
                    <a:pt x="137" y="118"/>
                  </a:lnTo>
                  <a:lnTo>
                    <a:pt x="137" y="120"/>
                  </a:lnTo>
                  <a:lnTo>
                    <a:pt x="135" y="122"/>
                  </a:lnTo>
                  <a:lnTo>
                    <a:pt x="135" y="123"/>
                  </a:lnTo>
                  <a:lnTo>
                    <a:pt x="135" y="125"/>
                  </a:lnTo>
                  <a:lnTo>
                    <a:pt x="134" y="125"/>
                  </a:lnTo>
                  <a:lnTo>
                    <a:pt x="135" y="127"/>
                  </a:lnTo>
                  <a:lnTo>
                    <a:pt x="134" y="127"/>
                  </a:lnTo>
                  <a:lnTo>
                    <a:pt x="134" y="128"/>
                  </a:lnTo>
                  <a:lnTo>
                    <a:pt x="132" y="128"/>
                  </a:lnTo>
                  <a:lnTo>
                    <a:pt x="130" y="130"/>
                  </a:lnTo>
                  <a:lnTo>
                    <a:pt x="129" y="130"/>
                  </a:lnTo>
                  <a:lnTo>
                    <a:pt x="130" y="128"/>
                  </a:lnTo>
                  <a:lnTo>
                    <a:pt x="129" y="128"/>
                  </a:lnTo>
                  <a:lnTo>
                    <a:pt x="130" y="128"/>
                  </a:lnTo>
                  <a:lnTo>
                    <a:pt x="129" y="128"/>
                  </a:lnTo>
                  <a:lnTo>
                    <a:pt x="130" y="127"/>
                  </a:lnTo>
                  <a:lnTo>
                    <a:pt x="130" y="125"/>
                  </a:lnTo>
                  <a:lnTo>
                    <a:pt x="132" y="125"/>
                  </a:lnTo>
                  <a:lnTo>
                    <a:pt x="132" y="123"/>
                  </a:lnTo>
                  <a:lnTo>
                    <a:pt x="134" y="120"/>
                  </a:lnTo>
                  <a:lnTo>
                    <a:pt x="134" y="118"/>
                  </a:lnTo>
                  <a:lnTo>
                    <a:pt x="134" y="117"/>
                  </a:lnTo>
                  <a:lnTo>
                    <a:pt x="132" y="118"/>
                  </a:lnTo>
                  <a:lnTo>
                    <a:pt x="132" y="120"/>
                  </a:lnTo>
                  <a:lnTo>
                    <a:pt x="132" y="122"/>
                  </a:lnTo>
                  <a:lnTo>
                    <a:pt x="130" y="123"/>
                  </a:lnTo>
                  <a:lnTo>
                    <a:pt x="129" y="125"/>
                  </a:lnTo>
                  <a:lnTo>
                    <a:pt x="127" y="127"/>
                  </a:lnTo>
                  <a:lnTo>
                    <a:pt x="127" y="128"/>
                  </a:lnTo>
                  <a:lnTo>
                    <a:pt x="126" y="130"/>
                  </a:lnTo>
                  <a:lnTo>
                    <a:pt x="126" y="128"/>
                  </a:lnTo>
                  <a:lnTo>
                    <a:pt x="126" y="130"/>
                  </a:lnTo>
                  <a:lnTo>
                    <a:pt x="126" y="128"/>
                  </a:lnTo>
                  <a:lnTo>
                    <a:pt x="124" y="128"/>
                  </a:lnTo>
                  <a:lnTo>
                    <a:pt x="126" y="128"/>
                  </a:lnTo>
                  <a:lnTo>
                    <a:pt x="124" y="128"/>
                  </a:lnTo>
                  <a:lnTo>
                    <a:pt x="124" y="127"/>
                  </a:lnTo>
                  <a:lnTo>
                    <a:pt x="124" y="125"/>
                  </a:lnTo>
                  <a:lnTo>
                    <a:pt x="126" y="125"/>
                  </a:lnTo>
                  <a:lnTo>
                    <a:pt x="126" y="123"/>
                  </a:lnTo>
                  <a:lnTo>
                    <a:pt x="124" y="123"/>
                  </a:lnTo>
                  <a:lnTo>
                    <a:pt x="126" y="122"/>
                  </a:lnTo>
                  <a:lnTo>
                    <a:pt x="126" y="120"/>
                  </a:lnTo>
                  <a:lnTo>
                    <a:pt x="127" y="118"/>
                  </a:lnTo>
                  <a:lnTo>
                    <a:pt x="129" y="117"/>
                  </a:lnTo>
                  <a:lnTo>
                    <a:pt x="130" y="115"/>
                  </a:lnTo>
                  <a:lnTo>
                    <a:pt x="132" y="115"/>
                  </a:lnTo>
                  <a:lnTo>
                    <a:pt x="132" y="114"/>
                  </a:lnTo>
                  <a:lnTo>
                    <a:pt x="130" y="114"/>
                  </a:lnTo>
                  <a:lnTo>
                    <a:pt x="130" y="115"/>
                  </a:lnTo>
                  <a:lnTo>
                    <a:pt x="129" y="115"/>
                  </a:lnTo>
                  <a:lnTo>
                    <a:pt x="127" y="115"/>
                  </a:lnTo>
                  <a:lnTo>
                    <a:pt x="127" y="114"/>
                  </a:lnTo>
                  <a:lnTo>
                    <a:pt x="127" y="112"/>
                  </a:lnTo>
                  <a:lnTo>
                    <a:pt x="126" y="112"/>
                  </a:lnTo>
                  <a:lnTo>
                    <a:pt x="126" y="114"/>
                  </a:lnTo>
                  <a:lnTo>
                    <a:pt x="126" y="115"/>
                  </a:lnTo>
                  <a:lnTo>
                    <a:pt x="124" y="118"/>
                  </a:lnTo>
                  <a:lnTo>
                    <a:pt x="124" y="120"/>
                  </a:lnTo>
                  <a:lnTo>
                    <a:pt x="122" y="122"/>
                  </a:lnTo>
                  <a:lnTo>
                    <a:pt x="122" y="123"/>
                  </a:lnTo>
                  <a:lnTo>
                    <a:pt x="121" y="127"/>
                  </a:lnTo>
                  <a:lnTo>
                    <a:pt x="121" y="128"/>
                  </a:lnTo>
                  <a:lnTo>
                    <a:pt x="121" y="130"/>
                  </a:lnTo>
                  <a:lnTo>
                    <a:pt x="119" y="130"/>
                  </a:lnTo>
                  <a:lnTo>
                    <a:pt x="121" y="130"/>
                  </a:lnTo>
                  <a:lnTo>
                    <a:pt x="119" y="128"/>
                  </a:lnTo>
                  <a:lnTo>
                    <a:pt x="117" y="128"/>
                  </a:lnTo>
                  <a:lnTo>
                    <a:pt x="119" y="128"/>
                  </a:lnTo>
                  <a:lnTo>
                    <a:pt x="117" y="128"/>
                  </a:lnTo>
                  <a:lnTo>
                    <a:pt x="117" y="127"/>
                  </a:lnTo>
                  <a:lnTo>
                    <a:pt x="116" y="127"/>
                  </a:lnTo>
                  <a:lnTo>
                    <a:pt x="117" y="127"/>
                  </a:lnTo>
                  <a:lnTo>
                    <a:pt x="119" y="127"/>
                  </a:lnTo>
                  <a:lnTo>
                    <a:pt x="119" y="125"/>
                  </a:lnTo>
                  <a:lnTo>
                    <a:pt x="117" y="125"/>
                  </a:lnTo>
                  <a:lnTo>
                    <a:pt x="119" y="125"/>
                  </a:lnTo>
                  <a:lnTo>
                    <a:pt x="117" y="125"/>
                  </a:lnTo>
                  <a:lnTo>
                    <a:pt x="119" y="123"/>
                  </a:lnTo>
                  <a:lnTo>
                    <a:pt x="117" y="123"/>
                  </a:lnTo>
                  <a:lnTo>
                    <a:pt x="116" y="123"/>
                  </a:lnTo>
                  <a:lnTo>
                    <a:pt x="117" y="122"/>
                  </a:lnTo>
                  <a:lnTo>
                    <a:pt x="116" y="122"/>
                  </a:lnTo>
                  <a:lnTo>
                    <a:pt x="114" y="122"/>
                  </a:lnTo>
                  <a:lnTo>
                    <a:pt x="116" y="122"/>
                  </a:lnTo>
                  <a:lnTo>
                    <a:pt x="114" y="122"/>
                  </a:lnTo>
                  <a:lnTo>
                    <a:pt x="114" y="120"/>
                  </a:lnTo>
                  <a:lnTo>
                    <a:pt x="116" y="120"/>
                  </a:lnTo>
                  <a:lnTo>
                    <a:pt x="114" y="120"/>
                  </a:lnTo>
                  <a:lnTo>
                    <a:pt x="116" y="120"/>
                  </a:lnTo>
                  <a:lnTo>
                    <a:pt x="117" y="118"/>
                  </a:lnTo>
                  <a:lnTo>
                    <a:pt x="119" y="118"/>
                  </a:lnTo>
                  <a:lnTo>
                    <a:pt x="122" y="117"/>
                  </a:lnTo>
                  <a:lnTo>
                    <a:pt x="124" y="115"/>
                  </a:lnTo>
                  <a:lnTo>
                    <a:pt x="124" y="114"/>
                  </a:lnTo>
                  <a:lnTo>
                    <a:pt x="122" y="114"/>
                  </a:lnTo>
                  <a:lnTo>
                    <a:pt x="122" y="112"/>
                  </a:lnTo>
                  <a:lnTo>
                    <a:pt x="122" y="114"/>
                  </a:lnTo>
                  <a:lnTo>
                    <a:pt x="122" y="112"/>
                  </a:lnTo>
                  <a:lnTo>
                    <a:pt x="122" y="110"/>
                  </a:lnTo>
                  <a:lnTo>
                    <a:pt x="121" y="110"/>
                  </a:lnTo>
                  <a:lnTo>
                    <a:pt x="121" y="112"/>
                  </a:lnTo>
                  <a:lnTo>
                    <a:pt x="121" y="114"/>
                  </a:lnTo>
                  <a:lnTo>
                    <a:pt x="121" y="115"/>
                  </a:lnTo>
                  <a:lnTo>
                    <a:pt x="119" y="115"/>
                  </a:lnTo>
                  <a:lnTo>
                    <a:pt x="117" y="115"/>
                  </a:lnTo>
                  <a:lnTo>
                    <a:pt x="116" y="115"/>
                  </a:lnTo>
                  <a:lnTo>
                    <a:pt x="116" y="117"/>
                  </a:lnTo>
                  <a:lnTo>
                    <a:pt x="114" y="117"/>
                  </a:lnTo>
                  <a:lnTo>
                    <a:pt x="113" y="117"/>
                  </a:lnTo>
                  <a:lnTo>
                    <a:pt x="114" y="115"/>
                  </a:lnTo>
                  <a:lnTo>
                    <a:pt x="116" y="115"/>
                  </a:lnTo>
                  <a:lnTo>
                    <a:pt x="114" y="115"/>
                  </a:lnTo>
                  <a:lnTo>
                    <a:pt x="116" y="115"/>
                  </a:lnTo>
                  <a:lnTo>
                    <a:pt x="116" y="114"/>
                  </a:lnTo>
                  <a:lnTo>
                    <a:pt x="116" y="112"/>
                  </a:lnTo>
                  <a:lnTo>
                    <a:pt x="116" y="110"/>
                  </a:lnTo>
                  <a:lnTo>
                    <a:pt x="116" y="109"/>
                  </a:lnTo>
                  <a:lnTo>
                    <a:pt x="114" y="110"/>
                  </a:lnTo>
                  <a:lnTo>
                    <a:pt x="114" y="112"/>
                  </a:lnTo>
                  <a:lnTo>
                    <a:pt x="113" y="112"/>
                  </a:lnTo>
                  <a:lnTo>
                    <a:pt x="114" y="112"/>
                  </a:lnTo>
                  <a:lnTo>
                    <a:pt x="113" y="112"/>
                  </a:lnTo>
                  <a:lnTo>
                    <a:pt x="113" y="114"/>
                  </a:lnTo>
                  <a:lnTo>
                    <a:pt x="111" y="115"/>
                  </a:lnTo>
                  <a:close/>
                  <a:moveTo>
                    <a:pt x="117" y="460"/>
                  </a:moveTo>
                  <a:lnTo>
                    <a:pt x="116" y="462"/>
                  </a:lnTo>
                  <a:lnTo>
                    <a:pt x="116" y="460"/>
                  </a:lnTo>
                  <a:lnTo>
                    <a:pt x="117" y="460"/>
                  </a:lnTo>
                  <a:lnTo>
                    <a:pt x="116" y="460"/>
                  </a:lnTo>
                  <a:lnTo>
                    <a:pt x="114" y="460"/>
                  </a:lnTo>
                  <a:lnTo>
                    <a:pt x="114" y="462"/>
                  </a:lnTo>
                  <a:lnTo>
                    <a:pt x="116" y="462"/>
                  </a:lnTo>
                  <a:lnTo>
                    <a:pt x="117" y="462"/>
                  </a:lnTo>
                  <a:lnTo>
                    <a:pt x="117" y="463"/>
                  </a:lnTo>
                  <a:lnTo>
                    <a:pt x="116" y="463"/>
                  </a:lnTo>
                  <a:lnTo>
                    <a:pt x="114" y="465"/>
                  </a:lnTo>
                  <a:lnTo>
                    <a:pt x="114" y="463"/>
                  </a:lnTo>
                  <a:lnTo>
                    <a:pt x="113" y="465"/>
                  </a:lnTo>
                  <a:lnTo>
                    <a:pt x="113" y="466"/>
                  </a:lnTo>
                  <a:lnTo>
                    <a:pt x="111" y="466"/>
                  </a:lnTo>
                  <a:lnTo>
                    <a:pt x="111" y="465"/>
                  </a:lnTo>
                  <a:lnTo>
                    <a:pt x="113" y="465"/>
                  </a:lnTo>
                  <a:lnTo>
                    <a:pt x="111" y="463"/>
                  </a:lnTo>
                  <a:lnTo>
                    <a:pt x="113" y="463"/>
                  </a:lnTo>
                  <a:lnTo>
                    <a:pt x="113" y="462"/>
                  </a:lnTo>
                  <a:lnTo>
                    <a:pt x="113" y="460"/>
                  </a:lnTo>
                  <a:lnTo>
                    <a:pt x="114" y="460"/>
                  </a:lnTo>
                  <a:lnTo>
                    <a:pt x="116" y="460"/>
                  </a:lnTo>
                  <a:lnTo>
                    <a:pt x="117" y="460"/>
                  </a:lnTo>
                  <a:close/>
                  <a:moveTo>
                    <a:pt x="381" y="170"/>
                  </a:moveTo>
                  <a:lnTo>
                    <a:pt x="383" y="170"/>
                  </a:lnTo>
                  <a:lnTo>
                    <a:pt x="383" y="172"/>
                  </a:lnTo>
                  <a:lnTo>
                    <a:pt x="383" y="174"/>
                  </a:lnTo>
                  <a:lnTo>
                    <a:pt x="383" y="177"/>
                  </a:lnTo>
                  <a:lnTo>
                    <a:pt x="383" y="179"/>
                  </a:lnTo>
                  <a:lnTo>
                    <a:pt x="381" y="179"/>
                  </a:lnTo>
                  <a:lnTo>
                    <a:pt x="381" y="177"/>
                  </a:lnTo>
                  <a:lnTo>
                    <a:pt x="379" y="177"/>
                  </a:lnTo>
                  <a:lnTo>
                    <a:pt x="379" y="175"/>
                  </a:lnTo>
                  <a:lnTo>
                    <a:pt x="381" y="175"/>
                  </a:lnTo>
                  <a:lnTo>
                    <a:pt x="381" y="174"/>
                  </a:lnTo>
                  <a:lnTo>
                    <a:pt x="381" y="172"/>
                  </a:lnTo>
                  <a:lnTo>
                    <a:pt x="381" y="170"/>
                  </a:lnTo>
                  <a:close/>
                  <a:moveTo>
                    <a:pt x="104" y="188"/>
                  </a:moveTo>
                  <a:lnTo>
                    <a:pt x="106" y="190"/>
                  </a:lnTo>
                  <a:lnTo>
                    <a:pt x="106" y="188"/>
                  </a:lnTo>
                  <a:lnTo>
                    <a:pt x="106" y="190"/>
                  </a:lnTo>
                  <a:lnTo>
                    <a:pt x="106" y="188"/>
                  </a:lnTo>
                  <a:lnTo>
                    <a:pt x="106" y="190"/>
                  </a:lnTo>
                  <a:lnTo>
                    <a:pt x="104" y="190"/>
                  </a:lnTo>
                  <a:lnTo>
                    <a:pt x="106" y="190"/>
                  </a:lnTo>
                  <a:lnTo>
                    <a:pt x="106" y="192"/>
                  </a:lnTo>
                  <a:lnTo>
                    <a:pt x="104" y="192"/>
                  </a:lnTo>
                  <a:lnTo>
                    <a:pt x="103" y="192"/>
                  </a:lnTo>
                  <a:lnTo>
                    <a:pt x="103" y="190"/>
                  </a:lnTo>
                  <a:lnTo>
                    <a:pt x="101" y="190"/>
                  </a:lnTo>
                  <a:lnTo>
                    <a:pt x="103" y="190"/>
                  </a:lnTo>
                  <a:lnTo>
                    <a:pt x="101" y="190"/>
                  </a:lnTo>
                  <a:lnTo>
                    <a:pt x="100" y="190"/>
                  </a:lnTo>
                  <a:lnTo>
                    <a:pt x="101" y="190"/>
                  </a:lnTo>
                  <a:lnTo>
                    <a:pt x="101" y="188"/>
                  </a:lnTo>
                  <a:lnTo>
                    <a:pt x="100" y="188"/>
                  </a:lnTo>
                  <a:lnTo>
                    <a:pt x="101" y="188"/>
                  </a:lnTo>
                  <a:lnTo>
                    <a:pt x="103" y="188"/>
                  </a:lnTo>
                  <a:lnTo>
                    <a:pt x="103" y="190"/>
                  </a:lnTo>
                  <a:lnTo>
                    <a:pt x="103" y="188"/>
                  </a:lnTo>
                  <a:lnTo>
                    <a:pt x="104" y="190"/>
                  </a:lnTo>
                  <a:lnTo>
                    <a:pt x="104" y="188"/>
                  </a:lnTo>
                  <a:close/>
                  <a:moveTo>
                    <a:pt x="436" y="115"/>
                  </a:moveTo>
                  <a:lnTo>
                    <a:pt x="435" y="115"/>
                  </a:lnTo>
                  <a:lnTo>
                    <a:pt x="435" y="114"/>
                  </a:lnTo>
                  <a:lnTo>
                    <a:pt x="435" y="112"/>
                  </a:lnTo>
                  <a:lnTo>
                    <a:pt x="436" y="110"/>
                  </a:lnTo>
                  <a:lnTo>
                    <a:pt x="436" y="109"/>
                  </a:lnTo>
                  <a:lnTo>
                    <a:pt x="436" y="110"/>
                  </a:lnTo>
                  <a:lnTo>
                    <a:pt x="436" y="112"/>
                  </a:lnTo>
                  <a:lnTo>
                    <a:pt x="436" y="114"/>
                  </a:lnTo>
                  <a:lnTo>
                    <a:pt x="436" y="115"/>
                  </a:lnTo>
                  <a:close/>
                  <a:moveTo>
                    <a:pt x="490" y="471"/>
                  </a:moveTo>
                  <a:lnTo>
                    <a:pt x="488" y="473"/>
                  </a:lnTo>
                  <a:lnTo>
                    <a:pt x="490" y="471"/>
                  </a:lnTo>
                  <a:lnTo>
                    <a:pt x="492" y="471"/>
                  </a:lnTo>
                  <a:lnTo>
                    <a:pt x="495" y="471"/>
                  </a:lnTo>
                  <a:lnTo>
                    <a:pt x="500" y="471"/>
                  </a:lnTo>
                  <a:lnTo>
                    <a:pt x="501" y="473"/>
                  </a:lnTo>
                  <a:lnTo>
                    <a:pt x="503" y="473"/>
                  </a:lnTo>
                  <a:lnTo>
                    <a:pt x="501" y="473"/>
                  </a:lnTo>
                  <a:lnTo>
                    <a:pt x="498" y="473"/>
                  </a:lnTo>
                  <a:lnTo>
                    <a:pt x="495" y="471"/>
                  </a:lnTo>
                  <a:lnTo>
                    <a:pt x="490" y="471"/>
                  </a:lnTo>
                  <a:close/>
                  <a:moveTo>
                    <a:pt x="319" y="153"/>
                  </a:moveTo>
                  <a:lnTo>
                    <a:pt x="321" y="153"/>
                  </a:lnTo>
                  <a:lnTo>
                    <a:pt x="322" y="153"/>
                  </a:lnTo>
                  <a:lnTo>
                    <a:pt x="322" y="154"/>
                  </a:lnTo>
                  <a:lnTo>
                    <a:pt x="321" y="156"/>
                  </a:lnTo>
                  <a:lnTo>
                    <a:pt x="319" y="156"/>
                  </a:lnTo>
                  <a:lnTo>
                    <a:pt x="319" y="154"/>
                  </a:lnTo>
                  <a:lnTo>
                    <a:pt x="319" y="153"/>
                  </a:lnTo>
                  <a:close/>
                  <a:moveTo>
                    <a:pt x="103" y="172"/>
                  </a:moveTo>
                  <a:lnTo>
                    <a:pt x="104" y="174"/>
                  </a:lnTo>
                  <a:lnTo>
                    <a:pt x="103" y="174"/>
                  </a:lnTo>
                  <a:lnTo>
                    <a:pt x="101" y="174"/>
                  </a:lnTo>
                  <a:lnTo>
                    <a:pt x="100" y="174"/>
                  </a:lnTo>
                  <a:lnTo>
                    <a:pt x="101" y="174"/>
                  </a:lnTo>
                  <a:lnTo>
                    <a:pt x="100" y="174"/>
                  </a:lnTo>
                  <a:lnTo>
                    <a:pt x="101" y="175"/>
                  </a:lnTo>
                  <a:lnTo>
                    <a:pt x="100" y="175"/>
                  </a:lnTo>
                  <a:lnTo>
                    <a:pt x="98" y="174"/>
                  </a:lnTo>
                  <a:lnTo>
                    <a:pt x="100" y="174"/>
                  </a:lnTo>
                  <a:lnTo>
                    <a:pt x="101" y="174"/>
                  </a:lnTo>
                  <a:lnTo>
                    <a:pt x="103" y="172"/>
                  </a:lnTo>
                  <a:close/>
                  <a:moveTo>
                    <a:pt x="70" y="263"/>
                  </a:moveTo>
                  <a:lnTo>
                    <a:pt x="72" y="263"/>
                  </a:lnTo>
                  <a:lnTo>
                    <a:pt x="74" y="263"/>
                  </a:lnTo>
                  <a:lnTo>
                    <a:pt x="72" y="265"/>
                  </a:lnTo>
                  <a:lnTo>
                    <a:pt x="70" y="265"/>
                  </a:lnTo>
                  <a:lnTo>
                    <a:pt x="69" y="265"/>
                  </a:lnTo>
                  <a:lnTo>
                    <a:pt x="70" y="265"/>
                  </a:lnTo>
                  <a:lnTo>
                    <a:pt x="70" y="263"/>
                  </a:lnTo>
                  <a:close/>
                  <a:moveTo>
                    <a:pt x="142" y="380"/>
                  </a:moveTo>
                  <a:lnTo>
                    <a:pt x="144" y="382"/>
                  </a:lnTo>
                  <a:lnTo>
                    <a:pt x="142" y="382"/>
                  </a:lnTo>
                  <a:lnTo>
                    <a:pt x="140" y="382"/>
                  </a:lnTo>
                  <a:lnTo>
                    <a:pt x="140" y="380"/>
                  </a:lnTo>
                  <a:lnTo>
                    <a:pt x="139" y="382"/>
                  </a:lnTo>
                  <a:lnTo>
                    <a:pt x="137" y="382"/>
                  </a:lnTo>
                  <a:lnTo>
                    <a:pt x="139" y="382"/>
                  </a:lnTo>
                  <a:lnTo>
                    <a:pt x="140" y="380"/>
                  </a:lnTo>
                  <a:lnTo>
                    <a:pt x="142" y="380"/>
                  </a:lnTo>
                  <a:close/>
                  <a:moveTo>
                    <a:pt x="420" y="166"/>
                  </a:moveTo>
                  <a:lnTo>
                    <a:pt x="422" y="166"/>
                  </a:lnTo>
                  <a:lnTo>
                    <a:pt x="420" y="166"/>
                  </a:lnTo>
                  <a:lnTo>
                    <a:pt x="420" y="167"/>
                  </a:lnTo>
                  <a:lnTo>
                    <a:pt x="418" y="167"/>
                  </a:lnTo>
                  <a:lnTo>
                    <a:pt x="418" y="166"/>
                  </a:lnTo>
                  <a:lnTo>
                    <a:pt x="420" y="166"/>
                  </a:lnTo>
                  <a:lnTo>
                    <a:pt x="420" y="164"/>
                  </a:lnTo>
                  <a:lnTo>
                    <a:pt x="420" y="166"/>
                  </a:lnTo>
                  <a:close/>
                  <a:moveTo>
                    <a:pt x="104" y="179"/>
                  </a:moveTo>
                  <a:lnTo>
                    <a:pt x="104" y="180"/>
                  </a:lnTo>
                  <a:lnTo>
                    <a:pt x="106" y="179"/>
                  </a:lnTo>
                  <a:lnTo>
                    <a:pt x="106" y="180"/>
                  </a:lnTo>
                  <a:lnTo>
                    <a:pt x="104" y="180"/>
                  </a:lnTo>
                  <a:lnTo>
                    <a:pt x="106" y="180"/>
                  </a:lnTo>
                  <a:lnTo>
                    <a:pt x="104" y="180"/>
                  </a:lnTo>
                  <a:lnTo>
                    <a:pt x="106" y="180"/>
                  </a:lnTo>
                  <a:lnTo>
                    <a:pt x="104" y="180"/>
                  </a:lnTo>
                  <a:lnTo>
                    <a:pt x="106" y="180"/>
                  </a:lnTo>
                  <a:lnTo>
                    <a:pt x="104" y="182"/>
                  </a:lnTo>
                  <a:lnTo>
                    <a:pt x="106" y="182"/>
                  </a:lnTo>
                  <a:lnTo>
                    <a:pt x="104" y="182"/>
                  </a:lnTo>
                  <a:lnTo>
                    <a:pt x="103" y="182"/>
                  </a:lnTo>
                  <a:lnTo>
                    <a:pt x="101" y="182"/>
                  </a:lnTo>
                  <a:lnTo>
                    <a:pt x="101" y="180"/>
                  </a:lnTo>
                  <a:lnTo>
                    <a:pt x="101" y="182"/>
                  </a:lnTo>
                  <a:lnTo>
                    <a:pt x="101" y="180"/>
                  </a:lnTo>
                  <a:lnTo>
                    <a:pt x="103" y="180"/>
                  </a:lnTo>
                  <a:lnTo>
                    <a:pt x="101" y="180"/>
                  </a:lnTo>
                  <a:lnTo>
                    <a:pt x="103" y="180"/>
                  </a:lnTo>
                  <a:lnTo>
                    <a:pt x="104" y="180"/>
                  </a:lnTo>
                  <a:lnTo>
                    <a:pt x="103" y="182"/>
                  </a:lnTo>
                  <a:lnTo>
                    <a:pt x="104" y="180"/>
                  </a:lnTo>
                  <a:lnTo>
                    <a:pt x="104" y="179"/>
                  </a:lnTo>
                  <a:close/>
                  <a:moveTo>
                    <a:pt x="100" y="180"/>
                  </a:moveTo>
                  <a:lnTo>
                    <a:pt x="100" y="182"/>
                  </a:lnTo>
                  <a:lnTo>
                    <a:pt x="100" y="183"/>
                  </a:lnTo>
                  <a:lnTo>
                    <a:pt x="100" y="182"/>
                  </a:lnTo>
                  <a:lnTo>
                    <a:pt x="100" y="183"/>
                  </a:lnTo>
                  <a:lnTo>
                    <a:pt x="98" y="183"/>
                  </a:lnTo>
                  <a:lnTo>
                    <a:pt x="96" y="183"/>
                  </a:lnTo>
                  <a:lnTo>
                    <a:pt x="96" y="182"/>
                  </a:lnTo>
                  <a:lnTo>
                    <a:pt x="98" y="183"/>
                  </a:lnTo>
                  <a:lnTo>
                    <a:pt x="98" y="182"/>
                  </a:lnTo>
                  <a:lnTo>
                    <a:pt x="98" y="180"/>
                  </a:lnTo>
                  <a:lnTo>
                    <a:pt x="98" y="182"/>
                  </a:lnTo>
                  <a:lnTo>
                    <a:pt x="98" y="180"/>
                  </a:lnTo>
                  <a:lnTo>
                    <a:pt x="100" y="182"/>
                  </a:lnTo>
                  <a:lnTo>
                    <a:pt x="100" y="180"/>
                  </a:lnTo>
                  <a:close/>
                  <a:moveTo>
                    <a:pt x="82" y="232"/>
                  </a:moveTo>
                  <a:lnTo>
                    <a:pt x="82" y="236"/>
                  </a:lnTo>
                  <a:lnTo>
                    <a:pt x="83" y="236"/>
                  </a:lnTo>
                  <a:lnTo>
                    <a:pt x="83" y="237"/>
                  </a:lnTo>
                  <a:lnTo>
                    <a:pt x="82" y="237"/>
                  </a:lnTo>
                  <a:lnTo>
                    <a:pt x="82" y="236"/>
                  </a:lnTo>
                  <a:lnTo>
                    <a:pt x="82" y="234"/>
                  </a:lnTo>
                  <a:lnTo>
                    <a:pt x="82" y="231"/>
                  </a:lnTo>
                  <a:lnTo>
                    <a:pt x="82" y="232"/>
                  </a:lnTo>
                  <a:close/>
                  <a:moveTo>
                    <a:pt x="539" y="161"/>
                  </a:moveTo>
                  <a:lnTo>
                    <a:pt x="537" y="161"/>
                  </a:lnTo>
                  <a:lnTo>
                    <a:pt x="539" y="159"/>
                  </a:lnTo>
                  <a:lnTo>
                    <a:pt x="539" y="157"/>
                  </a:lnTo>
                  <a:lnTo>
                    <a:pt x="539" y="159"/>
                  </a:lnTo>
                  <a:lnTo>
                    <a:pt x="539" y="161"/>
                  </a:lnTo>
                  <a:close/>
                  <a:moveTo>
                    <a:pt x="477" y="478"/>
                  </a:moveTo>
                  <a:lnTo>
                    <a:pt x="475" y="480"/>
                  </a:lnTo>
                  <a:lnTo>
                    <a:pt x="475" y="478"/>
                  </a:lnTo>
                  <a:lnTo>
                    <a:pt x="477" y="476"/>
                  </a:lnTo>
                  <a:lnTo>
                    <a:pt x="479" y="476"/>
                  </a:lnTo>
                  <a:lnTo>
                    <a:pt x="480" y="475"/>
                  </a:lnTo>
                  <a:lnTo>
                    <a:pt x="483" y="473"/>
                  </a:lnTo>
                  <a:lnTo>
                    <a:pt x="485" y="473"/>
                  </a:lnTo>
                  <a:lnTo>
                    <a:pt x="487" y="473"/>
                  </a:lnTo>
                  <a:lnTo>
                    <a:pt x="488" y="473"/>
                  </a:lnTo>
                  <a:lnTo>
                    <a:pt x="483" y="473"/>
                  </a:lnTo>
                  <a:lnTo>
                    <a:pt x="482" y="475"/>
                  </a:lnTo>
                  <a:lnTo>
                    <a:pt x="480" y="475"/>
                  </a:lnTo>
                  <a:lnTo>
                    <a:pt x="479" y="476"/>
                  </a:lnTo>
                  <a:lnTo>
                    <a:pt x="477" y="476"/>
                  </a:lnTo>
                  <a:lnTo>
                    <a:pt x="477" y="478"/>
                  </a:lnTo>
                  <a:close/>
                  <a:moveTo>
                    <a:pt x="75" y="323"/>
                  </a:moveTo>
                  <a:lnTo>
                    <a:pt x="77" y="323"/>
                  </a:lnTo>
                  <a:lnTo>
                    <a:pt x="78" y="325"/>
                  </a:lnTo>
                  <a:lnTo>
                    <a:pt x="77" y="327"/>
                  </a:lnTo>
                  <a:lnTo>
                    <a:pt x="75" y="325"/>
                  </a:lnTo>
                  <a:lnTo>
                    <a:pt x="75" y="323"/>
                  </a:lnTo>
                  <a:close/>
                  <a:moveTo>
                    <a:pt x="534" y="455"/>
                  </a:moveTo>
                  <a:lnTo>
                    <a:pt x="535" y="455"/>
                  </a:lnTo>
                  <a:lnTo>
                    <a:pt x="535" y="457"/>
                  </a:lnTo>
                  <a:lnTo>
                    <a:pt x="534" y="457"/>
                  </a:lnTo>
                  <a:lnTo>
                    <a:pt x="534" y="455"/>
                  </a:lnTo>
                  <a:lnTo>
                    <a:pt x="534" y="457"/>
                  </a:lnTo>
                  <a:lnTo>
                    <a:pt x="534" y="455"/>
                  </a:lnTo>
                  <a:close/>
                  <a:moveTo>
                    <a:pt x="75" y="275"/>
                  </a:moveTo>
                  <a:lnTo>
                    <a:pt x="75" y="273"/>
                  </a:lnTo>
                  <a:lnTo>
                    <a:pt x="77" y="275"/>
                  </a:lnTo>
                  <a:lnTo>
                    <a:pt x="75" y="275"/>
                  </a:lnTo>
                  <a:lnTo>
                    <a:pt x="75" y="276"/>
                  </a:lnTo>
                  <a:lnTo>
                    <a:pt x="77" y="276"/>
                  </a:lnTo>
                  <a:lnTo>
                    <a:pt x="77" y="278"/>
                  </a:lnTo>
                  <a:lnTo>
                    <a:pt x="75" y="276"/>
                  </a:lnTo>
                  <a:lnTo>
                    <a:pt x="75" y="275"/>
                  </a:lnTo>
                  <a:lnTo>
                    <a:pt x="74" y="275"/>
                  </a:lnTo>
                  <a:lnTo>
                    <a:pt x="75" y="275"/>
                  </a:lnTo>
                  <a:close/>
                  <a:moveTo>
                    <a:pt x="80" y="227"/>
                  </a:moveTo>
                  <a:lnTo>
                    <a:pt x="80" y="229"/>
                  </a:lnTo>
                  <a:lnTo>
                    <a:pt x="82" y="229"/>
                  </a:lnTo>
                  <a:lnTo>
                    <a:pt x="82" y="227"/>
                  </a:lnTo>
                  <a:lnTo>
                    <a:pt x="82" y="229"/>
                  </a:lnTo>
                  <a:lnTo>
                    <a:pt x="80" y="229"/>
                  </a:lnTo>
                  <a:lnTo>
                    <a:pt x="78" y="226"/>
                  </a:lnTo>
                  <a:lnTo>
                    <a:pt x="78" y="224"/>
                  </a:lnTo>
                  <a:lnTo>
                    <a:pt x="78" y="226"/>
                  </a:lnTo>
                  <a:lnTo>
                    <a:pt x="80" y="226"/>
                  </a:lnTo>
                  <a:lnTo>
                    <a:pt x="80" y="227"/>
                  </a:lnTo>
                  <a:close/>
                  <a:moveTo>
                    <a:pt x="321" y="148"/>
                  </a:moveTo>
                  <a:lnTo>
                    <a:pt x="321" y="146"/>
                  </a:lnTo>
                  <a:lnTo>
                    <a:pt x="321" y="144"/>
                  </a:lnTo>
                  <a:lnTo>
                    <a:pt x="322" y="143"/>
                  </a:lnTo>
                  <a:lnTo>
                    <a:pt x="322" y="144"/>
                  </a:lnTo>
                  <a:lnTo>
                    <a:pt x="322" y="146"/>
                  </a:lnTo>
                  <a:lnTo>
                    <a:pt x="321" y="148"/>
                  </a:lnTo>
                  <a:close/>
                  <a:moveTo>
                    <a:pt x="74" y="325"/>
                  </a:moveTo>
                  <a:lnTo>
                    <a:pt x="74" y="323"/>
                  </a:lnTo>
                  <a:lnTo>
                    <a:pt x="74" y="322"/>
                  </a:lnTo>
                  <a:lnTo>
                    <a:pt x="74" y="323"/>
                  </a:lnTo>
                  <a:lnTo>
                    <a:pt x="74" y="325"/>
                  </a:lnTo>
                  <a:lnTo>
                    <a:pt x="75" y="325"/>
                  </a:lnTo>
                  <a:lnTo>
                    <a:pt x="74" y="325"/>
                  </a:lnTo>
                  <a:close/>
                  <a:moveTo>
                    <a:pt x="108" y="179"/>
                  </a:moveTo>
                  <a:lnTo>
                    <a:pt x="108" y="180"/>
                  </a:lnTo>
                  <a:lnTo>
                    <a:pt x="106" y="180"/>
                  </a:lnTo>
                  <a:lnTo>
                    <a:pt x="108" y="179"/>
                  </a:lnTo>
                  <a:lnTo>
                    <a:pt x="108" y="180"/>
                  </a:lnTo>
                  <a:lnTo>
                    <a:pt x="108" y="179"/>
                  </a:lnTo>
                  <a:lnTo>
                    <a:pt x="108" y="180"/>
                  </a:lnTo>
                  <a:lnTo>
                    <a:pt x="108" y="179"/>
                  </a:lnTo>
                  <a:close/>
                  <a:moveTo>
                    <a:pt x="103" y="187"/>
                  </a:moveTo>
                  <a:lnTo>
                    <a:pt x="103" y="188"/>
                  </a:lnTo>
                  <a:lnTo>
                    <a:pt x="104" y="188"/>
                  </a:lnTo>
                  <a:lnTo>
                    <a:pt x="103" y="188"/>
                  </a:lnTo>
                  <a:lnTo>
                    <a:pt x="101" y="188"/>
                  </a:lnTo>
                  <a:lnTo>
                    <a:pt x="101" y="187"/>
                  </a:lnTo>
                  <a:lnTo>
                    <a:pt x="103" y="188"/>
                  </a:lnTo>
                  <a:lnTo>
                    <a:pt x="103" y="187"/>
                  </a:lnTo>
                  <a:close/>
                  <a:moveTo>
                    <a:pt x="98" y="175"/>
                  </a:moveTo>
                  <a:lnTo>
                    <a:pt x="98" y="177"/>
                  </a:lnTo>
                  <a:lnTo>
                    <a:pt x="96" y="177"/>
                  </a:lnTo>
                  <a:lnTo>
                    <a:pt x="96" y="175"/>
                  </a:lnTo>
                  <a:lnTo>
                    <a:pt x="98" y="175"/>
                  </a:lnTo>
                  <a:lnTo>
                    <a:pt x="96" y="175"/>
                  </a:lnTo>
                  <a:lnTo>
                    <a:pt x="98" y="175"/>
                  </a:lnTo>
                  <a:lnTo>
                    <a:pt x="100" y="175"/>
                  </a:lnTo>
                  <a:lnTo>
                    <a:pt x="98" y="175"/>
                  </a:lnTo>
                  <a:close/>
                  <a:moveTo>
                    <a:pt x="106" y="187"/>
                  </a:moveTo>
                  <a:lnTo>
                    <a:pt x="108" y="188"/>
                  </a:lnTo>
                  <a:lnTo>
                    <a:pt x="106" y="188"/>
                  </a:lnTo>
                  <a:lnTo>
                    <a:pt x="108" y="188"/>
                  </a:lnTo>
                  <a:lnTo>
                    <a:pt x="106" y="188"/>
                  </a:lnTo>
                  <a:lnTo>
                    <a:pt x="106" y="190"/>
                  </a:lnTo>
                  <a:lnTo>
                    <a:pt x="106" y="188"/>
                  </a:lnTo>
                  <a:lnTo>
                    <a:pt x="104" y="188"/>
                  </a:lnTo>
                  <a:lnTo>
                    <a:pt x="106" y="188"/>
                  </a:lnTo>
                  <a:lnTo>
                    <a:pt x="106" y="187"/>
                  </a:lnTo>
                  <a:close/>
                  <a:moveTo>
                    <a:pt x="87" y="471"/>
                  </a:moveTo>
                  <a:lnTo>
                    <a:pt x="87" y="470"/>
                  </a:lnTo>
                  <a:lnTo>
                    <a:pt x="88" y="470"/>
                  </a:lnTo>
                  <a:lnTo>
                    <a:pt x="87" y="470"/>
                  </a:lnTo>
                  <a:lnTo>
                    <a:pt x="88" y="470"/>
                  </a:lnTo>
                  <a:lnTo>
                    <a:pt x="87" y="471"/>
                  </a:lnTo>
                  <a:close/>
                  <a:moveTo>
                    <a:pt x="74" y="260"/>
                  </a:moveTo>
                  <a:lnTo>
                    <a:pt x="74" y="262"/>
                  </a:lnTo>
                  <a:lnTo>
                    <a:pt x="75" y="262"/>
                  </a:lnTo>
                  <a:lnTo>
                    <a:pt x="74" y="262"/>
                  </a:lnTo>
                  <a:lnTo>
                    <a:pt x="72" y="262"/>
                  </a:lnTo>
                  <a:lnTo>
                    <a:pt x="74" y="262"/>
                  </a:lnTo>
                  <a:lnTo>
                    <a:pt x="72" y="262"/>
                  </a:lnTo>
                  <a:lnTo>
                    <a:pt x="74" y="260"/>
                  </a:lnTo>
                  <a:lnTo>
                    <a:pt x="72" y="260"/>
                  </a:lnTo>
                  <a:lnTo>
                    <a:pt x="74" y="260"/>
                  </a:lnTo>
                  <a:close/>
                  <a:moveTo>
                    <a:pt x="165" y="57"/>
                  </a:moveTo>
                  <a:lnTo>
                    <a:pt x="165" y="55"/>
                  </a:lnTo>
                  <a:lnTo>
                    <a:pt x="165" y="53"/>
                  </a:lnTo>
                  <a:lnTo>
                    <a:pt x="166" y="53"/>
                  </a:lnTo>
                  <a:lnTo>
                    <a:pt x="166" y="55"/>
                  </a:lnTo>
                  <a:lnTo>
                    <a:pt x="165" y="55"/>
                  </a:lnTo>
                  <a:lnTo>
                    <a:pt x="166" y="55"/>
                  </a:lnTo>
                  <a:lnTo>
                    <a:pt x="165" y="57"/>
                  </a:lnTo>
                  <a:close/>
                  <a:moveTo>
                    <a:pt x="124" y="411"/>
                  </a:moveTo>
                  <a:lnTo>
                    <a:pt x="126" y="411"/>
                  </a:lnTo>
                  <a:lnTo>
                    <a:pt x="126" y="413"/>
                  </a:lnTo>
                  <a:lnTo>
                    <a:pt x="127" y="414"/>
                  </a:lnTo>
                  <a:lnTo>
                    <a:pt x="126" y="414"/>
                  </a:lnTo>
                  <a:lnTo>
                    <a:pt x="126" y="413"/>
                  </a:lnTo>
                  <a:lnTo>
                    <a:pt x="124" y="413"/>
                  </a:lnTo>
                  <a:lnTo>
                    <a:pt x="124" y="411"/>
                  </a:lnTo>
                  <a:close/>
                  <a:moveTo>
                    <a:pt x="100" y="192"/>
                  </a:moveTo>
                  <a:lnTo>
                    <a:pt x="101" y="190"/>
                  </a:lnTo>
                  <a:lnTo>
                    <a:pt x="101" y="192"/>
                  </a:lnTo>
                  <a:lnTo>
                    <a:pt x="100" y="192"/>
                  </a:lnTo>
                  <a:close/>
                  <a:moveTo>
                    <a:pt x="88" y="183"/>
                  </a:moveTo>
                  <a:lnTo>
                    <a:pt x="87" y="182"/>
                  </a:lnTo>
                  <a:lnTo>
                    <a:pt x="88" y="182"/>
                  </a:lnTo>
                  <a:lnTo>
                    <a:pt x="90" y="182"/>
                  </a:lnTo>
                  <a:lnTo>
                    <a:pt x="88" y="182"/>
                  </a:lnTo>
                  <a:lnTo>
                    <a:pt x="88" y="183"/>
                  </a:lnTo>
                  <a:close/>
                  <a:moveTo>
                    <a:pt x="106" y="185"/>
                  </a:moveTo>
                  <a:lnTo>
                    <a:pt x="108" y="185"/>
                  </a:lnTo>
                  <a:lnTo>
                    <a:pt x="106" y="185"/>
                  </a:lnTo>
                  <a:lnTo>
                    <a:pt x="108" y="185"/>
                  </a:lnTo>
                  <a:lnTo>
                    <a:pt x="108" y="187"/>
                  </a:lnTo>
                  <a:lnTo>
                    <a:pt x="106" y="187"/>
                  </a:lnTo>
                  <a:lnTo>
                    <a:pt x="108" y="187"/>
                  </a:lnTo>
                  <a:lnTo>
                    <a:pt x="106" y="185"/>
                  </a:lnTo>
                  <a:lnTo>
                    <a:pt x="108" y="185"/>
                  </a:lnTo>
                  <a:lnTo>
                    <a:pt x="106" y="185"/>
                  </a:lnTo>
                  <a:lnTo>
                    <a:pt x="108" y="185"/>
                  </a:lnTo>
                  <a:lnTo>
                    <a:pt x="106" y="185"/>
                  </a:lnTo>
                  <a:close/>
                  <a:moveTo>
                    <a:pt x="236" y="177"/>
                  </a:moveTo>
                  <a:lnTo>
                    <a:pt x="235" y="177"/>
                  </a:lnTo>
                  <a:lnTo>
                    <a:pt x="235" y="175"/>
                  </a:lnTo>
                  <a:lnTo>
                    <a:pt x="236" y="175"/>
                  </a:lnTo>
                  <a:lnTo>
                    <a:pt x="236" y="177"/>
                  </a:lnTo>
                  <a:close/>
                  <a:moveTo>
                    <a:pt x="121" y="140"/>
                  </a:moveTo>
                  <a:lnTo>
                    <a:pt x="119" y="140"/>
                  </a:lnTo>
                  <a:lnTo>
                    <a:pt x="119" y="138"/>
                  </a:lnTo>
                  <a:lnTo>
                    <a:pt x="121" y="138"/>
                  </a:lnTo>
                  <a:lnTo>
                    <a:pt x="121" y="140"/>
                  </a:lnTo>
                  <a:close/>
                  <a:moveTo>
                    <a:pt x="511" y="452"/>
                  </a:moveTo>
                  <a:lnTo>
                    <a:pt x="513" y="452"/>
                  </a:lnTo>
                  <a:lnTo>
                    <a:pt x="513" y="453"/>
                  </a:lnTo>
                  <a:lnTo>
                    <a:pt x="513" y="452"/>
                  </a:lnTo>
                  <a:lnTo>
                    <a:pt x="511" y="452"/>
                  </a:lnTo>
                  <a:close/>
                  <a:moveTo>
                    <a:pt x="126" y="166"/>
                  </a:moveTo>
                  <a:lnTo>
                    <a:pt x="124" y="166"/>
                  </a:lnTo>
                  <a:lnTo>
                    <a:pt x="126" y="166"/>
                  </a:lnTo>
                  <a:close/>
                  <a:moveTo>
                    <a:pt x="103" y="180"/>
                  </a:moveTo>
                  <a:lnTo>
                    <a:pt x="104" y="180"/>
                  </a:lnTo>
                  <a:lnTo>
                    <a:pt x="103" y="180"/>
                  </a:lnTo>
                  <a:lnTo>
                    <a:pt x="104" y="180"/>
                  </a:lnTo>
                  <a:lnTo>
                    <a:pt x="103" y="180"/>
                  </a:lnTo>
                  <a:close/>
                  <a:moveTo>
                    <a:pt x="111" y="183"/>
                  </a:moveTo>
                  <a:lnTo>
                    <a:pt x="109" y="183"/>
                  </a:lnTo>
                  <a:lnTo>
                    <a:pt x="111" y="183"/>
                  </a:lnTo>
                  <a:close/>
                  <a:moveTo>
                    <a:pt x="122" y="138"/>
                  </a:moveTo>
                  <a:lnTo>
                    <a:pt x="121" y="138"/>
                  </a:lnTo>
                  <a:lnTo>
                    <a:pt x="122" y="138"/>
                  </a:lnTo>
                  <a:close/>
                  <a:moveTo>
                    <a:pt x="98" y="190"/>
                  </a:moveTo>
                  <a:lnTo>
                    <a:pt x="96" y="190"/>
                  </a:lnTo>
                  <a:lnTo>
                    <a:pt x="98" y="190"/>
                  </a:lnTo>
                  <a:lnTo>
                    <a:pt x="96" y="190"/>
                  </a:lnTo>
                  <a:lnTo>
                    <a:pt x="98" y="190"/>
                  </a:lnTo>
                  <a:close/>
                  <a:moveTo>
                    <a:pt x="165" y="385"/>
                  </a:moveTo>
                  <a:lnTo>
                    <a:pt x="163" y="385"/>
                  </a:lnTo>
                  <a:lnTo>
                    <a:pt x="165" y="385"/>
                  </a:lnTo>
                  <a:close/>
                  <a:moveTo>
                    <a:pt x="166" y="78"/>
                  </a:moveTo>
                  <a:lnTo>
                    <a:pt x="166" y="76"/>
                  </a:lnTo>
                  <a:lnTo>
                    <a:pt x="168" y="76"/>
                  </a:lnTo>
                  <a:lnTo>
                    <a:pt x="168" y="78"/>
                  </a:lnTo>
                  <a:lnTo>
                    <a:pt x="166" y="78"/>
                  </a:lnTo>
                  <a:close/>
                  <a:moveTo>
                    <a:pt x="202" y="141"/>
                  </a:moveTo>
                  <a:lnTo>
                    <a:pt x="200" y="141"/>
                  </a:lnTo>
                  <a:lnTo>
                    <a:pt x="202" y="141"/>
                  </a:lnTo>
                  <a:close/>
                  <a:moveTo>
                    <a:pt x="532" y="447"/>
                  </a:moveTo>
                  <a:lnTo>
                    <a:pt x="532" y="449"/>
                  </a:lnTo>
                  <a:lnTo>
                    <a:pt x="532" y="447"/>
                  </a:lnTo>
                  <a:lnTo>
                    <a:pt x="534" y="447"/>
                  </a:lnTo>
                  <a:lnTo>
                    <a:pt x="532" y="447"/>
                  </a:lnTo>
                  <a:close/>
                  <a:moveTo>
                    <a:pt x="78" y="325"/>
                  </a:moveTo>
                  <a:lnTo>
                    <a:pt x="78" y="323"/>
                  </a:lnTo>
                  <a:lnTo>
                    <a:pt x="78" y="325"/>
                  </a:lnTo>
                  <a:close/>
                  <a:moveTo>
                    <a:pt x="78" y="188"/>
                  </a:moveTo>
                  <a:lnTo>
                    <a:pt x="77" y="188"/>
                  </a:lnTo>
                  <a:lnTo>
                    <a:pt x="78" y="187"/>
                  </a:lnTo>
                  <a:lnTo>
                    <a:pt x="78" y="188"/>
                  </a:lnTo>
                  <a:close/>
                  <a:moveTo>
                    <a:pt x="155" y="387"/>
                  </a:moveTo>
                  <a:lnTo>
                    <a:pt x="157" y="387"/>
                  </a:lnTo>
                  <a:lnTo>
                    <a:pt x="155" y="388"/>
                  </a:lnTo>
                  <a:lnTo>
                    <a:pt x="155" y="387"/>
                  </a:lnTo>
                  <a:close/>
                  <a:moveTo>
                    <a:pt x="153" y="55"/>
                  </a:moveTo>
                  <a:lnTo>
                    <a:pt x="153" y="57"/>
                  </a:lnTo>
                  <a:lnTo>
                    <a:pt x="153" y="55"/>
                  </a:lnTo>
                  <a:close/>
                  <a:moveTo>
                    <a:pt x="100" y="140"/>
                  </a:moveTo>
                  <a:lnTo>
                    <a:pt x="101" y="140"/>
                  </a:lnTo>
                  <a:lnTo>
                    <a:pt x="101" y="141"/>
                  </a:lnTo>
                  <a:lnTo>
                    <a:pt x="101" y="140"/>
                  </a:lnTo>
                  <a:lnTo>
                    <a:pt x="100" y="141"/>
                  </a:lnTo>
                  <a:lnTo>
                    <a:pt x="100" y="140"/>
                  </a:lnTo>
                  <a:close/>
                  <a:moveTo>
                    <a:pt x="104" y="185"/>
                  </a:moveTo>
                  <a:lnTo>
                    <a:pt x="104" y="187"/>
                  </a:lnTo>
                  <a:lnTo>
                    <a:pt x="104" y="185"/>
                  </a:lnTo>
                  <a:lnTo>
                    <a:pt x="106" y="185"/>
                  </a:lnTo>
                  <a:lnTo>
                    <a:pt x="104" y="185"/>
                  </a:lnTo>
                  <a:close/>
                  <a:moveTo>
                    <a:pt x="93" y="177"/>
                  </a:moveTo>
                  <a:lnTo>
                    <a:pt x="95" y="177"/>
                  </a:lnTo>
                  <a:lnTo>
                    <a:pt x="95" y="179"/>
                  </a:lnTo>
                  <a:lnTo>
                    <a:pt x="93" y="179"/>
                  </a:lnTo>
                  <a:lnTo>
                    <a:pt x="93" y="177"/>
                  </a:lnTo>
                  <a:close/>
                  <a:moveTo>
                    <a:pt x="70" y="320"/>
                  </a:moveTo>
                  <a:lnTo>
                    <a:pt x="70" y="322"/>
                  </a:lnTo>
                  <a:lnTo>
                    <a:pt x="70" y="320"/>
                  </a:lnTo>
                  <a:close/>
                  <a:moveTo>
                    <a:pt x="117" y="117"/>
                  </a:moveTo>
                  <a:lnTo>
                    <a:pt x="116" y="117"/>
                  </a:lnTo>
                  <a:lnTo>
                    <a:pt x="117" y="117"/>
                  </a:lnTo>
                  <a:close/>
                  <a:moveTo>
                    <a:pt x="114" y="123"/>
                  </a:moveTo>
                  <a:lnTo>
                    <a:pt x="114" y="122"/>
                  </a:lnTo>
                  <a:lnTo>
                    <a:pt x="116" y="122"/>
                  </a:lnTo>
                  <a:lnTo>
                    <a:pt x="116" y="123"/>
                  </a:lnTo>
                  <a:lnTo>
                    <a:pt x="114" y="123"/>
                  </a:lnTo>
                  <a:close/>
                  <a:moveTo>
                    <a:pt x="117" y="167"/>
                  </a:moveTo>
                  <a:lnTo>
                    <a:pt x="117" y="169"/>
                  </a:lnTo>
                  <a:lnTo>
                    <a:pt x="117" y="167"/>
                  </a:lnTo>
                  <a:lnTo>
                    <a:pt x="117" y="169"/>
                  </a:lnTo>
                  <a:lnTo>
                    <a:pt x="117" y="167"/>
                  </a:lnTo>
                  <a:lnTo>
                    <a:pt x="117" y="169"/>
                  </a:lnTo>
                  <a:lnTo>
                    <a:pt x="117" y="167"/>
                  </a:lnTo>
                  <a:close/>
                  <a:moveTo>
                    <a:pt x="106" y="143"/>
                  </a:moveTo>
                  <a:lnTo>
                    <a:pt x="104" y="143"/>
                  </a:lnTo>
                  <a:lnTo>
                    <a:pt x="106" y="143"/>
                  </a:lnTo>
                  <a:lnTo>
                    <a:pt x="104" y="144"/>
                  </a:lnTo>
                  <a:lnTo>
                    <a:pt x="104" y="143"/>
                  </a:lnTo>
                  <a:lnTo>
                    <a:pt x="106" y="143"/>
                  </a:lnTo>
                  <a:close/>
                  <a:moveTo>
                    <a:pt x="511" y="452"/>
                  </a:moveTo>
                  <a:lnTo>
                    <a:pt x="509" y="452"/>
                  </a:lnTo>
                  <a:lnTo>
                    <a:pt x="511" y="450"/>
                  </a:lnTo>
                  <a:lnTo>
                    <a:pt x="511" y="452"/>
                  </a:lnTo>
                  <a:close/>
                  <a:moveTo>
                    <a:pt x="75" y="271"/>
                  </a:moveTo>
                  <a:lnTo>
                    <a:pt x="75" y="273"/>
                  </a:lnTo>
                  <a:lnTo>
                    <a:pt x="75" y="275"/>
                  </a:lnTo>
                  <a:lnTo>
                    <a:pt x="75" y="273"/>
                  </a:lnTo>
                  <a:lnTo>
                    <a:pt x="75" y="271"/>
                  </a:lnTo>
                  <a:close/>
                  <a:moveTo>
                    <a:pt x="122" y="460"/>
                  </a:moveTo>
                  <a:lnTo>
                    <a:pt x="122" y="462"/>
                  </a:lnTo>
                  <a:lnTo>
                    <a:pt x="121" y="460"/>
                  </a:lnTo>
                  <a:lnTo>
                    <a:pt x="122" y="460"/>
                  </a:lnTo>
                  <a:close/>
                  <a:moveTo>
                    <a:pt x="96" y="182"/>
                  </a:moveTo>
                  <a:lnTo>
                    <a:pt x="98" y="182"/>
                  </a:lnTo>
                  <a:lnTo>
                    <a:pt x="96" y="182"/>
                  </a:lnTo>
                  <a:lnTo>
                    <a:pt x="98" y="182"/>
                  </a:lnTo>
                  <a:lnTo>
                    <a:pt x="96" y="182"/>
                  </a:lnTo>
                  <a:close/>
                  <a:moveTo>
                    <a:pt x="488" y="473"/>
                  </a:moveTo>
                  <a:lnTo>
                    <a:pt x="488" y="471"/>
                  </a:lnTo>
                  <a:lnTo>
                    <a:pt x="488" y="473"/>
                  </a:lnTo>
                  <a:close/>
                  <a:moveTo>
                    <a:pt x="116" y="123"/>
                  </a:moveTo>
                  <a:lnTo>
                    <a:pt x="117" y="123"/>
                  </a:lnTo>
                  <a:lnTo>
                    <a:pt x="116" y="123"/>
                  </a:lnTo>
                  <a:close/>
                  <a:moveTo>
                    <a:pt x="583" y="312"/>
                  </a:moveTo>
                  <a:lnTo>
                    <a:pt x="584" y="310"/>
                  </a:lnTo>
                  <a:lnTo>
                    <a:pt x="584" y="312"/>
                  </a:lnTo>
                  <a:lnTo>
                    <a:pt x="583" y="312"/>
                  </a:lnTo>
                  <a:close/>
                  <a:moveTo>
                    <a:pt x="578" y="426"/>
                  </a:moveTo>
                  <a:lnTo>
                    <a:pt x="578" y="424"/>
                  </a:lnTo>
                  <a:lnTo>
                    <a:pt x="578" y="426"/>
                  </a:lnTo>
                  <a:close/>
                  <a:moveTo>
                    <a:pt x="77" y="187"/>
                  </a:moveTo>
                  <a:lnTo>
                    <a:pt x="78" y="185"/>
                  </a:lnTo>
                  <a:lnTo>
                    <a:pt x="78" y="187"/>
                  </a:lnTo>
                  <a:lnTo>
                    <a:pt x="77" y="187"/>
                  </a:lnTo>
                  <a:close/>
                  <a:moveTo>
                    <a:pt x="101" y="193"/>
                  </a:moveTo>
                  <a:lnTo>
                    <a:pt x="103" y="193"/>
                  </a:lnTo>
                  <a:lnTo>
                    <a:pt x="101" y="193"/>
                  </a:lnTo>
                  <a:close/>
                  <a:moveTo>
                    <a:pt x="150" y="151"/>
                  </a:moveTo>
                  <a:lnTo>
                    <a:pt x="148" y="151"/>
                  </a:lnTo>
                  <a:lnTo>
                    <a:pt x="150" y="151"/>
                  </a:lnTo>
                  <a:close/>
                  <a:moveTo>
                    <a:pt x="91" y="185"/>
                  </a:moveTo>
                  <a:lnTo>
                    <a:pt x="93" y="185"/>
                  </a:lnTo>
                  <a:lnTo>
                    <a:pt x="91" y="185"/>
                  </a:lnTo>
                  <a:close/>
                  <a:moveTo>
                    <a:pt x="70" y="182"/>
                  </a:moveTo>
                  <a:lnTo>
                    <a:pt x="70" y="183"/>
                  </a:lnTo>
                  <a:lnTo>
                    <a:pt x="69" y="183"/>
                  </a:lnTo>
                  <a:lnTo>
                    <a:pt x="70" y="183"/>
                  </a:lnTo>
                  <a:lnTo>
                    <a:pt x="70" y="182"/>
                  </a:lnTo>
                  <a:close/>
                  <a:moveTo>
                    <a:pt x="95" y="372"/>
                  </a:moveTo>
                  <a:lnTo>
                    <a:pt x="96" y="372"/>
                  </a:lnTo>
                  <a:lnTo>
                    <a:pt x="96" y="374"/>
                  </a:lnTo>
                  <a:lnTo>
                    <a:pt x="96" y="372"/>
                  </a:lnTo>
                  <a:lnTo>
                    <a:pt x="95" y="372"/>
                  </a:lnTo>
                  <a:lnTo>
                    <a:pt x="96" y="372"/>
                  </a:lnTo>
                  <a:lnTo>
                    <a:pt x="95" y="372"/>
                  </a:lnTo>
                  <a:close/>
                  <a:moveTo>
                    <a:pt x="108" y="187"/>
                  </a:moveTo>
                  <a:lnTo>
                    <a:pt x="108" y="188"/>
                  </a:lnTo>
                  <a:lnTo>
                    <a:pt x="108" y="187"/>
                  </a:lnTo>
                  <a:close/>
                  <a:moveTo>
                    <a:pt x="98" y="177"/>
                  </a:moveTo>
                  <a:lnTo>
                    <a:pt x="100" y="177"/>
                  </a:lnTo>
                  <a:lnTo>
                    <a:pt x="98" y="179"/>
                  </a:lnTo>
                  <a:lnTo>
                    <a:pt x="98" y="177"/>
                  </a:lnTo>
                  <a:close/>
                  <a:moveTo>
                    <a:pt x="101" y="180"/>
                  </a:moveTo>
                  <a:lnTo>
                    <a:pt x="101" y="179"/>
                  </a:lnTo>
                  <a:lnTo>
                    <a:pt x="101" y="180"/>
                  </a:lnTo>
                  <a:lnTo>
                    <a:pt x="101" y="179"/>
                  </a:lnTo>
                  <a:lnTo>
                    <a:pt x="101" y="180"/>
                  </a:lnTo>
                  <a:close/>
                  <a:moveTo>
                    <a:pt x="75" y="268"/>
                  </a:moveTo>
                  <a:lnTo>
                    <a:pt x="74" y="268"/>
                  </a:lnTo>
                  <a:lnTo>
                    <a:pt x="75" y="266"/>
                  </a:lnTo>
                  <a:lnTo>
                    <a:pt x="75" y="268"/>
                  </a:lnTo>
                  <a:close/>
                  <a:moveTo>
                    <a:pt x="74" y="268"/>
                  </a:moveTo>
                  <a:lnTo>
                    <a:pt x="72" y="268"/>
                  </a:lnTo>
                  <a:lnTo>
                    <a:pt x="74" y="268"/>
                  </a:lnTo>
                  <a:close/>
                  <a:moveTo>
                    <a:pt x="134" y="141"/>
                  </a:moveTo>
                  <a:lnTo>
                    <a:pt x="134" y="143"/>
                  </a:lnTo>
                  <a:lnTo>
                    <a:pt x="135" y="143"/>
                  </a:lnTo>
                  <a:lnTo>
                    <a:pt x="134" y="143"/>
                  </a:lnTo>
                  <a:lnTo>
                    <a:pt x="134" y="141"/>
                  </a:lnTo>
                  <a:close/>
                  <a:moveTo>
                    <a:pt x="235" y="499"/>
                  </a:moveTo>
                  <a:lnTo>
                    <a:pt x="236" y="499"/>
                  </a:lnTo>
                  <a:lnTo>
                    <a:pt x="236" y="501"/>
                  </a:lnTo>
                  <a:lnTo>
                    <a:pt x="236" y="499"/>
                  </a:lnTo>
                  <a:lnTo>
                    <a:pt x="235" y="499"/>
                  </a:lnTo>
                  <a:close/>
                  <a:moveTo>
                    <a:pt x="457" y="481"/>
                  </a:moveTo>
                  <a:lnTo>
                    <a:pt x="457" y="480"/>
                  </a:lnTo>
                  <a:lnTo>
                    <a:pt x="457" y="481"/>
                  </a:lnTo>
                  <a:close/>
                  <a:moveTo>
                    <a:pt x="246" y="177"/>
                  </a:moveTo>
                  <a:lnTo>
                    <a:pt x="244" y="177"/>
                  </a:lnTo>
                  <a:lnTo>
                    <a:pt x="248" y="177"/>
                  </a:lnTo>
                  <a:lnTo>
                    <a:pt x="246" y="177"/>
                  </a:lnTo>
                  <a:close/>
                  <a:moveTo>
                    <a:pt x="108" y="187"/>
                  </a:moveTo>
                  <a:lnTo>
                    <a:pt x="106" y="187"/>
                  </a:lnTo>
                  <a:lnTo>
                    <a:pt x="108" y="187"/>
                  </a:lnTo>
                  <a:close/>
                  <a:moveTo>
                    <a:pt x="75" y="263"/>
                  </a:moveTo>
                  <a:lnTo>
                    <a:pt x="75" y="265"/>
                  </a:lnTo>
                  <a:lnTo>
                    <a:pt x="75" y="263"/>
                  </a:lnTo>
                  <a:lnTo>
                    <a:pt x="77" y="263"/>
                  </a:lnTo>
                  <a:lnTo>
                    <a:pt x="75" y="263"/>
                  </a:lnTo>
                  <a:close/>
                  <a:moveTo>
                    <a:pt x="135" y="159"/>
                  </a:moveTo>
                  <a:lnTo>
                    <a:pt x="137" y="159"/>
                  </a:lnTo>
                  <a:lnTo>
                    <a:pt x="135" y="159"/>
                  </a:lnTo>
                  <a:close/>
                  <a:moveTo>
                    <a:pt x="135" y="385"/>
                  </a:moveTo>
                  <a:lnTo>
                    <a:pt x="135" y="387"/>
                  </a:lnTo>
                  <a:lnTo>
                    <a:pt x="135" y="385"/>
                  </a:lnTo>
                  <a:close/>
                  <a:moveTo>
                    <a:pt x="91" y="188"/>
                  </a:moveTo>
                  <a:lnTo>
                    <a:pt x="93" y="188"/>
                  </a:lnTo>
                  <a:lnTo>
                    <a:pt x="91" y="188"/>
                  </a:lnTo>
                  <a:lnTo>
                    <a:pt x="93" y="188"/>
                  </a:lnTo>
                  <a:lnTo>
                    <a:pt x="91" y="188"/>
                  </a:lnTo>
                  <a:close/>
                  <a:moveTo>
                    <a:pt x="117" y="372"/>
                  </a:moveTo>
                  <a:lnTo>
                    <a:pt x="116" y="372"/>
                  </a:lnTo>
                  <a:lnTo>
                    <a:pt x="117" y="372"/>
                  </a:lnTo>
                  <a:close/>
                  <a:moveTo>
                    <a:pt x="104" y="187"/>
                  </a:moveTo>
                  <a:lnTo>
                    <a:pt x="103" y="187"/>
                  </a:lnTo>
                  <a:lnTo>
                    <a:pt x="104" y="187"/>
                  </a:lnTo>
                  <a:close/>
                  <a:moveTo>
                    <a:pt x="114" y="400"/>
                  </a:moveTo>
                  <a:lnTo>
                    <a:pt x="114" y="398"/>
                  </a:lnTo>
                  <a:lnTo>
                    <a:pt x="114" y="400"/>
                  </a:lnTo>
                  <a:close/>
                  <a:moveTo>
                    <a:pt x="148" y="382"/>
                  </a:moveTo>
                  <a:lnTo>
                    <a:pt x="148" y="384"/>
                  </a:lnTo>
                  <a:lnTo>
                    <a:pt x="148" y="382"/>
                  </a:lnTo>
                  <a:close/>
                  <a:moveTo>
                    <a:pt x="80" y="227"/>
                  </a:moveTo>
                  <a:lnTo>
                    <a:pt x="80" y="226"/>
                  </a:lnTo>
                  <a:lnTo>
                    <a:pt x="82" y="226"/>
                  </a:lnTo>
                  <a:lnTo>
                    <a:pt x="80" y="227"/>
                  </a:lnTo>
                  <a:close/>
                  <a:moveTo>
                    <a:pt x="108" y="193"/>
                  </a:moveTo>
                  <a:lnTo>
                    <a:pt x="108" y="195"/>
                  </a:lnTo>
                  <a:lnTo>
                    <a:pt x="108" y="193"/>
                  </a:lnTo>
                  <a:close/>
                  <a:moveTo>
                    <a:pt x="236" y="501"/>
                  </a:moveTo>
                  <a:lnTo>
                    <a:pt x="236" y="502"/>
                  </a:lnTo>
                  <a:lnTo>
                    <a:pt x="236" y="501"/>
                  </a:lnTo>
                  <a:close/>
                  <a:moveTo>
                    <a:pt x="121" y="462"/>
                  </a:moveTo>
                  <a:lnTo>
                    <a:pt x="121" y="463"/>
                  </a:lnTo>
                  <a:lnTo>
                    <a:pt x="119" y="463"/>
                  </a:lnTo>
                  <a:lnTo>
                    <a:pt x="119" y="462"/>
                  </a:lnTo>
                  <a:lnTo>
                    <a:pt x="121" y="462"/>
                  </a:lnTo>
                  <a:lnTo>
                    <a:pt x="119" y="462"/>
                  </a:lnTo>
                  <a:lnTo>
                    <a:pt x="121" y="462"/>
                  </a:lnTo>
                  <a:close/>
                  <a:moveTo>
                    <a:pt x="108" y="193"/>
                  </a:moveTo>
                  <a:lnTo>
                    <a:pt x="109" y="195"/>
                  </a:lnTo>
                  <a:lnTo>
                    <a:pt x="108" y="195"/>
                  </a:lnTo>
                  <a:lnTo>
                    <a:pt x="108" y="193"/>
                  </a:lnTo>
                  <a:close/>
                  <a:moveTo>
                    <a:pt x="137" y="384"/>
                  </a:moveTo>
                  <a:lnTo>
                    <a:pt x="137" y="382"/>
                  </a:lnTo>
                  <a:lnTo>
                    <a:pt x="137" y="384"/>
                  </a:lnTo>
                  <a:close/>
                  <a:moveTo>
                    <a:pt x="106" y="463"/>
                  </a:moveTo>
                  <a:lnTo>
                    <a:pt x="106" y="465"/>
                  </a:lnTo>
                  <a:lnTo>
                    <a:pt x="106" y="463"/>
                  </a:lnTo>
                  <a:close/>
                  <a:moveTo>
                    <a:pt x="111" y="401"/>
                  </a:moveTo>
                  <a:lnTo>
                    <a:pt x="113" y="401"/>
                  </a:lnTo>
                  <a:lnTo>
                    <a:pt x="111" y="401"/>
                  </a:lnTo>
                  <a:close/>
                  <a:moveTo>
                    <a:pt x="583" y="426"/>
                  </a:moveTo>
                  <a:lnTo>
                    <a:pt x="581" y="426"/>
                  </a:lnTo>
                  <a:lnTo>
                    <a:pt x="583" y="426"/>
                  </a:lnTo>
                  <a:close/>
                  <a:moveTo>
                    <a:pt x="117" y="138"/>
                  </a:moveTo>
                  <a:lnTo>
                    <a:pt x="119" y="138"/>
                  </a:lnTo>
                  <a:lnTo>
                    <a:pt x="121" y="138"/>
                  </a:lnTo>
                  <a:lnTo>
                    <a:pt x="119" y="138"/>
                  </a:lnTo>
                  <a:lnTo>
                    <a:pt x="117" y="138"/>
                  </a:lnTo>
                  <a:close/>
                  <a:moveTo>
                    <a:pt x="134" y="387"/>
                  </a:moveTo>
                  <a:lnTo>
                    <a:pt x="132" y="387"/>
                  </a:lnTo>
                  <a:lnTo>
                    <a:pt x="134" y="387"/>
                  </a:lnTo>
                  <a:close/>
                  <a:moveTo>
                    <a:pt x="108" y="182"/>
                  </a:moveTo>
                  <a:lnTo>
                    <a:pt x="106" y="182"/>
                  </a:lnTo>
                  <a:lnTo>
                    <a:pt x="108" y="182"/>
                  </a:lnTo>
                  <a:close/>
                  <a:moveTo>
                    <a:pt x="104" y="185"/>
                  </a:moveTo>
                  <a:lnTo>
                    <a:pt x="106" y="185"/>
                  </a:lnTo>
                  <a:lnTo>
                    <a:pt x="104" y="185"/>
                  </a:lnTo>
                  <a:close/>
                  <a:moveTo>
                    <a:pt x="85" y="283"/>
                  </a:moveTo>
                  <a:lnTo>
                    <a:pt x="87" y="283"/>
                  </a:lnTo>
                  <a:lnTo>
                    <a:pt x="85" y="283"/>
                  </a:lnTo>
                  <a:close/>
                  <a:moveTo>
                    <a:pt x="134" y="159"/>
                  </a:moveTo>
                  <a:lnTo>
                    <a:pt x="134" y="161"/>
                  </a:lnTo>
                  <a:lnTo>
                    <a:pt x="134" y="159"/>
                  </a:lnTo>
                  <a:close/>
                  <a:moveTo>
                    <a:pt x="251" y="177"/>
                  </a:moveTo>
                  <a:lnTo>
                    <a:pt x="249" y="177"/>
                  </a:lnTo>
                  <a:lnTo>
                    <a:pt x="251" y="177"/>
                  </a:lnTo>
                  <a:close/>
                  <a:moveTo>
                    <a:pt x="241" y="175"/>
                  </a:moveTo>
                  <a:lnTo>
                    <a:pt x="243" y="175"/>
                  </a:lnTo>
                  <a:lnTo>
                    <a:pt x="241" y="175"/>
                  </a:lnTo>
                  <a:close/>
                  <a:moveTo>
                    <a:pt x="532" y="449"/>
                  </a:moveTo>
                  <a:lnTo>
                    <a:pt x="534" y="447"/>
                  </a:lnTo>
                  <a:lnTo>
                    <a:pt x="534" y="449"/>
                  </a:lnTo>
                  <a:lnTo>
                    <a:pt x="532" y="449"/>
                  </a:lnTo>
                  <a:close/>
                  <a:moveTo>
                    <a:pt x="75" y="273"/>
                  </a:moveTo>
                  <a:lnTo>
                    <a:pt x="77" y="271"/>
                  </a:lnTo>
                  <a:lnTo>
                    <a:pt x="77" y="273"/>
                  </a:lnTo>
                  <a:lnTo>
                    <a:pt x="75" y="273"/>
                  </a:lnTo>
                  <a:close/>
                  <a:moveTo>
                    <a:pt x="126" y="166"/>
                  </a:moveTo>
                  <a:lnTo>
                    <a:pt x="127" y="166"/>
                  </a:lnTo>
                  <a:lnTo>
                    <a:pt x="126" y="166"/>
                  </a:lnTo>
                  <a:close/>
                  <a:moveTo>
                    <a:pt x="100" y="188"/>
                  </a:moveTo>
                  <a:lnTo>
                    <a:pt x="101" y="188"/>
                  </a:lnTo>
                  <a:lnTo>
                    <a:pt x="100" y="188"/>
                  </a:lnTo>
                  <a:close/>
                  <a:moveTo>
                    <a:pt x="347" y="148"/>
                  </a:moveTo>
                  <a:lnTo>
                    <a:pt x="345" y="148"/>
                  </a:lnTo>
                  <a:lnTo>
                    <a:pt x="347" y="148"/>
                  </a:lnTo>
                  <a:close/>
                  <a:moveTo>
                    <a:pt x="121" y="375"/>
                  </a:moveTo>
                  <a:lnTo>
                    <a:pt x="122" y="377"/>
                  </a:lnTo>
                  <a:lnTo>
                    <a:pt x="121" y="377"/>
                  </a:lnTo>
                  <a:lnTo>
                    <a:pt x="121" y="375"/>
                  </a:lnTo>
                  <a:close/>
                  <a:moveTo>
                    <a:pt x="526" y="449"/>
                  </a:moveTo>
                  <a:lnTo>
                    <a:pt x="527" y="449"/>
                  </a:lnTo>
                  <a:lnTo>
                    <a:pt x="527" y="447"/>
                  </a:lnTo>
                  <a:lnTo>
                    <a:pt x="527" y="449"/>
                  </a:lnTo>
                  <a:lnTo>
                    <a:pt x="526" y="449"/>
                  </a:lnTo>
                  <a:close/>
                  <a:moveTo>
                    <a:pt x="114" y="128"/>
                  </a:moveTo>
                  <a:lnTo>
                    <a:pt x="114" y="127"/>
                  </a:lnTo>
                  <a:lnTo>
                    <a:pt x="116" y="127"/>
                  </a:lnTo>
                  <a:lnTo>
                    <a:pt x="116" y="128"/>
                  </a:lnTo>
                  <a:lnTo>
                    <a:pt x="114" y="128"/>
                  </a:lnTo>
                  <a:close/>
                  <a:moveTo>
                    <a:pt x="108" y="192"/>
                  </a:moveTo>
                  <a:lnTo>
                    <a:pt x="109" y="193"/>
                  </a:lnTo>
                  <a:lnTo>
                    <a:pt x="108" y="193"/>
                  </a:lnTo>
                  <a:lnTo>
                    <a:pt x="108" y="192"/>
                  </a:lnTo>
                  <a:close/>
                  <a:moveTo>
                    <a:pt x="241" y="180"/>
                  </a:moveTo>
                  <a:lnTo>
                    <a:pt x="239" y="180"/>
                  </a:lnTo>
                  <a:lnTo>
                    <a:pt x="241" y="180"/>
                  </a:lnTo>
                  <a:close/>
                  <a:moveTo>
                    <a:pt x="109" y="466"/>
                  </a:moveTo>
                  <a:lnTo>
                    <a:pt x="108" y="466"/>
                  </a:lnTo>
                  <a:lnTo>
                    <a:pt x="109" y="466"/>
                  </a:lnTo>
                  <a:close/>
                  <a:moveTo>
                    <a:pt x="100" y="188"/>
                  </a:moveTo>
                  <a:lnTo>
                    <a:pt x="100" y="190"/>
                  </a:lnTo>
                  <a:lnTo>
                    <a:pt x="100" y="188"/>
                  </a:lnTo>
                  <a:close/>
                  <a:moveTo>
                    <a:pt x="103" y="115"/>
                  </a:moveTo>
                  <a:lnTo>
                    <a:pt x="104" y="115"/>
                  </a:lnTo>
                  <a:lnTo>
                    <a:pt x="103" y="115"/>
                  </a:lnTo>
                  <a:close/>
                  <a:moveTo>
                    <a:pt x="95" y="190"/>
                  </a:moveTo>
                  <a:lnTo>
                    <a:pt x="93" y="190"/>
                  </a:lnTo>
                  <a:lnTo>
                    <a:pt x="93" y="192"/>
                  </a:lnTo>
                  <a:lnTo>
                    <a:pt x="93" y="190"/>
                  </a:lnTo>
                  <a:lnTo>
                    <a:pt x="95" y="190"/>
                  </a:lnTo>
                  <a:close/>
                  <a:moveTo>
                    <a:pt x="93" y="187"/>
                  </a:moveTo>
                  <a:lnTo>
                    <a:pt x="91" y="187"/>
                  </a:lnTo>
                  <a:lnTo>
                    <a:pt x="93" y="187"/>
                  </a:lnTo>
                  <a:close/>
                  <a:moveTo>
                    <a:pt x="134" y="141"/>
                  </a:moveTo>
                  <a:lnTo>
                    <a:pt x="134" y="143"/>
                  </a:lnTo>
                  <a:lnTo>
                    <a:pt x="134" y="141"/>
                  </a:lnTo>
                  <a:lnTo>
                    <a:pt x="135" y="141"/>
                  </a:lnTo>
                  <a:lnTo>
                    <a:pt x="134" y="141"/>
                  </a:lnTo>
                  <a:lnTo>
                    <a:pt x="135" y="141"/>
                  </a:lnTo>
                  <a:lnTo>
                    <a:pt x="134" y="141"/>
                  </a:lnTo>
                  <a:close/>
                  <a:moveTo>
                    <a:pt x="236" y="174"/>
                  </a:moveTo>
                  <a:lnTo>
                    <a:pt x="236" y="175"/>
                  </a:lnTo>
                  <a:lnTo>
                    <a:pt x="236" y="174"/>
                  </a:lnTo>
                  <a:close/>
                  <a:moveTo>
                    <a:pt x="75" y="174"/>
                  </a:moveTo>
                  <a:lnTo>
                    <a:pt x="75" y="172"/>
                  </a:lnTo>
                  <a:lnTo>
                    <a:pt x="75" y="174"/>
                  </a:lnTo>
                  <a:close/>
                  <a:moveTo>
                    <a:pt x="153" y="388"/>
                  </a:moveTo>
                  <a:lnTo>
                    <a:pt x="155" y="388"/>
                  </a:lnTo>
                  <a:lnTo>
                    <a:pt x="153" y="388"/>
                  </a:lnTo>
                  <a:close/>
                  <a:moveTo>
                    <a:pt x="75" y="271"/>
                  </a:moveTo>
                  <a:lnTo>
                    <a:pt x="74" y="271"/>
                  </a:lnTo>
                  <a:lnTo>
                    <a:pt x="75" y="271"/>
                  </a:lnTo>
                  <a:lnTo>
                    <a:pt x="75" y="270"/>
                  </a:lnTo>
                  <a:lnTo>
                    <a:pt x="75" y="271"/>
                  </a:lnTo>
                  <a:close/>
                  <a:moveTo>
                    <a:pt x="108" y="190"/>
                  </a:moveTo>
                  <a:lnTo>
                    <a:pt x="106" y="190"/>
                  </a:lnTo>
                  <a:lnTo>
                    <a:pt x="108" y="190"/>
                  </a:lnTo>
                  <a:close/>
                  <a:moveTo>
                    <a:pt x="153" y="159"/>
                  </a:moveTo>
                  <a:lnTo>
                    <a:pt x="153" y="157"/>
                  </a:lnTo>
                  <a:lnTo>
                    <a:pt x="155" y="157"/>
                  </a:lnTo>
                  <a:lnTo>
                    <a:pt x="153" y="159"/>
                  </a:lnTo>
                  <a:close/>
                  <a:moveTo>
                    <a:pt x="114" y="140"/>
                  </a:moveTo>
                  <a:lnTo>
                    <a:pt x="113" y="140"/>
                  </a:lnTo>
                  <a:lnTo>
                    <a:pt x="114" y="140"/>
                  </a:lnTo>
                  <a:close/>
                  <a:moveTo>
                    <a:pt x="96" y="190"/>
                  </a:moveTo>
                  <a:lnTo>
                    <a:pt x="95" y="190"/>
                  </a:lnTo>
                  <a:lnTo>
                    <a:pt x="96" y="190"/>
                  </a:lnTo>
                  <a:close/>
                  <a:moveTo>
                    <a:pt x="117" y="372"/>
                  </a:moveTo>
                  <a:lnTo>
                    <a:pt x="117" y="374"/>
                  </a:lnTo>
                  <a:lnTo>
                    <a:pt x="117" y="372"/>
                  </a:lnTo>
                  <a:close/>
                  <a:moveTo>
                    <a:pt x="104" y="177"/>
                  </a:moveTo>
                  <a:lnTo>
                    <a:pt x="104" y="175"/>
                  </a:lnTo>
                  <a:lnTo>
                    <a:pt x="104" y="177"/>
                  </a:lnTo>
                  <a:close/>
                  <a:moveTo>
                    <a:pt x="111" y="183"/>
                  </a:moveTo>
                  <a:lnTo>
                    <a:pt x="113" y="183"/>
                  </a:lnTo>
                  <a:lnTo>
                    <a:pt x="111" y="183"/>
                  </a:lnTo>
                  <a:close/>
                  <a:moveTo>
                    <a:pt x="111" y="182"/>
                  </a:moveTo>
                  <a:lnTo>
                    <a:pt x="109" y="182"/>
                  </a:lnTo>
                  <a:lnTo>
                    <a:pt x="111" y="182"/>
                  </a:lnTo>
                  <a:close/>
                  <a:moveTo>
                    <a:pt x="591" y="292"/>
                  </a:moveTo>
                  <a:lnTo>
                    <a:pt x="589" y="294"/>
                  </a:lnTo>
                  <a:lnTo>
                    <a:pt x="589" y="292"/>
                  </a:lnTo>
                  <a:lnTo>
                    <a:pt x="591" y="292"/>
                  </a:lnTo>
                  <a:close/>
                  <a:moveTo>
                    <a:pt x="113" y="372"/>
                  </a:moveTo>
                  <a:lnTo>
                    <a:pt x="111" y="372"/>
                  </a:lnTo>
                  <a:lnTo>
                    <a:pt x="113" y="371"/>
                  </a:lnTo>
                  <a:lnTo>
                    <a:pt x="113" y="372"/>
                  </a:lnTo>
                  <a:close/>
                  <a:moveTo>
                    <a:pt x="139" y="166"/>
                  </a:moveTo>
                  <a:lnTo>
                    <a:pt x="137" y="166"/>
                  </a:lnTo>
                  <a:lnTo>
                    <a:pt x="139" y="166"/>
                  </a:lnTo>
                  <a:close/>
                  <a:moveTo>
                    <a:pt x="106" y="180"/>
                  </a:moveTo>
                  <a:lnTo>
                    <a:pt x="106" y="182"/>
                  </a:lnTo>
                  <a:lnTo>
                    <a:pt x="106" y="180"/>
                  </a:lnTo>
                  <a:close/>
                  <a:moveTo>
                    <a:pt x="108" y="190"/>
                  </a:moveTo>
                  <a:lnTo>
                    <a:pt x="108" y="192"/>
                  </a:lnTo>
                  <a:lnTo>
                    <a:pt x="108" y="190"/>
                  </a:lnTo>
                  <a:close/>
                  <a:moveTo>
                    <a:pt x="88" y="177"/>
                  </a:moveTo>
                  <a:lnTo>
                    <a:pt x="87" y="177"/>
                  </a:lnTo>
                  <a:lnTo>
                    <a:pt x="88" y="177"/>
                  </a:lnTo>
                  <a:close/>
                  <a:moveTo>
                    <a:pt x="98" y="154"/>
                  </a:moveTo>
                  <a:lnTo>
                    <a:pt x="96" y="156"/>
                  </a:lnTo>
                  <a:lnTo>
                    <a:pt x="96" y="154"/>
                  </a:lnTo>
                  <a:lnTo>
                    <a:pt x="98" y="154"/>
                  </a:lnTo>
                  <a:lnTo>
                    <a:pt x="98" y="156"/>
                  </a:lnTo>
                  <a:lnTo>
                    <a:pt x="98" y="154"/>
                  </a:lnTo>
                  <a:close/>
                  <a:moveTo>
                    <a:pt x="109" y="177"/>
                  </a:moveTo>
                  <a:lnTo>
                    <a:pt x="109" y="175"/>
                  </a:lnTo>
                  <a:lnTo>
                    <a:pt x="111" y="175"/>
                  </a:lnTo>
                  <a:lnTo>
                    <a:pt x="109" y="177"/>
                  </a:lnTo>
                  <a:close/>
                  <a:moveTo>
                    <a:pt x="137" y="159"/>
                  </a:moveTo>
                  <a:lnTo>
                    <a:pt x="137" y="161"/>
                  </a:lnTo>
                  <a:lnTo>
                    <a:pt x="137" y="159"/>
                  </a:lnTo>
                  <a:close/>
                  <a:moveTo>
                    <a:pt x="108" y="193"/>
                  </a:moveTo>
                  <a:lnTo>
                    <a:pt x="109" y="193"/>
                  </a:lnTo>
                  <a:lnTo>
                    <a:pt x="108" y="193"/>
                  </a:lnTo>
                  <a:close/>
                  <a:moveTo>
                    <a:pt x="101" y="190"/>
                  </a:moveTo>
                  <a:lnTo>
                    <a:pt x="101" y="192"/>
                  </a:lnTo>
                  <a:lnTo>
                    <a:pt x="103" y="192"/>
                  </a:lnTo>
                  <a:lnTo>
                    <a:pt x="101" y="192"/>
                  </a:lnTo>
                  <a:lnTo>
                    <a:pt x="101" y="190"/>
                  </a:lnTo>
                  <a:close/>
                  <a:moveTo>
                    <a:pt x="511" y="382"/>
                  </a:moveTo>
                  <a:lnTo>
                    <a:pt x="511" y="384"/>
                  </a:lnTo>
                  <a:lnTo>
                    <a:pt x="511" y="382"/>
                  </a:lnTo>
                  <a:close/>
                  <a:moveTo>
                    <a:pt x="132" y="141"/>
                  </a:moveTo>
                  <a:lnTo>
                    <a:pt x="134" y="141"/>
                  </a:lnTo>
                  <a:lnTo>
                    <a:pt x="132" y="141"/>
                  </a:lnTo>
                  <a:close/>
                  <a:moveTo>
                    <a:pt x="170" y="387"/>
                  </a:moveTo>
                  <a:lnTo>
                    <a:pt x="170" y="385"/>
                  </a:lnTo>
                  <a:lnTo>
                    <a:pt x="170" y="387"/>
                  </a:lnTo>
                  <a:close/>
                  <a:moveTo>
                    <a:pt x="114" y="120"/>
                  </a:moveTo>
                  <a:lnTo>
                    <a:pt x="113" y="120"/>
                  </a:lnTo>
                  <a:lnTo>
                    <a:pt x="114" y="120"/>
                  </a:lnTo>
                  <a:close/>
                  <a:moveTo>
                    <a:pt x="100" y="136"/>
                  </a:moveTo>
                  <a:lnTo>
                    <a:pt x="101" y="136"/>
                  </a:lnTo>
                  <a:lnTo>
                    <a:pt x="100" y="136"/>
                  </a:lnTo>
                  <a:close/>
                  <a:moveTo>
                    <a:pt x="114" y="156"/>
                  </a:moveTo>
                  <a:lnTo>
                    <a:pt x="114" y="157"/>
                  </a:lnTo>
                  <a:lnTo>
                    <a:pt x="114" y="156"/>
                  </a:lnTo>
                  <a:close/>
                  <a:moveTo>
                    <a:pt x="251" y="177"/>
                  </a:moveTo>
                  <a:lnTo>
                    <a:pt x="252" y="177"/>
                  </a:lnTo>
                  <a:lnTo>
                    <a:pt x="251" y="179"/>
                  </a:lnTo>
                  <a:lnTo>
                    <a:pt x="251" y="177"/>
                  </a:lnTo>
                  <a:close/>
                  <a:moveTo>
                    <a:pt x="121" y="49"/>
                  </a:moveTo>
                  <a:lnTo>
                    <a:pt x="121" y="50"/>
                  </a:lnTo>
                  <a:lnTo>
                    <a:pt x="121" y="49"/>
                  </a:lnTo>
                  <a:close/>
                  <a:moveTo>
                    <a:pt x="109" y="193"/>
                  </a:moveTo>
                  <a:lnTo>
                    <a:pt x="111" y="193"/>
                  </a:lnTo>
                  <a:lnTo>
                    <a:pt x="109" y="193"/>
                  </a:lnTo>
                  <a:close/>
                  <a:moveTo>
                    <a:pt x="103" y="177"/>
                  </a:moveTo>
                  <a:lnTo>
                    <a:pt x="104" y="177"/>
                  </a:lnTo>
                  <a:lnTo>
                    <a:pt x="103" y="177"/>
                  </a:lnTo>
                  <a:close/>
                  <a:moveTo>
                    <a:pt x="108" y="182"/>
                  </a:moveTo>
                  <a:lnTo>
                    <a:pt x="109" y="182"/>
                  </a:lnTo>
                  <a:lnTo>
                    <a:pt x="108" y="182"/>
                  </a:lnTo>
                  <a:close/>
                  <a:moveTo>
                    <a:pt x="91" y="188"/>
                  </a:moveTo>
                  <a:lnTo>
                    <a:pt x="90" y="188"/>
                  </a:lnTo>
                  <a:lnTo>
                    <a:pt x="91" y="188"/>
                  </a:lnTo>
                  <a:close/>
                  <a:moveTo>
                    <a:pt x="117" y="125"/>
                  </a:moveTo>
                  <a:lnTo>
                    <a:pt x="119" y="125"/>
                  </a:lnTo>
                  <a:lnTo>
                    <a:pt x="119" y="127"/>
                  </a:lnTo>
                  <a:lnTo>
                    <a:pt x="117" y="125"/>
                  </a:lnTo>
                  <a:close/>
                  <a:moveTo>
                    <a:pt x="514" y="382"/>
                  </a:moveTo>
                  <a:lnTo>
                    <a:pt x="514" y="380"/>
                  </a:lnTo>
                  <a:lnTo>
                    <a:pt x="514" y="382"/>
                  </a:lnTo>
                  <a:close/>
                  <a:moveTo>
                    <a:pt x="83" y="183"/>
                  </a:moveTo>
                  <a:lnTo>
                    <a:pt x="85" y="183"/>
                  </a:lnTo>
                  <a:lnTo>
                    <a:pt x="83" y="183"/>
                  </a:lnTo>
                  <a:close/>
                  <a:moveTo>
                    <a:pt x="114" y="151"/>
                  </a:moveTo>
                  <a:lnTo>
                    <a:pt x="116" y="151"/>
                  </a:lnTo>
                  <a:lnTo>
                    <a:pt x="114" y="151"/>
                  </a:lnTo>
                  <a:close/>
                  <a:moveTo>
                    <a:pt x="132" y="388"/>
                  </a:moveTo>
                  <a:lnTo>
                    <a:pt x="130" y="388"/>
                  </a:lnTo>
                  <a:lnTo>
                    <a:pt x="132" y="387"/>
                  </a:lnTo>
                  <a:lnTo>
                    <a:pt x="132" y="388"/>
                  </a:lnTo>
                  <a:close/>
                  <a:moveTo>
                    <a:pt x="117" y="170"/>
                  </a:moveTo>
                  <a:lnTo>
                    <a:pt x="116" y="170"/>
                  </a:lnTo>
                  <a:lnTo>
                    <a:pt x="116" y="169"/>
                  </a:lnTo>
                  <a:lnTo>
                    <a:pt x="117" y="169"/>
                  </a:lnTo>
                  <a:lnTo>
                    <a:pt x="117" y="170"/>
                  </a:lnTo>
                  <a:close/>
                  <a:moveTo>
                    <a:pt x="83" y="183"/>
                  </a:moveTo>
                  <a:lnTo>
                    <a:pt x="82" y="185"/>
                  </a:lnTo>
                  <a:lnTo>
                    <a:pt x="82" y="183"/>
                  </a:lnTo>
                  <a:lnTo>
                    <a:pt x="83" y="183"/>
                  </a:lnTo>
                  <a:close/>
                  <a:moveTo>
                    <a:pt x="100" y="180"/>
                  </a:moveTo>
                  <a:lnTo>
                    <a:pt x="100" y="179"/>
                  </a:lnTo>
                  <a:lnTo>
                    <a:pt x="100" y="180"/>
                  </a:lnTo>
                  <a:close/>
                  <a:moveTo>
                    <a:pt x="145" y="369"/>
                  </a:moveTo>
                  <a:lnTo>
                    <a:pt x="147" y="369"/>
                  </a:lnTo>
                  <a:lnTo>
                    <a:pt x="145" y="369"/>
                  </a:lnTo>
                  <a:close/>
                  <a:moveTo>
                    <a:pt x="480" y="475"/>
                  </a:moveTo>
                  <a:lnTo>
                    <a:pt x="479" y="475"/>
                  </a:lnTo>
                  <a:lnTo>
                    <a:pt x="479" y="473"/>
                  </a:lnTo>
                  <a:lnTo>
                    <a:pt x="480" y="473"/>
                  </a:lnTo>
                  <a:lnTo>
                    <a:pt x="480" y="475"/>
                  </a:lnTo>
                  <a:close/>
                  <a:moveTo>
                    <a:pt x="106" y="183"/>
                  </a:moveTo>
                  <a:lnTo>
                    <a:pt x="106" y="182"/>
                  </a:lnTo>
                  <a:lnTo>
                    <a:pt x="106" y="183"/>
                  </a:lnTo>
                  <a:close/>
                  <a:moveTo>
                    <a:pt x="82" y="182"/>
                  </a:moveTo>
                  <a:lnTo>
                    <a:pt x="83" y="182"/>
                  </a:lnTo>
                  <a:lnTo>
                    <a:pt x="82" y="182"/>
                  </a:lnTo>
                  <a:close/>
                  <a:moveTo>
                    <a:pt x="117" y="140"/>
                  </a:moveTo>
                  <a:lnTo>
                    <a:pt x="116" y="140"/>
                  </a:lnTo>
                  <a:lnTo>
                    <a:pt x="117" y="140"/>
                  </a:lnTo>
                  <a:close/>
                  <a:moveTo>
                    <a:pt x="83" y="294"/>
                  </a:moveTo>
                  <a:lnTo>
                    <a:pt x="85" y="294"/>
                  </a:lnTo>
                  <a:lnTo>
                    <a:pt x="83" y="294"/>
                  </a:lnTo>
                  <a:close/>
                  <a:moveTo>
                    <a:pt x="77" y="188"/>
                  </a:moveTo>
                  <a:lnTo>
                    <a:pt x="77" y="187"/>
                  </a:lnTo>
                  <a:lnTo>
                    <a:pt x="77" y="188"/>
                  </a:lnTo>
                  <a:close/>
                  <a:moveTo>
                    <a:pt x="144" y="367"/>
                  </a:moveTo>
                  <a:lnTo>
                    <a:pt x="145" y="367"/>
                  </a:lnTo>
                  <a:lnTo>
                    <a:pt x="144" y="367"/>
                  </a:lnTo>
                  <a:close/>
                  <a:moveTo>
                    <a:pt x="238" y="177"/>
                  </a:moveTo>
                  <a:lnTo>
                    <a:pt x="238" y="175"/>
                  </a:lnTo>
                  <a:lnTo>
                    <a:pt x="238" y="177"/>
                  </a:lnTo>
                  <a:close/>
                  <a:moveTo>
                    <a:pt x="116" y="166"/>
                  </a:moveTo>
                  <a:lnTo>
                    <a:pt x="117" y="166"/>
                  </a:lnTo>
                  <a:lnTo>
                    <a:pt x="116" y="166"/>
                  </a:lnTo>
                  <a:close/>
                  <a:moveTo>
                    <a:pt x="187" y="138"/>
                  </a:moveTo>
                  <a:lnTo>
                    <a:pt x="186" y="138"/>
                  </a:lnTo>
                  <a:lnTo>
                    <a:pt x="187" y="138"/>
                  </a:lnTo>
                  <a:close/>
                  <a:moveTo>
                    <a:pt x="104" y="179"/>
                  </a:moveTo>
                  <a:lnTo>
                    <a:pt x="106" y="179"/>
                  </a:lnTo>
                  <a:lnTo>
                    <a:pt x="104" y="179"/>
                  </a:lnTo>
                  <a:close/>
                  <a:moveTo>
                    <a:pt x="91" y="374"/>
                  </a:moveTo>
                  <a:lnTo>
                    <a:pt x="93" y="372"/>
                  </a:lnTo>
                  <a:lnTo>
                    <a:pt x="93" y="374"/>
                  </a:lnTo>
                  <a:lnTo>
                    <a:pt x="91" y="374"/>
                  </a:lnTo>
                  <a:close/>
                  <a:moveTo>
                    <a:pt x="134" y="161"/>
                  </a:moveTo>
                  <a:lnTo>
                    <a:pt x="135" y="161"/>
                  </a:lnTo>
                  <a:lnTo>
                    <a:pt x="134" y="161"/>
                  </a:lnTo>
                  <a:close/>
                  <a:moveTo>
                    <a:pt x="108" y="193"/>
                  </a:moveTo>
                  <a:lnTo>
                    <a:pt x="108" y="195"/>
                  </a:lnTo>
                  <a:lnTo>
                    <a:pt x="108" y="193"/>
                  </a:lnTo>
                  <a:close/>
                  <a:moveTo>
                    <a:pt x="119" y="128"/>
                  </a:moveTo>
                  <a:lnTo>
                    <a:pt x="117" y="128"/>
                  </a:lnTo>
                  <a:lnTo>
                    <a:pt x="119" y="128"/>
                  </a:lnTo>
                  <a:close/>
                  <a:moveTo>
                    <a:pt x="77" y="312"/>
                  </a:moveTo>
                  <a:lnTo>
                    <a:pt x="77" y="310"/>
                  </a:lnTo>
                  <a:lnTo>
                    <a:pt x="77" y="312"/>
                  </a:lnTo>
                  <a:close/>
                  <a:moveTo>
                    <a:pt x="113" y="182"/>
                  </a:moveTo>
                  <a:lnTo>
                    <a:pt x="111" y="182"/>
                  </a:lnTo>
                  <a:lnTo>
                    <a:pt x="113" y="182"/>
                  </a:lnTo>
                  <a:close/>
                  <a:moveTo>
                    <a:pt x="526" y="450"/>
                  </a:moveTo>
                  <a:lnTo>
                    <a:pt x="527" y="450"/>
                  </a:lnTo>
                  <a:lnTo>
                    <a:pt x="526" y="450"/>
                  </a:lnTo>
                  <a:close/>
                  <a:moveTo>
                    <a:pt x="103" y="182"/>
                  </a:moveTo>
                  <a:lnTo>
                    <a:pt x="104" y="182"/>
                  </a:lnTo>
                  <a:lnTo>
                    <a:pt x="103" y="182"/>
                  </a:lnTo>
                  <a:close/>
                  <a:moveTo>
                    <a:pt x="239" y="175"/>
                  </a:moveTo>
                  <a:lnTo>
                    <a:pt x="241" y="175"/>
                  </a:lnTo>
                  <a:lnTo>
                    <a:pt x="239" y="175"/>
                  </a:lnTo>
                  <a:close/>
                  <a:moveTo>
                    <a:pt x="147" y="388"/>
                  </a:moveTo>
                  <a:lnTo>
                    <a:pt x="148" y="388"/>
                  </a:lnTo>
                  <a:lnTo>
                    <a:pt x="147" y="388"/>
                  </a:lnTo>
                  <a:close/>
                  <a:moveTo>
                    <a:pt x="119" y="144"/>
                  </a:moveTo>
                  <a:lnTo>
                    <a:pt x="119" y="143"/>
                  </a:lnTo>
                  <a:lnTo>
                    <a:pt x="119" y="144"/>
                  </a:lnTo>
                  <a:close/>
                  <a:moveTo>
                    <a:pt x="122" y="151"/>
                  </a:moveTo>
                  <a:lnTo>
                    <a:pt x="124" y="151"/>
                  </a:lnTo>
                  <a:lnTo>
                    <a:pt x="122" y="151"/>
                  </a:lnTo>
                  <a:close/>
                  <a:moveTo>
                    <a:pt x="171" y="385"/>
                  </a:moveTo>
                  <a:lnTo>
                    <a:pt x="170" y="385"/>
                  </a:lnTo>
                  <a:lnTo>
                    <a:pt x="171" y="385"/>
                  </a:lnTo>
                  <a:close/>
                  <a:moveTo>
                    <a:pt x="114" y="201"/>
                  </a:moveTo>
                  <a:lnTo>
                    <a:pt x="113" y="201"/>
                  </a:lnTo>
                  <a:lnTo>
                    <a:pt x="113" y="200"/>
                  </a:lnTo>
                  <a:lnTo>
                    <a:pt x="114" y="201"/>
                  </a:lnTo>
                  <a:close/>
                  <a:moveTo>
                    <a:pt x="134" y="141"/>
                  </a:moveTo>
                  <a:lnTo>
                    <a:pt x="134" y="143"/>
                  </a:lnTo>
                  <a:lnTo>
                    <a:pt x="134" y="141"/>
                  </a:lnTo>
                  <a:close/>
                  <a:moveTo>
                    <a:pt x="75" y="266"/>
                  </a:moveTo>
                  <a:lnTo>
                    <a:pt x="77" y="265"/>
                  </a:lnTo>
                  <a:lnTo>
                    <a:pt x="77" y="266"/>
                  </a:lnTo>
                  <a:lnTo>
                    <a:pt x="75" y="266"/>
                  </a:lnTo>
                  <a:close/>
                  <a:moveTo>
                    <a:pt x="124" y="153"/>
                  </a:moveTo>
                  <a:lnTo>
                    <a:pt x="124" y="151"/>
                  </a:lnTo>
                  <a:lnTo>
                    <a:pt x="124" y="153"/>
                  </a:lnTo>
                  <a:close/>
                  <a:moveTo>
                    <a:pt x="241" y="179"/>
                  </a:moveTo>
                  <a:lnTo>
                    <a:pt x="241" y="180"/>
                  </a:lnTo>
                  <a:lnTo>
                    <a:pt x="239" y="180"/>
                  </a:lnTo>
                  <a:lnTo>
                    <a:pt x="239" y="179"/>
                  </a:lnTo>
                  <a:lnTo>
                    <a:pt x="241" y="179"/>
                  </a:lnTo>
                  <a:lnTo>
                    <a:pt x="239" y="179"/>
                  </a:lnTo>
                  <a:lnTo>
                    <a:pt x="241" y="179"/>
                  </a:lnTo>
                  <a:close/>
                  <a:moveTo>
                    <a:pt x="95" y="273"/>
                  </a:moveTo>
                  <a:lnTo>
                    <a:pt x="93" y="273"/>
                  </a:lnTo>
                  <a:lnTo>
                    <a:pt x="95" y="273"/>
                  </a:lnTo>
                  <a:close/>
                  <a:moveTo>
                    <a:pt x="117" y="127"/>
                  </a:moveTo>
                  <a:lnTo>
                    <a:pt x="119" y="127"/>
                  </a:lnTo>
                  <a:lnTo>
                    <a:pt x="117" y="127"/>
                  </a:lnTo>
                  <a:close/>
                  <a:moveTo>
                    <a:pt x="95" y="161"/>
                  </a:moveTo>
                  <a:lnTo>
                    <a:pt x="93" y="161"/>
                  </a:lnTo>
                  <a:lnTo>
                    <a:pt x="95" y="161"/>
                  </a:lnTo>
                  <a:close/>
                  <a:moveTo>
                    <a:pt x="239" y="180"/>
                  </a:moveTo>
                  <a:lnTo>
                    <a:pt x="239" y="179"/>
                  </a:lnTo>
                  <a:lnTo>
                    <a:pt x="239" y="180"/>
                  </a:lnTo>
                  <a:lnTo>
                    <a:pt x="239" y="179"/>
                  </a:lnTo>
                  <a:lnTo>
                    <a:pt x="239" y="180"/>
                  </a:lnTo>
                  <a:close/>
                  <a:moveTo>
                    <a:pt x="109" y="174"/>
                  </a:moveTo>
                  <a:lnTo>
                    <a:pt x="109" y="175"/>
                  </a:lnTo>
                  <a:lnTo>
                    <a:pt x="109" y="174"/>
                  </a:lnTo>
                  <a:close/>
                  <a:moveTo>
                    <a:pt x="75" y="255"/>
                  </a:moveTo>
                  <a:lnTo>
                    <a:pt x="77" y="255"/>
                  </a:lnTo>
                  <a:lnTo>
                    <a:pt x="75" y="255"/>
                  </a:lnTo>
                  <a:close/>
                  <a:moveTo>
                    <a:pt x="91" y="276"/>
                  </a:moveTo>
                  <a:lnTo>
                    <a:pt x="93" y="276"/>
                  </a:lnTo>
                  <a:lnTo>
                    <a:pt x="93" y="278"/>
                  </a:lnTo>
                  <a:lnTo>
                    <a:pt x="91" y="278"/>
                  </a:lnTo>
                  <a:lnTo>
                    <a:pt x="91" y="276"/>
                  </a:lnTo>
                  <a:close/>
                  <a:moveTo>
                    <a:pt x="100" y="180"/>
                  </a:moveTo>
                  <a:lnTo>
                    <a:pt x="100" y="179"/>
                  </a:lnTo>
                  <a:lnTo>
                    <a:pt x="100" y="180"/>
                  </a:lnTo>
                  <a:close/>
                  <a:moveTo>
                    <a:pt x="158" y="79"/>
                  </a:moveTo>
                  <a:lnTo>
                    <a:pt x="157" y="79"/>
                  </a:lnTo>
                  <a:lnTo>
                    <a:pt x="158" y="79"/>
                  </a:lnTo>
                  <a:close/>
                  <a:moveTo>
                    <a:pt x="64" y="320"/>
                  </a:moveTo>
                  <a:lnTo>
                    <a:pt x="64" y="318"/>
                  </a:lnTo>
                  <a:lnTo>
                    <a:pt x="64" y="320"/>
                  </a:lnTo>
                  <a:close/>
                  <a:moveTo>
                    <a:pt x="514" y="380"/>
                  </a:moveTo>
                  <a:lnTo>
                    <a:pt x="516" y="380"/>
                  </a:lnTo>
                  <a:lnTo>
                    <a:pt x="514" y="380"/>
                  </a:lnTo>
                  <a:close/>
                  <a:moveTo>
                    <a:pt x="106" y="183"/>
                  </a:moveTo>
                  <a:lnTo>
                    <a:pt x="104" y="183"/>
                  </a:lnTo>
                  <a:lnTo>
                    <a:pt x="104" y="182"/>
                  </a:lnTo>
                  <a:lnTo>
                    <a:pt x="106" y="182"/>
                  </a:lnTo>
                  <a:lnTo>
                    <a:pt x="106" y="183"/>
                  </a:lnTo>
                  <a:close/>
                  <a:moveTo>
                    <a:pt x="75" y="270"/>
                  </a:moveTo>
                  <a:lnTo>
                    <a:pt x="75" y="268"/>
                  </a:lnTo>
                  <a:lnTo>
                    <a:pt x="77" y="270"/>
                  </a:lnTo>
                  <a:lnTo>
                    <a:pt x="75" y="270"/>
                  </a:lnTo>
                  <a:close/>
                  <a:moveTo>
                    <a:pt x="96" y="154"/>
                  </a:moveTo>
                  <a:lnTo>
                    <a:pt x="96" y="156"/>
                  </a:lnTo>
                  <a:lnTo>
                    <a:pt x="96" y="154"/>
                  </a:lnTo>
                  <a:close/>
                  <a:moveTo>
                    <a:pt x="558" y="359"/>
                  </a:moveTo>
                  <a:lnTo>
                    <a:pt x="557" y="359"/>
                  </a:lnTo>
                  <a:lnTo>
                    <a:pt x="557" y="358"/>
                  </a:lnTo>
                  <a:lnTo>
                    <a:pt x="558" y="359"/>
                  </a:lnTo>
                  <a:close/>
                  <a:moveTo>
                    <a:pt x="104" y="179"/>
                  </a:moveTo>
                  <a:lnTo>
                    <a:pt x="106" y="179"/>
                  </a:lnTo>
                  <a:lnTo>
                    <a:pt x="104" y="179"/>
                  </a:lnTo>
                  <a:close/>
                  <a:moveTo>
                    <a:pt x="555" y="437"/>
                  </a:moveTo>
                  <a:lnTo>
                    <a:pt x="553" y="437"/>
                  </a:lnTo>
                  <a:lnTo>
                    <a:pt x="555" y="437"/>
                  </a:lnTo>
                  <a:close/>
                  <a:moveTo>
                    <a:pt x="251" y="177"/>
                  </a:moveTo>
                  <a:lnTo>
                    <a:pt x="249" y="177"/>
                  </a:lnTo>
                  <a:lnTo>
                    <a:pt x="251" y="177"/>
                  </a:lnTo>
                  <a:close/>
                  <a:moveTo>
                    <a:pt x="106" y="143"/>
                  </a:moveTo>
                  <a:lnTo>
                    <a:pt x="108" y="143"/>
                  </a:lnTo>
                  <a:lnTo>
                    <a:pt x="106" y="143"/>
                  </a:lnTo>
                  <a:close/>
                  <a:moveTo>
                    <a:pt x="117" y="188"/>
                  </a:moveTo>
                  <a:lnTo>
                    <a:pt x="117" y="190"/>
                  </a:lnTo>
                  <a:lnTo>
                    <a:pt x="117" y="188"/>
                  </a:lnTo>
                  <a:close/>
                  <a:moveTo>
                    <a:pt x="119" y="169"/>
                  </a:moveTo>
                  <a:lnTo>
                    <a:pt x="117" y="169"/>
                  </a:lnTo>
                  <a:lnTo>
                    <a:pt x="119" y="169"/>
                  </a:lnTo>
                  <a:close/>
                  <a:moveTo>
                    <a:pt x="75" y="275"/>
                  </a:moveTo>
                  <a:lnTo>
                    <a:pt x="77" y="275"/>
                  </a:lnTo>
                  <a:lnTo>
                    <a:pt x="75" y="275"/>
                  </a:lnTo>
                  <a:close/>
                  <a:moveTo>
                    <a:pt x="296" y="115"/>
                  </a:moveTo>
                  <a:lnTo>
                    <a:pt x="296" y="117"/>
                  </a:lnTo>
                  <a:lnTo>
                    <a:pt x="296" y="115"/>
                  </a:lnTo>
                  <a:close/>
                  <a:moveTo>
                    <a:pt x="111" y="198"/>
                  </a:moveTo>
                  <a:lnTo>
                    <a:pt x="113" y="200"/>
                  </a:lnTo>
                  <a:lnTo>
                    <a:pt x="111" y="200"/>
                  </a:lnTo>
                  <a:lnTo>
                    <a:pt x="111" y="198"/>
                  </a:lnTo>
                  <a:close/>
                  <a:moveTo>
                    <a:pt x="98" y="374"/>
                  </a:moveTo>
                  <a:lnTo>
                    <a:pt x="100" y="374"/>
                  </a:lnTo>
                  <a:lnTo>
                    <a:pt x="98" y="374"/>
                  </a:lnTo>
                  <a:close/>
                  <a:moveTo>
                    <a:pt x="147" y="367"/>
                  </a:moveTo>
                  <a:lnTo>
                    <a:pt x="147" y="366"/>
                  </a:lnTo>
                  <a:lnTo>
                    <a:pt x="147" y="367"/>
                  </a:lnTo>
                  <a:close/>
                  <a:moveTo>
                    <a:pt x="135" y="143"/>
                  </a:moveTo>
                  <a:lnTo>
                    <a:pt x="137" y="143"/>
                  </a:lnTo>
                  <a:lnTo>
                    <a:pt x="135" y="143"/>
                  </a:lnTo>
                  <a:close/>
                  <a:moveTo>
                    <a:pt x="189" y="193"/>
                  </a:moveTo>
                  <a:lnTo>
                    <a:pt x="189" y="195"/>
                  </a:lnTo>
                  <a:lnTo>
                    <a:pt x="189" y="193"/>
                  </a:lnTo>
                  <a:close/>
                  <a:moveTo>
                    <a:pt x="135" y="161"/>
                  </a:moveTo>
                  <a:lnTo>
                    <a:pt x="137" y="161"/>
                  </a:lnTo>
                  <a:lnTo>
                    <a:pt x="135" y="161"/>
                  </a:lnTo>
                  <a:close/>
                  <a:moveTo>
                    <a:pt x="111" y="185"/>
                  </a:moveTo>
                  <a:lnTo>
                    <a:pt x="111" y="183"/>
                  </a:lnTo>
                  <a:lnTo>
                    <a:pt x="111" y="185"/>
                  </a:lnTo>
                  <a:close/>
                  <a:moveTo>
                    <a:pt x="82" y="245"/>
                  </a:moveTo>
                  <a:lnTo>
                    <a:pt x="82" y="244"/>
                  </a:lnTo>
                  <a:lnTo>
                    <a:pt x="82" y="245"/>
                  </a:lnTo>
                  <a:lnTo>
                    <a:pt x="82" y="244"/>
                  </a:lnTo>
                  <a:lnTo>
                    <a:pt x="82" y="245"/>
                  </a:lnTo>
                  <a:close/>
                  <a:moveTo>
                    <a:pt x="83" y="236"/>
                  </a:moveTo>
                  <a:lnTo>
                    <a:pt x="83" y="237"/>
                  </a:lnTo>
                  <a:lnTo>
                    <a:pt x="83" y="236"/>
                  </a:lnTo>
                  <a:close/>
                  <a:moveTo>
                    <a:pt x="104" y="187"/>
                  </a:moveTo>
                  <a:lnTo>
                    <a:pt x="106" y="187"/>
                  </a:lnTo>
                  <a:lnTo>
                    <a:pt x="104" y="187"/>
                  </a:lnTo>
                  <a:lnTo>
                    <a:pt x="106" y="187"/>
                  </a:lnTo>
                  <a:lnTo>
                    <a:pt x="104" y="187"/>
                  </a:lnTo>
                  <a:close/>
                  <a:moveTo>
                    <a:pt x="111" y="156"/>
                  </a:moveTo>
                  <a:lnTo>
                    <a:pt x="109" y="156"/>
                  </a:lnTo>
                  <a:lnTo>
                    <a:pt x="111" y="156"/>
                  </a:lnTo>
                  <a:close/>
                  <a:moveTo>
                    <a:pt x="130" y="166"/>
                  </a:moveTo>
                  <a:lnTo>
                    <a:pt x="132" y="166"/>
                  </a:lnTo>
                  <a:lnTo>
                    <a:pt x="130" y="166"/>
                  </a:lnTo>
                  <a:close/>
                  <a:moveTo>
                    <a:pt x="132" y="141"/>
                  </a:moveTo>
                  <a:lnTo>
                    <a:pt x="132" y="143"/>
                  </a:lnTo>
                  <a:lnTo>
                    <a:pt x="132" y="141"/>
                  </a:lnTo>
                  <a:close/>
                  <a:moveTo>
                    <a:pt x="155" y="388"/>
                  </a:moveTo>
                  <a:lnTo>
                    <a:pt x="153" y="388"/>
                  </a:lnTo>
                  <a:lnTo>
                    <a:pt x="155" y="388"/>
                  </a:lnTo>
                  <a:close/>
                  <a:moveTo>
                    <a:pt x="75" y="185"/>
                  </a:moveTo>
                  <a:lnTo>
                    <a:pt x="74" y="185"/>
                  </a:lnTo>
                  <a:lnTo>
                    <a:pt x="75" y="185"/>
                  </a:lnTo>
                  <a:close/>
                  <a:moveTo>
                    <a:pt x="148" y="151"/>
                  </a:moveTo>
                  <a:lnTo>
                    <a:pt x="148" y="153"/>
                  </a:lnTo>
                  <a:lnTo>
                    <a:pt x="148" y="151"/>
                  </a:lnTo>
                  <a:close/>
                  <a:moveTo>
                    <a:pt x="90" y="131"/>
                  </a:moveTo>
                  <a:lnTo>
                    <a:pt x="88" y="131"/>
                  </a:lnTo>
                  <a:lnTo>
                    <a:pt x="90" y="131"/>
                  </a:lnTo>
                  <a:close/>
                  <a:moveTo>
                    <a:pt x="109" y="141"/>
                  </a:moveTo>
                  <a:lnTo>
                    <a:pt x="111" y="141"/>
                  </a:lnTo>
                  <a:lnTo>
                    <a:pt x="109" y="141"/>
                  </a:lnTo>
                  <a:close/>
                  <a:moveTo>
                    <a:pt x="106" y="143"/>
                  </a:moveTo>
                  <a:lnTo>
                    <a:pt x="108" y="143"/>
                  </a:lnTo>
                  <a:lnTo>
                    <a:pt x="106" y="143"/>
                  </a:lnTo>
                  <a:close/>
                  <a:moveTo>
                    <a:pt x="108" y="143"/>
                  </a:moveTo>
                  <a:lnTo>
                    <a:pt x="108" y="141"/>
                  </a:lnTo>
                  <a:lnTo>
                    <a:pt x="108" y="143"/>
                  </a:lnTo>
                  <a:close/>
                  <a:moveTo>
                    <a:pt x="101" y="180"/>
                  </a:moveTo>
                  <a:lnTo>
                    <a:pt x="103" y="180"/>
                  </a:lnTo>
                  <a:lnTo>
                    <a:pt x="101" y="180"/>
                  </a:lnTo>
                  <a:close/>
                  <a:moveTo>
                    <a:pt x="552" y="437"/>
                  </a:moveTo>
                  <a:lnTo>
                    <a:pt x="553" y="437"/>
                  </a:lnTo>
                  <a:lnTo>
                    <a:pt x="552" y="437"/>
                  </a:lnTo>
                  <a:close/>
                  <a:moveTo>
                    <a:pt x="109" y="141"/>
                  </a:moveTo>
                  <a:lnTo>
                    <a:pt x="108" y="141"/>
                  </a:lnTo>
                  <a:lnTo>
                    <a:pt x="109" y="141"/>
                  </a:lnTo>
                  <a:close/>
                  <a:moveTo>
                    <a:pt x="78" y="179"/>
                  </a:moveTo>
                  <a:lnTo>
                    <a:pt x="80" y="179"/>
                  </a:lnTo>
                  <a:lnTo>
                    <a:pt x="80" y="180"/>
                  </a:lnTo>
                  <a:lnTo>
                    <a:pt x="78" y="179"/>
                  </a:lnTo>
                  <a:close/>
                  <a:moveTo>
                    <a:pt x="78" y="187"/>
                  </a:moveTo>
                  <a:lnTo>
                    <a:pt x="80" y="187"/>
                  </a:lnTo>
                  <a:lnTo>
                    <a:pt x="78" y="187"/>
                  </a:lnTo>
                  <a:close/>
                  <a:moveTo>
                    <a:pt x="132" y="141"/>
                  </a:moveTo>
                  <a:lnTo>
                    <a:pt x="134" y="143"/>
                  </a:lnTo>
                  <a:lnTo>
                    <a:pt x="132" y="143"/>
                  </a:lnTo>
                  <a:lnTo>
                    <a:pt x="132" y="141"/>
                  </a:lnTo>
                  <a:close/>
                  <a:moveTo>
                    <a:pt x="91" y="380"/>
                  </a:moveTo>
                  <a:lnTo>
                    <a:pt x="91" y="382"/>
                  </a:lnTo>
                  <a:lnTo>
                    <a:pt x="91" y="380"/>
                  </a:lnTo>
                  <a:close/>
                  <a:moveTo>
                    <a:pt x="88" y="190"/>
                  </a:moveTo>
                  <a:lnTo>
                    <a:pt x="90" y="190"/>
                  </a:lnTo>
                  <a:lnTo>
                    <a:pt x="88" y="190"/>
                  </a:lnTo>
                  <a:close/>
                  <a:moveTo>
                    <a:pt x="555" y="437"/>
                  </a:moveTo>
                  <a:lnTo>
                    <a:pt x="555" y="439"/>
                  </a:lnTo>
                  <a:lnTo>
                    <a:pt x="555" y="437"/>
                  </a:lnTo>
                  <a:close/>
                  <a:moveTo>
                    <a:pt x="205" y="130"/>
                  </a:moveTo>
                  <a:lnTo>
                    <a:pt x="204" y="130"/>
                  </a:lnTo>
                  <a:lnTo>
                    <a:pt x="205" y="130"/>
                  </a:lnTo>
                  <a:close/>
                  <a:moveTo>
                    <a:pt x="104" y="187"/>
                  </a:moveTo>
                  <a:lnTo>
                    <a:pt x="104" y="188"/>
                  </a:lnTo>
                  <a:lnTo>
                    <a:pt x="104" y="187"/>
                  </a:lnTo>
                  <a:close/>
                  <a:moveTo>
                    <a:pt x="98" y="393"/>
                  </a:moveTo>
                  <a:lnTo>
                    <a:pt x="98" y="392"/>
                  </a:lnTo>
                  <a:lnTo>
                    <a:pt x="98" y="393"/>
                  </a:lnTo>
                  <a:close/>
                  <a:moveTo>
                    <a:pt x="104" y="179"/>
                  </a:moveTo>
                  <a:lnTo>
                    <a:pt x="104" y="177"/>
                  </a:lnTo>
                  <a:lnTo>
                    <a:pt x="104" y="179"/>
                  </a:lnTo>
                  <a:close/>
                  <a:moveTo>
                    <a:pt x="93" y="387"/>
                  </a:moveTo>
                  <a:lnTo>
                    <a:pt x="95" y="387"/>
                  </a:lnTo>
                  <a:lnTo>
                    <a:pt x="93" y="387"/>
                  </a:lnTo>
                  <a:close/>
                  <a:moveTo>
                    <a:pt x="241" y="175"/>
                  </a:moveTo>
                  <a:lnTo>
                    <a:pt x="241" y="177"/>
                  </a:lnTo>
                  <a:lnTo>
                    <a:pt x="241" y="175"/>
                  </a:lnTo>
                  <a:close/>
                  <a:moveTo>
                    <a:pt x="104" y="183"/>
                  </a:moveTo>
                  <a:lnTo>
                    <a:pt x="104" y="182"/>
                  </a:lnTo>
                  <a:lnTo>
                    <a:pt x="104" y="183"/>
                  </a:lnTo>
                  <a:close/>
                  <a:moveTo>
                    <a:pt x="74" y="258"/>
                  </a:moveTo>
                  <a:lnTo>
                    <a:pt x="74" y="257"/>
                  </a:lnTo>
                  <a:lnTo>
                    <a:pt x="74" y="258"/>
                  </a:lnTo>
                  <a:close/>
                  <a:moveTo>
                    <a:pt x="135" y="214"/>
                  </a:moveTo>
                  <a:lnTo>
                    <a:pt x="137" y="216"/>
                  </a:lnTo>
                  <a:lnTo>
                    <a:pt x="135" y="216"/>
                  </a:lnTo>
                  <a:lnTo>
                    <a:pt x="135" y="214"/>
                  </a:lnTo>
                  <a:close/>
                  <a:moveTo>
                    <a:pt x="132" y="135"/>
                  </a:moveTo>
                  <a:lnTo>
                    <a:pt x="134" y="135"/>
                  </a:lnTo>
                  <a:lnTo>
                    <a:pt x="132" y="135"/>
                  </a:lnTo>
                  <a:close/>
                  <a:moveTo>
                    <a:pt x="77" y="187"/>
                  </a:moveTo>
                  <a:lnTo>
                    <a:pt x="75" y="187"/>
                  </a:lnTo>
                  <a:lnTo>
                    <a:pt x="77" y="187"/>
                  </a:lnTo>
                  <a:close/>
                  <a:moveTo>
                    <a:pt x="114" y="271"/>
                  </a:moveTo>
                  <a:lnTo>
                    <a:pt x="114" y="270"/>
                  </a:lnTo>
                  <a:lnTo>
                    <a:pt x="114" y="271"/>
                  </a:lnTo>
                  <a:close/>
                  <a:moveTo>
                    <a:pt x="135" y="384"/>
                  </a:moveTo>
                  <a:lnTo>
                    <a:pt x="137" y="384"/>
                  </a:lnTo>
                  <a:lnTo>
                    <a:pt x="135" y="384"/>
                  </a:lnTo>
                  <a:close/>
                  <a:moveTo>
                    <a:pt x="77" y="253"/>
                  </a:moveTo>
                  <a:lnTo>
                    <a:pt x="75" y="253"/>
                  </a:lnTo>
                  <a:lnTo>
                    <a:pt x="77" y="253"/>
                  </a:lnTo>
                  <a:close/>
                  <a:moveTo>
                    <a:pt x="98" y="190"/>
                  </a:moveTo>
                  <a:lnTo>
                    <a:pt x="100" y="190"/>
                  </a:lnTo>
                  <a:lnTo>
                    <a:pt x="98" y="190"/>
                  </a:lnTo>
                  <a:close/>
                  <a:moveTo>
                    <a:pt x="108" y="190"/>
                  </a:moveTo>
                  <a:lnTo>
                    <a:pt x="108" y="192"/>
                  </a:lnTo>
                  <a:lnTo>
                    <a:pt x="108" y="190"/>
                  </a:lnTo>
                  <a:close/>
                  <a:moveTo>
                    <a:pt x="96" y="131"/>
                  </a:moveTo>
                  <a:lnTo>
                    <a:pt x="96" y="133"/>
                  </a:lnTo>
                  <a:lnTo>
                    <a:pt x="96" y="131"/>
                  </a:lnTo>
                  <a:close/>
                  <a:moveTo>
                    <a:pt x="139" y="148"/>
                  </a:moveTo>
                  <a:lnTo>
                    <a:pt x="139" y="149"/>
                  </a:lnTo>
                  <a:lnTo>
                    <a:pt x="139" y="148"/>
                  </a:lnTo>
                  <a:close/>
                  <a:moveTo>
                    <a:pt x="127" y="210"/>
                  </a:moveTo>
                  <a:lnTo>
                    <a:pt x="127" y="211"/>
                  </a:lnTo>
                  <a:lnTo>
                    <a:pt x="127" y="210"/>
                  </a:lnTo>
                  <a:close/>
                  <a:moveTo>
                    <a:pt x="122" y="167"/>
                  </a:moveTo>
                  <a:lnTo>
                    <a:pt x="124" y="167"/>
                  </a:lnTo>
                  <a:lnTo>
                    <a:pt x="122" y="167"/>
                  </a:lnTo>
                  <a:close/>
                  <a:moveTo>
                    <a:pt x="153" y="157"/>
                  </a:moveTo>
                  <a:lnTo>
                    <a:pt x="155" y="157"/>
                  </a:lnTo>
                  <a:lnTo>
                    <a:pt x="153" y="157"/>
                  </a:lnTo>
                  <a:close/>
                  <a:moveTo>
                    <a:pt x="119" y="157"/>
                  </a:moveTo>
                  <a:lnTo>
                    <a:pt x="119" y="156"/>
                  </a:lnTo>
                  <a:lnTo>
                    <a:pt x="119" y="157"/>
                  </a:lnTo>
                  <a:close/>
                  <a:moveTo>
                    <a:pt x="103" y="179"/>
                  </a:moveTo>
                  <a:lnTo>
                    <a:pt x="104" y="179"/>
                  </a:lnTo>
                  <a:lnTo>
                    <a:pt x="103" y="180"/>
                  </a:lnTo>
                  <a:lnTo>
                    <a:pt x="103" y="179"/>
                  </a:lnTo>
                  <a:close/>
                  <a:moveTo>
                    <a:pt x="106" y="187"/>
                  </a:moveTo>
                  <a:lnTo>
                    <a:pt x="104" y="187"/>
                  </a:lnTo>
                  <a:lnTo>
                    <a:pt x="106" y="187"/>
                  </a:lnTo>
                  <a:close/>
                  <a:moveTo>
                    <a:pt x="104" y="117"/>
                  </a:moveTo>
                  <a:lnTo>
                    <a:pt x="104" y="115"/>
                  </a:lnTo>
                  <a:lnTo>
                    <a:pt x="104" y="117"/>
                  </a:lnTo>
                  <a:close/>
                  <a:moveTo>
                    <a:pt x="87" y="136"/>
                  </a:moveTo>
                  <a:lnTo>
                    <a:pt x="87" y="138"/>
                  </a:lnTo>
                  <a:lnTo>
                    <a:pt x="87" y="136"/>
                  </a:lnTo>
                  <a:close/>
                  <a:moveTo>
                    <a:pt x="67" y="320"/>
                  </a:moveTo>
                  <a:lnTo>
                    <a:pt x="69" y="320"/>
                  </a:lnTo>
                  <a:lnTo>
                    <a:pt x="67" y="320"/>
                  </a:lnTo>
                  <a:close/>
                  <a:moveTo>
                    <a:pt x="145" y="151"/>
                  </a:moveTo>
                  <a:lnTo>
                    <a:pt x="147" y="151"/>
                  </a:lnTo>
                  <a:lnTo>
                    <a:pt x="145" y="151"/>
                  </a:lnTo>
                  <a:close/>
                  <a:moveTo>
                    <a:pt x="135" y="140"/>
                  </a:moveTo>
                  <a:lnTo>
                    <a:pt x="137" y="140"/>
                  </a:lnTo>
                  <a:lnTo>
                    <a:pt x="135" y="140"/>
                  </a:lnTo>
                  <a:close/>
                  <a:moveTo>
                    <a:pt x="161" y="385"/>
                  </a:moveTo>
                  <a:lnTo>
                    <a:pt x="161" y="387"/>
                  </a:lnTo>
                  <a:lnTo>
                    <a:pt x="161" y="385"/>
                  </a:lnTo>
                  <a:close/>
                  <a:moveTo>
                    <a:pt x="111" y="122"/>
                  </a:moveTo>
                  <a:lnTo>
                    <a:pt x="109" y="122"/>
                  </a:lnTo>
                  <a:lnTo>
                    <a:pt x="111" y="122"/>
                  </a:lnTo>
                  <a:close/>
                  <a:moveTo>
                    <a:pt x="70" y="185"/>
                  </a:moveTo>
                  <a:lnTo>
                    <a:pt x="72" y="185"/>
                  </a:lnTo>
                  <a:lnTo>
                    <a:pt x="70" y="185"/>
                  </a:lnTo>
                  <a:close/>
                  <a:moveTo>
                    <a:pt x="98" y="273"/>
                  </a:moveTo>
                  <a:lnTo>
                    <a:pt x="100" y="273"/>
                  </a:lnTo>
                  <a:lnTo>
                    <a:pt x="98" y="273"/>
                  </a:lnTo>
                  <a:close/>
                  <a:moveTo>
                    <a:pt x="85" y="180"/>
                  </a:moveTo>
                  <a:lnTo>
                    <a:pt x="83" y="180"/>
                  </a:lnTo>
                  <a:lnTo>
                    <a:pt x="85" y="180"/>
                  </a:lnTo>
                  <a:close/>
                  <a:moveTo>
                    <a:pt x="134" y="159"/>
                  </a:moveTo>
                  <a:lnTo>
                    <a:pt x="135" y="159"/>
                  </a:lnTo>
                  <a:lnTo>
                    <a:pt x="134" y="159"/>
                  </a:lnTo>
                  <a:close/>
                  <a:moveTo>
                    <a:pt x="135" y="372"/>
                  </a:moveTo>
                  <a:lnTo>
                    <a:pt x="137" y="372"/>
                  </a:lnTo>
                  <a:lnTo>
                    <a:pt x="135" y="372"/>
                  </a:lnTo>
                  <a:close/>
                  <a:moveTo>
                    <a:pt x="170" y="5"/>
                  </a:moveTo>
                  <a:lnTo>
                    <a:pt x="168" y="5"/>
                  </a:lnTo>
                  <a:lnTo>
                    <a:pt x="170" y="3"/>
                  </a:lnTo>
                  <a:lnTo>
                    <a:pt x="170" y="5"/>
                  </a:lnTo>
                  <a:close/>
                  <a:moveTo>
                    <a:pt x="103" y="192"/>
                  </a:moveTo>
                  <a:lnTo>
                    <a:pt x="101" y="192"/>
                  </a:lnTo>
                  <a:lnTo>
                    <a:pt x="103" y="192"/>
                  </a:lnTo>
                  <a:close/>
                  <a:moveTo>
                    <a:pt x="116" y="187"/>
                  </a:moveTo>
                  <a:lnTo>
                    <a:pt x="116" y="185"/>
                  </a:lnTo>
                  <a:lnTo>
                    <a:pt x="116" y="187"/>
                  </a:lnTo>
                  <a:close/>
                  <a:moveTo>
                    <a:pt x="134" y="131"/>
                  </a:moveTo>
                  <a:lnTo>
                    <a:pt x="135" y="131"/>
                  </a:lnTo>
                  <a:lnTo>
                    <a:pt x="134" y="131"/>
                  </a:lnTo>
                  <a:close/>
                  <a:moveTo>
                    <a:pt x="90" y="188"/>
                  </a:moveTo>
                  <a:lnTo>
                    <a:pt x="91" y="188"/>
                  </a:lnTo>
                  <a:lnTo>
                    <a:pt x="90" y="188"/>
                  </a:lnTo>
                  <a:close/>
                  <a:moveTo>
                    <a:pt x="104" y="182"/>
                  </a:moveTo>
                  <a:lnTo>
                    <a:pt x="106" y="182"/>
                  </a:lnTo>
                  <a:lnTo>
                    <a:pt x="104" y="182"/>
                  </a:lnTo>
                  <a:close/>
                  <a:moveTo>
                    <a:pt x="95" y="154"/>
                  </a:moveTo>
                  <a:lnTo>
                    <a:pt x="95" y="156"/>
                  </a:lnTo>
                  <a:lnTo>
                    <a:pt x="95" y="154"/>
                  </a:lnTo>
                  <a:close/>
                  <a:moveTo>
                    <a:pt x="135" y="159"/>
                  </a:moveTo>
                  <a:lnTo>
                    <a:pt x="135" y="161"/>
                  </a:lnTo>
                  <a:lnTo>
                    <a:pt x="135" y="159"/>
                  </a:lnTo>
                  <a:close/>
                  <a:moveTo>
                    <a:pt x="248" y="177"/>
                  </a:moveTo>
                  <a:lnTo>
                    <a:pt x="249" y="177"/>
                  </a:lnTo>
                  <a:lnTo>
                    <a:pt x="248" y="177"/>
                  </a:lnTo>
                  <a:close/>
                  <a:moveTo>
                    <a:pt x="117" y="130"/>
                  </a:moveTo>
                  <a:lnTo>
                    <a:pt x="116" y="130"/>
                  </a:lnTo>
                  <a:lnTo>
                    <a:pt x="117" y="130"/>
                  </a:lnTo>
                  <a:close/>
                  <a:moveTo>
                    <a:pt x="119" y="167"/>
                  </a:moveTo>
                  <a:lnTo>
                    <a:pt x="121" y="167"/>
                  </a:lnTo>
                  <a:lnTo>
                    <a:pt x="119" y="167"/>
                  </a:lnTo>
                  <a:close/>
                  <a:moveTo>
                    <a:pt x="98" y="180"/>
                  </a:moveTo>
                  <a:lnTo>
                    <a:pt x="100" y="180"/>
                  </a:lnTo>
                  <a:lnTo>
                    <a:pt x="98" y="180"/>
                  </a:lnTo>
                  <a:close/>
                  <a:moveTo>
                    <a:pt x="77" y="263"/>
                  </a:moveTo>
                  <a:lnTo>
                    <a:pt x="78" y="263"/>
                  </a:lnTo>
                  <a:lnTo>
                    <a:pt x="78" y="265"/>
                  </a:lnTo>
                  <a:lnTo>
                    <a:pt x="77" y="263"/>
                  </a:lnTo>
                  <a:close/>
                  <a:moveTo>
                    <a:pt x="111" y="122"/>
                  </a:moveTo>
                  <a:lnTo>
                    <a:pt x="113" y="122"/>
                  </a:lnTo>
                  <a:lnTo>
                    <a:pt x="111" y="122"/>
                  </a:lnTo>
                  <a:close/>
                  <a:moveTo>
                    <a:pt x="241" y="179"/>
                  </a:moveTo>
                  <a:lnTo>
                    <a:pt x="243" y="179"/>
                  </a:lnTo>
                  <a:lnTo>
                    <a:pt x="241" y="179"/>
                  </a:lnTo>
                  <a:close/>
                  <a:moveTo>
                    <a:pt x="90" y="190"/>
                  </a:moveTo>
                  <a:lnTo>
                    <a:pt x="91" y="190"/>
                  </a:lnTo>
                  <a:lnTo>
                    <a:pt x="90" y="190"/>
                  </a:lnTo>
                  <a:close/>
                  <a:moveTo>
                    <a:pt x="57" y="188"/>
                  </a:moveTo>
                  <a:lnTo>
                    <a:pt x="57" y="190"/>
                  </a:lnTo>
                  <a:lnTo>
                    <a:pt x="57" y="188"/>
                  </a:lnTo>
                  <a:close/>
                  <a:moveTo>
                    <a:pt x="77" y="265"/>
                  </a:moveTo>
                  <a:lnTo>
                    <a:pt x="78" y="266"/>
                  </a:lnTo>
                  <a:lnTo>
                    <a:pt x="77" y="266"/>
                  </a:lnTo>
                  <a:lnTo>
                    <a:pt x="77" y="265"/>
                  </a:lnTo>
                  <a:close/>
                  <a:moveTo>
                    <a:pt x="514" y="380"/>
                  </a:moveTo>
                  <a:lnTo>
                    <a:pt x="516" y="382"/>
                  </a:lnTo>
                  <a:lnTo>
                    <a:pt x="514" y="382"/>
                  </a:lnTo>
                  <a:lnTo>
                    <a:pt x="514" y="380"/>
                  </a:lnTo>
                  <a:close/>
                  <a:moveTo>
                    <a:pt x="72" y="302"/>
                  </a:moveTo>
                  <a:lnTo>
                    <a:pt x="74" y="302"/>
                  </a:lnTo>
                  <a:lnTo>
                    <a:pt x="72" y="302"/>
                  </a:lnTo>
                  <a:close/>
                  <a:moveTo>
                    <a:pt x="113" y="167"/>
                  </a:moveTo>
                  <a:lnTo>
                    <a:pt x="113" y="166"/>
                  </a:lnTo>
                  <a:lnTo>
                    <a:pt x="113" y="167"/>
                  </a:lnTo>
                  <a:close/>
                  <a:moveTo>
                    <a:pt x="109" y="185"/>
                  </a:moveTo>
                  <a:lnTo>
                    <a:pt x="111" y="185"/>
                  </a:lnTo>
                  <a:lnTo>
                    <a:pt x="109" y="185"/>
                  </a:lnTo>
                  <a:close/>
                  <a:moveTo>
                    <a:pt x="127" y="130"/>
                  </a:moveTo>
                  <a:lnTo>
                    <a:pt x="127" y="128"/>
                  </a:lnTo>
                  <a:lnTo>
                    <a:pt x="127" y="130"/>
                  </a:lnTo>
                  <a:close/>
                  <a:moveTo>
                    <a:pt x="75" y="273"/>
                  </a:moveTo>
                  <a:lnTo>
                    <a:pt x="75" y="275"/>
                  </a:lnTo>
                  <a:lnTo>
                    <a:pt x="75" y="273"/>
                  </a:lnTo>
                  <a:close/>
                  <a:moveTo>
                    <a:pt x="158" y="60"/>
                  </a:moveTo>
                  <a:lnTo>
                    <a:pt x="160" y="60"/>
                  </a:lnTo>
                  <a:lnTo>
                    <a:pt x="158" y="60"/>
                  </a:lnTo>
                  <a:close/>
                  <a:moveTo>
                    <a:pt x="597" y="401"/>
                  </a:moveTo>
                  <a:lnTo>
                    <a:pt x="597" y="403"/>
                  </a:lnTo>
                  <a:lnTo>
                    <a:pt x="597" y="401"/>
                  </a:lnTo>
                  <a:close/>
                  <a:moveTo>
                    <a:pt x="142" y="153"/>
                  </a:moveTo>
                  <a:lnTo>
                    <a:pt x="144" y="153"/>
                  </a:lnTo>
                  <a:lnTo>
                    <a:pt x="142" y="153"/>
                  </a:lnTo>
                  <a:close/>
                  <a:moveTo>
                    <a:pt x="150" y="63"/>
                  </a:moveTo>
                  <a:lnTo>
                    <a:pt x="150" y="62"/>
                  </a:lnTo>
                  <a:lnTo>
                    <a:pt x="150" y="63"/>
                  </a:lnTo>
                  <a:close/>
                  <a:moveTo>
                    <a:pt x="239" y="180"/>
                  </a:moveTo>
                  <a:lnTo>
                    <a:pt x="239" y="179"/>
                  </a:lnTo>
                  <a:lnTo>
                    <a:pt x="239" y="180"/>
                  </a:lnTo>
                  <a:close/>
                  <a:moveTo>
                    <a:pt x="85" y="237"/>
                  </a:moveTo>
                  <a:lnTo>
                    <a:pt x="85" y="236"/>
                  </a:lnTo>
                  <a:lnTo>
                    <a:pt x="85" y="237"/>
                  </a:lnTo>
                  <a:close/>
                  <a:moveTo>
                    <a:pt x="109" y="143"/>
                  </a:moveTo>
                  <a:lnTo>
                    <a:pt x="108" y="143"/>
                  </a:lnTo>
                  <a:lnTo>
                    <a:pt x="109" y="143"/>
                  </a:lnTo>
                  <a:close/>
                  <a:moveTo>
                    <a:pt x="111" y="198"/>
                  </a:moveTo>
                  <a:lnTo>
                    <a:pt x="111" y="200"/>
                  </a:lnTo>
                  <a:lnTo>
                    <a:pt x="111" y="198"/>
                  </a:lnTo>
                  <a:close/>
                  <a:moveTo>
                    <a:pt x="139" y="161"/>
                  </a:moveTo>
                  <a:lnTo>
                    <a:pt x="137" y="161"/>
                  </a:lnTo>
                  <a:lnTo>
                    <a:pt x="139" y="161"/>
                  </a:lnTo>
                  <a:close/>
                  <a:moveTo>
                    <a:pt x="539" y="197"/>
                  </a:moveTo>
                  <a:lnTo>
                    <a:pt x="539" y="198"/>
                  </a:lnTo>
                  <a:lnTo>
                    <a:pt x="539" y="197"/>
                  </a:lnTo>
                  <a:close/>
                  <a:moveTo>
                    <a:pt x="207" y="130"/>
                  </a:moveTo>
                  <a:lnTo>
                    <a:pt x="207" y="128"/>
                  </a:lnTo>
                  <a:lnTo>
                    <a:pt x="207" y="130"/>
                  </a:lnTo>
                  <a:close/>
                  <a:moveTo>
                    <a:pt x="139" y="149"/>
                  </a:moveTo>
                  <a:lnTo>
                    <a:pt x="139" y="151"/>
                  </a:lnTo>
                  <a:lnTo>
                    <a:pt x="139" y="149"/>
                  </a:lnTo>
                  <a:close/>
                  <a:moveTo>
                    <a:pt x="153" y="136"/>
                  </a:moveTo>
                  <a:lnTo>
                    <a:pt x="153" y="138"/>
                  </a:lnTo>
                  <a:lnTo>
                    <a:pt x="153" y="136"/>
                  </a:lnTo>
                  <a:close/>
                  <a:moveTo>
                    <a:pt x="93" y="190"/>
                  </a:moveTo>
                  <a:lnTo>
                    <a:pt x="95" y="190"/>
                  </a:lnTo>
                  <a:lnTo>
                    <a:pt x="93" y="190"/>
                  </a:lnTo>
                  <a:close/>
                  <a:moveTo>
                    <a:pt x="148" y="151"/>
                  </a:moveTo>
                  <a:lnTo>
                    <a:pt x="148" y="149"/>
                  </a:lnTo>
                  <a:lnTo>
                    <a:pt x="148" y="151"/>
                  </a:lnTo>
                  <a:close/>
                  <a:moveTo>
                    <a:pt x="158" y="157"/>
                  </a:moveTo>
                  <a:lnTo>
                    <a:pt x="158" y="159"/>
                  </a:lnTo>
                  <a:lnTo>
                    <a:pt x="158" y="157"/>
                  </a:lnTo>
                  <a:close/>
                  <a:moveTo>
                    <a:pt x="139" y="146"/>
                  </a:moveTo>
                  <a:lnTo>
                    <a:pt x="139" y="148"/>
                  </a:lnTo>
                  <a:lnTo>
                    <a:pt x="139" y="146"/>
                  </a:lnTo>
                  <a:close/>
                  <a:moveTo>
                    <a:pt x="98" y="188"/>
                  </a:moveTo>
                  <a:lnTo>
                    <a:pt x="100" y="188"/>
                  </a:lnTo>
                  <a:lnTo>
                    <a:pt x="98" y="188"/>
                  </a:lnTo>
                  <a:close/>
                  <a:moveTo>
                    <a:pt x="196" y="179"/>
                  </a:moveTo>
                  <a:lnTo>
                    <a:pt x="196" y="180"/>
                  </a:lnTo>
                  <a:lnTo>
                    <a:pt x="196" y="179"/>
                  </a:lnTo>
                  <a:close/>
                  <a:moveTo>
                    <a:pt x="116" y="170"/>
                  </a:moveTo>
                  <a:lnTo>
                    <a:pt x="116" y="169"/>
                  </a:lnTo>
                  <a:lnTo>
                    <a:pt x="116" y="170"/>
                  </a:lnTo>
                  <a:close/>
                  <a:moveTo>
                    <a:pt x="241" y="177"/>
                  </a:moveTo>
                  <a:lnTo>
                    <a:pt x="243" y="177"/>
                  </a:lnTo>
                  <a:lnTo>
                    <a:pt x="241" y="177"/>
                  </a:lnTo>
                  <a:close/>
                  <a:moveTo>
                    <a:pt x="142" y="153"/>
                  </a:moveTo>
                  <a:lnTo>
                    <a:pt x="140" y="153"/>
                  </a:lnTo>
                  <a:lnTo>
                    <a:pt x="142" y="153"/>
                  </a:lnTo>
                  <a:close/>
                  <a:moveTo>
                    <a:pt x="205" y="130"/>
                  </a:moveTo>
                  <a:lnTo>
                    <a:pt x="207" y="130"/>
                  </a:lnTo>
                  <a:lnTo>
                    <a:pt x="205" y="130"/>
                  </a:lnTo>
                  <a:close/>
                  <a:moveTo>
                    <a:pt x="132" y="143"/>
                  </a:moveTo>
                  <a:lnTo>
                    <a:pt x="132" y="141"/>
                  </a:lnTo>
                  <a:lnTo>
                    <a:pt x="132" y="143"/>
                  </a:lnTo>
                  <a:close/>
                  <a:moveTo>
                    <a:pt x="119" y="167"/>
                  </a:moveTo>
                  <a:lnTo>
                    <a:pt x="121" y="166"/>
                  </a:lnTo>
                  <a:lnTo>
                    <a:pt x="119" y="167"/>
                  </a:lnTo>
                  <a:close/>
                  <a:moveTo>
                    <a:pt x="90" y="187"/>
                  </a:moveTo>
                  <a:lnTo>
                    <a:pt x="90" y="188"/>
                  </a:lnTo>
                  <a:lnTo>
                    <a:pt x="90" y="187"/>
                  </a:lnTo>
                  <a:close/>
                  <a:moveTo>
                    <a:pt x="145" y="91"/>
                  </a:moveTo>
                  <a:lnTo>
                    <a:pt x="147" y="89"/>
                  </a:lnTo>
                  <a:lnTo>
                    <a:pt x="147" y="91"/>
                  </a:lnTo>
                  <a:lnTo>
                    <a:pt x="145" y="91"/>
                  </a:lnTo>
                  <a:close/>
                  <a:moveTo>
                    <a:pt x="104" y="188"/>
                  </a:moveTo>
                  <a:lnTo>
                    <a:pt x="104" y="187"/>
                  </a:lnTo>
                  <a:lnTo>
                    <a:pt x="104" y="188"/>
                  </a:lnTo>
                  <a:close/>
                  <a:moveTo>
                    <a:pt x="187" y="133"/>
                  </a:moveTo>
                  <a:lnTo>
                    <a:pt x="187" y="131"/>
                  </a:lnTo>
                  <a:lnTo>
                    <a:pt x="187" y="133"/>
                  </a:lnTo>
                  <a:close/>
                  <a:moveTo>
                    <a:pt x="82" y="276"/>
                  </a:moveTo>
                  <a:lnTo>
                    <a:pt x="82" y="278"/>
                  </a:lnTo>
                  <a:lnTo>
                    <a:pt x="82" y="276"/>
                  </a:lnTo>
                  <a:close/>
                  <a:moveTo>
                    <a:pt x="104" y="190"/>
                  </a:moveTo>
                  <a:lnTo>
                    <a:pt x="106" y="190"/>
                  </a:lnTo>
                  <a:lnTo>
                    <a:pt x="104" y="190"/>
                  </a:lnTo>
                  <a:close/>
                  <a:moveTo>
                    <a:pt x="109" y="192"/>
                  </a:moveTo>
                  <a:lnTo>
                    <a:pt x="109" y="193"/>
                  </a:lnTo>
                  <a:lnTo>
                    <a:pt x="109" y="192"/>
                  </a:lnTo>
                  <a:close/>
                  <a:moveTo>
                    <a:pt x="137" y="144"/>
                  </a:moveTo>
                  <a:lnTo>
                    <a:pt x="137" y="143"/>
                  </a:lnTo>
                  <a:lnTo>
                    <a:pt x="137" y="144"/>
                  </a:lnTo>
                  <a:close/>
                  <a:moveTo>
                    <a:pt x="106" y="192"/>
                  </a:moveTo>
                  <a:lnTo>
                    <a:pt x="106" y="193"/>
                  </a:lnTo>
                  <a:lnTo>
                    <a:pt x="106" y="192"/>
                  </a:lnTo>
                  <a:close/>
                  <a:moveTo>
                    <a:pt x="96" y="180"/>
                  </a:moveTo>
                  <a:lnTo>
                    <a:pt x="96" y="182"/>
                  </a:lnTo>
                  <a:lnTo>
                    <a:pt x="96" y="180"/>
                  </a:lnTo>
                  <a:close/>
                  <a:moveTo>
                    <a:pt x="87" y="190"/>
                  </a:moveTo>
                  <a:lnTo>
                    <a:pt x="88" y="190"/>
                  </a:lnTo>
                  <a:lnTo>
                    <a:pt x="87" y="192"/>
                  </a:lnTo>
                  <a:lnTo>
                    <a:pt x="87" y="190"/>
                  </a:lnTo>
                  <a:close/>
                  <a:moveTo>
                    <a:pt x="78" y="263"/>
                  </a:moveTo>
                  <a:lnTo>
                    <a:pt x="78" y="262"/>
                  </a:lnTo>
                  <a:lnTo>
                    <a:pt x="78" y="263"/>
                  </a:lnTo>
                  <a:close/>
                  <a:moveTo>
                    <a:pt x="93" y="175"/>
                  </a:moveTo>
                  <a:lnTo>
                    <a:pt x="93" y="177"/>
                  </a:lnTo>
                  <a:lnTo>
                    <a:pt x="93" y="175"/>
                  </a:lnTo>
                  <a:close/>
                  <a:moveTo>
                    <a:pt x="137" y="213"/>
                  </a:moveTo>
                  <a:lnTo>
                    <a:pt x="137" y="214"/>
                  </a:lnTo>
                  <a:lnTo>
                    <a:pt x="137" y="213"/>
                  </a:lnTo>
                  <a:close/>
                  <a:moveTo>
                    <a:pt x="111" y="175"/>
                  </a:moveTo>
                  <a:lnTo>
                    <a:pt x="111" y="177"/>
                  </a:lnTo>
                  <a:lnTo>
                    <a:pt x="111" y="175"/>
                  </a:lnTo>
                  <a:close/>
                  <a:moveTo>
                    <a:pt x="57" y="179"/>
                  </a:moveTo>
                  <a:lnTo>
                    <a:pt x="57" y="180"/>
                  </a:lnTo>
                  <a:lnTo>
                    <a:pt x="57" y="179"/>
                  </a:lnTo>
                  <a:close/>
                  <a:moveTo>
                    <a:pt x="72" y="258"/>
                  </a:moveTo>
                  <a:lnTo>
                    <a:pt x="74" y="258"/>
                  </a:lnTo>
                  <a:lnTo>
                    <a:pt x="72" y="258"/>
                  </a:lnTo>
                  <a:close/>
                  <a:moveTo>
                    <a:pt x="135" y="128"/>
                  </a:moveTo>
                  <a:lnTo>
                    <a:pt x="137" y="128"/>
                  </a:lnTo>
                  <a:lnTo>
                    <a:pt x="135" y="128"/>
                  </a:lnTo>
                  <a:close/>
                  <a:moveTo>
                    <a:pt x="100" y="190"/>
                  </a:moveTo>
                  <a:lnTo>
                    <a:pt x="101" y="190"/>
                  </a:lnTo>
                  <a:lnTo>
                    <a:pt x="100" y="190"/>
                  </a:lnTo>
                  <a:close/>
                  <a:moveTo>
                    <a:pt x="116" y="185"/>
                  </a:moveTo>
                  <a:lnTo>
                    <a:pt x="116" y="187"/>
                  </a:lnTo>
                  <a:lnTo>
                    <a:pt x="116" y="185"/>
                  </a:lnTo>
                  <a:close/>
                  <a:moveTo>
                    <a:pt x="108" y="182"/>
                  </a:moveTo>
                  <a:lnTo>
                    <a:pt x="108" y="183"/>
                  </a:lnTo>
                  <a:lnTo>
                    <a:pt x="108" y="182"/>
                  </a:lnTo>
                  <a:close/>
                  <a:moveTo>
                    <a:pt x="113" y="169"/>
                  </a:moveTo>
                  <a:lnTo>
                    <a:pt x="114" y="169"/>
                  </a:lnTo>
                  <a:lnTo>
                    <a:pt x="113" y="169"/>
                  </a:lnTo>
                  <a:close/>
                  <a:moveTo>
                    <a:pt x="109" y="180"/>
                  </a:moveTo>
                  <a:lnTo>
                    <a:pt x="108" y="180"/>
                  </a:lnTo>
                  <a:lnTo>
                    <a:pt x="109" y="180"/>
                  </a:lnTo>
                  <a:close/>
                  <a:moveTo>
                    <a:pt x="75" y="270"/>
                  </a:moveTo>
                  <a:lnTo>
                    <a:pt x="75" y="271"/>
                  </a:lnTo>
                  <a:lnTo>
                    <a:pt x="75" y="270"/>
                  </a:lnTo>
                  <a:close/>
                  <a:moveTo>
                    <a:pt x="87" y="276"/>
                  </a:moveTo>
                  <a:lnTo>
                    <a:pt x="87" y="275"/>
                  </a:lnTo>
                  <a:lnTo>
                    <a:pt x="87" y="276"/>
                  </a:lnTo>
                  <a:close/>
                  <a:moveTo>
                    <a:pt x="109" y="185"/>
                  </a:moveTo>
                  <a:lnTo>
                    <a:pt x="109" y="183"/>
                  </a:lnTo>
                  <a:lnTo>
                    <a:pt x="111" y="183"/>
                  </a:lnTo>
                  <a:lnTo>
                    <a:pt x="109" y="185"/>
                  </a:lnTo>
                  <a:close/>
                  <a:moveTo>
                    <a:pt x="90" y="187"/>
                  </a:moveTo>
                  <a:lnTo>
                    <a:pt x="91" y="187"/>
                  </a:lnTo>
                  <a:lnTo>
                    <a:pt x="90" y="187"/>
                  </a:lnTo>
                  <a:close/>
                  <a:moveTo>
                    <a:pt x="129" y="416"/>
                  </a:moveTo>
                  <a:lnTo>
                    <a:pt x="129" y="418"/>
                  </a:lnTo>
                  <a:lnTo>
                    <a:pt x="129" y="416"/>
                  </a:lnTo>
                  <a:close/>
                  <a:moveTo>
                    <a:pt x="158" y="157"/>
                  </a:moveTo>
                  <a:lnTo>
                    <a:pt x="157" y="157"/>
                  </a:lnTo>
                  <a:lnTo>
                    <a:pt x="158" y="157"/>
                  </a:lnTo>
                  <a:close/>
                  <a:moveTo>
                    <a:pt x="116" y="123"/>
                  </a:moveTo>
                  <a:lnTo>
                    <a:pt x="116" y="122"/>
                  </a:lnTo>
                  <a:lnTo>
                    <a:pt x="116" y="123"/>
                  </a:lnTo>
                  <a:close/>
                  <a:moveTo>
                    <a:pt x="116" y="169"/>
                  </a:moveTo>
                  <a:lnTo>
                    <a:pt x="117" y="169"/>
                  </a:lnTo>
                  <a:lnTo>
                    <a:pt x="116" y="169"/>
                  </a:lnTo>
                  <a:close/>
                  <a:moveTo>
                    <a:pt x="137" y="138"/>
                  </a:moveTo>
                  <a:lnTo>
                    <a:pt x="137" y="140"/>
                  </a:lnTo>
                  <a:lnTo>
                    <a:pt x="137" y="138"/>
                  </a:lnTo>
                  <a:close/>
                  <a:moveTo>
                    <a:pt x="108" y="187"/>
                  </a:moveTo>
                  <a:lnTo>
                    <a:pt x="106" y="187"/>
                  </a:lnTo>
                  <a:lnTo>
                    <a:pt x="108" y="187"/>
                  </a:lnTo>
                  <a:close/>
                  <a:moveTo>
                    <a:pt x="113" y="200"/>
                  </a:moveTo>
                  <a:lnTo>
                    <a:pt x="113" y="201"/>
                  </a:lnTo>
                  <a:lnTo>
                    <a:pt x="113" y="200"/>
                  </a:lnTo>
                  <a:close/>
                  <a:moveTo>
                    <a:pt x="135" y="372"/>
                  </a:moveTo>
                  <a:lnTo>
                    <a:pt x="137" y="372"/>
                  </a:lnTo>
                  <a:lnTo>
                    <a:pt x="135" y="372"/>
                  </a:lnTo>
                  <a:close/>
                  <a:moveTo>
                    <a:pt x="140" y="136"/>
                  </a:moveTo>
                  <a:lnTo>
                    <a:pt x="140" y="135"/>
                  </a:lnTo>
                  <a:lnTo>
                    <a:pt x="140" y="136"/>
                  </a:lnTo>
                  <a:close/>
                  <a:moveTo>
                    <a:pt x="116" y="112"/>
                  </a:moveTo>
                  <a:lnTo>
                    <a:pt x="116" y="110"/>
                  </a:lnTo>
                  <a:lnTo>
                    <a:pt x="116" y="112"/>
                  </a:lnTo>
                  <a:close/>
                  <a:moveTo>
                    <a:pt x="137" y="146"/>
                  </a:moveTo>
                  <a:lnTo>
                    <a:pt x="137" y="144"/>
                  </a:lnTo>
                  <a:lnTo>
                    <a:pt x="139" y="146"/>
                  </a:lnTo>
                  <a:lnTo>
                    <a:pt x="137" y="146"/>
                  </a:lnTo>
                  <a:close/>
                </a:path>
              </a:pathLst>
            </a:custGeom>
            <a:solidFill>
              <a:srgbClr val="E5E5E5"/>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1191" name="Freeform 37">
              <a:extLst>
                <a:ext uri="{FF2B5EF4-FFF2-40B4-BE49-F238E27FC236}">
                  <a16:creationId xmlns:a16="http://schemas.microsoft.com/office/drawing/2014/main" id="{D68A19F8-601D-720F-90D9-3CF0F1EAA3FB}"/>
                </a:ext>
              </a:extLst>
            </p:cNvPr>
            <p:cNvSpPr>
              <a:spLocks noEditPoints="1"/>
            </p:cNvSpPr>
            <p:nvPr/>
          </p:nvSpPr>
          <p:spPr bwMode="auto">
            <a:xfrm>
              <a:off x="3863" y="4164"/>
              <a:ext cx="1281" cy="1651"/>
            </a:xfrm>
            <a:custGeom>
              <a:avLst/>
              <a:gdLst>
                <a:gd name="T0" fmla="*/ 580 w 1281"/>
                <a:gd name="T1" fmla="*/ 329 h 1651"/>
                <a:gd name="T2" fmla="*/ 701 w 1281"/>
                <a:gd name="T3" fmla="*/ 492 h 1651"/>
                <a:gd name="T4" fmla="*/ 842 w 1281"/>
                <a:gd name="T5" fmla="*/ 690 h 1651"/>
                <a:gd name="T6" fmla="*/ 992 w 1281"/>
                <a:gd name="T7" fmla="*/ 750 h 1651"/>
                <a:gd name="T8" fmla="*/ 1089 w 1281"/>
                <a:gd name="T9" fmla="*/ 820 h 1651"/>
                <a:gd name="T10" fmla="*/ 1221 w 1281"/>
                <a:gd name="T11" fmla="*/ 882 h 1651"/>
                <a:gd name="T12" fmla="*/ 1245 w 1281"/>
                <a:gd name="T13" fmla="*/ 988 h 1651"/>
                <a:gd name="T14" fmla="*/ 1136 w 1281"/>
                <a:gd name="T15" fmla="*/ 911 h 1651"/>
                <a:gd name="T16" fmla="*/ 1073 w 1281"/>
                <a:gd name="T17" fmla="*/ 1036 h 1651"/>
                <a:gd name="T18" fmla="*/ 1083 w 1281"/>
                <a:gd name="T19" fmla="*/ 1171 h 1651"/>
                <a:gd name="T20" fmla="*/ 1005 w 1281"/>
                <a:gd name="T21" fmla="*/ 1223 h 1651"/>
                <a:gd name="T22" fmla="*/ 997 w 1281"/>
                <a:gd name="T23" fmla="*/ 1054 h 1651"/>
                <a:gd name="T24" fmla="*/ 893 w 1281"/>
                <a:gd name="T25" fmla="*/ 968 h 1651"/>
                <a:gd name="T26" fmla="*/ 831 w 1281"/>
                <a:gd name="T27" fmla="*/ 897 h 1651"/>
                <a:gd name="T28" fmla="*/ 701 w 1281"/>
                <a:gd name="T29" fmla="*/ 823 h 1651"/>
                <a:gd name="T30" fmla="*/ 525 w 1281"/>
                <a:gd name="T31" fmla="*/ 700 h 1651"/>
                <a:gd name="T32" fmla="*/ 400 w 1281"/>
                <a:gd name="T33" fmla="*/ 597 h 1651"/>
                <a:gd name="T34" fmla="*/ 341 w 1281"/>
                <a:gd name="T35" fmla="*/ 440 h 1651"/>
                <a:gd name="T36" fmla="*/ 237 w 1281"/>
                <a:gd name="T37" fmla="*/ 389 h 1651"/>
                <a:gd name="T38" fmla="*/ 135 w 1281"/>
                <a:gd name="T39" fmla="*/ 462 h 1651"/>
                <a:gd name="T40" fmla="*/ 29 w 1281"/>
                <a:gd name="T41" fmla="*/ 397 h 1651"/>
                <a:gd name="T42" fmla="*/ 39 w 1281"/>
                <a:gd name="T43" fmla="*/ 266 h 1651"/>
                <a:gd name="T44" fmla="*/ 97 w 1281"/>
                <a:gd name="T45" fmla="*/ 161 h 1651"/>
                <a:gd name="T46" fmla="*/ 216 w 1281"/>
                <a:gd name="T47" fmla="*/ 144 h 1651"/>
                <a:gd name="T48" fmla="*/ 289 w 1281"/>
                <a:gd name="T49" fmla="*/ 98 h 1651"/>
                <a:gd name="T50" fmla="*/ 388 w 1281"/>
                <a:gd name="T51" fmla="*/ 82 h 1651"/>
                <a:gd name="T52" fmla="*/ 517 w 1281"/>
                <a:gd name="T53" fmla="*/ 17 h 1651"/>
                <a:gd name="T54" fmla="*/ 694 w 1281"/>
                <a:gd name="T55" fmla="*/ 72 h 1651"/>
                <a:gd name="T56" fmla="*/ 717 w 1281"/>
                <a:gd name="T57" fmla="*/ 184 h 1651"/>
                <a:gd name="T58" fmla="*/ 683 w 1281"/>
                <a:gd name="T59" fmla="*/ 192 h 1651"/>
                <a:gd name="T60" fmla="*/ 619 w 1281"/>
                <a:gd name="T61" fmla="*/ 220 h 1651"/>
                <a:gd name="T62" fmla="*/ 585 w 1281"/>
                <a:gd name="T63" fmla="*/ 228 h 1651"/>
                <a:gd name="T64" fmla="*/ 567 w 1281"/>
                <a:gd name="T65" fmla="*/ 266 h 1651"/>
                <a:gd name="T66" fmla="*/ 974 w 1281"/>
                <a:gd name="T67" fmla="*/ 1248 h 1651"/>
                <a:gd name="T68" fmla="*/ 946 w 1281"/>
                <a:gd name="T69" fmla="*/ 1394 h 1651"/>
                <a:gd name="T70" fmla="*/ 923 w 1281"/>
                <a:gd name="T71" fmla="*/ 1466 h 1651"/>
                <a:gd name="T72" fmla="*/ 764 w 1281"/>
                <a:gd name="T73" fmla="*/ 1404 h 1651"/>
                <a:gd name="T74" fmla="*/ 626 w 1281"/>
                <a:gd name="T75" fmla="*/ 1316 h 1651"/>
                <a:gd name="T76" fmla="*/ 702 w 1281"/>
                <a:gd name="T77" fmla="*/ 1267 h 1651"/>
                <a:gd name="T78" fmla="*/ 834 w 1281"/>
                <a:gd name="T79" fmla="*/ 1285 h 1651"/>
                <a:gd name="T80" fmla="*/ 265 w 1281"/>
                <a:gd name="T81" fmla="*/ 846 h 1651"/>
                <a:gd name="T82" fmla="*/ 294 w 1281"/>
                <a:gd name="T83" fmla="*/ 884 h 1651"/>
                <a:gd name="T84" fmla="*/ 322 w 1281"/>
                <a:gd name="T85" fmla="*/ 940 h 1651"/>
                <a:gd name="T86" fmla="*/ 302 w 1281"/>
                <a:gd name="T87" fmla="*/ 1085 h 1651"/>
                <a:gd name="T88" fmla="*/ 244 w 1281"/>
                <a:gd name="T89" fmla="*/ 1128 h 1651"/>
                <a:gd name="T90" fmla="*/ 188 w 1281"/>
                <a:gd name="T91" fmla="*/ 1167 h 1651"/>
                <a:gd name="T92" fmla="*/ 174 w 1281"/>
                <a:gd name="T93" fmla="*/ 1051 h 1651"/>
                <a:gd name="T94" fmla="*/ 166 w 1281"/>
                <a:gd name="T95" fmla="*/ 1009 h 1651"/>
                <a:gd name="T96" fmla="*/ 143 w 1281"/>
                <a:gd name="T97" fmla="*/ 905 h 1651"/>
                <a:gd name="T98" fmla="*/ 222 w 1281"/>
                <a:gd name="T99" fmla="*/ 867 h 1651"/>
                <a:gd name="T100" fmla="*/ 370 w 1281"/>
                <a:gd name="T101" fmla="*/ 610 h 1651"/>
                <a:gd name="T102" fmla="*/ 575 w 1281"/>
                <a:gd name="T103" fmla="*/ 1466 h 1651"/>
                <a:gd name="T104" fmla="*/ 444 w 1281"/>
                <a:gd name="T105" fmla="*/ 682 h 1651"/>
                <a:gd name="T106" fmla="*/ 597 w 1281"/>
                <a:gd name="T107" fmla="*/ 313 h 1651"/>
                <a:gd name="T108" fmla="*/ 906 w 1281"/>
                <a:gd name="T109" fmla="*/ 1228 h 1651"/>
                <a:gd name="T110" fmla="*/ 675 w 1281"/>
                <a:gd name="T111" fmla="*/ 194 h 1651"/>
                <a:gd name="T112" fmla="*/ 855 w 1281"/>
                <a:gd name="T113" fmla="*/ 1204 h 1651"/>
                <a:gd name="T114" fmla="*/ 271 w 1281"/>
                <a:gd name="T115" fmla="*/ 838 h 1651"/>
                <a:gd name="T116" fmla="*/ 575 w 1281"/>
                <a:gd name="T117" fmla="*/ 259 h 1651"/>
                <a:gd name="T118" fmla="*/ 574 w 1281"/>
                <a:gd name="T119" fmla="*/ 269 h 1651"/>
                <a:gd name="T120" fmla="*/ 941 w 1281"/>
                <a:gd name="T121" fmla="*/ 1467 h 1651"/>
                <a:gd name="T122" fmla="*/ 562 w 1281"/>
                <a:gd name="T123" fmla="*/ 261 h 1651"/>
                <a:gd name="T124" fmla="*/ 605 w 1281"/>
                <a:gd name="T125" fmla="*/ 1308 h 16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281" h="1651">
                  <a:moveTo>
                    <a:pt x="580" y="290"/>
                  </a:moveTo>
                  <a:lnTo>
                    <a:pt x="582" y="290"/>
                  </a:lnTo>
                  <a:lnTo>
                    <a:pt x="580" y="288"/>
                  </a:lnTo>
                  <a:lnTo>
                    <a:pt x="579" y="287"/>
                  </a:lnTo>
                  <a:lnTo>
                    <a:pt x="580" y="287"/>
                  </a:lnTo>
                  <a:lnTo>
                    <a:pt x="582" y="287"/>
                  </a:lnTo>
                  <a:lnTo>
                    <a:pt x="582" y="288"/>
                  </a:lnTo>
                  <a:lnTo>
                    <a:pt x="582" y="290"/>
                  </a:lnTo>
                  <a:lnTo>
                    <a:pt x="584" y="292"/>
                  </a:lnTo>
                  <a:lnTo>
                    <a:pt x="585" y="293"/>
                  </a:lnTo>
                  <a:lnTo>
                    <a:pt x="585" y="295"/>
                  </a:lnTo>
                  <a:lnTo>
                    <a:pt x="585" y="293"/>
                  </a:lnTo>
                  <a:lnTo>
                    <a:pt x="585" y="295"/>
                  </a:lnTo>
                  <a:lnTo>
                    <a:pt x="584" y="295"/>
                  </a:lnTo>
                  <a:lnTo>
                    <a:pt x="584" y="296"/>
                  </a:lnTo>
                  <a:lnTo>
                    <a:pt x="585" y="296"/>
                  </a:lnTo>
                  <a:lnTo>
                    <a:pt x="587" y="296"/>
                  </a:lnTo>
                  <a:lnTo>
                    <a:pt x="587" y="298"/>
                  </a:lnTo>
                  <a:lnTo>
                    <a:pt x="588" y="296"/>
                  </a:lnTo>
                  <a:lnTo>
                    <a:pt x="588" y="295"/>
                  </a:lnTo>
                  <a:lnTo>
                    <a:pt x="587" y="296"/>
                  </a:lnTo>
                  <a:lnTo>
                    <a:pt x="587" y="295"/>
                  </a:lnTo>
                  <a:lnTo>
                    <a:pt x="587" y="293"/>
                  </a:lnTo>
                  <a:lnTo>
                    <a:pt x="587" y="295"/>
                  </a:lnTo>
                  <a:lnTo>
                    <a:pt x="587" y="293"/>
                  </a:lnTo>
                  <a:lnTo>
                    <a:pt x="587" y="295"/>
                  </a:lnTo>
                  <a:lnTo>
                    <a:pt x="588" y="295"/>
                  </a:lnTo>
                  <a:lnTo>
                    <a:pt x="588" y="293"/>
                  </a:lnTo>
                  <a:lnTo>
                    <a:pt x="590" y="295"/>
                  </a:lnTo>
                  <a:lnTo>
                    <a:pt x="592" y="296"/>
                  </a:lnTo>
                  <a:lnTo>
                    <a:pt x="590" y="296"/>
                  </a:lnTo>
                  <a:lnTo>
                    <a:pt x="590" y="295"/>
                  </a:lnTo>
                  <a:lnTo>
                    <a:pt x="590" y="296"/>
                  </a:lnTo>
                  <a:lnTo>
                    <a:pt x="588" y="296"/>
                  </a:lnTo>
                  <a:lnTo>
                    <a:pt x="588" y="295"/>
                  </a:lnTo>
                  <a:lnTo>
                    <a:pt x="588" y="296"/>
                  </a:lnTo>
                  <a:lnTo>
                    <a:pt x="590" y="296"/>
                  </a:lnTo>
                  <a:lnTo>
                    <a:pt x="588" y="295"/>
                  </a:lnTo>
                  <a:lnTo>
                    <a:pt x="588" y="296"/>
                  </a:lnTo>
                  <a:lnTo>
                    <a:pt x="590" y="296"/>
                  </a:lnTo>
                  <a:lnTo>
                    <a:pt x="592" y="296"/>
                  </a:lnTo>
                  <a:lnTo>
                    <a:pt x="592" y="298"/>
                  </a:lnTo>
                  <a:lnTo>
                    <a:pt x="590" y="296"/>
                  </a:lnTo>
                  <a:lnTo>
                    <a:pt x="590" y="298"/>
                  </a:lnTo>
                  <a:lnTo>
                    <a:pt x="592" y="298"/>
                  </a:lnTo>
                  <a:lnTo>
                    <a:pt x="593" y="298"/>
                  </a:lnTo>
                  <a:lnTo>
                    <a:pt x="593" y="300"/>
                  </a:lnTo>
                  <a:lnTo>
                    <a:pt x="595" y="300"/>
                  </a:lnTo>
                  <a:lnTo>
                    <a:pt x="595" y="301"/>
                  </a:lnTo>
                  <a:lnTo>
                    <a:pt x="597" y="301"/>
                  </a:lnTo>
                  <a:lnTo>
                    <a:pt x="597" y="300"/>
                  </a:lnTo>
                  <a:lnTo>
                    <a:pt x="598" y="300"/>
                  </a:lnTo>
                  <a:lnTo>
                    <a:pt x="597" y="300"/>
                  </a:lnTo>
                  <a:lnTo>
                    <a:pt x="597" y="301"/>
                  </a:lnTo>
                  <a:lnTo>
                    <a:pt x="597" y="303"/>
                  </a:lnTo>
                  <a:lnTo>
                    <a:pt x="593" y="303"/>
                  </a:lnTo>
                  <a:lnTo>
                    <a:pt x="592" y="305"/>
                  </a:lnTo>
                  <a:lnTo>
                    <a:pt x="590" y="305"/>
                  </a:lnTo>
                  <a:lnTo>
                    <a:pt x="588" y="305"/>
                  </a:lnTo>
                  <a:lnTo>
                    <a:pt x="585" y="305"/>
                  </a:lnTo>
                  <a:lnTo>
                    <a:pt x="584" y="305"/>
                  </a:lnTo>
                  <a:lnTo>
                    <a:pt x="582" y="305"/>
                  </a:lnTo>
                  <a:lnTo>
                    <a:pt x="577" y="305"/>
                  </a:lnTo>
                  <a:lnTo>
                    <a:pt x="575" y="305"/>
                  </a:lnTo>
                  <a:lnTo>
                    <a:pt x="574" y="305"/>
                  </a:lnTo>
                  <a:lnTo>
                    <a:pt x="574" y="303"/>
                  </a:lnTo>
                  <a:lnTo>
                    <a:pt x="572" y="301"/>
                  </a:lnTo>
                  <a:lnTo>
                    <a:pt x="572" y="300"/>
                  </a:lnTo>
                  <a:lnTo>
                    <a:pt x="571" y="298"/>
                  </a:lnTo>
                  <a:lnTo>
                    <a:pt x="569" y="298"/>
                  </a:lnTo>
                  <a:lnTo>
                    <a:pt x="567" y="296"/>
                  </a:lnTo>
                  <a:lnTo>
                    <a:pt x="566" y="296"/>
                  </a:lnTo>
                  <a:lnTo>
                    <a:pt x="564" y="295"/>
                  </a:lnTo>
                  <a:lnTo>
                    <a:pt x="562" y="295"/>
                  </a:lnTo>
                  <a:lnTo>
                    <a:pt x="559" y="296"/>
                  </a:lnTo>
                  <a:lnTo>
                    <a:pt x="558" y="296"/>
                  </a:lnTo>
                  <a:lnTo>
                    <a:pt x="554" y="296"/>
                  </a:lnTo>
                  <a:lnTo>
                    <a:pt x="553" y="296"/>
                  </a:lnTo>
                  <a:lnTo>
                    <a:pt x="553" y="298"/>
                  </a:lnTo>
                  <a:lnTo>
                    <a:pt x="554" y="300"/>
                  </a:lnTo>
                  <a:lnTo>
                    <a:pt x="553" y="298"/>
                  </a:lnTo>
                  <a:lnTo>
                    <a:pt x="554" y="296"/>
                  </a:lnTo>
                  <a:lnTo>
                    <a:pt x="558" y="296"/>
                  </a:lnTo>
                  <a:lnTo>
                    <a:pt x="559" y="298"/>
                  </a:lnTo>
                  <a:lnTo>
                    <a:pt x="561" y="296"/>
                  </a:lnTo>
                  <a:lnTo>
                    <a:pt x="562" y="295"/>
                  </a:lnTo>
                  <a:lnTo>
                    <a:pt x="564" y="295"/>
                  </a:lnTo>
                  <a:lnTo>
                    <a:pt x="566" y="296"/>
                  </a:lnTo>
                  <a:lnTo>
                    <a:pt x="569" y="298"/>
                  </a:lnTo>
                  <a:lnTo>
                    <a:pt x="571" y="298"/>
                  </a:lnTo>
                  <a:lnTo>
                    <a:pt x="571" y="300"/>
                  </a:lnTo>
                  <a:lnTo>
                    <a:pt x="572" y="303"/>
                  </a:lnTo>
                  <a:lnTo>
                    <a:pt x="572" y="305"/>
                  </a:lnTo>
                  <a:lnTo>
                    <a:pt x="574" y="305"/>
                  </a:lnTo>
                  <a:lnTo>
                    <a:pt x="575" y="305"/>
                  </a:lnTo>
                  <a:lnTo>
                    <a:pt x="575" y="306"/>
                  </a:lnTo>
                  <a:lnTo>
                    <a:pt x="577" y="306"/>
                  </a:lnTo>
                  <a:lnTo>
                    <a:pt x="577" y="308"/>
                  </a:lnTo>
                  <a:lnTo>
                    <a:pt x="579" y="308"/>
                  </a:lnTo>
                  <a:lnTo>
                    <a:pt x="580" y="309"/>
                  </a:lnTo>
                  <a:lnTo>
                    <a:pt x="579" y="311"/>
                  </a:lnTo>
                  <a:lnTo>
                    <a:pt x="579" y="313"/>
                  </a:lnTo>
                  <a:lnTo>
                    <a:pt x="580" y="314"/>
                  </a:lnTo>
                  <a:lnTo>
                    <a:pt x="580" y="316"/>
                  </a:lnTo>
                  <a:lnTo>
                    <a:pt x="582" y="318"/>
                  </a:lnTo>
                  <a:lnTo>
                    <a:pt x="584" y="318"/>
                  </a:lnTo>
                  <a:lnTo>
                    <a:pt x="584" y="319"/>
                  </a:lnTo>
                  <a:lnTo>
                    <a:pt x="585" y="321"/>
                  </a:lnTo>
                  <a:lnTo>
                    <a:pt x="585" y="322"/>
                  </a:lnTo>
                  <a:lnTo>
                    <a:pt x="585" y="324"/>
                  </a:lnTo>
                  <a:lnTo>
                    <a:pt x="587" y="324"/>
                  </a:lnTo>
                  <a:lnTo>
                    <a:pt x="588" y="326"/>
                  </a:lnTo>
                  <a:lnTo>
                    <a:pt x="588" y="327"/>
                  </a:lnTo>
                  <a:lnTo>
                    <a:pt x="588" y="329"/>
                  </a:lnTo>
                  <a:lnTo>
                    <a:pt x="587" y="327"/>
                  </a:lnTo>
                  <a:lnTo>
                    <a:pt x="585" y="327"/>
                  </a:lnTo>
                  <a:lnTo>
                    <a:pt x="584" y="326"/>
                  </a:lnTo>
                  <a:lnTo>
                    <a:pt x="585" y="327"/>
                  </a:lnTo>
                  <a:lnTo>
                    <a:pt x="587" y="327"/>
                  </a:lnTo>
                  <a:lnTo>
                    <a:pt x="587" y="329"/>
                  </a:lnTo>
                  <a:lnTo>
                    <a:pt x="588" y="329"/>
                  </a:lnTo>
                  <a:lnTo>
                    <a:pt x="587" y="329"/>
                  </a:lnTo>
                  <a:lnTo>
                    <a:pt x="582" y="329"/>
                  </a:lnTo>
                  <a:lnTo>
                    <a:pt x="580" y="329"/>
                  </a:lnTo>
                  <a:lnTo>
                    <a:pt x="582" y="329"/>
                  </a:lnTo>
                  <a:lnTo>
                    <a:pt x="584" y="329"/>
                  </a:lnTo>
                  <a:lnTo>
                    <a:pt x="582" y="329"/>
                  </a:lnTo>
                  <a:lnTo>
                    <a:pt x="580" y="329"/>
                  </a:lnTo>
                  <a:lnTo>
                    <a:pt x="580" y="327"/>
                  </a:lnTo>
                  <a:lnTo>
                    <a:pt x="582" y="329"/>
                  </a:lnTo>
                  <a:lnTo>
                    <a:pt x="585" y="329"/>
                  </a:lnTo>
                  <a:lnTo>
                    <a:pt x="587" y="329"/>
                  </a:lnTo>
                  <a:lnTo>
                    <a:pt x="585" y="329"/>
                  </a:lnTo>
                  <a:lnTo>
                    <a:pt x="585" y="327"/>
                  </a:lnTo>
                  <a:lnTo>
                    <a:pt x="584" y="326"/>
                  </a:lnTo>
                  <a:lnTo>
                    <a:pt x="582" y="324"/>
                  </a:lnTo>
                  <a:lnTo>
                    <a:pt x="582" y="326"/>
                  </a:lnTo>
                  <a:lnTo>
                    <a:pt x="582" y="324"/>
                  </a:lnTo>
                  <a:lnTo>
                    <a:pt x="580" y="324"/>
                  </a:lnTo>
                  <a:lnTo>
                    <a:pt x="580" y="322"/>
                  </a:lnTo>
                  <a:lnTo>
                    <a:pt x="579" y="322"/>
                  </a:lnTo>
                  <a:lnTo>
                    <a:pt x="579" y="321"/>
                  </a:lnTo>
                  <a:lnTo>
                    <a:pt x="577" y="322"/>
                  </a:lnTo>
                  <a:lnTo>
                    <a:pt x="577" y="321"/>
                  </a:lnTo>
                  <a:lnTo>
                    <a:pt x="577" y="322"/>
                  </a:lnTo>
                  <a:lnTo>
                    <a:pt x="575" y="321"/>
                  </a:lnTo>
                  <a:lnTo>
                    <a:pt x="575" y="322"/>
                  </a:lnTo>
                  <a:lnTo>
                    <a:pt x="574" y="324"/>
                  </a:lnTo>
                  <a:lnTo>
                    <a:pt x="574" y="326"/>
                  </a:lnTo>
                  <a:lnTo>
                    <a:pt x="575" y="326"/>
                  </a:lnTo>
                  <a:lnTo>
                    <a:pt x="574" y="326"/>
                  </a:lnTo>
                  <a:lnTo>
                    <a:pt x="574" y="327"/>
                  </a:lnTo>
                  <a:lnTo>
                    <a:pt x="575" y="326"/>
                  </a:lnTo>
                  <a:lnTo>
                    <a:pt x="575" y="327"/>
                  </a:lnTo>
                  <a:lnTo>
                    <a:pt x="574" y="331"/>
                  </a:lnTo>
                  <a:lnTo>
                    <a:pt x="572" y="332"/>
                  </a:lnTo>
                  <a:lnTo>
                    <a:pt x="572" y="334"/>
                  </a:lnTo>
                  <a:lnTo>
                    <a:pt x="572" y="337"/>
                  </a:lnTo>
                  <a:lnTo>
                    <a:pt x="572" y="342"/>
                  </a:lnTo>
                  <a:lnTo>
                    <a:pt x="572" y="344"/>
                  </a:lnTo>
                  <a:lnTo>
                    <a:pt x="572" y="345"/>
                  </a:lnTo>
                  <a:lnTo>
                    <a:pt x="574" y="348"/>
                  </a:lnTo>
                  <a:lnTo>
                    <a:pt x="574" y="350"/>
                  </a:lnTo>
                  <a:lnTo>
                    <a:pt x="575" y="352"/>
                  </a:lnTo>
                  <a:lnTo>
                    <a:pt x="575" y="353"/>
                  </a:lnTo>
                  <a:lnTo>
                    <a:pt x="577" y="353"/>
                  </a:lnTo>
                  <a:lnTo>
                    <a:pt x="575" y="353"/>
                  </a:lnTo>
                  <a:lnTo>
                    <a:pt x="577" y="355"/>
                  </a:lnTo>
                  <a:lnTo>
                    <a:pt x="577" y="357"/>
                  </a:lnTo>
                  <a:lnTo>
                    <a:pt x="577" y="363"/>
                  </a:lnTo>
                  <a:lnTo>
                    <a:pt x="577" y="368"/>
                  </a:lnTo>
                  <a:lnTo>
                    <a:pt x="577" y="371"/>
                  </a:lnTo>
                  <a:lnTo>
                    <a:pt x="579" y="371"/>
                  </a:lnTo>
                  <a:lnTo>
                    <a:pt x="577" y="373"/>
                  </a:lnTo>
                  <a:lnTo>
                    <a:pt x="577" y="371"/>
                  </a:lnTo>
                  <a:lnTo>
                    <a:pt x="577" y="373"/>
                  </a:lnTo>
                  <a:lnTo>
                    <a:pt x="577" y="374"/>
                  </a:lnTo>
                  <a:lnTo>
                    <a:pt x="579" y="376"/>
                  </a:lnTo>
                  <a:lnTo>
                    <a:pt x="579" y="379"/>
                  </a:lnTo>
                  <a:lnTo>
                    <a:pt x="580" y="381"/>
                  </a:lnTo>
                  <a:lnTo>
                    <a:pt x="580" y="384"/>
                  </a:lnTo>
                  <a:lnTo>
                    <a:pt x="580" y="386"/>
                  </a:lnTo>
                  <a:lnTo>
                    <a:pt x="582" y="386"/>
                  </a:lnTo>
                  <a:lnTo>
                    <a:pt x="582" y="391"/>
                  </a:lnTo>
                  <a:lnTo>
                    <a:pt x="584" y="392"/>
                  </a:lnTo>
                  <a:lnTo>
                    <a:pt x="584" y="396"/>
                  </a:lnTo>
                  <a:lnTo>
                    <a:pt x="585" y="399"/>
                  </a:lnTo>
                  <a:lnTo>
                    <a:pt x="585" y="402"/>
                  </a:lnTo>
                  <a:lnTo>
                    <a:pt x="585" y="404"/>
                  </a:lnTo>
                  <a:lnTo>
                    <a:pt x="587" y="404"/>
                  </a:lnTo>
                  <a:lnTo>
                    <a:pt x="587" y="407"/>
                  </a:lnTo>
                  <a:lnTo>
                    <a:pt x="588" y="409"/>
                  </a:lnTo>
                  <a:lnTo>
                    <a:pt x="590" y="412"/>
                  </a:lnTo>
                  <a:lnTo>
                    <a:pt x="592" y="412"/>
                  </a:lnTo>
                  <a:lnTo>
                    <a:pt x="592" y="414"/>
                  </a:lnTo>
                  <a:lnTo>
                    <a:pt x="593" y="415"/>
                  </a:lnTo>
                  <a:lnTo>
                    <a:pt x="595" y="417"/>
                  </a:lnTo>
                  <a:lnTo>
                    <a:pt x="595" y="418"/>
                  </a:lnTo>
                  <a:lnTo>
                    <a:pt x="597" y="418"/>
                  </a:lnTo>
                  <a:lnTo>
                    <a:pt x="598" y="422"/>
                  </a:lnTo>
                  <a:lnTo>
                    <a:pt x="600" y="423"/>
                  </a:lnTo>
                  <a:lnTo>
                    <a:pt x="601" y="423"/>
                  </a:lnTo>
                  <a:lnTo>
                    <a:pt x="601" y="425"/>
                  </a:lnTo>
                  <a:lnTo>
                    <a:pt x="605" y="428"/>
                  </a:lnTo>
                  <a:lnTo>
                    <a:pt x="606" y="430"/>
                  </a:lnTo>
                  <a:lnTo>
                    <a:pt x="608" y="430"/>
                  </a:lnTo>
                  <a:lnTo>
                    <a:pt x="608" y="431"/>
                  </a:lnTo>
                  <a:lnTo>
                    <a:pt x="606" y="431"/>
                  </a:lnTo>
                  <a:lnTo>
                    <a:pt x="608" y="431"/>
                  </a:lnTo>
                  <a:lnTo>
                    <a:pt x="608" y="430"/>
                  </a:lnTo>
                  <a:lnTo>
                    <a:pt x="610" y="430"/>
                  </a:lnTo>
                  <a:lnTo>
                    <a:pt x="610" y="431"/>
                  </a:lnTo>
                  <a:lnTo>
                    <a:pt x="613" y="435"/>
                  </a:lnTo>
                  <a:lnTo>
                    <a:pt x="616" y="438"/>
                  </a:lnTo>
                  <a:lnTo>
                    <a:pt x="618" y="440"/>
                  </a:lnTo>
                  <a:lnTo>
                    <a:pt x="621" y="443"/>
                  </a:lnTo>
                  <a:lnTo>
                    <a:pt x="624" y="444"/>
                  </a:lnTo>
                  <a:lnTo>
                    <a:pt x="626" y="444"/>
                  </a:lnTo>
                  <a:lnTo>
                    <a:pt x="627" y="444"/>
                  </a:lnTo>
                  <a:lnTo>
                    <a:pt x="629" y="444"/>
                  </a:lnTo>
                  <a:lnTo>
                    <a:pt x="631" y="444"/>
                  </a:lnTo>
                  <a:lnTo>
                    <a:pt x="632" y="444"/>
                  </a:lnTo>
                  <a:lnTo>
                    <a:pt x="637" y="448"/>
                  </a:lnTo>
                  <a:lnTo>
                    <a:pt x="639" y="448"/>
                  </a:lnTo>
                  <a:lnTo>
                    <a:pt x="640" y="449"/>
                  </a:lnTo>
                  <a:lnTo>
                    <a:pt x="644" y="451"/>
                  </a:lnTo>
                  <a:lnTo>
                    <a:pt x="645" y="451"/>
                  </a:lnTo>
                  <a:lnTo>
                    <a:pt x="645" y="453"/>
                  </a:lnTo>
                  <a:lnTo>
                    <a:pt x="650" y="456"/>
                  </a:lnTo>
                  <a:lnTo>
                    <a:pt x="652" y="459"/>
                  </a:lnTo>
                  <a:lnTo>
                    <a:pt x="655" y="461"/>
                  </a:lnTo>
                  <a:lnTo>
                    <a:pt x="657" y="461"/>
                  </a:lnTo>
                  <a:lnTo>
                    <a:pt x="658" y="462"/>
                  </a:lnTo>
                  <a:lnTo>
                    <a:pt x="660" y="462"/>
                  </a:lnTo>
                  <a:lnTo>
                    <a:pt x="660" y="464"/>
                  </a:lnTo>
                  <a:lnTo>
                    <a:pt x="662" y="466"/>
                  </a:lnTo>
                  <a:lnTo>
                    <a:pt x="665" y="469"/>
                  </a:lnTo>
                  <a:lnTo>
                    <a:pt x="668" y="470"/>
                  </a:lnTo>
                  <a:lnTo>
                    <a:pt x="670" y="472"/>
                  </a:lnTo>
                  <a:lnTo>
                    <a:pt x="673" y="474"/>
                  </a:lnTo>
                  <a:lnTo>
                    <a:pt x="673" y="475"/>
                  </a:lnTo>
                  <a:lnTo>
                    <a:pt x="675" y="475"/>
                  </a:lnTo>
                  <a:lnTo>
                    <a:pt x="676" y="477"/>
                  </a:lnTo>
                  <a:lnTo>
                    <a:pt x="678" y="479"/>
                  </a:lnTo>
                  <a:lnTo>
                    <a:pt x="679" y="479"/>
                  </a:lnTo>
                  <a:lnTo>
                    <a:pt x="679" y="480"/>
                  </a:lnTo>
                  <a:lnTo>
                    <a:pt x="683" y="483"/>
                  </a:lnTo>
                  <a:lnTo>
                    <a:pt x="684" y="483"/>
                  </a:lnTo>
                  <a:lnTo>
                    <a:pt x="686" y="485"/>
                  </a:lnTo>
                  <a:lnTo>
                    <a:pt x="688" y="485"/>
                  </a:lnTo>
                  <a:lnTo>
                    <a:pt x="692" y="488"/>
                  </a:lnTo>
                  <a:lnTo>
                    <a:pt x="694" y="488"/>
                  </a:lnTo>
                  <a:lnTo>
                    <a:pt x="696" y="490"/>
                  </a:lnTo>
                  <a:lnTo>
                    <a:pt x="697" y="490"/>
                  </a:lnTo>
                  <a:lnTo>
                    <a:pt x="699" y="492"/>
                  </a:lnTo>
                  <a:lnTo>
                    <a:pt x="701" y="492"/>
                  </a:lnTo>
                  <a:lnTo>
                    <a:pt x="702" y="493"/>
                  </a:lnTo>
                  <a:lnTo>
                    <a:pt x="704" y="493"/>
                  </a:lnTo>
                  <a:lnTo>
                    <a:pt x="706" y="493"/>
                  </a:lnTo>
                  <a:lnTo>
                    <a:pt x="707" y="493"/>
                  </a:lnTo>
                  <a:lnTo>
                    <a:pt x="707" y="492"/>
                  </a:lnTo>
                  <a:lnTo>
                    <a:pt x="707" y="490"/>
                  </a:lnTo>
                  <a:lnTo>
                    <a:pt x="707" y="492"/>
                  </a:lnTo>
                  <a:lnTo>
                    <a:pt x="709" y="492"/>
                  </a:lnTo>
                  <a:lnTo>
                    <a:pt x="707" y="490"/>
                  </a:lnTo>
                  <a:lnTo>
                    <a:pt x="709" y="490"/>
                  </a:lnTo>
                  <a:lnTo>
                    <a:pt x="707" y="490"/>
                  </a:lnTo>
                  <a:lnTo>
                    <a:pt x="709" y="490"/>
                  </a:lnTo>
                  <a:lnTo>
                    <a:pt x="710" y="492"/>
                  </a:lnTo>
                  <a:lnTo>
                    <a:pt x="712" y="492"/>
                  </a:lnTo>
                  <a:lnTo>
                    <a:pt x="712" y="493"/>
                  </a:lnTo>
                  <a:lnTo>
                    <a:pt x="714" y="493"/>
                  </a:lnTo>
                  <a:lnTo>
                    <a:pt x="714" y="495"/>
                  </a:lnTo>
                  <a:lnTo>
                    <a:pt x="715" y="495"/>
                  </a:lnTo>
                  <a:lnTo>
                    <a:pt x="715" y="496"/>
                  </a:lnTo>
                  <a:lnTo>
                    <a:pt x="715" y="498"/>
                  </a:lnTo>
                  <a:lnTo>
                    <a:pt x="717" y="498"/>
                  </a:lnTo>
                  <a:lnTo>
                    <a:pt x="719" y="498"/>
                  </a:lnTo>
                  <a:lnTo>
                    <a:pt x="719" y="500"/>
                  </a:lnTo>
                  <a:lnTo>
                    <a:pt x="720" y="500"/>
                  </a:lnTo>
                  <a:lnTo>
                    <a:pt x="722" y="501"/>
                  </a:lnTo>
                  <a:lnTo>
                    <a:pt x="720" y="503"/>
                  </a:lnTo>
                  <a:lnTo>
                    <a:pt x="722" y="505"/>
                  </a:lnTo>
                  <a:lnTo>
                    <a:pt x="722" y="506"/>
                  </a:lnTo>
                  <a:lnTo>
                    <a:pt x="722" y="508"/>
                  </a:lnTo>
                  <a:lnTo>
                    <a:pt x="723" y="511"/>
                  </a:lnTo>
                  <a:lnTo>
                    <a:pt x="725" y="514"/>
                  </a:lnTo>
                  <a:lnTo>
                    <a:pt x="725" y="516"/>
                  </a:lnTo>
                  <a:lnTo>
                    <a:pt x="727" y="516"/>
                  </a:lnTo>
                  <a:lnTo>
                    <a:pt x="727" y="519"/>
                  </a:lnTo>
                  <a:lnTo>
                    <a:pt x="728" y="524"/>
                  </a:lnTo>
                  <a:lnTo>
                    <a:pt x="732" y="531"/>
                  </a:lnTo>
                  <a:lnTo>
                    <a:pt x="732" y="532"/>
                  </a:lnTo>
                  <a:lnTo>
                    <a:pt x="733" y="534"/>
                  </a:lnTo>
                  <a:lnTo>
                    <a:pt x="735" y="534"/>
                  </a:lnTo>
                  <a:lnTo>
                    <a:pt x="735" y="537"/>
                  </a:lnTo>
                  <a:lnTo>
                    <a:pt x="736" y="539"/>
                  </a:lnTo>
                  <a:lnTo>
                    <a:pt x="738" y="542"/>
                  </a:lnTo>
                  <a:lnTo>
                    <a:pt x="738" y="544"/>
                  </a:lnTo>
                  <a:lnTo>
                    <a:pt x="740" y="545"/>
                  </a:lnTo>
                  <a:lnTo>
                    <a:pt x="741" y="550"/>
                  </a:lnTo>
                  <a:lnTo>
                    <a:pt x="743" y="553"/>
                  </a:lnTo>
                  <a:lnTo>
                    <a:pt x="743" y="555"/>
                  </a:lnTo>
                  <a:lnTo>
                    <a:pt x="745" y="557"/>
                  </a:lnTo>
                  <a:lnTo>
                    <a:pt x="748" y="563"/>
                  </a:lnTo>
                  <a:lnTo>
                    <a:pt x="748" y="565"/>
                  </a:lnTo>
                  <a:lnTo>
                    <a:pt x="748" y="566"/>
                  </a:lnTo>
                  <a:lnTo>
                    <a:pt x="748" y="568"/>
                  </a:lnTo>
                  <a:lnTo>
                    <a:pt x="748" y="570"/>
                  </a:lnTo>
                  <a:lnTo>
                    <a:pt x="749" y="573"/>
                  </a:lnTo>
                  <a:lnTo>
                    <a:pt x="749" y="576"/>
                  </a:lnTo>
                  <a:lnTo>
                    <a:pt x="751" y="578"/>
                  </a:lnTo>
                  <a:lnTo>
                    <a:pt x="751" y="579"/>
                  </a:lnTo>
                  <a:lnTo>
                    <a:pt x="751" y="581"/>
                  </a:lnTo>
                  <a:lnTo>
                    <a:pt x="751" y="583"/>
                  </a:lnTo>
                  <a:lnTo>
                    <a:pt x="753" y="584"/>
                  </a:lnTo>
                  <a:lnTo>
                    <a:pt x="753" y="586"/>
                  </a:lnTo>
                  <a:lnTo>
                    <a:pt x="754" y="589"/>
                  </a:lnTo>
                  <a:lnTo>
                    <a:pt x="756" y="592"/>
                  </a:lnTo>
                  <a:lnTo>
                    <a:pt x="758" y="596"/>
                  </a:lnTo>
                  <a:lnTo>
                    <a:pt x="758" y="597"/>
                  </a:lnTo>
                  <a:lnTo>
                    <a:pt x="759" y="604"/>
                  </a:lnTo>
                  <a:lnTo>
                    <a:pt x="762" y="612"/>
                  </a:lnTo>
                  <a:lnTo>
                    <a:pt x="764" y="612"/>
                  </a:lnTo>
                  <a:lnTo>
                    <a:pt x="762" y="612"/>
                  </a:lnTo>
                  <a:lnTo>
                    <a:pt x="764" y="612"/>
                  </a:lnTo>
                  <a:lnTo>
                    <a:pt x="762" y="612"/>
                  </a:lnTo>
                  <a:lnTo>
                    <a:pt x="762" y="614"/>
                  </a:lnTo>
                  <a:lnTo>
                    <a:pt x="764" y="614"/>
                  </a:lnTo>
                  <a:lnTo>
                    <a:pt x="766" y="618"/>
                  </a:lnTo>
                  <a:lnTo>
                    <a:pt x="766" y="620"/>
                  </a:lnTo>
                  <a:lnTo>
                    <a:pt x="767" y="620"/>
                  </a:lnTo>
                  <a:lnTo>
                    <a:pt x="769" y="623"/>
                  </a:lnTo>
                  <a:lnTo>
                    <a:pt x="771" y="625"/>
                  </a:lnTo>
                  <a:lnTo>
                    <a:pt x="771" y="627"/>
                  </a:lnTo>
                  <a:lnTo>
                    <a:pt x="772" y="630"/>
                  </a:lnTo>
                  <a:lnTo>
                    <a:pt x="774" y="631"/>
                  </a:lnTo>
                  <a:lnTo>
                    <a:pt x="774" y="633"/>
                  </a:lnTo>
                  <a:lnTo>
                    <a:pt x="775" y="633"/>
                  </a:lnTo>
                  <a:lnTo>
                    <a:pt x="777" y="636"/>
                  </a:lnTo>
                  <a:lnTo>
                    <a:pt x="779" y="638"/>
                  </a:lnTo>
                  <a:lnTo>
                    <a:pt x="782" y="641"/>
                  </a:lnTo>
                  <a:lnTo>
                    <a:pt x="782" y="643"/>
                  </a:lnTo>
                  <a:lnTo>
                    <a:pt x="784" y="643"/>
                  </a:lnTo>
                  <a:lnTo>
                    <a:pt x="784" y="644"/>
                  </a:lnTo>
                  <a:lnTo>
                    <a:pt x="785" y="646"/>
                  </a:lnTo>
                  <a:lnTo>
                    <a:pt x="787" y="648"/>
                  </a:lnTo>
                  <a:lnTo>
                    <a:pt x="788" y="649"/>
                  </a:lnTo>
                  <a:lnTo>
                    <a:pt x="792" y="651"/>
                  </a:lnTo>
                  <a:lnTo>
                    <a:pt x="793" y="651"/>
                  </a:lnTo>
                  <a:lnTo>
                    <a:pt x="793" y="653"/>
                  </a:lnTo>
                  <a:lnTo>
                    <a:pt x="795" y="654"/>
                  </a:lnTo>
                  <a:lnTo>
                    <a:pt x="795" y="656"/>
                  </a:lnTo>
                  <a:lnTo>
                    <a:pt x="797" y="656"/>
                  </a:lnTo>
                  <a:lnTo>
                    <a:pt x="801" y="659"/>
                  </a:lnTo>
                  <a:lnTo>
                    <a:pt x="806" y="662"/>
                  </a:lnTo>
                  <a:lnTo>
                    <a:pt x="808" y="664"/>
                  </a:lnTo>
                  <a:lnTo>
                    <a:pt x="810" y="664"/>
                  </a:lnTo>
                  <a:lnTo>
                    <a:pt x="811" y="664"/>
                  </a:lnTo>
                  <a:lnTo>
                    <a:pt x="811" y="666"/>
                  </a:lnTo>
                  <a:lnTo>
                    <a:pt x="813" y="666"/>
                  </a:lnTo>
                  <a:lnTo>
                    <a:pt x="813" y="667"/>
                  </a:lnTo>
                  <a:lnTo>
                    <a:pt x="814" y="667"/>
                  </a:lnTo>
                  <a:lnTo>
                    <a:pt x="813" y="667"/>
                  </a:lnTo>
                  <a:lnTo>
                    <a:pt x="813" y="669"/>
                  </a:lnTo>
                  <a:lnTo>
                    <a:pt x="814" y="669"/>
                  </a:lnTo>
                  <a:lnTo>
                    <a:pt x="814" y="670"/>
                  </a:lnTo>
                  <a:lnTo>
                    <a:pt x="816" y="672"/>
                  </a:lnTo>
                  <a:lnTo>
                    <a:pt x="818" y="674"/>
                  </a:lnTo>
                  <a:lnTo>
                    <a:pt x="821" y="675"/>
                  </a:lnTo>
                  <a:lnTo>
                    <a:pt x="821" y="677"/>
                  </a:lnTo>
                  <a:lnTo>
                    <a:pt x="823" y="677"/>
                  </a:lnTo>
                  <a:lnTo>
                    <a:pt x="823" y="679"/>
                  </a:lnTo>
                  <a:lnTo>
                    <a:pt x="823" y="680"/>
                  </a:lnTo>
                  <a:lnTo>
                    <a:pt x="824" y="680"/>
                  </a:lnTo>
                  <a:lnTo>
                    <a:pt x="827" y="682"/>
                  </a:lnTo>
                  <a:lnTo>
                    <a:pt x="829" y="685"/>
                  </a:lnTo>
                  <a:lnTo>
                    <a:pt x="832" y="685"/>
                  </a:lnTo>
                  <a:lnTo>
                    <a:pt x="832" y="687"/>
                  </a:lnTo>
                  <a:lnTo>
                    <a:pt x="834" y="687"/>
                  </a:lnTo>
                  <a:lnTo>
                    <a:pt x="836" y="687"/>
                  </a:lnTo>
                  <a:lnTo>
                    <a:pt x="839" y="688"/>
                  </a:lnTo>
                  <a:lnTo>
                    <a:pt x="840" y="688"/>
                  </a:lnTo>
                  <a:lnTo>
                    <a:pt x="842" y="690"/>
                  </a:lnTo>
                  <a:lnTo>
                    <a:pt x="844" y="690"/>
                  </a:lnTo>
                  <a:lnTo>
                    <a:pt x="845" y="690"/>
                  </a:lnTo>
                  <a:lnTo>
                    <a:pt x="847" y="690"/>
                  </a:lnTo>
                  <a:lnTo>
                    <a:pt x="847" y="692"/>
                  </a:lnTo>
                  <a:lnTo>
                    <a:pt x="847" y="693"/>
                  </a:lnTo>
                  <a:lnTo>
                    <a:pt x="847" y="695"/>
                  </a:lnTo>
                  <a:lnTo>
                    <a:pt x="847" y="697"/>
                  </a:lnTo>
                  <a:lnTo>
                    <a:pt x="847" y="698"/>
                  </a:lnTo>
                  <a:lnTo>
                    <a:pt x="847" y="700"/>
                  </a:lnTo>
                  <a:lnTo>
                    <a:pt x="849" y="701"/>
                  </a:lnTo>
                  <a:lnTo>
                    <a:pt x="850" y="703"/>
                  </a:lnTo>
                  <a:lnTo>
                    <a:pt x="852" y="703"/>
                  </a:lnTo>
                  <a:lnTo>
                    <a:pt x="852" y="705"/>
                  </a:lnTo>
                  <a:lnTo>
                    <a:pt x="854" y="705"/>
                  </a:lnTo>
                  <a:lnTo>
                    <a:pt x="855" y="705"/>
                  </a:lnTo>
                  <a:lnTo>
                    <a:pt x="857" y="706"/>
                  </a:lnTo>
                  <a:lnTo>
                    <a:pt x="860" y="708"/>
                  </a:lnTo>
                  <a:lnTo>
                    <a:pt x="862" y="708"/>
                  </a:lnTo>
                  <a:lnTo>
                    <a:pt x="862" y="710"/>
                  </a:lnTo>
                  <a:lnTo>
                    <a:pt x="867" y="711"/>
                  </a:lnTo>
                  <a:lnTo>
                    <a:pt x="868" y="711"/>
                  </a:lnTo>
                  <a:lnTo>
                    <a:pt x="870" y="711"/>
                  </a:lnTo>
                  <a:lnTo>
                    <a:pt x="873" y="711"/>
                  </a:lnTo>
                  <a:lnTo>
                    <a:pt x="875" y="713"/>
                  </a:lnTo>
                  <a:lnTo>
                    <a:pt x="878" y="713"/>
                  </a:lnTo>
                  <a:lnTo>
                    <a:pt x="880" y="713"/>
                  </a:lnTo>
                  <a:lnTo>
                    <a:pt x="878" y="713"/>
                  </a:lnTo>
                  <a:lnTo>
                    <a:pt x="878" y="714"/>
                  </a:lnTo>
                  <a:lnTo>
                    <a:pt x="880" y="716"/>
                  </a:lnTo>
                  <a:lnTo>
                    <a:pt x="881" y="716"/>
                  </a:lnTo>
                  <a:lnTo>
                    <a:pt x="883" y="716"/>
                  </a:lnTo>
                  <a:lnTo>
                    <a:pt x="883" y="718"/>
                  </a:lnTo>
                  <a:lnTo>
                    <a:pt x="884" y="718"/>
                  </a:lnTo>
                  <a:lnTo>
                    <a:pt x="884" y="719"/>
                  </a:lnTo>
                  <a:lnTo>
                    <a:pt x="886" y="719"/>
                  </a:lnTo>
                  <a:lnTo>
                    <a:pt x="886" y="721"/>
                  </a:lnTo>
                  <a:lnTo>
                    <a:pt x="888" y="721"/>
                  </a:lnTo>
                  <a:lnTo>
                    <a:pt x="889" y="723"/>
                  </a:lnTo>
                  <a:lnTo>
                    <a:pt x="891" y="723"/>
                  </a:lnTo>
                  <a:lnTo>
                    <a:pt x="894" y="723"/>
                  </a:lnTo>
                  <a:lnTo>
                    <a:pt x="901" y="724"/>
                  </a:lnTo>
                  <a:lnTo>
                    <a:pt x="904" y="723"/>
                  </a:lnTo>
                  <a:lnTo>
                    <a:pt x="907" y="723"/>
                  </a:lnTo>
                  <a:lnTo>
                    <a:pt x="909" y="723"/>
                  </a:lnTo>
                  <a:lnTo>
                    <a:pt x="910" y="723"/>
                  </a:lnTo>
                  <a:lnTo>
                    <a:pt x="915" y="723"/>
                  </a:lnTo>
                  <a:lnTo>
                    <a:pt x="917" y="724"/>
                  </a:lnTo>
                  <a:lnTo>
                    <a:pt x="919" y="724"/>
                  </a:lnTo>
                  <a:lnTo>
                    <a:pt x="920" y="724"/>
                  </a:lnTo>
                  <a:lnTo>
                    <a:pt x="923" y="724"/>
                  </a:lnTo>
                  <a:lnTo>
                    <a:pt x="927" y="724"/>
                  </a:lnTo>
                  <a:lnTo>
                    <a:pt x="930" y="724"/>
                  </a:lnTo>
                  <a:lnTo>
                    <a:pt x="933" y="723"/>
                  </a:lnTo>
                  <a:lnTo>
                    <a:pt x="945" y="719"/>
                  </a:lnTo>
                  <a:lnTo>
                    <a:pt x="946" y="719"/>
                  </a:lnTo>
                  <a:lnTo>
                    <a:pt x="948" y="719"/>
                  </a:lnTo>
                  <a:lnTo>
                    <a:pt x="949" y="719"/>
                  </a:lnTo>
                  <a:lnTo>
                    <a:pt x="951" y="719"/>
                  </a:lnTo>
                  <a:lnTo>
                    <a:pt x="951" y="721"/>
                  </a:lnTo>
                  <a:lnTo>
                    <a:pt x="953" y="721"/>
                  </a:lnTo>
                  <a:lnTo>
                    <a:pt x="956" y="719"/>
                  </a:lnTo>
                  <a:lnTo>
                    <a:pt x="959" y="719"/>
                  </a:lnTo>
                  <a:lnTo>
                    <a:pt x="967" y="718"/>
                  </a:lnTo>
                  <a:lnTo>
                    <a:pt x="969" y="718"/>
                  </a:lnTo>
                  <a:lnTo>
                    <a:pt x="972" y="718"/>
                  </a:lnTo>
                  <a:lnTo>
                    <a:pt x="972" y="716"/>
                  </a:lnTo>
                  <a:lnTo>
                    <a:pt x="974" y="716"/>
                  </a:lnTo>
                  <a:lnTo>
                    <a:pt x="975" y="716"/>
                  </a:lnTo>
                  <a:lnTo>
                    <a:pt x="977" y="716"/>
                  </a:lnTo>
                  <a:lnTo>
                    <a:pt x="979" y="716"/>
                  </a:lnTo>
                  <a:lnTo>
                    <a:pt x="980" y="714"/>
                  </a:lnTo>
                  <a:lnTo>
                    <a:pt x="982" y="714"/>
                  </a:lnTo>
                  <a:lnTo>
                    <a:pt x="984" y="714"/>
                  </a:lnTo>
                  <a:lnTo>
                    <a:pt x="985" y="713"/>
                  </a:lnTo>
                  <a:lnTo>
                    <a:pt x="987" y="713"/>
                  </a:lnTo>
                  <a:lnTo>
                    <a:pt x="988" y="713"/>
                  </a:lnTo>
                  <a:lnTo>
                    <a:pt x="990" y="713"/>
                  </a:lnTo>
                  <a:lnTo>
                    <a:pt x="992" y="713"/>
                  </a:lnTo>
                  <a:lnTo>
                    <a:pt x="993" y="713"/>
                  </a:lnTo>
                  <a:lnTo>
                    <a:pt x="995" y="713"/>
                  </a:lnTo>
                  <a:lnTo>
                    <a:pt x="995" y="714"/>
                  </a:lnTo>
                  <a:lnTo>
                    <a:pt x="997" y="714"/>
                  </a:lnTo>
                  <a:lnTo>
                    <a:pt x="998" y="716"/>
                  </a:lnTo>
                  <a:lnTo>
                    <a:pt x="1000" y="716"/>
                  </a:lnTo>
                  <a:lnTo>
                    <a:pt x="1000" y="718"/>
                  </a:lnTo>
                  <a:lnTo>
                    <a:pt x="1000" y="716"/>
                  </a:lnTo>
                  <a:lnTo>
                    <a:pt x="1002" y="716"/>
                  </a:lnTo>
                  <a:lnTo>
                    <a:pt x="1002" y="718"/>
                  </a:lnTo>
                  <a:lnTo>
                    <a:pt x="1003" y="718"/>
                  </a:lnTo>
                  <a:lnTo>
                    <a:pt x="1002" y="718"/>
                  </a:lnTo>
                  <a:lnTo>
                    <a:pt x="1003" y="718"/>
                  </a:lnTo>
                  <a:lnTo>
                    <a:pt x="1003" y="719"/>
                  </a:lnTo>
                  <a:lnTo>
                    <a:pt x="1005" y="719"/>
                  </a:lnTo>
                  <a:lnTo>
                    <a:pt x="1005" y="721"/>
                  </a:lnTo>
                  <a:lnTo>
                    <a:pt x="1005" y="719"/>
                  </a:lnTo>
                  <a:lnTo>
                    <a:pt x="1006" y="719"/>
                  </a:lnTo>
                  <a:lnTo>
                    <a:pt x="1006" y="721"/>
                  </a:lnTo>
                  <a:lnTo>
                    <a:pt x="1005" y="721"/>
                  </a:lnTo>
                  <a:lnTo>
                    <a:pt x="1005" y="723"/>
                  </a:lnTo>
                  <a:lnTo>
                    <a:pt x="1005" y="724"/>
                  </a:lnTo>
                  <a:lnTo>
                    <a:pt x="1006" y="726"/>
                  </a:lnTo>
                  <a:lnTo>
                    <a:pt x="1006" y="727"/>
                  </a:lnTo>
                  <a:lnTo>
                    <a:pt x="1008" y="727"/>
                  </a:lnTo>
                  <a:lnTo>
                    <a:pt x="1006" y="727"/>
                  </a:lnTo>
                  <a:lnTo>
                    <a:pt x="1008" y="727"/>
                  </a:lnTo>
                  <a:lnTo>
                    <a:pt x="1006" y="729"/>
                  </a:lnTo>
                  <a:lnTo>
                    <a:pt x="1008" y="727"/>
                  </a:lnTo>
                  <a:lnTo>
                    <a:pt x="1008" y="729"/>
                  </a:lnTo>
                  <a:lnTo>
                    <a:pt x="1008" y="731"/>
                  </a:lnTo>
                  <a:lnTo>
                    <a:pt x="1008" y="732"/>
                  </a:lnTo>
                  <a:lnTo>
                    <a:pt x="1008" y="734"/>
                  </a:lnTo>
                  <a:lnTo>
                    <a:pt x="1008" y="736"/>
                  </a:lnTo>
                  <a:lnTo>
                    <a:pt x="1008" y="737"/>
                  </a:lnTo>
                  <a:lnTo>
                    <a:pt x="1006" y="737"/>
                  </a:lnTo>
                  <a:lnTo>
                    <a:pt x="1005" y="737"/>
                  </a:lnTo>
                  <a:lnTo>
                    <a:pt x="1005" y="739"/>
                  </a:lnTo>
                  <a:lnTo>
                    <a:pt x="1005" y="740"/>
                  </a:lnTo>
                  <a:lnTo>
                    <a:pt x="1003" y="740"/>
                  </a:lnTo>
                  <a:lnTo>
                    <a:pt x="1002" y="742"/>
                  </a:lnTo>
                  <a:lnTo>
                    <a:pt x="1000" y="742"/>
                  </a:lnTo>
                  <a:lnTo>
                    <a:pt x="1000" y="744"/>
                  </a:lnTo>
                  <a:lnTo>
                    <a:pt x="998" y="745"/>
                  </a:lnTo>
                  <a:lnTo>
                    <a:pt x="997" y="745"/>
                  </a:lnTo>
                  <a:lnTo>
                    <a:pt x="997" y="747"/>
                  </a:lnTo>
                  <a:lnTo>
                    <a:pt x="995" y="749"/>
                  </a:lnTo>
                  <a:lnTo>
                    <a:pt x="993" y="749"/>
                  </a:lnTo>
                  <a:lnTo>
                    <a:pt x="993" y="750"/>
                  </a:lnTo>
                  <a:lnTo>
                    <a:pt x="992" y="750"/>
                  </a:lnTo>
                  <a:lnTo>
                    <a:pt x="992" y="752"/>
                  </a:lnTo>
                  <a:lnTo>
                    <a:pt x="990" y="752"/>
                  </a:lnTo>
                  <a:lnTo>
                    <a:pt x="990" y="753"/>
                  </a:lnTo>
                  <a:lnTo>
                    <a:pt x="988" y="753"/>
                  </a:lnTo>
                  <a:lnTo>
                    <a:pt x="987" y="753"/>
                  </a:lnTo>
                  <a:lnTo>
                    <a:pt x="987" y="755"/>
                  </a:lnTo>
                  <a:lnTo>
                    <a:pt x="985" y="755"/>
                  </a:lnTo>
                  <a:lnTo>
                    <a:pt x="985" y="757"/>
                  </a:lnTo>
                  <a:lnTo>
                    <a:pt x="984" y="757"/>
                  </a:lnTo>
                  <a:lnTo>
                    <a:pt x="982" y="757"/>
                  </a:lnTo>
                  <a:lnTo>
                    <a:pt x="982" y="758"/>
                  </a:lnTo>
                  <a:lnTo>
                    <a:pt x="984" y="760"/>
                  </a:lnTo>
                  <a:lnTo>
                    <a:pt x="984" y="762"/>
                  </a:lnTo>
                  <a:lnTo>
                    <a:pt x="984" y="760"/>
                  </a:lnTo>
                  <a:lnTo>
                    <a:pt x="982" y="758"/>
                  </a:lnTo>
                  <a:lnTo>
                    <a:pt x="980" y="758"/>
                  </a:lnTo>
                  <a:lnTo>
                    <a:pt x="980" y="760"/>
                  </a:lnTo>
                  <a:lnTo>
                    <a:pt x="980" y="758"/>
                  </a:lnTo>
                  <a:lnTo>
                    <a:pt x="980" y="760"/>
                  </a:lnTo>
                  <a:lnTo>
                    <a:pt x="979" y="760"/>
                  </a:lnTo>
                  <a:lnTo>
                    <a:pt x="979" y="762"/>
                  </a:lnTo>
                  <a:lnTo>
                    <a:pt x="979" y="765"/>
                  </a:lnTo>
                  <a:lnTo>
                    <a:pt x="977" y="765"/>
                  </a:lnTo>
                  <a:lnTo>
                    <a:pt x="979" y="765"/>
                  </a:lnTo>
                  <a:lnTo>
                    <a:pt x="979" y="766"/>
                  </a:lnTo>
                  <a:lnTo>
                    <a:pt x="977" y="766"/>
                  </a:lnTo>
                  <a:lnTo>
                    <a:pt x="979" y="768"/>
                  </a:lnTo>
                  <a:lnTo>
                    <a:pt x="977" y="768"/>
                  </a:lnTo>
                  <a:lnTo>
                    <a:pt x="979" y="768"/>
                  </a:lnTo>
                  <a:lnTo>
                    <a:pt x="979" y="771"/>
                  </a:lnTo>
                  <a:lnTo>
                    <a:pt x="979" y="773"/>
                  </a:lnTo>
                  <a:lnTo>
                    <a:pt x="980" y="773"/>
                  </a:lnTo>
                  <a:lnTo>
                    <a:pt x="980" y="775"/>
                  </a:lnTo>
                  <a:lnTo>
                    <a:pt x="982" y="776"/>
                  </a:lnTo>
                  <a:lnTo>
                    <a:pt x="982" y="778"/>
                  </a:lnTo>
                  <a:lnTo>
                    <a:pt x="984" y="779"/>
                  </a:lnTo>
                  <a:lnTo>
                    <a:pt x="984" y="781"/>
                  </a:lnTo>
                  <a:lnTo>
                    <a:pt x="985" y="781"/>
                  </a:lnTo>
                  <a:lnTo>
                    <a:pt x="987" y="783"/>
                  </a:lnTo>
                  <a:lnTo>
                    <a:pt x="988" y="784"/>
                  </a:lnTo>
                  <a:lnTo>
                    <a:pt x="990" y="784"/>
                  </a:lnTo>
                  <a:lnTo>
                    <a:pt x="990" y="786"/>
                  </a:lnTo>
                  <a:lnTo>
                    <a:pt x="992" y="786"/>
                  </a:lnTo>
                  <a:lnTo>
                    <a:pt x="993" y="788"/>
                  </a:lnTo>
                  <a:lnTo>
                    <a:pt x="995" y="788"/>
                  </a:lnTo>
                  <a:lnTo>
                    <a:pt x="997" y="788"/>
                  </a:lnTo>
                  <a:lnTo>
                    <a:pt x="1002" y="791"/>
                  </a:lnTo>
                  <a:lnTo>
                    <a:pt x="1003" y="791"/>
                  </a:lnTo>
                  <a:lnTo>
                    <a:pt x="1005" y="791"/>
                  </a:lnTo>
                  <a:lnTo>
                    <a:pt x="1006" y="791"/>
                  </a:lnTo>
                  <a:lnTo>
                    <a:pt x="1006" y="792"/>
                  </a:lnTo>
                  <a:lnTo>
                    <a:pt x="1006" y="791"/>
                  </a:lnTo>
                  <a:lnTo>
                    <a:pt x="1006" y="792"/>
                  </a:lnTo>
                  <a:lnTo>
                    <a:pt x="1008" y="794"/>
                  </a:lnTo>
                  <a:lnTo>
                    <a:pt x="1010" y="794"/>
                  </a:lnTo>
                  <a:lnTo>
                    <a:pt x="1013" y="794"/>
                  </a:lnTo>
                  <a:lnTo>
                    <a:pt x="1015" y="794"/>
                  </a:lnTo>
                  <a:lnTo>
                    <a:pt x="1015" y="796"/>
                  </a:lnTo>
                  <a:lnTo>
                    <a:pt x="1016" y="796"/>
                  </a:lnTo>
                  <a:lnTo>
                    <a:pt x="1019" y="797"/>
                  </a:lnTo>
                  <a:lnTo>
                    <a:pt x="1019" y="799"/>
                  </a:lnTo>
                  <a:lnTo>
                    <a:pt x="1021" y="799"/>
                  </a:lnTo>
                  <a:lnTo>
                    <a:pt x="1023" y="799"/>
                  </a:lnTo>
                  <a:lnTo>
                    <a:pt x="1023" y="797"/>
                  </a:lnTo>
                  <a:lnTo>
                    <a:pt x="1023" y="799"/>
                  </a:lnTo>
                  <a:lnTo>
                    <a:pt x="1024" y="799"/>
                  </a:lnTo>
                  <a:lnTo>
                    <a:pt x="1026" y="801"/>
                  </a:lnTo>
                  <a:lnTo>
                    <a:pt x="1029" y="801"/>
                  </a:lnTo>
                  <a:lnTo>
                    <a:pt x="1031" y="801"/>
                  </a:lnTo>
                  <a:lnTo>
                    <a:pt x="1032" y="802"/>
                  </a:lnTo>
                  <a:lnTo>
                    <a:pt x="1034" y="802"/>
                  </a:lnTo>
                  <a:lnTo>
                    <a:pt x="1036" y="804"/>
                  </a:lnTo>
                  <a:lnTo>
                    <a:pt x="1037" y="804"/>
                  </a:lnTo>
                  <a:lnTo>
                    <a:pt x="1039" y="804"/>
                  </a:lnTo>
                  <a:lnTo>
                    <a:pt x="1037" y="804"/>
                  </a:lnTo>
                  <a:lnTo>
                    <a:pt x="1039" y="804"/>
                  </a:lnTo>
                  <a:lnTo>
                    <a:pt x="1039" y="805"/>
                  </a:lnTo>
                  <a:lnTo>
                    <a:pt x="1041" y="805"/>
                  </a:lnTo>
                  <a:lnTo>
                    <a:pt x="1042" y="807"/>
                  </a:lnTo>
                  <a:lnTo>
                    <a:pt x="1044" y="807"/>
                  </a:lnTo>
                  <a:lnTo>
                    <a:pt x="1045" y="807"/>
                  </a:lnTo>
                  <a:lnTo>
                    <a:pt x="1047" y="807"/>
                  </a:lnTo>
                  <a:lnTo>
                    <a:pt x="1047" y="809"/>
                  </a:lnTo>
                  <a:lnTo>
                    <a:pt x="1049" y="809"/>
                  </a:lnTo>
                  <a:lnTo>
                    <a:pt x="1047" y="809"/>
                  </a:lnTo>
                  <a:lnTo>
                    <a:pt x="1049" y="809"/>
                  </a:lnTo>
                  <a:lnTo>
                    <a:pt x="1050" y="809"/>
                  </a:lnTo>
                  <a:lnTo>
                    <a:pt x="1050" y="810"/>
                  </a:lnTo>
                  <a:lnTo>
                    <a:pt x="1052" y="810"/>
                  </a:lnTo>
                  <a:lnTo>
                    <a:pt x="1054" y="810"/>
                  </a:lnTo>
                  <a:lnTo>
                    <a:pt x="1055" y="812"/>
                  </a:lnTo>
                  <a:lnTo>
                    <a:pt x="1057" y="814"/>
                  </a:lnTo>
                  <a:lnTo>
                    <a:pt x="1058" y="814"/>
                  </a:lnTo>
                  <a:lnTo>
                    <a:pt x="1057" y="814"/>
                  </a:lnTo>
                  <a:lnTo>
                    <a:pt x="1057" y="812"/>
                  </a:lnTo>
                  <a:lnTo>
                    <a:pt x="1058" y="812"/>
                  </a:lnTo>
                  <a:lnTo>
                    <a:pt x="1058" y="814"/>
                  </a:lnTo>
                  <a:lnTo>
                    <a:pt x="1060" y="814"/>
                  </a:lnTo>
                  <a:lnTo>
                    <a:pt x="1062" y="815"/>
                  </a:lnTo>
                  <a:lnTo>
                    <a:pt x="1062" y="814"/>
                  </a:lnTo>
                  <a:lnTo>
                    <a:pt x="1062" y="815"/>
                  </a:lnTo>
                  <a:lnTo>
                    <a:pt x="1063" y="814"/>
                  </a:lnTo>
                  <a:lnTo>
                    <a:pt x="1063" y="815"/>
                  </a:lnTo>
                  <a:lnTo>
                    <a:pt x="1065" y="814"/>
                  </a:lnTo>
                  <a:lnTo>
                    <a:pt x="1067" y="815"/>
                  </a:lnTo>
                  <a:lnTo>
                    <a:pt x="1068" y="815"/>
                  </a:lnTo>
                  <a:lnTo>
                    <a:pt x="1070" y="817"/>
                  </a:lnTo>
                  <a:lnTo>
                    <a:pt x="1071" y="817"/>
                  </a:lnTo>
                  <a:lnTo>
                    <a:pt x="1075" y="817"/>
                  </a:lnTo>
                  <a:lnTo>
                    <a:pt x="1076" y="817"/>
                  </a:lnTo>
                  <a:lnTo>
                    <a:pt x="1076" y="818"/>
                  </a:lnTo>
                  <a:lnTo>
                    <a:pt x="1078" y="818"/>
                  </a:lnTo>
                  <a:lnTo>
                    <a:pt x="1080" y="820"/>
                  </a:lnTo>
                  <a:lnTo>
                    <a:pt x="1081" y="820"/>
                  </a:lnTo>
                  <a:lnTo>
                    <a:pt x="1083" y="820"/>
                  </a:lnTo>
                  <a:lnTo>
                    <a:pt x="1084" y="820"/>
                  </a:lnTo>
                  <a:lnTo>
                    <a:pt x="1086" y="820"/>
                  </a:lnTo>
                  <a:lnTo>
                    <a:pt x="1086" y="822"/>
                  </a:lnTo>
                  <a:lnTo>
                    <a:pt x="1088" y="822"/>
                  </a:lnTo>
                  <a:lnTo>
                    <a:pt x="1088" y="820"/>
                  </a:lnTo>
                  <a:lnTo>
                    <a:pt x="1088" y="822"/>
                  </a:lnTo>
                  <a:lnTo>
                    <a:pt x="1088" y="820"/>
                  </a:lnTo>
                  <a:lnTo>
                    <a:pt x="1086" y="820"/>
                  </a:lnTo>
                  <a:lnTo>
                    <a:pt x="1086" y="818"/>
                  </a:lnTo>
                  <a:lnTo>
                    <a:pt x="1086" y="820"/>
                  </a:lnTo>
                  <a:lnTo>
                    <a:pt x="1088" y="818"/>
                  </a:lnTo>
                  <a:lnTo>
                    <a:pt x="1088" y="820"/>
                  </a:lnTo>
                  <a:lnTo>
                    <a:pt x="1089" y="820"/>
                  </a:lnTo>
                  <a:lnTo>
                    <a:pt x="1088" y="820"/>
                  </a:lnTo>
                  <a:lnTo>
                    <a:pt x="1089" y="822"/>
                  </a:lnTo>
                  <a:lnTo>
                    <a:pt x="1091" y="823"/>
                  </a:lnTo>
                  <a:lnTo>
                    <a:pt x="1093" y="823"/>
                  </a:lnTo>
                  <a:lnTo>
                    <a:pt x="1094" y="823"/>
                  </a:lnTo>
                  <a:lnTo>
                    <a:pt x="1096" y="823"/>
                  </a:lnTo>
                  <a:lnTo>
                    <a:pt x="1097" y="825"/>
                  </a:lnTo>
                  <a:lnTo>
                    <a:pt x="1099" y="825"/>
                  </a:lnTo>
                  <a:lnTo>
                    <a:pt x="1101" y="825"/>
                  </a:lnTo>
                  <a:lnTo>
                    <a:pt x="1102" y="825"/>
                  </a:lnTo>
                  <a:lnTo>
                    <a:pt x="1104" y="827"/>
                  </a:lnTo>
                  <a:lnTo>
                    <a:pt x="1106" y="827"/>
                  </a:lnTo>
                  <a:lnTo>
                    <a:pt x="1107" y="827"/>
                  </a:lnTo>
                  <a:lnTo>
                    <a:pt x="1109" y="827"/>
                  </a:lnTo>
                  <a:lnTo>
                    <a:pt x="1110" y="827"/>
                  </a:lnTo>
                  <a:lnTo>
                    <a:pt x="1112" y="828"/>
                  </a:lnTo>
                  <a:lnTo>
                    <a:pt x="1114" y="828"/>
                  </a:lnTo>
                  <a:lnTo>
                    <a:pt x="1114" y="830"/>
                  </a:lnTo>
                  <a:lnTo>
                    <a:pt x="1114" y="828"/>
                  </a:lnTo>
                  <a:lnTo>
                    <a:pt x="1114" y="830"/>
                  </a:lnTo>
                  <a:lnTo>
                    <a:pt x="1115" y="830"/>
                  </a:lnTo>
                  <a:lnTo>
                    <a:pt x="1117" y="830"/>
                  </a:lnTo>
                  <a:lnTo>
                    <a:pt x="1117" y="831"/>
                  </a:lnTo>
                  <a:lnTo>
                    <a:pt x="1119" y="831"/>
                  </a:lnTo>
                  <a:lnTo>
                    <a:pt x="1120" y="831"/>
                  </a:lnTo>
                  <a:lnTo>
                    <a:pt x="1122" y="831"/>
                  </a:lnTo>
                  <a:lnTo>
                    <a:pt x="1122" y="833"/>
                  </a:lnTo>
                  <a:lnTo>
                    <a:pt x="1123" y="833"/>
                  </a:lnTo>
                  <a:lnTo>
                    <a:pt x="1123" y="835"/>
                  </a:lnTo>
                  <a:lnTo>
                    <a:pt x="1125" y="835"/>
                  </a:lnTo>
                  <a:lnTo>
                    <a:pt x="1125" y="836"/>
                  </a:lnTo>
                  <a:lnTo>
                    <a:pt x="1127" y="836"/>
                  </a:lnTo>
                  <a:lnTo>
                    <a:pt x="1128" y="836"/>
                  </a:lnTo>
                  <a:lnTo>
                    <a:pt x="1130" y="836"/>
                  </a:lnTo>
                  <a:lnTo>
                    <a:pt x="1130" y="838"/>
                  </a:lnTo>
                  <a:lnTo>
                    <a:pt x="1132" y="838"/>
                  </a:lnTo>
                  <a:lnTo>
                    <a:pt x="1133" y="838"/>
                  </a:lnTo>
                  <a:lnTo>
                    <a:pt x="1133" y="840"/>
                  </a:lnTo>
                  <a:lnTo>
                    <a:pt x="1135" y="840"/>
                  </a:lnTo>
                  <a:lnTo>
                    <a:pt x="1135" y="841"/>
                  </a:lnTo>
                  <a:lnTo>
                    <a:pt x="1136" y="841"/>
                  </a:lnTo>
                  <a:lnTo>
                    <a:pt x="1138" y="841"/>
                  </a:lnTo>
                  <a:lnTo>
                    <a:pt x="1138" y="843"/>
                  </a:lnTo>
                  <a:lnTo>
                    <a:pt x="1140" y="845"/>
                  </a:lnTo>
                  <a:lnTo>
                    <a:pt x="1141" y="845"/>
                  </a:lnTo>
                  <a:lnTo>
                    <a:pt x="1143" y="848"/>
                  </a:lnTo>
                  <a:lnTo>
                    <a:pt x="1145" y="849"/>
                  </a:lnTo>
                  <a:lnTo>
                    <a:pt x="1146" y="849"/>
                  </a:lnTo>
                  <a:lnTo>
                    <a:pt x="1148" y="849"/>
                  </a:lnTo>
                  <a:lnTo>
                    <a:pt x="1148" y="851"/>
                  </a:lnTo>
                  <a:lnTo>
                    <a:pt x="1150" y="851"/>
                  </a:lnTo>
                  <a:lnTo>
                    <a:pt x="1151" y="853"/>
                  </a:lnTo>
                  <a:lnTo>
                    <a:pt x="1153" y="854"/>
                  </a:lnTo>
                  <a:lnTo>
                    <a:pt x="1154" y="854"/>
                  </a:lnTo>
                  <a:lnTo>
                    <a:pt x="1156" y="854"/>
                  </a:lnTo>
                  <a:lnTo>
                    <a:pt x="1156" y="856"/>
                  </a:lnTo>
                  <a:lnTo>
                    <a:pt x="1158" y="856"/>
                  </a:lnTo>
                  <a:lnTo>
                    <a:pt x="1158" y="858"/>
                  </a:lnTo>
                  <a:lnTo>
                    <a:pt x="1163" y="859"/>
                  </a:lnTo>
                  <a:lnTo>
                    <a:pt x="1166" y="861"/>
                  </a:lnTo>
                  <a:lnTo>
                    <a:pt x="1167" y="861"/>
                  </a:lnTo>
                  <a:lnTo>
                    <a:pt x="1169" y="861"/>
                  </a:lnTo>
                  <a:lnTo>
                    <a:pt x="1169" y="862"/>
                  </a:lnTo>
                  <a:lnTo>
                    <a:pt x="1169" y="861"/>
                  </a:lnTo>
                  <a:lnTo>
                    <a:pt x="1171" y="862"/>
                  </a:lnTo>
                  <a:lnTo>
                    <a:pt x="1172" y="862"/>
                  </a:lnTo>
                  <a:lnTo>
                    <a:pt x="1174" y="862"/>
                  </a:lnTo>
                  <a:lnTo>
                    <a:pt x="1176" y="862"/>
                  </a:lnTo>
                  <a:lnTo>
                    <a:pt x="1177" y="864"/>
                  </a:lnTo>
                  <a:lnTo>
                    <a:pt x="1179" y="864"/>
                  </a:lnTo>
                  <a:lnTo>
                    <a:pt x="1182" y="864"/>
                  </a:lnTo>
                  <a:lnTo>
                    <a:pt x="1184" y="866"/>
                  </a:lnTo>
                  <a:lnTo>
                    <a:pt x="1185" y="866"/>
                  </a:lnTo>
                  <a:lnTo>
                    <a:pt x="1187" y="866"/>
                  </a:lnTo>
                  <a:lnTo>
                    <a:pt x="1185" y="867"/>
                  </a:lnTo>
                  <a:lnTo>
                    <a:pt x="1187" y="867"/>
                  </a:lnTo>
                  <a:lnTo>
                    <a:pt x="1189" y="867"/>
                  </a:lnTo>
                  <a:lnTo>
                    <a:pt x="1189" y="869"/>
                  </a:lnTo>
                  <a:lnTo>
                    <a:pt x="1190" y="869"/>
                  </a:lnTo>
                  <a:lnTo>
                    <a:pt x="1192" y="869"/>
                  </a:lnTo>
                  <a:lnTo>
                    <a:pt x="1192" y="871"/>
                  </a:lnTo>
                  <a:lnTo>
                    <a:pt x="1193" y="871"/>
                  </a:lnTo>
                  <a:lnTo>
                    <a:pt x="1195" y="871"/>
                  </a:lnTo>
                  <a:lnTo>
                    <a:pt x="1195" y="872"/>
                  </a:lnTo>
                  <a:lnTo>
                    <a:pt x="1197" y="872"/>
                  </a:lnTo>
                  <a:lnTo>
                    <a:pt x="1198" y="872"/>
                  </a:lnTo>
                  <a:lnTo>
                    <a:pt x="1198" y="874"/>
                  </a:lnTo>
                  <a:lnTo>
                    <a:pt x="1198" y="872"/>
                  </a:lnTo>
                  <a:lnTo>
                    <a:pt x="1198" y="874"/>
                  </a:lnTo>
                  <a:lnTo>
                    <a:pt x="1202" y="874"/>
                  </a:lnTo>
                  <a:lnTo>
                    <a:pt x="1203" y="874"/>
                  </a:lnTo>
                  <a:lnTo>
                    <a:pt x="1205" y="874"/>
                  </a:lnTo>
                  <a:lnTo>
                    <a:pt x="1206" y="874"/>
                  </a:lnTo>
                  <a:lnTo>
                    <a:pt x="1208" y="874"/>
                  </a:lnTo>
                  <a:lnTo>
                    <a:pt x="1210" y="874"/>
                  </a:lnTo>
                  <a:lnTo>
                    <a:pt x="1210" y="872"/>
                  </a:lnTo>
                  <a:lnTo>
                    <a:pt x="1211" y="874"/>
                  </a:lnTo>
                  <a:lnTo>
                    <a:pt x="1211" y="875"/>
                  </a:lnTo>
                  <a:lnTo>
                    <a:pt x="1213" y="875"/>
                  </a:lnTo>
                  <a:lnTo>
                    <a:pt x="1216" y="875"/>
                  </a:lnTo>
                  <a:lnTo>
                    <a:pt x="1215" y="875"/>
                  </a:lnTo>
                  <a:lnTo>
                    <a:pt x="1215" y="877"/>
                  </a:lnTo>
                  <a:lnTo>
                    <a:pt x="1213" y="877"/>
                  </a:lnTo>
                  <a:lnTo>
                    <a:pt x="1213" y="875"/>
                  </a:lnTo>
                  <a:lnTo>
                    <a:pt x="1213" y="877"/>
                  </a:lnTo>
                  <a:lnTo>
                    <a:pt x="1211" y="879"/>
                  </a:lnTo>
                  <a:lnTo>
                    <a:pt x="1210" y="879"/>
                  </a:lnTo>
                  <a:lnTo>
                    <a:pt x="1211" y="879"/>
                  </a:lnTo>
                  <a:lnTo>
                    <a:pt x="1211" y="880"/>
                  </a:lnTo>
                  <a:lnTo>
                    <a:pt x="1213" y="880"/>
                  </a:lnTo>
                  <a:lnTo>
                    <a:pt x="1211" y="879"/>
                  </a:lnTo>
                  <a:lnTo>
                    <a:pt x="1213" y="879"/>
                  </a:lnTo>
                  <a:lnTo>
                    <a:pt x="1215" y="879"/>
                  </a:lnTo>
                  <a:lnTo>
                    <a:pt x="1215" y="877"/>
                  </a:lnTo>
                  <a:lnTo>
                    <a:pt x="1215" y="879"/>
                  </a:lnTo>
                  <a:lnTo>
                    <a:pt x="1216" y="879"/>
                  </a:lnTo>
                  <a:lnTo>
                    <a:pt x="1216" y="877"/>
                  </a:lnTo>
                  <a:lnTo>
                    <a:pt x="1215" y="877"/>
                  </a:lnTo>
                  <a:lnTo>
                    <a:pt x="1216" y="877"/>
                  </a:lnTo>
                  <a:lnTo>
                    <a:pt x="1216" y="879"/>
                  </a:lnTo>
                  <a:lnTo>
                    <a:pt x="1216" y="877"/>
                  </a:lnTo>
                  <a:lnTo>
                    <a:pt x="1218" y="879"/>
                  </a:lnTo>
                  <a:lnTo>
                    <a:pt x="1219" y="879"/>
                  </a:lnTo>
                  <a:lnTo>
                    <a:pt x="1219" y="880"/>
                  </a:lnTo>
                  <a:lnTo>
                    <a:pt x="1219" y="882"/>
                  </a:lnTo>
                  <a:lnTo>
                    <a:pt x="1221" y="882"/>
                  </a:lnTo>
                  <a:lnTo>
                    <a:pt x="1219" y="882"/>
                  </a:lnTo>
                  <a:lnTo>
                    <a:pt x="1221" y="882"/>
                  </a:lnTo>
                  <a:lnTo>
                    <a:pt x="1221" y="884"/>
                  </a:lnTo>
                  <a:lnTo>
                    <a:pt x="1221" y="882"/>
                  </a:lnTo>
                  <a:lnTo>
                    <a:pt x="1221" y="884"/>
                  </a:lnTo>
                  <a:lnTo>
                    <a:pt x="1223" y="884"/>
                  </a:lnTo>
                  <a:lnTo>
                    <a:pt x="1223" y="885"/>
                  </a:lnTo>
                  <a:lnTo>
                    <a:pt x="1223" y="887"/>
                  </a:lnTo>
                  <a:lnTo>
                    <a:pt x="1223" y="888"/>
                  </a:lnTo>
                  <a:lnTo>
                    <a:pt x="1223" y="890"/>
                  </a:lnTo>
                  <a:lnTo>
                    <a:pt x="1226" y="892"/>
                  </a:lnTo>
                  <a:lnTo>
                    <a:pt x="1228" y="892"/>
                  </a:lnTo>
                  <a:lnTo>
                    <a:pt x="1228" y="893"/>
                  </a:lnTo>
                  <a:lnTo>
                    <a:pt x="1229" y="895"/>
                  </a:lnTo>
                  <a:lnTo>
                    <a:pt x="1231" y="895"/>
                  </a:lnTo>
                  <a:lnTo>
                    <a:pt x="1231" y="897"/>
                  </a:lnTo>
                  <a:lnTo>
                    <a:pt x="1232" y="897"/>
                  </a:lnTo>
                  <a:lnTo>
                    <a:pt x="1232" y="898"/>
                  </a:lnTo>
                  <a:lnTo>
                    <a:pt x="1234" y="898"/>
                  </a:lnTo>
                  <a:lnTo>
                    <a:pt x="1237" y="900"/>
                  </a:lnTo>
                  <a:lnTo>
                    <a:pt x="1239" y="900"/>
                  </a:lnTo>
                  <a:lnTo>
                    <a:pt x="1241" y="901"/>
                  </a:lnTo>
                  <a:lnTo>
                    <a:pt x="1242" y="900"/>
                  </a:lnTo>
                  <a:lnTo>
                    <a:pt x="1242" y="901"/>
                  </a:lnTo>
                  <a:lnTo>
                    <a:pt x="1244" y="903"/>
                  </a:lnTo>
                  <a:lnTo>
                    <a:pt x="1245" y="903"/>
                  </a:lnTo>
                  <a:lnTo>
                    <a:pt x="1245" y="905"/>
                  </a:lnTo>
                  <a:lnTo>
                    <a:pt x="1247" y="905"/>
                  </a:lnTo>
                  <a:lnTo>
                    <a:pt x="1249" y="906"/>
                  </a:lnTo>
                  <a:lnTo>
                    <a:pt x="1250" y="906"/>
                  </a:lnTo>
                  <a:lnTo>
                    <a:pt x="1250" y="908"/>
                  </a:lnTo>
                  <a:lnTo>
                    <a:pt x="1252" y="908"/>
                  </a:lnTo>
                  <a:lnTo>
                    <a:pt x="1252" y="910"/>
                  </a:lnTo>
                  <a:lnTo>
                    <a:pt x="1254" y="910"/>
                  </a:lnTo>
                  <a:lnTo>
                    <a:pt x="1254" y="911"/>
                  </a:lnTo>
                  <a:lnTo>
                    <a:pt x="1255" y="913"/>
                  </a:lnTo>
                  <a:lnTo>
                    <a:pt x="1257" y="913"/>
                  </a:lnTo>
                  <a:lnTo>
                    <a:pt x="1257" y="914"/>
                  </a:lnTo>
                  <a:lnTo>
                    <a:pt x="1257" y="913"/>
                  </a:lnTo>
                  <a:lnTo>
                    <a:pt x="1257" y="914"/>
                  </a:lnTo>
                  <a:lnTo>
                    <a:pt x="1258" y="914"/>
                  </a:lnTo>
                  <a:lnTo>
                    <a:pt x="1260" y="916"/>
                  </a:lnTo>
                  <a:lnTo>
                    <a:pt x="1262" y="918"/>
                  </a:lnTo>
                  <a:lnTo>
                    <a:pt x="1263" y="921"/>
                  </a:lnTo>
                  <a:lnTo>
                    <a:pt x="1265" y="921"/>
                  </a:lnTo>
                  <a:lnTo>
                    <a:pt x="1267" y="921"/>
                  </a:lnTo>
                  <a:lnTo>
                    <a:pt x="1267" y="923"/>
                  </a:lnTo>
                  <a:lnTo>
                    <a:pt x="1268" y="923"/>
                  </a:lnTo>
                  <a:lnTo>
                    <a:pt x="1268" y="924"/>
                  </a:lnTo>
                  <a:lnTo>
                    <a:pt x="1270" y="924"/>
                  </a:lnTo>
                  <a:lnTo>
                    <a:pt x="1270" y="926"/>
                  </a:lnTo>
                  <a:lnTo>
                    <a:pt x="1271" y="926"/>
                  </a:lnTo>
                  <a:lnTo>
                    <a:pt x="1271" y="927"/>
                  </a:lnTo>
                  <a:lnTo>
                    <a:pt x="1271" y="929"/>
                  </a:lnTo>
                  <a:lnTo>
                    <a:pt x="1273" y="929"/>
                  </a:lnTo>
                  <a:lnTo>
                    <a:pt x="1273" y="931"/>
                  </a:lnTo>
                  <a:lnTo>
                    <a:pt x="1275" y="932"/>
                  </a:lnTo>
                  <a:lnTo>
                    <a:pt x="1273" y="934"/>
                  </a:lnTo>
                  <a:lnTo>
                    <a:pt x="1273" y="936"/>
                  </a:lnTo>
                  <a:lnTo>
                    <a:pt x="1275" y="936"/>
                  </a:lnTo>
                  <a:lnTo>
                    <a:pt x="1275" y="937"/>
                  </a:lnTo>
                  <a:lnTo>
                    <a:pt x="1276" y="939"/>
                  </a:lnTo>
                  <a:lnTo>
                    <a:pt x="1276" y="940"/>
                  </a:lnTo>
                  <a:lnTo>
                    <a:pt x="1278" y="940"/>
                  </a:lnTo>
                  <a:lnTo>
                    <a:pt x="1278" y="942"/>
                  </a:lnTo>
                  <a:lnTo>
                    <a:pt x="1278" y="944"/>
                  </a:lnTo>
                  <a:lnTo>
                    <a:pt x="1278" y="942"/>
                  </a:lnTo>
                  <a:lnTo>
                    <a:pt x="1280" y="942"/>
                  </a:lnTo>
                  <a:lnTo>
                    <a:pt x="1280" y="944"/>
                  </a:lnTo>
                  <a:lnTo>
                    <a:pt x="1281" y="944"/>
                  </a:lnTo>
                  <a:lnTo>
                    <a:pt x="1281" y="945"/>
                  </a:lnTo>
                  <a:lnTo>
                    <a:pt x="1280" y="945"/>
                  </a:lnTo>
                  <a:lnTo>
                    <a:pt x="1281" y="947"/>
                  </a:lnTo>
                  <a:lnTo>
                    <a:pt x="1281" y="949"/>
                  </a:lnTo>
                  <a:lnTo>
                    <a:pt x="1280" y="950"/>
                  </a:lnTo>
                  <a:lnTo>
                    <a:pt x="1280" y="952"/>
                  </a:lnTo>
                  <a:lnTo>
                    <a:pt x="1278" y="952"/>
                  </a:lnTo>
                  <a:lnTo>
                    <a:pt x="1278" y="953"/>
                  </a:lnTo>
                  <a:lnTo>
                    <a:pt x="1278" y="955"/>
                  </a:lnTo>
                  <a:lnTo>
                    <a:pt x="1278" y="957"/>
                  </a:lnTo>
                  <a:lnTo>
                    <a:pt x="1278" y="958"/>
                  </a:lnTo>
                  <a:lnTo>
                    <a:pt x="1276" y="958"/>
                  </a:lnTo>
                  <a:lnTo>
                    <a:pt x="1276" y="960"/>
                  </a:lnTo>
                  <a:lnTo>
                    <a:pt x="1275" y="960"/>
                  </a:lnTo>
                  <a:lnTo>
                    <a:pt x="1273" y="962"/>
                  </a:lnTo>
                  <a:lnTo>
                    <a:pt x="1273" y="963"/>
                  </a:lnTo>
                  <a:lnTo>
                    <a:pt x="1273" y="965"/>
                  </a:lnTo>
                  <a:lnTo>
                    <a:pt x="1271" y="965"/>
                  </a:lnTo>
                  <a:lnTo>
                    <a:pt x="1271" y="966"/>
                  </a:lnTo>
                  <a:lnTo>
                    <a:pt x="1271" y="968"/>
                  </a:lnTo>
                  <a:lnTo>
                    <a:pt x="1271" y="970"/>
                  </a:lnTo>
                  <a:lnTo>
                    <a:pt x="1271" y="973"/>
                  </a:lnTo>
                  <a:lnTo>
                    <a:pt x="1271" y="975"/>
                  </a:lnTo>
                  <a:lnTo>
                    <a:pt x="1270" y="975"/>
                  </a:lnTo>
                  <a:lnTo>
                    <a:pt x="1271" y="976"/>
                  </a:lnTo>
                  <a:lnTo>
                    <a:pt x="1270" y="976"/>
                  </a:lnTo>
                  <a:lnTo>
                    <a:pt x="1271" y="978"/>
                  </a:lnTo>
                  <a:lnTo>
                    <a:pt x="1270" y="978"/>
                  </a:lnTo>
                  <a:lnTo>
                    <a:pt x="1271" y="978"/>
                  </a:lnTo>
                  <a:lnTo>
                    <a:pt x="1271" y="981"/>
                  </a:lnTo>
                  <a:lnTo>
                    <a:pt x="1271" y="983"/>
                  </a:lnTo>
                  <a:lnTo>
                    <a:pt x="1271" y="984"/>
                  </a:lnTo>
                  <a:lnTo>
                    <a:pt x="1271" y="986"/>
                  </a:lnTo>
                  <a:lnTo>
                    <a:pt x="1271" y="988"/>
                  </a:lnTo>
                  <a:lnTo>
                    <a:pt x="1271" y="989"/>
                  </a:lnTo>
                  <a:lnTo>
                    <a:pt x="1271" y="991"/>
                  </a:lnTo>
                  <a:lnTo>
                    <a:pt x="1270" y="993"/>
                  </a:lnTo>
                  <a:lnTo>
                    <a:pt x="1270" y="994"/>
                  </a:lnTo>
                  <a:lnTo>
                    <a:pt x="1268" y="994"/>
                  </a:lnTo>
                  <a:lnTo>
                    <a:pt x="1267" y="996"/>
                  </a:lnTo>
                  <a:lnTo>
                    <a:pt x="1267" y="994"/>
                  </a:lnTo>
                  <a:lnTo>
                    <a:pt x="1265" y="994"/>
                  </a:lnTo>
                  <a:lnTo>
                    <a:pt x="1265" y="993"/>
                  </a:lnTo>
                  <a:lnTo>
                    <a:pt x="1263" y="993"/>
                  </a:lnTo>
                  <a:lnTo>
                    <a:pt x="1262" y="993"/>
                  </a:lnTo>
                  <a:lnTo>
                    <a:pt x="1260" y="991"/>
                  </a:lnTo>
                  <a:lnTo>
                    <a:pt x="1258" y="989"/>
                  </a:lnTo>
                  <a:lnTo>
                    <a:pt x="1257" y="989"/>
                  </a:lnTo>
                  <a:lnTo>
                    <a:pt x="1255" y="991"/>
                  </a:lnTo>
                  <a:lnTo>
                    <a:pt x="1254" y="989"/>
                  </a:lnTo>
                  <a:lnTo>
                    <a:pt x="1254" y="991"/>
                  </a:lnTo>
                  <a:lnTo>
                    <a:pt x="1252" y="989"/>
                  </a:lnTo>
                  <a:lnTo>
                    <a:pt x="1250" y="991"/>
                  </a:lnTo>
                  <a:lnTo>
                    <a:pt x="1250" y="989"/>
                  </a:lnTo>
                  <a:lnTo>
                    <a:pt x="1249" y="989"/>
                  </a:lnTo>
                  <a:lnTo>
                    <a:pt x="1247" y="989"/>
                  </a:lnTo>
                  <a:lnTo>
                    <a:pt x="1247" y="988"/>
                  </a:lnTo>
                  <a:lnTo>
                    <a:pt x="1247" y="989"/>
                  </a:lnTo>
                  <a:lnTo>
                    <a:pt x="1247" y="988"/>
                  </a:lnTo>
                  <a:lnTo>
                    <a:pt x="1245" y="988"/>
                  </a:lnTo>
                  <a:lnTo>
                    <a:pt x="1244" y="988"/>
                  </a:lnTo>
                  <a:lnTo>
                    <a:pt x="1242" y="986"/>
                  </a:lnTo>
                  <a:lnTo>
                    <a:pt x="1242" y="984"/>
                  </a:lnTo>
                  <a:lnTo>
                    <a:pt x="1241" y="984"/>
                  </a:lnTo>
                  <a:lnTo>
                    <a:pt x="1239" y="983"/>
                  </a:lnTo>
                  <a:lnTo>
                    <a:pt x="1237" y="983"/>
                  </a:lnTo>
                  <a:lnTo>
                    <a:pt x="1236" y="981"/>
                  </a:lnTo>
                  <a:lnTo>
                    <a:pt x="1234" y="980"/>
                  </a:lnTo>
                  <a:lnTo>
                    <a:pt x="1232" y="980"/>
                  </a:lnTo>
                  <a:lnTo>
                    <a:pt x="1232" y="978"/>
                  </a:lnTo>
                  <a:lnTo>
                    <a:pt x="1231" y="978"/>
                  </a:lnTo>
                  <a:lnTo>
                    <a:pt x="1231" y="976"/>
                  </a:lnTo>
                  <a:lnTo>
                    <a:pt x="1229" y="976"/>
                  </a:lnTo>
                  <a:lnTo>
                    <a:pt x="1229" y="975"/>
                  </a:lnTo>
                  <a:lnTo>
                    <a:pt x="1228" y="973"/>
                  </a:lnTo>
                  <a:lnTo>
                    <a:pt x="1226" y="971"/>
                  </a:lnTo>
                  <a:lnTo>
                    <a:pt x="1226" y="970"/>
                  </a:lnTo>
                  <a:lnTo>
                    <a:pt x="1228" y="970"/>
                  </a:lnTo>
                  <a:lnTo>
                    <a:pt x="1228" y="968"/>
                  </a:lnTo>
                  <a:lnTo>
                    <a:pt x="1228" y="966"/>
                  </a:lnTo>
                  <a:lnTo>
                    <a:pt x="1228" y="965"/>
                  </a:lnTo>
                  <a:lnTo>
                    <a:pt x="1226" y="963"/>
                  </a:lnTo>
                  <a:lnTo>
                    <a:pt x="1224" y="962"/>
                  </a:lnTo>
                  <a:lnTo>
                    <a:pt x="1223" y="962"/>
                  </a:lnTo>
                  <a:lnTo>
                    <a:pt x="1223" y="963"/>
                  </a:lnTo>
                  <a:lnTo>
                    <a:pt x="1223" y="962"/>
                  </a:lnTo>
                  <a:lnTo>
                    <a:pt x="1224" y="962"/>
                  </a:lnTo>
                  <a:lnTo>
                    <a:pt x="1224" y="960"/>
                  </a:lnTo>
                  <a:lnTo>
                    <a:pt x="1226" y="960"/>
                  </a:lnTo>
                  <a:lnTo>
                    <a:pt x="1226" y="958"/>
                  </a:lnTo>
                  <a:lnTo>
                    <a:pt x="1226" y="957"/>
                  </a:lnTo>
                  <a:lnTo>
                    <a:pt x="1226" y="955"/>
                  </a:lnTo>
                  <a:lnTo>
                    <a:pt x="1226" y="953"/>
                  </a:lnTo>
                  <a:lnTo>
                    <a:pt x="1224" y="953"/>
                  </a:lnTo>
                  <a:lnTo>
                    <a:pt x="1224" y="952"/>
                  </a:lnTo>
                  <a:lnTo>
                    <a:pt x="1224" y="950"/>
                  </a:lnTo>
                  <a:lnTo>
                    <a:pt x="1223" y="950"/>
                  </a:lnTo>
                  <a:lnTo>
                    <a:pt x="1221" y="950"/>
                  </a:lnTo>
                  <a:lnTo>
                    <a:pt x="1221" y="949"/>
                  </a:lnTo>
                  <a:lnTo>
                    <a:pt x="1219" y="949"/>
                  </a:lnTo>
                  <a:lnTo>
                    <a:pt x="1219" y="947"/>
                  </a:lnTo>
                  <a:lnTo>
                    <a:pt x="1218" y="947"/>
                  </a:lnTo>
                  <a:lnTo>
                    <a:pt x="1218" y="945"/>
                  </a:lnTo>
                  <a:lnTo>
                    <a:pt x="1216" y="945"/>
                  </a:lnTo>
                  <a:lnTo>
                    <a:pt x="1215" y="944"/>
                  </a:lnTo>
                  <a:lnTo>
                    <a:pt x="1215" y="942"/>
                  </a:lnTo>
                  <a:lnTo>
                    <a:pt x="1215" y="940"/>
                  </a:lnTo>
                  <a:lnTo>
                    <a:pt x="1215" y="939"/>
                  </a:lnTo>
                  <a:lnTo>
                    <a:pt x="1213" y="937"/>
                  </a:lnTo>
                  <a:lnTo>
                    <a:pt x="1213" y="936"/>
                  </a:lnTo>
                  <a:lnTo>
                    <a:pt x="1211" y="936"/>
                  </a:lnTo>
                  <a:lnTo>
                    <a:pt x="1213" y="936"/>
                  </a:lnTo>
                  <a:lnTo>
                    <a:pt x="1213" y="934"/>
                  </a:lnTo>
                  <a:lnTo>
                    <a:pt x="1211" y="934"/>
                  </a:lnTo>
                  <a:lnTo>
                    <a:pt x="1211" y="936"/>
                  </a:lnTo>
                  <a:lnTo>
                    <a:pt x="1211" y="934"/>
                  </a:lnTo>
                  <a:lnTo>
                    <a:pt x="1210" y="934"/>
                  </a:lnTo>
                  <a:lnTo>
                    <a:pt x="1210" y="932"/>
                  </a:lnTo>
                  <a:lnTo>
                    <a:pt x="1208" y="932"/>
                  </a:lnTo>
                  <a:lnTo>
                    <a:pt x="1208" y="931"/>
                  </a:lnTo>
                  <a:lnTo>
                    <a:pt x="1206" y="931"/>
                  </a:lnTo>
                  <a:lnTo>
                    <a:pt x="1205" y="931"/>
                  </a:lnTo>
                  <a:lnTo>
                    <a:pt x="1205" y="932"/>
                  </a:lnTo>
                  <a:lnTo>
                    <a:pt x="1203" y="931"/>
                  </a:lnTo>
                  <a:lnTo>
                    <a:pt x="1202" y="931"/>
                  </a:lnTo>
                  <a:lnTo>
                    <a:pt x="1200" y="931"/>
                  </a:lnTo>
                  <a:lnTo>
                    <a:pt x="1198" y="931"/>
                  </a:lnTo>
                  <a:lnTo>
                    <a:pt x="1197" y="931"/>
                  </a:lnTo>
                  <a:lnTo>
                    <a:pt x="1195" y="931"/>
                  </a:lnTo>
                  <a:lnTo>
                    <a:pt x="1193" y="931"/>
                  </a:lnTo>
                  <a:lnTo>
                    <a:pt x="1193" y="929"/>
                  </a:lnTo>
                  <a:lnTo>
                    <a:pt x="1193" y="931"/>
                  </a:lnTo>
                  <a:lnTo>
                    <a:pt x="1193" y="929"/>
                  </a:lnTo>
                  <a:lnTo>
                    <a:pt x="1192" y="929"/>
                  </a:lnTo>
                  <a:lnTo>
                    <a:pt x="1192" y="931"/>
                  </a:lnTo>
                  <a:lnTo>
                    <a:pt x="1190" y="931"/>
                  </a:lnTo>
                  <a:lnTo>
                    <a:pt x="1189" y="929"/>
                  </a:lnTo>
                  <a:lnTo>
                    <a:pt x="1185" y="931"/>
                  </a:lnTo>
                  <a:lnTo>
                    <a:pt x="1182" y="931"/>
                  </a:lnTo>
                  <a:lnTo>
                    <a:pt x="1179" y="931"/>
                  </a:lnTo>
                  <a:lnTo>
                    <a:pt x="1177" y="932"/>
                  </a:lnTo>
                  <a:lnTo>
                    <a:pt x="1176" y="932"/>
                  </a:lnTo>
                  <a:lnTo>
                    <a:pt x="1174" y="932"/>
                  </a:lnTo>
                  <a:lnTo>
                    <a:pt x="1172" y="932"/>
                  </a:lnTo>
                  <a:lnTo>
                    <a:pt x="1171" y="932"/>
                  </a:lnTo>
                  <a:lnTo>
                    <a:pt x="1169" y="934"/>
                  </a:lnTo>
                  <a:lnTo>
                    <a:pt x="1167" y="934"/>
                  </a:lnTo>
                  <a:lnTo>
                    <a:pt x="1167" y="932"/>
                  </a:lnTo>
                  <a:lnTo>
                    <a:pt x="1166" y="931"/>
                  </a:lnTo>
                  <a:lnTo>
                    <a:pt x="1164" y="931"/>
                  </a:lnTo>
                  <a:lnTo>
                    <a:pt x="1163" y="931"/>
                  </a:lnTo>
                  <a:lnTo>
                    <a:pt x="1161" y="929"/>
                  </a:lnTo>
                  <a:lnTo>
                    <a:pt x="1159" y="929"/>
                  </a:lnTo>
                  <a:lnTo>
                    <a:pt x="1156" y="929"/>
                  </a:lnTo>
                  <a:lnTo>
                    <a:pt x="1154" y="929"/>
                  </a:lnTo>
                  <a:lnTo>
                    <a:pt x="1154" y="927"/>
                  </a:lnTo>
                  <a:lnTo>
                    <a:pt x="1153" y="927"/>
                  </a:lnTo>
                  <a:lnTo>
                    <a:pt x="1151" y="927"/>
                  </a:lnTo>
                  <a:lnTo>
                    <a:pt x="1151" y="926"/>
                  </a:lnTo>
                  <a:lnTo>
                    <a:pt x="1151" y="927"/>
                  </a:lnTo>
                  <a:lnTo>
                    <a:pt x="1151" y="926"/>
                  </a:lnTo>
                  <a:lnTo>
                    <a:pt x="1150" y="926"/>
                  </a:lnTo>
                  <a:lnTo>
                    <a:pt x="1148" y="926"/>
                  </a:lnTo>
                  <a:lnTo>
                    <a:pt x="1146" y="926"/>
                  </a:lnTo>
                  <a:lnTo>
                    <a:pt x="1145" y="926"/>
                  </a:lnTo>
                  <a:lnTo>
                    <a:pt x="1145" y="924"/>
                  </a:lnTo>
                  <a:lnTo>
                    <a:pt x="1143" y="924"/>
                  </a:lnTo>
                  <a:lnTo>
                    <a:pt x="1141" y="924"/>
                  </a:lnTo>
                  <a:lnTo>
                    <a:pt x="1141" y="923"/>
                  </a:lnTo>
                  <a:lnTo>
                    <a:pt x="1140" y="923"/>
                  </a:lnTo>
                  <a:lnTo>
                    <a:pt x="1140" y="921"/>
                  </a:lnTo>
                  <a:lnTo>
                    <a:pt x="1138" y="921"/>
                  </a:lnTo>
                  <a:lnTo>
                    <a:pt x="1136" y="921"/>
                  </a:lnTo>
                  <a:lnTo>
                    <a:pt x="1135" y="919"/>
                  </a:lnTo>
                  <a:lnTo>
                    <a:pt x="1135" y="921"/>
                  </a:lnTo>
                  <a:lnTo>
                    <a:pt x="1135" y="919"/>
                  </a:lnTo>
                  <a:lnTo>
                    <a:pt x="1133" y="921"/>
                  </a:lnTo>
                  <a:lnTo>
                    <a:pt x="1133" y="919"/>
                  </a:lnTo>
                  <a:lnTo>
                    <a:pt x="1133" y="918"/>
                  </a:lnTo>
                  <a:lnTo>
                    <a:pt x="1135" y="918"/>
                  </a:lnTo>
                  <a:lnTo>
                    <a:pt x="1136" y="918"/>
                  </a:lnTo>
                  <a:lnTo>
                    <a:pt x="1138" y="916"/>
                  </a:lnTo>
                  <a:lnTo>
                    <a:pt x="1138" y="914"/>
                  </a:lnTo>
                  <a:lnTo>
                    <a:pt x="1138" y="913"/>
                  </a:lnTo>
                  <a:lnTo>
                    <a:pt x="1136" y="911"/>
                  </a:lnTo>
                  <a:lnTo>
                    <a:pt x="1135" y="911"/>
                  </a:lnTo>
                  <a:lnTo>
                    <a:pt x="1135" y="910"/>
                  </a:lnTo>
                  <a:lnTo>
                    <a:pt x="1136" y="911"/>
                  </a:lnTo>
                  <a:lnTo>
                    <a:pt x="1136" y="910"/>
                  </a:lnTo>
                  <a:lnTo>
                    <a:pt x="1138" y="910"/>
                  </a:lnTo>
                  <a:lnTo>
                    <a:pt x="1138" y="911"/>
                  </a:lnTo>
                  <a:lnTo>
                    <a:pt x="1140" y="910"/>
                  </a:lnTo>
                  <a:lnTo>
                    <a:pt x="1140" y="911"/>
                  </a:lnTo>
                  <a:lnTo>
                    <a:pt x="1141" y="911"/>
                  </a:lnTo>
                  <a:lnTo>
                    <a:pt x="1143" y="911"/>
                  </a:lnTo>
                  <a:lnTo>
                    <a:pt x="1145" y="911"/>
                  </a:lnTo>
                  <a:lnTo>
                    <a:pt x="1145" y="910"/>
                  </a:lnTo>
                  <a:lnTo>
                    <a:pt x="1146" y="910"/>
                  </a:lnTo>
                  <a:lnTo>
                    <a:pt x="1146" y="908"/>
                  </a:lnTo>
                  <a:lnTo>
                    <a:pt x="1145" y="910"/>
                  </a:lnTo>
                  <a:lnTo>
                    <a:pt x="1145" y="908"/>
                  </a:lnTo>
                  <a:lnTo>
                    <a:pt x="1146" y="908"/>
                  </a:lnTo>
                  <a:lnTo>
                    <a:pt x="1145" y="906"/>
                  </a:lnTo>
                  <a:lnTo>
                    <a:pt x="1143" y="906"/>
                  </a:lnTo>
                  <a:lnTo>
                    <a:pt x="1140" y="908"/>
                  </a:lnTo>
                  <a:lnTo>
                    <a:pt x="1140" y="910"/>
                  </a:lnTo>
                  <a:lnTo>
                    <a:pt x="1140" y="908"/>
                  </a:lnTo>
                  <a:lnTo>
                    <a:pt x="1140" y="906"/>
                  </a:lnTo>
                  <a:lnTo>
                    <a:pt x="1138" y="906"/>
                  </a:lnTo>
                  <a:lnTo>
                    <a:pt x="1136" y="906"/>
                  </a:lnTo>
                  <a:lnTo>
                    <a:pt x="1136" y="908"/>
                  </a:lnTo>
                  <a:lnTo>
                    <a:pt x="1135" y="908"/>
                  </a:lnTo>
                  <a:lnTo>
                    <a:pt x="1135" y="910"/>
                  </a:lnTo>
                  <a:lnTo>
                    <a:pt x="1135" y="911"/>
                  </a:lnTo>
                  <a:lnTo>
                    <a:pt x="1135" y="910"/>
                  </a:lnTo>
                  <a:lnTo>
                    <a:pt x="1133" y="910"/>
                  </a:lnTo>
                  <a:lnTo>
                    <a:pt x="1133" y="911"/>
                  </a:lnTo>
                  <a:lnTo>
                    <a:pt x="1133" y="910"/>
                  </a:lnTo>
                  <a:lnTo>
                    <a:pt x="1133" y="911"/>
                  </a:lnTo>
                  <a:lnTo>
                    <a:pt x="1133" y="910"/>
                  </a:lnTo>
                  <a:lnTo>
                    <a:pt x="1133" y="911"/>
                  </a:lnTo>
                  <a:lnTo>
                    <a:pt x="1132" y="911"/>
                  </a:lnTo>
                  <a:lnTo>
                    <a:pt x="1130" y="911"/>
                  </a:lnTo>
                  <a:lnTo>
                    <a:pt x="1130" y="910"/>
                  </a:lnTo>
                  <a:lnTo>
                    <a:pt x="1130" y="908"/>
                  </a:lnTo>
                  <a:lnTo>
                    <a:pt x="1128" y="908"/>
                  </a:lnTo>
                  <a:lnTo>
                    <a:pt x="1127" y="908"/>
                  </a:lnTo>
                  <a:lnTo>
                    <a:pt x="1128" y="908"/>
                  </a:lnTo>
                  <a:lnTo>
                    <a:pt x="1128" y="906"/>
                  </a:lnTo>
                  <a:lnTo>
                    <a:pt x="1127" y="908"/>
                  </a:lnTo>
                  <a:lnTo>
                    <a:pt x="1125" y="908"/>
                  </a:lnTo>
                  <a:lnTo>
                    <a:pt x="1127" y="908"/>
                  </a:lnTo>
                  <a:lnTo>
                    <a:pt x="1127" y="906"/>
                  </a:lnTo>
                  <a:lnTo>
                    <a:pt x="1123" y="906"/>
                  </a:lnTo>
                  <a:lnTo>
                    <a:pt x="1122" y="905"/>
                  </a:lnTo>
                  <a:lnTo>
                    <a:pt x="1120" y="906"/>
                  </a:lnTo>
                  <a:lnTo>
                    <a:pt x="1117" y="906"/>
                  </a:lnTo>
                  <a:lnTo>
                    <a:pt x="1112" y="908"/>
                  </a:lnTo>
                  <a:lnTo>
                    <a:pt x="1110" y="910"/>
                  </a:lnTo>
                  <a:lnTo>
                    <a:pt x="1109" y="910"/>
                  </a:lnTo>
                  <a:lnTo>
                    <a:pt x="1109" y="911"/>
                  </a:lnTo>
                  <a:lnTo>
                    <a:pt x="1104" y="914"/>
                  </a:lnTo>
                  <a:lnTo>
                    <a:pt x="1101" y="918"/>
                  </a:lnTo>
                  <a:lnTo>
                    <a:pt x="1101" y="919"/>
                  </a:lnTo>
                  <a:lnTo>
                    <a:pt x="1099" y="921"/>
                  </a:lnTo>
                  <a:lnTo>
                    <a:pt x="1097" y="923"/>
                  </a:lnTo>
                  <a:lnTo>
                    <a:pt x="1097" y="924"/>
                  </a:lnTo>
                  <a:lnTo>
                    <a:pt x="1096" y="927"/>
                  </a:lnTo>
                  <a:lnTo>
                    <a:pt x="1094" y="929"/>
                  </a:lnTo>
                  <a:lnTo>
                    <a:pt x="1094" y="931"/>
                  </a:lnTo>
                  <a:lnTo>
                    <a:pt x="1093" y="934"/>
                  </a:lnTo>
                  <a:lnTo>
                    <a:pt x="1091" y="936"/>
                  </a:lnTo>
                  <a:lnTo>
                    <a:pt x="1091" y="937"/>
                  </a:lnTo>
                  <a:lnTo>
                    <a:pt x="1089" y="939"/>
                  </a:lnTo>
                  <a:lnTo>
                    <a:pt x="1088" y="942"/>
                  </a:lnTo>
                  <a:lnTo>
                    <a:pt x="1086" y="947"/>
                  </a:lnTo>
                  <a:lnTo>
                    <a:pt x="1084" y="950"/>
                  </a:lnTo>
                  <a:lnTo>
                    <a:pt x="1084" y="952"/>
                  </a:lnTo>
                  <a:lnTo>
                    <a:pt x="1084" y="953"/>
                  </a:lnTo>
                  <a:lnTo>
                    <a:pt x="1084" y="952"/>
                  </a:lnTo>
                  <a:lnTo>
                    <a:pt x="1084" y="953"/>
                  </a:lnTo>
                  <a:lnTo>
                    <a:pt x="1083" y="953"/>
                  </a:lnTo>
                  <a:lnTo>
                    <a:pt x="1083" y="955"/>
                  </a:lnTo>
                  <a:lnTo>
                    <a:pt x="1084" y="953"/>
                  </a:lnTo>
                  <a:lnTo>
                    <a:pt x="1084" y="955"/>
                  </a:lnTo>
                  <a:lnTo>
                    <a:pt x="1083" y="957"/>
                  </a:lnTo>
                  <a:lnTo>
                    <a:pt x="1081" y="958"/>
                  </a:lnTo>
                  <a:lnTo>
                    <a:pt x="1081" y="960"/>
                  </a:lnTo>
                  <a:lnTo>
                    <a:pt x="1080" y="963"/>
                  </a:lnTo>
                  <a:lnTo>
                    <a:pt x="1078" y="965"/>
                  </a:lnTo>
                  <a:lnTo>
                    <a:pt x="1076" y="966"/>
                  </a:lnTo>
                  <a:lnTo>
                    <a:pt x="1075" y="966"/>
                  </a:lnTo>
                  <a:lnTo>
                    <a:pt x="1075" y="968"/>
                  </a:lnTo>
                  <a:lnTo>
                    <a:pt x="1071" y="971"/>
                  </a:lnTo>
                  <a:lnTo>
                    <a:pt x="1071" y="973"/>
                  </a:lnTo>
                  <a:lnTo>
                    <a:pt x="1071" y="975"/>
                  </a:lnTo>
                  <a:lnTo>
                    <a:pt x="1071" y="976"/>
                  </a:lnTo>
                  <a:lnTo>
                    <a:pt x="1071" y="978"/>
                  </a:lnTo>
                  <a:lnTo>
                    <a:pt x="1071" y="980"/>
                  </a:lnTo>
                  <a:lnTo>
                    <a:pt x="1073" y="981"/>
                  </a:lnTo>
                  <a:lnTo>
                    <a:pt x="1073" y="983"/>
                  </a:lnTo>
                  <a:lnTo>
                    <a:pt x="1073" y="984"/>
                  </a:lnTo>
                  <a:lnTo>
                    <a:pt x="1073" y="986"/>
                  </a:lnTo>
                  <a:lnTo>
                    <a:pt x="1075" y="988"/>
                  </a:lnTo>
                  <a:lnTo>
                    <a:pt x="1076" y="989"/>
                  </a:lnTo>
                  <a:lnTo>
                    <a:pt x="1075" y="991"/>
                  </a:lnTo>
                  <a:lnTo>
                    <a:pt x="1073" y="994"/>
                  </a:lnTo>
                  <a:lnTo>
                    <a:pt x="1073" y="996"/>
                  </a:lnTo>
                  <a:lnTo>
                    <a:pt x="1071" y="997"/>
                  </a:lnTo>
                  <a:lnTo>
                    <a:pt x="1070" y="997"/>
                  </a:lnTo>
                  <a:lnTo>
                    <a:pt x="1070" y="999"/>
                  </a:lnTo>
                  <a:lnTo>
                    <a:pt x="1067" y="1002"/>
                  </a:lnTo>
                  <a:lnTo>
                    <a:pt x="1067" y="1006"/>
                  </a:lnTo>
                  <a:lnTo>
                    <a:pt x="1065" y="1006"/>
                  </a:lnTo>
                  <a:lnTo>
                    <a:pt x="1065" y="1007"/>
                  </a:lnTo>
                  <a:lnTo>
                    <a:pt x="1063" y="1009"/>
                  </a:lnTo>
                  <a:lnTo>
                    <a:pt x="1063" y="1010"/>
                  </a:lnTo>
                  <a:lnTo>
                    <a:pt x="1062" y="1012"/>
                  </a:lnTo>
                  <a:lnTo>
                    <a:pt x="1062" y="1014"/>
                  </a:lnTo>
                  <a:lnTo>
                    <a:pt x="1062" y="1015"/>
                  </a:lnTo>
                  <a:lnTo>
                    <a:pt x="1062" y="1017"/>
                  </a:lnTo>
                  <a:lnTo>
                    <a:pt x="1062" y="1020"/>
                  </a:lnTo>
                  <a:lnTo>
                    <a:pt x="1063" y="1020"/>
                  </a:lnTo>
                  <a:lnTo>
                    <a:pt x="1065" y="1023"/>
                  </a:lnTo>
                  <a:lnTo>
                    <a:pt x="1067" y="1023"/>
                  </a:lnTo>
                  <a:lnTo>
                    <a:pt x="1067" y="1027"/>
                  </a:lnTo>
                  <a:lnTo>
                    <a:pt x="1067" y="1030"/>
                  </a:lnTo>
                  <a:lnTo>
                    <a:pt x="1067" y="1032"/>
                  </a:lnTo>
                  <a:lnTo>
                    <a:pt x="1068" y="1032"/>
                  </a:lnTo>
                  <a:lnTo>
                    <a:pt x="1067" y="1032"/>
                  </a:lnTo>
                  <a:lnTo>
                    <a:pt x="1067" y="1033"/>
                  </a:lnTo>
                  <a:lnTo>
                    <a:pt x="1068" y="1033"/>
                  </a:lnTo>
                  <a:lnTo>
                    <a:pt x="1068" y="1032"/>
                  </a:lnTo>
                  <a:lnTo>
                    <a:pt x="1068" y="1033"/>
                  </a:lnTo>
                  <a:lnTo>
                    <a:pt x="1071" y="1035"/>
                  </a:lnTo>
                  <a:lnTo>
                    <a:pt x="1073" y="1036"/>
                  </a:lnTo>
                  <a:lnTo>
                    <a:pt x="1076" y="1038"/>
                  </a:lnTo>
                  <a:lnTo>
                    <a:pt x="1078" y="1038"/>
                  </a:lnTo>
                  <a:lnTo>
                    <a:pt x="1080" y="1038"/>
                  </a:lnTo>
                  <a:lnTo>
                    <a:pt x="1084" y="1038"/>
                  </a:lnTo>
                  <a:lnTo>
                    <a:pt x="1086" y="1038"/>
                  </a:lnTo>
                  <a:lnTo>
                    <a:pt x="1091" y="1038"/>
                  </a:lnTo>
                  <a:lnTo>
                    <a:pt x="1094" y="1036"/>
                  </a:lnTo>
                  <a:lnTo>
                    <a:pt x="1096" y="1036"/>
                  </a:lnTo>
                  <a:lnTo>
                    <a:pt x="1097" y="1038"/>
                  </a:lnTo>
                  <a:lnTo>
                    <a:pt x="1101" y="1040"/>
                  </a:lnTo>
                  <a:lnTo>
                    <a:pt x="1101" y="1041"/>
                  </a:lnTo>
                  <a:lnTo>
                    <a:pt x="1102" y="1043"/>
                  </a:lnTo>
                  <a:lnTo>
                    <a:pt x="1102" y="1045"/>
                  </a:lnTo>
                  <a:lnTo>
                    <a:pt x="1104" y="1045"/>
                  </a:lnTo>
                  <a:lnTo>
                    <a:pt x="1104" y="1046"/>
                  </a:lnTo>
                  <a:lnTo>
                    <a:pt x="1106" y="1046"/>
                  </a:lnTo>
                  <a:lnTo>
                    <a:pt x="1107" y="1048"/>
                  </a:lnTo>
                  <a:lnTo>
                    <a:pt x="1110" y="1049"/>
                  </a:lnTo>
                  <a:lnTo>
                    <a:pt x="1112" y="1049"/>
                  </a:lnTo>
                  <a:lnTo>
                    <a:pt x="1114" y="1051"/>
                  </a:lnTo>
                  <a:lnTo>
                    <a:pt x="1115" y="1051"/>
                  </a:lnTo>
                  <a:lnTo>
                    <a:pt x="1117" y="1053"/>
                  </a:lnTo>
                  <a:lnTo>
                    <a:pt x="1119" y="1053"/>
                  </a:lnTo>
                  <a:lnTo>
                    <a:pt x="1123" y="1053"/>
                  </a:lnTo>
                  <a:lnTo>
                    <a:pt x="1125" y="1054"/>
                  </a:lnTo>
                  <a:lnTo>
                    <a:pt x="1127" y="1058"/>
                  </a:lnTo>
                  <a:lnTo>
                    <a:pt x="1128" y="1059"/>
                  </a:lnTo>
                  <a:lnTo>
                    <a:pt x="1132" y="1062"/>
                  </a:lnTo>
                  <a:lnTo>
                    <a:pt x="1135" y="1062"/>
                  </a:lnTo>
                  <a:lnTo>
                    <a:pt x="1136" y="1064"/>
                  </a:lnTo>
                  <a:lnTo>
                    <a:pt x="1138" y="1064"/>
                  </a:lnTo>
                  <a:lnTo>
                    <a:pt x="1140" y="1064"/>
                  </a:lnTo>
                  <a:lnTo>
                    <a:pt x="1140" y="1066"/>
                  </a:lnTo>
                  <a:lnTo>
                    <a:pt x="1138" y="1067"/>
                  </a:lnTo>
                  <a:lnTo>
                    <a:pt x="1138" y="1071"/>
                  </a:lnTo>
                  <a:lnTo>
                    <a:pt x="1136" y="1077"/>
                  </a:lnTo>
                  <a:lnTo>
                    <a:pt x="1136" y="1080"/>
                  </a:lnTo>
                  <a:lnTo>
                    <a:pt x="1136" y="1084"/>
                  </a:lnTo>
                  <a:lnTo>
                    <a:pt x="1136" y="1085"/>
                  </a:lnTo>
                  <a:lnTo>
                    <a:pt x="1136" y="1087"/>
                  </a:lnTo>
                  <a:lnTo>
                    <a:pt x="1138" y="1087"/>
                  </a:lnTo>
                  <a:lnTo>
                    <a:pt x="1138" y="1088"/>
                  </a:lnTo>
                  <a:lnTo>
                    <a:pt x="1140" y="1088"/>
                  </a:lnTo>
                  <a:lnTo>
                    <a:pt x="1141" y="1090"/>
                  </a:lnTo>
                  <a:lnTo>
                    <a:pt x="1141" y="1092"/>
                  </a:lnTo>
                  <a:lnTo>
                    <a:pt x="1141" y="1093"/>
                  </a:lnTo>
                  <a:lnTo>
                    <a:pt x="1140" y="1098"/>
                  </a:lnTo>
                  <a:lnTo>
                    <a:pt x="1140" y="1101"/>
                  </a:lnTo>
                  <a:lnTo>
                    <a:pt x="1138" y="1105"/>
                  </a:lnTo>
                  <a:lnTo>
                    <a:pt x="1140" y="1108"/>
                  </a:lnTo>
                  <a:lnTo>
                    <a:pt x="1141" y="1108"/>
                  </a:lnTo>
                  <a:lnTo>
                    <a:pt x="1140" y="1108"/>
                  </a:lnTo>
                  <a:lnTo>
                    <a:pt x="1140" y="1110"/>
                  </a:lnTo>
                  <a:lnTo>
                    <a:pt x="1141" y="1110"/>
                  </a:lnTo>
                  <a:lnTo>
                    <a:pt x="1141" y="1108"/>
                  </a:lnTo>
                  <a:lnTo>
                    <a:pt x="1141" y="1110"/>
                  </a:lnTo>
                  <a:lnTo>
                    <a:pt x="1143" y="1110"/>
                  </a:lnTo>
                  <a:lnTo>
                    <a:pt x="1141" y="1110"/>
                  </a:lnTo>
                  <a:lnTo>
                    <a:pt x="1141" y="1111"/>
                  </a:lnTo>
                  <a:lnTo>
                    <a:pt x="1143" y="1113"/>
                  </a:lnTo>
                  <a:lnTo>
                    <a:pt x="1143" y="1114"/>
                  </a:lnTo>
                  <a:lnTo>
                    <a:pt x="1145" y="1114"/>
                  </a:lnTo>
                  <a:lnTo>
                    <a:pt x="1146" y="1116"/>
                  </a:lnTo>
                  <a:lnTo>
                    <a:pt x="1148" y="1116"/>
                  </a:lnTo>
                  <a:lnTo>
                    <a:pt x="1150" y="1116"/>
                  </a:lnTo>
                  <a:lnTo>
                    <a:pt x="1151" y="1116"/>
                  </a:lnTo>
                  <a:lnTo>
                    <a:pt x="1151" y="1118"/>
                  </a:lnTo>
                  <a:lnTo>
                    <a:pt x="1150" y="1118"/>
                  </a:lnTo>
                  <a:lnTo>
                    <a:pt x="1148" y="1118"/>
                  </a:lnTo>
                  <a:lnTo>
                    <a:pt x="1148" y="1119"/>
                  </a:lnTo>
                  <a:lnTo>
                    <a:pt x="1146" y="1121"/>
                  </a:lnTo>
                  <a:lnTo>
                    <a:pt x="1146" y="1123"/>
                  </a:lnTo>
                  <a:lnTo>
                    <a:pt x="1146" y="1124"/>
                  </a:lnTo>
                  <a:lnTo>
                    <a:pt x="1146" y="1126"/>
                  </a:lnTo>
                  <a:lnTo>
                    <a:pt x="1148" y="1126"/>
                  </a:lnTo>
                  <a:lnTo>
                    <a:pt x="1148" y="1128"/>
                  </a:lnTo>
                  <a:lnTo>
                    <a:pt x="1146" y="1128"/>
                  </a:lnTo>
                  <a:lnTo>
                    <a:pt x="1148" y="1128"/>
                  </a:lnTo>
                  <a:lnTo>
                    <a:pt x="1146" y="1128"/>
                  </a:lnTo>
                  <a:lnTo>
                    <a:pt x="1145" y="1129"/>
                  </a:lnTo>
                  <a:lnTo>
                    <a:pt x="1145" y="1131"/>
                  </a:lnTo>
                  <a:lnTo>
                    <a:pt x="1143" y="1132"/>
                  </a:lnTo>
                  <a:lnTo>
                    <a:pt x="1141" y="1132"/>
                  </a:lnTo>
                  <a:lnTo>
                    <a:pt x="1141" y="1134"/>
                  </a:lnTo>
                  <a:lnTo>
                    <a:pt x="1140" y="1134"/>
                  </a:lnTo>
                  <a:lnTo>
                    <a:pt x="1140" y="1136"/>
                  </a:lnTo>
                  <a:lnTo>
                    <a:pt x="1140" y="1137"/>
                  </a:lnTo>
                  <a:lnTo>
                    <a:pt x="1140" y="1136"/>
                  </a:lnTo>
                  <a:lnTo>
                    <a:pt x="1140" y="1134"/>
                  </a:lnTo>
                  <a:lnTo>
                    <a:pt x="1138" y="1134"/>
                  </a:lnTo>
                  <a:lnTo>
                    <a:pt x="1136" y="1134"/>
                  </a:lnTo>
                  <a:lnTo>
                    <a:pt x="1135" y="1134"/>
                  </a:lnTo>
                  <a:lnTo>
                    <a:pt x="1133" y="1134"/>
                  </a:lnTo>
                  <a:lnTo>
                    <a:pt x="1132" y="1134"/>
                  </a:lnTo>
                  <a:lnTo>
                    <a:pt x="1132" y="1136"/>
                  </a:lnTo>
                  <a:lnTo>
                    <a:pt x="1130" y="1136"/>
                  </a:lnTo>
                  <a:lnTo>
                    <a:pt x="1130" y="1134"/>
                  </a:lnTo>
                  <a:lnTo>
                    <a:pt x="1128" y="1134"/>
                  </a:lnTo>
                  <a:lnTo>
                    <a:pt x="1128" y="1132"/>
                  </a:lnTo>
                  <a:lnTo>
                    <a:pt x="1127" y="1131"/>
                  </a:lnTo>
                  <a:lnTo>
                    <a:pt x="1123" y="1131"/>
                  </a:lnTo>
                  <a:lnTo>
                    <a:pt x="1122" y="1132"/>
                  </a:lnTo>
                  <a:lnTo>
                    <a:pt x="1120" y="1132"/>
                  </a:lnTo>
                  <a:lnTo>
                    <a:pt x="1119" y="1132"/>
                  </a:lnTo>
                  <a:lnTo>
                    <a:pt x="1117" y="1134"/>
                  </a:lnTo>
                  <a:lnTo>
                    <a:pt x="1115" y="1134"/>
                  </a:lnTo>
                  <a:lnTo>
                    <a:pt x="1110" y="1136"/>
                  </a:lnTo>
                  <a:lnTo>
                    <a:pt x="1107" y="1137"/>
                  </a:lnTo>
                  <a:lnTo>
                    <a:pt x="1104" y="1139"/>
                  </a:lnTo>
                  <a:lnTo>
                    <a:pt x="1101" y="1141"/>
                  </a:lnTo>
                  <a:lnTo>
                    <a:pt x="1099" y="1144"/>
                  </a:lnTo>
                  <a:lnTo>
                    <a:pt x="1096" y="1145"/>
                  </a:lnTo>
                  <a:lnTo>
                    <a:pt x="1094" y="1147"/>
                  </a:lnTo>
                  <a:lnTo>
                    <a:pt x="1089" y="1150"/>
                  </a:lnTo>
                  <a:lnTo>
                    <a:pt x="1088" y="1150"/>
                  </a:lnTo>
                  <a:lnTo>
                    <a:pt x="1086" y="1154"/>
                  </a:lnTo>
                  <a:lnTo>
                    <a:pt x="1084" y="1155"/>
                  </a:lnTo>
                  <a:lnTo>
                    <a:pt x="1083" y="1158"/>
                  </a:lnTo>
                  <a:lnTo>
                    <a:pt x="1083" y="1160"/>
                  </a:lnTo>
                  <a:lnTo>
                    <a:pt x="1083" y="1162"/>
                  </a:lnTo>
                  <a:lnTo>
                    <a:pt x="1081" y="1162"/>
                  </a:lnTo>
                  <a:lnTo>
                    <a:pt x="1081" y="1163"/>
                  </a:lnTo>
                  <a:lnTo>
                    <a:pt x="1080" y="1167"/>
                  </a:lnTo>
                  <a:lnTo>
                    <a:pt x="1080" y="1168"/>
                  </a:lnTo>
                  <a:lnTo>
                    <a:pt x="1080" y="1170"/>
                  </a:lnTo>
                  <a:lnTo>
                    <a:pt x="1081" y="1170"/>
                  </a:lnTo>
                  <a:lnTo>
                    <a:pt x="1081" y="1171"/>
                  </a:lnTo>
                  <a:lnTo>
                    <a:pt x="1083" y="1171"/>
                  </a:lnTo>
                  <a:lnTo>
                    <a:pt x="1083" y="1173"/>
                  </a:lnTo>
                  <a:lnTo>
                    <a:pt x="1083" y="1176"/>
                  </a:lnTo>
                  <a:lnTo>
                    <a:pt x="1083" y="1178"/>
                  </a:lnTo>
                  <a:lnTo>
                    <a:pt x="1083" y="1181"/>
                  </a:lnTo>
                  <a:lnTo>
                    <a:pt x="1084" y="1183"/>
                  </a:lnTo>
                  <a:lnTo>
                    <a:pt x="1084" y="1188"/>
                  </a:lnTo>
                  <a:lnTo>
                    <a:pt x="1084" y="1193"/>
                  </a:lnTo>
                  <a:lnTo>
                    <a:pt x="1086" y="1194"/>
                  </a:lnTo>
                  <a:lnTo>
                    <a:pt x="1086" y="1196"/>
                  </a:lnTo>
                  <a:lnTo>
                    <a:pt x="1086" y="1197"/>
                  </a:lnTo>
                  <a:lnTo>
                    <a:pt x="1088" y="1202"/>
                  </a:lnTo>
                  <a:lnTo>
                    <a:pt x="1088" y="1204"/>
                  </a:lnTo>
                  <a:lnTo>
                    <a:pt x="1086" y="1207"/>
                  </a:lnTo>
                  <a:lnTo>
                    <a:pt x="1086" y="1209"/>
                  </a:lnTo>
                  <a:lnTo>
                    <a:pt x="1084" y="1212"/>
                  </a:lnTo>
                  <a:lnTo>
                    <a:pt x="1081" y="1214"/>
                  </a:lnTo>
                  <a:lnTo>
                    <a:pt x="1080" y="1217"/>
                  </a:lnTo>
                  <a:lnTo>
                    <a:pt x="1080" y="1219"/>
                  </a:lnTo>
                  <a:lnTo>
                    <a:pt x="1076" y="1220"/>
                  </a:lnTo>
                  <a:lnTo>
                    <a:pt x="1073" y="1222"/>
                  </a:lnTo>
                  <a:lnTo>
                    <a:pt x="1070" y="1223"/>
                  </a:lnTo>
                  <a:lnTo>
                    <a:pt x="1068" y="1225"/>
                  </a:lnTo>
                  <a:lnTo>
                    <a:pt x="1065" y="1227"/>
                  </a:lnTo>
                  <a:lnTo>
                    <a:pt x="1063" y="1227"/>
                  </a:lnTo>
                  <a:lnTo>
                    <a:pt x="1062" y="1228"/>
                  </a:lnTo>
                  <a:lnTo>
                    <a:pt x="1060" y="1228"/>
                  </a:lnTo>
                  <a:lnTo>
                    <a:pt x="1058" y="1230"/>
                  </a:lnTo>
                  <a:lnTo>
                    <a:pt x="1058" y="1232"/>
                  </a:lnTo>
                  <a:lnTo>
                    <a:pt x="1058" y="1233"/>
                  </a:lnTo>
                  <a:lnTo>
                    <a:pt x="1057" y="1235"/>
                  </a:lnTo>
                  <a:lnTo>
                    <a:pt x="1055" y="1236"/>
                  </a:lnTo>
                  <a:lnTo>
                    <a:pt x="1054" y="1238"/>
                  </a:lnTo>
                  <a:lnTo>
                    <a:pt x="1052" y="1241"/>
                  </a:lnTo>
                  <a:lnTo>
                    <a:pt x="1050" y="1243"/>
                  </a:lnTo>
                  <a:lnTo>
                    <a:pt x="1050" y="1245"/>
                  </a:lnTo>
                  <a:lnTo>
                    <a:pt x="1047" y="1249"/>
                  </a:lnTo>
                  <a:lnTo>
                    <a:pt x="1044" y="1251"/>
                  </a:lnTo>
                  <a:lnTo>
                    <a:pt x="1044" y="1253"/>
                  </a:lnTo>
                  <a:lnTo>
                    <a:pt x="1044" y="1254"/>
                  </a:lnTo>
                  <a:lnTo>
                    <a:pt x="1044" y="1258"/>
                  </a:lnTo>
                  <a:lnTo>
                    <a:pt x="1042" y="1261"/>
                  </a:lnTo>
                  <a:lnTo>
                    <a:pt x="1042" y="1262"/>
                  </a:lnTo>
                  <a:lnTo>
                    <a:pt x="1042" y="1264"/>
                  </a:lnTo>
                  <a:lnTo>
                    <a:pt x="1042" y="1266"/>
                  </a:lnTo>
                  <a:lnTo>
                    <a:pt x="1042" y="1267"/>
                  </a:lnTo>
                  <a:lnTo>
                    <a:pt x="1041" y="1272"/>
                  </a:lnTo>
                  <a:lnTo>
                    <a:pt x="1041" y="1274"/>
                  </a:lnTo>
                  <a:lnTo>
                    <a:pt x="1039" y="1276"/>
                  </a:lnTo>
                  <a:lnTo>
                    <a:pt x="1039" y="1277"/>
                  </a:lnTo>
                  <a:lnTo>
                    <a:pt x="1037" y="1279"/>
                  </a:lnTo>
                  <a:lnTo>
                    <a:pt x="1036" y="1282"/>
                  </a:lnTo>
                  <a:lnTo>
                    <a:pt x="1034" y="1284"/>
                  </a:lnTo>
                  <a:lnTo>
                    <a:pt x="1032" y="1284"/>
                  </a:lnTo>
                  <a:lnTo>
                    <a:pt x="1032" y="1285"/>
                  </a:lnTo>
                  <a:lnTo>
                    <a:pt x="1031" y="1284"/>
                  </a:lnTo>
                  <a:lnTo>
                    <a:pt x="1031" y="1285"/>
                  </a:lnTo>
                  <a:lnTo>
                    <a:pt x="1029" y="1285"/>
                  </a:lnTo>
                  <a:lnTo>
                    <a:pt x="1028" y="1285"/>
                  </a:lnTo>
                  <a:lnTo>
                    <a:pt x="1026" y="1285"/>
                  </a:lnTo>
                  <a:lnTo>
                    <a:pt x="1024" y="1285"/>
                  </a:lnTo>
                  <a:lnTo>
                    <a:pt x="1023" y="1285"/>
                  </a:lnTo>
                  <a:lnTo>
                    <a:pt x="1021" y="1285"/>
                  </a:lnTo>
                  <a:lnTo>
                    <a:pt x="1019" y="1285"/>
                  </a:lnTo>
                  <a:lnTo>
                    <a:pt x="1018" y="1284"/>
                  </a:lnTo>
                  <a:lnTo>
                    <a:pt x="1015" y="1285"/>
                  </a:lnTo>
                  <a:lnTo>
                    <a:pt x="1013" y="1285"/>
                  </a:lnTo>
                  <a:lnTo>
                    <a:pt x="1010" y="1287"/>
                  </a:lnTo>
                  <a:lnTo>
                    <a:pt x="1008" y="1287"/>
                  </a:lnTo>
                  <a:lnTo>
                    <a:pt x="1006" y="1287"/>
                  </a:lnTo>
                  <a:lnTo>
                    <a:pt x="1005" y="1287"/>
                  </a:lnTo>
                  <a:lnTo>
                    <a:pt x="1003" y="1287"/>
                  </a:lnTo>
                  <a:lnTo>
                    <a:pt x="1000" y="1287"/>
                  </a:lnTo>
                  <a:lnTo>
                    <a:pt x="998" y="1287"/>
                  </a:lnTo>
                  <a:lnTo>
                    <a:pt x="997" y="1287"/>
                  </a:lnTo>
                  <a:lnTo>
                    <a:pt x="997" y="1285"/>
                  </a:lnTo>
                  <a:lnTo>
                    <a:pt x="997" y="1287"/>
                  </a:lnTo>
                  <a:lnTo>
                    <a:pt x="995" y="1285"/>
                  </a:lnTo>
                  <a:lnTo>
                    <a:pt x="993" y="1285"/>
                  </a:lnTo>
                  <a:lnTo>
                    <a:pt x="993" y="1284"/>
                  </a:lnTo>
                  <a:lnTo>
                    <a:pt x="992" y="1284"/>
                  </a:lnTo>
                  <a:lnTo>
                    <a:pt x="990" y="1284"/>
                  </a:lnTo>
                  <a:lnTo>
                    <a:pt x="988" y="1282"/>
                  </a:lnTo>
                  <a:lnTo>
                    <a:pt x="988" y="1280"/>
                  </a:lnTo>
                  <a:lnTo>
                    <a:pt x="987" y="1280"/>
                  </a:lnTo>
                  <a:lnTo>
                    <a:pt x="987" y="1279"/>
                  </a:lnTo>
                  <a:lnTo>
                    <a:pt x="985" y="1277"/>
                  </a:lnTo>
                  <a:lnTo>
                    <a:pt x="985" y="1274"/>
                  </a:lnTo>
                  <a:lnTo>
                    <a:pt x="987" y="1272"/>
                  </a:lnTo>
                  <a:lnTo>
                    <a:pt x="987" y="1271"/>
                  </a:lnTo>
                  <a:lnTo>
                    <a:pt x="985" y="1269"/>
                  </a:lnTo>
                  <a:lnTo>
                    <a:pt x="985" y="1267"/>
                  </a:lnTo>
                  <a:lnTo>
                    <a:pt x="984" y="1266"/>
                  </a:lnTo>
                  <a:lnTo>
                    <a:pt x="984" y="1264"/>
                  </a:lnTo>
                  <a:lnTo>
                    <a:pt x="984" y="1262"/>
                  </a:lnTo>
                  <a:lnTo>
                    <a:pt x="984" y="1261"/>
                  </a:lnTo>
                  <a:lnTo>
                    <a:pt x="985" y="1261"/>
                  </a:lnTo>
                  <a:lnTo>
                    <a:pt x="985" y="1259"/>
                  </a:lnTo>
                  <a:lnTo>
                    <a:pt x="985" y="1258"/>
                  </a:lnTo>
                  <a:lnTo>
                    <a:pt x="985" y="1256"/>
                  </a:lnTo>
                  <a:lnTo>
                    <a:pt x="985" y="1254"/>
                  </a:lnTo>
                  <a:lnTo>
                    <a:pt x="984" y="1253"/>
                  </a:lnTo>
                  <a:lnTo>
                    <a:pt x="984" y="1251"/>
                  </a:lnTo>
                  <a:lnTo>
                    <a:pt x="982" y="1251"/>
                  </a:lnTo>
                  <a:lnTo>
                    <a:pt x="982" y="1249"/>
                  </a:lnTo>
                  <a:lnTo>
                    <a:pt x="982" y="1248"/>
                  </a:lnTo>
                  <a:lnTo>
                    <a:pt x="982" y="1246"/>
                  </a:lnTo>
                  <a:lnTo>
                    <a:pt x="982" y="1245"/>
                  </a:lnTo>
                  <a:lnTo>
                    <a:pt x="984" y="1245"/>
                  </a:lnTo>
                  <a:lnTo>
                    <a:pt x="987" y="1243"/>
                  </a:lnTo>
                  <a:lnTo>
                    <a:pt x="987" y="1241"/>
                  </a:lnTo>
                  <a:lnTo>
                    <a:pt x="988" y="1241"/>
                  </a:lnTo>
                  <a:lnTo>
                    <a:pt x="990" y="1240"/>
                  </a:lnTo>
                  <a:lnTo>
                    <a:pt x="990" y="1241"/>
                  </a:lnTo>
                  <a:lnTo>
                    <a:pt x="992" y="1240"/>
                  </a:lnTo>
                  <a:lnTo>
                    <a:pt x="993" y="1240"/>
                  </a:lnTo>
                  <a:lnTo>
                    <a:pt x="995" y="1240"/>
                  </a:lnTo>
                  <a:lnTo>
                    <a:pt x="997" y="1238"/>
                  </a:lnTo>
                  <a:lnTo>
                    <a:pt x="998" y="1236"/>
                  </a:lnTo>
                  <a:lnTo>
                    <a:pt x="1000" y="1236"/>
                  </a:lnTo>
                  <a:lnTo>
                    <a:pt x="1000" y="1235"/>
                  </a:lnTo>
                  <a:lnTo>
                    <a:pt x="1002" y="1233"/>
                  </a:lnTo>
                  <a:lnTo>
                    <a:pt x="1003" y="1232"/>
                  </a:lnTo>
                  <a:lnTo>
                    <a:pt x="1003" y="1230"/>
                  </a:lnTo>
                  <a:lnTo>
                    <a:pt x="1003" y="1228"/>
                  </a:lnTo>
                  <a:lnTo>
                    <a:pt x="1003" y="1227"/>
                  </a:lnTo>
                  <a:lnTo>
                    <a:pt x="1005" y="1225"/>
                  </a:lnTo>
                  <a:lnTo>
                    <a:pt x="1003" y="1225"/>
                  </a:lnTo>
                  <a:lnTo>
                    <a:pt x="1005" y="1223"/>
                  </a:lnTo>
                  <a:lnTo>
                    <a:pt x="1005" y="1222"/>
                  </a:lnTo>
                  <a:lnTo>
                    <a:pt x="1006" y="1222"/>
                  </a:lnTo>
                  <a:lnTo>
                    <a:pt x="1006" y="1220"/>
                  </a:lnTo>
                  <a:lnTo>
                    <a:pt x="1006" y="1219"/>
                  </a:lnTo>
                  <a:lnTo>
                    <a:pt x="1008" y="1214"/>
                  </a:lnTo>
                  <a:lnTo>
                    <a:pt x="1010" y="1212"/>
                  </a:lnTo>
                  <a:lnTo>
                    <a:pt x="1011" y="1212"/>
                  </a:lnTo>
                  <a:lnTo>
                    <a:pt x="1011" y="1210"/>
                  </a:lnTo>
                  <a:lnTo>
                    <a:pt x="1011" y="1209"/>
                  </a:lnTo>
                  <a:lnTo>
                    <a:pt x="1011" y="1207"/>
                  </a:lnTo>
                  <a:lnTo>
                    <a:pt x="1013" y="1207"/>
                  </a:lnTo>
                  <a:lnTo>
                    <a:pt x="1011" y="1207"/>
                  </a:lnTo>
                  <a:lnTo>
                    <a:pt x="1011" y="1209"/>
                  </a:lnTo>
                  <a:lnTo>
                    <a:pt x="1010" y="1210"/>
                  </a:lnTo>
                  <a:lnTo>
                    <a:pt x="1010" y="1212"/>
                  </a:lnTo>
                  <a:lnTo>
                    <a:pt x="1010" y="1210"/>
                  </a:lnTo>
                  <a:lnTo>
                    <a:pt x="1011" y="1207"/>
                  </a:lnTo>
                  <a:lnTo>
                    <a:pt x="1011" y="1206"/>
                  </a:lnTo>
                  <a:lnTo>
                    <a:pt x="1011" y="1204"/>
                  </a:lnTo>
                  <a:lnTo>
                    <a:pt x="1011" y="1202"/>
                  </a:lnTo>
                  <a:lnTo>
                    <a:pt x="1013" y="1199"/>
                  </a:lnTo>
                  <a:lnTo>
                    <a:pt x="1013" y="1197"/>
                  </a:lnTo>
                  <a:lnTo>
                    <a:pt x="1013" y="1196"/>
                  </a:lnTo>
                  <a:lnTo>
                    <a:pt x="1011" y="1196"/>
                  </a:lnTo>
                  <a:lnTo>
                    <a:pt x="1010" y="1194"/>
                  </a:lnTo>
                  <a:lnTo>
                    <a:pt x="1008" y="1193"/>
                  </a:lnTo>
                  <a:lnTo>
                    <a:pt x="1006" y="1191"/>
                  </a:lnTo>
                  <a:lnTo>
                    <a:pt x="1005" y="1191"/>
                  </a:lnTo>
                  <a:lnTo>
                    <a:pt x="1005" y="1189"/>
                  </a:lnTo>
                  <a:lnTo>
                    <a:pt x="1003" y="1189"/>
                  </a:lnTo>
                  <a:lnTo>
                    <a:pt x="1003" y="1188"/>
                  </a:lnTo>
                  <a:lnTo>
                    <a:pt x="1002" y="1188"/>
                  </a:lnTo>
                  <a:lnTo>
                    <a:pt x="1000" y="1188"/>
                  </a:lnTo>
                  <a:lnTo>
                    <a:pt x="1000" y="1186"/>
                  </a:lnTo>
                  <a:lnTo>
                    <a:pt x="1002" y="1184"/>
                  </a:lnTo>
                  <a:lnTo>
                    <a:pt x="1002" y="1183"/>
                  </a:lnTo>
                  <a:lnTo>
                    <a:pt x="1003" y="1181"/>
                  </a:lnTo>
                  <a:lnTo>
                    <a:pt x="1005" y="1180"/>
                  </a:lnTo>
                  <a:lnTo>
                    <a:pt x="1006" y="1180"/>
                  </a:lnTo>
                  <a:lnTo>
                    <a:pt x="1008" y="1178"/>
                  </a:lnTo>
                  <a:lnTo>
                    <a:pt x="1010" y="1178"/>
                  </a:lnTo>
                  <a:lnTo>
                    <a:pt x="1011" y="1176"/>
                  </a:lnTo>
                  <a:lnTo>
                    <a:pt x="1013" y="1176"/>
                  </a:lnTo>
                  <a:lnTo>
                    <a:pt x="1015" y="1175"/>
                  </a:lnTo>
                  <a:lnTo>
                    <a:pt x="1016" y="1173"/>
                  </a:lnTo>
                  <a:lnTo>
                    <a:pt x="1016" y="1171"/>
                  </a:lnTo>
                  <a:lnTo>
                    <a:pt x="1018" y="1171"/>
                  </a:lnTo>
                  <a:lnTo>
                    <a:pt x="1019" y="1171"/>
                  </a:lnTo>
                  <a:lnTo>
                    <a:pt x="1021" y="1170"/>
                  </a:lnTo>
                  <a:lnTo>
                    <a:pt x="1024" y="1170"/>
                  </a:lnTo>
                  <a:lnTo>
                    <a:pt x="1024" y="1171"/>
                  </a:lnTo>
                  <a:lnTo>
                    <a:pt x="1024" y="1170"/>
                  </a:lnTo>
                  <a:lnTo>
                    <a:pt x="1026" y="1171"/>
                  </a:lnTo>
                  <a:lnTo>
                    <a:pt x="1028" y="1171"/>
                  </a:lnTo>
                  <a:lnTo>
                    <a:pt x="1029" y="1171"/>
                  </a:lnTo>
                  <a:lnTo>
                    <a:pt x="1031" y="1171"/>
                  </a:lnTo>
                  <a:lnTo>
                    <a:pt x="1032" y="1171"/>
                  </a:lnTo>
                  <a:lnTo>
                    <a:pt x="1032" y="1170"/>
                  </a:lnTo>
                  <a:lnTo>
                    <a:pt x="1032" y="1171"/>
                  </a:lnTo>
                  <a:lnTo>
                    <a:pt x="1034" y="1171"/>
                  </a:lnTo>
                  <a:lnTo>
                    <a:pt x="1034" y="1170"/>
                  </a:lnTo>
                  <a:lnTo>
                    <a:pt x="1034" y="1171"/>
                  </a:lnTo>
                  <a:lnTo>
                    <a:pt x="1036" y="1170"/>
                  </a:lnTo>
                  <a:lnTo>
                    <a:pt x="1037" y="1168"/>
                  </a:lnTo>
                  <a:lnTo>
                    <a:pt x="1037" y="1167"/>
                  </a:lnTo>
                  <a:lnTo>
                    <a:pt x="1039" y="1167"/>
                  </a:lnTo>
                  <a:lnTo>
                    <a:pt x="1041" y="1165"/>
                  </a:lnTo>
                  <a:lnTo>
                    <a:pt x="1041" y="1162"/>
                  </a:lnTo>
                  <a:lnTo>
                    <a:pt x="1042" y="1158"/>
                  </a:lnTo>
                  <a:lnTo>
                    <a:pt x="1042" y="1157"/>
                  </a:lnTo>
                  <a:lnTo>
                    <a:pt x="1042" y="1155"/>
                  </a:lnTo>
                  <a:lnTo>
                    <a:pt x="1042" y="1154"/>
                  </a:lnTo>
                  <a:lnTo>
                    <a:pt x="1042" y="1152"/>
                  </a:lnTo>
                  <a:lnTo>
                    <a:pt x="1042" y="1149"/>
                  </a:lnTo>
                  <a:lnTo>
                    <a:pt x="1042" y="1147"/>
                  </a:lnTo>
                  <a:lnTo>
                    <a:pt x="1042" y="1144"/>
                  </a:lnTo>
                  <a:lnTo>
                    <a:pt x="1042" y="1142"/>
                  </a:lnTo>
                  <a:lnTo>
                    <a:pt x="1042" y="1141"/>
                  </a:lnTo>
                  <a:lnTo>
                    <a:pt x="1041" y="1141"/>
                  </a:lnTo>
                  <a:lnTo>
                    <a:pt x="1041" y="1139"/>
                  </a:lnTo>
                  <a:lnTo>
                    <a:pt x="1039" y="1139"/>
                  </a:lnTo>
                  <a:lnTo>
                    <a:pt x="1037" y="1139"/>
                  </a:lnTo>
                  <a:lnTo>
                    <a:pt x="1037" y="1137"/>
                  </a:lnTo>
                  <a:lnTo>
                    <a:pt x="1036" y="1137"/>
                  </a:lnTo>
                  <a:lnTo>
                    <a:pt x="1034" y="1137"/>
                  </a:lnTo>
                  <a:lnTo>
                    <a:pt x="1032" y="1136"/>
                  </a:lnTo>
                  <a:lnTo>
                    <a:pt x="1032" y="1134"/>
                  </a:lnTo>
                  <a:lnTo>
                    <a:pt x="1032" y="1132"/>
                  </a:lnTo>
                  <a:lnTo>
                    <a:pt x="1031" y="1131"/>
                  </a:lnTo>
                  <a:lnTo>
                    <a:pt x="1029" y="1129"/>
                  </a:lnTo>
                  <a:lnTo>
                    <a:pt x="1028" y="1128"/>
                  </a:lnTo>
                  <a:lnTo>
                    <a:pt x="1028" y="1126"/>
                  </a:lnTo>
                  <a:lnTo>
                    <a:pt x="1026" y="1124"/>
                  </a:lnTo>
                  <a:lnTo>
                    <a:pt x="1026" y="1121"/>
                  </a:lnTo>
                  <a:lnTo>
                    <a:pt x="1024" y="1119"/>
                  </a:lnTo>
                  <a:lnTo>
                    <a:pt x="1024" y="1118"/>
                  </a:lnTo>
                  <a:lnTo>
                    <a:pt x="1024" y="1116"/>
                  </a:lnTo>
                  <a:lnTo>
                    <a:pt x="1023" y="1113"/>
                  </a:lnTo>
                  <a:lnTo>
                    <a:pt x="1023" y="1111"/>
                  </a:lnTo>
                  <a:lnTo>
                    <a:pt x="1021" y="1110"/>
                  </a:lnTo>
                  <a:lnTo>
                    <a:pt x="1021" y="1108"/>
                  </a:lnTo>
                  <a:lnTo>
                    <a:pt x="1021" y="1105"/>
                  </a:lnTo>
                  <a:lnTo>
                    <a:pt x="1021" y="1103"/>
                  </a:lnTo>
                  <a:lnTo>
                    <a:pt x="1019" y="1097"/>
                  </a:lnTo>
                  <a:lnTo>
                    <a:pt x="1019" y="1093"/>
                  </a:lnTo>
                  <a:lnTo>
                    <a:pt x="1019" y="1092"/>
                  </a:lnTo>
                  <a:lnTo>
                    <a:pt x="1019" y="1090"/>
                  </a:lnTo>
                  <a:lnTo>
                    <a:pt x="1019" y="1088"/>
                  </a:lnTo>
                  <a:lnTo>
                    <a:pt x="1018" y="1088"/>
                  </a:lnTo>
                  <a:lnTo>
                    <a:pt x="1016" y="1082"/>
                  </a:lnTo>
                  <a:lnTo>
                    <a:pt x="1016" y="1080"/>
                  </a:lnTo>
                  <a:lnTo>
                    <a:pt x="1015" y="1079"/>
                  </a:lnTo>
                  <a:lnTo>
                    <a:pt x="1013" y="1074"/>
                  </a:lnTo>
                  <a:lnTo>
                    <a:pt x="1011" y="1072"/>
                  </a:lnTo>
                  <a:lnTo>
                    <a:pt x="1011" y="1071"/>
                  </a:lnTo>
                  <a:lnTo>
                    <a:pt x="1011" y="1069"/>
                  </a:lnTo>
                  <a:lnTo>
                    <a:pt x="1010" y="1069"/>
                  </a:lnTo>
                  <a:lnTo>
                    <a:pt x="1010" y="1067"/>
                  </a:lnTo>
                  <a:lnTo>
                    <a:pt x="1010" y="1066"/>
                  </a:lnTo>
                  <a:lnTo>
                    <a:pt x="1008" y="1066"/>
                  </a:lnTo>
                  <a:lnTo>
                    <a:pt x="1006" y="1064"/>
                  </a:lnTo>
                  <a:lnTo>
                    <a:pt x="1005" y="1061"/>
                  </a:lnTo>
                  <a:lnTo>
                    <a:pt x="1003" y="1058"/>
                  </a:lnTo>
                  <a:lnTo>
                    <a:pt x="1002" y="1058"/>
                  </a:lnTo>
                  <a:lnTo>
                    <a:pt x="1000" y="1056"/>
                  </a:lnTo>
                  <a:lnTo>
                    <a:pt x="998" y="1056"/>
                  </a:lnTo>
                  <a:lnTo>
                    <a:pt x="997" y="1056"/>
                  </a:lnTo>
                  <a:lnTo>
                    <a:pt x="997" y="1054"/>
                  </a:lnTo>
                  <a:lnTo>
                    <a:pt x="997" y="1053"/>
                  </a:lnTo>
                  <a:lnTo>
                    <a:pt x="995" y="1051"/>
                  </a:lnTo>
                  <a:lnTo>
                    <a:pt x="995" y="1049"/>
                  </a:lnTo>
                  <a:lnTo>
                    <a:pt x="995" y="1048"/>
                  </a:lnTo>
                  <a:lnTo>
                    <a:pt x="993" y="1045"/>
                  </a:lnTo>
                  <a:lnTo>
                    <a:pt x="992" y="1045"/>
                  </a:lnTo>
                  <a:lnTo>
                    <a:pt x="992" y="1043"/>
                  </a:lnTo>
                  <a:lnTo>
                    <a:pt x="992" y="1041"/>
                  </a:lnTo>
                  <a:lnTo>
                    <a:pt x="992" y="1040"/>
                  </a:lnTo>
                  <a:lnTo>
                    <a:pt x="990" y="1038"/>
                  </a:lnTo>
                  <a:lnTo>
                    <a:pt x="988" y="1038"/>
                  </a:lnTo>
                  <a:lnTo>
                    <a:pt x="988" y="1036"/>
                  </a:lnTo>
                  <a:lnTo>
                    <a:pt x="988" y="1033"/>
                  </a:lnTo>
                  <a:lnTo>
                    <a:pt x="987" y="1032"/>
                  </a:lnTo>
                  <a:lnTo>
                    <a:pt x="988" y="1032"/>
                  </a:lnTo>
                  <a:lnTo>
                    <a:pt x="987" y="1030"/>
                  </a:lnTo>
                  <a:lnTo>
                    <a:pt x="987" y="1028"/>
                  </a:lnTo>
                  <a:lnTo>
                    <a:pt x="985" y="1023"/>
                  </a:lnTo>
                  <a:lnTo>
                    <a:pt x="984" y="1019"/>
                  </a:lnTo>
                  <a:lnTo>
                    <a:pt x="984" y="1017"/>
                  </a:lnTo>
                  <a:lnTo>
                    <a:pt x="982" y="1017"/>
                  </a:lnTo>
                  <a:lnTo>
                    <a:pt x="984" y="1015"/>
                  </a:lnTo>
                  <a:lnTo>
                    <a:pt x="982" y="1015"/>
                  </a:lnTo>
                  <a:lnTo>
                    <a:pt x="982" y="1014"/>
                  </a:lnTo>
                  <a:lnTo>
                    <a:pt x="984" y="1014"/>
                  </a:lnTo>
                  <a:lnTo>
                    <a:pt x="984" y="1012"/>
                  </a:lnTo>
                  <a:lnTo>
                    <a:pt x="984" y="1010"/>
                  </a:lnTo>
                  <a:lnTo>
                    <a:pt x="982" y="1010"/>
                  </a:lnTo>
                  <a:lnTo>
                    <a:pt x="982" y="1009"/>
                  </a:lnTo>
                  <a:lnTo>
                    <a:pt x="984" y="1010"/>
                  </a:lnTo>
                  <a:lnTo>
                    <a:pt x="984" y="1009"/>
                  </a:lnTo>
                  <a:lnTo>
                    <a:pt x="982" y="1007"/>
                  </a:lnTo>
                  <a:lnTo>
                    <a:pt x="982" y="1006"/>
                  </a:lnTo>
                  <a:lnTo>
                    <a:pt x="980" y="1004"/>
                  </a:lnTo>
                  <a:lnTo>
                    <a:pt x="979" y="1002"/>
                  </a:lnTo>
                  <a:lnTo>
                    <a:pt x="979" y="1001"/>
                  </a:lnTo>
                  <a:lnTo>
                    <a:pt x="979" y="1002"/>
                  </a:lnTo>
                  <a:lnTo>
                    <a:pt x="977" y="1001"/>
                  </a:lnTo>
                  <a:lnTo>
                    <a:pt x="977" y="999"/>
                  </a:lnTo>
                  <a:lnTo>
                    <a:pt x="977" y="997"/>
                  </a:lnTo>
                  <a:lnTo>
                    <a:pt x="975" y="997"/>
                  </a:lnTo>
                  <a:lnTo>
                    <a:pt x="975" y="996"/>
                  </a:lnTo>
                  <a:lnTo>
                    <a:pt x="974" y="996"/>
                  </a:lnTo>
                  <a:lnTo>
                    <a:pt x="974" y="994"/>
                  </a:lnTo>
                  <a:lnTo>
                    <a:pt x="972" y="994"/>
                  </a:lnTo>
                  <a:lnTo>
                    <a:pt x="972" y="993"/>
                  </a:lnTo>
                  <a:lnTo>
                    <a:pt x="971" y="993"/>
                  </a:lnTo>
                  <a:lnTo>
                    <a:pt x="971" y="991"/>
                  </a:lnTo>
                  <a:lnTo>
                    <a:pt x="971" y="988"/>
                  </a:lnTo>
                  <a:lnTo>
                    <a:pt x="969" y="989"/>
                  </a:lnTo>
                  <a:lnTo>
                    <a:pt x="969" y="988"/>
                  </a:lnTo>
                  <a:lnTo>
                    <a:pt x="967" y="988"/>
                  </a:lnTo>
                  <a:lnTo>
                    <a:pt x="966" y="986"/>
                  </a:lnTo>
                  <a:lnTo>
                    <a:pt x="966" y="988"/>
                  </a:lnTo>
                  <a:lnTo>
                    <a:pt x="966" y="986"/>
                  </a:lnTo>
                  <a:lnTo>
                    <a:pt x="964" y="986"/>
                  </a:lnTo>
                  <a:lnTo>
                    <a:pt x="964" y="984"/>
                  </a:lnTo>
                  <a:lnTo>
                    <a:pt x="964" y="983"/>
                  </a:lnTo>
                  <a:lnTo>
                    <a:pt x="962" y="983"/>
                  </a:lnTo>
                  <a:lnTo>
                    <a:pt x="961" y="983"/>
                  </a:lnTo>
                  <a:lnTo>
                    <a:pt x="959" y="983"/>
                  </a:lnTo>
                  <a:lnTo>
                    <a:pt x="958" y="983"/>
                  </a:lnTo>
                  <a:lnTo>
                    <a:pt x="956" y="983"/>
                  </a:lnTo>
                  <a:lnTo>
                    <a:pt x="954" y="983"/>
                  </a:lnTo>
                  <a:lnTo>
                    <a:pt x="953" y="983"/>
                  </a:lnTo>
                  <a:lnTo>
                    <a:pt x="953" y="984"/>
                  </a:lnTo>
                  <a:lnTo>
                    <a:pt x="951" y="984"/>
                  </a:lnTo>
                  <a:lnTo>
                    <a:pt x="949" y="986"/>
                  </a:lnTo>
                  <a:lnTo>
                    <a:pt x="949" y="988"/>
                  </a:lnTo>
                  <a:lnTo>
                    <a:pt x="949" y="989"/>
                  </a:lnTo>
                  <a:lnTo>
                    <a:pt x="948" y="989"/>
                  </a:lnTo>
                  <a:lnTo>
                    <a:pt x="946" y="989"/>
                  </a:lnTo>
                  <a:lnTo>
                    <a:pt x="946" y="991"/>
                  </a:lnTo>
                  <a:lnTo>
                    <a:pt x="945" y="991"/>
                  </a:lnTo>
                  <a:lnTo>
                    <a:pt x="943" y="993"/>
                  </a:lnTo>
                  <a:lnTo>
                    <a:pt x="943" y="994"/>
                  </a:lnTo>
                  <a:lnTo>
                    <a:pt x="943" y="996"/>
                  </a:lnTo>
                  <a:lnTo>
                    <a:pt x="941" y="996"/>
                  </a:lnTo>
                  <a:lnTo>
                    <a:pt x="940" y="996"/>
                  </a:lnTo>
                  <a:lnTo>
                    <a:pt x="938" y="996"/>
                  </a:lnTo>
                  <a:lnTo>
                    <a:pt x="938" y="994"/>
                  </a:lnTo>
                  <a:lnTo>
                    <a:pt x="936" y="994"/>
                  </a:lnTo>
                  <a:lnTo>
                    <a:pt x="936" y="996"/>
                  </a:lnTo>
                  <a:lnTo>
                    <a:pt x="938" y="996"/>
                  </a:lnTo>
                  <a:lnTo>
                    <a:pt x="936" y="996"/>
                  </a:lnTo>
                  <a:lnTo>
                    <a:pt x="935" y="996"/>
                  </a:lnTo>
                  <a:lnTo>
                    <a:pt x="935" y="994"/>
                  </a:lnTo>
                  <a:lnTo>
                    <a:pt x="933" y="994"/>
                  </a:lnTo>
                  <a:lnTo>
                    <a:pt x="932" y="993"/>
                  </a:lnTo>
                  <a:lnTo>
                    <a:pt x="930" y="991"/>
                  </a:lnTo>
                  <a:lnTo>
                    <a:pt x="928" y="991"/>
                  </a:lnTo>
                  <a:lnTo>
                    <a:pt x="928" y="993"/>
                  </a:lnTo>
                  <a:lnTo>
                    <a:pt x="927" y="993"/>
                  </a:lnTo>
                  <a:lnTo>
                    <a:pt x="925" y="993"/>
                  </a:lnTo>
                  <a:lnTo>
                    <a:pt x="925" y="991"/>
                  </a:lnTo>
                  <a:lnTo>
                    <a:pt x="927" y="991"/>
                  </a:lnTo>
                  <a:lnTo>
                    <a:pt x="927" y="989"/>
                  </a:lnTo>
                  <a:lnTo>
                    <a:pt x="927" y="988"/>
                  </a:lnTo>
                  <a:lnTo>
                    <a:pt x="925" y="986"/>
                  </a:lnTo>
                  <a:lnTo>
                    <a:pt x="925" y="984"/>
                  </a:lnTo>
                  <a:lnTo>
                    <a:pt x="923" y="984"/>
                  </a:lnTo>
                  <a:lnTo>
                    <a:pt x="922" y="983"/>
                  </a:lnTo>
                  <a:lnTo>
                    <a:pt x="920" y="983"/>
                  </a:lnTo>
                  <a:lnTo>
                    <a:pt x="920" y="981"/>
                  </a:lnTo>
                  <a:lnTo>
                    <a:pt x="919" y="981"/>
                  </a:lnTo>
                  <a:lnTo>
                    <a:pt x="917" y="980"/>
                  </a:lnTo>
                  <a:lnTo>
                    <a:pt x="915" y="980"/>
                  </a:lnTo>
                  <a:lnTo>
                    <a:pt x="914" y="980"/>
                  </a:lnTo>
                  <a:lnTo>
                    <a:pt x="914" y="978"/>
                  </a:lnTo>
                  <a:lnTo>
                    <a:pt x="912" y="976"/>
                  </a:lnTo>
                  <a:lnTo>
                    <a:pt x="910" y="973"/>
                  </a:lnTo>
                  <a:lnTo>
                    <a:pt x="909" y="973"/>
                  </a:lnTo>
                  <a:lnTo>
                    <a:pt x="907" y="971"/>
                  </a:lnTo>
                  <a:lnTo>
                    <a:pt x="907" y="973"/>
                  </a:lnTo>
                  <a:lnTo>
                    <a:pt x="907" y="971"/>
                  </a:lnTo>
                  <a:lnTo>
                    <a:pt x="906" y="973"/>
                  </a:lnTo>
                  <a:lnTo>
                    <a:pt x="904" y="973"/>
                  </a:lnTo>
                  <a:lnTo>
                    <a:pt x="902" y="973"/>
                  </a:lnTo>
                  <a:lnTo>
                    <a:pt x="902" y="975"/>
                  </a:lnTo>
                  <a:lnTo>
                    <a:pt x="901" y="975"/>
                  </a:lnTo>
                  <a:lnTo>
                    <a:pt x="901" y="973"/>
                  </a:lnTo>
                  <a:lnTo>
                    <a:pt x="899" y="973"/>
                  </a:lnTo>
                  <a:lnTo>
                    <a:pt x="897" y="973"/>
                  </a:lnTo>
                  <a:lnTo>
                    <a:pt x="896" y="971"/>
                  </a:lnTo>
                  <a:lnTo>
                    <a:pt x="897" y="971"/>
                  </a:lnTo>
                  <a:lnTo>
                    <a:pt x="896" y="970"/>
                  </a:lnTo>
                  <a:lnTo>
                    <a:pt x="894" y="968"/>
                  </a:lnTo>
                  <a:lnTo>
                    <a:pt x="893" y="968"/>
                  </a:lnTo>
                  <a:lnTo>
                    <a:pt x="893" y="966"/>
                  </a:lnTo>
                  <a:lnTo>
                    <a:pt x="891" y="966"/>
                  </a:lnTo>
                  <a:lnTo>
                    <a:pt x="889" y="965"/>
                  </a:lnTo>
                  <a:lnTo>
                    <a:pt x="888" y="965"/>
                  </a:lnTo>
                  <a:lnTo>
                    <a:pt x="886" y="966"/>
                  </a:lnTo>
                  <a:lnTo>
                    <a:pt x="886" y="965"/>
                  </a:lnTo>
                  <a:lnTo>
                    <a:pt x="884" y="965"/>
                  </a:lnTo>
                  <a:lnTo>
                    <a:pt x="884" y="963"/>
                  </a:lnTo>
                  <a:lnTo>
                    <a:pt x="883" y="963"/>
                  </a:lnTo>
                  <a:lnTo>
                    <a:pt x="883" y="962"/>
                  </a:lnTo>
                  <a:lnTo>
                    <a:pt x="884" y="962"/>
                  </a:lnTo>
                  <a:lnTo>
                    <a:pt x="884" y="960"/>
                  </a:lnTo>
                  <a:lnTo>
                    <a:pt x="886" y="960"/>
                  </a:lnTo>
                  <a:lnTo>
                    <a:pt x="888" y="958"/>
                  </a:lnTo>
                  <a:lnTo>
                    <a:pt x="888" y="957"/>
                  </a:lnTo>
                  <a:lnTo>
                    <a:pt x="888" y="955"/>
                  </a:lnTo>
                  <a:lnTo>
                    <a:pt x="886" y="953"/>
                  </a:lnTo>
                  <a:lnTo>
                    <a:pt x="886" y="952"/>
                  </a:lnTo>
                  <a:lnTo>
                    <a:pt x="886" y="950"/>
                  </a:lnTo>
                  <a:lnTo>
                    <a:pt x="888" y="950"/>
                  </a:lnTo>
                  <a:lnTo>
                    <a:pt x="889" y="950"/>
                  </a:lnTo>
                  <a:lnTo>
                    <a:pt x="889" y="949"/>
                  </a:lnTo>
                  <a:lnTo>
                    <a:pt x="891" y="949"/>
                  </a:lnTo>
                  <a:lnTo>
                    <a:pt x="891" y="947"/>
                  </a:lnTo>
                  <a:lnTo>
                    <a:pt x="891" y="949"/>
                  </a:lnTo>
                  <a:lnTo>
                    <a:pt x="891" y="947"/>
                  </a:lnTo>
                  <a:lnTo>
                    <a:pt x="893" y="947"/>
                  </a:lnTo>
                  <a:lnTo>
                    <a:pt x="893" y="945"/>
                  </a:lnTo>
                  <a:lnTo>
                    <a:pt x="893" y="944"/>
                  </a:lnTo>
                  <a:lnTo>
                    <a:pt x="893" y="942"/>
                  </a:lnTo>
                  <a:lnTo>
                    <a:pt x="891" y="940"/>
                  </a:lnTo>
                  <a:lnTo>
                    <a:pt x="891" y="937"/>
                  </a:lnTo>
                  <a:lnTo>
                    <a:pt x="889" y="937"/>
                  </a:lnTo>
                  <a:lnTo>
                    <a:pt x="889" y="936"/>
                  </a:lnTo>
                  <a:lnTo>
                    <a:pt x="886" y="931"/>
                  </a:lnTo>
                  <a:lnTo>
                    <a:pt x="883" y="924"/>
                  </a:lnTo>
                  <a:lnTo>
                    <a:pt x="881" y="921"/>
                  </a:lnTo>
                  <a:lnTo>
                    <a:pt x="880" y="918"/>
                  </a:lnTo>
                  <a:lnTo>
                    <a:pt x="876" y="914"/>
                  </a:lnTo>
                  <a:lnTo>
                    <a:pt x="875" y="913"/>
                  </a:lnTo>
                  <a:lnTo>
                    <a:pt x="873" y="911"/>
                  </a:lnTo>
                  <a:lnTo>
                    <a:pt x="871" y="908"/>
                  </a:lnTo>
                  <a:lnTo>
                    <a:pt x="870" y="906"/>
                  </a:lnTo>
                  <a:lnTo>
                    <a:pt x="868" y="906"/>
                  </a:lnTo>
                  <a:lnTo>
                    <a:pt x="868" y="905"/>
                  </a:lnTo>
                  <a:lnTo>
                    <a:pt x="867" y="905"/>
                  </a:lnTo>
                  <a:lnTo>
                    <a:pt x="865" y="905"/>
                  </a:lnTo>
                  <a:lnTo>
                    <a:pt x="865" y="903"/>
                  </a:lnTo>
                  <a:lnTo>
                    <a:pt x="863" y="903"/>
                  </a:lnTo>
                  <a:lnTo>
                    <a:pt x="863" y="905"/>
                  </a:lnTo>
                  <a:lnTo>
                    <a:pt x="863" y="903"/>
                  </a:lnTo>
                  <a:lnTo>
                    <a:pt x="862" y="903"/>
                  </a:lnTo>
                  <a:lnTo>
                    <a:pt x="862" y="905"/>
                  </a:lnTo>
                  <a:lnTo>
                    <a:pt x="862" y="903"/>
                  </a:lnTo>
                  <a:lnTo>
                    <a:pt x="862" y="905"/>
                  </a:lnTo>
                  <a:lnTo>
                    <a:pt x="860" y="905"/>
                  </a:lnTo>
                  <a:lnTo>
                    <a:pt x="858" y="905"/>
                  </a:lnTo>
                  <a:lnTo>
                    <a:pt x="858" y="906"/>
                  </a:lnTo>
                  <a:lnTo>
                    <a:pt x="858" y="908"/>
                  </a:lnTo>
                  <a:lnTo>
                    <a:pt x="857" y="908"/>
                  </a:lnTo>
                  <a:lnTo>
                    <a:pt x="857" y="910"/>
                  </a:lnTo>
                  <a:lnTo>
                    <a:pt x="855" y="910"/>
                  </a:lnTo>
                  <a:lnTo>
                    <a:pt x="854" y="910"/>
                  </a:lnTo>
                  <a:lnTo>
                    <a:pt x="852" y="910"/>
                  </a:lnTo>
                  <a:lnTo>
                    <a:pt x="852" y="908"/>
                  </a:lnTo>
                  <a:lnTo>
                    <a:pt x="850" y="908"/>
                  </a:lnTo>
                  <a:lnTo>
                    <a:pt x="849" y="908"/>
                  </a:lnTo>
                  <a:lnTo>
                    <a:pt x="849" y="910"/>
                  </a:lnTo>
                  <a:lnTo>
                    <a:pt x="847" y="911"/>
                  </a:lnTo>
                  <a:lnTo>
                    <a:pt x="845" y="911"/>
                  </a:lnTo>
                  <a:lnTo>
                    <a:pt x="844" y="913"/>
                  </a:lnTo>
                  <a:lnTo>
                    <a:pt x="844" y="914"/>
                  </a:lnTo>
                  <a:lnTo>
                    <a:pt x="844" y="913"/>
                  </a:lnTo>
                  <a:lnTo>
                    <a:pt x="842" y="914"/>
                  </a:lnTo>
                  <a:lnTo>
                    <a:pt x="842" y="913"/>
                  </a:lnTo>
                  <a:lnTo>
                    <a:pt x="842" y="914"/>
                  </a:lnTo>
                  <a:lnTo>
                    <a:pt x="840" y="914"/>
                  </a:lnTo>
                  <a:lnTo>
                    <a:pt x="839" y="914"/>
                  </a:lnTo>
                  <a:lnTo>
                    <a:pt x="837" y="914"/>
                  </a:lnTo>
                  <a:lnTo>
                    <a:pt x="837" y="913"/>
                  </a:lnTo>
                  <a:lnTo>
                    <a:pt x="836" y="913"/>
                  </a:lnTo>
                  <a:lnTo>
                    <a:pt x="834" y="913"/>
                  </a:lnTo>
                  <a:lnTo>
                    <a:pt x="832" y="913"/>
                  </a:lnTo>
                  <a:lnTo>
                    <a:pt x="831" y="914"/>
                  </a:lnTo>
                  <a:lnTo>
                    <a:pt x="831" y="913"/>
                  </a:lnTo>
                  <a:lnTo>
                    <a:pt x="831" y="914"/>
                  </a:lnTo>
                  <a:lnTo>
                    <a:pt x="829" y="914"/>
                  </a:lnTo>
                  <a:lnTo>
                    <a:pt x="827" y="914"/>
                  </a:lnTo>
                  <a:lnTo>
                    <a:pt x="826" y="914"/>
                  </a:lnTo>
                  <a:lnTo>
                    <a:pt x="826" y="916"/>
                  </a:lnTo>
                  <a:lnTo>
                    <a:pt x="824" y="916"/>
                  </a:lnTo>
                  <a:lnTo>
                    <a:pt x="824" y="918"/>
                  </a:lnTo>
                  <a:lnTo>
                    <a:pt x="823" y="918"/>
                  </a:lnTo>
                  <a:lnTo>
                    <a:pt x="821" y="919"/>
                  </a:lnTo>
                  <a:lnTo>
                    <a:pt x="819" y="919"/>
                  </a:lnTo>
                  <a:lnTo>
                    <a:pt x="819" y="921"/>
                  </a:lnTo>
                  <a:lnTo>
                    <a:pt x="818" y="921"/>
                  </a:lnTo>
                  <a:lnTo>
                    <a:pt x="816" y="921"/>
                  </a:lnTo>
                  <a:lnTo>
                    <a:pt x="816" y="919"/>
                  </a:lnTo>
                  <a:lnTo>
                    <a:pt x="816" y="918"/>
                  </a:lnTo>
                  <a:lnTo>
                    <a:pt x="816" y="916"/>
                  </a:lnTo>
                  <a:lnTo>
                    <a:pt x="818" y="916"/>
                  </a:lnTo>
                  <a:lnTo>
                    <a:pt x="818" y="914"/>
                  </a:lnTo>
                  <a:lnTo>
                    <a:pt x="818" y="913"/>
                  </a:lnTo>
                  <a:lnTo>
                    <a:pt x="819" y="913"/>
                  </a:lnTo>
                  <a:lnTo>
                    <a:pt x="819" y="911"/>
                  </a:lnTo>
                  <a:lnTo>
                    <a:pt x="821" y="913"/>
                  </a:lnTo>
                  <a:lnTo>
                    <a:pt x="823" y="913"/>
                  </a:lnTo>
                  <a:lnTo>
                    <a:pt x="823" y="911"/>
                  </a:lnTo>
                  <a:lnTo>
                    <a:pt x="824" y="911"/>
                  </a:lnTo>
                  <a:lnTo>
                    <a:pt x="824" y="910"/>
                  </a:lnTo>
                  <a:lnTo>
                    <a:pt x="826" y="910"/>
                  </a:lnTo>
                  <a:lnTo>
                    <a:pt x="824" y="910"/>
                  </a:lnTo>
                  <a:lnTo>
                    <a:pt x="824" y="908"/>
                  </a:lnTo>
                  <a:lnTo>
                    <a:pt x="826" y="908"/>
                  </a:lnTo>
                  <a:lnTo>
                    <a:pt x="827" y="908"/>
                  </a:lnTo>
                  <a:lnTo>
                    <a:pt x="827" y="906"/>
                  </a:lnTo>
                  <a:lnTo>
                    <a:pt x="829" y="905"/>
                  </a:lnTo>
                  <a:lnTo>
                    <a:pt x="829" y="903"/>
                  </a:lnTo>
                  <a:lnTo>
                    <a:pt x="831" y="903"/>
                  </a:lnTo>
                  <a:lnTo>
                    <a:pt x="832" y="903"/>
                  </a:lnTo>
                  <a:lnTo>
                    <a:pt x="832" y="901"/>
                  </a:lnTo>
                  <a:lnTo>
                    <a:pt x="832" y="903"/>
                  </a:lnTo>
                  <a:lnTo>
                    <a:pt x="832" y="901"/>
                  </a:lnTo>
                  <a:lnTo>
                    <a:pt x="832" y="900"/>
                  </a:lnTo>
                  <a:lnTo>
                    <a:pt x="832" y="898"/>
                  </a:lnTo>
                  <a:lnTo>
                    <a:pt x="831" y="898"/>
                  </a:lnTo>
                  <a:lnTo>
                    <a:pt x="831" y="897"/>
                  </a:lnTo>
                  <a:lnTo>
                    <a:pt x="829" y="895"/>
                  </a:lnTo>
                  <a:lnTo>
                    <a:pt x="829" y="897"/>
                  </a:lnTo>
                  <a:lnTo>
                    <a:pt x="829" y="895"/>
                  </a:lnTo>
                  <a:lnTo>
                    <a:pt x="827" y="895"/>
                  </a:lnTo>
                  <a:lnTo>
                    <a:pt x="826" y="895"/>
                  </a:lnTo>
                  <a:lnTo>
                    <a:pt x="824" y="895"/>
                  </a:lnTo>
                  <a:lnTo>
                    <a:pt x="823" y="893"/>
                  </a:lnTo>
                  <a:lnTo>
                    <a:pt x="819" y="892"/>
                  </a:lnTo>
                  <a:lnTo>
                    <a:pt x="819" y="890"/>
                  </a:lnTo>
                  <a:lnTo>
                    <a:pt x="818" y="890"/>
                  </a:lnTo>
                  <a:lnTo>
                    <a:pt x="816" y="888"/>
                  </a:lnTo>
                  <a:lnTo>
                    <a:pt x="816" y="887"/>
                  </a:lnTo>
                  <a:lnTo>
                    <a:pt x="814" y="885"/>
                  </a:lnTo>
                  <a:lnTo>
                    <a:pt x="813" y="885"/>
                  </a:lnTo>
                  <a:lnTo>
                    <a:pt x="813" y="884"/>
                  </a:lnTo>
                  <a:lnTo>
                    <a:pt x="811" y="884"/>
                  </a:lnTo>
                  <a:lnTo>
                    <a:pt x="810" y="884"/>
                  </a:lnTo>
                  <a:lnTo>
                    <a:pt x="808" y="884"/>
                  </a:lnTo>
                  <a:lnTo>
                    <a:pt x="810" y="884"/>
                  </a:lnTo>
                  <a:lnTo>
                    <a:pt x="808" y="884"/>
                  </a:lnTo>
                  <a:lnTo>
                    <a:pt x="808" y="882"/>
                  </a:lnTo>
                  <a:lnTo>
                    <a:pt x="808" y="884"/>
                  </a:lnTo>
                  <a:lnTo>
                    <a:pt x="806" y="884"/>
                  </a:lnTo>
                  <a:lnTo>
                    <a:pt x="806" y="885"/>
                  </a:lnTo>
                  <a:lnTo>
                    <a:pt x="805" y="885"/>
                  </a:lnTo>
                  <a:lnTo>
                    <a:pt x="803" y="885"/>
                  </a:lnTo>
                  <a:lnTo>
                    <a:pt x="805" y="885"/>
                  </a:lnTo>
                  <a:lnTo>
                    <a:pt x="803" y="885"/>
                  </a:lnTo>
                  <a:lnTo>
                    <a:pt x="803" y="887"/>
                  </a:lnTo>
                  <a:lnTo>
                    <a:pt x="801" y="887"/>
                  </a:lnTo>
                  <a:lnTo>
                    <a:pt x="801" y="888"/>
                  </a:lnTo>
                  <a:lnTo>
                    <a:pt x="801" y="890"/>
                  </a:lnTo>
                  <a:lnTo>
                    <a:pt x="800" y="890"/>
                  </a:lnTo>
                  <a:lnTo>
                    <a:pt x="798" y="890"/>
                  </a:lnTo>
                  <a:lnTo>
                    <a:pt x="797" y="890"/>
                  </a:lnTo>
                  <a:lnTo>
                    <a:pt x="798" y="890"/>
                  </a:lnTo>
                  <a:lnTo>
                    <a:pt x="798" y="888"/>
                  </a:lnTo>
                  <a:lnTo>
                    <a:pt x="797" y="887"/>
                  </a:lnTo>
                  <a:lnTo>
                    <a:pt x="795" y="887"/>
                  </a:lnTo>
                  <a:lnTo>
                    <a:pt x="793" y="887"/>
                  </a:lnTo>
                  <a:lnTo>
                    <a:pt x="792" y="887"/>
                  </a:lnTo>
                  <a:lnTo>
                    <a:pt x="792" y="885"/>
                  </a:lnTo>
                  <a:lnTo>
                    <a:pt x="790" y="885"/>
                  </a:lnTo>
                  <a:lnTo>
                    <a:pt x="788" y="887"/>
                  </a:lnTo>
                  <a:lnTo>
                    <a:pt x="787" y="887"/>
                  </a:lnTo>
                  <a:lnTo>
                    <a:pt x="787" y="888"/>
                  </a:lnTo>
                  <a:lnTo>
                    <a:pt x="788" y="888"/>
                  </a:lnTo>
                  <a:lnTo>
                    <a:pt x="788" y="890"/>
                  </a:lnTo>
                  <a:lnTo>
                    <a:pt x="790" y="892"/>
                  </a:lnTo>
                  <a:lnTo>
                    <a:pt x="788" y="892"/>
                  </a:lnTo>
                  <a:lnTo>
                    <a:pt x="790" y="892"/>
                  </a:lnTo>
                  <a:lnTo>
                    <a:pt x="790" y="893"/>
                  </a:lnTo>
                  <a:lnTo>
                    <a:pt x="788" y="893"/>
                  </a:lnTo>
                  <a:lnTo>
                    <a:pt x="788" y="892"/>
                  </a:lnTo>
                  <a:lnTo>
                    <a:pt x="787" y="892"/>
                  </a:lnTo>
                  <a:lnTo>
                    <a:pt x="785" y="892"/>
                  </a:lnTo>
                  <a:lnTo>
                    <a:pt x="784" y="890"/>
                  </a:lnTo>
                  <a:lnTo>
                    <a:pt x="784" y="888"/>
                  </a:lnTo>
                  <a:lnTo>
                    <a:pt x="785" y="888"/>
                  </a:lnTo>
                  <a:lnTo>
                    <a:pt x="785" y="885"/>
                  </a:lnTo>
                  <a:lnTo>
                    <a:pt x="785" y="884"/>
                  </a:lnTo>
                  <a:lnTo>
                    <a:pt x="784" y="880"/>
                  </a:lnTo>
                  <a:lnTo>
                    <a:pt x="784" y="877"/>
                  </a:lnTo>
                  <a:lnTo>
                    <a:pt x="782" y="875"/>
                  </a:lnTo>
                  <a:lnTo>
                    <a:pt x="782" y="874"/>
                  </a:lnTo>
                  <a:lnTo>
                    <a:pt x="780" y="872"/>
                  </a:lnTo>
                  <a:lnTo>
                    <a:pt x="779" y="869"/>
                  </a:lnTo>
                  <a:lnTo>
                    <a:pt x="777" y="866"/>
                  </a:lnTo>
                  <a:lnTo>
                    <a:pt x="775" y="866"/>
                  </a:lnTo>
                  <a:lnTo>
                    <a:pt x="777" y="866"/>
                  </a:lnTo>
                  <a:lnTo>
                    <a:pt x="775" y="866"/>
                  </a:lnTo>
                  <a:lnTo>
                    <a:pt x="774" y="864"/>
                  </a:lnTo>
                  <a:lnTo>
                    <a:pt x="772" y="861"/>
                  </a:lnTo>
                  <a:lnTo>
                    <a:pt x="771" y="861"/>
                  </a:lnTo>
                  <a:lnTo>
                    <a:pt x="771" y="859"/>
                  </a:lnTo>
                  <a:lnTo>
                    <a:pt x="769" y="859"/>
                  </a:lnTo>
                  <a:lnTo>
                    <a:pt x="769" y="858"/>
                  </a:lnTo>
                  <a:lnTo>
                    <a:pt x="769" y="856"/>
                  </a:lnTo>
                  <a:lnTo>
                    <a:pt x="767" y="854"/>
                  </a:lnTo>
                  <a:lnTo>
                    <a:pt x="767" y="853"/>
                  </a:lnTo>
                  <a:lnTo>
                    <a:pt x="767" y="851"/>
                  </a:lnTo>
                  <a:lnTo>
                    <a:pt x="766" y="848"/>
                  </a:lnTo>
                  <a:lnTo>
                    <a:pt x="764" y="848"/>
                  </a:lnTo>
                  <a:lnTo>
                    <a:pt x="764" y="846"/>
                  </a:lnTo>
                  <a:lnTo>
                    <a:pt x="762" y="845"/>
                  </a:lnTo>
                  <a:lnTo>
                    <a:pt x="761" y="841"/>
                  </a:lnTo>
                  <a:lnTo>
                    <a:pt x="759" y="840"/>
                  </a:lnTo>
                  <a:lnTo>
                    <a:pt x="756" y="836"/>
                  </a:lnTo>
                  <a:lnTo>
                    <a:pt x="751" y="831"/>
                  </a:lnTo>
                  <a:lnTo>
                    <a:pt x="748" y="828"/>
                  </a:lnTo>
                  <a:lnTo>
                    <a:pt x="746" y="828"/>
                  </a:lnTo>
                  <a:lnTo>
                    <a:pt x="745" y="828"/>
                  </a:lnTo>
                  <a:lnTo>
                    <a:pt x="743" y="828"/>
                  </a:lnTo>
                  <a:lnTo>
                    <a:pt x="741" y="830"/>
                  </a:lnTo>
                  <a:lnTo>
                    <a:pt x="741" y="828"/>
                  </a:lnTo>
                  <a:lnTo>
                    <a:pt x="740" y="828"/>
                  </a:lnTo>
                  <a:lnTo>
                    <a:pt x="738" y="827"/>
                  </a:lnTo>
                  <a:lnTo>
                    <a:pt x="736" y="827"/>
                  </a:lnTo>
                  <a:lnTo>
                    <a:pt x="735" y="827"/>
                  </a:lnTo>
                  <a:lnTo>
                    <a:pt x="735" y="828"/>
                  </a:lnTo>
                  <a:lnTo>
                    <a:pt x="733" y="828"/>
                  </a:lnTo>
                  <a:lnTo>
                    <a:pt x="732" y="828"/>
                  </a:lnTo>
                  <a:lnTo>
                    <a:pt x="732" y="830"/>
                  </a:lnTo>
                  <a:lnTo>
                    <a:pt x="730" y="830"/>
                  </a:lnTo>
                  <a:lnTo>
                    <a:pt x="730" y="831"/>
                  </a:lnTo>
                  <a:lnTo>
                    <a:pt x="730" y="833"/>
                  </a:lnTo>
                  <a:lnTo>
                    <a:pt x="732" y="833"/>
                  </a:lnTo>
                  <a:lnTo>
                    <a:pt x="732" y="835"/>
                  </a:lnTo>
                  <a:lnTo>
                    <a:pt x="733" y="835"/>
                  </a:lnTo>
                  <a:lnTo>
                    <a:pt x="732" y="835"/>
                  </a:lnTo>
                  <a:lnTo>
                    <a:pt x="730" y="835"/>
                  </a:lnTo>
                  <a:lnTo>
                    <a:pt x="728" y="835"/>
                  </a:lnTo>
                  <a:lnTo>
                    <a:pt x="727" y="835"/>
                  </a:lnTo>
                  <a:lnTo>
                    <a:pt x="727" y="833"/>
                  </a:lnTo>
                  <a:lnTo>
                    <a:pt x="725" y="833"/>
                  </a:lnTo>
                  <a:lnTo>
                    <a:pt x="723" y="833"/>
                  </a:lnTo>
                  <a:lnTo>
                    <a:pt x="722" y="831"/>
                  </a:lnTo>
                  <a:lnTo>
                    <a:pt x="720" y="831"/>
                  </a:lnTo>
                  <a:lnTo>
                    <a:pt x="719" y="831"/>
                  </a:lnTo>
                  <a:lnTo>
                    <a:pt x="719" y="830"/>
                  </a:lnTo>
                  <a:lnTo>
                    <a:pt x="717" y="828"/>
                  </a:lnTo>
                  <a:lnTo>
                    <a:pt x="715" y="828"/>
                  </a:lnTo>
                  <a:lnTo>
                    <a:pt x="714" y="827"/>
                  </a:lnTo>
                  <a:lnTo>
                    <a:pt x="710" y="827"/>
                  </a:lnTo>
                  <a:lnTo>
                    <a:pt x="709" y="825"/>
                  </a:lnTo>
                  <a:lnTo>
                    <a:pt x="707" y="825"/>
                  </a:lnTo>
                  <a:lnTo>
                    <a:pt x="704" y="823"/>
                  </a:lnTo>
                  <a:lnTo>
                    <a:pt x="701" y="823"/>
                  </a:lnTo>
                  <a:lnTo>
                    <a:pt x="699" y="823"/>
                  </a:lnTo>
                  <a:lnTo>
                    <a:pt x="697" y="823"/>
                  </a:lnTo>
                  <a:lnTo>
                    <a:pt x="696" y="825"/>
                  </a:lnTo>
                  <a:lnTo>
                    <a:pt x="694" y="825"/>
                  </a:lnTo>
                  <a:lnTo>
                    <a:pt x="692" y="825"/>
                  </a:lnTo>
                  <a:lnTo>
                    <a:pt x="691" y="827"/>
                  </a:lnTo>
                  <a:lnTo>
                    <a:pt x="688" y="827"/>
                  </a:lnTo>
                  <a:lnTo>
                    <a:pt x="686" y="827"/>
                  </a:lnTo>
                  <a:lnTo>
                    <a:pt x="684" y="828"/>
                  </a:lnTo>
                  <a:lnTo>
                    <a:pt x="683" y="830"/>
                  </a:lnTo>
                  <a:lnTo>
                    <a:pt x="681" y="830"/>
                  </a:lnTo>
                  <a:lnTo>
                    <a:pt x="681" y="831"/>
                  </a:lnTo>
                  <a:lnTo>
                    <a:pt x="679" y="831"/>
                  </a:lnTo>
                  <a:lnTo>
                    <a:pt x="679" y="833"/>
                  </a:lnTo>
                  <a:lnTo>
                    <a:pt x="678" y="835"/>
                  </a:lnTo>
                  <a:lnTo>
                    <a:pt x="676" y="835"/>
                  </a:lnTo>
                  <a:lnTo>
                    <a:pt x="675" y="835"/>
                  </a:lnTo>
                  <a:lnTo>
                    <a:pt x="673" y="835"/>
                  </a:lnTo>
                  <a:lnTo>
                    <a:pt x="673" y="833"/>
                  </a:lnTo>
                  <a:lnTo>
                    <a:pt x="671" y="833"/>
                  </a:lnTo>
                  <a:lnTo>
                    <a:pt x="671" y="831"/>
                  </a:lnTo>
                  <a:lnTo>
                    <a:pt x="671" y="830"/>
                  </a:lnTo>
                  <a:lnTo>
                    <a:pt x="670" y="827"/>
                  </a:lnTo>
                  <a:lnTo>
                    <a:pt x="668" y="825"/>
                  </a:lnTo>
                  <a:lnTo>
                    <a:pt x="668" y="823"/>
                  </a:lnTo>
                  <a:lnTo>
                    <a:pt x="666" y="820"/>
                  </a:lnTo>
                  <a:lnTo>
                    <a:pt x="665" y="818"/>
                  </a:lnTo>
                  <a:lnTo>
                    <a:pt x="663" y="817"/>
                  </a:lnTo>
                  <a:lnTo>
                    <a:pt x="660" y="814"/>
                  </a:lnTo>
                  <a:lnTo>
                    <a:pt x="657" y="812"/>
                  </a:lnTo>
                  <a:lnTo>
                    <a:pt x="653" y="810"/>
                  </a:lnTo>
                  <a:lnTo>
                    <a:pt x="652" y="809"/>
                  </a:lnTo>
                  <a:lnTo>
                    <a:pt x="650" y="809"/>
                  </a:lnTo>
                  <a:lnTo>
                    <a:pt x="649" y="809"/>
                  </a:lnTo>
                  <a:lnTo>
                    <a:pt x="647" y="809"/>
                  </a:lnTo>
                  <a:lnTo>
                    <a:pt x="645" y="809"/>
                  </a:lnTo>
                  <a:lnTo>
                    <a:pt x="644" y="809"/>
                  </a:lnTo>
                  <a:lnTo>
                    <a:pt x="642" y="809"/>
                  </a:lnTo>
                  <a:lnTo>
                    <a:pt x="642" y="810"/>
                  </a:lnTo>
                  <a:lnTo>
                    <a:pt x="642" y="809"/>
                  </a:lnTo>
                  <a:lnTo>
                    <a:pt x="640" y="809"/>
                  </a:lnTo>
                  <a:lnTo>
                    <a:pt x="637" y="805"/>
                  </a:lnTo>
                  <a:lnTo>
                    <a:pt x="636" y="805"/>
                  </a:lnTo>
                  <a:lnTo>
                    <a:pt x="634" y="804"/>
                  </a:lnTo>
                  <a:lnTo>
                    <a:pt x="631" y="804"/>
                  </a:lnTo>
                  <a:lnTo>
                    <a:pt x="629" y="804"/>
                  </a:lnTo>
                  <a:lnTo>
                    <a:pt x="627" y="804"/>
                  </a:lnTo>
                  <a:lnTo>
                    <a:pt x="627" y="805"/>
                  </a:lnTo>
                  <a:lnTo>
                    <a:pt x="626" y="805"/>
                  </a:lnTo>
                  <a:lnTo>
                    <a:pt x="626" y="804"/>
                  </a:lnTo>
                  <a:lnTo>
                    <a:pt x="624" y="802"/>
                  </a:lnTo>
                  <a:lnTo>
                    <a:pt x="624" y="801"/>
                  </a:lnTo>
                  <a:lnTo>
                    <a:pt x="623" y="799"/>
                  </a:lnTo>
                  <a:lnTo>
                    <a:pt x="621" y="797"/>
                  </a:lnTo>
                  <a:lnTo>
                    <a:pt x="618" y="792"/>
                  </a:lnTo>
                  <a:lnTo>
                    <a:pt x="613" y="788"/>
                  </a:lnTo>
                  <a:lnTo>
                    <a:pt x="613" y="786"/>
                  </a:lnTo>
                  <a:lnTo>
                    <a:pt x="611" y="784"/>
                  </a:lnTo>
                  <a:lnTo>
                    <a:pt x="606" y="778"/>
                  </a:lnTo>
                  <a:lnTo>
                    <a:pt x="603" y="775"/>
                  </a:lnTo>
                  <a:lnTo>
                    <a:pt x="601" y="775"/>
                  </a:lnTo>
                  <a:lnTo>
                    <a:pt x="600" y="773"/>
                  </a:lnTo>
                  <a:lnTo>
                    <a:pt x="597" y="771"/>
                  </a:lnTo>
                  <a:lnTo>
                    <a:pt x="597" y="770"/>
                  </a:lnTo>
                  <a:lnTo>
                    <a:pt x="595" y="770"/>
                  </a:lnTo>
                  <a:lnTo>
                    <a:pt x="592" y="768"/>
                  </a:lnTo>
                  <a:lnTo>
                    <a:pt x="590" y="768"/>
                  </a:lnTo>
                  <a:lnTo>
                    <a:pt x="588" y="766"/>
                  </a:lnTo>
                  <a:lnTo>
                    <a:pt x="585" y="765"/>
                  </a:lnTo>
                  <a:lnTo>
                    <a:pt x="584" y="765"/>
                  </a:lnTo>
                  <a:lnTo>
                    <a:pt x="582" y="765"/>
                  </a:lnTo>
                  <a:lnTo>
                    <a:pt x="582" y="763"/>
                  </a:lnTo>
                  <a:lnTo>
                    <a:pt x="582" y="760"/>
                  </a:lnTo>
                  <a:lnTo>
                    <a:pt x="580" y="760"/>
                  </a:lnTo>
                  <a:lnTo>
                    <a:pt x="582" y="760"/>
                  </a:lnTo>
                  <a:lnTo>
                    <a:pt x="582" y="758"/>
                  </a:lnTo>
                  <a:lnTo>
                    <a:pt x="580" y="753"/>
                  </a:lnTo>
                  <a:lnTo>
                    <a:pt x="580" y="752"/>
                  </a:lnTo>
                  <a:lnTo>
                    <a:pt x="579" y="750"/>
                  </a:lnTo>
                  <a:lnTo>
                    <a:pt x="579" y="749"/>
                  </a:lnTo>
                  <a:lnTo>
                    <a:pt x="575" y="742"/>
                  </a:lnTo>
                  <a:lnTo>
                    <a:pt x="574" y="742"/>
                  </a:lnTo>
                  <a:lnTo>
                    <a:pt x="572" y="740"/>
                  </a:lnTo>
                  <a:lnTo>
                    <a:pt x="572" y="739"/>
                  </a:lnTo>
                  <a:lnTo>
                    <a:pt x="569" y="737"/>
                  </a:lnTo>
                  <a:lnTo>
                    <a:pt x="567" y="737"/>
                  </a:lnTo>
                  <a:lnTo>
                    <a:pt x="566" y="736"/>
                  </a:lnTo>
                  <a:lnTo>
                    <a:pt x="562" y="734"/>
                  </a:lnTo>
                  <a:lnTo>
                    <a:pt x="561" y="731"/>
                  </a:lnTo>
                  <a:lnTo>
                    <a:pt x="559" y="731"/>
                  </a:lnTo>
                  <a:lnTo>
                    <a:pt x="558" y="729"/>
                  </a:lnTo>
                  <a:lnTo>
                    <a:pt x="554" y="729"/>
                  </a:lnTo>
                  <a:lnTo>
                    <a:pt x="554" y="726"/>
                  </a:lnTo>
                  <a:lnTo>
                    <a:pt x="553" y="726"/>
                  </a:lnTo>
                  <a:lnTo>
                    <a:pt x="551" y="726"/>
                  </a:lnTo>
                  <a:lnTo>
                    <a:pt x="551" y="724"/>
                  </a:lnTo>
                  <a:lnTo>
                    <a:pt x="548" y="724"/>
                  </a:lnTo>
                  <a:lnTo>
                    <a:pt x="548" y="723"/>
                  </a:lnTo>
                  <a:lnTo>
                    <a:pt x="546" y="723"/>
                  </a:lnTo>
                  <a:lnTo>
                    <a:pt x="544" y="723"/>
                  </a:lnTo>
                  <a:lnTo>
                    <a:pt x="543" y="723"/>
                  </a:lnTo>
                  <a:lnTo>
                    <a:pt x="543" y="724"/>
                  </a:lnTo>
                  <a:lnTo>
                    <a:pt x="541" y="724"/>
                  </a:lnTo>
                  <a:lnTo>
                    <a:pt x="540" y="724"/>
                  </a:lnTo>
                  <a:lnTo>
                    <a:pt x="540" y="723"/>
                  </a:lnTo>
                  <a:lnTo>
                    <a:pt x="538" y="723"/>
                  </a:lnTo>
                  <a:lnTo>
                    <a:pt x="538" y="721"/>
                  </a:lnTo>
                  <a:lnTo>
                    <a:pt x="536" y="721"/>
                  </a:lnTo>
                  <a:lnTo>
                    <a:pt x="536" y="719"/>
                  </a:lnTo>
                  <a:lnTo>
                    <a:pt x="536" y="718"/>
                  </a:lnTo>
                  <a:lnTo>
                    <a:pt x="535" y="716"/>
                  </a:lnTo>
                  <a:lnTo>
                    <a:pt x="533" y="716"/>
                  </a:lnTo>
                  <a:lnTo>
                    <a:pt x="531" y="714"/>
                  </a:lnTo>
                  <a:lnTo>
                    <a:pt x="533" y="716"/>
                  </a:lnTo>
                  <a:lnTo>
                    <a:pt x="535" y="716"/>
                  </a:lnTo>
                  <a:lnTo>
                    <a:pt x="533" y="716"/>
                  </a:lnTo>
                  <a:lnTo>
                    <a:pt x="533" y="714"/>
                  </a:lnTo>
                  <a:lnTo>
                    <a:pt x="531" y="714"/>
                  </a:lnTo>
                  <a:lnTo>
                    <a:pt x="533" y="713"/>
                  </a:lnTo>
                  <a:lnTo>
                    <a:pt x="531" y="713"/>
                  </a:lnTo>
                  <a:lnTo>
                    <a:pt x="531" y="711"/>
                  </a:lnTo>
                  <a:lnTo>
                    <a:pt x="530" y="711"/>
                  </a:lnTo>
                  <a:lnTo>
                    <a:pt x="530" y="710"/>
                  </a:lnTo>
                  <a:lnTo>
                    <a:pt x="530" y="708"/>
                  </a:lnTo>
                  <a:lnTo>
                    <a:pt x="528" y="706"/>
                  </a:lnTo>
                  <a:lnTo>
                    <a:pt x="528" y="705"/>
                  </a:lnTo>
                  <a:lnTo>
                    <a:pt x="527" y="701"/>
                  </a:lnTo>
                  <a:lnTo>
                    <a:pt x="525" y="700"/>
                  </a:lnTo>
                  <a:lnTo>
                    <a:pt x="525" y="698"/>
                  </a:lnTo>
                  <a:lnTo>
                    <a:pt x="525" y="697"/>
                  </a:lnTo>
                  <a:lnTo>
                    <a:pt x="523" y="695"/>
                  </a:lnTo>
                  <a:lnTo>
                    <a:pt x="522" y="693"/>
                  </a:lnTo>
                  <a:lnTo>
                    <a:pt x="522" y="692"/>
                  </a:lnTo>
                  <a:lnTo>
                    <a:pt x="520" y="690"/>
                  </a:lnTo>
                  <a:lnTo>
                    <a:pt x="517" y="687"/>
                  </a:lnTo>
                  <a:lnTo>
                    <a:pt x="515" y="685"/>
                  </a:lnTo>
                  <a:lnTo>
                    <a:pt x="514" y="685"/>
                  </a:lnTo>
                  <a:lnTo>
                    <a:pt x="510" y="682"/>
                  </a:lnTo>
                  <a:lnTo>
                    <a:pt x="507" y="680"/>
                  </a:lnTo>
                  <a:lnTo>
                    <a:pt x="502" y="677"/>
                  </a:lnTo>
                  <a:lnTo>
                    <a:pt x="497" y="675"/>
                  </a:lnTo>
                  <a:lnTo>
                    <a:pt x="489" y="674"/>
                  </a:lnTo>
                  <a:lnTo>
                    <a:pt x="486" y="672"/>
                  </a:lnTo>
                  <a:lnTo>
                    <a:pt x="481" y="672"/>
                  </a:lnTo>
                  <a:lnTo>
                    <a:pt x="479" y="672"/>
                  </a:lnTo>
                  <a:lnTo>
                    <a:pt x="479" y="670"/>
                  </a:lnTo>
                  <a:lnTo>
                    <a:pt x="478" y="670"/>
                  </a:lnTo>
                  <a:lnTo>
                    <a:pt x="476" y="670"/>
                  </a:lnTo>
                  <a:lnTo>
                    <a:pt x="473" y="670"/>
                  </a:lnTo>
                  <a:lnTo>
                    <a:pt x="471" y="672"/>
                  </a:lnTo>
                  <a:lnTo>
                    <a:pt x="471" y="674"/>
                  </a:lnTo>
                  <a:lnTo>
                    <a:pt x="473" y="674"/>
                  </a:lnTo>
                  <a:lnTo>
                    <a:pt x="473" y="675"/>
                  </a:lnTo>
                  <a:lnTo>
                    <a:pt x="473" y="677"/>
                  </a:lnTo>
                  <a:lnTo>
                    <a:pt x="471" y="677"/>
                  </a:lnTo>
                  <a:lnTo>
                    <a:pt x="471" y="675"/>
                  </a:lnTo>
                  <a:lnTo>
                    <a:pt x="470" y="675"/>
                  </a:lnTo>
                  <a:lnTo>
                    <a:pt x="470" y="677"/>
                  </a:lnTo>
                  <a:lnTo>
                    <a:pt x="470" y="679"/>
                  </a:lnTo>
                  <a:lnTo>
                    <a:pt x="468" y="679"/>
                  </a:lnTo>
                  <a:lnTo>
                    <a:pt x="468" y="677"/>
                  </a:lnTo>
                  <a:lnTo>
                    <a:pt x="466" y="677"/>
                  </a:lnTo>
                  <a:lnTo>
                    <a:pt x="466" y="679"/>
                  </a:lnTo>
                  <a:lnTo>
                    <a:pt x="465" y="679"/>
                  </a:lnTo>
                  <a:lnTo>
                    <a:pt x="465" y="677"/>
                  </a:lnTo>
                  <a:lnTo>
                    <a:pt x="463" y="675"/>
                  </a:lnTo>
                  <a:lnTo>
                    <a:pt x="463" y="677"/>
                  </a:lnTo>
                  <a:lnTo>
                    <a:pt x="463" y="675"/>
                  </a:lnTo>
                  <a:lnTo>
                    <a:pt x="462" y="674"/>
                  </a:lnTo>
                  <a:lnTo>
                    <a:pt x="462" y="675"/>
                  </a:lnTo>
                  <a:lnTo>
                    <a:pt x="460" y="674"/>
                  </a:lnTo>
                  <a:lnTo>
                    <a:pt x="458" y="672"/>
                  </a:lnTo>
                  <a:lnTo>
                    <a:pt x="458" y="670"/>
                  </a:lnTo>
                  <a:lnTo>
                    <a:pt x="458" y="669"/>
                  </a:lnTo>
                  <a:lnTo>
                    <a:pt x="460" y="669"/>
                  </a:lnTo>
                  <a:lnTo>
                    <a:pt x="460" y="667"/>
                  </a:lnTo>
                  <a:lnTo>
                    <a:pt x="460" y="666"/>
                  </a:lnTo>
                  <a:lnTo>
                    <a:pt x="462" y="666"/>
                  </a:lnTo>
                  <a:lnTo>
                    <a:pt x="462" y="667"/>
                  </a:lnTo>
                  <a:lnTo>
                    <a:pt x="463" y="667"/>
                  </a:lnTo>
                  <a:lnTo>
                    <a:pt x="465" y="669"/>
                  </a:lnTo>
                  <a:lnTo>
                    <a:pt x="465" y="667"/>
                  </a:lnTo>
                  <a:lnTo>
                    <a:pt x="465" y="669"/>
                  </a:lnTo>
                  <a:lnTo>
                    <a:pt x="465" y="667"/>
                  </a:lnTo>
                  <a:lnTo>
                    <a:pt x="466" y="669"/>
                  </a:lnTo>
                  <a:lnTo>
                    <a:pt x="466" y="667"/>
                  </a:lnTo>
                  <a:lnTo>
                    <a:pt x="468" y="667"/>
                  </a:lnTo>
                  <a:lnTo>
                    <a:pt x="468" y="664"/>
                  </a:lnTo>
                  <a:lnTo>
                    <a:pt x="470" y="662"/>
                  </a:lnTo>
                  <a:lnTo>
                    <a:pt x="470" y="661"/>
                  </a:lnTo>
                  <a:lnTo>
                    <a:pt x="470" y="659"/>
                  </a:lnTo>
                  <a:lnTo>
                    <a:pt x="470" y="657"/>
                  </a:lnTo>
                  <a:lnTo>
                    <a:pt x="470" y="656"/>
                  </a:lnTo>
                  <a:lnTo>
                    <a:pt x="468" y="653"/>
                  </a:lnTo>
                  <a:lnTo>
                    <a:pt x="466" y="653"/>
                  </a:lnTo>
                  <a:lnTo>
                    <a:pt x="466" y="651"/>
                  </a:lnTo>
                  <a:lnTo>
                    <a:pt x="466" y="649"/>
                  </a:lnTo>
                  <a:lnTo>
                    <a:pt x="465" y="649"/>
                  </a:lnTo>
                  <a:lnTo>
                    <a:pt x="463" y="649"/>
                  </a:lnTo>
                  <a:lnTo>
                    <a:pt x="463" y="651"/>
                  </a:lnTo>
                  <a:lnTo>
                    <a:pt x="462" y="651"/>
                  </a:lnTo>
                  <a:lnTo>
                    <a:pt x="462" y="649"/>
                  </a:lnTo>
                  <a:lnTo>
                    <a:pt x="460" y="648"/>
                  </a:lnTo>
                  <a:lnTo>
                    <a:pt x="460" y="646"/>
                  </a:lnTo>
                  <a:lnTo>
                    <a:pt x="460" y="644"/>
                  </a:lnTo>
                  <a:lnTo>
                    <a:pt x="458" y="644"/>
                  </a:lnTo>
                  <a:lnTo>
                    <a:pt x="458" y="643"/>
                  </a:lnTo>
                  <a:lnTo>
                    <a:pt x="457" y="643"/>
                  </a:lnTo>
                  <a:lnTo>
                    <a:pt x="458" y="643"/>
                  </a:lnTo>
                  <a:lnTo>
                    <a:pt x="458" y="641"/>
                  </a:lnTo>
                  <a:lnTo>
                    <a:pt x="457" y="640"/>
                  </a:lnTo>
                  <a:lnTo>
                    <a:pt x="455" y="640"/>
                  </a:lnTo>
                  <a:lnTo>
                    <a:pt x="450" y="636"/>
                  </a:lnTo>
                  <a:lnTo>
                    <a:pt x="450" y="635"/>
                  </a:lnTo>
                  <a:lnTo>
                    <a:pt x="449" y="631"/>
                  </a:lnTo>
                  <a:lnTo>
                    <a:pt x="447" y="630"/>
                  </a:lnTo>
                  <a:lnTo>
                    <a:pt x="447" y="628"/>
                  </a:lnTo>
                  <a:lnTo>
                    <a:pt x="445" y="628"/>
                  </a:lnTo>
                  <a:lnTo>
                    <a:pt x="445" y="627"/>
                  </a:lnTo>
                  <a:lnTo>
                    <a:pt x="444" y="625"/>
                  </a:lnTo>
                  <a:lnTo>
                    <a:pt x="440" y="623"/>
                  </a:lnTo>
                  <a:lnTo>
                    <a:pt x="437" y="622"/>
                  </a:lnTo>
                  <a:lnTo>
                    <a:pt x="436" y="622"/>
                  </a:lnTo>
                  <a:lnTo>
                    <a:pt x="429" y="620"/>
                  </a:lnTo>
                  <a:lnTo>
                    <a:pt x="427" y="620"/>
                  </a:lnTo>
                  <a:lnTo>
                    <a:pt x="426" y="620"/>
                  </a:lnTo>
                  <a:lnTo>
                    <a:pt x="424" y="620"/>
                  </a:lnTo>
                  <a:lnTo>
                    <a:pt x="424" y="618"/>
                  </a:lnTo>
                  <a:lnTo>
                    <a:pt x="423" y="617"/>
                  </a:lnTo>
                  <a:lnTo>
                    <a:pt x="421" y="617"/>
                  </a:lnTo>
                  <a:lnTo>
                    <a:pt x="419" y="617"/>
                  </a:lnTo>
                  <a:lnTo>
                    <a:pt x="421" y="615"/>
                  </a:lnTo>
                  <a:lnTo>
                    <a:pt x="423" y="615"/>
                  </a:lnTo>
                  <a:lnTo>
                    <a:pt x="424" y="614"/>
                  </a:lnTo>
                  <a:lnTo>
                    <a:pt x="424" y="612"/>
                  </a:lnTo>
                  <a:lnTo>
                    <a:pt x="424" y="610"/>
                  </a:lnTo>
                  <a:lnTo>
                    <a:pt x="424" y="609"/>
                  </a:lnTo>
                  <a:lnTo>
                    <a:pt x="424" y="607"/>
                  </a:lnTo>
                  <a:lnTo>
                    <a:pt x="424" y="605"/>
                  </a:lnTo>
                  <a:lnTo>
                    <a:pt x="426" y="604"/>
                  </a:lnTo>
                  <a:lnTo>
                    <a:pt x="426" y="602"/>
                  </a:lnTo>
                  <a:lnTo>
                    <a:pt x="424" y="601"/>
                  </a:lnTo>
                  <a:lnTo>
                    <a:pt x="421" y="599"/>
                  </a:lnTo>
                  <a:lnTo>
                    <a:pt x="419" y="597"/>
                  </a:lnTo>
                  <a:lnTo>
                    <a:pt x="418" y="597"/>
                  </a:lnTo>
                  <a:lnTo>
                    <a:pt x="416" y="596"/>
                  </a:lnTo>
                  <a:lnTo>
                    <a:pt x="414" y="596"/>
                  </a:lnTo>
                  <a:lnTo>
                    <a:pt x="411" y="594"/>
                  </a:lnTo>
                  <a:lnTo>
                    <a:pt x="410" y="594"/>
                  </a:lnTo>
                  <a:lnTo>
                    <a:pt x="408" y="594"/>
                  </a:lnTo>
                  <a:lnTo>
                    <a:pt x="406" y="594"/>
                  </a:lnTo>
                  <a:lnTo>
                    <a:pt x="405" y="594"/>
                  </a:lnTo>
                  <a:lnTo>
                    <a:pt x="403" y="594"/>
                  </a:lnTo>
                  <a:lnTo>
                    <a:pt x="401" y="596"/>
                  </a:lnTo>
                  <a:lnTo>
                    <a:pt x="401" y="597"/>
                  </a:lnTo>
                  <a:lnTo>
                    <a:pt x="400" y="597"/>
                  </a:lnTo>
                  <a:lnTo>
                    <a:pt x="401" y="597"/>
                  </a:lnTo>
                  <a:lnTo>
                    <a:pt x="400" y="597"/>
                  </a:lnTo>
                  <a:lnTo>
                    <a:pt x="401" y="599"/>
                  </a:lnTo>
                  <a:lnTo>
                    <a:pt x="401" y="597"/>
                  </a:lnTo>
                  <a:lnTo>
                    <a:pt x="400" y="599"/>
                  </a:lnTo>
                  <a:lnTo>
                    <a:pt x="398" y="599"/>
                  </a:lnTo>
                  <a:lnTo>
                    <a:pt x="396" y="599"/>
                  </a:lnTo>
                  <a:lnTo>
                    <a:pt x="396" y="597"/>
                  </a:lnTo>
                  <a:lnTo>
                    <a:pt x="395" y="597"/>
                  </a:lnTo>
                  <a:lnTo>
                    <a:pt x="395" y="596"/>
                  </a:lnTo>
                  <a:lnTo>
                    <a:pt x="395" y="594"/>
                  </a:lnTo>
                  <a:lnTo>
                    <a:pt x="393" y="594"/>
                  </a:lnTo>
                  <a:lnTo>
                    <a:pt x="393" y="592"/>
                  </a:lnTo>
                  <a:lnTo>
                    <a:pt x="393" y="591"/>
                  </a:lnTo>
                  <a:lnTo>
                    <a:pt x="393" y="589"/>
                  </a:lnTo>
                  <a:lnTo>
                    <a:pt x="395" y="589"/>
                  </a:lnTo>
                  <a:lnTo>
                    <a:pt x="396" y="589"/>
                  </a:lnTo>
                  <a:lnTo>
                    <a:pt x="396" y="588"/>
                  </a:lnTo>
                  <a:lnTo>
                    <a:pt x="396" y="586"/>
                  </a:lnTo>
                  <a:lnTo>
                    <a:pt x="398" y="586"/>
                  </a:lnTo>
                  <a:lnTo>
                    <a:pt x="398" y="581"/>
                  </a:lnTo>
                  <a:lnTo>
                    <a:pt x="400" y="579"/>
                  </a:lnTo>
                  <a:lnTo>
                    <a:pt x="400" y="578"/>
                  </a:lnTo>
                  <a:lnTo>
                    <a:pt x="400" y="576"/>
                  </a:lnTo>
                  <a:lnTo>
                    <a:pt x="400" y="575"/>
                  </a:lnTo>
                  <a:lnTo>
                    <a:pt x="400" y="573"/>
                  </a:lnTo>
                  <a:lnTo>
                    <a:pt x="400" y="566"/>
                  </a:lnTo>
                  <a:lnTo>
                    <a:pt x="400" y="560"/>
                  </a:lnTo>
                  <a:lnTo>
                    <a:pt x="398" y="555"/>
                  </a:lnTo>
                  <a:lnTo>
                    <a:pt x="398" y="553"/>
                  </a:lnTo>
                  <a:lnTo>
                    <a:pt x="396" y="550"/>
                  </a:lnTo>
                  <a:lnTo>
                    <a:pt x="395" y="547"/>
                  </a:lnTo>
                  <a:lnTo>
                    <a:pt x="393" y="545"/>
                  </a:lnTo>
                  <a:lnTo>
                    <a:pt x="393" y="544"/>
                  </a:lnTo>
                  <a:lnTo>
                    <a:pt x="392" y="544"/>
                  </a:lnTo>
                  <a:lnTo>
                    <a:pt x="390" y="542"/>
                  </a:lnTo>
                  <a:lnTo>
                    <a:pt x="390" y="540"/>
                  </a:lnTo>
                  <a:lnTo>
                    <a:pt x="390" y="539"/>
                  </a:lnTo>
                  <a:lnTo>
                    <a:pt x="390" y="537"/>
                  </a:lnTo>
                  <a:lnTo>
                    <a:pt x="388" y="537"/>
                  </a:lnTo>
                  <a:lnTo>
                    <a:pt x="388" y="535"/>
                  </a:lnTo>
                  <a:lnTo>
                    <a:pt x="388" y="534"/>
                  </a:lnTo>
                  <a:lnTo>
                    <a:pt x="388" y="532"/>
                  </a:lnTo>
                  <a:lnTo>
                    <a:pt x="387" y="531"/>
                  </a:lnTo>
                  <a:lnTo>
                    <a:pt x="385" y="531"/>
                  </a:lnTo>
                  <a:lnTo>
                    <a:pt x="385" y="529"/>
                  </a:lnTo>
                  <a:lnTo>
                    <a:pt x="385" y="527"/>
                  </a:lnTo>
                  <a:lnTo>
                    <a:pt x="383" y="527"/>
                  </a:lnTo>
                  <a:lnTo>
                    <a:pt x="382" y="524"/>
                  </a:lnTo>
                  <a:lnTo>
                    <a:pt x="380" y="522"/>
                  </a:lnTo>
                  <a:lnTo>
                    <a:pt x="379" y="522"/>
                  </a:lnTo>
                  <a:lnTo>
                    <a:pt x="379" y="521"/>
                  </a:lnTo>
                  <a:lnTo>
                    <a:pt x="377" y="521"/>
                  </a:lnTo>
                  <a:lnTo>
                    <a:pt x="377" y="519"/>
                  </a:lnTo>
                  <a:lnTo>
                    <a:pt x="377" y="518"/>
                  </a:lnTo>
                  <a:lnTo>
                    <a:pt x="375" y="518"/>
                  </a:lnTo>
                  <a:lnTo>
                    <a:pt x="375" y="516"/>
                  </a:lnTo>
                  <a:lnTo>
                    <a:pt x="375" y="514"/>
                  </a:lnTo>
                  <a:lnTo>
                    <a:pt x="375" y="513"/>
                  </a:lnTo>
                  <a:lnTo>
                    <a:pt x="374" y="513"/>
                  </a:lnTo>
                  <a:lnTo>
                    <a:pt x="374" y="511"/>
                  </a:lnTo>
                  <a:lnTo>
                    <a:pt x="374" y="513"/>
                  </a:lnTo>
                  <a:lnTo>
                    <a:pt x="372" y="513"/>
                  </a:lnTo>
                  <a:lnTo>
                    <a:pt x="372" y="511"/>
                  </a:lnTo>
                  <a:lnTo>
                    <a:pt x="372" y="509"/>
                  </a:lnTo>
                  <a:lnTo>
                    <a:pt x="372" y="508"/>
                  </a:lnTo>
                  <a:lnTo>
                    <a:pt x="374" y="508"/>
                  </a:lnTo>
                  <a:lnTo>
                    <a:pt x="374" y="506"/>
                  </a:lnTo>
                  <a:lnTo>
                    <a:pt x="374" y="505"/>
                  </a:lnTo>
                  <a:lnTo>
                    <a:pt x="375" y="505"/>
                  </a:lnTo>
                  <a:lnTo>
                    <a:pt x="379" y="503"/>
                  </a:lnTo>
                  <a:lnTo>
                    <a:pt x="377" y="503"/>
                  </a:lnTo>
                  <a:lnTo>
                    <a:pt x="375" y="505"/>
                  </a:lnTo>
                  <a:lnTo>
                    <a:pt x="374" y="505"/>
                  </a:lnTo>
                  <a:lnTo>
                    <a:pt x="374" y="503"/>
                  </a:lnTo>
                  <a:lnTo>
                    <a:pt x="372" y="501"/>
                  </a:lnTo>
                  <a:lnTo>
                    <a:pt x="372" y="498"/>
                  </a:lnTo>
                  <a:lnTo>
                    <a:pt x="372" y="496"/>
                  </a:lnTo>
                  <a:lnTo>
                    <a:pt x="372" y="493"/>
                  </a:lnTo>
                  <a:lnTo>
                    <a:pt x="370" y="492"/>
                  </a:lnTo>
                  <a:lnTo>
                    <a:pt x="372" y="492"/>
                  </a:lnTo>
                  <a:lnTo>
                    <a:pt x="372" y="490"/>
                  </a:lnTo>
                  <a:lnTo>
                    <a:pt x="372" y="488"/>
                  </a:lnTo>
                  <a:lnTo>
                    <a:pt x="372" y="485"/>
                  </a:lnTo>
                  <a:lnTo>
                    <a:pt x="372" y="483"/>
                  </a:lnTo>
                  <a:lnTo>
                    <a:pt x="372" y="482"/>
                  </a:lnTo>
                  <a:lnTo>
                    <a:pt x="370" y="479"/>
                  </a:lnTo>
                  <a:lnTo>
                    <a:pt x="370" y="477"/>
                  </a:lnTo>
                  <a:lnTo>
                    <a:pt x="370" y="475"/>
                  </a:lnTo>
                  <a:lnTo>
                    <a:pt x="370" y="474"/>
                  </a:lnTo>
                  <a:lnTo>
                    <a:pt x="370" y="472"/>
                  </a:lnTo>
                  <a:lnTo>
                    <a:pt x="369" y="472"/>
                  </a:lnTo>
                  <a:lnTo>
                    <a:pt x="370" y="472"/>
                  </a:lnTo>
                  <a:lnTo>
                    <a:pt x="369" y="470"/>
                  </a:lnTo>
                  <a:lnTo>
                    <a:pt x="369" y="469"/>
                  </a:lnTo>
                  <a:lnTo>
                    <a:pt x="367" y="467"/>
                  </a:lnTo>
                  <a:lnTo>
                    <a:pt x="367" y="466"/>
                  </a:lnTo>
                  <a:lnTo>
                    <a:pt x="367" y="464"/>
                  </a:lnTo>
                  <a:lnTo>
                    <a:pt x="366" y="459"/>
                  </a:lnTo>
                  <a:lnTo>
                    <a:pt x="364" y="456"/>
                  </a:lnTo>
                  <a:lnTo>
                    <a:pt x="362" y="456"/>
                  </a:lnTo>
                  <a:lnTo>
                    <a:pt x="361" y="453"/>
                  </a:lnTo>
                  <a:lnTo>
                    <a:pt x="359" y="451"/>
                  </a:lnTo>
                  <a:lnTo>
                    <a:pt x="357" y="449"/>
                  </a:lnTo>
                  <a:lnTo>
                    <a:pt x="357" y="448"/>
                  </a:lnTo>
                  <a:lnTo>
                    <a:pt x="354" y="446"/>
                  </a:lnTo>
                  <a:lnTo>
                    <a:pt x="354" y="444"/>
                  </a:lnTo>
                  <a:lnTo>
                    <a:pt x="351" y="443"/>
                  </a:lnTo>
                  <a:lnTo>
                    <a:pt x="349" y="441"/>
                  </a:lnTo>
                  <a:lnTo>
                    <a:pt x="348" y="441"/>
                  </a:lnTo>
                  <a:lnTo>
                    <a:pt x="346" y="441"/>
                  </a:lnTo>
                  <a:lnTo>
                    <a:pt x="346" y="440"/>
                  </a:lnTo>
                  <a:lnTo>
                    <a:pt x="344" y="440"/>
                  </a:lnTo>
                  <a:lnTo>
                    <a:pt x="344" y="438"/>
                  </a:lnTo>
                  <a:lnTo>
                    <a:pt x="343" y="438"/>
                  </a:lnTo>
                  <a:lnTo>
                    <a:pt x="341" y="438"/>
                  </a:lnTo>
                  <a:lnTo>
                    <a:pt x="340" y="438"/>
                  </a:lnTo>
                  <a:lnTo>
                    <a:pt x="340" y="436"/>
                  </a:lnTo>
                  <a:lnTo>
                    <a:pt x="341" y="435"/>
                  </a:lnTo>
                  <a:lnTo>
                    <a:pt x="340" y="433"/>
                  </a:lnTo>
                  <a:lnTo>
                    <a:pt x="338" y="431"/>
                  </a:lnTo>
                  <a:lnTo>
                    <a:pt x="338" y="433"/>
                  </a:lnTo>
                  <a:lnTo>
                    <a:pt x="340" y="433"/>
                  </a:lnTo>
                  <a:lnTo>
                    <a:pt x="340" y="435"/>
                  </a:lnTo>
                  <a:lnTo>
                    <a:pt x="340" y="436"/>
                  </a:lnTo>
                  <a:lnTo>
                    <a:pt x="340" y="438"/>
                  </a:lnTo>
                  <a:lnTo>
                    <a:pt x="341" y="438"/>
                  </a:lnTo>
                  <a:lnTo>
                    <a:pt x="341" y="440"/>
                  </a:lnTo>
                  <a:lnTo>
                    <a:pt x="340" y="441"/>
                  </a:lnTo>
                  <a:lnTo>
                    <a:pt x="340" y="440"/>
                  </a:lnTo>
                  <a:lnTo>
                    <a:pt x="338" y="440"/>
                  </a:lnTo>
                  <a:lnTo>
                    <a:pt x="338" y="438"/>
                  </a:lnTo>
                  <a:lnTo>
                    <a:pt x="336" y="438"/>
                  </a:lnTo>
                  <a:lnTo>
                    <a:pt x="335" y="438"/>
                  </a:lnTo>
                  <a:lnTo>
                    <a:pt x="335" y="436"/>
                  </a:lnTo>
                  <a:lnTo>
                    <a:pt x="333" y="436"/>
                  </a:lnTo>
                  <a:lnTo>
                    <a:pt x="333" y="435"/>
                  </a:lnTo>
                  <a:lnTo>
                    <a:pt x="333" y="436"/>
                  </a:lnTo>
                  <a:lnTo>
                    <a:pt x="333" y="435"/>
                  </a:lnTo>
                  <a:lnTo>
                    <a:pt x="333" y="433"/>
                  </a:lnTo>
                  <a:lnTo>
                    <a:pt x="331" y="433"/>
                  </a:lnTo>
                  <a:lnTo>
                    <a:pt x="331" y="435"/>
                  </a:lnTo>
                  <a:lnTo>
                    <a:pt x="331" y="433"/>
                  </a:lnTo>
                  <a:lnTo>
                    <a:pt x="330" y="435"/>
                  </a:lnTo>
                  <a:lnTo>
                    <a:pt x="330" y="433"/>
                  </a:lnTo>
                  <a:lnTo>
                    <a:pt x="328" y="433"/>
                  </a:lnTo>
                  <a:lnTo>
                    <a:pt x="328" y="431"/>
                  </a:lnTo>
                  <a:lnTo>
                    <a:pt x="328" y="430"/>
                  </a:lnTo>
                  <a:lnTo>
                    <a:pt x="327" y="430"/>
                  </a:lnTo>
                  <a:lnTo>
                    <a:pt x="325" y="430"/>
                  </a:lnTo>
                  <a:lnTo>
                    <a:pt x="325" y="431"/>
                  </a:lnTo>
                  <a:lnTo>
                    <a:pt x="325" y="433"/>
                  </a:lnTo>
                  <a:lnTo>
                    <a:pt x="325" y="435"/>
                  </a:lnTo>
                  <a:lnTo>
                    <a:pt x="327" y="435"/>
                  </a:lnTo>
                  <a:lnTo>
                    <a:pt x="327" y="436"/>
                  </a:lnTo>
                  <a:lnTo>
                    <a:pt x="325" y="436"/>
                  </a:lnTo>
                  <a:lnTo>
                    <a:pt x="327" y="436"/>
                  </a:lnTo>
                  <a:lnTo>
                    <a:pt x="328" y="436"/>
                  </a:lnTo>
                  <a:lnTo>
                    <a:pt x="327" y="436"/>
                  </a:lnTo>
                  <a:lnTo>
                    <a:pt x="327" y="438"/>
                  </a:lnTo>
                  <a:lnTo>
                    <a:pt x="327" y="436"/>
                  </a:lnTo>
                  <a:lnTo>
                    <a:pt x="327" y="438"/>
                  </a:lnTo>
                  <a:lnTo>
                    <a:pt x="325" y="438"/>
                  </a:lnTo>
                  <a:lnTo>
                    <a:pt x="323" y="436"/>
                  </a:lnTo>
                  <a:lnTo>
                    <a:pt x="322" y="436"/>
                  </a:lnTo>
                  <a:lnTo>
                    <a:pt x="322" y="435"/>
                  </a:lnTo>
                  <a:lnTo>
                    <a:pt x="320" y="435"/>
                  </a:lnTo>
                  <a:lnTo>
                    <a:pt x="318" y="435"/>
                  </a:lnTo>
                  <a:lnTo>
                    <a:pt x="318" y="433"/>
                  </a:lnTo>
                  <a:lnTo>
                    <a:pt x="317" y="433"/>
                  </a:lnTo>
                  <a:lnTo>
                    <a:pt x="315" y="433"/>
                  </a:lnTo>
                  <a:lnTo>
                    <a:pt x="315" y="431"/>
                  </a:lnTo>
                  <a:lnTo>
                    <a:pt x="315" y="430"/>
                  </a:lnTo>
                  <a:lnTo>
                    <a:pt x="314" y="430"/>
                  </a:lnTo>
                  <a:lnTo>
                    <a:pt x="315" y="430"/>
                  </a:lnTo>
                  <a:lnTo>
                    <a:pt x="314" y="430"/>
                  </a:lnTo>
                  <a:lnTo>
                    <a:pt x="314" y="428"/>
                  </a:lnTo>
                  <a:lnTo>
                    <a:pt x="312" y="428"/>
                  </a:lnTo>
                  <a:lnTo>
                    <a:pt x="312" y="427"/>
                  </a:lnTo>
                  <a:lnTo>
                    <a:pt x="310" y="427"/>
                  </a:lnTo>
                  <a:lnTo>
                    <a:pt x="309" y="427"/>
                  </a:lnTo>
                  <a:lnTo>
                    <a:pt x="309" y="425"/>
                  </a:lnTo>
                  <a:lnTo>
                    <a:pt x="307" y="425"/>
                  </a:lnTo>
                  <a:lnTo>
                    <a:pt x="305" y="425"/>
                  </a:lnTo>
                  <a:lnTo>
                    <a:pt x="305" y="427"/>
                  </a:lnTo>
                  <a:lnTo>
                    <a:pt x="304" y="425"/>
                  </a:lnTo>
                  <a:lnTo>
                    <a:pt x="304" y="423"/>
                  </a:lnTo>
                  <a:lnTo>
                    <a:pt x="302" y="423"/>
                  </a:lnTo>
                  <a:lnTo>
                    <a:pt x="302" y="422"/>
                  </a:lnTo>
                  <a:lnTo>
                    <a:pt x="302" y="420"/>
                  </a:lnTo>
                  <a:lnTo>
                    <a:pt x="301" y="420"/>
                  </a:lnTo>
                  <a:lnTo>
                    <a:pt x="299" y="420"/>
                  </a:lnTo>
                  <a:lnTo>
                    <a:pt x="301" y="420"/>
                  </a:lnTo>
                  <a:lnTo>
                    <a:pt x="299" y="420"/>
                  </a:lnTo>
                  <a:lnTo>
                    <a:pt x="297" y="420"/>
                  </a:lnTo>
                  <a:lnTo>
                    <a:pt x="297" y="418"/>
                  </a:lnTo>
                  <a:lnTo>
                    <a:pt x="299" y="418"/>
                  </a:lnTo>
                  <a:lnTo>
                    <a:pt x="297" y="417"/>
                  </a:lnTo>
                  <a:lnTo>
                    <a:pt x="296" y="415"/>
                  </a:lnTo>
                  <a:lnTo>
                    <a:pt x="294" y="415"/>
                  </a:lnTo>
                  <a:lnTo>
                    <a:pt x="292" y="415"/>
                  </a:lnTo>
                  <a:lnTo>
                    <a:pt x="292" y="414"/>
                  </a:lnTo>
                  <a:lnTo>
                    <a:pt x="291" y="414"/>
                  </a:lnTo>
                  <a:lnTo>
                    <a:pt x="291" y="412"/>
                  </a:lnTo>
                  <a:lnTo>
                    <a:pt x="289" y="412"/>
                  </a:lnTo>
                  <a:lnTo>
                    <a:pt x="289" y="410"/>
                  </a:lnTo>
                  <a:lnTo>
                    <a:pt x="289" y="412"/>
                  </a:lnTo>
                  <a:lnTo>
                    <a:pt x="288" y="412"/>
                  </a:lnTo>
                  <a:lnTo>
                    <a:pt x="286" y="410"/>
                  </a:lnTo>
                  <a:lnTo>
                    <a:pt x="286" y="412"/>
                  </a:lnTo>
                  <a:lnTo>
                    <a:pt x="284" y="410"/>
                  </a:lnTo>
                  <a:lnTo>
                    <a:pt x="284" y="409"/>
                  </a:lnTo>
                  <a:lnTo>
                    <a:pt x="283" y="409"/>
                  </a:lnTo>
                  <a:lnTo>
                    <a:pt x="281" y="409"/>
                  </a:lnTo>
                  <a:lnTo>
                    <a:pt x="281" y="407"/>
                  </a:lnTo>
                  <a:lnTo>
                    <a:pt x="279" y="407"/>
                  </a:lnTo>
                  <a:lnTo>
                    <a:pt x="279" y="405"/>
                  </a:lnTo>
                  <a:lnTo>
                    <a:pt x="279" y="404"/>
                  </a:lnTo>
                  <a:lnTo>
                    <a:pt x="278" y="404"/>
                  </a:lnTo>
                  <a:lnTo>
                    <a:pt x="278" y="402"/>
                  </a:lnTo>
                  <a:lnTo>
                    <a:pt x="275" y="402"/>
                  </a:lnTo>
                  <a:lnTo>
                    <a:pt x="275" y="400"/>
                  </a:lnTo>
                  <a:lnTo>
                    <a:pt x="275" y="402"/>
                  </a:lnTo>
                  <a:lnTo>
                    <a:pt x="275" y="400"/>
                  </a:lnTo>
                  <a:lnTo>
                    <a:pt x="273" y="400"/>
                  </a:lnTo>
                  <a:lnTo>
                    <a:pt x="271" y="399"/>
                  </a:lnTo>
                  <a:lnTo>
                    <a:pt x="270" y="399"/>
                  </a:lnTo>
                  <a:lnTo>
                    <a:pt x="268" y="397"/>
                  </a:lnTo>
                  <a:lnTo>
                    <a:pt x="266" y="397"/>
                  </a:lnTo>
                  <a:lnTo>
                    <a:pt x="265" y="396"/>
                  </a:lnTo>
                  <a:lnTo>
                    <a:pt x="263" y="396"/>
                  </a:lnTo>
                  <a:lnTo>
                    <a:pt x="263" y="397"/>
                  </a:lnTo>
                  <a:lnTo>
                    <a:pt x="262" y="397"/>
                  </a:lnTo>
                  <a:lnTo>
                    <a:pt x="262" y="399"/>
                  </a:lnTo>
                  <a:lnTo>
                    <a:pt x="262" y="400"/>
                  </a:lnTo>
                  <a:lnTo>
                    <a:pt x="262" y="402"/>
                  </a:lnTo>
                  <a:lnTo>
                    <a:pt x="260" y="400"/>
                  </a:lnTo>
                  <a:lnTo>
                    <a:pt x="258" y="400"/>
                  </a:lnTo>
                  <a:lnTo>
                    <a:pt x="257" y="400"/>
                  </a:lnTo>
                  <a:lnTo>
                    <a:pt x="257" y="399"/>
                  </a:lnTo>
                  <a:lnTo>
                    <a:pt x="257" y="400"/>
                  </a:lnTo>
                  <a:lnTo>
                    <a:pt x="255" y="399"/>
                  </a:lnTo>
                  <a:lnTo>
                    <a:pt x="255" y="397"/>
                  </a:lnTo>
                  <a:lnTo>
                    <a:pt x="255" y="396"/>
                  </a:lnTo>
                  <a:lnTo>
                    <a:pt x="255" y="394"/>
                  </a:lnTo>
                  <a:lnTo>
                    <a:pt x="253" y="394"/>
                  </a:lnTo>
                  <a:lnTo>
                    <a:pt x="252" y="392"/>
                  </a:lnTo>
                  <a:lnTo>
                    <a:pt x="250" y="392"/>
                  </a:lnTo>
                  <a:lnTo>
                    <a:pt x="248" y="392"/>
                  </a:lnTo>
                  <a:lnTo>
                    <a:pt x="248" y="391"/>
                  </a:lnTo>
                  <a:lnTo>
                    <a:pt x="247" y="391"/>
                  </a:lnTo>
                  <a:lnTo>
                    <a:pt x="245" y="391"/>
                  </a:lnTo>
                  <a:lnTo>
                    <a:pt x="242" y="391"/>
                  </a:lnTo>
                  <a:lnTo>
                    <a:pt x="242" y="389"/>
                  </a:lnTo>
                  <a:lnTo>
                    <a:pt x="239" y="389"/>
                  </a:lnTo>
                  <a:lnTo>
                    <a:pt x="237" y="389"/>
                  </a:lnTo>
                  <a:lnTo>
                    <a:pt x="235" y="389"/>
                  </a:lnTo>
                  <a:lnTo>
                    <a:pt x="234" y="389"/>
                  </a:lnTo>
                  <a:lnTo>
                    <a:pt x="234" y="387"/>
                  </a:lnTo>
                  <a:lnTo>
                    <a:pt x="232" y="389"/>
                  </a:lnTo>
                  <a:lnTo>
                    <a:pt x="232" y="387"/>
                  </a:lnTo>
                  <a:lnTo>
                    <a:pt x="232" y="386"/>
                  </a:lnTo>
                  <a:lnTo>
                    <a:pt x="231" y="386"/>
                  </a:lnTo>
                  <a:lnTo>
                    <a:pt x="231" y="387"/>
                  </a:lnTo>
                  <a:lnTo>
                    <a:pt x="232" y="387"/>
                  </a:lnTo>
                  <a:lnTo>
                    <a:pt x="231" y="387"/>
                  </a:lnTo>
                  <a:lnTo>
                    <a:pt x="229" y="387"/>
                  </a:lnTo>
                  <a:lnTo>
                    <a:pt x="229" y="386"/>
                  </a:lnTo>
                  <a:lnTo>
                    <a:pt x="229" y="387"/>
                  </a:lnTo>
                  <a:lnTo>
                    <a:pt x="229" y="386"/>
                  </a:lnTo>
                  <a:lnTo>
                    <a:pt x="227" y="387"/>
                  </a:lnTo>
                  <a:lnTo>
                    <a:pt x="227" y="386"/>
                  </a:lnTo>
                  <a:lnTo>
                    <a:pt x="227" y="387"/>
                  </a:lnTo>
                  <a:lnTo>
                    <a:pt x="227" y="386"/>
                  </a:lnTo>
                  <a:lnTo>
                    <a:pt x="226" y="386"/>
                  </a:lnTo>
                  <a:lnTo>
                    <a:pt x="224" y="386"/>
                  </a:lnTo>
                  <a:lnTo>
                    <a:pt x="222" y="386"/>
                  </a:lnTo>
                  <a:lnTo>
                    <a:pt x="221" y="386"/>
                  </a:lnTo>
                  <a:lnTo>
                    <a:pt x="221" y="384"/>
                  </a:lnTo>
                  <a:lnTo>
                    <a:pt x="224" y="386"/>
                  </a:lnTo>
                  <a:lnTo>
                    <a:pt x="224" y="384"/>
                  </a:lnTo>
                  <a:lnTo>
                    <a:pt x="222" y="384"/>
                  </a:lnTo>
                  <a:lnTo>
                    <a:pt x="221" y="384"/>
                  </a:lnTo>
                  <a:lnTo>
                    <a:pt x="219" y="384"/>
                  </a:lnTo>
                  <a:lnTo>
                    <a:pt x="218" y="384"/>
                  </a:lnTo>
                  <a:lnTo>
                    <a:pt x="219" y="384"/>
                  </a:lnTo>
                  <a:lnTo>
                    <a:pt x="218" y="384"/>
                  </a:lnTo>
                  <a:lnTo>
                    <a:pt x="216" y="384"/>
                  </a:lnTo>
                  <a:lnTo>
                    <a:pt x="214" y="383"/>
                  </a:lnTo>
                  <a:lnTo>
                    <a:pt x="213" y="384"/>
                  </a:lnTo>
                  <a:lnTo>
                    <a:pt x="211" y="384"/>
                  </a:lnTo>
                  <a:lnTo>
                    <a:pt x="209" y="384"/>
                  </a:lnTo>
                  <a:lnTo>
                    <a:pt x="209" y="386"/>
                  </a:lnTo>
                  <a:lnTo>
                    <a:pt x="208" y="386"/>
                  </a:lnTo>
                  <a:lnTo>
                    <a:pt x="208" y="387"/>
                  </a:lnTo>
                  <a:lnTo>
                    <a:pt x="206" y="387"/>
                  </a:lnTo>
                  <a:lnTo>
                    <a:pt x="205" y="389"/>
                  </a:lnTo>
                  <a:lnTo>
                    <a:pt x="203" y="389"/>
                  </a:lnTo>
                  <a:lnTo>
                    <a:pt x="201" y="391"/>
                  </a:lnTo>
                  <a:lnTo>
                    <a:pt x="200" y="391"/>
                  </a:lnTo>
                  <a:lnTo>
                    <a:pt x="200" y="392"/>
                  </a:lnTo>
                  <a:lnTo>
                    <a:pt x="198" y="392"/>
                  </a:lnTo>
                  <a:lnTo>
                    <a:pt x="196" y="392"/>
                  </a:lnTo>
                  <a:lnTo>
                    <a:pt x="195" y="394"/>
                  </a:lnTo>
                  <a:lnTo>
                    <a:pt x="193" y="396"/>
                  </a:lnTo>
                  <a:lnTo>
                    <a:pt x="192" y="396"/>
                  </a:lnTo>
                  <a:lnTo>
                    <a:pt x="192" y="397"/>
                  </a:lnTo>
                  <a:lnTo>
                    <a:pt x="190" y="397"/>
                  </a:lnTo>
                  <a:lnTo>
                    <a:pt x="188" y="397"/>
                  </a:lnTo>
                  <a:lnTo>
                    <a:pt x="187" y="399"/>
                  </a:lnTo>
                  <a:lnTo>
                    <a:pt x="188" y="399"/>
                  </a:lnTo>
                  <a:lnTo>
                    <a:pt x="187" y="400"/>
                  </a:lnTo>
                  <a:lnTo>
                    <a:pt x="185" y="400"/>
                  </a:lnTo>
                  <a:lnTo>
                    <a:pt x="185" y="402"/>
                  </a:lnTo>
                  <a:lnTo>
                    <a:pt x="183" y="402"/>
                  </a:lnTo>
                  <a:lnTo>
                    <a:pt x="183" y="404"/>
                  </a:lnTo>
                  <a:lnTo>
                    <a:pt x="182" y="404"/>
                  </a:lnTo>
                  <a:lnTo>
                    <a:pt x="182" y="405"/>
                  </a:lnTo>
                  <a:lnTo>
                    <a:pt x="183" y="405"/>
                  </a:lnTo>
                  <a:lnTo>
                    <a:pt x="183" y="407"/>
                  </a:lnTo>
                  <a:lnTo>
                    <a:pt x="182" y="409"/>
                  </a:lnTo>
                  <a:lnTo>
                    <a:pt x="182" y="410"/>
                  </a:lnTo>
                  <a:lnTo>
                    <a:pt x="180" y="410"/>
                  </a:lnTo>
                  <a:lnTo>
                    <a:pt x="179" y="412"/>
                  </a:lnTo>
                  <a:lnTo>
                    <a:pt x="180" y="414"/>
                  </a:lnTo>
                  <a:lnTo>
                    <a:pt x="179" y="415"/>
                  </a:lnTo>
                  <a:lnTo>
                    <a:pt x="180" y="415"/>
                  </a:lnTo>
                  <a:lnTo>
                    <a:pt x="180" y="417"/>
                  </a:lnTo>
                  <a:lnTo>
                    <a:pt x="179" y="417"/>
                  </a:lnTo>
                  <a:lnTo>
                    <a:pt x="179" y="418"/>
                  </a:lnTo>
                  <a:lnTo>
                    <a:pt x="177" y="418"/>
                  </a:lnTo>
                  <a:lnTo>
                    <a:pt x="175" y="418"/>
                  </a:lnTo>
                  <a:lnTo>
                    <a:pt x="174" y="418"/>
                  </a:lnTo>
                  <a:lnTo>
                    <a:pt x="175" y="418"/>
                  </a:lnTo>
                  <a:lnTo>
                    <a:pt x="174" y="418"/>
                  </a:lnTo>
                  <a:lnTo>
                    <a:pt x="172" y="420"/>
                  </a:lnTo>
                  <a:lnTo>
                    <a:pt x="170" y="420"/>
                  </a:lnTo>
                  <a:lnTo>
                    <a:pt x="169" y="420"/>
                  </a:lnTo>
                  <a:lnTo>
                    <a:pt x="167" y="422"/>
                  </a:lnTo>
                  <a:lnTo>
                    <a:pt x="164" y="423"/>
                  </a:lnTo>
                  <a:lnTo>
                    <a:pt x="164" y="425"/>
                  </a:lnTo>
                  <a:lnTo>
                    <a:pt x="164" y="423"/>
                  </a:lnTo>
                  <a:lnTo>
                    <a:pt x="164" y="425"/>
                  </a:lnTo>
                  <a:lnTo>
                    <a:pt x="162" y="427"/>
                  </a:lnTo>
                  <a:lnTo>
                    <a:pt x="161" y="428"/>
                  </a:lnTo>
                  <a:lnTo>
                    <a:pt x="159" y="430"/>
                  </a:lnTo>
                  <a:lnTo>
                    <a:pt x="159" y="431"/>
                  </a:lnTo>
                  <a:lnTo>
                    <a:pt x="159" y="433"/>
                  </a:lnTo>
                  <a:lnTo>
                    <a:pt x="159" y="436"/>
                  </a:lnTo>
                  <a:lnTo>
                    <a:pt x="159" y="438"/>
                  </a:lnTo>
                  <a:lnTo>
                    <a:pt x="157" y="438"/>
                  </a:lnTo>
                  <a:lnTo>
                    <a:pt x="157" y="440"/>
                  </a:lnTo>
                  <a:lnTo>
                    <a:pt x="156" y="440"/>
                  </a:lnTo>
                  <a:lnTo>
                    <a:pt x="156" y="441"/>
                  </a:lnTo>
                  <a:lnTo>
                    <a:pt x="154" y="441"/>
                  </a:lnTo>
                  <a:lnTo>
                    <a:pt x="153" y="443"/>
                  </a:lnTo>
                  <a:lnTo>
                    <a:pt x="153" y="444"/>
                  </a:lnTo>
                  <a:lnTo>
                    <a:pt x="153" y="448"/>
                  </a:lnTo>
                  <a:lnTo>
                    <a:pt x="153" y="449"/>
                  </a:lnTo>
                  <a:lnTo>
                    <a:pt x="154" y="449"/>
                  </a:lnTo>
                  <a:lnTo>
                    <a:pt x="153" y="449"/>
                  </a:lnTo>
                  <a:lnTo>
                    <a:pt x="153" y="451"/>
                  </a:lnTo>
                  <a:lnTo>
                    <a:pt x="151" y="451"/>
                  </a:lnTo>
                  <a:lnTo>
                    <a:pt x="151" y="449"/>
                  </a:lnTo>
                  <a:lnTo>
                    <a:pt x="151" y="451"/>
                  </a:lnTo>
                  <a:lnTo>
                    <a:pt x="149" y="451"/>
                  </a:lnTo>
                  <a:lnTo>
                    <a:pt x="149" y="453"/>
                  </a:lnTo>
                  <a:lnTo>
                    <a:pt x="149" y="454"/>
                  </a:lnTo>
                  <a:lnTo>
                    <a:pt x="148" y="454"/>
                  </a:lnTo>
                  <a:lnTo>
                    <a:pt x="146" y="454"/>
                  </a:lnTo>
                  <a:lnTo>
                    <a:pt x="144" y="456"/>
                  </a:lnTo>
                  <a:lnTo>
                    <a:pt x="143" y="457"/>
                  </a:lnTo>
                  <a:lnTo>
                    <a:pt x="144" y="457"/>
                  </a:lnTo>
                  <a:lnTo>
                    <a:pt x="143" y="457"/>
                  </a:lnTo>
                  <a:lnTo>
                    <a:pt x="143" y="459"/>
                  </a:lnTo>
                  <a:lnTo>
                    <a:pt x="141" y="459"/>
                  </a:lnTo>
                  <a:lnTo>
                    <a:pt x="140" y="459"/>
                  </a:lnTo>
                  <a:lnTo>
                    <a:pt x="138" y="459"/>
                  </a:lnTo>
                  <a:lnTo>
                    <a:pt x="138" y="461"/>
                  </a:lnTo>
                  <a:lnTo>
                    <a:pt x="136" y="461"/>
                  </a:lnTo>
                  <a:lnTo>
                    <a:pt x="138" y="461"/>
                  </a:lnTo>
                  <a:lnTo>
                    <a:pt x="136" y="461"/>
                  </a:lnTo>
                  <a:lnTo>
                    <a:pt x="135" y="461"/>
                  </a:lnTo>
                  <a:lnTo>
                    <a:pt x="135" y="462"/>
                  </a:lnTo>
                  <a:lnTo>
                    <a:pt x="133" y="462"/>
                  </a:lnTo>
                  <a:lnTo>
                    <a:pt x="131" y="462"/>
                  </a:lnTo>
                  <a:lnTo>
                    <a:pt x="131" y="464"/>
                  </a:lnTo>
                  <a:lnTo>
                    <a:pt x="130" y="464"/>
                  </a:lnTo>
                  <a:lnTo>
                    <a:pt x="128" y="464"/>
                  </a:lnTo>
                  <a:lnTo>
                    <a:pt x="127" y="466"/>
                  </a:lnTo>
                  <a:lnTo>
                    <a:pt x="125" y="466"/>
                  </a:lnTo>
                  <a:lnTo>
                    <a:pt x="123" y="466"/>
                  </a:lnTo>
                  <a:lnTo>
                    <a:pt x="122" y="466"/>
                  </a:lnTo>
                  <a:lnTo>
                    <a:pt x="120" y="467"/>
                  </a:lnTo>
                  <a:lnTo>
                    <a:pt x="118" y="467"/>
                  </a:lnTo>
                  <a:lnTo>
                    <a:pt x="117" y="469"/>
                  </a:lnTo>
                  <a:lnTo>
                    <a:pt x="115" y="467"/>
                  </a:lnTo>
                  <a:lnTo>
                    <a:pt x="114" y="467"/>
                  </a:lnTo>
                  <a:lnTo>
                    <a:pt x="114" y="469"/>
                  </a:lnTo>
                  <a:lnTo>
                    <a:pt x="114" y="467"/>
                  </a:lnTo>
                  <a:lnTo>
                    <a:pt x="112" y="467"/>
                  </a:lnTo>
                  <a:lnTo>
                    <a:pt x="112" y="469"/>
                  </a:lnTo>
                  <a:lnTo>
                    <a:pt x="110" y="469"/>
                  </a:lnTo>
                  <a:lnTo>
                    <a:pt x="109" y="469"/>
                  </a:lnTo>
                  <a:lnTo>
                    <a:pt x="109" y="470"/>
                  </a:lnTo>
                  <a:lnTo>
                    <a:pt x="107" y="470"/>
                  </a:lnTo>
                  <a:lnTo>
                    <a:pt x="105" y="470"/>
                  </a:lnTo>
                  <a:lnTo>
                    <a:pt x="104" y="470"/>
                  </a:lnTo>
                  <a:lnTo>
                    <a:pt x="104" y="472"/>
                  </a:lnTo>
                  <a:lnTo>
                    <a:pt x="102" y="472"/>
                  </a:lnTo>
                  <a:lnTo>
                    <a:pt x="100" y="474"/>
                  </a:lnTo>
                  <a:lnTo>
                    <a:pt x="99" y="472"/>
                  </a:lnTo>
                  <a:lnTo>
                    <a:pt x="96" y="472"/>
                  </a:lnTo>
                  <a:lnTo>
                    <a:pt x="94" y="472"/>
                  </a:lnTo>
                  <a:lnTo>
                    <a:pt x="92" y="472"/>
                  </a:lnTo>
                  <a:lnTo>
                    <a:pt x="92" y="470"/>
                  </a:lnTo>
                  <a:lnTo>
                    <a:pt x="91" y="470"/>
                  </a:lnTo>
                  <a:lnTo>
                    <a:pt x="89" y="472"/>
                  </a:lnTo>
                  <a:lnTo>
                    <a:pt x="87" y="472"/>
                  </a:lnTo>
                  <a:lnTo>
                    <a:pt x="86" y="472"/>
                  </a:lnTo>
                  <a:lnTo>
                    <a:pt x="86" y="470"/>
                  </a:lnTo>
                  <a:lnTo>
                    <a:pt x="84" y="469"/>
                  </a:lnTo>
                  <a:lnTo>
                    <a:pt x="84" y="467"/>
                  </a:lnTo>
                  <a:lnTo>
                    <a:pt x="84" y="464"/>
                  </a:lnTo>
                  <a:lnTo>
                    <a:pt x="83" y="462"/>
                  </a:lnTo>
                  <a:lnTo>
                    <a:pt x="83" y="461"/>
                  </a:lnTo>
                  <a:lnTo>
                    <a:pt x="83" y="459"/>
                  </a:lnTo>
                  <a:lnTo>
                    <a:pt x="84" y="457"/>
                  </a:lnTo>
                  <a:lnTo>
                    <a:pt x="86" y="457"/>
                  </a:lnTo>
                  <a:lnTo>
                    <a:pt x="87" y="457"/>
                  </a:lnTo>
                  <a:lnTo>
                    <a:pt x="89" y="456"/>
                  </a:lnTo>
                  <a:lnTo>
                    <a:pt x="89" y="454"/>
                  </a:lnTo>
                  <a:lnTo>
                    <a:pt x="89" y="453"/>
                  </a:lnTo>
                  <a:lnTo>
                    <a:pt x="91" y="451"/>
                  </a:lnTo>
                  <a:lnTo>
                    <a:pt x="91" y="449"/>
                  </a:lnTo>
                  <a:lnTo>
                    <a:pt x="92" y="449"/>
                  </a:lnTo>
                  <a:lnTo>
                    <a:pt x="92" y="448"/>
                  </a:lnTo>
                  <a:lnTo>
                    <a:pt x="94" y="448"/>
                  </a:lnTo>
                  <a:lnTo>
                    <a:pt x="96" y="448"/>
                  </a:lnTo>
                  <a:lnTo>
                    <a:pt x="97" y="446"/>
                  </a:lnTo>
                  <a:lnTo>
                    <a:pt x="99" y="446"/>
                  </a:lnTo>
                  <a:lnTo>
                    <a:pt x="99" y="444"/>
                  </a:lnTo>
                  <a:lnTo>
                    <a:pt x="100" y="443"/>
                  </a:lnTo>
                  <a:lnTo>
                    <a:pt x="100" y="441"/>
                  </a:lnTo>
                  <a:lnTo>
                    <a:pt x="100" y="440"/>
                  </a:lnTo>
                  <a:lnTo>
                    <a:pt x="100" y="438"/>
                  </a:lnTo>
                  <a:lnTo>
                    <a:pt x="104" y="436"/>
                  </a:lnTo>
                  <a:lnTo>
                    <a:pt x="105" y="436"/>
                  </a:lnTo>
                  <a:lnTo>
                    <a:pt x="105" y="435"/>
                  </a:lnTo>
                  <a:lnTo>
                    <a:pt x="105" y="433"/>
                  </a:lnTo>
                  <a:lnTo>
                    <a:pt x="105" y="431"/>
                  </a:lnTo>
                  <a:lnTo>
                    <a:pt x="107" y="430"/>
                  </a:lnTo>
                  <a:lnTo>
                    <a:pt x="105" y="430"/>
                  </a:lnTo>
                  <a:lnTo>
                    <a:pt x="105" y="428"/>
                  </a:lnTo>
                  <a:lnTo>
                    <a:pt x="104" y="425"/>
                  </a:lnTo>
                  <a:lnTo>
                    <a:pt x="102" y="425"/>
                  </a:lnTo>
                  <a:lnTo>
                    <a:pt x="102" y="423"/>
                  </a:lnTo>
                  <a:lnTo>
                    <a:pt x="102" y="422"/>
                  </a:lnTo>
                  <a:lnTo>
                    <a:pt x="102" y="420"/>
                  </a:lnTo>
                  <a:lnTo>
                    <a:pt x="102" y="418"/>
                  </a:lnTo>
                  <a:lnTo>
                    <a:pt x="104" y="417"/>
                  </a:lnTo>
                  <a:lnTo>
                    <a:pt x="102" y="417"/>
                  </a:lnTo>
                  <a:lnTo>
                    <a:pt x="99" y="417"/>
                  </a:lnTo>
                  <a:lnTo>
                    <a:pt x="97" y="420"/>
                  </a:lnTo>
                  <a:lnTo>
                    <a:pt x="94" y="420"/>
                  </a:lnTo>
                  <a:lnTo>
                    <a:pt x="92" y="420"/>
                  </a:lnTo>
                  <a:lnTo>
                    <a:pt x="91" y="420"/>
                  </a:lnTo>
                  <a:lnTo>
                    <a:pt x="87" y="422"/>
                  </a:lnTo>
                  <a:lnTo>
                    <a:pt x="86" y="422"/>
                  </a:lnTo>
                  <a:lnTo>
                    <a:pt x="84" y="420"/>
                  </a:lnTo>
                  <a:lnTo>
                    <a:pt x="84" y="422"/>
                  </a:lnTo>
                  <a:lnTo>
                    <a:pt x="83" y="422"/>
                  </a:lnTo>
                  <a:lnTo>
                    <a:pt x="81" y="422"/>
                  </a:lnTo>
                  <a:lnTo>
                    <a:pt x="79" y="423"/>
                  </a:lnTo>
                  <a:lnTo>
                    <a:pt x="78" y="422"/>
                  </a:lnTo>
                  <a:lnTo>
                    <a:pt x="76" y="423"/>
                  </a:lnTo>
                  <a:lnTo>
                    <a:pt x="76" y="425"/>
                  </a:lnTo>
                  <a:lnTo>
                    <a:pt x="74" y="423"/>
                  </a:lnTo>
                  <a:lnTo>
                    <a:pt x="73" y="423"/>
                  </a:lnTo>
                  <a:lnTo>
                    <a:pt x="71" y="423"/>
                  </a:lnTo>
                  <a:lnTo>
                    <a:pt x="70" y="423"/>
                  </a:lnTo>
                  <a:lnTo>
                    <a:pt x="68" y="420"/>
                  </a:lnTo>
                  <a:lnTo>
                    <a:pt x="66" y="420"/>
                  </a:lnTo>
                  <a:lnTo>
                    <a:pt x="65" y="420"/>
                  </a:lnTo>
                  <a:lnTo>
                    <a:pt x="63" y="420"/>
                  </a:lnTo>
                  <a:lnTo>
                    <a:pt x="61" y="420"/>
                  </a:lnTo>
                  <a:lnTo>
                    <a:pt x="60" y="418"/>
                  </a:lnTo>
                  <a:lnTo>
                    <a:pt x="58" y="417"/>
                  </a:lnTo>
                  <a:lnTo>
                    <a:pt x="58" y="415"/>
                  </a:lnTo>
                  <a:lnTo>
                    <a:pt x="57" y="415"/>
                  </a:lnTo>
                  <a:lnTo>
                    <a:pt x="57" y="417"/>
                  </a:lnTo>
                  <a:lnTo>
                    <a:pt x="55" y="417"/>
                  </a:lnTo>
                  <a:lnTo>
                    <a:pt x="55" y="415"/>
                  </a:lnTo>
                  <a:lnTo>
                    <a:pt x="53" y="414"/>
                  </a:lnTo>
                  <a:lnTo>
                    <a:pt x="52" y="412"/>
                  </a:lnTo>
                  <a:lnTo>
                    <a:pt x="50" y="410"/>
                  </a:lnTo>
                  <a:lnTo>
                    <a:pt x="48" y="410"/>
                  </a:lnTo>
                  <a:lnTo>
                    <a:pt x="45" y="409"/>
                  </a:lnTo>
                  <a:lnTo>
                    <a:pt x="44" y="409"/>
                  </a:lnTo>
                  <a:lnTo>
                    <a:pt x="42" y="407"/>
                  </a:lnTo>
                  <a:lnTo>
                    <a:pt x="40" y="407"/>
                  </a:lnTo>
                  <a:lnTo>
                    <a:pt x="39" y="407"/>
                  </a:lnTo>
                  <a:lnTo>
                    <a:pt x="37" y="407"/>
                  </a:lnTo>
                  <a:lnTo>
                    <a:pt x="35" y="407"/>
                  </a:lnTo>
                  <a:lnTo>
                    <a:pt x="35" y="405"/>
                  </a:lnTo>
                  <a:lnTo>
                    <a:pt x="34" y="405"/>
                  </a:lnTo>
                  <a:lnTo>
                    <a:pt x="32" y="404"/>
                  </a:lnTo>
                  <a:lnTo>
                    <a:pt x="32" y="402"/>
                  </a:lnTo>
                  <a:lnTo>
                    <a:pt x="32" y="399"/>
                  </a:lnTo>
                  <a:lnTo>
                    <a:pt x="31" y="399"/>
                  </a:lnTo>
                  <a:lnTo>
                    <a:pt x="31" y="397"/>
                  </a:lnTo>
                  <a:lnTo>
                    <a:pt x="29" y="397"/>
                  </a:lnTo>
                  <a:lnTo>
                    <a:pt x="29" y="396"/>
                  </a:lnTo>
                  <a:lnTo>
                    <a:pt x="29" y="394"/>
                  </a:lnTo>
                  <a:lnTo>
                    <a:pt x="27" y="392"/>
                  </a:lnTo>
                  <a:lnTo>
                    <a:pt x="26" y="391"/>
                  </a:lnTo>
                  <a:lnTo>
                    <a:pt x="26" y="389"/>
                  </a:lnTo>
                  <a:lnTo>
                    <a:pt x="24" y="387"/>
                  </a:lnTo>
                  <a:lnTo>
                    <a:pt x="22" y="387"/>
                  </a:lnTo>
                  <a:lnTo>
                    <a:pt x="24" y="384"/>
                  </a:lnTo>
                  <a:lnTo>
                    <a:pt x="24" y="381"/>
                  </a:lnTo>
                  <a:lnTo>
                    <a:pt x="24" y="379"/>
                  </a:lnTo>
                  <a:lnTo>
                    <a:pt x="24" y="378"/>
                  </a:lnTo>
                  <a:lnTo>
                    <a:pt x="26" y="378"/>
                  </a:lnTo>
                  <a:lnTo>
                    <a:pt x="27" y="378"/>
                  </a:lnTo>
                  <a:lnTo>
                    <a:pt x="29" y="378"/>
                  </a:lnTo>
                  <a:lnTo>
                    <a:pt x="27" y="376"/>
                  </a:lnTo>
                  <a:lnTo>
                    <a:pt x="26" y="374"/>
                  </a:lnTo>
                  <a:lnTo>
                    <a:pt x="26" y="373"/>
                  </a:lnTo>
                  <a:lnTo>
                    <a:pt x="24" y="373"/>
                  </a:lnTo>
                  <a:lnTo>
                    <a:pt x="22" y="371"/>
                  </a:lnTo>
                  <a:lnTo>
                    <a:pt x="22" y="370"/>
                  </a:lnTo>
                  <a:lnTo>
                    <a:pt x="21" y="368"/>
                  </a:lnTo>
                  <a:lnTo>
                    <a:pt x="21" y="366"/>
                  </a:lnTo>
                  <a:lnTo>
                    <a:pt x="19" y="365"/>
                  </a:lnTo>
                  <a:lnTo>
                    <a:pt x="19" y="363"/>
                  </a:lnTo>
                  <a:lnTo>
                    <a:pt x="21" y="363"/>
                  </a:lnTo>
                  <a:lnTo>
                    <a:pt x="21" y="361"/>
                  </a:lnTo>
                  <a:lnTo>
                    <a:pt x="22" y="360"/>
                  </a:lnTo>
                  <a:lnTo>
                    <a:pt x="24" y="360"/>
                  </a:lnTo>
                  <a:lnTo>
                    <a:pt x="26" y="358"/>
                  </a:lnTo>
                  <a:lnTo>
                    <a:pt x="27" y="357"/>
                  </a:lnTo>
                  <a:lnTo>
                    <a:pt x="29" y="355"/>
                  </a:lnTo>
                  <a:lnTo>
                    <a:pt x="27" y="355"/>
                  </a:lnTo>
                  <a:lnTo>
                    <a:pt x="29" y="353"/>
                  </a:lnTo>
                  <a:lnTo>
                    <a:pt x="31" y="352"/>
                  </a:lnTo>
                  <a:lnTo>
                    <a:pt x="31" y="350"/>
                  </a:lnTo>
                  <a:lnTo>
                    <a:pt x="32" y="350"/>
                  </a:lnTo>
                  <a:lnTo>
                    <a:pt x="31" y="348"/>
                  </a:lnTo>
                  <a:lnTo>
                    <a:pt x="31" y="345"/>
                  </a:lnTo>
                  <a:lnTo>
                    <a:pt x="31" y="344"/>
                  </a:lnTo>
                  <a:lnTo>
                    <a:pt x="32" y="342"/>
                  </a:lnTo>
                  <a:lnTo>
                    <a:pt x="34" y="340"/>
                  </a:lnTo>
                  <a:lnTo>
                    <a:pt x="35" y="340"/>
                  </a:lnTo>
                  <a:lnTo>
                    <a:pt x="37" y="340"/>
                  </a:lnTo>
                  <a:lnTo>
                    <a:pt x="39" y="340"/>
                  </a:lnTo>
                  <a:lnTo>
                    <a:pt x="40" y="342"/>
                  </a:lnTo>
                  <a:lnTo>
                    <a:pt x="42" y="342"/>
                  </a:lnTo>
                  <a:lnTo>
                    <a:pt x="44" y="342"/>
                  </a:lnTo>
                  <a:lnTo>
                    <a:pt x="44" y="340"/>
                  </a:lnTo>
                  <a:lnTo>
                    <a:pt x="42" y="339"/>
                  </a:lnTo>
                  <a:lnTo>
                    <a:pt x="42" y="337"/>
                  </a:lnTo>
                  <a:lnTo>
                    <a:pt x="40" y="337"/>
                  </a:lnTo>
                  <a:lnTo>
                    <a:pt x="39" y="335"/>
                  </a:lnTo>
                  <a:lnTo>
                    <a:pt x="39" y="334"/>
                  </a:lnTo>
                  <a:lnTo>
                    <a:pt x="39" y="332"/>
                  </a:lnTo>
                  <a:lnTo>
                    <a:pt x="39" y="329"/>
                  </a:lnTo>
                  <a:lnTo>
                    <a:pt x="37" y="327"/>
                  </a:lnTo>
                  <a:lnTo>
                    <a:pt x="37" y="326"/>
                  </a:lnTo>
                  <a:lnTo>
                    <a:pt x="39" y="324"/>
                  </a:lnTo>
                  <a:lnTo>
                    <a:pt x="39" y="322"/>
                  </a:lnTo>
                  <a:lnTo>
                    <a:pt x="37" y="321"/>
                  </a:lnTo>
                  <a:lnTo>
                    <a:pt x="37" y="319"/>
                  </a:lnTo>
                  <a:lnTo>
                    <a:pt x="35" y="319"/>
                  </a:lnTo>
                  <a:lnTo>
                    <a:pt x="34" y="318"/>
                  </a:lnTo>
                  <a:lnTo>
                    <a:pt x="32" y="318"/>
                  </a:lnTo>
                  <a:lnTo>
                    <a:pt x="29" y="316"/>
                  </a:lnTo>
                  <a:lnTo>
                    <a:pt x="29" y="318"/>
                  </a:lnTo>
                  <a:lnTo>
                    <a:pt x="27" y="318"/>
                  </a:lnTo>
                  <a:lnTo>
                    <a:pt x="22" y="318"/>
                  </a:lnTo>
                  <a:lnTo>
                    <a:pt x="22" y="316"/>
                  </a:lnTo>
                  <a:lnTo>
                    <a:pt x="21" y="316"/>
                  </a:lnTo>
                  <a:lnTo>
                    <a:pt x="19" y="316"/>
                  </a:lnTo>
                  <a:lnTo>
                    <a:pt x="19" y="314"/>
                  </a:lnTo>
                  <a:lnTo>
                    <a:pt x="18" y="314"/>
                  </a:lnTo>
                  <a:lnTo>
                    <a:pt x="16" y="313"/>
                  </a:lnTo>
                  <a:lnTo>
                    <a:pt x="16" y="311"/>
                  </a:lnTo>
                  <a:lnTo>
                    <a:pt x="14" y="311"/>
                  </a:lnTo>
                  <a:lnTo>
                    <a:pt x="14" y="309"/>
                  </a:lnTo>
                  <a:lnTo>
                    <a:pt x="11" y="309"/>
                  </a:lnTo>
                  <a:lnTo>
                    <a:pt x="11" y="308"/>
                  </a:lnTo>
                  <a:lnTo>
                    <a:pt x="11" y="306"/>
                  </a:lnTo>
                  <a:lnTo>
                    <a:pt x="13" y="305"/>
                  </a:lnTo>
                  <a:lnTo>
                    <a:pt x="11" y="303"/>
                  </a:lnTo>
                  <a:lnTo>
                    <a:pt x="13" y="301"/>
                  </a:lnTo>
                  <a:lnTo>
                    <a:pt x="13" y="300"/>
                  </a:lnTo>
                  <a:lnTo>
                    <a:pt x="11" y="298"/>
                  </a:lnTo>
                  <a:lnTo>
                    <a:pt x="11" y="296"/>
                  </a:lnTo>
                  <a:lnTo>
                    <a:pt x="13" y="295"/>
                  </a:lnTo>
                  <a:lnTo>
                    <a:pt x="11" y="295"/>
                  </a:lnTo>
                  <a:lnTo>
                    <a:pt x="11" y="293"/>
                  </a:lnTo>
                  <a:lnTo>
                    <a:pt x="9" y="292"/>
                  </a:lnTo>
                  <a:lnTo>
                    <a:pt x="5" y="292"/>
                  </a:lnTo>
                  <a:lnTo>
                    <a:pt x="3" y="290"/>
                  </a:lnTo>
                  <a:lnTo>
                    <a:pt x="3" y="288"/>
                  </a:lnTo>
                  <a:lnTo>
                    <a:pt x="3" y="287"/>
                  </a:lnTo>
                  <a:lnTo>
                    <a:pt x="3" y="285"/>
                  </a:lnTo>
                  <a:lnTo>
                    <a:pt x="1" y="283"/>
                  </a:lnTo>
                  <a:lnTo>
                    <a:pt x="1" y="282"/>
                  </a:lnTo>
                  <a:lnTo>
                    <a:pt x="0" y="280"/>
                  </a:lnTo>
                  <a:lnTo>
                    <a:pt x="0" y="279"/>
                  </a:lnTo>
                  <a:lnTo>
                    <a:pt x="1" y="279"/>
                  </a:lnTo>
                  <a:lnTo>
                    <a:pt x="3" y="277"/>
                  </a:lnTo>
                  <a:lnTo>
                    <a:pt x="5" y="277"/>
                  </a:lnTo>
                  <a:lnTo>
                    <a:pt x="5" y="275"/>
                  </a:lnTo>
                  <a:lnTo>
                    <a:pt x="9" y="275"/>
                  </a:lnTo>
                  <a:lnTo>
                    <a:pt x="11" y="275"/>
                  </a:lnTo>
                  <a:lnTo>
                    <a:pt x="13" y="275"/>
                  </a:lnTo>
                  <a:lnTo>
                    <a:pt x="14" y="274"/>
                  </a:lnTo>
                  <a:lnTo>
                    <a:pt x="14" y="272"/>
                  </a:lnTo>
                  <a:lnTo>
                    <a:pt x="16" y="272"/>
                  </a:lnTo>
                  <a:lnTo>
                    <a:pt x="16" y="274"/>
                  </a:lnTo>
                  <a:lnTo>
                    <a:pt x="18" y="274"/>
                  </a:lnTo>
                  <a:lnTo>
                    <a:pt x="19" y="274"/>
                  </a:lnTo>
                  <a:lnTo>
                    <a:pt x="22" y="277"/>
                  </a:lnTo>
                  <a:lnTo>
                    <a:pt x="24" y="277"/>
                  </a:lnTo>
                  <a:lnTo>
                    <a:pt x="27" y="277"/>
                  </a:lnTo>
                  <a:lnTo>
                    <a:pt x="27" y="275"/>
                  </a:lnTo>
                  <a:lnTo>
                    <a:pt x="27" y="274"/>
                  </a:lnTo>
                  <a:lnTo>
                    <a:pt x="27" y="272"/>
                  </a:lnTo>
                  <a:lnTo>
                    <a:pt x="29" y="272"/>
                  </a:lnTo>
                  <a:lnTo>
                    <a:pt x="32" y="272"/>
                  </a:lnTo>
                  <a:lnTo>
                    <a:pt x="32" y="270"/>
                  </a:lnTo>
                  <a:lnTo>
                    <a:pt x="34" y="270"/>
                  </a:lnTo>
                  <a:lnTo>
                    <a:pt x="34" y="269"/>
                  </a:lnTo>
                  <a:lnTo>
                    <a:pt x="35" y="267"/>
                  </a:lnTo>
                  <a:lnTo>
                    <a:pt x="34" y="267"/>
                  </a:lnTo>
                  <a:lnTo>
                    <a:pt x="35" y="266"/>
                  </a:lnTo>
                  <a:lnTo>
                    <a:pt x="37" y="266"/>
                  </a:lnTo>
                  <a:lnTo>
                    <a:pt x="39" y="266"/>
                  </a:lnTo>
                  <a:lnTo>
                    <a:pt x="40" y="266"/>
                  </a:lnTo>
                  <a:lnTo>
                    <a:pt x="42" y="266"/>
                  </a:lnTo>
                  <a:lnTo>
                    <a:pt x="44" y="264"/>
                  </a:lnTo>
                  <a:lnTo>
                    <a:pt x="45" y="266"/>
                  </a:lnTo>
                  <a:lnTo>
                    <a:pt x="47" y="266"/>
                  </a:lnTo>
                  <a:lnTo>
                    <a:pt x="47" y="264"/>
                  </a:lnTo>
                  <a:lnTo>
                    <a:pt x="48" y="262"/>
                  </a:lnTo>
                  <a:lnTo>
                    <a:pt x="50" y="262"/>
                  </a:lnTo>
                  <a:lnTo>
                    <a:pt x="52" y="262"/>
                  </a:lnTo>
                  <a:lnTo>
                    <a:pt x="53" y="261"/>
                  </a:lnTo>
                  <a:lnTo>
                    <a:pt x="52" y="259"/>
                  </a:lnTo>
                  <a:lnTo>
                    <a:pt x="52" y="257"/>
                  </a:lnTo>
                  <a:lnTo>
                    <a:pt x="52" y="256"/>
                  </a:lnTo>
                  <a:lnTo>
                    <a:pt x="50" y="252"/>
                  </a:lnTo>
                  <a:lnTo>
                    <a:pt x="50" y="251"/>
                  </a:lnTo>
                  <a:lnTo>
                    <a:pt x="50" y="249"/>
                  </a:lnTo>
                  <a:lnTo>
                    <a:pt x="52" y="249"/>
                  </a:lnTo>
                  <a:lnTo>
                    <a:pt x="53" y="249"/>
                  </a:lnTo>
                  <a:lnTo>
                    <a:pt x="53" y="248"/>
                  </a:lnTo>
                  <a:lnTo>
                    <a:pt x="55" y="246"/>
                  </a:lnTo>
                  <a:lnTo>
                    <a:pt x="55" y="244"/>
                  </a:lnTo>
                  <a:lnTo>
                    <a:pt x="57" y="243"/>
                  </a:lnTo>
                  <a:lnTo>
                    <a:pt x="58" y="241"/>
                  </a:lnTo>
                  <a:lnTo>
                    <a:pt x="58" y="239"/>
                  </a:lnTo>
                  <a:lnTo>
                    <a:pt x="55" y="238"/>
                  </a:lnTo>
                  <a:lnTo>
                    <a:pt x="55" y="236"/>
                  </a:lnTo>
                  <a:lnTo>
                    <a:pt x="53" y="236"/>
                  </a:lnTo>
                  <a:lnTo>
                    <a:pt x="52" y="235"/>
                  </a:lnTo>
                  <a:lnTo>
                    <a:pt x="50" y="233"/>
                  </a:lnTo>
                  <a:lnTo>
                    <a:pt x="50" y="231"/>
                  </a:lnTo>
                  <a:lnTo>
                    <a:pt x="50" y="230"/>
                  </a:lnTo>
                  <a:lnTo>
                    <a:pt x="48" y="230"/>
                  </a:lnTo>
                  <a:lnTo>
                    <a:pt x="47" y="228"/>
                  </a:lnTo>
                  <a:lnTo>
                    <a:pt x="45" y="230"/>
                  </a:lnTo>
                  <a:lnTo>
                    <a:pt x="45" y="228"/>
                  </a:lnTo>
                  <a:lnTo>
                    <a:pt x="45" y="226"/>
                  </a:lnTo>
                  <a:lnTo>
                    <a:pt x="45" y="225"/>
                  </a:lnTo>
                  <a:lnTo>
                    <a:pt x="42" y="225"/>
                  </a:lnTo>
                  <a:lnTo>
                    <a:pt x="40" y="225"/>
                  </a:lnTo>
                  <a:lnTo>
                    <a:pt x="40" y="223"/>
                  </a:lnTo>
                  <a:lnTo>
                    <a:pt x="40" y="222"/>
                  </a:lnTo>
                  <a:lnTo>
                    <a:pt x="39" y="220"/>
                  </a:lnTo>
                  <a:lnTo>
                    <a:pt x="40" y="218"/>
                  </a:lnTo>
                  <a:lnTo>
                    <a:pt x="39" y="217"/>
                  </a:lnTo>
                  <a:lnTo>
                    <a:pt x="40" y="215"/>
                  </a:lnTo>
                  <a:lnTo>
                    <a:pt x="40" y="213"/>
                  </a:lnTo>
                  <a:lnTo>
                    <a:pt x="39" y="213"/>
                  </a:lnTo>
                  <a:lnTo>
                    <a:pt x="39" y="212"/>
                  </a:lnTo>
                  <a:lnTo>
                    <a:pt x="39" y="210"/>
                  </a:lnTo>
                  <a:lnTo>
                    <a:pt x="39" y="209"/>
                  </a:lnTo>
                  <a:lnTo>
                    <a:pt x="40" y="207"/>
                  </a:lnTo>
                  <a:lnTo>
                    <a:pt x="40" y="205"/>
                  </a:lnTo>
                  <a:lnTo>
                    <a:pt x="40" y="204"/>
                  </a:lnTo>
                  <a:lnTo>
                    <a:pt x="39" y="204"/>
                  </a:lnTo>
                  <a:lnTo>
                    <a:pt x="37" y="202"/>
                  </a:lnTo>
                  <a:lnTo>
                    <a:pt x="35" y="204"/>
                  </a:lnTo>
                  <a:lnTo>
                    <a:pt x="34" y="204"/>
                  </a:lnTo>
                  <a:lnTo>
                    <a:pt x="32" y="202"/>
                  </a:lnTo>
                  <a:lnTo>
                    <a:pt x="32" y="200"/>
                  </a:lnTo>
                  <a:lnTo>
                    <a:pt x="32" y="199"/>
                  </a:lnTo>
                  <a:lnTo>
                    <a:pt x="31" y="199"/>
                  </a:lnTo>
                  <a:lnTo>
                    <a:pt x="29" y="199"/>
                  </a:lnTo>
                  <a:lnTo>
                    <a:pt x="27" y="199"/>
                  </a:lnTo>
                  <a:lnTo>
                    <a:pt x="26" y="197"/>
                  </a:lnTo>
                  <a:lnTo>
                    <a:pt x="26" y="196"/>
                  </a:lnTo>
                  <a:lnTo>
                    <a:pt x="24" y="196"/>
                  </a:lnTo>
                  <a:lnTo>
                    <a:pt x="22" y="192"/>
                  </a:lnTo>
                  <a:lnTo>
                    <a:pt x="22" y="191"/>
                  </a:lnTo>
                  <a:lnTo>
                    <a:pt x="22" y="187"/>
                  </a:lnTo>
                  <a:lnTo>
                    <a:pt x="22" y="184"/>
                  </a:lnTo>
                  <a:lnTo>
                    <a:pt x="22" y="183"/>
                  </a:lnTo>
                  <a:lnTo>
                    <a:pt x="22" y="181"/>
                  </a:lnTo>
                  <a:lnTo>
                    <a:pt x="22" y="179"/>
                  </a:lnTo>
                  <a:lnTo>
                    <a:pt x="24" y="176"/>
                  </a:lnTo>
                  <a:lnTo>
                    <a:pt x="26" y="176"/>
                  </a:lnTo>
                  <a:lnTo>
                    <a:pt x="27" y="176"/>
                  </a:lnTo>
                  <a:lnTo>
                    <a:pt x="29" y="176"/>
                  </a:lnTo>
                  <a:lnTo>
                    <a:pt x="29" y="174"/>
                  </a:lnTo>
                  <a:lnTo>
                    <a:pt x="31" y="174"/>
                  </a:lnTo>
                  <a:lnTo>
                    <a:pt x="32" y="176"/>
                  </a:lnTo>
                  <a:lnTo>
                    <a:pt x="34" y="176"/>
                  </a:lnTo>
                  <a:lnTo>
                    <a:pt x="34" y="174"/>
                  </a:lnTo>
                  <a:lnTo>
                    <a:pt x="35" y="174"/>
                  </a:lnTo>
                  <a:lnTo>
                    <a:pt x="37" y="173"/>
                  </a:lnTo>
                  <a:lnTo>
                    <a:pt x="39" y="173"/>
                  </a:lnTo>
                  <a:lnTo>
                    <a:pt x="42" y="173"/>
                  </a:lnTo>
                  <a:lnTo>
                    <a:pt x="42" y="171"/>
                  </a:lnTo>
                  <a:lnTo>
                    <a:pt x="42" y="170"/>
                  </a:lnTo>
                  <a:lnTo>
                    <a:pt x="42" y="168"/>
                  </a:lnTo>
                  <a:lnTo>
                    <a:pt x="44" y="166"/>
                  </a:lnTo>
                  <a:lnTo>
                    <a:pt x="45" y="165"/>
                  </a:lnTo>
                  <a:lnTo>
                    <a:pt x="47" y="165"/>
                  </a:lnTo>
                  <a:lnTo>
                    <a:pt x="48" y="166"/>
                  </a:lnTo>
                  <a:lnTo>
                    <a:pt x="48" y="168"/>
                  </a:lnTo>
                  <a:lnTo>
                    <a:pt x="50" y="168"/>
                  </a:lnTo>
                  <a:lnTo>
                    <a:pt x="50" y="170"/>
                  </a:lnTo>
                  <a:lnTo>
                    <a:pt x="52" y="171"/>
                  </a:lnTo>
                  <a:lnTo>
                    <a:pt x="52" y="174"/>
                  </a:lnTo>
                  <a:lnTo>
                    <a:pt x="53" y="174"/>
                  </a:lnTo>
                  <a:lnTo>
                    <a:pt x="57" y="171"/>
                  </a:lnTo>
                  <a:lnTo>
                    <a:pt x="58" y="171"/>
                  </a:lnTo>
                  <a:lnTo>
                    <a:pt x="58" y="173"/>
                  </a:lnTo>
                  <a:lnTo>
                    <a:pt x="60" y="173"/>
                  </a:lnTo>
                  <a:lnTo>
                    <a:pt x="61" y="174"/>
                  </a:lnTo>
                  <a:lnTo>
                    <a:pt x="61" y="173"/>
                  </a:lnTo>
                  <a:lnTo>
                    <a:pt x="63" y="171"/>
                  </a:lnTo>
                  <a:lnTo>
                    <a:pt x="65" y="170"/>
                  </a:lnTo>
                  <a:lnTo>
                    <a:pt x="66" y="170"/>
                  </a:lnTo>
                  <a:lnTo>
                    <a:pt x="68" y="170"/>
                  </a:lnTo>
                  <a:lnTo>
                    <a:pt x="70" y="168"/>
                  </a:lnTo>
                  <a:lnTo>
                    <a:pt x="71" y="166"/>
                  </a:lnTo>
                  <a:lnTo>
                    <a:pt x="73" y="166"/>
                  </a:lnTo>
                  <a:lnTo>
                    <a:pt x="74" y="166"/>
                  </a:lnTo>
                  <a:lnTo>
                    <a:pt x="74" y="168"/>
                  </a:lnTo>
                  <a:lnTo>
                    <a:pt x="78" y="166"/>
                  </a:lnTo>
                  <a:lnTo>
                    <a:pt x="79" y="168"/>
                  </a:lnTo>
                  <a:lnTo>
                    <a:pt x="81" y="170"/>
                  </a:lnTo>
                  <a:lnTo>
                    <a:pt x="83" y="168"/>
                  </a:lnTo>
                  <a:lnTo>
                    <a:pt x="84" y="168"/>
                  </a:lnTo>
                  <a:lnTo>
                    <a:pt x="86" y="166"/>
                  </a:lnTo>
                  <a:lnTo>
                    <a:pt x="87" y="165"/>
                  </a:lnTo>
                  <a:lnTo>
                    <a:pt x="89" y="165"/>
                  </a:lnTo>
                  <a:lnTo>
                    <a:pt x="89" y="163"/>
                  </a:lnTo>
                  <a:lnTo>
                    <a:pt x="91" y="161"/>
                  </a:lnTo>
                  <a:lnTo>
                    <a:pt x="92" y="161"/>
                  </a:lnTo>
                  <a:lnTo>
                    <a:pt x="94" y="161"/>
                  </a:lnTo>
                  <a:lnTo>
                    <a:pt x="96" y="161"/>
                  </a:lnTo>
                  <a:lnTo>
                    <a:pt x="97" y="161"/>
                  </a:lnTo>
                  <a:lnTo>
                    <a:pt x="97" y="160"/>
                  </a:lnTo>
                  <a:lnTo>
                    <a:pt x="97" y="158"/>
                  </a:lnTo>
                  <a:lnTo>
                    <a:pt x="100" y="157"/>
                  </a:lnTo>
                  <a:lnTo>
                    <a:pt x="100" y="158"/>
                  </a:lnTo>
                  <a:lnTo>
                    <a:pt x="100" y="160"/>
                  </a:lnTo>
                  <a:lnTo>
                    <a:pt x="102" y="160"/>
                  </a:lnTo>
                  <a:lnTo>
                    <a:pt x="105" y="160"/>
                  </a:lnTo>
                  <a:lnTo>
                    <a:pt x="107" y="160"/>
                  </a:lnTo>
                  <a:lnTo>
                    <a:pt x="109" y="160"/>
                  </a:lnTo>
                  <a:lnTo>
                    <a:pt x="110" y="160"/>
                  </a:lnTo>
                  <a:lnTo>
                    <a:pt x="110" y="161"/>
                  </a:lnTo>
                  <a:lnTo>
                    <a:pt x="112" y="163"/>
                  </a:lnTo>
                  <a:lnTo>
                    <a:pt x="114" y="163"/>
                  </a:lnTo>
                  <a:lnTo>
                    <a:pt x="114" y="165"/>
                  </a:lnTo>
                  <a:lnTo>
                    <a:pt x="114" y="166"/>
                  </a:lnTo>
                  <a:lnTo>
                    <a:pt x="115" y="166"/>
                  </a:lnTo>
                  <a:lnTo>
                    <a:pt x="117" y="166"/>
                  </a:lnTo>
                  <a:lnTo>
                    <a:pt x="117" y="165"/>
                  </a:lnTo>
                  <a:lnTo>
                    <a:pt x="118" y="165"/>
                  </a:lnTo>
                  <a:lnTo>
                    <a:pt x="120" y="165"/>
                  </a:lnTo>
                  <a:lnTo>
                    <a:pt x="122" y="168"/>
                  </a:lnTo>
                  <a:lnTo>
                    <a:pt x="123" y="168"/>
                  </a:lnTo>
                  <a:lnTo>
                    <a:pt x="125" y="166"/>
                  </a:lnTo>
                  <a:lnTo>
                    <a:pt x="127" y="168"/>
                  </a:lnTo>
                  <a:lnTo>
                    <a:pt x="128" y="168"/>
                  </a:lnTo>
                  <a:lnTo>
                    <a:pt x="130" y="168"/>
                  </a:lnTo>
                  <a:lnTo>
                    <a:pt x="130" y="166"/>
                  </a:lnTo>
                  <a:lnTo>
                    <a:pt x="130" y="165"/>
                  </a:lnTo>
                  <a:lnTo>
                    <a:pt x="131" y="161"/>
                  </a:lnTo>
                  <a:lnTo>
                    <a:pt x="131" y="160"/>
                  </a:lnTo>
                  <a:lnTo>
                    <a:pt x="133" y="158"/>
                  </a:lnTo>
                  <a:lnTo>
                    <a:pt x="133" y="157"/>
                  </a:lnTo>
                  <a:lnTo>
                    <a:pt x="140" y="157"/>
                  </a:lnTo>
                  <a:lnTo>
                    <a:pt x="141" y="157"/>
                  </a:lnTo>
                  <a:lnTo>
                    <a:pt x="143" y="155"/>
                  </a:lnTo>
                  <a:lnTo>
                    <a:pt x="144" y="155"/>
                  </a:lnTo>
                  <a:lnTo>
                    <a:pt x="144" y="152"/>
                  </a:lnTo>
                  <a:lnTo>
                    <a:pt x="146" y="152"/>
                  </a:lnTo>
                  <a:lnTo>
                    <a:pt x="146" y="150"/>
                  </a:lnTo>
                  <a:lnTo>
                    <a:pt x="146" y="147"/>
                  </a:lnTo>
                  <a:lnTo>
                    <a:pt x="146" y="145"/>
                  </a:lnTo>
                  <a:lnTo>
                    <a:pt x="146" y="142"/>
                  </a:lnTo>
                  <a:lnTo>
                    <a:pt x="149" y="142"/>
                  </a:lnTo>
                  <a:lnTo>
                    <a:pt x="153" y="142"/>
                  </a:lnTo>
                  <a:lnTo>
                    <a:pt x="154" y="140"/>
                  </a:lnTo>
                  <a:lnTo>
                    <a:pt x="154" y="139"/>
                  </a:lnTo>
                  <a:lnTo>
                    <a:pt x="156" y="139"/>
                  </a:lnTo>
                  <a:lnTo>
                    <a:pt x="156" y="137"/>
                  </a:lnTo>
                  <a:lnTo>
                    <a:pt x="157" y="137"/>
                  </a:lnTo>
                  <a:lnTo>
                    <a:pt x="159" y="137"/>
                  </a:lnTo>
                  <a:lnTo>
                    <a:pt x="159" y="135"/>
                  </a:lnTo>
                  <a:lnTo>
                    <a:pt x="159" y="134"/>
                  </a:lnTo>
                  <a:lnTo>
                    <a:pt x="161" y="132"/>
                  </a:lnTo>
                  <a:lnTo>
                    <a:pt x="159" y="131"/>
                  </a:lnTo>
                  <a:lnTo>
                    <a:pt x="159" y="127"/>
                  </a:lnTo>
                  <a:lnTo>
                    <a:pt x="157" y="126"/>
                  </a:lnTo>
                  <a:lnTo>
                    <a:pt x="156" y="124"/>
                  </a:lnTo>
                  <a:lnTo>
                    <a:pt x="156" y="122"/>
                  </a:lnTo>
                  <a:lnTo>
                    <a:pt x="154" y="122"/>
                  </a:lnTo>
                  <a:lnTo>
                    <a:pt x="154" y="121"/>
                  </a:lnTo>
                  <a:lnTo>
                    <a:pt x="153" y="121"/>
                  </a:lnTo>
                  <a:lnTo>
                    <a:pt x="153" y="119"/>
                  </a:lnTo>
                  <a:lnTo>
                    <a:pt x="154" y="117"/>
                  </a:lnTo>
                  <a:lnTo>
                    <a:pt x="156" y="116"/>
                  </a:lnTo>
                  <a:lnTo>
                    <a:pt x="156" y="114"/>
                  </a:lnTo>
                  <a:lnTo>
                    <a:pt x="157" y="114"/>
                  </a:lnTo>
                  <a:lnTo>
                    <a:pt x="159" y="114"/>
                  </a:lnTo>
                  <a:lnTo>
                    <a:pt x="161" y="114"/>
                  </a:lnTo>
                  <a:lnTo>
                    <a:pt x="164" y="114"/>
                  </a:lnTo>
                  <a:lnTo>
                    <a:pt x="164" y="113"/>
                  </a:lnTo>
                  <a:lnTo>
                    <a:pt x="166" y="113"/>
                  </a:lnTo>
                  <a:lnTo>
                    <a:pt x="166" y="111"/>
                  </a:lnTo>
                  <a:lnTo>
                    <a:pt x="166" y="109"/>
                  </a:lnTo>
                  <a:lnTo>
                    <a:pt x="167" y="109"/>
                  </a:lnTo>
                  <a:lnTo>
                    <a:pt x="169" y="109"/>
                  </a:lnTo>
                  <a:lnTo>
                    <a:pt x="170" y="108"/>
                  </a:lnTo>
                  <a:lnTo>
                    <a:pt x="170" y="106"/>
                  </a:lnTo>
                  <a:lnTo>
                    <a:pt x="170" y="104"/>
                  </a:lnTo>
                  <a:lnTo>
                    <a:pt x="172" y="104"/>
                  </a:lnTo>
                  <a:lnTo>
                    <a:pt x="175" y="103"/>
                  </a:lnTo>
                  <a:lnTo>
                    <a:pt x="175" y="101"/>
                  </a:lnTo>
                  <a:lnTo>
                    <a:pt x="175" y="100"/>
                  </a:lnTo>
                  <a:lnTo>
                    <a:pt x="174" y="100"/>
                  </a:lnTo>
                  <a:lnTo>
                    <a:pt x="174" y="96"/>
                  </a:lnTo>
                  <a:lnTo>
                    <a:pt x="175" y="96"/>
                  </a:lnTo>
                  <a:lnTo>
                    <a:pt x="177" y="96"/>
                  </a:lnTo>
                  <a:lnTo>
                    <a:pt x="180" y="93"/>
                  </a:lnTo>
                  <a:lnTo>
                    <a:pt x="182" y="93"/>
                  </a:lnTo>
                  <a:lnTo>
                    <a:pt x="183" y="93"/>
                  </a:lnTo>
                  <a:lnTo>
                    <a:pt x="185" y="93"/>
                  </a:lnTo>
                  <a:lnTo>
                    <a:pt x="185" y="91"/>
                  </a:lnTo>
                  <a:lnTo>
                    <a:pt x="188" y="91"/>
                  </a:lnTo>
                  <a:lnTo>
                    <a:pt x="190" y="95"/>
                  </a:lnTo>
                  <a:lnTo>
                    <a:pt x="190" y="96"/>
                  </a:lnTo>
                  <a:lnTo>
                    <a:pt x="190" y="98"/>
                  </a:lnTo>
                  <a:lnTo>
                    <a:pt x="190" y="100"/>
                  </a:lnTo>
                  <a:lnTo>
                    <a:pt x="190" y="101"/>
                  </a:lnTo>
                  <a:lnTo>
                    <a:pt x="190" y="103"/>
                  </a:lnTo>
                  <a:lnTo>
                    <a:pt x="190" y="106"/>
                  </a:lnTo>
                  <a:lnTo>
                    <a:pt x="190" y="108"/>
                  </a:lnTo>
                  <a:lnTo>
                    <a:pt x="190" y="109"/>
                  </a:lnTo>
                  <a:lnTo>
                    <a:pt x="190" y="111"/>
                  </a:lnTo>
                  <a:lnTo>
                    <a:pt x="188" y="113"/>
                  </a:lnTo>
                  <a:lnTo>
                    <a:pt x="188" y="114"/>
                  </a:lnTo>
                  <a:lnTo>
                    <a:pt x="187" y="114"/>
                  </a:lnTo>
                  <a:lnTo>
                    <a:pt x="187" y="116"/>
                  </a:lnTo>
                  <a:lnTo>
                    <a:pt x="188" y="119"/>
                  </a:lnTo>
                  <a:lnTo>
                    <a:pt x="188" y="121"/>
                  </a:lnTo>
                  <a:lnTo>
                    <a:pt x="188" y="122"/>
                  </a:lnTo>
                  <a:lnTo>
                    <a:pt x="190" y="124"/>
                  </a:lnTo>
                  <a:lnTo>
                    <a:pt x="193" y="126"/>
                  </a:lnTo>
                  <a:lnTo>
                    <a:pt x="195" y="126"/>
                  </a:lnTo>
                  <a:lnTo>
                    <a:pt x="196" y="127"/>
                  </a:lnTo>
                  <a:lnTo>
                    <a:pt x="196" y="129"/>
                  </a:lnTo>
                  <a:lnTo>
                    <a:pt x="198" y="131"/>
                  </a:lnTo>
                  <a:lnTo>
                    <a:pt x="200" y="132"/>
                  </a:lnTo>
                  <a:lnTo>
                    <a:pt x="201" y="134"/>
                  </a:lnTo>
                  <a:lnTo>
                    <a:pt x="201" y="135"/>
                  </a:lnTo>
                  <a:lnTo>
                    <a:pt x="203" y="135"/>
                  </a:lnTo>
                  <a:lnTo>
                    <a:pt x="205" y="137"/>
                  </a:lnTo>
                  <a:lnTo>
                    <a:pt x="205" y="140"/>
                  </a:lnTo>
                  <a:lnTo>
                    <a:pt x="208" y="140"/>
                  </a:lnTo>
                  <a:lnTo>
                    <a:pt x="209" y="142"/>
                  </a:lnTo>
                  <a:lnTo>
                    <a:pt x="211" y="142"/>
                  </a:lnTo>
                  <a:lnTo>
                    <a:pt x="211" y="144"/>
                  </a:lnTo>
                  <a:lnTo>
                    <a:pt x="213" y="144"/>
                  </a:lnTo>
                  <a:lnTo>
                    <a:pt x="214" y="144"/>
                  </a:lnTo>
                  <a:lnTo>
                    <a:pt x="216" y="144"/>
                  </a:lnTo>
                  <a:lnTo>
                    <a:pt x="216" y="142"/>
                  </a:lnTo>
                  <a:lnTo>
                    <a:pt x="218" y="140"/>
                  </a:lnTo>
                  <a:lnTo>
                    <a:pt x="218" y="142"/>
                  </a:lnTo>
                  <a:lnTo>
                    <a:pt x="219" y="144"/>
                  </a:lnTo>
                  <a:lnTo>
                    <a:pt x="221" y="145"/>
                  </a:lnTo>
                  <a:lnTo>
                    <a:pt x="222" y="145"/>
                  </a:lnTo>
                  <a:lnTo>
                    <a:pt x="224" y="144"/>
                  </a:lnTo>
                  <a:lnTo>
                    <a:pt x="227" y="147"/>
                  </a:lnTo>
                  <a:lnTo>
                    <a:pt x="229" y="148"/>
                  </a:lnTo>
                  <a:lnTo>
                    <a:pt x="229" y="150"/>
                  </a:lnTo>
                  <a:lnTo>
                    <a:pt x="227" y="152"/>
                  </a:lnTo>
                  <a:lnTo>
                    <a:pt x="226" y="152"/>
                  </a:lnTo>
                  <a:lnTo>
                    <a:pt x="226" y="153"/>
                  </a:lnTo>
                  <a:lnTo>
                    <a:pt x="222" y="157"/>
                  </a:lnTo>
                  <a:lnTo>
                    <a:pt x="222" y="158"/>
                  </a:lnTo>
                  <a:lnTo>
                    <a:pt x="222" y="160"/>
                  </a:lnTo>
                  <a:lnTo>
                    <a:pt x="224" y="160"/>
                  </a:lnTo>
                  <a:lnTo>
                    <a:pt x="226" y="160"/>
                  </a:lnTo>
                  <a:lnTo>
                    <a:pt x="227" y="161"/>
                  </a:lnTo>
                  <a:lnTo>
                    <a:pt x="231" y="165"/>
                  </a:lnTo>
                  <a:lnTo>
                    <a:pt x="232" y="165"/>
                  </a:lnTo>
                  <a:lnTo>
                    <a:pt x="232" y="166"/>
                  </a:lnTo>
                  <a:lnTo>
                    <a:pt x="232" y="168"/>
                  </a:lnTo>
                  <a:lnTo>
                    <a:pt x="232" y="170"/>
                  </a:lnTo>
                  <a:lnTo>
                    <a:pt x="235" y="173"/>
                  </a:lnTo>
                  <a:lnTo>
                    <a:pt x="235" y="174"/>
                  </a:lnTo>
                  <a:lnTo>
                    <a:pt x="235" y="178"/>
                  </a:lnTo>
                  <a:lnTo>
                    <a:pt x="237" y="178"/>
                  </a:lnTo>
                  <a:lnTo>
                    <a:pt x="235" y="179"/>
                  </a:lnTo>
                  <a:lnTo>
                    <a:pt x="234" y="179"/>
                  </a:lnTo>
                  <a:lnTo>
                    <a:pt x="234" y="183"/>
                  </a:lnTo>
                  <a:lnTo>
                    <a:pt x="235" y="183"/>
                  </a:lnTo>
                  <a:lnTo>
                    <a:pt x="237" y="181"/>
                  </a:lnTo>
                  <a:lnTo>
                    <a:pt x="239" y="183"/>
                  </a:lnTo>
                  <a:lnTo>
                    <a:pt x="240" y="183"/>
                  </a:lnTo>
                  <a:lnTo>
                    <a:pt x="242" y="183"/>
                  </a:lnTo>
                  <a:lnTo>
                    <a:pt x="242" y="184"/>
                  </a:lnTo>
                  <a:lnTo>
                    <a:pt x="244" y="184"/>
                  </a:lnTo>
                  <a:lnTo>
                    <a:pt x="245" y="184"/>
                  </a:lnTo>
                  <a:lnTo>
                    <a:pt x="245" y="183"/>
                  </a:lnTo>
                  <a:lnTo>
                    <a:pt x="247" y="181"/>
                  </a:lnTo>
                  <a:lnTo>
                    <a:pt x="247" y="179"/>
                  </a:lnTo>
                  <a:lnTo>
                    <a:pt x="248" y="176"/>
                  </a:lnTo>
                  <a:lnTo>
                    <a:pt x="250" y="176"/>
                  </a:lnTo>
                  <a:lnTo>
                    <a:pt x="250" y="174"/>
                  </a:lnTo>
                  <a:lnTo>
                    <a:pt x="252" y="173"/>
                  </a:lnTo>
                  <a:lnTo>
                    <a:pt x="250" y="173"/>
                  </a:lnTo>
                  <a:lnTo>
                    <a:pt x="250" y="171"/>
                  </a:lnTo>
                  <a:lnTo>
                    <a:pt x="248" y="171"/>
                  </a:lnTo>
                  <a:lnTo>
                    <a:pt x="247" y="170"/>
                  </a:lnTo>
                  <a:lnTo>
                    <a:pt x="245" y="170"/>
                  </a:lnTo>
                  <a:lnTo>
                    <a:pt x="245" y="168"/>
                  </a:lnTo>
                  <a:lnTo>
                    <a:pt x="244" y="165"/>
                  </a:lnTo>
                  <a:lnTo>
                    <a:pt x="244" y="163"/>
                  </a:lnTo>
                  <a:lnTo>
                    <a:pt x="242" y="163"/>
                  </a:lnTo>
                  <a:lnTo>
                    <a:pt x="242" y="161"/>
                  </a:lnTo>
                  <a:lnTo>
                    <a:pt x="244" y="161"/>
                  </a:lnTo>
                  <a:lnTo>
                    <a:pt x="245" y="160"/>
                  </a:lnTo>
                  <a:lnTo>
                    <a:pt x="245" y="158"/>
                  </a:lnTo>
                  <a:lnTo>
                    <a:pt x="244" y="155"/>
                  </a:lnTo>
                  <a:lnTo>
                    <a:pt x="244" y="153"/>
                  </a:lnTo>
                  <a:lnTo>
                    <a:pt x="245" y="152"/>
                  </a:lnTo>
                  <a:lnTo>
                    <a:pt x="247" y="150"/>
                  </a:lnTo>
                  <a:lnTo>
                    <a:pt x="250" y="150"/>
                  </a:lnTo>
                  <a:lnTo>
                    <a:pt x="250" y="148"/>
                  </a:lnTo>
                  <a:lnTo>
                    <a:pt x="252" y="147"/>
                  </a:lnTo>
                  <a:lnTo>
                    <a:pt x="252" y="145"/>
                  </a:lnTo>
                  <a:lnTo>
                    <a:pt x="250" y="144"/>
                  </a:lnTo>
                  <a:lnTo>
                    <a:pt x="250" y="142"/>
                  </a:lnTo>
                  <a:lnTo>
                    <a:pt x="253" y="140"/>
                  </a:lnTo>
                  <a:lnTo>
                    <a:pt x="255" y="140"/>
                  </a:lnTo>
                  <a:lnTo>
                    <a:pt x="255" y="139"/>
                  </a:lnTo>
                  <a:lnTo>
                    <a:pt x="257" y="137"/>
                  </a:lnTo>
                  <a:lnTo>
                    <a:pt x="258" y="135"/>
                  </a:lnTo>
                  <a:lnTo>
                    <a:pt x="260" y="135"/>
                  </a:lnTo>
                  <a:lnTo>
                    <a:pt x="260" y="134"/>
                  </a:lnTo>
                  <a:lnTo>
                    <a:pt x="262" y="134"/>
                  </a:lnTo>
                  <a:lnTo>
                    <a:pt x="263" y="134"/>
                  </a:lnTo>
                  <a:lnTo>
                    <a:pt x="263" y="132"/>
                  </a:lnTo>
                  <a:lnTo>
                    <a:pt x="263" y="131"/>
                  </a:lnTo>
                  <a:lnTo>
                    <a:pt x="263" y="129"/>
                  </a:lnTo>
                  <a:lnTo>
                    <a:pt x="265" y="129"/>
                  </a:lnTo>
                  <a:lnTo>
                    <a:pt x="265" y="127"/>
                  </a:lnTo>
                  <a:lnTo>
                    <a:pt x="265" y="126"/>
                  </a:lnTo>
                  <a:lnTo>
                    <a:pt x="266" y="126"/>
                  </a:lnTo>
                  <a:lnTo>
                    <a:pt x="268" y="126"/>
                  </a:lnTo>
                  <a:lnTo>
                    <a:pt x="268" y="122"/>
                  </a:lnTo>
                  <a:lnTo>
                    <a:pt x="268" y="121"/>
                  </a:lnTo>
                  <a:lnTo>
                    <a:pt x="270" y="119"/>
                  </a:lnTo>
                  <a:lnTo>
                    <a:pt x="271" y="117"/>
                  </a:lnTo>
                  <a:lnTo>
                    <a:pt x="271" y="116"/>
                  </a:lnTo>
                  <a:lnTo>
                    <a:pt x="271" y="114"/>
                  </a:lnTo>
                  <a:lnTo>
                    <a:pt x="273" y="113"/>
                  </a:lnTo>
                  <a:lnTo>
                    <a:pt x="273" y="111"/>
                  </a:lnTo>
                  <a:lnTo>
                    <a:pt x="273" y="109"/>
                  </a:lnTo>
                  <a:lnTo>
                    <a:pt x="273" y="108"/>
                  </a:lnTo>
                  <a:lnTo>
                    <a:pt x="271" y="108"/>
                  </a:lnTo>
                  <a:lnTo>
                    <a:pt x="271" y="106"/>
                  </a:lnTo>
                  <a:lnTo>
                    <a:pt x="271" y="104"/>
                  </a:lnTo>
                  <a:lnTo>
                    <a:pt x="271" y="103"/>
                  </a:lnTo>
                  <a:lnTo>
                    <a:pt x="271" y="100"/>
                  </a:lnTo>
                  <a:lnTo>
                    <a:pt x="270" y="100"/>
                  </a:lnTo>
                  <a:lnTo>
                    <a:pt x="268" y="98"/>
                  </a:lnTo>
                  <a:lnTo>
                    <a:pt x="268" y="96"/>
                  </a:lnTo>
                  <a:lnTo>
                    <a:pt x="268" y="95"/>
                  </a:lnTo>
                  <a:lnTo>
                    <a:pt x="270" y="95"/>
                  </a:lnTo>
                  <a:lnTo>
                    <a:pt x="271" y="93"/>
                  </a:lnTo>
                  <a:lnTo>
                    <a:pt x="271" y="91"/>
                  </a:lnTo>
                  <a:lnTo>
                    <a:pt x="271" y="90"/>
                  </a:lnTo>
                  <a:lnTo>
                    <a:pt x="271" y="88"/>
                  </a:lnTo>
                  <a:lnTo>
                    <a:pt x="273" y="88"/>
                  </a:lnTo>
                  <a:lnTo>
                    <a:pt x="275" y="87"/>
                  </a:lnTo>
                  <a:lnTo>
                    <a:pt x="276" y="87"/>
                  </a:lnTo>
                  <a:lnTo>
                    <a:pt x="279" y="87"/>
                  </a:lnTo>
                  <a:lnTo>
                    <a:pt x="281" y="87"/>
                  </a:lnTo>
                  <a:lnTo>
                    <a:pt x="281" y="88"/>
                  </a:lnTo>
                  <a:lnTo>
                    <a:pt x="281" y="90"/>
                  </a:lnTo>
                  <a:lnTo>
                    <a:pt x="283" y="91"/>
                  </a:lnTo>
                  <a:lnTo>
                    <a:pt x="284" y="93"/>
                  </a:lnTo>
                  <a:lnTo>
                    <a:pt x="284" y="91"/>
                  </a:lnTo>
                  <a:lnTo>
                    <a:pt x="286" y="91"/>
                  </a:lnTo>
                  <a:lnTo>
                    <a:pt x="286" y="88"/>
                  </a:lnTo>
                  <a:lnTo>
                    <a:pt x="289" y="87"/>
                  </a:lnTo>
                  <a:lnTo>
                    <a:pt x="289" y="90"/>
                  </a:lnTo>
                  <a:lnTo>
                    <a:pt x="289" y="91"/>
                  </a:lnTo>
                  <a:lnTo>
                    <a:pt x="289" y="93"/>
                  </a:lnTo>
                  <a:lnTo>
                    <a:pt x="289" y="96"/>
                  </a:lnTo>
                  <a:lnTo>
                    <a:pt x="289" y="98"/>
                  </a:lnTo>
                  <a:lnTo>
                    <a:pt x="289" y="100"/>
                  </a:lnTo>
                  <a:lnTo>
                    <a:pt x="289" y="101"/>
                  </a:lnTo>
                  <a:lnTo>
                    <a:pt x="289" y="103"/>
                  </a:lnTo>
                  <a:lnTo>
                    <a:pt x="289" y="104"/>
                  </a:lnTo>
                  <a:lnTo>
                    <a:pt x="289" y="106"/>
                  </a:lnTo>
                  <a:lnTo>
                    <a:pt x="292" y="106"/>
                  </a:lnTo>
                  <a:lnTo>
                    <a:pt x="292" y="108"/>
                  </a:lnTo>
                  <a:lnTo>
                    <a:pt x="294" y="108"/>
                  </a:lnTo>
                  <a:lnTo>
                    <a:pt x="294" y="113"/>
                  </a:lnTo>
                  <a:lnTo>
                    <a:pt x="296" y="114"/>
                  </a:lnTo>
                  <a:lnTo>
                    <a:pt x="297" y="116"/>
                  </a:lnTo>
                  <a:lnTo>
                    <a:pt x="299" y="116"/>
                  </a:lnTo>
                  <a:lnTo>
                    <a:pt x="302" y="117"/>
                  </a:lnTo>
                  <a:lnTo>
                    <a:pt x="305" y="117"/>
                  </a:lnTo>
                  <a:lnTo>
                    <a:pt x="307" y="117"/>
                  </a:lnTo>
                  <a:lnTo>
                    <a:pt x="309" y="117"/>
                  </a:lnTo>
                  <a:lnTo>
                    <a:pt x="310" y="116"/>
                  </a:lnTo>
                  <a:lnTo>
                    <a:pt x="312" y="116"/>
                  </a:lnTo>
                  <a:lnTo>
                    <a:pt x="312" y="117"/>
                  </a:lnTo>
                  <a:lnTo>
                    <a:pt x="314" y="117"/>
                  </a:lnTo>
                  <a:lnTo>
                    <a:pt x="315" y="116"/>
                  </a:lnTo>
                  <a:lnTo>
                    <a:pt x="315" y="114"/>
                  </a:lnTo>
                  <a:lnTo>
                    <a:pt x="315" y="113"/>
                  </a:lnTo>
                  <a:lnTo>
                    <a:pt x="315" y="111"/>
                  </a:lnTo>
                  <a:lnTo>
                    <a:pt x="315" y="109"/>
                  </a:lnTo>
                  <a:lnTo>
                    <a:pt x="317" y="109"/>
                  </a:lnTo>
                  <a:lnTo>
                    <a:pt x="318" y="109"/>
                  </a:lnTo>
                  <a:lnTo>
                    <a:pt x="318" y="111"/>
                  </a:lnTo>
                  <a:lnTo>
                    <a:pt x="320" y="111"/>
                  </a:lnTo>
                  <a:lnTo>
                    <a:pt x="322" y="111"/>
                  </a:lnTo>
                  <a:lnTo>
                    <a:pt x="323" y="109"/>
                  </a:lnTo>
                  <a:lnTo>
                    <a:pt x="325" y="109"/>
                  </a:lnTo>
                  <a:lnTo>
                    <a:pt x="327" y="108"/>
                  </a:lnTo>
                  <a:lnTo>
                    <a:pt x="328" y="108"/>
                  </a:lnTo>
                  <a:lnTo>
                    <a:pt x="330" y="108"/>
                  </a:lnTo>
                  <a:lnTo>
                    <a:pt x="331" y="106"/>
                  </a:lnTo>
                  <a:lnTo>
                    <a:pt x="333" y="104"/>
                  </a:lnTo>
                  <a:lnTo>
                    <a:pt x="335" y="106"/>
                  </a:lnTo>
                  <a:lnTo>
                    <a:pt x="336" y="106"/>
                  </a:lnTo>
                  <a:lnTo>
                    <a:pt x="338" y="104"/>
                  </a:lnTo>
                  <a:lnTo>
                    <a:pt x="340" y="106"/>
                  </a:lnTo>
                  <a:lnTo>
                    <a:pt x="340" y="108"/>
                  </a:lnTo>
                  <a:lnTo>
                    <a:pt x="341" y="108"/>
                  </a:lnTo>
                  <a:lnTo>
                    <a:pt x="343" y="109"/>
                  </a:lnTo>
                  <a:lnTo>
                    <a:pt x="341" y="111"/>
                  </a:lnTo>
                  <a:lnTo>
                    <a:pt x="341" y="113"/>
                  </a:lnTo>
                  <a:lnTo>
                    <a:pt x="343" y="114"/>
                  </a:lnTo>
                  <a:lnTo>
                    <a:pt x="343" y="117"/>
                  </a:lnTo>
                  <a:lnTo>
                    <a:pt x="343" y="119"/>
                  </a:lnTo>
                  <a:lnTo>
                    <a:pt x="346" y="121"/>
                  </a:lnTo>
                  <a:lnTo>
                    <a:pt x="348" y="121"/>
                  </a:lnTo>
                  <a:lnTo>
                    <a:pt x="349" y="124"/>
                  </a:lnTo>
                  <a:lnTo>
                    <a:pt x="348" y="127"/>
                  </a:lnTo>
                  <a:lnTo>
                    <a:pt x="349" y="129"/>
                  </a:lnTo>
                  <a:lnTo>
                    <a:pt x="349" y="127"/>
                  </a:lnTo>
                  <a:lnTo>
                    <a:pt x="351" y="127"/>
                  </a:lnTo>
                  <a:lnTo>
                    <a:pt x="356" y="127"/>
                  </a:lnTo>
                  <a:lnTo>
                    <a:pt x="357" y="126"/>
                  </a:lnTo>
                  <a:lnTo>
                    <a:pt x="361" y="122"/>
                  </a:lnTo>
                  <a:lnTo>
                    <a:pt x="361" y="121"/>
                  </a:lnTo>
                  <a:lnTo>
                    <a:pt x="357" y="117"/>
                  </a:lnTo>
                  <a:lnTo>
                    <a:pt x="357" y="116"/>
                  </a:lnTo>
                  <a:lnTo>
                    <a:pt x="354" y="114"/>
                  </a:lnTo>
                  <a:lnTo>
                    <a:pt x="353" y="111"/>
                  </a:lnTo>
                  <a:lnTo>
                    <a:pt x="354" y="109"/>
                  </a:lnTo>
                  <a:lnTo>
                    <a:pt x="356" y="108"/>
                  </a:lnTo>
                  <a:lnTo>
                    <a:pt x="356" y="106"/>
                  </a:lnTo>
                  <a:lnTo>
                    <a:pt x="356" y="104"/>
                  </a:lnTo>
                  <a:lnTo>
                    <a:pt x="357" y="104"/>
                  </a:lnTo>
                  <a:lnTo>
                    <a:pt x="359" y="104"/>
                  </a:lnTo>
                  <a:lnTo>
                    <a:pt x="359" y="103"/>
                  </a:lnTo>
                  <a:lnTo>
                    <a:pt x="359" y="101"/>
                  </a:lnTo>
                  <a:lnTo>
                    <a:pt x="359" y="100"/>
                  </a:lnTo>
                  <a:lnTo>
                    <a:pt x="357" y="100"/>
                  </a:lnTo>
                  <a:lnTo>
                    <a:pt x="357" y="98"/>
                  </a:lnTo>
                  <a:lnTo>
                    <a:pt x="356" y="98"/>
                  </a:lnTo>
                  <a:lnTo>
                    <a:pt x="354" y="98"/>
                  </a:lnTo>
                  <a:lnTo>
                    <a:pt x="353" y="98"/>
                  </a:lnTo>
                  <a:lnTo>
                    <a:pt x="351" y="100"/>
                  </a:lnTo>
                  <a:lnTo>
                    <a:pt x="351" y="98"/>
                  </a:lnTo>
                  <a:lnTo>
                    <a:pt x="349" y="96"/>
                  </a:lnTo>
                  <a:lnTo>
                    <a:pt x="346" y="96"/>
                  </a:lnTo>
                  <a:lnTo>
                    <a:pt x="346" y="95"/>
                  </a:lnTo>
                  <a:lnTo>
                    <a:pt x="348" y="93"/>
                  </a:lnTo>
                  <a:lnTo>
                    <a:pt x="348" y="91"/>
                  </a:lnTo>
                  <a:lnTo>
                    <a:pt x="348" y="90"/>
                  </a:lnTo>
                  <a:lnTo>
                    <a:pt x="348" y="88"/>
                  </a:lnTo>
                  <a:lnTo>
                    <a:pt x="348" y="87"/>
                  </a:lnTo>
                  <a:lnTo>
                    <a:pt x="348" y="85"/>
                  </a:lnTo>
                  <a:lnTo>
                    <a:pt x="348" y="82"/>
                  </a:lnTo>
                  <a:lnTo>
                    <a:pt x="349" y="82"/>
                  </a:lnTo>
                  <a:lnTo>
                    <a:pt x="349" y="80"/>
                  </a:lnTo>
                  <a:lnTo>
                    <a:pt x="351" y="78"/>
                  </a:lnTo>
                  <a:lnTo>
                    <a:pt x="351" y="77"/>
                  </a:lnTo>
                  <a:lnTo>
                    <a:pt x="353" y="77"/>
                  </a:lnTo>
                  <a:lnTo>
                    <a:pt x="353" y="75"/>
                  </a:lnTo>
                  <a:lnTo>
                    <a:pt x="353" y="72"/>
                  </a:lnTo>
                  <a:lnTo>
                    <a:pt x="354" y="72"/>
                  </a:lnTo>
                  <a:lnTo>
                    <a:pt x="356" y="72"/>
                  </a:lnTo>
                  <a:lnTo>
                    <a:pt x="357" y="72"/>
                  </a:lnTo>
                  <a:lnTo>
                    <a:pt x="361" y="70"/>
                  </a:lnTo>
                  <a:lnTo>
                    <a:pt x="361" y="69"/>
                  </a:lnTo>
                  <a:lnTo>
                    <a:pt x="362" y="70"/>
                  </a:lnTo>
                  <a:lnTo>
                    <a:pt x="364" y="70"/>
                  </a:lnTo>
                  <a:lnTo>
                    <a:pt x="366" y="69"/>
                  </a:lnTo>
                  <a:lnTo>
                    <a:pt x="367" y="69"/>
                  </a:lnTo>
                  <a:lnTo>
                    <a:pt x="367" y="70"/>
                  </a:lnTo>
                  <a:lnTo>
                    <a:pt x="369" y="72"/>
                  </a:lnTo>
                  <a:lnTo>
                    <a:pt x="367" y="72"/>
                  </a:lnTo>
                  <a:lnTo>
                    <a:pt x="367" y="74"/>
                  </a:lnTo>
                  <a:lnTo>
                    <a:pt x="367" y="75"/>
                  </a:lnTo>
                  <a:lnTo>
                    <a:pt x="367" y="77"/>
                  </a:lnTo>
                  <a:lnTo>
                    <a:pt x="369" y="77"/>
                  </a:lnTo>
                  <a:lnTo>
                    <a:pt x="370" y="78"/>
                  </a:lnTo>
                  <a:lnTo>
                    <a:pt x="372" y="78"/>
                  </a:lnTo>
                  <a:lnTo>
                    <a:pt x="372" y="80"/>
                  </a:lnTo>
                  <a:lnTo>
                    <a:pt x="374" y="82"/>
                  </a:lnTo>
                  <a:lnTo>
                    <a:pt x="375" y="80"/>
                  </a:lnTo>
                  <a:lnTo>
                    <a:pt x="375" y="82"/>
                  </a:lnTo>
                  <a:lnTo>
                    <a:pt x="377" y="82"/>
                  </a:lnTo>
                  <a:lnTo>
                    <a:pt x="377" y="80"/>
                  </a:lnTo>
                  <a:lnTo>
                    <a:pt x="379" y="80"/>
                  </a:lnTo>
                  <a:lnTo>
                    <a:pt x="382" y="82"/>
                  </a:lnTo>
                  <a:lnTo>
                    <a:pt x="383" y="80"/>
                  </a:lnTo>
                  <a:lnTo>
                    <a:pt x="385" y="80"/>
                  </a:lnTo>
                  <a:lnTo>
                    <a:pt x="387" y="82"/>
                  </a:lnTo>
                  <a:lnTo>
                    <a:pt x="388" y="83"/>
                  </a:lnTo>
                  <a:lnTo>
                    <a:pt x="388" y="82"/>
                  </a:lnTo>
                  <a:lnTo>
                    <a:pt x="390" y="82"/>
                  </a:lnTo>
                  <a:lnTo>
                    <a:pt x="390" y="80"/>
                  </a:lnTo>
                  <a:lnTo>
                    <a:pt x="390" y="78"/>
                  </a:lnTo>
                  <a:lnTo>
                    <a:pt x="390" y="77"/>
                  </a:lnTo>
                  <a:lnTo>
                    <a:pt x="390" y="75"/>
                  </a:lnTo>
                  <a:lnTo>
                    <a:pt x="390" y="72"/>
                  </a:lnTo>
                  <a:lnTo>
                    <a:pt x="392" y="72"/>
                  </a:lnTo>
                  <a:lnTo>
                    <a:pt x="390" y="70"/>
                  </a:lnTo>
                  <a:lnTo>
                    <a:pt x="388" y="67"/>
                  </a:lnTo>
                  <a:lnTo>
                    <a:pt x="387" y="67"/>
                  </a:lnTo>
                  <a:lnTo>
                    <a:pt x="382" y="69"/>
                  </a:lnTo>
                  <a:lnTo>
                    <a:pt x="382" y="62"/>
                  </a:lnTo>
                  <a:lnTo>
                    <a:pt x="380" y="62"/>
                  </a:lnTo>
                  <a:lnTo>
                    <a:pt x="380" y="61"/>
                  </a:lnTo>
                  <a:lnTo>
                    <a:pt x="382" y="59"/>
                  </a:lnTo>
                  <a:lnTo>
                    <a:pt x="383" y="59"/>
                  </a:lnTo>
                  <a:lnTo>
                    <a:pt x="383" y="57"/>
                  </a:lnTo>
                  <a:lnTo>
                    <a:pt x="383" y="56"/>
                  </a:lnTo>
                  <a:lnTo>
                    <a:pt x="383" y="54"/>
                  </a:lnTo>
                  <a:lnTo>
                    <a:pt x="382" y="54"/>
                  </a:lnTo>
                  <a:lnTo>
                    <a:pt x="383" y="54"/>
                  </a:lnTo>
                  <a:lnTo>
                    <a:pt x="385" y="51"/>
                  </a:lnTo>
                  <a:lnTo>
                    <a:pt x="387" y="51"/>
                  </a:lnTo>
                  <a:lnTo>
                    <a:pt x="387" y="49"/>
                  </a:lnTo>
                  <a:lnTo>
                    <a:pt x="385" y="46"/>
                  </a:lnTo>
                  <a:lnTo>
                    <a:pt x="387" y="44"/>
                  </a:lnTo>
                  <a:lnTo>
                    <a:pt x="387" y="43"/>
                  </a:lnTo>
                  <a:lnTo>
                    <a:pt x="388" y="41"/>
                  </a:lnTo>
                  <a:lnTo>
                    <a:pt x="388" y="38"/>
                  </a:lnTo>
                  <a:lnTo>
                    <a:pt x="388" y="36"/>
                  </a:lnTo>
                  <a:lnTo>
                    <a:pt x="392" y="36"/>
                  </a:lnTo>
                  <a:lnTo>
                    <a:pt x="393" y="38"/>
                  </a:lnTo>
                  <a:lnTo>
                    <a:pt x="395" y="38"/>
                  </a:lnTo>
                  <a:lnTo>
                    <a:pt x="396" y="38"/>
                  </a:lnTo>
                  <a:lnTo>
                    <a:pt x="398" y="38"/>
                  </a:lnTo>
                  <a:lnTo>
                    <a:pt x="400" y="38"/>
                  </a:lnTo>
                  <a:lnTo>
                    <a:pt x="401" y="38"/>
                  </a:lnTo>
                  <a:lnTo>
                    <a:pt x="401" y="36"/>
                  </a:lnTo>
                  <a:lnTo>
                    <a:pt x="405" y="36"/>
                  </a:lnTo>
                  <a:lnTo>
                    <a:pt x="406" y="35"/>
                  </a:lnTo>
                  <a:lnTo>
                    <a:pt x="408" y="35"/>
                  </a:lnTo>
                  <a:lnTo>
                    <a:pt x="411" y="35"/>
                  </a:lnTo>
                  <a:lnTo>
                    <a:pt x="411" y="36"/>
                  </a:lnTo>
                  <a:lnTo>
                    <a:pt x="411" y="38"/>
                  </a:lnTo>
                  <a:lnTo>
                    <a:pt x="413" y="38"/>
                  </a:lnTo>
                  <a:lnTo>
                    <a:pt x="414" y="39"/>
                  </a:lnTo>
                  <a:lnTo>
                    <a:pt x="416" y="39"/>
                  </a:lnTo>
                  <a:lnTo>
                    <a:pt x="418" y="41"/>
                  </a:lnTo>
                  <a:lnTo>
                    <a:pt x="418" y="43"/>
                  </a:lnTo>
                  <a:lnTo>
                    <a:pt x="416" y="43"/>
                  </a:lnTo>
                  <a:lnTo>
                    <a:pt x="416" y="44"/>
                  </a:lnTo>
                  <a:lnTo>
                    <a:pt x="414" y="44"/>
                  </a:lnTo>
                  <a:lnTo>
                    <a:pt x="414" y="46"/>
                  </a:lnTo>
                  <a:lnTo>
                    <a:pt x="416" y="46"/>
                  </a:lnTo>
                  <a:lnTo>
                    <a:pt x="418" y="46"/>
                  </a:lnTo>
                  <a:lnTo>
                    <a:pt x="419" y="46"/>
                  </a:lnTo>
                  <a:lnTo>
                    <a:pt x="421" y="44"/>
                  </a:lnTo>
                  <a:lnTo>
                    <a:pt x="421" y="46"/>
                  </a:lnTo>
                  <a:lnTo>
                    <a:pt x="423" y="48"/>
                  </a:lnTo>
                  <a:lnTo>
                    <a:pt x="424" y="48"/>
                  </a:lnTo>
                  <a:lnTo>
                    <a:pt x="426" y="48"/>
                  </a:lnTo>
                  <a:lnTo>
                    <a:pt x="427" y="48"/>
                  </a:lnTo>
                  <a:lnTo>
                    <a:pt x="427" y="49"/>
                  </a:lnTo>
                  <a:lnTo>
                    <a:pt x="429" y="49"/>
                  </a:lnTo>
                  <a:lnTo>
                    <a:pt x="431" y="49"/>
                  </a:lnTo>
                  <a:lnTo>
                    <a:pt x="434" y="48"/>
                  </a:lnTo>
                  <a:lnTo>
                    <a:pt x="436" y="48"/>
                  </a:lnTo>
                  <a:lnTo>
                    <a:pt x="437" y="48"/>
                  </a:lnTo>
                  <a:lnTo>
                    <a:pt x="439" y="48"/>
                  </a:lnTo>
                  <a:lnTo>
                    <a:pt x="440" y="49"/>
                  </a:lnTo>
                  <a:lnTo>
                    <a:pt x="442" y="49"/>
                  </a:lnTo>
                  <a:lnTo>
                    <a:pt x="444" y="49"/>
                  </a:lnTo>
                  <a:lnTo>
                    <a:pt x="444" y="48"/>
                  </a:lnTo>
                  <a:lnTo>
                    <a:pt x="445" y="44"/>
                  </a:lnTo>
                  <a:lnTo>
                    <a:pt x="445" y="43"/>
                  </a:lnTo>
                  <a:lnTo>
                    <a:pt x="447" y="43"/>
                  </a:lnTo>
                  <a:lnTo>
                    <a:pt x="449" y="41"/>
                  </a:lnTo>
                  <a:lnTo>
                    <a:pt x="449" y="38"/>
                  </a:lnTo>
                  <a:lnTo>
                    <a:pt x="449" y="36"/>
                  </a:lnTo>
                  <a:lnTo>
                    <a:pt x="450" y="33"/>
                  </a:lnTo>
                  <a:lnTo>
                    <a:pt x="452" y="31"/>
                  </a:lnTo>
                  <a:lnTo>
                    <a:pt x="450" y="30"/>
                  </a:lnTo>
                  <a:lnTo>
                    <a:pt x="450" y="28"/>
                  </a:lnTo>
                  <a:lnTo>
                    <a:pt x="452" y="28"/>
                  </a:lnTo>
                  <a:lnTo>
                    <a:pt x="452" y="26"/>
                  </a:lnTo>
                  <a:lnTo>
                    <a:pt x="452" y="25"/>
                  </a:lnTo>
                  <a:lnTo>
                    <a:pt x="453" y="26"/>
                  </a:lnTo>
                  <a:lnTo>
                    <a:pt x="455" y="25"/>
                  </a:lnTo>
                  <a:lnTo>
                    <a:pt x="457" y="25"/>
                  </a:lnTo>
                  <a:lnTo>
                    <a:pt x="457" y="23"/>
                  </a:lnTo>
                  <a:lnTo>
                    <a:pt x="457" y="20"/>
                  </a:lnTo>
                  <a:lnTo>
                    <a:pt x="458" y="20"/>
                  </a:lnTo>
                  <a:lnTo>
                    <a:pt x="460" y="20"/>
                  </a:lnTo>
                  <a:lnTo>
                    <a:pt x="462" y="20"/>
                  </a:lnTo>
                  <a:lnTo>
                    <a:pt x="463" y="20"/>
                  </a:lnTo>
                  <a:lnTo>
                    <a:pt x="465" y="20"/>
                  </a:lnTo>
                  <a:lnTo>
                    <a:pt x="466" y="18"/>
                  </a:lnTo>
                  <a:lnTo>
                    <a:pt x="468" y="18"/>
                  </a:lnTo>
                  <a:lnTo>
                    <a:pt x="470" y="17"/>
                  </a:lnTo>
                  <a:lnTo>
                    <a:pt x="471" y="17"/>
                  </a:lnTo>
                  <a:lnTo>
                    <a:pt x="473" y="17"/>
                  </a:lnTo>
                  <a:lnTo>
                    <a:pt x="475" y="17"/>
                  </a:lnTo>
                  <a:lnTo>
                    <a:pt x="476" y="17"/>
                  </a:lnTo>
                  <a:lnTo>
                    <a:pt x="478" y="18"/>
                  </a:lnTo>
                  <a:lnTo>
                    <a:pt x="479" y="20"/>
                  </a:lnTo>
                  <a:lnTo>
                    <a:pt x="481" y="20"/>
                  </a:lnTo>
                  <a:lnTo>
                    <a:pt x="483" y="20"/>
                  </a:lnTo>
                  <a:lnTo>
                    <a:pt x="484" y="18"/>
                  </a:lnTo>
                  <a:lnTo>
                    <a:pt x="484" y="17"/>
                  </a:lnTo>
                  <a:lnTo>
                    <a:pt x="486" y="17"/>
                  </a:lnTo>
                  <a:lnTo>
                    <a:pt x="486" y="15"/>
                  </a:lnTo>
                  <a:lnTo>
                    <a:pt x="488" y="13"/>
                  </a:lnTo>
                  <a:lnTo>
                    <a:pt x="489" y="13"/>
                  </a:lnTo>
                  <a:lnTo>
                    <a:pt x="492" y="15"/>
                  </a:lnTo>
                  <a:lnTo>
                    <a:pt x="494" y="17"/>
                  </a:lnTo>
                  <a:lnTo>
                    <a:pt x="497" y="15"/>
                  </a:lnTo>
                  <a:lnTo>
                    <a:pt x="499" y="13"/>
                  </a:lnTo>
                  <a:lnTo>
                    <a:pt x="501" y="13"/>
                  </a:lnTo>
                  <a:lnTo>
                    <a:pt x="502" y="12"/>
                  </a:lnTo>
                  <a:lnTo>
                    <a:pt x="502" y="13"/>
                  </a:lnTo>
                  <a:lnTo>
                    <a:pt x="505" y="15"/>
                  </a:lnTo>
                  <a:lnTo>
                    <a:pt x="507" y="15"/>
                  </a:lnTo>
                  <a:lnTo>
                    <a:pt x="509" y="15"/>
                  </a:lnTo>
                  <a:lnTo>
                    <a:pt x="510" y="15"/>
                  </a:lnTo>
                  <a:lnTo>
                    <a:pt x="512" y="18"/>
                  </a:lnTo>
                  <a:lnTo>
                    <a:pt x="514" y="18"/>
                  </a:lnTo>
                  <a:lnTo>
                    <a:pt x="515" y="18"/>
                  </a:lnTo>
                  <a:lnTo>
                    <a:pt x="517" y="17"/>
                  </a:lnTo>
                  <a:lnTo>
                    <a:pt x="518" y="15"/>
                  </a:lnTo>
                  <a:lnTo>
                    <a:pt x="520" y="15"/>
                  </a:lnTo>
                  <a:lnTo>
                    <a:pt x="523" y="15"/>
                  </a:lnTo>
                  <a:lnTo>
                    <a:pt x="523" y="13"/>
                  </a:lnTo>
                  <a:lnTo>
                    <a:pt x="525" y="13"/>
                  </a:lnTo>
                  <a:lnTo>
                    <a:pt x="527" y="12"/>
                  </a:lnTo>
                  <a:lnTo>
                    <a:pt x="528" y="12"/>
                  </a:lnTo>
                  <a:lnTo>
                    <a:pt x="530" y="10"/>
                  </a:lnTo>
                  <a:lnTo>
                    <a:pt x="531" y="9"/>
                  </a:lnTo>
                  <a:lnTo>
                    <a:pt x="533" y="9"/>
                  </a:lnTo>
                  <a:lnTo>
                    <a:pt x="535" y="7"/>
                  </a:lnTo>
                  <a:lnTo>
                    <a:pt x="535" y="9"/>
                  </a:lnTo>
                  <a:lnTo>
                    <a:pt x="536" y="7"/>
                  </a:lnTo>
                  <a:lnTo>
                    <a:pt x="540" y="7"/>
                  </a:lnTo>
                  <a:lnTo>
                    <a:pt x="541" y="7"/>
                  </a:lnTo>
                  <a:lnTo>
                    <a:pt x="543" y="5"/>
                  </a:lnTo>
                  <a:lnTo>
                    <a:pt x="544" y="5"/>
                  </a:lnTo>
                  <a:lnTo>
                    <a:pt x="546" y="5"/>
                  </a:lnTo>
                  <a:lnTo>
                    <a:pt x="548" y="2"/>
                  </a:lnTo>
                  <a:lnTo>
                    <a:pt x="551" y="2"/>
                  </a:lnTo>
                  <a:lnTo>
                    <a:pt x="553" y="2"/>
                  </a:lnTo>
                  <a:lnTo>
                    <a:pt x="554" y="2"/>
                  </a:lnTo>
                  <a:lnTo>
                    <a:pt x="556" y="0"/>
                  </a:lnTo>
                  <a:lnTo>
                    <a:pt x="558" y="0"/>
                  </a:lnTo>
                  <a:lnTo>
                    <a:pt x="559" y="0"/>
                  </a:lnTo>
                  <a:lnTo>
                    <a:pt x="561" y="2"/>
                  </a:lnTo>
                  <a:lnTo>
                    <a:pt x="562" y="4"/>
                  </a:lnTo>
                  <a:lnTo>
                    <a:pt x="561" y="4"/>
                  </a:lnTo>
                  <a:lnTo>
                    <a:pt x="561" y="5"/>
                  </a:lnTo>
                  <a:lnTo>
                    <a:pt x="559" y="7"/>
                  </a:lnTo>
                  <a:lnTo>
                    <a:pt x="559" y="9"/>
                  </a:lnTo>
                  <a:lnTo>
                    <a:pt x="556" y="10"/>
                  </a:lnTo>
                  <a:lnTo>
                    <a:pt x="554" y="10"/>
                  </a:lnTo>
                  <a:lnTo>
                    <a:pt x="553" y="10"/>
                  </a:lnTo>
                  <a:lnTo>
                    <a:pt x="551" y="10"/>
                  </a:lnTo>
                  <a:lnTo>
                    <a:pt x="551" y="12"/>
                  </a:lnTo>
                  <a:lnTo>
                    <a:pt x="553" y="15"/>
                  </a:lnTo>
                  <a:lnTo>
                    <a:pt x="553" y="18"/>
                  </a:lnTo>
                  <a:lnTo>
                    <a:pt x="553" y="20"/>
                  </a:lnTo>
                  <a:lnTo>
                    <a:pt x="554" y="20"/>
                  </a:lnTo>
                  <a:lnTo>
                    <a:pt x="556" y="22"/>
                  </a:lnTo>
                  <a:lnTo>
                    <a:pt x="556" y="23"/>
                  </a:lnTo>
                  <a:lnTo>
                    <a:pt x="554" y="23"/>
                  </a:lnTo>
                  <a:lnTo>
                    <a:pt x="554" y="25"/>
                  </a:lnTo>
                  <a:lnTo>
                    <a:pt x="554" y="26"/>
                  </a:lnTo>
                  <a:lnTo>
                    <a:pt x="558" y="26"/>
                  </a:lnTo>
                  <a:lnTo>
                    <a:pt x="559" y="26"/>
                  </a:lnTo>
                  <a:lnTo>
                    <a:pt x="559" y="28"/>
                  </a:lnTo>
                  <a:lnTo>
                    <a:pt x="559" y="30"/>
                  </a:lnTo>
                  <a:lnTo>
                    <a:pt x="561" y="31"/>
                  </a:lnTo>
                  <a:lnTo>
                    <a:pt x="562" y="30"/>
                  </a:lnTo>
                  <a:lnTo>
                    <a:pt x="562" y="28"/>
                  </a:lnTo>
                  <a:lnTo>
                    <a:pt x="566" y="30"/>
                  </a:lnTo>
                  <a:lnTo>
                    <a:pt x="567" y="30"/>
                  </a:lnTo>
                  <a:lnTo>
                    <a:pt x="567" y="31"/>
                  </a:lnTo>
                  <a:lnTo>
                    <a:pt x="569" y="35"/>
                  </a:lnTo>
                  <a:lnTo>
                    <a:pt x="569" y="36"/>
                  </a:lnTo>
                  <a:lnTo>
                    <a:pt x="571" y="36"/>
                  </a:lnTo>
                  <a:lnTo>
                    <a:pt x="567" y="39"/>
                  </a:lnTo>
                  <a:lnTo>
                    <a:pt x="569" y="41"/>
                  </a:lnTo>
                  <a:lnTo>
                    <a:pt x="567" y="43"/>
                  </a:lnTo>
                  <a:lnTo>
                    <a:pt x="567" y="44"/>
                  </a:lnTo>
                  <a:lnTo>
                    <a:pt x="571" y="44"/>
                  </a:lnTo>
                  <a:lnTo>
                    <a:pt x="575" y="44"/>
                  </a:lnTo>
                  <a:lnTo>
                    <a:pt x="577" y="52"/>
                  </a:lnTo>
                  <a:lnTo>
                    <a:pt x="579" y="54"/>
                  </a:lnTo>
                  <a:lnTo>
                    <a:pt x="580" y="54"/>
                  </a:lnTo>
                  <a:lnTo>
                    <a:pt x="582" y="56"/>
                  </a:lnTo>
                  <a:lnTo>
                    <a:pt x="584" y="57"/>
                  </a:lnTo>
                  <a:lnTo>
                    <a:pt x="585" y="57"/>
                  </a:lnTo>
                  <a:lnTo>
                    <a:pt x="587" y="57"/>
                  </a:lnTo>
                  <a:lnTo>
                    <a:pt x="587" y="59"/>
                  </a:lnTo>
                  <a:lnTo>
                    <a:pt x="588" y="59"/>
                  </a:lnTo>
                  <a:lnTo>
                    <a:pt x="590" y="57"/>
                  </a:lnTo>
                  <a:lnTo>
                    <a:pt x="592" y="59"/>
                  </a:lnTo>
                  <a:lnTo>
                    <a:pt x="595" y="61"/>
                  </a:lnTo>
                  <a:lnTo>
                    <a:pt x="597" y="62"/>
                  </a:lnTo>
                  <a:lnTo>
                    <a:pt x="600" y="61"/>
                  </a:lnTo>
                  <a:lnTo>
                    <a:pt x="601" y="61"/>
                  </a:lnTo>
                  <a:lnTo>
                    <a:pt x="603" y="61"/>
                  </a:lnTo>
                  <a:lnTo>
                    <a:pt x="603" y="62"/>
                  </a:lnTo>
                  <a:lnTo>
                    <a:pt x="605" y="62"/>
                  </a:lnTo>
                  <a:lnTo>
                    <a:pt x="605" y="61"/>
                  </a:lnTo>
                  <a:lnTo>
                    <a:pt x="606" y="61"/>
                  </a:lnTo>
                  <a:lnTo>
                    <a:pt x="608" y="61"/>
                  </a:lnTo>
                  <a:lnTo>
                    <a:pt x="610" y="61"/>
                  </a:lnTo>
                  <a:lnTo>
                    <a:pt x="611" y="62"/>
                  </a:lnTo>
                  <a:lnTo>
                    <a:pt x="613" y="64"/>
                  </a:lnTo>
                  <a:lnTo>
                    <a:pt x="614" y="62"/>
                  </a:lnTo>
                  <a:lnTo>
                    <a:pt x="616" y="62"/>
                  </a:lnTo>
                  <a:lnTo>
                    <a:pt x="618" y="62"/>
                  </a:lnTo>
                  <a:lnTo>
                    <a:pt x="619" y="62"/>
                  </a:lnTo>
                  <a:lnTo>
                    <a:pt x="619" y="64"/>
                  </a:lnTo>
                  <a:lnTo>
                    <a:pt x="621" y="64"/>
                  </a:lnTo>
                  <a:lnTo>
                    <a:pt x="623" y="64"/>
                  </a:lnTo>
                  <a:lnTo>
                    <a:pt x="623" y="67"/>
                  </a:lnTo>
                  <a:lnTo>
                    <a:pt x="624" y="67"/>
                  </a:lnTo>
                  <a:lnTo>
                    <a:pt x="626" y="67"/>
                  </a:lnTo>
                  <a:lnTo>
                    <a:pt x="627" y="67"/>
                  </a:lnTo>
                  <a:lnTo>
                    <a:pt x="631" y="67"/>
                  </a:lnTo>
                  <a:lnTo>
                    <a:pt x="632" y="67"/>
                  </a:lnTo>
                  <a:lnTo>
                    <a:pt x="637" y="67"/>
                  </a:lnTo>
                  <a:lnTo>
                    <a:pt x="639" y="67"/>
                  </a:lnTo>
                  <a:lnTo>
                    <a:pt x="644" y="69"/>
                  </a:lnTo>
                  <a:lnTo>
                    <a:pt x="647" y="67"/>
                  </a:lnTo>
                  <a:lnTo>
                    <a:pt x="650" y="69"/>
                  </a:lnTo>
                  <a:lnTo>
                    <a:pt x="653" y="69"/>
                  </a:lnTo>
                  <a:lnTo>
                    <a:pt x="657" y="69"/>
                  </a:lnTo>
                  <a:lnTo>
                    <a:pt x="658" y="70"/>
                  </a:lnTo>
                  <a:lnTo>
                    <a:pt x="660" y="70"/>
                  </a:lnTo>
                  <a:lnTo>
                    <a:pt x="662" y="72"/>
                  </a:lnTo>
                  <a:lnTo>
                    <a:pt x="663" y="74"/>
                  </a:lnTo>
                  <a:lnTo>
                    <a:pt x="665" y="72"/>
                  </a:lnTo>
                  <a:lnTo>
                    <a:pt x="666" y="72"/>
                  </a:lnTo>
                  <a:lnTo>
                    <a:pt x="668" y="72"/>
                  </a:lnTo>
                  <a:lnTo>
                    <a:pt x="671" y="74"/>
                  </a:lnTo>
                  <a:lnTo>
                    <a:pt x="673" y="70"/>
                  </a:lnTo>
                  <a:lnTo>
                    <a:pt x="676" y="70"/>
                  </a:lnTo>
                  <a:lnTo>
                    <a:pt x="676" y="69"/>
                  </a:lnTo>
                  <a:lnTo>
                    <a:pt x="679" y="70"/>
                  </a:lnTo>
                  <a:lnTo>
                    <a:pt x="679" y="72"/>
                  </a:lnTo>
                  <a:lnTo>
                    <a:pt x="683" y="72"/>
                  </a:lnTo>
                  <a:lnTo>
                    <a:pt x="686" y="72"/>
                  </a:lnTo>
                  <a:lnTo>
                    <a:pt x="689" y="70"/>
                  </a:lnTo>
                  <a:lnTo>
                    <a:pt x="689" y="72"/>
                  </a:lnTo>
                  <a:lnTo>
                    <a:pt x="691" y="74"/>
                  </a:lnTo>
                  <a:lnTo>
                    <a:pt x="692" y="72"/>
                  </a:lnTo>
                  <a:lnTo>
                    <a:pt x="694" y="72"/>
                  </a:lnTo>
                  <a:lnTo>
                    <a:pt x="696" y="72"/>
                  </a:lnTo>
                  <a:lnTo>
                    <a:pt x="696" y="74"/>
                  </a:lnTo>
                  <a:lnTo>
                    <a:pt x="697" y="74"/>
                  </a:lnTo>
                  <a:lnTo>
                    <a:pt x="702" y="74"/>
                  </a:lnTo>
                  <a:lnTo>
                    <a:pt x="706" y="75"/>
                  </a:lnTo>
                  <a:lnTo>
                    <a:pt x="709" y="75"/>
                  </a:lnTo>
                  <a:lnTo>
                    <a:pt x="710" y="75"/>
                  </a:lnTo>
                  <a:lnTo>
                    <a:pt x="710" y="77"/>
                  </a:lnTo>
                  <a:lnTo>
                    <a:pt x="710" y="78"/>
                  </a:lnTo>
                  <a:lnTo>
                    <a:pt x="709" y="78"/>
                  </a:lnTo>
                  <a:lnTo>
                    <a:pt x="709" y="80"/>
                  </a:lnTo>
                  <a:lnTo>
                    <a:pt x="710" y="82"/>
                  </a:lnTo>
                  <a:lnTo>
                    <a:pt x="709" y="83"/>
                  </a:lnTo>
                  <a:lnTo>
                    <a:pt x="709" y="85"/>
                  </a:lnTo>
                  <a:lnTo>
                    <a:pt x="709" y="87"/>
                  </a:lnTo>
                  <a:lnTo>
                    <a:pt x="707" y="87"/>
                  </a:lnTo>
                  <a:lnTo>
                    <a:pt x="706" y="87"/>
                  </a:lnTo>
                  <a:lnTo>
                    <a:pt x="704" y="87"/>
                  </a:lnTo>
                  <a:lnTo>
                    <a:pt x="702" y="87"/>
                  </a:lnTo>
                  <a:lnTo>
                    <a:pt x="699" y="88"/>
                  </a:lnTo>
                  <a:lnTo>
                    <a:pt x="697" y="90"/>
                  </a:lnTo>
                  <a:lnTo>
                    <a:pt x="697" y="91"/>
                  </a:lnTo>
                  <a:lnTo>
                    <a:pt x="697" y="93"/>
                  </a:lnTo>
                  <a:lnTo>
                    <a:pt x="696" y="95"/>
                  </a:lnTo>
                  <a:lnTo>
                    <a:pt x="694" y="96"/>
                  </a:lnTo>
                  <a:lnTo>
                    <a:pt x="692" y="96"/>
                  </a:lnTo>
                  <a:lnTo>
                    <a:pt x="691" y="96"/>
                  </a:lnTo>
                  <a:lnTo>
                    <a:pt x="691" y="98"/>
                  </a:lnTo>
                  <a:lnTo>
                    <a:pt x="689" y="98"/>
                  </a:lnTo>
                  <a:lnTo>
                    <a:pt x="688" y="100"/>
                  </a:lnTo>
                  <a:lnTo>
                    <a:pt x="686" y="100"/>
                  </a:lnTo>
                  <a:lnTo>
                    <a:pt x="684" y="100"/>
                  </a:lnTo>
                  <a:lnTo>
                    <a:pt x="684" y="101"/>
                  </a:lnTo>
                  <a:lnTo>
                    <a:pt x="684" y="103"/>
                  </a:lnTo>
                  <a:lnTo>
                    <a:pt x="684" y="104"/>
                  </a:lnTo>
                  <a:lnTo>
                    <a:pt x="684" y="106"/>
                  </a:lnTo>
                  <a:lnTo>
                    <a:pt x="683" y="106"/>
                  </a:lnTo>
                  <a:lnTo>
                    <a:pt x="683" y="108"/>
                  </a:lnTo>
                  <a:lnTo>
                    <a:pt x="681" y="108"/>
                  </a:lnTo>
                  <a:lnTo>
                    <a:pt x="678" y="109"/>
                  </a:lnTo>
                  <a:lnTo>
                    <a:pt x="679" y="109"/>
                  </a:lnTo>
                  <a:lnTo>
                    <a:pt x="679" y="111"/>
                  </a:lnTo>
                  <a:lnTo>
                    <a:pt x="681" y="114"/>
                  </a:lnTo>
                  <a:lnTo>
                    <a:pt x="683" y="117"/>
                  </a:lnTo>
                  <a:lnTo>
                    <a:pt x="683" y="119"/>
                  </a:lnTo>
                  <a:lnTo>
                    <a:pt x="683" y="121"/>
                  </a:lnTo>
                  <a:lnTo>
                    <a:pt x="683" y="122"/>
                  </a:lnTo>
                  <a:lnTo>
                    <a:pt x="686" y="121"/>
                  </a:lnTo>
                  <a:lnTo>
                    <a:pt x="686" y="122"/>
                  </a:lnTo>
                  <a:lnTo>
                    <a:pt x="688" y="122"/>
                  </a:lnTo>
                  <a:lnTo>
                    <a:pt x="688" y="121"/>
                  </a:lnTo>
                  <a:lnTo>
                    <a:pt x="686" y="119"/>
                  </a:lnTo>
                  <a:lnTo>
                    <a:pt x="688" y="119"/>
                  </a:lnTo>
                  <a:lnTo>
                    <a:pt x="689" y="119"/>
                  </a:lnTo>
                  <a:lnTo>
                    <a:pt x="691" y="121"/>
                  </a:lnTo>
                  <a:lnTo>
                    <a:pt x="692" y="121"/>
                  </a:lnTo>
                  <a:lnTo>
                    <a:pt x="694" y="119"/>
                  </a:lnTo>
                  <a:lnTo>
                    <a:pt x="697" y="121"/>
                  </a:lnTo>
                  <a:lnTo>
                    <a:pt x="697" y="122"/>
                  </a:lnTo>
                  <a:lnTo>
                    <a:pt x="697" y="124"/>
                  </a:lnTo>
                  <a:lnTo>
                    <a:pt x="699" y="124"/>
                  </a:lnTo>
                  <a:lnTo>
                    <a:pt x="701" y="124"/>
                  </a:lnTo>
                  <a:lnTo>
                    <a:pt x="702" y="124"/>
                  </a:lnTo>
                  <a:lnTo>
                    <a:pt x="704" y="124"/>
                  </a:lnTo>
                  <a:lnTo>
                    <a:pt x="704" y="122"/>
                  </a:lnTo>
                  <a:lnTo>
                    <a:pt x="706" y="124"/>
                  </a:lnTo>
                  <a:lnTo>
                    <a:pt x="707" y="124"/>
                  </a:lnTo>
                  <a:lnTo>
                    <a:pt x="709" y="124"/>
                  </a:lnTo>
                  <a:lnTo>
                    <a:pt x="709" y="126"/>
                  </a:lnTo>
                  <a:lnTo>
                    <a:pt x="707" y="127"/>
                  </a:lnTo>
                  <a:lnTo>
                    <a:pt x="707" y="129"/>
                  </a:lnTo>
                  <a:lnTo>
                    <a:pt x="706" y="131"/>
                  </a:lnTo>
                  <a:lnTo>
                    <a:pt x="706" y="132"/>
                  </a:lnTo>
                  <a:lnTo>
                    <a:pt x="704" y="134"/>
                  </a:lnTo>
                  <a:lnTo>
                    <a:pt x="702" y="134"/>
                  </a:lnTo>
                  <a:lnTo>
                    <a:pt x="702" y="135"/>
                  </a:lnTo>
                  <a:lnTo>
                    <a:pt x="701" y="135"/>
                  </a:lnTo>
                  <a:lnTo>
                    <a:pt x="699" y="137"/>
                  </a:lnTo>
                  <a:lnTo>
                    <a:pt x="699" y="139"/>
                  </a:lnTo>
                  <a:lnTo>
                    <a:pt x="697" y="139"/>
                  </a:lnTo>
                  <a:lnTo>
                    <a:pt x="696" y="139"/>
                  </a:lnTo>
                  <a:lnTo>
                    <a:pt x="696" y="140"/>
                  </a:lnTo>
                  <a:lnTo>
                    <a:pt x="694" y="142"/>
                  </a:lnTo>
                  <a:lnTo>
                    <a:pt x="692" y="142"/>
                  </a:lnTo>
                  <a:lnTo>
                    <a:pt x="692" y="144"/>
                  </a:lnTo>
                  <a:lnTo>
                    <a:pt x="691" y="144"/>
                  </a:lnTo>
                  <a:lnTo>
                    <a:pt x="691" y="145"/>
                  </a:lnTo>
                  <a:lnTo>
                    <a:pt x="692" y="145"/>
                  </a:lnTo>
                  <a:lnTo>
                    <a:pt x="694" y="145"/>
                  </a:lnTo>
                  <a:lnTo>
                    <a:pt x="692" y="147"/>
                  </a:lnTo>
                  <a:lnTo>
                    <a:pt x="692" y="148"/>
                  </a:lnTo>
                  <a:lnTo>
                    <a:pt x="691" y="150"/>
                  </a:lnTo>
                  <a:lnTo>
                    <a:pt x="691" y="152"/>
                  </a:lnTo>
                  <a:lnTo>
                    <a:pt x="692" y="152"/>
                  </a:lnTo>
                  <a:lnTo>
                    <a:pt x="692" y="153"/>
                  </a:lnTo>
                  <a:lnTo>
                    <a:pt x="694" y="153"/>
                  </a:lnTo>
                  <a:lnTo>
                    <a:pt x="694" y="155"/>
                  </a:lnTo>
                  <a:lnTo>
                    <a:pt x="696" y="155"/>
                  </a:lnTo>
                  <a:lnTo>
                    <a:pt x="697" y="155"/>
                  </a:lnTo>
                  <a:lnTo>
                    <a:pt x="699" y="155"/>
                  </a:lnTo>
                  <a:lnTo>
                    <a:pt x="701" y="155"/>
                  </a:lnTo>
                  <a:lnTo>
                    <a:pt x="701" y="153"/>
                  </a:lnTo>
                  <a:lnTo>
                    <a:pt x="702" y="152"/>
                  </a:lnTo>
                  <a:lnTo>
                    <a:pt x="706" y="153"/>
                  </a:lnTo>
                  <a:lnTo>
                    <a:pt x="706" y="152"/>
                  </a:lnTo>
                  <a:lnTo>
                    <a:pt x="707" y="153"/>
                  </a:lnTo>
                  <a:lnTo>
                    <a:pt x="707" y="155"/>
                  </a:lnTo>
                  <a:lnTo>
                    <a:pt x="706" y="155"/>
                  </a:lnTo>
                  <a:lnTo>
                    <a:pt x="706" y="158"/>
                  </a:lnTo>
                  <a:lnTo>
                    <a:pt x="706" y="160"/>
                  </a:lnTo>
                  <a:lnTo>
                    <a:pt x="706" y="161"/>
                  </a:lnTo>
                  <a:lnTo>
                    <a:pt x="706" y="163"/>
                  </a:lnTo>
                  <a:lnTo>
                    <a:pt x="704" y="165"/>
                  </a:lnTo>
                  <a:lnTo>
                    <a:pt x="704" y="166"/>
                  </a:lnTo>
                  <a:lnTo>
                    <a:pt x="702" y="166"/>
                  </a:lnTo>
                  <a:lnTo>
                    <a:pt x="702" y="168"/>
                  </a:lnTo>
                  <a:lnTo>
                    <a:pt x="701" y="171"/>
                  </a:lnTo>
                  <a:lnTo>
                    <a:pt x="701" y="173"/>
                  </a:lnTo>
                  <a:lnTo>
                    <a:pt x="702" y="174"/>
                  </a:lnTo>
                  <a:lnTo>
                    <a:pt x="702" y="176"/>
                  </a:lnTo>
                  <a:lnTo>
                    <a:pt x="704" y="178"/>
                  </a:lnTo>
                  <a:lnTo>
                    <a:pt x="706" y="179"/>
                  </a:lnTo>
                  <a:lnTo>
                    <a:pt x="707" y="179"/>
                  </a:lnTo>
                  <a:lnTo>
                    <a:pt x="710" y="179"/>
                  </a:lnTo>
                  <a:lnTo>
                    <a:pt x="712" y="179"/>
                  </a:lnTo>
                  <a:lnTo>
                    <a:pt x="714" y="183"/>
                  </a:lnTo>
                  <a:lnTo>
                    <a:pt x="715" y="183"/>
                  </a:lnTo>
                  <a:lnTo>
                    <a:pt x="717" y="184"/>
                  </a:lnTo>
                  <a:lnTo>
                    <a:pt x="719" y="184"/>
                  </a:lnTo>
                  <a:lnTo>
                    <a:pt x="722" y="186"/>
                  </a:lnTo>
                  <a:lnTo>
                    <a:pt x="723" y="186"/>
                  </a:lnTo>
                  <a:lnTo>
                    <a:pt x="725" y="189"/>
                  </a:lnTo>
                  <a:lnTo>
                    <a:pt x="727" y="189"/>
                  </a:lnTo>
                  <a:lnTo>
                    <a:pt x="728" y="191"/>
                  </a:lnTo>
                  <a:lnTo>
                    <a:pt x="728" y="194"/>
                  </a:lnTo>
                  <a:lnTo>
                    <a:pt x="732" y="197"/>
                  </a:lnTo>
                  <a:lnTo>
                    <a:pt x="733" y="199"/>
                  </a:lnTo>
                  <a:lnTo>
                    <a:pt x="735" y="200"/>
                  </a:lnTo>
                  <a:lnTo>
                    <a:pt x="736" y="200"/>
                  </a:lnTo>
                  <a:lnTo>
                    <a:pt x="736" y="202"/>
                  </a:lnTo>
                  <a:lnTo>
                    <a:pt x="735" y="204"/>
                  </a:lnTo>
                  <a:lnTo>
                    <a:pt x="732" y="205"/>
                  </a:lnTo>
                  <a:lnTo>
                    <a:pt x="732" y="207"/>
                  </a:lnTo>
                  <a:lnTo>
                    <a:pt x="730" y="209"/>
                  </a:lnTo>
                  <a:lnTo>
                    <a:pt x="727" y="210"/>
                  </a:lnTo>
                  <a:lnTo>
                    <a:pt x="723" y="210"/>
                  </a:lnTo>
                  <a:lnTo>
                    <a:pt x="722" y="209"/>
                  </a:lnTo>
                  <a:lnTo>
                    <a:pt x="720" y="207"/>
                  </a:lnTo>
                  <a:lnTo>
                    <a:pt x="719" y="207"/>
                  </a:lnTo>
                  <a:lnTo>
                    <a:pt x="717" y="209"/>
                  </a:lnTo>
                  <a:lnTo>
                    <a:pt x="717" y="207"/>
                  </a:lnTo>
                  <a:lnTo>
                    <a:pt x="719" y="207"/>
                  </a:lnTo>
                  <a:lnTo>
                    <a:pt x="719" y="205"/>
                  </a:lnTo>
                  <a:lnTo>
                    <a:pt x="720" y="205"/>
                  </a:lnTo>
                  <a:lnTo>
                    <a:pt x="722" y="205"/>
                  </a:lnTo>
                  <a:lnTo>
                    <a:pt x="722" y="207"/>
                  </a:lnTo>
                  <a:lnTo>
                    <a:pt x="723" y="207"/>
                  </a:lnTo>
                  <a:lnTo>
                    <a:pt x="725" y="207"/>
                  </a:lnTo>
                  <a:lnTo>
                    <a:pt x="725" y="205"/>
                  </a:lnTo>
                  <a:lnTo>
                    <a:pt x="723" y="205"/>
                  </a:lnTo>
                  <a:lnTo>
                    <a:pt x="723" y="204"/>
                  </a:lnTo>
                  <a:lnTo>
                    <a:pt x="722" y="204"/>
                  </a:lnTo>
                  <a:lnTo>
                    <a:pt x="722" y="202"/>
                  </a:lnTo>
                  <a:lnTo>
                    <a:pt x="723" y="202"/>
                  </a:lnTo>
                  <a:lnTo>
                    <a:pt x="722" y="202"/>
                  </a:lnTo>
                  <a:lnTo>
                    <a:pt x="722" y="204"/>
                  </a:lnTo>
                  <a:lnTo>
                    <a:pt x="720" y="204"/>
                  </a:lnTo>
                  <a:lnTo>
                    <a:pt x="720" y="202"/>
                  </a:lnTo>
                  <a:lnTo>
                    <a:pt x="722" y="202"/>
                  </a:lnTo>
                  <a:lnTo>
                    <a:pt x="720" y="202"/>
                  </a:lnTo>
                  <a:lnTo>
                    <a:pt x="719" y="202"/>
                  </a:lnTo>
                  <a:lnTo>
                    <a:pt x="720" y="200"/>
                  </a:lnTo>
                  <a:lnTo>
                    <a:pt x="722" y="200"/>
                  </a:lnTo>
                  <a:lnTo>
                    <a:pt x="722" y="199"/>
                  </a:lnTo>
                  <a:lnTo>
                    <a:pt x="720" y="199"/>
                  </a:lnTo>
                  <a:lnTo>
                    <a:pt x="720" y="197"/>
                  </a:lnTo>
                  <a:lnTo>
                    <a:pt x="720" y="196"/>
                  </a:lnTo>
                  <a:lnTo>
                    <a:pt x="719" y="194"/>
                  </a:lnTo>
                  <a:lnTo>
                    <a:pt x="717" y="192"/>
                  </a:lnTo>
                  <a:lnTo>
                    <a:pt x="715" y="192"/>
                  </a:lnTo>
                  <a:lnTo>
                    <a:pt x="715" y="191"/>
                  </a:lnTo>
                  <a:lnTo>
                    <a:pt x="714" y="191"/>
                  </a:lnTo>
                  <a:lnTo>
                    <a:pt x="712" y="187"/>
                  </a:lnTo>
                  <a:lnTo>
                    <a:pt x="710" y="187"/>
                  </a:lnTo>
                  <a:lnTo>
                    <a:pt x="710" y="186"/>
                  </a:lnTo>
                  <a:lnTo>
                    <a:pt x="709" y="186"/>
                  </a:lnTo>
                  <a:lnTo>
                    <a:pt x="707" y="184"/>
                  </a:lnTo>
                  <a:lnTo>
                    <a:pt x="706" y="183"/>
                  </a:lnTo>
                  <a:lnTo>
                    <a:pt x="704" y="184"/>
                  </a:lnTo>
                  <a:lnTo>
                    <a:pt x="704" y="183"/>
                  </a:lnTo>
                  <a:lnTo>
                    <a:pt x="702" y="183"/>
                  </a:lnTo>
                  <a:lnTo>
                    <a:pt x="701" y="183"/>
                  </a:lnTo>
                  <a:lnTo>
                    <a:pt x="699" y="183"/>
                  </a:lnTo>
                  <a:lnTo>
                    <a:pt x="699" y="181"/>
                  </a:lnTo>
                  <a:lnTo>
                    <a:pt x="697" y="181"/>
                  </a:lnTo>
                  <a:lnTo>
                    <a:pt x="697" y="183"/>
                  </a:lnTo>
                  <a:lnTo>
                    <a:pt x="699" y="181"/>
                  </a:lnTo>
                  <a:lnTo>
                    <a:pt x="697" y="183"/>
                  </a:lnTo>
                  <a:lnTo>
                    <a:pt x="697" y="184"/>
                  </a:lnTo>
                  <a:lnTo>
                    <a:pt x="696" y="184"/>
                  </a:lnTo>
                  <a:lnTo>
                    <a:pt x="696" y="186"/>
                  </a:lnTo>
                  <a:lnTo>
                    <a:pt x="694" y="186"/>
                  </a:lnTo>
                  <a:lnTo>
                    <a:pt x="694" y="184"/>
                  </a:lnTo>
                  <a:lnTo>
                    <a:pt x="694" y="186"/>
                  </a:lnTo>
                  <a:lnTo>
                    <a:pt x="696" y="186"/>
                  </a:lnTo>
                  <a:lnTo>
                    <a:pt x="696" y="187"/>
                  </a:lnTo>
                  <a:lnTo>
                    <a:pt x="697" y="187"/>
                  </a:lnTo>
                  <a:lnTo>
                    <a:pt x="696" y="187"/>
                  </a:lnTo>
                  <a:lnTo>
                    <a:pt x="697" y="189"/>
                  </a:lnTo>
                  <a:lnTo>
                    <a:pt x="699" y="189"/>
                  </a:lnTo>
                  <a:lnTo>
                    <a:pt x="701" y="189"/>
                  </a:lnTo>
                  <a:lnTo>
                    <a:pt x="699" y="191"/>
                  </a:lnTo>
                  <a:lnTo>
                    <a:pt x="699" y="189"/>
                  </a:lnTo>
                  <a:lnTo>
                    <a:pt x="697" y="189"/>
                  </a:lnTo>
                  <a:lnTo>
                    <a:pt x="696" y="187"/>
                  </a:lnTo>
                  <a:lnTo>
                    <a:pt x="694" y="187"/>
                  </a:lnTo>
                  <a:lnTo>
                    <a:pt x="694" y="186"/>
                  </a:lnTo>
                  <a:lnTo>
                    <a:pt x="692" y="184"/>
                  </a:lnTo>
                  <a:lnTo>
                    <a:pt x="691" y="184"/>
                  </a:lnTo>
                  <a:lnTo>
                    <a:pt x="692" y="184"/>
                  </a:lnTo>
                  <a:lnTo>
                    <a:pt x="692" y="186"/>
                  </a:lnTo>
                  <a:lnTo>
                    <a:pt x="694" y="186"/>
                  </a:lnTo>
                  <a:lnTo>
                    <a:pt x="694" y="187"/>
                  </a:lnTo>
                  <a:lnTo>
                    <a:pt x="696" y="187"/>
                  </a:lnTo>
                  <a:lnTo>
                    <a:pt x="697" y="189"/>
                  </a:lnTo>
                  <a:lnTo>
                    <a:pt x="699" y="191"/>
                  </a:lnTo>
                  <a:lnTo>
                    <a:pt x="697" y="191"/>
                  </a:lnTo>
                  <a:lnTo>
                    <a:pt x="694" y="192"/>
                  </a:lnTo>
                  <a:lnTo>
                    <a:pt x="692" y="194"/>
                  </a:lnTo>
                  <a:lnTo>
                    <a:pt x="691" y="194"/>
                  </a:lnTo>
                  <a:lnTo>
                    <a:pt x="691" y="192"/>
                  </a:lnTo>
                  <a:lnTo>
                    <a:pt x="689" y="192"/>
                  </a:lnTo>
                  <a:lnTo>
                    <a:pt x="688" y="192"/>
                  </a:lnTo>
                  <a:lnTo>
                    <a:pt x="686" y="192"/>
                  </a:lnTo>
                  <a:lnTo>
                    <a:pt x="686" y="191"/>
                  </a:lnTo>
                  <a:lnTo>
                    <a:pt x="686" y="192"/>
                  </a:lnTo>
                  <a:lnTo>
                    <a:pt x="688" y="192"/>
                  </a:lnTo>
                  <a:lnTo>
                    <a:pt x="689" y="192"/>
                  </a:lnTo>
                  <a:lnTo>
                    <a:pt x="689" y="194"/>
                  </a:lnTo>
                  <a:lnTo>
                    <a:pt x="691" y="194"/>
                  </a:lnTo>
                  <a:lnTo>
                    <a:pt x="691" y="192"/>
                  </a:lnTo>
                  <a:lnTo>
                    <a:pt x="691" y="194"/>
                  </a:lnTo>
                  <a:lnTo>
                    <a:pt x="691" y="196"/>
                  </a:lnTo>
                  <a:lnTo>
                    <a:pt x="688" y="197"/>
                  </a:lnTo>
                  <a:lnTo>
                    <a:pt x="686" y="197"/>
                  </a:lnTo>
                  <a:lnTo>
                    <a:pt x="683" y="199"/>
                  </a:lnTo>
                  <a:lnTo>
                    <a:pt x="683" y="197"/>
                  </a:lnTo>
                  <a:lnTo>
                    <a:pt x="681" y="197"/>
                  </a:lnTo>
                  <a:lnTo>
                    <a:pt x="683" y="197"/>
                  </a:lnTo>
                  <a:lnTo>
                    <a:pt x="683" y="196"/>
                  </a:lnTo>
                  <a:lnTo>
                    <a:pt x="683" y="194"/>
                  </a:lnTo>
                  <a:lnTo>
                    <a:pt x="681" y="194"/>
                  </a:lnTo>
                  <a:lnTo>
                    <a:pt x="681" y="192"/>
                  </a:lnTo>
                  <a:lnTo>
                    <a:pt x="683" y="192"/>
                  </a:lnTo>
                  <a:lnTo>
                    <a:pt x="683" y="191"/>
                  </a:lnTo>
                  <a:lnTo>
                    <a:pt x="683" y="192"/>
                  </a:lnTo>
                  <a:lnTo>
                    <a:pt x="681" y="191"/>
                  </a:lnTo>
                  <a:lnTo>
                    <a:pt x="683" y="191"/>
                  </a:lnTo>
                  <a:lnTo>
                    <a:pt x="681" y="191"/>
                  </a:lnTo>
                  <a:lnTo>
                    <a:pt x="679" y="189"/>
                  </a:lnTo>
                  <a:lnTo>
                    <a:pt x="678" y="189"/>
                  </a:lnTo>
                  <a:lnTo>
                    <a:pt x="676" y="189"/>
                  </a:lnTo>
                  <a:lnTo>
                    <a:pt x="675" y="187"/>
                  </a:lnTo>
                  <a:lnTo>
                    <a:pt x="675" y="189"/>
                  </a:lnTo>
                  <a:lnTo>
                    <a:pt x="675" y="187"/>
                  </a:lnTo>
                  <a:lnTo>
                    <a:pt x="673" y="187"/>
                  </a:lnTo>
                  <a:lnTo>
                    <a:pt x="671" y="187"/>
                  </a:lnTo>
                  <a:lnTo>
                    <a:pt x="671" y="189"/>
                  </a:lnTo>
                  <a:lnTo>
                    <a:pt x="671" y="187"/>
                  </a:lnTo>
                  <a:lnTo>
                    <a:pt x="670" y="187"/>
                  </a:lnTo>
                  <a:lnTo>
                    <a:pt x="668" y="187"/>
                  </a:lnTo>
                  <a:lnTo>
                    <a:pt x="668" y="186"/>
                  </a:lnTo>
                  <a:lnTo>
                    <a:pt x="668" y="184"/>
                  </a:lnTo>
                  <a:lnTo>
                    <a:pt x="668" y="183"/>
                  </a:lnTo>
                  <a:lnTo>
                    <a:pt x="666" y="183"/>
                  </a:lnTo>
                  <a:lnTo>
                    <a:pt x="666" y="181"/>
                  </a:lnTo>
                  <a:lnTo>
                    <a:pt x="666" y="179"/>
                  </a:lnTo>
                  <a:lnTo>
                    <a:pt x="666" y="181"/>
                  </a:lnTo>
                  <a:lnTo>
                    <a:pt x="666" y="183"/>
                  </a:lnTo>
                  <a:lnTo>
                    <a:pt x="668" y="183"/>
                  </a:lnTo>
                  <a:lnTo>
                    <a:pt x="668" y="184"/>
                  </a:lnTo>
                  <a:lnTo>
                    <a:pt x="668" y="186"/>
                  </a:lnTo>
                  <a:lnTo>
                    <a:pt x="668" y="187"/>
                  </a:lnTo>
                  <a:lnTo>
                    <a:pt x="666" y="187"/>
                  </a:lnTo>
                  <a:lnTo>
                    <a:pt x="666" y="186"/>
                  </a:lnTo>
                  <a:lnTo>
                    <a:pt x="665" y="186"/>
                  </a:lnTo>
                  <a:lnTo>
                    <a:pt x="663" y="186"/>
                  </a:lnTo>
                  <a:lnTo>
                    <a:pt x="663" y="184"/>
                  </a:lnTo>
                  <a:lnTo>
                    <a:pt x="663" y="186"/>
                  </a:lnTo>
                  <a:lnTo>
                    <a:pt x="662" y="186"/>
                  </a:lnTo>
                  <a:lnTo>
                    <a:pt x="662" y="187"/>
                  </a:lnTo>
                  <a:lnTo>
                    <a:pt x="660" y="187"/>
                  </a:lnTo>
                  <a:lnTo>
                    <a:pt x="660" y="189"/>
                  </a:lnTo>
                  <a:lnTo>
                    <a:pt x="658" y="189"/>
                  </a:lnTo>
                  <a:lnTo>
                    <a:pt x="660" y="189"/>
                  </a:lnTo>
                  <a:lnTo>
                    <a:pt x="660" y="187"/>
                  </a:lnTo>
                  <a:lnTo>
                    <a:pt x="658" y="187"/>
                  </a:lnTo>
                  <a:lnTo>
                    <a:pt x="658" y="189"/>
                  </a:lnTo>
                  <a:lnTo>
                    <a:pt x="657" y="189"/>
                  </a:lnTo>
                  <a:lnTo>
                    <a:pt x="657" y="187"/>
                  </a:lnTo>
                  <a:lnTo>
                    <a:pt x="655" y="187"/>
                  </a:lnTo>
                  <a:lnTo>
                    <a:pt x="655" y="189"/>
                  </a:lnTo>
                  <a:lnTo>
                    <a:pt x="655" y="191"/>
                  </a:lnTo>
                  <a:lnTo>
                    <a:pt x="657" y="191"/>
                  </a:lnTo>
                  <a:lnTo>
                    <a:pt x="657" y="192"/>
                  </a:lnTo>
                  <a:lnTo>
                    <a:pt x="655" y="192"/>
                  </a:lnTo>
                  <a:lnTo>
                    <a:pt x="655" y="191"/>
                  </a:lnTo>
                  <a:lnTo>
                    <a:pt x="655" y="192"/>
                  </a:lnTo>
                  <a:lnTo>
                    <a:pt x="653" y="192"/>
                  </a:lnTo>
                  <a:lnTo>
                    <a:pt x="653" y="191"/>
                  </a:lnTo>
                  <a:lnTo>
                    <a:pt x="653" y="192"/>
                  </a:lnTo>
                  <a:lnTo>
                    <a:pt x="653" y="194"/>
                  </a:lnTo>
                  <a:lnTo>
                    <a:pt x="652" y="194"/>
                  </a:lnTo>
                  <a:lnTo>
                    <a:pt x="652" y="196"/>
                  </a:lnTo>
                  <a:lnTo>
                    <a:pt x="652" y="197"/>
                  </a:lnTo>
                  <a:lnTo>
                    <a:pt x="653" y="197"/>
                  </a:lnTo>
                  <a:lnTo>
                    <a:pt x="655" y="197"/>
                  </a:lnTo>
                  <a:lnTo>
                    <a:pt x="653" y="197"/>
                  </a:lnTo>
                  <a:lnTo>
                    <a:pt x="655" y="197"/>
                  </a:lnTo>
                  <a:lnTo>
                    <a:pt x="657" y="197"/>
                  </a:lnTo>
                  <a:lnTo>
                    <a:pt x="658" y="197"/>
                  </a:lnTo>
                  <a:lnTo>
                    <a:pt x="658" y="196"/>
                  </a:lnTo>
                  <a:lnTo>
                    <a:pt x="660" y="196"/>
                  </a:lnTo>
                  <a:lnTo>
                    <a:pt x="660" y="197"/>
                  </a:lnTo>
                  <a:lnTo>
                    <a:pt x="657" y="199"/>
                  </a:lnTo>
                  <a:lnTo>
                    <a:pt x="655" y="200"/>
                  </a:lnTo>
                  <a:lnTo>
                    <a:pt x="655" y="202"/>
                  </a:lnTo>
                  <a:lnTo>
                    <a:pt x="655" y="204"/>
                  </a:lnTo>
                  <a:lnTo>
                    <a:pt x="653" y="204"/>
                  </a:lnTo>
                  <a:lnTo>
                    <a:pt x="653" y="202"/>
                  </a:lnTo>
                  <a:lnTo>
                    <a:pt x="652" y="202"/>
                  </a:lnTo>
                  <a:lnTo>
                    <a:pt x="653" y="202"/>
                  </a:lnTo>
                  <a:lnTo>
                    <a:pt x="653" y="204"/>
                  </a:lnTo>
                  <a:lnTo>
                    <a:pt x="655" y="204"/>
                  </a:lnTo>
                  <a:lnTo>
                    <a:pt x="655" y="205"/>
                  </a:lnTo>
                  <a:lnTo>
                    <a:pt x="653" y="205"/>
                  </a:lnTo>
                  <a:lnTo>
                    <a:pt x="652" y="205"/>
                  </a:lnTo>
                  <a:lnTo>
                    <a:pt x="650" y="205"/>
                  </a:lnTo>
                  <a:lnTo>
                    <a:pt x="649" y="205"/>
                  </a:lnTo>
                  <a:lnTo>
                    <a:pt x="645" y="207"/>
                  </a:lnTo>
                  <a:lnTo>
                    <a:pt x="642" y="207"/>
                  </a:lnTo>
                  <a:lnTo>
                    <a:pt x="644" y="207"/>
                  </a:lnTo>
                  <a:lnTo>
                    <a:pt x="644" y="205"/>
                  </a:lnTo>
                  <a:lnTo>
                    <a:pt x="642" y="204"/>
                  </a:lnTo>
                  <a:lnTo>
                    <a:pt x="642" y="202"/>
                  </a:lnTo>
                  <a:lnTo>
                    <a:pt x="640" y="202"/>
                  </a:lnTo>
                  <a:lnTo>
                    <a:pt x="642" y="202"/>
                  </a:lnTo>
                  <a:lnTo>
                    <a:pt x="642" y="204"/>
                  </a:lnTo>
                  <a:lnTo>
                    <a:pt x="642" y="205"/>
                  </a:lnTo>
                  <a:lnTo>
                    <a:pt x="642" y="207"/>
                  </a:lnTo>
                  <a:lnTo>
                    <a:pt x="639" y="209"/>
                  </a:lnTo>
                  <a:lnTo>
                    <a:pt x="637" y="209"/>
                  </a:lnTo>
                  <a:lnTo>
                    <a:pt x="636" y="209"/>
                  </a:lnTo>
                  <a:lnTo>
                    <a:pt x="634" y="207"/>
                  </a:lnTo>
                  <a:lnTo>
                    <a:pt x="636" y="207"/>
                  </a:lnTo>
                  <a:lnTo>
                    <a:pt x="636" y="205"/>
                  </a:lnTo>
                  <a:lnTo>
                    <a:pt x="637" y="205"/>
                  </a:lnTo>
                  <a:lnTo>
                    <a:pt x="636" y="204"/>
                  </a:lnTo>
                  <a:lnTo>
                    <a:pt x="636" y="202"/>
                  </a:lnTo>
                  <a:lnTo>
                    <a:pt x="634" y="202"/>
                  </a:lnTo>
                  <a:lnTo>
                    <a:pt x="634" y="200"/>
                  </a:lnTo>
                  <a:lnTo>
                    <a:pt x="632" y="200"/>
                  </a:lnTo>
                  <a:lnTo>
                    <a:pt x="634" y="200"/>
                  </a:lnTo>
                  <a:lnTo>
                    <a:pt x="634" y="202"/>
                  </a:lnTo>
                  <a:lnTo>
                    <a:pt x="636" y="202"/>
                  </a:lnTo>
                  <a:lnTo>
                    <a:pt x="636" y="204"/>
                  </a:lnTo>
                  <a:lnTo>
                    <a:pt x="636" y="205"/>
                  </a:lnTo>
                  <a:lnTo>
                    <a:pt x="636" y="207"/>
                  </a:lnTo>
                  <a:lnTo>
                    <a:pt x="634" y="207"/>
                  </a:lnTo>
                  <a:lnTo>
                    <a:pt x="634" y="209"/>
                  </a:lnTo>
                  <a:lnTo>
                    <a:pt x="636" y="209"/>
                  </a:lnTo>
                  <a:lnTo>
                    <a:pt x="634" y="210"/>
                  </a:lnTo>
                  <a:lnTo>
                    <a:pt x="634" y="212"/>
                  </a:lnTo>
                  <a:lnTo>
                    <a:pt x="632" y="212"/>
                  </a:lnTo>
                  <a:lnTo>
                    <a:pt x="631" y="213"/>
                  </a:lnTo>
                  <a:lnTo>
                    <a:pt x="631" y="212"/>
                  </a:lnTo>
                  <a:lnTo>
                    <a:pt x="631" y="213"/>
                  </a:lnTo>
                  <a:lnTo>
                    <a:pt x="629" y="213"/>
                  </a:lnTo>
                  <a:lnTo>
                    <a:pt x="626" y="217"/>
                  </a:lnTo>
                  <a:lnTo>
                    <a:pt x="624" y="217"/>
                  </a:lnTo>
                  <a:lnTo>
                    <a:pt x="621" y="220"/>
                  </a:lnTo>
                  <a:lnTo>
                    <a:pt x="619" y="220"/>
                  </a:lnTo>
                  <a:lnTo>
                    <a:pt x="619" y="222"/>
                  </a:lnTo>
                  <a:lnTo>
                    <a:pt x="619" y="220"/>
                  </a:lnTo>
                  <a:lnTo>
                    <a:pt x="621" y="220"/>
                  </a:lnTo>
                  <a:lnTo>
                    <a:pt x="619" y="220"/>
                  </a:lnTo>
                  <a:lnTo>
                    <a:pt x="619" y="222"/>
                  </a:lnTo>
                  <a:lnTo>
                    <a:pt x="618" y="222"/>
                  </a:lnTo>
                  <a:lnTo>
                    <a:pt x="616" y="222"/>
                  </a:lnTo>
                  <a:lnTo>
                    <a:pt x="616" y="223"/>
                  </a:lnTo>
                  <a:lnTo>
                    <a:pt x="613" y="225"/>
                  </a:lnTo>
                  <a:lnTo>
                    <a:pt x="611" y="225"/>
                  </a:lnTo>
                  <a:lnTo>
                    <a:pt x="608" y="226"/>
                  </a:lnTo>
                  <a:lnTo>
                    <a:pt x="606" y="228"/>
                  </a:lnTo>
                  <a:lnTo>
                    <a:pt x="605" y="228"/>
                  </a:lnTo>
                  <a:lnTo>
                    <a:pt x="603" y="230"/>
                  </a:lnTo>
                  <a:lnTo>
                    <a:pt x="601" y="230"/>
                  </a:lnTo>
                  <a:lnTo>
                    <a:pt x="597" y="233"/>
                  </a:lnTo>
                  <a:lnTo>
                    <a:pt x="593" y="235"/>
                  </a:lnTo>
                  <a:lnTo>
                    <a:pt x="592" y="235"/>
                  </a:lnTo>
                  <a:lnTo>
                    <a:pt x="588" y="236"/>
                  </a:lnTo>
                  <a:lnTo>
                    <a:pt x="588" y="238"/>
                  </a:lnTo>
                  <a:lnTo>
                    <a:pt x="587" y="236"/>
                  </a:lnTo>
                  <a:lnTo>
                    <a:pt x="587" y="235"/>
                  </a:lnTo>
                  <a:lnTo>
                    <a:pt x="588" y="233"/>
                  </a:lnTo>
                  <a:lnTo>
                    <a:pt x="588" y="231"/>
                  </a:lnTo>
                  <a:lnTo>
                    <a:pt x="590" y="231"/>
                  </a:lnTo>
                  <a:lnTo>
                    <a:pt x="592" y="231"/>
                  </a:lnTo>
                  <a:lnTo>
                    <a:pt x="592" y="230"/>
                  </a:lnTo>
                  <a:lnTo>
                    <a:pt x="593" y="228"/>
                  </a:lnTo>
                  <a:lnTo>
                    <a:pt x="593" y="226"/>
                  </a:lnTo>
                  <a:lnTo>
                    <a:pt x="595" y="226"/>
                  </a:lnTo>
                  <a:lnTo>
                    <a:pt x="595" y="228"/>
                  </a:lnTo>
                  <a:lnTo>
                    <a:pt x="597" y="228"/>
                  </a:lnTo>
                  <a:lnTo>
                    <a:pt x="595" y="228"/>
                  </a:lnTo>
                  <a:lnTo>
                    <a:pt x="593" y="228"/>
                  </a:lnTo>
                  <a:lnTo>
                    <a:pt x="595" y="228"/>
                  </a:lnTo>
                  <a:lnTo>
                    <a:pt x="595" y="230"/>
                  </a:lnTo>
                  <a:lnTo>
                    <a:pt x="595" y="228"/>
                  </a:lnTo>
                  <a:lnTo>
                    <a:pt x="595" y="230"/>
                  </a:lnTo>
                  <a:lnTo>
                    <a:pt x="593" y="230"/>
                  </a:lnTo>
                  <a:lnTo>
                    <a:pt x="595" y="230"/>
                  </a:lnTo>
                  <a:lnTo>
                    <a:pt x="597" y="228"/>
                  </a:lnTo>
                  <a:lnTo>
                    <a:pt x="598" y="228"/>
                  </a:lnTo>
                  <a:lnTo>
                    <a:pt x="598" y="230"/>
                  </a:lnTo>
                  <a:lnTo>
                    <a:pt x="597" y="228"/>
                  </a:lnTo>
                  <a:lnTo>
                    <a:pt x="597" y="230"/>
                  </a:lnTo>
                  <a:lnTo>
                    <a:pt x="595" y="230"/>
                  </a:lnTo>
                  <a:lnTo>
                    <a:pt x="593" y="230"/>
                  </a:lnTo>
                  <a:lnTo>
                    <a:pt x="593" y="231"/>
                  </a:lnTo>
                  <a:lnTo>
                    <a:pt x="595" y="231"/>
                  </a:lnTo>
                  <a:lnTo>
                    <a:pt x="593" y="231"/>
                  </a:lnTo>
                  <a:lnTo>
                    <a:pt x="595" y="231"/>
                  </a:lnTo>
                  <a:lnTo>
                    <a:pt x="597" y="231"/>
                  </a:lnTo>
                  <a:lnTo>
                    <a:pt x="597" y="230"/>
                  </a:lnTo>
                  <a:lnTo>
                    <a:pt x="598" y="230"/>
                  </a:lnTo>
                  <a:lnTo>
                    <a:pt x="600" y="230"/>
                  </a:lnTo>
                  <a:lnTo>
                    <a:pt x="601" y="228"/>
                  </a:lnTo>
                  <a:lnTo>
                    <a:pt x="603" y="228"/>
                  </a:lnTo>
                  <a:lnTo>
                    <a:pt x="603" y="226"/>
                  </a:lnTo>
                  <a:lnTo>
                    <a:pt x="601" y="226"/>
                  </a:lnTo>
                  <a:lnTo>
                    <a:pt x="601" y="225"/>
                  </a:lnTo>
                  <a:lnTo>
                    <a:pt x="601" y="223"/>
                  </a:lnTo>
                  <a:lnTo>
                    <a:pt x="601" y="225"/>
                  </a:lnTo>
                  <a:lnTo>
                    <a:pt x="601" y="226"/>
                  </a:lnTo>
                  <a:lnTo>
                    <a:pt x="603" y="226"/>
                  </a:lnTo>
                  <a:lnTo>
                    <a:pt x="603" y="225"/>
                  </a:lnTo>
                  <a:lnTo>
                    <a:pt x="605" y="225"/>
                  </a:lnTo>
                  <a:lnTo>
                    <a:pt x="605" y="223"/>
                  </a:lnTo>
                  <a:lnTo>
                    <a:pt x="605" y="225"/>
                  </a:lnTo>
                  <a:lnTo>
                    <a:pt x="606" y="225"/>
                  </a:lnTo>
                  <a:lnTo>
                    <a:pt x="606" y="223"/>
                  </a:lnTo>
                  <a:lnTo>
                    <a:pt x="606" y="225"/>
                  </a:lnTo>
                  <a:lnTo>
                    <a:pt x="608" y="225"/>
                  </a:lnTo>
                  <a:lnTo>
                    <a:pt x="608" y="223"/>
                  </a:lnTo>
                  <a:lnTo>
                    <a:pt x="608" y="222"/>
                  </a:lnTo>
                  <a:lnTo>
                    <a:pt x="606" y="222"/>
                  </a:lnTo>
                  <a:lnTo>
                    <a:pt x="605" y="222"/>
                  </a:lnTo>
                  <a:lnTo>
                    <a:pt x="603" y="223"/>
                  </a:lnTo>
                  <a:lnTo>
                    <a:pt x="601" y="223"/>
                  </a:lnTo>
                  <a:lnTo>
                    <a:pt x="600" y="225"/>
                  </a:lnTo>
                  <a:lnTo>
                    <a:pt x="598" y="225"/>
                  </a:lnTo>
                  <a:lnTo>
                    <a:pt x="600" y="225"/>
                  </a:lnTo>
                  <a:lnTo>
                    <a:pt x="600" y="223"/>
                  </a:lnTo>
                  <a:lnTo>
                    <a:pt x="601" y="223"/>
                  </a:lnTo>
                  <a:lnTo>
                    <a:pt x="600" y="223"/>
                  </a:lnTo>
                  <a:lnTo>
                    <a:pt x="601" y="223"/>
                  </a:lnTo>
                  <a:lnTo>
                    <a:pt x="603" y="222"/>
                  </a:lnTo>
                  <a:lnTo>
                    <a:pt x="603" y="220"/>
                  </a:lnTo>
                  <a:lnTo>
                    <a:pt x="601" y="220"/>
                  </a:lnTo>
                  <a:lnTo>
                    <a:pt x="601" y="218"/>
                  </a:lnTo>
                  <a:lnTo>
                    <a:pt x="601" y="217"/>
                  </a:lnTo>
                  <a:lnTo>
                    <a:pt x="600" y="218"/>
                  </a:lnTo>
                  <a:lnTo>
                    <a:pt x="598" y="218"/>
                  </a:lnTo>
                  <a:lnTo>
                    <a:pt x="600" y="218"/>
                  </a:lnTo>
                  <a:lnTo>
                    <a:pt x="600" y="217"/>
                  </a:lnTo>
                  <a:lnTo>
                    <a:pt x="600" y="218"/>
                  </a:lnTo>
                  <a:lnTo>
                    <a:pt x="598" y="218"/>
                  </a:lnTo>
                  <a:lnTo>
                    <a:pt x="598" y="217"/>
                  </a:lnTo>
                  <a:lnTo>
                    <a:pt x="598" y="215"/>
                  </a:lnTo>
                  <a:lnTo>
                    <a:pt x="597" y="217"/>
                  </a:lnTo>
                  <a:lnTo>
                    <a:pt x="595" y="217"/>
                  </a:lnTo>
                  <a:lnTo>
                    <a:pt x="593" y="217"/>
                  </a:lnTo>
                  <a:lnTo>
                    <a:pt x="592" y="218"/>
                  </a:lnTo>
                  <a:lnTo>
                    <a:pt x="593" y="218"/>
                  </a:lnTo>
                  <a:lnTo>
                    <a:pt x="592" y="218"/>
                  </a:lnTo>
                  <a:lnTo>
                    <a:pt x="593" y="218"/>
                  </a:lnTo>
                  <a:lnTo>
                    <a:pt x="593" y="220"/>
                  </a:lnTo>
                  <a:lnTo>
                    <a:pt x="592" y="220"/>
                  </a:lnTo>
                  <a:lnTo>
                    <a:pt x="592" y="222"/>
                  </a:lnTo>
                  <a:lnTo>
                    <a:pt x="590" y="220"/>
                  </a:lnTo>
                  <a:lnTo>
                    <a:pt x="590" y="222"/>
                  </a:lnTo>
                  <a:lnTo>
                    <a:pt x="588" y="222"/>
                  </a:lnTo>
                  <a:lnTo>
                    <a:pt x="588" y="223"/>
                  </a:lnTo>
                  <a:lnTo>
                    <a:pt x="588" y="225"/>
                  </a:lnTo>
                  <a:lnTo>
                    <a:pt x="590" y="225"/>
                  </a:lnTo>
                  <a:lnTo>
                    <a:pt x="588" y="226"/>
                  </a:lnTo>
                  <a:lnTo>
                    <a:pt x="590" y="226"/>
                  </a:lnTo>
                  <a:lnTo>
                    <a:pt x="588" y="226"/>
                  </a:lnTo>
                  <a:lnTo>
                    <a:pt x="588" y="225"/>
                  </a:lnTo>
                  <a:lnTo>
                    <a:pt x="587" y="225"/>
                  </a:lnTo>
                  <a:lnTo>
                    <a:pt x="585" y="225"/>
                  </a:lnTo>
                  <a:lnTo>
                    <a:pt x="585" y="223"/>
                  </a:lnTo>
                  <a:lnTo>
                    <a:pt x="585" y="225"/>
                  </a:lnTo>
                  <a:lnTo>
                    <a:pt x="585" y="223"/>
                  </a:lnTo>
                  <a:lnTo>
                    <a:pt x="584" y="223"/>
                  </a:lnTo>
                  <a:lnTo>
                    <a:pt x="585" y="223"/>
                  </a:lnTo>
                  <a:lnTo>
                    <a:pt x="584" y="223"/>
                  </a:lnTo>
                  <a:lnTo>
                    <a:pt x="584" y="225"/>
                  </a:lnTo>
                  <a:lnTo>
                    <a:pt x="584" y="226"/>
                  </a:lnTo>
                  <a:lnTo>
                    <a:pt x="585" y="226"/>
                  </a:lnTo>
                  <a:lnTo>
                    <a:pt x="585" y="228"/>
                  </a:lnTo>
                  <a:lnTo>
                    <a:pt x="585" y="226"/>
                  </a:lnTo>
                  <a:lnTo>
                    <a:pt x="587" y="228"/>
                  </a:lnTo>
                  <a:lnTo>
                    <a:pt x="587" y="230"/>
                  </a:lnTo>
                  <a:lnTo>
                    <a:pt x="585" y="230"/>
                  </a:lnTo>
                  <a:lnTo>
                    <a:pt x="585" y="228"/>
                  </a:lnTo>
                  <a:lnTo>
                    <a:pt x="584" y="228"/>
                  </a:lnTo>
                  <a:lnTo>
                    <a:pt x="585" y="228"/>
                  </a:lnTo>
                  <a:lnTo>
                    <a:pt x="584" y="226"/>
                  </a:lnTo>
                  <a:lnTo>
                    <a:pt x="582" y="226"/>
                  </a:lnTo>
                  <a:lnTo>
                    <a:pt x="580" y="226"/>
                  </a:lnTo>
                  <a:lnTo>
                    <a:pt x="580" y="225"/>
                  </a:lnTo>
                  <a:lnTo>
                    <a:pt x="579" y="228"/>
                  </a:lnTo>
                  <a:lnTo>
                    <a:pt x="580" y="228"/>
                  </a:lnTo>
                  <a:lnTo>
                    <a:pt x="579" y="228"/>
                  </a:lnTo>
                  <a:lnTo>
                    <a:pt x="579" y="230"/>
                  </a:lnTo>
                  <a:lnTo>
                    <a:pt x="577" y="228"/>
                  </a:lnTo>
                  <a:lnTo>
                    <a:pt x="579" y="228"/>
                  </a:lnTo>
                  <a:lnTo>
                    <a:pt x="577" y="228"/>
                  </a:lnTo>
                  <a:lnTo>
                    <a:pt x="577" y="230"/>
                  </a:lnTo>
                  <a:lnTo>
                    <a:pt x="575" y="230"/>
                  </a:lnTo>
                  <a:lnTo>
                    <a:pt x="575" y="231"/>
                  </a:lnTo>
                  <a:lnTo>
                    <a:pt x="574" y="231"/>
                  </a:lnTo>
                  <a:lnTo>
                    <a:pt x="574" y="233"/>
                  </a:lnTo>
                  <a:lnTo>
                    <a:pt x="572" y="233"/>
                  </a:lnTo>
                  <a:lnTo>
                    <a:pt x="575" y="235"/>
                  </a:lnTo>
                  <a:lnTo>
                    <a:pt x="577" y="235"/>
                  </a:lnTo>
                  <a:lnTo>
                    <a:pt x="579" y="235"/>
                  </a:lnTo>
                  <a:lnTo>
                    <a:pt x="580" y="236"/>
                  </a:lnTo>
                  <a:lnTo>
                    <a:pt x="582" y="236"/>
                  </a:lnTo>
                  <a:lnTo>
                    <a:pt x="580" y="236"/>
                  </a:lnTo>
                  <a:lnTo>
                    <a:pt x="582" y="238"/>
                  </a:lnTo>
                  <a:lnTo>
                    <a:pt x="580" y="238"/>
                  </a:lnTo>
                  <a:lnTo>
                    <a:pt x="580" y="236"/>
                  </a:lnTo>
                  <a:lnTo>
                    <a:pt x="579" y="236"/>
                  </a:lnTo>
                  <a:lnTo>
                    <a:pt x="579" y="238"/>
                  </a:lnTo>
                  <a:lnTo>
                    <a:pt x="577" y="238"/>
                  </a:lnTo>
                  <a:lnTo>
                    <a:pt x="575" y="238"/>
                  </a:lnTo>
                  <a:lnTo>
                    <a:pt x="575" y="236"/>
                  </a:lnTo>
                  <a:lnTo>
                    <a:pt x="577" y="236"/>
                  </a:lnTo>
                  <a:lnTo>
                    <a:pt x="577" y="235"/>
                  </a:lnTo>
                  <a:lnTo>
                    <a:pt x="575" y="235"/>
                  </a:lnTo>
                  <a:lnTo>
                    <a:pt x="572" y="233"/>
                  </a:lnTo>
                  <a:lnTo>
                    <a:pt x="572" y="235"/>
                  </a:lnTo>
                  <a:lnTo>
                    <a:pt x="571" y="233"/>
                  </a:lnTo>
                  <a:lnTo>
                    <a:pt x="571" y="235"/>
                  </a:lnTo>
                  <a:lnTo>
                    <a:pt x="569" y="233"/>
                  </a:lnTo>
                  <a:lnTo>
                    <a:pt x="569" y="235"/>
                  </a:lnTo>
                  <a:lnTo>
                    <a:pt x="571" y="235"/>
                  </a:lnTo>
                  <a:lnTo>
                    <a:pt x="571" y="236"/>
                  </a:lnTo>
                  <a:lnTo>
                    <a:pt x="569" y="236"/>
                  </a:lnTo>
                  <a:lnTo>
                    <a:pt x="567" y="236"/>
                  </a:lnTo>
                  <a:lnTo>
                    <a:pt x="569" y="236"/>
                  </a:lnTo>
                  <a:lnTo>
                    <a:pt x="571" y="236"/>
                  </a:lnTo>
                  <a:lnTo>
                    <a:pt x="571" y="238"/>
                  </a:lnTo>
                  <a:lnTo>
                    <a:pt x="571" y="239"/>
                  </a:lnTo>
                  <a:lnTo>
                    <a:pt x="569" y="239"/>
                  </a:lnTo>
                  <a:lnTo>
                    <a:pt x="569" y="241"/>
                  </a:lnTo>
                  <a:lnTo>
                    <a:pt x="567" y="241"/>
                  </a:lnTo>
                  <a:lnTo>
                    <a:pt x="566" y="241"/>
                  </a:lnTo>
                  <a:lnTo>
                    <a:pt x="567" y="241"/>
                  </a:lnTo>
                  <a:lnTo>
                    <a:pt x="567" y="239"/>
                  </a:lnTo>
                  <a:lnTo>
                    <a:pt x="566" y="239"/>
                  </a:lnTo>
                  <a:lnTo>
                    <a:pt x="566" y="241"/>
                  </a:lnTo>
                  <a:lnTo>
                    <a:pt x="566" y="243"/>
                  </a:lnTo>
                  <a:lnTo>
                    <a:pt x="566" y="244"/>
                  </a:lnTo>
                  <a:lnTo>
                    <a:pt x="564" y="243"/>
                  </a:lnTo>
                  <a:lnTo>
                    <a:pt x="564" y="244"/>
                  </a:lnTo>
                  <a:lnTo>
                    <a:pt x="562" y="244"/>
                  </a:lnTo>
                  <a:lnTo>
                    <a:pt x="564" y="244"/>
                  </a:lnTo>
                  <a:lnTo>
                    <a:pt x="564" y="246"/>
                  </a:lnTo>
                  <a:lnTo>
                    <a:pt x="562" y="246"/>
                  </a:lnTo>
                  <a:lnTo>
                    <a:pt x="561" y="246"/>
                  </a:lnTo>
                  <a:lnTo>
                    <a:pt x="561" y="244"/>
                  </a:lnTo>
                  <a:lnTo>
                    <a:pt x="559" y="244"/>
                  </a:lnTo>
                  <a:lnTo>
                    <a:pt x="561" y="244"/>
                  </a:lnTo>
                  <a:lnTo>
                    <a:pt x="559" y="244"/>
                  </a:lnTo>
                  <a:lnTo>
                    <a:pt x="561" y="246"/>
                  </a:lnTo>
                  <a:lnTo>
                    <a:pt x="561" y="248"/>
                  </a:lnTo>
                  <a:lnTo>
                    <a:pt x="562" y="248"/>
                  </a:lnTo>
                  <a:lnTo>
                    <a:pt x="564" y="248"/>
                  </a:lnTo>
                  <a:lnTo>
                    <a:pt x="566" y="248"/>
                  </a:lnTo>
                  <a:lnTo>
                    <a:pt x="564" y="248"/>
                  </a:lnTo>
                  <a:lnTo>
                    <a:pt x="564" y="249"/>
                  </a:lnTo>
                  <a:lnTo>
                    <a:pt x="564" y="251"/>
                  </a:lnTo>
                  <a:lnTo>
                    <a:pt x="566" y="251"/>
                  </a:lnTo>
                  <a:lnTo>
                    <a:pt x="564" y="251"/>
                  </a:lnTo>
                  <a:lnTo>
                    <a:pt x="564" y="252"/>
                  </a:lnTo>
                  <a:lnTo>
                    <a:pt x="566" y="252"/>
                  </a:lnTo>
                  <a:lnTo>
                    <a:pt x="564" y="252"/>
                  </a:lnTo>
                  <a:lnTo>
                    <a:pt x="562" y="254"/>
                  </a:lnTo>
                  <a:lnTo>
                    <a:pt x="564" y="254"/>
                  </a:lnTo>
                  <a:lnTo>
                    <a:pt x="564" y="256"/>
                  </a:lnTo>
                  <a:lnTo>
                    <a:pt x="562" y="254"/>
                  </a:lnTo>
                  <a:lnTo>
                    <a:pt x="562" y="256"/>
                  </a:lnTo>
                  <a:lnTo>
                    <a:pt x="562" y="254"/>
                  </a:lnTo>
                  <a:lnTo>
                    <a:pt x="561" y="254"/>
                  </a:lnTo>
                  <a:lnTo>
                    <a:pt x="562" y="254"/>
                  </a:lnTo>
                  <a:lnTo>
                    <a:pt x="561" y="256"/>
                  </a:lnTo>
                  <a:lnTo>
                    <a:pt x="561" y="254"/>
                  </a:lnTo>
                  <a:lnTo>
                    <a:pt x="561" y="256"/>
                  </a:lnTo>
                  <a:lnTo>
                    <a:pt x="559" y="256"/>
                  </a:lnTo>
                  <a:lnTo>
                    <a:pt x="559" y="257"/>
                  </a:lnTo>
                  <a:lnTo>
                    <a:pt x="561" y="257"/>
                  </a:lnTo>
                  <a:lnTo>
                    <a:pt x="561" y="259"/>
                  </a:lnTo>
                  <a:lnTo>
                    <a:pt x="561" y="261"/>
                  </a:lnTo>
                  <a:lnTo>
                    <a:pt x="562" y="261"/>
                  </a:lnTo>
                  <a:lnTo>
                    <a:pt x="561" y="262"/>
                  </a:lnTo>
                  <a:lnTo>
                    <a:pt x="562" y="262"/>
                  </a:lnTo>
                  <a:lnTo>
                    <a:pt x="562" y="264"/>
                  </a:lnTo>
                  <a:lnTo>
                    <a:pt x="564" y="262"/>
                  </a:lnTo>
                  <a:lnTo>
                    <a:pt x="566" y="262"/>
                  </a:lnTo>
                  <a:lnTo>
                    <a:pt x="566" y="261"/>
                  </a:lnTo>
                  <a:lnTo>
                    <a:pt x="566" y="262"/>
                  </a:lnTo>
                  <a:lnTo>
                    <a:pt x="566" y="261"/>
                  </a:lnTo>
                  <a:lnTo>
                    <a:pt x="566" y="259"/>
                  </a:lnTo>
                  <a:lnTo>
                    <a:pt x="566" y="261"/>
                  </a:lnTo>
                  <a:lnTo>
                    <a:pt x="567" y="261"/>
                  </a:lnTo>
                  <a:lnTo>
                    <a:pt x="567" y="262"/>
                  </a:lnTo>
                  <a:lnTo>
                    <a:pt x="567" y="261"/>
                  </a:lnTo>
                  <a:lnTo>
                    <a:pt x="567" y="262"/>
                  </a:lnTo>
                  <a:lnTo>
                    <a:pt x="569" y="262"/>
                  </a:lnTo>
                  <a:lnTo>
                    <a:pt x="567" y="264"/>
                  </a:lnTo>
                  <a:lnTo>
                    <a:pt x="569" y="264"/>
                  </a:lnTo>
                  <a:lnTo>
                    <a:pt x="569" y="266"/>
                  </a:lnTo>
                  <a:lnTo>
                    <a:pt x="569" y="264"/>
                  </a:lnTo>
                  <a:lnTo>
                    <a:pt x="567" y="264"/>
                  </a:lnTo>
                  <a:lnTo>
                    <a:pt x="569" y="264"/>
                  </a:lnTo>
                  <a:lnTo>
                    <a:pt x="567" y="266"/>
                  </a:lnTo>
                  <a:lnTo>
                    <a:pt x="567" y="264"/>
                  </a:lnTo>
                  <a:lnTo>
                    <a:pt x="567" y="266"/>
                  </a:lnTo>
                  <a:lnTo>
                    <a:pt x="567" y="267"/>
                  </a:lnTo>
                  <a:lnTo>
                    <a:pt x="569" y="267"/>
                  </a:lnTo>
                  <a:lnTo>
                    <a:pt x="567" y="267"/>
                  </a:lnTo>
                  <a:lnTo>
                    <a:pt x="567" y="269"/>
                  </a:lnTo>
                  <a:lnTo>
                    <a:pt x="569" y="267"/>
                  </a:lnTo>
                  <a:lnTo>
                    <a:pt x="569" y="269"/>
                  </a:lnTo>
                  <a:lnTo>
                    <a:pt x="567" y="269"/>
                  </a:lnTo>
                  <a:lnTo>
                    <a:pt x="569" y="269"/>
                  </a:lnTo>
                  <a:lnTo>
                    <a:pt x="569" y="270"/>
                  </a:lnTo>
                  <a:lnTo>
                    <a:pt x="569" y="269"/>
                  </a:lnTo>
                  <a:lnTo>
                    <a:pt x="569" y="270"/>
                  </a:lnTo>
                  <a:lnTo>
                    <a:pt x="567" y="270"/>
                  </a:lnTo>
                  <a:lnTo>
                    <a:pt x="567" y="272"/>
                  </a:lnTo>
                  <a:lnTo>
                    <a:pt x="569" y="272"/>
                  </a:lnTo>
                  <a:lnTo>
                    <a:pt x="569" y="270"/>
                  </a:lnTo>
                  <a:lnTo>
                    <a:pt x="569" y="272"/>
                  </a:lnTo>
                  <a:lnTo>
                    <a:pt x="571" y="272"/>
                  </a:lnTo>
                  <a:lnTo>
                    <a:pt x="571" y="274"/>
                  </a:lnTo>
                  <a:lnTo>
                    <a:pt x="572" y="274"/>
                  </a:lnTo>
                  <a:lnTo>
                    <a:pt x="574" y="274"/>
                  </a:lnTo>
                  <a:lnTo>
                    <a:pt x="575" y="274"/>
                  </a:lnTo>
                  <a:lnTo>
                    <a:pt x="577" y="274"/>
                  </a:lnTo>
                  <a:lnTo>
                    <a:pt x="577" y="272"/>
                  </a:lnTo>
                  <a:lnTo>
                    <a:pt x="577" y="274"/>
                  </a:lnTo>
                  <a:lnTo>
                    <a:pt x="579" y="274"/>
                  </a:lnTo>
                  <a:lnTo>
                    <a:pt x="579" y="275"/>
                  </a:lnTo>
                  <a:lnTo>
                    <a:pt x="579" y="277"/>
                  </a:lnTo>
                  <a:lnTo>
                    <a:pt x="579" y="280"/>
                  </a:lnTo>
                  <a:lnTo>
                    <a:pt x="579" y="282"/>
                  </a:lnTo>
                  <a:lnTo>
                    <a:pt x="580" y="285"/>
                  </a:lnTo>
                  <a:lnTo>
                    <a:pt x="579" y="285"/>
                  </a:lnTo>
                  <a:lnTo>
                    <a:pt x="579" y="283"/>
                  </a:lnTo>
                  <a:lnTo>
                    <a:pt x="579" y="282"/>
                  </a:lnTo>
                  <a:lnTo>
                    <a:pt x="577" y="280"/>
                  </a:lnTo>
                  <a:lnTo>
                    <a:pt x="577" y="279"/>
                  </a:lnTo>
                  <a:lnTo>
                    <a:pt x="575" y="279"/>
                  </a:lnTo>
                  <a:lnTo>
                    <a:pt x="575" y="280"/>
                  </a:lnTo>
                  <a:lnTo>
                    <a:pt x="577" y="282"/>
                  </a:lnTo>
                  <a:lnTo>
                    <a:pt x="575" y="282"/>
                  </a:lnTo>
                  <a:lnTo>
                    <a:pt x="575" y="283"/>
                  </a:lnTo>
                  <a:lnTo>
                    <a:pt x="574" y="283"/>
                  </a:lnTo>
                  <a:lnTo>
                    <a:pt x="575" y="283"/>
                  </a:lnTo>
                  <a:lnTo>
                    <a:pt x="575" y="282"/>
                  </a:lnTo>
                  <a:lnTo>
                    <a:pt x="574" y="282"/>
                  </a:lnTo>
                  <a:lnTo>
                    <a:pt x="574" y="283"/>
                  </a:lnTo>
                  <a:lnTo>
                    <a:pt x="574" y="285"/>
                  </a:lnTo>
                  <a:lnTo>
                    <a:pt x="572" y="285"/>
                  </a:lnTo>
                  <a:lnTo>
                    <a:pt x="574" y="285"/>
                  </a:lnTo>
                  <a:lnTo>
                    <a:pt x="574" y="287"/>
                  </a:lnTo>
                  <a:lnTo>
                    <a:pt x="574" y="288"/>
                  </a:lnTo>
                  <a:lnTo>
                    <a:pt x="575" y="288"/>
                  </a:lnTo>
                  <a:lnTo>
                    <a:pt x="575" y="287"/>
                  </a:lnTo>
                  <a:lnTo>
                    <a:pt x="577" y="288"/>
                  </a:lnTo>
                  <a:lnTo>
                    <a:pt x="579" y="288"/>
                  </a:lnTo>
                  <a:lnTo>
                    <a:pt x="580" y="290"/>
                  </a:lnTo>
                  <a:close/>
                  <a:moveTo>
                    <a:pt x="605" y="740"/>
                  </a:moveTo>
                  <a:lnTo>
                    <a:pt x="606" y="740"/>
                  </a:lnTo>
                  <a:lnTo>
                    <a:pt x="605" y="740"/>
                  </a:lnTo>
                  <a:close/>
                  <a:moveTo>
                    <a:pt x="374" y="508"/>
                  </a:moveTo>
                  <a:lnTo>
                    <a:pt x="374" y="509"/>
                  </a:lnTo>
                  <a:lnTo>
                    <a:pt x="374" y="508"/>
                  </a:lnTo>
                  <a:lnTo>
                    <a:pt x="375" y="508"/>
                  </a:lnTo>
                  <a:lnTo>
                    <a:pt x="375" y="506"/>
                  </a:lnTo>
                  <a:lnTo>
                    <a:pt x="375" y="505"/>
                  </a:lnTo>
                  <a:lnTo>
                    <a:pt x="374" y="505"/>
                  </a:lnTo>
                  <a:lnTo>
                    <a:pt x="374" y="506"/>
                  </a:lnTo>
                  <a:lnTo>
                    <a:pt x="374" y="508"/>
                  </a:lnTo>
                  <a:close/>
                  <a:moveTo>
                    <a:pt x="686" y="192"/>
                  </a:moveTo>
                  <a:lnTo>
                    <a:pt x="686" y="191"/>
                  </a:lnTo>
                  <a:lnTo>
                    <a:pt x="684" y="191"/>
                  </a:lnTo>
                  <a:lnTo>
                    <a:pt x="683" y="191"/>
                  </a:lnTo>
                  <a:lnTo>
                    <a:pt x="683" y="194"/>
                  </a:lnTo>
                  <a:lnTo>
                    <a:pt x="683" y="197"/>
                  </a:lnTo>
                  <a:lnTo>
                    <a:pt x="684" y="197"/>
                  </a:lnTo>
                  <a:lnTo>
                    <a:pt x="686" y="197"/>
                  </a:lnTo>
                  <a:lnTo>
                    <a:pt x="686" y="196"/>
                  </a:lnTo>
                  <a:lnTo>
                    <a:pt x="688" y="196"/>
                  </a:lnTo>
                  <a:lnTo>
                    <a:pt x="688" y="194"/>
                  </a:lnTo>
                  <a:lnTo>
                    <a:pt x="688" y="192"/>
                  </a:lnTo>
                  <a:lnTo>
                    <a:pt x="688" y="194"/>
                  </a:lnTo>
                  <a:lnTo>
                    <a:pt x="686" y="194"/>
                  </a:lnTo>
                  <a:lnTo>
                    <a:pt x="688" y="194"/>
                  </a:lnTo>
                  <a:lnTo>
                    <a:pt x="686" y="194"/>
                  </a:lnTo>
                  <a:lnTo>
                    <a:pt x="686" y="196"/>
                  </a:lnTo>
                  <a:lnTo>
                    <a:pt x="686" y="194"/>
                  </a:lnTo>
                  <a:lnTo>
                    <a:pt x="686" y="192"/>
                  </a:lnTo>
                  <a:lnTo>
                    <a:pt x="688" y="192"/>
                  </a:lnTo>
                  <a:lnTo>
                    <a:pt x="686" y="192"/>
                  </a:lnTo>
                  <a:close/>
                  <a:moveTo>
                    <a:pt x="597" y="446"/>
                  </a:moveTo>
                  <a:lnTo>
                    <a:pt x="595" y="448"/>
                  </a:lnTo>
                  <a:lnTo>
                    <a:pt x="593" y="448"/>
                  </a:lnTo>
                  <a:lnTo>
                    <a:pt x="593" y="449"/>
                  </a:lnTo>
                  <a:lnTo>
                    <a:pt x="593" y="451"/>
                  </a:lnTo>
                  <a:lnTo>
                    <a:pt x="593" y="454"/>
                  </a:lnTo>
                  <a:lnTo>
                    <a:pt x="593" y="456"/>
                  </a:lnTo>
                  <a:lnTo>
                    <a:pt x="595" y="454"/>
                  </a:lnTo>
                  <a:lnTo>
                    <a:pt x="595" y="456"/>
                  </a:lnTo>
                  <a:lnTo>
                    <a:pt x="597" y="454"/>
                  </a:lnTo>
                  <a:lnTo>
                    <a:pt x="597" y="456"/>
                  </a:lnTo>
                  <a:lnTo>
                    <a:pt x="598" y="456"/>
                  </a:lnTo>
                  <a:lnTo>
                    <a:pt x="600" y="456"/>
                  </a:lnTo>
                  <a:lnTo>
                    <a:pt x="601" y="456"/>
                  </a:lnTo>
                  <a:lnTo>
                    <a:pt x="601" y="453"/>
                  </a:lnTo>
                  <a:lnTo>
                    <a:pt x="601" y="451"/>
                  </a:lnTo>
                  <a:lnTo>
                    <a:pt x="603" y="449"/>
                  </a:lnTo>
                  <a:lnTo>
                    <a:pt x="603" y="448"/>
                  </a:lnTo>
                  <a:lnTo>
                    <a:pt x="603" y="446"/>
                  </a:lnTo>
                  <a:lnTo>
                    <a:pt x="603" y="443"/>
                  </a:lnTo>
                  <a:lnTo>
                    <a:pt x="600" y="443"/>
                  </a:lnTo>
                  <a:lnTo>
                    <a:pt x="600" y="444"/>
                  </a:lnTo>
                  <a:lnTo>
                    <a:pt x="598" y="444"/>
                  </a:lnTo>
                  <a:lnTo>
                    <a:pt x="597" y="446"/>
                  </a:lnTo>
                  <a:close/>
                  <a:moveTo>
                    <a:pt x="975" y="1236"/>
                  </a:moveTo>
                  <a:lnTo>
                    <a:pt x="977" y="1238"/>
                  </a:lnTo>
                  <a:lnTo>
                    <a:pt x="979" y="1238"/>
                  </a:lnTo>
                  <a:lnTo>
                    <a:pt x="980" y="1238"/>
                  </a:lnTo>
                  <a:lnTo>
                    <a:pt x="984" y="1238"/>
                  </a:lnTo>
                  <a:lnTo>
                    <a:pt x="984" y="1240"/>
                  </a:lnTo>
                  <a:lnTo>
                    <a:pt x="980" y="1240"/>
                  </a:lnTo>
                  <a:lnTo>
                    <a:pt x="977" y="1241"/>
                  </a:lnTo>
                  <a:lnTo>
                    <a:pt x="977" y="1243"/>
                  </a:lnTo>
                  <a:lnTo>
                    <a:pt x="975" y="1243"/>
                  </a:lnTo>
                  <a:lnTo>
                    <a:pt x="975" y="1245"/>
                  </a:lnTo>
                  <a:lnTo>
                    <a:pt x="975" y="1246"/>
                  </a:lnTo>
                  <a:lnTo>
                    <a:pt x="974" y="1246"/>
                  </a:lnTo>
                  <a:lnTo>
                    <a:pt x="974" y="1248"/>
                  </a:lnTo>
                  <a:lnTo>
                    <a:pt x="975" y="1248"/>
                  </a:lnTo>
                  <a:lnTo>
                    <a:pt x="974" y="1249"/>
                  </a:lnTo>
                  <a:lnTo>
                    <a:pt x="974" y="1251"/>
                  </a:lnTo>
                  <a:lnTo>
                    <a:pt x="975" y="1251"/>
                  </a:lnTo>
                  <a:lnTo>
                    <a:pt x="975" y="1249"/>
                  </a:lnTo>
                  <a:lnTo>
                    <a:pt x="975" y="1251"/>
                  </a:lnTo>
                  <a:lnTo>
                    <a:pt x="974" y="1253"/>
                  </a:lnTo>
                  <a:lnTo>
                    <a:pt x="972" y="1254"/>
                  </a:lnTo>
                  <a:lnTo>
                    <a:pt x="972" y="1258"/>
                  </a:lnTo>
                  <a:lnTo>
                    <a:pt x="971" y="1259"/>
                  </a:lnTo>
                  <a:lnTo>
                    <a:pt x="971" y="1261"/>
                  </a:lnTo>
                  <a:lnTo>
                    <a:pt x="969" y="1262"/>
                  </a:lnTo>
                  <a:lnTo>
                    <a:pt x="969" y="1264"/>
                  </a:lnTo>
                  <a:lnTo>
                    <a:pt x="969" y="1266"/>
                  </a:lnTo>
                  <a:lnTo>
                    <a:pt x="967" y="1266"/>
                  </a:lnTo>
                  <a:lnTo>
                    <a:pt x="967" y="1267"/>
                  </a:lnTo>
                  <a:lnTo>
                    <a:pt x="967" y="1269"/>
                  </a:lnTo>
                  <a:lnTo>
                    <a:pt x="966" y="1271"/>
                  </a:lnTo>
                  <a:lnTo>
                    <a:pt x="966" y="1272"/>
                  </a:lnTo>
                  <a:lnTo>
                    <a:pt x="964" y="1272"/>
                  </a:lnTo>
                  <a:lnTo>
                    <a:pt x="962" y="1274"/>
                  </a:lnTo>
                  <a:lnTo>
                    <a:pt x="962" y="1276"/>
                  </a:lnTo>
                  <a:lnTo>
                    <a:pt x="961" y="1279"/>
                  </a:lnTo>
                  <a:lnTo>
                    <a:pt x="959" y="1279"/>
                  </a:lnTo>
                  <a:lnTo>
                    <a:pt x="959" y="1280"/>
                  </a:lnTo>
                  <a:lnTo>
                    <a:pt x="958" y="1284"/>
                  </a:lnTo>
                  <a:lnTo>
                    <a:pt x="956" y="1285"/>
                  </a:lnTo>
                  <a:lnTo>
                    <a:pt x="954" y="1287"/>
                  </a:lnTo>
                  <a:lnTo>
                    <a:pt x="953" y="1290"/>
                  </a:lnTo>
                  <a:lnTo>
                    <a:pt x="953" y="1292"/>
                  </a:lnTo>
                  <a:lnTo>
                    <a:pt x="951" y="1292"/>
                  </a:lnTo>
                  <a:lnTo>
                    <a:pt x="951" y="1293"/>
                  </a:lnTo>
                  <a:lnTo>
                    <a:pt x="949" y="1295"/>
                  </a:lnTo>
                  <a:lnTo>
                    <a:pt x="948" y="1297"/>
                  </a:lnTo>
                  <a:lnTo>
                    <a:pt x="948" y="1298"/>
                  </a:lnTo>
                  <a:lnTo>
                    <a:pt x="948" y="1300"/>
                  </a:lnTo>
                  <a:lnTo>
                    <a:pt x="948" y="1302"/>
                  </a:lnTo>
                  <a:lnTo>
                    <a:pt x="946" y="1302"/>
                  </a:lnTo>
                  <a:lnTo>
                    <a:pt x="945" y="1303"/>
                  </a:lnTo>
                  <a:lnTo>
                    <a:pt x="945" y="1305"/>
                  </a:lnTo>
                  <a:lnTo>
                    <a:pt x="946" y="1305"/>
                  </a:lnTo>
                  <a:lnTo>
                    <a:pt x="945" y="1306"/>
                  </a:lnTo>
                  <a:lnTo>
                    <a:pt x="943" y="1306"/>
                  </a:lnTo>
                  <a:lnTo>
                    <a:pt x="943" y="1308"/>
                  </a:lnTo>
                  <a:lnTo>
                    <a:pt x="941" y="1310"/>
                  </a:lnTo>
                  <a:lnTo>
                    <a:pt x="941" y="1311"/>
                  </a:lnTo>
                  <a:lnTo>
                    <a:pt x="940" y="1313"/>
                  </a:lnTo>
                  <a:lnTo>
                    <a:pt x="938" y="1315"/>
                  </a:lnTo>
                  <a:lnTo>
                    <a:pt x="938" y="1316"/>
                  </a:lnTo>
                  <a:lnTo>
                    <a:pt x="938" y="1318"/>
                  </a:lnTo>
                  <a:lnTo>
                    <a:pt x="938" y="1319"/>
                  </a:lnTo>
                  <a:lnTo>
                    <a:pt x="938" y="1318"/>
                  </a:lnTo>
                  <a:lnTo>
                    <a:pt x="940" y="1319"/>
                  </a:lnTo>
                  <a:lnTo>
                    <a:pt x="938" y="1319"/>
                  </a:lnTo>
                  <a:lnTo>
                    <a:pt x="940" y="1321"/>
                  </a:lnTo>
                  <a:lnTo>
                    <a:pt x="940" y="1323"/>
                  </a:lnTo>
                  <a:lnTo>
                    <a:pt x="938" y="1326"/>
                  </a:lnTo>
                  <a:lnTo>
                    <a:pt x="938" y="1328"/>
                  </a:lnTo>
                  <a:lnTo>
                    <a:pt x="938" y="1329"/>
                  </a:lnTo>
                  <a:lnTo>
                    <a:pt x="938" y="1331"/>
                  </a:lnTo>
                  <a:lnTo>
                    <a:pt x="936" y="1331"/>
                  </a:lnTo>
                  <a:lnTo>
                    <a:pt x="936" y="1332"/>
                  </a:lnTo>
                  <a:lnTo>
                    <a:pt x="935" y="1332"/>
                  </a:lnTo>
                  <a:lnTo>
                    <a:pt x="936" y="1334"/>
                  </a:lnTo>
                  <a:lnTo>
                    <a:pt x="935" y="1334"/>
                  </a:lnTo>
                  <a:lnTo>
                    <a:pt x="935" y="1336"/>
                  </a:lnTo>
                  <a:lnTo>
                    <a:pt x="936" y="1337"/>
                  </a:lnTo>
                  <a:lnTo>
                    <a:pt x="935" y="1337"/>
                  </a:lnTo>
                  <a:lnTo>
                    <a:pt x="936" y="1339"/>
                  </a:lnTo>
                  <a:lnTo>
                    <a:pt x="936" y="1341"/>
                  </a:lnTo>
                  <a:lnTo>
                    <a:pt x="935" y="1341"/>
                  </a:lnTo>
                  <a:lnTo>
                    <a:pt x="935" y="1342"/>
                  </a:lnTo>
                  <a:lnTo>
                    <a:pt x="935" y="1344"/>
                  </a:lnTo>
                  <a:lnTo>
                    <a:pt x="933" y="1344"/>
                  </a:lnTo>
                  <a:lnTo>
                    <a:pt x="933" y="1345"/>
                  </a:lnTo>
                  <a:lnTo>
                    <a:pt x="932" y="1345"/>
                  </a:lnTo>
                  <a:lnTo>
                    <a:pt x="932" y="1347"/>
                  </a:lnTo>
                  <a:lnTo>
                    <a:pt x="930" y="1347"/>
                  </a:lnTo>
                  <a:lnTo>
                    <a:pt x="930" y="1349"/>
                  </a:lnTo>
                  <a:lnTo>
                    <a:pt x="928" y="1349"/>
                  </a:lnTo>
                  <a:lnTo>
                    <a:pt x="928" y="1350"/>
                  </a:lnTo>
                  <a:lnTo>
                    <a:pt x="928" y="1352"/>
                  </a:lnTo>
                  <a:lnTo>
                    <a:pt x="928" y="1354"/>
                  </a:lnTo>
                  <a:lnTo>
                    <a:pt x="928" y="1352"/>
                  </a:lnTo>
                  <a:lnTo>
                    <a:pt x="927" y="1354"/>
                  </a:lnTo>
                  <a:lnTo>
                    <a:pt x="928" y="1354"/>
                  </a:lnTo>
                  <a:lnTo>
                    <a:pt x="927" y="1354"/>
                  </a:lnTo>
                  <a:lnTo>
                    <a:pt x="927" y="1355"/>
                  </a:lnTo>
                  <a:lnTo>
                    <a:pt x="927" y="1357"/>
                  </a:lnTo>
                  <a:lnTo>
                    <a:pt x="927" y="1360"/>
                  </a:lnTo>
                  <a:lnTo>
                    <a:pt x="927" y="1362"/>
                  </a:lnTo>
                  <a:lnTo>
                    <a:pt x="928" y="1365"/>
                  </a:lnTo>
                  <a:lnTo>
                    <a:pt x="928" y="1367"/>
                  </a:lnTo>
                  <a:lnTo>
                    <a:pt x="928" y="1368"/>
                  </a:lnTo>
                  <a:lnTo>
                    <a:pt x="928" y="1370"/>
                  </a:lnTo>
                  <a:lnTo>
                    <a:pt x="928" y="1371"/>
                  </a:lnTo>
                  <a:lnTo>
                    <a:pt x="928" y="1373"/>
                  </a:lnTo>
                  <a:lnTo>
                    <a:pt x="928" y="1375"/>
                  </a:lnTo>
                  <a:lnTo>
                    <a:pt x="928" y="1376"/>
                  </a:lnTo>
                  <a:lnTo>
                    <a:pt x="930" y="1378"/>
                  </a:lnTo>
                  <a:lnTo>
                    <a:pt x="930" y="1380"/>
                  </a:lnTo>
                  <a:lnTo>
                    <a:pt x="932" y="1378"/>
                  </a:lnTo>
                  <a:lnTo>
                    <a:pt x="932" y="1380"/>
                  </a:lnTo>
                  <a:lnTo>
                    <a:pt x="932" y="1378"/>
                  </a:lnTo>
                  <a:lnTo>
                    <a:pt x="933" y="1380"/>
                  </a:lnTo>
                  <a:lnTo>
                    <a:pt x="933" y="1378"/>
                  </a:lnTo>
                  <a:lnTo>
                    <a:pt x="933" y="1380"/>
                  </a:lnTo>
                  <a:lnTo>
                    <a:pt x="933" y="1378"/>
                  </a:lnTo>
                  <a:lnTo>
                    <a:pt x="935" y="1380"/>
                  </a:lnTo>
                  <a:lnTo>
                    <a:pt x="936" y="1381"/>
                  </a:lnTo>
                  <a:lnTo>
                    <a:pt x="938" y="1381"/>
                  </a:lnTo>
                  <a:lnTo>
                    <a:pt x="940" y="1381"/>
                  </a:lnTo>
                  <a:lnTo>
                    <a:pt x="940" y="1383"/>
                  </a:lnTo>
                  <a:lnTo>
                    <a:pt x="941" y="1381"/>
                  </a:lnTo>
                  <a:lnTo>
                    <a:pt x="943" y="1381"/>
                  </a:lnTo>
                  <a:lnTo>
                    <a:pt x="943" y="1383"/>
                  </a:lnTo>
                  <a:lnTo>
                    <a:pt x="945" y="1383"/>
                  </a:lnTo>
                  <a:lnTo>
                    <a:pt x="945" y="1384"/>
                  </a:lnTo>
                  <a:lnTo>
                    <a:pt x="946" y="1384"/>
                  </a:lnTo>
                  <a:lnTo>
                    <a:pt x="946" y="1386"/>
                  </a:lnTo>
                  <a:lnTo>
                    <a:pt x="948" y="1386"/>
                  </a:lnTo>
                  <a:lnTo>
                    <a:pt x="948" y="1388"/>
                  </a:lnTo>
                  <a:lnTo>
                    <a:pt x="948" y="1389"/>
                  </a:lnTo>
                  <a:lnTo>
                    <a:pt x="946" y="1388"/>
                  </a:lnTo>
                  <a:lnTo>
                    <a:pt x="945" y="1388"/>
                  </a:lnTo>
                  <a:lnTo>
                    <a:pt x="945" y="1389"/>
                  </a:lnTo>
                  <a:lnTo>
                    <a:pt x="945" y="1391"/>
                  </a:lnTo>
                  <a:lnTo>
                    <a:pt x="946" y="1394"/>
                  </a:lnTo>
                  <a:lnTo>
                    <a:pt x="945" y="1391"/>
                  </a:lnTo>
                  <a:lnTo>
                    <a:pt x="943" y="1391"/>
                  </a:lnTo>
                  <a:lnTo>
                    <a:pt x="943" y="1389"/>
                  </a:lnTo>
                  <a:lnTo>
                    <a:pt x="943" y="1388"/>
                  </a:lnTo>
                  <a:lnTo>
                    <a:pt x="945" y="1388"/>
                  </a:lnTo>
                  <a:lnTo>
                    <a:pt x="943" y="1388"/>
                  </a:lnTo>
                  <a:lnTo>
                    <a:pt x="941" y="1389"/>
                  </a:lnTo>
                  <a:lnTo>
                    <a:pt x="941" y="1391"/>
                  </a:lnTo>
                  <a:lnTo>
                    <a:pt x="940" y="1391"/>
                  </a:lnTo>
                  <a:lnTo>
                    <a:pt x="940" y="1393"/>
                  </a:lnTo>
                  <a:lnTo>
                    <a:pt x="941" y="1393"/>
                  </a:lnTo>
                  <a:lnTo>
                    <a:pt x="940" y="1393"/>
                  </a:lnTo>
                  <a:lnTo>
                    <a:pt x="941" y="1393"/>
                  </a:lnTo>
                  <a:lnTo>
                    <a:pt x="940" y="1393"/>
                  </a:lnTo>
                  <a:lnTo>
                    <a:pt x="940" y="1394"/>
                  </a:lnTo>
                  <a:lnTo>
                    <a:pt x="941" y="1394"/>
                  </a:lnTo>
                  <a:lnTo>
                    <a:pt x="941" y="1396"/>
                  </a:lnTo>
                  <a:lnTo>
                    <a:pt x="941" y="1394"/>
                  </a:lnTo>
                  <a:lnTo>
                    <a:pt x="941" y="1396"/>
                  </a:lnTo>
                  <a:lnTo>
                    <a:pt x="943" y="1396"/>
                  </a:lnTo>
                  <a:lnTo>
                    <a:pt x="941" y="1396"/>
                  </a:lnTo>
                  <a:lnTo>
                    <a:pt x="943" y="1397"/>
                  </a:lnTo>
                  <a:lnTo>
                    <a:pt x="943" y="1396"/>
                  </a:lnTo>
                  <a:lnTo>
                    <a:pt x="943" y="1397"/>
                  </a:lnTo>
                  <a:lnTo>
                    <a:pt x="943" y="1399"/>
                  </a:lnTo>
                  <a:lnTo>
                    <a:pt x="943" y="1401"/>
                  </a:lnTo>
                  <a:lnTo>
                    <a:pt x="945" y="1401"/>
                  </a:lnTo>
                  <a:lnTo>
                    <a:pt x="946" y="1401"/>
                  </a:lnTo>
                  <a:lnTo>
                    <a:pt x="946" y="1399"/>
                  </a:lnTo>
                  <a:lnTo>
                    <a:pt x="948" y="1401"/>
                  </a:lnTo>
                  <a:lnTo>
                    <a:pt x="946" y="1401"/>
                  </a:lnTo>
                  <a:lnTo>
                    <a:pt x="945" y="1401"/>
                  </a:lnTo>
                  <a:lnTo>
                    <a:pt x="945" y="1402"/>
                  </a:lnTo>
                  <a:lnTo>
                    <a:pt x="945" y="1404"/>
                  </a:lnTo>
                  <a:lnTo>
                    <a:pt x="946" y="1406"/>
                  </a:lnTo>
                  <a:lnTo>
                    <a:pt x="948" y="1406"/>
                  </a:lnTo>
                  <a:lnTo>
                    <a:pt x="949" y="1406"/>
                  </a:lnTo>
                  <a:lnTo>
                    <a:pt x="951" y="1406"/>
                  </a:lnTo>
                  <a:lnTo>
                    <a:pt x="949" y="1406"/>
                  </a:lnTo>
                  <a:lnTo>
                    <a:pt x="949" y="1407"/>
                  </a:lnTo>
                  <a:lnTo>
                    <a:pt x="951" y="1407"/>
                  </a:lnTo>
                  <a:lnTo>
                    <a:pt x="951" y="1406"/>
                  </a:lnTo>
                  <a:lnTo>
                    <a:pt x="953" y="1406"/>
                  </a:lnTo>
                  <a:lnTo>
                    <a:pt x="954" y="1406"/>
                  </a:lnTo>
                  <a:lnTo>
                    <a:pt x="954" y="1407"/>
                  </a:lnTo>
                  <a:lnTo>
                    <a:pt x="954" y="1409"/>
                  </a:lnTo>
                  <a:lnTo>
                    <a:pt x="954" y="1411"/>
                  </a:lnTo>
                  <a:lnTo>
                    <a:pt x="954" y="1412"/>
                  </a:lnTo>
                  <a:lnTo>
                    <a:pt x="954" y="1414"/>
                  </a:lnTo>
                  <a:lnTo>
                    <a:pt x="954" y="1412"/>
                  </a:lnTo>
                  <a:lnTo>
                    <a:pt x="953" y="1412"/>
                  </a:lnTo>
                  <a:lnTo>
                    <a:pt x="951" y="1414"/>
                  </a:lnTo>
                  <a:lnTo>
                    <a:pt x="953" y="1415"/>
                  </a:lnTo>
                  <a:lnTo>
                    <a:pt x="953" y="1417"/>
                  </a:lnTo>
                  <a:lnTo>
                    <a:pt x="954" y="1417"/>
                  </a:lnTo>
                  <a:lnTo>
                    <a:pt x="954" y="1415"/>
                  </a:lnTo>
                  <a:lnTo>
                    <a:pt x="956" y="1415"/>
                  </a:lnTo>
                  <a:lnTo>
                    <a:pt x="958" y="1415"/>
                  </a:lnTo>
                  <a:lnTo>
                    <a:pt x="958" y="1417"/>
                  </a:lnTo>
                  <a:lnTo>
                    <a:pt x="958" y="1419"/>
                  </a:lnTo>
                  <a:lnTo>
                    <a:pt x="959" y="1419"/>
                  </a:lnTo>
                  <a:lnTo>
                    <a:pt x="959" y="1420"/>
                  </a:lnTo>
                  <a:lnTo>
                    <a:pt x="958" y="1420"/>
                  </a:lnTo>
                  <a:lnTo>
                    <a:pt x="956" y="1419"/>
                  </a:lnTo>
                  <a:lnTo>
                    <a:pt x="954" y="1419"/>
                  </a:lnTo>
                  <a:lnTo>
                    <a:pt x="954" y="1420"/>
                  </a:lnTo>
                  <a:lnTo>
                    <a:pt x="953" y="1420"/>
                  </a:lnTo>
                  <a:lnTo>
                    <a:pt x="951" y="1422"/>
                  </a:lnTo>
                  <a:lnTo>
                    <a:pt x="951" y="1424"/>
                  </a:lnTo>
                  <a:lnTo>
                    <a:pt x="951" y="1425"/>
                  </a:lnTo>
                  <a:lnTo>
                    <a:pt x="949" y="1425"/>
                  </a:lnTo>
                  <a:lnTo>
                    <a:pt x="948" y="1425"/>
                  </a:lnTo>
                  <a:lnTo>
                    <a:pt x="948" y="1427"/>
                  </a:lnTo>
                  <a:lnTo>
                    <a:pt x="946" y="1427"/>
                  </a:lnTo>
                  <a:lnTo>
                    <a:pt x="945" y="1427"/>
                  </a:lnTo>
                  <a:lnTo>
                    <a:pt x="945" y="1428"/>
                  </a:lnTo>
                  <a:lnTo>
                    <a:pt x="943" y="1430"/>
                  </a:lnTo>
                  <a:lnTo>
                    <a:pt x="943" y="1432"/>
                  </a:lnTo>
                  <a:lnTo>
                    <a:pt x="941" y="1432"/>
                  </a:lnTo>
                  <a:lnTo>
                    <a:pt x="941" y="1433"/>
                  </a:lnTo>
                  <a:lnTo>
                    <a:pt x="940" y="1433"/>
                  </a:lnTo>
                  <a:lnTo>
                    <a:pt x="940" y="1435"/>
                  </a:lnTo>
                  <a:lnTo>
                    <a:pt x="938" y="1437"/>
                  </a:lnTo>
                  <a:lnTo>
                    <a:pt x="938" y="1440"/>
                  </a:lnTo>
                  <a:lnTo>
                    <a:pt x="938" y="1441"/>
                  </a:lnTo>
                  <a:lnTo>
                    <a:pt x="936" y="1441"/>
                  </a:lnTo>
                  <a:lnTo>
                    <a:pt x="935" y="1443"/>
                  </a:lnTo>
                  <a:lnTo>
                    <a:pt x="935" y="1445"/>
                  </a:lnTo>
                  <a:lnTo>
                    <a:pt x="935" y="1446"/>
                  </a:lnTo>
                  <a:lnTo>
                    <a:pt x="935" y="1448"/>
                  </a:lnTo>
                  <a:lnTo>
                    <a:pt x="935" y="1450"/>
                  </a:lnTo>
                  <a:lnTo>
                    <a:pt x="935" y="1451"/>
                  </a:lnTo>
                  <a:lnTo>
                    <a:pt x="933" y="1451"/>
                  </a:lnTo>
                  <a:lnTo>
                    <a:pt x="933" y="1453"/>
                  </a:lnTo>
                  <a:lnTo>
                    <a:pt x="933" y="1454"/>
                  </a:lnTo>
                  <a:lnTo>
                    <a:pt x="935" y="1456"/>
                  </a:lnTo>
                  <a:lnTo>
                    <a:pt x="935" y="1458"/>
                  </a:lnTo>
                  <a:lnTo>
                    <a:pt x="935" y="1459"/>
                  </a:lnTo>
                  <a:lnTo>
                    <a:pt x="936" y="1459"/>
                  </a:lnTo>
                  <a:lnTo>
                    <a:pt x="936" y="1461"/>
                  </a:lnTo>
                  <a:lnTo>
                    <a:pt x="936" y="1463"/>
                  </a:lnTo>
                  <a:lnTo>
                    <a:pt x="938" y="1463"/>
                  </a:lnTo>
                  <a:lnTo>
                    <a:pt x="936" y="1463"/>
                  </a:lnTo>
                  <a:lnTo>
                    <a:pt x="938" y="1464"/>
                  </a:lnTo>
                  <a:lnTo>
                    <a:pt x="936" y="1464"/>
                  </a:lnTo>
                  <a:lnTo>
                    <a:pt x="938" y="1464"/>
                  </a:lnTo>
                  <a:lnTo>
                    <a:pt x="938" y="1466"/>
                  </a:lnTo>
                  <a:lnTo>
                    <a:pt x="940" y="1467"/>
                  </a:lnTo>
                  <a:lnTo>
                    <a:pt x="940" y="1469"/>
                  </a:lnTo>
                  <a:lnTo>
                    <a:pt x="938" y="1469"/>
                  </a:lnTo>
                  <a:lnTo>
                    <a:pt x="936" y="1469"/>
                  </a:lnTo>
                  <a:lnTo>
                    <a:pt x="936" y="1471"/>
                  </a:lnTo>
                  <a:lnTo>
                    <a:pt x="935" y="1471"/>
                  </a:lnTo>
                  <a:lnTo>
                    <a:pt x="935" y="1472"/>
                  </a:lnTo>
                  <a:lnTo>
                    <a:pt x="933" y="1472"/>
                  </a:lnTo>
                  <a:lnTo>
                    <a:pt x="933" y="1474"/>
                  </a:lnTo>
                  <a:lnTo>
                    <a:pt x="933" y="1472"/>
                  </a:lnTo>
                  <a:lnTo>
                    <a:pt x="932" y="1472"/>
                  </a:lnTo>
                  <a:lnTo>
                    <a:pt x="932" y="1471"/>
                  </a:lnTo>
                  <a:lnTo>
                    <a:pt x="930" y="1471"/>
                  </a:lnTo>
                  <a:lnTo>
                    <a:pt x="930" y="1472"/>
                  </a:lnTo>
                  <a:lnTo>
                    <a:pt x="930" y="1471"/>
                  </a:lnTo>
                  <a:lnTo>
                    <a:pt x="930" y="1469"/>
                  </a:lnTo>
                  <a:lnTo>
                    <a:pt x="928" y="1467"/>
                  </a:lnTo>
                  <a:lnTo>
                    <a:pt x="927" y="1467"/>
                  </a:lnTo>
                  <a:lnTo>
                    <a:pt x="927" y="1466"/>
                  </a:lnTo>
                  <a:lnTo>
                    <a:pt x="925" y="1466"/>
                  </a:lnTo>
                  <a:lnTo>
                    <a:pt x="923" y="1466"/>
                  </a:lnTo>
                  <a:lnTo>
                    <a:pt x="922" y="1466"/>
                  </a:lnTo>
                  <a:lnTo>
                    <a:pt x="922" y="1467"/>
                  </a:lnTo>
                  <a:lnTo>
                    <a:pt x="920" y="1467"/>
                  </a:lnTo>
                  <a:lnTo>
                    <a:pt x="919" y="1467"/>
                  </a:lnTo>
                  <a:lnTo>
                    <a:pt x="917" y="1466"/>
                  </a:lnTo>
                  <a:lnTo>
                    <a:pt x="912" y="1464"/>
                  </a:lnTo>
                  <a:lnTo>
                    <a:pt x="912" y="1463"/>
                  </a:lnTo>
                  <a:lnTo>
                    <a:pt x="910" y="1463"/>
                  </a:lnTo>
                  <a:lnTo>
                    <a:pt x="909" y="1463"/>
                  </a:lnTo>
                  <a:lnTo>
                    <a:pt x="907" y="1463"/>
                  </a:lnTo>
                  <a:lnTo>
                    <a:pt x="906" y="1463"/>
                  </a:lnTo>
                  <a:lnTo>
                    <a:pt x="906" y="1464"/>
                  </a:lnTo>
                  <a:lnTo>
                    <a:pt x="904" y="1464"/>
                  </a:lnTo>
                  <a:lnTo>
                    <a:pt x="904" y="1466"/>
                  </a:lnTo>
                  <a:lnTo>
                    <a:pt x="902" y="1466"/>
                  </a:lnTo>
                  <a:lnTo>
                    <a:pt x="904" y="1466"/>
                  </a:lnTo>
                  <a:lnTo>
                    <a:pt x="902" y="1466"/>
                  </a:lnTo>
                  <a:lnTo>
                    <a:pt x="902" y="1464"/>
                  </a:lnTo>
                  <a:lnTo>
                    <a:pt x="901" y="1466"/>
                  </a:lnTo>
                  <a:lnTo>
                    <a:pt x="899" y="1467"/>
                  </a:lnTo>
                  <a:lnTo>
                    <a:pt x="897" y="1467"/>
                  </a:lnTo>
                  <a:lnTo>
                    <a:pt x="897" y="1466"/>
                  </a:lnTo>
                  <a:lnTo>
                    <a:pt x="896" y="1466"/>
                  </a:lnTo>
                  <a:lnTo>
                    <a:pt x="894" y="1466"/>
                  </a:lnTo>
                  <a:lnTo>
                    <a:pt x="893" y="1466"/>
                  </a:lnTo>
                  <a:lnTo>
                    <a:pt x="891" y="1466"/>
                  </a:lnTo>
                  <a:lnTo>
                    <a:pt x="889" y="1466"/>
                  </a:lnTo>
                  <a:lnTo>
                    <a:pt x="888" y="1466"/>
                  </a:lnTo>
                  <a:lnTo>
                    <a:pt x="886" y="1466"/>
                  </a:lnTo>
                  <a:lnTo>
                    <a:pt x="886" y="1464"/>
                  </a:lnTo>
                  <a:lnTo>
                    <a:pt x="886" y="1463"/>
                  </a:lnTo>
                  <a:lnTo>
                    <a:pt x="884" y="1463"/>
                  </a:lnTo>
                  <a:lnTo>
                    <a:pt x="883" y="1461"/>
                  </a:lnTo>
                  <a:lnTo>
                    <a:pt x="881" y="1461"/>
                  </a:lnTo>
                  <a:lnTo>
                    <a:pt x="880" y="1459"/>
                  </a:lnTo>
                  <a:lnTo>
                    <a:pt x="881" y="1459"/>
                  </a:lnTo>
                  <a:lnTo>
                    <a:pt x="880" y="1459"/>
                  </a:lnTo>
                  <a:lnTo>
                    <a:pt x="878" y="1459"/>
                  </a:lnTo>
                  <a:lnTo>
                    <a:pt x="876" y="1459"/>
                  </a:lnTo>
                  <a:lnTo>
                    <a:pt x="875" y="1458"/>
                  </a:lnTo>
                  <a:lnTo>
                    <a:pt x="873" y="1458"/>
                  </a:lnTo>
                  <a:lnTo>
                    <a:pt x="871" y="1458"/>
                  </a:lnTo>
                  <a:lnTo>
                    <a:pt x="870" y="1458"/>
                  </a:lnTo>
                  <a:lnTo>
                    <a:pt x="868" y="1458"/>
                  </a:lnTo>
                  <a:lnTo>
                    <a:pt x="867" y="1458"/>
                  </a:lnTo>
                  <a:lnTo>
                    <a:pt x="865" y="1458"/>
                  </a:lnTo>
                  <a:lnTo>
                    <a:pt x="863" y="1458"/>
                  </a:lnTo>
                  <a:lnTo>
                    <a:pt x="862" y="1456"/>
                  </a:lnTo>
                  <a:lnTo>
                    <a:pt x="862" y="1454"/>
                  </a:lnTo>
                  <a:lnTo>
                    <a:pt x="860" y="1453"/>
                  </a:lnTo>
                  <a:lnTo>
                    <a:pt x="860" y="1454"/>
                  </a:lnTo>
                  <a:lnTo>
                    <a:pt x="860" y="1453"/>
                  </a:lnTo>
                  <a:lnTo>
                    <a:pt x="860" y="1451"/>
                  </a:lnTo>
                  <a:lnTo>
                    <a:pt x="858" y="1450"/>
                  </a:lnTo>
                  <a:lnTo>
                    <a:pt x="858" y="1448"/>
                  </a:lnTo>
                  <a:lnTo>
                    <a:pt x="858" y="1446"/>
                  </a:lnTo>
                  <a:lnTo>
                    <a:pt x="857" y="1446"/>
                  </a:lnTo>
                  <a:lnTo>
                    <a:pt x="857" y="1445"/>
                  </a:lnTo>
                  <a:lnTo>
                    <a:pt x="855" y="1443"/>
                  </a:lnTo>
                  <a:lnTo>
                    <a:pt x="855" y="1441"/>
                  </a:lnTo>
                  <a:lnTo>
                    <a:pt x="854" y="1440"/>
                  </a:lnTo>
                  <a:lnTo>
                    <a:pt x="852" y="1437"/>
                  </a:lnTo>
                  <a:lnTo>
                    <a:pt x="849" y="1433"/>
                  </a:lnTo>
                  <a:lnTo>
                    <a:pt x="847" y="1432"/>
                  </a:lnTo>
                  <a:lnTo>
                    <a:pt x="845" y="1428"/>
                  </a:lnTo>
                  <a:lnTo>
                    <a:pt x="844" y="1428"/>
                  </a:lnTo>
                  <a:lnTo>
                    <a:pt x="844" y="1427"/>
                  </a:lnTo>
                  <a:lnTo>
                    <a:pt x="839" y="1424"/>
                  </a:lnTo>
                  <a:lnTo>
                    <a:pt x="837" y="1422"/>
                  </a:lnTo>
                  <a:lnTo>
                    <a:pt x="836" y="1422"/>
                  </a:lnTo>
                  <a:lnTo>
                    <a:pt x="834" y="1425"/>
                  </a:lnTo>
                  <a:lnTo>
                    <a:pt x="834" y="1424"/>
                  </a:lnTo>
                  <a:lnTo>
                    <a:pt x="836" y="1422"/>
                  </a:lnTo>
                  <a:lnTo>
                    <a:pt x="836" y="1420"/>
                  </a:lnTo>
                  <a:lnTo>
                    <a:pt x="834" y="1420"/>
                  </a:lnTo>
                  <a:lnTo>
                    <a:pt x="832" y="1420"/>
                  </a:lnTo>
                  <a:lnTo>
                    <a:pt x="831" y="1420"/>
                  </a:lnTo>
                  <a:lnTo>
                    <a:pt x="832" y="1420"/>
                  </a:lnTo>
                  <a:lnTo>
                    <a:pt x="831" y="1420"/>
                  </a:lnTo>
                  <a:lnTo>
                    <a:pt x="831" y="1419"/>
                  </a:lnTo>
                  <a:lnTo>
                    <a:pt x="829" y="1419"/>
                  </a:lnTo>
                  <a:lnTo>
                    <a:pt x="827" y="1419"/>
                  </a:lnTo>
                  <a:lnTo>
                    <a:pt x="826" y="1417"/>
                  </a:lnTo>
                  <a:lnTo>
                    <a:pt x="824" y="1417"/>
                  </a:lnTo>
                  <a:lnTo>
                    <a:pt x="823" y="1415"/>
                  </a:lnTo>
                  <a:lnTo>
                    <a:pt x="821" y="1415"/>
                  </a:lnTo>
                  <a:lnTo>
                    <a:pt x="819" y="1415"/>
                  </a:lnTo>
                  <a:lnTo>
                    <a:pt x="818" y="1415"/>
                  </a:lnTo>
                  <a:lnTo>
                    <a:pt x="816" y="1415"/>
                  </a:lnTo>
                  <a:lnTo>
                    <a:pt x="814" y="1414"/>
                  </a:lnTo>
                  <a:lnTo>
                    <a:pt x="813" y="1414"/>
                  </a:lnTo>
                  <a:lnTo>
                    <a:pt x="811" y="1414"/>
                  </a:lnTo>
                  <a:lnTo>
                    <a:pt x="811" y="1415"/>
                  </a:lnTo>
                  <a:lnTo>
                    <a:pt x="810" y="1415"/>
                  </a:lnTo>
                  <a:lnTo>
                    <a:pt x="808" y="1415"/>
                  </a:lnTo>
                  <a:lnTo>
                    <a:pt x="806" y="1415"/>
                  </a:lnTo>
                  <a:lnTo>
                    <a:pt x="805" y="1415"/>
                  </a:lnTo>
                  <a:lnTo>
                    <a:pt x="801" y="1415"/>
                  </a:lnTo>
                  <a:lnTo>
                    <a:pt x="800" y="1415"/>
                  </a:lnTo>
                  <a:lnTo>
                    <a:pt x="798" y="1417"/>
                  </a:lnTo>
                  <a:lnTo>
                    <a:pt x="797" y="1417"/>
                  </a:lnTo>
                  <a:lnTo>
                    <a:pt x="797" y="1419"/>
                  </a:lnTo>
                  <a:lnTo>
                    <a:pt x="798" y="1419"/>
                  </a:lnTo>
                  <a:lnTo>
                    <a:pt x="797" y="1419"/>
                  </a:lnTo>
                  <a:lnTo>
                    <a:pt x="797" y="1417"/>
                  </a:lnTo>
                  <a:lnTo>
                    <a:pt x="795" y="1417"/>
                  </a:lnTo>
                  <a:lnTo>
                    <a:pt x="793" y="1417"/>
                  </a:lnTo>
                  <a:lnTo>
                    <a:pt x="792" y="1417"/>
                  </a:lnTo>
                  <a:lnTo>
                    <a:pt x="790" y="1417"/>
                  </a:lnTo>
                  <a:lnTo>
                    <a:pt x="790" y="1415"/>
                  </a:lnTo>
                  <a:lnTo>
                    <a:pt x="788" y="1415"/>
                  </a:lnTo>
                  <a:lnTo>
                    <a:pt x="788" y="1414"/>
                  </a:lnTo>
                  <a:lnTo>
                    <a:pt x="787" y="1412"/>
                  </a:lnTo>
                  <a:lnTo>
                    <a:pt x="785" y="1412"/>
                  </a:lnTo>
                  <a:lnTo>
                    <a:pt x="784" y="1411"/>
                  </a:lnTo>
                  <a:lnTo>
                    <a:pt x="780" y="1411"/>
                  </a:lnTo>
                  <a:lnTo>
                    <a:pt x="779" y="1411"/>
                  </a:lnTo>
                  <a:lnTo>
                    <a:pt x="777" y="1411"/>
                  </a:lnTo>
                  <a:lnTo>
                    <a:pt x="775" y="1411"/>
                  </a:lnTo>
                  <a:lnTo>
                    <a:pt x="774" y="1411"/>
                  </a:lnTo>
                  <a:lnTo>
                    <a:pt x="774" y="1409"/>
                  </a:lnTo>
                  <a:lnTo>
                    <a:pt x="772" y="1407"/>
                  </a:lnTo>
                  <a:lnTo>
                    <a:pt x="771" y="1407"/>
                  </a:lnTo>
                  <a:lnTo>
                    <a:pt x="769" y="1407"/>
                  </a:lnTo>
                  <a:lnTo>
                    <a:pt x="769" y="1406"/>
                  </a:lnTo>
                  <a:lnTo>
                    <a:pt x="767" y="1406"/>
                  </a:lnTo>
                  <a:lnTo>
                    <a:pt x="766" y="1406"/>
                  </a:lnTo>
                  <a:lnTo>
                    <a:pt x="764" y="1404"/>
                  </a:lnTo>
                  <a:lnTo>
                    <a:pt x="764" y="1402"/>
                  </a:lnTo>
                  <a:lnTo>
                    <a:pt x="764" y="1401"/>
                  </a:lnTo>
                  <a:lnTo>
                    <a:pt x="762" y="1399"/>
                  </a:lnTo>
                  <a:lnTo>
                    <a:pt x="761" y="1399"/>
                  </a:lnTo>
                  <a:lnTo>
                    <a:pt x="759" y="1399"/>
                  </a:lnTo>
                  <a:lnTo>
                    <a:pt x="758" y="1397"/>
                  </a:lnTo>
                  <a:lnTo>
                    <a:pt x="756" y="1396"/>
                  </a:lnTo>
                  <a:lnTo>
                    <a:pt x="754" y="1396"/>
                  </a:lnTo>
                  <a:lnTo>
                    <a:pt x="754" y="1394"/>
                  </a:lnTo>
                  <a:lnTo>
                    <a:pt x="753" y="1394"/>
                  </a:lnTo>
                  <a:lnTo>
                    <a:pt x="753" y="1393"/>
                  </a:lnTo>
                  <a:lnTo>
                    <a:pt x="751" y="1393"/>
                  </a:lnTo>
                  <a:lnTo>
                    <a:pt x="749" y="1393"/>
                  </a:lnTo>
                  <a:lnTo>
                    <a:pt x="749" y="1394"/>
                  </a:lnTo>
                  <a:lnTo>
                    <a:pt x="748" y="1393"/>
                  </a:lnTo>
                  <a:lnTo>
                    <a:pt x="748" y="1391"/>
                  </a:lnTo>
                  <a:lnTo>
                    <a:pt x="746" y="1393"/>
                  </a:lnTo>
                  <a:lnTo>
                    <a:pt x="745" y="1393"/>
                  </a:lnTo>
                  <a:lnTo>
                    <a:pt x="743" y="1393"/>
                  </a:lnTo>
                  <a:lnTo>
                    <a:pt x="741" y="1391"/>
                  </a:lnTo>
                  <a:lnTo>
                    <a:pt x="740" y="1393"/>
                  </a:lnTo>
                  <a:lnTo>
                    <a:pt x="740" y="1391"/>
                  </a:lnTo>
                  <a:lnTo>
                    <a:pt x="738" y="1391"/>
                  </a:lnTo>
                  <a:lnTo>
                    <a:pt x="736" y="1391"/>
                  </a:lnTo>
                  <a:lnTo>
                    <a:pt x="738" y="1389"/>
                  </a:lnTo>
                  <a:lnTo>
                    <a:pt x="736" y="1389"/>
                  </a:lnTo>
                  <a:lnTo>
                    <a:pt x="736" y="1388"/>
                  </a:lnTo>
                  <a:lnTo>
                    <a:pt x="735" y="1386"/>
                  </a:lnTo>
                  <a:lnTo>
                    <a:pt x="733" y="1386"/>
                  </a:lnTo>
                  <a:lnTo>
                    <a:pt x="732" y="1386"/>
                  </a:lnTo>
                  <a:lnTo>
                    <a:pt x="730" y="1384"/>
                  </a:lnTo>
                  <a:lnTo>
                    <a:pt x="728" y="1383"/>
                  </a:lnTo>
                  <a:lnTo>
                    <a:pt x="727" y="1383"/>
                  </a:lnTo>
                  <a:lnTo>
                    <a:pt x="725" y="1383"/>
                  </a:lnTo>
                  <a:lnTo>
                    <a:pt x="723" y="1381"/>
                  </a:lnTo>
                  <a:lnTo>
                    <a:pt x="722" y="1380"/>
                  </a:lnTo>
                  <a:lnTo>
                    <a:pt x="720" y="1380"/>
                  </a:lnTo>
                  <a:lnTo>
                    <a:pt x="719" y="1380"/>
                  </a:lnTo>
                  <a:lnTo>
                    <a:pt x="719" y="1378"/>
                  </a:lnTo>
                  <a:lnTo>
                    <a:pt x="717" y="1375"/>
                  </a:lnTo>
                  <a:lnTo>
                    <a:pt x="715" y="1373"/>
                  </a:lnTo>
                  <a:lnTo>
                    <a:pt x="714" y="1371"/>
                  </a:lnTo>
                  <a:lnTo>
                    <a:pt x="714" y="1370"/>
                  </a:lnTo>
                  <a:lnTo>
                    <a:pt x="712" y="1370"/>
                  </a:lnTo>
                  <a:lnTo>
                    <a:pt x="712" y="1368"/>
                  </a:lnTo>
                  <a:lnTo>
                    <a:pt x="710" y="1368"/>
                  </a:lnTo>
                  <a:lnTo>
                    <a:pt x="709" y="1367"/>
                  </a:lnTo>
                  <a:lnTo>
                    <a:pt x="707" y="1365"/>
                  </a:lnTo>
                  <a:lnTo>
                    <a:pt x="706" y="1365"/>
                  </a:lnTo>
                  <a:lnTo>
                    <a:pt x="704" y="1365"/>
                  </a:lnTo>
                  <a:lnTo>
                    <a:pt x="702" y="1365"/>
                  </a:lnTo>
                  <a:lnTo>
                    <a:pt x="701" y="1365"/>
                  </a:lnTo>
                  <a:lnTo>
                    <a:pt x="699" y="1365"/>
                  </a:lnTo>
                  <a:lnTo>
                    <a:pt x="697" y="1363"/>
                  </a:lnTo>
                  <a:lnTo>
                    <a:pt x="696" y="1365"/>
                  </a:lnTo>
                  <a:lnTo>
                    <a:pt x="697" y="1363"/>
                  </a:lnTo>
                  <a:lnTo>
                    <a:pt x="696" y="1363"/>
                  </a:lnTo>
                  <a:lnTo>
                    <a:pt x="694" y="1363"/>
                  </a:lnTo>
                  <a:lnTo>
                    <a:pt x="692" y="1363"/>
                  </a:lnTo>
                  <a:lnTo>
                    <a:pt x="692" y="1365"/>
                  </a:lnTo>
                  <a:lnTo>
                    <a:pt x="691" y="1365"/>
                  </a:lnTo>
                  <a:lnTo>
                    <a:pt x="689" y="1365"/>
                  </a:lnTo>
                  <a:lnTo>
                    <a:pt x="689" y="1363"/>
                  </a:lnTo>
                  <a:lnTo>
                    <a:pt x="688" y="1362"/>
                  </a:lnTo>
                  <a:lnTo>
                    <a:pt x="686" y="1358"/>
                  </a:lnTo>
                  <a:lnTo>
                    <a:pt x="683" y="1357"/>
                  </a:lnTo>
                  <a:lnTo>
                    <a:pt x="681" y="1355"/>
                  </a:lnTo>
                  <a:lnTo>
                    <a:pt x="678" y="1354"/>
                  </a:lnTo>
                  <a:lnTo>
                    <a:pt x="676" y="1354"/>
                  </a:lnTo>
                  <a:lnTo>
                    <a:pt x="676" y="1355"/>
                  </a:lnTo>
                  <a:lnTo>
                    <a:pt x="675" y="1354"/>
                  </a:lnTo>
                  <a:lnTo>
                    <a:pt x="673" y="1354"/>
                  </a:lnTo>
                  <a:lnTo>
                    <a:pt x="671" y="1354"/>
                  </a:lnTo>
                  <a:lnTo>
                    <a:pt x="670" y="1354"/>
                  </a:lnTo>
                  <a:lnTo>
                    <a:pt x="668" y="1354"/>
                  </a:lnTo>
                  <a:lnTo>
                    <a:pt x="666" y="1354"/>
                  </a:lnTo>
                  <a:lnTo>
                    <a:pt x="665" y="1354"/>
                  </a:lnTo>
                  <a:lnTo>
                    <a:pt x="662" y="1354"/>
                  </a:lnTo>
                  <a:lnTo>
                    <a:pt x="658" y="1355"/>
                  </a:lnTo>
                  <a:lnTo>
                    <a:pt x="655" y="1357"/>
                  </a:lnTo>
                  <a:lnTo>
                    <a:pt x="652" y="1357"/>
                  </a:lnTo>
                  <a:lnTo>
                    <a:pt x="650" y="1358"/>
                  </a:lnTo>
                  <a:lnTo>
                    <a:pt x="649" y="1357"/>
                  </a:lnTo>
                  <a:lnTo>
                    <a:pt x="647" y="1357"/>
                  </a:lnTo>
                  <a:lnTo>
                    <a:pt x="647" y="1355"/>
                  </a:lnTo>
                  <a:lnTo>
                    <a:pt x="645" y="1354"/>
                  </a:lnTo>
                  <a:lnTo>
                    <a:pt x="644" y="1352"/>
                  </a:lnTo>
                  <a:lnTo>
                    <a:pt x="644" y="1350"/>
                  </a:lnTo>
                  <a:lnTo>
                    <a:pt x="642" y="1349"/>
                  </a:lnTo>
                  <a:lnTo>
                    <a:pt x="642" y="1347"/>
                  </a:lnTo>
                  <a:lnTo>
                    <a:pt x="640" y="1345"/>
                  </a:lnTo>
                  <a:lnTo>
                    <a:pt x="639" y="1345"/>
                  </a:lnTo>
                  <a:lnTo>
                    <a:pt x="639" y="1347"/>
                  </a:lnTo>
                  <a:lnTo>
                    <a:pt x="639" y="1345"/>
                  </a:lnTo>
                  <a:lnTo>
                    <a:pt x="637" y="1344"/>
                  </a:lnTo>
                  <a:lnTo>
                    <a:pt x="637" y="1345"/>
                  </a:lnTo>
                  <a:lnTo>
                    <a:pt x="637" y="1344"/>
                  </a:lnTo>
                  <a:lnTo>
                    <a:pt x="636" y="1344"/>
                  </a:lnTo>
                  <a:lnTo>
                    <a:pt x="634" y="1344"/>
                  </a:lnTo>
                  <a:lnTo>
                    <a:pt x="632" y="1344"/>
                  </a:lnTo>
                  <a:lnTo>
                    <a:pt x="631" y="1344"/>
                  </a:lnTo>
                  <a:lnTo>
                    <a:pt x="631" y="1342"/>
                  </a:lnTo>
                  <a:lnTo>
                    <a:pt x="629" y="1342"/>
                  </a:lnTo>
                  <a:lnTo>
                    <a:pt x="629" y="1341"/>
                  </a:lnTo>
                  <a:lnTo>
                    <a:pt x="627" y="1341"/>
                  </a:lnTo>
                  <a:lnTo>
                    <a:pt x="627" y="1339"/>
                  </a:lnTo>
                  <a:lnTo>
                    <a:pt x="626" y="1339"/>
                  </a:lnTo>
                  <a:lnTo>
                    <a:pt x="626" y="1337"/>
                  </a:lnTo>
                  <a:lnTo>
                    <a:pt x="626" y="1336"/>
                  </a:lnTo>
                  <a:lnTo>
                    <a:pt x="626" y="1334"/>
                  </a:lnTo>
                  <a:lnTo>
                    <a:pt x="626" y="1332"/>
                  </a:lnTo>
                  <a:lnTo>
                    <a:pt x="624" y="1331"/>
                  </a:lnTo>
                  <a:lnTo>
                    <a:pt x="623" y="1328"/>
                  </a:lnTo>
                  <a:lnTo>
                    <a:pt x="623" y="1326"/>
                  </a:lnTo>
                  <a:lnTo>
                    <a:pt x="621" y="1326"/>
                  </a:lnTo>
                  <a:lnTo>
                    <a:pt x="621" y="1324"/>
                  </a:lnTo>
                  <a:lnTo>
                    <a:pt x="619" y="1324"/>
                  </a:lnTo>
                  <a:lnTo>
                    <a:pt x="621" y="1324"/>
                  </a:lnTo>
                  <a:lnTo>
                    <a:pt x="621" y="1323"/>
                  </a:lnTo>
                  <a:lnTo>
                    <a:pt x="623" y="1323"/>
                  </a:lnTo>
                  <a:lnTo>
                    <a:pt x="621" y="1323"/>
                  </a:lnTo>
                  <a:lnTo>
                    <a:pt x="623" y="1323"/>
                  </a:lnTo>
                  <a:lnTo>
                    <a:pt x="624" y="1323"/>
                  </a:lnTo>
                  <a:lnTo>
                    <a:pt x="624" y="1321"/>
                  </a:lnTo>
                  <a:lnTo>
                    <a:pt x="624" y="1319"/>
                  </a:lnTo>
                  <a:lnTo>
                    <a:pt x="624" y="1318"/>
                  </a:lnTo>
                  <a:lnTo>
                    <a:pt x="626" y="1318"/>
                  </a:lnTo>
                  <a:lnTo>
                    <a:pt x="626" y="1316"/>
                  </a:lnTo>
                  <a:lnTo>
                    <a:pt x="627" y="1315"/>
                  </a:lnTo>
                  <a:lnTo>
                    <a:pt x="626" y="1313"/>
                  </a:lnTo>
                  <a:lnTo>
                    <a:pt x="624" y="1311"/>
                  </a:lnTo>
                  <a:lnTo>
                    <a:pt x="624" y="1310"/>
                  </a:lnTo>
                  <a:lnTo>
                    <a:pt x="624" y="1308"/>
                  </a:lnTo>
                  <a:lnTo>
                    <a:pt x="624" y="1310"/>
                  </a:lnTo>
                  <a:lnTo>
                    <a:pt x="623" y="1310"/>
                  </a:lnTo>
                  <a:lnTo>
                    <a:pt x="624" y="1308"/>
                  </a:lnTo>
                  <a:lnTo>
                    <a:pt x="626" y="1306"/>
                  </a:lnTo>
                  <a:lnTo>
                    <a:pt x="626" y="1305"/>
                  </a:lnTo>
                  <a:lnTo>
                    <a:pt x="626" y="1306"/>
                  </a:lnTo>
                  <a:lnTo>
                    <a:pt x="626" y="1305"/>
                  </a:lnTo>
                  <a:lnTo>
                    <a:pt x="627" y="1303"/>
                  </a:lnTo>
                  <a:lnTo>
                    <a:pt x="629" y="1303"/>
                  </a:lnTo>
                  <a:lnTo>
                    <a:pt x="627" y="1303"/>
                  </a:lnTo>
                  <a:lnTo>
                    <a:pt x="627" y="1302"/>
                  </a:lnTo>
                  <a:lnTo>
                    <a:pt x="627" y="1300"/>
                  </a:lnTo>
                  <a:lnTo>
                    <a:pt x="627" y="1298"/>
                  </a:lnTo>
                  <a:lnTo>
                    <a:pt x="629" y="1298"/>
                  </a:lnTo>
                  <a:lnTo>
                    <a:pt x="631" y="1298"/>
                  </a:lnTo>
                  <a:lnTo>
                    <a:pt x="631" y="1297"/>
                  </a:lnTo>
                  <a:lnTo>
                    <a:pt x="629" y="1297"/>
                  </a:lnTo>
                  <a:lnTo>
                    <a:pt x="631" y="1297"/>
                  </a:lnTo>
                  <a:lnTo>
                    <a:pt x="632" y="1297"/>
                  </a:lnTo>
                  <a:lnTo>
                    <a:pt x="632" y="1295"/>
                  </a:lnTo>
                  <a:lnTo>
                    <a:pt x="631" y="1295"/>
                  </a:lnTo>
                  <a:lnTo>
                    <a:pt x="631" y="1297"/>
                  </a:lnTo>
                  <a:lnTo>
                    <a:pt x="631" y="1295"/>
                  </a:lnTo>
                  <a:lnTo>
                    <a:pt x="629" y="1295"/>
                  </a:lnTo>
                  <a:lnTo>
                    <a:pt x="629" y="1293"/>
                  </a:lnTo>
                  <a:lnTo>
                    <a:pt x="629" y="1295"/>
                  </a:lnTo>
                  <a:lnTo>
                    <a:pt x="629" y="1293"/>
                  </a:lnTo>
                  <a:lnTo>
                    <a:pt x="627" y="1293"/>
                  </a:lnTo>
                  <a:lnTo>
                    <a:pt x="627" y="1295"/>
                  </a:lnTo>
                  <a:lnTo>
                    <a:pt x="626" y="1293"/>
                  </a:lnTo>
                  <a:lnTo>
                    <a:pt x="627" y="1293"/>
                  </a:lnTo>
                  <a:lnTo>
                    <a:pt x="629" y="1293"/>
                  </a:lnTo>
                  <a:lnTo>
                    <a:pt x="631" y="1292"/>
                  </a:lnTo>
                  <a:lnTo>
                    <a:pt x="631" y="1290"/>
                  </a:lnTo>
                  <a:lnTo>
                    <a:pt x="632" y="1290"/>
                  </a:lnTo>
                  <a:lnTo>
                    <a:pt x="632" y="1289"/>
                  </a:lnTo>
                  <a:lnTo>
                    <a:pt x="634" y="1289"/>
                  </a:lnTo>
                  <a:lnTo>
                    <a:pt x="634" y="1287"/>
                  </a:lnTo>
                  <a:lnTo>
                    <a:pt x="636" y="1287"/>
                  </a:lnTo>
                  <a:lnTo>
                    <a:pt x="636" y="1285"/>
                  </a:lnTo>
                  <a:lnTo>
                    <a:pt x="637" y="1287"/>
                  </a:lnTo>
                  <a:lnTo>
                    <a:pt x="637" y="1285"/>
                  </a:lnTo>
                  <a:lnTo>
                    <a:pt x="639" y="1285"/>
                  </a:lnTo>
                  <a:lnTo>
                    <a:pt x="639" y="1287"/>
                  </a:lnTo>
                  <a:lnTo>
                    <a:pt x="640" y="1287"/>
                  </a:lnTo>
                  <a:lnTo>
                    <a:pt x="640" y="1285"/>
                  </a:lnTo>
                  <a:lnTo>
                    <a:pt x="642" y="1285"/>
                  </a:lnTo>
                  <a:lnTo>
                    <a:pt x="644" y="1284"/>
                  </a:lnTo>
                  <a:lnTo>
                    <a:pt x="645" y="1284"/>
                  </a:lnTo>
                  <a:lnTo>
                    <a:pt x="645" y="1282"/>
                  </a:lnTo>
                  <a:lnTo>
                    <a:pt x="645" y="1280"/>
                  </a:lnTo>
                  <a:lnTo>
                    <a:pt x="645" y="1279"/>
                  </a:lnTo>
                  <a:lnTo>
                    <a:pt x="647" y="1279"/>
                  </a:lnTo>
                  <a:lnTo>
                    <a:pt x="649" y="1280"/>
                  </a:lnTo>
                  <a:lnTo>
                    <a:pt x="650" y="1280"/>
                  </a:lnTo>
                  <a:lnTo>
                    <a:pt x="652" y="1279"/>
                  </a:lnTo>
                  <a:lnTo>
                    <a:pt x="653" y="1277"/>
                  </a:lnTo>
                  <a:lnTo>
                    <a:pt x="653" y="1276"/>
                  </a:lnTo>
                  <a:lnTo>
                    <a:pt x="653" y="1274"/>
                  </a:lnTo>
                  <a:lnTo>
                    <a:pt x="653" y="1272"/>
                  </a:lnTo>
                  <a:lnTo>
                    <a:pt x="652" y="1272"/>
                  </a:lnTo>
                  <a:lnTo>
                    <a:pt x="652" y="1271"/>
                  </a:lnTo>
                  <a:lnTo>
                    <a:pt x="652" y="1269"/>
                  </a:lnTo>
                  <a:lnTo>
                    <a:pt x="653" y="1267"/>
                  </a:lnTo>
                  <a:lnTo>
                    <a:pt x="653" y="1269"/>
                  </a:lnTo>
                  <a:lnTo>
                    <a:pt x="653" y="1271"/>
                  </a:lnTo>
                  <a:lnTo>
                    <a:pt x="655" y="1271"/>
                  </a:lnTo>
                  <a:lnTo>
                    <a:pt x="655" y="1269"/>
                  </a:lnTo>
                  <a:lnTo>
                    <a:pt x="657" y="1269"/>
                  </a:lnTo>
                  <a:lnTo>
                    <a:pt x="658" y="1271"/>
                  </a:lnTo>
                  <a:lnTo>
                    <a:pt x="657" y="1272"/>
                  </a:lnTo>
                  <a:lnTo>
                    <a:pt x="658" y="1272"/>
                  </a:lnTo>
                  <a:lnTo>
                    <a:pt x="658" y="1274"/>
                  </a:lnTo>
                  <a:lnTo>
                    <a:pt x="660" y="1274"/>
                  </a:lnTo>
                  <a:lnTo>
                    <a:pt x="660" y="1276"/>
                  </a:lnTo>
                  <a:lnTo>
                    <a:pt x="660" y="1277"/>
                  </a:lnTo>
                  <a:lnTo>
                    <a:pt x="660" y="1279"/>
                  </a:lnTo>
                  <a:lnTo>
                    <a:pt x="662" y="1279"/>
                  </a:lnTo>
                  <a:lnTo>
                    <a:pt x="662" y="1280"/>
                  </a:lnTo>
                  <a:lnTo>
                    <a:pt x="662" y="1282"/>
                  </a:lnTo>
                  <a:lnTo>
                    <a:pt x="663" y="1284"/>
                  </a:lnTo>
                  <a:lnTo>
                    <a:pt x="665" y="1284"/>
                  </a:lnTo>
                  <a:lnTo>
                    <a:pt x="665" y="1285"/>
                  </a:lnTo>
                  <a:lnTo>
                    <a:pt x="666" y="1285"/>
                  </a:lnTo>
                  <a:lnTo>
                    <a:pt x="666" y="1287"/>
                  </a:lnTo>
                  <a:lnTo>
                    <a:pt x="668" y="1287"/>
                  </a:lnTo>
                  <a:lnTo>
                    <a:pt x="670" y="1287"/>
                  </a:lnTo>
                  <a:lnTo>
                    <a:pt x="670" y="1289"/>
                  </a:lnTo>
                  <a:lnTo>
                    <a:pt x="670" y="1290"/>
                  </a:lnTo>
                  <a:lnTo>
                    <a:pt x="671" y="1290"/>
                  </a:lnTo>
                  <a:lnTo>
                    <a:pt x="673" y="1290"/>
                  </a:lnTo>
                  <a:lnTo>
                    <a:pt x="676" y="1290"/>
                  </a:lnTo>
                  <a:lnTo>
                    <a:pt x="679" y="1290"/>
                  </a:lnTo>
                  <a:lnTo>
                    <a:pt x="681" y="1289"/>
                  </a:lnTo>
                  <a:lnTo>
                    <a:pt x="683" y="1289"/>
                  </a:lnTo>
                  <a:lnTo>
                    <a:pt x="684" y="1287"/>
                  </a:lnTo>
                  <a:lnTo>
                    <a:pt x="684" y="1285"/>
                  </a:lnTo>
                  <a:lnTo>
                    <a:pt x="684" y="1287"/>
                  </a:lnTo>
                  <a:lnTo>
                    <a:pt x="686" y="1285"/>
                  </a:lnTo>
                  <a:lnTo>
                    <a:pt x="688" y="1285"/>
                  </a:lnTo>
                  <a:lnTo>
                    <a:pt x="688" y="1284"/>
                  </a:lnTo>
                  <a:lnTo>
                    <a:pt x="689" y="1284"/>
                  </a:lnTo>
                  <a:lnTo>
                    <a:pt x="691" y="1284"/>
                  </a:lnTo>
                  <a:lnTo>
                    <a:pt x="692" y="1280"/>
                  </a:lnTo>
                  <a:lnTo>
                    <a:pt x="692" y="1279"/>
                  </a:lnTo>
                  <a:lnTo>
                    <a:pt x="692" y="1277"/>
                  </a:lnTo>
                  <a:lnTo>
                    <a:pt x="691" y="1276"/>
                  </a:lnTo>
                  <a:lnTo>
                    <a:pt x="689" y="1274"/>
                  </a:lnTo>
                  <a:lnTo>
                    <a:pt x="691" y="1274"/>
                  </a:lnTo>
                  <a:lnTo>
                    <a:pt x="691" y="1272"/>
                  </a:lnTo>
                  <a:lnTo>
                    <a:pt x="692" y="1274"/>
                  </a:lnTo>
                  <a:lnTo>
                    <a:pt x="692" y="1272"/>
                  </a:lnTo>
                  <a:lnTo>
                    <a:pt x="694" y="1271"/>
                  </a:lnTo>
                  <a:lnTo>
                    <a:pt x="692" y="1269"/>
                  </a:lnTo>
                  <a:lnTo>
                    <a:pt x="694" y="1269"/>
                  </a:lnTo>
                  <a:lnTo>
                    <a:pt x="694" y="1267"/>
                  </a:lnTo>
                  <a:lnTo>
                    <a:pt x="696" y="1267"/>
                  </a:lnTo>
                  <a:lnTo>
                    <a:pt x="696" y="1266"/>
                  </a:lnTo>
                  <a:lnTo>
                    <a:pt x="697" y="1266"/>
                  </a:lnTo>
                  <a:lnTo>
                    <a:pt x="699" y="1266"/>
                  </a:lnTo>
                  <a:lnTo>
                    <a:pt x="699" y="1267"/>
                  </a:lnTo>
                  <a:lnTo>
                    <a:pt x="701" y="1267"/>
                  </a:lnTo>
                  <a:lnTo>
                    <a:pt x="702" y="1267"/>
                  </a:lnTo>
                  <a:lnTo>
                    <a:pt x="702" y="1269"/>
                  </a:lnTo>
                  <a:lnTo>
                    <a:pt x="704" y="1269"/>
                  </a:lnTo>
                  <a:lnTo>
                    <a:pt x="706" y="1269"/>
                  </a:lnTo>
                  <a:lnTo>
                    <a:pt x="707" y="1267"/>
                  </a:lnTo>
                  <a:lnTo>
                    <a:pt x="709" y="1267"/>
                  </a:lnTo>
                  <a:lnTo>
                    <a:pt x="710" y="1267"/>
                  </a:lnTo>
                  <a:lnTo>
                    <a:pt x="710" y="1266"/>
                  </a:lnTo>
                  <a:lnTo>
                    <a:pt x="712" y="1266"/>
                  </a:lnTo>
                  <a:lnTo>
                    <a:pt x="712" y="1264"/>
                  </a:lnTo>
                  <a:lnTo>
                    <a:pt x="710" y="1264"/>
                  </a:lnTo>
                  <a:lnTo>
                    <a:pt x="712" y="1264"/>
                  </a:lnTo>
                  <a:lnTo>
                    <a:pt x="714" y="1264"/>
                  </a:lnTo>
                  <a:lnTo>
                    <a:pt x="715" y="1264"/>
                  </a:lnTo>
                  <a:lnTo>
                    <a:pt x="715" y="1262"/>
                  </a:lnTo>
                  <a:lnTo>
                    <a:pt x="717" y="1262"/>
                  </a:lnTo>
                  <a:lnTo>
                    <a:pt x="717" y="1261"/>
                  </a:lnTo>
                  <a:lnTo>
                    <a:pt x="719" y="1261"/>
                  </a:lnTo>
                  <a:lnTo>
                    <a:pt x="720" y="1261"/>
                  </a:lnTo>
                  <a:lnTo>
                    <a:pt x="720" y="1262"/>
                  </a:lnTo>
                  <a:lnTo>
                    <a:pt x="722" y="1262"/>
                  </a:lnTo>
                  <a:lnTo>
                    <a:pt x="720" y="1262"/>
                  </a:lnTo>
                  <a:lnTo>
                    <a:pt x="722" y="1264"/>
                  </a:lnTo>
                  <a:lnTo>
                    <a:pt x="720" y="1264"/>
                  </a:lnTo>
                  <a:lnTo>
                    <a:pt x="722" y="1264"/>
                  </a:lnTo>
                  <a:lnTo>
                    <a:pt x="723" y="1266"/>
                  </a:lnTo>
                  <a:lnTo>
                    <a:pt x="723" y="1264"/>
                  </a:lnTo>
                  <a:lnTo>
                    <a:pt x="725" y="1264"/>
                  </a:lnTo>
                  <a:lnTo>
                    <a:pt x="725" y="1266"/>
                  </a:lnTo>
                  <a:lnTo>
                    <a:pt x="725" y="1267"/>
                  </a:lnTo>
                  <a:lnTo>
                    <a:pt x="725" y="1269"/>
                  </a:lnTo>
                  <a:lnTo>
                    <a:pt x="727" y="1269"/>
                  </a:lnTo>
                  <a:lnTo>
                    <a:pt x="727" y="1271"/>
                  </a:lnTo>
                  <a:lnTo>
                    <a:pt x="727" y="1272"/>
                  </a:lnTo>
                  <a:lnTo>
                    <a:pt x="727" y="1274"/>
                  </a:lnTo>
                  <a:lnTo>
                    <a:pt x="725" y="1274"/>
                  </a:lnTo>
                  <a:lnTo>
                    <a:pt x="725" y="1272"/>
                  </a:lnTo>
                  <a:lnTo>
                    <a:pt x="725" y="1274"/>
                  </a:lnTo>
                  <a:lnTo>
                    <a:pt x="727" y="1274"/>
                  </a:lnTo>
                  <a:lnTo>
                    <a:pt x="725" y="1274"/>
                  </a:lnTo>
                  <a:lnTo>
                    <a:pt x="727" y="1274"/>
                  </a:lnTo>
                  <a:lnTo>
                    <a:pt x="727" y="1276"/>
                  </a:lnTo>
                  <a:lnTo>
                    <a:pt x="728" y="1277"/>
                  </a:lnTo>
                  <a:lnTo>
                    <a:pt x="730" y="1277"/>
                  </a:lnTo>
                  <a:lnTo>
                    <a:pt x="732" y="1277"/>
                  </a:lnTo>
                  <a:lnTo>
                    <a:pt x="733" y="1277"/>
                  </a:lnTo>
                  <a:lnTo>
                    <a:pt x="733" y="1279"/>
                  </a:lnTo>
                  <a:lnTo>
                    <a:pt x="735" y="1279"/>
                  </a:lnTo>
                  <a:lnTo>
                    <a:pt x="736" y="1279"/>
                  </a:lnTo>
                  <a:lnTo>
                    <a:pt x="738" y="1277"/>
                  </a:lnTo>
                  <a:lnTo>
                    <a:pt x="740" y="1277"/>
                  </a:lnTo>
                  <a:lnTo>
                    <a:pt x="741" y="1277"/>
                  </a:lnTo>
                  <a:lnTo>
                    <a:pt x="741" y="1276"/>
                  </a:lnTo>
                  <a:lnTo>
                    <a:pt x="741" y="1274"/>
                  </a:lnTo>
                  <a:lnTo>
                    <a:pt x="745" y="1276"/>
                  </a:lnTo>
                  <a:lnTo>
                    <a:pt x="746" y="1276"/>
                  </a:lnTo>
                  <a:lnTo>
                    <a:pt x="745" y="1276"/>
                  </a:lnTo>
                  <a:lnTo>
                    <a:pt x="745" y="1277"/>
                  </a:lnTo>
                  <a:lnTo>
                    <a:pt x="746" y="1277"/>
                  </a:lnTo>
                  <a:lnTo>
                    <a:pt x="746" y="1279"/>
                  </a:lnTo>
                  <a:lnTo>
                    <a:pt x="746" y="1280"/>
                  </a:lnTo>
                  <a:lnTo>
                    <a:pt x="746" y="1282"/>
                  </a:lnTo>
                  <a:lnTo>
                    <a:pt x="746" y="1284"/>
                  </a:lnTo>
                  <a:lnTo>
                    <a:pt x="748" y="1285"/>
                  </a:lnTo>
                  <a:lnTo>
                    <a:pt x="749" y="1285"/>
                  </a:lnTo>
                  <a:lnTo>
                    <a:pt x="751" y="1287"/>
                  </a:lnTo>
                  <a:lnTo>
                    <a:pt x="753" y="1287"/>
                  </a:lnTo>
                  <a:lnTo>
                    <a:pt x="754" y="1289"/>
                  </a:lnTo>
                  <a:lnTo>
                    <a:pt x="756" y="1289"/>
                  </a:lnTo>
                  <a:lnTo>
                    <a:pt x="756" y="1290"/>
                  </a:lnTo>
                  <a:lnTo>
                    <a:pt x="756" y="1289"/>
                  </a:lnTo>
                  <a:lnTo>
                    <a:pt x="756" y="1290"/>
                  </a:lnTo>
                  <a:lnTo>
                    <a:pt x="758" y="1290"/>
                  </a:lnTo>
                  <a:lnTo>
                    <a:pt x="759" y="1290"/>
                  </a:lnTo>
                  <a:lnTo>
                    <a:pt x="761" y="1292"/>
                  </a:lnTo>
                  <a:lnTo>
                    <a:pt x="762" y="1292"/>
                  </a:lnTo>
                  <a:lnTo>
                    <a:pt x="764" y="1292"/>
                  </a:lnTo>
                  <a:lnTo>
                    <a:pt x="766" y="1292"/>
                  </a:lnTo>
                  <a:lnTo>
                    <a:pt x="767" y="1292"/>
                  </a:lnTo>
                  <a:lnTo>
                    <a:pt x="766" y="1292"/>
                  </a:lnTo>
                  <a:lnTo>
                    <a:pt x="766" y="1293"/>
                  </a:lnTo>
                  <a:lnTo>
                    <a:pt x="767" y="1293"/>
                  </a:lnTo>
                  <a:lnTo>
                    <a:pt x="769" y="1293"/>
                  </a:lnTo>
                  <a:lnTo>
                    <a:pt x="769" y="1295"/>
                  </a:lnTo>
                  <a:lnTo>
                    <a:pt x="771" y="1295"/>
                  </a:lnTo>
                  <a:lnTo>
                    <a:pt x="771" y="1293"/>
                  </a:lnTo>
                  <a:lnTo>
                    <a:pt x="771" y="1292"/>
                  </a:lnTo>
                  <a:lnTo>
                    <a:pt x="771" y="1293"/>
                  </a:lnTo>
                  <a:lnTo>
                    <a:pt x="775" y="1293"/>
                  </a:lnTo>
                  <a:lnTo>
                    <a:pt x="775" y="1292"/>
                  </a:lnTo>
                  <a:lnTo>
                    <a:pt x="775" y="1293"/>
                  </a:lnTo>
                  <a:lnTo>
                    <a:pt x="779" y="1292"/>
                  </a:lnTo>
                  <a:lnTo>
                    <a:pt x="780" y="1292"/>
                  </a:lnTo>
                  <a:lnTo>
                    <a:pt x="784" y="1290"/>
                  </a:lnTo>
                  <a:lnTo>
                    <a:pt x="785" y="1289"/>
                  </a:lnTo>
                  <a:lnTo>
                    <a:pt x="787" y="1289"/>
                  </a:lnTo>
                  <a:lnTo>
                    <a:pt x="792" y="1285"/>
                  </a:lnTo>
                  <a:lnTo>
                    <a:pt x="793" y="1284"/>
                  </a:lnTo>
                  <a:lnTo>
                    <a:pt x="793" y="1285"/>
                  </a:lnTo>
                  <a:lnTo>
                    <a:pt x="795" y="1284"/>
                  </a:lnTo>
                  <a:lnTo>
                    <a:pt x="797" y="1284"/>
                  </a:lnTo>
                  <a:lnTo>
                    <a:pt x="797" y="1285"/>
                  </a:lnTo>
                  <a:lnTo>
                    <a:pt x="797" y="1284"/>
                  </a:lnTo>
                  <a:lnTo>
                    <a:pt x="798" y="1284"/>
                  </a:lnTo>
                  <a:lnTo>
                    <a:pt x="800" y="1284"/>
                  </a:lnTo>
                  <a:lnTo>
                    <a:pt x="800" y="1282"/>
                  </a:lnTo>
                  <a:lnTo>
                    <a:pt x="801" y="1282"/>
                  </a:lnTo>
                  <a:lnTo>
                    <a:pt x="803" y="1282"/>
                  </a:lnTo>
                  <a:lnTo>
                    <a:pt x="801" y="1284"/>
                  </a:lnTo>
                  <a:lnTo>
                    <a:pt x="803" y="1284"/>
                  </a:lnTo>
                  <a:lnTo>
                    <a:pt x="805" y="1284"/>
                  </a:lnTo>
                  <a:lnTo>
                    <a:pt x="805" y="1285"/>
                  </a:lnTo>
                  <a:lnTo>
                    <a:pt x="806" y="1285"/>
                  </a:lnTo>
                  <a:lnTo>
                    <a:pt x="808" y="1285"/>
                  </a:lnTo>
                  <a:lnTo>
                    <a:pt x="810" y="1285"/>
                  </a:lnTo>
                  <a:lnTo>
                    <a:pt x="811" y="1285"/>
                  </a:lnTo>
                  <a:lnTo>
                    <a:pt x="813" y="1285"/>
                  </a:lnTo>
                  <a:lnTo>
                    <a:pt x="814" y="1284"/>
                  </a:lnTo>
                  <a:lnTo>
                    <a:pt x="816" y="1284"/>
                  </a:lnTo>
                  <a:lnTo>
                    <a:pt x="818" y="1285"/>
                  </a:lnTo>
                  <a:lnTo>
                    <a:pt x="819" y="1285"/>
                  </a:lnTo>
                  <a:lnTo>
                    <a:pt x="821" y="1285"/>
                  </a:lnTo>
                  <a:lnTo>
                    <a:pt x="823" y="1285"/>
                  </a:lnTo>
                  <a:lnTo>
                    <a:pt x="824" y="1285"/>
                  </a:lnTo>
                  <a:lnTo>
                    <a:pt x="827" y="1285"/>
                  </a:lnTo>
                  <a:lnTo>
                    <a:pt x="829" y="1285"/>
                  </a:lnTo>
                  <a:lnTo>
                    <a:pt x="831" y="1285"/>
                  </a:lnTo>
                  <a:lnTo>
                    <a:pt x="832" y="1285"/>
                  </a:lnTo>
                  <a:lnTo>
                    <a:pt x="834" y="1285"/>
                  </a:lnTo>
                  <a:lnTo>
                    <a:pt x="837" y="1284"/>
                  </a:lnTo>
                  <a:lnTo>
                    <a:pt x="839" y="1284"/>
                  </a:lnTo>
                  <a:lnTo>
                    <a:pt x="840" y="1284"/>
                  </a:lnTo>
                  <a:lnTo>
                    <a:pt x="842" y="1284"/>
                  </a:lnTo>
                  <a:lnTo>
                    <a:pt x="844" y="1284"/>
                  </a:lnTo>
                  <a:lnTo>
                    <a:pt x="845" y="1282"/>
                  </a:lnTo>
                  <a:lnTo>
                    <a:pt x="845" y="1280"/>
                  </a:lnTo>
                  <a:lnTo>
                    <a:pt x="847" y="1280"/>
                  </a:lnTo>
                  <a:lnTo>
                    <a:pt x="849" y="1280"/>
                  </a:lnTo>
                  <a:lnTo>
                    <a:pt x="850" y="1280"/>
                  </a:lnTo>
                  <a:lnTo>
                    <a:pt x="852" y="1280"/>
                  </a:lnTo>
                  <a:lnTo>
                    <a:pt x="854" y="1280"/>
                  </a:lnTo>
                  <a:lnTo>
                    <a:pt x="855" y="1280"/>
                  </a:lnTo>
                  <a:lnTo>
                    <a:pt x="857" y="1279"/>
                  </a:lnTo>
                  <a:lnTo>
                    <a:pt x="858" y="1279"/>
                  </a:lnTo>
                  <a:lnTo>
                    <a:pt x="860" y="1279"/>
                  </a:lnTo>
                  <a:lnTo>
                    <a:pt x="862" y="1277"/>
                  </a:lnTo>
                  <a:lnTo>
                    <a:pt x="863" y="1277"/>
                  </a:lnTo>
                  <a:lnTo>
                    <a:pt x="865" y="1277"/>
                  </a:lnTo>
                  <a:lnTo>
                    <a:pt x="867" y="1276"/>
                  </a:lnTo>
                  <a:lnTo>
                    <a:pt x="868" y="1274"/>
                  </a:lnTo>
                  <a:lnTo>
                    <a:pt x="870" y="1274"/>
                  </a:lnTo>
                  <a:lnTo>
                    <a:pt x="871" y="1274"/>
                  </a:lnTo>
                  <a:lnTo>
                    <a:pt x="873" y="1272"/>
                  </a:lnTo>
                  <a:lnTo>
                    <a:pt x="875" y="1271"/>
                  </a:lnTo>
                  <a:lnTo>
                    <a:pt x="876" y="1267"/>
                  </a:lnTo>
                  <a:lnTo>
                    <a:pt x="878" y="1267"/>
                  </a:lnTo>
                  <a:lnTo>
                    <a:pt x="878" y="1266"/>
                  </a:lnTo>
                  <a:lnTo>
                    <a:pt x="880" y="1264"/>
                  </a:lnTo>
                  <a:lnTo>
                    <a:pt x="881" y="1261"/>
                  </a:lnTo>
                  <a:lnTo>
                    <a:pt x="883" y="1261"/>
                  </a:lnTo>
                  <a:lnTo>
                    <a:pt x="884" y="1261"/>
                  </a:lnTo>
                  <a:lnTo>
                    <a:pt x="884" y="1262"/>
                  </a:lnTo>
                  <a:lnTo>
                    <a:pt x="886" y="1261"/>
                  </a:lnTo>
                  <a:lnTo>
                    <a:pt x="888" y="1262"/>
                  </a:lnTo>
                  <a:lnTo>
                    <a:pt x="888" y="1261"/>
                  </a:lnTo>
                  <a:lnTo>
                    <a:pt x="889" y="1261"/>
                  </a:lnTo>
                  <a:lnTo>
                    <a:pt x="891" y="1261"/>
                  </a:lnTo>
                  <a:lnTo>
                    <a:pt x="893" y="1259"/>
                  </a:lnTo>
                  <a:lnTo>
                    <a:pt x="894" y="1259"/>
                  </a:lnTo>
                  <a:lnTo>
                    <a:pt x="896" y="1259"/>
                  </a:lnTo>
                  <a:lnTo>
                    <a:pt x="899" y="1259"/>
                  </a:lnTo>
                  <a:lnTo>
                    <a:pt x="899" y="1258"/>
                  </a:lnTo>
                  <a:lnTo>
                    <a:pt x="899" y="1256"/>
                  </a:lnTo>
                  <a:lnTo>
                    <a:pt x="901" y="1256"/>
                  </a:lnTo>
                  <a:lnTo>
                    <a:pt x="902" y="1256"/>
                  </a:lnTo>
                  <a:lnTo>
                    <a:pt x="904" y="1256"/>
                  </a:lnTo>
                  <a:lnTo>
                    <a:pt x="906" y="1258"/>
                  </a:lnTo>
                  <a:lnTo>
                    <a:pt x="906" y="1259"/>
                  </a:lnTo>
                  <a:lnTo>
                    <a:pt x="907" y="1259"/>
                  </a:lnTo>
                  <a:lnTo>
                    <a:pt x="907" y="1261"/>
                  </a:lnTo>
                  <a:lnTo>
                    <a:pt x="909" y="1261"/>
                  </a:lnTo>
                  <a:lnTo>
                    <a:pt x="910" y="1261"/>
                  </a:lnTo>
                  <a:lnTo>
                    <a:pt x="912" y="1261"/>
                  </a:lnTo>
                  <a:lnTo>
                    <a:pt x="914" y="1261"/>
                  </a:lnTo>
                  <a:lnTo>
                    <a:pt x="915" y="1261"/>
                  </a:lnTo>
                  <a:lnTo>
                    <a:pt x="915" y="1259"/>
                  </a:lnTo>
                  <a:lnTo>
                    <a:pt x="917" y="1259"/>
                  </a:lnTo>
                  <a:lnTo>
                    <a:pt x="917" y="1261"/>
                  </a:lnTo>
                  <a:lnTo>
                    <a:pt x="917" y="1262"/>
                  </a:lnTo>
                  <a:lnTo>
                    <a:pt x="919" y="1262"/>
                  </a:lnTo>
                  <a:lnTo>
                    <a:pt x="919" y="1264"/>
                  </a:lnTo>
                  <a:lnTo>
                    <a:pt x="920" y="1264"/>
                  </a:lnTo>
                  <a:lnTo>
                    <a:pt x="922" y="1264"/>
                  </a:lnTo>
                  <a:lnTo>
                    <a:pt x="923" y="1264"/>
                  </a:lnTo>
                  <a:lnTo>
                    <a:pt x="923" y="1262"/>
                  </a:lnTo>
                  <a:lnTo>
                    <a:pt x="925" y="1262"/>
                  </a:lnTo>
                  <a:lnTo>
                    <a:pt x="927" y="1261"/>
                  </a:lnTo>
                  <a:lnTo>
                    <a:pt x="928" y="1261"/>
                  </a:lnTo>
                  <a:lnTo>
                    <a:pt x="930" y="1259"/>
                  </a:lnTo>
                  <a:lnTo>
                    <a:pt x="932" y="1258"/>
                  </a:lnTo>
                  <a:lnTo>
                    <a:pt x="933" y="1256"/>
                  </a:lnTo>
                  <a:lnTo>
                    <a:pt x="935" y="1254"/>
                  </a:lnTo>
                  <a:lnTo>
                    <a:pt x="935" y="1253"/>
                  </a:lnTo>
                  <a:lnTo>
                    <a:pt x="936" y="1251"/>
                  </a:lnTo>
                  <a:lnTo>
                    <a:pt x="938" y="1246"/>
                  </a:lnTo>
                  <a:lnTo>
                    <a:pt x="938" y="1245"/>
                  </a:lnTo>
                  <a:lnTo>
                    <a:pt x="936" y="1245"/>
                  </a:lnTo>
                  <a:lnTo>
                    <a:pt x="936" y="1243"/>
                  </a:lnTo>
                  <a:lnTo>
                    <a:pt x="936" y="1241"/>
                  </a:lnTo>
                  <a:lnTo>
                    <a:pt x="936" y="1243"/>
                  </a:lnTo>
                  <a:lnTo>
                    <a:pt x="935" y="1241"/>
                  </a:lnTo>
                  <a:lnTo>
                    <a:pt x="936" y="1241"/>
                  </a:lnTo>
                  <a:lnTo>
                    <a:pt x="938" y="1241"/>
                  </a:lnTo>
                  <a:lnTo>
                    <a:pt x="938" y="1243"/>
                  </a:lnTo>
                  <a:lnTo>
                    <a:pt x="938" y="1245"/>
                  </a:lnTo>
                  <a:lnTo>
                    <a:pt x="940" y="1245"/>
                  </a:lnTo>
                  <a:lnTo>
                    <a:pt x="938" y="1246"/>
                  </a:lnTo>
                  <a:lnTo>
                    <a:pt x="938" y="1248"/>
                  </a:lnTo>
                  <a:lnTo>
                    <a:pt x="938" y="1249"/>
                  </a:lnTo>
                  <a:lnTo>
                    <a:pt x="940" y="1249"/>
                  </a:lnTo>
                  <a:lnTo>
                    <a:pt x="938" y="1249"/>
                  </a:lnTo>
                  <a:lnTo>
                    <a:pt x="940" y="1251"/>
                  </a:lnTo>
                  <a:lnTo>
                    <a:pt x="941" y="1249"/>
                  </a:lnTo>
                  <a:lnTo>
                    <a:pt x="941" y="1251"/>
                  </a:lnTo>
                  <a:lnTo>
                    <a:pt x="941" y="1249"/>
                  </a:lnTo>
                  <a:lnTo>
                    <a:pt x="941" y="1251"/>
                  </a:lnTo>
                  <a:lnTo>
                    <a:pt x="943" y="1251"/>
                  </a:lnTo>
                  <a:lnTo>
                    <a:pt x="946" y="1249"/>
                  </a:lnTo>
                  <a:lnTo>
                    <a:pt x="948" y="1249"/>
                  </a:lnTo>
                  <a:lnTo>
                    <a:pt x="951" y="1248"/>
                  </a:lnTo>
                  <a:lnTo>
                    <a:pt x="953" y="1248"/>
                  </a:lnTo>
                  <a:lnTo>
                    <a:pt x="954" y="1246"/>
                  </a:lnTo>
                  <a:lnTo>
                    <a:pt x="956" y="1246"/>
                  </a:lnTo>
                  <a:lnTo>
                    <a:pt x="958" y="1245"/>
                  </a:lnTo>
                  <a:lnTo>
                    <a:pt x="959" y="1245"/>
                  </a:lnTo>
                  <a:lnTo>
                    <a:pt x="961" y="1243"/>
                  </a:lnTo>
                  <a:lnTo>
                    <a:pt x="962" y="1241"/>
                  </a:lnTo>
                  <a:lnTo>
                    <a:pt x="964" y="1241"/>
                  </a:lnTo>
                  <a:lnTo>
                    <a:pt x="969" y="1235"/>
                  </a:lnTo>
                  <a:lnTo>
                    <a:pt x="971" y="1235"/>
                  </a:lnTo>
                  <a:lnTo>
                    <a:pt x="972" y="1235"/>
                  </a:lnTo>
                  <a:lnTo>
                    <a:pt x="974" y="1236"/>
                  </a:lnTo>
                  <a:lnTo>
                    <a:pt x="975" y="1236"/>
                  </a:lnTo>
                  <a:close/>
                  <a:moveTo>
                    <a:pt x="260" y="838"/>
                  </a:moveTo>
                  <a:lnTo>
                    <a:pt x="262" y="838"/>
                  </a:lnTo>
                  <a:lnTo>
                    <a:pt x="263" y="838"/>
                  </a:lnTo>
                  <a:lnTo>
                    <a:pt x="263" y="840"/>
                  </a:lnTo>
                  <a:lnTo>
                    <a:pt x="265" y="841"/>
                  </a:lnTo>
                  <a:lnTo>
                    <a:pt x="265" y="840"/>
                  </a:lnTo>
                  <a:lnTo>
                    <a:pt x="265" y="841"/>
                  </a:lnTo>
                  <a:lnTo>
                    <a:pt x="265" y="843"/>
                  </a:lnTo>
                  <a:lnTo>
                    <a:pt x="265" y="845"/>
                  </a:lnTo>
                  <a:lnTo>
                    <a:pt x="263" y="845"/>
                  </a:lnTo>
                  <a:lnTo>
                    <a:pt x="263" y="846"/>
                  </a:lnTo>
                  <a:lnTo>
                    <a:pt x="265" y="846"/>
                  </a:lnTo>
                  <a:lnTo>
                    <a:pt x="266" y="846"/>
                  </a:lnTo>
                  <a:lnTo>
                    <a:pt x="265" y="846"/>
                  </a:lnTo>
                  <a:lnTo>
                    <a:pt x="266" y="846"/>
                  </a:lnTo>
                  <a:lnTo>
                    <a:pt x="268" y="846"/>
                  </a:lnTo>
                  <a:lnTo>
                    <a:pt x="270" y="846"/>
                  </a:lnTo>
                  <a:lnTo>
                    <a:pt x="271" y="846"/>
                  </a:lnTo>
                  <a:lnTo>
                    <a:pt x="270" y="846"/>
                  </a:lnTo>
                  <a:lnTo>
                    <a:pt x="271" y="845"/>
                  </a:lnTo>
                  <a:lnTo>
                    <a:pt x="273" y="845"/>
                  </a:lnTo>
                  <a:lnTo>
                    <a:pt x="275" y="845"/>
                  </a:lnTo>
                  <a:lnTo>
                    <a:pt x="275" y="846"/>
                  </a:lnTo>
                  <a:lnTo>
                    <a:pt x="275" y="848"/>
                  </a:lnTo>
                  <a:lnTo>
                    <a:pt x="275" y="846"/>
                  </a:lnTo>
                  <a:lnTo>
                    <a:pt x="276" y="846"/>
                  </a:lnTo>
                  <a:lnTo>
                    <a:pt x="276" y="848"/>
                  </a:lnTo>
                  <a:lnTo>
                    <a:pt x="278" y="848"/>
                  </a:lnTo>
                  <a:lnTo>
                    <a:pt x="279" y="848"/>
                  </a:lnTo>
                  <a:lnTo>
                    <a:pt x="279" y="849"/>
                  </a:lnTo>
                  <a:lnTo>
                    <a:pt x="279" y="851"/>
                  </a:lnTo>
                  <a:lnTo>
                    <a:pt x="278" y="851"/>
                  </a:lnTo>
                  <a:lnTo>
                    <a:pt x="279" y="851"/>
                  </a:lnTo>
                  <a:lnTo>
                    <a:pt x="281" y="851"/>
                  </a:lnTo>
                  <a:lnTo>
                    <a:pt x="281" y="853"/>
                  </a:lnTo>
                  <a:lnTo>
                    <a:pt x="281" y="854"/>
                  </a:lnTo>
                  <a:lnTo>
                    <a:pt x="283" y="854"/>
                  </a:lnTo>
                  <a:lnTo>
                    <a:pt x="281" y="856"/>
                  </a:lnTo>
                  <a:lnTo>
                    <a:pt x="283" y="856"/>
                  </a:lnTo>
                  <a:lnTo>
                    <a:pt x="281" y="858"/>
                  </a:lnTo>
                  <a:lnTo>
                    <a:pt x="283" y="858"/>
                  </a:lnTo>
                  <a:lnTo>
                    <a:pt x="283" y="859"/>
                  </a:lnTo>
                  <a:lnTo>
                    <a:pt x="283" y="858"/>
                  </a:lnTo>
                  <a:lnTo>
                    <a:pt x="284" y="858"/>
                  </a:lnTo>
                  <a:lnTo>
                    <a:pt x="284" y="856"/>
                  </a:lnTo>
                  <a:lnTo>
                    <a:pt x="286" y="856"/>
                  </a:lnTo>
                  <a:lnTo>
                    <a:pt x="284" y="854"/>
                  </a:lnTo>
                  <a:lnTo>
                    <a:pt x="286" y="854"/>
                  </a:lnTo>
                  <a:lnTo>
                    <a:pt x="284" y="854"/>
                  </a:lnTo>
                  <a:lnTo>
                    <a:pt x="284" y="853"/>
                  </a:lnTo>
                  <a:lnTo>
                    <a:pt x="286" y="853"/>
                  </a:lnTo>
                  <a:lnTo>
                    <a:pt x="288" y="853"/>
                  </a:lnTo>
                  <a:lnTo>
                    <a:pt x="289" y="853"/>
                  </a:lnTo>
                  <a:lnTo>
                    <a:pt x="291" y="853"/>
                  </a:lnTo>
                  <a:lnTo>
                    <a:pt x="289" y="853"/>
                  </a:lnTo>
                  <a:lnTo>
                    <a:pt x="291" y="853"/>
                  </a:lnTo>
                  <a:lnTo>
                    <a:pt x="291" y="851"/>
                  </a:lnTo>
                  <a:lnTo>
                    <a:pt x="289" y="851"/>
                  </a:lnTo>
                  <a:lnTo>
                    <a:pt x="291" y="851"/>
                  </a:lnTo>
                  <a:lnTo>
                    <a:pt x="292" y="853"/>
                  </a:lnTo>
                  <a:lnTo>
                    <a:pt x="291" y="853"/>
                  </a:lnTo>
                  <a:lnTo>
                    <a:pt x="292" y="853"/>
                  </a:lnTo>
                  <a:lnTo>
                    <a:pt x="292" y="854"/>
                  </a:lnTo>
                  <a:lnTo>
                    <a:pt x="291" y="854"/>
                  </a:lnTo>
                  <a:lnTo>
                    <a:pt x="292" y="854"/>
                  </a:lnTo>
                  <a:lnTo>
                    <a:pt x="294" y="854"/>
                  </a:lnTo>
                  <a:lnTo>
                    <a:pt x="294" y="856"/>
                  </a:lnTo>
                  <a:lnTo>
                    <a:pt x="292" y="856"/>
                  </a:lnTo>
                  <a:lnTo>
                    <a:pt x="292" y="858"/>
                  </a:lnTo>
                  <a:lnTo>
                    <a:pt x="294" y="858"/>
                  </a:lnTo>
                  <a:lnTo>
                    <a:pt x="294" y="856"/>
                  </a:lnTo>
                  <a:lnTo>
                    <a:pt x="296" y="856"/>
                  </a:lnTo>
                  <a:lnTo>
                    <a:pt x="296" y="858"/>
                  </a:lnTo>
                  <a:lnTo>
                    <a:pt x="296" y="859"/>
                  </a:lnTo>
                  <a:lnTo>
                    <a:pt x="296" y="861"/>
                  </a:lnTo>
                  <a:lnTo>
                    <a:pt x="294" y="861"/>
                  </a:lnTo>
                  <a:lnTo>
                    <a:pt x="294" y="862"/>
                  </a:lnTo>
                  <a:lnTo>
                    <a:pt x="292" y="862"/>
                  </a:lnTo>
                  <a:lnTo>
                    <a:pt x="292" y="861"/>
                  </a:lnTo>
                  <a:lnTo>
                    <a:pt x="292" y="862"/>
                  </a:lnTo>
                  <a:lnTo>
                    <a:pt x="291" y="862"/>
                  </a:lnTo>
                  <a:lnTo>
                    <a:pt x="291" y="864"/>
                  </a:lnTo>
                  <a:lnTo>
                    <a:pt x="292" y="864"/>
                  </a:lnTo>
                  <a:lnTo>
                    <a:pt x="292" y="866"/>
                  </a:lnTo>
                  <a:lnTo>
                    <a:pt x="292" y="864"/>
                  </a:lnTo>
                  <a:lnTo>
                    <a:pt x="292" y="866"/>
                  </a:lnTo>
                  <a:lnTo>
                    <a:pt x="291" y="866"/>
                  </a:lnTo>
                  <a:lnTo>
                    <a:pt x="291" y="867"/>
                  </a:lnTo>
                  <a:lnTo>
                    <a:pt x="291" y="869"/>
                  </a:lnTo>
                  <a:lnTo>
                    <a:pt x="289" y="871"/>
                  </a:lnTo>
                  <a:lnTo>
                    <a:pt x="289" y="872"/>
                  </a:lnTo>
                  <a:lnTo>
                    <a:pt x="291" y="872"/>
                  </a:lnTo>
                  <a:lnTo>
                    <a:pt x="291" y="871"/>
                  </a:lnTo>
                  <a:lnTo>
                    <a:pt x="291" y="869"/>
                  </a:lnTo>
                  <a:lnTo>
                    <a:pt x="292" y="869"/>
                  </a:lnTo>
                  <a:lnTo>
                    <a:pt x="294" y="869"/>
                  </a:lnTo>
                  <a:lnTo>
                    <a:pt x="292" y="869"/>
                  </a:lnTo>
                  <a:lnTo>
                    <a:pt x="294" y="869"/>
                  </a:lnTo>
                  <a:lnTo>
                    <a:pt x="296" y="869"/>
                  </a:lnTo>
                  <a:lnTo>
                    <a:pt x="294" y="869"/>
                  </a:lnTo>
                  <a:lnTo>
                    <a:pt x="296" y="869"/>
                  </a:lnTo>
                  <a:lnTo>
                    <a:pt x="296" y="871"/>
                  </a:lnTo>
                  <a:lnTo>
                    <a:pt x="294" y="871"/>
                  </a:lnTo>
                  <a:lnTo>
                    <a:pt x="294" y="872"/>
                  </a:lnTo>
                  <a:lnTo>
                    <a:pt x="294" y="874"/>
                  </a:lnTo>
                  <a:lnTo>
                    <a:pt x="296" y="872"/>
                  </a:lnTo>
                  <a:lnTo>
                    <a:pt x="296" y="874"/>
                  </a:lnTo>
                  <a:lnTo>
                    <a:pt x="297" y="874"/>
                  </a:lnTo>
                  <a:lnTo>
                    <a:pt x="297" y="872"/>
                  </a:lnTo>
                  <a:lnTo>
                    <a:pt x="297" y="871"/>
                  </a:lnTo>
                  <a:lnTo>
                    <a:pt x="297" y="872"/>
                  </a:lnTo>
                  <a:lnTo>
                    <a:pt x="299" y="872"/>
                  </a:lnTo>
                  <a:lnTo>
                    <a:pt x="299" y="871"/>
                  </a:lnTo>
                  <a:lnTo>
                    <a:pt x="301" y="871"/>
                  </a:lnTo>
                  <a:lnTo>
                    <a:pt x="301" y="872"/>
                  </a:lnTo>
                  <a:lnTo>
                    <a:pt x="302" y="872"/>
                  </a:lnTo>
                  <a:lnTo>
                    <a:pt x="302" y="874"/>
                  </a:lnTo>
                  <a:lnTo>
                    <a:pt x="304" y="874"/>
                  </a:lnTo>
                  <a:lnTo>
                    <a:pt x="305" y="872"/>
                  </a:lnTo>
                  <a:lnTo>
                    <a:pt x="305" y="874"/>
                  </a:lnTo>
                  <a:lnTo>
                    <a:pt x="305" y="875"/>
                  </a:lnTo>
                  <a:lnTo>
                    <a:pt x="304" y="875"/>
                  </a:lnTo>
                  <a:lnTo>
                    <a:pt x="302" y="875"/>
                  </a:lnTo>
                  <a:lnTo>
                    <a:pt x="302" y="874"/>
                  </a:lnTo>
                  <a:lnTo>
                    <a:pt x="301" y="874"/>
                  </a:lnTo>
                  <a:lnTo>
                    <a:pt x="299" y="874"/>
                  </a:lnTo>
                  <a:lnTo>
                    <a:pt x="299" y="875"/>
                  </a:lnTo>
                  <a:lnTo>
                    <a:pt x="297" y="875"/>
                  </a:lnTo>
                  <a:lnTo>
                    <a:pt x="297" y="877"/>
                  </a:lnTo>
                  <a:lnTo>
                    <a:pt x="297" y="879"/>
                  </a:lnTo>
                  <a:lnTo>
                    <a:pt x="299" y="879"/>
                  </a:lnTo>
                  <a:lnTo>
                    <a:pt x="297" y="879"/>
                  </a:lnTo>
                  <a:lnTo>
                    <a:pt x="297" y="880"/>
                  </a:lnTo>
                  <a:lnTo>
                    <a:pt x="297" y="879"/>
                  </a:lnTo>
                  <a:lnTo>
                    <a:pt x="296" y="879"/>
                  </a:lnTo>
                  <a:lnTo>
                    <a:pt x="296" y="880"/>
                  </a:lnTo>
                  <a:lnTo>
                    <a:pt x="297" y="880"/>
                  </a:lnTo>
                  <a:lnTo>
                    <a:pt x="297" y="882"/>
                  </a:lnTo>
                  <a:lnTo>
                    <a:pt x="296" y="880"/>
                  </a:lnTo>
                  <a:lnTo>
                    <a:pt x="296" y="882"/>
                  </a:lnTo>
                  <a:lnTo>
                    <a:pt x="296" y="884"/>
                  </a:lnTo>
                  <a:lnTo>
                    <a:pt x="294" y="884"/>
                  </a:lnTo>
                  <a:lnTo>
                    <a:pt x="292" y="884"/>
                  </a:lnTo>
                  <a:lnTo>
                    <a:pt x="291" y="884"/>
                  </a:lnTo>
                  <a:lnTo>
                    <a:pt x="289" y="884"/>
                  </a:lnTo>
                  <a:lnTo>
                    <a:pt x="291" y="884"/>
                  </a:lnTo>
                  <a:lnTo>
                    <a:pt x="291" y="885"/>
                  </a:lnTo>
                  <a:lnTo>
                    <a:pt x="291" y="884"/>
                  </a:lnTo>
                  <a:lnTo>
                    <a:pt x="291" y="885"/>
                  </a:lnTo>
                  <a:lnTo>
                    <a:pt x="289" y="884"/>
                  </a:lnTo>
                  <a:lnTo>
                    <a:pt x="289" y="885"/>
                  </a:lnTo>
                  <a:lnTo>
                    <a:pt x="288" y="885"/>
                  </a:lnTo>
                  <a:lnTo>
                    <a:pt x="289" y="885"/>
                  </a:lnTo>
                  <a:lnTo>
                    <a:pt x="288" y="885"/>
                  </a:lnTo>
                  <a:lnTo>
                    <a:pt x="289" y="885"/>
                  </a:lnTo>
                  <a:lnTo>
                    <a:pt x="289" y="887"/>
                  </a:lnTo>
                  <a:lnTo>
                    <a:pt x="291" y="885"/>
                  </a:lnTo>
                  <a:lnTo>
                    <a:pt x="292" y="885"/>
                  </a:lnTo>
                  <a:lnTo>
                    <a:pt x="292" y="887"/>
                  </a:lnTo>
                  <a:lnTo>
                    <a:pt x="292" y="885"/>
                  </a:lnTo>
                  <a:lnTo>
                    <a:pt x="294" y="885"/>
                  </a:lnTo>
                  <a:lnTo>
                    <a:pt x="296" y="885"/>
                  </a:lnTo>
                  <a:lnTo>
                    <a:pt x="294" y="885"/>
                  </a:lnTo>
                  <a:lnTo>
                    <a:pt x="296" y="885"/>
                  </a:lnTo>
                  <a:lnTo>
                    <a:pt x="296" y="887"/>
                  </a:lnTo>
                  <a:lnTo>
                    <a:pt x="297" y="885"/>
                  </a:lnTo>
                  <a:lnTo>
                    <a:pt x="296" y="887"/>
                  </a:lnTo>
                  <a:lnTo>
                    <a:pt x="297" y="887"/>
                  </a:lnTo>
                  <a:lnTo>
                    <a:pt x="297" y="888"/>
                  </a:lnTo>
                  <a:lnTo>
                    <a:pt x="296" y="888"/>
                  </a:lnTo>
                  <a:lnTo>
                    <a:pt x="297" y="888"/>
                  </a:lnTo>
                  <a:lnTo>
                    <a:pt x="299" y="887"/>
                  </a:lnTo>
                  <a:lnTo>
                    <a:pt x="301" y="887"/>
                  </a:lnTo>
                  <a:lnTo>
                    <a:pt x="301" y="885"/>
                  </a:lnTo>
                  <a:lnTo>
                    <a:pt x="302" y="885"/>
                  </a:lnTo>
                  <a:lnTo>
                    <a:pt x="304" y="885"/>
                  </a:lnTo>
                  <a:lnTo>
                    <a:pt x="302" y="887"/>
                  </a:lnTo>
                  <a:lnTo>
                    <a:pt x="302" y="888"/>
                  </a:lnTo>
                  <a:lnTo>
                    <a:pt x="301" y="888"/>
                  </a:lnTo>
                  <a:lnTo>
                    <a:pt x="301" y="890"/>
                  </a:lnTo>
                  <a:lnTo>
                    <a:pt x="302" y="890"/>
                  </a:lnTo>
                  <a:lnTo>
                    <a:pt x="304" y="890"/>
                  </a:lnTo>
                  <a:lnTo>
                    <a:pt x="304" y="892"/>
                  </a:lnTo>
                  <a:lnTo>
                    <a:pt x="304" y="890"/>
                  </a:lnTo>
                  <a:lnTo>
                    <a:pt x="305" y="890"/>
                  </a:lnTo>
                  <a:lnTo>
                    <a:pt x="305" y="892"/>
                  </a:lnTo>
                  <a:lnTo>
                    <a:pt x="305" y="893"/>
                  </a:lnTo>
                  <a:lnTo>
                    <a:pt x="304" y="893"/>
                  </a:lnTo>
                  <a:lnTo>
                    <a:pt x="305" y="895"/>
                  </a:lnTo>
                  <a:lnTo>
                    <a:pt x="305" y="893"/>
                  </a:lnTo>
                  <a:lnTo>
                    <a:pt x="307" y="895"/>
                  </a:lnTo>
                  <a:lnTo>
                    <a:pt x="307" y="893"/>
                  </a:lnTo>
                  <a:lnTo>
                    <a:pt x="309" y="893"/>
                  </a:lnTo>
                  <a:lnTo>
                    <a:pt x="309" y="895"/>
                  </a:lnTo>
                  <a:lnTo>
                    <a:pt x="310" y="895"/>
                  </a:lnTo>
                  <a:lnTo>
                    <a:pt x="310" y="897"/>
                  </a:lnTo>
                  <a:lnTo>
                    <a:pt x="312" y="895"/>
                  </a:lnTo>
                  <a:lnTo>
                    <a:pt x="312" y="897"/>
                  </a:lnTo>
                  <a:lnTo>
                    <a:pt x="314" y="895"/>
                  </a:lnTo>
                  <a:lnTo>
                    <a:pt x="314" y="897"/>
                  </a:lnTo>
                  <a:lnTo>
                    <a:pt x="312" y="897"/>
                  </a:lnTo>
                  <a:lnTo>
                    <a:pt x="312" y="898"/>
                  </a:lnTo>
                  <a:lnTo>
                    <a:pt x="310" y="898"/>
                  </a:lnTo>
                  <a:lnTo>
                    <a:pt x="310" y="897"/>
                  </a:lnTo>
                  <a:lnTo>
                    <a:pt x="310" y="898"/>
                  </a:lnTo>
                  <a:lnTo>
                    <a:pt x="310" y="897"/>
                  </a:lnTo>
                  <a:lnTo>
                    <a:pt x="309" y="897"/>
                  </a:lnTo>
                  <a:lnTo>
                    <a:pt x="309" y="898"/>
                  </a:lnTo>
                  <a:lnTo>
                    <a:pt x="307" y="898"/>
                  </a:lnTo>
                  <a:lnTo>
                    <a:pt x="309" y="900"/>
                  </a:lnTo>
                  <a:lnTo>
                    <a:pt x="309" y="901"/>
                  </a:lnTo>
                  <a:lnTo>
                    <a:pt x="307" y="901"/>
                  </a:lnTo>
                  <a:lnTo>
                    <a:pt x="309" y="900"/>
                  </a:lnTo>
                  <a:lnTo>
                    <a:pt x="307" y="900"/>
                  </a:lnTo>
                  <a:lnTo>
                    <a:pt x="307" y="901"/>
                  </a:lnTo>
                  <a:lnTo>
                    <a:pt x="305" y="901"/>
                  </a:lnTo>
                  <a:lnTo>
                    <a:pt x="305" y="903"/>
                  </a:lnTo>
                  <a:lnTo>
                    <a:pt x="305" y="905"/>
                  </a:lnTo>
                  <a:lnTo>
                    <a:pt x="305" y="903"/>
                  </a:lnTo>
                  <a:lnTo>
                    <a:pt x="307" y="905"/>
                  </a:lnTo>
                  <a:lnTo>
                    <a:pt x="307" y="903"/>
                  </a:lnTo>
                  <a:lnTo>
                    <a:pt x="307" y="901"/>
                  </a:lnTo>
                  <a:lnTo>
                    <a:pt x="307" y="900"/>
                  </a:lnTo>
                  <a:lnTo>
                    <a:pt x="307" y="901"/>
                  </a:lnTo>
                  <a:lnTo>
                    <a:pt x="307" y="903"/>
                  </a:lnTo>
                  <a:lnTo>
                    <a:pt x="307" y="905"/>
                  </a:lnTo>
                  <a:lnTo>
                    <a:pt x="307" y="906"/>
                  </a:lnTo>
                  <a:lnTo>
                    <a:pt x="309" y="906"/>
                  </a:lnTo>
                  <a:lnTo>
                    <a:pt x="309" y="908"/>
                  </a:lnTo>
                  <a:lnTo>
                    <a:pt x="310" y="908"/>
                  </a:lnTo>
                  <a:lnTo>
                    <a:pt x="312" y="908"/>
                  </a:lnTo>
                  <a:lnTo>
                    <a:pt x="312" y="910"/>
                  </a:lnTo>
                  <a:lnTo>
                    <a:pt x="310" y="911"/>
                  </a:lnTo>
                  <a:lnTo>
                    <a:pt x="312" y="911"/>
                  </a:lnTo>
                  <a:lnTo>
                    <a:pt x="312" y="913"/>
                  </a:lnTo>
                  <a:lnTo>
                    <a:pt x="310" y="913"/>
                  </a:lnTo>
                  <a:lnTo>
                    <a:pt x="312" y="913"/>
                  </a:lnTo>
                  <a:lnTo>
                    <a:pt x="310" y="914"/>
                  </a:lnTo>
                  <a:lnTo>
                    <a:pt x="312" y="914"/>
                  </a:lnTo>
                  <a:lnTo>
                    <a:pt x="310" y="914"/>
                  </a:lnTo>
                  <a:lnTo>
                    <a:pt x="312" y="914"/>
                  </a:lnTo>
                  <a:lnTo>
                    <a:pt x="312" y="916"/>
                  </a:lnTo>
                  <a:lnTo>
                    <a:pt x="314" y="916"/>
                  </a:lnTo>
                  <a:lnTo>
                    <a:pt x="314" y="918"/>
                  </a:lnTo>
                  <a:lnTo>
                    <a:pt x="315" y="918"/>
                  </a:lnTo>
                  <a:lnTo>
                    <a:pt x="315" y="919"/>
                  </a:lnTo>
                  <a:lnTo>
                    <a:pt x="315" y="921"/>
                  </a:lnTo>
                  <a:lnTo>
                    <a:pt x="315" y="923"/>
                  </a:lnTo>
                  <a:lnTo>
                    <a:pt x="314" y="923"/>
                  </a:lnTo>
                  <a:lnTo>
                    <a:pt x="314" y="924"/>
                  </a:lnTo>
                  <a:lnTo>
                    <a:pt x="314" y="923"/>
                  </a:lnTo>
                  <a:lnTo>
                    <a:pt x="315" y="923"/>
                  </a:lnTo>
                  <a:lnTo>
                    <a:pt x="315" y="924"/>
                  </a:lnTo>
                  <a:lnTo>
                    <a:pt x="314" y="924"/>
                  </a:lnTo>
                  <a:lnTo>
                    <a:pt x="314" y="926"/>
                  </a:lnTo>
                  <a:lnTo>
                    <a:pt x="315" y="927"/>
                  </a:lnTo>
                  <a:lnTo>
                    <a:pt x="314" y="927"/>
                  </a:lnTo>
                  <a:lnTo>
                    <a:pt x="315" y="927"/>
                  </a:lnTo>
                  <a:lnTo>
                    <a:pt x="315" y="929"/>
                  </a:lnTo>
                  <a:lnTo>
                    <a:pt x="315" y="931"/>
                  </a:lnTo>
                  <a:lnTo>
                    <a:pt x="317" y="932"/>
                  </a:lnTo>
                  <a:lnTo>
                    <a:pt x="317" y="934"/>
                  </a:lnTo>
                  <a:lnTo>
                    <a:pt x="318" y="932"/>
                  </a:lnTo>
                  <a:lnTo>
                    <a:pt x="318" y="934"/>
                  </a:lnTo>
                  <a:lnTo>
                    <a:pt x="320" y="934"/>
                  </a:lnTo>
                  <a:lnTo>
                    <a:pt x="320" y="936"/>
                  </a:lnTo>
                  <a:lnTo>
                    <a:pt x="320" y="937"/>
                  </a:lnTo>
                  <a:lnTo>
                    <a:pt x="320" y="939"/>
                  </a:lnTo>
                  <a:lnTo>
                    <a:pt x="322" y="939"/>
                  </a:lnTo>
                  <a:lnTo>
                    <a:pt x="322" y="940"/>
                  </a:lnTo>
                  <a:lnTo>
                    <a:pt x="323" y="940"/>
                  </a:lnTo>
                  <a:lnTo>
                    <a:pt x="323" y="942"/>
                  </a:lnTo>
                  <a:lnTo>
                    <a:pt x="323" y="944"/>
                  </a:lnTo>
                  <a:lnTo>
                    <a:pt x="323" y="945"/>
                  </a:lnTo>
                  <a:lnTo>
                    <a:pt x="323" y="947"/>
                  </a:lnTo>
                  <a:lnTo>
                    <a:pt x="322" y="947"/>
                  </a:lnTo>
                  <a:lnTo>
                    <a:pt x="322" y="949"/>
                  </a:lnTo>
                  <a:lnTo>
                    <a:pt x="320" y="950"/>
                  </a:lnTo>
                  <a:lnTo>
                    <a:pt x="320" y="952"/>
                  </a:lnTo>
                  <a:lnTo>
                    <a:pt x="320" y="953"/>
                  </a:lnTo>
                  <a:lnTo>
                    <a:pt x="318" y="953"/>
                  </a:lnTo>
                  <a:lnTo>
                    <a:pt x="318" y="955"/>
                  </a:lnTo>
                  <a:lnTo>
                    <a:pt x="317" y="955"/>
                  </a:lnTo>
                  <a:lnTo>
                    <a:pt x="318" y="957"/>
                  </a:lnTo>
                  <a:lnTo>
                    <a:pt x="317" y="957"/>
                  </a:lnTo>
                  <a:lnTo>
                    <a:pt x="318" y="957"/>
                  </a:lnTo>
                  <a:lnTo>
                    <a:pt x="318" y="958"/>
                  </a:lnTo>
                  <a:lnTo>
                    <a:pt x="317" y="958"/>
                  </a:lnTo>
                  <a:lnTo>
                    <a:pt x="317" y="960"/>
                  </a:lnTo>
                  <a:lnTo>
                    <a:pt x="317" y="962"/>
                  </a:lnTo>
                  <a:lnTo>
                    <a:pt x="315" y="962"/>
                  </a:lnTo>
                  <a:lnTo>
                    <a:pt x="314" y="962"/>
                  </a:lnTo>
                  <a:lnTo>
                    <a:pt x="312" y="962"/>
                  </a:lnTo>
                  <a:lnTo>
                    <a:pt x="314" y="963"/>
                  </a:lnTo>
                  <a:lnTo>
                    <a:pt x="312" y="963"/>
                  </a:lnTo>
                  <a:lnTo>
                    <a:pt x="312" y="965"/>
                  </a:lnTo>
                  <a:lnTo>
                    <a:pt x="310" y="965"/>
                  </a:lnTo>
                  <a:lnTo>
                    <a:pt x="309" y="966"/>
                  </a:lnTo>
                  <a:lnTo>
                    <a:pt x="307" y="968"/>
                  </a:lnTo>
                  <a:lnTo>
                    <a:pt x="307" y="970"/>
                  </a:lnTo>
                  <a:lnTo>
                    <a:pt x="307" y="968"/>
                  </a:lnTo>
                  <a:lnTo>
                    <a:pt x="307" y="970"/>
                  </a:lnTo>
                  <a:lnTo>
                    <a:pt x="305" y="970"/>
                  </a:lnTo>
                  <a:lnTo>
                    <a:pt x="305" y="971"/>
                  </a:lnTo>
                  <a:lnTo>
                    <a:pt x="305" y="973"/>
                  </a:lnTo>
                  <a:lnTo>
                    <a:pt x="304" y="975"/>
                  </a:lnTo>
                  <a:lnTo>
                    <a:pt x="304" y="976"/>
                  </a:lnTo>
                  <a:lnTo>
                    <a:pt x="302" y="976"/>
                  </a:lnTo>
                  <a:lnTo>
                    <a:pt x="302" y="980"/>
                  </a:lnTo>
                  <a:lnTo>
                    <a:pt x="301" y="981"/>
                  </a:lnTo>
                  <a:lnTo>
                    <a:pt x="301" y="983"/>
                  </a:lnTo>
                  <a:lnTo>
                    <a:pt x="302" y="983"/>
                  </a:lnTo>
                  <a:lnTo>
                    <a:pt x="302" y="984"/>
                  </a:lnTo>
                  <a:lnTo>
                    <a:pt x="302" y="986"/>
                  </a:lnTo>
                  <a:lnTo>
                    <a:pt x="302" y="989"/>
                  </a:lnTo>
                  <a:lnTo>
                    <a:pt x="302" y="991"/>
                  </a:lnTo>
                  <a:lnTo>
                    <a:pt x="304" y="991"/>
                  </a:lnTo>
                  <a:lnTo>
                    <a:pt x="304" y="993"/>
                  </a:lnTo>
                  <a:lnTo>
                    <a:pt x="304" y="994"/>
                  </a:lnTo>
                  <a:lnTo>
                    <a:pt x="304" y="996"/>
                  </a:lnTo>
                  <a:lnTo>
                    <a:pt x="305" y="996"/>
                  </a:lnTo>
                  <a:lnTo>
                    <a:pt x="305" y="997"/>
                  </a:lnTo>
                  <a:lnTo>
                    <a:pt x="307" y="997"/>
                  </a:lnTo>
                  <a:lnTo>
                    <a:pt x="307" y="999"/>
                  </a:lnTo>
                  <a:lnTo>
                    <a:pt x="309" y="1001"/>
                  </a:lnTo>
                  <a:lnTo>
                    <a:pt x="310" y="1002"/>
                  </a:lnTo>
                  <a:lnTo>
                    <a:pt x="312" y="1002"/>
                  </a:lnTo>
                  <a:lnTo>
                    <a:pt x="314" y="1002"/>
                  </a:lnTo>
                  <a:lnTo>
                    <a:pt x="314" y="1004"/>
                  </a:lnTo>
                  <a:lnTo>
                    <a:pt x="314" y="1006"/>
                  </a:lnTo>
                  <a:lnTo>
                    <a:pt x="312" y="1006"/>
                  </a:lnTo>
                  <a:lnTo>
                    <a:pt x="312" y="1007"/>
                  </a:lnTo>
                  <a:lnTo>
                    <a:pt x="312" y="1009"/>
                  </a:lnTo>
                  <a:lnTo>
                    <a:pt x="310" y="1010"/>
                  </a:lnTo>
                  <a:lnTo>
                    <a:pt x="312" y="1010"/>
                  </a:lnTo>
                  <a:lnTo>
                    <a:pt x="310" y="1010"/>
                  </a:lnTo>
                  <a:lnTo>
                    <a:pt x="310" y="1012"/>
                  </a:lnTo>
                  <a:lnTo>
                    <a:pt x="310" y="1014"/>
                  </a:lnTo>
                  <a:lnTo>
                    <a:pt x="310" y="1015"/>
                  </a:lnTo>
                  <a:lnTo>
                    <a:pt x="309" y="1015"/>
                  </a:lnTo>
                  <a:lnTo>
                    <a:pt x="309" y="1017"/>
                  </a:lnTo>
                  <a:lnTo>
                    <a:pt x="309" y="1019"/>
                  </a:lnTo>
                  <a:lnTo>
                    <a:pt x="309" y="1020"/>
                  </a:lnTo>
                  <a:lnTo>
                    <a:pt x="307" y="1020"/>
                  </a:lnTo>
                  <a:lnTo>
                    <a:pt x="307" y="1022"/>
                  </a:lnTo>
                  <a:lnTo>
                    <a:pt x="309" y="1023"/>
                  </a:lnTo>
                  <a:lnTo>
                    <a:pt x="309" y="1025"/>
                  </a:lnTo>
                  <a:lnTo>
                    <a:pt x="310" y="1025"/>
                  </a:lnTo>
                  <a:lnTo>
                    <a:pt x="309" y="1025"/>
                  </a:lnTo>
                  <a:lnTo>
                    <a:pt x="310" y="1025"/>
                  </a:lnTo>
                  <a:lnTo>
                    <a:pt x="310" y="1023"/>
                  </a:lnTo>
                  <a:lnTo>
                    <a:pt x="310" y="1025"/>
                  </a:lnTo>
                  <a:lnTo>
                    <a:pt x="312" y="1025"/>
                  </a:lnTo>
                  <a:lnTo>
                    <a:pt x="312" y="1027"/>
                  </a:lnTo>
                  <a:lnTo>
                    <a:pt x="310" y="1027"/>
                  </a:lnTo>
                  <a:lnTo>
                    <a:pt x="310" y="1028"/>
                  </a:lnTo>
                  <a:lnTo>
                    <a:pt x="309" y="1027"/>
                  </a:lnTo>
                  <a:lnTo>
                    <a:pt x="309" y="1028"/>
                  </a:lnTo>
                  <a:lnTo>
                    <a:pt x="307" y="1028"/>
                  </a:lnTo>
                  <a:lnTo>
                    <a:pt x="307" y="1030"/>
                  </a:lnTo>
                  <a:lnTo>
                    <a:pt x="307" y="1032"/>
                  </a:lnTo>
                  <a:lnTo>
                    <a:pt x="307" y="1033"/>
                  </a:lnTo>
                  <a:lnTo>
                    <a:pt x="307" y="1035"/>
                  </a:lnTo>
                  <a:lnTo>
                    <a:pt x="309" y="1035"/>
                  </a:lnTo>
                  <a:lnTo>
                    <a:pt x="309" y="1036"/>
                  </a:lnTo>
                  <a:lnTo>
                    <a:pt x="309" y="1038"/>
                  </a:lnTo>
                  <a:lnTo>
                    <a:pt x="307" y="1038"/>
                  </a:lnTo>
                  <a:lnTo>
                    <a:pt x="307" y="1040"/>
                  </a:lnTo>
                  <a:lnTo>
                    <a:pt x="307" y="1041"/>
                  </a:lnTo>
                  <a:lnTo>
                    <a:pt x="307" y="1043"/>
                  </a:lnTo>
                  <a:lnTo>
                    <a:pt x="307" y="1045"/>
                  </a:lnTo>
                  <a:lnTo>
                    <a:pt x="305" y="1048"/>
                  </a:lnTo>
                  <a:lnTo>
                    <a:pt x="305" y="1049"/>
                  </a:lnTo>
                  <a:lnTo>
                    <a:pt x="307" y="1049"/>
                  </a:lnTo>
                  <a:lnTo>
                    <a:pt x="307" y="1051"/>
                  </a:lnTo>
                  <a:lnTo>
                    <a:pt x="307" y="1053"/>
                  </a:lnTo>
                  <a:lnTo>
                    <a:pt x="307" y="1054"/>
                  </a:lnTo>
                  <a:lnTo>
                    <a:pt x="307" y="1056"/>
                  </a:lnTo>
                  <a:lnTo>
                    <a:pt x="307" y="1058"/>
                  </a:lnTo>
                  <a:lnTo>
                    <a:pt x="305" y="1058"/>
                  </a:lnTo>
                  <a:lnTo>
                    <a:pt x="305" y="1059"/>
                  </a:lnTo>
                  <a:lnTo>
                    <a:pt x="305" y="1061"/>
                  </a:lnTo>
                  <a:lnTo>
                    <a:pt x="305" y="1062"/>
                  </a:lnTo>
                  <a:lnTo>
                    <a:pt x="305" y="1064"/>
                  </a:lnTo>
                  <a:lnTo>
                    <a:pt x="304" y="1064"/>
                  </a:lnTo>
                  <a:lnTo>
                    <a:pt x="304" y="1066"/>
                  </a:lnTo>
                  <a:lnTo>
                    <a:pt x="304" y="1067"/>
                  </a:lnTo>
                  <a:lnTo>
                    <a:pt x="304" y="1069"/>
                  </a:lnTo>
                  <a:lnTo>
                    <a:pt x="304" y="1071"/>
                  </a:lnTo>
                  <a:lnTo>
                    <a:pt x="304" y="1072"/>
                  </a:lnTo>
                  <a:lnTo>
                    <a:pt x="304" y="1074"/>
                  </a:lnTo>
                  <a:lnTo>
                    <a:pt x="304" y="1075"/>
                  </a:lnTo>
                  <a:lnTo>
                    <a:pt x="304" y="1077"/>
                  </a:lnTo>
                  <a:lnTo>
                    <a:pt x="304" y="1079"/>
                  </a:lnTo>
                  <a:lnTo>
                    <a:pt x="304" y="1080"/>
                  </a:lnTo>
                  <a:lnTo>
                    <a:pt x="302" y="1080"/>
                  </a:lnTo>
                  <a:lnTo>
                    <a:pt x="302" y="1082"/>
                  </a:lnTo>
                  <a:lnTo>
                    <a:pt x="302" y="1085"/>
                  </a:lnTo>
                  <a:lnTo>
                    <a:pt x="302" y="1087"/>
                  </a:lnTo>
                  <a:lnTo>
                    <a:pt x="302" y="1088"/>
                  </a:lnTo>
                  <a:lnTo>
                    <a:pt x="304" y="1088"/>
                  </a:lnTo>
                  <a:lnTo>
                    <a:pt x="302" y="1090"/>
                  </a:lnTo>
                  <a:lnTo>
                    <a:pt x="304" y="1090"/>
                  </a:lnTo>
                  <a:lnTo>
                    <a:pt x="302" y="1092"/>
                  </a:lnTo>
                  <a:lnTo>
                    <a:pt x="304" y="1092"/>
                  </a:lnTo>
                  <a:lnTo>
                    <a:pt x="304" y="1093"/>
                  </a:lnTo>
                  <a:lnTo>
                    <a:pt x="302" y="1093"/>
                  </a:lnTo>
                  <a:lnTo>
                    <a:pt x="302" y="1095"/>
                  </a:lnTo>
                  <a:lnTo>
                    <a:pt x="302" y="1097"/>
                  </a:lnTo>
                  <a:lnTo>
                    <a:pt x="301" y="1097"/>
                  </a:lnTo>
                  <a:lnTo>
                    <a:pt x="301" y="1098"/>
                  </a:lnTo>
                  <a:lnTo>
                    <a:pt x="301" y="1100"/>
                  </a:lnTo>
                  <a:lnTo>
                    <a:pt x="299" y="1100"/>
                  </a:lnTo>
                  <a:lnTo>
                    <a:pt x="301" y="1100"/>
                  </a:lnTo>
                  <a:lnTo>
                    <a:pt x="299" y="1101"/>
                  </a:lnTo>
                  <a:lnTo>
                    <a:pt x="299" y="1103"/>
                  </a:lnTo>
                  <a:lnTo>
                    <a:pt x="299" y="1105"/>
                  </a:lnTo>
                  <a:lnTo>
                    <a:pt x="297" y="1105"/>
                  </a:lnTo>
                  <a:lnTo>
                    <a:pt x="297" y="1106"/>
                  </a:lnTo>
                  <a:lnTo>
                    <a:pt x="299" y="1106"/>
                  </a:lnTo>
                  <a:lnTo>
                    <a:pt x="297" y="1106"/>
                  </a:lnTo>
                  <a:lnTo>
                    <a:pt x="297" y="1108"/>
                  </a:lnTo>
                  <a:lnTo>
                    <a:pt x="297" y="1110"/>
                  </a:lnTo>
                  <a:lnTo>
                    <a:pt x="297" y="1108"/>
                  </a:lnTo>
                  <a:lnTo>
                    <a:pt x="297" y="1106"/>
                  </a:lnTo>
                  <a:lnTo>
                    <a:pt x="296" y="1106"/>
                  </a:lnTo>
                  <a:lnTo>
                    <a:pt x="296" y="1108"/>
                  </a:lnTo>
                  <a:lnTo>
                    <a:pt x="297" y="1108"/>
                  </a:lnTo>
                  <a:lnTo>
                    <a:pt x="296" y="1108"/>
                  </a:lnTo>
                  <a:lnTo>
                    <a:pt x="297" y="1110"/>
                  </a:lnTo>
                  <a:lnTo>
                    <a:pt x="296" y="1110"/>
                  </a:lnTo>
                  <a:lnTo>
                    <a:pt x="297" y="1110"/>
                  </a:lnTo>
                  <a:lnTo>
                    <a:pt x="297" y="1111"/>
                  </a:lnTo>
                  <a:lnTo>
                    <a:pt x="297" y="1113"/>
                  </a:lnTo>
                  <a:lnTo>
                    <a:pt x="297" y="1111"/>
                  </a:lnTo>
                  <a:lnTo>
                    <a:pt x="297" y="1110"/>
                  </a:lnTo>
                  <a:lnTo>
                    <a:pt x="297" y="1111"/>
                  </a:lnTo>
                  <a:lnTo>
                    <a:pt x="299" y="1113"/>
                  </a:lnTo>
                  <a:lnTo>
                    <a:pt x="299" y="1114"/>
                  </a:lnTo>
                  <a:lnTo>
                    <a:pt x="301" y="1114"/>
                  </a:lnTo>
                  <a:lnTo>
                    <a:pt x="302" y="1114"/>
                  </a:lnTo>
                  <a:lnTo>
                    <a:pt x="302" y="1116"/>
                  </a:lnTo>
                  <a:lnTo>
                    <a:pt x="301" y="1116"/>
                  </a:lnTo>
                  <a:lnTo>
                    <a:pt x="299" y="1116"/>
                  </a:lnTo>
                  <a:lnTo>
                    <a:pt x="297" y="1118"/>
                  </a:lnTo>
                  <a:lnTo>
                    <a:pt x="297" y="1119"/>
                  </a:lnTo>
                  <a:lnTo>
                    <a:pt x="296" y="1119"/>
                  </a:lnTo>
                  <a:lnTo>
                    <a:pt x="296" y="1121"/>
                  </a:lnTo>
                  <a:lnTo>
                    <a:pt x="294" y="1123"/>
                  </a:lnTo>
                  <a:lnTo>
                    <a:pt x="294" y="1124"/>
                  </a:lnTo>
                  <a:lnTo>
                    <a:pt x="294" y="1126"/>
                  </a:lnTo>
                  <a:lnTo>
                    <a:pt x="294" y="1128"/>
                  </a:lnTo>
                  <a:lnTo>
                    <a:pt x="294" y="1129"/>
                  </a:lnTo>
                  <a:lnTo>
                    <a:pt x="294" y="1131"/>
                  </a:lnTo>
                  <a:lnTo>
                    <a:pt x="296" y="1132"/>
                  </a:lnTo>
                  <a:lnTo>
                    <a:pt x="296" y="1134"/>
                  </a:lnTo>
                  <a:lnTo>
                    <a:pt x="294" y="1134"/>
                  </a:lnTo>
                  <a:lnTo>
                    <a:pt x="294" y="1136"/>
                  </a:lnTo>
                  <a:lnTo>
                    <a:pt x="294" y="1137"/>
                  </a:lnTo>
                  <a:lnTo>
                    <a:pt x="294" y="1139"/>
                  </a:lnTo>
                  <a:lnTo>
                    <a:pt x="292" y="1139"/>
                  </a:lnTo>
                  <a:lnTo>
                    <a:pt x="291" y="1139"/>
                  </a:lnTo>
                  <a:lnTo>
                    <a:pt x="291" y="1141"/>
                  </a:lnTo>
                  <a:lnTo>
                    <a:pt x="291" y="1139"/>
                  </a:lnTo>
                  <a:lnTo>
                    <a:pt x="291" y="1141"/>
                  </a:lnTo>
                  <a:lnTo>
                    <a:pt x="289" y="1141"/>
                  </a:lnTo>
                  <a:lnTo>
                    <a:pt x="289" y="1142"/>
                  </a:lnTo>
                  <a:lnTo>
                    <a:pt x="289" y="1141"/>
                  </a:lnTo>
                  <a:lnTo>
                    <a:pt x="288" y="1142"/>
                  </a:lnTo>
                  <a:lnTo>
                    <a:pt x="289" y="1142"/>
                  </a:lnTo>
                  <a:lnTo>
                    <a:pt x="289" y="1144"/>
                  </a:lnTo>
                  <a:lnTo>
                    <a:pt x="289" y="1145"/>
                  </a:lnTo>
                  <a:lnTo>
                    <a:pt x="289" y="1144"/>
                  </a:lnTo>
                  <a:lnTo>
                    <a:pt x="288" y="1144"/>
                  </a:lnTo>
                  <a:lnTo>
                    <a:pt x="288" y="1142"/>
                  </a:lnTo>
                  <a:lnTo>
                    <a:pt x="288" y="1141"/>
                  </a:lnTo>
                  <a:lnTo>
                    <a:pt x="288" y="1142"/>
                  </a:lnTo>
                  <a:lnTo>
                    <a:pt x="288" y="1141"/>
                  </a:lnTo>
                  <a:lnTo>
                    <a:pt x="288" y="1139"/>
                  </a:lnTo>
                  <a:lnTo>
                    <a:pt x="286" y="1139"/>
                  </a:lnTo>
                  <a:lnTo>
                    <a:pt x="284" y="1139"/>
                  </a:lnTo>
                  <a:lnTo>
                    <a:pt x="283" y="1139"/>
                  </a:lnTo>
                  <a:lnTo>
                    <a:pt x="283" y="1141"/>
                  </a:lnTo>
                  <a:lnTo>
                    <a:pt x="281" y="1139"/>
                  </a:lnTo>
                  <a:lnTo>
                    <a:pt x="281" y="1141"/>
                  </a:lnTo>
                  <a:lnTo>
                    <a:pt x="279" y="1141"/>
                  </a:lnTo>
                  <a:lnTo>
                    <a:pt x="279" y="1139"/>
                  </a:lnTo>
                  <a:lnTo>
                    <a:pt x="278" y="1139"/>
                  </a:lnTo>
                  <a:lnTo>
                    <a:pt x="276" y="1139"/>
                  </a:lnTo>
                  <a:lnTo>
                    <a:pt x="276" y="1137"/>
                  </a:lnTo>
                  <a:lnTo>
                    <a:pt x="275" y="1137"/>
                  </a:lnTo>
                  <a:lnTo>
                    <a:pt x="275" y="1136"/>
                  </a:lnTo>
                  <a:lnTo>
                    <a:pt x="273" y="1136"/>
                  </a:lnTo>
                  <a:lnTo>
                    <a:pt x="275" y="1136"/>
                  </a:lnTo>
                  <a:lnTo>
                    <a:pt x="273" y="1134"/>
                  </a:lnTo>
                  <a:lnTo>
                    <a:pt x="271" y="1132"/>
                  </a:lnTo>
                  <a:lnTo>
                    <a:pt x="270" y="1132"/>
                  </a:lnTo>
                  <a:lnTo>
                    <a:pt x="268" y="1131"/>
                  </a:lnTo>
                  <a:lnTo>
                    <a:pt x="268" y="1129"/>
                  </a:lnTo>
                  <a:lnTo>
                    <a:pt x="266" y="1131"/>
                  </a:lnTo>
                  <a:lnTo>
                    <a:pt x="266" y="1129"/>
                  </a:lnTo>
                  <a:lnTo>
                    <a:pt x="265" y="1129"/>
                  </a:lnTo>
                  <a:lnTo>
                    <a:pt x="265" y="1128"/>
                  </a:lnTo>
                  <a:lnTo>
                    <a:pt x="263" y="1128"/>
                  </a:lnTo>
                  <a:lnTo>
                    <a:pt x="262" y="1128"/>
                  </a:lnTo>
                  <a:lnTo>
                    <a:pt x="260" y="1128"/>
                  </a:lnTo>
                  <a:lnTo>
                    <a:pt x="258" y="1128"/>
                  </a:lnTo>
                  <a:lnTo>
                    <a:pt x="257" y="1126"/>
                  </a:lnTo>
                  <a:lnTo>
                    <a:pt x="255" y="1126"/>
                  </a:lnTo>
                  <a:lnTo>
                    <a:pt x="253" y="1126"/>
                  </a:lnTo>
                  <a:lnTo>
                    <a:pt x="252" y="1128"/>
                  </a:lnTo>
                  <a:lnTo>
                    <a:pt x="250" y="1128"/>
                  </a:lnTo>
                  <a:lnTo>
                    <a:pt x="248" y="1129"/>
                  </a:lnTo>
                  <a:lnTo>
                    <a:pt x="248" y="1131"/>
                  </a:lnTo>
                  <a:lnTo>
                    <a:pt x="250" y="1131"/>
                  </a:lnTo>
                  <a:lnTo>
                    <a:pt x="248" y="1132"/>
                  </a:lnTo>
                  <a:lnTo>
                    <a:pt x="247" y="1131"/>
                  </a:lnTo>
                  <a:lnTo>
                    <a:pt x="247" y="1132"/>
                  </a:lnTo>
                  <a:lnTo>
                    <a:pt x="247" y="1131"/>
                  </a:lnTo>
                  <a:lnTo>
                    <a:pt x="245" y="1131"/>
                  </a:lnTo>
                  <a:lnTo>
                    <a:pt x="245" y="1129"/>
                  </a:lnTo>
                  <a:lnTo>
                    <a:pt x="244" y="1129"/>
                  </a:lnTo>
                  <a:lnTo>
                    <a:pt x="245" y="1129"/>
                  </a:lnTo>
                  <a:lnTo>
                    <a:pt x="244" y="1128"/>
                  </a:lnTo>
                  <a:lnTo>
                    <a:pt x="242" y="1128"/>
                  </a:lnTo>
                  <a:lnTo>
                    <a:pt x="244" y="1128"/>
                  </a:lnTo>
                  <a:lnTo>
                    <a:pt x="242" y="1128"/>
                  </a:lnTo>
                  <a:lnTo>
                    <a:pt x="242" y="1126"/>
                  </a:lnTo>
                  <a:lnTo>
                    <a:pt x="240" y="1124"/>
                  </a:lnTo>
                  <a:lnTo>
                    <a:pt x="240" y="1123"/>
                  </a:lnTo>
                  <a:lnTo>
                    <a:pt x="239" y="1123"/>
                  </a:lnTo>
                  <a:lnTo>
                    <a:pt x="239" y="1124"/>
                  </a:lnTo>
                  <a:lnTo>
                    <a:pt x="237" y="1124"/>
                  </a:lnTo>
                  <a:lnTo>
                    <a:pt x="235" y="1123"/>
                  </a:lnTo>
                  <a:lnTo>
                    <a:pt x="235" y="1121"/>
                  </a:lnTo>
                  <a:lnTo>
                    <a:pt x="235" y="1119"/>
                  </a:lnTo>
                  <a:lnTo>
                    <a:pt x="234" y="1119"/>
                  </a:lnTo>
                  <a:lnTo>
                    <a:pt x="232" y="1119"/>
                  </a:lnTo>
                  <a:lnTo>
                    <a:pt x="232" y="1121"/>
                  </a:lnTo>
                  <a:lnTo>
                    <a:pt x="234" y="1121"/>
                  </a:lnTo>
                  <a:lnTo>
                    <a:pt x="232" y="1121"/>
                  </a:lnTo>
                  <a:lnTo>
                    <a:pt x="234" y="1121"/>
                  </a:lnTo>
                  <a:lnTo>
                    <a:pt x="234" y="1123"/>
                  </a:lnTo>
                  <a:lnTo>
                    <a:pt x="234" y="1121"/>
                  </a:lnTo>
                  <a:lnTo>
                    <a:pt x="232" y="1121"/>
                  </a:lnTo>
                  <a:lnTo>
                    <a:pt x="232" y="1123"/>
                  </a:lnTo>
                  <a:lnTo>
                    <a:pt x="234" y="1123"/>
                  </a:lnTo>
                  <a:lnTo>
                    <a:pt x="235" y="1124"/>
                  </a:lnTo>
                  <a:lnTo>
                    <a:pt x="237" y="1124"/>
                  </a:lnTo>
                  <a:lnTo>
                    <a:pt x="237" y="1126"/>
                  </a:lnTo>
                  <a:lnTo>
                    <a:pt x="239" y="1124"/>
                  </a:lnTo>
                  <a:lnTo>
                    <a:pt x="237" y="1126"/>
                  </a:lnTo>
                  <a:lnTo>
                    <a:pt x="239" y="1124"/>
                  </a:lnTo>
                  <a:lnTo>
                    <a:pt x="240" y="1124"/>
                  </a:lnTo>
                  <a:lnTo>
                    <a:pt x="240" y="1126"/>
                  </a:lnTo>
                  <a:lnTo>
                    <a:pt x="240" y="1128"/>
                  </a:lnTo>
                  <a:lnTo>
                    <a:pt x="240" y="1129"/>
                  </a:lnTo>
                  <a:lnTo>
                    <a:pt x="239" y="1128"/>
                  </a:lnTo>
                  <a:lnTo>
                    <a:pt x="237" y="1126"/>
                  </a:lnTo>
                  <a:lnTo>
                    <a:pt x="237" y="1128"/>
                  </a:lnTo>
                  <a:lnTo>
                    <a:pt x="239" y="1128"/>
                  </a:lnTo>
                  <a:lnTo>
                    <a:pt x="240" y="1129"/>
                  </a:lnTo>
                  <a:lnTo>
                    <a:pt x="239" y="1129"/>
                  </a:lnTo>
                  <a:lnTo>
                    <a:pt x="237" y="1131"/>
                  </a:lnTo>
                  <a:lnTo>
                    <a:pt x="234" y="1134"/>
                  </a:lnTo>
                  <a:lnTo>
                    <a:pt x="235" y="1136"/>
                  </a:lnTo>
                  <a:lnTo>
                    <a:pt x="234" y="1134"/>
                  </a:lnTo>
                  <a:lnTo>
                    <a:pt x="234" y="1136"/>
                  </a:lnTo>
                  <a:lnTo>
                    <a:pt x="232" y="1136"/>
                  </a:lnTo>
                  <a:lnTo>
                    <a:pt x="232" y="1137"/>
                  </a:lnTo>
                  <a:lnTo>
                    <a:pt x="232" y="1139"/>
                  </a:lnTo>
                  <a:lnTo>
                    <a:pt x="232" y="1141"/>
                  </a:lnTo>
                  <a:lnTo>
                    <a:pt x="232" y="1142"/>
                  </a:lnTo>
                  <a:lnTo>
                    <a:pt x="232" y="1144"/>
                  </a:lnTo>
                  <a:lnTo>
                    <a:pt x="232" y="1145"/>
                  </a:lnTo>
                  <a:lnTo>
                    <a:pt x="234" y="1145"/>
                  </a:lnTo>
                  <a:lnTo>
                    <a:pt x="234" y="1147"/>
                  </a:lnTo>
                  <a:lnTo>
                    <a:pt x="234" y="1149"/>
                  </a:lnTo>
                  <a:lnTo>
                    <a:pt x="235" y="1149"/>
                  </a:lnTo>
                  <a:lnTo>
                    <a:pt x="235" y="1150"/>
                  </a:lnTo>
                  <a:lnTo>
                    <a:pt x="235" y="1152"/>
                  </a:lnTo>
                  <a:lnTo>
                    <a:pt x="234" y="1152"/>
                  </a:lnTo>
                  <a:lnTo>
                    <a:pt x="234" y="1154"/>
                  </a:lnTo>
                  <a:lnTo>
                    <a:pt x="234" y="1155"/>
                  </a:lnTo>
                  <a:lnTo>
                    <a:pt x="232" y="1157"/>
                  </a:lnTo>
                  <a:lnTo>
                    <a:pt x="234" y="1158"/>
                  </a:lnTo>
                  <a:lnTo>
                    <a:pt x="232" y="1158"/>
                  </a:lnTo>
                  <a:lnTo>
                    <a:pt x="232" y="1160"/>
                  </a:lnTo>
                  <a:lnTo>
                    <a:pt x="234" y="1160"/>
                  </a:lnTo>
                  <a:lnTo>
                    <a:pt x="232" y="1160"/>
                  </a:lnTo>
                  <a:lnTo>
                    <a:pt x="232" y="1158"/>
                  </a:lnTo>
                  <a:lnTo>
                    <a:pt x="231" y="1158"/>
                  </a:lnTo>
                  <a:lnTo>
                    <a:pt x="231" y="1160"/>
                  </a:lnTo>
                  <a:lnTo>
                    <a:pt x="229" y="1160"/>
                  </a:lnTo>
                  <a:lnTo>
                    <a:pt x="231" y="1160"/>
                  </a:lnTo>
                  <a:lnTo>
                    <a:pt x="231" y="1162"/>
                  </a:lnTo>
                  <a:lnTo>
                    <a:pt x="229" y="1162"/>
                  </a:lnTo>
                  <a:lnTo>
                    <a:pt x="227" y="1163"/>
                  </a:lnTo>
                  <a:lnTo>
                    <a:pt x="226" y="1163"/>
                  </a:lnTo>
                  <a:lnTo>
                    <a:pt x="226" y="1165"/>
                  </a:lnTo>
                  <a:lnTo>
                    <a:pt x="224" y="1167"/>
                  </a:lnTo>
                  <a:lnTo>
                    <a:pt x="222" y="1168"/>
                  </a:lnTo>
                  <a:lnTo>
                    <a:pt x="221" y="1168"/>
                  </a:lnTo>
                  <a:lnTo>
                    <a:pt x="219" y="1171"/>
                  </a:lnTo>
                  <a:lnTo>
                    <a:pt x="218" y="1171"/>
                  </a:lnTo>
                  <a:lnTo>
                    <a:pt x="218" y="1173"/>
                  </a:lnTo>
                  <a:lnTo>
                    <a:pt x="216" y="1173"/>
                  </a:lnTo>
                  <a:lnTo>
                    <a:pt x="214" y="1173"/>
                  </a:lnTo>
                  <a:lnTo>
                    <a:pt x="214" y="1175"/>
                  </a:lnTo>
                  <a:lnTo>
                    <a:pt x="213" y="1175"/>
                  </a:lnTo>
                  <a:lnTo>
                    <a:pt x="211" y="1175"/>
                  </a:lnTo>
                  <a:lnTo>
                    <a:pt x="211" y="1173"/>
                  </a:lnTo>
                  <a:lnTo>
                    <a:pt x="209" y="1173"/>
                  </a:lnTo>
                  <a:lnTo>
                    <a:pt x="208" y="1173"/>
                  </a:lnTo>
                  <a:lnTo>
                    <a:pt x="208" y="1171"/>
                  </a:lnTo>
                  <a:lnTo>
                    <a:pt x="208" y="1173"/>
                  </a:lnTo>
                  <a:lnTo>
                    <a:pt x="206" y="1173"/>
                  </a:lnTo>
                  <a:lnTo>
                    <a:pt x="206" y="1171"/>
                  </a:lnTo>
                  <a:lnTo>
                    <a:pt x="205" y="1171"/>
                  </a:lnTo>
                  <a:lnTo>
                    <a:pt x="205" y="1170"/>
                  </a:lnTo>
                  <a:lnTo>
                    <a:pt x="206" y="1170"/>
                  </a:lnTo>
                  <a:lnTo>
                    <a:pt x="205" y="1170"/>
                  </a:lnTo>
                  <a:lnTo>
                    <a:pt x="203" y="1170"/>
                  </a:lnTo>
                  <a:lnTo>
                    <a:pt x="201" y="1168"/>
                  </a:lnTo>
                  <a:lnTo>
                    <a:pt x="200" y="1167"/>
                  </a:lnTo>
                  <a:lnTo>
                    <a:pt x="198" y="1165"/>
                  </a:lnTo>
                  <a:lnTo>
                    <a:pt x="198" y="1167"/>
                  </a:lnTo>
                  <a:lnTo>
                    <a:pt x="200" y="1167"/>
                  </a:lnTo>
                  <a:lnTo>
                    <a:pt x="198" y="1168"/>
                  </a:lnTo>
                  <a:lnTo>
                    <a:pt x="200" y="1168"/>
                  </a:lnTo>
                  <a:lnTo>
                    <a:pt x="198" y="1168"/>
                  </a:lnTo>
                  <a:lnTo>
                    <a:pt x="196" y="1168"/>
                  </a:lnTo>
                  <a:lnTo>
                    <a:pt x="196" y="1170"/>
                  </a:lnTo>
                  <a:lnTo>
                    <a:pt x="196" y="1168"/>
                  </a:lnTo>
                  <a:lnTo>
                    <a:pt x="195" y="1170"/>
                  </a:lnTo>
                  <a:lnTo>
                    <a:pt x="193" y="1170"/>
                  </a:lnTo>
                  <a:lnTo>
                    <a:pt x="193" y="1171"/>
                  </a:lnTo>
                  <a:lnTo>
                    <a:pt x="192" y="1171"/>
                  </a:lnTo>
                  <a:lnTo>
                    <a:pt x="190" y="1173"/>
                  </a:lnTo>
                  <a:lnTo>
                    <a:pt x="192" y="1173"/>
                  </a:lnTo>
                  <a:lnTo>
                    <a:pt x="192" y="1175"/>
                  </a:lnTo>
                  <a:lnTo>
                    <a:pt x="192" y="1176"/>
                  </a:lnTo>
                  <a:lnTo>
                    <a:pt x="190" y="1176"/>
                  </a:lnTo>
                  <a:lnTo>
                    <a:pt x="190" y="1175"/>
                  </a:lnTo>
                  <a:lnTo>
                    <a:pt x="190" y="1171"/>
                  </a:lnTo>
                  <a:lnTo>
                    <a:pt x="188" y="1171"/>
                  </a:lnTo>
                  <a:lnTo>
                    <a:pt x="187" y="1173"/>
                  </a:lnTo>
                  <a:lnTo>
                    <a:pt x="187" y="1171"/>
                  </a:lnTo>
                  <a:lnTo>
                    <a:pt x="185" y="1171"/>
                  </a:lnTo>
                  <a:lnTo>
                    <a:pt x="187" y="1170"/>
                  </a:lnTo>
                  <a:lnTo>
                    <a:pt x="188" y="1168"/>
                  </a:lnTo>
                  <a:lnTo>
                    <a:pt x="187" y="1168"/>
                  </a:lnTo>
                  <a:lnTo>
                    <a:pt x="187" y="1167"/>
                  </a:lnTo>
                  <a:lnTo>
                    <a:pt x="188" y="1167"/>
                  </a:lnTo>
                  <a:lnTo>
                    <a:pt x="188" y="1165"/>
                  </a:lnTo>
                  <a:lnTo>
                    <a:pt x="187" y="1163"/>
                  </a:lnTo>
                  <a:lnTo>
                    <a:pt x="187" y="1162"/>
                  </a:lnTo>
                  <a:lnTo>
                    <a:pt x="185" y="1162"/>
                  </a:lnTo>
                  <a:lnTo>
                    <a:pt x="185" y="1163"/>
                  </a:lnTo>
                  <a:lnTo>
                    <a:pt x="183" y="1163"/>
                  </a:lnTo>
                  <a:lnTo>
                    <a:pt x="183" y="1162"/>
                  </a:lnTo>
                  <a:lnTo>
                    <a:pt x="182" y="1160"/>
                  </a:lnTo>
                  <a:lnTo>
                    <a:pt x="182" y="1158"/>
                  </a:lnTo>
                  <a:lnTo>
                    <a:pt x="182" y="1157"/>
                  </a:lnTo>
                  <a:lnTo>
                    <a:pt x="182" y="1155"/>
                  </a:lnTo>
                  <a:lnTo>
                    <a:pt x="183" y="1154"/>
                  </a:lnTo>
                  <a:lnTo>
                    <a:pt x="183" y="1152"/>
                  </a:lnTo>
                  <a:lnTo>
                    <a:pt x="182" y="1150"/>
                  </a:lnTo>
                  <a:lnTo>
                    <a:pt x="180" y="1150"/>
                  </a:lnTo>
                  <a:lnTo>
                    <a:pt x="180" y="1149"/>
                  </a:lnTo>
                  <a:lnTo>
                    <a:pt x="179" y="1149"/>
                  </a:lnTo>
                  <a:lnTo>
                    <a:pt x="179" y="1150"/>
                  </a:lnTo>
                  <a:lnTo>
                    <a:pt x="180" y="1150"/>
                  </a:lnTo>
                  <a:lnTo>
                    <a:pt x="179" y="1150"/>
                  </a:lnTo>
                  <a:lnTo>
                    <a:pt x="179" y="1149"/>
                  </a:lnTo>
                  <a:lnTo>
                    <a:pt x="179" y="1147"/>
                  </a:lnTo>
                  <a:lnTo>
                    <a:pt x="177" y="1147"/>
                  </a:lnTo>
                  <a:lnTo>
                    <a:pt x="177" y="1149"/>
                  </a:lnTo>
                  <a:lnTo>
                    <a:pt x="175" y="1149"/>
                  </a:lnTo>
                  <a:lnTo>
                    <a:pt x="174" y="1147"/>
                  </a:lnTo>
                  <a:lnTo>
                    <a:pt x="170" y="1149"/>
                  </a:lnTo>
                  <a:lnTo>
                    <a:pt x="172" y="1149"/>
                  </a:lnTo>
                  <a:lnTo>
                    <a:pt x="172" y="1147"/>
                  </a:lnTo>
                  <a:lnTo>
                    <a:pt x="174" y="1145"/>
                  </a:lnTo>
                  <a:lnTo>
                    <a:pt x="174" y="1144"/>
                  </a:lnTo>
                  <a:lnTo>
                    <a:pt x="172" y="1144"/>
                  </a:lnTo>
                  <a:lnTo>
                    <a:pt x="172" y="1142"/>
                  </a:lnTo>
                  <a:lnTo>
                    <a:pt x="172" y="1141"/>
                  </a:lnTo>
                  <a:lnTo>
                    <a:pt x="170" y="1141"/>
                  </a:lnTo>
                  <a:lnTo>
                    <a:pt x="170" y="1139"/>
                  </a:lnTo>
                  <a:lnTo>
                    <a:pt x="169" y="1141"/>
                  </a:lnTo>
                  <a:lnTo>
                    <a:pt x="167" y="1141"/>
                  </a:lnTo>
                  <a:lnTo>
                    <a:pt x="167" y="1139"/>
                  </a:lnTo>
                  <a:lnTo>
                    <a:pt x="167" y="1137"/>
                  </a:lnTo>
                  <a:lnTo>
                    <a:pt x="167" y="1136"/>
                  </a:lnTo>
                  <a:lnTo>
                    <a:pt x="167" y="1134"/>
                  </a:lnTo>
                  <a:lnTo>
                    <a:pt x="166" y="1132"/>
                  </a:lnTo>
                  <a:lnTo>
                    <a:pt x="164" y="1132"/>
                  </a:lnTo>
                  <a:lnTo>
                    <a:pt x="164" y="1134"/>
                  </a:lnTo>
                  <a:lnTo>
                    <a:pt x="164" y="1132"/>
                  </a:lnTo>
                  <a:lnTo>
                    <a:pt x="164" y="1131"/>
                  </a:lnTo>
                  <a:lnTo>
                    <a:pt x="164" y="1129"/>
                  </a:lnTo>
                  <a:lnTo>
                    <a:pt x="162" y="1128"/>
                  </a:lnTo>
                  <a:lnTo>
                    <a:pt x="162" y="1129"/>
                  </a:lnTo>
                  <a:lnTo>
                    <a:pt x="162" y="1128"/>
                  </a:lnTo>
                  <a:lnTo>
                    <a:pt x="161" y="1128"/>
                  </a:lnTo>
                  <a:lnTo>
                    <a:pt x="161" y="1126"/>
                  </a:lnTo>
                  <a:lnTo>
                    <a:pt x="161" y="1128"/>
                  </a:lnTo>
                  <a:lnTo>
                    <a:pt x="161" y="1126"/>
                  </a:lnTo>
                  <a:lnTo>
                    <a:pt x="161" y="1124"/>
                  </a:lnTo>
                  <a:lnTo>
                    <a:pt x="159" y="1124"/>
                  </a:lnTo>
                  <a:lnTo>
                    <a:pt x="161" y="1124"/>
                  </a:lnTo>
                  <a:lnTo>
                    <a:pt x="161" y="1123"/>
                  </a:lnTo>
                  <a:lnTo>
                    <a:pt x="162" y="1123"/>
                  </a:lnTo>
                  <a:lnTo>
                    <a:pt x="162" y="1121"/>
                  </a:lnTo>
                  <a:lnTo>
                    <a:pt x="164" y="1121"/>
                  </a:lnTo>
                  <a:lnTo>
                    <a:pt x="164" y="1119"/>
                  </a:lnTo>
                  <a:lnTo>
                    <a:pt x="166" y="1119"/>
                  </a:lnTo>
                  <a:lnTo>
                    <a:pt x="167" y="1118"/>
                  </a:lnTo>
                  <a:lnTo>
                    <a:pt x="167" y="1116"/>
                  </a:lnTo>
                  <a:lnTo>
                    <a:pt x="167" y="1114"/>
                  </a:lnTo>
                  <a:lnTo>
                    <a:pt x="167" y="1113"/>
                  </a:lnTo>
                  <a:lnTo>
                    <a:pt x="167" y="1111"/>
                  </a:lnTo>
                  <a:lnTo>
                    <a:pt x="166" y="1111"/>
                  </a:lnTo>
                  <a:lnTo>
                    <a:pt x="166" y="1110"/>
                  </a:lnTo>
                  <a:lnTo>
                    <a:pt x="166" y="1108"/>
                  </a:lnTo>
                  <a:lnTo>
                    <a:pt x="166" y="1110"/>
                  </a:lnTo>
                  <a:lnTo>
                    <a:pt x="164" y="1108"/>
                  </a:lnTo>
                  <a:lnTo>
                    <a:pt x="162" y="1108"/>
                  </a:lnTo>
                  <a:lnTo>
                    <a:pt x="164" y="1106"/>
                  </a:lnTo>
                  <a:lnTo>
                    <a:pt x="162" y="1106"/>
                  </a:lnTo>
                  <a:lnTo>
                    <a:pt x="162" y="1105"/>
                  </a:lnTo>
                  <a:lnTo>
                    <a:pt x="161" y="1105"/>
                  </a:lnTo>
                  <a:lnTo>
                    <a:pt x="161" y="1103"/>
                  </a:lnTo>
                  <a:lnTo>
                    <a:pt x="162" y="1103"/>
                  </a:lnTo>
                  <a:lnTo>
                    <a:pt x="162" y="1101"/>
                  </a:lnTo>
                  <a:lnTo>
                    <a:pt x="162" y="1100"/>
                  </a:lnTo>
                  <a:lnTo>
                    <a:pt x="164" y="1100"/>
                  </a:lnTo>
                  <a:lnTo>
                    <a:pt x="164" y="1098"/>
                  </a:lnTo>
                  <a:lnTo>
                    <a:pt x="166" y="1097"/>
                  </a:lnTo>
                  <a:lnTo>
                    <a:pt x="166" y="1095"/>
                  </a:lnTo>
                  <a:lnTo>
                    <a:pt x="166" y="1093"/>
                  </a:lnTo>
                  <a:lnTo>
                    <a:pt x="164" y="1093"/>
                  </a:lnTo>
                  <a:lnTo>
                    <a:pt x="162" y="1093"/>
                  </a:lnTo>
                  <a:lnTo>
                    <a:pt x="162" y="1092"/>
                  </a:lnTo>
                  <a:lnTo>
                    <a:pt x="162" y="1090"/>
                  </a:lnTo>
                  <a:lnTo>
                    <a:pt x="162" y="1088"/>
                  </a:lnTo>
                  <a:lnTo>
                    <a:pt x="164" y="1088"/>
                  </a:lnTo>
                  <a:lnTo>
                    <a:pt x="164" y="1087"/>
                  </a:lnTo>
                  <a:lnTo>
                    <a:pt x="166" y="1087"/>
                  </a:lnTo>
                  <a:lnTo>
                    <a:pt x="166" y="1085"/>
                  </a:lnTo>
                  <a:lnTo>
                    <a:pt x="167" y="1085"/>
                  </a:lnTo>
                  <a:lnTo>
                    <a:pt x="167" y="1084"/>
                  </a:lnTo>
                  <a:lnTo>
                    <a:pt x="169" y="1082"/>
                  </a:lnTo>
                  <a:lnTo>
                    <a:pt x="170" y="1079"/>
                  </a:lnTo>
                  <a:lnTo>
                    <a:pt x="170" y="1077"/>
                  </a:lnTo>
                  <a:lnTo>
                    <a:pt x="170" y="1075"/>
                  </a:lnTo>
                  <a:lnTo>
                    <a:pt x="172" y="1074"/>
                  </a:lnTo>
                  <a:lnTo>
                    <a:pt x="172" y="1072"/>
                  </a:lnTo>
                  <a:lnTo>
                    <a:pt x="172" y="1071"/>
                  </a:lnTo>
                  <a:lnTo>
                    <a:pt x="172" y="1069"/>
                  </a:lnTo>
                  <a:lnTo>
                    <a:pt x="170" y="1069"/>
                  </a:lnTo>
                  <a:lnTo>
                    <a:pt x="170" y="1067"/>
                  </a:lnTo>
                  <a:lnTo>
                    <a:pt x="170" y="1066"/>
                  </a:lnTo>
                  <a:lnTo>
                    <a:pt x="170" y="1064"/>
                  </a:lnTo>
                  <a:lnTo>
                    <a:pt x="170" y="1062"/>
                  </a:lnTo>
                  <a:lnTo>
                    <a:pt x="172" y="1061"/>
                  </a:lnTo>
                  <a:lnTo>
                    <a:pt x="170" y="1061"/>
                  </a:lnTo>
                  <a:lnTo>
                    <a:pt x="170" y="1059"/>
                  </a:lnTo>
                  <a:lnTo>
                    <a:pt x="169" y="1059"/>
                  </a:lnTo>
                  <a:lnTo>
                    <a:pt x="170" y="1059"/>
                  </a:lnTo>
                  <a:lnTo>
                    <a:pt x="170" y="1058"/>
                  </a:lnTo>
                  <a:lnTo>
                    <a:pt x="170" y="1056"/>
                  </a:lnTo>
                  <a:lnTo>
                    <a:pt x="170" y="1054"/>
                  </a:lnTo>
                  <a:lnTo>
                    <a:pt x="170" y="1053"/>
                  </a:lnTo>
                  <a:lnTo>
                    <a:pt x="170" y="1051"/>
                  </a:lnTo>
                  <a:lnTo>
                    <a:pt x="170" y="1049"/>
                  </a:lnTo>
                  <a:lnTo>
                    <a:pt x="170" y="1048"/>
                  </a:lnTo>
                  <a:lnTo>
                    <a:pt x="172" y="1048"/>
                  </a:lnTo>
                  <a:lnTo>
                    <a:pt x="172" y="1049"/>
                  </a:lnTo>
                  <a:lnTo>
                    <a:pt x="174" y="1049"/>
                  </a:lnTo>
                  <a:lnTo>
                    <a:pt x="174" y="1051"/>
                  </a:lnTo>
                  <a:lnTo>
                    <a:pt x="175" y="1053"/>
                  </a:lnTo>
                  <a:lnTo>
                    <a:pt x="175" y="1054"/>
                  </a:lnTo>
                  <a:lnTo>
                    <a:pt x="175" y="1056"/>
                  </a:lnTo>
                  <a:lnTo>
                    <a:pt x="177" y="1054"/>
                  </a:lnTo>
                  <a:lnTo>
                    <a:pt x="175" y="1056"/>
                  </a:lnTo>
                  <a:lnTo>
                    <a:pt x="177" y="1056"/>
                  </a:lnTo>
                  <a:lnTo>
                    <a:pt x="177" y="1058"/>
                  </a:lnTo>
                  <a:lnTo>
                    <a:pt x="179" y="1058"/>
                  </a:lnTo>
                  <a:lnTo>
                    <a:pt x="180" y="1058"/>
                  </a:lnTo>
                  <a:lnTo>
                    <a:pt x="182" y="1058"/>
                  </a:lnTo>
                  <a:lnTo>
                    <a:pt x="183" y="1058"/>
                  </a:lnTo>
                  <a:lnTo>
                    <a:pt x="182" y="1058"/>
                  </a:lnTo>
                  <a:lnTo>
                    <a:pt x="182" y="1056"/>
                  </a:lnTo>
                  <a:lnTo>
                    <a:pt x="180" y="1056"/>
                  </a:lnTo>
                  <a:lnTo>
                    <a:pt x="180" y="1058"/>
                  </a:lnTo>
                  <a:lnTo>
                    <a:pt x="180" y="1056"/>
                  </a:lnTo>
                  <a:lnTo>
                    <a:pt x="179" y="1056"/>
                  </a:lnTo>
                  <a:lnTo>
                    <a:pt x="180" y="1056"/>
                  </a:lnTo>
                  <a:lnTo>
                    <a:pt x="179" y="1056"/>
                  </a:lnTo>
                  <a:lnTo>
                    <a:pt x="179" y="1054"/>
                  </a:lnTo>
                  <a:lnTo>
                    <a:pt x="177" y="1054"/>
                  </a:lnTo>
                  <a:lnTo>
                    <a:pt x="177" y="1053"/>
                  </a:lnTo>
                  <a:lnTo>
                    <a:pt x="179" y="1051"/>
                  </a:lnTo>
                  <a:lnTo>
                    <a:pt x="180" y="1049"/>
                  </a:lnTo>
                  <a:lnTo>
                    <a:pt x="180" y="1046"/>
                  </a:lnTo>
                  <a:lnTo>
                    <a:pt x="179" y="1048"/>
                  </a:lnTo>
                  <a:lnTo>
                    <a:pt x="179" y="1049"/>
                  </a:lnTo>
                  <a:lnTo>
                    <a:pt x="179" y="1048"/>
                  </a:lnTo>
                  <a:lnTo>
                    <a:pt x="180" y="1048"/>
                  </a:lnTo>
                  <a:lnTo>
                    <a:pt x="180" y="1045"/>
                  </a:lnTo>
                  <a:lnTo>
                    <a:pt x="182" y="1043"/>
                  </a:lnTo>
                  <a:lnTo>
                    <a:pt x="182" y="1041"/>
                  </a:lnTo>
                  <a:lnTo>
                    <a:pt x="182" y="1040"/>
                  </a:lnTo>
                  <a:lnTo>
                    <a:pt x="182" y="1038"/>
                  </a:lnTo>
                  <a:lnTo>
                    <a:pt x="182" y="1036"/>
                  </a:lnTo>
                  <a:lnTo>
                    <a:pt x="182" y="1035"/>
                  </a:lnTo>
                  <a:lnTo>
                    <a:pt x="180" y="1033"/>
                  </a:lnTo>
                  <a:lnTo>
                    <a:pt x="182" y="1035"/>
                  </a:lnTo>
                  <a:lnTo>
                    <a:pt x="183" y="1035"/>
                  </a:lnTo>
                  <a:lnTo>
                    <a:pt x="183" y="1033"/>
                  </a:lnTo>
                  <a:lnTo>
                    <a:pt x="182" y="1033"/>
                  </a:lnTo>
                  <a:lnTo>
                    <a:pt x="180" y="1033"/>
                  </a:lnTo>
                  <a:lnTo>
                    <a:pt x="182" y="1032"/>
                  </a:lnTo>
                  <a:lnTo>
                    <a:pt x="182" y="1030"/>
                  </a:lnTo>
                  <a:lnTo>
                    <a:pt x="180" y="1030"/>
                  </a:lnTo>
                  <a:lnTo>
                    <a:pt x="180" y="1028"/>
                  </a:lnTo>
                  <a:lnTo>
                    <a:pt x="179" y="1028"/>
                  </a:lnTo>
                  <a:lnTo>
                    <a:pt x="177" y="1028"/>
                  </a:lnTo>
                  <a:lnTo>
                    <a:pt x="175" y="1028"/>
                  </a:lnTo>
                  <a:lnTo>
                    <a:pt x="177" y="1027"/>
                  </a:lnTo>
                  <a:lnTo>
                    <a:pt x="177" y="1025"/>
                  </a:lnTo>
                  <a:lnTo>
                    <a:pt x="179" y="1027"/>
                  </a:lnTo>
                  <a:lnTo>
                    <a:pt x="179" y="1025"/>
                  </a:lnTo>
                  <a:lnTo>
                    <a:pt x="180" y="1023"/>
                  </a:lnTo>
                  <a:lnTo>
                    <a:pt x="179" y="1023"/>
                  </a:lnTo>
                  <a:lnTo>
                    <a:pt x="177" y="1023"/>
                  </a:lnTo>
                  <a:lnTo>
                    <a:pt x="177" y="1022"/>
                  </a:lnTo>
                  <a:lnTo>
                    <a:pt x="177" y="1020"/>
                  </a:lnTo>
                  <a:lnTo>
                    <a:pt x="177" y="1019"/>
                  </a:lnTo>
                  <a:lnTo>
                    <a:pt x="177" y="1017"/>
                  </a:lnTo>
                  <a:lnTo>
                    <a:pt x="179" y="1017"/>
                  </a:lnTo>
                  <a:lnTo>
                    <a:pt x="177" y="1017"/>
                  </a:lnTo>
                  <a:lnTo>
                    <a:pt x="179" y="1017"/>
                  </a:lnTo>
                  <a:lnTo>
                    <a:pt x="179" y="1015"/>
                  </a:lnTo>
                  <a:lnTo>
                    <a:pt x="177" y="1015"/>
                  </a:lnTo>
                  <a:lnTo>
                    <a:pt x="177" y="1017"/>
                  </a:lnTo>
                  <a:lnTo>
                    <a:pt x="177" y="1019"/>
                  </a:lnTo>
                  <a:lnTo>
                    <a:pt x="177" y="1017"/>
                  </a:lnTo>
                  <a:lnTo>
                    <a:pt x="175" y="1017"/>
                  </a:lnTo>
                  <a:lnTo>
                    <a:pt x="175" y="1019"/>
                  </a:lnTo>
                  <a:lnTo>
                    <a:pt x="174" y="1020"/>
                  </a:lnTo>
                  <a:lnTo>
                    <a:pt x="172" y="1022"/>
                  </a:lnTo>
                  <a:lnTo>
                    <a:pt x="172" y="1023"/>
                  </a:lnTo>
                  <a:lnTo>
                    <a:pt x="174" y="1023"/>
                  </a:lnTo>
                  <a:lnTo>
                    <a:pt x="172" y="1025"/>
                  </a:lnTo>
                  <a:lnTo>
                    <a:pt x="174" y="1025"/>
                  </a:lnTo>
                  <a:lnTo>
                    <a:pt x="175" y="1025"/>
                  </a:lnTo>
                  <a:lnTo>
                    <a:pt x="175" y="1023"/>
                  </a:lnTo>
                  <a:lnTo>
                    <a:pt x="177" y="1025"/>
                  </a:lnTo>
                  <a:lnTo>
                    <a:pt x="177" y="1027"/>
                  </a:lnTo>
                  <a:lnTo>
                    <a:pt x="175" y="1027"/>
                  </a:lnTo>
                  <a:lnTo>
                    <a:pt x="175" y="1028"/>
                  </a:lnTo>
                  <a:lnTo>
                    <a:pt x="174" y="1028"/>
                  </a:lnTo>
                  <a:lnTo>
                    <a:pt x="172" y="1028"/>
                  </a:lnTo>
                  <a:lnTo>
                    <a:pt x="174" y="1028"/>
                  </a:lnTo>
                  <a:lnTo>
                    <a:pt x="174" y="1027"/>
                  </a:lnTo>
                  <a:lnTo>
                    <a:pt x="174" y="1028"/>
                  </a:lnTo>
                  <a:lnTo>
                    <a:pt x="175" y="1028"/>
                  </a:lnTo>
                  <a:lnTo>
                    <a:pt x="175" y="1027"/>
                  </a:lnTo>
                  <a:lnTo>
                    <a:pt x="175" y="1028"/>
                  </a:lnTo>
                  <a:lnTo>
                    <a:pt x="175" y="1027"/>
                  </a:lnTo>
                  <a:lnTo>
                    <a:pt x="174" y="1027"/>
                  </a:lnTo>
                  <a:lnTo>
                    <a:pt x="172" y="1027"/>
                  </a:lnTo>
                  <a:lnTo>
                    <a:pt x="170" y="1028"/>
                  </a:lnTo>
                  <a:lnTo>
                    <a:pt x="169" y="1030"/>
                  </a:lnTo>
                  <a:lnTo>
                    <a:pt x="170" y="1030"/>
                  </a:lnTo>
                  <a:lnTo>
                    <a:pt x="172" y="1028"/>
                  </a:lnTo>
                  <a:lnTo>
                    <a:pt x="174" y="1028"/>
                  </a:lnTo>
                  <a:lnTo>
                    <a:pt x="172" y="1030"/>
                  </a:lnTo>
                  <a:lnTo>
                    <a:pt x="170" y="1032"/>
                  </a:lnTo>
                  <a:lnTo>
                    <a:pt x="170" y="1033"/>
                  </a:lnTo>
                  <a:lnTo>
                    <a:pt x="169" y="1035"/>
                  </a:lnTo>
                  <a:lnTo>
                    <a:pt x="169" y="1033"/>
                  </a:lnTo>
                  <a:lnTo>
                    <a:pt x="169" y="1032"/>
                  </a:lnTo>
                  <a:lnTo>
                    <a:pt x="170" y="1032"/>
                  </a:lnTo>
                  <a:lnTo>
                    <a:pt x="169" y="1032"/>
                  </a:lnTo>
                  <a:lnTo>
                    <a:pt x="169" y="1030"/>
                  </a:lnTo>
                  <a:lnTo>
                    <a:pt x="167" y="1028"/>
                  </a:lnTo>
                  <a:lnTo>
                    <a:pt x="166" y="1028"/>
                  </a:lnTo>
                  <a:lnTo>
                    <a:pt x="166" y="1027"/>
                  </a:lnTo>
                  <a:lnTo>
                    <a:pt x="166" y="1025"/>
                  </a:lnTo>
                  <a:lnTo>
                    <a:pt x="166" y="1023"/>
                  </a:lnTo>
                  <a:lnTo>
                    <a:pt x="166" y="1020"/>
                  </a:lnTo>
                  <a:lnTo>
                    <a:pt x="166" y="1019"/>
                  </a:lnTo>
                  <a:lnTo>
                    <a:pt x="166" y="1015"/>
                  </a:lnTo>
                  <a:lnTo>
                    <a:pt x="167" y="1015"/>
                  </a:lnTo>
                  <a:lnTo>
                    <a:pt x="167" y="1014"/>
                  </a:lnTo>
                  <a:lnTo>
                    <a:pt x="167" y="1012"/>
                  </a:lnTo>
                  <a:lnTo>
                    <a:pt x="167" y="1010"/>
                  </a:lnTo>
                  <a:lnTo>
                    <a:pt x="166" y="1010"/>
                  </a:lnTo>
                  <a:lnTo>
                    <a:pt x="166" y="1009"/>
                  </a:lnTo>
                  <a:lnTo>
                    <a:pt x="166" y="1010"/>
                  </a:lnTo>
                  <a:lnTo>
                    <a:pt x="164" y="1010"/>
                  </a:lnTo>
                  <a:lnTo>
                    <a:pt x="164" y="1009"/>
                  </a:lnTo>
                  <a:lnTo>
                    <a:pt x="164" y="1007"/>
                  </a:lnTo>
                  <a:lnTo>
                    <a:pt x="166" y="1009"/>
                  </a:lnTo>
                  <a:lnTo>
                    <a:pt x="166" y="1007"/>
                  </a:lnTo>
                  <a:lnTo>
                    <a:pt x="166" y="1009"/>
                  </a:lnTo>
                  <a:lnTo>
                    <a:pt x="166" y="1007"/>
                  </a:lnTo>
                  <a:lnTo>
                    <a:pt x="167" y="1009"/>
                  </a:lnTo>
                  <a:lnTo>
                    <a:pt x="169" y="1009"/>
                  </a:lnTo>
                  <a:lnTo>
                    <a:pt x="169" y="1007"/>
                  </a:lnTo>
                  <a:lnTo>
                    <a:pt x="170" y="1007"/>
                  </a:lnTo>
                  <a:lnTo>
                    <a:pt x="172" y="1007"/>
                  </a:lnTo>
                  <a:lnTo>
                    <a:pt x="172" y="1006"/>
                  </a:lnTo>
                  <a:lnTo>
                    <a:pt x="175" y="1004"/>
                  </a:lnTo>
                  <a:lnTo>
                    <a:pt x="175" y="1002"/>
                  </a:lnTo>
                  <a:lnTo>
                    <a:pt x="175" y="1001"/>
                  </a:lnTo>
                  <a:lnTo>
                    <a:pt x="175" y="999"/>
                  </a:lnTo>
                  <a:lnTo>
                    <a:pt x="175" y="997"/>
                  </a:lnTo>
                  <a:lnTo>
                    <a:pt x="174" y="996"/>
                  </a:lnTo>
                  <a:lnTo>
                    <a:pt x="174" y="994"/>
                  </a:lnTo>
                  <a:lnTo>
                    <a:pt x="172" y="993"/>
                  </a:lnTo>
                  <a:lnTo>
                    <a:pt x="172" y="991"/>
                  </a:lnTo>
                  <a:lnTo>
                    <a:pt x="174" y="991"/>
                  </a:lnTo>
                  <a:lnTo>
                    <a:pt x="174" y="989"/>
                  </a:lnTo>
                  <a:lnTo>
                    <a:pt x="172" y="989"/>
                  </a:lnTo>
                  <a:lnTo>
                    <a:pt x="172" y="988"/>
                  </a:lnTo>
                  <a:lnTo>
                    <a:pt x="174" y="988"/>
                  </a:lnTo>
                  <a:lnTo>
                    <a:pt x="174" y="986"/>
                  </a:lnTo>
                  <a:lnTo>
                    <a:pt x="174" y="984"/>
                  </a:lnTo>
                  <a:lnTo>
                    <a:pt x="174" y="983"/>
                  </a:lnTo>
                  <a:lnTo>
                    <a:pt x="174" y="981"/>
                  </a:lnTo>
                  <a:lnTo>
                    <a:pt x="174" y="980"/>
                  </a:lnTo>
                  <a:lnTo>
                    <a:pt x="175" y="980"/>
                  </a:lnTo>
                  <a:lnTo>
                    <a:pt x="174" y="980"/>
                  </a:lnTo>
                  <a:lnTo>
                    <a:pt x="175" y="978"/>
                  </a:lnTo>
                  <a:lnTo>
                    <a:pt x="175" y="976"/>
                  </a:lnTo>
                  <a:lnTo>
                    <a:pt x="175" y="973"/>
                  </a:lnTo>
                  <a:lnTo>
                    <a:pt x="174" y="973"/>
                  </a:lnTo>
                  <a:lnTo>
                    <a:pt x="175" y="973"/>
                  </a:lnTo>
                  <a:lnTo>
                    <a:pt x="174" y="973"/>
                  </a:lnTo>
                  <a:lnTo>
                    <a:pt x="174" y="971"/>
                  </a:lnTo>
                  <a:lnTo>
                    <a:pt x="174" y="970"/>
                  </a:lnTo>
                  <a:lnTo>
                    <a:pt x="174" y="968"/>
                  </a:lnTo>
                  <a:lnTo>
                    <a:pt x="172" y="968"/>
                  </a:lnTo>
                  <a:lnTo>
                    <a:pt x="172" y="970"/>
                  </a:lnTo>
                  <a:lnTo>
                    <a:pt x="170" y="968"/>
                  </a:lnTo>
                  <a:lnTo>
                    <a:pt x="170" y="966"/>
                  </a:lnTo>
                  <a:lnTo>
                    <a:pt x="169" y="966"/>
                  </a:lnTo>
                  <a:lnTo>
                    <a:pt x="167" y="966"/>
                  </a:lnTo>
                  <a:lnTo>
                    <a:pt x="166" y="966"/>
                  </a:lnTo>
                  <a:lnTo>
                    <a:pt x="164" y="966"/>
                  </a:lnTo>
                  <a:lnTo>
                    <a:pt x="166" y="965"/>
                  </a:lnTo>
                  <a:lnTo>
                    <a:pt x="164" y="963"/>
                  </a:lnTo>
                  <a:lnTo>
                    <a:pt x="166" y="962"/>
                  </a:lnTo>
                  <a:lnTo>
                    <a:pt x="166" y="960"/>
                  </a:lnTo>
                  <a:lnTo>
                    <a:pt x="166" y="958"/>
                  </a:lnTo>
                  <a:lnTo>
                    <a:pt x="167" y="958"/>
                  </a:lnTo>
                  <a:lnTo>
                    <a:pt x="167" y="957"/>
                  </a:lnTo>
                  <a:lnTo>
                    <a:pt x="167" y="955"/>
                  </a:lnTo>
                  <a:lnTo>
                    <a:pt x="167" y="953"/>
                  </a:lnTo>
                  <a:lnTo>
                    <a:pt x="166" y="952"/>
                  </a:lnTo>
                  <a:lnTo>
                    <a:pt x="166" y="949"/>
                  </a:lnTo>
                  <a:lnTo>
                    <a:pt x="166" y="947"/>
                  </a:lnTo>
                  <a:lnTo>
                    <a:pt x="164" y="947"/>
                  </a:lnTo>
                  <a:lnTo>
                    <a:pt x="164" y="945"/>
                  </a:lnTo>
                  <a:lnTo>
                    <a:pt x="164" y="944"/>
                  </a:lnTo>
                  <a:lnTo>
                    <a:pt x="162" y="944"/>
                  </a:lnTo>
                  <a:lnTo>
                    <a:pt x="162" y="942"/>
                  </a:lnTo>
                  <a:lnTo>
                    <a:pt x="161" y="944"/>
                  </a:lnTo>
                  <a:lnTo>
                    <a:pt x="161" y="942"/>
                  </a:lnTo>
                  <a:lnTo>
                    <a:pt x="161" y="940"/>
                  </a:lnTo>
                  <a:lnTo>
                    <a:pt x="159" y="940"/>
                  </a:lnTo>
                  <a:lnTo>
                    <a:pt x="159" y="939"/>
                  </a:lnTo>
                  <a:lnTo>
                    <a:pt x="159" y="937"/>
                  </a:lnTo>
                  <a:lnTo>
                    <a:pt x="159" y="936"/>
                  </a:lnTo>
                  <a:lnTo>
                    <a:pt x="157" y="936"/>
                  </a:lnTo>
                  <a:lnTo>
                    <a:pt x="157" y="934"/>
                  </a:lnTo>
                  <a:lnTo>
                    <a:pt x="159" y="934"/>
                  </a:lnTo>
                  <a:lnTo>
                    <a:pt x="159" y="932"/>
                  </a:lnTo>
                  <a:lnTo>
                    <a:pt x="157" y="932"/>
                  </a:lnTo>
                  <a:lnTo>
                    <a:pt x="157" y="931"/>
                  </a:lnTo>
                  <a:lnTo>
                    <a:pt x="156" y="931"/>
                  </a:lnTo>
                  <a:lnTo>
                    <a:pt x="156" y="929"/>
                  </a:lnTo>
                  <a:lnTo>
                    <a:pt x="154" y="929"/>
                  </a:lnTo>
                  <a:lnTo>
                    <a:pt x="153" y="931"/>
                  </a:lnTo>
                  <a:lnTo>
                    <a:pt x="151" y="931"/>
                  </a:lnTo>
                  <a:lnTo>
                    <a:pt x="151" y="932"/>
                  </a:lnTo>
                  <a:lnTo>
                    <a:pt x="149" y="932"/>
                  </a:lnTo>
                  <a:lnTo>
                    <a:pt x="151" y="932"/>
                  </a:lnTo>
                  <a:lnTo>
                    <a:pt x="149" y="932"/>
                  </a:lnTo>
                  <a:lnTo>
                    <a:pt x="148" y="932"/>
                  </a:lnTo>
                  <a:lnTo>
                    <a:pt x="146" y="932"/>
                  </a:lnTo>
                  <a:lnTo>
                    <a:pt x="144" y="932"/>
                  </a:lnTo>
                  <a:lnTo>
                    <a:pt x="146" y="931"/>
                  </a:lnTo>
                  <a:lnTo>
                    <a:pt x="146" y="929"/>
                  </a:lnTo>
                  <a:lnTo>
                    <a:pt x="148" y="929"/>
                  </a:lnTo>
                  <a:lnTo>
                    <a:pt x="148" y="927"/>
                  </a:lnTo>
                  <a:lnTo>
                    <a:pt x="144" y="927"/>
                  </a:lnTo>
                  <a:lnTo>
                    <a:pt x="143" y="929"/>
                  </a:lnTo>
                  <a:lnTo>
                    <a:pt x="141" y="929"/>
                  </a:lnTo>
                  <a:lnTo>
                    <a:pt x="143" y="929"/>
                  </a:lnTo>
                  <a:lnTo>
                    <a:pt x="143" y="931"/>
                  </a:lnTo>
                  <a:lnTo>
                    <a:pt x="141" y="931"/>
                  </a:lnTo>
                  <a:lnTo>
                    <a:pt x="141" y="932"/>
                  </a:lnTo>
                  <a:lnTo>
                    <a:pt x="141" y="934"/>
                  </a:lnTo>
                  <a:lnTo>
                    <a:pt x="141" y="932"/>
                  </a:lnTo>
                  <a:lnTo>
                    <a:pt x="141" y="931"/>
                  </a:lnTo>
                  <a:lnTo>
                    <a:pt x="140" y="931"/>
                  </a:lnTo>
                  <a:lnTo>
                    <a:pt x="140" y="929"/>
                  </a:lnTo>
                  <a:lnTo>
                    <a:pt x="140" y="927"/>
                  </a:lnTo>
                  <a:lnTo>
                    <a:pt x="140" y="926"/>
                  </a:lnTo>
                  <a:lnTo>
                    <a:pt x="140" y="924"/>
                  </a:lnTo>
                  <a:lnTo>
                    <a:pt x="141" y="924"/>
                  </a:lnTo>
                  <a:lnTo>
                    <a:pt x="143" y="923"/>
                  </a:lnTo>
                  <a:lnTo>
                    <a:pt x="144" y="923"/>
                  </a:lnTo>
                  <a:lnTo>
                    <a:pt x="144" y="921"/>
                  </a:lnTo>
                  <a:lnTo>
                    <a:pt x="144" y="919"/>
                  </a:lnTo>
                  <a:lnTo>
                    <a:pt x="146" y="918"/>
                  </a:lnTo>
                  <a:lnTo>
                    <a:pt x="146" y="916"/>
                  </a:lnTo>
                  <a:lnTo>
                    <a:pt x="144" y="916"/>
                  </a:lnTo>
                  <a:lnTo>
                    <a:pt x="144" y="914"/>
                  </a:lnTo>
                  <a:lnTo>
                    <a:pt x="143" y="914"/>
                  </a:lnTo>
                  <a:lnTo>
                    <a:pt x="143" y="913"/>
                  </a:lnTo>
                  <a:lnTo>
                    <a:pt x="141" y="913"/>
                  </a:lnTo>
                  <a:lnTo>
                    <a:pt x="141" y="911"/>
                  </a:lnTo>
                  <a:lnTo>
                    <a:pt x="140" y="911"/>
                  </a:lnTo>
                  <a:lnTo>
                    <a:pt x="140" y="910"/>
                  </a:lnTo>
                  <a:lnTo>
                    <a:pt x="138" y="910"/>
                  </a:lnTo>
                  <a:lnTo>
                    <a:pt x="140" y="910"/>
                  </a:lnTo>
                  <a:lnTo>
                    <a:pt x="138" y="910"/>
                  </a:lnTo>
                  <a:lnTo>
                    <a:pt x="140" y="908"/>
                  </a:lnTo>
                  <a:lnTo>
                    <a:pt x="141" y="906"/>
                  </a:lnTo>
                  <a:lnTo>
                    <a:pt x="141" y="905"/>
                  </a:lnTo>
                  <a:lnTo>
                    <a:pt x="143" y="905"/>
                  </a:lnTo>
                  <a:lnTo>
                    <a:pt x="141" y="905"/>
                  </a:lnTo>
                  <a:lnTo>
                    <a:pt x="143" y="905"/>
                  </a:lnTo>
                  <a:lnTo>
                    <a:pt x="143" y="903"/>
                  </a:lnTo>
                  <a:lnTo>
                    <a:pt x="141" y="903"/>
                  </a:lnTo>
                  <a:lnTo>
                    <a:pt x="143" y="901"/>
                  </a:lnTo>
                  <a:lnTo>
                    <a:pt x="141" y="901"/>
                  </a:lnTo>
                  <a:lnTo>
                    <a:pt x="141" y="900"/>
                  </a:lnTo>
                  <a:lnTo>
                    <a:pt x="143" y="900"/>
                  </a:lnTo>
                  <a:lnTo>
                    <a:pt x="144" y="900"/>
                  </a:lnTo>
                  <a:lnTo>
                    <a:pt x="144" y="898"/>
                  </a:lnTo>
                  <a:lnTo>
                    <a:pt x="144" y="897"/>
                  </a:lnTo>
                  <a:lnTo>
                    <a:pt x="146" y="897"/>
                  </a:lnTo>
                  <a:lnTo>
                    <a:pt x="146" y="895"/>
                  </a:lnTo>
                  <a:lnTo>
                    <a:pt x="144" y="895"/>
                  </a:lnTo>
                  <a:lnTo>
                    <a:pt x="146" y="895"/>
                  </a:lnTo>
                  <a:lnTo>
                    <a:pt x="146" y="893"/>
                  </a:lnTo>
                  <a:lnTo>
                    <a:pt x="148" y="893"/>
                  </a:lnTo>
                  <a:lnTo>
                    <a:pt x="148" y="892"/>
                  </a:lnTo>
                  <a:lnTo>
                    <a:pt x="148" y="890"/>
                  </a:lnTo>
                  <a:lnTo>
                    <a:pt x="148" y="888"/>
                  </a:lnTo>
                  <a:lnTo>
                    <a:pt x="149" y="887"/>
                  </a:lnTo>
                  <a:lnTo>
                    <a:pt x="148" y="887"/>
                  </a:lnTo>
                  <a:lnTo>
                    <a:pt x="148" y="885"/>
                  </a:lnTo>
                  <a:lnTo>
                    <a:pt x="146" y="884"/>
                  </a:lnTo>
                  <a:lnTo>
                    <a:pt x="144" y="884"/>
                  </a:lnTo>
                  <a:lnTo>
                    <a:pt x="146" y="882"/>
                  </a:lnTo>
                  <a:lnTo>
                    <a:pt x="144" y="882"/>
                  </a:lnTo>
                  <a:lnTo>
                    <a:pt x="144" y="880"/>
                  </a:lnTo>
                  <a:lnTo>
                    <a:pt x="144" y="879"/>
                  </a:lnTo>
                  <a:lnTo>
                    <a:pt x="146" y="879"/>
                  </a:lnTo>
                  <a:lnTo>
                    <a:pt x="146" y="877"/>
                  </a:lnTo>
                  <a:lnTo>
                    <a:pt x="146" y="875"/>
                  </a:lnTo>
                  <a:lnTo>
                    <a:pt x="148" y="877"/>
                  </a:lnTo>
                  <a:lnTo>
                    <a:pt x="149" y="877"/>
                  </a:lnTo>
                  <a:lnTo>
                    <a:pt x="149" y="879"/>
                  </a:lnTo>
                  <a:lnTo>
                    <a:pt x="151" y="879"/>
                  </a:lnTo>
                  <a:lnTo>
                    <a:pt x="149" y="880"/>
                  </a:lnTo>
                  <a:lnTo>
                    <a:pt x="151" y="880"/>
                  </a:lnTo>
                  <a:lnTo>
                    <a:pt x="149" y="880"/>
                  </a:lnTo>
                  <a:lnTo>
                    <a:pt x="149" y="882"/>
                  </a:lnTo>
                  <a:lnTo>
                    <a:pt x="151" y="882"/>
                  </a:lnTo>
                  <a:lnTo>
                    <a:pt x="149" y="884"/>
                  </a:lnTo>
                  <a:lnTo>
                    <a:pt x="151" y="884"/>
                  </a:lnTo>
                  <a:lnTo>
                    <a:pt x="149" y="884"/>
                  </a:lnTo>
                  <a:lnTo>
                    <a:pt x="149" y="885"/>
                  </a:lnTo>
                  <a:lnTo>
                    <a:pt x="151" y="885"/>
                  </a:lnTo>
                  <a:lnTo>
                    <a:pt x="151" y="887"/>
                  </a:lnTo>
                  <a:lnTo>
                    <a:pt x="153" y="887"/>
                  </a:lnTo>
                  <a:lnTo>
                    <a:pt x="153" y="888"/>
                  </a:lnTo>
                  <a:lnTo>
                    <a:pt x="154" y="890"/>
                  </a:lnTo>
                  <a:lnTo>
                    <a:pt x="154" y="892"/>
                  </a:lnTo>
                  <a:lnTo>
                    <a:pt x="154" y="893"/>
                  </a:lnTo>
                  <a:lnTo>
                    <a:pt x="154" y="892"/>
                  </a:lnTo>
                  <a:lnTo>
                    <a:pt x="156" y="893"/>
                  </a:lnTo>
                  <a:lnTo>
                    <a:pt x="156" y="892"/>
                  </a:lnTo>
                  <a:lnTo>
                    <a:pt x="157" y="893"/>
                  </a:lnTo>
                  <a:lnTo>
                    <a:pt x="159" y="893"/>
                  </a:lnTo>
                  <a:lnTo>
                    <a:pt x="161" y="893"/>
                  </a:lnTo>
                  <a:lnTo>
                    <a:pt x="162" y="893"/>
                  </a:lnTo>
                  <a:lnTo>
                    <a:pt x="162" y="895"/>
                  </a:lnTo>
                  <a:lnTo>
                    <a:pt x="162" y="893"/>
                  </a:lnTo>
                  <a:lnTo>
                    <a:pt x="164" y="893"/>
                  </a:lnTo>
                  <a:lnTo>
                    <a:pt x="162" y="893"/>
                  </a:lnTo>
                  <a:lnTo>
                    <a:pt x="162" y="895"/>
                  </a:lnTo>
                  <a:lnTo>
                    <a:pt x="164" y="893"/>
                  </a:lnTo>
                  <a:lnTo>
                    <a:pt x="164" y="895"/>
                  </a:lnTo>
                  <a:lnTo>
                    <a:pt x="166" y="895"/>
                  </a:lnTo>
                  <a:lnTo>
                    <a:pt x="166" y="893"/>
                  </a:lnTo>
                  <a:lnTo>
                    <a:pt x="166" y="895"/>
                  </a:lnTo>
                  <a:lnTo>
                    <a:pt x="166" y="893"/>
                  </a:lnTo>
                  <a:lnTo>
                    <a:pt x="166" y="895"/>
                  </a:lnTo>
                  <a:lnTo>
                    <a:pt x="167" y="895"/>
                  </a:lnTo>
                  <a:lnTo>
                    <a:pt x="167" y="893"/>
                  </a:lnTo>
                  <a:lnTo>
                    <a:pt x="167" y="895"/>
                  </a:lnTo>
                  <a:lnTo>
                    <a:pt x="169" y="895"/>
                  </a:lnTo>
                  <a:lnTo>
                    <a:pt x="167" y="893"/>
                  </a:lnTo>
                  <a:lnTo>
                    <a:pt x="169" y="895"/>
                  </a:lnTo>
                  <a:lnTo>
                    <a:pt x="170" y="895"/>
                  </a:lnTo>
                  <a:lnTo>
                    <a:pt x="172" y="897"/>
                  </a:lnTo>
                  <a:lnTo>
                    <a:pt x="174" y="897"/>
                  </a:lnTo>
                  <a:lnTo>
                    <a:pt x="175" y="898"/>
                  </a:lnTo>
                  <a:lnTo>
                    <a:pt x="177" y="898"/>
                  </a:lnTo>
                  <a:lnTo>
                    <a:pt x="179" y="898"/>
                  </a:lnTo>
                  <a:lnTo>
                    <a:pt x="182" y="897"/>
                  </a:lnTo>
                  <a:lnTo>
                    <a:pt x="183" y="897"/>
                  </a:lnTo>
                  <a:lnTo>
                    <a:pt x="185" y="897"/>
                  </a:lnTo>
                  <a:lnTo>
                    <a:pt x="188" y="895"/>
                  </a:lnTo>
                  <a:lnTo>
                    <a:pt x="190" y="893"/>
                  </a:lnTo>
                  <a:lnTo>
                    <a:pt x="192" y="893"/>
                  </a:lnTo>
                  <a:lnTo>
                    <a:pt x="192" y="892"/>
                  </a:lnTo>
                  <a:lnTo>
                    <a:pt x="193" y="892"/>
                  </a:lnTo>
                  <a:lnTo>
                    <a:pt x="193" y="890"/>
                  </a:lnTo>
                  <a:lnTo>
                    <a:pt x="193" y="888"/>
                  </a:lnTo>
                  <a:lnTo>
                    <a:pt x="195" y="888"/>
                  </a:lnTo>
                  <a:lnTo>
                    <a:pt x="195" y="887"/>
                  </a:lnTo>
                  <a:lnTo>
                    <a:pt x="196" y="888"/>
                  </a:lnTo>
                  <a:lnTo>
                    <a:pt x="196" y="887"/>
                  </a:lnTo>
                  <a:lnTo>
                    <a:pt x="198" y="887"/>
                  </a:lnTo>
                  <a:lnTo>
                    <a:pt x="200" y="885"/>
                  </a:lnTo>
                  <a:lnTo>
                    <a:pt x="201" y="885"/>
                  </a:lnTo>
                  <a:lnTo>
                    <a:pt x="203" y="884"/>
                  </a:lnTo>
                  <a:lnTo>
                    <a:pt x="203" y="885"/>
                  </a:lnTo>
                  <a:lnTo>
                    <a:pt x="205" y="885"/>
                  </a:lnTo>
                  <a:lnTo>
                    <a:pt x="206" y="884"/>
                  </a:lnTo>
                  <a:lnTo>
                    <a:pt x="206" y="885"/>
                  </a:lnTo>
                  <a:lnTo>
                    <a:pt x="206" y="884"/>
                  </a:lnTo>
                  <a:lnTo>
                    <a:pt x="208" y="885"/>
                  </a:lnTo>
                  <a:lnTo>
                    <a:pt x="208" y="884"/>
                  </a:lnTo>
                  <a:lnTo>
                    <a:pt x="208" y="885"/>
                  </a:lnTo>
                  <a:lnTo>
                    <a:pt x="211" y="884"/>
                  </a:lnTo>
                  <a:lnTo>
                    <a:pt x="213" y="882"/>
                  </a:lnTo>
                  <a:lnTo>
                    <a:pt x="214" y="882"/>
                  </a:lnTo>
                  <a:lnTo>
                    <a:pt x="213" y="882"/>
                  </a:lnTo>
                  <a:lnTo>
                    <a:pt x="214" y="882"/>
                  </a:lnTo>
                  <a:lnTo>
                    <a:pt x="216" y="879"/>
                  </a:lnTo>
                  <a:lnTo>
                    <a:pt x="216" y="877"/>
                  </a:lnTo>
                  <a:lnTo>
                    <a:pt x="219" y="875"/>
                  </a:lnTo>
                  <a:lnTo>
                    <a:pt x="219" y="874"/>
                  </a:lnTo>
                  <a:lnTo>
                    <a:pt x="219" y="872"/>
                  </a:lnTo>
                  <a:lnTo>
                    <a:pt x="221" y="872"/>
                  </a:lnTo>
                  <a:lnTo>
                    <a:pt x="219" y="872"/>
                  </a:lnTo>
                  <a:lnTo>
                    <a:pt x="221" y="872"/>
                  </a:lnTo>
                  <a:lnTo>
                    <a:pt x="221" y="871"/>
                  </a:lnTo>
                  <a:lnTo>
                    <a:pt x="219" y="871"/>
                  </a:lnTo>
                  <a:lnTo>
                    <a:pt x="221" y="871"/>
                  </a:lnTo>
                  <a:lnTo>
                    <a:pt x="221" y="869"/>
                  </a:lnTo>
                  <a:lnTo>
                    <a:pt x="222" y="869"/>
                  </a:lnTo>
                  <a:lnTo>
                    <a:pt x="222" y="867"/>
                  </a:lnTo>
                  <a:lnTo>
                    <a:pt x="224" y="867"/>
                  </a:lnTo>
                  <a:lnTo>
                    <a:pt x="226" y="867"/>
                  </a:lnTo>
                  <a:lnTo>
                    <a:pt x="227" y="866"/>
                  </a:lnTo>
                  <a:lnTo>
                    <a:pt x="227" y="864"/>
                  </a:lnTo>
                  <a:lnTo>
                    <a:pt x="229" y="864"/>
                  </a:lnTo>
                  <a:lnTo>
                    <a:pt x="231" y="862"/>
                  </a:lnTo>
                  <a:lnTo>
                    <a:pt x="232" y="861"/>
                  </a:lnTo>
                  <a:lnTo>
                    <a:pt x="232" y="859"/>
                  </a:lnTo>
                  <a:lnTo>
                    <a:pt x="232" y="858"/>
                  </a:lnTo>
                  <a:lnTo>
                    <a:pt x="234" y="858"/>
                  </a:lnTo>
                  <a:lnTo>
                    <a:pt x="234" y="856"/>
                  </a:lnTo>
                  <a:lnTo>
                    <a:pt x="235" y="856"/>
                  </a:lnTo>
                  <a:lnTo>
                    <a:pt x="235" y="854"/>
                  </a:lnTo>
                  <a:lnTo>
                    <a:pt x="237" y="854"/>
                  </a:lnTo>
                  <a:lnTo>
                    <a:pt x="239" y="853"/>
                  </a:lnTo>
                  <a:lnTo>
                    <a:pt x="240" y="853"/>
                  </a:lnTo>
                  <a:lnTo>
                    <a:pt x="240" y="854"/>
                  </a:lnTo>
                  <a:lnTo>
                    <a:pt x="239" y="854"/>
                  </a:lnTo>
                  <a:lnTo>
                    <a:pt x="240" y="854"/>
                  </a:lnTo>
                  <a:lnTo>
                    <a:pt x="242" y="854"/>
                  </a:lnTo>
                  <a:lnTo>
                    <a:pt x="244" y="854"/>
                  </a:lnTo>
                  <a:lnTo>
                    <a:pt x="245" y="854"/>
                  </a:lnTo>
                  <a:lnTo>
                    <a:pt x="247" y="854"/>
                  </a:lnTo>
                  <a:lnTo>
                    <a:pt x="247" y="853"/>
                  </a:lnTo>
                  <a:lnTo>
                    <a:pt x="248" y="851"/>
                  </a:lnTo>
                  <a:lnTo>
                    <a:pt x="247" y="851"/>
                  </a:lnTo>
                  <a:lnTo>
                    <a:pt x="248" y="851"/>
                  </a:lnTo>
                  <a:lnTo>
                    <a:pt x="250" y="851"/>
                  </a:lnTo>
                  <a:lnTo>
                    <a:pt x="252" y="849"/>
                  </a:lnTo>
                  <a:lnTo>
                    <a:pt x="253" y="848"/>
                  </a:lnTo>
                  <a:lnTo>
                    <a:pt x="252" y="848"/>
                  </a:lnTo>
                  <a:lnTo>
                    <a:pt x="252" y="846"/>
                  </a:lnTo>
                  <a:lnTo>
                    <a:pt x="250" y="845"/>
                  </a:lnTo>
                  <a:lnTo>
                    <a:pt x="252" y="845"/>
                  </a:lnTo>
                  <a:lnTo>
                    <a:pt x="252" y="843"/>
                  </a:lnTo>
                  <a:lnTo>
                    <a:pt x="252" y="841"/>
                  </a:lnTo>
                  <a:lnTo>
                    <a:pt x="252" y="840"/>
                  </a:lnTo>
                  <a:lnTo>
                    <a:pt x="250" y="840"/>
                  </a:lnTo>
                  <a:lnTo>
                    <a:pt x="248" y="840"/>
                  </a:lnTo>
                  <a:lnTo>
                    <a:pt x="250" y="838"/>
                  </a:lnTo>
                  <a:lnTo>
                    <a:pt x="252" y="838"/>
                  </a:lnTo>
                  <a:lnTo>
                    <a:pt x="252" y="840"/>
                  </a:lnTo>
                  <a:lnTo>
                    <a:pt x="253" y="838"/>
                  </a:lnTo>
                  <a:lnTo>
                    <a:pt x="255" y="838"/>
                  </a:lnTo>
                  <a:lnTo>
                    <a:pt x="255" y="840"/>
                  </a:lnTo>
                  <a:lnTo>
                    <a:pt x="255" y="838"/>
                  </a:lnTo>
                  <a:lnTo>
                    <a:pt x="257" y="838"/>
                  </a:lnTo>
                  <a:lnTo>
                    <a:pt x="258" y="836"/>
                  </a:lnTo>
                  <a:lnTo>
                    <a:pt x="260" y="836"/>
                  </a:lnTo>
                  <a:lnTo>
                    <a:pt x="260" y="838"/>
                  </a:lnTo>
                  <a:close/>
                  <a:moveTo>
                    <a:pt x="390" y="612"/>
                  </a:moveTo>
                  <a:lnTo>
                    <a:pt x="390" y="614"/>
                  </a:lnTo>
                  <a:lnTo>
                    <a:pt x="390" y="615"/>
                  </a:lnTo>
                  <a:lnTo>
                    <a:pt x="390" y="617"/>
                  </a:lnTo>
                  <a:lnTo>
                    <a:pt x="390" y="618"/>
                  </a:lnTo>
                  <a:lnTo>
                    <a:pt x="390" y="620"/>
                  </a:lnTo>
                  <a:lnTo>
                    <a:pt x="390" y="622"/>
                  </a:lnTo>
                  <a:lnTo>
                    <a:pt x="388" y="622"/>
                  </a:lnTo>
                  <a:lnTo>
                    <a:pt x="387" y="622"/>
                  </a:lnTo>
                  <a:lnTo>
                    <a:pt x="387" y="623"/>
                  </a:lnTo>
                  <a:lnTo>
                    <a:pt x="388" y="623"/>
                  </a:lnTo>
                  <a:lnTo>
                    <a:pt x="388" y="625"/>
                  </a:lnTo>
                  <a:lnTo>
                    <a:pt x="390" y="625"/>
                  </a:lnTo>
                  <a:lnTo>
                    <a:pt x="390" y="627"/>
                  </a:lnTo>
                  <a:lnTo>
                    <a:pt x="390" y="628"/>
                  </a:lnTo>
                  <a:lnTo>
                    <a:pt x="390" y="630"/>
                  </a:lnTo>
                  <a:lnTo>
                    <a:pt x="388" y="630"/>
                  </a:lnTo>
                  <a:lnTo>
                    <a:pt x="388" y="631"/>
                  </a:lnTo>
                  <a:lnTo>
                    <a:pt x="387" y="631"/>
                  </a:lnTo>
                  <a:lnTo>
                    <a:pt x="387" y="630"/>
                  </a:lnTo>
                  <a:lnTo>
                    <a:pt x="385" y="630"/>
                  </a:lnTo>
                  <a:lnTo>
                    <a:pt x="385" y="631"/>
                  </a:lnTo>
                  <a:lnTo>
                    <a:pt x="383" y="631"/>
                  </a:lnTo>
                  <a:lnTo>
                    <a:pt x="383" y="630"/>
                  </a:lnTo>
                  <a:lnTo>
                    <a:pt x="382" y="630"/>
                  </a:lnTo>
                  <a:lnTo>
                    <a:pt x="382" y="628"/>
                  </a:lnTo>
                  <a:lnTo>
                    <a:pt x="380" y="628"/>
                  </a:lnTo>
                  <a:lnTo>
                    <a:pt x="380" y="627"/>
                  </a:lnTo>
                  <a:lnTo>
                    <a:pt x="380" y="625"/>
                  </a:lnTo>
                  <a:lnTo>
                    <a:pt x="380" y="623"/>
                  </a:lnTo>
                  <a:lnTo>
                    <a:pt x="379" y="623"/>
                  </a:lnTo>
                  <a:lnTo>
                    <a:pt x="379" y="625"/>
                  </a:lnTo>
                  <a:lnTo>
                    <a:pt x="379" y="627"/>
                  </a:lnTo>
                  <a:lnTo>
                    <a:pt x="377" y="627"/>
                  </a:lnTo>
                  <a:lnTo>
                    <a:pt x="375" y="627"/>
                  </a:lnTo>
                  <a:lnTo>
                    <a:pt x="375" y="625"/>
                  </a:lnTo>
                  <a:lnTo>
                    <a:pt x="374" y="625"/>
                  </a:lnTo>
                  <a:lnTo>
                    <a:pt x="374" y="627"/>
                  </a:lnTo>
                  <a:lnTo>
                    <a:pt x="374" y="628"/>
                  </a:lnTo>
                  <a:lnTo>
                    <a:pt x="372" y="628"/>
                  </a:lnTo>
                  <a:lnTo>
                    <a:pt x="372" y="627"/>
                  </a:lnTo>
                  <a:lnTo>
                    <a:pt x="370" y="627"/>
                  </a:lnTo>
                  <a:lnTo>
                    <a:pt x="369" y="627"/>
                  </a:lnTo>
                  <a:lnTo>
                    <a:pt x="369" y="628"/>
                  </a:lnTo>
                  <a:lnTo>
                    <a:pt x="367" y="628"/>
                  </a:lnTo>
                  <a:lnTo>
                    <a:pt x="366" y="628"/>
                  </a:lnTo>
                  <a:lnTo>
                    <a:pt x="364" y="628"/>
                  </a:lnTo>
                  <a:lnTo>
                    <a:pt x="362" y="628"/>
                  </a:lnTo>
                  <a:lnTo>
                    <a:pt x="361" y="628"/>
                  </a:lnTo>
                  <a:lnTo>
                    <a:pt x="359" y="628"/>
                  </a:lnTo>
                  <a:lnTo>
                    <a:pt x="357" y="628"/>
                  </a:lnTo>
                  <a:lnTo>
                    <a:pt x="356" y="628"/>
                  </a:lnTo>
                  <a:lnTo>
                    <a:pt x="356" y="627"/>
                  </a:lnTo>
                  <a:lnTo>
                    <a:pt x="354" y="627"/>
                  </a:lnTo>
                  <a:lnTo>
                    <a:pt x="354" y="625"/>
                  </a:lnTo>
                  <a:lnTo>
                    <a:pt x="354" y="623"/>
                  </a:lnTo>
                  <a:lnTo>
                    <a:pt x="353" y="623"/>
                  </a:lnTo>
                  <a:lnTo>
                    <a:pt x="353" y="622"/>
                  </a:lnTo>
                  <a:lnTo>
                    <a:pt x="353" y="620"/>
                  </a:lnTo>
                  <a:lnTo>
                    <a:pt x="353" y="618"/>
                  </a:lnTo>
                  <a:lnTo>
                    <a:pt x="353" y="617"/>
                  </a:lnTo>
                  <a:lnTo>
                    <a:pt x="354" y="617"/>
                  </a:lnTo>
                  <a:lnTo>
                    <a:pt x="354" y="615"/>
                  </a:lnTo>
                  <a:lnTo>
                    <a:pt x="356" y="615"/>
                  </a:lnTo>
                  <a:lnTo>
                    <a:pt x="357" y="614"/>
                  </a:lnTo>
                  <a:lnTo>
                    <a:pt x="357" y="615"/>
                  </a:lnTo>
                  <a:lnTo>
                    <a:pt x="361" y="614"/>
                  </a:lnTo>
                  <a:lnTo>
                    <a:pt x="362" y="614"/>
                  </a:lnTo>
                  <a:lnTo>
                    <a:pt x="364" y="614"/>
                  </a:lnTo>
                  <a:lnTo>
                    <a:pt x="364" y="615"/>
                  </a:lnTo>
                  <a:lnTo>
                    <a:pt x="366" y="615"/>
                  </a:lnTo>
                  <a:lnTo>
                    <a:pt x="366" y="617"/>
                  </a:lnTo>
                  <a:lnTo>
                    <a:pt x="367" y="617"/>
                  </a:lnTo>
                  <a:lnTo>
                    <a:pt x="369" y="615"/>
                  </a:lnTo>
                  <a:lnTo>
                    <a:pt x="369" y="614"/>
                  </a:lnTo>
                  <a:lnTo>
                    <a:pt x="369" y="612"/>
                  </a:lnTo>
                  <a:lnTo>
                    <a:pt x="370" y="612"/>
                  </a:lnTo>
                  <a:lnTo>
                    <a:pt x="370" y="610"/>
                  </a:lnTo>
                  <a:lnTo>
                    <a:pt x="372" y="612"/>
                  </a:lnTo>
                  <a:lnTo>
                    <a:pt x="374" y="612"/>
                  </a:lnTo>
                  <a:lnTo>
                    <a:pt x="375" y="612"/>
                  </a:lnTo>
                  <a:lnTo>
                    <a:pt x="377" y="612"/>
                  </a:lnTo>
                  <a:lnTo>
                    <a:pt x="377" y="614"/>
                  </a:lnTo>
                  <a:lnTo>
                    <a:pt x="379" y="614"/>
                  </a:lnTo>
                  <a:lnTo>
                    <a:pt x="379" y="615"/>
                  </a:lnTo>
                  <a:lnTo>
                    <a:pt x="380" y="615"/>
                  </a:lnTo>
                  <a:lnTo>
                    <a:pt x="380" y="614"/>
                  </a:lnTo>
                  <a:lnTo>
                    <a:pt x="382" y="612"/>
                  </a:lnTo>
                  <a:lnTo>
                    <a:pt x="382" y="610"/>
                  </a:lnTo>
                  <a:lnTo>
                    <a:pt x="383" y="610"/>
                  </a:lnTo>
                  <a:lnTo>
                    <a:pt x="383" y="609"/>
                  </a:lnTo>
                  <a:lnTo>
                    <a:pt x="383" y="607"/>
                  </a:lnTo>
                  <a:lnTo>
                    <a:pt x="385" y="607"/>
                  </a:lnTo>
                  <a:lnTo>
                    <a:pt x="385" y="605"/>
                  </a:lnTo>
                  <a:lnTo>
                    <a:pt x="387" y="605"/>
                  </a:lnTo>
                  <a:lnTo>
                    <a:pt x="388" y="605"/>
                  </a:lnTo>
                  <a:lnTo>
                    <a:pt x="388" y="607"/>
                  </a:lnTo>
                  <a:lnTo>
                    <a:pt x="390" y="607"/>
                  </a:lnTo>
                  <a:lnTo>
                    <a:pt x="390" y="609"/>
                  </a:lnTo>
                  <a:lnTo>
                    <a:pt x="390" y="610"/>
                  </a:lnTo>
                  <a:lnTo>
                    <a:pt x="390" y="612"/>
                  </a:lnTo>
                  <a:close/>
                  <a:moveTo>
                    <a:pt x="584" y="305"/>
                  </a:moveTo>
                  <a:lnTo>
                    <a:pt x="587" y="305"/>
                  </a:lnTo>
                  <a:lnTo>
                    <a:pt x="588" y="305"/>
                  </a:lnTo>
                  <a:lnTo>
                    <a:pt x="590" y="305"/>
                  </a:lnTo>
                  <a:lnTo>
                    <a:pt x="590" y="306"/>
                  </a:lnTo>
                  <a:lnTo>
                    <a:pt x="590" y="308"/>
                  </a:lnTo>
                  <a:lnTo>
                    <a:pt x="590" y="309"/>
                  </a:lnTo>
                  <a:lnTo>
                    <a:pt x="592" y="311"/>
                  </a:lnTo>
                  <a:lnTo>
                    <a:pt x="593" y="311"/>
                  </a:lnTo>
                  <a:lnTo>
                    <a:pt x="593" y="313"/>
                  </a:lnTo>
                  <a:lnTo>
                    <a:pt x="595" y="313"/>
                  </a:lnTo>
                  <a:lnTo>
                    <a:pt x="593" y="314"/>
                  </a:lnTo>
                  <a:lnTo>
                    <a:pt x="595" y="316"/>
                  </a:lnTo>
                  <a:lnTo>
                    <a:pt x="595" y="318"/>
                  </a:lnTo>
                  <a:lnTo>
                    <a:pt x="595" y="319"/>
                  </a:lnTo>
                  <a:lnTo>
                    <a:pt x="595" y="318"/>
                  </a:lnTo>
                  <a:lnTo>
                    <a:pt x="595" y="316"/>
                  </a:lnTo>
                  <a:lnTo>
                    <a:pt x="595" y="318"/>
                  </a:lnTo>
                  <a:lnTo>
                    <a:pt x="595" y="321"/>
                  </a:lnTo>
                  <a:lnTo>
                    <a:pt x="593" y="321"/>
                  </a:lnTo>
                  <a:lnTo>
                    <a:pt x="592" y="319"/>
                  </a:lnTo>
                  <a:lnTo>
                    <a:pt x="592" y="318"/>
                  </a:lnTo>
                  <a:lnTo>
                    <a:pt x="592" y="316"/>
                  </a:lnTo>
                  <a:lnTo>
                    <a:pt x="592" y="314"/>
                  </a:lnTo>
                  <a:lnTo>
                    <a:pt x="590" y="313"/>
                  </a:lnTo>
                  <a:lnTo>
                    <a:pt x="588" y="314"/>
                  </a:lnTo>
                  <a:lnTo>
                    <a:pt x="587" y="314"/>
                  </a:lnTo>
                  <a:lnTo>
                    <a:pt x="588" y="314"/>
                  </a:lnTo>
                  <a:lnTo>
                    <a:pt x="587" y="316"/>
                  </a:lnTo>
                  <a:lnTo>
                    <a:pt x="587" y="318"/>
                  </a:lnTo>
                  <a:lnTo>
                    <a:pt x="587" y="319"/>
                  </a:lnTo>
                  <a:lnTo>
                    <a:pt x="588" y="319"/>
                  </a:lnTo>
                  <a:lnTo>
                    <a:pt x="588" y="321"/>
                  </a:lnTo>
                  <a:lnTo>
                    <a:pt x="587" y="321"/>
                  </a:lnTo>
                  <a:lnTo>
                    <a:pt x="587" y="322"/>
                  </a:lnTo>
                  <a:lnTo>
                    <a:pt x="587" y="324"/>
                  </a:lnTo>
                  <a:lnTo>
                    <a:pt x="588" y="324"/>
                  </a:lnTo>
                  <a:lnTo>
                    <a:pt x="588" y="326"/>
                  </a:lnTo>
                  <a:lnTo>
                    <a:pt x="590" y="326"/>
                  </a:lnTo>
                  <a:lnTo>
                    <a:pt x="588" y="326"/>
                  </a:lnTo>
                  <a:lnTo>
                    <a:pt x="587" y="324"/>
                  </a:lnTo>
                  <a:lnTo>
                    <a:pt x="585" y="324"/>
                  </a:lnTo>
                  <a:lnTo>
                    <a:pt x="584" y="318"/>
                  </a:lnTo>
                  <a:lnTo>
                    <a:pt x="582" y="316"/>
                  </a:lnTo>
                  <a:lnTo>
                    <a:pt x="580" y="316"/>
                  </a:lnTo>
                  <a:lnTo>
                    <a:pt x="580" y="314"/>
                  </a:lnTo>
                  <a:lnTo>
                    <a:pt x="579" y="313"/>
                  </a:lnTo>
                  <a:lnTo>
                    <a:pt x="579" y="311"/>
                  </a:lnTo>
                  <a:lnTo>
                    <a:pt x="579" y="309"/>
                  </a:lnTo>
                  <a:lnTo>
                    <a:pt x="580" y="309"/>
                  </a:lnTo>
                  <a:lnTo>
                    <a:pt x="580" y="308"/>
                  </a:lnTo>
                  <a:lnTo>
                    <a:pt x="579" y="308"/>
                  </a:lnTo>
                  <a:lnTo>
                    <a:pt x="577" y="308"/>
                  </a:lnTo>
                  <a:lnTo>
                    <a:pt x="577" y="306"/>
                  </a:lnTo>
                  <a:lnTo>
                    <a:pt x="579" y="306"/>
                  </a:lnTo>
                  <a:lnTo>
                    <a:pt x="580" y="306"/>
                  </a:lnTo>
                  <a:lnTo>
                    <a:pt x="582" y="305"/>
                  </a:lnTo>
                  <a:lnTo>
                    <a:pt x="584" y="305"/>
                  </a:lnTo>
                  <a:close/>
                  <a:moveTo>
                    <a:pt x="159" y="1141"/>
                  </a:moveTo>
                  <a:lnTo>
                    <a:pt x="161" y="1141"/>
                  </a:lnTo>
                  <a:lnTo>
                    <a:pt x="161" y="1142"/>
                  </a:lnTo>
                  <a:lnTo>
                    <a:pt x="162" y="1142"/>
                  </a:lnTo>
                  <a:lnTo>
                    <a:pt x="164" y="1142"/>
                  </a:lnTo>
                  <a:lnTo>
                    <a:pt x="166" y="1141"/>
                  </a:lnTo>
                  <a:lnTo>
                    <a:pt x="167" y="1142"/>
                  </a:lnTo>
                  <a:lnTo>
                    <a:pt x="167" y="1144"/>
                  </a:lnTo>
                  <a:lnTo>
                    <a:pt x="169" y="1144"/>
                  </a:lnTo>
                  <a:lnTo>
                    <a:pt x="169" y="1145"/>
                  </a:lnTo>
                  <a:lnTo>
                    <a:pt x="170" y="1147"/>
                  </a:lnTo>
                  <a:lnTo>
                    <a:pt x="170" y="1149"/>
                  </a:lnTo>
                  <a:lnTo>
                    <a:pt x="170" y="1150"/>
                  </a:lnTo>
                  <a:lnTo>
                    <a:pt x="169" y="1154"/>
                  </a:lnTo>
                  <a:lnTo>
                    <a:pt x="169" y="1155"/>
                  </a:lnTo>
                  <a:lnTo>
                    <a:pt x="169" y="1157"/>
                  </a:lnTo>
                  <a:lnTo>
                    <a:pt x="169" y="1158"/>
                  </a:lnTo>
                  <a:lnTo>
                    <a:pt x="167" y="1160"/>
                  </a:lnTo>
                  <a:lnTo>
                    <a:pt x="167" y="1162"/>
                  </a:lnTo>
                  <a:lnTo>
                    <a:pt x="166" y="1162"/>
                  </a:lnTo>
                  <a:lnTo>
                    <a:pt x="164" y="1163"/>
                  </a:lnTo>
                  <a:lnTo>
                    <a:pt x="164" y="1162"/>
                  </a:lnTo>
                  <a:lnTo>
                    <a:pt x="162" y="1162"/>
                  </a:lnTo>
                  <a:lnTo>
                    <a:pt x="164" y="1160"/>
                  </a:lnTo>
                  <a:lnTo>
                    <a:pt x="162" y="1160"/>
                  </a:lnTo>
                  <a:lnTo>
                    <a:pt x="162" y="1158"/>
                  </a:lnTo>
                  <a:lnTo>
                    <a:pt x="162" y="1157"/>
                  </a:lnTo>
                  <a:lnTo>
                    <a:pt x="161" y="1157"/>
                  </a:lnTo>
                  <a:lnTo>
                    <a:pt x="161" y="1155"/>
                  </a:lnTo>
                  <a:lnTo>
                    <a:pt x="159" y="1154"/>
                  </a:lnTo>
                  <a:lnTo>
                    <a:pt x="159" y="1152"/>
                  </a:lnTo>
                  <a:lnTo>
                    <a:pt x="159" y="1150"/>
                  </a:lnTo>
                  <a:lnTo>
                    <a:pt x="159" y="1149"/>
                  </a:lnTo>
                  <a:lnTo>
                    <a:pt x="157" y="1147"/>
                  </a:lnTo>
                  <a:lnTo>
                    <a:pt x="157" y="1145"/>
                  </a:lnTo>
                  <a:lnTo>
                    <a:pt x="159" y="1144"/>
                  </a:lnTo>
                  <a:lnTo>
                    <a:pt x="157" y="1144"/>
                  </a:lnTo>
                  <a:lnTo>
                    <a:pt x="157" y="1142"/>
                  </a:lnTo>
                  <a:lnTo>
                    <a:pt x="159" y="1144"/>
                  </a:lnTo>
                  <a:lnTo>
                    <a:pt x="159" y="1142"/>
                  </a:lnTo>
                  <a:lnTo>
                    <a:pt x="159" y="1141"/>
                  </a:lnTo>
                  <a:close/>
                  <a:moveTo>
                    <a:pt x="569" y="1463"/>
                  </a:moveTo>
                  <a:lnTo>
                    <a:pt x="571" y="1463"/>
                  </a:lnTo>
                  <a:lnTo>
                    <a:pt x="572" y="1463"/>
                  </a:lnTo>
                  <a:lnTo>
                    <a:pt x="572" y="1464"/>
                  </a:lnTo>
                  <a:lnTo>
                    <a:pt x="574" y="1464"/>
                  </a:lnTo>
                  <a:lnTo>
                    <a:pt x="575" y="1466"/>
                  </a:lnTo>
                  <a:lnTo>
                    <a:pt x="575" y="1464"/>
                  </a:lnTo>
                  <a:lnTo>
                    <a:pt x="577" y="1464"/>
                  </a:lnTo>
                  <a:lnTo>
                    <a:pt x="577" y="1466"/>
                  </a:lnTo>
                  <a:lnTo>
                    <a:pt x="579" y="1466"/>
                  </a:lnTo>
                  <a:lnTo>
                    <a:pt x="579" y="1467"/>
                  </a:lnTo>
                  <a:lnTo>
                    <a:pt x="580" y="1467"/>
                  </a:lnTo>
                  <a:lnTo>
                    <a:pt x="580" y="1469"/>
                  </a:lnTo>
                  <a:lnTo>
                    <a:pt x="582" y="1471"/>
                  </a:lnTo>
                  <a:lnTo>
                    <a:pt x="582" y="1472"/>
                  </a:lnTo>
                  <a:lnTo>
                    <a:pt x="580" y="1474"/>
                  </a:lnTo>
                  <a:lnTo>
                    <a:pt x="580" y="1476"/>
                  </a:lnTo>
                  <a:lnTo>
                    <a:pt x="579" y="1476"/>
                  </a:lnTo>
                  <a:lnTo>
                    <a:pt x="579" y="1477"/>
                  </a:lnTo>
                  <a:lnTo>
                    <a:pt x="577" y="1477"/>
                  </a:lnTo>
                  <a:lnTo>
                    <a:pt x="575" y="1477"/>
                  </a:lnTo>
                  <a:lnTo>
                    <a:pt x="574" y="1477"/>
                  </a:lnTo>
                  <a:lnTo>
                    <a:pt x="574" y="1476"/>
                  </a:lnTo>
                  <a:lnTo>
                    <a:pt x="572" y="1476"/>
                  </a:lnTo>
                  <a:lnTo>
                    <a:pt x="572" y="1474"/>
                  </a:lnTo>
                  <a:lnTo>
                    <a:pt x="571" y="1472"/>
                  </a:lnTo>
                  <a:lnTo>
                    <a:pt x="569" y="1471"/>
                  </a:lnTo>
                  <a:lnTo>
                    <a:pt x="567" y="1469"/>
                  </a:lnTo>
                  <a:lnTo>
                    <a:pt x="567" y="1467"/>
                  </a:lnTo>
                  <a:lnTo>
                    <a:pt x="566" y="1467"/>
                  </a:lnTo>
                  <a:lnTo>
                    <a:pt x="566" y="1466"/>
                  </a:lnTo>
                  <a:lnTo>
                    <a:pt x="566" y="1464"/>
                  </a:lnTo>
                  <a:lnTo>
                    <a:pt x="567" y="1464"/>
                  </a:lnTo>
                  <a:lnTo>
                    <a:pt x="567" y="1463"/>
                  </a:lnTo>
                  <a:lnTo>
                    <a:pt x="567" y="1464"/>
                  </a:lnTo>
                  <a:lnTo>
                    <a:pt x="567" y="1463"/>
                  </a:lnTo>
                  <a:lnTo>
                    <a:pt x="567" y="1464"/>
                  </a:lnTo>
                  <a:lnTo>
                    <a:pt x="567" y="1463"/>
                  </a:lnTo>
                  <a:lnTo>
                    <a:pt x="569" y="1463"/>
                  </a:lnTo>
                  <a:close/>
                  <a:moveTo>
                    <a:pt x="151" y="867"/>
                  </a:moveTo>
                  <a:lnTo>
                    <a:pt x="153" y="867"/>
                  </a:lnTo>
                  <a:lnTo>
                    <a:pt x="153" y="869"/>
                  </a:lnTo>
                  <a:lnTo>
                    <a:pt x="153" y="871"/>
                  </a:lnTo>
                  <a:lnTo>
                    <a:pt x="154" y="871"/>
                  </a:lnTo>
                  <a:lnTo>
                    <a:pt x="153" y="872"/>
                  </a:lnTo>
                  <a:lnTo>
                    <a:pt x="154" y="872"/>
                  </a:lnTo>
                  <a:lnTo>
                    <a:pt x="153" y="872"/>
                  </a:lnTo>
                  <a:lnTo>
                    <a:pt x="153" y="874"/>
                  </a:lnTo>
                  <a:lnTo>
                    <a:pt x="151" y="874"/>
                  </a:lnTo>
                  <a:lnTo>
                    <a:pt x="149" y="872"/>
                  </a:lnTo>
                  <a:lnTo>
                    <a:pt x="149" y="874"/>
                  </a:lnTo>
                  <a:lnTo>
                    <a:pt x="149" y="872"/>
                  </a:lnTo>
                  <a:lnTo>
                    <a:pt x="148" y="874"/>
                  </a:lnTo>
                  <a:lnTo>
                    <a:pt x="148" y="872"/>
                  </a:lnTo>
                  <a:lnTo>
                    <a:pt x="148" y="871"/>
                  </a:lnTo>
                  <a:lnTo>
                    <a:pt x="149" y="869"/>
                  </a:lnTo>
                  <a:lnTo>
                    <a:pt x="149" y="867"/>
                  </a:lnTo>
                  <a:lnTo>
                    <a:pt x="149" y="866"/>
                  </a:lnTo>
                  <a:lnTo>
                    <a:pt x="151" y="866"/>
                  </a:lnTo>
                  <a:lnTo>
                    <a:pt x="151" y="864"/>
                  </a:lnTo>
                  <a:lnTo>
                    <a:pt x="153" y="864"/>
                  </a:lnTo>
                  <a:lnTo>
                    <a:pt x="153" y="862"/>
                  </a:lnTo>
                  <a:lnTo>
                    <a:pt x="154" y="862"/>
                  </a:lnTo>
                  <a:lnTo>
                    <a:pt x="154" y="861"/>
                  </a:lnTo>
                  <a:lnTo>
                    <a:pt x="156" y="861"/>
                  </a:lnTo>
                  <a:lnTo>
                    <a:pt x="156" y="859"/>
                  </a:lnTo>
                  <a:lnTo>
                    <a:pt x="156" y="858"/>
                  </a:lnTo>
                  <a:lnTo>
                    <a:pt x="154" y="858"/>
                  </a:lnTo>
                  <a:lnTo>
                    <a:pt x="156" y="856"/>
                  </a:lnTo>
                  <a:lnTo>
                    <a:pt x="156" y="858"/>
                  </a:lnTo>
                  <a:lnTo>
                    <a:pt x="157" y="856"/>
                  </a:lnTo>
                  <a:lnTo>
                    <a:pt x="159" y="856"/>
                  </a:lnTo>
                  <a:lnTo>
                    <a:pt x="159" y="854"/>
                  </a:lnTo>
                  <a:lnTo>
                    <a:pt x="161" y="854"/>
                  </a:lnTo>
                  <a:lnTo>
                    <a:pt x="161" y="856"/>
                  </a:lnTo>
                  <a:lnTo>
                    <a:pt x="161" y="858"/>
                  </a:lnTo>
                  <a:lnTo>
                    <a:pt x="162" y="858"/>
                  </a:lnTo>
                  <a:lnTo>
                    <a:pt x="162" y="859"/>
                  </a:lnTo>
                  <a:lnTo>
                    <a:pt x="164" y="859"/>
                  </a:lnTo>
                  <a:lnTo>
                    <a:pt x="162" y="859"/>
                  </a:lnTo>
                  <a:lnTo>
                    <a:pt x="162" y="861"/>
                  </a:lnTo>
                  <a:lnTo>
                    <a:pt x="162" y="862"/>
                  </a:lnTo>
                  <a:lnTo>
                    <a:pt x="161" y="864"/>
                  </a:lnTo>
                  <a:lnTo>
                    <a:pt x="159" y="864"/>
                  </a:lnTo>
                  <a:lnTo>
                    <a:pt x="157" y="862"/>
                  </a:lnTo>
                  <a:lnTo>
                    <a:pt x="156" y="862"/>
                  </a:lnTo>
                  <a:lnTo>
                    <a:pt x="154" y="862"/>
                  </a:lnTo>
                  <a:lnTo>
                    <a:pt x="154" y="864"/>
                  </a:lnTo>
                  <a:lnTo>
                    <a:pt x="153" y="866"/>
                  </a:lnTo>
                  <a:lnTo>
                    <a:pt x="153" y="867"/>
                  </a:lnTo>
                  <a:lnTo>
                    <a:pt x="151" y="867"/>
                  </a:lnTo>
                  <a:close/>
                  <a:moveTo>
                    <a:pt x="153" y="1131"/>
                  </a:moveTo>
                  <a:lnTo>
                    <a:pt x="153" y="1132"/>
                  </a:lnTo>
                  <a:lnTo>
                    <a:pt x="153" y="1134"/>
                  </a:lnTo>
                  <a:lnTo>
                    <a:pt x="154" y="1134"/>
                  </a:lnTo>
                  <a:lnTo>
                    <a:pt x="154" y="1136"/>
                  </a:lnTo>
                  <a:lnTo>
                    <a:pt x="153" y="1136"/>
                  </a:lnTo>
                  <a:lnTo>
                    <a:pt x="154" y="1136"/>
                  </a:lnTo>
                  <a:lnTo>
                    <a:pt x="154" y="1137"/>
                  </a:lnTo>
                  <a:lnTo>
                    <a:pt x="153" y="1137"/>
                  </a:lnTo>
                  <a:lnTo>
                    <a:pt x="153" y="1139"/>
                  </a:lnTo>
                  <a:lnTo>
                    <a:pt x="153" y="1141"/>
                  </a:lnTo>
                  <a:lnTo>
                    <a:pt x="153" y="1142"/>
                  </a:lnTo>
                  <a:lnTo>
                    <a:pt x="151" y="1142"/>
                  </a:lnTo>
                  <a:lnTo>
                    <a:pt x="151" y="1144"/>
                  </a:lnTo>
                  <a:lnTo>
                    <a:pt x="151" y="1142"/>
                  </a:lnTo>
                  <a:lnTo>
                    <a:pt x="149" y="1142"/>
                  </a:lnTo>
                  <a:lnTo>
                    <a:pt x="148" y="1142"/>
                  </a:lnTo>
                  <a:lnTo>
                    <a:pt x="146" y="1141"/>
                  </a:lnTo>
                  <a:lnTo>
                    <a:pt x="146" y="1139"/>
                  </a:lnTo>
                  <a:lnTo>
                    <a:pt x="148" y="1139"/>
                  </a:lnTo>
                  <a:lnTo>
                    <a:pt x="146" y="1139"/>
                  </a:lnTo>
                  <a:lnTo>
                    <a:pt x="146" y="1137"/>
                  </a:lnTo>
                  <a:lnTo>
                    <a:pt x="144" y="1136"/>
                  </a:lnTo>
                  <a:lnTo>
                    <a:pt x="143" y="1136"/>
                  </a:lnTo>
                  <a:lnTo>
                    <a:pt x="143" y="1134"/>
                  </a:lnTo>
                  <a:lnTo>
                    <a:pt x="144" y="1134"/>
                  </a:lnTo>
                  <a:lnTo>
                    <a:pt x="143" y="1134"/>
                  </a:lnTo>
                  <a:lnTo>
                    <a:pt x="144" y="1132"/>
                  </a:lnTo>
                  <a:lnTo>
                    <a:pt x="146" y="1132"/>
                  </a:lnTo>
                  <a:lnTo>
                    <a:pt x="148" y="1132"/>
                  </a:lnTo>
                  <a:lnTo>
                    <a:pt x="148" y="1131"/>
                  </a:lnTo>
                  <a:lnTo>
                    <a:pt x="149" y="1131"/>
                  </a:lnTo>
                  <a:lnTo>
                    <a:pt x="151" y="1131"/>
                  </a:lnTo>
                  <a:lnTo>
                    <a:pt x="153" y="1131"/>
                  </a:lnTo>
                  <a:lnTo>
                    <a:pt x="153" y="1129"/>
                  </a:lnTo>
                  <a:lnTo>
                    <a:pt x="153" y="1131"/>
                  </a:lnTo>
                  <a:close/>
                  <a:moveTo>
                    <a:pt x="440" y="675"/>
                  </a:moveTo>
                  <a:lnTo>
                    <a:pt x="440" y="677"/>
                  </a:lnTo>
                  <a:lnTo>
                    <a:pt x="442" y="677"/>
                  </a:lnTo>
                  <a:lnTo>
                    <a:pt x="442" y="679"/>
                  </a:lnTo>
                  <a:lnTo>
                    <a:pt x="442" y="680"/>
                  </a:lnTo>
                  <a:lnTo>
                    <a:pt x="442" y="682"/>
                  </a:lnTo>
                  <a:lnTo>
                    <a:pt x="444" y="682"/>
                  </a:lnTo>
                  <a:lnTo>
                    <a:pt x="444" y="683"/>
                  </a:lnTo>
                  <a:lnTo>
                    <a:pt x="442" y="685"/>
                  </a:lnTo>
                  <a:lnTo>
                    <a:pt x="442" y="687"/>
                  </a:lnTo>
                  <a:lnTo>
                    <a:pt x="440" y="687"/>
                  </a:lnTo>
                  <a:lnTo>
                    <a:pt x="439" y="685"/>
                  </a:lnTo>
                  <a:lnTo>
                    <a:pt x="437" y="685"/>
                  </a:lnTo>
                  <a:lnTo>
                    <a:pt x="437" y="683"/>
                  </a:lnTo>
                  <a:lnTo>
                    <a:pt x="437" y="682"/>
                  </a:lnTo>
                  <a:lnTo>
                    <a:pt x="436" y="682"/>
                  </a:lnTo>
                  <a:lnTo>
                    <a:pt x="434" y="682"/>
                  </a:lnTo>
                  <a:lnTo>
                    <a:pt x="434" y="680"/>
                  </a:lnTo>
                  <a:lnTo>
                    <a:pt x="434" y="679"/>
                  </a:lnTo>
                  <a:lnTo>
                    <a:pt x="434" y="677"/>
                  </a:lnTo>
                  <a:lnTo>
                    <a:pt x="436" y="677"/>
                  </a:lnTo>
                  <a:lnTo>
                    <a:pt x="436" y="675"/>
                  </a:lnTo>
                  <a:lnTo>
                    <a:pt x="436" y="674"/>
                  </a:lnTo>
                  <a:lnTo>
                    <a:pt x="437" y="674"/>
                  </a:lnTo>
                  <a:lnTo>
                    <a:pt x="439" y="674"/>
                  </a:lnTo>
                  <a:lnTo>
                    <a:pt x="440" y="675"/>
                  </a:lnTo>
                  <a:close/>
                  <a:moveTo>
                    <a:pt x="764" y="898"/>
                  </a:moveTo>
                  <a:lnTo>
                    <a:pt x="766" y="897"/>
                  </a:lnTo>
                  <a:lnTo>
                    <a:pt x="767" y="897"/>
                  </a:lnTo>
                  <a:lnTo>
                    <a:pt x="767" y="898"/>
                  </a:lnTo>
                  <a:lnTo>
                    <a:pt x="769" y="898"/>
                  </a:lnTo>
                  <a:lnTo>
                    <a:pt x="771" y="898"/>
                  </a:lnTo>
                  <a:lnTo>
                    <a:pt x="772" y="898"/>
                  </a:lnTo>
                  <a:lnTo>
                    <a:pt x="774" y="898"/>
                  </a:lnTo>
                  <a:lnTo>
                    <a:pt x="775" y="900"/>
                  </a:lnTo>
                  <a:lnTo>
                    <a:pt x="775" y="901"/>
                  </a:lnTo>
                  <a:lnTo>
                    <a:pt x="777" y="903"/>
                  </a:lnTo>
                  <a:lnTo>
                    <a:pt x="775" y="903"/>
                  </a:lnTo>
                  <a:lnTo>
                    <a:pt x="775" y="905"/>
                  </a:lnTo>
                  <a:lnTo>
                    <a:pt x="774" y="905"/>
                  </a:lnTo>
                  <a:lnTo>
                    <a:pt x="772" y="905"/>
                  </a:lnTo>
                  <a:lnTo>
                    <a:pt x="772" y="906"/>
                  </a:lnTo>
                  <a:lnTo>
                    <a:pt x="772" y="905"/>
                  </a:lnTo>
                  <a:lnTo>
                    <a:pt x="771" y="906"/>
                  </a:lnTo>
                  <a:lnTo>
                    <a:pt x="771" y="905"/>
                  </a:lnTo>
                  <a:lnTo>
                    <a:pt x="769" y="905"/>
                  </a:lnTo>
                  <a:lnTo>
                    <a:pt x="769" y="906"/>
                  </a:lnTo>
                  <a:lnTo>
                    <a:pt x="767" y="906"/>
                  </a:lnTo>
                  <a:lnTo>
                    <a:pt x="766" y="906"/>
                  </a:lnTo>
                  <a:lnTo>
                    <a:pt x="766" y="905"/>
                  </a:lnTo>
                  <a:lnTo>
                    <a:pt x="764" y="905"/>
                  </a:lnTo>
                  <a:lnTo>
                    <a:pt x="764" y="903"/>
                  </a:lnTo>
                  <a:lnTo>
                    <a:pt x="766" y="903"/>
                  </a:lnTo>
                  <a:lnTo>
                    <a:pt x="764" y="901"/>
                  </a:lnTo>
                  <a:lnTo>
                    <a:pt x="764" y="900"/>
                  </a:lnTo>
                  <a:lnTo>
                    <a:pt x="766" y="900"/>
                  </a:lnTo>
                  <a:lnTo>
                    <a:pt x="766" y="898"/>
                  </a:lnTo>
                  <a:lnTo>
                    <a:pt x="764" y="898"/>
                  </a:lnTo>
                  <a:close/>
                  <a:moveTo>
                    <a:pt x="323" y="589"/>
                  </a:moveTo>
                  <a:lnTo>
                    <a:pt x="322" y="589"/>
                  </a:lnTo>
                  <a:lnTo>
                    <a:pt x="322" y="588"/>
                  </a:lnTo>
                  <a:lnTo>
                    <a:pt x="320" y="588"/>
                  </a:lnTo>
                  <a:lnTo>
                    <a:pt x="320" y="586"/>
                  </a:lnTo>
                  <a:lnTo>
                    <a:pt x="320" y="584"/>
                  </a:lnTo>
                  <a:lnTo>
                    <a:pt x="320" y="583"/>
                  </a:lnTo>
                  <a:lnTo>
                    <a:pt x="320" y="581"/>
                  </a:lnTo>
                  <a:lnTo>
                    <a:pt x="320" y="579"/>
                  </a:lnTo>
                  <a:lnTo>
                    <a:pt x="322" y="579"/>
                  </a:lnTo>
                  <a:lnTo>
                    <a:pt x="323" y="578"/>
                  </a:lnTo>
                  <a:lnTo>
                    <a:pt x="323" y="576"/>
                  </a:lnTo>
                  <a:lnTo>
                    <a:pt x="325" y="576"/>
                  </a:lnTo>
                  <a:lnTo>
                    <a:pt x="325" y="578"/>
                  </a:lnTo>
                  <a:lnTo>
                    <a:pt x="327" y="578"/>
                  </a:lnTo>
                  <a:lnTo>
                    <a:pt x="327" y="579"/>
                  </a:lnTo>
                  <a:lnTo>
                    <a:pt x="327" y="581"/>
                  </a:lnTo>
                  <a:lnTo>
                    <a:pt x="328" y="581"/>
                  </a:lnTo>
                  <a:lnTo>
                    <a:pt x="328" y="583"/>
                  </a:lnTo>
                  <a:lnTo>
                    <a:pt x="327" y="584"/>
                  </a:lnTo>
                  <a:lnTo>
                    <a:pt x="327" y="586"/>
                  </a:lnTo>
                  <a:lnTo>
                    <a:pt x="325" y="586"/>
                  </a:lnTo>
                  <a:lnTo>
                    <a:pt x="325" y="588"/>
                  </a:lnTo>
                  <a:lnTo>
                    <a:pt x="325" y="589"/>
                  </a:lnTo>
                  <a:lnTo>
                    <a:pt x="323" y="589"/>
                  </a:lnTo>
                  <a:close/>
                  <a:moveTo>
                    <a:pt x="901" y="1209"/>
                  </a:moveTo>
                  <a:lnTo>
                    <a:pt x="902" y="1209"/>
                  </a:lnTo>
                  <a:lnTo>
                    <a:pt x="904" y="1207"/>
                  </a:lnTo>
                  <a:lnTo>
                    <a:pt x="904" y="1209"/>
                  </a:lnTo>
                  <a:lnTo>
                    <a:pt x="904" y="1210"/>
                  </a:lnTo>
                  <a:lnTo>
                    <a:pt x="904" y="1212"/>
                  </a:lnTo>
                  <a:lnTo>
                    <a:pt x="904" y="1214"/>
                  </a:lnTo>
                  <a:lnTo>
                    <a:pt x="906" y="1214"/>
                  </a:lnTo>
                  <a:lnTo>
                    <a:pt x="906" y="1215"/>
                  </a:lnTo>
                  <a:lnTo>
                    <a:pt x="904" y="1215"/>
                  </a:lnTo>
                  <a:lnTo>
                    <a:pt x="904" y="1217"/>
                  </a:lnTo>
                  <a:lnTo>
                    <a:pt x="904" y="1219"/>
                  </a:lnTo>
                  <a:lnTo>
                    <a:pt x="904" y="1220"/>
                  </a:lnTo>
                  <a:lnTo>
                    <a:pt x="902" y="1220"/>
                  </a:lnTo>
                  <a:lnTo>
                    <a:pt x="902" y="1219"/>
                  </a:lnTo>
                  <a:lnTo>
                    <a:pt x="901" y="1219"/>
                  </a:lnTo>
                  <a:lnTo>
                    <a:pt x="901" y="1217"/>
                  </a:lnTo>
                  <a:lnTo>
                    <a:pt x="899" y="1217"/>
                  </a:lnTo>
                  <a:lnTo>
                    <a:pt x="899" y="1215"/>
                  </a:lnTo>
                  <a:lnTo>
                    <a:pt x="897" y="1215"/>
                  </a:lnTo>
                  <a:lnTo>
                    <a:pt x="897" y="1214"/>
                  </a:lnTo>
                  <a:lnTo>
                    <a:pt x="897" y="1212"/>
                  </a:lnTo>
                  <a:lnTo>
                    <a:pt x="897" y="1210"/>
                  </a:lnTo>
                  <a:lnTo>
                    <a:pt x="899" y="1209"/>
                  </a:lnTo>
                  <a:lnTo>
                    <a:pt x="901" y="1209"/>
                  </a:lnTo>
                  <a:close/>
                  <a:moveTo>
                    <a:pt x="598" y="305"/>
                  </a:moveTo>
                  <a:lnTo>
                    <a:pt x="600" y="303"/>
                  </a:lnTo>
                  <a:lnTo>
                    <a:pt x="601" y="303"/>
                  </a:lnTo>
                  <a:lnTo>
                    <a:pt x="603" y="303"/>
                  </a:lnTo>
                  <a:lnTo>
                    <a:pt x="601" y="305"/>
                  </a:lnTo>
                  <a:lnTo>
                    <a:pt x="601" y="303"/>
                  </a:lnTo>
                  <a:lnTo>
                    <a:pt x="601" y="305"/>
                  </a:lnTo>
                  <a:lnTo>
                    <a:pt x="601" y="303"/>
                  </a:lnTo>
                  <a:lnTo>
                    <a:pt x="600" y="303"/>
                  </a:lnTo>
                  <a:lnTo>
                    <a:pt x="598" y="303"/>
                  </a:lnTo>
                  <a:lnTo>
                    <a:pt x="598" y="305"/>
                  </a:lnTo>
                  <a:lnTo>
                    <a:pt x="598" y="306"/>
                  </a:lnTo>
                  <a:lnTo>
                    <a:pt x="598" y="308"/>
                  </a:lnTo>
                  <a:lnTo>
                    <a:pt x="600" y="308"/>
                  </a:lnTo>
                  <a:lnTo>
                    <a:pt x="598" y="308"/>
                  </a:lnTo>
                  <a:lnTo>
                    <a:pt x="598" y="306"/>
                  </a:lnTo>
                  <a:lnTo>
                    <a:pt x="597" y="306"/>
                  </a:lnTo>
                  <a:lnTo>
                    <a:pt x="598" y="306"/>
                  </a:lnTo>
                  <a:lnTo>
                    <a:pt x="597" y="306"/>
                  </a:lnTo>
                  <a:lnTo>
                    <a:pt x="597" y="308"/>
                  </a:lnTo>
                  <a:lnTo>
                    <a:pt x="595" y="308"/>
                  </a:lnTo>
                  <a:lnTo>
                    <a:pt x="597" y="309"/>
                  </a:lnTo>
                  <a:lnTo>
                    <a:pt x="597" y="313"/>
                  </a:lnTo>
                  <a:lnTo>
                    <a:pt x="598" y="311"/>
                  </a:lnTo>
                  <a:lnTo>
                    <a:pt x="598" y="309"/>
                  </a:lnTo>
                  <a:lnTo>
                    <a:pt x="598" y="311"/>
                  </a:lnTo>
                  <a:lnTo>
                    <a:pt x="597" y="313"/>
                  </a:lnTo>
                  <a:lnTo>
                    <a:pt x="597" y="316"/>
                  </a:lnTo>
                  <a:lnTo>
                    <a:pt x="595" y="316"/>
                  </a:lnTo>
                  <a:lnTo>
                    <a:pt x="595" y="314"/>
                  </a:lnTo>
                  <a:lnTo>
                    <a:pt x="595" y="316"/>
                  </a:lnTo>
                  <a:lnTo>
                    <a:pt x="593" y="314"/>
                  </a:lnTo>
                  <a:lnTo>
                    <a:pt x="595" y="313"/>
                  </a:lnTo>
                  <a:lnTo>
                    <a:pt x="593" y="311"/>
                  </a:lnTo>
                  <a:lnTo>
                    <a:pt x="592" y="311"/>
                  </a:lnTo>
                  <a:lnTo>
                    <a:pt x="592" y="309"/>
                  </a:lnTo>
                  <a:lnTo>
                    <a:pt x="590" y="308"/>
                  </a:lnTo>
                  <a:lnTo>
                    <a:pt x="592" y="308"/>
                  </a:lnTo>
                  <a:lnTo>
                    <a:pt x="590" y="306"/>
                  </a:lnTo>
                  <a:lnTo>
                    <a:pt x="592" y="305"/>
                  </a:lnTo>
                  <a:lnTo>
                    <a:pt x="593" y="305"/>
                  </a:lnTo>
                  <a:lnTo>
                    <a:pt x="592" y="306"/>
                  </a:lnTo>
                  <a:lnTo>
                    <a:pt x="593" y="306"/>
                  </a:lnTo>
                  <a:lnTo>
                    <a:pt x="593" y="305"/>
                  </a:lnTo>
                  <a:lnTo>
                    <a:pt x="595" y="305"/>
                  </a:lnTo>
                  <a:lnTo>
                    <a:pt x="595" y="303"/>
                  </a:lnTo>
                  <a:lnTo>
                    <a:pt x="597" y="303"/>
                  </a:lnTo>
                  <a:lnTo>
                    <a:pt x="597" y="305"/>
                  </a:lnTo>
                  <a:lnTo>
                    <a:pt x="598" y="305"/>
                  </a:lnTo>
                  <a:close/>
                  <a:moveTo>
                    <a:pt x="354" y="646"/>
                  </a:moveTo>
                  <a:lnTo>
                    <a:pt x="354" y="648"/>
                  </a:lnTo>
                  <a:lnTo>
                    <a:pt x="354" y="649"/>
                  </a:lnTo>
                  <a:lnTo>
                    <a:pt x="354" y="651"/>
                  </a:lnTo>
                  <a:lnTo>
                    <a:pt x="353" y="651"/>
                  </a:lnTo>
                  <a:lnTo>
                    <a:pt x="351" y="651"/>
                  </a:lnTo>
                  <a:lnTo>
                    <a:pt x="349" y="651"/>
                  </a:lnTo>
                  <a:lnTo>
                    <a:pt x="348" y="651"/>
                  </a:lnTo>
                  <a:lnTo>
                    <a:pt x="348" y="649"/>
                  </a:lnTo>
                  <a:lnTo>
                    <a:pt x="346" y="649"/>
                  </a:lnTo>
                  <a:lnTo>
                    <a:pt x="346" y="648"/>
                  </a:lnTo>
                  <a:lnTo>
                    <a:pt x="346" y="646"/>
                  </a:lnTo>
                  <a:lnTo>
                    <a:pt x="348" y="646"/>
                  </a:lnTo>
                  <a:lnTo>
                    <a:pt x="349" y="646"/>
                  </a:lnTo>
                  <a:lnTo>
                    <a:pt x="351" y="644"/>
                  </a:lnTo>
                  <a:lnTo>
                    <a:pt x="349" y="644"/>
                  </a:lnTo>
                  <a:lnTo>
                    <a:pt x="349" y="643"/>
                  </a:lnTo>
                  <a:lnTo>
                    <a:pt x="349" y="641"/>
                  </a:lnTo>
                  <a:lnTo>
                    <a:pt x="351" y="641"/>
                  </a:lnTo>
                  <a:lnTo>
                    <a:pt x="353" y="641"/>
                  </a:lnTo>
                  <a:lnTo>
                    <a:pt x="353" y="643"/>
                  </a:lnTo>
                  <a:lnTo>
                    <a:pt x="353" y="644"/>
                  </a:lnTo>
                  <a:lnTo>
                    <a:pt x="354" y="644"/>
                  </a:lnTo>
                  <a:lnTo>
                    <a:pt x="354" y="646"/>
                  </a:lnTo>
                  <a:close/>
                  <a:moveTo>
                    <a:pt x="375" y="679"/>
                  </a:moveTo>
                  <a:lnTo>
                    <a:pt x="375" y="680"/>
                  </a:lnTo>
                  <a:lnTo>
                    <a:pt x="375" y="679"/>
                  </a:lnTo>
                  <a:lnTo>
                    <a:pt x="377" y="679"/>
                  </a:lnTo>
                  <a:lnTo>
                    <a:pt x="377" y="680"/>
                  </a:lnTo>
                  <a:lnTo>
                    <a:pt x="379" y="680"/>
                  </a:lnTo>
                  <a:lnTo>
                    <a:pt x="379" y="682"/>
                  </a:lnTo>
                  <a:lnTo>
                    <a:pt x="379" y="683"/>
                  </a:lnTo>
                  <a:lnTo>
                    <a:pt x="379" y="685"/>
                  </a:lnTo>
                  <a:lnTo>
                    <a:pt x="379" y="687"/>
                  </a:lnTo>
                  <a:lnTo>
                    <a:pt x="377" y="687"/>
                  </a:lnTo>
                  <a:lnTo>
                    <a:pt x="377" y="688"/>
                  </a:lnTo>
                  <a:lnTo>
                    <a:pt x="375" y="688"/>
                  </a:lnTo>
                  <a:lnTo>
                    <a:pt x="375" y="687"/>
                  </a:lnTo>
                  <a:lnTo>
                    <a:pt x="375" y="688"/>
                  </a:lnTo>
                  <a:lnTo>
                    <a:pt x="375" y="687"/>
                  </a:lnTo>
                  <a:lnTo>
                    <a:pt x="374" y="687"/>
                  </a:lnTo>
                  <a:lnTo>
                    <a:pt x="372" y="685"/>
                  </a:lnTo>
                  <a:lnTo>
                    <a:pt x="372" y="683"/>
                  </a:lnTo>
                  <a:lnTo>
                    <a:pt x="372" y="682"/>
                  </a:lnTo>
                  <a:lnTo>
                    <a:pt x="374" y="682"/>
                  </a:lnTo>
                  <a:lnTo>
                    <a:pt x="374" y="680"/>
                  </a:lnTo>
                  <a:lnTo>
                    <a:pt x="374" y="679"/>
                  </a:lnTo>
                  <a:lnTo>
                    <a:pt x="375" y="679"/>
                  </a:lnTo>
                  <a:close/>
                  <a:moveTo>
                    <a:pt x="886" y="1201"/>
                  </a:moveTo>
                  <a:lnTo>
                    <a:pt x="888" y="1201"/>
                  </a:lnTo>
                  <a:lnTo>
                    <a:pt x="889" y="1201"/>
                  </a:lnTo>
                  <a:lnTo>
                    <a:pt x="891" y="1201"/>
                  </a:lnTo>
                  <a:lnTo>
                    <a:pt x="893" y="1201"/>
                  </a:lnTo>
                  <a:lnTo>
                    <a:pt x="893" y="1202"/>
                  </a:lnTo>
                  <a:lnTo>
                    <a:pt x="894" y="1202"/>
                  </a:lnTo>
                  <a:lnTo>
                    <a:pt x="894" y="1204"/>
                  </a:lnTo>
                  <a:lnTo>
                    <a:pt x="893" y="1204"/>
                  </a:lnTo>
                  <a:lnTo>
                    <a:pt x="894" y="1207"/>
                  </a:lnTo>
                  <a:lnTo>
                    <a:pt x="893" y="1207"/>
                  </a:lnTo>
                  <a:lnTo>
                    <a:pt x="891" y="1207"/>
                  </a:lnTo>
                  <a:lnTo>
                    <a:pt x="889" y="1206"/>
                  </a:lnTo>
                  <a:lnTo>
                    <a:pt x="888" y="1206"/>
                  </a:lnTo>
                  <a:lnTo>
                    <a:pt x="886" y="1206"/>
                  </a:lnTo>
                  <a:lnTo>
                    <a:pt x="884" y="1204"/>
                  </a:lnTo>
                  <a:lnTo>
                    <a:pt x="884" y="1202"/>
                  </a:lnTo>
                  <a:lnTo>
                    <a:pt x="886" y="1201"/>
                  </a:lnTo>
                  <a:close/>
                  <a:moveTo>
                    <a:pt x="279" y="835"/>
                  </a:moveTo>
                  <a:lnTo>
                    <a:pt x="281" y="836"/>
                  </a:lnTo>
                  <a:lnTo>
                    <a:pt x="281" y="838"/>
                  </a:lnTo>
                  <a:lnTo>
                    <a:pt x="281" y="840"/>
                  </a:lnTo>
                  <a:lnTo>
                    <a:pt x="281" y="841"/>
                  </a:lnTo>
                  <a:lnTo>
                    <a:pt x="281" y="840"/>
                  </a:lnTo>
                  <a:lnTo>
                    <a:pt x="283" y="840"/>
                  </a:lnTo>
                  <a:lnTo>
                    <a:pt x="283" y="841"/>
                  </a:lnTo>
                  <a:lnTo>
                    <a:pt x="281" y="841"/>
                  </a:lnTo>
                  <a:lnTo>
                    <a:pt x="283" y="841"/>
                  </a:lnTo>
                  <a:lnTo>
                    <a:pt x="281" y="841"/>
                  </a:lnTo>
                  <a:lnTo>
                    <a:pt x="283" y="843"/>
                  </a:lnTo>
                  <a:lnTo>
                    <a:pt x="281" y="843"/>
                  </a:lnTo>
                  <a:lnTo>
                    <a:pt x="279" y="843"/>
                  </a:lnTo>
                  <a:lnTo>
                    <a:pt x="278" y="843"/>
                  </a:lnTo>
                  <a:lnTo>
                    <a:pt x="276" y="843"/>
                  </a:lnTo>
                  <a:lnTo>
                    <a:pt x="275" y="843"/>
                  </a:lnTo>
                  <a:lnTo>
                    <a:pt x="275" y="841"/>
                  </a:lnTo>
                  <a:lnTo>
                    <a:pt x="275" y="840"/>
                  </a:lnTo>
                  <a:lnTo>
                    <a:pt x="276" y="840"/>
                  </a:lnTo>
                  <a:lnTo>
                    <a:pt x="278" y="840"/>
                  </a:lnTo>
                  <a:lnTo>
                    <a:pt x="278" y="838"/>
                  </a:lnTo>
                  <a:lnTo>
                    <a:pt x="278" y="836"/>
                  </a:lnTo>
                  <a:lnTo>
                    <a:pt x="278" y="838"/>
                  </a:lnTo>
                  <a:lnTo>
                    <a:pt x="279" y="838"/>
                  </a:lnTo>
                  <a:lnTo>
                    <a:pt x="279" y="836"/>
                  </a:lnTo>
                  <a:lnTo>
                    <a:pt x="279" y="835"/>
                  </a:lnTo>
                  <a:close/>
                  <a:moveTo>
                    <a:pt x="906" y="1222"/>
                  </a:moveTo>
                  <a:lnTo>
                    <a:pt x="904" y="1223"/>
                  </a:lnTo>
                  <a:lnTo>
                    <a:pt x="906" y="1223"/>
                  </a:lnTo>
                  <a:lnTo>
                    <a:pt x="907" y="1223"/>
                  </a:lnTo>
                  <a:lnTo>
                    <a:pt x="907" y="1225"/>
                  </a:lnTo>
                  <a:lnTo>
                    <a:pt x="909" y="1225"/>
                  </a:lnTo>
                  <a:lnTo>
                    <a:pt x="909" y="1227"/>
                  </a:lnTo>
                  <a:lnTo>
                    <a:pt x="909" y="1228"/>
                  </a:lnTo>
                  <a:lnTo>
                    <a:pt x="910" y="1228"/>
                  </a:lnTo>
                  <a:lnTo>
                    <a:pt x="909" y="1230"/>
                  </a:lnTo>
                  <a:lnTo>
                    <a:pt x="907" y="1230"/>
                  </a:lnTo>
                  <a:lnTo>
                    <a:pt x="906" y="1230"/>
                  </a:lnTo>
                  <a:lnTo>
                    <a:pt x="906" y="1228"/>
                  </a:lnTo>
                  <a:lnTo>
                    <a:pt x="904" y="1228"/>
                  </a:lnTo>
                  <a:lnTo>
                    <a:pt x="904" y="1227"/>
                  </a:lnTo>
                  <a:lnTo>
                    <a:pt x="902" y="1227"/>
                  </a:lnTo>
                  <a:lnTo>
                    <a:pt x="902" y="1225"/>
                  </a:lnTo>
                  <a:lnTo>
                    <a:pt x="902" y="1223"/>
                  </a:lnTo>
                  <a:lnTo>
                    <a:pt x="904" y="1223"/>
                  </a:lnTo>
                  <a:lnTo>
                    <a:pt x="904" y="1222"/>
                  </a:lnTo>
                  <a:lnTo>
                    <a:pt x="904" y="1220"/>
                  </a:lnTo>
                  <a:lnTo>
                    <a:pt x="906" y="1222"/>
                  </a:lnTo>
                  <a:close/>
                  <a:moveTo>
                    <a:pt x="640" y="1648"/>
                  </a:moveTo>
                  <a:lnTo>
                    <a:pt x="640" y="1646"/>
                  </a:lnTo>
                  <a:lnTo>
                    <a:pt x="642" y="1646"/>
                  </a:lnTo>
                  <a:lnTo>
                    <a:pt x="644" y="1646"/>
                  </a:lnTo>
                  <a:lnTo>
                    <a:pt x="645" y="1646"/>
                  </a:lnTo>
                  <a:lnTo>
                    <a:pt x="647" y="1646"/>
                  </a:lnTo>
                  <a:lnTo>
                    <a:pt x="649" y="1646"/>
                  </a:lnTo>
                  <a:lnTo>
                    <a:pt x="650" y="1646"/>
                  </a:lnTo>
                  <a:lnTo>
                    <a:pt x="652" y="1646"/>
                  </a:lnTo>
                  <a:lnTo>
                    <a:pt x="653" y="1646"/>
                  </a:lnTo>
                  <a:lnTo>
                    <a:pt x="653" y="1648"/>
                  </a:lnTo>
                  <a:lnTo>
                    <a:pt x="652" y="1648"/>
                  </a:lnTo>
                  <a:lnTo>
                    <a:pt x="653" y="1648"/>
                  </a:lnTo>
                  <a:lnTo>
                    <a:pt x="653" y="1650"/>
                  </a:lnTo>
                  <a:lnTo>
                    <a:pt x="652" y="1650"/>
                  </a:lnTo>
                  <a:lnTo>
                    <a:pt x="653" y="1650"/>
                  </a:lnTo>
                  <a:lnTo>
                    <a:pt x="653" y="1651"/>
                  </a:lnTo>
                  <a:lnTo>
                    <a:pt x="652" y="1651"/>
                  </a:lnTo>
                  <a:lnTo>
                    <a:pt x="650" y="1651"/>
                  </a:lnTo>
                  <a:lnTo>
                    <a:pt x="650" y="1650"/>
                  </a:lnTo>
                  <a:lnTo>
                    <a:pt x="650" y="1651"/>
                  </a:lnTo>
                  <a:lnTo>
                    <a:pt x="649" y="1650"/>
                  </a:lnTo>
                  <a:lnTo>
                    <a:pt x="647" y="1650"/>
                  </a:lnTo>
                  <a:lnTo>
                    <a:pt x="645" y="1648"/>
                  </a:lnTo>
                  <a:lnTo>
                    <a:pt x="645" y="1650"/>
                  </a:lnTo>
                  <a:lnTo>
                    <a:pt x="645" y="1648"/>
                  </a:lnTo>
                  <a:lnTo>
                    <a:pt x="644" y="1648"/>
                  </a:lnTo>
                  <a:lnTo>
                    <a:pt x="642" y="1648"/>
                  </a:lnTo>
                  <a:lnTo>
                    <a:pt x="640" y="1648"/>
                  </a:lnTo>
                  <a:close/>
                  <a:moveTo>
                    <a:pt x="605" y="1305"/>
                  </a:moveTo>
                  <a:lnTo>
                    <a:pt x="605" y="1303"/>
                  </a:lnTo>
                  <a:lnTo>
                    <a:pt x="606" y="1303"/>
                  </a:lnTo>
                  <a:lnTo>
                    <a:pt x="606" y="1305"/>
                  </a:lnTo>
                  <a:lnTo>
                    <a:pt x="608" y="1306"/>
                  </a:lnTo>
                  <a:lnTo>
                    <a:pt x="610" y="1305"/>
                  </a:lnTo>
                  <a:lnTo>
                    <a:pt x="611" y="1305"/>
                  </a:lnTo>
                  <a:lnTo>
                    <a:pt x="611" y="1306"/>
                  </a:lnTo>
                  <a:lnTo>
                    <a:pt x="613" y="1308"/>
                  </a:lnTo>
                  <a:lnTo>
                    <a:pt x="613" y="1306"/>
                  </a:lnTo>
                  <a:lnTo>
                    <a:pt x="613" y="1308"/>
                  </a:lnTo>
                  <a:lnTo>
                    <a:pt x="613" y="1310"/>
                  </a:lnTo>
                  <a:lnTo>
                    <a:pt x="611" y="1310"/>
                  </a:lnTo>
                  <a:lnTo>
                    <a:pt x="610" y="1308"/>
                  </a:lnTo>
                  <a:lnTo>
                    <a:pt x="608" y="1308"/>
                  </a:lnTo>
                  <a:lnTo>
                    <a:pt x="606" y="1308"/>
                  </a:lnTo>
                  <a:lnTo>
                    <a:pt x="605" y="1308"/>
                  </a:lnTo>
                  <a:lnTo>
                    <a:pt x="603" y="1308"/>
                  </a:lnTo>
                  <a:lnTo>
                    <a:pt x="603" y="1306"/>
                  </a:lnTo>
                  <a:lnTo>
                    <a:pt x="601" y="1306"/>
                  </a:lnTo>
                  <a:lnTo>
                    <a:pt x="601" y="1305"/>
                  </a:lnTo>
                  <a:lnTo>
                    <a:pt x="603" y="1305"/>
                  </a:lnTo>
                  <a:lnTo>
                    <a:pt x="605" y="1305"/>
                  </a:lnTo>
                  <a:close/>
                  <a:moveTo>
                    <a:pt x="567" y="241"/>
                  </a:moveTo>
                  <a:lnTo>
                    <a:pt x="569" y="241"/>
                  </a:lnTo>
                  <a:lnTo>
                    <a:pt x="571" y="241"/>
                  </a:lnTo>
                  <a:lnTo>
                    <a:pt x="571" y="244"/>
                  </a:lnTo>
                  <a:lnTo>
                    <a:pt x="571" y="246"/>
                  </a:lnTo>
                  <a:lnTo>
                    <a:pt x="571" y="248"/>
                  </a:lnTo>
                  <a:lnTo>
                    <a:pt x="569" y="248"/>
                  </a:lnTo>
                  <a:lnTo>
                    <a:pt x="569" y="249"/>
                  </a:lnTo>
                  <a:lnTo>
                    <a:pt x="569" y="248"/>
                  </a:lnTo>
                  <a:lnTo>
                    <a:pt x="567" y="248"/>
                  </a:lnTo>
                  <a:lnTo>
                    <a:pt x="567" y="246"/>
                  </a:lnTo>
                  <a:lnTo>
                    <a:pt x="566" y="246"/>
                  </a:lnTo>
                  <a:lnTo>
                    <a:pt x="567" y="246"/>
                  </a:lnTo>
                  <a:lnTo>
                    <a:pt x="567" y="248"/>
                  </a:lnTo>
                  <a:lnTo>
                    <a:pt x="566" y="246"/>
                  </a:lnTo>
                  <a:lnTo>
                    <a:pt x="567" y="246"/>
                  </a:lnTo>
                  <a:lnTo>
                    <a:pt x="566" y="246"/>
                  </a:lnTo>
                  <a:lnTo>
                    <a:pt x="566" y="248"/>
                  </a:lnTo>
                  <a:lnTo>
                    <a:pt x="566" y="246"/>
                  </a:lnTo>
                  <a:lnTo>
                    <a:pt x="566" y="244"/>
                  </a:lnTo>
                  <a:lnTo>
                    <a:pt x="566" y="243"/>
                  </a:lnTo>
                  <a:lnTo>
                    <a:pt x="566" y="244"/>
                  </a:lnTo>
                  <a:lnTo>
                    <a:pt x="567" y="244"/>
                  </a:lnTo>
                  <a:lnTo>
                    <a:pt x="567" y="243"/>
                  </a:lnTo>
                  <a:lnTo>
                    <a:pt x="567" y="241"/>
                  </a:lnTo>
                  <a:close/>
                  <a:moveTo>
                    <a:pt x="284" y="838"/>
                  </a:moveTo>
                  <a:lnTo>
                    <a:pt x="284" y="840"/>
                  </a:lnTo>
                  <a:lnTo>
                    <a:pt x="286" y="838"/>
                  </a:lnTo>
                  <a:lnTo>
                    <a:pt x="286" y="840"/>
                  </a:lnTo>
                  <a:lnTo>
                    <a:pt x="286" y="841"/>
                  </a:lnTo>
                  <a:lnTo>
                    <a:pt x="288" y="841"/>
                  </a:lnTo>
                  <a:lnTo>
                    <a:pt x="288" y="843"/>
                  </a:lnTo>
                  <a:lnTo>
                    <a:pt x="286" y="843"/>
                  </a:lnTo>
                  <a:lnTo>
                    <a:pt x="286" y="845"/>
                  </a:lnTo>
                  <a:lnTo>
                    <a:pt x="284" y="846"/>
                  </a:lnTo>
                  <a:lnTo>
                    <a:pt x="284" y="848"/>
                  </a:lnTo>
                  <a:lnTo>
                    <a:pt x="283" y="848"/>
                  </a:lnTo>
                  <a:lnTo>
                    <a:pt x="283" y="846"/>
                  </a:lnTo>
                  <a:lnTo>
                    <a:pt x="284" y="846"/>
                  </a:lnTo>
                  <a:lnTo>
                    <a:pt x="283" y="846"/>
                  </a:lnTo>
                  <a:lnTo>
                    <a:pt x="283" y="848"/>
                  </a:lnTo>
                  <a:lnTo>
                    <a:pt x="281" y="848"/>
                  </a:lnTo>
                  <a:lnTo>
                    <a:pt x="281" y="846"/>
                  </a:lnTo>
                  <a:lnTo>
                    <a:pt x="283" y="846"/>
                  </a:lnTo>
                  <a:lnTo>
                    <a:pt x="283" y="845"/>
                  </a:lnTo>
                  <a:lnTo>
                    <a:pt x="284" y="845"/>
                  </a:lnTo>
                  <a:lnTo>
                    <a:pt x="283" y="845"/>
                  </a:lnTo>
                  <a:lnTo>
                    <a:pt x="283" y="843"/>
                  </a:lnTo>
                  <a:lnTo>
                    <a:pt x="283" y="841"/>
                  </a:lnTo>
                  <a:lnTo>
                    <a:pt x="284" y="841"/>
                  </a:lnTo>
                  <a:lnTo>
                    <a:pt x="283" y="841"/>
                  </a:lnTo>
                  <a:lnTo>
                    <a:pt x="284" y="841"/>
                  </a:lnTo>
                  <a:lnTo>
                    <a:pt x="284" y="840"/>
                  </a:lnTo>
                  <a:lnTo>
                    <a:pt x="284" y="838"/>
                  </a:lnTo>
                  <a:close/>
                  <a:moveTo>
                    <a:pt x="673" y="191"/>
                  </a:moveTo>
                  <a:lnTo>
                    <a:pt x="675" y="191"/>
                  </a:lnTo>
                  <a:lnTo>
                    <a:pt x="675" y="189"/>
                  </a:lnTo>
                  <a:lnTo>
                    <a:pt x="676" y="189"/>
                  </a:lnTo>
                  <a:lnTo>
                    <a:pt x="676" y="191"/>
                  </a:lnTo>
                  <a:lnTo>
                    <a:pt x="675" y="191"/>
                  </a:lnTo>
                  <a:lnTo>
                    <a:pt x="675" y="192"/>
                  </a:lnTo>
                  <a:lnTo>
                    <a:pt x="676" y="192"/>
                  </a:lnTo>
                  <a:lnTo>
                    <a:pt x="676" y="194"/>
                  </a:lnTo>
                  <a:lnTo>
                    <a:pt x="676" y="196"/>
                  </a:lnTo>
                  <a:lnTo>
                    <a:pt x="678" y="196"/>
                  </a:lnTo>
                  <a:lnTo>
                    <a:pt x="676" y="196"/>
                  </a:lnTo>
                  <a:lnTo>
                    <a:pt x="675" y="194"/>
                  </a:lnTo>
                  <a:lnTo>
                    <a:pt x="673" y="194"/>
                  </a:lnTo>
                  <a:lnTo>
                    <a:pt x="675" y="194"/>
                  </a:lnTo>
                  <a:lnTo>
                    <a:pt x="675" y="196"/>
                  </a:lnTo>
                  <a:lnTo>
                    <a:pt x="673" y="194"/>
                  </a:lnTo>
                  <a:lnTo>
                    <a:pt x="671" y="194"/>
                  </a:lnTo>
                  <a:lnTo>
                    <a:pt x="670" y="194"/>
                  </a:lnTo>
                  <a:lnTo>
                    <a:pt x="670" y="192"/>
                  </a:lnTo>
                  <a:lnTo>
                    <a:pt x="671" y="192"/>
                  </a:lnTo>
                  <a:lnTo>
                    <a:pt x="673" y="192"/>
                  </a:lnTo>
                  <a:lnTo>
                    <a:pt x="673" y="191"/>
                  </a:lnTo>
                  <a:lnTo>
                    <a:pt x="673" y="192"/>
                  </a:lnTo>
                  <a:lnTo>
                    <a:pt x="671" y="192"/>
                  </a:lnTo>
                  <a:lnTo>
                    <a:pt x="670" y="192"/>
                  </a:lnTo>
                  <a:lnTo>
                    <a:pt x="671" y="192"/>
                  </a:lnTo>
                  <a:lnTo>
                    <a:pt x="671" y="191"/>
                  </a:lnTo>
                  <a:lnTo>
                    <a:pt x="673" y="191"/>
                  </a:lnTo>
                  <a:lnTo>
                    <a:pt x="673" y="189"/>
                  </a:lnTo>
                  <a:lnTo>
                    <a:pt x="673" y="191"/>
                  </a:lnTo>
                  <a:close/>
                  <a:moveTo>
                    <a:pt x="462" y="698"/>
                  </a:moveTo>
                  <a:lnTo>
                    <a:pt x="460" y="698"/>
                  </a:lnTo>
                  <a:lnTo>
                    <a:pt x="460" y="697"/>
                  </a:lnTo>
                  <a:lnTo>
                    <a:pt x="458" y="697"/>
                  </a:lnTo>
                  <a:lnTo>
                    <a:pt x="458" y="695"/>
                  </a:lnTo>
                  <a:lnTo>
                    <a:pt x="458" y="693"/>
                  </a:lnTo>
                  <a:lnTo>
                    <a:pt x="458" y="692"/>
                  </a:lnTo>
                  <a:lnTo>
                    <a:pt x="460" y="692"/>
                  </a:lnTo>
                  <a:lnTo>
                    <a:pt x="462" y="692"/>
                  </a:lnTo>
                  <a:lnTo>
                    <a:pt x="463" y="692"/>
                  </a:lnTo>
                  <a:lnTo>
                    <a:pt x="463" y="693"/>
                  </a:lnTo>
                  <a:lnTo>
                    <a:pt x="463" y="695"/>
                  </a:lnTo>
                  <a:lnTo>
                    <a:pt x="463" y="697"/>
                  </a:lnTo>
                  <a:lnTo>
                    <a:pt x="462" y="697"/>
                  </a:lnTo>
                  <a:lnTo>
                    <a:pt x="462" y="698"/>
                  </a:lnTo>
                  <a:close/>
                  <a:moveTo>
                    <a:pt x="577" y="266"/>
                  </a:moveTo>
                  <a:lnTo>
                    <a:pt x="575" y="266"/>
                  </a:lnTo>
                  <a:lnTo>
                    <a:pt x="575" y="267"/>
                  </a:lnTo>
                  <a:lnTo>
                    <a:pt x="575" y="269"/>
                  </a:lnTo>
                  <a:lnTo>
                    <a:pt x="575" y="270"/>
                  </a:lnTo>
                  <a:lnTo>
                    <a:pt x="577" y="270"/>
                  </a:lnTo>
                  <a:lnTo>
                    <a:pt x="577" y="272"/>
                  </a:lnTo>
                  <a:lnTo>
                    <a:pt x="577" y="274"/>
                  </a:lnTo>
                  <a:lnTo>
                    <a:pt x="575" y="274"/>
                  </a:lnTo>
                  <a:lnTo>
                    <a:pt x="572" y="274"/>
                  </a:lnTo>
                  <a:lnTo>
                    <a:pt x="571" y="272"/>
                  </a:lnTo>
                  <a:lnTo>
                    <a:pt x="572" y="272"/>
                  </a:lnTo>
                  <a:lnTo>
                    <a:pt x="572" y="270"/>
                  </a:lnTo>
                  <a:lnTo>
                    <a:pt x="572" y="269"/>
                  </a:lnTo>
                  <a:lnTo>
                    <a:pt x="574" y="269"/>
                  </a:lnTo>
                  <a:lnTo>
                    <a:pt x="574" y="270"/>
                  </a:lnTo>
                  <a:lnTo>
                    <a:pt x="575" y="269"/>
                  </a:lnTo>
                  <a:lnTo>
                    <a:pt x="574" y="269"/>
                  </a:lnTo>
                  <a:lnTo>
                    <a:pt x="575" y="267"/>
                  </a:lnTo>
                  <a:lnTo>
                    <a:pt x="575" y="266"/>
                  </a:lnTo>
                  <a:lnTo>
                    <a:pt x="577" y="266"/>
                  </a:lnTo>
                  <a:close/>
                  <a:moveTo>
                    <a:pt x="932" y="1168"/>
                  </a:moveTo>
                  <a:lnTo>
                    <a:pt x="932" y="1170"/>
                  </a:lnTo>
                  <a:lnTo>
                    <a:pt x="930" y="1171"/>
                  </a:lnTo>
                  <a:lnTo>
                    <a:pt x="930" y="1170"/>
                  </a:lnTo>
                  <a:lnTo>
                    <a:pt x="928" y="1170"/>
                  </a:lnTo>
                  <a:lnTo>
                    <a:pt x="927" y="1168"/>
                  </a:lnTo>
                  <a:lnTo>
                    <a:pt x="928" y="1168"/>
                  </a:lnTo>
                  <a:lnTo>
                    <a:pt x="928" y="1167"/>
                  </a:lnTo>
                  <a:lnTo>
                    <a:pt x="930" y="1165"/>
                  </a:lnTo>
                  <a:lnTo>
                    <a:pt x="932" y="1165"/>
                  </a:lnTo>
                  <a:lnTo>
                    <a:pt x="933" y="1165"/>
                  </a:lnTo>
                  <a:lnTo>
                    <a:pt x="933" y="1167"/>
                  </a:lnTo>
                  <a:lnTo>
                    <a:pt x="932" y="1168"/>
                  </a:lnTo>
                  <a:close/>
                  <a:moveTo>
                    <a:pt x="575" y="1298"/>
                  </a:moveTo>
                  <a:lnTo>
                    <a:pt x="577" y="1298"/>
                  </a:lnTo>
                  <a:lnTo>
                    <a:pt x="579" y="1298"/>
                  </a:lnTo>
                  <a:lnTo>
                    <a:pt x="577" y="1298"/>
                  </a:lnTo>
                  <a:lnTo>
                    <a:pt x="579" y="1300"/>
                  </a:lnTo>
                  <a:lnTo>
                    <a:pt x="579" y="1302"/>
                  </a:lnTo>
                  <a:lnTo>
                    <a:pt x="580" y="1302"/>
                  </a:lnTo>
                  <a:lnTo>
                    <a:pt x="579" y="1302"/>
                  </a:lnTo>
                  <a:lnTo>
                    <a:pt x="580" y="1303"/>
                  </a:lnTo>
                  <a:lnTo>
                    <a:pt x="580" y="1305"/>
                  </a:lnTo>
                  <a:lnTo>
                    <a:pt x="582" y="1305"/>
                  </a:lnTo>
                  <a:lnTo>
                    <a:pt x="580" y="1305"/>
                  </a:lnTo>
                  <a:lnTo>
                    <a:pt x="579" y="1305"/>
                  </a:lnTo>
                  <a:lnTo>
                    <a:pt x="577" y="1305"/>
                  </a:lnTo>
                  <a:lnTo>
                    <a:pt x="577" y="1303"/>
                  </a:lnTo>
                  <a:lnTo>
                    <a:pt x="575" y="1303"/>
                  </a:lnTo>
                  <a:lnTo>
                    <a:pt x="575" y="1302"/>
                  </a:lnTo>
                  <a:lnTo>
                    <a:pt x="575" y="1300"/>
                  </a:lnTo>
                  <a:lnTo>
                    <a:pt x="575" y="1298"/>
                  </a:lnTo>
                  <a:lnTo>
                    <a:pt x="574" y="1300"/>
                  </a:lnTo>
                  <a:lnTo>
                    <a:pt x="574" y="1298"/>
                  </a:lnTo>
                  <a:lnTo>
                    <a:pt x="575" y="1298"/>
                  </a:lnTo>
                  <a:close/>
                  <a:moveTo>
                    <a:pt x="333" y="524"/>
                  </a:moveTo>
                  <a:lnTo>
                    <a:pt x="333" y="526"/>
                  </a:lnTo>
                  <a:lnTo>
                    <a:pt x="335" y="526"/>
                  </a:lnTo>
                  <a:lnTo>
                    <a:pt x="335" y="527"/>
                  </a:lnTo>
                  <a:lnTo>
                    <a:pt x="335" y="529"/>
                  </a:lnTo>
                  <a:lnTo>
                    <a:pt x="333" y="529"/>
                  </a:lnTo>
                  <a:lnTo>
                    <a:pt x="333" y="531"/>
                  </a:lnTo>
                  <a:lnTo>
                    <a:pt x="331" y="529"/>
                  </a:lnTo>
                  <a:lnTo>
                    <a:pt x="330" y="529"/>
                  </a:lnTo>
                  <a:lnTo>
                    <a:pt x="330" y="527"/>
                  </a:lnTo>
                  <a:lnTo>
                    <a:pt x="330" y="526"/>
                  </a:lnTo>
                  <a:lnTo>
                    <a:pt x="331" y="526"/>
                  </a:lnTo>
                  <a:lnTo>
                    <a:pt x="331" y="524"/>
                  </a:lnTo>
                  <a:lnTo>
                    <a:pt x="333" y="524"/>
                  </a:lnTo>
                  <a:close/>
                  <a:moveTo>
                    <a:pt x="803" y="924"/>
                  </a:moveTo>
                  <a:lnTo>
                    <a:pt x="805" y="923"/>
                  </a:lnTo>
                  <a:lnTo>
                    <a:pt x="805" y="924"/>
                  </a:lnTo>
                  <a:lnTo>
                    <a:pt x="806" y="923"/>
                  </a:lnTo>
                  <a:lnTo>
                    <a:pt x="806" y="924"/>
                  </a:lnTo>
                  <a:lnTo>
                    <a:pt x="806" y="923"/>
                  </a:lnTo>
                  <a:lnTo>
                    <a:pt x="808" y="924"/>
                  </a:lnTo>
                  <a:lnTo>
                    <a:pt x="810" y="924"/>
                  </a:lnTo>
                  <a:lnTo>
                    <a:pt x="810" y="923"/>
                  </a:lnTo>
                  <a:lnTo>
                    <a:pt x="810" y="924"/>
                  </a:lnTo>
                  <a:lnTo>
                    <a:pt x="810" y="926"/>
                  </a:lnTo>
                  <a:lnTo>
                    <a:pt x="808" y="926"/>
                  </a:lnTo>
                  <a:lnTo>
                    <a:pt x="806" y="926"/>
                  </a:lnTo>
                  <a:lnTo>
                    <a:pt x="805" y="926"/>
                  </a:lnTo>
                  <a:lnTo>
                    <a:pt x="803" y="927"/>
                  </a:lnTo>
                  <a:lnTo>
                    <a:pt x="803" y="926"/>
                  </a:lnTo>
                  <a:lnTo>
                    <a:pt x="803" y="924"/>
                  </a:lnTo>
                  <a:close/>
                  <a:moveTo>
                    <a:pt x="860" y="1204"/>
                  </a:moveTo>
                  <a:lnTo>
                    <a:pt x="860" y="1206"/>
                  </a:lnTo>
                  <a:lnTo>
                    <a:pt x="862" y="1206"/>
                  </a:lnTo>
                  <a:lnTo>
                    <a:pt x="862" y="1207"/>
                  </a:lnTo>
                  <a:lnTo>
                    <a:pt x="860" y="1206"/>
                  </a:lnTo>
                  <a:lnTo>
                    <a:pt x="858" y="1206"/>
                  </a:lnTo>
                  <a:lnTo>
                    <a:pt x="857" y="1206"/>
                  </a:lnTo>
                  <a:lnTo>
                    <a:pt x="855" y="1204"/>
                  </a:lnTo>
                  <a:lnTo>
                    <a:pt x="855" y="1202"/>
                  </a:lnTo>
                  <a:lnTo>
                    <a:pt x="857" y="1202"/>
                  </a:lnTo>
                  <a:lnTo>
                    <a:pt x="858" y="1202"/>
                  </a:lnTo>
                  <a:lnTo>
                    <a:pt x="860" y="1202"/>
                  </a:lnTo>
                  <a:lnTo>
                    <a:pt x="860" y="1204"/>
                  </a:lnTo>
                  <a:close/>
                  <a:moveTo>
                    <a:pt x="587" y="238"/>
                  </a:moveTo>
                  <a:lnTo>
                    <a:pt x="585" y="238"/>
                  </a:lnTo>
                  <a:lnTo>
                    <a:pt x="584" y="238"/>
                  </a:lnTo>
                  <a:lnTo>
                    <a:pt x="584" y="239"/>
                  </a:lnTo>
                  <a:lnTo>
                    <a:pt x="582" y="239"/>
                  </a:lnTo>
                  <a:lnTo>
                    <a:pt x="582" y="241"/>
                  </a:lnTo>
                  <a:lnTo>
                    <a:pt x="579" y="248"/>
                  </a:lnTo>
                  <a:lnTo>
                    <a:pt x="579" y="249"/>
                  </a:lnTo>
                  <a:lnTo>
                    <a:pt x="579" y="251"/>
                  </a:lnTo>
                  <a:lnTo>
                    <a:pt x="577" y="251"/>
                  </a:lnTo>
                  <a:lnTo>
                    <a:pt x="577" y="249"/>
                  </a:lnTo>
                  <a:lnTo>
                    <a:pt x="579" y="248"/>
                  </a:lnTo>
                  <a:lnTo>
                    <a:pt x="579" y="246"/>
                  </a:lnTo>
                  <a:lnTo>
                    <a:pt x="582" y="241"/>
                  </a:lnTo>
                  <a:lnTo>
                    <a:pt x="582" y="239"/>
                  </a:lnTo>
                  <a:lnTo>
                    <a:pt x="582" y="238"/>
                  </a:lnTo>
                  <a:lnTo>
                    <a:pt x="584" y="238"/>
                  </a:lnTo>
                  <a:lnTo>
                    <a:pt x="584" y="236"/>
                  </a:lnTo>
                  <a:lnTo>
                    <a:pt x="585" y="236"/>
                  </a:lnTo>
                  <a:lnTo>
                    <a:pt x="585" y="238"/>
                  </a:lnTo>
                  <a:lnTo>
                    <a:pt x="587" y="238"/>
                  </a:lnTo>
                  <a:close/>
                  <a:moveTo>
                    <a:pt x="701" y="1191"/>
                  </a:moveTo>
                  <a:lnTo>
                    <a:pt x="702" y="1191"/>
                  </a:lnTo>
                  <a:lnTo>
                    <a:pt x="704" y="1191"/>
                  </a:lnTo>
                  <a:lnTo>
                    <a:pt x="704" y="1193"/>
                  </a:lnTo>
                  <a:lnTo>
                    <a:pt x="702" y="1194"/>
                  </a:lnTo>
                  <a:lnTo>
                    <a:pt x="701" y="1194"/>
                  </a:lnTo>
                  <a:lnTo>
                    <a:pt x="699" y="1194"/>
                  </a:lnTo>
                  <a:lnTo>
                    <a:pt x="699" y="1193"/>
                  </a:lnTo>
                  <a:lnTo>
                    <a:pt x="701" y="1191"/>
                  </a:lnTo>
                  <a:close/>
                  <a:moveTo>
                    <a:pt x="666" y="877"/>
                  </a:moveTo>
                  <a:lnTo>
                    <a:pt x="668" y="877"/>
                  </a:lnTo>
                  <a:lnTo>
                    <a:pt x="670" y="877"/>
                  </a:lnTo>
                  <a:lnTo>
                    <a:pt x="668" y="877"/>
                  </a:lnTo>
                  <a:lnTo>
                    <a:pt x="666" y="879"/>
                  </a:lnTo>
                  <a:lnTo>
                    <a:pt x="666" y="880"/>
                  </a:lnTo>
                  <a:lnTo>
                    <a:pt x="665" y="880"/>
                  </a:lnTo>
                  <a:lnTo>
                    <a:pt x="666" y="882"/>
                  </a:lnTo>
                  <a:lnTo>
                    <a:pt x="665" y="882"/>
                  </a:lnTo>
                  <a:lnTo>
                    <a:pt x="666" y="882"/>
                  </a:lnTo>
                  <a:lnTo>
                    <a:pt x="666" y="884"/>
                  </a:lnTo>
                  <a:lnTo>
                    <a:pt x="665" y="885"/>
                  </a:lnTo>
                  <a:lnTo>
                    <a:pt x="665" y="884"/>
                  </a:lnTo>
                  <a:lnTo>
                    <a:pt x="665" y="882"/>
                  </a:lnTo>
                  <a:lnTo>
                    <a:pt x="663" y="882"/>
                  </a:lnTo>
                  <a:lnTo>
                    <a:pt x="663" y="880"/>
                  </a:lnTo>
                  <a:lnTo>
                    <a:pt x="665" y="880"/>
                  </a:lnTo>
                  <a:lnTo>
                    <a:pt x="665" y="879"/>
                  </a:lnTo>
                  <a:lnTo>
                    <a:pt x="666" y="879"/>
                  </a:lnTo>
                  <a:lnTo>
                    <a:pt x="666" y="877"/>
                  </a:lnTo>
                  <a:close/>
                  <a:moveTo>
                    <a:pt x="312" y="885"/>
                  </a:moveTo>
                  <a:lnTo>
                    <a:pt x="314" y="885"/>
                  </a:lnTo>
                  <a:lnTo>
                    <a:pt x="315" y="887"/>
                  </a:lnTo>
                  <a:lnTo>
                    <a:pt x="314" y="887"/>
                  </a:lnTo>
                  <a:lnTo>
                    <a:pt x="312" y="887"/>
                  </a:lnTo>
                  <a:lnTo>
                    <a:pt x="312" y="888"/>
                  </a:lnTo>
                  <a:lnTo>
                    <a:pt x="310" y="890"/>
                  </a:lnTo>
                  <a:lnTo>
                    <a:pt x="309" y="890"/>
                  </a:lnTo>
                  <a:lnTo>
                    <a:pt x="309" y="888"/>
                  </a:lnTo>
                  <a:lnTo>
                    <a:pt x="307" y="888"/>
                  </a:lnTo>
                  <a:lnTo>
                    <a:pt x="309" y="888"/>
                  </a:lnTo>
                  <a:lnTo>
                    <a:pt x="312" y="885"/>
                  </a:lnTo>
                  <a:close/>
                  <a:moveTo>
                    <a:pt x="587" y="233"/>
                  </a:moveTo>
                  <a:lnTo>
                    <a:pt x="585" y="235"/>
                  </a:lnTo>
                  <a:lnTo>
                    <a:pt x="584" y="235"/>
                  </a:lnTo>
                  <a:lnTo>
                    <a:pt x="584" y="233"/>
                  </a:lnTo>
                  <a:lnTo>
                    <a:pt x="582" y="233"/>
                  </a:lnTo>
                  <a:lnTo>
                    <a:pt x="584" y="233"/>
                  </a:lnTo>
                  <a:lnTo>
                    <a:pt x="584" y="231"/>
                  </a:lnTo>
                  <a:lnTo>
                    <a:pt x="585" y="231"/>
                  </a:lnTo>
                  <a:lnTo>
                    <a:pt x="585" y="233"/>
                  </a:lnTo>
                  <a:lnTo>
                    <a:pt x="587" y="233"/>
                  </a:lnTo>
                  <a:lnTo>
                    <a:pt x="587" y="231"/>
                  </a:lnTo>
                  <a:lnTo>
                    <a:pt x="588" y="231"/>
                  </a:lnTo>
                  <a:lnTo>
                    <a:pt x="587" y="233"/>
                  </a:lnTo>
                  <a:close/>
                  <a:moveTo>
                    <a:pt x="681" y="1596"/>
                  </a:moveTo>
                  <a:lnTo>
                    <a:pt x="681" y="1598"/>
                  </a:lnTo>
                  <a:lnTo>
                    <a:pt x="681" y="1599"/>
                  </a:lnTo>
                  <a:lnTo>
                    <a:pt x="681" y="1598"/>
                  </a:lnTo>
                  <a:lnTo>
                    <a:pt x="679" y="1599"/>
                  </a:lnTo>
                  <a:lnTo>
                    <a:pt x="678" y="1599"/>
                  </a:lnTo>
                  <a:lnTo>
                    <a:pt x="678" y="1598"/>
                  </a:lnTo>
                  <a:lnTo>
                    <a:pt x="678" y="1596"/>
                  </a:lnTo>
                  <a:lnTo>
                    <a:pt x="679" y="1596"/>
                  </a:lnTo>
                  <a:lnTo>
                    <a:pt x="681" y="1596"/>
                  </a:lnTo>
                  <a:close/>
                  <a:moveTo>
                    <a:pt x="600" y="301"/>
                  </a:moveTo>
                  <a:lnTo>
                    <a:pt x="601" y="301"/>
                  </a:lnTo>
                  <a:lnTo>
                    <a:pt x="601" y="303"/>
                  </a:lnTo>
                  <a:lnTo>
                    <a:pt x="600" y="303"/>
                  </a:lnTo>
                  <a:lnTo>
                    <a:pt x="598" y="303"/>
                  </a:lnTo>
                  <a:lnTo>
                    <a:pt x="597" y="303"/>
                  </a:lnTo>
                  <a:lnTo>
                    <a:pt x="597" y="301"/>
                  </a:lnTo>
                  <a:lnTo>
                    <a:pt x="598" y="300"/>
                  </a:lnTo>
                  <a:lnTo>
                    <a:pt x="600" y="301"/>
                  </a:lnTo>
                  <a:lnTo>
                    <a:pt x="598" y="301"/>
                  </a:lnTo>
                  <a:lnTo>
                    <a:pt x="600" y="301"/>
                  </a:lnTo>
                  <a:lnTo>
                    <a:pt x="600" y="303"/>
                  </a:lnTo>
                  <a:lnTo>
                    <a:pt x="600" y="301"/>
                  </a:lnTo>
                  <a:close/>
                  <a:moveTo>
                    <a:pt x="836" y="1210"/>
                  </a:moveTo>
                  <a:lnTo>
                    <a:pt x="834" y="1210"/>
                  </a:lnTo>
                  <a:lnTo>
                    <a:pt x="834" y="1209"/>
                  </a:lnTo>
                  <a:lnTo>
                    <a:pt x="834" y="1207"/>
                  </a:lnTo>
                  <a:lnTo>
                    <a:pt x="836" y="1207"/>
                  </a:lnTo>
                  <a:lnTo>
                    <a:pt x="836" y="1209"/>
                  </a:lnTo>
                  <a:lnTo>
                    <a:pt x="836" y="1210"/>
                  </a:lnTo>
                  <a:close/>
                  <a:moveTo>
                    <a:pt x="780" y="897"/>
                  </a:moveTo>
                  <a:lnTo>
                    <a:pt x="780" y="895"/>
                  </a:lnTo>
                  <a:lnTo>
                    <a:pt x="782" y="895"/>
                  </a:lnTo>
                  <a:lnTo>
                    <a:pt x="784" y="895"/>
                  </a:lnTo>
                  <a:lnTo>
                    <a:pt x="784" y="897"/>
                  </a:lnTo>
                  <a:lnTo>
                    <a:pt x="782" y="897"/>
                  </a:lnTo>
                  <a:lnTo>
                    <a:pt x="782" y="898"/>
                  </a:lnTo>
                  <a:lnTo>
                    <a:pt x="782" y="900"/>
                  </a:lnTo>
                  <a:lnTo>
                    <a:pt x="780" y="898"/>
                  </a:lnTo>
                  <a:lnTo>
                    <a:pt x="779" y="898"/>
                  </a:lnTo>
                  <a:lnTo>
                    <a:pt x="780" y="898"/>
                  </a:lnTo>
                  <a:lnTo>
                    <a:pt x="780" y="900"/>
                  </a:lnTo>
                  <a:lnTo>
                    <a:pt x="779" y="900"/>
                  </a:lnTo>
                  <a:lnTo>
                    <a:pt x="779" y="898"/>
                  </a:lnTo>
                  <a:lnTo>
                    <a:pt x="780" y="898"/>
                  </a:lnTo>
                  <a:lnTo>
                    <a:pt x="780" y="897"/>
                  </a:lnTo>
                  <a:close/>
                  <a:moveTo>
                    <a:pt x="270" y="838"/>
                  </a:moveTo>
                  <a:lnTo>
                    <a:pt x="271" y="838"/>
                  </a:lnTo>
                  <a:lnTo>
                    <a:pt x="273" y="838"/>
                  </a:lnTo>
                  <a:lnTo>
                    <a:pt x="273" y="840"/>
                  </a:lnTo>
                  <a:lnTo>
                    <a:pt x="271" y="841"/>
                  </a:lnTo>
                  <a:lnTo>
                    <a:pt x="271" y="840"/>
                  </a:lnTo>
                  <a:lnTo>
                    <a:pt x="271" y="841"/>
                  </a:lnTo>
                  <a:lnTo>
                    <a:pt x="271" y="840"/>
                  </a:lnTo>
                  <a:lnTo>
                    <a:pt x="270" y="840"/>
                  </a:lnTo>
                  <a:lnTo>
                    <a:pt x="270" y="838"/>
                  </a:lnTo>
                  <a:close/>
                  <a:moveTo>
                    <a:pt x="400" y="610"/>
                  </a:moveTo>
                  <a:lnTo>
                    <a:pt x="400" y="609"/>
                  </a:lnTo>
                  <a:lnTo>
                    <a:pt x="400" y="607"/>
                  </a:lnTo>
                  <a:lnTo>
                    <a:pt x="401" y="607"/>
                  </a:lnTo>
                  <a:lnTo>
                    <a:pt x="401" y="609"/>
                  </a:lnTo>
                  <a:lnTo>
                    <a:pt x="401" y="610"/>
                  </a:lnTo>
                  <a:lnTo>
                    <a:pt x="400" y="610"/>
                  </a:lnTo>
                  <a:close/>
                  <a:moveTo>
                    <a:pt x="393" y="609"/>
                  </a:moveTo>
                  <a:lnTo>
                    <a:pt x="392" y="609"/>
                  </a:lnTo>
                  <a:lnTo>
                    <a:pt x="392" y="607"/>
                  </a:lnTo>
                  <a:lnTo>
                    <a:pt x="392" y="605"/>
                  </a:lnTo>
                  <a:lnTo>
                    <a:pt x="393" y="605"/>
                  </a:lnTo>
                  <a:lnTo>
                    <a:pt x="393" y="607"/>
                  </a:lnTo>
                  <a:lnTo>
                    <a:pt x="395" y="607"/>
                  </a:lnTo>
                  <a:lnTo>
                    <a:pt x="393" y="609"/>
                  </a:lnTo>
                  <a:close/>
                  <a:moveTo>
                    <a:pt x="437" y="649"/>
                  </a:moveTo>
                  <a:lnTo>
                    <a:pt x="436" y="649"/>
                  </a:lnTo>
                  <a:lnTo>
                    <a:pt x="436" y="648"/>
                  </a:lnTo>
                  <a:lnTo>
                    <a:pt x="436" y="646"/>
                  </a:lnTo>
                  <a:lnTo>
                    <a:pt x="437" y="646"/>
                  </a:lnTo>
                  <a:lnTo>
                    <a:pt x="437" y="648"/>
                  </a:lnTo>
                  <a:lnTo>
                    <a:pt x="437" y="649"/>
                  </a:lnTo>
                  <a:close/>
                  <a:moveTo>
                    <a:pt x="914" y="1189"/>
                  </a:moveTo>
                  <a:lnTo>
                    <a:pt x="915" y="1189"/>
                  </a:lnTo>
                  <a:lnTo>
                    <a:pt x="915" y="1191"/>
                  </a:lnTo>
                  <a:lnTo>
                    <a:pt x="915" y="1193"/>
                  </a:lnTo>
                  <a:lnTo>
                    <a:pt x="914" y="1193"/>
                  </a:lnTo>
                  <a:lnTo>
                    <a:pt x="914" y="1191"/>
                  </a:lnTo>
                  <a:lnTo>
                    <a:pt x="914" y="1189"/>
                  </a:lnTo>
                  <a:close/>
                  <a:moveTo>
                    <a:pt x="418" y="618"/>
                  </a:moveTo>
                  <a:lnTo>
                    <a:pt x="418" y="617"/>
                  </a:lnTo>
                  <a:lnTo>
                    <a:pt x="418" y="615"/>
                  </a:lnTo>
                  <a:lnTo>
                    <a:pt x="419" y="615"/>
                  </a:lnTo>
                  <a:lnTo>
                    <a:pt x="419" y="617"/>
                  </a:lnTo>
                  <a:lnTo>
                    <a:pt x="419" y="618"/>
                  </a:lnTo>
                  <a:lnTo>
                    <a:pt x="418" y="618"/>
                  </a:lnTo>
                  <a:close/>
                  <a:moveTo>
                    <a:pt x="564" y="256"/>
                  </a:moveTo>
                  <a:lnTo>
                    <a:pt x="566" y="256"/>
                  </a:lnTo>
                  <a:lnTo>
                    <a:pt x="567" y="256"/>
                  </a:lnTo>
                  <a:lnTo>
                    <a:pt x="567" y="254"/>
                  </a:lnTo>
                  <a:lnTo>
                    <a:pt x="566" y="252"/>
                  </a:lnTo>
                  <a:lnTo>
                    <a:pt x="567" y="254"/>
                  </a:lnTo>
                  <a:lnTo>
                    <a:pt x="567" y="252"/>
                  </a:lnTo>
                  <a:lnTo>
                    <a:pt x="567" y="254"/>
                  </a:lnTo>
                  <a:lnTo>
                    <a:pt x="567" y="256"/>
                  </a:lnTo>
                  <a:lnTo>
                    <a:pt x="567" y="257"/>
                  </a:lnTo>
                  <a:lnTo>
                    <a:pt x="566" y="257"/>
                  </a:lnTo>
                  <a:lnTo>
                    <a:pt x="566" y="256"/>
                  </a:lnTo>
                  <a:lnTo>
                    <a:pt x="564" y="256"/>
                  </a:lnTo>
                  <a:lnTo>
                    <a:pt x="566" y="257"/>
                  </a:lnTo>
                  <a:lnTo>
                    <a:pt x="564" y="257"/>
                  </a:lnTo>
                  <a:lnTo>
                    <a:pt x="564" y="256"/>
                  </a:lnTo>
                  <a:close/>
                  <a:moveTo>
                    <a:pt x="312" y="892"/>
                  </a:moveTo>
                  <a:lnTo>
                    <a:pt x="314" y="892"/>
                  </a:lnTo>
                  <a:lnTo>
                    <a:pt x="315" y="892"/>
                  </a:lnTo>
                  <a:lnTo>
                    <a:pt x="314" y="893"/>
                  </a:lnTo>
                  <a:lnTo>
                    <a:pt x="312" y="893"/>
                  </a:lnTo>
                  <a:lnTo>
                    <a:pt x="312" y="892"/>
                  </a:lnTo>
                  <a:close/>
                  <a:moveTo>
                    <a:pt x="279" y="845"/>
                  </a:moveTo>
                  <a:lnTo>
                    <a:pt x="279" y="846"/>
                  </a:lnTo>
                  <a:lnTo>
                    <a:pt x="278" y="846"/>
                  </a:lnTo>
                  <a:lnTo>
                    <a:pt x="278" y="845"/>
                  </a:lnTo>
                  <a:lnTo>
                    <a:pt x="279" y="843"/>
                  </a:lnTo>
                  <a:lnTo>
                    <a:pt x="279" y="845"/>
                  </a:lnTo>
                  <a:close/>
                  <a:moveTo>
                    <a:pt x="265" y="846"/>
                  </a:moveTo>
                  <a:lnTo>
                    <a:pt x="265" y="845"/>
                  </a:lnTo>
                  <a:lnTo>
                    <a:pt x="265" y="843"/>
                  </a:lnTo>
                  <a:lnTo>
                    <a:pt x="265" y="841"/>
                  </a:lnTo>
                  <a:lnTo>
                    <a:pt x="266" y="843"/>
                  </a:lnTo>
                  <a:lnTo>
                    <a:pt x="266" y="845"/>
                  </a:lnTo>
                  <a:lnTo>
                    <a:pt x="265" y="846"/>
                  </a:lnTo>
                  <a:close/>
                  <a:moveTo>
                    <a:pt x="275" y="828"/>
                  </a:moveTo>
                  <a:lnTo>
                    <a:pt x="276" y="828"/>
                  </a:lnTo>
                  <a:lnTo>
                    <a:pt x="276" y="830"/>
                  </a:lnTo>
                  <a:lnTo>
                    <a:pt x="276" y="831"/>
                  </a:lnTo>
                  <a:lnTo>
                    <a:pt x="275" y="831"/>
                  </a:lnTo>
                  <a:lnTo>
                    <a:pt x="275" y="833"/>
                  </a:lnTo>
                  <a:lnTo>
                    <a:pt x="275" y="831"/>
                  </a:lnTo>
                  <a:lnTo>
                    <a:pt x="273" y="831"/>
                  </a:lnTo>
                  <a:lnTo>
                    <a:pt x="275" y="831"/>
                  </a:lnTo>
                  <a:lnTo>
                    <a:pt x="275" y="830"/>
                  </a:lnTo>
                  <a:lnTo>
                    <a:pt x="275" y="828"/>
                  </a:lnTo>
                  <a:close/>
                  <a:moveTo>
                    <a:pt x="928" y="692"/>
                  </a:moveTo>
                  <a:lnTo>
                    <a:pt x="930" y="692"/>
                  </a:lnTo>
                  <a:lnTo>
                    <a:pt x="930" y="693"/>
                  </a:lnTo>
                  <a:lnTo>
                    <a:pt x="930" y="695"/>
                  </a:lnTo>
                  <a:lnTo>
                    <a:pt x="928" y="695"/>
                  </a:lnTo>
                  <a:lnTo>
                    <a:pt x="928" y="693"/>
                  </a:lnTo>
                  <a:lnTo>
                    <a:pt x="928" y="692"/>
                  </a:lnTo>
                  <a:close/>
                  <a:moveTo>
                    <a:pt x="587" y="228"/>
                  </a:moveTo>
                  <a:lnTo>
                    <a:pt x="588" y="228"/>
                  </a:lnTo>
                  <a:lnTo>
                    <a:pt x="590" y="228"/>
                  </a:lnTo>
                  <a:lnTo>
                    <a:pt x="588" y="230"/>
                  </a:lnTo>
                  <a:lnTo>
                    <a:pt x="590" y="230"/>
                  </a:lnTo>
                  <a:lnTo>
                    <a:pt x="590" y="228"/>
                  </a:lnTo>
                  <a:lnTo>
                    <a:pt x="590" y="230"/>
                  </a:lnTo>
                  <a:lnTo>
                    <a:pt x="590" y="231"/>
                  </a:lnTo>
                  <a:lnTo>
                    <a:pt x="588" y="230"/>
                  </a:lnTo>
                  <a:lnTo>
                    <a:pt x="588" y="228"/>
                  </a:lnTo>
                  <a:lnTo>
                    <a:pt x="587" y="228"/>
                  </a:lnTo>
                  <a:close/>
                  <a:moveTo>
                    <a:pt x="621" y="1311"/>
                  </a:moveTo>
                  <a:lnTo>
                    <a:pt x="621" y="1313"/>
                  </a:lnTo>
                  <a:lnTo>
                    <a:pt x="621" y="1311"/>
                  </a:lnTo>
                  <a:lnTo>
                    <a:pt x="623" y="1311"/>
                  </a:lnTo>
                  <a:lnTo>
                    <a:pt x="623" y="1313"/>
                  </a:lnTo>
                  <a:lnTo>
                    <a:pt x="623" y="1315"/>
                  </a:lnTo>
                  <a:lnTo>
                    <a:pt x="623" y="1313"/>
                  </a:lnTo>
                  <a:lnTo>
                    <a:pt x="621" y="1313"/>
                  </a:lnTo>
                  <a:lnTo>
                    <a:pt x="621" y="1315"/>
                  </a:lnTo>
                  <a:lnTo>
                    <a:pt x="621" y="1316"/>
                  </a:lnTo>
                  <a:lnTo>
                    <a:pt x="621" y="1315"/>
                  </a:lnTo>
                  <a:lnTo>
                    <a:pt x="621" y="1313"/>
                  </a:lnTo>
                  <a:lnTo>
                    <a:pt x="621" y="1311"/>
                  </a:lnTo>
                  <a:lnTo>
                    <a:pt x="619" y="1311"/>
                  </a:lnTo>
                  <a:lnTo>
                    <a:pt x="621" y="1311"/>
                  </a:lnTo>
                  <a:close/>
                  <a:moveTo>
                    <a:pt x="577" y="251"/>
                  </a:moveTo>
                  <a:lnTo>
                    <a:pt x="579" y="251"/>
                  </a:lnTo>
                  <a:lnTo>
                    <a:pt x="577" y="254"/>
                  </a:lnTo>
                  <a:lnTo>
                    <a:pt x="577" y="256"/>
                  </a:lnTo>
                  <a:lnTo>
                    <a:pt x="575" y="259"/>
                  </a:lnTo>
                  <a:lnTo>
                    <a:pt x="575" y="261"/>
                  </a:lnTo>
                  <a:lnTo>
                    <a:pt x="575" y="259"/>
                  </a:lnTo>
                  <a:lnTo>
                    <a:pt x="575" y="257"/>
                  </a:lnTo>
                  <a:lnTo>
                    <a:pt x="577" y="256"/>
                  </a:lnTo>
                  <a:lnTo>
                    <a:pt x="577" y="254"/>
                  </a:lnTo>
                  <a:lnTo>
                    <a:pt x="577" y="252"/>
                  </a:lnTo>
                  <a:lnTo>
                    <a:pt x="577" y="251"/>
                  </a:lnTo>
                  <a:close/>
                  <a:moveTo>
                    <a:pt x="271" y="830"/>
                  </a:moveTo>
                  <a:lnTo>
                    <a:pt x="273" y="830"/>
                  </a:lnTo>
                  <a:lnTo>
                    <a:pt x="273" y="831"/>
                  </a:lnTo>
                  <a:lnTo>
                    <a:pt x="271" y="831"/>
                  </a:lnTo>
                  <a:lnTo>
                    <a:pt x="271" y="830"/>
                  </a:lnTo>
                  <a:close/>
                  <a:moveTo>
                    <a:pt x="271" y="831"/>
                  </a:moveTo>
                  <a:lnTo>
                    <a:pt x="273" y="831"/>
                  </a:lnTo>
                  <a:lnTo>
                    <a:pt x="273" y="833"/>
                  </a:lnTo>
                  <a:lnTo>
                    <a:pt x="273" y="835"/>
                  </a:lnTo>
                  <a:lnTo>
                    <a:pt x="271" y="835"/>
                  </a:lnTo>
                  <a:lnTo>
                    <a:pt x="271" y="833"/>
                  </a:lnTo>
                  <a:lnTo>
                    <a:pt x="271" y="831"/>
                  </a:lnTo>
                  <a:close/>
                  <a:moveTo>
                    <a:pt x="653" y="875"/>
                  </a:moveTo>
                  <a:lnTo>
                    <a:pt x="655" y="875"/>
                  </a:lnTo>
                  <a:lnTo>
                    <a:pt x="655" y="877"/>
                  </a:lnTo>
                  <a:lnTo>
                    <a:pt x="655" y="879"/>
                  </a:lnTo>
                  <a:lnTo>
                    <a:pt x="653" y="879"/>
                  </a:lnTo>
                  <a:lnTo>
                    <a:pt x="653" y="877"/>
                  </a:lnTo>
                  <a:lnTo>
                    <a:pt x="653" y="875"/>
                  </a:lnTo>
                  <a:close/>
                  <a:moveTo>
                    <a:pt x="668" y="192"/>
                  </a:moveTo>
                  <a:lnTo>
                    <a:pt x="668" y="194"/>
                  </a:lnTo>
                  <a:lnTo>
                    <a:pt x="666" y="194"/>
                  </a:lnTo>
                  <a:lnTo>
                    <a:pt x="663" y="194"/>
                  </a:lnTo>
                  <a:lnTo>
                    <a:pt x="662" y="194"/>
                  </a:lnTo>
                  <a:lnTo>
                    <a:pt x="663" y="194"/>
                  </a:lnTo>
                  <a:lnTo>
                    <a:pt x="665" y="194"/>
                  </a:lnTo>
                  <a:lnTo>
                    <a:pt x="665" y="192"/>
                  </a:lnTo>
                  <a:lnTo>
                    <a:pt x="665" y="194"/>
                  </a:lnTo>
                  <a:lnTo>
                    <a:pt x="665" y="192"/>
                  </a:lnTo>
                  <a:lnTo>
                    <a:pt x="666" y="192"/>
                  </a:lnTo>
                  <a:lnTo>
                    <a:pt x="668" y="192"/>
                  </a:lnTo>
                  <a:close/>
                  <a:moveTo>
                    <a:pt x="328" y="438"/>
                  </a:moveTo>
                  <a:lnTo>
                    <a:pt x="328" y="440"/>
                  </a:lnTo>
                  <a:lnTo>
                    <a:pt x="327" y="440"/>
                  </a:lnTo>
                  <a:lnTo>
                    <a:pt x="327" y="441"/>
                  </a:lnTo>
                  <a:lnTo>
                    <a:pt x="327" y="440"/>
                  </a:lnTo>
                  <a:lnTo>
                    <a:pt x="325" y="440"/>
                  </a:lnTo>
                  <a:lnTo>
                    <a:pt x="327" y="438"/>
                  </a:lnTo>
                  <a:lnTo>
                    <a:pt x="327" y="440"/>
                  </a:lnTo>
                  <a:lnTo>
                    <a:pt x="327" y="438"/>
                  </a:lnTo>
                  <a:lnTo>
                    <a:pt x="328" y="438"/>
                  </a:lnTo>
                  <a:close/>
                  <a:moveTo>
                    <a:pt x="717" y="893"/>
                  </a:moveTo>
                  <a:lnTo>
                    <a:pt x="719" y="893"/>
                  </a:lnTo>
                  <a:lnTo>
                    <a:pt x="719" y="895"/>
                  </a:lnTo>
                  <a:lnTo>
                    <a:pt x="717" y="895"/>
                  </a:lnTo>
                  <a:lnTo>
                    <a:pt x="715" y="897"/>
                  </a:lnTo>
                  <a:lnTo>
                    <a:pt x="715" y="895"/>
                  </a:lnTo>
                  <a:lnTo>
                    <a:pt x="717" y="895"/>
                  </a:lnTo>
                  <a:lnTo>
                    <a:pt x="717" y="893"/>
                  </a:lnTo>
                  <a:close/>
                  <a:moveTo>
                    <a:pt x="662" y="194"/>
                  </a:moveTo>
                  <a:lnTo>
                    <a:pt x="662" y="196"/>
                  </a:lnTo>
                  <a:lnTo>
                    <a:pt x="662" y="194"/>
                  </a:lnTo>
                  <a:lnTo>
                    <a:pt x="662" y="196"/>
                  </a:lnTo>
                  <a:lnTo>
                    <a:pt x="660" y="196"/>
                  </a:lnTo>
                  <a:lnTo>
                    <a:pt x="660" y="194"/>
                  </a:lnTo>
                  <a:lnTo>
                    <a:pt x="662" y="194"/>
                  </a:lnTo>
                  <a:lnTo>
                    <a:pt x="662" y="192"/>
                  </a:lnTo>
                  <a:lnTo>
                    <a:pt x="662" y="194"/>
                  </a:lnTo>
                  <a:close/>
                  <a:moveTo>
                    <a:pt x="580" y="233"/>
                  </a:moveTo>
                  <a:lnTo>
                    <a:pt x="582" y="233"/>
                  </a:lnTo>
                  <a:lnTo>
                    <a:pt x="580" y="235"/>
                  </a:lnTo>
                  <a:lnTo>
                    <a:pt x="579" y="233"/>
                  </a:lnTo>
                  <a:lnTo>
                    <a:pt x="580" y="233"/>
                  </a:lnTo>
                  <a:lnTo>
                    <a:pt x="580" y="231"/>
                  </a:lnTo>
                  <a:lnTo>
                    <a:pt x="580" y="233"/>
                  </a:lnTo>
                  <a:close/>
                  <a:moveTo>
                    <a:pt x="592" y="230"/>
                  </a:moveTo>
                  <a:lnTo>
                    <a:pt x="590" y="230"/>
                  </a:lnTo>
                  <a:lnTo>
                    <a:pt x="590" y="228"/>
                  </a:lnTo>
                  <a:lnTo>
                    <a:pt x="590" y="226"/>
                  </a:lnTo>
                  <a:lnTo>
                    <a:pt x="590" y="228"/>
                  </a:lnTo>
                  <a:lnTo>
                    <a:pt x="592" y="228"/>
                  </a:lnTo>
                  <a:lnTo>
                    <a:pt x="592" y="230"/>
                  </a:lnTo>
                  <a:close/>
                  <a:moveTo>
                    <a:pt x="1128" y="914"/>
                  </a:moveTo>
                  <a:lnTo>
                    <a:pt x="1128" y="916"/>
                  </a:lnTo>
                  <a:lnTo>
                    <a:pt x="1127" y="916"/>
                  </a:lnTo>
                  <a:lnTo>
                    <a:pt x="1127" y="914"/>
                  </a:lnTo>
                  <a:lnTo>
                    <a:pt x="1128" y="914"/>
                  </a:lnTo>
                  <a:lnTo>
                    <a:pt x="1128" y="913"/>
                  </a:lnTo>
                  <a:lnTo>
                    <a:pt x="1128" y="914"/>
                  </a:lnTo>
                  <a:close/>
                  <a:moveTo>
                    <a:pt x="588" y="326"/>
                  </a:moveTo>
                  <a:lnTo>
                    <a:pt x="590" y="326"/>
                  </a:lnTo>
                  <a:lnTo>
                    <a:pt x="588" y="326"/>
                  </a:lnTo>
                  <a:lnTo>
                    <a:pt x="590" y="327"/>
                  </a:lnTo>
                  <a:lnTo>
                    <a:pt x="588" y="327"/>
                  </a:lnTo>
                  <a:lnTo>
                    <a:pt x="588" y="326"/>
                  </a:lnTo>
                  <a:close/>
                  <a:moveTo>
                    <a:pt x="567" y="248"/>
                  </a:moveTo>
                  <a:lnTo>
                    <a:pt x="567" y="249"/>
                  </a:lnTo>
                  <a:lnTo>
                    <a:pt x="569" y="249"/>
                  </a:lnTo>
                  <a:lnTo>
                    <a:pt x="567" y="249"/>
                  </a:lnTo>
                  <a:lnTo>
                    <a:pt x="567" y="248"/>
                  </a:lnTo>
                  <a:lnTo>
                    <a:pt x="567" y="246"/>
                  </a:lnTo>
                  <a:lnTo>
                    <a:pt x="567" y="248"/>
                  </a:lnTo>
                  <a:close/>
                  <a:moveTo>
                    <a:pt x="675" y="871"/>
                  </a:moveTo>
                  <a:lnTo>
                    <a:pt x="676" y="871"/>
                  </a:lnTo>
                  <a:lnTo>
                    <a:pt x="676" y="872"/>
                  </a:lnTo>
                  <a:lnTo>
                    <a:pt x="675" y="872"/>
                  </a:lnTo>
                  <a:lnTo>
                    <a:pt x="675" y="871"/>
                  </a:lnTo>
                  <a:close/>
                  <a:moveTo>
                    <a:pt x="584" y="236"/>
                  </a:moveTo>
                  <a:lnTo>
                    <a:pt x="582" y="236"/>
                  </a:lnTo>
                  <a:lnTo>
                    <a:pt x="582" y="235"/>
                  </a:lnTo>
                  <a:lnTo>
                    <a:pt x="584" y="235"/>
                  </a:lnTo>
                  <a:lnTo>
                    <a:pt x="584" y="236"/>
                  </a:lnTo>
                  <a:close/>
                  <a:moveTo>
                    <a:pt x="148" y="874"/>
                  </a:moveTo>
                  <a:lnTo>
                    <a:pt x="149" y="874"/>
                  </a:lnTo>
                  <a:lnTo>
                    <a:pt x="149" y="875"/>
                  </a:lnTo>
                  <a:lnTo>
                    <a:pt x="148" y="875"/>
                  </a:lnTo>
                  <a:lnTo>
                    <a:pt x="148" y="874"/>
                  </a:lnTo>
                  <a:close/>
                  <a:moveTo>
                    <a:pt x="284" y="848"/>
                  </a:moveTo>
                  <a:lnTo>
                    <a:pt x="286" y="846"/>
                  </a:lnTo>
                  <a:lnTo>
                    <a:pt x="286" y="848"/>
                  </a:lnTo>
                  <a:lnTo>
                    <a:pt x="286" y="849"/>
                  </a:lnTo>
                  <a:lnTo>
                    <a:pt x="284" y="849"/>
                  </a:lnTo>
                  <a:lnTo>
                    <a:pt x="284" y="848"/>
                  </a:lnTo>
                  <a:close/>
                  <a:moveTo>
                    <a:pt x="577" y="238"/>
                  </a:moveTo>
                  <a:lnTo>
                    <a:pt x="579" y="238"/>
                  </a:lnTo>
                  <a:lnTo>
                    <a:pt x="580" y="238"/>
                  </a:lnTo>
                  <a:lnTo>
                    <a:pt x="579" y="238"/>
                  </a:lnTo>
                  <a:lnTo>
                    <a:pt x="577" y="238"/>
                  </a:lnTo>
                  <a:lnTo>
                    <a:pt x="575" y="238"/>
                  </a:lnTo>
                  <a:lnTo>
                    <a:pt x="577" y="238"/>
                  </a:lnTo>
                  <a:close/>
                  <a:moveTo>
                    <a:pt x="574" y="269"/>
                  </a:moveTo>
                  <a:lnTo>
                    <a:pt x="574" y="267"/>
                  </a:lnTo>
                  <a:lnTo>
                    <a:pt x="574" y="269"/>
                  </a:lnTo>
                  <a:close/>
                  <a:moveTo>
                    <a:pt x="585" y="226"/>
                  </a:moveTo>
                  <a:lnTo>
                    <a:pt x="587" y="226"/>
                  </a:lnTo>
                  <a:lnTo>
                    <a:pt x="588" y="226"/>
                  </a:lnTo>
                  <a:lnTo>
                    <a:pt x="588" y="228"/>
                  </a:lnTo>
                  <a:lnTo>
                    <a:pt x="587" y="226"/>
                  </a:lnTo>
                  <a:lnTo>
                    <a:pt x="587" y="228"/>
                  </a:lnTo>
                  <a:lnTo>
                    <a:pt x="585" y="226"/>
                  </a:lnTo>
                  <a:lnTo>
                    <a:pt x="587" y="226"/>
                  </a:lnTo>
                  <a:lnTo>
                    <a:pt x="585" y="226"/>
                  </a:lnTo>
                  <a:close/>
                  <a:moveTo>
                    <a:pt x="676" y="196"/>
                  </a:moveTo>
                  <a:lnTo>
                    <a:pt x="678" y="197"/>
                  </a:lnTo>
                  <a:lnTo>
                    <a:pt x="679" y="197"/>
                  </a:lnTo>
                  <a:lnTo>
                    <a:pt x="681" y="197"/>
                  </a:lnTo>
                  <a:lnTo>
                    <a:pt x="679" y="197"/>
                  </a:lnTo>
                  <a:lnTo>
                    <a:pt x="678" y="197"/>
                  </a:lnTo>
                  <a:lnTo>
                    <a:pt x="676" y="196"/>
                  </a:lnTo>
                  <a:close/>
                  <a:moveTo>
                    <a:pt x="575" y="264"/>
                  </a:moveTo>
                  <a:lnTo>
                    <a:pt x="575" y="266"/>
                  </a:lnTo>
                  <a:lnTo>
                    <a:pt x="577" y="266"/>
                  </a:lnTo>
                  <a:lnTo>
                    <a:pt x="575" y="266"/>
                  </a:lnTo>
                  <a:lnTo>
                    <a:pt x="575" y="264"/>
                  </a:lnTo>
                  <a:lnTo>
                    <a:pt x="575" y="262"/>
                  </a:lnTo>
                  <a:lnTo>
                    <a:pt x="575" y="261"/>
                  </a:lnTo>
                  <a:lnTo>
                    <a:pt x="575" y="262"/>
                  </a:lnTo>
                  <a:lnTo>
                    <a:pt x="575" y="264"/>
                  </a:lnTo>
                  <a:close/>
                  <a:moveTo>
                    <a:pt x="567" y="259"/>
                  </a:moveTo>
                  <a:lnTo>
                    <a:pt x="569" y="259"/>
                  </a:lnTo>
                  <a:lnTo>
                    <a:pt x="567" y="259"/>
                  </a:lnTo>
                  <a:lnTo>
                    <a:pt x="569" y="261"/>
                  </a:lnTo>
                  <a:lnTo>
                    <a:pt x="567" y="261"/>
                  </a:lnTo>
                  <a:lnTo>
                    <a:pt x="567" y="259"/>
                  </a:lnTo>
                  <a:close/>
                  <a:moveTo>
                    <a:pt x="587" y="293"/>
                  </a:moveTo>
                  <a:lnTo>
                    <a:pt x="587" y="292"/>
                  </a:lnTo>
                  <a:lnTo>
                    <a:pt x="585" y="292"/>
                  </a:lnTo>
                  <a:lnTo>
                    <a:pt x="584" y="290"/>
                  </a:lnTo>
                  <a:lnTo>
                    <a:pt x="582" y="290"/>
                  </a:lnTo>
                  <a:lnTo>
                    <a:pt x="584" y="288"/>
                  </a:lnTo>
                  <a:lnTo>
                    <a:pt x="584" y="290"/>
                  </a:lnTo>
                  <a:lnTo>
                    <a:pt x="585" y="292"/>
                  </a:lnTo>
                  <a:lnTo>
                    <a:pt x="587" y="292"/>
                  </a:lnTo>
                  <a:lnTo>
                    <a:pt x="587" y="293"/>
                  </a:lnTo>
                  <a:close/>
                  <a:moveTo>
                    <a:pt x="156" y="1015"/>
                  </a:moveTo>
                  <a:lnTo>
                    <a:pt x="154" y="1015"/>
                  </a:lnTo>
                  <a:lnTo>
                    <a:pt x="156" y="1015"/>
                  </a:lnTo>
                  <a:lnTo>
                    <a:pt x="156" y="1014"/>
                  </a:lnTo>
                  <a:lnTo>
                    <a:pt x="156" y="1015"/>
                  </a:lnTo>
                  <a:close/>
                  <a:moveTo>
                    <a:pt x="679" y="196"/>
                  </a:moveTo>
                  <a:lnTo>
                    <a:pt x="679" y="194"/>
                  </a:lnTo>
                  <a:lnTo>
                    <a:pt x="679" y="196"/>
                  </a:lnTo>
                  <a:lnTo>
                    <a:pt x="681" y="197"/>
                  </a:lnTo>
                  <a:lnTo>
                    <a:pt x="679" y="197"/>
                  </a:lnTo>
                  <a:lnTo>
                    <a:pt x="679" y="196"/>
                  </a:lnTo>
                  <a:lnTo>
                    <a:pt x="678" y="197"/>
                  </a:lnTo>
                  <a:lnTo>
                    <a:pt x="678" y="196"/>
                  </a:lnTo>
                  <a:lnTo>
                    <a:pt x="679" y="196"/>
                  </a:lnTo>
                  <a:close/>
                  <a:moveTo>
                    <a:pt x="683" y="194"/>
                  </a:moveTo>
                  <a:lnTo>
                    <a:pt x="684" y="194"/>
                  </a:lnTo>
                  <a:lnTo>
                    <a:pt x="684" y="196"/>
                  </a:lnTo>
                  <a:lnTo>
                    <a:pt x="684" y="197"/>
                  </a:lnTo>
                  <a:lnTo>
                    <a:pt x="684" y="196"/>
                  </a:lnTo>
                  <a:lnTo>
                    <a:pt x="683" y="196"/>
                  </a:lnTo>
                  <a:lnTo>
                    <a:pt x="684" y="194"/>
                  </a:lnTo>
                  <a:lnTo>
                    <a:pt x="683" y="194"/>
                  </a:lnTo>
                  <a:close/>
                  <a:moveTo>
                    <a:pt x="592" y="226"/>
                  </a:moveTo>
                  <a:lnTo>
                    <a:pt x="593" y="226"/>
                  </a:lnTo>
                  <a:lnTo>
                    <a:pt x="593" y="228"/>
                  </a:lnTo>
                  <a:lnTo>
                    <a:pt x="592" y="228"/>
                  </a:lnTo>
                  <a:lnTo>
                    <a:pt x="592" y="226"/>
                  </a:lnTo>
                  <a:lnTo>
                    <a:pt x="592" y="225"/>
                  </a:lnTo>
                  <a:lnTo>
                    <a:pt x="592" y="226"/>
                  </a:lnTo>
                  <a:close/>
                  <a:moveTo>
                    <a:pt x="301" y="862"/>
                  </a:moveTo>
                  <a:lnTo>
                    <a:pt x="301" y="864"/>
                  </a:lnTo>
                  <a:lnTo>
                    <a:pt x="299" y="864"/>
                  </a:lnTo>
                  <a:lnTo>
                    <a:pt x="299" y="862"/>
                  </a:lnTo>
                  <a:lnTo>
                    <a:pt x="301" y="862"/>
                  </a:lnTo>
                  <a:close/>
                  <a:moveTo>
                    <a:pt x="564" y="257"/>
                  </a:moveTo>
                  <a:lnTo>
                    <a:pt x="566" y="257"/>
                  </a:lnTo>
                  <a:lnTo>
                    <a:pt x="567" y="257"/>
                  </a:lnTo>
                  <a:lnTo>
                    <a:pt x="566" y="257"/>
                  </a:lnTo>
                  <a:lnTo>
                    <a:pt x="567" y="259"/>
                  </a:lnTo>
                  <a:lnTo>
                    <a:pt x="566" y="259"/>
                  </a:lnTo>
                  <a:lnTo>
                    <a:pt x="566" y="257"/>
                  </a:lnTo>
                  <a:lnTo>
                    <a:pt x="564" y="257"/>
                  </a:lnTo>
                  <a:close/>
                  <a:moveTo>
                    <a:pt x="571" y="236"/>
                  </a:moveTo>
                  <a:lnTo>
                    <a:pt x="572" y="236"/>
                  </a:lnTo>
                  <a:lnTo>
                    <a:pt x="571" y="236"/>
                  </a:lnTo>
                  <a:lnTo>
                    <a:pt x="571" y="235"/>
                  </a:lnTo>
                  <a:lnTo>
                    <a:pt x="572" y="235"/>
                  </a:lnTo>
                  <a:lnTo>
                    <a:pt x="572" y="236"/>
                  </a:lnTo>
                  <a:lnTo>
                    <a:pt x="571" y="236"/>
                  </a:lnTo>
                  <a:close/>
                  <a:moveTo>
                    <a:pt x="595" y="298"/>
                  </a:moveTo>
                  <a:lnTo>
                    <a:pt x="595" y="300"/>
                  </a:lnTo>
                  <a:lnTo>
                    <a:pt x="595" y="298"/>
                  </a:lnTo>
                  <a:lnTo>
                    <a:pt x="593" y="298"/>
                  </a:lnTo>
                  <a:lnTo>
                    <a:pt x="592" y="298"/>
                  </a:lnTo>
                  <a:lnTo>
                    <a:pt x="593" y="298"/>
                  </a:lnTo>
                  <a:lnTo>
                    <a:pt x="595" y="298"/>
                  </a:lnTo>
                  <a:close/>
                  <a:moveTo>
                    <a:pt x="600" y="306"/>
                  </a:moveTo>
                  <a:lnTo>
                    <a:pt x="601" y="305"/>
                  </a:lnTo>
                  <a:lnTo>
                    <a:pt x="600" y="306"/>
                  </a:lnTo>
                  <a:close/>
                  <a:moveTo>
                    <a:pt x="1219" y="963"/>
                  </a:moveTo>
                  <a:lnTo>
                    <a:pt x="1221" y="963"/>
                  </a:lnTo>
                  <a:lnTo>
                    <a:pt x="1219" y="963"/>
                  </a:lnTo>
                  <a:close/>
                  <a:moveTo>
                    <a:pt x="932" y="690"/>
                  </a:moveTo>
                  <a:lnTo>
                    <a:pt x="933" y="690"/>
                  </a:lnTo>
                  <a:lnTo>
                    <a:pt x="932" y="690"/>
                  </a:lnTo>
                  <a:lnTo>
                    <a:pt x="932" y="692"/>
                  </a:lnTo>
                  <a:lnTo>
                    <a:pt x="932" y="690"/>
                  </a:lnTo>
                  <a:close/>
                  <a:moveTo>
                    <a:pt x="932" y="692"/>
                  </a:moveTo>
                  <a:lnTo>
                    <a:pt x="932" y="693"/>
                  </a:lnTo>
                  <a:lnTo>
                    <a:pt x="930" y="693"/>
                  </a:lnTo>
                  <a:lnTo>
                    <a:pt x="930" y="692"/>
                  </a:lnTo>
                  <a:lnTo>
                    <a:pt x="932" y="692"/>
                  </a:lnTo>
                  <a:close/>
                  <a:moveTo>
                    <a:pt x="291" y="1145"/>
                  </a:moveTo>
                  <a:lnTo>
                    <a:pt x="291" y="1147"/>
                  </a:lnTo>
                  <a:lnTo>
                    <a:pt x="289" y="1145"/>
                  </a:lnTo>
                  <a:lnTo>
                    <a:pt x="291" y="1145"/>
                  </a:lnTo>
                  <a:close/>
                  <a:moveTo>
                    <a:pt x="296" y="864"/>
                  </a:moveTo>
                  <a:lnTo>
                    <a:pt x="297" y="864"/>
                  </a:lnTo>
                  <a:lnTo>
                    <a:pt x="296" y="864"/>
                  </a:lnTo>
                  <a:close/>
                  <a:moveTo>
                    <a:pt x="679" y="191"/>
                  </a:moveTo>
                  <a:lnTo>
                    <a:pt x="681" y="191"/>
                  </a:lnTo>
                  <a:lnTo>
                    <a:pt x="681" y="192"/>
                  </a:lnTo>
                  <a:lnTo>
                    <a:pt x="679" y="192"/>
                  </a:lnTo>
                  <a:lnTo>
                    <a:pt x="679" y="191"/>
                  </a:lnTo>
                  <a:close/>
                  <a:moveTo>
                    <a:pt x="941" y="1467"/>
                  </a:moveTo>
                  <a:lnTo>
                    <a:pt x="940" y="1467"/>
                  </a:lnTo>
                  <a:lnTo>
                    <a:pt x="940" y="1466"/>
                  </a:lnTo>
                  <a:lnTo>
                    <a:pt x="941" y="1466"/>
                  </a:lnTo>
                  <a:lnTo>
                    <a:pt x="941" y="1467"/>
                  </a:lnTo>
                  <a:close/>
                  <a:moveTo>
                    <a:pt x="624" y="1316"/>
                  </a:moveTo>
                  <a:lnTo>
                    <a:pt x="624" y="1315"/>
                  </a:lnTo>
                  <a:lnTo>
                    <a:pt x="626" y="1315"/>
                  </a:lnTo>
                  <a:lnTo>
                    <a:pt x="624" y="1316"/>
                  </a:lnTo>
                  <a:close/>
                  <a:moveTo>
                    <a:pt x="590" y="322"/>
                  </a:moveTo>
                  <a:lnTo>
                    <a:pt x="592" y="322"/>
                  </a:lnTo>
                  <a:lnTo>
                    <a:pt x="593" y="322"/>
                  </a:lnTo>
                  <a:lnTo>
                    <a:pt x="593" y="321"/>
                  </a:lnTo>
                  <a:lnTo>
                    <a:pt x="593" y="322"/>
                  </a:lnTo>
                  <a:lnTo>
                    <a:pt x="592" y="322"/>
                  </a:lnTo>
                  <a:lnTo>
                    <a:pt x="590" y="322"/>
                  </a:lnTo>
                  <a:close/>
                  <a:moveTo>
                    <a:pt x="567" y="259"/>
                  </a:moveTo>
                  <a:lnTo>
                    <a:pt x="569" y="257"/>
                  </a:lnTo>
                  <a:lnTo>
                    <a:pt x="569" y="259"/>
                  </a:lnTo>
                  <a:lnTo>
                    <a:pt x="567" y="259"/>
                  </a:lnTo>
                  <a:close/>
                  <a:moveTo>
                    <a:pt x="571" y="235"/>
                  </a:moveTo>
                  <a:lnTo>
                    <a:pt x="571" y="233"/>
                  </a:lnTo>
                  <a:lnTo>
                    <a:pt x="571" y="235"/>
                  </a:lnTo>
                  <a:lnTo>
                    <a:pt x="572" y="235"/>
                  </a:lnTo>
                  <a:lnTo>
                    <a:pt x="571" y="235"/>
                  </a:lnTo>
                  <a:close/>
                  <a:moveTo>
                    <a:pt x="597" y="230"/>
                  </a:moveTo>
                  <a:lnTo>
                    <a:pt x="595" y="230"/>
                  </a:lnTo>
                  <a:lnTo>
                    <a:pt x="595" y="231"/>
                  </a:lnTo>
                  <a:lnTo>
                    <a:pt x="595" y="230"/>
                  </a:lnTo>
                  <a:lnTo>
                    <a:pt x="593" y="230"/>
                  </a:lnTo>
                  <a:lnTo>
                    <a:pt x="597" y="230"/>
                  </a:lnTo>
                  <a:close/>
                  <a:moveTo>
                    <a:pt x="623" y="1310"/>
                  </a:moveTo>
                  <a:lnTo>
                    <a:pt x="623" y="1311"/>
                  </a:lnTo>
                  <a:lnTo>
                    <a:pt x="621" y="1311"/>
                  </a:lnTo>
                  <a:lnTo>
                    <a:pt x="623" y="1310"/>
                  </a:lnTo>
                  <a:close/>
                  <a:moveTo>
                    <a:pt x="154" y="1129"/>
                  </a:moveTo>
                  <a:lnTo>
                    <a:pt x="156" y="1129"/>
                  </a:lnTo>
                  <a:lnTo>
                    <a:pt x="154" y="1129"/>
                  </a:lnTo>
                  <a:close/>
                  <a:moveTo>
                    <a:pt x="299" y="1139"/>
                  </a:moveTo>
                  <a:lnTo>
                    <a:pt x="299" y="1137"/>
                  </a:lnTo>
                  <a:lnTo>
                    <a:pt x="299" y="1139"/>
                  </a:lnTo>
                  <a:close/>
                  <a:moveTo>
                    <a:pt x="920" y="1186"/>
                  </a:moveTo>
                  <a:lnTo>
                    <a:pt x="920" y="1188"/>
                  </a:lnTo>
                  <a:lnTo>
                    <a:pt x="919" y="1188"/>
                  </a:lnTo>
                  <a:lnTo>
                    <a:pt x="919" y="1186"/>
                  </a:lnTo>
                  <a:lnTo>
                    <a:pt x="920" y="1186"/>
                  </a:lnTo>
                  <a:close/>
                  <a:moveTo>
                    <a:pt x="291" y="849"/>
                  </a:moveTo>
                  <a:lnTo>
                    <a:pt x="291" y="851"/>
                  </a:lnTo>
                  <a:lnTo>
                    <a:pt x="291" y="849"/>
                  </a:lnTo>
                  <a:close/>
                  <a:moveTo>
                    <a:pt x="590" y="226"/>
                  </a:moveTo>
                  <a:lnTo>
                    <a:pt x="590" y="225"/>
                  </a:lnTo>
                  <a:lnTo>
                    <a:pt x="590" y="226"/>
                  </a:lnTo>
                  <a:close/>
                  <a:moveTo>
                    <a:pt x="304" y="875"/>
                  </a:moveTo>
                  <a:lnTo>
                    <a:pt x="304" y="877"/>
                  </a:lnTo>
                  <a:lnTo>
                    <a:pt x="304" y="875"/>
                  </a:lnTo>
                  <a:close/>
                  <a:moveTo>
                    <a:pt x="587" y="235"/>
                  </a:moveTo>
                  <a:lnTo>
                    <a:pt x="585" y="235"/>
                  </a:lnTo>
                  <a:lnTo>
                    <a:pt x="587" y="235"/>
                  </a:lnTo>
                  <a:close/>
                  <a:moveTo>
                    <a:pt x="314" y="885"/>
                  </a:moveTo>
                  <a:lnTo>
                    <a:pt x="314" y="884"/>
                  </a:lnTo>
                  <a:lnTo>
                    <a:pt x="314" y="885"/>
                  </a:lnTo>
                  <a:close/>
                  <a:moveTo>
                    <a:pt x="270" y="846"/>
                  </a:moveTo>
                  <a:lnTo>
                    <a:pt x="268" y="846"/>
                  </a:lnTo>
                  <a:lnTo>
                    <a:pt x="268" y="845"/>
                  </a:lnTo>
                  <a:lnTo>
                    <a:pt x="270" y="845"/>
                  </a:lnTo>
                  <a:lnTo>
                    <a:pt x="270" y="846"/>
                  </a:lnTo>
                  <a:close/>
                  <a:moveTo>
                    <a:pt x="600" y="301"/>
                  </a:moveTo>
                  <a:lnTo>
                    <a:pt x="601" y="301"/>
                  </a:lnTo>
                  <a:lnTo>
                    <a:pt x="600" y="301"/>
                  </a:lnTo>
                  <a:lnTo>
                    <a:pt x="600" y="300"/>
                  </a:lnTo>
                  <a:lnTo>
                    <a:pt x="600" y="301"/>
                  </a:lnTo>
                  <a:close/>
                  <a:moveTo>
                    <a:pt x="946" y="1396"/>
                  </a:moveTo>
                  <a:lnTo>
                    <a:pt x="945" y="1397"/>
                  </a:lnTo>
                  <a:lnTo>
                    <a:pt x="945" y="1396"/>
                  </a:lnTo>
                  <a:lnTo>
                    <a:pt x="946" y="1396"/>
                  </a:lnTo>
                  <a:lnTo>
                    <a:pt x="946" y="1394"/>
                  </a:lnTo>
                  <a:lnTo>
                    <a:pt x="946" y="1396"/>
                  </a:lnTo>
                  <a:close/>
                  <a:moveTo>
                    <a:pt x="580" y="290"/>
                  </a:moveTo>
                  <a:lnTo>
                    <a:pt x="580" y="288"/>
                  </a:lnTo>
                  <a:lnTo>
                    <a:pt x="580" y="290"/>
                  </a:lnTo>
                  <a:close/>
                  <a:moveTo>
                    <a:pt x="577" y="283"/>
                  </a:moveTo>
                  <a:lnTo>
                    <a:pt x="577" y="285"/>
                  </a:lnTo>
                  <a:lnTo>
                    <a:pt x="579" y="285"/>
                  </a:lnTo>
                  <a:lnTo>
                    <a:pt x="577" y="285"/>
                  </a:lnTo>
                  <a:lnTo>
                    <a:pt x="577" y="283"/>
                  </a:lnTo>
                  <a:close/>
                  <a:moveTo>
                    <a:pt x="670" y="877"/>
                  </a:moveTo>
                  <a:lnTo>
                    <a:pt x="670" y="875"/>
                  </a:lnTo>
                  <a:lnTo>
                    <a:pt x="670" y="877"/>
                  </a:lnTo>
                  <a:close/>
                  <a:moveTo>
                    <a:pt x="624" y="1313"/>
                  </a:moveTo>
                  <a:lnTo>
                    <a:pt x="623" y="1313"/>
                  </a:lnTo>
                  <a:lnTo>
                    <a:pt x="623" y="1311"/>
                  </a:lnTo>
                  <a:lnTo>
                    <a:pt x="624" y="1313"/>
                  </a:lnTo>
                  <a:close/>
                  <a:moveTo>
                    <a:pt x="593" y="225"/>
                  </a:moveTo>
                  <a:lnTo>
                    <a:pt x="593" y="223"/>
                  </a:lnTo>
                  <a:lnTo>
                    <a:pt x="593" y="225"/>
                  </a:lnTo>
                  <a:lnTo>
                    <a:pt x="593" y="223"/>
                  </a:lnTo>
                  <a:lnTo>
                    <a:pt x="593" y="225"/>
                  </a:lnTo>
                  <a:close/>
                  <a:moveTo>
                    <a:pt x="154" y="1015"/>
                  </a:moveTo>
                  <a:lnTo>
                    <a:pt x="154" y="1017"/>
                  </a:lnTo>
                  <a:lnTo>
                    <a:pt x="154" y="1015"/>
                  </a:lnTo>
                  <a:close/>
                  <a:moveTo>
                    <a:pt x="592" y="223"/>
                  </a:moveTo>
                  <a:lnTo>
                    <a:pt x="593" y="223"/>
                  </a:lnTo>
                  <a:lnTo>
                    <a:pt x="592" y="223"/>
                  </a:lnTo>
                  <a:lnTo>
                    <a:pt x="593" y="223"/>
                  </a:lnTo>
                  <a:lnTo>
                    <a:pt x="592" y="223"/>
                  </a:lnTo>
                  <a:close/>
                  <a:moveTo>
                    <a:pt x="569" y="270"/>
                  </a:moveTo>
                  <a:lnTo>
                    <a:pt x="569" y="269"/>
                  </a:lnTo>
                  <a:lnTo>
                    <a:pt x="569" y="270"/>
                  </a:lnTo>
                  <a:close/>
                  <a:moveTo>
                    <a:pt x="579" y="235"/>
                  </a:moveTo>
                  <a:lnTo>
                    <a:pt x="580" y="235"/>
                  </a:lnTo>
                  <a:lnTo>
                    <a:pt x="579" y="235"/>
                  </a:lnTo>
                  <a:close/>
                  <a:moveTo>
                    <a:pt x="588" y="228"/>
                  </a:moveTo>
                  <a:lnTo>
                    <a:pt x="588" y="230"/>
                  </a:lnTo>
                  <a:lnTo>
                    <a:pt x="588" y="228"/>
                  </a:lnTo>
                  <a:close/>
                  <a:moveTo>
                    <a:pt x="623" y="1311"/>
                  </a:moveTo>
                  <a:lnTo>
                    <a:pt x="621" y="1311"/>
                  </a:lnTo>
                  <a:lnTo>
                    <a:pt x="623" y="1311"/>
                  </a:lnTo>
                  <a:close/>
                  <a:moveTo>
                    <a:pt x="140" y="927"/>
                  </a:moveTo>
                  <a:lnTo>
                    <a:pt x="138" y="927"/>
                  </a:lnTo>
                  <a:lnTo>
                    <a:pt x="140" y="927"/>
                  </a:lnTo>
                  <a:close/>
                  <a:moveTo>
                    <a:pt x="327" y="441"/>
                  </a:moveTo>
                  <a:lnTo>
                    <a:pt x="328" y="441"/>
                  </a:lnTo>
                  <a:lnTo>
                    <a:pt x="327" y="441"/>
                  </a:lnTo>
                  <a:close/>
                  <a:moveTo>
                    <a:pt x="584" y="235"/>
                  </a:moveTo>
                  <a:lnTo>
                    <a:pt x="584" y="233"/>
                  </a:lnTo>
                  <a:lnTo>
                    <a:pt x="584" y="235"/>
                  </a:lnTo>
                  <a:close/>
                  <a:moveTo>
                    <a:pt x="562" y="261"/>
                  </a:moveTo>
                  <a:lnTo>
                    <a:pt x="561" y="261"/>
                  </a:lnTo>
                  <a:lnTo>
                    <a:pt x="562" y="261"/>
                  </a:lnTo>
                  <a:lnTo>
                    <a:pt x="562" y="259"/>
                  </a:lnTo>
                  <a:lnTo>
                    <a:pt x="562" y="261"/>
                  </a:lnTo>
                  <a:close/>
                  <a:moveTo>
                    <a:pt x="566" y="249"/>
                  </a:moveTo>
                  <a:lnTo>
                    <a:pt x="567" y="251"/>
                  </a:lnTo>
                  <a:lnTo>
                    <a:pt x="567" y="249"/>
                  </a:lnTo>
                  <a:lnTo>
                    <a:pt x="567" y="251"/>
                  </a:lnTo>
                  <a:lnTo>
                    <a:pt x="566" y="249"/>
                  </a:lnTo>
                  <a:close/>
                  <a:moveTo>
                    <a:pt x="627" y="1298"/>
                  </a:moveTo>
                  <a:lnTo>
                    <a:pt x="627" y="1297"/>
                  </a:lnTo>
                  <a:lnTo>
                    <a:pt x="629" y="1297"/>
                  </a:lnTo>
                  <a:lnTo>
                    <a:pt x="627" y="1298"/>
                  </a:lnTo>
                  <a:close/>
                  <a:moveTo>
                    <a:pt x="571" y="264"/>
                  </a:moveTo>
                  <a:lnTo>
                    <a:pt x="569" y="266"/>
                  </a:lnTo>
                  <a:lnTo>
                    <a:pt x="569" y="264"/>
                  </a:lnTo>
                  <a:lnTo>
                    <a:pt x="571" y="264"/>
                  </a:lnTo>
                  <a:close/>
                  <a:moveTo>
                    <a:pt x="577" y="287"/>
                  </a:moveTo>
                  <a:lnTo>
                    <a:pt x="579" y="287"/>
                  </a:lnTo>
                  <a:lnTo>
                    <a:pt x="577" y="287"/>
                  </a:lnTo>
                  <a:close/>
                  <a:moveTo>
                    <a:pt x="600" y="228"/>
                  </a:moveTo>
                  <a:lnTo>
                    <a:pt x="598" y="228"/>
                  </a:lnTo>
                  <a:lnTo>
                    <a:pt x="600" y="228"/>
                  </a:lnTo>
                  <a:close/>
                  <a:moveTo>
                    <a:pt x="658" y="191"/>
                  </a:moveTo>
                  <a:lnTo>
                    <a:pt x="658" y="189"/>
                  </a:lnTo>
                  <a:lnTo>
                    <a:pt x="658" y="191"/>
                  </a:lnTo>
                  <a:close/>
                  <a:moveTo>
                    <a:pt x="601" y="228"/>
                  </a:moveTo>
                  <a:lnTo>
                    <a:pt x="601" y="226"/>
                  </a:lnTo>
                  <a:lnTo>
                    <a:pt x="601" y="228"/>
                  </a:lnTo>
                  <a:close/>
                  <a:moveTo>
                    <a:pt x="572" y="303"/>
                  </a:moveTo>
                  <a:lnTo>
                    <a:pt x="574" y="303"/>
                  </a:lnTo>
                  <a:lnTo>
                    <a:pt x="574" y="305"/>
                  </a:lnTo>
                  <a:lnTo>
                    <a:pt x="572" y="303"/>
                  </a:lnTo>
                  <a:close/>
                  <a:moveTo>
                    <a:pt x="684" y="192"/>
                  </a:moveTo>
                  <a:lnTo>
                    <a:pt x="684" y="191"/>
                  </a:lnTo>
                  <a:lnTo>
                    <a:pt x="686" y="191"/>
                  </a:lnTo>
                  <a:lnTo>
                    <a:pt x="686" y="192"/>
                  </a:lnTo>
                  <a:lnTo>
                    <a:pt x="684" y="192"/>
                  </a:lnTo>
                  <a:close/>
                  <a:moveTo>
                    <a:pt x="304" y="890"/>
                  </a:moveTo>
                  <a:lnTo>
                    <a:pt x="304" y="888"/>
                  </a:lnTo>
                  <a:lnTo>
                    <a:pt x="305" y="890"/>
                  </a:lnTo>
                  <a:lnTo>
                    <a:pt x="304" y="890"/>
                  </a:lnTo>
                  <a:close/>
                  <a:moveTo>
                    <a:pt x="598" y="223"/>
                  </a:moveTo>
                  <a:lnTo>
                    <a:pt x="600" y="223"/>
                  </a:lnTo>
                  <a:lnTo>
                    <a:pt x="598" y="223"/>
                  </a:lnTo>
                  <a:close/>
                  <a:moveTo>
                    <a:pt x="288" y="848"/>
                  </a:moveTo>
                  <a:lnTo>
                    <a:pt x="286" y="848"/>
                  </a:lnTo>
                  <a:lnTo>
                    <a:pt x="288" y="848"/>
                  </a:lnTo>
                  <a:close/>
                  <a:moveTo>
                    <a:pt x="579" y="288"/>
                  </a:moveTo>
                  <a:lnTo>
                    <a:pt x="579" y="287"/>
                  </a:lnTo>
                  <a:lnTo>
                    <a:pt x="579" y="288"/>
                  </a:lnTo>
                  <a:close/>
                  <a:moveTo>
                    <a:pt x="592" y="228"/>
                  </a:moveTo>
                  <a:lnTo>
                    <a:pt x="593" y="228"/>
                  </a:lnTo>
                  <a:lnTo>
                    <a:pt x="592" y="230"/>
                  </a:lnTo>
                  <a:lnTo>
                    <a:pt x="592" y="228"/>
                  </a:lnTo>
                  <a:close/>
                  <a:moveTo>
                    <a:pt x="561" y="259"/>
                  </a:moveTo>
                  <a:lnTo>
                    <a:pt x="562" y="259"/>
                  </a:lnTo>
                  <a:lnTo>
                    <a:pt x="562" y="261"/>
                  </a:lnTo>
                  <a:lnTo>
                    <a:pt x="561" y="259"/>
                  </a:lnTo>
                  <a:close/>
                  <a:moveTo>
                    <a:pt x="169" y="1167"/>
                  </a:moveTo>
                  <a:lnTo>
                    <a:pt x="169" y="1165"/>
                  </a:lnTo>
                  <a:lnTo>
                    <a:pt x="169" y="1167"/>
                  </a:lnTo>
                  <a:close/>
                  <a:moveTo>
                    <a:pt x="577" y="327"/>
                  </a:moveTo>
                  <a:lnTo>
                    <a:pt x="579" y="327"/>
                  </a:lnTo>
                  <a:lnTo>
                    <a:pt x="577" y="327"/>
                  </a:lnTo>
                  <a:close/>
                  <a:moveTo>
                    <a:pt x="566" y="259"/>
                  </a:moveTo>
                  <a:lnTo>
                    <a:pt x="567" y="259"/>
                  </a:lnTo>
                  <a:lnTo>
                    <a:pt x="566" y="259"/>
                  </a:lnTo>
                  <a:close/>
                  <a:moveTo>
                    <a:pt x="567" y="248"/>
                  </a:moveTo>
                  <a:lnTo>
                    <a:pt x="569" y="248"/>
                  </a:lnTo>
                  <a:lnTo>
                    <a:pt x="567" y="248"/>
                  </a:lnTo>
                  <a:close/>
                  <a:moveTo>
                    <a:pt x="564" y="256"/>
                  </a:moveTo>
                  <a:lnTo>
                    <a:pt x="564" y="257"/>
                  </a:lnTo>
                  <a:lnTo>
                    <a:pt x="564" y="256"/>
                  </a:lnTo>
                  <a:close/>
                  <a:moveTo>
                    <a:pt x="1216" y="877"/>
                  </a:moveTo>
                  <a:lnTo>
                    <a:pt x="1218" y="877"/>
                  </a:lnTo>
                  <a:lnTo>
                    <a:pt x="1216" y="877"/>
                  </a:lnTo>
                  <a:close/>
                  <a:moveTo>
                    <a:pt x="566" y="249"/>
                  </a:moveTo>
                  <a:lnTo>
                    <a:pt x="566" y="248"/>
                  </a:lnTo>
                  <a:lnTo>
                    <a:pt x="567" y="249"/>
                  </a:lnTo>
                  <a:lnTo>
                    <a:pt x="566" y="249"/>
                  </a:lnTo>
                  <a:close/>
                  <a:moveTo>
                    <a:pt x="723" y="205"/>
                  </a:moveTo>
                  <a:lnTo>
                    <a:pt x="722" y="205"/>
                  </a:lnTo>
                  <a:lnTo>
                    <a:pt x="723" y="205"/>
                  </a:lnTo>
                  <a:close/>
                  <a:moveTo>
                    <a:pt x="811" y="884"/>
                  </a:moveTo>
                  <a:lnTo>
                    <a:pt x="811" y="885"/>
                  </a:lnTo>
                  <a:lnTo>
                    <a:pt x="813" y="885"/>
                  </a:lnTo>
                  <a:lnTo>
                    <a:pt x="811" y="885"/>
                  </a:lnTo>
                  <a:lnTo>
                    <a:pt x="811" y="884"/>
                  </a:lnTo>
                  <a:close/>
                  <a:moveTo>
                    <a:pt x="775" y="901"/>
                  </a:moveTo>
                  <a:lnTo>
                    <a:pt x="775" y="900"/>
                  </a:lnTo>
                  <a:lnTo>
                    <a:pt x="777" y="900"/>
                  </a:lnTo>
                  <a:lnTo>
                    <a:pt x="777" y="901"/>
                  </a:lnTo>
                  <a:lnTo>
                    <a:pt x="775" y="901"/>
                  </a:lnTo>
                  <a:close/>
                  <a:moveTo>
                    <a:pt x="566" y="239"/>
                  </a:moveTo>
                  <a:lnTo>
                    <a:pt x="566" y="241"/>
                  </a:lnTo>
                  <a:lnTo>
                    <a:pt x="566" y="239"/>
                  </a:lnTo>
                  <a:close/>
                  <a:moveTo>
                    <a:pt x="595" y="301"/>
                  </a:moveTo>
                  <a:lnTo>
                    <a:pt x="595" y="300"/>
                  </a:lnTo>
                  <a:lnTo>
                    <a:pt x="595" y="301"/>
                  </a:lnTo>
                  <a:close/>
                  <a:moveTo>
                    <a:pt x="595" y="222"/>
                  </a:moveTo>
                  <a:lnTo>
                    <a:pt x="593" y="222"/>
                  </a:lnTo>
                  <a:lnTo>
                    <a:pt x="595" y="222"/>
                  </a:lnTo>
                  <a:lnTo>
                    <a:pt x="593" y="222"/>
                  </a:lnTo>
                  <a:lnTo>
                    <a:pt x="595" y="220"/>
                  </a:lnTo>
                  <a:lnTo>
                    <a:pt x="595" y="222"/>
                  </a:lnTo>
                  <a:close/>
                  <a:moveTo>
                    <a:pt x="561" y="259"/>
                  </a:moveTo>
                  <a:lnTo>
                    <a:pt x="561" y="257"/>
                  </a:lnTo>
                  <a:lnTo>
                    <a:pt x="562" y="257"/>
                  </a:lnTo>
                  <a:lnTo>
                    <a:pt x="562" y="259"/>
                  </a:lnTo>
                  <a:lnTo>
                    <a:pt x="561" y="259"/>
                  </a:lnTo>
                  <a:close/>
                  <a:moveTo>
                    <a:pt x="1006" y="719"/>
                  </a:moveTo>
                  <a:lnTo>
                    <a:pt x="1005" y="719"/>
                  </a:lnTo>
                  <a:lnTo>
                    <a:pt x="1006" y="719"/>
                  </a:lnTo>
                  <a:close/>
                  <a:moveTo>
                    <a:pt x="284" y="849"/>
                  </a:moveTo>
                  <a:lnTo>
                    <a:pt x="284" y="848"/>
                  </a:lnTo>
                  <a:lnTo>
                    <a:pt x="284" y="849"/>
                  </a:lnTo>
                  <a:close/>
                  <a:moveTo>
                    <a:pt x="618" y="1298"/>
                  </a:moveTo>
                  <a:lnTo>
                    <a:pt x="618" y="1297"/>
                  </a:lnTo>
                  <a:lnTo>
                    <a:pt x="618" y="1298"/>
                  </a:lnTo>
                  <a:close/>
                  <a:moveTo>
                    <a:pt x="567" y="244"/>
                  </a:moveTo>
                  <a:lnTo>
                    <a:pt x="567" y="243"/>
                  </a:lnTo>
                  <a:lnTo>
                    <a:pt x="567" y="244"/>
                  </a:lnTo>
                  <a:close/>
                  <a:moveTo>
                    <a:pt x="662" y="192"/>
                  </a:moveTo>
                  <a:lnTo>
                    <a:pt x="662" y="191"/>
                  </a:lnTo>
                  <a:lnTo>
                    <a:pt x="662" y="192"/>
                  </a:lnTo>
                  <a:close/>
                  <a:moveTo>
                    <a:pt x="564" y="246"/>
                  </a:moveTo>
                  <a:lnTo>
                    <a:pt x="566" y="246"/>
                  </a:lnTo>
                  <a:lnTo>
                    <a:pt x="564" y="246"/>
                  </a:lnTo>
                  <a:close/>
                  <a:moveTo>
                    <a:pt x="605" y="1308"/>
                  </a:moveTo>
                  <a:lnTo>
                    <a:pt x="606" y="1308"/>
                  </a:lnTo>
                  <a:lnTo>
                    <a:pt x="605" y="1308"/>
                  </a:lnTo>
                  <a:close/>
                  <a:moveTo>
                    <a:pt x="626" y="1316"/>
                  </a:moveTo>
                  <a:lnTo>
                    <a:pt x="626" y="1315"/>
                  </a:lnTo>
                  <a:lnTo>
                    <a:pt x="626" y="1316"/>
                  </a:lnTo>
                  <a:close/>
                  <a:moveTo>
                    <a:pt x="562" y="259"/>
                  </a:moveTo>
                  <a:lnTo>
                    <a:pt x="561" y="259"/>
                  </a:lnTo>
                  <a:lnTo>
                    <a:pt x="562" y="259"/>
                  </a:lnTo>
                  <a:close/>
                  <a:moveTo>
                    <a:pt x="296" y="858"/>
                  </a:moveTo>
                  <a:lnTo>
                    <a:pt x="296" y="856"/>
                  </a:lnTo>
                  <a:lnTo>
                    <a:pt x="296" y="858"/>
                  </a:lnTo>
                  <a:close/>
                  <a:moveTo>
                    <a:pt x="580" y="238"/>
                  </a:moveTo>
                  <a:lnTo>
                    <a:pt x="580" y="239"/>
                  </a:lnTo>
                  <a:lnTo>
                    <a:pt x="580" y="238"/>
                  </a:lnTo>
                  <a:close/>
                  <a:moveTo>
                    <a:pt x="579" y="277"/>
                  </a:moveTo>
                  <a:lnTo>
                    <a:pt x="579" y="275"/>
                  </a:lnTo>
                  <a:lnTo>
                    <a:pt x="579" y="277"/>
                  </a:lnTo>
                  <a:close/>
                  <a:moveTo>
                    <a:pt x="579" y="238"/>
                  </a:moveTo>
                  <a:lnTo>
                    <a:pt x="579" y="239"/>
                  </a:lnTo>
                  <a:lnTo>
                    <a:pt x="579" y="238"/>
                  </a:lnTo>
                  <a:close/>
                  <a:moveTo>
                    <a:pt x="260" y="838"/>
                  </a:moveTo>
                  <a:lnTo>
                    <a:pt x="260" y="836"/>
                  </a:lnTo>
                  <a:lnTo>
                    <a:pt x="260" y="838"/>
                  </a:lnTo>
                  <a:close/>
                  <a:moveTo>
                    <a:pt x="585" y="231"/>
                  </a:moveTo>
                  <a:lnTo>
                    <a:pt x="585" y="230"/>
                  </a:lnTo>
                  <a:lnTo>
                    <a:pt x="585" y="231"/>
                  </a:lnTo>
                  <a:close/>
                  <a:moveTo>
                    <a:pt x="588" y="226"/>
                  </a:moveTo>
                  <a:lnTo>
                    <a:pt x="588" y="228"/>
                  </a:lnTo>
                  <a:lnTo>
                    <a:pt x="588" y="226"/>
                  </a:lnTo>
                  <a:close/>
                  <a:moveTo>
                    <a:pt x="662" y="189"/>
                  </a:moveTo>
                  <a:lnTo>
                    <a:pt x="662" y="187"/>
                  </a:lnTo>
                  <a:lnTo>
                    <a:pt x="662" y="189"/>
                  </a:lnTo>
                  <a:close/>
                  <a:moveTo>
                    <a:pt x="585" y="226"/>
                  </a:moveTo>
                  <a:lnTo>
                    <a:pt x="587" y="226"/>
                  </a:lnTo>
                  <a:lnTo>
                    <a:pt x="585" y="226"/>
                  </a:lnTo>
                  <a:close/>
                  <a:moveTo>
                    <a:pt x="289" y="851"/>
                  </a:moveTo>
                  <a:lnTo>
                    <a:pt x="288" y="851"/>
                  </a:lnTo>
                  <a:lnTo>
                    <a:pt x="289" y="851"/>
                  </a:lnTo>
                  <a:close/>
                  <a:moveTo>
                    <a:pt x="587" y="238"/>
                  </a:moveTo>
                  <a:lnTo>
                    <a:pt x="588" y="239"/>
                  </a:lnTo>
                  <a:lnTo>
                    <a:pt x="587" y="238"/>
                  </a:lnTo>
                  <a:close/>
                  <a:moveTo>
                    <a:pt x="584" y="329"/>
                  </a:moveTo>
                  <a:lnTo>
                    <a:pt x="584" y="327"/>
                  </a:lnTo>
                  <a:lnTo>
                    <a:pt x="584" y="329"/>
                  </a:lnTo>
                  <a:close/>
                  <a:moveTo>
                    <a:pt x="676" y="192"/>
                  </a:moveTo>
                  <a:lnTo>
                    <a:pt x="678" y="192"/>
                  </a:lnTo>
                  <a:lnTo>
                    <a:pt x="676" y="192"/>
                  </a:lnTo>
                  <a:close/>
                  <a:moveTo>
                    <a:pt x="582" y="231"/>
                  </a:moveTo>
                  <a:lnTo>
                    <a:pt x="584" y="231"/>
                  </a:lnTo>
                  <a:lnTo>
                    <a:pt x="582" y="231"/>
                  </a:lnTo>
                  <a:close/>
                  <a:moveTo>
                    <a:pt x="587" y="231"/>
                  </a:moveTo>
                  <a:lnTo>
                    <a:pt x="587" y="230"/>
                  </a:lnTo>
                  <a:lnTo>
                    <a:pt x="587" y="231"/>
                  </a:lnTo>
                  <a:close/>
                  <a:moveTo>
                    <a:pt x="575" y="267"/>
                  </a:moveTo>
                  <a:lnTo>
                    <a:pt x="574" y="267"/>
                  </a:lnTo>
                  <a:lnTo>
                    <a:pt x="574" y="266"/>
                  </a:lnTo>
                  <a:lnTo>
                    <a:pt x="575" y="266"/>
                  </a:lnTo>
                  <a:lnTo>
                    <a:pt x="575" y="267"/>
                  </a:lnTo>
                  <a:close/>
                  <a:moveTo>
                    <a:pt x="935" y="1342"/>
                  </a:moveTo>
                  <a:lnTo>
                    <a:pt x="935" y="1344"/>
                  </a:lnTo>
                  <a:lnTo>
                    <a:pt x="935" y="1342"/>
                  </a:lnTo>
                  <a:close/>
                  <a:moveTo>
                    <a:pt x="823" y="919"/>
                  </a:moveTo>
                  <a:lnTo>
                    <a:pt x="823" y="918"/>
                  </a:lnTo>
                  <a:lnTo>
                    <a:pt x="823" y="919"/>
                  </a:lnTo>
                  <a:close/>
                  <a:moveTo>
                    <a:pt x="270" y="846"/>
                  </a:moveTo>
                  <a:lnTo>
                    <a:pt x="271" y="846"/>
                  </a:lnTo>
                  <a:lnTo>
                    <a:pt x="270" y="846"/>
                  </a:lnTo>
                  <a:close/>
                  <a:moveTo>
                    <a:pt x="592" y="225"/>
                  </a:moveTo>
                  <a:lnTo>
                    <a:pt x="592" y="223"/>
                  </a:lnTo>
                  <a:lnTo>
                    <a:pt x="593" y="225"/>
                  </a:lnTo>
                  <a:lnTo>
                    <a:pt x="592" y="225"/>
                  </a:lnTo>
                  <a:close/>
                  <a:moveTo>
                    <a:pt x="219" y="384"/>
                  </a:moveTo>
                  <a:lnTo>
                    <a:pt x="219" y="386"/>
                  </a:lnTo>
                  <a:lnTo>
                    <a:pt x="219" y="384"/>
                  </a:lnTo>
                  <a:close/>
                  <a:moveTo>
                    <a:pt x="278" y="838"/>
                  </a:moveTo>
                  <a:lnTo>
                    <a:pt x="278" y="836"/>
                  </a:lnTo>
                  <a:lnTo>
                    <a:pt x="278" y="838"/>
                  </a:lnTo>
                  <a:close/>
                  <a:moveTo>
                    <a:pt x="974" y="997"/>
                  </a:moveTo>
                  <a:lnTo>
                    <a:pt x="975" y="997"/>
                  </a:lnTo>
                  <a:lnTo>
                    <a:pt x="974" y="997"/>
                  </a:lnTo>
                  <a:close/>
                  <a:moveTo>
                    <a:pt x="580" y="241"/>
                  </a:moveTo>
                  <a:lnTo>
                    <a:pt x="582" y="241"/>
                  </a:lnTo>
                  <a:lnTo>
                    <a:pt x="580" y="241"/>
                  </a:lnTo>
                  <a:close/>
                  <a:moveTo>
                    <a:pt x="584" y="329"/>
                  </a:moveTo>
                  <a:lnTo>
                    <a:pt x="585" y="329"/>
                  </a:lnTo>
                  <a:lnTo>
                    <a:pt x="584" y="329"/>
                  </a:lnTo>
                  <a:close/>
                  <a:moveTo>
                    <a:pt x="567" y="252"/>
                  </a:moveTo>
                  <a:lnTo>
                    <a:pt x="567" y="251"/>
                  </a:lnTo>
                  <a:lnTo>
                    <a:pt x="567" y="252"/>
                  </a:lnTo>
                  <a:close/>
                  <a:moveTo>
                    <a:pt x="562" y="246"/>
                  </a:moveTo>
                  <a:lnTo>
                    <a:pt x="562" y="248"/>
                  </a:lnTo>
                  <a:lnTo>
                    <a:pt x="562" y="246"/>
                  </a:lnTo>
                  <a:close/>
                  <a:moveTo>
                    <a:pt x="587" y="230"/>
                  </a:moveTo>
                  <a:lnTo>
                    <a:pt x="587" y="228"/>
                  </a:lnTo>
                  <a:lnTo>
                    <a:pt x="588" y="230"/>
                  </a:lnTo>
                  <a:lnTo>
                    <a:pt x="587" y="230"/>
                  </a:lnTo>
                  <a:close/>
                  <a:moveTo>
                    <a:pt x="579" y="272"/>
                  </a:moveTo>
                  <a:lnTo>
                    <a:pt x="577" y="272"/>
                  </a:lnTo>
                  <a:lnTo>
                    <a:pt x="579" y="272"/>
                  </a:lnTo>
                  <a:close/>
                  <a:moveTo>
                    <a:pt x="584" y="329"/>
                  </a:moveTo>
                  <a:lnTo>
                    <a:pt x="585" y="329"/>
                  </a:lnTo>
                  <a:lnTo>
                    <a:pt x="584" y="329"/>
                  </a:lnTo>
                  <a:close/>
                  <a:moveTo>
                    <a:pt x="307" y="892"/>
                  </a:moveTo>
                  <a:lnTo>
                    <a:pt x="307" y="890"/>
                  </a:lnTo>
                  <a:lnTo>
                    <a:pt x="307" y="892"/>
                  </a:lnTo>
                  <a:close/>
                  <a:moveTo>
                    <a:pt x="601" y="305"/>
                  </a:moveTo>
                  <a:lnTo>
                    <a:pt x="601" y="303"/>
                  </a:lnTo>
                  <a:lnTo>
                    <a:pt x="601" y="305"/>
                  </a:lnTo>
                  <a:close/>
                  <a:moveTo>
                    <a:pt x="662" y="187"/>
                  </a:moveTo>
                  <a:lnTo>
                    <a:pt x="663" y="187"/>
                  </a:lnTo>
                  <a:lnTo>
                    <a:pt x="662" y="187"/>
                  </a:lnTo>
                  <a:close/>
                  <a:moveTo>
                    <a:pt x="154" y="1129"/>
                  </a:moveTo>
                  <a:lnTo>
                    <a:pt x="154" y="1131"/>
                  </a:lnTo>
                  <a:lnTo>
                    <a:pt x="154" y="1129"/>
                  </a:lnTo>
                  <a:close/>
                  <a:moveTo>
                    <a:pt x="283" y="841"/>
                  </a:moveTo>
                  <a:lnTo>
                    <a:pt x="284" y="841"/>
                  </a:lnTo>
                  <a:lnTo>
                    <a:pt x="283" y="841"/>
                  </a:lnTo>
                  <a:close/>
                </a:path>
              </a:pathLst>
            </a:custGeom>
            <a:solidFill>
              <a:srgbClr val="00B0F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1192" name="Freeform 38">
              <a:extLst>
                <a:ext uri="{FF2B5EF4-FFF2-40B4-BE49-F238E27FC236}">
                  <a16:creationId xmlns:a16="http://schemas.microsoft.com/office/drawing/2014/main" id="{FB11A2C4-0E04-4581-9BFC-033E53FE35AA}"/>
                </a:ext>
              </a:extLst>
            </p:cNvPr>
            <p:cNvSpPr>
              <a:spLocks noEditPoints="1"/>
            </p:cNvSpPr>
            <p:nvPr/>
          </p:nvSpPr>
          <p:spPr bwMode="auto">
            <a:xfrm>
              <a:off x="3061" y="3761"/>
              <a:ext cx="32" cy="20"/>
            </a:xfrm>
            <a:custGeom>
              <a:avLst/>
              <a:gdLst>
                <a:gd name="T0" fmla="*/ 11 w 32"/>
                <a:gd name="T1" fmla="*/ 2 h 20"/>
                <a:gd name="T2" fmla="*/ 13 w 32"/>
                <a:gd name="T3" fmla="*/ 3 h 20"/>
                <a:gd name="T4" fmla="*/ 13 w 32"/>
                <a:gd name="T5" fmla="*/ 3 h 20"/>
                <a:gd name="T6" fmla="*/ 14 w 32"/>
                <a:gd name="T7" fmla="*/ 3 h 20"/>
                <a:gd name="T8" fmla="*/ 16 w 32"/>
                <a:gd name="T9" fmla="*/ 3 h 20"/>
                <a:gd name="T10" fmla="*/ 16 w 32"/>
                <a:gd name="T11" fmla="*/ 7 h 20"/>
                <a:gd name="T12" fmla="*/ 19 w 32"/>
                <a:gd name="T13" fmla="*/ 5 h 20"/>
                <a:gd name="T14" fmla="*/ 19 w 32"/>
                <a:gd name="T15" fmla="*/ 7 h 20"/>
                <a:gd name="T16" fmla="*/ 21 w 32"/>
                <a:gd name="T17" fmla="*/ 7 h 20"/>
                <a:gd name="T18" fmla="*/ 23 w 32"/>
                <a:gd name="T19" fmla="*/ 10 h 20"/>
                <a:gd name="T20" fmla="*/ 21 w 32"/>
                <a:gd name="T21" fmla="*/ 10 h 20"/>
                <a:gd name="T22" fmla="*/ 21 w 32"/>
                <a:gd name="T23" fmla="*/ 10 h 20"/>
                <a:gd name="T24" fmla="*/ 21 w 32"/>
                <a:gd name="T25" fmla="*/ 11 h 20"/>
                <a:gd name="T26" fmla="*/ 19 w 32"/>
                <a:gd name="T27" fmla="*/ 13 h 20"/>
                <a:gd name="T28" fmla="*/ 19 w 32"/>
                <a:gd name="T29" fmla="*/ 16 h 20"/>
                <a:gd name="T30" fmla="*/ 18 w 32"/>
                <a:gd name="T31" fmla="*/ 16 h 20"/>
                <a:gd name="T32" fmla="*/ 16 w 32"/>
                <a:gd name="T33" fmla="*/ 16 h 20"/>
                <a:gd name="T34" fmla="*/ 14 w 32"/>
                <a:gd name="T35" fmla="*/ 15 h 20"/>
                <a:gd name="T36" fmla="*/ 13 w 32"/>
                <a:gd name="T37" fmla="*/ 15 h 20"/>
                <a:gd name="T38" fmla="*/ 13 w 32"/>
                <a:gd name="T39" fmla="*/ 15 h 20"/>
                <a:gd name="T40" fmla="*/ 11 w 32"/>
                <a:gd name="T41" fmla="*/ 15 h 20"/>
                <a:gd name="T42" fmla="*/ 11 w 32"/>
                <a:gd name="T43" fmla="*/ 15 h 20"/>
                <a:gd name="T44" fmla="*/ 11 w 32"/>
                <a:gd name="T45" fmla="*/ 15 h 20"/>
                <a:gd name="T46" fmla="*/ 11 w 32"/>
                <a:gd name="T47" fmla="*/ 11 h 20"/>
                <a:gd name="T48" fmla="*/ 8 w 32"/>
                <a:gd name="T49" fmla="*/ 11 h 20"/>
                <a:gd name="T50" fmla="*/ 6 w 32"/>
                <a:gd name="T51" fmla="*/ 13 h 20"/>
                <a:gd name="T52" fmla="*/ 6 w 32"/>
                <a:gd name="T53" fmla="*/ 15 h 20"/>
                <a:gd name="T54" fmla="*/ 6 w 32"/>
                <a:gd name="T55" fmla="*/ 13 h 20"/>
                <a:gd name="T56" fmla="*/ 5 w 32"/>
                <a:gd name="T57" fmla="*/ 13 h 20"/>
                <a:gd name="T58" fmla="*/ 5 w 32"/>
                <a:gd name="T59" fmla="*/ 13 h 20"/>
                <a:gd name="T60" fmla="*/ 5 w 32"/>
                <a:gd name="T61" fmla="*/ 11 h 20"/>
                <a:gd name="T62" fmla="*/ 3 w 32"/>
                <a:gd name="T63" fmla="*/ 11 h 20"/>
                <a:gd name="T64" fmla="*/ 3 w 32"/>
                <a:gd name="T65" fmla="*/ 13 h 20"/>
                <a:gd name="T66" fmla="*/ 1 w 32"/>
                <a:gd name="T67" fmla="*/ 13 h 20"/>
                <a:gd name="T68" fmla="*/ 0 w 32"/>
                <a:gd name="T69" fmla="*/ 11 h 20"/>
                <a:gd name="T70" fmla="*/ 0 w 32"/>
                <a:gd name="T71" fmla="*/ 10 h 20"/>
                <a:gd name="T72" fmla="*/ 3 w 32"/>
                <a:gd name="T73" fmla="*/ 8 h 20"/>
                <a:gd name="T74" fmla="*/ 1 w 32"/>
                <a:gd name="T75" fmla="*/ 5 h 20"/>
                <a:gd name="T76" fmla="*/ 0 w 32"/>
                <a:gd name="T77" fmla="*/ 3 h 20"/>
                <a:gd name="T78" fmla="*/ 0 w 32"/>
                <a:gd name="T79" fmla="*/ 2 h 20"/>
                <a:gd name="T80" fmla="*/ 3 w 32"/>
                <a:gd name="T81" fmla="*/ 0 h 20"/>
                <a:gd name="T82" fmla="*/ 5 w 32"/>
                <a:gd name="T83" fmla="*/ 2 h 20"/>
                <a:gd name="T84" fmla="*/ 5 w 32"/>
                <a:gd name="T85" fmla="*/ 2 h 20"/>
                <a:gd name="T86" fmla="*/ 6 w 32"/>
                <a:gd name="T87" fmla="*/ 3 h 20"/>
                <a:gd name="T88" fmla="*/ 8 w 32"/>
                <a:gd name="T89" fmla="*/ 2 h 20"/>
                <a:gd name="T90" fmla="*/ 11 w 32"/>
                <a:gd name="T91" fmla="*/ 13 h 20"/>
                <a:gd name="T92" fmla="*/ 11 w 32"/>
                <a:gd name="T93" fmla="*/ 13 h 20"/>
                <a:gd name="T94" fmla="*/ 31 w 32"/>
                <a:gd name="T95" fmla="*/ 2 h 20"/>
                <a:gd name="T96" fmla="*/ 8 w 32"/>
                <a:gd name="T97" fmla="*/ 13 h 20"/>
                <a:gd name="T98" fmla="*/ 18 w 32"/>
                <a:gd name="T99" fmla="*/ 20 h 20"/>
                <a:gd name="T100" fmla="*/ 18 w 32"/>
                <a:gd name="T101" fmla="*/ 20 h 20"/>
                <a:gd name="T102" fmla="*/ 31 w 32"/>
                <a:gd name="T103" fmla="*/ 0 h 20"/>
                <a:gd name="T104" fmla="*/ 11 w 32"/>
                <a:gd name="T105" fmla="*/ 15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2" h="20">
                  <a:moveTo>
                    <a:pt x="10" y="2"/>
                  </a:moveTo>
                  <a:lnTo>
                    <a:pt x="10" y="2"/>
                  </a:lnTo>
                  <a:lnTo>
                    <a:pt x="10" y="2"/>
                  </a:lnTo>
                  <a:lnTo>
                    <a:pt x="11" y="2"/>
                  </a:lnTo>
                  <a:lnTo>
                    <a:pt x="11" y="2"/>
                  </a:lnTo>
                  <a:lnTo>
                    <a:pt x="11" y="3"/>
                  </a:lnTo>
                  <a:lnTo>
                    <a:pt x="13" y="3"/>
                  </a:lnTo>
                  <a:lnTo>
                    <a:pt x="13" y="3"/>
                  </a:lnTo>
                  <a:lnTo>
                    <a:pt x="13" y="3"/>
                  </a:lnTo>
                  <a:lnTo>
                    <a:pt x="13" y="3"/>
                  </a:lnTo>
                  <a:lnTo>
                    <a:pt x="13" y="3"/>
                  </a:lnTo>
                  <a:lnTo>
                    <a:pt x="13" y="3"/>
                  </a:lnTo>
                  <a:lnTo>
                    <a:pt x="14" y="3"/>
                  </a:lnTo>
                  <a:lnTo>
                    <a:pt x="14" y="3"/>
                  </a:lnTo>
                  <a:lnTo>
                    <a:pt x="14" y="3"/>
                  </a:lnTo>
                  <a:lnTo>
                    <a:pt x="14" y="3"/>
                  </a:lnTo>
                  <a:lnTo>
                    <a:pt x="14" y="3"/>
                  </a:lnTo>
                  <a:lnTo>
                    <a:pt x="16" y="3"/>
                  </a:lnTo>
                  <a:lnTo>
                    <a:pt x="16" y="3"/>
                  </a:lnTo>
                  <a:lnTo>
                    <a:pt x="16" y="3"/>
                  </a:lnTo>
                  <a:lnTo>
                    <a:pt x="16" y="5"/>
                  </a:lnTo>
                  <a:lnTo>
                    <a:pt x="16" y="5"/>
                  </a:lnTo>
                  <a:lnTo>
                    <a:pt x="16" y="5"/>
                  </a:lnTo>
                  <a:lnTo>
                    <a:pt x="16" y="7"/>
                  </a:lnTo>
                  <a:lnTo>
                    <a:pt x="18" y="7"/>
                  </a:lnTo>
                  <a:lnTo>
                    <a:pt x="18" y="7"/>
                  </a:lnTo>
                  <a:lnTo>
                    <a:pt x="18" y="7"/>
                  </a:lnTo>
                  <a:lnTo>
                    <a:pt x="19" y="5"/>
                  </a:lnTo>
                  <a:lnTo>
                    <a:pt x="19" y="7"/>
                  </a:lnTo>
                  <a:lnTo>
                    <a:pt x="19" y="7"/>
                  </a:lnTo>
                  <a:lnTo>
                    <a:pt x="19" y="7"/>
                  </a:lnTo>
                  <a:lnTo>
                    <a:pt x="19" y="7"/>
                  </a:lnTo>
                  <a:lnTo>
                    <a:pt x="21" y="7"/>
                  </a:lnTo>
                  <a:lnTo>
                    <a:pt x="21" y="7"/>
                  </a:lnTo>
                  <a:lnTo>
                    <a:pt x="21" y="7"/>
                  </a:lnTo>
                  <a:lnTo>
                    <a:pt x="21" y="7"/>
                  </a:lnTo>
                  <a:lnTo>
                    <a:pt x="21" y="8"/>
                  </a:lnTo>
                  <a:lnTo>
                    <a:pt x="21" y="8"/>
                  </a:lnTo>
                  <a:lnTo>
                    <a:pt x="21" y="8"/>
                  </a:lnTo>
                  <a:lnTo>
                    <a:pt x="23" y="10"/>
                  </a:lnTo>
                  <a:lnTo>
                    <a:pt x="21" y="8"/>
                  </a:lnTo>
                  <a:lnTo>
                    <a:pt x="21" y="8"/>
                  </a:lnTo>
                  <a:lnTo>
                    <a:pt x="21" y="10"/>
                  </a:lnTo>
                  <a:lnTo>
                    <a:pt x="21" y="10"/>
                  </a:lnTo>
                  <a:lnTo>
                    <a:pt x="21" y="10"/>
                  </a:lnTo>
                  <a:lnTo>
                    <a:pt x="21" y="10"/>
                  </a:lnTo>
                  <a:lnTo>
                    <a:pt x="21" y="10"/>
                  </a:lnTo>
                  <a:lnTo>
                    <a:pt x="21" y="10"/>
                  </a:lnTo>
                  <a:lnTo>
                    <a:pt x="21" y="10"/>
                  </a:lnTo>
                  <a:lnTo>
                    <a:pt x="21" y="11"/>
                  </a:lnTo>
                  <a:lnTo>
                    <a:pt x="21" y="11"/>
                  </a:lnTo>
                  <a:lnTo>
                    <a:pt x="21" y="11"/>
                  </a:lnTo>
                  <a:lnTo>
                    <a:pt x="21" y="13"/>
                  </a:lnTo>
                  <a:lnTo>
                    <a:pt x="21" y="13"/>
                  </a:lnTo>
                  <a:lnTo>
                    <a:pt x="21" y="11"/>
                  </a:lnTo>
                  <a:lnTo>
                    <a:pt x="19" y="13"/>
                  </a:lnTo>
                  <a:lnTo>
                    <a:pt x="19" y="13"/>
                  </a:lnTo>
                  <a:lnTo>
                    <a:pt x="19" y="15"/>
                  </a:lnTo>
                  <a:lnTo>
                    <a:pt x="19" y="16"/>
                  </a:lnTo>
                  <a:lnTo>
                    <a:pt x="19" y="16"/>
                  </a:lnTo>
                  <a:lnTo>
                    <a:pt x="19" y="16"/>
                  </a:lnTo>
                  <a:lnTo>
                    <a:pt x="19" y="16"/>
                  </a:lnTo>
                  <a:lnTo>
                    <a:pt x="18" y="16"/>
                  </a:lnTo>
                  <a:lnTo>
                    <a:pt x="18" y="16"/>
                  </a:lnTo>
                  <a:lnTo>
                    <a:pt x="16" y="16"/>
                  </a:lnTo>
                  <a:lnTo>
                    <a:pt x="16" y="16"/>
                  </a:lnTo>
                  <a:lnTo>
                    <a:pt x="16" y="16"/>
                  </a:lnTo>
                  <a:lnTo>
                    <a:pt x="16" y="16"/>
                  </a:lnTo>
                  <a:lnTo>
                    <a:pt x="14" y="16"/>
                  </a:lnTo>
                  <a:lnTo>
                    <a:pt x="14" y="16"/>
                  </a:lnTo>
                  <a:lnTo>
                    <a:pt x="14" y="16"/>
                  </a:lnTo>
                  <a:lnTo>
                    <a:pt x="14" y="15"/>
                  </a:lnTo>
                  <a:lnTo>
                    <a:pt x="13" y="15"/>
                  </a:lnTo>
                  <a:lnTo>
                    <a:pt x="13" y="15"/>
                  </a:lnTo>
                  <a:lnTo>
                    <a:pt x="13" y="15"/>
                  </a:lnTo>
                  <a:lnTo>
                    <a:pt x="13" y="15"/>
                  </a:lnTo>
                  <a:lnTo>
                    <a:pt x="13" y="15"/>
                  </a:lnTo>
                  <a:lnTo>
                    <a:pt x="13" y="15"/>
                  </a:lnTo>
                  <a:lnTo>
                    <a:pt x="13" y="15"/>
                  </a:lnTo>
                  <a:lnTo>
                    <a:pt x="13" y="15"/>
                  </a:lnTo>
                  <a:lnTo>
                    <a:pt x="11" y="15"/>
                  </a:lnTo>
                  <a:lnTo>
                    <a:pt x="11" y="15"/>
                  </a:lnTo>
                  <a:lnTo>
                    <a:pt x="11" y="15"/>
                  </a:lnTo>
                  <a:lnTo>
                    <a:pt x="11" y="15"/>
                  </a:lnTo>
                  <a:lnTo>
                    <a:pt x="11" y="15"/>
                  </a:lnTo>
                  <a:lnTo>
                    <a:pt x="11" y="15"/>
                  </a:lnTo>
                  <a:lnTo>
                    <a:pt x="11" y="15"/>
                  </a:lnTo>
                  <a:lnTo>
                    <a:pt x="11" y="15"/>
                  </a:lnTo>
                  <a:lnTo>
                    <a:pt x="11" y="15"/>
                  </a:lnTo>
                  <a:lnTo>
                    <a:pt x="11" y="15"/>
                  </a:lnTo>
                  <a:lnTo>
                    <a:pt x="11" y="15"/>
                  </a:lnTo>
                  <a:lnTo>
                    <a:pt x="11" y="15"/>
                  </a:lnTo>
                  <a:lnTo>
                    <a:pt x="11" y="15"/>
                  </a:lnTo>
                  <a:lnTo>
                    <a:pt x="11" y="13"/>
                  </a:lnTo>
                  <a:lnTo>
                    <a:pt x="11" y="13"/>
                  </a:lnTo>
                  <a:lnTo>
                    <a:pt x="11" y="11"/>
                  </a:lnTo>
                  <a:lnTo>
                    <a:pt x="10" y="11"/>
                  </a:lnTo>
                  <a:lnTo>
                    <a:pt x="10" y="10"/>
                  </a:lnTo>
                  <a:lnTo>
                    <a:pt x="8" y="10"/>
                  </a:lnTo>
                  <a:lnTo>
                    <a:pt x="8" y="11"/>
                  </a:lnTo>
                  <a:lnTo>
                    <a:pt x="6" y="11"/>
                  </a:lnTo>
                  <a:lnTo>
                    <a:pt x="6" y="11"/>
                  </a:lnTo>
                  <a:lnTo>
                    <a:pt x="6" y="11"/>
                  </a:lnTo>
                  <a:lnTo>
                    <a:pt x="6" y="13"/>
                  </a:lnTo>
                  <a:lnTo>
                    <a:pt x="6" y="13"/>
                  </a:lnTo>
                  <a:lnTo>
                    <a:pt x="6" y="13"/>
                  </a:lnTo>
                  <a:lnTo>
                    <a:pt x="6" y="13"/>
                  </a:lnTo>
                  <a:lnTo>
                    <a:pt x="6" y="15"/>
                  </a:lnTo>
                  <a:lnTo>
                    <a:pt x="6" y="15"/>
                  </a:lnTo>
                  <a:lnTo>
                    <a:pt x="6" y="15"/>
                  </a:lnTo>
                  <a:lnTo>
                    <a:pt x="6" y="15"/>
                  </a:lnTo>
                  <a:lnTo>
                    <a:pt x="6" y="13"/>
                  </a:lnTo>
                  <a:lnTo>
                    <a:pt x="5" y="13"/>
                  </a:lnTo>
                  <a:lnTo>
                    <a:pt x="5" y="15"/>
                  </a:lnTo>
                  <a:lnTo>
                    <a:pt x="5" y="15"/>
                  </a:lnTo>
                  <a:lnTo>
                    <a:pt x="5" y="13"/>
                  </a:lnTo>
                  <a:lnTo>
                    <a:pt x="5" y="13"/>
                  </a:lnTo>
                  <a:lnTo>
                    <a:pt x="5" y="13"/>
                  </a:lnTo>
                  <a:lnTo>
                    <a:pt x="5" y="13"/>
                  </a:lnTo>
                  <a:lnTo>
                    <a:pt x="5" y="13"/>
                  </a:lnTo>
                  <a:lnTo>
                    <a:pt x="5" y="13"/>
                  </a:lnTo>
                  <a:lnTo>
                    <a:pt x="5" y="13"/>
                  </a:lnTo>
                  <a:lnTo>
                    <a:pt x="5" y="11"/>
                  </a:lnTo>
                  <a:lnTo>
                    <a:pt x="5" y="11"/>
                  </a:lnTo>
                  <a:lnTo>
                    <a:pt x="5" y="11"/>
                  </a:lnTo>
                  <a:lnTo>
                    <a:pt x="5" y="11"/>
                  </a:lnTo>
                  <a:lnTo>
                    <a:pt x="3" y="11"/>
                  </a:lnTo>
                  <a:lnTo>
                    <a:pt x="3" y="11"/>
                  </a:lnTo>
                  <a:lnTo>
                    <a:pt x="3" y="11"/>
                  </a:lnTo>
                  <a:lnTo>
                    <a:pt x="3" y="13"/>
                  </a:lnTo>
                  <a:lnTo>
                    <a:pt x="3" y="11"/>
                  </a:lnTo>
                  <a:lnTo>
                    <a:pt x="3" y="13"/>
                  </a:lnTo>
                  <a:lnTo>
                    <a:pt x="3" y="13"/>
                  </a:lnTo>
                  <a:lnTo>
                    <a:pt x="1" y="13"/>
                  </a:lnTo>
                  <a:lnTo>
                    <a:pt x="1" y="13"/>
                  </a:lnTo>
                  <a:lnTo>
                    <a:pt x="1" y="13"/>
                  </a:lnTo>
                  <a:lnTo>
                    <a:pt x="0" y="11"/>
                  </a:lnTo>
                  <a:lnTo>
                    <a:pt x="0" y="11"/>
                  </a:lnTo>
                  <a:lnTo>
                    <a:pt x="0" y="11"/>
                  </a:lnTo>
                  <a:lnTo>
                    <a:pt x="0" y="11"/>
                  </a:lnTo>
                  <a:lnTo>
                    <a:pt x="0" y="11"/>
                  </a:lnTo>
                  <a:lnTo>
                    <a:pt x="0" y="11"/>
                  </a:lnTo>
                  <a:lnTo>
                    <a:pt x="0" y="11"/>
                  </a:lnTo>
                  <a:lnTo>
                    <a:pt x="0" y="10"/>
                  </a:lnTo>
                  <a:lnTo>
                    <a:pt x="1" y="10"/>
                  </a:lnTo>
                  <a:lnTo>
                    <a:pt x="1" y="10"/>
                  </a:lnTo>
                  <a:lnTo>
                    <a:pt x="1" y="8"/>
                  </a:lnTo>
                  <a:lnTo>
                    <a:pt x="3" y="8"/>
                  </a:lnTo>
                  <a:lnTo>
                    <a:pt x="1" y="7"/>
                  </a:lnTo>
                  <a:lnTo>
                    <a:pt x="1" y="7"/>
                  </a:lnTo>
                  <a:lnTo>
                    <a:pt x="1" y="7"/>
                  </a:lnTo>
                  <a:lnTo>
                    <a:pt x="1" y="5"/>
                  </a:lnTo>
                  <a:lnTo>
                    <a:pt x="1" y="3"/>
                  </a:lnTo>
                  <a:lnTo>
                    <a:pt x="1" y="3"/>
                  </a:lnTo>
                  <a:lnTo>
                    <a:pt x="1" y="3"/>
                  </a:lnTo>
                  <a:lnTo>
                    <a:pt x="0" y="3"/>
                  </a:lnTo>
                  <a:lnTo>
                    <a:pt x="0" y="3"/>
                  </a:lnTo>
                  <a:lnTo>
                    <a:pt x="0" y="2"/>
                  </a:lnTo>
                  <a:lnTo>
                    <a:pt x="0" y="2"/>
                  </a:lnTo>
                  <a:lnTo>
                    <a:pt x="0" y="2"/>
                  </a:lnTo>
                  <a:lnTo>
                    <a:pt x="1" y="0"/>
                  </a:lnTo>
                  <a:lnTo>
                    <a:pt x="1" y="0"/>
                  </a:lnTo>
                  <a:lnTo>
                    <a:pt x="3" y="0"/>
                  </a:lnTo>
                  <a:lnTo>
                    <a:pt x="3" y="0"/>
                  </a:lnTo>
                  <a:lnTo>
                    <a:pt x="3" y="0"/>
                  </a:lnTo>
                  <a:lnTo>
                    <a:pt x="3" y="0"/>
                  </a:lnTo>
                  <a:lnTo>
                    <a:pt x="3" y="0"/>
                  </a:lnTo>
                  <a:lnTo>
                    <a:pt x="5" y="2"/>
                  </a:lnTo>
                  <a:lnTo>
                    <a:pt x="5" y="2"/>
                  </a:lnTo>
                  <a:lnTo>
                    <a:pt x="5" y="2"/>
                  </a:lnTo>
                  <a:lnTo>
                    <a:pt x="5" y="2"/>
                  </a:lnTo>
                  <a:lnTo>
                    <a:pt x="5" y="2"/>
                  </a:lnTo>
                  <a:lnTo>
                    <a:pt x="6" y="2"/>
                  </a:lnTo>
                  <a:lnTo>
                    <a:pt x="6" y="3"/>
                  </a:lnTo>
                  <a:lnTo>
                    <a:pt x="6" y="2"/>
                  </a:lnTo>
                  <a:lnTo>
                    <a:pt x="6" y="3"/>
                  </a:lnTo>
                  <a:lnTo>
                    <a:pt x="6" y="2"/>
                  </a:lnTo>
                  <a:lnTo>
                    <a:pt x="6" y="3"/>
                  </a:lnTo>
                  <a:lnTo>
                    <a:pt x="8" y="2"/>
                  </a:lnTo>
                  <a:lnTo>
                    <a:pt x="8" y="2"/>
                  </a:lnTo>
                  <a:lnTo>
                    <a:pt x="8" y="2"/>
                  </a:lnTo>
                  <a:lnTo>
                    <a:pt x="10" y="2"/>
                  </a:lnTo>
                  <a:lnTo>
                    <a:pt x="10" y="2"/>
                  </a:lnTo>
                  <a:close/>
                  <a:moveTo>
                    <a:pt x="11" y="13"/>
                  </a:moveTo>
                  <a:lnTo>
                    <a:pt x="11" y="15"/>
                  </a:lnTo>
                  <a:lnTo>
                    <a:pt x="11" y="15"/>
                  </a:lnTo>
                  <a:lnTo>
                    <a:pt x="11" y="13"/>
                  </a:lnTo>
                  <a:lnTo>
                    <a:pt x="11" y="13"/>
                  </a:lnTo>
                  <a:lnTo>
                    <a:pt x="11" y="13"/>
                  </a:lnTo>
                  <a:lnTo>
                    <a:pt x="11" y="13"/>
                  </a:lnTo>
                  <a:close/>
                  <a:moveTo>
                    <a:pt x="32" y="2"/>
                  </a:moveTo>
                  <a:lnTo>
                    <a:pt x="31" y="2"/>
                  </a:lnTo>
                  <a:lnTo>
                    <a:pt x="32" y="2"/>
                  </a:lnTo>
                  <a:lnTo>
                    <a:pt x="32" y="2"/>
                  </a:lnTo>
                  <a:close/>
                  <a:moveTo>
                    <a:pt x="8" y="11"/>
                  </a:moveTo>
                  <a:lnTo>
                    <a:pt x="8" y="13"/>
                  </a:lnTo>
                  <a:lnTo>
                    <a:pt x="8" y="11"/>
                  </a:lnTo>
                  <a:lnTo>
                    <a:pt x="8" y="11"/>
                  </a:lnTo>
                  <a:lnTo>
                    <a:pt x="8" y="11"/>
                  </a:lnTo>
                  <a:close/>
                  <a:moveTo>
                    <a:pt x="18" y="20"/>
                  </a:moveTo>
                  <a:lnTo>
                    <a:pt x="18" y="20"/>
                  </a:lnTo>
                  <a:lnTo>
                    <a:pt x="16" y="20"/>
                  </a:lnTo>
                  <a:lnTo>
                    <a:pt x="18" y="20"/>
                  </a:lnTo>
                  <a:lnTo>
                    <a:pt x="18" y="20"/>
                  </a:lnTo>
                  <a:close/>
                  <a:moveTo>
                    <a:pt x="32" y="0"/>
                  </a:moveTo>
                  <a:lnTo>
                    <a:pt x="31" y="0"/>
                  </a:lnTo>
                  <a:lnTo>
                    <a:pt x="31" y="0"/>
                  </a:lnTo>
                  <a:lnTo>
                    <a:pt x="31" y="0"/>
                  </a:lnTo>
                  <a:lnTo>
                    <a:pt x="32" y="0"/>
                  </a:lnTo>
                  <a:close/>
                  <a:moveTo>
                    <a:pt x="11" y="15"/>
                  </a:moveTo>
                  <a:lnTo>
                    <a:pt x="11" y="15"/>
                  </a:lnTo>
                  <a:lnTo>
                    <a:pt x="11" y="15"/>
                  </a:lnTo>
                  <a:lnTo>
                    <a:pt x="11" y="15"/>
                  </a:lnTo>
                  <a:lnTo>
                    <a:pt x="11" y="15"/>
                  </a:lnTo>
                  <a:close/>
                </a:path>
              </a:pathLst>
            </a:custGeom>
            <a:solidFill>
              <a:srgbClr val="E5E5E5"/>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1193" name="Freeform 39">
              <a:extLst>
                <a:ext uri="{FF2B5EF4-FFF2-40B4-BE49-F238E27FC236}">
                  <a16:creationId xmlns:a16="http://schemas.microsoft.com/office/drawing/2014/main" id="{4BC52602-BEE3-1764-D2E8-90FAFBF933DD}"/>
                </a:ext>
              </a:extLst>
            </p:cNvPr>
            <p:cNvSpPr>
              <a:spLocks/>
            </p:cNvSpPr>
            <p:nvPr/>
          </p:nvSpPr>
          <p:spPr bwMode="auto">
            <a:xfrm>
              <a:off x="7278" y="5477"/>
              <a:ext cx="446" cy="499"/>
            </a:xfrm>
            <a:custGeom>
              <a:avLst/>
              <a:gdLst>
                <a:gd name="T0" fmla="*/ 44 w 446"/>
                <a:gd name="T1" fmla="*/ 489 h 499"/>
                <a:gd name="T2" fmla="*/ 42 w 446"/>
                <a:gd name="T3" fmla="*/ 481 h 499"/>
                <a:gd name="T4" fmla="*/ 47 w 446"/>
                <a:gd name="T5" fmla="*/ 473 h 499"/>
                <a:gd name="T6" fmla="*/ 46 w 446"/>
                <a:gd name="T7" fmla="*/ 462 h 499"/>
                <a:gd name="T8" fmla="*/ 47 w 446"/>
                <a:gd name="T9" fmla="*/ 447 h 499"/>
                <a:gd name="T10" fmla="*/ 34 w 446"/>
                <a:gd name="T11" fmla="*/ 431 h 499"/>
                <a:gd name="T12" fmla="*/ 37 w 446"/>
                <a:gd name="T13" fmla="*/ 405 h 499"/>
                <a:gd name="T14" fmla="*/ 34 w 446"/>
                <a:gd name="T15" fmla="*/ 356 h 499"/>
                <a:gd name="T16" fmla="*/ 29 w 446"/>
                <a:gd name="T17" fmla="*/ 348 h 499"/>
                <a:gd name="T18" fmla="*/ 26 w 446"/>
                <a:gd name="T19" fmla="*/ 338 h 499"/>
                <a:gd name="T20" fmla="*/ 24 w 446"/>
                <a:gd name="T21" fmla="*/ 330 h 499"/>
                <a:gd name="T22" fmla="*/ 21 w 446"/>
                <a:gd name="T23" fmla="*/ 322 h 499"/>
                <a:gd name="T24" fmla="*/ 20 w 446"/>
                <a:gd name="T25" fmla="*/ 317 h 499"/>
                <a:gd name="T26" fmla="*/ 18 w 446"/>
                <a:gd name="T27" fmla="*/ 309 h 499"/>
                <a:gd name="T28" fmla="*/ 18 w 446"/>
                <a:gd name="T29" fmla="*/ 302 h 499"/>
                <a:gd name="T30" fmla="*/ 18 w 446"/>
                <a:gd name="T31" fmla="*/ 296 h 499"/>
                <a:gd name="T32" fmla="*/ 18 w 446"/>
                <a:gd name="T33" fmla="*/ 293 h 499"/>
                <a:gd name="T34" fmla="*/ 15 w 446"/>
                <a:gd name="T35" fmla="*/ 286 h 499"/>
                <a:gd name="T36" fmla="*/ 11 w 446"/>
                <a:gd name="T37" fmla="*/ 276 h 499"/>
                <a:gd name="T38" fmla="*/ 10 w 446"/>
                <a:gd name="T39" fmla="*/ 272 h 499"/>
                <a:gd name="T40" fmla="*/ 10 w 446"/>
                <a:gd name="T41" fmla="*/ 267 h 499"/>
                <a:gd name="T42" fmla="*/ 8 w 446"/>
                <a:gd name="T43" fmla="*/ 260 h 499"/>
                <a:gd name="T44" fmla="*/ 8 w 446"/>
                <a:gd name="T45" fmla="*/ 257 h 499"/>
                <a:gd name="T46" fmla="*/ 5 w 446"/>
                <a:gd name="T47" fmla="*/ 252 h 499"/>
                <a:gd name="T48" fmla="*/ 5 w 446"/>
                <a:gd name="T49" fmla="*/ 246 h 499"/>
                <a:gd name="T50" fmla="*/ 2 w 446"/>
                <a:gd name="T51" fmla="*/ 237 h 499"/>
                <a:gd name="T52" fmla="*/ 3 w 446"/>
                <a:gd name="T53" fmla="*/ 234 h 499"/>
                <a:gd name="T54" fmla="*/ 5 w 446"/>
                <a:gd name="T55" fmla="*/ 229 h 499"/>
                <a:gd name="T56" fmla="*/ 10 w 446"/>
                <a:gd name="T57" fmla="*/ 226 h 499"/>
                <a:gd name="T58" fmla="*/ 13 w 446"/>
                <a:gd name="T59" fmla="*/ 219 h 499"/>
                <a:gd name="T60" fmla="*/ 16 w 446"/>
                <a:gd name="T61" fmla="*/ 216 h 499"/>
                <a:gd name="T62" fmla="*/ 18 w 446"/>
                <a:gd name="T63" fmla="*/ 213 h 499"/>
                <a:gd name="T64" fmla="*/ 24 w 446"/>
                <a:gd name="T65" fmla="*/ 211 h 499"/>
                <a:gd name="T66" fmla="*/ 28 w 446"/>
                <a:gd name="T67" fmla="*/ 213 h 499"/>
                <a:gd name="T68" fmla="*/ 34 w 446"/>
                <a:gd name="T69" fmla="*/ 211 h 499"/>
                <a:gd name="T70" fmla="*/ 41 w 446"/>
                <a:gd name="T71" fmla="*/ 211 h 499"/>
                <a:gd name="T72" fmla="*/ 46 w 446"/>
                <a:gd name="T73" fmla="*/ 215 h 499"/>
                <a:gd name="T74" fmla="*/ 54 w 446"/>
                <a:gd name="T75" fmla="*/ 216 h 499"/>
                <a:gd name="T76" fmla="*/ 62 w 446"/>
                <a:gd name="T77" fmla="*/ 226 h 499"/>
                <a:gd name="T78" fmla="*/ 70 w 446"/>
                <a:gd name="T79" fmla="*/ 228 h 499"/>
                <a:gd name="T80" fmla="*/ 85 w 446"/>
                <a:gd name="T81" fmla="*/ 228 h 499"/>
                <a:gd name="T82" fmla="*/ 111 w 446"/>
                <a:gd name="T83" fmla="*/ 236 h 499"/>
                <a:gd name="T84" fmla="*/ 124 w 446"/>
                <a:gd name="T85" fmla="*/ 234 h 499"/>
                <a:gd name="T86" fmla="*/ 146 w 446"/>
                <a:gd name="T87" fmla="*/ 231 h 499"/>
                <a:gd name="T88" fmla="*/ 192 w 446"/>
                <a:gd name="T89" fmla="*/ 185 h 499"/>
                <a:gd name="T90" fmla="*/ 285 w 446"/>
                <a:gd name="T91" fmla="*/ 67 h 499"/>
                <a:gd name="T92" fmla="*/ 368 w 446"/>
                <a:gd name="T93" fmla="*/ 42 h 499"/>
                <a:gd name="T94" fmla="*/ 446 w 446"/>
                <a:gd name="T95" fmla="*/ 130 h 499"/>
                <a:gd name="T96" fmla="*/ 355 w 446"/>
                <a:gd name="T97" fmla="*/ 226 h 499"/>
                <a:gd name="T98" fmla="*/ 262 w 446"/>
                <a:gd name="T99" fmla="*/ 294 h 499"/>
                <a:gd name="T100" fmla="*/ 249 w 446"/>
                <a:gd name="T101" fmla="*/ 351 h 499"/>
                <a:gd name="T102" fmla="*/ 285 w 446"/>
                <a:gd name="T103" fmla="*/ 372 h 499"/>
                <a:gd name="T104" fmla="*/ 335 w 446"/>
                <a:gd name="T105" fmla="*/ 493 h 4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446" h="499">
                  <a:moveTo>
                    <a:pt x="42" y="499"/>
                  </a:moveTo>
                  <a:lnTo>
                    <a:pt x="42" y="498"/>
                  </a:lnTo>
                  <a:lnTo>
                    <a:pt x="42" y="496"/>
                  </a:lnTo>
                  <a:lnTo>
                    <a:pt x="44" y="493"/>
                  </a:lnTo>
                  <a:lnTo>
                    <a:pt x="44" y="491"/>
                  </a:lnTo>
                  <a:lnTo>
                    <a:pt x="44" y="489"/>
                  </a:lnTo>
                  <a:lnTo>
                    <a:pt x="42" y="489"/>
                  </a:lnTo>
                  <a:lnTo>
                    <a:pt x="42" y="488"/>
                  </a:lnTo>
                  <a:lnTo>
                    <a:pt x="42" y="486"/>
                  </a:lnTo>
                  <a:lnTo>
                    <a:pt x="42" y="485"/>
                  </a:lnTo>
                  <a:lnTo>
                    <a:pt x="42" y="483"/>
                  </a:lnTo>
                  <a:lnTo>
                    <a:pt x="42" y="481"/>
                  </a:lnTo>
                  <a:lnTo>
                    <a:pt x="44" y="480"/>
                  </a:lnTo>
                  <a:lnTo>
                    <a:pt x="44" y="478"/>
                  </a:lnTo>
                  <a:lnTo>
                    <a:pt x="44" y="476"/>
                  </a:lnTo>
                  <a:lnTo>
                    <a:pt x="46" y="476"/>
                  </a:lnTo>
                  <a:lnTo>
                    <a:pt x="47" y="475"/>
                  </a:lnTo>
                  <a:lnTo>
                    <a:pt x="47" y="473"/>
                  </a:lnTo>
                  <a:lnTo>
                    <a:pt x="49" y="473"/>
                  </a:lnTo>
                  <a:lnTo>
                    <a:pt x="49" y="472"/>
                  </a:lnTo>
                  <a:lnTo>
                    <a:pt x="49" y="470"/>
                  </a:lnTo>
                  <a:lnTo>
                    <a:pt x="47" y="465"/>
                  </a:lnTo>
                  <a:lnTo>
                    <a:pt x="46" y="463"/>
                  </a:lnTo>
                  <a:lnTo>
                    <a:pt x="46" y="462"/>
                  </a:lnTo>
                  <a:lnTo>
                    <a:pt x="46" y="459"/>
                  </a:lnTo>
                  <a:lnTo>
                    <a:pt x="47" y="457"/>
                  </a:lnTo>
                  <a:lnTo>
                    <a:pt x="47" y="454"/>
                  </a:lnTo>
                  <a:lnTo>
                    <a:pt x="47" y="452"/>
                  </a:lnTo>
                  <a:lnTo>
                    <a:pt x="47" y="449"/>
                  </a:lnTo>
                  <a:lnTo>
                    <a:pt x="47" y="447"/>
                  </a:lnTo>
                  <a:lnTo>
                    <a:pt x="47" y="444"/>
                  </a:lnTo>
                  <a:lnTo>
                    <a:pt x="46" y="442"/>
                  </a:lnTo>
                  <a:lnTo>
                    <a:pt x="46" y="441"/>
                  </a:lnTo>
                  <a:lnTo>
                    <a:pt x="44" y="439"/>
                  </a:lnTo>
                  <a:lnTo>
                    <a:pt x="36" y="433"/>
                  </a:lnTo>
                  <a:lnTo>
                    <a:pt x="34" y="431"/>
                  </a:lnTo>
                  <a:lnTo>
                    <a:pt x="34" y="429"/>
                  </a:lnTo>
                  <a:lnTo>
                    <a:pt x="36" y="424"/>
                  </a:lnTo>
                  <a:lnTo>
                    <a:pt x="36" y="420"/>
                  </a:lnTo>
                  <a:lnTo>
                    <a:pt x="37" y="415"/>
                  </a:lnTo>
                  <a:lnTo>
                    <a:pt x="37" y="408"/>
                  </a:lnTo>
                  <a:lnTo>
                    <a:pt x="37" y="405"/>
                  </a:lnTo>
                  <a:lnTo>
                    <a:pt x="36" y="395"/>
                  </a:lnTo>
                  <a:lnTo>
                    <a:pt x="34" y="390"/>
                  </a:lnTo>
                  <a:lnTo>
                    <a:pt x="33" y="384"/>
                  </a:lnTo>
                  <a:lnTo>
                    <a:pt x="33" y="371"/>
                  </a:lnTo>
                  <a:lnTo>
                    <a:pt x="33" y="363"/>
                  </a:lnTo>
                  <a:lnTo>
                    <a:pt x="34" y="356"/>
                  </a:lnTo>
                  <a:lnTo>
                    <a:pt x="34" y="354"/>
                  </a:lnTo>
                  <a:lnTo>
                    <a:pt x="33" y="353"/>
                  </a:lnTo>
                  <a:lnTo>
                    <a:pt x="33" y="351"/>
                  </a:lnTo>
                  <a:lnTo>
                    <a:pt x="31" y="350"/>
                  </a:lnTo>
                  <a:lnTo>
                    <a:pt x="31" y="348"/>
                  </a:lnTo>
                  <a:lnTo>
                    <a:pt x="29" y="348"/>
                  </a:lnTo>
                  <a:lnTo>
                    <a:pt x="31" y="348"/>
                  </a:lnTo>
                  <a:lnTo>
                    <a:pt x="31" y="346"/>
                  </a:lnTo>
                  <a:lnTo>
                    <a:pt x="29" y="343"/>
                  </a:lnTo>
                  <a:lnTo>
                    <a:pt x="29" y="341"/>
                  </a:lnTo>
                  <a:lnTo>
                    <a:pt x="28" y="340"/>
                  </a:lnTo>
                  <a:lnTo>
                    <a:pt x="26" y="338"/>
                  </a:lnTo>
                  <a:lnTo>
                    <a:pt x="24" y="337"/>
                  </a:lnTo>
                  <a:lnTo>
                    <a:pt x="24" y="335"/>
                  </a:lnTo>
                  <a:lnTo>
                    <a:pt x="26" y="333"/>
                  </a:lnTo>
                  <a:lnTo>
                    <a:pt x="26" y="332"/>
                  </a:lnTo>
                  <a:lnTo>
                    <a:pt x="26" y="330"/>
                  </a:lnTo>
                  <a:lnTo>
                    <a:pt x="24" y="330"/>
                  </a:lnTo>
                  <a:lnTo>
                    <a:pt x="24" y="328"/>
                  </a:lnTo>
                  <a:lnTo>
                    <a:pt x="24" y="327"/>
                  </a:lnTo>
                  <a:lnTo>
                    <a:pt x="23" y="325"/>
                  </a:lnTo>
                  <a:lnTo>
                    <a:pt x="23" y="324"/>
                  </a:lnTo>
                  <a:lnTo>
                    <a:pt x="21" y="324"/>
                  </a:lnTo>
                  <a:lnTo>
                    <a:pt x="21" y="322"/>
                  </a:lnTo>
                  <a:lnTo>
                    <a:pt x="20" y="322"/>
                  </a:lnTo>
                  <a:lnTo>
                    <a:pt x="21" y="322"/>
                  </a:lnTo>
                  <a:lnTo>
                    <a:pt x="20" y="320"/>
                  </a:lnTo>
                  <a:lnTo>
                    <a:pt x="20" y="319"/>
                  </a:lnTo>
                  <a:lnTo>
                    <a:pt x="18" y="319"/>
                  </a:lnTo>
                  <a:lnTo>
                    <a:pt x="20" y="317"/>
                  </a:lnTo>
                  <a:lnTo>
                    <a:pt x="20" y="315"/>
                  </a:lnTo>
                  <a:lnTo>
                    <a:pt x="20" y="314"/>
                  </a:lnTo>
                  <a:lnTo>
                    <a:pt x="20" y="312"/>
                  </a:lnTo>
                  <a:lnTo>
                    <a:pt x="20" y="311"/>
                  </a:lnTo>
                  <a:lnTo>
                    <a:pt x="18" y="311"/>
                  </a:lnTo>
                  <a:lnTo>
                    <a:pt x="18" y="309"/>
                  </a:lnTo>
                  <a:lnTo>
                    <a:pt x="20" y="307"/>
                  </a:lnTo>
                  <a:lnTo>
                    <a:pt x="20" y="306"/>
                  </a:lnTo>
                  <a:lnTo>
                    <a:pt x="18" y="306"/>
                  </a:lnTo>
                  <a:lnTo>
                    <a:pt x="20" y="304"/>
                  </a:lnTo>
                  <a:lnTo>
                    <a:pt x="18" y="304"/>
                  </a:lnTo>
                  <a:lnTo>
                    <a:pt x="18" y="302"/>
                  </a:lnTo>
                  <a:lnTo>
                    <a:pt x="20" y="302"/>
                  </a:lnTo>
                  <a:lnTo>
                    <a:pt x="20" y="301"/>
                  </a:lnTo>
                  <a:lnTo>
                    <a:pt x="18" y="301"/>
                  </a:lnTo>
                  <a:lnTo>
                    <a:pt x="18" y="299"/>
                  </a:lnTo>
                  <a:lnTo>
                    <a:pt x="18" y="298"/>
                  </a:lnTo>
                  <a:lnTo>
                    <a:pt x="18" y="296"/>
                  </a:lnTo>
                  <a:lnTo>
                    <a:pt x="18" y="298"/>
                  </a:lnTo>
                  <a:lnTo>
                    <a:pt x="18" y="296"/>
                  </a:lnTo>
                  <a:lnTo>
                    <a:pt x="20" y="296"/>
                  </a:lnTo>
                  <a:lnTo>
                    <a:pt x="18" y="296"/>
                  </a:lnTo>
                  <a:lnTo>
                    <a:pt x="18" y="294"/>
                  </a:lnTo>
                  <a:lnTo>
                    <a:pt x="18" y="293"/>
                  </a:lnTo>
                  <a:lnTo>
                    <a:pt x="18" y="291"/>
                  </a:lnTo>
                  <a:lnTo>
                    <a:pt x="16" y="291"/>
                  </a:lnTo>
                  <a:lnTo>
                    <a:pt x="16" y="289"/>
                  </a:lnTo>
                  <a:lnTo>
                    <a:pt x="16" y="288"/>
                  </a:lnTo>
                  <a:lnTo>
                    <a:pt x="16" y="286"/>
                  </a:lnTo>
                  <a:lnTo>
                    <a:pt x="15" y="286"/>
                  </a:lnTo>
                  <a:lnTo>
                    <a:pt x="15" y="285"/>
                  </a:lnTo>
                  <a:lnTo>
                    <a:pt x="15" y="283"/>
                  </a:lnTo>
                  <a:lnTo>
                    <a:pt x="13" y="281"/>
                  </a:lnTo>
                  <a:lnTo>
                    <a:pt x="13" y="280"/>
                  </a:lnTo>
                  <a:lnTo>
                    <a:pt x="11" y="278"/>
                  </a:lnTo>
                  <a:lnTo>
                    <a:pt x="11" y="276"/>
                  </a:lnTo>
                  <a:lnTo>
                    <a:pt x="11" y="275"/>
                  </a:lnTo>
                  <a:lnTo>
                    <a:pt x="11" y="273"/>
                  </a:lnTo>
                  <a:lnTo>
                    <a:pt x="10" y="273"/>
                  </a:lnTo>
                  <a:lnTo>
                    <a:pt x="11" y="273"/>
                  </a:lnTo>
                  <a:lnTo>
                    <a:pt x="11" y="272"/>
                  </a:lnTo>
                  <a:lnTo>
                    <a:pt x="10" y="272"/>
                  </a:lnTo>
                  <a:lnTo>
                    <a:pt x="11" y="270"/>
                  </a:lnTo>
                  <a:lnTo>
                    <a:pt x="10" y="270"/>
                  </a:lnTo>
                  <a:lnTo>
                    <a:pt x="8" y="270"/>
                  </a:lnTo>
                  <a:lnTo>
                    <a:pt x="8" y="268"/>
                  </a:lnTo>
                  <a:lnTo>
                    <a:pt x="10" y="268"/>
                  </a:lnTo>
                  <a:lnTo>
                    <a:pt x="10" y="267"/>
                  </a:lnTo>
                  <a:lnTo>
                    <a:pt x="8" y="267"/>
                  </a:lnTo>
                  <a:lnTo>
                    <a:pt x="8" y="265"/>
                  </a:lnTo>
                  <a:lnTo>
                    <a:pt x="8" y="263"/>
                  </a:lnTo>
                  <a:lnTo>
                    <a:pt x="10" y="262"/>
                  </a:lnTo>
                  <a:lnTo>
                    <a:pt x="8" y="262"/>
                  </a:lnTo>
                  <a:lnTo>
                    <a:pt x="8" y="260"/>
                  </a:lnTo>
                  <a:lnTo>
                    <a:pt x="8" y="259"/>
                  </a:lnTo>
                  <a:lnTo>
                    <a:pt x="7" y="259"/>
                  </a:lnTo>
                  <a:lnTo>
                    <a:pt x="8" y="259"/>
                  </a:lnTo>
                  <a:lnTo>
                    <a:pt x="7" y="259"/>
                  </a:lnTo>
                  <a:lnTo>
                    <a:pt x="7" y="257"/>
                  </a:lnTo>
                  <a:lnTo>
                    <a:pt x="8" y="257"/>
                  </a:lnTo>
                  <a:lnTo>
                    <a:pt x="7" y="257"/>
                  </a:lnTo>
                  <a:lnTo>
                    <a:pt x="8" y="255"/>
                  </a:lnTo>
                  <a:lnTo>
                    <a:pt x="8" y="254"/>
                  </a:lnTo>
                  <a:lnTo>
                    <a:pt x="7" y="254"/>
                  </a:lnTo>
                  <a:lnTo>
                    <a:pt x="5" y="254"/>
                  </a:lnTo>
                  <a:lnTo>
                    <a:pt x="5" y="252"/>
                  </a:lnTo>
                  <a:lnTo>
                    <a:pt x="5" y="250"/>
                  </a:lnTo>
                  <a:lnTo>
                    <a:pt x="5" y="249"/>
                  </a:lnTo>
                  <a:lnTo>
                    <a:pt x="3" y="249"/>
                  </a:lnTo>
                  <a:lnTo>
                    <a:pt x="5" y="249"/>
                  </a:lnTo>
                  <a:lnTo>
                    <a:pt x="5" y="247"/>
                  </a:lnTo>
                  <a:lnTo>
                    <a:pt x="5" y="246"/>
                  </a:lnTo>
                  <a:lnTo>
                    <a:pt x="5" y="244"/>
                  </a:lnTo>
                  <a:lnTo>
                    <a:pt x="5" y="242"/>
                  </a:lnTo>
                  <a:lnTo>
                    <a:pt x="3" y="241"/>
                  </a:lnTo>
                  <a:lnTo>
                    <a:pt x="2" y="241"/>
                  </a:lnTo>
                  <a:lnTo>
                    <a:pt x="3" y="239"/>
                  </a:lnTo>
                  <a:lnTo>
                    <a:pt x="2" y="237"/>
                  </a:lnTo>
                  <a:lnTo>
                    <a:pt x="2" y="236"/>
                  </a:lnTo>
                  <a:lnTo>
                    <a:pt x="0" y="236"/>
                  </a:lnTo>
                  <a:lnTo>
                    <a:pt x="2" y="234"/>
                  </a:lnTo>
                  <a:lnTo>
                    <a:pt x="0" y="234"/>
                  </a:lnTo>
                  <a:lnTo>
                    <a:pt x="2" y="234"/>
                  </a:lnTo>
                  <a:lnTo>
                    <a:pt x="3" y="234"/>
                  </a:lnTo>
                  <a:lnTo>
                    <a:pt x="3" y="232"/>
                  </a:lnTo>
                  <a:lnTo>
                    <a:pt x="5" y="232"/>
                  </a:lnTo>
                  <a:lnTo>
                    <a:pt x="5" y="231"/>
                  </a:lnTo>
                  <a:lnTo>
                    <a:pt x="3" y="231"/>
                  </a:lnTo>
                  <a:lnTo>
                    <a:pt x="3" y="229"/>
                  </a:lnTo>
                  <a:lnTo>
                    <a:pt x="5" y="229"/>
                  </a:lnTo>
                  <a:lnTo>
                    <a:pt x="3" y="229"/>
                  </a:lnTo>
                  <a:lnTo>
                    <a:pt x="5" y="228"/>
                  </a:lnTo>
                  <a:lnTo>
                    <a:pt x="7" y="228"/>
                  </a:lnTo>
                  <a:lnTo>
                    <a:pt x="7" y="226"/>
                  </a:lnTo>
                  <a:lnTo>
                    <a:pt x="8" y="226"/>
                  </a:lnTo>
                  <a:lnTo>
                    <a:pt x="10" y="226"/>
                  </a:lnTo>
                  <a:lnTo>
                    <a:pt x="10" y="224"/>
                  </a:lnTo>
                  <a:lnTo>
                    <a:pt x="11" y="224"/>
                  </a:lnTo>
                  <a:lnTo>
                    <a:pt x="11" y="223"/>
                  </a:lnTo>
                  <a:lnTo>
                    <a:pt x="11" y="221"/>
                  </a:lnTo>
                  <a:lnTo>
                    <a:pt x="13" y="221"/>
                  </a:lnTo>
                  <a:lnTo>
                    <a:pt x="13" y="219"/>
                  </a:lnTo>
                  <a:lnTo>
                    <a:pt x="15" y="219"/>
                  </a:lnTo>
                  <a:lnTo>
                    <a:pt x="15" y="218"/>
                  </a:lnTo>
                  <a:lnTo>
                    <a:pt x="15" y="219"/>
                  </a:lnTo>
                  <a:lnTo>
                    <a:pt x="15" y="218"/>
                  </a:lnTo>
                  <a:lnTo>
                    <a:pt x="16" y="218"/>
                  </a:lnTo>
                  <a:lnTo>
                    <a:pt x="16" y="216"/>
                  </a:lnTo>
                  <a:lnTo>
                    <a:pt x="16" y="218"/>
                  </a:lnTo>
                  <a:lnTo>
                    <a:pt x="16" y="216"/>
                  </a:lnTo>
                  <a:lnTo>
                    <a:pt x="16" y="215"/>
                  </a:lnTo>
                  <a:lnTo>
                    <a:pt x="18" y="216"/>
                  </a:lnTo>
                  <a:lnTo>
                    <a:pt x="18" y="215"/>
                  </a:lnTo>
                  <a:lnTo>
                    <a:pt x="18" y="213"/>
                  </a:lnTo>
                  <a:lnTo>
                    <a:pt x="20" y="213"/>
                  </a:lnTo>
                  <a:lnTo>
                    <a:pt x="21" y="213"/>
                  </a:lnTo>
                  <a:lnTo>
                    <a:pt x="21" y="211"/>
                  </a:lnTo>
                  <a:lnTo>
                    <a:pt x="23" y="211"/>
                  </a:lnTo>
                  <a:lnTo>
                    <a:pt x="23" y="210"/>
                  </a:lnTo>
                  <a:lnTo>
                    <a:pt x="24" y="211"/>
                  </a:lnTo>
                  <a:lnTo>
                    <a:pt x="23" y="211"/>
                  </a:lnTo>
                  <a:lnTo>
                    <a:pt x="24" y="211"/>
                  </a:lnTo>
                  <a:lnTo>
                    <a:pt x="24" y="213"/>
                  </a:lnTo>
                  <a:lnTo>
                    <a:pt x="24" y="211"/>
                  </a:lnTo>
                  <a:lnTo>
                    <a:pt x="26" y="211"/>
                  </a:lnTo>
                  <a:lnTo>
                    <a:pt x="28" y="213"/>
                  </a:lnTo>
                  <a:lnTo>
                    <a:pt x="29" y="211"/>
                  </a:lnTo>
                  <a:lnTo>
                    <a:pt x="31" y="211"/>
                  </a:lnTo>
                  <a:lnTo>
                    <a:pt x="31" y="210"/>
                  </a:lnTo>
                  <a:lnTo>
                    <a:pt x="33" y="210"/>
                  </a:lnTo>
                  <a:lnTo>
                    <a:pt x="34" y="210"/>
                  </a:lnTo>
                  <a:lnTo>
                    <a:pt x="34" y="211"/>
                  </a:lnTo>
                  <a:lnTo>
                    <a:pt x="36" y="211"/>
                  </a:lnTo>
                  <a:lnTo>
                    <a:pt x="36" y="210"/>
                  </a:lnTo>
                  <a:lnTo>
                    <a:pt x="37" y="210"/>
                  </a:lnTo>
                  <a:lnTo>
                    <a:pt x="39" y="210"/>
                  </a:lnTo>
                  <a:lnTo>
                    <a:pt x="41" y="210"/>
                  </a:lnTo>
                  <a:lnTo>
                    <a:pt x="41" y="211"/>
                  </a:lnTo>
                  <a:lnTo>
                    <a:pt x="42" y="213"/>
                  </a:lnTo>
                  <a:lnTo>
                    <a:pt x="42" y="211"/>
                  </a:lnTo>
                  <a:lnTo>
                    <a:pt x="42" y="213"/>
                  </a:lnTo>
                  <a:lnTo>
                    <a:pt x="44" y="211"/>
                  </a:lnTo>
                  <a:lnTo>
                    <a:pt x="46" y="213"/>
                  </a:lnTo>
                  <a:lnTo>
                    <a:pt x="46" y="215"/>
                  </a:lnTo>
                  <a:lnTo>
                    <a:pt x="44" y="215"/>
                  </a:lnTo>
                  <a:lnTo>
                    <a:pt x="46" y="216"/>
                  </a:lnTo>
                  <a:lnTo>
                    <a:pt x="49" y="216"/>
                  </a:lnTo>
                  <a:lnTo>
                    <a:pt x="50" y="215"/>
                  </a:lnTo>
                  <a:lnTo>
                    <a:pt x="54" y="215"/>
                  </a:lnTo>
                  <a:lnTo>
                    <a:pt x="54" y="216"/>
                  </a:lnTo>
                  <a:lnTo>
                    <a:pt x="55" y="219"/>
                  </a:lnTo>
                  <a:lnTo>
                    <a:pt x="55" y="221"/>
                  </a:lnTo>
                  <a:lnTo>
                    <a:pt x="55" y="223"/>
                  </a:lnTo>
                  <a:lnTo>
                    <a:pt x="59" y="223"/>
                  </a:lnTo>
                  <a:lnTo>
                    <a:pt x="62" y="224"/>
                  </a:lnTo>
                  <a:lnTo>
                    <a:pt x="62" y="226"/>
                  </a:lnTo>
                  <a:lnTo>
                    <a:pt x="63" y="226"/>
                  </a:lnTo>
                  <a:lnTo>
                    <a:pt x="63" y="228"/>
                  </a:lnTo>
                  <a:lnTo>
                    <a:pt x="63" y="229"/>
                  </a:lnTo>
                  <a:lnTo>
                    <a:pt x="65" y="231"/>
                  </a:lnTo>
                  <a:lnTo>
                    <a:pt x="70" y="229"/>
                  </a:lnTo>
                  <a:lnTo>
                    <a:pt x="70" y="228"/>
                  </a:lnTo>
                  <a:lnTo>
                    <a:pt x="73" y="228"/>
                  </a:lnTo>
                  <a:lnTo>
                    <a:pt x="75" y="228"/>
                  </a:lnTo>
                  <a:lnTo>
                    <a:pt x="76" y="226"/>
                  </a:lnTo>
                  <a:lnTo>
                    <a:pt x="76" y="224"/>
                  </a:lnTo>
                  <a:lnTo>
                    <a:pt x="78" y="224"/>
                  </a:lnTo>
                  <a:lnTo>
                    <a:pt x="85" y="228"/>
                  </a:lnTo>
                  <a:lnTo>
                    <a:pt x="88" y="228"/>
                  </a:lnTo>
                  <a:lnTo>
                    <a:pt x="91" y="229"/>
                  </a:lnTo>
                  <a:lnTo>
                    <a:pt x="94" y="229"/>
                  </a:lnTo>
                  <a:lnTo>
                    <a:pt x="103" y="234"/>
                  </a:lnTo>
                  <a:lnTo>
                    <a:pt x="107" y="237"/>
                  </a:lnTo>
                  <a:lnTo>
                    <a:pt x="111" y="236"/>
                  </a:lnTo>
                  <a:lnTo>
                    <a:pt x="117" y="234"/>
                  </a:lnTo>
                  <a:lnTo>
                    <a:pt x="119" y="234"/>
                  </a:lnTo>
                  <a:lnTo>
                    <a:pt x="119" y="236"/>
                  </a:lnTo>
                  <a:lnTo>
                    <a:pt x="120" y="236"/>
                  </a:lnTo>
                  <a:lnTo>
                    <a:pt x="122" y="236"/>
                  </a:lnTo>
                  <a:lnTo>
                    <a:pt x="124" y="234"/>
                  </a:lnTo>
                  <a:lnTo>
                    <a:pt x="130" y="232"/>
                  </a:lnTo>
                  <a:lnTo>
                    <a:pt x="133" y="232"/>
                  </a:lnTo>
                  <a:lnTo>
                    <a:pt x="142" y="231"/>
                  </a:lnTo>
                  <a:lnTo>
                    <a:pt x="143" y="231"/>
                  </a:lnTo>
                  <a:lnTo>
                    <a:pt x="145" y="231"/>
                  </a:lnTo>
                  <a:lnTo>
                    <a:pt x="146" y="231"/>
                  </a:lnTo>
                  <a:lnTo>
                    <a:pt x="146" y="229"/>
                  </a:lnTo>
                  <a:lnTo>
                    <a:pt x="161" y="228"/>
                  </a:lnTo>
                  <a:lnTo>
                    <a:pt x="164" y="221"/>
                  </a:lnTo>
                  <a:lnTo>
                    <a:pt x="174" y="208"/>
                  </a:lnTo>
                  <a:lnTo>
                    <a:pt x="182" y="197"/>
                  </a:lnTo>
                  <a:lnTo>
                    <a:pt x="192" y="185"/>
                  </a:lnTo>
                  <a:lnTo>
                    <a:pt x="202" y="172"/>
                  </a:lnTo>
                  <a:lnTo>
                    <a:pt x="215" y="156"/>
                  </a:lnTo>
                  <a:lnTo>
                    <a:pt x="220" y="150"/>
                  </a:lnTo>
                  <a:lnTo>
                    <a:pt x="241" y="125"/>
                  </a:lnTo>
                  <a:lnTo>
                    <a:pt x="251" y="112"/>
                  </a:lnTo>
                  <a:lnTo>
                    <a:pt x="285" y="67"/>
                  </a:lnTo>
                  <a:lnTo>
                    <a:pt x="286" y="65"/>
                  </a:lnTo>
                  <a:lnTo>
                    <a:pt x="290" y="62"/>
                  </a:lnTo>
                  <a:lnTo>
                    <a:pt x="294" y="55"/>
                  </a:lnTo>
                  <a:lnTo>
                    <a:pt x="307" y="37"/>
                  </a:lnTo>
                  <a:lnTo>
                    <a:pt x="337" y="0"/>
                  </a:lnTo>
                  <a:lnTo>
                    <a:pt x="368" y="42"/>
                  </a:lnTo>
                  <a:lnTo>
                    <a:pt x="408" y="104"/>
                  </a:lnTo>
                  <a:lnTo>
                    <a:pt x="399" y="112"/>
                  </a:lnTo>
                  <a:lnTo>
                    <a:pt x="413" y="133"/>
                  </a:lnTo>
                  <a:lnTo>
                    <a:pt x="421" y="127"/>
                  </a:lnTo>
                  <a:lnTo>
                    <a:pt x="436" y="115"/>
                  </a:lnTo>
                  <a:lnTo>
                    <a:pt x="446" y="130"/>
                  </a:lnTo>
                  <a:lnTo>
                    <a:pt x="441" y="141"/>
                  </a:lnTo>
                  <a:lnTo>
                    <a:pt x="438" y="146"/>
                  </a:lnTo>
                  <a:lnTo>
                    <a:pt x="431" y="159"/>
                  </a:lnTo>
                  <a:lnTo>
                    <a:pt x="429" y="161"/>
                  </a:lnTo>
                  <a:lnTo>
                    <a:pt x="423" y="176"/>
                  </a:lnTo>
                  <a:lnTo>
                    <a:pt x="355" y="226"/>
                  </a:lnTo>
                  <a:lnTo>
                    <a:pt x="320" y="252"/>
                  </a:lnTo>
                  <a:lnTo>
                    <a:pt x="316" y="255"/>
                  </a:lnTo>
                  <a:lnTo>
                    <a:pt x="290" y="273"/>
                  </a:lnTo>
                  <a:lnTo>
                    <a:pt x="285" y="278"/>
                  </a:lnTo>
                  <a:lnTo>
                    <a:pt x="273" y="286"/>
                  </a:lnTo>
                  <a:lnTo>
                    <a:pt x="262" y="294"/>
                  </a:lnTo>
                  <a:lnTo>
                    <a:pt x="247" y="306"/>
                  </a:lnTo>
                  <a:lnTo>
                    <a:pt x="215" y="330"/>
                  </a:lnTo>
                  <a:lnTo>
                    <a:pt x="213" y="330"/>
                  </a:lnTo>
                  <a:lnTo>
                    <a:pt x="218" y="333"/>
                  </a:lnTo>
                  <a:lnTo>
                    <a:pt x="241" y="346"/>
                  </a:lnTo>
                  <a:lnTo>
                    <a:pt x="249" y="351"/>
                  </a:lnTo>
                  <a:lnTo>
                    <a:pt x="255" y="354"/>
                  </a:lnTo>
                  <a:lnTo>
                    <a:pt x="259" y="358"/>
                  </a:lnTo>
                  <a:lnTo>
                    <a:pt x="265" y="361"/>
                  </a:lnTo>
                  <a:lnTo>
                    <a:pt x="272" y="364"/>
                  </a:lnTo>
                  <a:lnTo>
                    <a:pt x="278" y="369"/>
                  </a:lnTo>
                  <a:lnTo>
                    <a:pt x="285" y="372"/>
                  </a:lnTo>
                  <a:lnTo>
                    <a:pt x="317" y="390"/>
                  </a:lnTo>
                  <a:lnTo>
                    <a:pt x="350" y="410"/>
                  </a:lnTo>
                  <a:lnTo>
                    <a:pt x="371" y="423"/>
                  </a:lnTo>
                  <a:lnTo>
                    <a:pt x="338" y="460"/>
                  </a:lnTo>
                  <a:lnTo>
                    <a:pt x="337" y="486"/>
                  </a:lnTo>
                  <a:lnTo>
                    <a:pt x="335" y="493"/>
                  </a:lnTo>
                  <a:lnTo>
                    <a:pt x="335" y="498"/>
                  </a:lnTo>
                  <a:lnTo>
                    <a:pt x="42" y="499"/>
                  </a:lnTo>
                  <a:close/>
                </a:path>
              </a:pathLst>
            </a:custGeom>
            <a:solidFill>
              <a:srgbClr val="E5E5E5"/>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1194" name="Freeform 40">
              <a:extLst>
                <a:ext uri="{FF2B5EF4-FFF2-40B4-BE49-F238E27FC236}">
                  <a16:creationId xmlns:a16="http://schemas.microsoft.com/office/drawing/2014/main" id="{0793E6A5-CEF6-D974-4214-AAC0BF19E9FF}"/>
                </a:ext>
              </a:extLst>
            </p:cNvPr>
            <p:cNvSpPr>
              <a:spLocks noEditPoints="1"/>
            </p:cNvSpPr>
            <p:nvPr/>
          </p:nvSpPr>
          <p:spPr bwMode="auto">
            <a:xfrm>
              <a:off x="7208" y="5402"/>
              <a:ext cx="129" cy="267"/>
            </a:xfrm>
            <a:custGeom>
              <a:avLst/>
              <a:gdLst>
                <a:gd name="T0" fmla="*/ 93 w 129"/>
                <a:gd name="T1" fmla="*/ 5 h 267"/>
                <a:gd name="T2" fmla="*/ 88 w 129"/>
                <a:gd name="T3" fmla="*/ 11 h 267"/>
                <a:gd name="T4" fmla="*/ 85 w 129"/>
                <a:gd name="T5" fmla="*/ 20 h 267"/>
                <a:gd name="T6" fmla="*/ 93 w 129"/>
                <a:gd name="T7" fmla="*/ 21 h 267"/>
                <a:gd name="T8" fmla="*/ 106 w 129"/>
                <a:gd name="T9" fmla="*/ 26 h 267"/>
                <a:gd name="T10" fmla="*/ 111 w 129"/>
                <a:gd name="T11" fmla="*/ 36 h 267"/>
                <a:gd name="T12" fmla="*/ 119 w 129"/>
                <a:gd name="T13" fmla="*/ 44 h 267"/>
                <a:gd name="T14" fmla="*/ 125 w 129"/>
                <a:gd name="T15" fmla="*/ 52 h 267"/>
                <a:gd name="T16" fmla="*/ 124 w 129"/>
                <a:gd name="T17" fmla="*/ 62 h 267"/>
                <a:gd name="T18" fmla="*/ 120 w 129"/>
                <a:gd name="T19" fmla="*/ 77 h 267"/>
                <a:gd name="T20" fmla="*/ 109 w 129"/>
                <a:gd name="T21" fmla="*/ 86 h 267"/>
                <a:gd name="T22" fmla="*/ 107 w 129"/>
                <a:gd name="T23" fmla="*/ 96 h 267"/>
                <a:gd name="T24" fmla="*/ 117 w 129"/>
                <a:gd name="T25" fmla="*/ 112 h 267"/>
                <a:gd name="T26" fmla="*/ 101 w 129"/>
                <a:gd name="T27" fmla="*/ 117 h 267"/>
                <a:gd name="T28" fmla="*/ 90 w 129"/>
                <a:gd name="T29" fmla="*/ 122 h 267"/>
                <a:gd name="T30" fmla="*/ 81 w 129"/>
                <a:gd name="T31" fmla="*/ 129 h 267"/>
                <a:gd name="T32" fmla="*/ 75 w 129"/>
                <a:gd name="T33" fmla="*/ 145 h 267"/>
                <a:gd name="T34" fmla="*/ 73 w 129"/>
                <a:gd name="T35" fmla="*/ 158 h 267"/>
                <a:gd name="T36" fmla="*/ 83 w 129"/>
                <a:gd name="T37" fmla="*/ 158 h 267"/>
                <a:gd name="T38" fmla="*/ 85 w 129"/>
                <a:gd name="T39" fmla="*/ 169 h 267"/>
                <a:gd name="T40" fmla="*/ 83 w 129"/>
                <a:gd name="T41" fmla="*/ 179 h 267"/>
                <a:gd name="T42" fmla="*/ 72 w 129"/>
                <a:gd name="T43" fmla="*/ 197 h 267"/>
                <a:gd name="T44" fmla="*/ 65 w 129"/>
                <a:gd name="T45" fmla="*/ 208 h 267"/>
                <a:gd name="T46" fmla="*/ 54 w 129"/>
                <a:gd name="T47" fmla="*/ 221 h 267"/>
                <a:gd name="T48" fmla="*/ 49 w 129"/>
                <a:gd name="T49" fmla="*/ 221 h 267"/>
                <a:gd name="T50" fmla="*/ 44 w 129"/>
                <a:gd name="T51" fmla="*/ 231 h 267"/>
                <a:gd name="T52" fmla="*/ 47 w 129"/>
                <a:gd name="T53" fmla="*/ 242 h 267"/>
                <a:gd name="T54" fmla="*/ 39 w 129"/>
                <a:gd name="T55" fmla="*/ 255 h 267"/>
                <a:gd name="T56" fmla="*/ 26 w 129"/>
                <a:gd name="T57" fmla="*/ 259 h 267"/>
                <a:gd name="T58" fmla="*/ 15 w 129"/>
                <a:gd name="T59" fmla="*/ 262 h 267"/>
                <a:gd name="T60" fmla="*/ 7 w 129"/>
                <a:gd name="T61" fmla="*/ 265 h 267"/>
                <a:gd name="T62" fmla="*/ 3 w 129"/>
                <a:gd name="T63" fmla="*/ 260 h 267"/>
                <a:gd name="T64" fmla="*/ 7 w 129"/>
                <a:gd name="T65" fmla="*/ 254 h 267"/>
                <a:gd name="T66" fmla="*/ 7 w 129"/>
                <a:gd name="T67" fmla="*/ 239 h 267"/>
                <a:gd name="T68" fmla="*/ 7 w 129"/>
                <a:gd name="T69" fmla="*/ 233 h 267"/>
                <a:gd name="T70" fmla="*/ 7 w 129"/>
                <a:gd name="T71" fmla="*/ 221 h 267"/>
                <a:gd name="T72" fmla="*/ 7 w 129"/>
                <a:gd name="T73" fmla="*/ 208 h 267"/>
                <a:gd name="T74" fmla="*/ 11 w 129"/>
                <a:gd name="T75" fmla="*/ 200 h 267"/>
                <a:gd name="T76" fmla="*/ 13 w 129"/>
                <a:gd name="T77" fmla="*/ 189 h 267"/>
                <a:gd name="T78" fmla="*/ 13 w 129"/>
                <a:gd name="T79" fmla="*/ 176 h 267"/>
                <a:gd name="T80" fmla="*/ 15 w 129"/>
                <a:gd name="T81" fmla="*/ 166 h 267"/>
                <a:gd name="T82" fmla="*/ 15 w 129"/>
                <a:gd name="T83" fmla="*/ 155 h 267"/>
                <a:gd name="T84" fmla="*/ 11 w 129"/>
                <a:gd name="T85" fmla="*/ 143 h 267"/>
                <a:gd name="T86" fmla="*/ 15 w 129"/>
                <a:gd name="T87" fmla="*/ 138 h 267"/>
                <a:gd name="T88" fmla="*/ 23 w 129"/>
                <a:gd name="T89" fmla="*/ 135 h 267"/>
                <a:gd name="T90" fmla="*/ 23 w 129"/>
                <a:gd name="T91" fmla="*/ 127 h 267"/>
                <a:gd name="T92" fmla="*/ 23 w 129"/>
                <a:gd name="T93" fmla="*/ 117 h 267"/>
                <a:gd name="T94" fmla="*/ 21 w 129"/>
                <a:gd name="T95" fmla="*/ 104 h 267"/>
                <a:gd name="T96" fmla="*/ 18 w 129"/>
                <a:gd name="T97" fmla="*/ 96 h 267"/>
                <a:gd name="T98" fmla="*/ 16 w 129"/>
                <a:gd name="T99" fmla="*/ 85 h 267"/>
                <a:gd name="T100" fmla="*/ 18 w 129"/>
                <a:gd name="T101" fmla="*/ 78 h 267"/>
                <a:gd name="T102" fmla="*/ 21 w 129"/>
                <a:gd name="T103" fmla="*/ 72 h 267"/>
                <a:gd name="T104" fmla="*/ 25 w 129"/>
                <a:gd name="T105" fmla="*/ 64 h 267"/>
                <a:gd name="T106" fmla="*/ 28 w 129"/>
                <a:gd name="T107" fmla="*/ 55 h 267"/>
                <a:gd name="T108" fmla="*/ 34 w 129"/>
                <a:gd name="T109" fmla="*/ 49 h 267"/>
                <a:gd name="T110" fmla="*/ 38 w 129"/>
                <a:gd name="T111" fmla="*/ 42 h 267"/>
                <a:gd name="T112" fmla="*/ 42 w 129"/>
                <a:gd name="T113" fmla="*/ 29 h 267"/>
                <a:gd name="T114" fmla="*/ 41 w 129"/>
                <a:gd name="T115" fmla="*/ 20 h 267"/>
                <a:gd name="T116" fmla="*/ 51 w 129"/>
                <a:gd name="T117" fmla="*/ 16 h 267"/>
                <a:gd name="T118" fmla="*/ 62 w 129"/>
                <a:gd name="T119" fmla="*/ 13 h 267"/>
                <a:gd name="T120" fmla="*/ 70 w 129"/>
                <a:gd name="T121" fmla="*/ 10 h 267"/>
                <a:gd name="T122" fmla="*/ 73 w 129"/>
                <a:gd name="T123" fmla="*/ 0 h 267"/>
                <a:gd name="T124" fmla="*/ 83 w 129"/>
                <a:gd name="T125" fmla="*/ 5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29" h="267">
                  <a:moveTo>
                    <a:pt x="83" y="5"/>
                  </a:moveTo>
                  <a:lnTo>
                    <a:pt x="85" y="5"/>
                  </a:lnTo>
                  <a:lnTo>
                    <a:pt x="88" y="5"/>
                  </a:lnTo>
                  <a:lnTo>
                    <a:pt x="90" y="3"/>
                  </a:lnTo>
                  <a:lnTo>
                    <a:pt x="90" y="2"/>
                  </a:lnTo>
                  <a:lnTo>
                    <a:pt x="91" y="2"/>
                  </a:lnTo>
                  <a:lnTo>
                    <a:pt x="91" y="3"/>
                  </a:lnTo>
                  <a:lnTo>
                    <a:pt x="93" y="5"/>
                  </a:lnTo>
                  <a:lnTo>
                    <a:pt x="93" y="7"/>
                  </a:lnTo>
                  <a:lnTo>
                    <a:pt x="93" y="8"/>
                  </a:lnTo>
                  <a:lnTo>
                    <a:pt x="91" y="8"/>
                  </a:lnTo>
                  <a:lnTo>
                    <a:pt x="90" y="8"/>
                  </a:lnTo>
                  <a:lnTo>
                    <a:pt x="88" y="8"/>
                  </a:lnTo>
                  <a:lnTo>
                    <a:pt x="86" y="8"/>
                  </a:lnTo>
                  <a:lnTo>
                    <a:pt x="86" y="10"/>
                  </a:lnTo>
                  <a:lnTo>
                    <a:pt x="88" y="11"/>
                  </a:lnTo>
                  <a:lnTo>
                    <a:pt x="86" y="13"/>
                  </a:lnTo>
                  <a:lnTo>
                    <a:pt x="88" y="13"/>
                  </a:lnTo>
                  <a:lnTo>
                    <a:pt x="90" y="13"/>
                  </a:lnTo>
                  <a:lnTo>
                    <a:pt x="90" y="15"/>
                  </a:lnTo>
                  <a:lnTo>
                    <a:pt x="88" y="16"/>
                  </a:lnTo>
                  <a:lnTo>
                    <a:pt x="86" y="16"/>
                  </a:lnTo>
                  <a:lnTo>
                    <a:pt x="86" y="20"/>
                  </a:lnTo>
                  <a:lnTo>
                    <a:pt x="85" y="20"/>
                  </a:lnTo>
                  <a:lnTo>
                    <a:pt x="85" y="23"/>
                  </a:lnTo>
                  <a:lnTo>
                    <a:pt x="85" y="26"/>
                  </a:lnTo>
                  <a:lnTo>
                    <a:pt x="86" y="26"/>
                  </a:lnTo>
                  <a:lnTo>
                    <a:pt x="88" y="24"/>
                  </a:lnTo>
                  <a:lnTo>
                    <a:pt x="90" y="23"/>
                  </a:lnTo>
                  <a:lnTo>
                    <a:pt x="90" y="24"/>
                  </a:lnTo>
                  <a:lnTo>
                    <a:pt x="91" y="23"/>
                  </a:lnTo>
                  <a:lnTo>
                    <a:pt x="93" y="21"/>
                  </a:lnTo>
                  <a:lnTo>
                    <a:pt x="94" y="21"/>
                  </a:lnTo>
                  <a:lnTo>
                    <a:pt x="96" y="21"/>
                  </a:lnTo>
                  <a:lnTo>
                    <a:pt x="98" y="24"/>
                  </a:lnTo>
                  <a:lnTo>
                    <a:pt x="99" y="26"/>
                  </a:lnTo>
                  <a:lnTo>
                    <a:pt x="101" y="24"/>
                  </a:lnTo>
                  <a:lnTo>
                    <a:pt x="103" y="26"/>
                  </a:lnTo>
                  <a:lnTo>
                    <a:pt x="104" y="26"/>
                  </a:lnTo>
                  <a:lnTo>
                    <a:pt x="106" y="26"/>
                  </a:lnTo>
                  <a:lnTo>
                    <a:pt x="107" y="28"/>
                  </a:lnTo>
                  <a:lnTo>
                    <a:pt x="109" y="28"/>
                  </a:lnTo>
                  <a:lnTo>
                    <a:pt x="111" y="28"/>
                  </a:lnTo>
                  <a:lnTo>
                    <a:pt x="112" y="29"/>
                  </a:lnTo>
                  <a:lnTo>
                    <a:pt x="111" y="33"/>
                  </a:lnTo>
                  <a:lnTo>
                    <a:pt x="111" y="34"/>
                  </a:lnTo>
                  <a:lnTo>
                    <a:pt x="109" y="36"/>
                  </a:lnTo>
                  <a:lnTo>
                    <a:pt x="111" y="36"/>
                  </a:lnTo>
                  <a:lnTo>
                    <a:pt x="112" y="38"/>
                  </a:lnTo>
                  <a:lnTo>
                    <a:pt x="112" y="39"/>
                  </a:lnTo>
                  <a:lnTo>
                    <a:pt x="114" y="39"/>
                  </a:lnTo>
                  <a:lnTo>
                    <a:pt x="116" y="39"/>
                  </a:lnTo>
                  <a:lnTo>
                    <a:pt x="116" y="41"/>
                  </a:lnTo>
                  <a:lnTo>
                    <a:pt x="116" y="42"/>
                  </a:lnTo>
                  <a:lnTo>
                    <a:pt x="117" y="42"/>
                  </a:lnTo>
                  <a:lnTo>
                    <a:pt x="119" y="44"/>
                  </a:lnTo>
                  <a:lnTo>
                    <a:pt x="120" y="44"/>
                  </a:lnTo>
                  <a:lnTo>
                    <a:pt x="120" y="46"/>
                  </a:lnTo>
                  <a:lnTo>
                    <a:pt x="119" y="46"/>
                  </a:lnTo>
                  <a:lnTo>
                    <a:pt x="119" y="47"/>
                  </a:lnTo>
                  <a:lnTo>
                    <a:pt x="120" y="49"/>
                  </a:lnTo>
                  <a:lnTo>
                    <a:pt x="122" y="52"/>
                  </a:lnTo>
                  <a:lnTo>
                    <a:pt x="122" y="54"/>
                  </a:lnTo>
                  <a:lnTo>
                    <a:pt x="125" y="52"/>
                  </a:lnTo>
                  <a:lnTo>
                    <a:pt x="127" y="54"/>
                  </a:lnTo>
                  <a:lnTo>
                    <a:pt x="129" y="55"/>
                  </a:lnTo>
                  <a:lnTo>
                    <a:pt x="127" y="57"/>
                  </a:lnTo>
                  <a:lnTo>
                    <a:pt x="125" y="57"/>
                  </a:lnTo>
                  <a:lnTo>
                    <a:pt x="125" y="59"/>
                  </a:lnTo>
                  <a:lnTo>
                    <a:pt x="125" y="60"/>
                  </a:lnTo>
                  <a:lnTo>
                    <a:pt x="125" y="62"/>
                  </a:lnTo>
                  <a:lnTo>
                    <a:pt x="124" y="62"/>
                  </a:lnTo>
                  <a:lnTo>
                    <a:pt x="124" y="64"/>
                  </a:lnTo>
                  <a:lnTo>
                    <a:pt x="125" y="65"/>
                  </a:lnTo>
                  <a:lnTo>
                    <a:pt x="124" y="67"/>
                  </a:lnTo>
                  <a:lnTo>
                    <a:pt x="122" y="68"/>
                  </a:lnTo>
                  <a:lnTo>
                    <a:pt x="120" y="70"/>
                  </a:lnTo>
                  <a:lnTo>
                    <a:pt x="119" y="73"/>
                  </a:lnTo>
                  <a:lnTo>
                    <a:pt x="119" y="75"/>
                  </a:lnTo>
                  <a:lnTo>
                    <a:pt x="120" y="77"/>
                  </a:lnTo>
                  <a:lnTo>
                    <a:pt x="120" y="78"/>
                  </a:lnTo>
                  <a:lnTo>
                    <a:pt x="120" y="80"/>
                  </a:lnTo>
                  <a:lnTo>
                    <a:pt x="119" y="81"/>
                  </a:lnTo>
                  <a:lnTo>
                    <a:pt x="117" y="83"/>
                  </a:lnTo>
                  <a:lnTo>
                    <a:pt x="112" y="83"/>
                  </a:lnTo>
                  <a:lnTo>
                    <a:pt x="111" y="85"/>
                  </a:lnTo>
                  <a:lnTo>
                    <a:pt x="109" y="85"/>
                  </a:lnTo>
                  <a:lnTo>
                    <a:pt x="109" y="86"/>
                  </a:lnTo>
                  <a:lnTo>
                    <a:pt x="111" y="86"/>
                  </a:lnTo>
                  <a:lnTo>
                    <a:pt x="109" y="88"/>
                  </a:lnTo>
                  <a:lnTo>
                    <a:pt x="109" y="90"/>
                  </a:lnTo>
                  <a:lnTo>
                    <a:pt x="109" y="91"/>
                  </a:lnTo>
                  <a:lnTo>
                    <a:pt x="107" y="91"/>
                  </a:lnTo>
                  <a:lnTo>
                    <a:pt x="107" y="93"/>
                  </a:lnTo>
                  <a:lnTo>
                    <a:pt x="107" y="94"/>
                  </a:lnTo>
                  <a:lnTo>
                    <a:pt x="107" y="96"/>
                  </a:lnTo>
                  <a:lnTo>
                    <a:pt x="106" y="96"/>
                  </a:lnTo>
                  <a:lnTo>
                    <a:pt x="104" y="98"/>
                  </a:lnTo>
                  <a:lnTo>
                    <a:pt x="103" y="101"/>
                  </a:lnTo>
                  <a:lnTo>
                    <a:pt x="103" y="104"/>
                  </a:lnTo>
                  <a:lnTo>
                    <a:pt x="101" y="109"/>
                  </a:lnTo>
                  <a:lnTo>
                    <a:pt x="103" y="109"/>
                  </a:lnTo>
                  <a:lnTo>
                    <a:pt x="116" y="111"/>
                  </a:lnTo>
                  <a:lnTo>
                    <a:pt x="117" y="112"/>
                  </a:lnTo>
                  <a:lnTo>
                    <a:pt x="117" y="114"/>
                  </a:lnTo>
                  <a:lnTo>
                    <a:pt x="114" y="116"/>
                  </a:lnTo>
                  <a:lnTo>
                    <a:pt x="111" y="116"/>
                  </a:lnTo>
                  <a:lnTo>
                    <a:pt x="109" y="117"/>
                  </a:lnTo>
                  <a:lnTo>
                    <a:pt x="107" y="117"/>
                  </a:lnTo>
                  <a:lnTo>
                    <a:pt x="106" y="117"/>
                  </a:lnTo>
                  <a:lnTo>
                    <a:pt x="104" y="116"/>
                  </a:lnTo>
                  <a:lnTo>
                    <a:pt x="101" y="117"/>
                  </a:lnTo>
                  <a:lnTo>
                    <a:pt x="99" y="117"/>
                  </a:lnTo>
                  <a:lnTo>
                    <a:pt x="99" y="119"/>
                  </a:lnTo>
                  <a:lnTo>
                    <a:pt x="99" y="120"/>
                  </a:lnTo>
                  <a:lnTo>
                    <a:pt x="96" y="122"/>
                  </a:lnTo>
                  <a:lnTo>
                    <a:pt x="94" y="124"/>
                  </a:lnTo>
                  <a:lnTo>
                    <a:pt x="93" y="124"/>
                  </a:lnTo>
                  <a:lnTo>
                    <a:pt x="91" y="122"/>
                  </a:lnTo>
                  <a:lnTo>
                    <a:pt x="90" y="122"/>
                  </a:lnTo>
                  <a:lnTo>
                    <a:pt x="88" y="124"/>
                  </a:lnTo>
                  <a:lnTo>
                    <a:pt x="88" y="125"/>
                  </a:lnTo>
                  <a:lnTo>
                    <a:pt x="86" y="125"/>
                  </a:lnTo>
                  <a:lnTo>
                    <a:pt x="86" y="127"/>
                  </a:lnTo>
                  <a:lnTo>
                    <a:pt x="85" y="127"/>
                  </a:lnTo>
                  <a:lnTo>
                    <a:pt x="85" y="129"/>
                  </a:lnTo>
                  <a:lnTo>
                    <a:pt x="83" y="129"/>
                  </a:lnTo>
                  <a:lnTo>
                    <a:pt x="81" y="129"/>
                  </a:lnTo>
                  <a:lnTo>
                    <a:pt x="80" y="132"/>
                  </a:lnTo>
                  <a:lnTo>
                    <a:pt x="80" y="135"/>
                  </a:lnTo>
                  <a:lnTo>
                    <a:pt x="80" y="137"/>
                  </a:lnTo>
                  <a:lnTo>
                    <a:pt x="78" y="138"/>
                  </a:lnTo>
                  <a:lnTo>
                    <a:pt x="77" y="138"/>
                  </a:lnTo>
                  <a:lnTo>
                    <a:pt x="77" y="140"/>
                  </a:lnTo>
                  <a:lnTo>
                    <a:pt x="77" y="143"/>
                  </a:lnTo>
                  <a:lnTo>
                    <a:pt x="75" y="145"/>
                  </a:lnTo>
                  <a:lnTo>
                    <a:pt x="75" y="146"/>
                  </a:lnTo>
                  <a:lnTo>
                    <a:pt x="75" y="148"/>
                  </a:lnTo>
                  <a:lnTo>
                    <a:pt x="75" y="150"/>
                  </a:lnTo>
                  <a:lnTo>
                    <a:pt x="75" y="151"/>
                  </a:lnTo>
                  <a:lnTo>
                    <a:pt x="75" y="153"/>
                  </a:lnTo>
                  <a:lnTo>
                    <a:pt x="73" y="155"/>
                  </a:lnTo>
                  <a:lnTo>
                    <a:pt x="73" y="156"/>
                  </a:lnTo>
                  <a:lnTo>
                    <a:pt x="73" y="158"/>
                  </a:lnTo>
                  <a:lnTo>
                    <a:pt x="73" y="159"/>
                  </a:lnTo>
                  <a:lnTo>
                    <a:pt x="75" y="159"/>
                  </a:lnTo>
                  <a:lnTo>
                    <a:pt x="77" y="159"/>
                  </a:lnTo>
                  <a:lnTo>
                    <a:pt x="78" y="158"/>
                  </a:lnTo>
                  <a:lnTo>
                    <a:pt x="78" y="159"/>
                  </a:lnTo>
                  <a:lnTo>
                    <a:pt x="80" y="159"/>
                  </a:lnTo>
                  <a:lnTo>
                    <a:pt x="81" y="159"/>
                  </a:lnTo>
                  <a:lnTo>
                    <a:pt x="83" y="158"/>
                  </a:lnTo>
                  <a:lnTo>
                    <a:pt x="85" y="159"/>
                  </a:lnTo>
                  <a:lnTo>
                    <a:pt x="86" y="159"/>
                  </a:lnTo>
                  <a:lnTo>
                    <a:pt x="88" y="161"/>
                  </a:lnTo>
                  <a:lnTo>
                    <a:pt x="90" y="161"/>
                  </a:lnTo>
                  <a:lnTo>
                    <a:pt x="91" y="163"/>
                  </a:lnTo>
                  <a:lnTo>
                    <a:pt x="90" y="164"/>
                  </a:lnTo>
                  <a:lnTo>
                    <a:pt x="88" y="168"/>
                  </a:lnTo>
                  <a:lnTo>
                    <a:pt x="85" y="169"/>
                  </a:lnTo>
                  <a:lnTo>
                    <a:pt x="85" y="171"/>
                  </a:lnTo>
                  <a:lnTo>
                    <a:pt x="83" y="171"/>
                  </a:lnTo>
                  <a:lnTo>
                    <a:pt x="83" y="173"/>
                  </a:lnTo>
                  <a:lnTo>
                    <a:pt x="80" y="174"/>
                  </a:lnTo>
                  <a:lnTo>
                    <a:pt x="80" y="176"/>
                  </a:lnTo>
                  <a:lnTo>
                    <a:pt x="80" y="177"/>
                  </a:lnTo>
                  <a:lnTo>
                    <a:pt x="81" y="177"/>
                  </a:lnTo>
                  <a:lnTo>
                    <a:pt x="83" y="179"/>
                  </a:lnTo>
                  <a:lnTo>
                    <a:pt x="81" y="182"/>
                  </a:lnTo>
                  <a:lnTo>
                    <a:pt x="80" y="186"/>
                  </a:lnTo>
                  <a:lnTo>
                    <a:pt x="78" y="187"/>
                  </a:lnTo>
                  <a:lnTo>
                    <a:pt x="75" y="192"/>
                  </a:lnTo>
                  <a:lnTo>
                    <a:pt x="73" y="192"/>
                  </a:lnTo>
                  <a:lnTo>
                    <a:pt x="73" y="194"/>
                  </a:lnTo>
                  <a:lnTo>
                    <a:pt x="72" y="195"/>
                  </a:lnTo>
                  <a:lnTo>
                    <a:pt x="72" y="197"/>
                  </a:lnTo>
                  <a:lnTo>
                    <a:pt x="70" y="197"/>
                  </a:lnTo>
                  <a:lnTo>
                    <a:pt x="70" y="200"/>
                  </a:lnTo>
                  <a:lnTo>
                    <a:pt x="72" y="202"/>
                  </a:lnTo>
                  <a:lnTo>
                    <a:pt x="70" y="203"/>
                  </a:lnTo>
                  <a:lnTo>
                    <a:pt x="70" y="205"/>
                  </a:lnTo>
                  <a:lnTo>
                    <a:pt x="68" y="207"/>
                  </a:lnTo>
                  <a:lnTo>
                    <a:pt x="67" y="208"/>
                  </a:lnTo>
                  <a:lnTo>
                    <a:pt x="65" y="208"/>
                  </a:lnTo>
                  <a:lnTo>
                    <a:pt x="64" y="210"/>
                  </a:lnTo>
                  <a:lnTo>
                    <a:pt x="62" y="210"/>
                  </a:lnTo>
                  <a:lnTo>
                    <a:pt x="60" y="212"/>
                  </a:lnTo>
                  <a:lnTo>
                    <a:pt x="60" y="213"/>
                  </a:lnTo>
                  <a:lnTo>
                    <a:pt x="59" y="216"/>
                  </a:lnTo>
                  <a:lnTo>
                    <a:pt x="57" y="220"/>
                  </a:lnTo>
                  <a:lnTo>
                    <a:pt x="55" y="220"/>
                  </a:lnTo>
                  <a:lnTo>
                    <a:pt x="54" y="221"/>
                  </a:lnTo>
                  <a:lnTo>
                    <a:pt x="52" y="221"/>
                  </a:lnTo>
                  <a:lnTo>
                    <a:pt x="52" y="223"/>
                  </a:lnTo>
                  <a:lnTo>
                    <a:pt x="52" y="225"/>
                  </a:lnTo>
                  <a:lnTo>
                    <a:pt x="54" y="225"/>
                  </a:lnTo>
                  <a:lnTo>
                    <a:pt x="54" y="226"/>
                  </a:lnTo>
                  <a:lnTo>
                    <a:pt x="51" y="225"/>
                  </a:lnTo>
                  <a:lnTo>
                    <a:pt x="49" y="223"/>
                  </a:lnTo>
                  <a:lnTo>
                    <a:pt x="49" y="221"/>
                  </a:lnTo>
                  <a:lnTo>
                    <a:pt x="46" y="221"/>
                  </a:lnTo>
                  <a:lnTo>
                    <a:pt x="46" y="223"/>
                  </a:lnTo>
                  <a:lnTo>
                    <a:pt x="46" y="225"/>
                  </a:lnTo>
                  <a:lnTo>
                    <a:pt x="46" y="226"/>
                  </a:lnTo>
                  <a:lnTo>
                    <a:pt x="44" y="228"/>
                  </a:lnTo>
                  <a:lnTo>
                    <a:pt x="46" y="229"/>
                  </a:lnTo>
                  <a:lnTo>
                    <a:pt x="44" y="229"/>
                  </a:lnTo>
                  <a:lnTo>
                    <a:pt x="44" y="231"/>
                  </a:lnTo>
                  <a:lnTo>
                    <a:pt x="44" y="233"/>
                  </a:lnTo>
                  <a:lnTo>
                    <a:pt x="46" y="234"/>
                  </a:lnTo>
                  <a:lnTo>
                    <a:pt x="46" y="236"/>
                  </a:lnTo>
                  <a:lnTo>
                    <a:pt x="46" y="238"/>
                  </a:lnTo>
                  <a:lnTo>
                    <a:pt x="47" y="238"/>
                  </a:lnTo>
                  <a:lnTo>
                    <a:pt x="47" y="239"/>
                  </a:lnTo>
                  <a:lnTo>
                    <a:pt x="47" y="241"/>
                  </a:lnTo>
                  <a:lnTo>
                    <a:pt x="47" y="242"/>
                  </a:lnTo>
                  <a:lnTo>
                    <a:pt x="47" y="244"/>
                  </a:lnTo>
                  <a:lnTo>
                    <a:pt x="47" y="246"/>
                  </a:lnTo>
                  <a:lnTo>
                    <a:pt x="47" y="247"/>
                  </a:lnTo>
                  <a:lnTo>
                    <a:pt x="46" y="247"/>
                  </a:lnTo>
                  <a:lnTo>
                    <a:pt x="46" y="251"/>
                  </a:lnTo>
                  <a:lnTo>
                    <a:pt x="42" y="252"/>
                  </a:lnTo>
                  <a:lnTo>
                    <a:pt x="39" y="254"/>
                  </a:lnTo>
                  <a:lnTo>
                    <a:pt x="39" y="255"/>
                  </a:lnTo>
                  <a:lnTo>
                    <a:pt x="39" y="257"/>
                  </a:lnTo>
                  <a:lnTo>
                    <a:pt x="34" y="260"/>
                  </a:lnTo>
                  <a:lnTo>
                    <a:pt x="33" y="260"/>
                  </a:lnTo>
                  <a:lnTo>
                    <a:pt x="31" y="262"/>
                  </a:lnTo>
                  <a:lnTo>
                    <a:pt x="29" y="262"/>
                  </a:lnTo>
                  <a:lnTo>
                    <a:pt x="29" y="260"/>
                  </a:lnTo>
                  <a:lnTo>
                    <a:pt x="28" y="259"/>
                  </a:lnTo>
                  <a:lnTo>
                    <a:pt x="26" y="259"/>
                  </a:lnTo>
                  <a:lnTo>
                    <a:pt x="26" y="257"/>
                  </a:lnTo>
                  <a:lnTo>
                    <a:pt x="25" y="255"/>
                  </a:lnTo>
                  <a:lnTo>
                    <a:pt x="23" y="257"/>
                  </a:lnTo>
                  <a:lnTo>
                    <a:pt x="21" y="257"/>
                  </a:lnTo>
                  <a:lnTo>
                    <a:pt x="20" y="259"/>
                  </a:lnTo>
                  <a:lnTo>
                    <a:pt x="18" y="259"/>
                  </a:lnTo>
                  <a:lnTo>
                    <a:pt x="16" y="260"/>
                  </a:lnTo>
                  <a:lnTo>
                    <a:pt x="15" y="262"/>
                  </a:lnTo>
                  <a:lnTo>
                    <a:pt x="15" y="260"/>
                  </a:lnTo>
                  <a:lnTo>
                    <a:pt x="13" y="260"/>
                  </a:lnTo>
                  <a:lnTo>
                    <a:pt x="11" y="260"/>
                  </a:lnTo>
                  <a:lnTo>
                    <a:pt x="11" y="262"/>
                  </a:lnTo>
                  <a:lnTo>
                    <a:pt x="11" y="264"/>
                  </a:lnTo>
                  <a:lnTo>
                    <a:pt x="10" y="264"/>
                  </a:lnTo>
                  <a:lnTo>
                    <a:pt x="8" y="264"/>
                  </a:lnTo>
                  <a:lnTo>
                    <a:pt x="7" y="265"/>
                  </a:lnTo>
                  <a:lnTo>
                    <a:pt x="5" y="265"/>
                  </a:lnTo>
                  <a:lnTo>
                    <a:pt x="3" y="265"/>
                  </a:lnTo>
                  <a:lnTo>
                    <a:pt x="2" y="265"/>
                  </a:lnTo>
                  <a:lnTo>
                    <a:pt x="0" y="267"/>
                  </a:lnTo>
                  <a:lnTo>
                    <a:pt x="0" y="265"/>
                  </a:lnTo>
                  <a:lnTo>
                    <a:pt x="0" y="264"/>
                  </a:lnTo>
                  <a:lnTo>
                    <a:pt x="2" y="262"/>
                  </a:lnTo>
                  <a:lnTo>
                    <a:pt x="3" y="260"/>
                  </a:lnTo>
                  <a:lnTo>
                    <a:pt x="3" y="259"/>
                  </a:lnTo>
                  <a:lnTo>
                    <a:pt x="3" y="257"/>
                  </a:lnTo>
                  <a:lnTo>
                    <a:pt x="5" y="257"/>
                  </a:lnTo>
                  <a:lnTo>
                    <a:pt x="3" y="257"/>
                  </a:lnTo>
                  <a:lnTo>
                    <a:pt x="3" y="255"/>
                  </a:lnTo>
                  <a:lnTo>
                    <a:pt x="5" y="255"/>
                  </a:lnTo>
                  <a:lnTo>
                    <a:pt x="5" y="254"/>
                  </a:lnTo>
                  <a:lnTo>
                    <a:pt x="7" y="254"/>
                  </a:lnTo>
                  <a:lnTo>
                    <a:pt x="7" y="252"/>
                  </a:lnTo>
                  <a:lnTo>
                    <a:pt x="7" y="251"/>
                  </a:lnTo>
                  <a:lnTo>
                    <a:pt x="7" y="249"/>
                  </a:lnTo>
                  <a:lnTo>
                    <a:pt x="7" y="247"/>
                  </a:lnTo>
                  <a:lnTo>
                    <a:pt x="7" y="244"/>
                  </a:lnTo>
                  <a:lnTo>
                    <a:pt x="7" y="242"/>
                  </a:lnTo>
                  <a:lnTo>
                    <a:pt x="7" y="241"/>
                  </a:lnTo>
                  <a:lnTo>
                    <a:pt x="7" y="239"/>
                  </a:lnTo>
                  <a:lnTo>
                    <a:pt x="5" y="239"/>
                  </a:lnTo>
                  <a:lnTo>
                    <a:pt x="3" y="239"/>
                  </a:lnTo>
                  <a:lnTo>
                    <a:pt x="3" y="238"/>
                  </a:lnTo>
                  <a:lnTo>
                    <a:pt x="5" y="238"/>
                  </a:lnTo>
                  <a:lnTo>
                    <a:pt x="5" y="236"/>
                  </a:lnTo>
                  <a:lnTo>
                    <a:pt x="5" y="234"/>
                  </a:lnTo>
                  <a:lnTo>
                    <a:pt x="5" y="233"/>
                  </a:lnTo>
                  <a:lnTo>
                    <a:pt x="7" y="233"/>
                  </a:lnTo>
                  <a:lnTo>
                    <a:pt x="7" y="231"/>
                  </a:lnTo>
                  <a:lnTo>
                    <a:pt x="7" y="229"/>
                  </a:lnTo>
                  <a:lnTo>
                    <a:pt x="7" y="228"/>
                  </a:lnTo>
                  <a:lnTo>
                    <a:pt x="7" y="226"/>
                  </a:lnTo>
                  <a:lnTo>
                    <a:pt x="7" y="225"/>
                  </a:lnTo>
                  <a:lnTo>
                    <a:pt x="7" y="223"/>
                  </a:lnTo>
                  <a:lnTo>
                    <a:pt x="5" y="221"/>
                  </a:lnTo>
                  <a:lnTo>
                    <a:pt x="7" y="221"/>
                  </a:lnTo>
                  <a:lnTo>
                    <a:pt x="5" y="220"/>
                  </a:lnTo>
                  <a:lnTo>
                    <a:pt x="5" y="218"/>
                  </a:lnTo>
                  <a:lnTo>
                    <a:pt x="7" y="218"/>
                  </a:lnTo>
                  <a:lnTo>
                    <a:pt x="7" y="216"/>
                  </a:lnTo>
                  <a:lnTo>
                    <a:pt x="7" y="215"/>
                  </a:lnTo>
                  <a:lnTo>
                    <a:pt x="7" y="213"/>
                  </a:lnTo>
                  <a:lnTo>
                    <a:pt x="7" y="212"/>
                  </a:lnTo>
                  <a:lnTo>
                    <a:pt x="7" y="208"/>
                  </a:lnTo>
                  <a:lnTo>
                    <a:pt x="8" y="208"/>
                  </a:lnTo>
                  <a:lnTo>
                    <a:pt x="8" y="207"/>
                  </a:lnTo>
                  <a:lnTo>
                    <a:pt x="10" y="207"/>
                  </a:lnTo>
                  <a:lnTo>
                    <a:pt x="10" y="205"/>
                  </a:lnTo>
                  <a:lnTo>
                    <a:pt x="10" y="203"/>
                  </a:lnTo>
                  <a:lnTo>
                    <a:pt x="11" y="202"/>
                  </a:lnTo>
                  <a:lnTo>
                    <a:pt x="10" y="202"/>
                  </a:lnTo>
                  <a:lnTo>
                    <a:pt x="11" y="200"/>
                  </a:lnTo>
                  <a:lnTo>
                    <a:pt x="11" y="199"/>
                  </a:lnTo>
                  <a:lnTo>
                    <a:pt x="13" y="197"/>
                  </a:lnTo>
                  <a:lnTo>
                    <a:pt x="11" y="195"/>
                  </a:lnTo>
                  <a:lnTo>
                    <a:pt x="11" y="194"/>
                  </a:lnTo>
                  <a:lnTo>
                    <a:pt x="11" y="192"/>
                  </a:lnTo>
                  <a:lnTo>
                    <a:pt x="11" y="190"/>
                  </a:lnTo>
                  <a:lnTo>
                    <a:pt x="13" y="190"/>
                  </a:lnTo>
                  <a:lnTo>
                    <a:pt x="13" y="189"/>
                  </a:lnTo>
                  <a:lnTo>
                    <a:pt x="13" y="187"/>
                  </a:lnTo>
                  <a:lnTo>
                    <a:pt x="13" y="186"/>
                  </a:lnTo>
                  <a:lnTo>
                    <a:pt x="13" y="184"/>
                  </a:lnTo>
                  <a:lnTo>
                    <a:pt x="13" y="181"/>
                  </a:lnTo>
                  <a:lnTo>
                    <a:pt x="11" y="179"/>
                  </a:lnTo>
                  <a:lnTo>
                    <a:pt x="13" y="179"/>
                  </a:lnTo>
                  <a:lnTo>
                    <a:pt x="13" y="177"/>
                  </a:lnTo>
                  <a:lnTo>
                    <a:pt x="13" y="176"/>
                  </a:lnTo>
                  <a:lnTo>
                    <a:pt x="13" y="174"/>
                  </a:lnTo>
                  <a:lnTo>
                    <a:pt x="11" y="173"/>
                  </a:lnTo>
                  <a:lnTo>
                    <a:pt x="13" y="173"/>
                  </a:lnTo>
                  <a:lnTo>
                    <a:pt x="13" y="171"/>
                  </a:lnTo>
                  <a:lnTo>
                    <a:pt x="15" y="171"/>
                  </a:lnTo>
                  <a:lnTo>
                    <a:pt x="15" y="169"/>
                  </a:lnTo>
                  <a:lnTo>
                    <a:pt x="15" y="168"/>
                  </a:lnTo>
                  <a:lnTo>
                    <a:pt x="15" y="166"/>
                  </a:lnTo>
                  <a:lnTo>
                    <a:pt x="13" y="164"/>
                  </a:lnTo>
                  <a:lnTo>
                    <a:pt x="13" y="163"/>
                  </a:lnTo>
                  <a:lnTo>
                    <a:pt x="15" y="163"/>
                  </a:lnTo>
                  <a:lnTo>
                    <a:pt x="15" y="161"/>
                  </a:lnTo>
                  <a:lnTo>
                    <a:pt x="15" y="159"/>
                  </a:lnTo>
                  <a:lnTo>
                    <a:pt x="15" y="158"/>
                  </a:lnTo>
                  <a:lnTo>
                    <a:pt x="15" y="156"/>
                  </a:lnTo>
                  <a:lnTo>
                    <a:pt x="15" y="155"/>
                  </a:lnTo>
                  <a:lnTo>
                    <a:pt x="15" y="153"/>
                  </a:lnTo>
                  <a:lnTo>
                    <a:pt x="15" y="151"/>
                  </a:lnTo>
                  <a:lnTo>
                    <a:pt x="13" y="150"/>
                  </a:lnTo>
                  <a:lnTo>
                    <a:pt x="15" y="150"/>
                  </a:lnTo>
                  <a:lnTo>
                    <a:pt x="13" y="148"/>
                  </a:lnTo>
                  <a:lnTo>
                    <a:pt x="13" y="146"/>
                  </a:lnTo>
                  <a:lnTo>
                    <a:pt x="11" y="145"/>
                  </a:lnTo>
                  <a:lnTo>
                    <a:pt x="11" y="143"/>
                  </a:lnTo>
                  <a:lnTo>
                    <a:pt x="11" y="145"/>
                  </a:lnTo>
                  <a:lnTo>
                    <a:pt x="11" y="143"/>
                  </a:lnTo>
                  <a:lnTo>
                    <a:pt x="10" y="143"/>
                  </a:lnTo>
                  <a:lnTo>
                    <a:pt x="10" y="142"/>
                  </a:lnTo>
                  <a:lnTo>
                    <a:pt x="11" y="142"/>
                  </a:lnTo>
                  <a:lnTo>
                    <a:pt x="13" y="140"/>
                  </a:lnTo>
                  <a:lnTo>
                    <a:pt x="15" y="140"/>
                  </a:lnTo>
                  <a:lnTo>
                    <a:pt x="15" y="138"/>
                  </a:lnTo>
                  <a:lnTo>
                    <a:pt x="15" y="140"/>
                  </a:lnTo>
                  <a:lnTo>
                    <a:pt x="16" y="140"/>
                  </a:lnTo>
                  <a:lnTo>
                    <a:pt x="16" y="138"/>
                  </a:lnTo>
                  <a:lnTo>
                    <a:pt x="18" y="138"/>
                  </a:lnTo>
                  <a:lnTo>
                    <a:pt x="20" y="138"/>
                  </a:lnTo>
                  <a:lnTo>
                    <a:pt x="21" y="138"/>
                  </a:lnTo>
                  <a:lnTo>
                    <a:pt x="21" y="137"/>
                  </a:lnTo>
                  <a:lnTo>
                    <a:pt x="23" y="135"/>
                  </a:lnTo>
                  <a:lnTo>
                    <a:pt x="21" y="135"/>
                  </a:lnTo>
                  <a:lnTo>
                    <a:pt x="21" y="133"/>
                  </a:lnTo>
                  <a:lnTo>
                    <a:pt x="21" y="132"/>
                  </a:lnTo>
                  <a:lnTo>
                    <a:pt x="21" y="133"/>
                  </a:lnTo>
                  <a:lnTo>
                    <a:pt x="21" y="132"/>
                  </a:lnTo>
                  <a:lnTo>
                    <a:pt x="21" y="130"/>
                  </a:lnTo>
                  <a:lnTo>
                    <a:pt x="23" y="129"/>
                  </a:lnTo>
                  <a:lnTo>
                    <a:pt x="23" y="127"/>
                  </a:lnTo>
                  <a:lnTo>
                    <a:pt x="23" y="125"/>
                  </a:lnTo>
                  <a:lnTo>
                    <a:pt x="23" y="124"/>
                  </a:lnTo>
                  <a:lnTo>
                    <a:pt x="25" y="124"/>
                  </a:lnTo>
                  <a:lnTo>
                    <a:pt x="26" y="120"/>
                  </a:lnTo>
                  <a:lnTo>
                    <a:pt x="25" y="120"/>
                  </a:lnTo>
                  <a:lnTo>
                    <a:pt x="23" y="120"/>
                  </a:lnTo>
                  <a:lnTo>
                    <a:pt x="23" y="119"/>
                  </a:lnTo>
                  <a:lnTo>
                    <a:pt x="23" y="117"/>
                  </a:lnTo>
                  <a:lnTo>
                    <a:pt x="23" y="116"/>
                  </a:lnTo>
                  <a:lnTo>
                    <a:pt x="23" y="114"/>
                  </a:lnTo>
                  <a:lnTo>
                    <a:pt x="23" y="112"/>
                  </a:lnTo>
                  <a:lnTo>
                    <a:pt x="23" y="109"/>
                  </a:lnTo>
                  <a:lnTo>
                    <a:pt x="23" y="107"/>
                  </a:lnTo>
                  <a:lnTo>
                    <a:pt x="23" y="106"/>
                  </a:lnTo>
                  <a:lnTo>
                    <a:pt x="21" y="106"/>
                  </a:lnTo>
                  <a:lnTo>
                    <a:pt x="21" y="104"/>
                  </a:lnTo>
                  <a:lnTo>
                    <a:pt x="20" y="104"/>
                  </a:lnTo>
                  <a:lnTo>
                    <a:pt x="20" y="103"/>
                  </a:lnTo>
                  <a:lnTo>
                    <a:pt x="18" y="103"/>
                  </a:lnTo>
                  <a:lnTo>
                    <a:pt x="18" y="101"/>
                  </a:lnTo>
                  <a:lnTo>
                    <a:pt x="18" y="99"/>
                  </a:lnTo>
                  <a:lnTo>
                    <a:pt x="18" y="98"/>
                  </a:lnTo>
                  <a:lnTo>
                    <a:pt x="16" y="98"/>
                  </a:lnTo>
                  <a:lnTo>
                    <a:pt x="18" y="96"/>
                  </a:lnTo>
                  <a:lnTo>
                    <a:pt x="16" y="96"/>
                  </a:lnTo>
                  <a:lnTo>
                    <a:pt x="16" y="94"/>
                  </a:lnTo>
                  <a:lnTo>
                    <a:pt x="18" y="93"/>
                  </a:lnTo>
                  <a:lnTo>
                    <a:pt x="18" y="91"/>
                  </a:lnTo>
                  <a:lnTo>
                    <a:pt x="18" y="90"/>
                  </a:lnTo>
                  <a:lnTo>
                    <a:pt x="18" y="88"/>
                  </a:lnTo>
                  <a:lnTo>
                    <a:pt x="16" y="86"/>
                  </a:lnTo>
                  <a:lnTo>
                    <a:pt x="16" y="85"/>
                  </a:lnTo>
                  <a:lnTo>
                    <a:pt x="16" y="83"/>
                  </a:lnTo>
                  <a:lnTo>
                    <a:pt x="15" y="83"/>
                  </a:lnTo>
                  <a:lnTo>
                    <a:pt x="15" y="81"/>
                  </a:lnTo>
                  <a:lnTo>
                    <a:pt x="16" y="83"/>
                  </a:lnTo>
                  <a:lnTo>
                    <a:pt x="16" y="81"/>
                  </a:lnTo>
                  <a:lnTo>
                    <a:pt x="16" y="80"/>
                  </a:lnTo>
                  <a:lnTo>
                    <a:pt x="16" y="78"/>
                  </a:lnTo>
                  <a:lnTo>
                    <a:pt x="18" y="78"/>
                  </a:lnTo>
                  <a:lnTo>
                    <a:pt x="18" y="77"/>
                  </a:lnTo>
                  <a:lnTo>
                    <a:pt x="20" y="77"/>
                  </a:lnTo>
                  <a:lnTo>
                    <a:pt x="21" y="77"/>
                  </a:lnTo>
                  <a:lnTo>
                    <a:pt x="21" y="75"/>
                  </a:lnTo>
                  <a:lnTo>
                    <a:pt x="21" y="77"/>
                  </a:lnTo>
                  <a:lnTo>
                    <a:pt x="21" y="75"/>
                  </a:lnTo>
                  <a:lnTo>
                    <a:pt x="21" y="73"/>
                  </a:lnTo>
                  <a:lnTo>
                    <a:pt x="21" y="72"/>
                  </a:lnTo>
                  <a:lnTo>
                    <a:pt x="21" y="70"/>
                  </a:lnTo>
                  <a:lnTo>
                    <a:pt x="20" y="68"/>
                  </a:lnTo>
                  <a:lnTo>
                    <a:pt x="21" y="68"/>
                  </a:lnTo>
                  <a:lnTo>
                    <a:pt x="21" y="67"/>
                  </a:lnTo>
                  <a:lnTo>
                    <a:pt x="21" y="65"/>
                  </a:lnTo>
                  <a:lnTo>
                    <a:pt x="23" y="65"/>
                  </a:lnTo>
                  <a:lnTo>
                    <a:pt x="25" y="65"/>
                  </a:lnTo>
                  <a:lnTo>
                    <a:pt x="25" y="64"/>
                  </a:lnTo>
                  <a:lnTo>
                    <a:pt x="26" y="64"/>
                  </a:lnTo>
                  <a:lnTo>
                    <a:pt x="26" y="62"/>
                  </a:lnTo>
                  <a:lnTo>
                    <a:pt x="28" y="60"/>
                  </a:lnTo>
                  <a:lnTo>
                    <a:pt x="29" y="59"/>
                  </a:lnTo>
                  <a:lnTo>
                    <a:pt x="28" y="59"/>
                  </a:lnTo>
                  <a:lnTo>
                    <a:pt x="29" y="57"/>
                  </a:lnTo>
                  <a:lnTo>
                    <a:pt x="28" y="57"/>
                  </a:lnTo>
                  <a:lnTo>
                    <a:pt x="28" y="55"/>
                  </a:lnTo>
                  <a:lnTo>
                    <a:pt x="26" y="54"/>
                  </a:lnTo>
                  <a:lnTo>
                    <a:pt x="26" y="52"/>
                  </a:lnTo>
                  <a:lnTo>
                    <a:pt x="28" y="52"/>
                  </a:lnTo>
                  <a:lnTo>
                    <a:pt x="29" y="52"/>
                  </a:lnTo>
                  <a:lnTo>
                    <a:pt x="29" y="51"/>
                  </a:lnTo>
                  <a:lnTo>
                    <a:pt x="31" y="51"/>
                  </a:lnTo>
                  <a:lnTo>
                    <a:pt x="33" y="49"/>
                  </a:lnTo>
                  <a:lnTo>
                    <a:pt x="34" y="49"/>
                  </a:lnTo>
                  <a:lnTo>
                    <a:pt x="34" y="47"/>
                  </a:lnTo>
                  <a:lnTo>
                    <a:pt x="36" y="47"/>
                  </a:lnTo>
                  <a:lnTo>
                    <a:pt x="36" y="46"/>
                  </a:lnTo>
                  <a:lnTo>
                    <a:pt x="38" y="46"/>
                  </a:lnTo>
                  <a:lnTo>
                    <a:pt x="38" y="44"/>
                  </a:lnTo>
                  <a:lnTo>
                    <a:pt x="38" y="42"/>
                  </a:lnTo>
                  <a:lnTo>
                    <a:pt x="39" y="42"/>
                  </a:lnTo>
                  <a:lnTo>
                    <a:pt x="38" y="42"/>
                  </a:lnTo>
                  <a:lnTo>
                    <a:pt x="39" y="42"/>
                  </a:lnTo>
                  <a:lnTo>
                    <a:pt x="39" y="41"/>
                  </a:lnTo>
                  <a:lnTo>
                    <a:pt x="39" y="39"/>
                  </a:lnTo>
                  <a:lnTo>
                    <a:pt x="41" y="38"/>
                  </a:lnTo>
                  <a:lnTo>
                    <a:pt x="42" y="38"/>
                  </a:lnTo>
                  <a:lnTo>
                    <a:pt x="42" y="36"/>
                  </a:lnTo>
                  <a:lnTo>
                    <a:pt x="42" y="33"/>
                  </a:lnTo>
                  <a:lnTo>
                    <a:pt x="42" y="29"/>
                  </a:lnTo>
                  <a:lnTo>
                    <a:pt x="39" y="24"/>
                  </a:lnTo>
                  <a:lnTo>
                    <a:pt x="38" y="23"/>
                  </a:lnTo>
                  <a:lnTo>
                    <a:pt x="38" y="21"/>
                  </a:lnTo>
                  <a:lnTo>
                    <a:pt x="38" y="20"/>
                  </a:lnTo>
                  <a:lnTo>
                    <a:pt x="39" y="20"/>
                  </a:lnTo>
                  <a:lnTo>
                    <a:pt x="38" y="20"/>
                  </a:lnTo>
                  <a:lnTo>
                    <a:pt x="39" y="20"/>
                  </a:lnTo>
                  <a:lnTo>
                    <a:pt x="41" y="20"/>
                  </a:lnTo>
                  <a:lnTo>
                    <a:pt x="42" y="20"/>
                  </a:lnTo>
                  <a:lnTo>
                    <a:pt x="44" y="20"/>
                  </a:lnTo>
                  <a:lnTo>
                    <a:pt x="46" y="20"/>
                  </a:lnTo>
                  <a:lnTo>
                    <a:pt x="46" y="18"/>
                  </a:lnTo>
                  <a:lnTo>
                    <a:pt x="47" y="18"/>
                  </a:lnTo>
                  <a:lnTo>
                    <a:pt x="49" y="18"/>
                  </a:lnTo>
                  <a:lnTo>
                    <a:pt x="51" y="18"/>
                  </a:lnTo>
                  <a:lnTo>
                    <a:pt x="51" y="16"/>
                  </a:lnTo>
                  <a:lnTo>
                    <a:pt x="52" y="16"/>
                  </a:lnTo>
                  <a:lnTo>
                    <a:pt x="54" y="15"/>
                  </a:lnTo>
                  <a:lnTo>
                    <a:pt x="55" y="15"/>
                  </a:lnTo>
                  <a:lnTo>
                    <a:pt x="57" y="15"/>
                  </a:lnTo>
                  <a:lnTo>
                    <a:pt x="59" y="15"/>
                  </a:lnTo>
                  <a:lnTo>
                    <a:pt x="60" y="15"/>
                  </a:lnTo>
                  <a:lnTo>
                    <a:pt x="60" y="13"/>
                  </a:lnTo>
                  <a:lnTo>
                    <a:pt x="62" y="13"/>
                  </a:lnTo>
                  <a:lnTo>
                    <a:pt x="64" y="13"/>
                  </a:lnTo>
                  <a:lnTo>
                    <a:pt x="65" y="13"/>
                  </a:lnTo>
                  <a:lnTo>
                    <a:pt x="65" y="11"/>
                  </a:lnTo>
                  <a:lnTo>
                    <a:pt x="67" y="13"/>
                  </a:lnTo>
                  <a:lnTo>
                    <a:pt x="67" y="11"/>
                  </a:lnTo>
                  <a:lnTo>
                    <a:pt x="68" y="11"/>
                  </a:lnTo>
                  <a:lnTo>
                    <a:pt x="70" y="11"/>
                  </a:lnTo>
                  <a:lnTo>
                    <a:pt x="70" y="10"/>
                  </a:lnTo>
                  <a:lnTo>
                    <a:pt x="72" y="10"/>
                  </a:lnTo>
                  <a:lnTo>
                    <a:pt x="73" y="10"/>
                  </a:lnTo>
                  <a:lnTo>
                    <a:pt x="73" y="8"/>
                  </a:lnTo>
                  <a:lnTo>
                    <a:pt x="73" y="7"/>
                  </a:lnTo>
                  <a:lnTo>
                    <a:pt x="73" y="5"/>
                  </a:lnTo>
                  <a:lnTo>
                    <a:pt x="73" y="3"/>
                  </a:lnTo>
                  <a:lnTo>
                    <a:pt x="73" y="2"/>
                  </a:lnTo>
                  <a:lnTo>
                    <a:pt x="73" y="0"/>
                  </a:lnTo>
                  <a:lnTo>
                    <a:pt x="75" y="0"/>
                  </a:lnTo>
                  <a:lnTo>
                    <a:pt x="77" y="0"/>
                  </a:lnTo>
                  <a:lnTo>
                    <a:pt x="78" y="0"/>
                  </a:lnTo>
                  <a:lnTo>
                    <a:pt x="78" y="2"/>
                  </a:lnTo>
                  <a:lnTo>
                    <a:pt x="78" y="3"/>
                  </a:lnTo>
                  <a:lnTo>
                    <a:pt x="80" y="5"/>
                  </a:lnTo>
                  <a:lnTo>
                    <a:pt x="81" y="5"/>
                  </a:lnTo>
                  <a:lnTo>
                    <a:pt x="83" y="5"/>
                  </a:lnTo>
                  <a:close/>
                  <a:moveTo>
                    <a:pt x="21" y="49"/>
                  </a:moveTo>
                  <a:lnTo>
                    <a:pt x="20" y="49"/>
                  </a:lnTo>
                  <a:lnTo>
                    <a:pt x="21" y="49"/>
                  </a:lnTo>
                  <a:close/>
                  <a:moveTo>
                    <a:pt x="21" y="49"/>
                  </a:moveTo>
                  <a:lnTo>
                    <a:pt x="21" y="51"/>
                  </a:lnTo>
                  <a:lnTo>
                    <a:pt x="21" y="49"/>
                  </a:lnTo>
                  <a:close/>
                </a:path>
              </a:pathLst>
            </a:custGeom>
            <a:solidFill>
              <a:srgbClr val="E5E5E5"/>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1195" name="Freeform 41">
              <a:extLst>
                <a:ext uri="{FF2B5EF4-FFF2-40B4-BE49-F238E27FC236}">
                  <a16:creationId xmlns:a16="http://schemas.microsoft.com/office/drawing/2014/main" id="{8585800F-62FA-AB89-1425-D6D140EF41DA}"/>
                </a:ext>
              </a:extLst>
            </p:cNvPr>
            <p:cNvSpPr>
              <a:spLocks/>
            </p:cNvSpPr>
            <p:nvPr/>
          </p:nvSpPr>
          <p:spPr bwMode="auto">
            <a:xfrm>
              <a:off x="4154" y="4142"/>
              <a:ext cx="16" cy="31"/>
            </a:xfrm>
            <a:custGeom>
              <a:avLst/>
              <a:gdLst>
                <a:gd name="T0" fmla="*/ 13 w 16"/>
                <a:gd name="T1" fmla="*/ 29 h 31"/>
                <a:gd name="T2" fmla="*/ 11 w 16"/>
                <a:gd name="T3" fmla="*/ 31 h 31"/>
                <a:gd name="T4" fmla="*/ 10 w 16"/>
                <a:gd name="T5" fmla="*/ 31 h 31"/>
                <a:gd name="T6" fmla="*/ 8 w 16"/>
                <a:gd name="T7" fmla="*/ 31 h 31"/>
                <a:gd name="T8" fmla="*/ 6 w 16"/>
                <a:gd name="T9" fmla="*/ 29 h 31"/>
                <a:gd name="T10" fmla="*/ 3 w 16"/>
                <a:gd name="T11" fmla="*/ 31 h 31"/>
                <a:gd name="T12" fmla="*/ 1 w 16"/>
                <a:gd name="T13" fmla="*/ 31 h 31"/>
                <a:gd name="T14" fmla="*/ 1 w 16"/>
                <a:gd name="T15" fmla="*/ 31 h 31"/>
                <a:gd name="T16" fmla="*/ 3 w 16"/>
                <a:gd name="T17" fmla="*/ 26 h 31"/>
                <a:gd name="T18" fmla="*/ 5 w 16"/>
                <a:gd name="T19" fmla="*/ 24 h 31"/>
                <a:gd name="T20" fmla="*/ 5 w 16"/>
                <a:gd name="T21" fmla="*/ 22 h 31"/>
                <a:gd name="T22" fmla="*/ 5 w 16"/>
                <a:gd name="T23" fmla="*/ 21 h 31"/>
                <a:gd name="T24" fmla="*/ 3 w 16"/>
                <a:gd name="T25" fmla="*/ 19 h 31"/>
                <a:gd name="T26" fmla="*/ 3 w 16"/>
                <a:gd name="T27" fmla="*/ 18 h 31"/>
                <a:gd name="T28" fmla="*/ 1 w 16"/>
                <a:gd name="T29" fmla="*/ 13 h 31"/>
                <a:gd name="T30" fmla="*/ 3 w 16"/>
                <a:gd name="T31" fmla="*/ 8 h 31"/>
                <a:gd name="T32" fmla="*/ 3 w 16"/>
                <a:gd name="T33" fmla="*/ 6 h 31"/>
                <a:gd name="T34" fmla="*/ 5 w 16"/>
                <a:gd name="T35" fmla="*/ 3 h 31"/>
                <a:gd name="T36" fmla="*/ 6 w 16"/>
                <a:gd name="T37" fmla="*/ 0 h 31"/>
                <a:gd name="T38" fmla="*/ 6 w 16"/>
                <a:gd name="T39" fmla="*/ 0 h 31"/>
                <a:gd name="T40" fmla="*/ 10 w 16"/>
                <a:gd name="T41" fmla="*/ 1 h 31"/>
                <a:gd name="T42" fmla="*/ 10 w 16"/>
                <a:gd name="T43" fmla="*/ 5 h 31"/>
                <a:gd name="T44" fmla="*/ 8 w 16"/>
                <a:gd name="T45" fmla="*/ 6 h 31"/>
                <a:gd name="T46" fmla="*/ 11 w 16"/>
                <a:gd name="T47" fmla="*/ 9 h 31"/>
                <a:gd name="T48" fmla="*/ 11 w 16"/>
                <a:gd name="T49" fmla="*/ 9 h 31"/>
                <a:gd name="T50" fmla="*/ 10 w 16"/>
                <a:gd name="T51" fmla="*/ 13 h 31"/>
                <a:gd name="T52" fmla="*/ 10 w 16"/>
                <a:gd name="T53" fmla="*/ 14 h 31"/>
                <a:gd name="T54" fmla="*/ 13 w 16"/>
                <a:gd name="T55" fmla="*/ 14 h 31"/>
                <a:gd name="T56" fmla="*/ 13 w 16"/>
                <a:gd name="T57" fmla="*/ 16 h 31"/>
                <a:gd name="T58" fmla="*/ 14 w 16"/>
                <a:gd name="T59" fmla="*/ 18 h 31"/>
                <a:gd name="T60" fmla="*/ 14 w 16"/>
                <a:gd name="T61" fmla="*/ 18 h 31"/>
                <a:gd name="T62" fmla="*/ 16 w 16"/>
                <a:gd name="T63" fmla="*/ 19 h 31"/>
                <a:gd name="T64" fmla="*/ 14 w 16"/>
                <a:gd name="T65" fmla="*/ 21 h 31"/>
                <a:gd name="T66" fmla="*/ 14 w 16"/>
                <a:gd name="T67" fmla="*/ 22 h 31"/>
                <a:gd name="T68" fmla="*/ 16 w 16"/>
                <a:gd name="T69" fmla="*/ 24 h 31"/>
                <a:gd name="T70" fmla="*/ 16 w 16"/>
                <a:gd name="T71" fmla="*/ 26 h 31"/>
                <a:gd name="T72" fmla="*/ 14 w 16"/>
                <a:gd name="T73" fmla="*/ 27 h 31"/>
                <a:gd name="T74" fmla="*/ 13 w 16"/>
                <a:gd name="T75" fmla="*/ 29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6" h="31">
                  <a:moveTo>
                    <a:pt x="13" y="29"/>
                  </a:moveTo>
                  <a:lnTo>
                    <a:pt x="13" y="29"/>
                  </a:lnTo>
                  <a:lnTo>
                    <a:pt x="11" y="31"/>
                  </a:lnTo>
                  <a:lnTo>
                    <a:pt x="11" y="31"/>
                  </a:lnTo>
                  <a:lnTo>
                    <a:pt x="10" y="31"/>
                  </a:lnTo>
                  <a:lnTo>
                    <a:pt x="10" y="31"/>
                  </a:lnTo>
                  <a:lnTo>
                    <a:pt x="8" y="31"/>
                  </a:lnTo>
                  <a:lnTo>
                    <a:pt x="8" y="31"/>
                  </a:lnTo>
                  <a:lnTo>
                    <a:pt x="8" y="29"/>
                  </a:lnTo>
                  <a:lnTo>
                    <a:pt x="6" y="29"/>
                  </a:lnTo>
                  <a:lnTo>
                    <a:pt x="6" y="29"/>
                  </a:lnTo>
                  <a:lnTo>
                    <a:pt x="3" y="31"/>
                  </a:lnTo>
                  <a:lnTo>
                    <a:pt x="3" y="31"/>
                  </a:lnTo>
                  <a:lnTo>
                    <a:pt x="1" y="31"/>
                  </a:lnTo>
                  <a:lnTo>
                    <a:pt x="1" y="31"/>
                  </a:lnTo>
                  <a:lnTo>
                    <a:pt x="1" y="31"/>
                  </a:lnTo>
                  <a:lnTo>
                    <a:pt x="0" y="29"/>
                  </a:lnTo>
                  <a:lnTo>
                    <a:pt x="3" y="26"/>
                  </a:lnTo>
                  <a:lnTo>
                    <a:pt x="5" y="26"/>
                  </a:lnTo>
                  <a:lnTo>
                    <a:pt x="5" y="24"/>
                  </a:lnTo>
                  <a:lnTo>
                    <a:pt x="5" y="24"/>
                  </a:lnTo>
                  <a:lnTo>
                    <a:pt x="5" y="22"/>
                  </a:lnTo>
                  <a:lnTo>
                    <a:pt x="5" y="22"/>
                  </a:lnTo>
                  <a:lnTo>
                    <a:pt x="5" y="21"/>
                  </a:lnTo>
                  <a:lnTo>
                    <a:pt x="5" y="21"/>
                  </a:lnTo>
                  <a:lnTo>
                    <a:pt x="3" y="19"/>
                  </a:lnTo>
                  <a:lnTo>
                    <a:pt x="3" y="18"/>
                  </a:lnTo>
                  <a:lnTo>
                    <a:pt x="3" y="18"/>
                  </a:lnTo>
                  <a:lnTo>
                    <a:pt x="1" y="14"/>
                  </a:lnTo>
                  <a:lnTo>
                    <a:pt x="1" y="13"/>
                  </a:lnTo>
                  <a:lnTo>
                    <a:pt x="1" y="11"/>
                  </a:lnTo>
                  <a:lnTo>
                    <a:pt x="3" y="8"/>
                  </a:lnTo>
                  <a:lnTo>
                    <a:pt x="3" y="6"/>
                  </a:lnTo>
                  <a:lnTo>
                    <a:pt x="3" y="6"/>
                  </a:lnTo>
                  <a:lnTo>
                    <a:pt x="5" y="3"/>
                  </a:lnTo>
                  <a:lnTo>
                    <a:pt x="5" y="3"/>
                  </a:lnTo>
                  <a:lnTo>
                    <a:pt x="6" y="1"/>
                  </a:lnTo>
                  <a:lnTo>
                    <a:pt x="6" y="0"/>
                  </a:lnTo>
                  <a:lnTo>
                    <a:pt x="6" y="0"/>
                  </a:lnTo>
                  <a:lnTo>
                    <a:pt x="6" y="0"/>
                  </a:lnTo>
                  <a:lnTo>
                    <a:pt x="8" y="0"/>
                  </a:lnTo>
                  <a:lnTo>
                    <a:pt x="10" y="1"/>
                  </a:lnTo>
                  <a:lnTo>
                    <a:pt x="10" y="3"/>
                  </a:lnTo>
                  <a:lnTo>
                    <a:pt x="10" y="5"/>
                  </a:lnTo>
                  <a:lnTo>
                    <a:pt x="10" y="5"/>
                  </a:lnTo>
                  <a:lnTo>
                    <a:pt x="8" y="6"/>
                  </a:lnTo>
                  <a:lnTo>
                    <a:pt x="11" y="8"/>
                  </a:lnTo>
                  <a:lnTo>
                    <a:pt x="11" y="9"/>
                  </a:lnTo>
                  <a:lnTo>
                    <a:pt x="11" y="9"/>
                  </a:lnTo>
                  <a:lnTo>
                    <a:pt x="11" y="9"/>
                  </a:lnTo>
                  <a:lnTo>
                    <a:pt x="11" y="11"/>
                  </a:lnTo>
                  <a:lnTo>
                    <a:pt x="10" y="13"/>
                  </a:lnTo>
                  <a:lnTo>
                    <a:pt x="10" y="14"/>
                  </a:lnTo>
                  <a:lnTo>
                    <a:pt x="10" y="14"/>
                  </a:lnTo>
                  <a:lnTo>
                    <a:pt x="11" y="14"/>
                  </a:lnTo>
                  <a:lnTo>
                    <a:pt x="13" y="14"/>
                  </a:lnTo>
                  <a:lnTo>
                    <a:pt x="13" y="16"/>
                  </a:lnTo>
                  <a:lnTo>
                    <a:pt x="13" y="16"/>
                  </a:lnTo>
                  <a:lnTo>
                    <a:pt x="13" y="18"/>
                  </a:lnTo>
                  <a:lnTo>
                    <a:pt x="14" y="18"/>
                  </a:lnTo>
                  <a:lnTo>
                    <a:pt x="14" y="18"/>
                  </a:lnTo>
                  <a:lnTo>
                    <a:pt x="14" y="18"/>
                  </a:lnTo>
                  <a:lnTo>
                    <a:pt x="14" y="19"/>
                  </a:lnTo>
                  <a:lnTo>
                    <a:pt x="16" y="19"/>
                  </a:lnTo>
                  <a:lnTo>
                    <a:pt x="16" y="21"/>
                  </a:lnTo>
                  <a:lnTo>
                    <a:pt x="14" y="21"/>
                  </a:lnTo>
                  <a:lnTo>
                    <a:pt x="14" y="22"/>
                  </a:lnTo>
                  <a:lnTo>
                    <a:pt x="14" y="22"/>
                  </a:lnTo>
                  <a:lnTo>
                    <a:pt x="16" y="24"/>
                  </a:lnTo>
                  <a:lnTo>
                    <a:pt x="16" y="24"/>
                  </a:lnTo>
                  <a:lnTo>
                    <a:pt x="16" y="26"/>
                  </a:lnTo>
                  <a:lnTo>
                    <a:pt x="16" y="26"/>
                  </a:lnTo>
                  <a:lnTo>
                    <a:pt x="14" y="27"/>
                  </a:lnTo>
                  <a:lnTo>
                    <a:pt x="14" y="27"/>
                  </a:lnTo>
                  <a:lnTo>
                    <a:pt x="14" y="29"/>
                  </a:lnTo>
                  <a:lnTo>
                    <a:pt x="13" y="29"/>
                  </a:lnTo>
                  <a:close/>
                </a:path>
              </a:pathLst>
            </a:custGeom>
            <a:solidFill>
              <a:srgbClr val="E5E5E5"/>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1196" name="Freeform 42">
              <a:extLst>
                <a:ext uri="{FF2B5EF4-FFF2-40B4-BE49-F238E27FC236}">
                  <a16:creationId xmlns:a16="http://schemas.microsoft.com/office/drawing/2014/main" id="{0C2B2A87-C161-7FCD-60E8-529ACF02BCE7}"/>
                </a:ext>
              </a:extLst>
            </p:cNvPr>
            <p:cNvSpPr>
              <a:spLocks noEditPoints="1"/>
            </p:cNvSpPr>
            <p:nvPr/>
          </p:nvSpPr>
          <p:spPr bwMode="auto">
            <a:xfrm>
              <a:off x="5091" y="2702"/>
              <a:ext cx="479" cy="378"/>
            </a:xfrm>
            <a:custGeom>
              <a:avLst/>
              <a:gdLst>
                <a:gd name="T0" fmla="*/ 299 w 479"/>
                <a:gd name="T1" fmla="*/ 13 h 378"/>
                <a:gd name="T2" fmla="*/ 310 w 479"/>
                <a:gd name="T3" fmla="*/ 33 h 378"/>
                <a:gd name="T4" fmla="*/ 339 w 479"/>
                <a:gd name="T5" fmla="*/ 34 h 378"/>
                <a:gd name="T6" fmla="*/ 361 w 479"/>
                <a:gd name="T7" fmla="*/ 30 h 378"/>
                <a:gd name="T8" fmla="*/ 385 w 479"/>
                <a:gd name="T9" fmla="*/ 47 h 378"/>
                <a:gd name="T10" fmla="*/ 414 w 479"/>
                <a:gd name="T11" fmla="*/ 67 h 378"/>
                <a:gd name="T12" fmla="*/ 444 w 479"/>
                <a:gd name="T13" fmla="*/ 80 h 378"/>
                <a:gd name="T14" fmla="*/ 450 w 479"/>
                <a:gd name="T15" fmla="*/ 99 h 378"/>
                <a:gd name="T16" fmla="*/ 448 w 479"/>
                <a:gd name="T17" fmla="*/ 129 h 378"/>
                <a:gd name="T18" fmla="*/ 463 w 479"/>
                <a:gd name="T19" fmla="*/ 129 h 378"/>
                <a:gd name="T20" fmla="*/ 476 w 479"/>
                <a:gd name="T21" fmla="*/ 134 h 378"/>
                <a:gd name="T22" fmla="*/ 465 w 479"/>
                <a:gd name="T23" fmla="*/ 153 h 378"/>
                <a:gd name="T24" fmla="*/ 442 w 479"/>
                <a:gd name="T25" fmla="*/ 171 h 378"/>
                <a:gd name="T26" fmla="*/ 419 w 479"/>
                <a:gd name="T27" fmla="*/ 195 h 378"/>
                <a:gd name="T28" fmla="*/ 408 w 479"/>
                <a:gd name="T29" fmla="*/ 217 h 378"/>
                <a:gd name="T30" fmla="*/ 411 w 479"/>
                <a:gd name="T31" fmla="*/ 265 h 378"/>
                <a:gd name="T32" fmla="*/ 413 w 479"/>
                <a:gd name="T33" fmla="*/ 290 h 378"/>
                <a:gd name="T34" fmla="*/ 431 w 479"/>
                <a:gd name="T35" fmla="*/ 306 h 378"/>
                <a:gd name="T36" fmla="*/ 411 w 479"/>
                <a:gd name="T37" fmla="*/ 313 h 378"/>
                <a:gd name="T38" fmla="*/ 406 w 479"/>
                <a:gd name="T39" fmla="*/ 295 h 378"/>
                <a:gd name="T40" fmla="*/ 387 w 479"/>
                <a:gd name="T41" fmla="*/ 301 h 378"/>
                <a:gd name="T42" fmla="*/ 367 w 479"/>
                <a:gd name="T43" fmla="*/ 324 h 378"/>
                <a:gd name="T44" fmla="*/ 359 w 479"/>
                <a:gd name="T45" fmla="*/ 342 h 378"/>
                <a:gd name="T46" fmla="*/ 344 w 479"/>
                <a:gd name="T47" fmla="*/ 347 h 378"/>
                <a:gd name="T48" fmla="*/ 323 w 479"/>
                <a:gd name="T49" fmla="*/ 369 h 378"/>
                <a:gd name="T50" fmla="*/ 292 w 479"/>
                <a:gd name="T51" fmla="*/ 371 h 378"/>
                <a:gd name="T52" fmla="*/ 276 w 479"/>
                <a:gd name="T53" fmla="*/ 376 h 378"/>
                <a:gd name="T54" fmla="*/ 250 w 479"/>
                <a:gd name="T55" fmla="*/ 374 h 378"/>
                <a:gd name="T56" fmla="*/ 244 w 479"/>
                <a:gd name="T57" fmla="*/ 348 h 378"/>
                <a:gd name="T58" fmla="*/ 221 w 479"/>
                <a:gd name="T59" fmla="*/ 335 h 378"/>
                <a:gd name="T60" fmla="*/ 190 w 479"/>
                <a:gd name="T61" fmla="*/ 321 h 378"/>
                <a:gd name="T62" fmla="*/ 167 w 479"/>
                <a:gd name="T63" fmla="*/ 304 h 378"/>
                <a:gd name="T64" fmla="*/ 167 w 479"/>
                <a:gd name="T65" fmla="*/ 283 h 378"/>
                <a:gd name="T66" fmla="*/ 175 w 479"/>
                <a:gd name="T67" fmla="*/ 269 h 378"/>
                <a:gd name="T68" fmla="*/ 172 w 479"/>
                <a:gd name="T69" fmla="*/ 252 h 378"/>
                <a:gd name="T70" fmla="*/ 156 w 479"/>
                <a:gd name="T71" fmla="*/ 243 h 378"/>
                <a:gd name="T72" fmla="*/ 130 w 479"/>
                <a:gd name="T73" fmla="*/ 236 h 378"/>
                <a:gd name="T74" fmla="*/ 100 w 479"/>
                <a:gd name="T75" fmla="*/ 239 h 378"/>
                <a:gd name="T76" fmla="*/ 73 w 479"/>
                <a:gd name="T77" fmla="*/ 233 h 378"/>
                <a:gd name="T78" fmla="*/ 48 w 479"/>
                <a:gd name="T79" fmla="*/ 221 h 378"/>
                <a:gd name="T80" fmla="*/ 37 w 479"/>
                <a:gd name="T81" fmla="*/ 204 h 378"/>
                <a:gd name="T82" fmla="*/ 27 w 479"/>
                <a:gd name="T83" fmla="*/ 210 h 378"/>
                <a:gd name="T84" fmla="*/ 19 w 479"/>
                <a:gd name="T85" fmla="*/ 176 h 378"/>
                <a:gd name="T86" fmla="*/ 8 w 479"/>
                <a:gd name="T87" fmla="*/ 155 h 378"/>
                <a:gd name="T88" fmla="*/ 4 w 479"/>
                <a:gd name="T89" fmla="*/ 108 h 378"/>
                <a:gd name="T90" fmla="*/ 14 w 479"/>
                <a:gd name="T91" fmla="*/ 93 h 378"/>
                <a:gd name="T92" fmla="*/ 37 w 479"/>
                <a:gd name="T93" fmla="*/ 67 h 378"/>
                <a:gd name="T94" fmla="*/ 65 w 479"/>
                <a:gd name="T95" fmla="*/ 49 h 378"/>
                <a:gd name="T96" fmla="*/ 91 w 479"/>
                <a:gd name="T97" fmla="*/ 46 h 378"/>
                <a:gd name="T98" fmla="*/ 115 w 479"/>
                <a:gd name="T99" fmla="*/ 46 h 378"/>
                <a:gd name="T100" fmla="*/ 141 w 479"/>
                <a:gd name="T101" fmla="*/ 36 h 378"/>
                <a:gd name="T102" fmla="*/ 167 w 479"/>
                <a:gd name="T103" fmla="*/ 34 h 378"/>
                <a:gd name="T104" fmla="*/ 204 w 479"/>
                <a:gd name="T105" fmla="*/ 34 h 378"/>
                <a:gd name="T106" fmla="*/ 240 w 479"/>
                <a:gd name="T107" fmla="*/ 41 h 378"/>
                <a:gd name="T108" fmla="*/ 263 w 479"/>
                <a:gd name="T109" fmla="*/ 33 h 378"/>
                <a:gd name="T110" fmla="*/ 276 w 479"/>
                <a:gd name="T111" fmla="*/ 10 h 378"/>
                <a:gd name="T112" fmla="*/ 17 w 479"/>
                <a:gd name="T113" fmla="*/ 204 h 378"/>
                <a:gd name="T114" fmla="*/ 9 w 479"/>
                <a:gd name="T115" fmla="*/ 221 h 378"/>
                <a:gd name="T116" fmla="*/ 14 w 479"/>
                <a:gd name="T117" fmla="*/ 168 h 378"/>
                <a:gd name="T118" fmla="*/ 40 w 479"/>
                <a:gd name="T119" fmla="*/ 210 h 378"/>
                <a:gd name="T120" fmla="*/ 32 w 479"/>
                <a:gd name="T121" fmla="*/ 212 h 378"/>
                <a:gd name="T122" fmla="*/ 35 w 479"/>
                <a:gd name="T123" fmla="*/ 220 h 3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79" h="378">
                  <a:moveTo>
                    <a:pt x="289" y="0"/>
                  </a:moveTo>
                  <a:lnTo>
                    <a:pt x="289" y="2"/>
                  </a:lnTo>
                  <a:lnTo>
                    <a:pt x="291" y="0"/>
                  </a:lnTo>
                  <a:lnTo>
                    <a:pt x="291" y="2"/>
                  </a:lnTo>
                  <a:lnTo>
                    <a:pt x="291" y="0"/>
                  </a:lnTo>
                  <a:lnTo>
                    <a:pt x="291" y="2"/>
                  </a:lnTo>
                  <a:lnTo>
                    <a:pt x="292" y="2"/>
                  </a:lnTo>
                  <a:lnTo>
                    <a:pt x="292" y="3"/>
                  </a:lnTo>
                  <a:lnTo>
                    <a:pt x="291" y="5"/>
                  </a:lnTo>
                  <a:lnTo>
                    <a:pt x="292" y="5"/>
                  </a:lnTo>
                  <a:lnTo>
                    <a:pt x="292" y="7"/>
                  </a:lnTo>
                  <a:lnTo>
                    <a:pt x="294" y="7"/>
                  </a:lnTo>
                  <a:lnTo>
                    <a:pt x="294" y="8"/>
                  </a:lnTo>
                  <a:lnTo>
                    <a:pt x="296" y="8"/>
                  </a:lnTo>
                  <a:lnTo>
                    <a:pt x="294" y="8"/>
                  </a:lnTo>
                  <a:lnTo>
                    <a:pt x="296" y="10"/>
                  </a:lnTo>
                  <a:lnTo>
                    <a:pt x="297" y="12"/>
                  </a:lnTo>
                  <a:lnTo>
                    <a:pt x="299" y="12"/>
                  </a:lnTo>
                  <a:lnTo>
                    <a:pt x="299" y="13"/>
                  </a:lnTo>
                  <a:lnTo>
                    <a:pt x="299" y="15"/>
                  </a:lnTo>
                  <a:lnTo>
                    <a:pt x="299" y="17"/>
                  </a:lnTo>
                  <a:lnTo>
                    <a:pt x="299" y="18"/>
                  </a:lnTo>
                  <a:lnTo>
                    <a:pt x="300" y="18"/>
                  </a:lnTo>
                  <a:lnTo>
                    <a:pt x="300" y="20"/>
                  </a:lnTo>
                  <a:lnTo>
                    <a:pt x="302" y="20"/>
                  </a:lnTo>
                  <a:lnTo>
                    <a:pt x="302" y="21"/>
                  </a:lnTo>
                  <a:lnTo>
                    <a:pt x="304" y="21"/>
                  </a:lnTo>
                  <a:lnTo>
                    <a:pt x="305" y="23"/>
                  </a:lnTo>
                  <a:lnTo>
                    <a:pt x="307" y="23"/>
                  </a:lnTo>
                  <a:lnTo>
                    <a:pt x="307" y="25"/>
                  </a:lnTo>
                  <a:lnTo>
                    <a:pt x="307" y="23"/>
                  </a:lnTo>
                  <a:lnTo>
                    <a:pt x="309" y="25"/>
                  </a:lnTo>
                  <a:lnTo>
                    <a:pt x="309" y="26"/>
                  </a:lnTo>
                  <a:lnTo>
                    <a:pt x="309" y="28"/>
                  </a:lnTo>
                  <a:lnTo>
                    <a:pt x="310" y="28"/>
                  </a:lnTo>
                  <a:lnTo>
                    <a:pt x="310" y="30"/>
                  </a:lnTo>
                  <a:lnTo>
                    <a:pt x="310" y="31"/>
                  </a:lnTo>
                  <a:lnTo>
                    <a:pt x="310" y="33"/>
                  </a:lnTo>
                  <a:lnTo>
                    <a:pt x="312" y="33"/>
                  </a:lnTo>
                  <a:lnTo>
                    <a:pt x="312" y="34"/>
                  </a:lnTo>
                  <a:lnTo>
                    <a:pt x="312" y="33"/>
                  </a:lnTo>
                  <a:lnTo>
                    <a:pt x="313" y="34"/>
                  </a:lnTo>
                  <a:lnTo>
                    <a:pt x="315" y="34"/>
                  </a:lnTo>
                  <a:lnTo>
                    <a:pt x="318" y="34"/>
                  </a:lnTo>
                  <a:lnTo>
                    <a:pt x="322" y="34"/>
                  </a:lnTo>
                  <a:lnTo>
                    <a:pt x="323" y="33"/>
                  </a:lnTo>
                  <a:lnTo>
                    <a:pt x="323" y="31"/>
                  </a:lnTo>
                  <a:lnTo>
                    <a:pt x="325" y="31"/>
                  </a:lnTo>
                  <a:lnTo>
                    <a:pt x="326" y="34"/>
                  </a:lnTo>
                  <a:lnTo>
                    <a:pt x="328" y="34"/>
                  </a:lnTo>
                  <a:lnTo>
                    <a:pt x="330" y="36"/>
                  </a:lnTo>
                  <a:lnTo>
                    <a:pt x="331" y="36"/>
                  </a:lnTo>
                  <a:lnTo>
                    <a:pt x="333" y="36"/>
                  </a:lnTo>
                  <a:lnTo>
                    <a:pt x="333" y="34"/>
                  </a:lnTo>
                  <a:lnTo>
                    <a:pt x="336" y="34"/>
                  </a:lnTo>
                  <a:lnTo>
                    <a:pt x="338" y="33"/>
                  </a:lnTo>
                  <a:lnTo>
                    <a:pt x="339" y="34"/>
                  </a:lnTo>
                  <a:lnTo>
                    <a:pt x="341" y="34"/>
                  </a:lnTo>
                  <a:lnTo>
                    <a:pt x="341" y="33"/>
                  </a:lnTo>
                  <a:lnTo>
                    <a:pt x="343" y="33"/>
                  </a:lnTo>
                  <a:lnTo>
                    <a:pt x="343" y="34"/>
                  </a:lnTo>
                  <a:lnTo>
                    <a:pt x="344" y="34"/>
                  </a:lnTo>
                  <a:lnTo>
                    <a:pt x="346" y="34"/>
                  </a:lnTo>
                  <a:lnTo>
                    <a:pt x="346" y="33"/>
                  </a:lnTo>
                  <a:lnTo>
                    <a:pt x="346" y="31"/>
                  </a:lnTo>
                  <a:lnTo>
                    <a:pt x="348" y="31"/>
                  </a:lnTo>
                  <a:lnTo>
                    <a:pt x="348" y="30"/>
                  </a:lnTo>
                  <a:lnTo>
                    <a:pt x="349" y="30"/>
                  </a:lnTo>
                  <a:lnTo>
                    <a:pt x="351" y="31"/>
                  </a:lnTo>
                  <a:lnTo>
                    <a:pt x="351" y="33"/>
                  </a:lnTo>
                  <a:lnTo>
                    <a:pt x="354" y="33"/>
                  </a:lnTo>
                  <a:lnTo>
                    <a:pt x="357" y="33"/>
                  </a:lnTo>
                  <a:lnTo>
                    <a:pt x="359" y="33"/>
                  </a:lnTo>
                  <a:lnTo>
                    <a:pt x="359" y="31"/>
                  </a:lnTo>
                  <a:lnTo>
                    <a:pt x="359" y="30"/>
                  </a:lnTo>
                  <a:lnTo>
                    <a:pt x="361" y="30"/>
                  </a:lnTo>
                  <a:lnTo>
                    <a:pt x="361" y="31"/>
                  </a:lnTo>
                  <a:lnTo>
                    <a:pt x="361" y="33"/>
                  </a:lnTo>
                  <a:lnTo>
                    <a:pt x="362" y="33"/>
                  </a:lnTo>
                  <a:lnTo>
                    <a:pt x="362" y="34"/>
                  </a:lnTo>
                  <a:lnTo>
                    <a:pt x="362" y="36"/>
                  </a:lnTo>
                  <a:lnTo>
                    <a:pt x="364" y="36"/>
                  </a:lnTo>
                  <a:lnTo>
                    <a:pt x="362" y="38"/>
                  </a:lnTo>
                  <a:lnTo>
                    <a:pt x="366" y="39"/>
                  </a:lnTo>
                  <a:lnTo>
                    <a:pt x="367" y="39"/>
                  </a:lnTo>
                  <a:lnTo>
                    <a:pt x="369" y="41"/>
                  </a:lnTo>
                  <a:lnTo>
                    <a:pt x="372" y="41"/>
                  </a:lnTo>
                  <a:lnTo>
                    <a:pt x="374" y="41"/>
                  </a:lnTo>
                  <a:lnTo>
                    <a:pt x="375" y="43"/>
                  </a:lnTo>
                  <a:lnTo>
                    <a:pt x="377" y="44"/>
                  </a:lnTo>
                  <a:lnTo>
                    <a:pt x="379" y="44"/>
                  </a:lnTo>
                  <a:lnTo>
                    <a:pt x="379" y="46"/>
                  </a:lnTo>
                  <a:lnTo>
                    <a:pt x="380" y="47"/>
                  </a:lnTo>
                  <a:lnTo>
                    <a:pt x="382" y="47"/>
                  </a:lnTo>
                  <a:lnTo>
                    <a:pt x="385" y="47"/>
                  </a:lnTo>
                  <a:lnTo>
                    <a:pt x="387" y="47"/>
                  </a:lnTo>
                  <a:lnTo>
                    <a:pt x="388" y="49"/>
                  </a:lnTo>
                  <a:lnTo>
                    <a:pt x="390" y="49"/>
                  </a:lnTo>
                  <a:lnTo>
                    <a:pt x="392" y="51"/>
                  </a:lnTo>
                  <a:lnTo>
                    <a:pt x="393" y="49"/>
                  </a:lnTo>
                  <a:lnTo>
                    <a:pt x="395" y="51"/>
                  </a:lnTo>
                  <a:lnTo>
                    <a:pt x="396" y="52"/>
                  </a:lnTo>
                  <a:lnTo>
                    <a:pt x="400" y="56"/>
                  </a:lnTo>
                  <a:lnTo>
                    <a:pt x="401" y="57"/>
                  </a:lnTo>
                  <a:lnTo>
                    <a:pt x="403" y="59"/>
                  </a:lnTo>
                  <a:lnTo>
                    <a:pt x="405" y="59"/>
                  </a:lnTo>
                  <a:lnTo>
                    <a:pt x="406" y="59"/>
                  </a:lnTo>
                  <a:lnTo>
                    <a:pt x="408" y="60"/>
                  </a:lnTo>
                  <a:lnTo>
                    <a:pt x="409" y="60"/>
                  </a:lnTo>
                  <a:lnTo>
                    <a:pt x="411" y="62"/>
                  </a:lnTo>
                  <a:lnTo>
                    <a:pt x="413" y="62"/>
                  </a:lnTo>
                  <a:lnTo>
                    <a:pt x="414" y="64"/>
                  </a:lnTo>
                  <a:lnTo>
                    <a:pt x="414" y="65"/>
                  </a:lnTo>
                  <a:lnTo>
                    <a:pt x="414" y="67"/>
                  </a:lnTo>
                  <a:lnTo>
                    <a:pt x="414" y="69"/>
                  </a:lnTo>
                  <a:lnTo>
                    <a:pt x="416" y="69"/>
                  </a:lnTo>
                  <a:lnTo>
                    <a:pt x="419" y="72"/>
                  </a:lnTo>
                  <a:lnTo>
                    <a:pt x="421" y="73"/>
                  </a:lnTo>
                  <a:lnTo>
                    <a:pt x="422" y="75"/>
                  </a:lnTo>
                  <a:lnTo>
                    <a:pt x="424" y="75"/>
                  </a:lnTo>
                  <a:lnTo>
                    <a:pt x="426" y="75"/>
                  </a:lnTo>
                  <a:lnTo>
                    <a:pt x="427" y="75"/>
                  </a:lnTo>
                  <a:lnTo>
                    <a:pt x="429" y="77"/>
                  </a:lnTo>
                  <a:lnTo>
                    <a:pt x="429" y="78"/>
                  </a:lnTo>
                  <a:lnTo>
                    <a:pt x="431" y="78"/>
                  </a:lnTo>
                  <a:lnTo>
                    <a:pt x="432" y="78"/>
                  </a:lnTo>
                  <a:lnTo>
                    <a:pt x="434" y="78"/>
                  </a:lnTo>
                  <a:lnTo>
                    <a:pt x="435" y="78"/>
                  </a:lnTo>
                  <a:lnTo>
                    <a:pt x="439" y="80"/>
                  </a:lnTo>
                  <a:lnTo>
                    <a:pt x="440" y="78"/>
                  </a:lnTo>
                  <a:lnTo>
                    <a:pt x="440" y="80"/>
                  </a:lnTo>
                  <a:lnTo>
                    <a:pt x="442" y="80"/>
                  </a:lnTo>
                  <a:lnTo>
                    <a:pt x="444" y="80"/>
                  </a:lnTo>
                  <a:lnTo>
                    <a:pt x="445" y="80"/>
                  </a:lnTo>
                  <a:lnTo>
                    <a:pt x="448" y="78"/>
                  </a:lnTo>
                  <a:lnTo>
                    <a:pt x="450" y="78"/>
                  </a:lnTo>
                  <a:lnTo>
                    <a:pt x="450" y="80"/>
                  </a:lnTo>
                  <a:lnTo>
                    <a:pt x="450" y="82"/>
                  </a:lnTo>
                  <a:lnTo>
                    <a:pt x="452" y="82"/>
                  </a:lnTo>
                  <a:lnTo>
                    <a:pt x="452" y="83"/>
                  </a:lnTo>
                  <a:lnTo>
                    <a:pt x="453" y="85"/>
                  </a:lnTo>
                  <a:lnTo>
                    <a:pt x="453" y="86"/>
                  </a:lnTo>
                  <a:lnTo>
                    <a:pt x="453" y="88"/>
                  </a:lnTo>
                  <a:lnTo>
                    <a:pt x="453" y="90"/>
                  </a:lnTo>
                  <a:lnTo>
                    <a:pt x="455" y="90"/>
                  </a:lnTo>
                  <a:lnTo>
                    <a:pt x="455" y="91"/>
                  </a:lnTo>
                  <a:lnTo>
                    <a:pt x="453" y="95"/>
                  </a:lnTo>
                  <a:lnTo>
                    <a:pt x="452" y="95"/>
                  </a:lnTo>
                  <a:lnTo>
                    <a:pt x="452" y="96"/>
                  </a:lnTo>
                  <a:lnTo>
                    <a:pt x="452" y="98"/>
                  </a:lnTo>
                  <a:lnTo>
                    <a:pt x="452" y="99"/>
                  </a:lnTo>
                  <a:lnTo>
                    <a:pt x="450" y="99"/>
                  </a:lnTo>
                  <a:lnTo>
                    <a:pt x="450" y="101"/>
                  </a:lnTo>
                  <a:lnTo>
                    <a:pt x="448" y="101"/>
                  </a:lnTo>
                  <a:lnTo>
                    <a:pt x="448" y="103"/>
                  </a:lnTo>
                  <a:lnTo>
                    <a:pt x="448" y="104"/>
                  </a:lnTo>
                  <a:lnTo>
                    <a:pt x="450" y="108"/>
                  </a:lnTo>
                  <a:lnTo>
                    <a:pt x="452" y="109"/>
                  </a:lnTo>
                  <a:lnTo>
                    <a:pt x="452" y="111"/>
                  </a:lnTo>
                  <a:lnTo>
                    <a:pt x="452" y="112"/>
                  </a:lnTo>
                  <a:lnTo>
                    <a:pt x="453" y="114"/>
                  </a:lnTo>
                  <a:lnTo>
                    <a:pt x="452" y="114"/>
                  </a:lnTo>
                  <a:lnTo>
                    <a:pt x="453" y="117"/>
                  </a:lnTo>
                  <a:lnTo>
                    <a:pt x="453" y="119"/>
                  </a:lnTo>
                  <a:lnTo>
                    <a:pt x="453" y="121"/>
                  </a:lnTo>
                  <a:lnTo>
                    <a:pt x="452" y="122"/>
                  </a:lnTo>
                  <a:lnTo>
                    <a:pt x="450" y="124"/>
                  </a:lnTo>
                  <a:lnTo>
                    <a:pt x="448" y="125"/>
                  </a:lnTo>
                  <a:lnTo>
                    <a:pt x="448" y="127"/>
                  </a:lnTo>
                  <a:lnTo>
                    <a:pt x="447" y="129"/>
                  </a:lnTo>
                  <a:lnTo>
                    <a:pt x="448" y="129"/>
                  </a:lnTo>
                  <a:lnTo>
                    <a:pt x="450" y="129"/>
                  </a:lnTo>
                  <a:lnTo>
                    <a:pt x="452" y="129"/>
                  </a:lnTo>
                  <a:lnTo>
                    <a:pt x="453" y="129"/>
                  </a:lnTo>
                  <a:lnTo>
                    <a:pt x="453" y="130"/>
                  </a:lnTo>
                  <a:lnTo>
                    <a:pt x="453" y="129"/>
                  </a:lnTo>
                  <a:lnTo>
                    <a:pt x="455" y="129"/>
                  </a:lnTo>
                  <a:lnTo>
                    <a:pt x="457" y="130"/>
                  </a:lnTo>
                  <a:lnTo>
                    <a:pt x="455" y="130"/>
                  </a:lnTo>
                  <a:lnTo>
                    <a:pt x="457" y="130"/>
                  </a:lnTo>
                  <a:lnTo>
                    <a:pt x="458" y="129"/>
                  </a:lnTo>
                  <a:lnTo>
                    <a:pt x="458" y="130"/>
                  </a:lnTo>
                  <a:lnTo>
                    <a:pt x="460" y="130"/>
                  </a:lnTo>
                  <a:lnTo>
                    <a:pt x="460" y="129"/>
                  </a:lnTo>
                  <a:lnTo>
                    <a:pt x="461" y="129"/>
                  </a:lnTo>
                  <a:lnTo>
                    <a:pt x="461" y="127"/>
                  </a:lnTo>
                  <a:lnTo>
                    <a:pt x="460" y="127"/>
                  </a:lnTo>
                  <a:lnTo>
                    <a:pt x="461" y="127"/>
                  </a:lnTo>
                  <a:lnTo>
                    <a:pt x="461" y="129"/>
                  </a:lnTo>
                  <a:lnTo>
                    <a:pt x="463" y="129"/>
                  </a:lnTo>
                  <a:lnTo>
                    <a:pt x="463" y="127"/>
                  </a:lnTo>
                  <a:lnTo>
                    <a:pt x="465" y="125"/>
                  </a:lnTo>
                  <a:lnTo>
                    <a:pt x="466" y="125"/>
                  </a:lnTo>
                  <a:lnTo>
                    <a:pt x="468" y="125"/>
                  </a:lnTo>
                  <a:lnTo>
                    <a:pt x="468" y="127"/>
                  </a:lnTo>
                  <a:lnTo>
                    <a:pt x="470" y="127"/>
                  </a:lnTo>
                  <a:lnTo>
                    <a:pt x="471" y="125"/>
                  </a:lnTo>
                  <a:lnTo>
                    <a:pt x="473" y="125"/>
                  </a:lnTo>
                  <a:lnTo>
                    <a:pt x="474" y="125"/>
                  </a:lnTo>
                  <a:lnTo>
                    <a:pt x="474" y="127"/>
                  </a:lnTo>
                  <a:lnTo>
                    <a:pt x="474" y="125"/>
                  </a:lnTo>
                  <a:lnTo>
                    <a:pt x="476" y="125"/>
                  </a:lnTo>
                  <a:lnTo>
                    <a:pt x="478" y="127"/>
                  </a:lnTo>
                  <a:lnTo>
                    <a:pt x="479" y="127"/>
                  </a:lnTo>
                  <a:lnTo>
                    <a:pt x="479" y="129"/>
                  </a:lnTo>
                  <a:lnTo>
                    <a:pt x="479" y="130"/>
                  </a:lnTo>
                  <a:lnTo>
                    <a:pt x="479" y="132"/>
                  </a:lnTo>
                  <a:lnTo>
                    <a:pt x="478" y="132"/>
                  </a:lnTo>
                  <a:lnTo>
                    <a:pt x="476" y="134"/>
                  </a:lnTo>
                  <a:lnTo>
                    <a:pt x="476" y="135"/>
                  </a:lnTo>
                  <a:lnTo>
                    <a:pt x="474" y="135"/>
                  </a:lnTo>
                  <a:lnTo>
                    <a:pt x="473" y="137"/>
                  </a:lnTo>
                  <a:lnTo>
                    <a:pt x="473" y="138"/>
                  </a:lnTo>
                  <a:lnTo>
                    <a:pt x="474" y="142"/>
                  </a:lnTo>
                  <a:lnTo>
                    <a:pt x="473" y="142"/>
                  </a:lnTo>
                  <a:lnTo>
                    <a:pt x="473" y="143"/>
                  </a:lnTo>
                  <a:lnTo>
                    <a:pt x="471" y="143"/>
                  </a:lnTo>
                  <a:lnTo>
                    <a:pt x="470" y="145"/>
                  </a:lnTo>
                  <a:lnTo>
                    <a:pt x="470" y="147"/>
                  </a:lnTo>
                  <a:lnTo>
                    <a:pt x="471" y="147"/>
                  </a:lnTo>
                  <a:lnTo>
                    <a:pt x="473" y="148"/>
                  </a:lnTo>
                  <a:lnTo>
                    <a:pt x="471" y="150"/>
                  </a:lnTo>
                  <a:lnTo>
                    <a:pt x="471" y="152"/>
                  </a:lnTo>
                  <a:lnTo>
                    <a:pt x="470" y="150"/>
                  </a:lnTo>
                  <a:lnTo>
                    <a:pt x="470" y="152"/>
                  </a:lnTo>
                  <a:lnTo>
                    <a:pt x="468" y="152"/>
                  </a:lnTo>
                  <a:lnTo>
                    <a:pt x="466" y="153"/>
                  </a:lnTo>
                  <a:lnTo>
                    <a:pt x="465" y="153"/>
                  </a:lnTo>
                  <a:lnTo>
                    <a:pt x="463" y="153"/>
                  </a:lnTo>
                  <a:lnTo>
                    <a:pt x="463" y="155"/>
                  </a:lnTo>
                  <a:lnTo>
                    <a:pt x="461" y="155"/>
                  </a:lnTo>
                  <a:lnTo>
                    <a:pt x="458" y="153"/>
                  </a:lnTo>
                  <a:lnTo>
                    <a:pt x="457" y="155"/>
                  </a:lnTo>
                  <a:lnTo>
                    <a:pt x="457" y="156"/>
                  </a:lnTo>
                  <a:lnTo>
                    <a:pt x="457" y="158"/>
                  </a:lnTo>
                  <a:lnTo>
                    <a:pt x="455" y="158"/>
                  </a:lnTo>
                  <a:lnTo>
                    <a:pt x="452" y="158"/>
                  </a:lnTo>
                  <a:lnTo>
                    <a:pt x="450" y="158"/>
                  </a:lnTo>
                  <a:lnTo>
                    <a:pt x="447" y="158"/>
                  </a:lnTo>
                  <a:lnTo>
                    <a:pt x="444" y="160"/>
                  </a:lnTo>
                  <a:lnTo>
                    <a:pt x="442" y="161"/>
                  </a:lnTo>
                  <a:lnTo>
                    <a:pt x="444" y="161"/>
                  </a:lnTo>
                  <a:lnTo>
                    <a:pt x="439" y="163"/>
                  </a:lnTo>
                  <a:lnTo>
                    <a:pt x="437" y="166"/>
                  </a:lnTo>
                  <a:lnTo>
                    <a:pt x="440" y="168"/>
                  </a:lnTo>
                  <a:lnTo>
                    <a:pt x="442" y="169"/>
                  </a:lnTo>
                  <a:lnTo>
                    <a:pt x="442" y="171"/>
                  </a:lnTo>
                  <a:lnTo>
                    <a:pt x="440" y="171"/>
                  </a:lnTo>
                  <a:lnTo>
                    <a:pt x="440" y="174"/>
                  </a:lnTo>
                  <a:lnTo>
                    <a:pt x="440" y="176"/>
                  </a:lnTo>
                  <a:lnTo>
                    <a:pt x="440" y="179"/>
                  </a:lnTo>
                  <a:lnTo>
                    <a:pt x="439" y="179"/>
                  </a:lnTo>
                  <a:lnTo>
                    <a:pt x="439" y="182"/>
                  </a:lnTo>
                  <a:lnTo>
                    <a:pt x="437" y="182"/>
                  </a:lnTo>
                  <a:lnTo>
                    <a:pt x="435" y="184"/>
                  </a:lnTo>
                  <a:lnTo>
                    <a:pt x="434" y="186"/>
                  </a:lnTo>
                  <a:lnTo>
                    <a:pt x="432" y="186"/>
                  </a:lnTo>
                  <a:lnTo>
                    <a:pt x="432" y="187"/>
                  </a:lnTo>
                  <a:lnTo>
                    <a:pt x="431" y="189"/>
                  </a:lnTo>
                  <a:lnTo>
                    <a:pt x="431" y="191"/>
                  </a:lnTo>
                  <a:lnTo>
                    <a:pt x="429" y="192"/>
                  </a:lnTo>
                  <a:lnTo>
                    <a:pt x="426" y="192"/>
                  </a:lnTo>
                  <a:lnTo>
                    <a:pt x="422" y="192"/>
                  </a:lnTo>
                  <a:lnTo>
                    <a:pt x="421" y="192"/>
                  </a:lnTo>
                  <a:lnTo>
                    <a:pt x="421" y="194"/>
                  </a:lnTo>
                  <a:lnTo>
                    <a:pt x="419" y="195"/>
                  </a:lnTo>
                  <a:lnTo>
                    <a:pt x="418" y="197"/>
                  </a:lnTo>
                  <a:lnTo>
                    <a:pt x="416" y="197"/>
                  </a:lnTo>
                  <a:lnTo>
                    <a:pt x="414" y="197"/>
                  </a:lnTo>
                  <a:lnTo>
                    <a:pt x="414" y="199"/>
                  </a:lnTo>
                  <a:lnTo>
                    <a:pt x="414" y="200"/>
                  </a:lnTo>
                  <a:lnTo>
                    <a:pt x="414" y="202"/>
                  </a:lnTo>
                  <a:lnTo>
                    <a:pt x="413" y="204"/>
                  </a:lnTo>
                  <a:lnTo>
                    <a:pt x="413" y="205"/>
                  </a:lnTo>
                  <a:lnTo>
                    <a:pt x="411" y="207"/>
                  </a:lnTo>
                  <a:lnTo>
                    <a:pt x="411" y="208"/>
                  </a:lnTo>
                  <a:lnTo>
                    <a:pt x="409" y="208"/>
                  </a:lnTo>
                  <a:lnTo>
                    <a:pt x="409" y="210"/>
                  </a:lnTo>
                  <a:lnTo>
                    <a:pt x="409" y="212"/>
                  </a:lnTo>
                  <a:lnTo>
                    <a:pt x="411" y="212"/>
                  </a:lnTo>
                  <a:lnTo>
                    <a:pt x="409" y="212"/>
                  </a:lnTo>
                  <a:lnTo>
                    <a:pt x="411" y="213"/>
                  </a:lnTo>
                  <a:lnTo>
                    <a:pt x="409" y="215"/>
                  </a:lnTo>
                  <a:lnTo>
                    <a:pt x="408" y="215"/>
                  </a:lnTo>
                  <a:lnTo>
                    <a:pt x="408" y="217"/>
                  </a:lnTo>
                  <a:lnTo>
                    <a:pt x="408" y="218"/>
                  </a:lnTo>
                  <a:lnTo>
                    <a:pt x="409" y="223"/>
                  </a:lnTo>
                  <a:lnTo>
                    <a:pt x="409" y="225"/>
                  </a:lnTo>
                  <a:lnTo>
                    <a:pt x="411" y="230"/>
                  </a:lnTo>
                  <a:lnTo>
                    <a:pt x="411" y="231"/>
                  </a:lnTo>
                  <a:lnTo>
                    <a:pt x="411" y="233"/>
                  </a:lnTo>
                  <a:lnTo>
                    <a:pt x="411" y="234"/>
                  </a:lnTo>
                  <a:lnTo>
                    <a:pt x="413" y="239"/>
                  </a:lnTo>
                  <a:lnTo>
                    <a:pt x="414" y="241"/>
                  </a:lnTo>
                  <a:lnTo>
                    <a:pt x="414" y="243"/>
                  </a:lnTo>
                  <a:lnTo>
                    <a:pt x="414" y="244"/>
                  </a:lnTo>
                  <a:lnTo>
                    <a:pt x="416" y="244"/>
                  </a:lnTo>
                  <a:lnTo>
                    <a:pt x="416" y="246"/>
                  </a:lnTo>
                  <a:lnTo>
                    <a:pt x="416" y="247"/>
                  </a:lnTo>
                  <a:lnTo>
                    <a:pt x="416" y="249"/>
                  </a:lnTo>
                  <a:lnTo>
                    <a:pt x="416" y="251"/>
                  </a:lnTo>
                  <a:lnTo>
                    <a:pt x="411" y="256"/>
                  </a:lnTo>
                  <a:lnTo>
                    <a:pt x="411" y="260"/>
                  </a:lnTo>
                  <a:lnTo>
                    <a:pt x="411" y="265"/>
                  </a:lnTo>
                  <a:lnTo>
                    <a:pt x="409" y="267"/>
                  </a:lnTo>
                  <a:lnTo>
                    <a:pt x="408" y="269"/>
                  </a:lnTo>
                  <a:lnTo>
                    <a:pt x="409" y="269"/>
                  </a:lnTo>
                  <a:lnTo>
                    <a:pt x="409" y="270"/>
                  </a:lnTo>
                  <a:lnTo>
                    <a:pt x="411" y="273"/>
                  </a:lnTo>
                  <a:lnTo>
                    <a:pt x="409" y="277"/>
                  </a:lnTo>
                  <a:lnTo>
                    <a:pt x="408" y="277"/>
                  </a:lnTo>
                  <a:lnTo>
                    <a:pt x="408" y="278"/>
                  </a:lnTo>
                  <a:lnTo>
                    <a:pt x="409" y="282"/>
                  </a:lnTo>
                  <a:lnTo>
                    <a:pt x="408" y="282"/>
                  </a:lnTo>
                  <a:lnTo>
                    <a:pt x="408" y="283"/>
                  </a:lnTo>
                  <a:lnTo>
                    <a:pt x="408" y="285"/>
                  </a:lnTo>
                  <a:lnTo>
                    <a:pt x="406" y="286"/>
                  </a:lnTo>
                  <a:lnTo>
                    <a:pt x="406" y="288"/>
                  </a:lnTo>
                  <a:lnTo>
                    <a:pt x="408" y="288"/>
                  </a:lnTo>
                  <a:lnTo>
                    <a:pt x="408" y="290"/>
                  </a:lnTo>
                  <a:lnTo>
                    <a:pt x="409" y="290"/>
                  </a:lnTo>
                  <a:lnTo>
                    <a:pt x="411" y="288"/>
                  </a:lnTo>
                  <a:lnTo>
                    <a:pt x="413" y="290"/>
                  </a:lnTo>
                  <a:lnTo>
                    <a:pt x="414" y="290"/>
                  </a:lnTo>
                  <a:lnTo>
                    <a:pt x="414" y="288"/>
                  </a:lnTo>
                  <a:lnTo>
                    <a:pt x="416" y="288"/>
                  </a:lnTo>
                  <a:lnTo>
                    <a:pt x="418" y="286"/>
                  </a:lnTo>
                  <a:lnTo>
                    <a:pt x="419" y="286"/>
                  </a:lnTo>
                  <a:lnTo>
                    <a:pt x="421" y="290"/>
                  </a:lnTo>
                  <a:lnTo>
                    <a:pt x="421" y="291"/>
                  </a:lnTo>
                  <a:lnTo>
                    <a:pt x="422" y="293"/>
                  </a:lnTo>
                  <a:lnTo>
                    <a:pt x="424" y="293"/>
                  </a:lnTo>
                  <a:lnTo>
                    <a:pt x="426" y="293"/>
                  </a:lnTo>
                  <a:lnTo>
                    <a:pt x="426" y="295"/>
                  </a:lnTo>
                  <a:lnTo>
                    <a:pt x="427" y="296"/>
                  </a:lnTo>
                  <a:lnTo>
                    <a:pt x="429" y="296"/>
                  </a:lnTo>
                  <a:lnTo>
                    <a:pt x="431" y="296"/>
                  </a:lnTo>
                  <a:lnTo>
                    <a:pt x="427" y="300"/>
                  </a:lnTo>
                  <a:lnTo>
                    <a:pt x="429" y="301"/>
                  </a:lnTo>
                  <a:lnTo>
                    <a:pt x="431" y="303"/>
                  </a:lnTo>
                  <a:lnTo>
                    <a:pt x="431" y="304"/>
                  </a:lnTo>
                  <a:lnTo>
                    <a:pt x="431" y="306"/>
                  </a:lnTo>
                  <a:lnTo>
                    <a:pt x="432" y="306"/>
                  </a:lnTo>
                  <a:lnTo>
                    <a:pt x="432" y="308"/>
                  </a:lnTo>
                  <a:lnTo>
                    <a:pt x="429" y="308"/>
                  </a:lnTo>
                  <a:lnTo>
                    <a:pt x="429" y="309"/>
                  </a:lnTo>
                  <a:lnTo>
                    <a:pt x="427" y="308"/>
                  </a:lnTo>
                  <a:lnTo>
                    <a:pt x="426" y="308"/>
                  </a:lnTo>
                  <a:lnTo>
                    <a:pt x="426" y="309"/>
                  </a:lnTo>
                  <a:lnTo>
                    <a:pt x="424" y="309"/>
                  </a:lnTo>
                  <a:lnTo>
                    <a:pt x="424" y="311"/>
                  </a:lnTo>
                  <a:lnTo>
                    <a:pt x="424" y="313"/>
                  </a:lnTo>
                  <a:lnTo>
                    <a:pt x="422" y="313"/>
                  </a:lnTo>
                  <a:lnTo>
                    <a:pt x="422" y="314"/>
                  </a:lnTo>
                  <a:lnTo>
                    <a:pt x="421" y="314"/>
                  </a:lnTo>
                  <a:lnTo>
                    <a:pt x="419" y="313"/>
                  </a:lnTo>
                  <a:lnTo>
                    <a:pt x="418" y="313"/>
                  </a:lnTo>
                  <a:lnTo>
                    <a:pt x="416" y="313"/>
                  </a:lnTo>
                  <a:lnTo>
                    <a:pt x="414" y="313"/>
                  </a:lnTo>
                  <a:lnTo>
                    <a:pt x="413" y="313"/>
                  </a:lnTo>
                  <a:lnTo>
                    <a:pt x="411" y="313"/>
                  </a:lnTo>
                  <a:lnTo>
                    <a:pt x="411" y="311"/>
                  </a:lnTo>
                  <a:lnTo>
                    <a:pt x="409" y="311"/>
                  </a:lnTo>
                  <a:lnTo>
                    <a:pt x="409" y="309"/>
                  </a:lnTo>
                  <a:lnTo>
                    <a:pt x="409" y="308"/>
                  </a:lnTo>
                  <a:lnTo>
                    <a:pt x="411" y="308"/>
                  </a:lnTo>
                  <a:lnTo>
                    <a:pt x="413" y="306"/>
                  </a:lnTo>
                  <a:lnTo>
                    <a:pt x="413" y="304"/>
                  </a:lnTo>
                  <a:lnTo>
                    <a:pt x="413" y="303"/>
                  </a:lnTo>
                  <a:lnTo>
                    <a:pt x="411" y="303"/>
                  </a:lnTo>
                  <a:lnTo>
                    <a:pt x="409" y="303"/>
                  </a:lnTo>
                  <a:lnTo>
                    <a:pt x="411" y="303"/>
                  </a:lnTo>
                  <a:lnTo>
                    <a:pt x="411" y="301"/>
                  </a:lnTo>
                  <a:lnTo>
                    <a:pt x="413" y="301"/>
                  </a:lnTo>
                  <a:lnTo>
                    <a:pt x="414" y="301"/>
                  </a:lnTo>
                  <a:lnTo>
                    <a:pt x="413" y="301"/>
                  </a:lnTo>
                  <a:lnTo>
                    <a:pt x="411" y="300"/>
                  </a:lnTo>
                  <a:lnTo>
                    <a:pt x="411" y="298"/>
                  </a:lnTo>
                  <a:lnTo>
                    <a:pt x="409" y="296"/>
                  </a:lnTo>
                  <a:lnTo>
                    <a:pt x="406" y="295"/>
                  </a:lnTo>
                  <a:lnTo>
                    <a:pt x="405" y="293"/>
                  </a:lnTo>
                  <a:lnTo>
                    <a:pt x="405" y="291"/>
                  </a:lnTo>
                  <a:lnTo>
                    <a:pt x="405" y="293"/>
                  </a:lnTo>
                  <a:lnTo>
                    <a:pt x="403" y="293"/>
                  </a:lnTo>
                  <a:lnTo>
                    <a:pt x="401" y="295"/>
                  </a:lnTo>
                  <a:lnTo>
                    <a:pt x="400" y="293"/>
                  </a:lnTo>
                  <a:lnTo>
                    <a:pt x="398" y="295"/>
                  </a:lnTo>
                  <a:lnTo>
                    <a:pt x="398" y="296"/>
                  </a:lnTo>
                  <a:lnTo>
                    <a:pt x="396" y="296"/>
                  </a:lnTo>
                  <a:lnTo>
                    <a:pt x="396" y="298"/>
                  </a:lnTo>
                  <a:lnTo>
                    <a:pt x="396" y="300"/>
                  </a:lnTo>
                  <a:lnTo>
                    <a:pt x="395" y="300"/>
                  </a:lnTo>
                  <a:lnTo>
                    <a:pt x="395" y="301"/>
                  </a:lnTo>
                  <a:lnTo>
                    <a:pt x="393" y="300"/>
                  </a:lnTo>
                  <a:lnTo>
                    <a:pt x="393" y="301"/>
                  </a:lnTo>
                  <a:lnTo>
                    <a:pt x="392" y="301"/>
                  </a:lnTo>
                  <a:lnTo>
                    <a:pt x="390" y="301"/>
                  </a:lnTo>
                  <a:lnTo>
                    <a:pt x="388" y="301"/>
                  </a:lnTo>
                  <a:lnTo>
                    <a:pt x="387" y="301"/>
                  </a:lnTo>
                  <a:lnTo>
                    <a:pt x="387" y="300"/>
                  </a:lnTo>
                  <a:lnTo>
                    <a:pt x="385" y="301"/>
                  </a:lnTo>
                  <a:lnTo>
                    <a:pt x="385" y="304"/>
                  </a:lnTo>
                  <a:lnTo>
                    <a:pt x="383" y="303"/>
                  </a:lnTo>
                  <a:lnTo>
                    <a:pt x="382" y="304"/>
                  </a:lnTo>
                  <a:lnTo>
                    <a:pt x="382" y="306"/>
                  </a:lnTo>
                  <a:lnTo>
                    <a:pt x="382" y="308"/>
                  </a:lnTo>
                  <a:lnTo>
                    <a:pt x="382" y="309"/>
                  </a:lnTo>
                  <a:lnTo>
                    <a:pt x="382" y="311"/>
                  </a:lnTo>
                  <a:lnTo>
                    <a:pt x="380" y="313"/>
                  </a:lnTo>
                  <a:lnTo>
                    <a:pt x="377" y="317"/>
                  </a:lnTo>
                  <a:lnTo>
                    <a:pt x="375" y="321"/>
                  </a:lnTo>
                  <a:lnTo>
                    <a:pt x="375" y="322"/>
                  </a:lnTo>
                  <a:lnTo>
                    <a:pt x="374" y="322"/>
                  </a:lnTo>
                  <a:lnTo>
                    <a:pt x="374" y="324"/>
                  </a:lnTo>
                  <a:lnTo>
                    <a:pt x="372" y="324"/>
                  </a:lnTo>
                  <a:lnTo>
                    <a:pt x="370" y="324"/>
                  </a:lnTo>
                  <a:lnTo>
                    <a:pt x="369" y="324"/>
                  </a:lnTo>
                  <a:lnTo>
                    <a:pt x="367" y="324"/>
                  </a:lnTo>
                  <a:lnTo>
                    <a:pt x="366" y="322"/>
                  </a:lnTo>
                  <a:lnTo>
                    <a:pt x="364" y="321"/>
                  </a:lnTo>
                  <a:lnTo>
                    <a:pt x="362" y="321"/>
                  </a:lnTo>
                  <a:lnTo>
                    <a:pt x="362" y="322"/>
                  </a:lnTo>
                  <a:lnTo>
                    <a:pt x="361" y="322"/>
                  </a:lnTo>
                  <a:lnTo>
                    <a:pt x="359" y="324"/>
                  </a:lnTo>
                  <a:lnTo>
                    <a:pt x="357" y="326"/>
                  </a:lnTo>
                  <a:lnTo>
                    <a:pt x="354" y="326"/>
                  </a:lnTo>
                  <a:lnTo>
                    <a:pt x="352" y="327"/>
                  </a:lnTo>
                  <a:lnTo>
                    <a:pt x="354" y="327"/>
                  </a:lnTo>
                  <a:lnTo>
                    <a:pt x="354" y="329"/>
                  </a:lnTo>
                  <a:lnTo>
                    <a:pt x="352" y="330"/>
                  </a:lnTo>
                  <a:lnTo>
                    <a:pt x="351" y="332"/>
                  </a:lnTo>
                  <a:lnTo>
                    <a:pt x="351" y="334"/>
                  </a:lnTo>
                  <a:lnTo>
                    <a:pt x="352" y="334"/>
                  </a:lnTo>
                  <a:lnTo>
                    <a:pt x="356" y="337"/>
                  </a:lnTo>
                  <a:lnTo>
                    <a:pt x="356" y="339"/>
                  </a:lnTo>
                  <a:lnTo>
                    <a:pt x="356" y="340"/>
                  </a:lnTo>
                  <a:lnTo>
                    <a:pt x="359" y="342"/>
                  </a:lnTo>
                  <a:lnTo>
                    <a:pt x="361" y="340"/>
                  </a:lnTo>
                  <a:lnTo>
                    <a:pt x="361" y="342"/>
                  </a:lnTo>
                  <a:lnTo>
                    <a:pt x="359" y="342"/>
                  </a:lnTo>
                  <a:lnTo>
                    <a:pt x="359" y="343"/>
                  </a:lnTo>
                  <a:lnTo>
                    <a:pt x="359" y="345"/>
                  </a:lnTo>
                  <a:lnTo>
                    <a:pt x="357" y="347"/>
                  </a:lnTo>
                  <a:lnTo>
                    <a:pt x="357" y="348"/>
                  </a:lnTo>
                  <a:lnTo>
                    <a:pt x="356" y="348"/>
                  </a:lnTo>
                  <a:lnTo>
                    <a:pt x="356" y="347"/>
                  </a:lnTo>
                  <a:lnTo>
                    <a:pt x="352" y="350"/>
                  </a:lnTo>
                  <a:lnTo>
                    <a:pt x="351" y="352"/>
                  </a:lnTo>
                  <a:lnTo>
                    <a:pt x="352" y="353"/>
                  </a:lnTo>
                  <a:lnTo>
                    <a:pt x="351" y="353"/>
                  </a:lnTo>
                  <a:lnTo>
                    <a:pt x="349" y="355"/>
                  </a:lnTo>
                  <a:lnTo>
                    <a:pt x="348" y="353"/>
                  </a:lnTo>
                  <a:lnTo>
                    <a:pt x="348" y="350"/>
                  </a:lnTo>
                  <a:lnTo>
                    <a:pt x="348" y="347"/>
                  </a:lnTo>
                  <a:lnTo>
                    <a:pt x="346" y="347"/>
                  </a:lnTo>
                  <a:lnTo>
                    <a:pt x="344" y="347"/>
                  </a:lnTo>
                  <a:lnTo>
                    <a:pt x="344" y="348"/>
                  </a:lnTo>
                  <a:lnTo>
                    <a:pt x="343" y="348"/>
                  </a:lnTo>
                  <a:lnTo>
                    <a:pt x="341" y="350"/>
                  </a:lnTo>
                  <a:lnTo>
                    <a:pt x="339" y="352"/>
                  </a:lnTo>
                  <a:lnTo>
                    <a:pt x="338" y="352"/>
                  </a:lnTo>
                  <a:lnTo>
                    <a:pt x="338" y="353"/>
                  </a:lnTo>
                  <a:lnTo>
                    <a:pt x="336" y="353"/>
                  </a:lnTo>
                  <a:lnTo>
                    <a:pt x="336" y="355"/>
                  </a:lnTo>
                  <a:lnTo>
                    <a:pt x="333" y="358"/>
                  </a:lnTo>
                  <a:lnTo>
                    <a:pt x="331" y="361"/>
                  </a:lnTo>
                  <a:lnTo>
                    <a:pt x="331" y="363"/>
                  </a:lnTo>
                  <a:lnTo>
                    <a:pt x="330" y="365"/>
                  </a:lnTo>
                  <a:lnTo>
                    <a:pt x="330" y="366"/>
                  </a:lnTo>
                  <a:lnTo>
                    <a:pt x="328" y="366"/>
                  </a:lnTo>
                  <a:lnTo>
                    <a:pt x="328" y="368"/>
                  </a:lnTo>
                  <a:lnTo>
                    <a:pt x="326" y="368"/>
                  </a:lnTo>
                  <a:lnTo>
                    <a:pt x="325" y="368"/>
                  </a:lnTo>
                  <a:lnTo>
                    <a:pt x="325" y="369"/>
                  </a:lnTo>
                  <a:lnTo>
                    <a:pt x="323" y="369"/>
                  </a:lnTo>
                  <a:lnTo>
                    <a:pt x="322" y="366"/>
                  </a:lnTo>
                  <a:lnTo>
                    <a:pt x="320" y="368"/>
                  </a:lnTo>
                  <a:lnTo>
                    <a:pt x="318" y="368"/>
                  </a:lnTo>
                  <a:lnTo>
                    <a:pt x="317" y="368"/>
                  </a:lnTo>
                  <a:lnTo>
                    <a:pt x="315" y="366"/>
                  </a:lnTo>
                  <a:lnTo>
                    <a:pt x="313" y="365"/>
                  </a:lnTo>
                  <a:lnTo>
                    <a:pt x="312" y="363"/>
                  </a:lnTo>
                  <a:lnTo>
                    <a:pt x="310" y="365"/>
                  </a:lnTo>
                  <a:lnTo>
                    <a:pt x="309" y="365"/>
                  </a:lnTo>
                  <a:lnTo>
                    <a:pt x="309" y="363"/>
                  </a:lnTo>
                  <a:lnTo>
                    <a:pt x="307" y="361"/>
                  </a:lnTo>
                  <a:lnTo>
                    <a:pt x="305" y="363"/>
                  </a:lnTo>
                  <a:lnTo>
                    <a:pt x="304" y="363"/>
                  </a:lnTo>
                  <a:lnTo>
                    <a:pt x="304" y="365"/>
                  </a:lnTo>
                  <a:lnTo>
                    <a:pt x="302" y="365"/>
                  </a:lnTo>
                  <a:lnTo>
                    <a:pt x="300" y="365"/>
                  </a:lnTo>
                  <a:lnTo>
                    <a:pt x="300" y="366"/>
                  </a:lnTo>
                  <a:lnTo>
                    <a:pt x="300" y="368"/>
                  </a:lnTo>
                  <a:lnTo>
                    <a:pt x="292" y="371"/>
                  </a:lnTo>
                  <a:lnTo>
                    <a:pt x="291" y="371"/>
                  </a:lnTo>
                  <a:lnTo>
                    <a:pt x="289" y="371"/>
                  </a:lnTo>
                  <a:lnTo>
                    <a:pt x="289" y="369"/>
                  </a:lnTo>
                  <a:lnTo>
                    <a:pt x="286" y="368"/>
                  </a:lnTo>
                  <a:lnTo>
                    <a:pt x="284" y="366"/>
                  </a:lnTo>
                  <a:lnTo>
                    <a:pt x="283" y="366"/>
                  </a:lnTo>
                  <a:lnTo>
                    <a:pt x="283" y="368"/>
                  </a:lnTo>
                  <a:lnTo>
                    <a:pt x="283" y="369"/>
                  </a:lnTo>
                  <a:lnTo>
                    <a:pt x="283" y="371"/>
                  </a:lnTo>
                  <a:lnTo>
                    <a:pt x="281" y="371"/>
                  </a:lnTo>
                  <a:lnTo>
                    <a:pt x="279" y="369"/>
                  </a:lnTo>
                  <a:lnTo>
                    <a:pt x="278" y="369"/>
                  </a:lnTo>
                  <a:lnTo>
                    <a:pt x="276" y="371"/>
                  </a:lnTo>
                  <a:lnTo>
                    <a:pt x="276" y="373"/>
                  </a:lnTo>
                  <a:lnTo>
                    <a:pt x="274" y="373"/>
                  </a:lnTo>
                  <a:lnTo>
                    <a:pt x="274" y="374"/>
                  </a:lnTo>
                  <a:lnTo>
                    <a:pt x="276" y="374"/>
                  </a:lnTo>
                  <a:lnTo>
                    <a:pt x="278" y="376"/>
                  </a:lnTo>
                  <a:lnTo>
                    <a:pt x="276" y="376"/>
                  </a:lnTo>
                  <a:lnTo>
                    <a:pt x="276" y="378"/>
                  </a:lnTo>
                  <a:lnTo>
                    <a:pt x="274" y="378"/>
                  </a:lnTo>
                  <a:lnTo>
                    <a:pt x="273" y="378"/>
                  </a:lnTo>
                  <a:lnTo>
                    <a:pt x="273" y="376"/>
                  </a:lnTo>
                  <a:lnTo>
                    <a:pt x="273" y="374"/>
                  </a:lnTo>
                  <a:lnTo>
                    <a:pt x="270" y="374"/>
                  </a:lnTo>
                  <a:lnTo>
                    <a:pt x="268" y="374"/>
                  </a:lnTo>
                  <a:lnTo>
                    <a:pt x="266" y="374"/>
                  </a:lnTo>
                  <a:lnTo>
                    <a:pt x="265" y="376"/>
                  </a:lnTo>
                  <a:lnTo>
                    <a:pt x="263" y="376"/>
                  </a:lnTo>
                  <a:lnTo>
                    <a:pt x="261" y="376"/>
                  </a:lnTo>
                  <a:lnTo>
                    <a:pt x="260" y="378"/>
                  </a:lnTo>
                  <a:lnTo>
                    <a:pt x="258" y="378"/>
                  </a:lnTo>
                  <a:lnTo>
                    <a:pt x="258" y="376"/>
                  </a:lnTo>
                  <a:lnTo>
                    <a:pt x="257" y="376"/>
                  </a:lnTo>
                  <a:lnTo>
                    <a:pt x="255" y="376"/>
                  </a:lnTo>
                  <a:lnTo>
                    <a:pt x="253" y="376"/>
                  </a:lnTo>
                  <a:lnTo>
                    <a:pt x="252" y="374"/>
                  </a:lnTo>
                  <a:lnTo>
                    <a:pt x="250" y="374"/>
                  </a:lnTo>
                  <a:lnTo>
                    <a:pt x="250" y="373"/>
                  </a:lnTo>
                  <a:lnTo>
                    <a:pt x="248" y="373"/>
                  </a:lnTo>
                  <a:lnTo>
                    <a:pt x="248" y="371"/>
                  </a:lnTo>
                  <a:lnTo>
                    <a:pt x="247" y="371"/>
                  </a:lnTo>
                  <a:lnTo>
                    <a:pt x="247" y="369"/>
                  </a:lnTo>
                  <a:lnTo>
                    <a:pt x="247" y="368"/>
                  </a:lnTo>
                  <a:lnTo>
                    <a:pt x="248" y="368"/>
                  </a:lnTo>
                  <a:lnTo>
                    <a:pt x="248" y="366"/>
                  </a:lnTo>
                  <a:lnTo>
                    <a:pt x="248" y="365"/>
                  </a:lnTo>
                  <a:lnTo>
                    <a:pt x="250" y="363"/>
                  </a:lnTo>
                  <a:lnTo>
                    <a:pt x="250" y="361"/>
                  </a:lnTo>
                  <a:lnTo>
                    <a:pt x="248" y="358"/>
                  </a:lnTo>
                  <a:lnTo>
                    <a:pt x="248" y="356"/>
                  </a:lnTo>
                  <a:lnTo>
                    <a:pt x="247" y="356"/>
                  </a:lnTo>
                  <a:lnTo>
                    <a:pt x="247" y="355"/>
                  </a:lnTo>
                  <a:lnTo>
                    <a:pt x="245" y="353"/>
                  </a:lnTo>
                  <a:lnTo>
                    <a:pt x="245" y="352"/>
                  </a:lnTo>
                  <a:lnTo>
                    <a:pt x="244" y="350"/>
                  </a:lnTo>
                  <a:lnTo>
                    <a:pt x="244" y="348"/>
                  </a:lnTo>
                  <a:lnTo>
                    <a:pt x="242" y="347"/>
                  </a:lnTo>
                  <a:lnTo>
                    <a:pt x="242" y="345"/>
                  </a:lnTo>
                  <a:lnTo>
                    <a:pt x="240" y="345"/>
                  </a:lnTo>
                  <a:lnTo>
                    <a:pt x="239" y="345"/>
                  </a:lnTo>
                  <a:lnTo>
                    <a:pt x="237" y="345"/>
                  </a:lnTo>
                  <a:lnTo>
                    <a:pt x="237" y="343"/>
                  </a:lnTo>
                  <a:lnTo>
                    <a:pt x="235" y="343"/>
                  </a:lnTo>
                  <a:lnTo>
                    <a:pt x="235" y="342"/>
                  </a:lnTo>
                  <a:lnTo>
                    <a:pt x="234" y="340"/>
                  </a:lnTo>
                  <a:lnTo>
                    <a:pt x="234" y="339"/>
                  </a:lnTo>
                  <a:lnTo>
                    <a:pt x="232" y="339"/>
                  </a:lnTo>
                  <a:lnTo>
                    <a:pt x="231" y="339"/>
                  </a:lnTo>
                  <a:lnTo>
                    <a:pt x="229" y="337"/>
                  </a:lnTo>
                  <a:lnTo>
                    <a:pt x="229" y="335"/>
                  </a:lnTo>
                  <a:lnTo>
                    <a:pt x="227" y="335"/>
                  </a:lnTo>
                  <a:lnTo>
                    <a:pt x="226" y="335"/>
                  </a:lnTo>
                  <a:lnTo>
                    <a:pt x="224" y="335"/>
                  </a:lnTo>
                  <a:lnTo>
                    <a:pt x="222" y="335"/>
                  </a:lnTo>
                  <a:lnTo>
                    <a:pt x="221" y="335"/>
                  </a:lnTo>
                  <a:lnTo>
                    <a:pt x="219" y="335"/>
                  </a:lnTo>
                  <a:lnTo>
                    <a:pt x="218" y="334"/>
                  </a:lnTo>
                  <a:lnTo>
                    <a:pt x="216" y="332"/>
                  </a:lnTo>
                  <a:lnTo>
                    <a:pt x="214" y="332"/>
                  </a:lnTo>
                  <a:lnTo>
                    <a:pt x="213" y="332"/>
                  </a:lnTo>
                  <a:lnTo>
                    <a:pt x="213" y="330"/>
                  </a:lnTo>
                  <a:lnTo>
                    <a:pt x="211" y="329"/>
                  </a:lnTo>
                  <a:lnTo>
                    <a:pt x="208" y="332"/>
                  </a:lnTo>
                  <a:lnTo>
                    <a:pt x="206" y="332"/>
                  </a:lnTo>
                  <a:lnTo>
                    <a:pt x="203" y="330"/>
                  </a:lnTo>
                  <a:lnTo>
                    <a:pt x="203" y="329"/>
                  </a:lnTo>
                  <a:lnTo>
                    <a:pt x="203" y="327"/>
                  </a:lnTo>
                  <a:lnTo>
                    <a:pt x="201" y="326"/>
                  </a:lnTo>
                  <a:lnTo>
                    <a:pt x="198" y="326"/>
                  </a:lnTo>
                  <a:lnTo>
                    <a:pt x="198" y="324"/>
                  </a:lnTo>
                  <a:lnTo>
                    <a:pt x="198" y="322"/>
                  </a:lnTo>
                  <a:lnTo>
                    <a:pt x="196" y="322"/>
                  </a:lnTo>
                  <a:lnTo>
                    <a:pt x="195" y="321"/>
                  </a:lnTo>
                  <a:lnTo>
                    <a:pt x="190" y="321"/>
                  </a:lnTo>
                  <a:lnTo>
                    <a:pt x="188" y="321"/>
                  </a:lnTo>
                  <a:lnTo>
                    <a:pt x="187" y="321"/>
                  </a:lnTo>
                  <a:lnTo>
                    <a:pt x="185" y="321"/>
                  </a:lnTo>
                  <a:lnTo>
                    <a:pt x="183" y="321"/>
                  </a:lnTo>
                  <a:lnTo>
                    <a:pt x="182" y="327"/>
                  </a:lnTo>
                  <a:lnTo>
                    <a:pt x="180" y="327"/>
                  </a:lnTo>
                  <a:lnTo>
                    <a:pt x="178" y="327"/>
                  </a:lnTo>
                  <a:lnTo>
                    <a:pt x="178" y="326"/>
                  </a:lnTo>
                  <a:lnTo>
                    <a:pt x="175" y="321"/>
                  </a:lnTo>
                  <a:lnTo>
                    <a:pt x="174" y="317"/>
                  </a:lnTo>
                  <a:lnTo>
                    <a:pt x="172" y="317"/>
                  </a:lnTo>
                  <a:lnTo>
                    <a:pt x="170" y="317"/>
                  </a:lnTo>
                  <a:lnTo>
                    <a:pt x="170" y="316"/>
                  </a:lnTo>
                  <a:lnTo>
                    <a:pt x="170" y="313"/>
                  </a:lnTo>
                  <a:lnTo>
                    <a:pt x="169" y="311"/>
                  </a:lnTo>
                  <a:lnTo>
                    <a:pt x="169" y="309"/>
                  </a:lnTo>
                  <a:lnTo>
                    <a:pt x="167" y="308"/>
                  </a:lnTo>
                  <a:lnTo>
                    <a:pt x="165" y="306"/>
                  </a:lnTo>
                  <a:lnTo>
                    <a:pt x="167" y="304"/>
                  </a:lnTo>
                  <a:lnTo>
                    <a:pt x="169" y="303"/>
                  </a:lnTo>
                  <a:lnTo>
                    <a:pt x="169" y="301"/>
                  </a:lnTo>
                  <a:lnTo>
                    <a:pt x="167" y="300"/>
                  </a:lnTo>
                  <a:lnTo>
                    <a:pt x="165" y="298"/>
                  </a:lnTo>
                  <a:lnTo>
                    <a:pt x="167" y="296"/>
                  </a:lnTo>
                  <a:lnTo>
                    <a:pt x="167" y="295"/>
                  </a:lnTo>
                  <a:lnTo>
                    <a:pt x="169" y="295"/>
                  </a:lnTo>
                  <a:lnTo>
                    <a:pt x="169" y="293"/>
                  </a:lnTo>
                  <a:lnTo>
                    <a:pt x="169" y="291"/>
                  </a:lnTo>
                  <a:lnTo>
                    <a:pt x="169" y="290"/>
                  </a:lnTo>
                  <a:lnTo>
                    <a:pt x="170" y="290"/>
                  </a:lnTo>
                  <a:lnTo>
                    <a:pt x="170" y="288"/>
                  </a:lnTo>
                  <a:lnTo>
                    <a:pt x="170" y="286"/>
                  </a:lnTo>
                  <a:lnTo>
                    <a:pt x="169" y="286"/>
                  </a:lnTo>
                  <a:lnTo>
                    <a:pt x="167" y="286"/>
                  </a:lnTo>
                  <a:lnTo>
                    <a:pt x="167" y="285"/>
                  </a:lnTo>
                  <a:lnTo>
                    <a:pt x="169" y="285"/>
                  </a:lnTo>
                  <a:lnTo>
                    <a:pt x="169" y="283"/>
                  </a:lnTo>
                  <a:lnTo>
                    <a:pt x="167" y="283"/>
                  </a:lnTo>
                  <a:lnTo>
                    <a:pt x="167" y="282"/>
                  </a:lnTo>
                  <a:lnTo>
                    <a:pt x="165" y="282"/>
                  </a:lnTo>
                  <a:lnTo>
                    <a:pt x="167" y="280"/>
                  </a:lnTo>
                  <a:lnTo>
                    <a:pt x="165" y="280"/>
                  </a:lnTo>
                  <a:lnTo>
                    <a:pt x="167" y="280"/>
                  </a:lnTo>
                  <a:lnTo>
                    <a:pt x="165" y="278"/>
                  </a:lnTo>
                  <a:lnTo>
                    <a:pt x="167" y="278"/>
                  </a:lnTo>
                  <a:lnTo>
                    <a:pt x="167" y="277"/>
                  </a:lnTo>
                  <a:lnTo>
                    <a:pt x="169" y="275"/>
                  </a:lnTo>
                  <a:lnTo>
                    <a:pt x="169" y="273"/>
                  </a:lnTo>
                  <a:lnTo>
                    <a:pt x="170" y="273"/>
                  </a:lnTo>
                  <a:lnTo>
                    <a:pt x="170" y="272"/>
                  </a:lnTo>
                  <a:lnTo>
                    <a:pt x="170" y="273"/>
                  </a:lnTo>
                  <a:lnTo>
                    <a:pt x="170" y="272"/>
                  </a:lnTo>
                  <a:lnTo>
                    <a:pt x="170" y="273"/>
                  </a:lnTo>
                  <a:lnTo>
                    <a:pt x="172" y="272"/>
                  </a:lnTo>
                  <a:lnTo>
                    <a:pt x="172" y="270"/>
                  </a:lnTo>
                  <a:lnTo>
                    <a:pt x="174" y="270"/>
                  </a:lnTo>
                  <a:lnTo>
                    <a:pt x="175" y="269"/>
                  </a:lnTo>
                  <a:lnTo>
                    <a:pt x="174" y="269"/>
                  </a:lnTo>
                  <a:lnTo>
                    <a:pt x="175" y="269"/>
                  </a:lnTo>
                  <a:lnTo>
                    <a:pt x="174" y="267"/>
                  </a:lnTo>
                  <a:lnTo>
                    <a:pt x="175" y="267"/>
                  </a:lnTo>
                  <a:lnTo>
                    <a:pt x="177" y="267"/>
                  </a:lnTo>
                  <a:lnTo>
                    <a:pt x="177" y="265"/>
                  </a:lnTo>
                  <a:lnTo>
                    <a:pt x="175" y="265"/>
                  </a:lnTo>
                  <a:lnTo>
                    <a:pt x="175" y="264"/>
                  </a:lnTo>
                  <a:lnTo>
                    <a:pt x="177" y="264"/>
                  </a:lnTo>
                  <a:lnTo>
                    <a:pt x="177" y="262"/>
                  </a:lnTo>
                  <a:lnTo>
                    <a:pt x="175" y="262"/>
                  </a:lnTo>
                  <a:lnTo>
                    <a:pt x="175" y="260"/>
                  </a:lnTo>
                  <a:lnTo>
                    <a:pt x="174" y="260"/>
                  </a:lnTo>
                  <a:lnTo>
                    <a:pt x="174" y="259"/>
                  </a:lnTo>
                  <a:lnTo>
                    <a:pt x="174" y="257"/>
                  </a:lnTo>
                  <a:lnTo>
                    <a:pt x="172" y="257"/>
                  </a:lnTo>
                  <a:lnTo>
                    <a:pt x="172" y="256"/>
                  </a:lnTo>
                  <a:lnTo>
                    <a:pt x="172" y="254"/>
                  </a:lnTo>
                  <a:lnTo>
                    <a:pt x="172" y="252"/>
                  </a:lnTo>
                  <a:lnTo>
                    <a:pt x="170" y="252"/>
                  </a:lnTo>
                  <a:lnTo>
                    <a:pt x="170" y="251"/>
                  </a:lnTo>
                  <a:lnTo>
                    <a:pt x="169" y="251"/>
                  </a:lnTo>
                  <a:lnTo>
                    <a:pt x="167" y="251"/>
                  </a:lnTo>
                  <a:lnTo>
                    <a:pt x="167" y="252"/>
                  </a:lnTo>
                  <a:lnTo>
                    <a:pt x="167" y="251"/>
                  </a:lnTo>
                  <a:lnTo>
                    <a:pt x="165" y="251"/>
                  </a:lnTo>
                  <a:lnTo>
                    <a:pt x="165" y="249"/>
                  </a:lnTo>
                  <a:lnTo>
                    <a:pt x="164" y="249"/>
                  </a:lnTo>
                  <a:lnTo>
                    <a:pt x="164" y="251"/>
                  </a:lnTo>
                  <a:lnTo>
                    <a:pt x="162" y="249"/>
                  </a:lnTo>
                  <a:lnTo>
                    <a:pt x="164" y="247"/>
                  </a:lnTo>
                  <a:lnTo>
                    <a:pt x="162" y="247"/>
                  </a:lnTo>
                  <a:lnTo>
                    <a:pt x="161" y="246"/>
                  </a:lnTo>
                  <a:lnTo>
                    <a:pt x="161" y="244"/>
                  </a:lnTo>
                  <a:lnTo>
                    <a:pt x="159" y="244"/>
                  </a:lnTo>
                  <a:lnTo>
                    <a:pt x="157" y="243"/>
                  </a:lnTo>
                  <a:lnTo>
                    <a:pt x="157" y="244"/>
                  </a:lnTo>
                  <a:lnTo>
                    <a:pt x="156" y="243"/>
                  </a:lnTo>
                  <a:lnTo>
                    <a:pt x="154" y="241"/>
                  </a:lnTo>
                  <a:lnTo>
                    <a:pt x="154" y="243"/>
                  </a:lnTo>
                  <a:lnTo>
                    <a:pt x="154" y="244"/>
                  </a:lnTo>
                  <a:lnTo>
                    <a:pt x="152" y="244"/>
                  </a:lnTo>
                  <a:lnTo>
                    <a:pt x="152" y="243"/>
                  </a:lnTo>
                  <a:lnTo>
                    <a:pt x="151" y="243"/>
                  </a:lnTo>
                  <a:lnTo>
                    <a:pt x="151" y="239"/>
                  </a:lnTo>
                  <a:lnTo>
                    <a:pt x="149" y="239"/>
                  </a:lnTo>
                  <a:lnTo>
                    <a:pt x="148" y="238"/>
                  </a:lnTo>
                  <a:lnTo>
                    <a:pt x="148" y="236"/>
                  </a:lnTo>
                  <a:lnTo>
                    <a:pt x="146" y="234"/>
                  </a:lnTo>
                  <a:lnTo>
                    <a:pt x="146" y="233"/>
                  </a:lnTo>
                  <a:lnTo>
                    <a:pt x="146" y="231"/>
                  </a:lnTo>
                  <a:lnTo>
                    <a:pt x="143" y="233"/>
                  </a:lnTo>
                  <a:lnTo>
                    <a:pt x="138" y="236"/>
                  </a:lnTo>
                  <a:lnTo>
                    <a:pt x="136" y="236"/>
                  </a:lnTo>
                  <a:lnTo>
                    <a:pt x="135" y="236"/>
                  </a:lnTo>
                  <a:lnTo>
                    <a:pt x="133" y="236"/>
                  </a:lnTo>
                  <a:lnTo>
                    <a:pt x="130" y="236"/>
                  </a:lnTo>
                  <a:lnTo>
                    <a:pt x="126" y="236"/>
                  </a:lnTo>
                  <a:lnTo>
                    <a:pt x="123" y="236"/>
                  </a:lnTo>
                  <a:lnTo>
                    <a:pt x="122" y="236"/>
                  </a:lnTo>
                  <a:lnTo>
                    <a:pt x="120" y="236"/>
                  </a:lnTo>
                  <a:lnTo>
                    <a:pt x="118" y="238"/>
                  </a:lnTo>
                  <a:lnTo>
                    <a:pt x="115" y="238"/>
                  </a:lnTo>
                  <a:lnTo>
                    <a:pt x="113" y="239"/>
                  </a:lnTo>
                  <a:lnTo>
                    <a:pt x="112" y="239"/>
                  </a:lnTo>
                  <a:lnTo>
                    <a:pt x="110" y="241"/>
                  </a:lnTo>
                  <a:lnTo>
                    <a:pt x="109" y="241"/>
                  </a:lnTo>
                  <a:lnTo>
                    <a:pt x="109" y="243"/>
                  </a:lnTo>
                  <a:lnTo>
                    <a:pt x="109" y="244"/>
                  </a:lnTo>
                  <a:lnTo>
                    <a:pt x="107" y="244"/>
                  </a:lnTo>
                  <a:lnTo>
                    <a:pt x="105" y="244"/>
                  </a:lnTo>
                  <a:lnTo>
                    <a:pt x="104" y="244"/>
                  </a:lnTo>
                  <a:lnTo>
                    <a:pt x="102" y="244"/>
                  </a:lnTo>
                  <a:lnTo>
                    <a:pt x="102" y="243"/>
                  </a:lnTo>
                  <a:lnTo>
                    <a:pt x="100" y="241"/>
                  </a:lnTo>
                  <a:lnTo>
                    <a:pt x="100" y="239"/>
                  </a:lnTo>
                  <a:lnTo>
                    <a:pt x="102" y="238"/>
                  </a:lnTo>
                  <a:lnTo>
                    <a:pt x="100" y="238"/>
                  </a:lnTo>
                  <a:lnTo>
                    <a:pt x="100" y="236"/>
                  </a:lnTo>
                  <a:lnTo>
                    <a:pt x="99" y="236"/>
                  </a:lnTo>
                  <a:lnTo>
                    <a:pt x="97" y="236"/>
                  </a:lnTo>
                  <a:lnTo>
                    <a:pt x="97" y="238"/>
                  </a:lnTo>
                  <a:lnTo>
                    <a:pt x="96" y="238"/>
                  </a:lnTo>
                  <a:lnTo>
                    <a:pt x="96" y="239"/>
                  </a:lnTo>
                  <a:lnTo>
                    <a:pt x="94" y="239"/>
                  </a:lnTo>
                  <a:lnTo>
                    <a:pt x="91" y="239"/>
                  </a:lnTo>
                  <a:lnTo>
                    <a:pt x="87" y="238"/>
                  </a:lnTo>
                  <a:lnTo>
                    <a:pt x="86" y="238"/>
                  </a:lnTo>
                  <a:lnTo>
                    <a:pt x="83" y="234"/>
                  </a:lnTo>
                  <a:lnTo>
                    <a:pt x="81" y="234"/>
                  </a:lnTo>
                  <a:lnTo>
                    <a:pt x="79" y="234"/>
                  </a:lnTo>
                  <a:lnTo>
                    <a:pt x="78" y="234"/>
                  </a:lnTo>
                  <a:lnTo>
                    <a:pt x="76" y="234"/>
                  </a:lnTo>
                  <a:lnTo>
                    <a:pt x="74" y="234"/>
                  </a:lnTo>
                  <a:lnTo>
                    <a:pt x="73" y="233"/>
                  </a:lnTo>
                  <a:lnTo>
                    <a:pt x="73" y="231"/>
                  </a:lnTo>
                  <a:lnTo>
                    <a:pt x="71" y="230"/>
                  </a:lnTo>
                  <a:lnTo>
                    <a:pt x="70" y="230"/>
                  </a:lnTo>
                  <a:lnTo>
                    <a:pt x="68" y="228"/>
                  </a:lnTo>
                  <a:lnTo>
                    <a:pt x="66" y="228"/>
                  </a:lnTo>
                  <a:lnTo>
                    <a:pt x="65" y="228"/>
                  </a:lnTo>
                  <a:lnTo>
                    <a:pt x="63" y="228"/>
                  </a:lnTo>
                  <a:lnTo>
                    <a:pt x="60" y="226"/>
                  </a:lnTo>
                  <a:lnTo>
                    <a:pt x="58" y="226"/>
                  </a:lnTo>
                  <a:lnTo>
                    <a:pt x="58" y="228"/>
                  </a:lnTo>
                  <a:lnTo>
                    <a:pt x="56" y="228"/>
                  </a:lnTo>
                  <a:lnTo>
                    <a:pt x="56" y="230"/>
                  </a:lnTo>
                  <a:lnTo>
                    <a:pt x="55" y="230"/>
                  </a:lnTo>
                  <a:lnTo>
                    <a:pt x="53" y="228"/>
                  </a:lnTo>
                  <a:lnTo>
                    <a:pt x="53" y="226"/>
                  </a:lnTo>
                  <a:lnTo>
                    <a:pt x="50" y="225"/>
                  </a:lnTo>
                  <a:lnTo>
                    <a:pt x="50" y="223"/>
                  </a:lnTo>
                  <a:lnTo>
                    <a:pt x="48" y="223"/>
                  </a:lnTo>
                  <a:lnTo>
                    <a:pt x="48" y="221"/>
                  </a:lnTo>
                  <a:lnTo>
                    <a:pt x="47" y="220"/>
                  </a:lnTo>
                  <a:lnTo>
                    <a:pt x="45" y="218"/>
                  </a:lnTo>
                  <a:lnTo>
                    <a:pt x="45" y="217"/>
                  </a:lnTo>
                  <a:lnTo>
                    <a:pt x="43" y="217"/>
                  </a:lnTo>
                  <a:lnTo>
                    <a:pt x="45" y="217"/>
                  </a:lnTo>
                  <a:lnTo>
                    <a:pt x="43" y="217"/>
                  </a:lnTo>
                  <a:lnTo>
                    <a:pt x="43" y="215"/>
                  </a:lnTo>
                  <a:lnTo>
                    <a:pt x="42" y="215"/>
                  </a:lnTo>
                  <a:lnTo>
                    <a:pt x="42" y="213"/>
                  </a:lnTo>
                  <a:lnTo>
                    <a:pt x="42" y="212"/>
                  </a:lnTo>
                  <a:lnTo>
                    <a:pt x="42" y="210"/>
                  </a:lnTo>
                  <a:lnTo>
                    <a:pt x="40" y="208"/>
                  </a:lnTo>
                  <a:lnTo>
                    <a:pt x="39" y="208"/>
                  </a:lnTo>
                  <a:lnTo>
                    <a:pt x="37" y="208"/>
                  </a:lnTo>
                  <a:lnTo>
                    <a:pt x="35" y="208"/>
                  </a:lnTo>
                  <a:lnTo>
                    <a:pt x="37" y="208"/>
                  </a:lnTo>
                  <a:lnTo>
                    <a:pt x="39" y="207"/>
                  </a:lnTo>
                  <a:lnTo>
                    <a:pt x="39" y="205"/>
                  </a:lnTo>
                  <a:lnTo>
                    <a:pt x="37" y="204"/>
                  </a:lnTo>
                  <a:lnTo>
                    <a:pt x="35" y="204"/>
                  </a:lnTo>
                  <a:lnTo>
                    <a:pt x="35" y="205"/>
                  </a:lnTo>
                  <a:lnTo>
                    <a:pt x="35" y="207"/>
                  </a:lnTo>
                  <a:lnTo>
                    <a:pt x="35" y="208"/>
                  </a:lnTo>
                  <a:lnTo>
                    <a:pt x="34" y="210"/>
                  </a:lnTo>
                  <a:lnTo>
                    <a:pt x="32" y="210"/>
                  </a:lnTo>
                  <a:lnTo>
                    <a:pt x="30" y="212"/>
                  </a:lnTo>
                  <a:lnTo>
                    <a:pt x="30" y="210"/>
                  </a:lnTo>
                  <a:lnTo>
                    <a:pt x="30" y="208"/>
                  </a:lnTo>
                  <a:lnTo>
                    <a:pt x="30" y="210"/>
                  </a:lnTo>
                  <a:lnTo>
                    <a:pt x="30" y="208"/>
                  </a:lnTo>
                  <a:lnTo>
                    <a:pt x="32" y="208"/>
                  </a:lnTo>
                  <a:lnTo>
                    <a:pt x="32" y="207"/>
                  </a:lnTo>
                  <a:lnTo>
                    <a:pt x="30" y="207"/>
                  </a:lnTo>
                  <a:lnTo>
                    <a:pt x="29" y="208"/>
                  </a:lnTo>
                  <a:lnTo>
                    <a:pt x="30" y="210"/>
                  </a:lnTo>
                  <a:lnTo>
                    <a:pt x="29" y="210"/>
                  </a:lnTo>
                  <a:lnTo>
                    <a:pt x="26" y="212"/>
                  </a:lnTo>
                  <a:lnTo>
                    <a:pt x="27" y="210"/>
                  </a:lnTo>
                  <a:lnTo>
                    <a:pt x="27" y="208"/>
                  </a:lnTo>
                  <a:lnTo>
                    <a:pt x="27" y="207"/>
                  </a:lnTo>
                  <a:lnTo>
                    <a:pt x="27" y="205"/>
                  </a:lnTo>
                  <a:lnTo>
                    <a:pt x="27" y="204"/>
                  </a:lnTo>
                  <a:lnTo>
                    <a:pt x="29" y="204"/>
                  </a:lnTo>
                  <a:lnTo>
                    <a:pt x="29" y="202"/>
                  </a:lnTo>
                  <a:lnTo>
                    <a:pt x="29" y="200"/>
                  </a:lnTo>
                  <a:lnTo>
                    <a:pt x="29" y="199"/>
                  </a:lnTo>
                  <a:lnTo>
                    <a:pt x="29" y="197"/>
                  </a:lnTo>
                  <a:lnTo>
                    <a:pt x="29" y="195"/>
                  </a:lnTo>
                  <a:lnTo>
                    <a:pt x="29" y="192"/>
                  </a:lnTo>
                  <a:lnTo>
                    <a:pt x="27" y="191"/>
                  </a:lnTo>
                  <a:lnTo>
                    <a:pt x="22" y="186"/>
                  </a:lnTo>
                  <a:lnTo>
                    <a:pt x="22" y="184"/>
                  </a:lnTo>
                  <a:lnTo>
                    <a:pt x="22" y="182"/>
                  </a:lnTo>
                  <a:lnTo>
                    <a:pt x="22" y="181"/>
                  </a:lnTo>
                  <a:lnTo>
                    <a:pt x="21" y="179"/>
                  </a:lnTo>
                  <a:lnTo>
                    <a:pt x="21" y="178"/>
                  </a:lnTo>
                  <a:lnTo>
                    <a:pt x="19" y="176"/>
                  </a:lnTo>
                  <a:lnTo>
                    <a:pt x="17" y="174"/>
                  </a:lnTo>
                  <a:lnTo>
                    <a:pt x="17" y="173"/>
                  </a:lnTo>
                  <a:lnTo>
                    <a:pt x="16" y="171"/>
                  </a:lnTo>
                  <a:lnTo>
                    <a:pt x="16" y="169"/>
                  </a:lnTo>
                  <a:lnTo>
                    <a:pt x="16" y="168"/>
                  </a:lnTo>
                  <a:lnTo>
                    <a:pt x="14" y="166"/>
                  </a:lnTo>
                  <a:lnTo>
                    <a:pt x="16" y="166"/>
                  </a:lnTo>
                  <a:lnTo>
                    <a:pt x="16" y="168"/>
                  </a:lnTo>
                  <a:lnTo>
                    <a:pt x="17" y="168"/>
                  </a:lnTo>
                  <a:lnTo>
                    <a:pt x="16" y="168"/>
                  </a:lnTo>
                  <a:lnTo>
                    <a:pt x="16" y="166"/>
                  </a:lnTo>
                  <a:lnTo>
                    <a:pt x="14" y="165"/>
                  </a:lnTo>
                  <a:lnTo>
                    <a:pt x="14" y="163"/>
                  </a:lnTo>
                  <a:lnTo>
                    <a:pt x="13" y="161"/>
                  </a:lnTo>
                  <a:lnTo>
                    <a:pt x="13" y="160"/>
                  </a:lnTo>
                  <a:lnTo>
                    <a:pt x="11" y="158"/>
                  </a:lnTo>
                  <a:lnTo>
                    <a:pt x="9" y="158"/>
                  </a:lnTo>
                  <a:lnTo>
                    <a:pt x="9" y="156"/>
                  </a:lnTo>
                  <a:lnTo>
                    <a:pt x="8" y="155"/>
                  </a:lnTo>
                  <a:lnTo>
                    <a:pt x="8" y="153"/>
                  </a:lnTo>
                  <a:lnTo>
                    <a:pt x="6" y="148"/>
                  </a:lnTo>
                  <a:lnTo>
                    <a:pt x="6" y="147"/>
                  </a:lnTo>
                  <a:lnTo>
                    <a:pt x="4" y="142"/>
                  </a:lnTo>
                  <a:lnTo>
                    <a:pt x="4" y="140"/>
                  </a:lnTo>
                  <a:lnTo>
                    <a:pt x="3" y="138"/>
                  </a:lnTo>
                  <a:lnTo>
                    <a:pt x="3" y="137"/>
                  </a:lnTo>
                  <a:lnTo>
                    <a:pt x="3" y="135"/>
                  </a:lnTo>
                  <a:lnTo>
                    <a:pt x="3" y="134"/>
                  </a:lnTo>
                  <a:lnTo>
                    <a:pt x="1" y="130"/>
                  </a:lnTo>
                  <a:lnTo>
                    <a:pt x="3" y="130"/>
                  </a:lnTo>
                  <a:lnTo>
                    <a:pt x="1" y="130"/>
                  </a:lnTo>
                  <a:lnTo>
                    <a:pt x="3" y="130"/>
                  </a:lnTo>
                  <a:lnTo>
                    <a:pt x="3" y="125"/>
                  </a:lnTo>
                  <a:lnTo>
                    <a:pt x="1" y="119"/>
                  </a:lnTo>
                  <a:lnTo>
                    <a:pt x="1" y="112"/>
                  </a:lnTo>
                  <a:lnTo>
                    <a:pt x="0" y="111"/>
                  </a:lnTo>
                  <a:lnTo>
                    <a:pt x="0" y="109"/>
                  </a:lnTo>
                  <a:lnTo>
                    <a:pt x="4" y="108"/>
                  </a:lnTo>
                  <a:lnTo>
                    <a:pt x="6" y="106"/>
                  </a:lnTo>
                  <a:lnTo>
                    <a:pt x="8" y="106"/>
                  </a:lnTo>
                  <a:lnTo>
                    <a:pt x="9" y="108"/>
                  </a:lnTo>
                  <a:lnTo>
                    <a:pt x="11" y="106"/>
                  </a:lnTo>
                  <a:lnTo>
                    <a:pt x="9" y="106"/>
                  </a:lnTo>
                  <a:lnTo>
                    <a:pt x="11" y="106"/>
                  </a:lnTo>
                  <a:lnTo>
                    <a:pt x="11" y="104"/>
                  </a:lnTo>
                  <a:lnTo>
                    <a:pt x="11" y="103"/>
                  </a:lnTo>
                  <a:lnTo>
                    <a:pt x="11" y="101"/>
                  </a:lnTo>
                  <a:lnTo>
                    <a:pt x="13" y="101"/>
                  </a:lnTo>
                  <a:lnTo>
                    <a:pt x="13" y="99"/>
                  </a:lnTo>
                  <a:lnTo>
                    <a:pt x="11" y="99"/>
                  </a:lnTo>
                  <a:lnTo>
                    <a:pt x="13" y="99"/>
                  </a:lnTo>
                  <a:lnTo>
                    <a:pt x="11" y="98"/>
                  </a:lnTo>
                  <a:lnTo>
                    <a:pt x="11" y="96"/>
                  </a:lnTo>
                  <a:lnTo>
                    <a:pt x="11" y="95"/>
                  </a:lnTo>
                  <a:lnTo>
                    <a:pt x="11" y="93"/>
                  </a:lnTo>
                  <a:lnTo>
                    <a:pt x="13" y="93"/>
                  </a:lnTo>
                  <a:lnTo>
                    <a:pt x="14" y="93"/>
                  </a:lnTo>
                  <a:lnTo>
                    <a:pt x="14" y="91"/>
                  </a:lnTo>
                  <a:lnTo>
                    <a:pt x="14" y="90"/>
                  </a:lnTo>
                  <a:lnTo>
                    <a:pt x="16" y="90"/>
                  </a:lnTo>
                  <a:lnTo>
                    <a:pt x="16" y="88"/>
                  </a:lnTo>
                  <a:lnTo>
                    <a:pt x="17" y="85"/>
                  </a:lnTo>
                  <a:lnTo>
                    <a:pt x="19" y="85"/>
                  </a:lnTo>
                  <a:lnTo>
                    <a:pt x="21" y="83"/>
                  </a:lnTo>
                  <a:lnTo>
                    <a:pt x="22" y="82"/>
                  </a:lnTo>
                  <a:lnTo>
                    <a:pt x="24" y="80"/>
                  </a:lnTo>
                  <a:lnTo>
                    <a:pt x="26" y="80"/>
                  </a:lnTo>
                  <a:lnTo>
                    <a:pt x="27" y="78"/>
                  </a:lnTo>
                  <a:lnTo>
                    <a:pt x="27" y="77"/>
                  </a:lnTo>
                  <a:lnTo>
                    <a:pt x="27" y="75"/>
                  </a:lnTo>
                  <a:lnTo>
                    <a:pt x="30" y="72"/>
                  </a:lnTo>
                  <a:lnTo>
                    <a:pt x="32" y="72"/>
                  </a:lnTo>
                  <a:lnTo>
                    <a:pt x="34" y="70"/>
                  </a:lnTo>
                  <a:lnTo>
                    <a:pt x="34" y="69"/>
                  </a:lnTo>
                  <a:lnTo>
                    <a:pt x="35" y="67"/>
                  </a:lnTo>
                  <a:lnTo>
                    <a:pt x="37" y="67"/>
                  </a:lnTo>
                  <a:lnTo>
                    <a:pt x="42" y="67"/>
                  </a:lnTo>
                  <a:lnTo>
                    <a:pt x="43" y="67"/>
                  </a:lnTo>
                  <a:lnTo>
                    <a:pt x="45" y="67"/>
                  </a:lnTo>
                  <a:lnTo>
                    <a:pt x="47" y="64"/>
                  </a:lnTo>
                  <a:lnTo>
                    <a:pt x="50" y="62"/>
                  </a:lnTo>
                  <a:lnTo>
                    <a:pt x="52" y="59"/>
                  </a:lnTo>
                  <a:lnTo>
                    <a:pt x="53" y="57"/>
                  </a:lnTo>
                  <a:lnTo>
                    <a:pt x="55" y="57"/>
                  </a:lnTo>
                  <a:lnTo>
                    <a:pt x="56" y="57"/>
                  </a:lnTo>
                  <a:lnTo>
                    <a:pt x="58" y="57"/>
                  </a:lnTo>
                  <a:lnTo>
                    <a:pt x="60" y="56"/>
                  </a:lnTo>
                  <a:lnTo>
                    <a:pt x="61" y="56"/>
                  </a:lnTo>
                  <a:lnTo>
                    <a:pt x="61" y="54"/>
                  </a:lnTo>
                  <a:lnTo>
                    <a:pt x="63" y="54"/>
                  </a:lnTo>
                  <a:lnTo>
                    <a:pt x="65" y="54"/>
                  </a:lnTo>
                  <a:lnTo>
                    <a:pt x="63" y="52"/>
                  </a:lnTo>
                  <a:lnTo>
                    <a:pt x="65" y="52"/>
                  </a:lnTo>
                  <a:lnTo>
                    <a:pt x="65" y="51"/>
                  </a:lnTo>
                  <a:lnTo>
                    <a:pt x="65" y="49"/>
                  </a:lnTo>
                  <a:lnTo>
                    <a:pt x="66" y="49"/>
                  </a:lnTo>
                  <a:lnTo>
                    <a:pt x="66" y="47"/>
                  </a:lnTo>
                  <a:lnTo>
                    <a:pt x="68" y="47"/>
                  </a:lnTo>
                  <a:lnTo>
                    <a:pt x="70" y="47"/>
                  </a:lnTo>
                  <a:lnTo>
                    <a:pt x="71" y="46"/>
                  </a:lnTo>
                  <a:lnTo>
                    <a:pt x="73" y="46"/>
                  </a:lnTo>
                  <a:lnTo>
                    <a:pt x="74" y="44"/>
                  </a:lnTo>
                  <a:lnTo>
                    <a:pt x="76" y="44"/>
                  </a:lnTo>
                  <a:lnTo>
                    <a:pt x="76" y="46"/>
                  </a:lnTo>
                  <a:lnTo>
                    <a:pt x="78" y="46"/>
                  </a:lnTo>
                  <a:lnTo>
                    <a:pt x="81" y="44"/>
                  </a:lnTo>
                  <a:lnTo>
                    <a:pt x="83" y="46"/>
                  </a:lnTo>
                  <a:lnTo>
                    <a:pt x="84" y="46"/>
                  </a:lnTo>
                  <a:lnTo>
                    <a:pt x="84" y="47"/>
                  </a:lnTo>
                  <a:lnTo>
                    <a:pt x="86" y="46"/>
                  </a:lnTo>
                  <a:lnTo>
                    <a:pt x="86" y="47"/>
                  </a:lnTo>
                  <a:lnTo>
                    <a:pt x="87" y="46"/>
                  </a:lnTo>
                  <a:lnTo>
                    <a:pt x="89" y="46"/>
                  </a:lnTo>
                  <a:lnTo>
                    <a:pt x="91" y="46"/>
                  </a:lnTo>
                  <a:lnTo>
                    <a:pt x="92" y="46"/>
                  </a:lnTo>
                  <a:lnTo>
                    <a:pt x="92" y="47"/>
                  </a:lnTo>
                  <a:lnTo>
                    <a:pt x="94" y="47"/>
                  </a:lnTo>
                  <a:lnTo>
                    <a:pt x="94" y="46"/>
                  </a:lnTo>
                  <a:lnTo>
                    <a:pt x="96" y="46"/>
                  </a:lnTo>
                  <a:lnTo>
                    <a:pt x="97" y="44"/>
                  </a:lnTo>
                  <a:lnTo>
                    <a:pt x="99" y="44"/>
                  </a:lnTo>
                  <a:lnTo>
                    <a:pt x="100" y="44"/>
                  </a:lnTo>
                  <a:lnTo>
                    <a:pt x="102" y="44"/>
                  </a:lnTo>
                  <a:lnTo>
                    <a:pt x="104" y="44"/>
                  </a:lnTo>
                  <a:lnTo>
                    <a:pt x="105" y="44"/>
                  </a:lnTo>
                  <a:lnTo>
                    <a:pt x="107" y="44"/>
                  </a:lnTo>
                  <a:lnTo>
                    <a:pt x="109" y="44"/>
                  </a:lnTo>
                  <a:lnTo>
                    <a:pt x="110" y="44"/>
                  </a:lnTo>
                  <a:lnTo>
                    <a:pt x="112" y="44"/>
                  </a:lnTo>
                  <a:lnTo>
                    <a:pt x="113" y="46"/>
                  </a:lnTo>
                  <a:lnTo>
                    <a:pt x="113" y="44"/>
                  </a:lnTo>
                  <a:lnTo>
                    <a:pt x="113" y="46"/>
                  </a:lnTo>
                  <a:lnTo>
                    <a:pt x="115" y="46"/>
                  </a:lnTo>
                  <a:lnTo>
                    <a:pt x="117" y="47"/>
                  </a:lnTo>
                  <a:lnTo>
                    <a:pt x="118" y="47"/>
                  </a:lnTo>
                  <a:lnTo>
                    <a:pt x="120" y="47"/>
                  </a:lnTo>
                  <a:lnTo>
                    <a:pt x="120" y="49"/>
                  </a:lnTo>
                  <a:lnTo>
                    <a:pt x="122" y="47"/>
                  </a:lnTo>
                  <a:lnTo>
                    <a:pt x="122" y="46"/>
                  </a:lnTo>
                  <a:lnTo>
                    <a:pt x="123" y="46"/>
                  </a:lnTo>
                  <a:lnTo>
                    <a:pt x="123" y="44"/>
                  </a:lnTo>
                  <a:lnTo>
                    <a:pt x="125" y="44"/>
                  </a:lnTo>
                  <a:lnTo>
                    <a:pt x="126" y="44"/>
                  </a:lnTo>
                  <a:lnTo>
                    <a:pt x="128" y="44"/>
                  </a:lnTo>
                  <a:lnTo>
                    <a:pt x="130" y="44"/>
                  </a:lnTo>
                  <a:lnTo>
                    <a:pt x="136" y="43"/>
                  </a:lnTo>
                  <a:lnTo>
                    <a:pt x="138" y="41"/>
                  </a:lnTo>
                  <a:lnTo>
                    <a:pt x="138" y="39"/>
                  </a:lnTo>
                  <a:lnTo>
                    <a:pt x="138" y="38"/>
                  </a:lnTo>
                  <a:lnTo>
                    <a:pt x="138" y="36"/>
                  </a:lnTo>
                  <a:lnTo>
                    <a:pt x="141" y="34"/>
                  </a:lnTo>
                  <a:lnTo>
                    <a:pt x="141" y="36"/>
                  </a:lnTo>
                  <a:lnTo>
                    <a:pt x="143" y="36"/>
                  </a:lnTo>
                  <a:lnTo>
                    <a:pt x="144" y="36"/>
                  </a:lnTo>
                  <a:lnTo>
                    <a:pt x="144" y="39"/>
                  </a:lnTo>
                  <a:lnTo>
                    <a:pt x="146" y="41"/>
                  </a:lnTo>
                  <a:lnTo>
                    <a:pt x="144" y="41"/>
                  </a:lnTo>
                  <a:lnTo>
                    <a:pt x="146" y="43"/>
                  </a:lnTo>
                  <a:lnTo>
                    <a:pt x="146" y="46"/>
                  </a:lnTo>
                  <a:lnTo>
                    <a:pt x="148" y="46"/>
                  </a:lnTo>
                  <a:lnTo>
                    <a:pt x="149" y="47"/>
                  </a:lnTo>
                  <a:lnTo>
                    <a:pt x="151" y="46"/>
                  </a:lnTo>
                  <a:lnTo>
                    <a:pt x="152" y="47"/>
                  </a:lnTo>
                  <a:lnTo>
                    <a:pt x="152" y="49"/>
                  </a:lnTo>
                  <a:lnTo>
                    <a:pt x="154" y="49"/>
                  </a:lnTo>
                  <a:lnTo>
                    <a:pt x="157" y="46"/>
                  </a:lnTo>
                  <a:lnTo>
                    <a:pt x="159" y="43"/>
                  </a:lnTo>
                  <a:lnTo>
                    <a:pt x="157" y="39"/>
                  </a:lnTo>
                  <a:lnTo>
                    <a:pt x="159" y="39"/>
                  </a:lnTo>
                  <a:lnTo>
                    <a:pt x="165" y="38"/>
                  </a:lnTo>
                  <a:lnTo>
                    <a:pt x="167" y="34"/>
                  </a:lnTo>
                  <a:lnTo>
                    <a:pt x="175" y="34"/>
                  </a:lnTo>
                  <a:lnTo>
                    <a:pt x="177" y="36"/>
                  </a:lnTo>
                  <a:lnTo>
                    <a:pt x="178" y="38"/>
                  </a:lnTo>
                  <a:lnTo>
                    <a:pt x="183" y="38"/>
                  </a:lnTo>
                  <a:lnTo>
                    <a:pt x="185" y="38"/>
                  </a:lnTo>
                  <a:lnTo>
                    <a:pt x="188" y="38"/>
                  </a:lnTo>
                  <a:lnTo>
                    <a:pt x="190" y="38"/>
                  </a:lnTo>
                  <a:lnTo>
                    <a:pt x="191" y="36"/>
                  </a:lnTo>
                  <a:lnTo>
                    <a:pt x="193" y="34"/>
                  </a:lnTo>
                  <a:lnTo>
                    <a:pt x="195" y="33"/>
                  </a:lnTo>
                  <a:lnTo>
                    <a:pt x="196" y="33"/>
                  </a:lnTo>
                  <a:lnTo>
                    <a:pt x="200" y="31"/>
                  </a:lnTo>
                  <a:lnTo>
                    <a:pt x="201" y="31"/>
                  </a:lnTo>
                  <a:lnTo>
                    <a:pt x="203" y="31"/>
                  </a:lnTo>
                  <a:lnTo>
                    <a:pt x="204" y="30"/>
                  </a:lnTo>
                  <a:lnTo>
                    <a:pt x="206" y="30"/>
                  </a:lnTo>
                  <a:lnTo>
                    <a:pt x="206" y="31"/>
                  </a:lnTo>
                  <a:lnTo>
                    <a:pt x="204" y="33"/>
                  </a:lnTo>
                  <a:lnTo>
                    <a:pt x="204" y="34"/>
                  </a:lnTo>
                  <a:lnTo>
                    <a:pt x="206" y="36"/>
                  </a:lnTo>
                  <a:lnTo>
                    <a:pt x="208" y="34"/>
                  </a:lnTo>
                  <a:lnTo>
                    <a:pt x="208" y="33"/>
                  </a:lnTo>
                  <a:lnTo>
                    <a:pt x="209" y="33"/>
                  </a:lnTo>
                  <a:lnTo>
                    <a:pt x="211" y="33"/>
                  </a:lnTo>
                  <a:lnTo>
                    <a:pt x="213" y="33"/>
                  </a:lnTo>
                  <a:lnTo>
                    <a:pt x="216" y="33"/>
                  </a:lnTo>
                  <a:lnTo>
                    <a:pt x="218" y="33"/>
                  </a:lnTo>
                  <a:lnTo>
                    <a:pt x="226" y="31"/>
                  </a:lnTo>
                  <a:lnTo>
                    <a:pt x="226" y="34"/>
                  </a:lnTo>
                  <a:lnTo>
                    <a:pt x="229" y="36"/>
                  </a:lnTo>
                  <a:lnTo>
                    <a:pt x="229" y="38"/>
                  </a:lnTo>
                  <a:lnTo>
                    <a:pt x="231" y="38"/>
                  </a:lnTo>
                  <a:lnTo>
                    <a:pt x="232" y="38"/>
                  </a:lnTo>
                  <a:lnTo>
                    <a:pt x="234" y="39"/>
                  </a:lnTo>
                  <a:lnTo>
                    <a:pt x="235" y="39"/>
                  </a:lnTo>
                  <a:lnTo>
                    <a:pt x="235" y="41"/>
                  </a:lnTo>
                  <a:lnTo>
                    <a:pt x="239" y="41"/>
                  </a:lnTo>
                  <a:lnTo>
                    <a:pt x="240" y="41"/>
                  </a:lnTo>
                  <a:lnTo>
                    <a:pt x="242" y="38"/>
                  </a:lnTo>
                  <a:lnTo>
                    <a:pt x="244" y="36"/>
                  </a:lnTo>
                  <a:lnTo>
                    <a:pt x="245" y="36"/>
                  </a:lnTo>
                  <a:lnTo>
                    <a:pt x="245" y="34"/>
                  </a:lnTo>
                  <a:lnTo>
                    <a:pt x="247" y="34"/>
                  </a:lnTo>
                  <a:lnTo>
                    <a:pt x="247" y="33"/>
                  </a:lnTo>
                  <a:lnTo>
                    <a:pt x="247" y="31"/>
                  </a:lnTo>
                  <a:lnTo>
                    <a:pt x="248" y="31"/>
                  </a:lnTo>
                  <a:lnTo>
                    <a:pt x="250" y="31"/>
                  </a:lnTo>
                  <a:lnTo>
                    <a:pt x="252" y="31"/>
                  </a:lnTo>
                  <a:lnTo>
                    <a:pt x="252" y="33"/>
                  </a:lnTo>
                  <a:lnTo>
                    <a:pt x="253" y="33"/>
                  </a:lnTo>
                  <a:lnTo>
                    <a:pt x="253" y="34"/>
                  </a:lnTo>
                  <a:lnTo>
                    <a:pt x="255" y="34"/>
                  </a:lnTo>
                  <a:lnTo>
                    <a:pt x="257" y="33"/>
                  </a:lnTo>
                  <a:lnTo>
                    <a:pt x="258" y="34"/>
                  </a:lnTo>
                  <a:lnTo>
                    <a:pt x="261" y="34"/>
                  </a:lnTo>
                  <a:lnTo>
                    <a:pt x="261" y="33"/>
                  </a:lnTo>
                  <a:lnTo>
                    <a:pt x="263" y="33"/>
                  </a:lnTo>
                  <a:lnTo>
                    <a:pt x="266" y="31"/>
                  </a:lnTo>
                  <a:lnTo>
                    <a:pt x="268" y="30"/>
                  </a:lnTo>
                  <a:lnTo>
                    <a:pt x="270" y="28"/>
                  </a:lnTo>
                  <a:lnTo>
                    <a:pt x="270" y="26"/>
                  </a:lnTo>
                  <a:lnTo>
                    <a:pt x="270" y="25"/>
                  </a:lnTo>
                  <a:lnTo>
                    <a:pt x="270" y="23"/>
                  </a:lnTo>
                  <a:lnTo>
                    <a:pt x="270" y="21"/>
                  </a:lnTo>
                  <a:lnTo>
                    <a:pt x="271" y="21"/>
                  </a:lnTo>
                  <a:lnTo>
                    <a:pt x="271" y="20"/>
                  </a:lnTo>
                  <a:lnTo>
                    <a:pt x="271" y="18"/>
                  </a:lnTo>
                  <a:lnTo>
                    <a:pt x="271" y="17"/>
                  </a:lnTo>
                  <a:lnTo>
                    <a:pt x="271" y="15"/>
                  </a:lnTo>
                  <a:lnTo>
                    <a:pt x="273" y="15"/>
                  </a:lnTo>
                  <a:lnTo>
                    <a:pt x="274" y="15"/>
                  </a:lnTo>
                  <a:lnTo>
                    <a:pt x="276" y="15"/>
                  </a:lnTo>
                  <a:lnTo>
                    <a:pt x="276" y="13"/>
                  </a:lnTo>
                  <a:lnTo>
                    <a:pt x="278" y="13"/>
                  </a:lnTo>
                  <a:lnTo>
                    <a:pt x="276" y="12"/>
                  </a:lnTo>
                  <a:lnTo>
                    <a:pt x="276" y="10"/>
                  </a:lnTo>
                  <a:lnTo>
                    <a:pt x="278" y="10"/>
                  </a:lnTo>
                  <a:lnTo>
                    <a:pt x="279" y="10"/>
                  </a:lnTo>
                  <a:lnTo>
                    <a:pt x="281" y="10"/>
                  </a:lnTo>
                  <a:lnTo>
                    <a:pt x="283" y="10"/>
                  </a:lnTo>
                  <a:lnTo>
                    <a:pt x="283" y="8"/>
                  </a:lnTo>
                  <a:lnTo>
                    <a:pt x="284" y="8"/>
                  </a:lnTo>
                  <a:lnTo>
                    <a:pt x="284" y="7"/>
                  </a:lnTo>
                  <a:lnTo>
                    <a:pt x="286" y="7"/>
                  </a:lnTo>
                  <a:lnTo>
                    <a:pt x="287" y="7"/>
                  </a:lnTo>
                  <a:lnTo>
                    <a:pt x="289" y="7"/>
                  </a:lnTo>
                  <a:lnTo>
                    <a:pt x="287" y="5"/>
                  </a:lnTo>
                  <a:lnTo>
                    <a:pt x="287" y="3"/>
                  </a:lnTo>
                  <a:lnTo>
                    <a:pt x="287" y="2"/>
                  </a:lnTo>
                  <a:lnTo>
                    <a:pt x="289" y="0"/>
                  </a:lnTo>
                  <a:close/>
                  <a:moveTo>
                    <a:pt x="16" y="199"/>
                  </a:moveTo>
                  <a:lnTo>
                    <a:pt x="17" y="200"/>
                  </a:lnTo>
                  <a:lnTo>
                    <a:pt x="17" y="202"/>
                  </a:lnTo>
                  <a:lnTo>
                    <a:pt x="16" y="204"/>
                  </a:lnTo>
                  <a:lnTo>
                    <a:pt x="17" y="204"/>
                  </a:lnTo>
                  <a:lnTo>
                    <a:pt x="16" y="205"/>
                  </a:lnTo>
                  <a:lnTo>
                    <a:pt x="16" y="207"/>
                  </a:lnTo>
                  <a:lnTo>
                    <a:pt x="16" y="208"/>
                  </a:lnTo>
                  <a:lnTo>
                    <a:pt x="14" y="210"/>
                  </a:lnTo>
                  <a:lnTo>
                    <a:pt x="14" y="212"/>
                  </a:lnTo>
                  <a:lnTo>
                    <a:pt x="16" y="212"/>
                  </a:lnTo>
                  <a:lnTo>
                    <a:pt x="16" y="213"/>
                  </a:lnTo>
                  <a:lnTo>
                    <a:pt x="16" y="215"/>
                  </a:lnTo>
                  <a:lnTo>
                    <a:pt x="14" y="215"/>
                  </a:lnTo>
                  <a:lnTo>
                    <a:pt x="13" y="217"/>
                  </a:lnTo>
                  <a:lnTo>
                    <a:pt x="13" y="218"/>
                  </a:lnTo>
                  <a:lnTo>
                    <a:pt x="13" y="220"/>
                  </a:lnTo>
                  <a:lnTo>
                    <a:pt x="11" y="220"/>
                  </a:lnTo>
                  <a:lnTo>
                    <a:pt x="13" y="220"/>
                  </a:lnTo>
                  <a:lnTo>
                    <a:pt x="13" y="221"/>
                  </a:lnTo>
                  <a:lnTo>
                    <a:pt x="11" y="221"/>
                  </a:lnTo>
                  <a:lnTo>
                    <a:pt x="11" y="223"/>
                  </a:lnTo>
                  <a:lnTo>
                    <a:pt x="8" y="223"/>
                  </a:lnTo>
                  <a:lnTo>
                    <a:pt x="9" y="221"/>
                  </a:lnTo>
                  <a:lnTo>
                    <a:pt x="11" y="215"/>
                  </a:lnTo>
                  <a:lnTo>
                    <a:pt x="13" y="208"/>
                  </a:lnTo>
                  <a:lnTo>
                    <a:pt x="13" y="205"/>
                  </a:lnTo>
                  <a:lnTo>
                    <a:pt x="13" y="204"/>
                  </a:lnTo>
                  <a:lnTo>
                    <a:pt x="14" y="202"/>
                  </a:lnTo>
                  <a:lnTo>
                    <a:pt x="14" y="192"/>
                  </a:lnTo>
                  <a:lnTo>
                    <a:pt x="14" y="187"/>
                  </a:lnTo>
                  <a:lnTo>
                    <a:pt x="14" y="186"/>
                  </a:lnTo>
                  <a:lnTo>
                    <a:pt x="14" y="184"/>
                  </a:lnTo>
                  <a:lnTo>
                    <a:pt x="14" y="178"/>
                  </a:lnTo>
                  <a:lnTo>
                    <a:pt x="13" y="173"/>
                  </a:lnTo>
                  <a:lnTo>
                    <a:pt x="13" y="171"/>
                  </a:lnTo>
                  <a:lnTo>
                    <a:pt x="11" y="166"/>
                  </a:lnTo>
                  <a:lnTo>
                    <a:pt x="9" y="160"/>
                  </a:lnTo>
                  <a:lnTo>
                    <a:pt x="9" y="158"/>
                  </a:lnTo>
                  <a:lnTo>
                    <a:pt x="11" y="160"/>
                  </a:lnTo>
                  <a:lnTo>
                    <a:pt x="13" y="163"/>
                  </a:lnTo>
                  <a:lnTo>
                    <a:pt x="14" y="165"/>
                  </a:lnTo>
                  <a:lnTo>
                    <a:pt x="14" y="168"/>
                  </a:lnTo>
                  <a:lnTo>
                    <a:pt x="14" y="169"/>
                  </a:lnTo>
                  <a:lnTo>
                    <a:pt x="16" y="173"/>
                  </a:lnTo>
                  <a:lnTo>
                    <a:pt x="16" y="174"/>
                  </a:lnTo>
                  <a:lnTo>
                    <a:pt x="16" y="176"/>
                  </a:lnTo>
                  <a:lnTo>
                    <a:pt x="16" y="178"/>
                  </a:lnTo>
                  <a:lnTo>
                    <a:pt x="16" y="179"/>
                  </a:lnTo>
                  <a:lnTo>
                    <a:pt x="16" y="181"/>
                  </a:lnTo>
                  <a:lnTo>
                    <a:pt x="16" y="182"/>
                  </a:lnTo>
                  <a:lnTo>
                    <a:pt x="16" y="184"/>
                  </a:lnTo>
                  <a:lnTo>
                    <a:pt x="16" y="186"/>
                  </a:lnTo>
                  <a:lnTo>
                    <a:pt x="16" y="187"/>
                  </a:lnTo>
                  <a:lnTo>
                    <a:pt x="16" y="189"/>
                  </a:lnTo>
                  <a:lnTo>
                    <a:pt x="16" y="191"/>
                  </a:lnTo>
                  <a:lnTo>
                    <a:pt x="17" y="192"/>
                  </a:lnTo>
                  <a:lnTo>
                    <a:pt x="16" y="192"/>
                  </a:lnTo>
                  <a:lnTo>
                    <a:pt x="16" y="195"/>
                  </a:lnTo>
                  <a:lnTo>
                    <a:pt x="16" y="197"/>
                  </a:lnTo>
                  <a:lnTo>
                    <a:pt x="16" y="199"/>
                  </a:lnTo>
                  <a:close/>
                  <a:moveTo>
                    <a:pt x="40" y="210"/>
                  </a:moveTo>
                  <a:lnTo>
                    <a:pt x="42" y="210"/>
                  </a:lnTo>
                  <a:lnTo>
                    <a:pt x="42" y="212"/>
                  </a:lnTo>
                  <a:lnTo>
                    <a:pt x="42" y="213"/>
                  </a:lnTo>
                  <a:lnTo>
                    <a:pt x="42" y="215"/>
                  </a:lnTo>
                  <a:lnTo>
                    <a:pt x="42" y="217"/>
                  </a:lnTo>
                  <a:lnTo>
                    <a:pt x="40" y="217"/>
                  </a:lnTo>
                  <a:lnTo>
                    <a:pt x="40" y="218"/>
                  </a:lnTo>
                  <a:lnTo>
                    <a:pt x="39" y="218"/>
                  </a:lnTo>
                  <a:lnTo>
                    <a:pt x="39" y="220"/>
                  </a:lnTo>
                  <a:lnTo>
                    <a:pt x="37" y="221"/>
                  </a:lnTo>
                  <a:lnTo>
                    <a:pt x="37" y="220"/>
                  </a:lnTo>
                  <a:lnTo>
                    <a:pt x="35" y="220"/>
                  </a:lnTo>
                  <a:lnTo>
                    <a:pt x="35" y="218"/>
                  </a:lnTo>
                  <a:lnTo>
                    <a:pt x="35" y="217"/>
                  </a:lnTo>
                  <a:lnTo>
                    <a:pt x="35" y="215"/>
                  </a:lnTo>
                  <a:lnTo>
                    <a:pt x="35" y="217"/>
                  </a:lnTo>
                  <a:lnTo>
                    <a:pt x="35" y="215"/>
                  </a:lnTo>
                  <a:lnTo>
                    <a:pt x="34" y="213"/>
                  </a:lnTo>
                  <a:lnTo>
                    <a:pt x="32" y="212"/>
                  </a:lnTo>
                  <a:lnTo>
                    <a:pt x="30" y="212"/>
                  </a:lnTo>
                  <a:lnTo>
                    <a:pt x="32" y="210"/>
                  </a:lnTo>
                  <a:lnTo>
                    <a:pt x="34" y="210"/>
                  </a:lnTo>
                  <a:lnTo>
                    <a:pt x="35" y="210"/>
                  </a:lnTo>
                  <a:lnTo>
                    <a:pt x="37" y="208"/>
                  </a:lnTo>
                  <a:lnTo>
                    <a:pt x="39" y="208"/>
                  </a:lnTo>
                  <a:lnTo>
                    <a:pt x="40" y="210"/>
                  </a:lnTo>
                  <a:close/>
                  <a:moveTo>
                    <a:pt x="34" y="220"/>
                  </a:moveTo>
                  <a:lnTo>
                    <a:pt x="35" y="220"/>
                  </a:lnTo>
                  <a:lnTo>
                    <a:pt x="37" y="221"/>
                  </a:lnTo>
                  <a:lnTo>
                    <a:pt x="37" y="223"/>
                  </a:lnTo>
                  <a:lnTo>
                    <a:pt x="35" y="223"/>
                  </a:lnTo>
                  <a:lnTo>
                    <a:pt x="34" y="225"/>
                  </a:lnTo>
                  <a:lnTo>
                    <a:pt x="34" y="223"/>
                  </a:lnTo>
                  <a:lnTo>
                    <a:pt x="35" y="223"/>
                  </a:lnTo>
                  <a:lnTo>
                    <a:pt x="35" y="221"/>
                  </a:lnTo>
                  <a:lnTo>
                    <a:pt x="34" y="221"/>
                  </a:lnTo>
                  <a:lnTo>
                    <a:pt x="34" y="220"/>
                  </a:lnTo>
                  <a:close/>
                  <a:moveTo>
                    <a:pt x="35" y="220"/>
                  </a:moveTo>
                  <a:lnTo>
                    <a:pt x="34" y="220"/>
                  </a:lnTo>
                  <a:lnTo>
                    <a:pt x="34" y="218"/>
                  </a:lnTo>
                  <a:lnTo>
                    <a:pt x="35" y="217"/>
                  </a:lnTo>
                  <a:lnTo>
                    <a:pt x="35" y="218"/>
                  </a:lnTo>
                  <a:lnTo>
                    <a:pt x="35" y="220"/>
                  </a:lnTo>
                  <a:close/>
                  <a:moveTo>
                    <a:pt x="14" y="166"/>
                  </a:moveTo>
                  <a:lnTo>
                    <a:pt x="16" y="168"/>
                  </a:lnTo>
                  <a:lnTo>
                    <a:pt x="14" y="168"/>
                  </a:lnTo>
                  <a:lnTo>
                    <a:pt x="14" y="166"/>
                  </a:lnTo>
                  <a:close/>
                </a:path>
              </a:pathLst>
            </a:custGeom>
            <a:solidFill>
              <a:schemeClr val="bg1">
                <a:lumMod val="75000"/>
              </a:scheme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1197" name="Freeform 43">
              <a:extLst>
                <a:ext uri="{FF2B5EF4-FFF2-40B4-BE49-F238E27FC236}">
                  <a16:creationId xmlns:a16="http://schemas.microsoft.com/office/drawing/2014/main" id="{4D1A0E94-9535-A903-3615-C9AD34F4BD57}"/>
                </a:ext>
              </a:extLst>
            </p:cNvPr>
            <p:cNvSpPr>
              <a:spLocks/>
            </p:cNvSpPr>
            <p:nvPr/>
          </p:nvSpPr>
          <p:spPr bwMode="auto">
            <a:xfrm>
              <a:off x="3811" y="3714"/>
              <a:ext cx="73" cy="106"/>
            </a:xfrm>
            <a:custGeom>
              <a:avLst/>
              <a:gdLst>
                <a:gd name="T0" fmla="*/ 37 w 73"/>
                <a:gd name="T1" fmla="*/ 5 h 106"/>
                <a:gd name="T2" fmla="*/ 39 w 73"/>
                <a:gd name="T3" fmla="*/ 10 h 106"/>
                <a:gd name="T4" fmla="*/ 39 w 73"/>
                <a:gd name="T5" fmla="*/ 13 h 106"/>
                <a:gd name="T6" fmla="*/ 37 w 73"/>
                <a:gd name="T7" fmla="*/ 15 h 106"/>
                <a:gd name="T8" fmla="*/ 37 w 73"/>
                <a:gd name="T9" fmla="*/ 18 h 106"/>
                <a:gd name="T10" fmla="*/ 37 w 73"/>
                <a:gd name="T11" fmla="*/ 23 h 106"/>
                <a:gd name="T12" fmla="*/ 39 w 73"/>
                <a:gd name="T13" fmla="*/ 26 h 106"/>
                <a:gd name="T14" fmla="*/ 39 w 73"/>
                <a:gd name="T15" fmla="*/ 28 h 106"/>
                <a:gd name="T16" fmla="*/ 42 w 73"/>
                <a:gd name="T17" fmla="*/ 34 h 106"/>
                <a:gd name="T18" fmla="*/ 42 w 73"/>
                <a:gd name="T19" fmla="*/ 32 h 106"/>
                <a:gd name="T20" fmla="*/ 44 w 73"/>
                <a:gd name="T21" fmla="*/ 36 h 106"/>
                <a:gd name="T22" fmla="*/ 45 w 73"/>
                <a:gd name="T23" fmla="*/ 39 h 106"/>
                <a:gd name="T24" fmla="*/ 47 w 73"/>
                <a:gd name="T25" fmla="*/ 42 h 106"/>
                <a:gd name="T26" fmla="*/ 50 w 73"/>
                <a:gd name="T27" fmla="*/ 45 h 106"/>
                <a:gd name="T28" fmla="*/ 52 w 73"/>
                <a:gd name="T29" fmla="*/ 47 h 106"/>
                <a:gd name="T30" fmla="*/ 53 w 73"/>
                <a:gd name="T31" fmla="*/ 52 h 106"/>
                <a:gd name="T32" fmla="*/ 58 w 73"/>
                <a:gd name="T33" fmla="*/ 50 h 106"/>
                <a:gd name="T34" fmla="*/ 63 w 73"/>
                <a:gd name="T35" fmla="*/ 55 h 106"/>
                <a:gd name="T36" fmla="*/ 68 w 73"/>
                <a:gd name="T37" fmla="*/ 54 h 106"/>
                <a:gd name="T38" fmla="*/ 71 w 73"/>
                <a:gd name="T39" fmla="*/ 57 h 106"/>
                <a:gd name="T40" fmla="*/ 71 w 73"/>
                <a:gd name="T41" fmla="*/ 58 h 106"/>
                <a:gd name="T42" fmla="*/ 71 w 73"/>
                <a:gd name="T43" fmla="*/ 62 h 106"/>
                <a:gd name="T44" fmla="*/ 70 w 73"/>
                <a:gd name="T45" fmla="*/ 65 h 106"/>
                <a:gd name="T46" fmla="*/ 70 w 73"/>
                <a:gd name="T47" fmla="*/ 68 h 106"/>
                <a:gd name="T48" fmla="*/ 66 w 73"/>
                <a:gd name="T49" fmla="*/ 73 h 106"/>
                <a:gd name="T50" fmla="*/ 63 w 73"/>
                <a:gd name="T51" fmla="*/ 78 h 106"/>
                <a:gd name="T52" fmla="*/ 58 w 73"/>
                <a:gd name="T53" fmla="*/ 86 h 106"/>
                <a:gd name="T54" fmla="*/ 57 w 73"/>
                <a:gd name="T55" fmla="*/ 88 h 106"/>
                <a:gd name="T56" fmla="*/ 57 w 73"/>
                <a:gd name="T57" fmla="*/ 93 h 106"/>
                <a:gd name="T58" fmla="*/ 55 w 73"/>
                <a:gd name="T59" fmla="*/ 106 h 106"/>
                <a:gd name="T60" fmla="*/ 48 w 73"/>
                <a:gd name="T61" fmla="*/ 101 h 106"/>
                <a:gd name="T62" fmla="*/ 40 w 73"/>
                <a:gd name="T63" fmla="*/ 97 h 106"/>
                <a:gd name="T64" fmla="*/ 34 w 73"/>
                <a:gd name="T65" fmla="*/ 101 h 106"/>
                <a:gd name="T66" fmla="*/ 31 w 73"/>
                <a:gd name="T67" fmla="*/ 104 h 106"/>
                <a:gd name="T68" fmla="*/ 24 w 73"/>
                <a:gd name="T69" fmla="*/ 106 h 106"/>
                <a:gd name="T70" fmla="*/ 19 w 73"/>
                <a:gd name="T71" fmla="*/ 104 h 106"/>
                <a:gd name="T72" fmla="*/ 19 w 73"/>
                <a:gd name="T73" fmla="*/ 99 h 106"/>
                <a:gd name="T74" fmla="*/ 11 w 73"/>
                <a:gd name="T75" fmla="*/ 97 h 106"/>
                <a:gd name="T76" fmla="*/ 8 w 73"/>
                <a:gd name="T77" fmla="*/ 94 h 106"/>
                <a:gd name="T78" fmla="*/ 6 w 73"/>
                <a:gd name="T79" fmla="*/ 91 h 106"/>
                <a:gd name="T80" fmla="*/ 8 w 73"/>
                <a:gd name="T81" fmla="*/ 88 h 106"/>
                <a:gd name="T82" fmla="*/ 9 w 73"/>
                <a:gd name="T83" fmla="*/ 86 h 106"/>
                <a:gd name="T84" fmla="*/ 11 w 73"/>
                <a:gd name="T85" fmla="*/ 81 h 106"/>
                <a:gd name="T86" fmla="*/ 14 w 73"/>
                <a:gd name="T87" fmla="*/ 78 h 106"/>
                <a:gd name="T88" fmla="*/ 14 w 73"/>
                <a:gd name="T89" fmla="*/ 73 h 106"/>
                <a:gd name="T90" fmla="*/ 11 w 73"/>
                <a:gd name="T91" fmla="*/ 70 h 106"/>
                <a:gd name="T92" fmla="*/ 9 w 73"/>
                <a:gd name="T93" fmla="*/ 65 h 106"/>
                <a:gd name="T94" fmla="*/ 6 w 73"/>
                <a:gd name="T95" fmla="*/ 58 h 106"/>
                <a:gd name="T96" fmla="*/ 4 w 73"/>
                <a:gd name="T97" fmla="*/ 55 h 106"/>
                <a:gd name="T98" fmla="*/ 1 w 73"/>
                <a:gd name="T99" fmla="*/ 52 h 106"/>
                <a:gd name="T100" fmla="*/ 1 w 73"/>
                <a:gd name="T101" fmla="*/ 47 h 106"/>
                <a:gd name="T102" fmla="*/ 1 w 73"/>
                <a:gd name="T103" fmla="*/ 45 h 106"/>
                <a:gd name="T104" fmla="*/ 3 w 73"/>
                <a:gd name="T105" fmla="*/ 44 h 106"/>
                <a:gd name="T106" fmla="*/ 3 w 73"/>
                <a:gd name="T107" fmla="*/ 41 h 106"/>
                <a:gd name="T108" fmla="*/ 3 w 73"/>
                <a:gd name="T109" fmla="*/ 37 h 106"/>
                <a:gd name="T110" fmla="*/ 6 w 73"/>
                <a:gd name="T111" fmla="*/ 31 h 106"/>
                <a:gd name="T112" fmla="*/ 9 w 73"/>
                <a:gd name="T113" fmla="*/ 28 h 106"/>
                <a:gd name="T114" fmla="*/ 13 w 73"/>
                <a:gd name="T115" fmla="*/ 21 h 106"/>
                <a:gd name="T116" fmla="*/ 14 w 73"/>
                <a:gd name="T117" fmla="*/ 15 h 106"/>
                <a:gd name="T118" fmla="*/ 18 w 73"/>
                <a:gd name="T119" fmla="*/ 10 h 106"/>
                <a:gd name="T120" fmla="*/ 22 w 73"/>
                <a:gd name="T121" fmla="*/ 2 h 106"/>
                <a:gd name="T122" fmla="*/ 29 w 73"/>
                <a:gd name="T123" fmla="*/ 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73" h="106">
                  <a:moveTo>
                    <a:pt x="29" y="2"/>
                  </a:moveTo>
                  <a:lnTo>
                    <a:pt x="29" y="3"/>
                  </a:lnTo>
                  <a:lnTo>
                    <a:pt x="32" y="5"/>
                  </a:lnTo>
                  <a:lnTo>
                    <a:pt x="32" y="3"/>
                  </a:lnTo>
                  <a:lnTo>
                    <a:pt x="34" y="2"/>
                  </a:lnTo>
                  <a:lnTo>
                    <a:pt x="34" y="2"/>
                  </a:lnTo>
                  <a:lnTo>
                    <a:pt x="37" y="3"/>
                  </a:lnTo>
                  <a:lnTo>
                    <a:pt x="37" y="5"/>
                  </a:lnTo>
                  <a:lnTo>
                    <a:pt x="37" y="5"/>
                  </a:lnTo>
                  <a:lnTo>
                    <a:pt x="35" y="6"/>
                  </a:lnTo>
                  <a:lnTo>
                    <a:pt x="37" y="8"/>
                  </a:lnTo>
                  <a:lnTo>
                    <a:pt x="39" y="8"/>
                  </a:lnTo>
                  <a:lnTo>
                    <a:pt x="39" y="8"/>
                  </a:lnTo>
                  <a:lnTo>
                    <a:pt x="39" y="8"/>
                  </a:lnTo>
                  <a:lnTo>
                    <a:pt x="39" y="8"/>
                  </a:lnTo>
                  <a:lnTo>
                    <a:pt x="39" y="10"/>
                  </a:lnTo>
                  <a:lnTo>
                    <a:pt x="39" y="10"/>
                  </a:lnTo>
                  <a:lnTo>
                    <a:pt x="39" y="10"/>
                  </a:lnTo>
                  <a:lnTo>
                    <a:pt x="39" y="10"/>
                  </a:lnTo>
                  <a:lnTo>
                    <a:pt x="39" y="10"/>
                  </a:lnTo>
                  <a:lnTo>
                    <a:pt x="39" y="11"/>
                  </a:lnTo>
                  <a:lnTo>
                    <a:pt x="39" y="11"/>
                  </a:lnTo>
                  <a:lnTo>
                    <a:pt x="39" y="11"/>
                  </a:lnTo>
                  <a:lnTo>
                    <a:pt x="39" y="13"/>
                  </a:lnTo>
                  <a:lnTo>
                    <a:pt x="37" y="13"/>
                  </a:lnTo>
                  <a:lnTo>
                    <a:pt x="37" y="13"/>
                  </a:lnTo>
                  <a:lnTo>
                    <a:pt x="37" y="13"/>
                  </a:lnTo>
                  <a:lnTo>
                    <a:pt x="39" y="13"/>
                  </a:lnTo>
                  <a:lnTo>
                    <a:pt x="39" y="15"/>
                  </a:lnTo>
                  <a:lnTo>
                    <a:pt x="37" y="13"/>
                  </a:lnTo>
                  <a:lnTo>
                    <a:pt x="37" y="15"/>
                  </a:lnTo>
                  <a:lnTo>
                    <a:pt x="37" y="15"/>
                  </a:lnTo>
                  <a:lnTo>
                    <a:pt x="37" y="16"/>
                  </a:lnTo>
                  <a:lnTo>
                    <a:pt x="37" y="16"/>
                  </a:lnTo>
                  <a:lnTo>
                    <a:pt x="37" y="16"/>
                  </a:lnTo>
                  <a:lnTo>
                    <a:pt x="37" y="16"/>
                  </a:lnTo>
                  <a:lnTo>
                    <a:pt x="37" y="16"/>
                  </a:lnTo>
                  <a:lnTo>
                    <a:pt x="37" y="18"/>
                  </a:lnTo>
                  <a:lnTo>
                    <a:pt x="37" y="18"/>
                  </a:lnTo>
                  <a:lnTo>
                    <a:pt x="37" y="18"/>
                  </a:lnTo>
                  <a:lnTo>
                    <a:pt x="35" y="18"/>
                  </a:lnTo>
                  <a:lnTo>
                    <a:pt x="35" y="18"/>
                  </a:lnTo>
                  <a:lnTo>
                    <a:pt x="37" y="19"/>
                  </a:lnTo>
                  <a:lnTo>
                    <a:pt x="37" y="18"/>
                  </a:lnTo>
                  <a:lnTo>
                    <a:pt x="37" y="18"/>
                  </a:lnTo>
                  <a:lnTo>
                    <a:pt x="37" y="19"/>
                  </a:lnTo>
                  <a:lnTo>
                    <a:pt x="39" y="21"/>
                  </a:lnTo>
                  <a:lnTo>
                    <a:pt x="37" y="23"/>
                  </a:lnTo>
                  <a:lnTo>
                    <a:pt x="37" y="23"/>
                  </a:lnTo>
                  <a:lnTo>
                    <a:pt x="37" y="23"/>
                  </a:lnTo>
                  <a:lnTo>
                    <a:pt x="39" y="24"/>
                  </a:lnTo>
                  <a:lnTo>
                    <a:pt x="39" y="24"/>
                  </a:lnTo>
                  <a:lnTo>
                    <a:pt x="37" y="24"/>
                  </a:lnTo>
                  <a:lnTo>
                    <a:pt x="37" y="24"/>
                  </a:lnTo>
                  <a:lnTo>
                    <a:pt x="39" y="26"/>
                  </a:lnTo>
                  <a:lnTo>
                    <a:pt x="39" y="26"/>
                  </a:lnTo>
                  <a:lnTo>
                    <a:pt x="39" y="26"/>
                  </a:lnTo>
                  <a:lnTo>
                    <a:pt x="39" y="26"/>
                  </a:lnTo>
                  <a:lnTo>
                    <a:pt x="39" y="28"/>
                  </a:lnTo>
                  <a:lnTo>
                    <a:pt x="39" y="28"/>
                  </a:lnTo>
                  <a:lnTo>
                    <a:pt x="39" y="28"/>
                  </a:lnTo>
                  <a:lnTo>
                    <a:pt x="39" y="28"/>
                  </a:lnTo>
                  <a:lnTo>
                    <a:pt x="39" y="28"/>
                  </a:lnTo>
                  <a:lnTo>
                    <a:pt x="39" y="28"/>
                  </a:lnTo>
                  <a:lnTo>
                    <a:pt x="40" y="29"/>
                  </a:lnTo>
                  <a:lnTo>
                    <a:pt x="40" y="29"/>
                  </a:lnTo>
                  <a:lnTo>
                    <a:pt x="40" y="31"/>
                  </a:lnTo>
                  <a:lnTo>
                    <a:pt x="40" y="31"/>
                  </a:lnTo>
                  <a:lnTo>
                    <a:pt x="40" y="32"/>
                  </a:lnTo>
                  <a:lnTo>
                    <a:pt x="42" y="32"/>
                  </a:lnTo>
                  <a:lnTo>
                    <a:pt x="42" y="34"/>
                  </a:lnTo>
                  <a:lnTo>
                    <a:pt x="42" y="34"/>
                  </a:lnTo>
                  <a:lnTo>
                    <a:pt x="42" y="34"/>
                  </a:lnTo>
                  <a:lnTo>
                    <a:pt x="42" y="34"/>
                  </a:lnTo>
                  <a:lnTo>
                    <a:pt x="42" y="34"/>
                  </a:lnTo>
                  <a:lnTo>
                    <a:pt x="42" y="34"/>
                  </a:lnTo>
                  <a:lnTo>
                    <a:pt x="42" y="32"/>
                  </a:lnTo>
                  <a:lnTo>
                    <a:pt x="42" y="32"/>
                  </a:lnTo>
                  <a:lnTo>
                    <a:pt x="42" y="32"/>
                  </a:lnTo>
                  <a:lnTo>
                    <a:pt x="42" y="32"/>
                  </a:lnTo>
                  <a:lnTo>
                    <a:pt x="42" y="32"/>
                  </a:lnTo>
                  <a:lnTo>
                    <a:pt x="42" y="32"/>
                  </a:lnTo>
                  <a:lnTo>
                    <a:pt x="42" y="32"/>
                  </a:lnTo>
                  <a:lnTo>
                    <a:pt x="42" y="32"/>
                  </a:lnTo>
                  <a:lnTo>
                    <a:pt x="44" y="32"/>
                  </a:lnTo>
                  <a:lnTo>
                    <a:pt x="44" y="34"/>
                  </a:lnTo>
                  <a:lnTo>
                    <a:pt x="44" y="34"/>
                  </a:lnTo>
                  <a:lnTo>
                    <a:pt x="44" y="36"/>
                  </a:lnTo>
                  <a:lnTo>
                    <a:pt x="44" y="36"/>
                  </a:lnTo>
                  <a:lnTo>
                    <a:pt x="44" y="36"/>
                  </a:lnTo>
                  <a:lnTo>
                    <a:pt x="44" y="36"/>
                  </a:lnTo>
                  <a:lnTo>
                    <a:pt x="44" y="37"/>
                  </a:lnTo>
                  <a:lnTo>
                    <a:pt x="45" y="37"/>
                  </a:lnTo>
                  <a:lnTo>
                    <a:pt x="45" y="37"/>
                  </a:lnTo>
                  <a:lnTo>
                    <a:pt x="45" y="39"/>
                  </a:lnTo>
                  <a:lnTo>
                    <a:pt x="45" y="39"/>
                  </a:lnTo>
                  <a:lnTo>
                    <a:pt x="45" y="39"/>
                  </a:lnTo>
                  <a:lnTo>
                    <a:pt x="47" y="39"/>
                  </a:lnTo>
                  <a:lnTo>
                    <a:pt x="47" y="41"/>
                  </a:lnTo>
                  <a:lnTo>
                    <a:pt x="45" y="41"/>
                  </a:lnTo>
                  <a:lnTo>
                    <a:pt x="45" y="41"/>
                  </a:lnTo>
                  <a:lnTo>
                    <a:pt x="45" y="41"/>
                  </a:lnTo>
                  <a:lnTo>
                    <a:pt x="45" y="41"/>
                  </a:lnTo>
                  <a:lnTo>
                    <a:pt x="47" y="42"/>
                  </a:lnTo>
                  <a:lnTo>
                    <a:pt x="47" y="42"/>
                  </a:lnTo>
                  <a:lnTo>
                    <a:pt x="47" y="42"/>
                  </a:lnTo>
                  <a:lnTo>
                    <a:pt x="47" y="42"/>
                  </a:lnTo>
                  <a:lnTo>
                    <a:pt x="47" y="42"/>
                  </a:lnTo>
                  <a:lnTo>
                    <a:pt x="47" y="44"/>
                  </a:lnTo>
                  <a:lnTo>
                    <a:pt x="48" y="44"/>
                  </a:lnTo>
                  <a:lnTo>
                    <a:pt x="48" y="45"/>
                  </a:lnTo>
                  <a:lnTo>
                    <a:pt x="50" y="45"/>
                  </a:lnTo>
                  <a:lnTo>
                    <a:pt x="50" y="45"/>
                  </a:lnTo>
                  <a:lnTo>
                    <a:pt x="50" y="45"/>
                  </a:lnTo>
                  <a:lnTo>
                    <a:pt x="50" y="45"/>
                  </a:lnTo>
                  <a:lnTo>
                    <a:pt x="52" y="45"/>
                  </a:lnTo>
                  <a:lnTo>
                    <a:pt x="52" y="47"/>
                  </a:lnTo>
                  <a:lnTo>
                    <a:pt x="52" y="47"/>
                  </a:lnTo>
                  <a:lnTo>
                    <a:pt x="52" y="47"/>
                  </a:lnTo>
                  <a:lnTo>
                    <a:pt x="52" y="47"/>
                  </a:lnTo>
                  <a:lnTo>
                    <a:pt x="53" y="47"/>
                  </a:lnTo>
                  <a:lnTo>
                    <a:pt x="53" y="47"/>
                  </a:lnTo>
                  <a:lnTo>
                    <a:pt x="53" y="47"/>
                  </a:lnTo>
                  <a:lnTo>
                    <a:pt x="53" y="49"/>
                  </a:lnTo>
                  <a:lnTo>
                    <a:pt x="53" y="49"/>
                  </a:lnTo>
                  <a:lnTo>
                    <a:pt x="53" y="50"/>
                  </a:lnTo>
                  <a:lnTo>
                    <a:pt x="53" y="50"/>
                  </a:lnTo>
                  <a:lnTo>
                    <a:pt x="53" y="52"/>
                  </a:lnTo>
                  <a:lnTo>
                    <a:pt x="55" y="52"/>
                  </a:lnTo>
                  <a:lnTo>
                    <a:pt x="55" y="52"/>
                  </a:lnTo>
                  <a:lnTo>
                    <a:pt x="55" y="50"/>
                  </a:lnTo>
                  <a:lnTo>
                    <a:pt x="55" y="50"/>
                  </a:lnTo>
                  <a:lnTo>
                    <a:pt x="57" y="50"/>
                  </a:lnTo>
                  <a:lnTo>
                    <a:pt x="58" y="50"/>
                  </a:lnTo>
                  <a:lnTo>
                    <a:pt x="58" y="50"/>
                  </a:lnTo>
                  <a:lnTo>
                    <a:pt x="58" y="50"/>
                  </a:lnTo>
                  <a:lnTo>
                    <a:pt x="58" y="50"/>
                  </a:lnTo>
                  <a:lnTo>
                    <a:pt x="60" y="52"/>
                  </a:lnTo>
                  <a:lnTo>
                    <a:pt x="60" y="54"/>
                  </a:lnTo>
                  <a:lnTo>
                    <a:pt x="61" y="54"/>
                  </a:lnTo>
                  <a:lnTo>
                    <a:pt x="61" y="54"/>
                  </a:lnTo>
                  <a:lnTo>
                    <a:pt x="61" y="55"/>
                  </a:lnTo>
                  <a:lnTo>
                    <a:pt x="63" y="55"/>
                  </a:lnTo>
                  <a:lnTo>
                    <a:pt x="63" y="55"/>
                  </a:lnTo>
                  <a:lnTo>
                    <a:pt x="63" y="55"/>
                  </a:lnTo>
                  <a:lnTo>
                    <a:pt x="63" y="55"/>
                  </a:lnTo>
                  <a:lnTo>
                    <a:pt x="65" y="55"/>
                  </a:lnTo>
                  <a:lnTo>
                    <a:pt x="65" y="55"/>
                  </a:lnTo>
                  <a:lnTo>
                    <a:pt x="65" y="55"/>
                  </a:lnTo>
                  <a:lnTo>
                    <a:pt x="66" y="55"/>
                  </a:lnTo>
                  <a:lnTo>
                    <a:pt x="66" y="55"/>
                  </a:lnTo>
                  <a:lnTo>
                    <a:pt x="68" y="54"/>
                  </a:lnTo>
                  <a:lnTo>
                    <a:pt x="68" y="55"/>
                  </a:lnTo>
                  <a:lnTo>
                    <a:pt x="70" y="55"/>
                  </a:lnTo>
                  <a:lnTo>
                    <a:pt x="70" y="55"/>
                  </a:lnTo>
                  <a:lnTo>
                    <a:pt x="70" y="55"/>
                  </a:lnTo>
                  <a:lnTo>
                    <a:pt x="71" y="57"/>
                  </a:lnTo>
                  <a:lnTo>
                    <a:pt x="71" y="57"/>
                  </a:lnTo>
                  <a:lnTo>
                    <a:pt x="71" y="57"/>
                  </a:lnTo>
                  <a:lnTo>
                    <a:pt x="71" y="57"/>
                  </a:lnTo>
                  <a:lnTo>
                    <a:pt x="71" y="55"/>
                  </a:lnTo>
                  <a:lnTo>
                    <a:pt x="71" y="55"/>
                  </a:lnTo>
                  <a:lnTo>
                    <a:pt x="73" y="55"/>
                  </a:lnTo>
                  <a:lnTo>
                    <a:pt x="73" y="55"/>
                  </a:lnTo>
                  <a:lnTo>
                    <a:pt x="73" y="57"/>
                  </a:lnTo>
                  <a:lnTo>
                    <a:pt x="73" y="57"/>
                  </a:lnTo>
                  <a:lnTo>
                    <a:pt x="73" y="57"/>
                  </a:lnTo>
                  <a:lnTo>
                    <a:pt x="71" y="58"/>
                  </a:lnTo>
                  <a:lnTo>
                    <a:pt x="71" y="58"/>
                  </a:lnTo>
                  <a:lnTo>
                    <a:pt x="71" y="58"/>
                  </a:lnTo>
                  <a:lnTo>
                    <a:pt x="71" y="60"/>
                  </a:lnTo>
                  <a:lnTo>
                    <a:pt x="71" y="60"/>
                  </a:lnTo>
                  <a:lnTo>
                    <a:pt x="71" y="60"/>
                  </a:lnTo>
                  <a:lnTo>
                    <a:pt x="71" y="60"/>
                  </a:lnTo>
                  <a:lnTo>
                    <a:pt x="71" y="62"/>
                  </a:lnTo>
                  <a:lnTo>
                    <a:pt x="71" y="62"/>
                  </a:lnTo>
                  <a:lnTo>
                    <a:pt x="71" y="62"/>
                  </a:lnTo>
                  <a:lnTo>
                    <a:pt x="71" y="63"/>
                  </a:lnTo>
                  <a:lnTo>
                    <a:pt x="71" y="63"/>
                  </a:lnTo>
                  <a:lnTo>
                    <a:pt x="70" y="63"/>
                  </a:lnTo>
                  <a:lnTo>
                    <a:pt x="70" y="65"/>
                  </a:lnTo>
                  <a:lnTo>
                    <a:pt x="70" y="65"/>
                  </a:lnTo>
                  <a:lnTo>
                    <a:pt x="70" y="65"/>
                  </a:lnTo>
                  <a:lnTo>
                    <a:pt x="70" y="65"/>
                  </a:lnTo>
                  <a:lnTo>
                    <a:pt x="70" y="67"/>
                  </a:lnTo>
                  <a:lnTo>
                    <a:pt x="70" y="67"/>
                  </a:lnTo>
                  <a:lnTo>
                    <a:pt x="70" y="68"/>
                  </a:lnTo>
                  <a:lnTo>
                    <a:pt x="71" y="68"/>
                  </a:lnTo>
                  <a:lnTo>
                    <a:pt x="71" y="68"/>
                  </a:lnTo>
                  <a:lnTo>
                    <a:pt x="71" y="68"/>
                  </a:lnTo>
                  <a:lnTo>
                    <a:pt x="71" y="68"/>
                  </a:lnTo>
                  <a:lnTo>
                    <a:pt x="70" y="68"/>
                  </a:lnTo>
                  <a:lnTo>
                    <a:pt x="70" y="68"/>
                  </a:lnTo>
                  <a:lnTo>
                    <a:pt x="70" y="68"/>
                  </a:lnTo>
                  <a:lnTo>
                    <a:pt x="70" y="70"/>
                  </a:lnTo>
                  <a:lnTo>
                    <a:pt x="70" y="70"/>
                  </a:lnTo>
                  <a:lnTo>
                    <a:pt x="70" y="70"/>
                  </a:lnTo>
                  <a:lnTo>
                    <a:pt x="70" y="70"/>
                  </a:lnTo>
                  <a:lnTo>
                    <a:pt x="68" y="71"/>
                  </a:lnTo>
                  <a:lnTo>
                    <a:pt x="66" y="73"/>
                  </a:lnTo>
                  <a:lnTo>
                    <a:pt x="65" y="75"/>
                  </a:lnTo>
                  <a:lnTo>
                    <a:pt x="63" y="75"/>
                  </a:lnTo>
                  <a:lnTo>
                    <a:pt x="63" y="76"/>
                  </a:lnTo>
                  <a:lnTo>
                    <a:pt x="63" y="76"/>
                  </a:lnTo>
                  <a:lnTo>
                    <a:pt x="63" y="76"/>
                  </a:lnTo>
                  <a:lnTo>
                    <a:pt x="61" y="76"/>
                  </a:lnTo>
                  <a:lnTo>
                    <a:pt x="63" y="76"/>
                  </a:lnTo>
                  <a:lnTo>
                    <a:pt x="63" y="78"/>
                  </a:lnTo>
                  <a:lnTo>
                    <a:pt x="63" y="78"/>
                  </a:lnTo>
                  <a:lnTo>
                    <a:pt x="63" y="78"/>
                  </a:lnTo>
                  <a:lnTo>
                    <a:pt x="61" y="81"/>
                  </a:lnTo>
                  <a:lnTo>
                    <a:pt x="61" y="83"/>
                  </a:lnTo>
                  <a:lnTo>
                    <a:pt x="61" y="83"/>
                  </a:lnTo>
                  <a:lnTo>
                    <a:pt x="60" y="84"/>
                  </a:lnTo>
                  <a:lnTo>
                    <a:pt x="60" y="84"/>
                  </a:lnTo>
                  <a:lnTo>
                    <a:pt x="58" y="86"/>
                  </a:lnTo>
                  <a:lnTo>
                    <a:pt x="58" y="86"/>
                  </a:lnTo>
                  <a:lnTo>
                    <a:pt x="58" y="86"/>
                  </a:lnTo>
                  <a:lnTo>
                    <a:pt x="57" y="86"/>
                  </a:lnTo>
                  <a:lnTo>
                    <a:pt x="57" y="88"/>
                  </a:lnTo>
                  <a:lnTo>
                    <a:pt x="58" y="88"/>
                  </a:lnTo>
                  <a:lnTo>
                    <a:pt x="58" y="89"/>
                  </a:lnTo>
                  <a:lnTo>
                    <a:pt x="57" y="89"/>
                  </a:lnTo>
                  <a:lnTo>
                    <a:pt x="57" y="88"/>
                  </a:lnTo>
                  <a:lnTo>
                    <a:pt x="57" y="89"/>
                  </a:lnTo>
                  <a:lnTo>
                    <a:pt x="55" y="89"/>
                  </a:lnTo>
                  <a:lnTo>
                    <a:pt x="55" y="89"/>
                  </a:lnTo>
                  <a:lnTo>
                    <a:pt x="55" y="89"/>
                  </a:lnTo>
                  <a:lnTo>
                    <a:pt x="57" y="91"/>
                  </a:lnTo>
                  <a:lnTo>
                    <a:pt x="58" y="91"/>
                  </a:lnTo>
                  <a:lnTo>
                    <a:pt x="57" y="93"/>
                  </a:lnTo>
                  <a:lnTo>
                    <a:pt x="57" y="93"/>
                  </a:lnTo>
                  <a:lnTo>
                    <a:pt x="55" y="94"/>
                  </a:lnTo>
                  <a:lnTo>
                    <a:pt x="55" y="94"/>
                  </a:lnTo>
                  <a:lnTo>
                    <a:pt x="55" y="96"/>
                  </a:lnTo>
                  <a:lnTo>
                    <a:pt x="55" y="99"/>
                  </a:lnTo>
                  <a:lnTo>
                    <a:pt x="55" y="101"/>
                  </a:lnTo>
                  <a:lnTo>
                    <a:pt x="55" y="101"/>
                  </a:lnTo>
                  <a:lnTo>
                    <a:pt x="55" y="104"/>
                  </a:lnTo>
                  <a:lnTo>
                    <a:pt x="55" y="106"/>
                  </a:lnTo>
                  <a:lnTo>
                    <a:pt x="55" y="106"/>
                  </a:lnTo>
                  <a:lnTo>
                    <a:pt x="53" y="104"/>
                  </a:lnTo>
                  <a:lnTo>
                    <a:pt x="53" y="104"/>
                  </a:lnTo>
                  <a:lnTo>
                    <a:pt x="52" y="104"/>
                  </a:lnTo>
                  <a:lnTo>
                    <a:pt x="50" y="102"/>
                  </a:lnTo>
                  <a:lnTo>
                    <a:pt x="48" y="102"/>
                  </a:lnTo>
                  <a:lnTo>
                    <a:pt x="48" y="102"/>
                  </a:lnTo>
                  <a:lnTo>
                    <a:pt x="48" y="101"/>
                  </a:lnTo>
                  <a:lnTo>
                    <a:pt x="48" y="101"/>
                  </a:lnTo>
                  <a:lnTo>
                    <a:pt x="47" y="101"/>
                  </a:lnTo>
                  <a:lnTo>
                    <a:pt x="47" y="99"/>
                  </a:lnTo>
                  <a:lnTo>
                    <a:pt x="47" y="99"/>
                  </a:lnTo>
                  <a:lnTo>
                    <a:pt x="45" y="97"/>
                  </a:lnTo>
                  <a:lnTo>
                    <a:pt x="44" y="97"/>
                  </a:lnTo>
                  <a:lnTo>
                    <a:pt x="42" y="97"/>
                  </a:lnTo>
                  <a:lnTo>
                    <a:pt x="40" y="97"/>
                  </a:lnTo>
                  <a:lnTo>
                    <a:pt x="39" y="97"/>
                  </a:lnTo>
                  <a:lnTo>
                    <a:pt x="37" y="97"/>
                  </a:lnTo>
                  <a:lnTo>
                    <a:pt x="35" y="99"/>
                  </a:lnTo>
                  <a:lnTo>
                    <a:pt x="35" y="99"/>
                  </a:lnTo>
                  <a:lnTo>
                    <a:pt x="35" y="99"/>
                  </a:lnTo>
                  <a:lnTo>
                    <a:pt x="35" y="101"/>
                  </a:lnTo>
                  <a:lnTo>
                    <a:pt x="34" y="101"/>
                  </a:lnTo>
                  <a:lnTo>
                    <a:pt x="34" y="101"/>
                  </a:lnTo>
                  <a:lnTo>
                    <a:pt x="34" y="101"/>
                  </a:lnTo>
                  <a:lnTo>
                    <a:pt x="34" y="101"/>
                  </a:lnTo>
                  <a:lnTo>
                    <a:pt x="34" y="101"/>
                  </a:lnTo>
                  <a:lnTo>
                    <a:pt x="34" y="99"/>
                  </a:lnTo>
                  <a:lnTo>
                    <a:pt x="32" y="102"/>
                  </a:lnTo>
                  <a:lnTo>
                    <a:pt x="31" y="102"/>
                  </a:lnTo>
                  <a:lnTo>
                    <a:pt x="31" y="102"/>
                  </a:lnTo>
                  <a:lnTo>
                    <a:pt x="31" y="104"/>
                  </a:lnTo>
                  <a:lnTo>
                    <a:pt x="31" y="106"/>
                  </a:lnTo>
                  <a:lnTo>
                    <a:pt x="29" y="104"/>
                  </a:lnTo>
                  <a:lnTo>
                    <a:pt x="29" y="104"/>
                  </a:lnTo>
                  <a:lnTo>
                    <a:pt x="27" y="104"/>
                  </a:lnTo>
                  <a:lnTo>
                    <a:pt x="26" y="104"/>
                  </a:lnTo>
                  <a:lnTo>
                    <a:pt x="26" y="104"/>
                  </a:lnTo>
                  <a:lnTo>
                    <a:pt x="24" y="106"/>
                  </a:lnTo>
                  <a:lnTo>
                    <a:pt x="24" y="106"/>
                  </a:lnTo>
                  <a:lnTo>
                    <a:pt x="22" y="104"/>
                  </a:lnTo>
                  <a:lnTo>
                    <a:pt x="22" y="106"/>
                  </a:lnTo>
                  <a:lnTo>
                    <a:pt x="21" y="104"/>
                  </a:lnTo>
                  <a:lnTo>
                    <a:pt x="21" y="104"/>
                  </a:lnTo>
                  <a:lnTo>
                    <a:pt x="19" y="104"/>
                  </a:lnTo>
                  <a:lnTo>
                    <a:pt x="19" y="104"/>
                  </a:lnTo>
                  <a:lnTo>
                    <a:pt x="19" y="104"/>
                  </a:lnTo>
                  <a:lnTo>
                    <a:pt x="19" y="104"/>
                  </a:lnTo>
                  <a:lnTo>
                    <a:pt x="21" y="104"/>
                  </a:lnTo>
                  <a:lnTo>
                    <a:pt x="19" y="102"/>
                  </a:lnTo>
                  <a:lnTo>
                    <a:pt x="19" y="102"/>
                  </a:lnTo>
                  <a:lnTo>
                    <a:pt x="19" y="104"/>
                  </a:lnTo>
                  <a:lnTo>
                    <a:pt x="19" y="102"/>
                  </a:lnTo>
                  <a:lnTo>
                    <a:pt x="19" y="102"/>
                  </a:lnTo>
                  <a:lnTo>
                    <a:pt x="19" y="101"/>
                  </a:lnTo>
                  <a:lnTo>
                    <a:pt x="19" y="99"/>
                  </a:lnTo>
                  <a:lnTo>
                    <a:pt x="18" y="99"/>
                  </a:lnTo>
                  <a:lnTo>
                    <a:pt x="16" y="97"/>
                  </a:lnTo>
                  <a:lnTo>
                    <a:pt x="16" y="97"/>
                  </a:lnTo>
                  <a:lnTo>
                    <a:pt x="14" y="97"/>
                  </a:lnTo>
                  <a:lnTo>
                    <a:pt x="13" y="97"/>
                  </a:lnTo>
                  <a:lnTo>
                    <a:pt x="13" y="97"/>
                  </a:lnTo>
                  <a:lnTo>
                    <a:pt x="11" y="97"/>
                  </a:lnTo>
                  <a:lnTo>
                    <a:pt x="11" y="97"/>
                  </a:lnTo>
                  <a:lnTo>
                    <a:pt x="11" y="97"/>
                  </a:lnTo>
                  <a:lnTo>
                    <a:pt x="11" y="97"/>
                  </a:lnTo>
                  <a:lnTo>
                    <a:pt x="9" y="97"/>
                  </a:lnTo>
                  <a:lnTo>
                    <a:pt x="9" y="97"/>
                  </a:lnTo>
                  <a:lnTo>
                    <a:pt x="9" y="97"/>
                  </a:lnTo>
                  <a:lnTo>
                    <a:pt x="8" y="96"/>
                  </a:lnTo>
                  <a:lnTo>
                    <a:pt x="8" y="96"/>
                  </a:lnTo>
                  <a:lnTo>
                    <a:pt x="8" y="94"/>
                  </a:lnTo>
                  <a:lnTo>
                    <a:pt x="8" y="94"/>
                  </a:lnTo>
                  <a:lnTo>
                    <a:pt x="8" y="94"/>
                  </a:lnTo>
                  <a:lnTo>
                    <a:pt x="6" y="94"/>
                  </a:lnTo>
                  <a:lnTo>
                    <a:pt x="6" y="94"/>
                  </a:lnTo>
                  <a:lnTo>
                    <a:pt x="6" y="93"/>
                  </a:lnTo>
                  <a:lnTo>
                    <a:pt x="8" y="93"/>
                  </a:lnTo>
                  <a:lnTo>
                    <a:pt x="6" y="93"/>
                  </a:lnTo>
                  <a:lnTo>
                    <a:pt x="6" y="91"/>
                  </a:lnTo>
                  <a:lnTo>
                    <a:pt x="4" y="93"/>
                  </a:lnTo>
                  <a:lnTo>
                    <a:pt x="4" y="91"/>
                  </a:lnTo>
                  <a:lnTo>
                    <a:pt x="4" y="91"/>
                  </a:lnTo>
                  <a:lnTo>
                    <a:pt x="6" y="89"/>
                  </a:lnTo>
                  <a:lnTo>
                    <a:pt x="8" y="89"/>
                  </a:lnTo>
                  <a:lnTo>
                    <a:pt x="8" y="89"/>
                  </a:lnTo>
                  <a:lnTo>
                    <a:pt x="8" y="89"/>
                  </a:lnTo>
                  <a:lnTo>
                    <a:pt x="8" y="88"/>
                  </a:lnTo>
                  <a:lnTo>
                    <a:pt x="9" y="88"/>
                  </a:lnTo>
                  <a:lnTo>
                    <a:pt x="9" y="86"/>
                  </a:lnTo>
                  <a:lnTo>
                    <a:pt x="9" y="86"/>
                  </a:lnTo>
                  <a:lnTo>
                    <a:pt x="9" y="86"/>
                  </a:lnTo>
                  <a:lnTo>
                    <a:pt x="9" y="86"/>
                  </a:lnTo>
                  <a:lnTo>
                    <a:pt x="9" y="86"/>
                  </a:lnTo>
                  <a:lnTo>
                    <a:pt x="9" y="86"/>
                  </a:lnTo>
                  <a:lnTo>
                    <a:pt x="9" y="86"/>
                  </a:lnTo>
                  <a:lnTo>
                    <a:pt x="11" y="86"/>
                  </a:lnTo>
                  <a:lnTo>
                    <a:pt x="11" y="84"/>
                  </a:lnTo>
                  <a:lnTo>
                    <a:pt x="9" y="84"/>
                  </a:lnTo>
                  <a:lnTo>
                    <a:pt x="9" y="84"/>
                  </a:lnTo>
                  <a:lnTo>
                    <a:pt x="8" y="84"/>
                  </a:lnTo>
                  <a:lnTo>
                    <a:pt x="8" y="83"/>
                  </a:lnTo>
                  <a:lnTo>
                    <a:pt x="8" y="83"/>
                  </a:lnTo>
                  <a:lnTo>
                    <a:pt x="11" y="81"/>
                  </a:lnTo>
                  <a:lnTo>
                    <a:pt x="11" y="81"/>
                  </a:lnTo>
                  <a:lnTo>
                    <a:pt x="11" y="80"/>
                  </a:lnTo>
                  <a:lnTo>
                    <a:pt x="11" y="80"/>
                  </a:lnTo>
                  <a:lnTo>
                    <a:pt x="11" y="80"/>
                  </a:lnTo>
                  <a:lnTo>
                    <a:pt x="11" y="78"/>
                  </a:lnTo>
                  <a:lnTo>
                    <a:pt x="11" y="78"/>
                  </a:lnTo>
                  <a:lnTo>
                    <a:pt x="13" y="78"/>
                  </a:lnTo>
                  <a:lnTo>
                    <a:pt x="14" y="78"/>
                  </a:lnTo>
                  <a:lnTo>
                    <a:pt x="14" y="78"/>
                  </a:lnTo>
                  <a:lnTo>
                    <a:pt x="14" y="78"/>
                  </a:lnTo>
                  <a:lnTo>
                    <a:pt x="14" y="76"/>
                  </a:lnTo>
                  <a:lnTo>
                    <a:pt x="14" y="75"/>
                  </a:lnTo>
                  <a:lnTo>
                    <a:pt x="14" y="75"/>
                  </a:lnTo>
                  <a:lnTo>
                    <a:pt x="14" y="75"/>
                  </a:lnTo>
                  <a:lnTo>
                    <a:pt x="14" y="73"/>
                  </a:lnTo>
                  <a:lnTo>
                    <a:pt x="14" y="73"/>
                  </a:lnTo>
                  <a:lnTo>
                    <a:pt x="11" y="73"/>
                  </a:lnTo>
                  <a:lnTo>
                    <a:pt x="11" y="73"/>
                  </a:lnTo>
                  <a:lnTo>
                    <a:pt x="11" y="73"/>
                  </a:lnTo>
                  <a:lnTo>
                    <a:pt x="11" y="71"/>
                  </a:lnTo>
                  <a:lnTo>
                    <a:pt x="9" y="71"/>
                  </a:lnTo>
                  <a:lnTo>
                    <a:pt x="9" y="71"/>
                  </a:lnTo>
                  <a:lnTo>
                    <a:pt x="9" y="71"/>
                  </a:lnTo>
                  <a:lnTo>
                    <a:pt x="11" y="70"/>
                  </a:lnTo>
                  <a:lnTo>
                    <a:pt x="11" y="68"/>
                  </a:lnTo>
                  <a:lnTo>
                    <a:pt x="13" y="68"/>
                  </a:lnTo>
                  <a:lnTo>
                    <a:pt x="13" y="68"/>
                  </a:lnTo>
                  <a:lnTo>
                    <a:pt x="13" y="68"/>
                  </a:lnTo>
                  <a:lnTo>
                    <a:pt x="13" y="67"/>
                  </a:lnTo>
                  <a:lnTo>
                    <a:pt x="11" y="65"/>
                  </a:lnTo>
                  <a:lnTo>
                    <a:pt x="11" y="65"/>
                  </a:lnTo>
                  <a:lnTo>
                    <a:pt x="9" y="65"/>
                  </a:lnTo>
                  <a:lnTo>
                    <a:pt x="6" y="65"/>
                  </a:lnTo>
                  <a:lnTo>
                    <a:pt x="8" y="63"/>
                  </a:lnTo>
                  <a:lnTo>
                    <a:pt x="8" y="63"/>
                  </a:lnTo>
                  <a:lnTo>
                    <a:pt x="8" y="62"/>
                  </a:lnTo>
                  <a:lnTo>
                    <a:pt x="6" y="62"/>
                  </a:lnTo>
                  <a:lnTo>
                    <a:pt x="6" y="60"/>
                  </a:lnTo>
                  <a:lnTo>
                    <a:pt x="6" y="60"/>
                  </a:lnTo>
                  <a:lnTo>
                    <a:pt x="6" y="58"/>
                  </a:lnTo>
                  <a:lnTo>
                    <a:pt x="6" y="58"/>
                  </a:lnTo>
                  <a:lnTo>
                    <a:pt x="4" y="57"/>
                  </a:lnTo>
                  <a:lnTo>
                    <a:pt x="4" y="57"/>
                  </a:lnTo>
                  <a:lnTo>
                    <a:pt x="4" y="57"/>
                  </a:lnTo>
                  <a:lnTo>
                    <a:pt x="4" y="57"/>
                  </a:lnTo>
                  <a:lnTo>
                    <a:pt x="4" y="55"/>
                  </a:lnTo>
                  <a:lnTo>
                    <a:pt x="4" y="55"/>
                  </a:lnTo>
                  <a:lnTo>
                    <a:pt x="4" y="55"/>
                  </a:lnTo>
                  <a:lnTo>
                    <a:pt x="4" y="55"/>
                  </a:lnTo>
                  <a:lnTo>
                    <a:pt x="4" y="55"/>
                  </a:lnTo>
                  <a:lnTo>
                    <a:pt x="3" y="55"/>
                  </a:lnTo>
                  <a:lnTo>
                    <a:pt x="3" y="55"/>
                  </a:lnTo>
                  <a:lnTo>
                    <a:pt x="1" y="55"/>
                  </a:lnTo>
                  <a:lnTo>
                    <a:pt x="1" y="55"/>
                  </a:lnTo>
                  <a:lnTo>
                    <a:pt x="1" y="52"/>
                  </a:lnTo>
                  <a:lnTo>
                    <a:pt x="1" y="52"/>
                  </a:lnTo>
                  <a:lnTo>
                    <a:pt x="0" y="52"/>
                  </a:lnTo>
                  <a:lnTo>
                    <a:pt x="0" y="50"/>
                  </a:lnTo>
                  <a:lnTo>
                    <a:pt x="1" y="50"/>
                  </a:lnTo>
                  <a:lnTo>
                    <a:pt x="1" y="50"/>
                  </a:lnTo>
                  <a:lnTo>
                    <a:pt x="0" y="49"/>
                  </a:lnTo>
                  <a:lnTo>
                    <a:pt x="1" y="49"/>
                  </a:lnTo>
                  <a:lnTo>
                    <a:pt x="1" y="47"/>
                  </a:lnTo>
                  <a:lnTo>
                    <a:pt x="1" y="47"/>
                  </a:lnTo>
                  <a:lnTo>
                    <a:pt x="1" y="47"/>
                  </a:lnTo>
                  <a:lnTo>
                    <a:pt x="1" y="47"/>
                  </a:lnTo>
                  <a:lnTo>
                    <a:pt x="1" y="47"/>
                  </a:lnTo>
                  <a:lnTo>
                    <a:pt x="1" y="47"/>
                  </a:lnTo>
                  <a:lnTo>
                    <a:pt x="1" y="45"/>
                  </a:lnTo>
                  <a:lnTo>
                    <a:pt x="1" y="45"/>
                  </a:lnTo>
                  <a:lnTo>
                    <a:pt x="1" y="45"/>
                  </a:lnTo>
                  <a:lnTo>
                    <a:pt x="1" y="45"/>
                  </a:lnTo>
                  <a:lnTo>
                    <a:pt x="1" y="44"/>
                  </a:lnTo>
                  <a:lnTo>
                    <a:pt x="1" y="44"/>
                  </a:lnTo>
                  <a:lnTo>
                    <a:pt x="1" y="44"/>
                  </a:lnTo>
                  <a:lnTo>
                    <a:pt x="1" y="44"/>
                  </a:lnTo>
                  <a:lnTo>
                    <a:pt x="1" y="44"/>
                  </a:lnTo>
                  <a:lnTo>
                    <a:pt x="3" y="44"/>
                  </a:lnTo>
                  <a:lnTo>
                    <a:pt x="3" y="44"/>
                  </a:lnTo>
                  <a:lnTo>
                    <a:pt x="3" y="44"/>
                  </a:lnTo>
                  <a:lnTo>
                    <a:pt x="3" y="44"/>
                  </a:lnTo>
                  <a:lnTo>
                    <a:pt x="3" y="44"/>
                  </a:lnTo>
                  <a:lnTo>
                    <a:pt x="3" y="44"/>
                  </a:lnTo>
                  <a:lnTo>
                    <a:pt x="4" y="44"/>
                  </a:lnTo>
                  <a:lnTo>
                    <a:pt x="4" y="42"/>
                  </a:lnTo>
                  <a:lnTo>
                    <a:pt x="4" y="42"/>
                  </a:lnTo>
                  <a:lnTo>
                    <a:pt x="4" y="42"/>
                  </a:lnTo>
                  <a:lnTo>
                    <a:pt x="3" y="41"/>
                  </a:lnTo>
                  <a:lnTo>
                    <a:pt x="1" y="41"/>
                  </a:lnTo>
                  <a:lnTo>
                    <a:pt x="1" y="41"/>
                  </a:lnTo>
                  <a:lnTo>
                    <a:pt x="1" y="41"/>
                  </a:lnTo>
                  <a:lnTo>
                    <a:pt x="0" y="39"/>
                  </a:lnTo>
                  <a:lnTo>
                    <a:pt x="0" y="39"/>
                  </a:lnTo>
                  <a:lnTo>
                    <a:pt x="1" y="37"/>
                  </a:lnTo>
                  <a:lnTo>
                    <a:pt x="3" y="37"/>
                  </a:lnTo>
                  <a:lnTo>
                    <a:pt x="3" y="37"/>
                  </a:lnTo>
                  <a:lnTo>
                    <a:pt x="3" y="36"/>
                  </a:lnTo>
                  <a:lnTo>
                    <a:pt x="3" y="36"/>
                  </a:lnTo>
                  <a:lnTo>
                    <a:pt x="3" y="34"/>
                  </a:lnTo>
                  <a:lnTo>
                    <a:pt x="3" y="34"/>
                  </a:lnTo>
                  <a:lnTo>
                    <a:pt x="4" y="31"/>
                  </a:lnTo>
                  <a:lnTo>
                    <a:pt x="4" y="31"/>
                  </a:lnTo>
                  <a:lnTo>
                    <a:pt x="4" y="31"/>
                  </a:lnTo>
                  <a:lnTo>
                    <a:pt x="6" y="31"/>
                  </a:lnTo>
                  <a:lnTo>
                    <a:pt x="6" y="31"/>
                  </a:lnTo>
                  <a:lnTo>
                    <a:pt x="8" y="31"/>
                  </a:lnTo>
                  <a:lnTo>
                    <a:pt x="8" y="29"/>
                  </a:lnTo>
                  <a:lnTo>
                    <a:pt x="8" y="29"/>
                  </a:lnTo>
                  <a:lnTo>
                    <a:pt x="8" y="29"/>
                  </a:lnTo>
                  <a:lnTo>
                    <a:pt x="9" y="29"/>
                  </a:lnTo>
                  <a:lnTo>
                    <a:pt x="9" y="28"/>
                  </a:lnTo>
                  <a:lnTo>
                    <a:pt x="9" y="28"/>
                  </a:lnTo>
                  <a:lnTo>
                    <a:pt x="9" y="26"/>
                  </a:lnTo>
                  <a:lnTo>
                    <a:pt x="9" y="26"/>
                  </a:lnTo>
                  <a:lnTo>
                    <a:pt x="9" y="26"/>
                  </a:lnTo>
                  <a:lnTo>
                    <a:pt x="9" y="24"/>
                  </a:lnTo>
                  <a:lnTo>
                    <a:pt x="9" y="23"/>
                  </a:lnTo>
                  <a:lnTo>
                    <a:pt x="11" y="23"/>
                  </a:lnTo>
                  <a:lnTo>
                    <a:pt x="11" y="23"/>
                  </a:lnTo>
                  <a:lnTo>
                    <a:pt x="13" y="21"/>
                  </a:lnTo>
                  <a:lnTo>
                    <a:pt x="13" y="21"/>
                  </a:lnTo>
                  <a:lnTo>
                    <a:pt x="14" y="19"/>
                  </a:lnTo>
                  <a:lnTo>
                    <a:pt x="13" y="18"/>
                  </a:lnTo>
                  <a:lnTo>
                    <a:pt x="13" y="18"/>
                  </a:lnTo>
                  <a:lnTo>
                    <a:pt x="13" y="18"/>
                  </a:lnTo>
                  <a:lnTo>
                    <a:pt x="13" y="16"/>
                  </a:lnTo>
                  <a:lnTo>
                    <a:pt x="14" y="16"/>
                  </a:lnTo>
                  <a:lnTo>
                    <a:pt x="14" y="15"/>
                  </a:lnTo>
                  <a:lnTo>
                    <a:pt x="14" y="15"/>
                  </a:lnTo>
                  <a:lnTo>
                    <a:pt x="16" y="15"/>
                  </a:lnTo>
                  <a:lnTo>
                    <a:pt x="16" y="13"/>
                  </a:lnTo>
                  <a:lnTo>
                    <a:pt x="16" y="13"/>
                  </a:lnTo>
                  <a:lnTo>
                    <a:pt x="16" y="11"/>
                  </a:lnTo>
                  <a:lnTo>
                    <a:pt x="16" y="11"/>
                  </a:lnTo>
                  <a:lnTo>
                    <a:pt x="18" y="10"/>
                  </a:lnTo>
                  <a:lnTo>
                    <a:pt x="18" y="10"/>
                  </a:lnTo>
                  <a:lnTo>
                    <a:pt x="22" y="6"/>
                  </a:lnTo>
                  <a:lnTo>
                    <a:pt x="22" y="6"/>
                  </a:lnTo>
                  <a:lnTo>
                    <a:pt x="22" y="5"/>
                  </a:lnTo>
                  <a:lnTo>
                    <a:pt x="22" y="5"/>
                  </a:lnTo>
                  <a:lnTo>
                    <a:pt x="24" y="5"/>
                  </a:lnTo>
                  <a:lnTo>
                    <a:pt x="22" y="3"/>
                  </a:lnTo>
                  <a:lnTo>
                    <a:pt x="22" y="3"/>
                  </a:lnTo>
                  <a:lnTo>
                    <a:pt x="22" y="2"/>
                  </a:lnTo>
                  <a:lnTo>
                    <a:pt x="24" y="2"/>
                  </a:lnTo>
                  <a:lnTo>
                    <a:pt x="24" y="2"/>
                  </a:lnTo>
                  <a:lnTo>
                    <a:pt x="26" y="2"/>
                  </a:lnTo>
                  <a:lnTo>
                    <a:pt x="26" y="2"/>
                  </a:lnTo>
                  <a:lnTo>
                    <a:pt x="27" y="0"/>
                  </a:lnTo>
                  <a:lnTo>
                    <a:pt x="29" y="0"/>
                  </a:lnTo>
                  <a:lnTo>
                    <a:pt x="29" y="0"/>
                  </a:lnTo>
                  <a:lnTo>
                    <a:pt x="29" y="0"/>
                  </a:lnTo>
                  <a:lnTo>
                    <a:pt x="29" y="2"/>
                  </a:lnTo>
                  <a:close/>
                </a:path>
              </a:pathLst>
            </a:custGeom>
            <a:solidFill>
              <a:srgbClr val="FFC0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1198" name="Freeform 44">
              <a:extLst>
                <a:ext uri="{FF2B5EF4-FFF2-40B4-BE49-F238E27FC236}">
                  <a16:creationId xmlns:a16="http://schemas.microsoft.com/office/drawing/2014/main" id="{2E135D6F-5029-EFC0-2CC0-7701B22B5079}"/>
                </a:ext>
              </a:extLst>
            </p:cNvPr>
            <p:cNvSpPr>
              <a:spLocks noEditPoints="1"/>
            </p:cNvSpPr>
            <p:nvPr/>
          </p:nvSpPr>
          <p:spPr bwMode="auto">
            <a:xfrm>
              <a:off x="5073" y="2468"/>
              <a:ext cx="572" cy="343"/>
            </a:xfrm>
            <a:custGeom>
              <a:avLst/>
              <a:gdLst>
                <a:gd name="T0" fmla="*/ 1 w 572"/>
                <a:gd name="T1" fmla="*/ 241 h 343"/>
                <a:gd name="T2" fmla="*/ 21 w 572"/>
                <a:gd name="T3" fmla="*/ 205 h 343"/>
                <a:gd name="T4" fmla="*/ 21 w 572"/>
                <a:gd name="T5" fmla="*/ 155 h 343"/>
                <a:gd name="T6" fmla="*/ 29 w 572"/>
                <a:gd name="T7" fmla="*/ 164 h 343"/>
                <a:gd name="T8" fmla="*/ 27 w 572"/>
                <a:gd name="T9" fmla="*/ 158 h 343"/>
                <a:gd name="T10" fmla="*/ 29 w 572"/>
                <a:gd name="T11" fmla="*/ 138 h 343"/>
                <a:gd name="T12" fmla="*/ 76 w 572"/>
                <a:gd name="T13" fmla="*/ 98 h 343"/>
                <a:gd name="T14" fmla="*/ 118 w 572"/>
                <a:gd name="T15" fmla="*/ 119 h 343"/>
                <a:gd name="T16" fmla="*/ 148 w 572"/>
                <a:gd name="T17" fmla="*/ 137 h 343"/>
                <a:gd name="T18" fmla="*/ 167 w 572"/>
                <a:gd name="T19" fmla="*/ 172 h 343"/>
                <a:gd name="T20" fmla="*/ 213 w 572"/>
                <a:gd name="T21" fmla="*/ 176 h 343"/>
                <a:gd name="T22" fmla="*/ 195 w 572"/>
                <a:gd name="T23" fmla="*/ 185 h 343"/>
                <a:gd name="T24" fmla="*/ 195 w 572"/>
                <a:gd name="T25" fmla="*/ 198 h 343"/>
                <a:gd name="T26" fmla="*/ 206 w 572"/>
                <a:gd name="T27" fmla="*/ 182 h 343"/>
                <a:gd name="T28" fmla="*/ 221 w 572"/>
                <a:gd name="T29" fmla="*/ 171 h 343"/>
                <a:gd name="T30" fmla="*/ 237 w 572"/>
                <a:gd name="T31" fmla="*/ 182 h 343"/>
                <a:gd name="T32" fmla="*/ 245 w 572"/>
                <a:gd name="T33" fmla="*/ 187 h 343"/>
                <a:gd name="T34" fmla="*/ 229 w 572"/>
                <a:gd name="T35" fmla="*/ 169 h 343"/>
                <a:gd name="T36" fmla="*/ 229 w 572"/>
                <a:gd name="T37" fmla="*/ 158 h 343"/>
                <a:gd name="T38" fmla="*/ 244 w 572"/>
                <a:gd name="T39" fmla="*/ 117 h 343"/>
                <a:gd name="T40" fmla="*/ 234 w 572"/>
                <a:gd name="T41" fmla="*/ 78 h 343"/>
                <a:gd name="T42" fmla="*/ 224 w 572"/>
                <a:gd name="T43" fmla="*/ 46 h 343"/>
                <a:gd name="T44" fmla="*/ 247 w 572"/>
                <a:gd name="T45" fmla="*/ 28 h 343"/>
                <a:gd name="T46" fmla="*/ 281 w 572"/>
                <a:gd name="T47" fmla="*/ 3 h 343"/>
                <a:gd name="T48" fmla="*/ 288 w 572"/>
                <a:gd name="T49" fmla="*/ 0 h 343"/>
                <a:gd name="T50" fmla="*/ 318 w 572"/>
                <a:gd name="T51" fmla="*/ 16 h 343"/>
                <a:gd name="T52" fmla="*/ 351 w 572"/>
                <a:gd name="T53" fmla="*/ 21 h 343"/>
                <a:gd name="T54" fmla="*/ 370 w 572"/>
                <a:gd name="T55" fmla="*/ 42 h 343"/>
                <a:gd name="T56" fmla="*/ 397 w 572"/>
                <a:gd name="T57" fmla="*/ 57 h 343"/>
                <a:gd name="T58" fmla="*/ 410 w 572"/>
                <a:gd name="T59" fmla="*/ 47 h 343"/>
                <a:gd name="T60" fmla="*/ 426 w 572"/>
                <a:gd name="T61" fmla="*/ 37 h 343"/>
                <a:gd name="T62" fmla="*/ 463 w 572"/>
                <a:gd name="T63" fmla="*/ 41 h 343"/>
                <a:gd name="T64" fmla="*/ 486 w 572"/>
                <a:gd name="T65" fmla="*/ 54 h 343"/>
                <a:gd name="T66" fmla="*/ 509 w 572"/>
                <a:gd name="T67" fmla="*/ 80 h 343"/>
                <a:gd name="T68" fmla="*/ 510 w 572"/>
                <a:gd name="T69" fmla="*/ 117 h 343"/>
                <a:gd name="T70" fmla="*/ 518 w 572"/>
                <a:gd name="T71" fmla="*/ 124 h 343"/>
                <a:gd name="T72" fmla="*/ 533 w 572"/>
                <a:gd name="T73" fmla="*/ 142 h 343"/>
                <a:gd name="T74" fmla="*/ 551 w 572"/>
                <a:gd name="T75" fmla="*/ 164 h 343"/>
                <a:gd name="T76" fmla="*/ 564 w 572"/>
                <a:gd name="T77" fmla="*/ 185 h 343"/>
                <a:gd name="T78" fmla="*/ 566 w 572"/>
                <a:gd name="T79" fmla="*/ 218 h 343"/>
                <a:gd name="T80" fmla="*/ 553 w 572"/>
                <a:gd name="T81" fmla="*/ 236 h 343"/>
                <a:gd name="T82" fmla="*/ 540 w 572"/>
                <a:gd name="T83" fmla="*/ 280 h 343"/>
                <a:gd name="T84" fmla="*/ 499 w 572"/>
                <a:gd name="T85" fmla="*/ 280 h 343"/>
                <a:gd name="T86" fmla="*/ 470 w 572"/>
                <a:gd name="T87" fmla="*/ 307 h 343"/>
                <a:gd name="T88" fmla="*/ 439 w 572"/>
                <a:gd name="T89" fmla="*/ 307 h 343"/>
                <a:gd name="T90" fmla="*/ 405 w 572"/>
                <a:gd name="T91" fmla="*/ 281 h 343"/>
                <a:gd name="T92" fmla="*/ 377 w 572"/>
                <a:gd name="T93" fmla="*/ 265 h 343"/>
                <a:gd name="T94" fmla="*/ 349 w 572"/>
                <a:gd name="T95" fmla="*/ 270 h 343"/>
                <a:gd name="T96" fmla="*/ 325 w 572"/>
                <a:gd name="T97" fmla="*/ 259 h 343"/>
                <a:gd name="T98" fmla="*/ 310 w 572"/>
                <a:gd name="T99" fmla="*/ 237 h 343"/>
                <a:gd name="T100" fmla="*/ 294 w 572"/>
                <a:gd name="T101" fmla="*/ 246 h 343"/>
                <a:gd name="T102" fmla="*/ 275 w 572"/>
                <a:gd name="T103" fmla="*/ 267 h 343"/>
                <a:gd name="T104" fmla="*/ 247 w 572"/>
                <a:gd name="T105" fmla="*/ 272 h 343"/>
                <a:gd name="T106" fmla="*/ 211 w 572"/>
                <a:gd name="T107" fmla="*/ 268 h 343"/>
                <a:gd name="T108" fmla="*/ 164 w 572"/>
                <a:gd name="T109" fmla="*/ 277 h 343"/>
                <a:gd name="T110" fmla="*/ 138 w 572"/>
                <a:gd name="T111" fmla="*/ 281 h 343"/>
                <a:gd name="T112" fmla="*/ 109 w 572"/>
                <a:gd name="T113" fmla="*/ 280 h 343"/>
                <a:gd name="T114" fmla="*/ 81 w 572"/>
                <a:gd name="T115" fmla="*/ 286 h 343"/>
                <a:gd name="T116" fmla="*/ 45 w 572"/>
                <a:gd name="T117" fmla="*/ 309 h 343"/>
                <a:gd name="T118" fmla="*/ 31 w 572"/>
                <a:gd name="T119" fmla="*/ 335 h 343"/>
                <a:gd name="T120" fmla="*/ 5 w 572"/>
                <a:gd name="T121" fmla="*/ 306 h 343"/>
                <a:gd name="T122" fmla="*/ 222 w 572"/>
                <a:gd name="T123" fmla="*/ 164 h 343"/>
                <a:gd name="T124" fmla="*/ 226 w 572"/>
                <a:gd name="T125" fmla="*/ 164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72" h="343">
                  <a:moveTo>
                    <a:pt x="3" y="277"/>
                  </a:moveTo>
                  <a:lnTo>
                    <a:pt x="5" y="277"/>
                  </a:lnTo>
                  <a:lnTo>
                    <a:pt x="6" y="277"/>
                  </a:lnTo>
                  <a:lnTo>
                    <a:pt x="5" y="277"/>
                  </a:lnTo>
                  <a:lnTo>
                    <a:pt x="5" y="275"/>
                  </a:lnTo>
                  <a:lnTo>
                    <a:pt x="5" y="277"/>
                  </a:lnTo>
                  <a:lnTo>
                    <a:pt x="3" y="277"/>
                  </a:lnTo>
                  <a:lnTo>
                    <a:pt x="1" y="277"/>
                  </a:lnTo>
                  <a:lnTo>
                    <a:pt x="1" y="275"/>
                  </a:lnTo>
                  <a:lnTo>
                    <a:pt x="1" y="273"/>
                  </a:lnTo>
                  <a:lnTo>
                    <a:pt x="1" y="270"/>
                  </a:lnTo>
                  <a:lnTo>
                    <a:pt x="1" y="268"/>
                  </a:lnTo>
                  <a:lnTo>
                    <a:pt x="3" y="268"/>
                  </a:lnTo>
                  <a:lnTo>
                    <a:pt x="3" y="264"/>
                  </a:lnTo>
                  <a:lnTo>
                    <a:pt x="3" y="262"/>
                  </a:lnTo>
                  <a:lnTo>
                    <a:pt x="3" y="260"/>
                  </a:lnTo>
                  <a:lnTo>
                    <a:pt x="3" y="259"/>
                  </a:lnTo>
                  <a:lnTo>
                    <a:pt x="3" y="255"/>
                  </a:lnTo>
                  <a:lnTo>
                    <a:pt x="3" y="254"/>
                  </a:lnTo>
                  <a:lnTo>
                    <a:pt x="1" y="247"/>
                  </a:lnTo>
                  <a:lnTo>
                    <a:pt x="1" y="244"/>
                  </a:lnTo>
                  <a:lnTo>
                    <a:pt x="1" y="241"/>
                  </a:lnTo>
                  <a:lnTo>
                    <a:pt x="0" y="239"/>
                  </a:lnTo>
                  <a:lnTo>
                    <a:pt x="0" y="237"/>
                  </a:lnTo>
                  <a:lnTo>
                    <a:pt x="0" y="236"/>
                  </a:lnTo>
                  <a:lnTo>
                    <a:pt x="0" y="234"/>
                  </a:lnTo>
                  <a:lnTo>
                    <a:pt x="1" y="233"/>
                  </a:lnTo>
                  <a:lnTo>
                    <a:pt x="3" y="229"/>
                  </a:lnTo>
                  <a:lnTo>
                    <a:pt x="5" y="229"/>
                  </a:lnTo>
                  <a:lnTo>
                    <a:pt x="5" y="228"/>
                  </a:lnTo>
                  <a:lnTo>
                    <a:pt x="6" y="228"/>
                  </a:lnTo>
                  <a:lnTo>
                    <a:pt x="6" y="226"/>
                  </a:lnTo>
                  <a:lnTo>
                    <a:pt x="9" y="224"/>
                  </a:lnTo>
                  <a:lnTo>
                    <a:pt x="13" y="221"/>
                  </a:lnTo>
                  <a:lnTo>
                    <a:pt x="14" y="218"/>
                  </a:lnTo>
                  <a:lnTo>
                    <a:pt x="14" y="216"/>
                  </a:lnTo>
                  <a:lnTo>
                    <a:pt x="14" y="215"/>
                  </a:lnTo>
                  <a:lnTo>
                    <a:pt x="16" y="215"/>
                  </a:lnTo>
                  <a:lnTo>
                    <a:pt x="18" y="213"/>
                  </a:lnTo>
                  <a:lnTo>
                    <a:pt x="19" y="211"/>
                  </a:lnTo>
                  <a:lnTo>
                    <a:pt x="19" y="210"/>
                  </a:lnTo>
                  <a:lnTo>
                    <a:pt x="19" y="208"/>
                  </a:lnTo>
                  <a:lnTo>
                    <a:pt x="21" y="208"/>
                  </a:lnTo>
                  <a:lnTo>
                    <a:pt x="21" y="205"/>
                  </a:lnTo>
                  <a:lnTo>
                    <a:pt x="21" y="203"/>
                  </a:lnTo>
                  <a:lnTo>
                    <a:pt x="22" y="200"/>
                  </a:lnTo>
                  <a:lnTo>
                    <a:pt x="22" y="195"/>
                  </a:lnTo>
                  <a:lnTo>
                    <a:pt x="21" y="192"/>
                  </a:lnTo>
                  <a:lnTo>
                    <a:pt x="21" y="189"/>
                  </a:lnTo>
                  <a:lnTo>
                    <a:pt x="19" y="187"/>
                  </a:lnTo>
                  <a:lnTo>
                    <a:pt x="19" y="185"/>
                  </a:lnTo>
                  <a:lnTo>
                    <a:pt x="19" y="184"/>
                  </a:lnTo>
                  <a:lnTo>
                    <a:pt x="19" y="182"/>
                  </a:lnTo>
                  <a:lnTo>
                    <a:pt x="19" y="181"/>
                  </a:lnTo>
                  <a:lnTo>
                    <a:pt x="18" y="179"/>
                  </a:lnTo>
                  <a:lnTo>
                    <a:pt x="18" y="177"/>
                  </a:lnTo>
                  <a:lnTo>
                    <a:pt x="18" y="176"/>
                  </a:lnTo>
                  <a:lnTo>
                    <a:pt x="18" y="169"/>
                  </a:lnTo>
                  <a:lnTo>
                    <a:pt x="16" y="168"/>
                  </a:lnTo>
                  <a:lnTo>
                    <a:pt x="18" y="166"/>
                  </a:lnTo>
                  <a:lnTo>
                    <a:pt x="18" y="164"/>
                  </a:lnTo>
                  <a:lnTo>
                    <a:pt x="18" y="163"/>
                  </a:lnTo>
                  <a:lnTo>
                    <a:pt x="19" y="161"/>
                  </a:lnTo>
                  <a:lnTo>
                    <a:pt x="21" y="158"/>
                  </a:lnTo>
                  <a:lnTo>
                    <a:pt x="21" y="156"/>
                  </a:lnTo>
                  <a:lnTo>
                    <a:pt x="21" y="155"/>
                  </a:lnTo>
                  <a:lnTo>
                    <a:pt x="22" y="153"/>
                  </a:lnTo>
                  <a:lnTo>
                    <a:pt x="22" y="150"/>
                  </a:lnTo>
                  <a:lnTo>
                    <a:pt x="22" y="148"/>
                  </a:lnTo>
                  <a:lnTo>
                    <a:pt x="22" y="150"/>
                  </a:lnTo>
                  <a:lnTo>
                    <a:pt x="24" y="150"/>
                  </a:lnTo>
                  <a:lnTo>
                    <a:pt x="26" y="148"/>
                  </a:lnTo>
                  <a:lnTo>
                    <a:pt x="27" y="148"/>
                  </a:lnTo>
                  <a:lnTo>
                    <a:pt x="27" y="150"/>
                  </a:lnTo>
                  <a:lnTo>
                    <a:pt x="29" y="151"/>
                  </a:lnTo>
                  <a:lnTo>
                    <a:pt x="29" y="153"/>
                  </a:lnTo>
                  <a:lnTo>
                    <a:pt x="27" y="153"/>
                  </a:lnTo>
                  <a:lnTo>
                    <a:pt x="27" y="155"/>
                  </a:lnTo>
                  <a:lnTo>
                    <a:pt x="29" y="155"/>
                  </a:lnTo>
                  <a:lnTo>
                    <a:pt x="31" y="156"/>
                  </a:lnTo>
                  <a:lnTo>
                    <a:pt x="31" y="158"/>
                  </a:lnTo>
                  <a:lnTo>
                    <a:pt x="29" y="158"/>
                  </a:lnTo>
                  <a:lnTo>
                    <a:pt x="27" y="158"/>
                  </a:lnTo>
                  <a:lnTo>
                    <a:pt x="27" y="159"/>
                  </a:lnTo>
                  <a:lnTo>
                    <a:pt x="27" y="161"/>
                  </a:lnTo>
                  <a:lnTo>
                    <a:pt x="27" y="163"/>
                  </a:lnTo>
                  <a:lnTo>
                    <a:pt x="29" y="163"/>
                  </a:lnTo>
                  <a:lnTo>
                    <a:pt x="29" y="164"/>
                  </a:lnTo>
                  <a:lnTo>
                    <a:pt x="29" y="166"/>
                  </a:lnTo>
                  <a:lnTo>
                    <a:pt x="31" y="166"/>
                  </a:lnTo>
                  <a:lnTo>
                    <a:pt x="32" y="166"/>
                  </a:lnTo>
                  <a:lnTo>
                    <a:pt x="32" y="168"/>
                  </a:lnTo>
                  <a:lnTo>
                    <a:pt x="34" y="168"/>
                  </a:lnTo>
                  <a:lnTo>
                    <a:pt x="34" y="169"/>
                  </a:lnTo>
                  <a:lnTo>
                    <a:pt x="32" y="171"/>
                  </a:lnTo>
                  <a:lnTo>
                    <a:pt x="34" y="171"/>
                  </a:lnTo>
                  <a:lnTo>
                    <a:pt x="32" y="171"/>
                  </a:lnTo>
                  <a:lnTo>
                    <a:pt x="34" y="169"/>
                  </a:lnTo>
                  <a:lnTo>
                    <a:pt x="34" y="168"/>
                  </a:lnTo>
                  <a:lnTo>
                    <a:pt x="32" y="168"/>
                  </a:lnTo>
                  <a:lnTo>
                    <a:pt x="32" y="166"/>
                  </a:lnTo>
                  <a:lnTo>
                    <a:pt x="31" y="166"/>
                  </a:lnTo>
                  <a:lnTo>
                    <a:pt x="31" y="164"/>
                  </a:lnTo>
                  <a:lnTo>
                    <a:pt x="29" y="166"/>
                  </a:lnTo>
                  <a:lnTo>
                    <a:pt x="29" y="164"/>
                  </a:lnTo>
                  <a:lnTo>
                    <a:pt x="29" y="163"/>
                  </a:lnTo>
                  <a:lnTo>
                    <a:pt x="27" y="163"/>
                  </a:lnTo>
                  <a:lnTo>
                    <a:pt x="27" y="161"/>
                  </a:lnTo>
                  <a:lnTo>
                    <a:pt x="27" y="159"/>
                  </a:lnTo>
                  <a:lnTo>
                    <a:pt x="27" y="158"/>
                  </a:lnTo>
                  <a:lnTo>
                    <a:pt x="29" y="158"/>
                  </a:lnTo>
                  <a:lnTo>
                    <a:pt x="31" y="158"/>
                  </a:lnTo>
                  <a:lnTo>
                    <a:pt x="31" y="156"/>
                  </a:lnTo>
                  <a:lnTo>
                    <a:pt x="31" y="155"/>
                  </a:lnTo>
                  <a:lnTo>
                    <a:pt x="29" y="155"/>
                  </a:lnTo>
                  <a:lnTo>
                    <a:pt x="27" y="155"/>
                  </a:lnTo>
                  <a:lnTo>
                    <a:pt x="27" y="153"/>
                  </a:lnTo>
                  <a:lnTo>
                    <a:pt x="29" y="153"/>
                  </a:lnTo>
                  <a:lnTo>
                    <a:pt x="29" y="151"/>
                  </a:lnTo>
                  <a:lnTo>
                    <a:pt x="29" y="150"/>
                  </a:lnTo>
                  <a:lnTo>
                    <a:pt x="27" y="150"/>
                  </a:lnTo>
                  <a:lnTo>
                    <a:pt x="27" y="148"/>
                  </a:lnTo>
                  <a:lnTo>
                    <a:pt x="26" y="148"/>
                  </a:lnTo>
                  <a:lnTo>
                    <a:pt x="26" y="150"/>
                  </a:lnTo>
                  <a:lnTo>
                    <a:pt x="24" y="150"/>
                  </a:lnTo>
                  <a:lnTo>
                    <a:pt x="24" y="148"/>
                  </a:lnTo>
                  <a:lnTo>
                    <a:pt x="22" y="148"/>
                  </a:lnTo>
                  <a:lnTo>
                    <a:pt x="24" y="148"/>
                  </a:lnTo>
                  <a:lnTo>
                    <a:pt x="26" y="145"/>
                  </a:lnTo>
                  <a:lnTo>
                    <a:pt x="27" y="145"/>
                  </a:lnTo>
                  <a:lnTo>
                    <a:pt x="27" y="140"/>
                  </a:lnTo>
                  <a:lnTo>
                    <a:pt x="29" y="138"/>
                  </a:lnTo>
                  <a:lnTo>
                    <a:pt x="29" y="137"/>
                  </a:lnTo>
                  <a:lnTo>
                    <a:pt x="29" y="133"/>
                  </a:lnTo>
                  <a:lnTo>
                    <a:pt x="31" y="132"/>
                  </a:lnTo>
                  <a:lnTo>
                    <a:pt x="31" y="129"/>
                  </a:lnTo>
                  <a:lnTo>
                    <a:pt x="31" y="125"/>
                  </a:lnTo>
                  <a:lnTo>
                    <a:pt x="32" y="124"/>
                  </a:lnTo>
                  <a:lnTo>
                    <a:pt x="32" y="122"/>
                  </a:lnTo>
                  <a:lnTo>
                    <a:pt x="34" y="122"/>
                  </a:lnTo>
                  <a:lnTo>
                    <a:pt x="34" y="120"/>
                  </a:lnTo>
                  <a:lnTo>
                    <a:pt x="39" y="119"/>
                  </a:lnTo>
                  <a:lnTo>
                    <a:pt x="42" y="117"/>
                  </a:lnTo>
                  <a:lnTo>
                    <a:pt x="48" y="116"/>
                  </a:lnTo>
                  <a:lnTo>
                    <a:pt x="52" y="116"/>
                  </a:lnTo>
                  <a:lnTo>
                    <a:pt x="53" y="114"/>
                  </a:lnTo>
                  <a:lnTo>
                    <a:pt x="55" y="112"/>
                  </a:lnTo>
                  <a:lnTo>
                    <a:pt x="58" y="112"/>
                  </a:lnTo>
                  <a:lnTo>
                    <a:pt x="63" y="107"/>
                  </a:lnTo>
                  <a:lnTo>
                    <a:pt x="65" y="106"/>
                  </a:lnTo>
                  <a:lnTo>
                    <a:pt x="66" y="104"/>
                  </a:lnTo>
                  <a:lnTo>
                    <a:pt x="68" y="104"/>
                  </a:lnTo>
                  <a:lnTo>
                    <a:pt x="74" y="99"/>
                  </a:lnTo>
                  <a:lnTo>
                    <a:pt x="76" y="98"/>
                  </a:lnTo>
                  <a:lnTo>
                    <a:pt x="84" y="91"/>
                  </a:lnTo>
                  <a:lnTo>
                    <a:pt x="88" y="88"/>
                  </a:lnTo>
                  <a:lnTo>
                    <a:pt x="92" y="86"/>
                  </a:lnTo>
                  <a:lnTo>
                    <a:pt x="92" y="85"/>
                  </a:lnTo>
                  <a:lnTo>
                    <a:pt x="94" y="85"/>
                  </a:lnTo>
                  <a:lnTo>
                    <a:pt x="96" y="85"/>
                  </a:lnTo>
                  <a:lnTo>
                    <a:pt x="94" y="88"/>
                  </a:lnTo>
                  <a:lnTo>
                    <a:pt x="94" y="91"/>
                  </a:lnTo>
                  <a:lnTo>
                    <a:pt x="96" y="96"/>
                  </a:lnTo>
                  <a:lnTo>
                    <a:pt x="96" y="98"/>
                  </a:lnTo>
                  <a:lnTo>
                    <a:pt x="96" y="99"/>
                  </a:lnTo>
                  <a:lnTo>
                    <a:pt x="97" y="101"/>
                  </a:lnTo>
                  <a:lnTo>
                    <a:pt x="101" y="106"/>
                  </a:lnTo>
                  <a:lnTo>
                    <a:pt x="102" y="107"/>
                  </a:lnTo>
                  <a:lnTo>
                    <a:pt x="105" y="111"/>
                  </a:lnTo>
                  <a:lnTo>
                    <a:pt x="107" y="112"/>
                  </a:lnTo>
                  <a:lnTo>
                    <a:pt x="109" y="114"/>
                  </a:lnTo>
                  <a:lnTo>
                    <a:pt x="110" y="114"/>
                  </a:lnTo>
                  <a:lnTo>
                    <a:pt x="112" y="116"/>
                  </a:lnTo>
                  <a:lnTo>
                    <a:pt x="115" y="116"/>
                  </a:lnTo>
                  <a:lnTo>
                    <a:pt x="117" y="117"/>
                  </a:lnTo>
                  <a:lnTo>
                    <a:pt x="118" y="119"/>
                  </a:lnTo>
                  <a:lnTo>
                    <a:pt x="120" y="119"/>
                  </a:lnTo>
                  <a:lnTo>
                    <a:pt x="122" y="119"/>
                  </a:lnTo>
                  <a:lnTo>
                    <a:pt x="122" y="120"/>
                  </a:lnTo>
                  <a:lnTo>
                    <a:pt x="123" y="120"/>
                  </a:lnTo>
                  <a:lnTo>
                    <a:pt x="125" y="124"/>
                  </a:lnTo>
                  <a:lnTo>
                    <a:pt x="127" y="125"/>
                  </a:lnTo>
                  <a:lnTo>
                    <a:pt x="128" y="127"/>
                  </a:lnTo>
                  <a:lnTo>
                    <a:pt x="130" y="129"/>
                  </a:lnTo>
                  <a:lnTo>
                    <a:pt x="133" y="130"/>
                  </a:lnTo>
                  <a:lnTo>
                    <a:pt x="135" y="130"/>
                  </a:lnTo>
                  <a:lnTo>
                    <a:pt x="136" y="130"/>
                  </a:lnTo>
                  <a:lnTo>
                    <a:pt x="136" y="132"/>
                  </a:lnTo>
                  <a:lnTo>
                    <a:pt x="138" y="132"/>
                  </a:lnTo>
                  <a:lnTo>
                    <a:pt x="141" y="132"/>
                  </a:lnTo>
                  <a:lnTo>
                    <a:pt x="143" y="133"/>
                  </a:lnTo>
                  <a:lnTo>
                    <a:pt x="144" y="133"/>
                  </a:lnTo>
                  <a:lnTo>
                    <a:pt x="146" y="133"/>
                  </a:lnTo>
                  <a:lnTo>
                    <a:pt x="146" y="135"/>
                  </a:lnTo>
                  <a:lnTo>
                    <a:pt x="146" y="137"/>
                  </a:lnTo>
                  <a:lnTo>
                    <a:pt x="146" y="135"/>
                  </a:lnTo>
                  <a:lnTo>
                    <a:pt x="146" y="137"/>
                  </a:lnTo>
                  <a:lnTo>
                    <a:pt x="148" y="137"/>
                  </a:lnTo>
                  <a:lnTo>
                    <a:pt x="146" y="137"/>
                  </a:lnTo>
                  <a:lnTo>
                    <a:pt x="148" y="138"/>
                  </a:lnTo>
                  <a:lnTo>
                    <a:pt x="148" y="140"/>
                  </a:lnTo>
                  <a:lnTo>
                    <a:pt x="149" y="140"/>
                  </a:lnTo>
                  <a:lnTo>
                    <a:pt x="149" y="142"/>
                  </a:lnTo>
                  <a:lnTo>
                    <a:pt x="151" y="142"/>
                  </a:lnTo>
                  <a:lnTo>
                    <a:pt x="151" y="145"/>
                  </a:lnTo>
                  <a:lnTo>
                    <a:pt x="153" y="146"/>
                  </a:lnTo>
                  <a:lnTo>
                    <a:pt x="153" y="148"/>
                  </a:lnTo>
                  <a:lnTo>
                    <a:pt x="153" y="151"/>
                  </a:lnTo>
                  <a:lnTo>
                    <a:pt x="154" y="151"/>
                  </a:lnTo>
                  <a:lnTo>
                    <a:pt x="156" y="155"/>
                  </a:lnTo>
                  <a:lnTo>
                    <a:pt x="157" y="156"/>
                  </a:lnTo>
                  <a:lnTo>
                    <a:pt x="159" y="159"/>
                  </a:lnTo>
                  <a:lnTo>
                    <a:pt x="159" y="161"/>
                  </a:lnTo>
                  <a:lnTo>
                    <a:pt x="159" y="163"/>
                  </a:lnTo>
                  <a:lnTo>
                    <a:pt x="161" y="164"/>
                  </a:lnTo>
                  <a:lnTo>
                    <a:pt x="161" y="166"/>
                  </a:lnTo>
                  <a:lnTo>
                    <a:pt x="161" y="168"/>
                  </a:lnTo>
                  <a:lnTo>
                    <a:pt x="164" y="171"/>
                  </a:lnTo>
                  <a:lnTo>
                    <a:pt x="166" y="172"/>
                  </a:lnTo>
                  <a:lnTo>
                    <a:pt x="167" y="172"/>
                  </a:lnTo>
                  <a:lnTo>
                    <a:pt x="169" y="174"/>
                  </a:lnTo>
                  <a:lnTo>
                    <a:pt x="172" y="174"/>
                  </a:lnTo>
                  <a:lnTo>
                    <a:pt x="174" y="174"/>
                  </a:lnTo>
                  <a:lnTo>
                    <a:pt x="177" y="174"/>
                  </a:lnTo>
                  <a:lnTo>
                    <a:pt x="179" y="174"/>
                  </a:lnTo>
                  <a:lnTo>
                    <a:pt x="180" y="174"/>
                  </a:lnTo>
                  <a:lnTo>
                    <a:pt x="182" y="174"/>
                  </a:lnTo>
                  <a:lnTo>
                    <a:pt x="185" y="177"/>
                  </a:lnTo>
                  <a:lnTo>
                    <a:pt x="185" y="179"/>
                  </a:lnTo>
                  <a:lnTo>
                    <a:pt x="187" y="179"/>
                  </a:lnTo>
                  <a:lnTo>
                    <a:pt x="187" y="181"/>
                  </a:lnTo>
                  <a:lnTo>
                    <a:pt x="188" y="181"/>
                  </a:lnTo>
                  <a:lnTo>
                    <a:pt x="190" y="182"/>
                  </a:lnTo>
                  <a:lnTo>
                    <a:pt x="192" y="182"/>
                  </a:lnTo>
                  <a:lnTo>
                    <a:pt x="193" y="182"/>
                  </a:lnTo>
                  <a:lnTo>
                    <a:pt x="195" y="182"/>
                  </a:lnTo>
                  <a:lnTo>
                    <a:pt x="196" y="182"/>
                  </a:lnTo>
                  <a:lnTo>
                    <a:pt x="198" y="182"/>
                  </a:lnTo>
                  <a:lnTo>
                    <a:pt x="200" y="181"/>
                  </a:lnTo>
                  <a:lnTo>
                    <a:pt x="205" y="179"/>
                  </a:lnTo>
                  <a:lnTo>
                    <a:pt x="206" y="179"/>
                  </a:lnTo>
                  <a:lnTo>
                    <a:pt x="213" y="176"/>
                  </a:lnTo>
                  <a:lnTo>
                    <a:pt x="216" y="172"/>
                  </a:lnTo>
                  <a:lnTo>
                    <a:pt x="218" y="172"/>
                  </a:lnTo>
                  <a:lnTo>
                    <a:pt x="218" y="174"/>
                  </a:lnTo>
                  <a:lnTo>
                    <a:pt x="218" y="176"/>
                  </a:lnTo>
                  <a:lnTo>
                    <a:pt x="216" y="176"/>
                  </a:lnTo>
                  <a:lnTo>
                    <a:pt x="214" y="176"/>
                  </a:lnTo>
                  <a:lnTo>
                    <a:pt x="213" y="177"/>
                  </a:lnTo>
                  <a:lnTo>
                    <a:pt x="209" y="181"/>
                  </a:lnTo>
                  <a:lnTo>
                    <a:pt x="209" y="179"/>
                  </a:lnTo>
                  <a:lnTo>
                    <a:pt x="208" y="179"/>
                  </a:lnTo>
                  <a:lnTo>
                    <a:pt x="206" y="179"/>
                  </a:lnTo>
                  <a:lnTo>
                    <a:pt x="206" y="181"/>
                  </a:lnTo>
                  <a:lnTo>
                    <a:pt x="208" y="181"/>
                  </a:lnTo>
                  <a:lnTo>
                    <a:pt x="206" y="182"/>
                  </a:lnTo>
                  <a:lnTo>
                    <a:pt x="205" y="182"/>
                  </a:lnTo>
                  <a:lnTo>
                    <a:pt x="205" y="184"/>
                  </a:lnTo>
                  <a:lnTo>
                    <a:pt x="203" y="184"/>
                  </a:lnTo>
                  <a:lnTo>
                    <a:pt x="201" y="184"/>
                  </a:lnTo>
                  <a:lnTo>
                    <a:pt x="200" y="185"/>
                  </a:lnTo>
                  <a:lnTo>
                    <a:pt x="198" y="187"/>
                  </a:lnTo>
                  <a:lnTo>
                    <a:pt x="196" y="185"/>
                  </a:lnTo>
                  <a:lnTo>
                    <a:pt x="195" y="185"/>
                  </a:lnTo>
                  <a:lnTo>
                    <a:pt x="195" y="187"/>
                  </a:lnTo>
                  <a:lnTo>
                    <a:pt x="195" y="189"/>
                  </a:lnTo>
                  <a:lnTo>
                    <a:pt x="196" y="189"/>
                  </a:lnTo>
                  <a:lnTo>
                    <a:pt x="196" y="190"/>
                  </a:lnTo>
                  <a:lnTo>
                    <a:pt x="196" y="192"/>
                  </a:lnTo>
                  <a:lnTo>
                    <a:pt x="196" y="194"/>
                  </a:lnTo>
                  <a:lnTo>
                    <a:pt x="195" y="194"/>
                  </a:lnTo>
                  <a:lnTo>
                    <a:pt x="195" y="195"/>
                  </a:lnTo>
                  <a:lnTo>
                    <a:pt x="196" y="197"/>
                  </a:lnTo>
                  <a:lnTo>
                    <a:pt x="195" y="198"/>
                  </a:lnTo>
                  <a:lnTo>
                    <a:pt x="193" y="200"/>
                  </a:lnTo>
                  <a:lnTo>
                    <a:pt x="195" y="203"/>
                  </a:lnTo>
                  <a:lnTo>
                    <a:pt x="195" y="205"/>
                  </a:lnTo>
                  <a:lnTo>
                    <a:pt x="196" y="205"/>
                  </a:lnTo>
                  <a:lnTo>
                    <a:pt x="198" y="205"/>
                  </a:lnTo>
                  <a:lnTo>
                    <a:pt x="196" y="205"/>
                  </a:lnTo>
                  <a:lnTo>
                    <a:pt x="196" y="203"/>
                  </a:lnTo>
                  <a:lnTo>
                    <a:pt x="195" y="203"/>
                  </a:lnTo>
                  <a:lnTo>
                    <a:pt x="195" y="202"/>
                  </a:lnTo>
                  <a:lnTo>
                    <a:pt x="193" y="200"/>
                  </a:lnTo>
                  <a:lnTo>
                    <a:pt x="195" y="200"/>
                  </a:lnTo>
                  <a:lnTo>
                    <a:pt x="195" y="198"/>
                  </a:lnTo>
                  <a:lnTo>
                    <a:pt x="196" y="197"/>
                  </a:lnTo>
                  <a:lnTo>
                    <a:pt x="196" y="195"/>
                  </a:lnTo>
                  <a:lnTo>
                    <a:pt x="195" y="195"/>
                  </a:lnTo>
                  <a:lnTo>
                    <a:pt x="195" y="194"/>
                  </a:lnTo>
                  <a:lnTo>
                    <a:pt x="196" y="194"/>
                  </a:lnTo>
                  <a:lnTo>
                    <a:pt x="196" y="192"/>
                  </a:lnTo>
                  <a:lnTo>
                    <a:pt x="196" y="189"/>
                  </a:lnTo>
                  <a:lnTo>
                    <a:pt x="195" y="189"/>
                  </a:lnTo>
                  <a:lnTo>
                    <a:pt x="195" y="187"/>
                  </a:lnTo>
                  <a:lnTo>
                    <a:pt x="195" y="185"/>
                  </a:lnTo>
                  <a:lnTo>
                    <a:pt x="196" y="185"/>
                  </a:lnTo>
                  <a:lnTo>
                    <a:pt x="196" y="187"/>
                  </a:lnTo>
                  <a:lnTo>
                    <a:pt x="198" y="187"/>
                  </a:lnTo>
                  <a:lnTo>
                    <a:pt x="200" y="185"/>
                  </a:lnTo>
                  <a:lnTo>
                    <a:pt x="200" y="187"/>
                  </a:lnTo>
                  <a:lnTo>
                    <a:pt x="200" y="185"/>
                  </a:lnTo>
                  <a:lnTo>
                    <a:pt x="201" y="185"/>
                  </a:lnTo>
                  <a:lnTo>
                    <a:pt x="201" y="184"/>
                  </a:lnTo>
                  <a:lnTo>
                    <a:pt x="203" y="184"/>
                  </a:lnTo>
                  <a:lnTo>
                    <a:pt x="205" y="184"/>
                  </a:lnTo>
                  <a:lnTo>
                    <a:pt x="205" y="182"/>
                  </a:lnTo>
                  <a:lnTo>
                    <a:pt x="206" y="182"/>
                  </a:lnTo>
                  <a:lnTo>
                    <a:pt x="208" y="182"/>
                  </a:lnTo>
                  <a:lnTo>
                    <a:pt x="208" y="181"/>
                  </a:lnTo>
                  <a:lnTo>
                    <a:pt x="206" y="181"/>
                  </a:lnTo>
                  <a:lnTo>
                    <a:pt x="206" y="179"/>
                  </a:lnTo>
                  <a:lnTo>
                    <a:pt x="208" y="179"/>
                  </a:lnTo>
                  <a:lnTo>
                    <a:pt x="209" y="179"/>
                  </a:lnTo>
                  <a:lnTo>
                    <a:pt x="209" y="181"/>
                  </a:lnTo>
                  <a:lnTo>
                    <a:pt x="208" y="181"/>
                  </a:lnTo>
                  <a:lnTo>
                    <a:pt x="208" y="179"/>
                  </a:lnTo>
                  <a:lnTo>
                    <a:pt x="208" y="181"/>
                  </a:lnTo>
                  <a:lnTo>
                    <a:pt x="209" y="181"/>
                  </a:lnTo>
                  <a:lnTo>
                    <a:pt x="211" y="179"/>
                  </a:lnTo>
                  <a:lnTo>
                    <a:pt x="213" y="179"/>
                  </a:lnTo>
                  <a:lnTo>
                    <a:pt x="213" y="177"/>
                  </a:lnTo>
                  <a:lnTo>
                    <a:pt x="214" y="176"/>
                  </a:lnTo>
                  <a:lnTo>
                    <a:pt x="216" y="176"/>
                  </a:lnTo>
                  <a:lnTo>
                    <a:pt x="218" y="176"/>
                  </a:lnTo>
                  <a:lnTo>
                    <a:pt x="218" y="174"/>
                  </a:lnTo>
                  <a:lnTo>
                    <a:pt x="218" y="172"/>
                  </a:lnTo>
                  <a:lnTo>
                    <a:pt x="219" y="172"/>
                  </a:lnTo>
                  <a:lnTo>
                    <a:pt x="221" y="172"/>
                  </a:lnTo>
                  <a:lnTo>
                    <a:pt x="221" y="171"/>
                  </a:lnTo>
                  <a:lnTo>
                    <a:pt x="221" y="169"/>
                  </a:lnTo>
                  <a:lnTo>
                    <a:pt x="222" y="169"/>
                  </a:lnTo>
                  <a:lnTo>
                    <a:pt x="224" y="168"/>
                  </a:lnTo>
                  <a:lnTo>
                    <a:pt x="224" y="166"/>
                  </a:lnTo>
                  <a:lnTo>
                    <a:pt x="226" y="166"/>
                  </a:lnTo>
                  <a:lnTo>
                    <a:pt x="226" y="164"/>
                  </a:lnTo>
                  <a:lnTo>
                    <a:pt x="226" y="166"/>
                  </a:lnTo>
                  <a:lnTo>
                    <a:pt x="227" y="168"/>
                  </a:lnTo>
                  <a:lnTo>
                    <a:pt x="227" y="166"/>
                  </a:lnTo>
                  <a:lnTo>
                    <a:pt x="227" y="168"/>
                  </a:lnTo>
                  <a:lnTo>
                    <a:pt x="226" y="166"/>
                  </a:lnTo>
                  <a:lnTo>
                    <a:pt x="227" y="166"/>
                  </a:lnTo>
                  <a:lnTo>
                    <a:pt x="229" y="168"/>
                  </a:lnTo>
                  <a:lnTo>
                    <a:pt x="229" y="169"/>
                  </a:lnTo>
                  <a:lnTo>
                    <a:pt x="229" y="171"/>
                  </a:lnTo>
                  <a:lnTo>
                    <a:pt x="229" y="172"/>
                  </a:lnTo>
                  <a:lnTo>
                    <a:pt x="229" y="174"/>
                  </a:lnTo>
                  <a:lnTo>
                    <a:pt x="231" y="177"/>
                  </a:lnTo>
                  <a:lnTo>
                    <a:pt x="232" y="179"/>
                  </a:lnTo>
                  <a:lnTo>
                    <a:pt x="234" y="181"/>
                  </a:lnTo>
                  <a:lnTo>
                    <a:pt x="236" y="181"/>
                  </a:lnTo>
                  <a:lnTo>
                    <a:pt x="237" y="182"/>
                  </a:lnTo>
                  <a:lnTo>
                    <a:pt x="239" y="182"/>
                  </a:lnTo>
                  <a:lnTo>
                    <a:pt x="239" y="184"/>
                  </a:lnTo>
                  <a:lnTo>
                    <a:pt x="240" y="184"/>
                  </a:lnTo>
                  <a:lnTo>
                    <a:pt x="240" y="185"/>
                  </a:lnTo>
                  <a:lnTo>
                    <a:pt x="240" y="187"/>
                  </a:lnTo>
                  <a:lnTo>
                    <a:pt x="242" y="189"/>
                  </a:lnTo>
                  <a:lnTo>
                    <a:pt x="244" y="189"/>
                  </a:lnTo>
                  <a:lnTo>
                    <a:pt x="244" y="190"/>
                  </a:lnTo>
                  <a:lnTo>
                    <a:pt x="245" y="190"/>
                  </a:lnTo>
                  <a:lnTo>
                    <a:pt x="245" y="192"/>
                  </a:lnTo>
                  <a:lnTo>
                    <a:pt x="247" y="192"/>
                  </a:lnTo>
                  <a:lnTo>
                    <a:pt x="247" y="190"/>
                  </a:lnTo>
                  <a:lnTo>
                    <a:pt x="245" y="192"/>
                  </a:lnTo>
                  <a:lnTo>
                    <a:pt x="245" y="190"/>
                  </a:lnTo>
                  <a:lnTo>
                    <a:pt x="244" y="189"/>
                  </a:lnTo>
                  <a:lnTo>
                    <a:pt x="242" y="189"/>
                  </a:lnTo>
                  <a:lnTo>
                    <a:pt x="242" y="187"/>
                  </a:lnTo>
                  <a:lnTo>
                    <a:pt x="240" y="187"/>
                  </a:lnTo>
                  <a:lnTo>
                    <a:pt x="242" y="185"/>
                  </a:lnTo>
                  <a:lnTo>
                    <a:pt x="244" y="185"/>
                  </a:lnTo>
                  <a:lnTo>
                    <a:pt x="244" y="187"/>
                  </a:lnTo>
                  <a:lnTo>
                    <a:pt x="245" y="187"/>
                  </a:lnTo>
                  <a:lnTo>
                    <a:pt x="247" y="187"/>
                  </a:lnTo>
                  <a:lnTo>
                    <a:pt x="247" y="189"/>
                  </a:lnTo>
                  <a:lnTo>
                    <a:pt x="247" y="187"/>
                  </a:lnTo>
                  <a:lnTo>
                    <a:pt x="245" y="185"/>
                  </a:lnTo>
                  <a:lnTo>
                    <a:pt x="242" y="185"/>
                  </a:lnTo>
                  <a:lnTo>
                    <a:pt x="240" y="184"/>
                  </a:lnTo>
                  <a:lnTo>
                    <a:pt x="240" y="182"/>
                  </a:lnTo>
                  <a:lnTo>
                    <a:pt x="239" y="182"/>
                  </a:lnTo>
                  <a:lnTo>
                    <a:pt x="236" y="179"/>
                  </a:lnTo>
                  <a:lnTo>
                    <a:pt x="237" y="179"/>
                  </a:lnTo>
                  <a:lnTo>
                    <a:pt x="237" y="181"/>
                  </a:lnTo>
                  <a:lnTo>
                    <a:pt x="237" y="179"/>
                  </a:lnTo>
                  <a:lnTo>
                    <a:pt x="236" y="179"/>
                  </a:lnTo>
                  <a:lnTo>
                    <a:pt x="234" y="179"/>
                  </a:lnTo>
                  <a:lnTo>
                    <a:pt x="236" y="179"/>
                  </a:lnTo>
                  <a:lnTo>
                    <a:pt x="234" y="179"/>
                  </a:lnTo>
                  <a:lnTo>
                    <a:pt x="232" y="177"/>
                  </a:lnTo>
                  <a:lnTo>
                    <a:pt x="231" y="177"/>
                  </a:lnTo>
                  <a:lnTo>
                    <a:pt x="231" y="174"/>
                  </a:lnTo>
                  <a:lnTo>
                    <a:pt x="231" y="172"/>
                  </a:lnTo>
                  <a:lnTo>
                    <a:pt x="231" y="171"/>
                  </a:lnTo>
                  <a:lnTo>
                    <a:pt x="229" y="169"/>
                  </a:lnTo>
                  <a:lnTo>
                    <a:pt x="229" y="168"/>
                  </a:lnTo>
                  <a:lnTo>
                    <a:pt x="229" y="166"/>
                  </a:lnTo>
                  <a:lnTo>
                    <a:pt x="229" y="168"/>
                  </a:lnTo>
                  <a:lnTo>
                    <a:pt x="231" y="168"/>
                  </a:lnTo>
                  <a:lnTo>
                    <a:pt x="229" y="168"/>
                  </a:lnTo>
                  <a:lnTo>
                    <a:pt x="229" y="166"/>
                  </a:lnTo>
                  <a:lnTo>
                    <a:pt x="231" y="166"/>
                  </a:lnTo>
                  <a:lnTo>
                    <a:pt x="231" y="168"/>
                  </a:lnTo>
                  <a:lnTo>
                    <a:pt x="231" y="169"/>
                  </a:lnTo>
                  <a:lnTo>
                    <a:pt x="231" y="168"/>
                  </a:lnTo>
                  <a:lnTo>
                    <a:pt x="231" y="166"/>
                  </a:lnTo>
                  <a:lnTo>
                    <a:pt x="229" y="166"/>
                  </a:lnTo>
                  <a:lnTo>
                    <a:pt x="227" y="166"/>
                  </a:lnTo>
                  <a:lnTo>
                    <a:pt x="227" y="164"/>
                  </a:lnTo>
                  <a:lnTo>
                    <a:pt x="226" y="164"/>
                  </a:lnTo>
                  <a:lnTo>
                    <a:pt x="226" y="163"/>
                  </a:lnTo>
                  <a:lnTo>
                    <a:pt x="224" y="163"/>
                  </a:lnTo>
                  <a:lnTo>
                    <a:pt x="222" y="163"/>
                  </a:lnTo>
                  <a:lnTo>
                    <a:pt x="224" y="161"/>
                  </a:lnTo>
                  <a:lnTo>
                    <a:pt x="226" y="161"/>
                  </a:lnTo>
                  <a:lnTo>
                    <a:pt x="227" y="159"/>
                  </a:lnTo>
                  <a:lnTo>
                    <a:pt x="229" y="158"/>
                  </a:lnTo>
                  <a:lnTo>
                    <a:pt x="231" y="156"/>
                  </a:lnTo>
                  <a:lnTo>
                    <a:pt x="234" y="153"/>
                  </a:lnTo>
                  <a:lnTo>
                    <a:pt x="236" y="150"/>
                  </a:lnTo>
                  <a:lnTo>
                    <a:pt x="236" y="148"/>
                  </a:lnTo>
                  <a:lnTo>
                    <a:pt x="237" y="146"/>
                  </a:lnTo>
                  <a:lnTo>
                    <a:pt x="237" y="145"/>
                  </a:lnTo>
                  <a:lnTo>
                    <a:pt x="239" y="145"/>
                  </a:lnTo>
                  <a:lnTo>
                    <a:pt x="239" y="146"/>
                  </a:lnTo>
                  <a:lnTo>
                    <a:pt x="239" y="145"/>
                  </a:lnTo>
                  <a:lnTo>
                    <a:pt x="240" y="142"/>
                  </a:lnTo>
                  <a:lnTo>
                    <a:pt x="242" y="140"/>
                  </a:lnTo>
                  <a:lnTo>
                    <a:pt x="242" y="138"/>
                  </a:lnTo>
                  <a:lnTo>
                    <a:pt x="244" y="135"/>
                  </a:lnTo>
                  <a:lnTo>
                    <a:pt x="245" y="132"/>
                  </a:lnTo>
                  <a:lnTo>
                    <a:pt x="245" y="130"/>
                  </a:lnTo>
                  <a:lnTo>
                    <a:pt x="245" y="127"/>
                  </a:lnTo>
                  <a:lnTo>
                    <a:pt x="245" y="125"/>
                  </a:lnTo>
                  <a:lnTo>
                    <a:pt x="245" y="124"/>
                  </a:lnTo>
                  <a:lnTo>
                    <a:pt x="245" y="122"/>
                  </a:lnTo>
                  <a:lnTo>
                    <a:pt x="244" y="122"/>
                  </a:lnTo>
                  <a:lnTo>
                    <a:pt x="244" y="120"/>
                  </a:lnTo>
                  <a:lnTo>
                    <a:pt x="244" y="117"/>
                  </a:lnTo>
                  <a:lnTo>
                    <a:pt x="242" y="116"/>
                  </a:lnTo>
                  <a:lnTo>
                    <a:pt x="242" y="114"/>
                  </a:lnTo>
                  <a:lnTo>
                    <a:pt x="242" y="111"/>
                  </a:lnTo>
                  <a:lnTo>
                    <a:pt x="240" y="109"/>
                  </a:lnTo>
                  <a:lnTo>
                    <a:pt x="239" y="104"/>
                  </a:lnTo>
                  <a:lnTo>
                    <a:pt x="239" y="103"/>
                  </a:lnTo>
                  <a:lnTo>
                    <a:pt x="239" y="99"/>
                  </a:lnTo>
                  <a:lnTo>
                    <a:pt x="237" y="99"/>
                  </a:lnTo>
                  <a:lnTo>
                    <a:pt x="237" y="98"/>
                  </a:lnTo>
                  <a:lnTo>
                    <a:pt x="237" y="96"/>
                  </a:lnTo>
                  <a:lnTo>
                    <a:pt x="237" y="94"/>
                  </a:lnTo>
                  <a:lnTo>
                    <a:pt x="237" y="93"/>
                  </a:lnTo>
                  <a:lnTo>
                    <a:pt x="236" y="91"/>
                  </a:lnTo>
                  <a:lnTo>
                    <a:pt x="234" y="89"/>
                  </a:lnTo>
                  <a:lnTo>
                    <a:pt x="234" y="88"/>
                  </a:lnTo>
                  <a:lnTo>
                    <a:pt x="234" y="86"/>
                  </a:lnTo>
                  <a:lnTo>
                    <a:pt x="234" y="85"/>
                  </a:lnTo>
                  <a:lnTo>
                    <a:pt x="232" y="85"/>
                  </a:lnTo>
                  <a:lnTo>
                    <a:pt x="234" y="83"/>
                  </a:lnTo>
                  <a:lnTo>
                    <a:pt x="234" y="81"/>
                  </a:lnTo>
                  <a:lnTo>
                    <a:pt x="234" y="80"/>
                  </a:lnTo>
                  <a:lnTo>
                    <a:pt x="234" y="78"/>
                  </a:lnTo>
                  <a:lnTo>
                    <a:pt x="232" y="76"/>
                  </a:lnTo>
                  <a:lnTo>
                    <a:pt x="232" y="75"/>
                  </a:lnTo>
                  <a:lnTo>
                    <a:pt x="231" y="75"/>
                  </a:lnTo>
                  <a:lnTo>
                    <a:pt x="231" y="73"/>
                  </a:lnTo>
                  <a:lnTo>
                    <a:pt x="231" y="70"/>
                  </a:lnTo>
                  <a:lnTo>
                    <a:pt x="229" y="70"/>
                  </a:lnTo>
                  <a:lnTo>
                    <a:pt x="229" y="68"/>
                  </a:lnTo>
                  <a:lnTo>
                    <a:pt x="227" y="67"/>
                  </a:lnTo>
                  <a:lnTo>
                    <a:pt x="227" y="65"/>
                  </a:lnTo>
                  <a:lnTo>
                    <a:pt x="227" y="63"/>
                  </a:lnTo>
                  <a:lnTo>
                    <a:pt x="227" y="62"/>
                  </a:lnTo>
                  <a:lnTo>
                    <a:pt x="227" y="60"/>
                  </a:lnTo>
                  <a:lnTo>
                    <a:pt x="226" y="60"/>
                  </a:lnTo>
                  <a:lnTo>
                    <a:pt x="227" y="60"/>
                  </a:lnTo>
                  <a:lnTo>
                    <a:pt x="229" y="60"/>
                  </a:lnTo>
                  <a:lnTo>
                    <a:pt x="227" y="60"/>
                  </a:lnTo>
                  <a:lnTo>
                    <a:pt x="226" y="55"/>
                  </a:lnTo>
                  <a:lnTo>
                    <a:pt x="226" y="54"/>
                  </a:lnTo>
                  <a:lnTo>
                    <a:pt x="224" y="50"/>
                  </a:lnTo>
                  <a:lnTo>
                    <a:pt x="224" y="49"/>
                  </a:lnTo>
                  <a:lnTo>
                    <a:pt x="222" y="49"/>
                  </a:lnTo>
                  <a:lnTo>
                    <a:pt x="224" y="46"/>
                  </a:lnTo>
                  <a:lnTo>
                    <a:pt x="222" y="44"/>
                  </a:lnTo>
                  <a:lnTo>
                    <a:pt x="224" y="44"/>
                  </a:lnTo>
                  <a:lnTo>
                    <a:pt x="222" y="42"/>
                  </a:lnTo>
                  <a:lnTo>
                    <a:pt x="227" y="42"/>
                  </a:lnTo>
                  <a:lnTo>
                    <a:pt x="229" y="42"/>
                  </a:lnTo>
                  <a:lnTo>
                    <a:pt x="231" y="41"/>
                  </a:lnTo>
                  <a:lnTo>
                    <a:pt x="231" y="37"/>
                  </a:lnTo>
                  <a:lnTo>
                    <a:pt x="229" y="36"/>
                  </a:lnTo>
                  <a:lnTo>
                    <a:pt x="231" y="34"/>
                  </a:lnTo>
                  <a:lnTo>
                    <a:pt x="234" y="33"/>
                  </a:lnTo>
                  <a:lnTo>
                    <a:pt x="234" y="31"/>
                  </a:lnTo>
                  <a:lnTo>
                    <a:pt x="237" y="29"/>
                  </a:lnTo>
                  <a:lnTo>
                    <a:pt x="237" y="28"/>
                  </a:lnTo>
                  <a:lnTo>
                    <a:pt x="239" y="28"/>
                  </a:lnTo>
                  <a:lnTo>
                    <a:pt x="240" y="28"/>
                  </a:lnTo>
                  <a:lnTo>
                    <a:pt x="240" y="29"/>
                  </a:lnTo>
                  <a:lnTo>
                    <a:pt x="242" y="29"/>
                  </a:lnTo>
                  <a:lnTo>
                    <a:pt x="244" y="28"/>
                  </a:lnTo>
                  <a:lnTo>
                    <a:pt x="244" y="26"/>
                  </a:lnTo>
                  <a:lnTo>
                    <a:pt x="245" y="26"/>
                  </a:lnTo>
                  <a:lnTo>
                    <a:pt x="245" y="28"/>
                  </a:lnTo>
                  <a:lnTo>
                    <a:pt x="247" y="28"/>
                  </a:lnTo>
                  <a:lnTo>
                    <a:pt x="249" y="26"/>
                  </a:lnTo>
                  <a:lnTo>
                    <a:pt x="250" y="24"/>
                  </a:lnTo>
                  <a:lnTo>
                    <a:pt x="250" y="23"/>
                  </a:lnTo>
                  <a:lnTo>
                    <a:pt x="250" y="21"/>
                  </a:lnTo>
                  <a:lnTo>
                    <a:pt x="252" y="21"/>
                  </a:lnTo>
                  <a:lnTo>
                    <a:pt x="253" y="20"/>
                  </a:lnTo>
                  <a:lnTo>
                    <a:pt x="255" y="20"/>
                  </a:lnTo>
                  <a:lnTo>
                    <a:pt x="257" y="21"/>
                  </a:lnTo>
                  <a:lnTo>
                    <a:pt x="258" y="20"/>
                  </a:lnTo>
                  <a:lnTo>
                    <a:pt x="263" y="15"/>
                  </a:lnTo>
                  <a:lnTo>
                    <a:pt x="268" y="13"/>
                  </a:lnTo>
                  <a:lnTo>
                    <a:pt x="271" y="7"/>
                  </a:lnTo>
                  <a:lnTo>
                    <a:pt x="273" y="5"/>
                  </a:lnTo>
                  <a:lnTo>
                    <a:pt x="275" y="5"/>
                  </a:lnTo>
                  <a:lnTo>
                    <a:pt x="273" y="3"/>
                  </a:lnTo>
                  <a:lnTo>
                    <a:pt x="275" y="2"/>
                  </a:lnTo>
                  <a:lnTo>
                    <a:pt x="276" y="2"/>
                  </a:lnTo>
                  <a:lnTo>
                    <a:pt x="279" y="2"/>
                  </a:lnTo>
                  <a:lnTo>
                    <a:pt x="279" y="0"/>
                  </a:lnTo>
                  <a:lnTo>
                    <a:pt x="281" y="0"/>
                  </a:lnTo>
                  <a:lnTo>
                    <a:pt x="281" y="2"/>
                  </a:lnTo>
                  <a:lnTo>
                    <a:pt x="281" y="3"/>
                  </a:lnTo>
                  <a:lnTo>
                    <a:pt x="283" y="3"/>
                  </a:lnTo>
                  <a:lnTo>
                    <a:pt x="283" y="5"/>
                  </a:lnTo>
                  <a:lnTo>
                    <a:pt x="283" y="3"/>
                  </a:lnTo>
                  <a:lnTo>
                    <a:pt x="283" y="5"/>
                  </a:lnTo>
                  <a:lnTo>
                    <a:pt x="284" y="7"/>
                  </a:lnTo>
                  <a:lnTo>
                    <a:pt x="284" y="8"/>
                  </a:lnTo>
                  <a:lnTo>
                    <a:pt x="286" y="8"/>
                  </a:lnTo>
                  <a:lnTo>
                    <a:pt x="284" y="8"/>
                  </a:lnTo>
                  <a:lnTo>
                    <a:pt x="284" y="10"/>
                  </a:lnTo>
                  <a:lnTo>
                    <a:pt x="288" y="11"/>
                  </a:lnTo>
                  <a:lnTo>
                    <a:pt x="289" y="11"/>
                  </a:lnTo>
                  <a:lnTo>
                    <a:pt x="291" y="11"/>
                  </a:lnTo>
                  <a:lnTo>
                    <a:pt x="291" y="10"/>
                  </a:lnTo>
                  <a:lnTo>
                    <a:pt x="291" y="8"/>
                  </a:lnTo>
                  <a:lnTo>
                    <a:pt x="289" y="8"/>
                  </a:lnTo>
                  <a:lnTo>
                    <a:pt x="289" y="7"/>
                  </a:lnTo>
                  <a:lnTo>
                    <a:pt x="289" y="5"/>
                  </a:lnTo>
                  <a:lnTo>
                    <a:pt x="288" y="3"/>
                  </a:lnTo>
                  <a:lnTo>
                    <a:pt x="286" y="3"/>
                  </a:lnTo>
                  <a:lnTo>
                    <a:pt x="286" y="2"/>
                  </a:lnTo>
                  <a:lnTo>
                    <a:pt x="286" y="0"/>
                  </a:lnTo>
                  <a:lnTo>
                    <a:pt x="288" y="0"/>
                  </a:lnTo>
                  <a:lnTo>
                    <a:pt x="291" y="0"/>
                  </a:lnTo>
                  <a:lnTo>
                    <a:pt x="292" y="3"/>
                  </a:lnTo>
                  <a:lnTo>
                    <a:pt x="294" y="5"/>
                  </a:lnTo>
                  <a:lnTo>
                    <a:pt x="297" y="5"/>
                  </a:lnTo>
                  <a:lnTo>
                    <a:pt x="299" y="5"/>
                  </a:lnTo>
                  <a:lnTo>
                    <a:pt x="301" y="5"/>
                  </a:lnTo>
                  <a:lnTo>
                    <a:pt x="302" y="7"/>
                  </a:lnTo>
                  <a:lnTo>
                    <a:pt x="301" y="8"/>
                  </a:lnTo>
                  <a:lnTo>
                    <a:pt x="305" y="11"/>
                  </a:lnTo>
                  <a:lnTo>
                    <a:pt x="305" y="10"/>
                  </a:lnTo>
                  <a:lnTo>
                    <a:pt x="307" y="10"/>
                  </a:lnTo>
                  <a:lnTo>
                    <a:pt x="307" y="11"/>
                  </a:lnTo>
                  <a:lnTo>
                    <a:pt x="310" y="10"/>
                  </a:lnTo>
                  <a:lnTo>
                    <a:pt x="310" y="11"/>
                  </a:lnTo>
                  <a:lnTo>
                    <a:pt x="312" y="11"/>
                  </a:lnTo>
                  <a:lnTo>
                    <a:pt x="312" y="10"/>
                  </a:lnTo>
                  <a:lnTo>
                    <a:pt x="314" y="10"/>
                  </a:lnTo>
                  <a:lnTo>
                    <a:pt x="314" y="11"/>
                  </a:lnTo>
                  <a:lnTo>
                    <a:pt x="314" y="13"/>
                  </a:lnTo>
                  <a:lnTo>
                    <a:pt x="317" y="15"/>
                  </a:lnTo>
                  <a:lnTo>
                    <a:pt x="318" y="15"/>
                  </a:lnTo>
                  <a:lnTo>
                    <a:pt x="318" y="16"/>
                  </a:lnTo>
                  <a:lnTo>
                    <a:pt x="320" y="16"/>
                  </a:lnTo>
                  <a:lnTo>
                    <a:pt x="322" y="16"/>
                  </a:lnTo>
                  <a:lnTo>
                    <a:pt x="323" y="16"/>
                  </a:lnTo>
                  <a:lnTo>
                    <a:pt x="325" y="15"/>
                  </a:lnTo>
                  <a:lnTo>
                    <a:pt x="327" y="15"/>
                  </a:lnTo>
                  <a:lnTo>
                    <a:pt x="330" y="15"/>
                  </a:lnTo>
                  <a:lnTo>
                    <a:pt x="330" y="16"/>
                  </a:lnTo>
                  <a:lnTo>
                    <a:pt x="330" y="18"/>
                  </a:lnTo>
                  <a:lnTo>
                    <a:pt x="333" y="21"/>
                  </a:lnTo>
                  <a:lnTo>
                    <a:pt x="335" y="21"/>
                  </a:lnTo>
                  <a:lnTo>
                    <a:pt x="336" y="21"/>
                  </a:lnTo>
                  <a:lnTo>
                    <a:pt x="338" y="20"/>
                  </a:lnTo>
                  <a:lnTo>
                    <a:pt x="338" y="21"/>
                  </a:lnTo>
                  <a:lnTo>
                    <a:pt x="340" y="21"/>
                  </a:lnTo>
                  <a:lnTo>
                    <a:pt x="343" y="21"/>
                  </a:lnTo>
                  <a:lnTo>
                    <a:pt x="344" y="21"/>
                  </a:lnTo>
                  <a:lnTo>
                    <a:pt x="346" y="20"/>
                  </a:lnTo>
                  <a:lnTo>
                    <a:pt x="348" y="18"/>
                  </a:lnTo>
                  <a:lnTo>
                    <a:pt x="348" y="20"/>
                  </a:lnTo>
                  <a:lnTo>
                    <a:pt x="349" y="20"/>
                  </a:lnTo>
                  <a:lnTo>
                    <a:pt x="351" y="20"/>
                  </a:lnTo>
                  <a:lnTo>
                    <a:pt x="351" y="21"/>
                  </a:lnTo>
                  <a:lnTo>
                    <a:pt x="351" y="24"/>
                  </a:lnTo>
                  <a:lnTo>
                    <a:pt x="351" y="26"/>
                  </a:lnTo>
                  <a:lnTo>
                    <a:pt x="351" y="28"/>
                  </a:lnTo>
                  <a:lnTo>
                    <a:pt x="351" y="29"/>
                  </a:lnTo>
                  <a:lnTo>
                    <a:pt x="351" y="31"/>
                  </a:lnTo>
                  <a:lnTo>
                    <a:pt x="353" y="31"/>
                  </a:lnTo>
                  <a:lnTo>
                    <a:pt x="354" y="31"/>
                  </a:lnTo>
                  <a:lnTo>
                    <a:pt x="356" y="31"/>
                  </a:lnTo>
                  <a:lnTo>
                    <a:pt x="357" y="31"/>
                  </a:lnTo>
                  <a:lnTo>
                    <a:pt x="359" y="31"/>
                  </a:lnTo>
                  <a:lnTo>
                    <a:pt x="361" y="33"/>
                  </a:lnTo>
                  <a:lnTo>
                    <a:pt x="362" y="34"/>
                  </a:lnTo>
                  <a:lnTo>
                    <a:pt x="364" y="34"/>
                  </a:lnTo>
                  <a:lnTo>
                    <a:pt x="366" y="34"/>
                  </a:lnTo>
                  <a:lnTo>
                    <a:pt x="367" y="36"/>
                  </a:lnTo>
                  <a:lnTo>
                    <a:pt x="366" y="37"/>
                  </a:lnTo>
                  <a:lnTo>
                    <a:pt x="366" y="39"/>
                  </a:lnTo>
                  <a:lnTo>
                    <a:pt x="367" y="39"/>
                  </a:lnTo>
                  <a:lnTo>
                    <a:pt x="369" y="39"/>
                  </a:lnTo>
                  <a:lnTo>
                    <a:pt x="369" y="41"/>
                  </a:lnTo>
                  <a:lnTo>
                    <a:pt x="369" y="42"/>
                  </a:lnTo>
                  <a:lnTo>
                    <a:pt x="370" y="42"/>
                  </a:lnTo>
                  <a:lnTo>
                    <a:pt x="372" y="42"/>
                  </a:lnTo>
                  <a:lnTo>
                    <a:pt x="372" y="44"/>
                  </a:lnTo>
                  <a:lnTo>
                    <a:pt x="370" y="44"/>
                  </a:lnTo>
                  <a:lnTo>
                    <a:pt x="372" y="44"/>
                  </a:lnTo>
                  <a:lnTo>
                    <a:pt x="372" y="46"/>
                  </a:lnTo>
                  <a:lnTo>
                    <a:pt x="374" y="47"/>
                  </a:lnTo>
                  <a:lnTo>
                    <a:pt x="374" y="49"/>
                  </a:lnTo>
                  <a:lnTo>
                    <a:pt x="375" y="49"/>
                  </a:lnTo>
                  <a:lnTo>
                    <a:pt x="375" y="50"/>
                  </a:lnTo>
                  <a:lnTo>
                    <a:pt x="377" y="50"/>
                  </a:lnTo>
                  <a:lnTo>
                    <a:pt x="379" y="50"/>
                  </a:lnTo>
                  <a:lnTo>
                    <a:pt x="380" y="50"/>
                  </a:lnTo>
                  <a:lnTo>
                    <a:pt x="379" y="52"/>
                  </a:lnTo>
                  <a:lnTo>
                    <a:pt x="380" y="52"/>
                  </a:lnTo>
                  <a:lnTo>
                    <a:pt x="382" y="52"/>
                  </a:lnTo>
                  <a:lnTo>
                    <a:pt x="382" y="50"/>
                  </a:lnTo>
                  <a:lnTo>
                    <a:pt x="387" y="52"/>
                  </a:lnTo>
                  <a:lnTo>
                    <a:pt x="387" y="50"/>
                  </a:lnTo>
                  <a:lnTo>
                    <a:pt x="392" y="50"/>
                  </a:lnTo>
                  <a:lnTo>
                    <a:pt x="395" y="54"/>
                  </a:lnTo>
                  <a:lnTo>
                    <a:pt x="395" y="57"/>
                  </a:lnTo>
                  <a:lnTo>
                    <a:pt x="397" y="57"/>
                  </a:lnTo>
                  <a:lnTo>
                    <a:pt x="400" y="57"/>
                  </a:lnTo>
                  <a:lnTo>
                    <a:pt x="401" y="57"/>
                  </a:lnTo>
                  <a:lnTo>
                    <a:pt x="401" y="55"/>
                  </a:lnTo>
                  <a:lnTo>
                    <a:pt x="400" y="55"/>
                  </a:lnTo>
                  <a:lnTo>
                    <a:pt x="400" y="54"/>
                  </a:lnTo>
                  <a:lnTo>
                    <a:pt x="401" y="54"/>
                  </a:lnTo>
                  <a:lnTo>
                    <a:pt x="401" y="52"/>
                  </a:lnTo>
                  <a:lnTo>
                    <a:pt x="401" y="54"/>
                  </a:lnTo>
                  <a:lnTo>
                    <a:pt x="401" y="55"/>
                  </a:lnTo>
                  <a:lnTo>
                    <a:pt x="403" y="55"/>
                  </a:lnTo>
                  <a:lnTo>
                    <a:pt x="403" y="57"/>
                  </a:lnTo>
                  <a:lnTo>
                    <a:pt x="405" y="57"/>
                  </a:lnTo>
                  <a:lnTo>
                    <a:pt x="405" y="55"/>
                  </a:lnTo>
                  <a:lnTo>
                    <a:pt x="405" y="54"/>
                  </a:lnTo>
                  <a:lnTo>
                    <a:pt x="405" y="52"/>
                  </a:lnTo>
                  <a:lnTo>
                    <a:pt x="405" y="50"/>
                  </a:lnTo>
                  <a:lnTo>
                    <a:pt x="406" y="50"/>
                  </a:lnTo>
                  <a:lnTo>
                    <a:pt x="406" y="49"/>
                  </a:lnTo>
                  <a:lnTo>
                    <a:pt x="408" y="49"/>
                  </a:lnTo>
                  <a:lnTo>
                    <a:pt x="406" y="47"/>
                  </a:lnTo>
                  <a:lnTo>
                    <a:pt x="408" y="47"/>
                  </a:lnTo>
                  <a:lnTo>
                    <a:pt x="410" y="47"/>
                  </a:lnTo>
                  <a:lnTo>
                    <a:pt x="411" y="46"/>
                  </a:lnTo>
                  <a:lnTo>
                    <a:pt x="411" y="44"/>
                  </a:lnTo>
                  <a:lnTo>
                    <a:pt x="413" y="44"/>
                  </a:lnTo>
                  <a:lnTo>
                    <a:pt x="414" y="44"/>
                  </a:lnTo>
                  <a:lnTo>
                    <a:pt x="414" y="46"/>
                  </a:lnTo>
                  <a:lnTo>
                    <a:pt x="413" y="46"/>
                  </a:lnTo>
                  <a:lnTo>
                    <a:pt x="414" y="47"/>
                  </a:lnTo>
                  <a:lnTo>
                    <a:pt x="414" y="46"/>
                  </a:lnTo>
                  <a:lnTo>
                    <a:pt x="414" y="44"/>
                  </a:lnTo>
                  <a:lnTo>
                    <a:pt x="416" y="44"/>
                  </a:lnTo>
                  <a:lnTo>
                    <a:pt x="416" y="42"/>
                  </a:lnTo>
                  <a:lnTo>
                    <a:pt x="418" y="42"/>
                  </a:lnTo>
                  <a:lnTo>
                    <a:pt x="419" y="42"/>
                  </a:lnTo>
                  <a:lnTo>
                    <a:pt x="419" y="41"/>
                  </a:lnTo>
                  <a:lnTo>
                    <a:pt x="421" y="41"/>
                  </a:lnTo>
                  <a:lnTo>
                    <a:pt x="419" y="39"/>
                  </a:lnTo>
                  <a:lnTo>
                    <a:pt x="419" y="37"/>
                  </a:lnTo>
                  <a:lnTo>
                    <a:pt x="421" y="36"/>
                  </a:lnTo>
                  <a:lnTo>
                    <a:pt x="423" y="34"/>
                  </a:lnTo>
                  <a:lnTo>
                    <a:pt x="424" y="34"/>
                  </a:lnTo>
                  <a:lnTo>
                    <a:pt x="426" y="36"/>
                  </a:lnTo>
                  <a:lnTo>
                    <a:pt x="426" y="37"/>
                  </a:lnTo>
                  <a:lnTo>
                    <a:pt x="427" y="37"/>
                  </a:lnTo>
                  <a:lnTo>
                    <a:pt x="427" y="36"/>
                  </a:lnTo>
                  <a:lnTo>
                    <a:pt x="429" y="36"/>
                  </a:lnTo>
                  <a:lnTo>
                    <a:pt x="432" y="36"/>
                  </a:lnTo>
                  <a:lnTo>
                    <a:pt x="434" y="36"/>
                  </a:lnTo>
                  <a:lnTo>
                    <a:pt x="434" y="37"/>
                  </a:lnTo>
                  <a:lnTo>
                    <a:pt x="437" y="39"/>
                  </a:lnTo>
                  <a:lnTo>
                    <a:pt x="439" y="39"/>
                  </a:lnTo>
                  <a:lnTo>
                    <a:pt x="440" y="41"/>
                  </a:lnTo>
                  <a:lnTo>
                    <a:pt x="444" y="39"/>
                  </a:lnTo>
                  <a:lnTo>
                    <a:pt x="445" y="41"/>
                  </a:lnTo>
                  <a:lnTo>
                    <a:pt x="447" y="41"/>
                  </a:lnTo>
                  <a:lnTo>
                    <a:pt x="449" y="39"/>
                  </a:lnTo>
                  <a:lnTo>
                    <a:pt x="450" y="39"/>
                  </a:lnTo>
                  <a:lnTo>
                    <a:pt x="452" y="39"/>
                  </a:lnTo>
                  <a:lnTo>
                    <a:pt x="453" y="41"/>
                  </a:lnTo>
                  <a:lnTo>
                    <a:pt x="455" y="41"/>
                  </a:lnTo>
                  <a:lnTo>
                    <a:pt x="458" y="41"/>
                  </a:lnTo>
                  <a:lnTo>
                    <a:pt x="460" y="41"/>
                  </a:lnTo>
                  <a:lnTo>
                    <a:pt x="460" y="39"/>
                  </a:lnTo>
                  <a:lnTo>
                    <a:pt x="462" y="39"/>
                  </a:lnTo>
                  <a:lnTo>
                    <a:pt x="463" y="41"/>
                  </a:lnTo>
                  <a:lnTo>
                    <a:pt x="465" y="39"/>
                  </a:lnTo>
                  <a:lnTo>
                    <a:pt x="466" y="39"/>
                  </a:lnTo>
                  <a:lnTo>
                    <a:pt x="470" y="36"/>
                  </a:lnTo>
                  <a:lnTo>
                    <a:pt x="475" y="36"/>
                  </a:lnTo>
                  <a:lnTo>
                    <a:pt x="475" y="37"/>
                  </a:lnTo>
                  <a:lnTo>
                    <a:pt x="476" y="37"/>
                  </a:lnTo>
                  <a:lnTo>
                    <a:pt x="476" y="39"/>
                  </a:lnTo>
                  <a:lnTo>
                    <a:pt x="475" y="41"/>
                  </a:lnTo>
                  <a:lnTo>
                    <a:pt x="476" y="42"/>
                  </a:lnTo>
                  <a:lnTo>
                    <a:pt x="476" y="44"/>
                  </a:lnTo>
                  <a:lnTo>
                    <a:pt x="476" y="46"/>
                  </a:lnTo>
                  <a:lnTo>
                    <a:pt x="476" y="47"/>
                  </a:lnTo>
                  <a:lnTo>
                    <a:pt x="475" y="47"/>
                  </a:lnTo>
                  <a:lnTo>
                    <a:pt x="475" y="49"/>
                  </a:lnTo>
                  <a:lnTo>
                    <a:pt x="475" y="50"/>
                  </a:lnTo>
                  <a:lnTo>
                    <a:pt x="476" y="50"/>
                  </a:lnTo>
                  <a:lnTo>
                    <a:pt x="478" y="52"/>
                  </a:lnTo>
                  <a:lnTo>
                    <a:pt x="479" y="52"/>
                  </a:lnTo>
                  <a:lnTo>
                    <a:pt x="481" y="52"/>
                  </a:lnTo>
                  <a:lnTo>
                    <a:pt x="483" y="52"/>
                  </a:lnTo>
                  <a:lnTo>
                    <a:pt x="484" y="54"/>
                  </a:lnTo>
                  <a:lnTo>
                    <a:pt x="486" y="54"/>
                  </a:lnTo>
                  <a:lnTo>
                    <a:pt x="488" y="54"/>
                  </a:lnTo>
                  <a:lnTo>
                    <a:pt x="489" y="54"/>
                  </a:lnTo>
                  <a:lnTo>
                    <a:pt x="489" y="55"/>
                  </a:lnTo>
                  <a:lnTo>
                    <a:pt x="491" y="57"/>
                  </a:lnTo>
                  <a:lnTo>
                    <a:pt x="494" y="57"/>
                  </a:lnTo>
                  <a:lnTo>
                    <a:pt x="496" y="59"/>
                  </a:lnTo>
                  <a:lnTo>
                    <a:pt x="497" y="59"/>
                  </a:lnTo>
                  <a:lnTo>
                    <a:pt x="497" y="60"/>
                  </a:lnTo>
                  <a:lnTo>
                    <a:pt x="499" y="62"/>
                  </a:lnTo>
                  <a:lnTo>
                    <a:pt x="501" y="60"/>
                  </a:lnTo>
                  <a:lnTo>
                    <a:pt x="502" y="60"/>
                  </a:lnTo>
                  <a:lnTo>
                    <a:pt x="505" y="62"/>
                  </a:lnTo>
                  <a:lnTo>
                    <a:pt x="505" y="63"/>
                  </a:lnTo>
                  <a:lnTo>
                    <a:pt x="507" y="63"/>
                  </a:lnTo>
                  <a:lnTo>
                    <a:pt x="507" y="65"/>
                  </a:lnTo>
                  <a:lnTo>
                    <a:pt x="507" y="68"/>
                  </a:lnTo>
                  <a:lnTo>
                    <a:pt x="507" y="70"/>
                  </a:lnTo>
                  <a:lnTo>
                    <a:pt x="507" y="72"/>
                  </a:lnTo>
                  <a:lnTo>
                    <a:pt x="507" y="73"/>
                  </a:lnTo>
                  <a:lnTo>
                    <a:pt x="507" y="75"/>
                  </a:lnTo>
                  <a:lnTo>
                    <a:pt x="507" y="78"/>
                  </a:lnTo>
                  <a:lnTo>
                    <a:pt x="509" y="80"/>
                  </a:lnTo>
                  <a:lnTo>
                    <a:pt x="507" y="85"/>
                  </a:lnTo>
                  <a:lnTo>
                    <a:pt x="509" y="86"/>
                  </a:lnTo>
                  <a:lnTo>
                    <a:pt x="507" y="86"/>
                  </a:lnTo>
                  <a:lnTo>
                    <a:pt x="505" y="88"/>
                  </a:lnTo>
                  <a:lnTo>
                    <a:pt x="504" y="88"/>
                  </a:lnTo>
                  <a:lnTo>
                    <a:pt x="504" y="89"/>
                  </a:lnTo>
                  <a:lnTo>
                    <a:pt x="502" y="91"/>
                  </a:lnTo>
                  <a:lnTo>
                    <a:pt x="504" y="93"/>
                  </a:lnTo>
                  <a:lnTo>
                    <a:pt x="502" y="93"/>
                  </a:lnTo>
                  <a:lnTo>
                    <a:pt x="502" y="94"/>
                  </a:lnTo>
                  <a:lnTo>
                    <a:pt x="504" y="94"/>
                  </a:lnTo>
                  <a:lnTo>
                    <a:pt x="505" y="94"/>
                  </a:lnTo>
                  <a:lnTo>
                    <a:pt x="505" y="96"/>
                  </a:lnTo>
                  <a:lnTo>
                    <a:pt x="505" y="98"/>
                  </a:lnTo>
                  <a:lnTo>
                    <a:pt x="505" y="99"/>
                  </a:lnTo>
                  <a:lnTo>
                    <a:pt x="505" y="101"/>
                  </a:lnTo>
                  <a:lnTo>
                    <a:pt x="505" y="103"/>
                  </a:lnTo>
                  <a:lnTo>
                    <a:pt x="505" y="106"/>
                  </a:lnTo>
                  <a:lnTo>
                    <a:pt x="505" y="107"/>
                  </a:lnTo>
                  <a:lnTo>
                    <a:pt x="509" y="106"/>
                  </a:lnTo>
                  <a:lnTo>
                    <a:pt x="509" y="112"/>
                  </a:lnTo>
                  <a:lnTo>
                    <a:pt x="510" y="117"/>
                  </a:lnTo>
                  <a:lnTo>
                    <a:pt x="509" y="119"/>
                  </a:lnTo>
                  <a:lnTo>
                    <a:pt x="507" y="120"/>
                  </a:lnTo>
                  <a:lnTo>
                    <a:pt x="507" y="122"/>
                  </a:lnTo>
                  <a:lnTo>
                    <a:pt x="505" y="122"/>
                  </a:lnTo>
                  <a:lnTo>
                    <a:pt x="505" y="124"/>
                  </a:lnTo>
                  <a:lnTo>
                    <a:pt x="507" y="124"/>
                  </a:lnTo>
                  <a:lnTo>
                    <a:pt x="507" y="127"/>
                  </a:lnTo>
                  <a:lnTo>
                    <a:pt x="505" y="129"/>
                  </a:lnTo>
                  <a:lnTo>
                    <a:pt x="507" y="129"/>
                  </a:lnTo>
                  <a:lnTo>
                    <a:pt x="507" y="130"/>
                  </a:lnTo>
                  <a:lnTo>
                    <a:pt x="507" y="132"/>
                  </a:lnTo>
                  <a:lnTo>
                    <a:pt x="509" y="132"/>
                  </a:lnTo>
                  <a:lnTo>
                    <a:pt x="509" y="130"/>
                  </a:lnTo>
                  <a:lnTo>
                    <a:pt x="510" y="130"/>
                  </a:lnTo>
                  <a:lnTo>
                    <a:pt x="510" y="129"/>
                  </a:lnTo>
                  <a:lnTo>
                    <a:pt x="512" y="129"/>
                  </a:lnTo>
                  <a:lnTo>
                    <a:pt x="512" y="127"/>
                  </a:lnTo>
                  <a:lnTo>
                    <a:pt x="514" y="127"/>
                  </a:lnTo>
                  <a:lnTo>
                    <a:pt x="514" y="125"/>
                  </a:lnTo>
                  <a:lnTo>
                    <a:pt x="515" y="125"/>
                  </a:lnTo>
                  <a:lnTo>
                    <a:pt x="517" y="125"/>
                  </a:lnTo>
                  <a:lnTo>
                    <a:pt x="518" y="124"/>
                  </a:lnTo>
                  <a:lnTo>
                    <a:pt x="520" y="122"/>
                  </a:lnTo>
                  <a:lnTo>
                    <a:pt x="522" y="122"/>
                  </a:lnTo>
                  <a:lnTo>
                    <a:pt x="523" y="124"/>
                  </a:lnTo>
                  <a:lnTo>
                    <a:pt x="525" y="127"/>
                  </a:lnTo>
                  <a:lnTo>
                    <a:pt x="527" y="129"/>
                  </a:lnTo>
                  <a:lnTo>
                    <a:pt x="528" y="127"/>
                  </a:lnTo>
                  <a:lnTo>
                    <a:pt x="530" y="125"/>
                  </a:lnTo>
                  <a:lnTo>
                    <a:pt x="532" y="125"/>
                  </a:lnTo>
                  <a:lnTo>
                    <a:pt x="532" y="127"/>
                  </a:lnTo>
                  <a:lnTo>
                    <a:pt x="532" y="129"/>
                  </a:lnTo>
                  <a:lnTo>
                    <a:pt x="532" y="130"/>
                  </a:lnTo>
                  <a:lnTo>
                    <a:pt x="530" y="130"/>
                  </a:lnTo>
                  <a:lnTo>
                    <a:pt x="530" y="132"/>
                  </a:lnTo>
                  <a:lnTo>
                    <a:pt x="532" y="133"/>
                  </a:lnTo>
                  <a:lnTo>
                    <a:pt x="530" y="135"/>
                  </a:lnTo>
                  <a:lnTo>
                    <a:pt x="528" y="135"/>
                  </a:lnTo>
                  <a:lnTo>
                    <a:pt x="528" y="137"/>
                  </a:lnTo>
                  <a:lnTo>
                    <a:pt x="528" y="138"/>
                  </a:lnTo>
                  <a:lnTo>
                    <a:pt x="530" y="138"/>
                  </a:lnTo>
                  <a:lnTo>
                    <a:pt x="530" y="140"/>
                  </a:lnTo>
                  <a:lnTo>
                    <a:pt x="532" y="142"/>
                  </a:lnTo>
                  <a:lnTo>
                    <a:pt x="533" y="142"/>
                  </a:lnTo>
                  <a:lnTo>
                    <a:pt x="533" y="143"/>
                  </a:lnTo>
                  <a:lnTo>
                    <a:pt x="535" y="143"/>
                  </a:lnTo>
                  <a:lnTo>
                    <a:pt x="538" y="145"/>
                  </a:lnTo>
                  <a:lnTo>
                    <a:pt x="540" y="145"/>
                  </a:lnTo>
                  <a:lnTo>
                    <a:pt x="540" y="146"/>
                  </a:lnTo>
                  <a:lnTo>
                    <a:pt x="540" y="148"/>
                  </a:lnTo>
                  <a:lnTo>
                    <a:pt x="541" y="150"/>
                  </a:lnTo>
                  <a:lnTo>
                    <a:pt x="541" y="153"/>
                  </a:lnTo>
                  <a:lnTo>
                    <a:pt x="543" y="155"/>
                  </a:lnTo>
                  <a:lnTo>
                    <a:pt x="545" y="156"/>
                  </a:lnTo>
                  <a:lnTo>
                    <a:pt x="545" y="158"/>
                  </a:lnTo>
                  <a:lnTo>
                    <a:pt x="546" y="159"/>
                  </a:lnTo>
                  <a:lnTo>
                    <a:pt x="548" y="158"/>
                  </a:lnTo>
                  <a:lnTo>
                    <a:pt x="549" y="158"/>
                  </a:lnTo>
                  <a:lnTo>
                    <a:pt x="553" y="158"/>
                  </a:lnTo>
                  <a:lnTo>
                    <a:pt x="554" y="158"/>
                  </a:lnTo>
                  <a:lnTo>
                    <a:pt x="554" y="159"/>
                  </a:lnTo>
                  <a:lnTo>
                    <a:pt x="553" y="159"/>
                  </a:lnTo>
                  <a:lnTo>
                    <a:pt x="554" y="161"/>
                  </a:lnTo>
                  <a:lnTo>
                    <a:pt x="554" y="163"/>
                  </a:lnTo>
                  <a:lnTo>
                    <a:pt x="553" y="163"/>
                  </a:lnTo>
                  <a:lnTo>
                    <a:pt x="551" y="164"/>
                  </a:lnTo>
                  <a:lnTo>
                    <a:pt x="553" y="166"/>
                  </a:lnTo>
                  <a:lnTo>
                    <a:pt x="551" y="166"/>
                  </a:lnTo>
                  <a:lnTo>
                    <a:pt x="553" y="166"/>
                  </a:lnTo>
                  <a:lnTo>
                    <a:pt x="553" y="168"/>
                  </a:lnTo>
                  <a:lnTo>
                    <a:pt x="554" y="168"/>
                  </a:lnTo>
                  <a:lnTo>
                    <a:pt x="556" y="168"/>
                  </a:lnTo>
                  <a:lnTo>
                    <a:pt x="556" y="169"/>
                  </a:lnTo>
                  <a:lnTo>
                    <a:pt x="556" y="171"/>
                  </a:lnTo>
                  <a:lnTo>
                    <a:pt x="558" y="171"/>
                  </a:lnTo>
                  <a:lnTo>
                    <a:pt x="558" y="172"/>
                  </a:lnTo>
                  <a:lnTo>
                    <a:pt x="559" y="172"/>
                  </a:lnTo>
                  <a:lnTo>
                    <a:pt x="559" y="174"/>
                  </a:lnTo>
                  <a:lnTo>
                    <a:pt x="561" y="174"/>
                  </a:lnTo>
                  <a:lnTo>
                    <a:pt x="562" y="176"/>
                  </a:lnTo>
                  <a:lnTo>
                    <a:pt x="562" y="177"/>
                  </a:lnTo>
                  <a:lnTo>
                    <a:pt x="562" y="179"/>
                  </a:lnTo>
                  <a:lnTo>
                    <a:pt x="564" y="181"/>
                  </a:lnTo>
                  <a:lnTo>
                    <a:pt x="564" y="182"/>
                  </a:lnTo>
                  <a:lnTo>
                    <a:pt x="562" y="182"/>
                  </a:lnTo>
                  <a:lnTo>
                    <a:pt x="562" y="184"/>
                  </a:lnTo>
                  <a:lnTo>
                    <a:pt x="562" y="185"/>
                  </a:lnTo>
                  <a:lnTo>
                    <a:pt x="564" y="185"/>
                  </a:lnTo>
                  <a:lnTo>
                    <a:pt x="566" y="187"/>
                  </a:lnTo>
                  <a:lnTo>
                    <a:pt x="567" y="190"/>
                  </a:lnTo>
                  <a:lnTo>
                    <a:pt x="569" y="192"/>
                  </a:lnTo>
                  <a:lnTo>
                    <a:pt x="571" y="194"/>
                  </a:lnTo>
                  <a:lnTo>
                    <a:pt x="571" y="195"/>
                  </a:lnTo>
                  <a:lnTo>
                    <a:pt x="572" y="197"/>
                  </a:lnTo>
                  <a:lnTo>
                    <a:pt x="572" y="198"/>
                  </a:lnTo>
                  <a:lnTo>
                    <a:pt x="572" y="200"/>
                  </a:lnTo>
                  <a:lnTo>
                    <a:pt x="572" y="202"/>
                  </a:lnTo>
                  <a:lnTo>
                    <a:pt x="571" y="203"/>
                  </a:lnTo>
                  <a:lnTo>
                    <a:pt x="571" y="205"/>
                  </a:lnTo>
                  <a:lnTo>
                    <a:pt x="571" y="207"/>
                  </a:lnTo>
                  <a:lnTo>
                    <a:pt x="572" y="207"/>
                  </a:lnTo>
                  <a:lnTo>
                    <a:pt x="571" y="208"/>
                  </a:lnTo>
                  <a:lnTo>
                    <a:pt x="571" y="210"/>
                  </a:lnTo>
                  <a:lnTo>
                    <a:pt x="571" y="211"/>
                  </a:lnTo>
                  <a:lnTo>
                    <a:pt x="571" y="213"/>
                  </a:lnTo>
                  <a:lnTo>
                    <a:pt x="571" y="215"/>
                  </a:lnTo>
                  <a:lnTo>
                    <a:pt x="569" y="215"/>
                  </a:lnTo>
                  <a:lnTo>
                    <a:pt x="567" y="215"/>
                  </a:lnTo>
                  <a:lnTo>
                    <a:pt x="567" y="216"/>
                  </a:lnTo>
                  <a:lnTo>
                    <a:pt x="566" y="218"/>
                  </a:lnTo>
                  <a:lnTo>
                    <a:pt x="566" y="220"/>
                  </a:lnTo>
                  <a:lnTo>
                    <a:pt x="564" y="220"/>
                  </a:lnTo>
                  <a:lnTo>
                    <a:pt x="564" y="221"/>
                  </a:lnTo>
                  <a:lnTo>
                    <a:pt x="562" y="223"/>
                  </a:lnTo>
                  <a:lnTo>
                    <a:pt x="564" y="223"/>
                  </a:lnTo>
                  <a:lnTo>
                    <a:pt x="562" y="223"/>
                  </a:lnTo>
                  <a:lnTo>
                    <a:pt x="561" y="223"/>
                  </a:lnTo>
                  <a:lnTo>
                    <a:pt x="559" y="223"/>
                  </a:lnTo>
                  <a:lnTo>
                    <a:pt x="559" y="224"/>
                  </a:lnTo>
                  <a:lnTo>
                    <a:pt x="559" y="223"/>
                  </a:lnTo>
                  <a:lnTo>
                    <a:pt x="559" y="224"/>
                  </a:lnTo>
                  <a:lnTo>
                    <a:pt x="558" y="224"/>
                  </a:lnTo>
                  <a:lnTo>
                    <a:pt x="558" y="226"/>
                  </a:lnTo>
                  <a:lnTo>
                    <a:pt x="558" y="228"/>
                  </a:lnTo>
                  <a:lnTo>
                    <a:pt x="556" y="228"/>
                  </a:lnTo>
                  <a:lnTo>
                    <a:pt x="556" y="229"/>
                  </a:lnTo>
                  <a:lnTo>
                    <a:pt x="556" y="231"/>
                  </a:lnTo>
                  <a:lnTo>
                    <a:pt x="556" y="233"/>
                  </a:lnTo>
                  <a:lnTo>
                    <a:pt x="556" y="234"/>
                  </a:lnTo>
                  <a:lnTo>
                    <a:pt x="554" y="234"/>
                  </a:lnTo>
                  <a:lnTo>
                    <a:pt x="554" y="236"/>
                  </a:lnTo>
                  <a:lnTo>
                    <a:pt x="553" y="236"/>
                  </a:lnTo>
                  <a:lnTo>
                    <a:pt x="551" y="237"/>
                  </a:lnTo>
                  <a:lnTo>
                    <a:pt x="549" y="239"/>
                  </a:lnTo>
                  <a:lnTo>
                    <a:pt x="548" y="239"/>
                  </a:lnTo>
                  <a:lnTo>
                    <a:pt x="548" y="241"/>
                  </a:lnTo>
                  <a:lnTo>
                    <a:pt x="549" y="241"/>
                  </a:lnTo>
                  <a:lnTo>
                    <a:pt x="549" y="242"/>
                  </a:lnTo>
                  <a:lnTo>
                    <a:pt x="549" y="244"/>
                  </a:lnTo>
                  <a:lnTo>
                    <a:pt x="549" y="246"/>
                  </a:lnTo>
                  <a:lnTo>
                    <a:pt x="549" y="247"/>
                  </a:lnTo>
                  <a:lnTo>
                    <a:pt x="548" y="247"/>
                  </a:lnTo>
                  <a:lnTo>
                    <a:pt x="548" y="249"/>
                  </a:lnTo>
                  <a:lnTo>
                    <a:pt x="546" y="249"/>
                  </a:lnTo>
                  <a:lnTo>
                    <a:pt x="545" y="249"/>
                  </a:lnTo>
                  <a:lnTo>
                    <a:pt x="545" y="251"/>
                  </a:lnTo>
                  <a:lnTo>
                    <a:pt x="540" y="259"/>
                  </a:lnTo>
                  <a:lnTo>
                    <a:pt x="540" y="260"/>
                  </a:lnTo>
                  <a:lnTo>
                    <a:pt x="538" y="264"/>
                  </a:lnTo>
                  <a:lnTo>
                    <a:pt x="541" y="270"/>
                  </a:lnTo>
                  <a:lnTo>
                    <a:pt x="541" y="273"/>
                  </a:lnTo>
                  <a:lnTo>
                    <a:pt x="541" y="278"/>
                  </a:lnTo>
                  <a:lnTo>
                    <a:pt x="541" y="280"/>
                  </a:lnTo>
                  <a:lnTo>
                    <a:pt x="540" y="280"/>
                  </a:lnTo>
                  <a:lnTo>
                    <a:pt x="538" y="280"/>
                  </a:lnTo>
                  <a:lnTo>
                    <a:pt x="533" y="281"/>
                  </a:lnTo>
                  <a:lnTo>
                    <a:pt x="530" y="281"/>
                  </a:lnTo>
                  <a:lnTo>
                    <a:pt x="530" y="280"/>
                  </a:lnTo>
                  <a:lnTo>
                    <a:pt x="530" y="281"/>
                  </a:lnTo>
                  <a:lnTo>
                    <a:pt x="528" y="281"/>
                  </a:lnTo>
                  <a:lnTo>
                    <a:pt x="527" y="281"/>
                  </a:lnTo>
                  <a:lnTo>
                    <a:pt x="525" y="281"/>
                  </a:lnTo>
                  <a:lnTo>
                    <a:pt x="525" y="280"/>
                  </a:lnTo>
                  <a:lnTo>
                    <a:pt x="522" y="280"/>
                  </a:lnTo>
                  <a:lnTo>
                    <a:pt x="520" y="280"/>
                  </a:lnTo>
                  <a:lnTo>
                    <a:pt x="520" y="281"/>
                  </a:lnTo>
                  <a:lnTo>
                    <a:pt x="517" y="285"/>
                  </a:lnTo>
                  <a:lnTo>
                    <a:pt x="515" y="285"/>
                  </a:lnTo>
                  <a:lnTo>
                    <a:pt x="512" y="285"/>
                  </a:lnTo>
                  <a:lnTo>
                    <a:pt x="512" y="283"/>
                  </a:lnTo>
                  <a:lnTo>
                    <a:pt x="509" y="281"/>
                  </a:lnTo>
                  <a:lnTo>
                    <a:pt x="507" y="280"/>
                  </a:lnTo>
                  <a:lnTo>
                    <a:pt x="505" y="280"/>
                  </a:lnTo>
                  <a:lnTo>
                    <a:pt x="504" y="278"/>
                  </a:lnTo>
                  <a:lnTo>
                    <a:pt x="502" y="278"/>
                  </a:lnTo>
                  <a:lnTo>
                    <a:pt x="499" y="280"/>
                  </a:lnTo>
                  <a:lnTo>
                    <a:pt x="499" y="281"/>
                  </a:lnTo>
                  <a:lnTo>
                    <a:pt x="499" y="283"/>
                  </a:lnTo>
                  <a:lnTo>
                    <a:pt x="494" y="285"/>
                  </a:lnTo>
                  <a:lnTo>
                    <a:pt x="492" y="285"/>
                  </a:lnTo>
                  <a:lnTo>
                    <a:pt x="491" y="286"/>
                  </a:lnTo>
                  <a:lnTo>
                    <a:pt x="489" y="291"/>
                  </a:lnTo>
                  <a:lnTo>
                    <a:pt x="488" y="291"/>
                  </a:lnTo>
                  <a:lnTo>
                    <a:pt x="488" y="293"/>
                  </a:lnTo>
                  <a:lnTo>
                    <a:pt x="488" y="294"/>
                  </a:lnTo>
                  <a:lnTo>
                    <a:pt x="488" y="298"/>
                  </a:lnTo>
                  <a:lnTo>
                    <a:pt x="486" y="301"/>
                  </a:lnTo>
                  <a:lnTo>
                    <a:pt x="486" y="303"/>
                  </a:lnTo>
                  <a:lnTo>
                    <a:pt x="484" y="304"/>
                  </a:lnTo>
                  <a:lnTo>
                    <a:pt x="481" y="306"/>
                  </a:lnTo>
                  <a:lnTo>
                    <a:pt x="481" y="307"/>
                  </a:lnTo>
                  <a:lnTo>
                    <a:pt x="481" y="309"/>
                  </a:lnTo>
                  <a:lnTo>
                    <a:pt x="479" y="309"/>
                  </a:lnTo>
                  <a:lnTo>
                    <a:pt x="478" y="309"/>
                  </a:lnTo>
                  <a:lnTo>
                    <a:pt x="476" y="309"/>
                  </a:lnTo>
                  <a:lnTo>
                    <a:pt x="475" y="307"/>
                  </a:lnTo>
                  <a:lnTo>
                    <a:pt x="471" y="307"/>
                  </a:lnTo>
                  <a:lnTo>
                    <a:pt x="470" y="307"/>
                  </a:lnTo>
                  <a:lnTo>
                    <a:pt x="468" y="309"/>
                  </a:lnTo>
                  <a:lnTo>
                    <a:pt x="470" y="309"/>
                  </a:lnTo>
                  <a:lnTo>
                    <a:pt x="468" y="311"/>
                  </a:lnTo>
                  <a:lnTo>
                    <a:pt x="468" y="312"/>
                  </a:lnTo>
                  <a:lnTo>
                    <a:pt x="466" y="312"/>
                  </a:lnTo>
                  <a:lnTo>
                    <a:pt x="463" y="314"/>
                  </a:lnTo>
                  <a:lnTo>
                    <a:pt x="462" y="314"/>
                  </a:lnTo>
                  <a:lnTo>
                    <a:pt x="460" y="314"/>
                  </a:lnTo>
                  <a:lnTo>
                    <a:pt x="458" y="314"/>
                  </a:lnTo>
                  <a:lnTo>
                    <a:pt x="458" y="312"/>
                  </a:lnTo>
                  <a:lnTo>
                    <a:pt x="457" y="314"/>
                  </a:lnTo>
                  <a:lnTo>
                    <a:pt x="453" y="312"/>
                  </a:lnTo>
                  <a:lnTo>
                    <a:pt x="452" y="312"/>
                  </a:lnTo>
                  <a:lnTo>
                    <a:pt x="450" y="312"/>
                  </a:lnTo>
                  <a:lnTo>
                    <a:pt x="449" y="312"/>
                  </a:lnTo>
                  <a:lnTo>
                    <a:pt x="447" y="312"/>
                  </a:lnTo>
                  <a:lnTo>
                    <a:pt x="447" y="311"/>
                  </a:lnTo>
                  <a:lnTo>
                    <a:pt x="445" y="309"/>
                  </a:lnTo>
                  <a:lnTo>
                    <a:pt x="444" y="309"/>
                  </a:lnTo>
                  <a:lnTo>
                    <a:pt x="442" y="309"/>
                  </a:lnTo>
                  <a:lnTo>
                    <a:pt x="440" y="309"/>
                  </a:lnTo>
                  <a:lnTo>
                    <a:pt x="439" y="307"/>
                  </a:lnTo>
                  <a:lnTo>
                    <a:pt x="437" y="306"/>
                  </a:lnTo>
                  <a:lnTo>
                    <a:pt x="434" y="303"/>
                  </a:lnTo>
                  <a:lnTo>
                    <a:pt x="432" y="303"/>
                  </a:lnTo>
                  <a:lnTo>
                    <a:pt x="432" y="301"/>
                  </a:lnTo>
                  <a:lnTo>
                    <a:pt x="432" y="299"/>
                  </a:lnTo>
                  <a:lnTo>
                    <a:pt x="432" y="298"/>
                  </a:lnTo>
                  <a:lnTo>
                    <a:pt x="431" y="296"/>
                  </a:lnTo>
                  <a:lnTo>
                    <a:pt x="429" y="296"/>
                  </a:lnTo>
                  <a:lnTo>
                    <a:pt x="427" y="294"/>
                  </a:lnTo>
                  <a:lnTo>
                    <a:pt x="426" y="294"/>
                  </a:lnTo>
                  <a:lnTo>
                    <a:pt x="424" y="293"/>
                  </a:lnTo>
                  <a:lnTo>
                    <a:pt x="423" y="293"/>
                  </a:lnTo>
                  <a:lnTo>
                    <a:pt x="421" y="293"/>
                  </a:lnTo>
                  <a:lnTo>
                    <a:pt x="419" y="291"/>
                  </a:lnTo>
                  <a:lnTo>
                    <a:pt x="418" y="290"/>
                  </a:lnTo>
                  <a:lnTo>
                    <a:pt x="414" y="286"/>
                  </a:lnTo>
                  <a:lnTo>
                    <a:pt x="413" y="285"/>
                  </a:lnTo>
                  <a:lnTo>
                    <a:pt x="411" y="283"/>
                  </a:lnTo>
                  <a:lnTo>
                    <a:pt x="410" y="285"/>
                  </a:lnTo>
                  <a:lnTo>
                    <a:pt x="408" y="283"/>
                  </a:lnTo>
                  <a:lnTo>
                    <a:pt x="406" y="283"/>
                  </a:lnTo>
                  <a:lnTo>
                    <a:pt x="405" y="281"/>
                  </a:lnTo>
                  <a:lnTo>
                    <a:pt x="403" y="281"/>
                  </a:lnTo>
                  <a:lnTo>
                    <a:pt x="400" y="281"/>
                  </a:lnTo>
                  <a:lnTo>
                    <a:pt x="398" y="281"/>
                  </a:lnTo>
                  <a:lnTo>
                    <a:pt x="397" y="280"/>
                  </a:lnTo>
                  <a:lnTo>
                    <a:pt x="397" y="278"/>
                  </a:lnTo>
                  <a:lnTo>
                    <a:pt x="395" y="278"/>
                  </a:lnTo>
                  <a:lnTo>
                    <a:pt x="393" y="277"/>
                  </a:lnTo>
                  <a:lnTo>
                    <a:pt x="392" y="275"/>
                  </a:lnTo>
                  <a:lnTo>
                    <a:pt x="390" y="275"/>
                  </a:lnTo>
                  <a:lnTo>
                    <a:pt x="387" y="275"/>
                  </a:lnTo>
                  <a:lnTo>
                    <a:pt x="385" y="273"/>
                  </a:lnTo>
                  <a:lnTo>
                    <a:pt x="384" y="273"/>
                  </a:lnTo>
                  <a:lnTo>
                    <a:pt x="380" y="272"/>
                  </a:lnTo>
                  <a:lnTo>
                    <a:pt x="382" y="270"/>
                  </a:lnTo>
                  <a:lnTo>
                    <a:pt x="380" y="270"/>
                  </a:lnTo>
                  <a:lnTo>
                    <a:pt x="380" y="268"/>
                  </a:lnTo>
                  <a:lnTo>
                    <a:pt x="380" y="267"/>
                  </a:lnTo>
                  <a:lnTo>
                    <a:pt x="379" y="267"/>
                  </a:lnTo>
                  <a:lnTo>
                    <a:pt x="379" y="265"/>
                  </a:lnTo>
                  <a:lnTo>
                    <a:pt x="379" y="264"/>
                  </a:lnTo>
                  <a:lnTo>
                    <a:pt x="377" y="264"/>
                  </a:lnTo>
                  <a:lnTo>
                    <a:pt x="377" y="265"/>
                  </a:lnTo>
                  <a:lnTo>
                    <a:pt x="377" y="267"/>
                  </a:lnTo>
                  <a:lnTo>
                    <a:pt x="375" y="267"/>
                  </a:lnTo>
                  <a:lnTo>
                    <a:pt x="372" y="267"/>
                  </a:lnTo>
                  <a:lnTo>
                    <a:pt x="369" y="267"/>
                  </a:lnTo>
                  <a:lnTo>
                    <a:pt x="369" y="265"/>
                  </a:lnTo>
                  <a:lnTo>
                    <a:pt x="367" y="264"/>
                  </a:lnTo>
                  <a:lnTo>
                    <a:pt x="366" y="264"/>
                  </a:lnTo>
                  <a:lnTo>
                    <a:pt x="366" y="265"/>
                  </a:lnTo>
                  <a:lnTo>
                    <a:pt x="364" y="265"/>
                  </a:lnTo>
                  <a:lnTo>
                    <a:pt x="364" y="267"/>
                  </a:lnTo>
                  <a:lnTo>
                    <a:pt x="364" y="268"/>
                  </a:lnTo>
                  <a:lnTo>
                    <a:pt x="362" y="268"/>
                  </a:lnTo>
                  <a:lnTo>
                    <a:pt x="361" y="268"/>
                  </a:lnTo>
                  <a:lnTo>
                    <a:pt x="361" y="267"/>
                  </a:lnTo>
                  <a:lnTo>
                    <a:pt x="359" y="267"/>
                  </a:lnTo>
                  <a:lnTo>
                    <a:pt x="359" y="268"/>
                  </a:lnTo>
                  <a:lnTo>
                    <a:pt x="357" y="268"/>
                  </a:lnTo>
                  <a:lnTo>
                    <a:pt x="356" y="267"/>
                  </a:lnTo>
                  <a:lnTo>
                    <a:pt x="354" y="268"/>
                  </a:lnTo>
                  <a:lnTo>
                    <a:pt x="351" y="268"/>
                  </a:lnTo>
                  <a:lnTo>
                    <a:pt x="351" y="270"/>
                  </a:lnTo>
                  <a:lnTo>
                    <a:pt x="349" y="270"/>
                  </a:lnTo>
                  <a:lnTo>
                    <a:pt x="348" y="270"/>
                  </a:lnTo>
                  <a:lnTo>
                    <a:pt x="346" y="268"/>
                  </a:lnTo>
                  <a:lnTo>
                    <a:pt x="344" y="268"/>
                  </a:lnTo>
                  <a:lnTo>
                    <a:pt x="343" y="265"/>
                  </a:lnTo>
                  <a:lnTo>
                    <a:pt x="341" y="265"/>
                  </a:lnTo>
                  <a:lnTo>
                    <a:pt x="341" y="267"/>
                  </a:lnTo>
                  <a:lnTo>
                    <a:pt x="340" y="268"/>
                  </a:lnTo>
                  <a:lnTo>
                    <a:pt x="336" y="268"/>
                  </a:lnTo>
                  <a:lnTo>
                    <a:pt x="333" y="268"/>
                  </a:lnTo>
                  <a:lnTo>
                    <a:pt x="331" y="268"/>
                  </a:lnTo>
                  <a:lnTo>
                    <a:pt x="330" y="267"/>
                  </a:lnTo>
                  <a:lnTo>
                    <a:pt x="330" y="268"/>
                  </a:lnTo>
                  <a:lnTo>
                    <a:pt x="330" y="267"/>
                  </a:lnTo>
                  <a:lnTo>
                    <a:pt x="328" y="267"/>
                  </a:lnTo>
                  <a:lnTo>
                    <a:pt x="328" y="265"/>
                  </a:lnTo>
                  <a:lnTo>
                    <a:pt x="328" y="264"/>
                  </a:lnTo>
                  <a:lnTo>
                    <a:pt x="328" y="262"/>
                  </a:lnTo>
                  <a:lnTo>
                    <a:pt x="327" y="262"/>
                  </a:lnTo>
                  <a:lnTo>
                    <a:pt x="327" y="260"/>
                  </a:lnTo>
                  <a:lnTo>
                    <a:pt x="327" y="259"/>
                  </a:lnTo>
                  <a:lnTo>
                    <a:pt x="325" y="257"/>
                  </a:lnTo>
                  <a:lnTo>
                    <a:pt x="325" y="259"/>
                  </a:lnTo>
                  <a:lnTo>
                    <a:pt x="325" y="257"/>
                  </a:lnTo>
                  <a:lnTo>
                    <a:pt x="323" y="257"/>
                  </a:lnTo>
                  <a:lnTo>
                    <a:pt x="322" y="255"/>
                  </a:lnTo>
                  <a:lnTo>
                    <a:pt x="320" y="255"/>
                  </a:lnTo>
                  <a:lnTo>
                    <a:pt x="320" y="254"/>
                  </a:lnTo>
                  <a:lnTo>
                    <a:pt x="318" y="254"/>
                  </a:lnTo>
                  <a:lnTo>
                    <a:pt x="318" y="252"/>
                  </a:lnTo>
                  <a:lnTo>
                    <a:pt x="317" y="252"/>
                  </a:lnTo>
                  <a:lnTo>
                    <a:pt x="317" y="251"/>
                  </a:lnTo>
                  <a:lnTo>
                    <a:pt x="317" y="249"/>
                  </a:lnTo>
                  <a:lnTo>
                    <a:pt x="317" y="247"/>
                  </a:lnTo>
                  <a:lnTo>
                    <a:pt x="317" y="246"/>
                  </a:lnTo>
                  <a:lnTo>
                    <a:pt x="315" y="246"/>
                  </a:lnTo>
                  <a:lnTo>
                    <a:pt x="314" y="244"/>
                  </a:lnTo>
                  <a:lnTo>
                    <a:pt x="312" y="242"/>
                  </a:lnTo>
                  <a:lnTo>
                    <a:pt x="314" y="242"/>
                  </a:lnTo>
                  <a:lnTo>
                    <a:pt x="312" y="242"/>
                  </a:lnTo>
                  <a:lnTo>
                    <a:pt x="312" y="241"/>
                  </a:lnTo>
                  <a:lnTo>
                    <a:pt x="310" y="241"/>
                  </a:lnTo>
                  <a:lnTo>
                    <a:pt x="310" y="239"/>
                  </a:lnTo>
                  <a:lnTo>
                    <a:pt x="309" y="239"/>
                  </a:lnTo>
                  <a:lnTo>
                    <a:pt x="310" y="237"/>
                  </a:lnTo>
                  <a:lnTo>
                    <a:pt x="310" y="236"/>
                  </a:lnTo>
                  <a:lnTo>
                    <a:pt x="309" y="236"/>
                  </a:lnTo>
                  <a:lnTo>
                    <a:pt x="309" y="234"/>
                  </a:lnTo>
                  <a:lnTo>
                    <a:pt x="309" y="236"/>
                  </a:lnTo>
                  <a:lnTo>
                    <a:pt x="309" y="234"/>
                  </a:lnTo>
                  <a:lnTo>
                    <a:pt x="307" y="236"/>
                  </a:lnTo>
                  <a:lnTo>
                    <a:pt x="307" y="234"/>
                  </a:lnTo>
                  <a:lnTo>
                    <a:pt x="305" y="236"/>
                  </a:lnTo>
                  <a:lnTo>
                    <a:pt x="305" y="237"/>
                  </a:lnTo>
                  <a:lnTo>
                    <a:pt x="305" y="239"/>
                  </a:lnTo>
                  <a:lnTo>
                    <a:pt x="307" y="241"/>
                  </a:lnTo>
                  <a:lnTo>
                    <a:pt x="305" y="241"/>
                  </a:lnTo>
                  <a:lnTo>
                    <a:pt x="304" y="241"/>
                  </a:lnTo>
                  <a:lnTo>
                    <a:pt x="302" y="241"/>
                  </a:lnTo>
                  <a:lnTo>
                    <a:pt x="302" y="242"/>
                  </a:lnTo>
                  <a:lnTo>
                    <a:pt x="301" y="242"/>
                  </a:lnTo>
                  <a:lnTo>
                    <a:pt x="301" y="244"/>
                  </a:lnTo>
                  <a:lnTo>
                    <a:pt x="299" y="244"/>
                  </a:lnTo>
                  <a:lnTo>
                    <a:pt x="297" y="244"/>
                  </a:lnTo>
                  <a:lnTo>
                    <a:pt x="296" y="244"/>
                  </a:lnTo>
                  <a:lnTo>
                    <a:pt x="294" y="244"/>
                  </a:lnTo>
                  <a:lnTo>
                    <a:pt x="294" y="246"/>
                  </a:lnTo>
                  <a:lnTo>
                    <a:pt x="296" y="247"/>
                  </a:lnTo>
                  <a:lnTo>
                    <a:pt x="294" y="247"/>
                  </a:lnTo>
                  <a:lnTo>
                    <a:pt x="294" y="249"/>
                  </a:lnTo>
                  <a:lnTo>
                    <a:pt x="292" y="249"/>
                  </a:lnTo>
                  <a:lnTo>
                    <a:pt x="291" y="249"/>
                  </a:lnTo>
                  <a:lnTo>
                    <a:pt x="289" y="249"/>
                  </a:lnTo>
                  <a:lnTo>
                    <a:pt x="289" y="251"/>
                  </a:lnTo>
                  <a:lnTo>
                    <a:pt x="289" y="252"/>
                  </a:lnTo>
                  <a:lnTo>
                    <a:pt x="289" y="254"/>
                  </a:lnTo>
                  <a:lnTo>
                    <a:pt x="289" y="255"/>
                  </a:lnTo>
                  <a:lnTo>
                    <a:pt x="288" y="255"/>
                  </a:lnTo>
                  <a:lnTo>
                    <a:pt x="288" y="257"/>
                  </a:lnTo>
                  <a:lnTo>
                    <a:pt x="288" y="259"/>
                  </a:lnTo>
                  <a:lnTo>
                    <a:pt x="288" y="260"/>
                  </a:lnTo>
                  <a:lnTo>
                    <a:pt x="288" y="262"/>
                  </a:lnTo>
                  <a:lnTo>
                    <a:pt x="286" y="264"/>
                  </a:lnTo>
                  <a:lnTo>
                    <a:pt x="284" y="265"/>
                  </a:lnTo>
                  <a:lnTo>
                    <a:pt x="281" y="267"/>
                  </a:lnTo>
                  <a:lnTo>
                    <a:pt x="279" y="267"/>
                  </a:lnTo>
                  <a:lnTo>
                    <a:pt x="279" y="268"/>
                  </a:lnTo>
                  <a:lnTo>
                    <a:pt x="276" y="268"/>
                  </a:lnTo>
                  <a:lnTo>
                    <a:pt x="275" y="267"/>
                  </a:lnTo>
                  <a:lnTo>
                    <a:pt x="273" y="268"/>
                  </a:lnTo>
                  <a:lnTo>
                    <a:pt x="271" y="268"/>
                  </a:lnTo>
                  <a:lnTo>
                    <a:pt x="271" y="267"/>
                  </a:lnTo>
                  <a:lnTo>
                    <a:pt x="270" y="267"/>
                  </a:lnTo>
                  <a:lnTo>
                    <a:pt x="270" y="265"/>
                  </a:lnTo>
                  <a:lnTo>
                    <a:pt x="268" y="265"/>
                  </a:lnTo>
                  <a:lnTo>
                    <a:pt x="266" y="265"/>
                  </a:lnTo>
                  <a:lnTo>
                    <a:pt x="265" y="265"/>
                  </a:lnTo>
                  <a:lnTo>
                    <a:pt x="265" y="267"/>
                  </a:lnTo>
                  <a:lnTo>
                    <a:pt x="265" y="268"/>
                  </a:lnTo>
                  <a:lnTo>
                    <a:pt x="263" y="268"/>
                  </a:lnTo>
                  <a:lnTo>
                    <a:pt x="263" y="270"/>
                  </a:lnTo>
                  <a:lnTo>
                    <a:pt x="262" y="270"/>
                  </a:lnTo>
                  <a:lnTo>
                    <a:pt x="260" y="272"/>
                  </a:lnTo>
                  <a:lnTo>
                    <a:pt x="258" y="275"/>
                  </a:lnTo>
                  <a:lnTo>
                    <a:pt x="257" y="275"/>
                  </a:lnTo>
                  <a:lnTo>
                    <a:pt x="253" y="275"/>
                  </a:lnTo>
                  <a:lnTo>
                    <a:pt x="253" y="273"/>
                  </a:lnTo>
                  <a:lnTo>
                    <a:pt x="252" y="273"/>
                  </a:lnTo>
                  <a:lnTo>
                    <a:pt x="250" y="272"/>
                  </a:lnTo>
                  <a:lnTo>
                    <a:pt x="249" y="272"/>
                  </a:lnTo>
                  <a:lnTo>
                    <a:pt x="247" y="272"/>
                  </a:lnTo>
                  <a:lnTo>
                    <a:pt x="247" y="270"/>
                  </a:lnTo>
                  <a:lnTo>
                    <a:pt x="244" y="268"/>
                  </a:lnTo>
                  <a:lnTo>
                    <a:pt x="244" y="265"/>
                  </a:lnTo>
                  <a:lnTo>
                    <a:pt x="236" y="267"/>
                  </a:lnTo>
                  <a:lnTo>
                    <a:pt x="234" y="267"/>
                  </a:lnTo>
                  <a:lnTo>
                    <a:pt x="231" y="267"/>
                  </a:lnTo>
                  <a:lnTo>
                    <a:pt x="229" y="267"/>
                  </a:lnTo>
                  <a:lnTo>
                    <a:pt x="227" y="267"/>
                  </a:lnTo>
                  <a:lnTo>
                    <a:pt x="226" y="267"/>
                  </a:lnTo>
                  <a:lnTo>
                    <a:pt x="226" y="268"/>
                  </a:lnTo>
                  <a:lnTo>
                    <a:pt x="224" y="270"/>
                  </a:lnTo>
                  <a:lnTo>
                    <a:pt x="222" y="268"/>
                  </a:lnTo>
                  <a:lnTo>
                    <a:pt x="222" y="267"/>
                  </a:lnTo>
                  <a:lnTo>
                    <a:pt x="224" y="265"/>
                  </a:lnTo>
                  <a:lnTo>
                    <a:pt x="224" y="264"/>
                  </a:lnTo>
                  <a:lnTo>
                    <a:pt x="222" y="264"/>
                  </a:lnTo>
                  <a:lnTo>
                    <a:pt x="221" y="265"/>
                  </a:lnTo>
                  <a:lnTo>
                    <a:pt x="219" y="265"/>
                  </a:lnTo>
                  <a:lnTo>
                    <a:pt x="218" y="265"/>
                  </a:lnTo>
                  <a:lnTo>
                    <a:pt x="214" y="267"/>
                  </a:lnTo>
                  <a:lnTo>
                    <a:pt x="213" y="267"/>
                  </a:lnTo>
                  <a:lnTo>
                    <a:pt x="211" y="268"/>
                  </a:lnTo>
                  <a:lnTo>
                    <a:pt x="209" y="270"/>
                  </a:lnTo>
                  <a:lnTo>
                    <a:pt x="208" y="272"/>
                  </a:lnTo>
                  <a:lnTo>
                    <a:pt x="206" y="272"/>
                  </a:lnTo>
                  <a:lnTo>
                    <a:pt x="203" y="272"/>
                  </a:lnTo>
                  <a:lnTo>
                    <a:pt x="201" y="272"/>
                  </a:lnTo>
                  <a:lnTo>
                    <a:pt x="196" y="272"/>
                  </a:lnTo>
                  <a:lnTo>
                    <a:pt x="195" y="270"/>
                  </a:lnTo>
                  <a:lnTo>
                    <a:pt x="193" y="268"/>
                  </a:lnTo>
                  <a:lnTo>
                    <a:pt x="185" y="268"/>
                  </a:lnTo>
                  <a:lnTo>
                    <a:pt x="183" y="272"/>
                  </a:lnTo>
                  <a:lnTo>
                    <a:pt x="177" y="273"/>
                  </a:lnTo>
                  <a:lnTo>
                    <a:pt x="175" y="273"/>
                  </a:lnTo>
                  <a:lnTo>
                    <a:pt x="177" y="277"/>
                  </a:lnTo>
                  <a:lnTo>
                    <a:pt x="175" y="280"/>
                  </a:lnTo>
                  <a:lnTo>
                    <a:pt x="172" y="283"/>
                  </a:lnTo>
                  <a:lnTo>
                    <a:pt x="170" y="283"/>
                  </a:lnTo>
                  <a:lnTo>
                    <a:pt x="170" y="281"/>
                  </a:lnTo>
                  <a:lnTo>
                    <a:pt x="169" y="280"/>
                  </a:lnTo>
                  <a:lnTo>
                    <a:pt x="167" y="281"/>
                  </a:lnTo>
                  <a:lnTo>
                    <a:pt x="166" y="280"/>
                  </a:lnTo>
                  <a:lnTo>
                    <a:pt x="164" y="280"/>
                  </a:lnTo>
                  <a:lnTo>
                    <a:pt x="164" y="277"/>
                  </a:lnTo>
                  <a:lnTo>
                    <a:pt x="162" y="275"/>
                  </a:lnTo>
                  <a:lnTo>
                    <a:pt x="164" y="275"/>
                  </a:lnTo>
                  <a:lnTo>
                    <a:pt x="162" y="273"/>
                  </a:lnTo>
                  <a:lnTo>
                    <a:pt x="162" y="270"/>
                  </a:lnTo>
                  <a:lnTo>
                    <a:pt x="161" y="270"/>
                  </a:lnTo>
                  <a:lnTo>
                    <a:pt x="159" y="270"/>
                  </a:lnTo>
                  <a:lnTo>
                    <a:pt x="159" y="268"/>
                  </a:lnTo>
                  <a:lnTo>
                    <a:pt x="156" y="270"/>
                  </a:lnTo>
                  <a:lnTo>
                    <a:pt x="156" y="272"/>
                  </a:lnTo>
                  <a:lnTo>
                    <a:pt x="156" y="273"/>
                  </a:lnTo>
                  <a:lnTo>
                    <a:pt x="156" y="275"/>
                  </a:lnTo>
                  <a:lnTo>
                    <a:pt x="154" y="277"/>
                  </a:lnTo>
                  <a:lnTo>
                    <a:pt x="148" y="278"/>
                  </a:lnTo>
                  <a:lnTo>
                    <a:pt x="146" y="278"/>
                  </a:lnTo>
                  <a:lnTo>
                    <a:pt x="144" y="278"/>
                  </a:lnTo>
                  <a:lnTo>
                    <a:pt x="143" y="278"/>
                  </a:lnTo>
                  <a:lnTo>
                    <a:pt x="141" y="278"/>
                  </a:lnTo>
                  <a:lnTo>
                    <a:pt x="141" y="280"/>
                  </a:lnTo>
                  <a:lnTo>
                    <a:pt x="140" y="280"/>
                  </a:lnTo>
                  <a:lnTo>
                    <a:pt x="140" y="281"/>
                  </a:lnTo>
                  <a:lnTo>
                    <a:pt x="138" y="283"/>
                  </a:lnTo>
                  <a:lnTo>
                    <a:pt x="138" y="281"/>
                  </a:lnTo>
                  <a:lnTo>
                    <a:pt x="136" y="281"/>
                  </a:lnTo>
                  <a:lnTo>
                    <a:pt x="135" y="281"/>
                  </a:lnTo>
                  <a:lnTo>
                    <a:pt x="133" y="280"/>
                  </a:lnTo>
                  <a:lnTo>
                    <a:pt x="131" y="280"/>
                  </a:lnTo>
                  <a:lnTo>
                    <a:pt x="131" y="278"/>
                  </a:lnTo>
                  <a:lnTo>
                    <a:pt x="131" y="280"/>
                  </a:lnTo>
                  <a:lnTo>
                    <a:pt x="130" y="278"/>
                  </a:lnTo>
                  <a:lnTo>
                    <a:pt x="128" y="278"/>
                  </a:lnTo>
                  <a:lnTo>
                    <a:pt x="127" y="278"/>
                  </a:lnTo>
                  <a:lnTo>
                    <a:pt x="125" y="278"/>
                  </a:lnTo>
                  <a:lnTo>
                    <a:pt x="123" y="278"/>
                  </a:lnTo>
                  <a:lnTo>
                    <a:pt x="122" y="278"/>
                  </a:lnTo>
                  <a:lnTo>
                    <a:pt x="120" y="278"/>
                  </a:lnTo>
                  <a:lnTo>
                    <a:pt x="118" y="278"/>
                  </a:lnTo>
                  <a:lnTo>
                    <a:pt x="117" y="278"/>
                  </a:lnTo>
                  <a:lnTo>
                    <a:pt x="115" y="278"/>
                  </a:lnTo>
                  <a:lnTo>
                    <a:pt x="114" y="280"/>
                  </a:lnTo>
                  <a:lnTo>
                    <a:pt x="112" y="280"/>
                  </a:lnTo>
                  <a:lnTo>
                    <a:pt x="112" y="281"/>
                  </a:lnTo>
                  <a:lnTo>
                    <a:pt x="110" y="281"/>
                  </a:lnTo>
                  <a:lnTo>
                    <a:pt x="110" y="280"/>
                  </a:lnTo>
                  <a:lnTo>
                    <a:pt x="109" y="280"/>
                  </a:lnTo>
                  <a:lnTo>
                    <a:pt x="107" y="280"/>
                  </a:lnTo>
                  <a:lnTo>
                    <a:pt x="105" y="280"/>
                  </a:lnTo>
                  <a:lnTo>
                    <a:pt x="104" y="281"/>
                  </a:lnTo>
                  <a:lnTo>
                    <a:pt x="104" y="280"/>
                  </a:lnTo>
                  <a:lnTo>
                    <a:pt x="102" y="281"/>
                  </a:lnTo>
                  <a:lnTo>
                    <a:pt x="102" y="280"/>
                  </a:lnTo>
                  <a:lnTo>
                    <a:pt x="101" y="280"/>
                  </a:lnTo>
                  <a:lnTo>
                    <a:pt x="99" y="278"/>
                  </a:lnTo>
                  <a:lnTo>
                    <a:pt x="96" y="280"/>
                  </a:lnTo>
                  <a:lnTo>
                    <a:pt x="94" y="280"/>
                  </a:lnTo>
                  <a:lnTo>
                    <a:pt x="94" y="278"/>
                  </a:lnTo>
                  <a:lnTo>
                    <a:pt x="92" y="278"/>
                  </a:lnTo>
                  <a:lnTo>
                    <a:pt x="91" y="280"/>
                  </a:lnTo>
                  <a:lnTo>
                    <a:pt x="89" y="280"/>
                  </a:lnTo>
                  <a:lnTo>
                    <a:pt x="88" y="281"/>
                  </a:lnTo>
                  <a:lnTo>
                    <a:pt x="86" y="281"/>
                  </a:lnTo>
                  <a:lnTo>
                    <a:pt x="84" y="281"/>
                  </a:lnTo>
                  <a:lnTo>
                    <a:pt x="84" y="283"/>
                  </a:lnTo>
                  <a:lnTo>
                    <a:pt x="83" y="283"/>
                  </a:lnTo>
                  <a:lnTo>
                    <a:pt x="83" y="285"/>
                  </a:lnTo>
                  <a:lnTo>
                    <a:pt x="83" y="286"/>
                  </a:lnTo>
                  <a:lnTo>
                    <a:pt x="81" y="286"/>
                  </a:lnTo>
                  <a:lnTo>
                    <a:pt x="83" y="288"/>
                  </a:lnTo>
                  <a:lnTo>
                    <a:pt x="81" y="288"/>
                  </a:lnTo>
                  <a:lnTo>
                    <a:pt x="79" y="288"/>
                  </a:lnTo>
                  <a:lnTo>
                    <a:pt x="79" y="290"/>
                  </a:lnTo>
                  <a:lnTo>
                    <a:pt x="78" y="290"/>
                  </a:lnTo>
                  <a:lnTo>
                    <a:pt x="76" y="291"/>
                  </a:lnTo>
                  <a:lnTo>
                    <a:pt x="74" y="291"/>
                  </a:lnTo>
                  <a:lnTo>
                    <a:pt x="73" y="291"/>
                  </a:lnTo>
                  <a:lnTo>
                    <a:pt x="71" y="291"/>
                  </a:lnTo>
                  <a:lnTo>
                    <a:pt x="70" y="293"/>
                  </a:lnTo>
                  <a:lnTo>
                    <a:pt x="68" y="296"/>
                  </a:lnTo>
                  <a:lnTo>
                    <a:pt x="65" y="298"/>
                  </a:lnTo>
                  <a:lnTo>
                    <a:pt x="63" y="301"/>
                  </a:lnTo>
                  <a:lnTo>
                    <a:pt x="61" y="301"/>
                  </a:lnTo>
                  <a:lnTo>
                    <a:pt x="60" y="301"/>
                  </a:lnTo>
                  <a:lnTo>
                    <a:pt x="55" y="301"/>
                  </a:lnTo>
                  <a:lnTo>
                    <a:pt x="53" y="301"/>
                  </a:lnTo>
                  <a:lnTo>
                    <a:pt x="52" y="303"/>
                  </a:lnTo>
                  <a:lnTo>
                    <a:pt x="52" y="304"/>
                  </a:lnTo>
                  <a:lnTo>
                    <a:pt x="50" y="306"/>
                  </a:lnTo>
                  <a:lnTo>
                    <a:pt x="48" y="306"/>
                  </a:lnTo>
                  <a:lnTo>
                    <a:pt x="45" y="309"/>
                  </a:lnTo>
                  <a:lnTo>
                    <a:pt x="45" y="311"/>
                  </a:lnTo>
                  <a:lnTo>
                    <a:pt x="45" y="312"/>
                  </a:lnTo>
                  <a:lnTo>
                    <a:pt x="44" y="314"/>
                  </a:lnTo>
                  <a:lnTo>
                    <a:pt x="42" y="314"/>
                  </a:lnTo>
                  <a:lnTo>
                    <a:pt x="40" y="316"/>
                  </a:lnTo>
                  <a:lnTo>
                    <a:pt x="39" y="317"/>
                  </a:lnTo>
                  <a:lnTo>
                    <a:pt x="37" y="319"/>
                  </a:lnTo>
                  <a:lnTo>
                    <a:pt x="35" y="319"/>
                  </a:lnTo>
                  <a:lnTo>
                    <a:pt x="34" y="322"/>
                  </a:lnTo>
                  <a:lnTo>
                    <a:pt x="34" y="324"/>
                  </a:lnTo>
                  <a:lnTo>
                    <a:pt x="32" y="324"/>
                  </a:lnTo>
                  <a:lnTo>
                    <a:pt x="32" y="325"/>
                  </a:lnTo>
                  <a:lnTo>
                    <a:pt x="32" y="327"/>
                  </a:lnTo>
                  <a:lnTo>
                    <a:pt x="31" y="327"/>
                  </a:lnTo>
                  <a:lnTo>
                    <a:pt x="29" y="327"/>
                  </a:lnTo>
                  <a:lnTo>
                    <a:pt x="29" y="329"/>
                  </a:lnTo>
                  <a:lnTo>
                    <a:pt x="29" y="330"/>
                  </a:lnTo>
                  <a:lnTo>
                    <a:pt x="29" y="332"/>
                  </a:lnTo>
                  <a:lnTo>
                    <a:pt x="31" y="333"/>
                  </a:lnTo>
                  <a:lnTo>
                    <a:pt x="29" y="333"/>
                  </a:lnTo>
                  <a:lnTo>
                    <a:pt x="31" y="333"/>
                  </a:lnTo>
                  <a:lnTo>
                    <a:pt x="31" y="335"/>
                  </a:lnTo>
                  <a:lnTo>
                    <a:pt x="29" y="335"/>
                  </a:lnTo>
                  <a:lnTo>
                    <a:pt x="29" y="337"/>
                  </a:lnTo>
                  <a:lnTo>
                    <a:pt x="29" y="338"/>
                  </a:lnTo>
                  <a:lnTo>
                    <a:pt x="29" y="340"/>
                  </a:lnTo>
                  <a:lnTo>
                    <a:pt x="27" y="340"/>
                  </a:lnTo>
                  <a:lnTo>
                    <a:pt x="29" y="340"/>
                  </a:lnTo>
                  <a:lnTo>
                    <a:pt x="27" y="342"/>
                  </a:lnTo>
                  <a:lnTo>
                    <a:pt x="26" y="340"/>
                  </a:lnTo>
                  <a:lnTo>
                    <a:pt x="24" y="340"/>
                  </a:lnTo>
                  <a:lnTo>
                    <a:pt x="22" y="342"/>
                  </a:lnTo>
                  <a:lnTo>
                    <a:pt x="18" y="343"/>
                  </a:lnTo>
                  <a:lnTo>
                    <a:pt x="14" y="335"/>
                  </a:lnTo>
                  <a:lnTo>
                    <a:pt x="13" y="332"/>
                  </a:lnTo>
                  <a:lnTo>
                    <a:pt x="9" y="327"/>
                  </a:lnTo>
                  <a:lnTo>
                    <a:pt x="8" y="325"/>
                  </a:lnTo>
                  <a:lnTo>
                    <a:pt x="8" y="324"/>
                  </a:lnTo>
                  <a:lnTo>
                    <a:pt x="8" y="322"/>
                  </a:lnTo>
                  <a:lnTo>
                    <a:pt x="6" y="319"/>
                  </a:lnTo>
                  <a:lnTo>
                    <a:pt x="6" y="317"/>
                  </a:lnTo>
                  <a:lnTo>
                    <a:pt x="6" y="312"/>
                  </a:lnTo>
                  <a:lnTo>
                    <a:pt x="6" y="311"/>
                  </a:lnTo>
                  <a:lnTo>
                    <a:pt x="5" y="306"/>
                  </a:lnTo>
                  <a:lnTo>
                    <a:pt x="3" y="304"/>
                  </a:lnTo>
                  <a:lnTo>
                    <a:pt x="3" y="303"/>
                  </a:lnTo>
                  <a:lnTo>
                    <a:pt x="3" y="301"/>
                  </a:lnTo>
                  <a:lnTo>
                    <a:pt x="3" y="299"/>
                  </a:lnTo>
                  <a:lnTo>
                    <a:pt x="5" y="296"/>
                  </a:lnTo>
                  <a:lnTo>
                    <a:pt x="5" y="294"/>
                  </a:lnTo>
                  <a:lnTo>
                    <a:pt x="5" y="291"/>
                  </a:lnTo>
                  <a:lnTo>
                    <a:pt x="5" y="290"/>
                  </a:lnTo>
                  <a:lnTo>
                    <a:pt x="3" y="288"/>
                  </a:lnTo>
                  <a:lnTo>
                    <a:pt x="3" y="286"/>
                  </a:lnTo>
                  <a:lnTo>
                    <a:pt x="1" y="283"/>
                  </a:lnTo>
                  <a:lnTo>
                    <a:pt x="1" y="281"/>
                  </a:lnTo>
                  <a:lnTo>
                    <a:pt x="1" y="280"/>
                  </a:lnTo>
                  <a:lnTo>
                    <a:pt x="1" y="281"/>
                  </a:lnTo>
                  <a:lnTo>
                    <a:pt x="1" y="280"/>
                  </a:lnTo>
                  <a:lnTo>
                    <a:pt x="1" y="278"/>
                  </a:lnTo>
                  <a:lnTo>
                    <a:pt x="1" y="277"/>
                  </a:lnTo>
                  <a:lnTo>
                    <a:pt x="3" y="277"/>
                  </a:lnTo>
                  <a:close/>
                  <a:moveTo>
                    <a:pt x="221" y="166"/>
                  </a:moveTo>
                  <a:lnTo>
                    <a:pt x="222" y="164"/>
                  </a:lnTo>
                  <a:lnTo>
                    <a:pt x="222" y="163"/>
                  </a:lnTo>
                  <a:lnTo>
                    <a:pt x="222" y="164"/>
                  </a:lnTo>
                  <a:lnTo>
                    <a:pt x="224" y="164"/>
                  </a:lnTo>
                  <a:lnTo>
                    <a:pt x="222" y="164"/>
                  </a:lnTo>
                  <a:lnTo>
                    <a:pt x="222" y="163"/>
                  </a:lnTo>
                  <a:lnTo>
                    <a:pt x="224" y="164"/>
                  </a:lnTo>
                  <a:lnTo>
                    <a:pt x="224" y="166"/>
                  </a:lnTo>
                  <a:lnTo>
                    <a:pt x="222" y="168"/>
                  </a:lnTo>
                  <a:lnTo>
                    <a:pt x="222" y="169"/>
                  </a:lnTo>
                  <a:lnTo>
                    <a:pt x="221" y="169"/>
                  </a:lnTo>
                  <a:lnTo>
                    <a:pt x="221" y="171"/>
                  </a:lnTo>
                  <a:lnTo>
                    <a:pt x="219" y="172"/>
                  </a:lnTo>
                  <a:lnTo>
                    <a:pt x="218" y="172"/>
                  </a:lnTo>
                  <a:lnTo>
                    <a:pt x="218" y="171"/>
                  </a:lnTo>
                  <a:lnTo>
                    <a:pt x="219" y="169"/>
                  </a:lnTo>
                  <a:lnTo>
                    <a:pt x="221" y="168"/>
                  </a:lnTo>
                  <a:lnTo>
                    <a:pt x="221" y="166"/>
                  </a:lnTo>
                  <a:close/>
                  <a:moveTo>
                    <a:pt x="234" y="179"/>
                  </a:moveTo>
                  <a:lnTo>
                    <a:pt x="236" y="181"/>
                  </a:lnTo>
                  <a:lnTo>
                    <a:pt x="234" y="179"/>
                  </a:lnTo>
                  <a:lnTo>
                    <a:pt x="232" y="179"/>
                  </a:lnTo>
                  <a:lnTo>
                    <a:pt x="234" y="179"/>
                  </a:lnTo>
                  <a:close/>
                  <a:moveTo>
                    <a:pt x="224" y="164"/>
                  </a:moveTo>
                  <a:lnTo>
                    <a:pt x="226" y="164"/>
                  </a:lnTo>
                  <a:lnTo>
                    <a:pt x="224" y="166"/>
                  </a:lnTo>
                  <a:lnTo>
                    <a:pt x="224" y="164"/>
                  </a:lnTo>
                  <a:close/>
                </a:path>
              </a:pathLst>
            </a:custGeom>
            <a:solidFill>
              <a:srgbClr val="00B0F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1199" name="Freeform 45">
              <a:extLst>
                <a:ext uri="{FF2B5EF4-FFF2-40B4-BE49-F238E27FC236}">
                  <a16:creationId xmlns:a16="http://schemas.microsoft.com/office/drawing/2014/main" id="{7242E86C-5E7F-4B3D-B251-3800003A9AF7}"/>
                </a:ext>
              </a:extLst>
            </p:cNvPr>
            <p:cNvSpPr>
              <a:spLocks/>
            </p:cNvSpPr>
            <p:nvPr/>
          </p:nvSpPr>
          <p:spPr bwMode="auto">
            <a:xfrm>
              <a:off x="3936" y="4639"/>
              <a:ext cx="3" cy="5"/>
            </a:xfrm>
            <a:custGeom>
              <a:avLst/>
              <a:gdLst>
                <a:gd name="T0" fmla="*/ 3 w 3"/>
                <a:gd name="T1" fmla="*/ 2 h 5"/>
                <a:gd name="T2" fmla="*/ 3 w 3"/>
                <a:gd name="T3" fmla="*/ 2 h 5"/>
                <a:gd name="T4" fmla="*/ 3 w 3"/>
                <a:gd name="T5" fmla="*/ 2 h 5"/>
                <a:gd name="T6" fmla="*/ 3 w 3"/>
                <a:gd name="T7" fmla="*/ 2 h 5"/>
                <a:gd name="T8" fmla="*/ 3 w 3"/>
                <a:gd name="T9" fmla="*/ 4 h 5"/>
                <a:gd name="T10" fmla="*/ 1 w 3"/>
                <a:gd name="T11" fmla="*/ 4 h 5"/>
                <a:gd name="T12" fmla="*/ 1 w 3"/>
                <a:gd name="T13" fmla="*/ 4 h 5"/>
                <a:gd name="T14" fmla="*/ 1 w 3"/>
                <a:gd name="T15" fmla="*/ 4 h 5"/>
                <a:gd name="T16" fmla="*/ 1 w 3"/>
                <a:gd name="T17" fmla="*/ 4 h 5"/>
                <a:gd name="T18" fmla="*/ 1 w 3"/>
                <a:gd name="T19" fmla="*/ 4 h 5"/>
                <a:gd name="T20" fmla="*/ 1 w 3"/>
                <a:gd name="T21" fmla="*/ 4 h 5"/>
                <a:gd name="T22" fmla="*/ 1 w 3"/>
                <a:gd name="T23" fmla="*/ 5 h 5"/>
                <a:gd name="T24" fmla="*/ 0 w 3"/>
                <a:gd name="T25" fmla="*/ 4 h 5"/>
                <a:gd name="T26" fmla="*/ 0 w 3"/>
                <a:gd name="T27" fmla="*/ 4 h 5"/>
                <a:gd name="T28" fmla="*/ 0 w 3"/>
                <a:gd name="T29" fmla="*/ 4 h 5"/>
                <a:gd name="T30" fmla="*/ 0 w 3"/>
                <a:gd name="T31" fmla="*/ 4 h 5"/>
                <a:gd name="T32" fmla="*/ 1 w 3"/>
                <a:gd name="T33" fmla="*/ 2 h 5"/>
                <a:gd name="T34" fmla="*/ 1 w 3"/>
                <a:gd name="T35" fmla="*/ 2 h 5"/>
                <a:gd name="T36" fmla="*/ 1 w 3"/>
                <a:gd name="T37" fmla="*/ 2 h 5"/>
                <a:gd name="T38" fmla="*/ 1 w 3"/>
                <a:gd name="T39" fmla="*/ 2 h 5"/>
                <a:gd name="T40" fmla="*/ 1 w 3"/>
                <a:gd name="T41" fmla="*/ 2 h 5"/>
                <a:gd name="T42" fmla="*/ 3 w 3"/>
                <a:gd name="T43" fmla="*/ 2 h 5"/>
                <a:gd name="T44" fmla="*/ 3 w 3"/>
                <a:gd name="T45" fmla="*/ 2 h 5"/>
                <a:gd name="T46" fmla="*/ 3 w 3"/>
                <a:gd name="T47" fmla="*/ 0 h 5"/>
                <a:gd name="T48" fmla="*/ 3 w 3"/>
                <a:gd name="T49" fmla="*/ 2 h 5"/>
                <a:gd name="T50" fmla="*/ 3 w 3"/>
                <a:gd name="T51" fmla="*/ 2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 h="5">
                  <a:moveTo>
                    <a:pt x="3" y="2"/>
                  </a:moveTo>
                  <a:lnTo>
                    <a:pt x="3" y="2"/>
                  </a:lnTo>
                  <a:lnTo>
                    <a:pt x="3" y="2"/>
                  </a:lnTo>
                  <a:lnTo>
                    <a:pt x="3" y="2"/>
                  </a:lnTo>
                  <a:lnTo>
                    <a:pt x="3" y="4"/>
                  </a:lnTo>
                  <a:lnTo>
                    <a:pt x="1" y="4"/>
                  </a:lnTo>
                  <a:lnTo>
                    <a:pt x="1" y="4"/>
                  </a:lnTo>
                  <a:lnTo>
                    <a:pt x="1" y="4"/>
                  </a:lnTo>
                  <a:lnTo>
                    <a:pt x="1" y="4"/>
                  </a:lnTo>
                  <a:lnTo>
                    <a:pt x="1" y="4"/>
                  </a:lnTo>
                  <a:lnTo>
                    <a:pt x="1" y="4"/>
                  </a:lnTo>
                  <a:lnTo>
                    <a:pt x="1" y="5"/>
                  </a:lnTo>
                  <a:lnTo>
                    <a:pt x="0" y="4"/>
                  </a:lnTo>
                  <a:lnTo>
                    <a:pt x="0" y="4"/>
                  </a:lnTo>
                  <a:lnTo>
                    <a:pt x="0" y="4"/>
                  </a:lnTo>
                  <a:lnTo>
                    <a:pt x="0" y="4"/>
                  </a:lnTo>
                  <a:lnTo>
                    <a:pt x="1" y="2"/>
                  </a:lnTo>
                  <a:lnTo>
                    <a:pt x="1" y="2"/>
                  </a:lnTo>
                  <a:lnTo>
                    <a:pt x="1" y="2"/>
                  </a:lnTo>
                  <a:lnTo>
                    <a:pt x="1" y="2"/>
                  </a:lnTo>
                  <a:lnTo>
                    <a:pt x="1" y="2"/>
                  </a:lnTo>
                  <a:lnTo>
                    <a:pt x="3" y="2"/>
                  </a:lnTo>
                  <a:lnTo>
                    <a:pt x="3" y="2"/>
                  </a:lnTo>
                  <a:lnTo>
                    <a:pt x="3" y="0"/>
                  </a:lnTo>
                  <a:lnTo>
                    <a:pt x="3" y="2"/>
                  </a:lnTo>
                  <a:lnTo>
                    <a:pt x="3" y="2"/>
                  </a:lnTo>
                  <a:close/>
                </a:path>
              </a:pathLst>
            </a:custGeom>
            <a:solidFill>
              <a:srgbClr val="E5E5E5"/>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1200" name="Freeform 46">
              <a:extLst>
                <a:ext uri="{FF2B5EF4-FFF2-40B4-BE49-F238E27FC236}">
                  <a16:creationId xmlns:a16="http://schemas.microsoft.com/office/drawing/2014/main" id="{48A2BC31-2DBC-62F7-9E0A-1019510FA2E2}"/>
                </a:ext>
              </a:extLst>
            </p:cNvPr>
            <p:cNvSpPr>
              <a:spLocks noEditPoints="1"/>
            </p:cNvSpPr>
            <p:nvPr/>
          </p:nvSpPr>
          <p:spPr bwMode="auto">
            <a:xfrm>
              <a:off x="5782" y="3768"/>
              <a:ext cx="397" cy="408"/>
            </a:xfrm>
            <a:custGeom>
              <a:avLst/>
              <a:gdLst>
                <a:gd name="T0" fmla="*/ 115 w 397"/>
                <a:gd name="T1" fmla="*/ 11 h 408"/>
                <a:gd name="T2" fmla="*/ 138 w 397"/>
                <a:gd name="T3" fmla="*/ 24 h 408"/>
                <a:gd name="T4" fmla="*/ 158 w 397"/>
                <a:gd name="T5" fmla="*/ 19 h 408"/>
                <a:gd name="T6" fmla="*/ 166 w 397"/>
                <a:gd name="T7" fmla="*/ 27 h 408"/>
                <a:gd name="T8" fmla="*/ 180 w 397"/>
                <a:gd name="T9" fmla="*/ 34 h 408"/>
                <a:gd name="T10" fmla="*/ 197 w 397"/>
                <a:gd name="T11" fmla="*/ 24 h 408"/>
                <a:gd name="T12" fmla="*/ 213 w 397"/>
                <a:gd name="T13" fmla="*/ 34 h 408"/>
                <a:gd name="T14" fmla="*/ 242 w 397"/>
                <a:gd name="T15" fmla="*/ 32 h 408"/>
                <a:gd name="T16" fmla="*/ 257 w 397"/>
                <a:gd name="T17" fmla="*/ 58 h 408"/>
                <a:gd name="T18" fmla="*/ 263 w 397"/>
                <a:gd name="T19" fmla="*/ 84 h 408"/>
                <a:gd name="T20" fmla="*/ 265 w 397"/>
                <a:gd name="T21" fmla="*/ 105 h 408"/>
                <a:gd name="T22" fmla="*/ 291 w 397"/>
                <a:gd name="T23" fmla="*/ 122 h 408"/>
                <a:gd name="T24" fmla="*/ 314 w 397"/>
                <a:gd name="T25" fmla="*/ 148 h 408"/>
                <a:gd name="T26" fmla="*/ 349 w 397"/>
                <a:gd name="T27" fmla="*/ 169 h 408"/>
                <a:gd name="T28" fmla="*/ 367 w 397"/>
                <a:gd name="T29" fmla="*/ 195 h 408"/>
                <a:gd name="T30" fmla="*/ 369 w 397"/>
                <a:gd name="T31" fmla="*/ 219 h 408"/>
                <a:gd name="T32" fmla="*/ 379 w 397"/>
                <a:gd name="T33" fmla="*/ 222 h 408"/>
                <a:gd name="T34" fmla="*/ 392 w 397"/>
                <a:gd name="T35" fmla="*/ 226 h 408"/>
                <a:gd name="T36" fmla="*/ 361 w 397"/>
                <a:gd name="T37" fmla="*/ 235 h 408"/>
                <a:gd name="T38" fmla="*/ 325 w 397"/>
                <a:gd name="T39" fmla="*/ 232 h 408"/>
                <a:gd name="T40" fmla="*/ 310 w 397"/>
                <a:gd name="T41" fmla="*/ 255 h 408"/>
                <a:gd name="T42" fmla="*/ 281 w 397"/>
                <a:gd name="T43" fmla="*/ 247 h 408"/>
                <a:gd name="T44" fmla="*/ 299 w 397"/>
                <a:gd name="T45" fmla="*/ 307 h 408"/>
                <a:gd name="T46" fmla="*/ 267 w 397"/>
                <a:gd name="T47" fmla="*/ 364 h 408"/>
                <a:gd name="T48" fmla="*/ 244 w 397"/>
                <a:gd name="T49" fmla="*/ 400 h 408"/>
                <a:gd name="T50" fmla="*/ 232 w 397"/>
                <a:gd name="T51" fmla="*/ 396 h 408"/>
                <a:gd name="T52" fmla="*/ 232 w 397"/>
                <a:gd name="T53" fmla="*/ 385 h 408"/>
                <a:gd name="T54" fmla="*/ 221 w 397"/>
                <a:gd name="T55" fmla="*/ 364 h 408"/>
                <a:gd name="T56" fmla="*/ 218 w 397"/>
                <a:gd name="T57" fmla="*/ 349 h 408"/>
                <a:gd name="T58" fmla="*/ 211 w 397"/>
                <a:gd name="T59" fmla="*/ 331 h 408"/>
                <a:gd name="T60" fmla="*/ 211 w 397"/>
                <a:gd name="T61" fmla="*/ 312 h 408"/>
                <a:gd name="T62" fmla="*/ 210 w 397"/>
                <a:gd name="T63" fmla="*/ 300 h 408"/>
                <a:gd name="T64" fmla="*/ 211 w 397"/>
                <a:gd name="T65" fmla="*/ 287 h 408"/>
                <a:gd name="T66" fmla="*/ 211 w 397"/>
                <a:gd name="T67" fmla="*/ 279 h 408"/>
                <a:gd name="T68" fmla="*/ 211 w 397"/>
                <a:gd name="T69" fmla="*/ 268 h 408"/>
                <a:gd name="T70" fmla="*/ 206 w 397"/>
                <a:gd name="T71" fmla="*/ 255 h 408"/>
                <a:gd name="T72" fmla="*/ 205 w 397"/>
                <a:gd name="T73" fmla="*/ 239 h 408"/>
                <a:gd name="T74" fmla="*/ 197 w 397"/>
                <a:gd name="T75" fmla="*/ 232 h 408"/>
                <a:gd name="T76" fmla="*/ 192 w 397"/>
                <a:gd name="T77" fmla="*/ 222 h 408"/>
                <a:gd name="T78" fmla="*/ 182 w 397"/>
                <a:gd name="T79" fmla="*/ 209 h 408"/>
                <a:gd name="T80" fmla="*/ 179 w 397"/>
                <a:gd name="T81" fmla="*/ 200 h 408"/>
                <a:gd name="T82" fmla="*/ 166 w 397"/>
                <a:gd name="T83" fmla="*/ 193 h 408"/>
                <a:gd name="T84" fmla="*/ 149 w 397"/>
                <a:gd name="T85" fmla="*/ 185 h 408"/>
                <a:gd name="T86" fmla="*/ 143 w 397"/>
                <a:gd name="T87" fmla="*/ 174 h 408"/>
                <a:gd name="T88" fmla="*/ 130 w 397"/>
                <a:gd name="T89" fmla="*/ 162 h 408"/>
                <a:gd name="T90" fmla="*/ 122 w 397"/>
                <a:gd name="T91" fmla="*/ 159 h 408"/>
                <a:gd name="T92" fmla="*/ 115 w 397"/>
                <a:gd name="T93" fmla="*/ 146 h 408"/>
                <a:gd name="T94" fmla="*/ 104 w 397"/>
                <a:gd name="T95" fmla="*/ 143 h 408"/>
                <a:gd name="T96" fmla="*/ 92 w 397"/>
                <a:gd name="T97" fmla="*/ 130 h 408"/>
                <a:gd name="T98" fmla="*/ 76 w 397"/>
                <a:gd name="T99" fmla="*/ 115 h 408"/>
                <a:gd name="T100" fmla="*/ 70 w 397"/>
                <a:gd name="T101" fmla="*/ 100 h 408"/>
                <a:gd name="T102" fmla="*/ 55 w 397"/>
                <a:gd name="T103" fmla="*/ 79 h 408"/>
                <a:gd name="T104" fmla="*/ 42 w 397"/>
                <a:gd name="T105" fmla="*/ 65 h 408"/>
                <a:gd name="T106" fmla="*/ 34 w 397"/>
                <a:gd name="T107" fmla="*/ 60 h 408"/>
                <a:gd name="T108" fmla="*/ 23 w 397"/>
                <a:gd name="T109" fmla="*/ 52 h 408"/>
                <a:gd name="T110" fmla="*/ 6 w 397"/>
                <a:gd name="T111" fmla="*/ 52 h 408"/>
                <a:gd name="T112" fmla="*/ 6 w 397"/>
                <a:gd name="T113" fmla="*/ 40 h 408"/>
                <a:gd name="T114" fmla="*/ 10 w 397"/>
                <a:gd name="T115" fmla="*/ 37 h 408"/>
                <a:gd name="T116" fmla="*/ 32 w 397"/>
                <a:gd name="T117" fmla="*/ 30 h 408"/>
                <a:gd name="T118" fmla="*/ 44 w 397"/>
                <a:gd name="T119" fmla="*/ 26 h 408"/>
                <a:gd name="T120" fmla="*/ 65 w 397"/>
                <a:gd name="T121" fmla="*/ 16 h 408"/>
                <a:gd name="T122" fmla="*/ 83 w 397"/>
                <a:gd name="T123" fmla="*/ 4 h 4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97" h="408">
                  <a:moveTo>
                    <a:pt x="89" y="4"/>
                  </a:moveTo>
                  <a:lnTo>
                    <a:pt x="91" y="4"/>
                  </a:lnTo>
                  <a:lnTo>
                    <a:pt x="92" y="4"/>
                  </a:lnTo>
                  <a:lnTo>
                    <a:pt x="94" y="3"/>
                  </a:lnTo>
                  <a:lnTo>
                    <a:pt x="96" y="1"/>
                  </a:lnTo>
                  <a:lnTo>
                    <a:pt x="97" y="1"/>
                  </a:lnTo>
                  <a:lnTo>
                    <a:pt x="99" y="1"/>
                  </a:lnTo>
                  <a:lnTo>
                    <a:pt x="102" y="1"/>
                  </a:lnTo>
                  <a:lnTo>
                    <a:pt x="104" y="3"/>
                  </a:lnTo>
                  <a:lnTo>
                    <a:pt x="105" y="3"/>
                  </a:lnTo>
                  <a:lnTo>
                    <a:pt x="105" y="4"/>
                  </a:lnTo>
                  <a:lnTo>
                    <a:pt x="107" y="4"/>
                  </a:lnTo>
                  <a:lnTo>
                    <a:pt x="109" y="4"/>
                  </a:lnTo>
                  <a:lnTo>
                    <a:pt x="110" y="4"/>
                  </a:lnTo>
                  <a:lnTo>
                    <a:pt x="112" y="6"/>
                  </a:lnTo>
                  <a:lnTo>
                    <a:pt x="112" y="8"/>
                  </a:lnTo>
                  <a:lnTo>
                    <a:pt x="114" y="9"/>
                  </a:lnTo>
                  <a:lnTo>
                    <a:pt x="115" y="11"/>
                  </a:lnTo>
                  <a:lnTo>
                    <a:pt x="117" y="11"/>
                  </a:lnTo>
                  <a:lnTo>
                    <a:pt x="119" y="13"/>
                  </a:lnTo>
                  <a:lnTo>
                    <a:pt x="120" y="13"/>
                  </a:lnTo>
                  <a:lnTo>
                    <a:pt x="120" y="14"/>
                  </a:lnTo>
                  <a:lnTo>
                    <a:pt x="122" y="14"/>
                  </a:lnTo>
                  <a:lnTo>
                    <a:pt x="125" y="13"/>
                  </a:lnTo>
                  <a:lnTo>
                    <a:pt x="127" y="13"/>
                  </a:lnTo>
                  <a:lnTo>
                    <a:pt x="130" y="13"/>
                  </a:lnTo>
                  <a:lnTo>
                    <a:pt x="132" y="13"/>
                  </a:lnTo>
                  <a:lnTo>
                    <a:pt x="133" y="13"/>
                  </a:lnTo>
                  <a:lnTo>
                    <a:pt x="135" y="14"/>
                  </a:lnTo>
                  <a:lnTo>
                    <a:pt x="135" y="16"/>
                  </a:lnTo>
                  <a:lnTo>
                    <a:pt x="135" y="19"/>
                  </a:lnTo>
                  <a:lnTo>
                    <a:pt x="135" y="21"/>
                  </a:lnTo>
                  <a:lnTo>
                    <a:pt x="135" y="22"/>
                  </a:lnTo>
                  <a:lnTo>
                    <a:pt x="136" y="22"/>
                  </a:lnTo>
                  <a:lnTo>
                    <a:pt x="136" y="24"/>
                  </a:lnTo>
                  <a:lnTo>
                    <a:pt x="138" y="24"/>
                  </a:lnTo>
                  <a:lnTo>
                    <a:pt x="140" y="24"/>
                  </a:lnTo>
                  <a:lnTo>
                    <a:pt x="140" y="22"/>
                  </a:lnTo>
                  <a:lnTo>
                    <a:pt x="141" y="21"/>
                  </a:lnTo>
                  <a:lnTo>
                    <a:pt x="141" y="19"/>
                  </a:lnTo>
                  <a:lnTo>
                    <a:pt x="143" y="19"/>
                  </a:lnTo>
                  <a:lnTo>
                    <a:pt x="145" y="19"/>
                  </a:lnTo>
                  <a:lnTo>
                    <a:pt x="145" y="21"/>
                  </a:lnTo>
                  <a:lnTo>
                    <a:pt x="146" y="24"/>
                  </a:lnTo>
                  <a:lnTo>
                    <a:pt x="146" y="26"/>
                  </a:lnTo>
                  <a:lnTo>
                    <a:pt x="148" y="26"/>
                  </a:lnTo>
                  <a:lnTo>
                    <a:pt x="149" y="26"/>
                  </a:lnTo>
                  <a:lnTo>
                    <a:pt x="149" y="24"/>
                  </a:lnTo>
                  <a:lnTo>
                    <a:pt x="153" y="22"/>
                  </a:lnTo>
                  <a:lnTo>
                    <a:pt x="154" y="21"/>
                  </a:lnTo>
                  <a:lnTo>
                    <a:pt x="156" y="19"/>
                  </a:lnTo>
                  <a:lnTo>
                    <a:pt x="156" y="17"/>
                  </a:lnTo>
                  <a:lnTo>
                    <a:pt x="158" y="17"/>
                  </a:lnTo>
                  <a:lnTo>
                    <a:pt x="158" y="19"/>
                  </a:lnTo>
                  <a:lnTo>
                    <a:pt x="159" y="19"/>
                  </a:lnTo>
                  <a:lnTo>
                    <a:pt x="159" y="17"/>
                  </a:lnTo>
                  <a:lnTo>
                    <a:pt x="161" y="16"/>
                  </a:lnTo>
                  <a:lnTo>
                    <a:pt x="162" y="17"/>
                  </a:lnTo>
                  <a:lnTo>
                    <a:pt x="162" y="19"/>
                  </a:lnTo>
                  <a:lnTo>
                    <a:pt x="164" y="21"/>
                  </a:lnTo>
                  <a:lnTo>
                    <a:pt x="164" y="22"/>
                  </a:lnTo>
                  <a:lnTo>
                    <a:pt x="164" y="24"/>
                  </a:lnTo>
                  <a:lnTo>
                    <a:pt x="162" y="26"/>
                  </a:lnTo>
                  <a:lnTo>
                    <a:pt x="159" y="29"/>
                  </a:lnTo>
                  <a:lnTo>
                    <a:pt x="159" y="30"/>
                  </a:lnTo>
                  <a:lnTo>
                    <a:pt x="159" y="32"/>
                  </a:lnTo>
                  <a:lnTo>
                    <a:pt x="161" y="32"/>
                  </a:lnTo>
                  <a:lnTo>
                    <a:pt x="162" y="32"/>
                  </a:lnTo>
                  <a:lnTo>
                    <a:pt x="164" y="32"/>
                  </a:lnTo>
                  <a:lnTo>
                    <a:pt x="166" y="30"/>
                  </a:lnTo>
                  <a:lnTo>
                    <a:pt x="166" y="29"/>
                  </a:lnTo>
                  <a:lnTo>
                    <a:pt x="166" y="27"/>
                  </a:lnTo>
                  <a:lnTo>
                    <a:pt x="166" y="26"/>
                  </a:lnTo>
                  <a:lnTo>
                    <a:pt x="167" y="26"/>
                  </a:lnTo>
                  <a:lnTo>
                    <a:pt x="169" y="24"/>
                  </a:lnTo>
                  <a:lnTo>
                    <a:pt x="171" y="26"/>
                  </a:lnTo>
                  <a:lnTo>
                    <a:pt x="172" y="26"/>
                  </a:lnTo>
                  <a:lnTo>
                    <a:pt x="172" y="27"/>
                  </a:lnTo>
                  <a:lnTo>
                    <a:pt x="172" y="29"/>
                  </a:lnTo>
                  <a:lnTo>
                    <a:pt x="172" y="30"/>
                  </a:lnTo>
                  <a:lnTo>
                    <a:pt x="171" y="30"/>
                  </a:lnTo>
                  <a:lnTo>
                    <a:pt x="172" y="32"/>
                  </a:lnTo>
                  <a:lnTo>
                    <a:pt x="174" y="34"/>
                  </a:lnTo>
                  <a:lnTo>
                    <a:pt x="174" y="35"/>
                  </a:lnTo>
                  <a:lnTo>
                    <a:pt x="175" y="37"/>
                  </a:lnTo>
                  <a:lnTo>
                    <a:pt x="179" y="37"/>
                  </a:lnTo>
                  <a:lnTo>
                    <a:pt x="180" y="39"/>
                  </a:lnTo>
                  <a:lnTo>
                    <a:pt x="180" y="37"/>
                  </a:lnTo>
                  <a:lnTo>
                    <a:pt x="180" y="35"/>
                  </a:lnTo>
                  <a:lnTo>
                    <a:pt x="180" y="34"/>
                  </a:lnTo>
                  <a:lnTo>
                    <a:pt x="179" y="34"/>
                  </a:lnTo>
                  <a:lnTo>
                    <a:pt x="179" y="32"/>
                  </a:lnTo>
                  <a:lnTo>
                    <a:pt x="179" y="30"/>
                  </a:lnTo>
                  <a:lnTo>
                    <a:pt x="179" y="29"/>
                  </a:lnTo>
                  <a:lnTo>
                    <a:pt x="179" y="27"/>
                  </a:lnTo>
                  <a:lnTo>
                    <a:pt x="179" y="26"/>
                  </a:lnTo>
                  <a:lnTo>
                    <a:pt x="180" y="26"/>
                  </a:lnTo>
                  <a:lnTo>
                    <a:pt x="180" y="24"/>
                  </a:lnTo>
                  <a:lnTo>
                    <a:pt x="182" y="22"/>
                  </a:lnTo>
                  <a:lnTo>
                    <a:pt x="184" y="21"/>
                  </a:lnTo>
                  <a:lnTo>
                    <a:pt x="184" y="22"/>
                  </a:lnTo>
                  <a:lnTo>
                    <a:pt x="185" y="21"/>
                  </a:lnTo>
                  <a:lnTo>
                    <a:pt x="187" y="22"/>
                  </a:lnTo>
                  <a:lnTo>
                    <a:pt x="192" y="22"/>
                  </a:lnTo>
                  <a:lnTo>
                    <a:pt x="192" y="24"/>
                  </a:lnTo>
                  <a:lnTo>
                    <a:pt x="195" y="22"/>
                  </a:lnTo>
                  <a:lnTo>
                    <a:pt x="195" y="24"/>
                  </a:lnTo>
                  <a:lnTo>
                    <a:pt x="197" y="24"/>
                  </a:lnTo>
                  <a:lnTo>
                    <a:pt x="198" y="24"/>
                  </a:lnTo>
                  <a:lnTo>
                    <a:pt x="201" y="22"/>
                  </a:lnTo>
                  <a:lnTo>
                    <a:pt x="203" y="22"/>
                  </a:lnTo>
                  <a:lnTo>
                    <a:pt x="205" y="22"/>
                  </a:lnTo>
                  <a:lnTo>
                    <a:pt x="206" y="21"/>
                  </a:lnTo>
                  <a:lnTo>
                    <a:pt x="208" y="21"/>
                  </a:lnTo>
                  <a:lnTo>
                    <a:pt x="210" y="21"/>
                  </a:lnTo>
                  <a:lnTo>
                    <a:pt x="211" y="22"/>
                  </a:lnTo>
                  <a:lnTo>
                    <a:pt x="213" y="24"/>
                  </a:lnTo>
                  <a:lnTo>
                    <a:pt x="213" y="26"/>
                  </a:lnTo>
                  <a:lnTo>
                    <a:pt x="213" y="27"/>
                  </a:lnTo>
                  <a:lnTo>
                    <a:pt x="211" y="27"/>
                  </a:lnTo>
                  <a:lnTo>
                    <a:pt x="211" y="29"/>
                  </a:lnTo>
                  <a:lnTo>
                    <a:pt x="211" y="27"/>
                  </a:lnTo>
                  <a:lnTo>
                    <a:pt x="213" y="29"/>
                  </a:lnTo>
                  <a:lnTo>
                    <a:pt x="213" y="30"/>
                  </a:lnTo>
                  <a:lnTo>
                    <a:pt x="213" y="32"/>
                  </a:lnTo>
                  <a:lnTo>
                    <a:pt x="213" y="34"/>
                  </a:lnTo>
                  <a:lnTo>
                    <a:pt x="214" y="34"/>
                  </a:lnTo>
                  <a:lnTo>
                    <a:pt x="218" y="37"/>
                  </a:lnTo>
                  <a:lnTo>
                    <a:pt x="219" y="37"/>
                  </a:lnTo>
                  <a:lnTo>
                    <a:pt x="219" y="39"/>
                  </a:lnTo>
                  <a:lnTo>
                    <a:pt x="224" y="42"/>
                  </a:lnTo>
                  <a:lnTo>
                    <a:pt x="227" y="39"/>
                  </a:lnTo>
                  <a:lnTo>
                    <a:pt x="229" y="40"/>
                  </a:lnTo>
                  <a:lnTo>
                    <a:pt x="229" y="39"/>
                  </a:lnTo>
                  <a:lnTo>
                    <a:pt x="231" y="40"/>
                  </a:lnTo>
                  <a:lnTo>
                    <a:pt x="234" y="42"/>
                  </a:lnTo>
                  <a:lnTo>
                    <a:pt x="237" y="42"/>
                  </a:lnTo>
                  <a:lnTo>
                    <a:pt x="239" y="40"/>
                  </a:lnTo>
                  <a:lnTo>
                    <a:pt x="239" y="37"/>
                  </a:lnTo>
                  <a:lnTo>
                    <a:pt x="239" y="39"/>
                  </a:lnTo>
                  <a:lnTo>
                    <a:pt x="239" y="37"/>
                  </a:lnTo>
                  <a:lnTo>
                    <a:pt x="239" y="35"/>
                  </a:lnTo>
                  <a:lnTo>
                    <a:pt x="242" y="34"/>
                  </a:lnTo>
                  <a:lnTo>
                    <a:pt x="242" y="32"/>
                  </a:lnTo>
                  <a:lnTo>
                    <a:pt x="245" y="32"/>
                  </a:lnTo>
                  <a:lnTo>
                    <a:pt x="247" y="34"/>
                  </a:lnTo>
                  <a:lnTo>
                    <a:pt x="247" y="35"/>
                  </a:lnTo>
                  <a:lnTo>
                    <a:pt x="249" y="37"/>
                  </a:lnTo>
                  <a:lnTo>
                    <a:pt x="252" y="45"/>
                  </a:lnTo>
                  <a:lnTo>
                    <a:pt x="252" y="47"/>
                  </a:lnTo>
                  <a:lnTo>
                    <a:pt x="257" y="43"/>
                  </a:lnTo>
                  <a:lnTo>
                    <a:pt x="258" y="43"/>
                  </a:lnTo>
                  <a:lnTo>
                    <a:pt x="258" y="45"/>
                  </a:lnTo>
                  <a:lnTo>
                    <a:pt x="257" y="47"/>
                  </a:lnTo>
                  <a:lnTo>
                    <a:pt x="257" y="48"/>
                  </a:lnTo>
                  <a:lnTo>
                    <a:pt x="255" y="48"/>
                  </a:lnTo>
                  <a:lnTo>
                    <a:pt x="255" y="50"/>
                  </a:lnTo>
                  <a:lnTo>
                    <a:pt x="255" y="52"/>
                  </a:lnTo>
                  <a:lnTo>
                    <a:pt x="253" y="55"/>
                  </a:lnTo>
                  <a:lnTo>
                    <a:pt x="255" y="55"/>
                  </a:lnTo>
                  <a:lnTo>
                    <a:pt x="255" y="56"/>
                  </a:lnTo>
                  <a:lnTo>
                    <a:pt x="257" y="58"/>
                  </a:lnTo>
                  <a:lnTo>
                    <a:pt x="258" y="58"/>
                  </a:lnTo>
                  <a:lnTo>
                    <a:pt x="258" y="55"/>
                  </a:lnTo>
                  <a:lnTo>
                    <a:pt x="260" y="55"/>
                  </a:lnTo>
                  <a:lnTo>
                    <a:pt x="262" y="55"/>
                  </a:lnTo>
                  <a:lnTo>
                    <a:pt x="262" y="58"/>
                  </a:lnTo>
                  <a:lnTo>
                    <a:pt x="262" y="63"/>
                  </a:lnTo>
                  <a:lnTo>
                    <a:pt x="258" y="66"/>
                  </a:lnTo>
                  <a:lnTo>
                    <a:pt x="258" y="69"/>
                  </a:lnTo>
                  <a:lnTo>
                    <a:pt x="260" y="71"/>
                  </a:lnTo>
                  <a:lnTo>
                    <a:pt x="262" y="73"/>
                  </a:lnTo>
                  <a:lnTo>
                    <a:pt x="262" y="74"/>
                  </a:lnTo>
                  <a:lnTo>
                    <a:pt x="262" y="78"/>
                  </a:lnTo>
                  <a:lnTo>
                    <a:pt x="262" y="79"/>
                  </a:lnTo>
                  <a:lnTo>
                    <a:pt x="263" y="79"/>
                  </a:lnTo>
                  <a:lnTo>
                    <a:pt x="263" y="81"/>
                  </a:lnTo>
                  <a:lnTo>
                    <a:pt x="262" y="82"/>
                  </a:lnTo>
                  <a:lnTo>
                    <a:pt x="263" y="82"/>
                  </a:lnTo>
                  <a:lnTo>
                    <a:pt x="263" y="84"/>
                  </a:lnTo>
                  <a:lnTo>
                    <a:pt x="262" y="87"/>
                  </a:lnTo>
                  <a:lnTo>
                    <a:pt x="262" y="89"/>
                  </a:lnTo>
                  <a:lnTo>
                    <a:pt x="262" y="91"/>
                  </a:lnTo>
                  <a:lnTo>
                    <a:pt x="260" y="91"/>
                  </a:lnTo>
                  <a:lnTo>
                    <a:pt x="257" y="94"/>
                  </a:lnTo>
                  <a:lnTo>
                    <a:pt x="260" y="99"/>
                  </a:lnTo>
                  <a:lnTo>
                    <a:pt x="262" y="100"/>
                  </a:lnTo>
                  <a:lnTo>
                    <a:pt x="263" y="97"/>
                  </a:lnTo>
                  <a:lnTo>
                    <a:pt x="265" y="97"/>
                  </a:lnTo>
                  <a:lnTo>
                    <a:pt x="265" y="99"/>
                  </a:lnTo>
                  <a:lnTo>
                    <a:pt x="263" y="99"/>
                  </a:lnTo>
                  <a:lnTo>
                    <a:pt x="265" y="100"/>
                  </a:lnTo>
                  <a:lnTo>
                    <a:pt x="265" y="102"/>
                  </a:lnTo>
                  <a:lnTo>
                    <a:pt x="265" y="104"/>
                  </a:lnTo>
                  <a:lnTo>
                    <a:pt x="263" y="105"/>
                  </a:lnTo>
                  <a:lnTo>
                    <a:pt x="263" y="107"/>
                  </a:lnTo>
                  <a:lnTo>
                    <a:pt x="265" y="107"/>
                  </a:lnTo>
                  <a:lnTo>
                    <a:pt x="265" y="105"/>
                  </a:lnTo>
                  <a:lnTo>
                    <a:pt x="267" y="107"/>
                  </a:lnTo>
                  <a:lnTo>
                    <a:pt x="267" y="109"/>
                  </a:lnTo>
                  <a:lnTo>
                    <a:pt x="267" y="110"/>
                  </a:lnTo>
                  <a:lnTo>
                    <a:pt x="268" y="110"/>
                  </a:lnTo>
                  <a:lnTo>
                    <a:pt x="270" y="107"/>
                  </a:lnTo>
                  <a:lnTo>
                    <a:pt x="271" y="104"/>
                  </a:lnTo>
                  <a:lnTo>
                    <a:pt x="273" y="110"/>
                  </a:lnTo>
                  <a:lnTo>
                    <a:pt x="273" y="109"/>
                  </a:lnTo>
                  <a:lnTo>
                    <a:pt x="275" y="107"/>
                  </a:lnTo>
                  <a:lnTo>
                    <a:pt x="276" y="107"/>
                  </a:lnTo>
                  <a:lnTo>
                    <a:pt x="276" y="105"/>
                  </a:lnTo>
                  <a:lnTo>
                    <a:pt x="278" y="104"/>
                  </a:lnTo>
                  <a:lnTo>
                    <a:pt x="283" y="113"/>
                  </a:lnTo>
                  <a:lnTo>
                    <a:pt x="284" y="113"/>
                  </a:lnTo>
                  <a:lnTo>
                    <a:pt x="288" y="112"/>
                  </a:lnTo>
                  <a:lnTo>
                    <a:pt x="289" y="115"/>
                  </a:lnTo>
                  <a:lnTo>
                    <a:pt x="289" y="117"/>
                  </a:lnTo>
                  <a:lnTo>
                    <a:pt x="291" y="122"/>
                  </a:lnTo>
                  <a:lnTo>
                    <a:pt x="293" y="122"/>
                  </a:lnTo>
                  <a:lnTo>
                    <a:pt x="294" y="122"/>
                  </a:lnTo>
                  <a:lnTo>
                    <a:pt x="299" y="120"/>
                  </a:lnTo>
                  <a:lnTo>
                    <a:pt x="299" y="117"/>
                  </a:lnTo>
                  <a:lnTo>
                    <a:pt x="299" y="113"/>
                  </a:lnTo>
                  <a:lnTo>
                    <a:pt x="299" y="112"/>
                  </a:lnTo>
                  <a:lnTo>
                    <a:pt x="301" y="110"/>
                  </a:lnTo>
                  <a:lnTo>
                    <a:pt x="306" y="109"/>
                  </a:lnTo>
                  <a:lnTo>
                    <a:pt x="307" y="112"/>
                  </a:lnTo>
                  <a:lnTo>
                    <a:pt x="312" y="123"/>
                  </a:lnTo>
                  <a:lnTo>
                    <a:pt x="307" y="125"/>
                  </a:lnTo>
                  <a:lnTo>
                    <a:pt x="314" y="141"/>
                  </a:lnTo>
                  <a:lnTo>
                    <a:pt x="307" y="144"/>
                  </a:lnTo>
                  <a:lnTo>
                    <a:pt x="307" y="146"/>
                  </a:lnTo>
                  <a:lnTo>
                    <a:pt x="309" y="146"/>
                  </a:lnTo>
                  <a:lnTo>
                    <a:pt x="312" y="149"/>
                  </a:lnTo>
                  <a:lnTo>
                    <a:pt x="314" y="149"/>
                  </a:lnTo>
                  <a:lnTo>
                    <a:pt x="314" y="148"/>
                  </a:lnTo>
                  <a:lnTo>
                    <a:pt x="315" y="146"/>
                  </a:lnTo>
                  <a:lnTo>
                    <a:pt x="319" y="144"/>
                  </a:lnTo>
                  <a:lnTo>
                    <a:pt x="320" y="149"/>
                  </a:lnTo>
                  <a:lnTo>
                    <a:pt x="322" y="152"/>
                  </a:lnTo>
                  <a:lnTo>
                    <a:pt x="320" y="152"/>
                  </a:lnTo>
                  <a:lnTo>
                    <a:pt x="320" y="156"/>
                  </a:lnTo>
                  <a:lnTo>
                    <a:pt x="322" y="164"/>
                  </a:lnTo>
                  <a:lnTo>
                    <a:pt x="319" y="165"/>
                  </a:lnTo>
                  <a:lnTo>
                    <a:pt x="319" y="167"/>
                  </a:lnTo>
                  <a:lnTo>
                    <a:pt x="320" y="169"/>
                  </a:lnTo>
                  <a:lnTo>
                    <a:pt x="327" y="164"/>
                  </a:lnTo>
                  <a:lnTo>
                    <a:pt x="328" y="169"/>
                  </a:lnTo>
                  <a:lnTo>
                    <a:pt x="335" y="167"/>
                  </a:lnTo>
                  <a:lnTo>
                    <a:pt x="335" y="165"/>
                  </a:lnTo>
                  <a:lnTo>
                    <a:pt x="336" y="167"/>
                  </a:lnTo>
                  <a:lnTo>
                    <a:pt x="340" y="175"/>
                  </a:lnTo>
                  <a:lnTo>
                    <a:pt x="349" y="170"/>
                  </a:lnTo>
                  <a:lnTo>
                    <a:pt x="349" y="169"/>
                  </a:lnTo>
                  <a:lnTo>
                    <a:pt x="353" y="167"/>
                  </a:lnTo>
                  <a:lnTo>
                    <a:pt x="354" y="172"/>
                  </a:lnTo>
                  <a:lnTo>
                    <a:pt x="354" y="174"/>
                  </a:lnTo>
                  <a:lnTo>
                    <a:pt x="356" y="177"/>
                  </a:lnTo>
                  <a:lnTo>
                    <a:pt x="359" y="175"/>
                  </a:lnTo>
                  <a:lnTo>
                    <a:pt x="359" y="174"/>
                  </a:lnTo>
                  <a:lnTo>
                    <a:pt x="361" y="172"/>
                  </a:lnTo>
                  <a:lnTo>
                    <a:pt x="362" y="174"/>
                  </a:lnTo>
                  <a:lnTo>
                    <a:pt x="362" y="175"/>
                  </a:lnTo>
                  <a:lnTo>
                    <a:pt x="359" y="177"/>
                  </a:lnTo>
                  <a:lnTo>
                    <a:pt x="359" y="178"/>
                  </a:lnTo>
                  <a:lnTo>
                    <a:pt x="364" y="180"/>
                  </a:lnTo>
                  <a:lnTo>
                    <a:pt x="366" y="183"/>
                  </a:lnTo>
                  <a:lnTo>
                    <a:pt x="366" y="185"/>
                  </a:lnTo>
                  <a:lnTo>
                    <a:pt x="366" y="187"/>
                  </a:lnTo>
                  <a:lnTo>
                    <a:pt x="367" y="191"/>
                  </a:lnTo>
                  <a:lnTo>
                    <a:pt x="367" y="193"/>
                  </a:lnTo>
                  <a:lnTo>
                    <a:pt x="367" y="195"/>
                  </a:lnTo>
                  <a:lnTo>
                    <a:pt x="367" y="198"/>
                  </a:lnTo>
                  <a:lnTo>
                    <a:pt x="367" y="200"/>
                  </a:lnTo>
                  <a:lnTo>
                    <a:pt x="369" y="203"/>
                  </a:lnTo>
                  <a:lnTo>
                    <a:pt x="369" y="204"/>
                  </a:lnTo>
                  <a:lnTo>
                    <a:pt x="369" y="206"/>
                  </a:lnTo>
                  <a:lnTo>
                    <a:pt x="369" y="208"/>
                  </a:lnTo>
                  <a:lnTo>
                    <a:pt x="369" y="209"/>
                  </a:lnTo>
                  <a:lnTo>
                    <a:pt x="371" y="211"/>
                  </a:lnTo>
                  <a:lnTo>
                    <a:pt x="369" y="213"/>
                  </a:lnTo>
                  <a:lnTo>
                    <a:pt x="366" y="214"/>
                  </a:lnTo>
                  <a:lnTo>
                    <a:pt x="366" y="216"/>
                  </a:lnTo>
                  <a:lnTo>
                    <a:pt x="367" y="216"/>
                  </a:lnTo>
                  <a:lnTo>
                    <a:pt x="366" y="216"/>
                  </a:lnTo>
                  <a:lnTo>
                    <a:pt x="366" y="217"/>
                  </a:lnTo>
                  <a:lnTo>
                    <a:pt x="367" y="217"/>
                  </a:lnTo>
                  <a:lnTo>
                    <a:pt x="369" y="217"/>
                  </a:lnTo>
                  <a:lnTo>
                    <a:pt x="367" y="219"/>
                  </a:lnTo>
                  <a:lnTo>
                    <a:pt x="369" y="219"/>
                  </a:lnTo>
                  <a:lnTo>
                    <a:pt x="371" y="217"/>
                  </a:lnTo>
                  <a:lnTo>
                    <a:pt x="371" y="219"/>
                  </a:lnTo>
                  <a:lnTo>
                    <a:pt x="372" y="219"/>
                  </a:lnTo>
                  <a:lnTo>
                    <a:pt x="371" y="221"/>
                  </a:lnTo>
                  <a:lnTo>
                    <a:pt x="372" y="221"/>
                  </a:lnTo>
                  <a:lnTo>
                    <a:pt x="374" y="219"/>
                  </a:lnTo>
                  <a:lnTo>
                    <a:pt x="372" y="217"/>
                  </a:lnTo>
                  <a:lnTo>
                    <a:pt x="374" y="217"/>
                  </a:lnTo>
                  <a:lnTo>
                    <a:pt x="374" y="219"/>
                  </a:lnTo>
                  <a:lnTo>
                    <a:pt x="374" y="221"/>
                  </a:lnTo>
                  <a:lnTo>
                    <a:pt x="374" y="219"/>
                  </a:lnTo>
                  <a:lnTo>
                    <a:pt x="375" y="219"/>
                  </a:lnTo>
                  <a:lnTo>
                    <a:pt x="375" y="217"/>
                  </a:lnTo>
                  <a:lnTo>
                    <a:pt x="377" y="219"/>
                  </a:lnTo>
                  <a:lnTo>
                    <a:pt x="377" y="221"/>
                  </a:lnTo>
                  <a:lnTo>
                    <a:pt x="379" y="222"/>
                  </a:lnTo>
                  <a:lnTo>
                    <a:pt x="380" y="222"/>
                  </a:lnTo>
                  <a:lnTo>
                    <a:pt x="379" y="222"/>
                  </a:lnTo>
                  <a:lnTo>
                    <a:pt x="379" y="224"/>
                  </a:lnTo>
                  <a:lnTo>
                    <a:pt x="380" y="224"/>
                  </a:lnTo>
                  <a:lnTo>
                    <a:pt x="382" y="224"/>
                  </a:lnTo>
                  <a:lnTo>
                    <a:pt x="382" y="226"/>
                  </a:lnTo>
                  <a:lnTo>
                    <a:pt x="384" y="224"/>
                  </a:lnTo>
                  <a:lnTo>
                    <a:pt x="385" y="224"/>
                  </a:lnTo>
                  <a:lnTo>
                    <a:pt x="385" y="226"/>
                  </a:lnTo>
                  <a:lnTo>
                    <a:pt x="385" y="227"/>
                  </a:lnTo>
                  <a:lnTo>
                    <a:pt x="387" y="227"/>
                  </a:lnTo>
                  <a:lnTo>
                    <a:pt x="388" y="227"/>
                  </a:lnTo>
                  <a:lnTo>
                    <a:pt x="387" y="226"/>
                  </a:lnTo>
                  <a:lnTo>
                    <a:pt x="388" y="226"/>
                  </a:lnTo>
                  <a:lnTo>
                    <a:pt x="390" y="226"/>
                  </a:lnTo>
                  <a:lnTo>
                    <a:pt x="388" y="226"/>
                  </a:lnTo>
                  <a:lnTo>
                    <a:pt x="388" y="224"/>
                  </a:lnTo>
                  <a:lnTo>
                    <a:pt x="390" y="224"/>
                  </a:lnTo>
                  <a:lnTo>
                    <a:pt x="390" y="226"/>
                  </a:lnTo>
                  <a:lnTo>
                    <a:pt x="392" y="226"/>
                  </a:lnTo>
                  <a:lnTo>
                    <a:pt x="393" y="226"/>
                  </a:lnTo>
                  <a:lnTo>
                    <a:pt x="393" y="227"/>
                  </a:lnTo>
                  <a:lnTo>
                    <a:pt x="395" y="226"/>
                  </a:lnTo>
                  <a:lnTo>
                    <a:pt x="395" y="224"/>
                  </a:lnTo>
                  <a:lnTo>
                    <a:pt x="397" y="226"/>
                  </a:lnTo>
                  <a:lnTo>
                    <a:pt x="390" y="232"/>
                  </a:lnTo>
                  <a:lnTo>
                    <a:pt x="388" y="231"/>
                  </a:lnTo>
                  <a:lnTo>
                    <a:pt x="387" y="231"/>
                  </a:lnTo>
                  <a:lnTo>
                    <a:pt x="384" y="234"/>
                  </a:lnTo>
                  <a:lnTo>
                    <a:pt x="382" y="234"/>
                  </a:lnTo>
                  <a:lnTo>
                    <a:pt x="380" y="234"/>
                  </a:lnTo>
                  <a:lnTo>
                    <a:pt x="380" y="235"/>
                  </a:lnTo>
                  <a:lnTo>
                    <a:pt x="375" y="234"/>
                  </a:lnTo>
                  <a:lnTo>
                    <a:pt x="371" y="239"/>
                  </a:lnTo>
                  <a:lnTo>
                    <a:pt x="372" y="242"/>
                  </a:lnTo>
                  <a:lnTo>
                    <a:pt x="362" y="239"/>
                  </a:lnTo>
                  <a:lnTo>
                    <a:pt x="364" y="237"/>
                  </a:lnTo>
                  <a:lnTo>
                    <a:pt x="361" y="235"/>
                  </a:lnTo>
                  <a:lnTo>
                    <a:pt x="358" y="231"/>
                  </a:lnTo>
                  <a:lnTo>
                    <a:pt x="354" y="229"/>
                  </a:lnTo>
                  <a:lnTo>
                    <a:pt x="353" y="231"/>
                  </a:lnTo>
                  <a:lnTo>
                    <a:pt x="354" y="232"/>
                  </a:lnTo>
                  <a:lnTo>
                    <a:pt x="354" y="234"/>
                  </a:lnTo>
                  <a:lnTo>
                    <a:pt x="351" y="237"/>
                  </a:lnTo>
                  <a:lnTo>
                    <a:pt x="349" y="235"/>
                  </a:lnTo>
                  <a:lnTo>
                    <a:pt x="348" y="235"/>
                  </a:lnTo>
                  <a:lnTo>
                    <a:pt x="351" y="245"/>
                  </a:lnTo>
                  <a:lnTo>
                    <a:pt x="351" y="247"/>
                  </a:lnTo>
                  <a:lnTo>
                    <a:pt x="345" y="248"/>
                  </a:lnTo>
                  <a:lnTo>
                    <a:pt x="343" y="248"/>
                  </a:lnTo>
                  <a:lnTo>
                    <a:pt x="340" y="242"/>
                  </a:lnTo>
                  <a:lnTo>
                    <a:pt x="333" y="242"/>
                  </a:lnTo>
                  <a:lnTo>
                    <a:pt x="330" y="240"/>
                  </a:lnTo>
                  <a:lnTo>
                    <a:pt x="332" y="237"/>
                  </a:lnTo>
                  <a:lnTo>
                    <a:pt x="325" y="234"/>
                  </a:lnTo>
                  <a:lnTo>
                    <a:pt x="325" y="232"/>
                  </a:lnTo>
                  <a:lnTo>
                    <a:pt x="325" y="234"/>
                  </a:lnTo>
                  <a:lnTo>
                    <a:pt x="322" y="242"/>
                  </a:lnTo>
                  <a:lnTo>
                    <a:pt x="322" y="244"/>
                  </a:lnTo>
                  <a:lnTo>
                    <a:pt x="320" y="242"/>
                  </a:lnTo>
                  <a:lnTo>
                    <a:pt x="319" y="239"/>
                  </a:lnTo>
                  <a:lnTo>
                    <a:pt x="317" y="235"/>
                  </a:lnTo>
                  <a:lnTo>
                    <a:pt x="315" y="235"/>
                  </a:lnTo>
                  <a:lnTo>
                    <a:pt x="314" y="235"/>
                  </a:lnTo>
                  <a:lnTo>
                    <a:pt x="314" y="237"/>
                  </a:lnTo>
                  <a:lnTo>
                    <a:pt x="315" y="239"/>
                  </a:lnTo>
                  <a:lnTo>
                    <a:pt x="314" y="240"/>
                  </a:lnTo>
                  <a:lnTo>
                    <a:pt x="314" y="244"/>
                  </a:lnTo>
                  <a:lnTo>
                    <a:pt x="315" y="248"/>
                  </a:lnTo>
                  <a:lnTo>
                    <a:pt x="314" y="248"/>
                  </a:lnTo>
                  <a:lnTo>
                    <a:pt x="310" y="250"/>
                  </a:lnTo>
                  <a:lnTo>
                    <a:pt x="310" y="252"/>
                  </a:lnTo>
                  <a:lnTo>
                    <a:pt x="310" y="253"/>
                  </a:lnTo>
                  <a:lnTo>
                    <a:pt x="310" y="255"/>
                  </a:lnTo>
                  <a:lnTo>
                    <a:pt x="306" y="255"/>
                  </a:lnTo>
                  <a:lnTo>
                    <a:pt x="309" y="248"/>
                  </a:lnTo>
                  <a:lnTo>
                    <a:pt x="307" y="248"/>
                  </a:lnTo>
                  <a:lnTo>
                    <a:pt x="306" y="244"/>
                  </a:lnTo>
                  <a:lnTo>
                    <a:pt x="304" y="244"/>
                  </a:lnTo>
                  <a:lnTo>
                    <a:pt x="307" y="240"/>
                  </a:lnTo>
                  <a:lnTo>
                    <a:pt x="306" y="237"/>
                  </a:lnTo>
                  <a:lnTo>
                    <a:pt x="306" y="239"/>
                  </a:lnTo>
                  <a:lnTo>
                    <a:pt x="302" y="231"/>
                  </a:lnTo>
                  <a:lnTo>
                    <a:pt x="296" y="234"/>
                  </a:lnTo>
                  <a:lnTo>
                    <a:pt x="297" y="237"/>
                  </a:lnTo>
                  <a:lnTo>
                    <a:pt x="289" y="240"/>
                  </a:lnTo>
                  <a:lnTo>
                    <a:pt x="288" y="240"/>
                  </a:lnTo>
                  <a:lnTo>
                    <a:pt x="288" y="242"/>
                  </a:lnTo>
                  <a:lnTo>
                    <a:pt x="286" y="242"/>
                  </a:lnTo>
                  <a:lnTo>
                    <a:pt x="286" y="244"/>
                  </a:lnTo>
                  <a:lnTo>
                    <a:pt x="281" y="245"/>
                  </a:lnTo>
                  <a:lnTo>
                    <a:pt x="281" y="247"/>
                  </a:lnTo>
                  <a:lnTo>
                    <a:pt x="284" y="247"/>
                  </a:lnTo>
                  <a:lnTo>
                    <a:pt x="286" y="248"/>
                  </a:lnTo>
                  <a:lnTo>
                    <a:pt x="283" y="250"/>
                  </a:lnTo>
                  <a:lnTo>
                    <a:pt x="278" y="252"/>
                  </a:lnTo>
                  <a:lnTo>
                    <a:pt x="280" y="255"/>
                  </a:lnTo>
                  <a:lnTo>
                    <a:pt x="283" y="261"/>
                  </a:lnTo>
                  <a:lnTo>
                    <a:pt x="286" y="266"/>
                  </a:lnTo>
                  <a:lnTo>
                    <a:pt x="288" y="266"/>
                  </a:lnTo>
                  <a:lnTo>
                    <a:pt x="288" y="268"/>
                  </a:lnTo>
                  <a:lnTo>
                    <a:pt x="288" y="270"/>
                  </a:lnTo>
                  <a:lnTo>
                    <a:pt x="288" y="271"/>
                  </a:lnTo>
                  <a:lnTo>
                    <a:pt x="286" y="273"/>
                  </a:lnTo>
                  <a:lnTo>
                    <a:pt x="286" y="276"/>
                  </a:lnTo>
                  <a:lnTo>
                    <a:pt x="286" y="278"/>
                  </a:lnTo>
                  <a:lnTo>
                    <a:pt x="288" y="279"/>
                  </a:lnTo>
                  <a:lnTo>
                    <a:pt x="299" y="284"/>
                  </a:lnTo>
                  <a:lnTo>
                    <a:pt x="291" y="302"/>
                  </a:lnTo>
                  <a:lnTo>
                    <a:pt x="299" y="307"/>
                  </a:lnTo>
                  <a:lnTo>
                    <a:pt x="297" y="313"/>
                  </a:lnTo>
                  <a:lnTo>
                    <a:pt x="286" y="320"/>
                  </a:lnTo>
                  <a:lnTo>
                    <a:pt x="280" y="323"/>
                  </a:lnTo>
                  <a:lnTo>
                    <a:pt x="280" y="325"/>
                  </a:lnTo>
                  <a:lnTo>
                    <a:pt x="278" y="326"/>
                  </a:lnTo>
                  <a:lnTo>
                    <a:pt x="280" y="330"/>
                  </a:lnTo>
                  <a:lnTo>
                    <a:pt x="284" y="343"/>
                  </a:lnTo>
                  <a:lnTo>
                    <a:pt x="276" y="348"/>
                  </a:lnTo>
                  <a:lnTo>
                    <a:pt x="280" y="352"/>
                  </a:lnTo>
                  <a:lnTo>
                    <a:pt x="271" y="356"/>
                  </a:lnTo>
                  <a:lnTo>
                    <a:pt x="270" y="356"/>
                  </a:lnTo>
                  <a:lnTo>
                    <a:pt x="268" y="356"/>
                  </a:lnTo>
                  <a:lnTo>
                    <a:pt x="267" y="356"/>
                  </a:lnTo>
                  <a:lnTo>
                    <a:pt x="267" y="357"/>
                  </a:lnTo>
                  <a:lnTo>
                    <a:pt x="268" y="357"/>
                  </a:lnTo>
                  <a:lnTo>
                    <a:pt x="270" y="361"/>
                  </a:lnTo>
                  <a:lnTo>
                    <a:pt x="270" y="362"/>
                  </a:lnTo>
                  <a:lnTo>
                    <a:pt x="267" y="364"/>
                  </a:lnTo>
                  <a:lnTo>
                    <a:pt x="265" y="362"/>
                  </a:lnTo>
                  <a:lnTo>
                    <a:pt x="263" y="362"/>
                  </a:lnTo>
                  <a:lnTo>
                    <a:pt x="262" y="362"/>
                  </a:lnTo>
                  <a:lnTo>
                    <a:pt x="262" y="367"/>
                  </a:lnTo>
                  <a:lnTo>
                    <a:pt x="262" y="369"/>
                  </a:lnTo>
                  <a:lnTo>
                    <a:pt x="260" y="370"/>
                  </a:lnTo>
                  <a:lnTo>
                    <a:pt x="260" y="372"/>
                  </a:lnTo>
                  <a:lnTo>
                    <a:pt x="262" y="374"/>
                  </a:lnTo>
                  <a:lnTo>
                    <a:pt x="265" y="372"/>
                  </a:lnTo>
                  <a:lnTo>
                    <a:pt x="270" y="383"/>
                  </a:lnTo>
                  <a:lnTo>
                    <a:pt x="265" y="387"/>
                  </a:lnTo>
                  <a:lnTo>
                    <a:pt x="270" y="396"/>
                  </a:lnTo>
                  <a:lnTo>
                    <a:pt x="263" y="400"/>
                  </a:lnTo>
                  <a:lnTo>
                    <a:pt x="262" y="400"/>
                  </a:lnTo>
                  <a:lnTo>
                    <a:pt x="260" y="396"/>
                  </a:lnTo>
                  <a:lnTo>
                    <a:pt x="249" y="395"/>
                  </a:lnTo>
                  <a:lnTo>
                    <a:pt x="247" y="395"/>
                  </a:lnTo>
                  <a:lnTo>
                    <a:pt x="244" y="400"/>
                  </a:lnTo>
                  <a:lnTo>
                    <a:pt x="242" y="408"/>
                  </a:lnTo>
                  <a:lnTo>
                    <a:pt x="240" y="408"/>
                  </a:lnTo>
                  <a:lnTo>
                    <a:pt x="239" y="408"/>
                  </a:lnTo>
                  <a:lnTo>
                    <a:pt x="239" y="406"/>
                  </a:lnTo>
                  <a:lnTo>
                    <a:pt x="237" y="406"/>
                  </a:lnTo>
                  <a:lnTo>
                    <a:pt x="237" y="405"/>
                  </a:lnTo>
                  <a:lnTo>
                    <a:pt x="236" y="405"/>
                  </a:lnTo>
                  <a:lnTo>
                    <a:pt x="236" y="403"/>
                  </a:lnTo>
                  <a:lnTo>
                    <a:pt x="234" y="403"/>
                  </a:lnTo>
                  <a:lnTo>
                    <a:pt x="236" y="403"/>
                  </a:lnTo>
                  <a:lnTo>
                    <a:pt x="236" y="401"/>
                  </a:lnTo>
                  <a:lnTo>
                    <a:pt x="234" y="401"/>
                  </a:lnTo>
                  <a:lnTo>
                    <a:pt x="236" y="401"/>
                  </a:lnTo>
                  <a:lnTo>
                    <a:pt x="236" y="400"/>
                  </a:lnTo>
                  <a:lnTo>
                    <a:pt x="234" y="400"/>
                  </a:lnTo>
                  <a:lnTo>
                    <a:pt x="234" y="398"/>
                  </a:lnTo>
                  <a:lnTo>
                    <a:pt x="234" y="396"/>
                  </a:lnTo>
                  <a:lnTo>
                    <a:pt x="232" y="396"/>
                  </a:lnTo>
                  <a:lnTo>
                    <a:pt x="234" y="396"/>
                  </a:lnTo>
                  <a:lnTo>
                    <a:pt x="232" y="396"/>
                  </a:lnTo>
                  <a:lnTo>
                    <a:pt x="232" y="395"/>
                  </a:lnTo>
                  <a:lnTo>
                    <a:pt x="231" y="395"/>
                  </a:lnTo>
                  <a:lnTo>
                    <a:pt x="229" y="395"/>
                  </a:lnTo>
                  <a:lnTo>
                    <a:pt x="227" y="393"/>
                  </a:lnTo>
                  <a:lnTo>
                    <a:pt x="226" y="393"/>
                  </a:lnTo>
                  <a:lnTo>
                    <a:pt x="224" y="392"/>
                  </a:lnTo>
                  <a:lnTo>
                    <a:pt x="226" y="390"/>
                  </a:lnTo>
                  <a:lnTo>
                    <a:pt x="226" y="388"/>
                  </a:lnTo>
                  <a:lnTo>
                    <a:pt x="227" y="388"/>
                  </a:lnTo>
                  <a:lnTo>
                    <a:pt x="229" y="388"/>
                  </a:lnTo>
                  <a:lnTo>
                    <a:pt x="229" y="387"/>
                  </a:lnTo>
                  <a:lnTo>
                    <a:pt x="229" y="388"/>
                  </a:lnTo>
                  <a:lnTo>
                    <a:pt x="229" y="387"/>
                  </a:lnTo>
                  <a:lnTo>
                    <a:pt x="231" y="387"/>
                  </a:lnTo>
                  <a:lnTo>
                    <a:pt x="231" y="385"/>
                  </a:lnTo>
                  <a:lnTo>
                    <a:pt x="232" y="385"/>
                  </a:lnTo>
                  <a:lnTo>
                    <a:pt x="232" y="383"/>
                  </a:lnTo>
                  <a:lnTo>
                    <a:pt x="231" y="383"/>
                  </a:lnTo>
                  <a:lnTo>
                    <a:pt x="231" y="382"/>
                  </a:lnTo>
                  <a:lnTo>
                    <a:pt x="231" y="379"/>
                  </a:lnTo>
                  <a:lnTo>
                    <a:pt x="229" y="377"/>
                  </a:lnTo>
                  <a:lnTo>
                    <a:pt x="229" y="375"/>
                  </a:lnTo>
                  <a:lnTo>
                    <a:pt x="229" y="374"/>
                  </a:lnTo>
                  <a:lnTo>
                    <a:pt x="227" y="374"/>
                  </a:lnTo>
                  <a:lnTo>
                    <a:pt x="227" y="372"/>
                  </a:lnTo>
                  <a:lnTo>
                    <a:pt x="227" y="370"/>
                  </a:lnTo>
                  <a:lnTo>
                    <a:pt x="226" y="370"/>
                  </a:lnTo>
                  <a:lnTo>
                    <a:pt x="226" y="369"/>
                  </a:lnTo>
                  <a:lnTo>
                    <a:pt x="226" y="367"/>
                  </a:lnTo>
                  <a:lnTo>
                    <a:pt x="226" y="365"/>
                  </a:lnTo>
                  <a:lnTo>
                    <a:pt x="224" y="365"/>
                  </a:lnTo>
                  <a:lnTo>
                    <a:pt x="223" y="365"/>
                  </a:lnTo>
                  <a:lnTo>
                    <a:pt x="221" y="365"/>
                  </a:lnTo>
                  <a:lnTo>
                    <a:pt x="221" y="364"/>
                  </a:lnTo>
                  <a:lnTo>
                    <a:pt x="223" y="364"/>
                  </a:lnTo>
                  <a:lnTo>
                    <a:pt x="221" y="364"/>
                  </a:lnTo>
                  <a:lnTo>
                    <a:pt x="221" y="362"/>
                  </a:lnTo>
                  <a:lnTo>
                    <a:pt x="219" y="362"/>
                  </a:lnTo>
                  <a:lnTo>
                    <a:pt x="221" y="361"/>
                  </a:lnTo>
                  <a:lnTo>
                    <a:pt x="219" y="361"/>
                  </a:lnTo>
                  <a:lnTo>
                    <a:pt x="219" y="359"/>
                  </a:lnTo>
                  <a:lnTo>
                    <a:pt x="219" y="357"/>
                  </a:lnTo>
                  <a:lnTo>
                    <a:pt x="218" y="356"/>
                  </a:lnTo>
                  <a:lnTo>
                    <a:pt x="219" y="356"/>
                  </a:lnTo>
                  <a:lnTo>
                    <a:pt x="219" y="354"/>
                  </a:lnTo>
                  <a:lnTo>
                    <a:pt x="221" y="352"/>
                  </a:lnTo>
                  <a:lnTo>
                    <a:pt x="219" y="352"/>
                  </a:lnTo>
                  <a:lnTo>
                    <a:pt x="219" y="351"/>
                  </a:lnTo>
                  <a:lnTo>
                    <a:pt x="219" y="352"/>
                  </a:lnTo>
                  <a:lnTo>
                    <a:pt x="218" y="352"/>
                  </a:lnTo>
                  <a:lnTo>
                    <a:pt x="218" y="351"/>
                  </a:lnTo>
                  <a:lnTo>
                    <a:pt x="218" y="349"/>
                  </a:lnTo>
                  <a:lnTo>
                    <a:pt x="218" y="348"/>
                  </a:lnTo>
                  <a:lnTo>
                    <a:pt x="218" y="346"/>
                  </a:lnTo>
                  <a:lnTo>
                    <a:pt x="218" y="344"/>
                  </a:lnTo>
                  <a:lnTo>
                    <a:pt x="216" y="344"/>
                  </a:lnTo>
                  <a:lnTo>
                    <a:pt x="216" y="343"/>
                  </a:lnTo>
                  <a:lnTo>
                    <a:pt x="216" y="341"/>
                  </a:lnTo>
                  <a:lnTo>
                    <a:pt x="214" y="341"/>
                  </a:lnTo>
                  <a:lnTo>
                    <a:pt x="214" y="339"/>
                  </a:lnTo>
                  <a:lnTo>
                    <a:pt x="213" y="339"/>
                  </a:lnTo>
                  <a:lnTo>
                    <a:pt x="213" y="338"/>
                  </a:lnTo>
                  <a:lnTo>
                    <a:pt x="214" y="338"/>
                  </a:lnTo>
                  <a:lnTo>
                    <a:pt x="213" y="338"/>
                  </a:lnTo>
                  <a:lnTo>
                    <a:pt x="213" y="336"/>
                  </a:lnTo>
                  <a:lnTo>
                    <a:pt x="211" y="336"/>
                  </a:lnTo>
                  <a:lnTo>
                    <a:pt x="211" y="335"/>
                  </a:lnTo>
                  <a:lnTo>
                    <a:pt x="213" y="335"/>
                  </a:lnTo>
                  <a:lnTo>
                    <a:pt x="211" y="333"/>
                  </a:lnTo>
                  <a:lnTo>
                    <a:pt x="211" y="331"/>
                  </a:lnTo>
                  <a:lnTo>
                    <a:pt x="211" y="330"/>
                  </a:lnTo>
                  <a:lnTo>
                    <a:pt x="211" y="328"/>
                  </a:lnTo>
                  <a:lnTo>
                    <a:pt x="210" y="328"/>
                  </a:lnTo>
                  <a:lnTo>
                    <a:pt x="211" y="328"/>
                  </a:lnTo>
                  <a:lnTo>
                    <a:pt x="211" y="326"/>
                  </a:lnTo>
                  <a:lnTo>
                    <a:pt x="210" y="326"/>
                  </a:lnTo>
                  <a:lnTo>
                    <a:pt x="210" y="325"/>
                  </a:lnTo>
                  <a:lnTo>
                    <a:pt x="211" y="325"/>
                  </a:lnTo>
                  <a:lnTo>
                    <a:pt x="211" y="323"/>
                  </a:lnTo>
                  <a:lnTo>
                    <a:pt x="210" y="322"/>
                  </a:lnTo>
                  <a:lnTo>
                    <a:pt x="211" y="322"/>
                  </a:lnTo>
                  <a:lnTo>
                    <a:pt x="211" y="320"/>
                  </a:lnTo>
                  <a:lnTo>
                    <a:pt x="211" y="318"/>
                  </a:lnTo>
                  <a:lnTo>
                    <a:pt x="211" y="317"/>
                  </a:lnTo>
                  <a:lnTo>
                    <a:pt x="211" y="315"/>
                  </a:lnTo>
                  <a:lnTo>
                    <a:pt x="210" y="315"/>
                  </a:lnTo>
                  <a:lnTo>
                    <a:pt x="211" y="313"/>
                  </a:lnTo>
                  <a:lnTo>
                    <a:pt x="211" y="312"/>
                  </a:lnTo>
                  <a:lnTo>
                    <a:pt x="210" y="310"/>
                  </a:lnTo>
                  <a:lnTo>
                    <a:pt x="211" y="310"/>
                  </a:lnTo>
                  <a:lnTo>
                    <a:pt x="210" y="310"/>
                  </a:lnTo>
                  <a:lnTo>
                    <a:pt x="210" y="309"/>
                  </a:lnTo>
                  <a:lnTo>
                    <a:pt x="211" y="310"/>
                  </a:lnTo>
                  <a:lnTo>
                    <a:pt x="211" y="309"/>
                  </a:lnTo>
                  <a:lnTo>
                    <a:pt x="210" y="309"/>
                  </a:lnTo>
                  <a:lnTo>
                    <a:pt x="208" y="309"/>
                  </a:lnTo>
                  <a:lnTo>
                    <a:pt x="208" y="307"/>
                  </a:lnTo>
                  <a:lnTo>
                    <a:pt x="208" y="305"/>
                  </a:lnTo>
                  <a:lnTo>
                    <a:pt x="208" y="307"/>
                  </a:lnTo>
                  <a:lnTo>
                    <a:pt x="206" y="307"/>
                  </a:lnTo>
                  <a:lnTo>
                    <a:pt x="208" y="307"/>
                  </a:lnTo>
                  <a:lnTo>
                    <a:pt x="206" y="305"/>
                  </a:lnTo>
                  <a:lnTo>
                    <a:pt x="206" y="304"/>
                  </a:lnTo>
                  <a:lnTo>
                    <a:pt x="206" y="302"/>
                  </a:lnTo>
                  <a:lnTo>
                    <a:pt x="208" y="300"/>
                  </a:lnTo>
                  <a:lnTo>
                    <a:pt x="210" y="300"/>
                  </a:lnTo>
                  <a:lnTo>
                    <a:pt x="208" y="299"/>
                  </a:lnTo>
                  <a:lnTo>
                    <a:pt x="206" y="299"/>
                  </a:lnTo>
                  <a:lnTo>
                    <a:pt x="208" y="299"/>
                  </a:lnTo>
                  <a:lnTo>
                    <a:pt x="208" y="296"/>
                  </a:lnTo>
                  <a:lnTo>
                    <a:pt x="210" y="296"/>
                  </a:lnTo>
                  <a:lnTo>
                    <a:pt x="208" y="294"/>
                  </a:lnTo>
                  <a:lnTo>
                    <a:pt x="210" y="294"/>
                  </a:lnTo>
                  <a:lnTo>
                    <a:pt x="210" y="296"/>
                  </a:lnTo>
                  <a:lnTo>
                    <a:pt x="210" y="294"/>
                  </a:lnTo>
                  <a:lnTo>
                    <a:pt x="210" y="292"/>
                  </a:lnTo>
                  <a:lnTo>
                    <a:pt x="211" y="292"/>
                  </a:lnTo>
                  <a:lnTo>
                    <a:pt x="210" y="294"/>
                  </a:lnTo>
                  <a:lnTo>
                    <a:pt x="211" y="294"/>
                  </a:lnTo>
                  <a:lnTo>
                    <a:pt x="211" y="292"/>
                  </a:lnTo>
                  <a:lnTo>
                    <a:pt x="211" y="291"/>
                  </a:lnTo>
                  <a:lnTo>
                    <a:pt x="213" y="291"/>
                  </a:lnTo>
                  <a:lnTo>
                    <a:pt x="213" y="289"/>
                  </a:lnTo>
                  <a:lnTo>
                    <a:pt x="211" y="287"/>
                  </a:lnTo>
                  <a:lnTo>
                    <a:pt x="211" y="289"/>
                  </a:lnTo>
                  <a:lnTo>
                    <a:pt x="211" y="287"/>
                  </a:lnTo>
                  <a:lnTo>
                    <a:pt x="210" y="287"/>
                  </a:lnTo>
                  <a:lnTo>
                    <a:pt x="211" y="287"/>
                  </a:lnTo>
                  <a:lnTo>
                    <a:pt x="211" y="286"/>
                  </a:lnTo>
                  <a:lnTo>
                    <a:pt x="210" y="286"/>
                  </a:lnTo>
                  <a:lnTo>
                    <a:pt x="210" y="284"/>
                  </a:lnTo>
                  <a:lnTo>
                    <a:pt x="211" y="284"/>
                  </a:lnTo>
                  <a:lnTo>
                    <a:pt x="210" y="284"/>
                  </a:lnTo>
                  <a:lnTo>
                    <a:pt x="211" y="284"/>
                  </a:lnTo>
                  <a:lnTo>
                    <a:pt x="211" y="283"/>
                  </a:lnTo>
                  <a:lnTo>
                    <a:pt x="211" y="284"/>
                  </a:lnTo>
                  <a:lnTo>
                    <a:pt x="210" y="283"/>
                  </a:lnTo>
                  <a:lnTo>
                    <a:pt x="211" y="283"/>
                  </a:lnTo>
                  <a:lnTo>
                    <a:pt x="210" y="283"/>
                  </a:lnTo>
                  <a:lnTo>
                    <a:pt x="210" y="281"/>
                  </a:lnTo>
                  <a:lnTo>
                    <a:pt x="211" y="281"/>
                  </a:lnTo>
                  <a:lnTo>
                    <a:pt x="211" y="279"/>
                  </a:lnTo>
                  <a:lnTo>
                    <a:pt x="211" y="278"/>
                  </a:lnTo>
                  <a:lnTo>
                    <a:pt x="213" y="278"/>
                  </a:lnTo>
                  <a:lnTo>
                    <a:pt x="213" y="276"/>
                  </a:lnTo>
                  <a:lnTo>
                    <a:pt x="213" y="278"/>
                  </a:lnTo>
                  <a:lnTo>
                    <a:pt x="211" y="278"/>
                  </a:lnTo>
                  <a:lnTo>
                    <a:pt x="211" y="276"/>
                  </a:lnTo>
                  <a:lnTo>
                    <a:pt x="213" y="276"/>
                  </a:lnTo>
                  <a:lnTo>
                    <a:pt x="211" y="276"/>
                  </a:lnTo>
                  <a:lnTo>
                    <a:pt x="211" y="274"/>
                  </a:lnTo>
                  <a:lnTo>
                    <a:pt x="213" y="274"/>
                  </a:lnTo>
                  <a:lnTo>
                    <a:pt x="213" y="273"/>
                  </a:lnTo>
                  <a:lnTo>
                    <a:pt x="214" y="273"/>
                  </a:lnTo>
                  <a:lnTo>
                    <a:pt x="213" y="271"/>
                  </a:lnTo>
                  <a:lnTo>
                    <a:pt x="214" y="271"/>
                  </a:lnTo>
                  <a:lnTo>
                    <a:pt x="213" y="270"/>
                  </a:lnTo>
                  <a:lnTo>
                    <a:pt x="211" y="270"/>
                  </a:lnTo>
                  <a:lnTo>
                    <a:pt x="213" y="268"/>
                  </a:lnTo>
                  <a:lnTo>
                    <a:pt x="211" y="268"/>
                  </a:lnTo>
                  <a:lnTo>
                    <a:pt x="211" y="266"/>
                  </a:lnTo>
                  <a:lnTo>
                    <a:pt x="210" y="266"/>
                  </a:lnTo>
                  <a:lnTo>
                    <a:pt x="210" y="265"/>
                  </a:lnTo>
                  <a:lnTo>
                    <a:pt x="210" y="263"/>
                  </a:lnTo>
                  <a:lnTo>
                    <a:pt x="208" y="263"/>
                  </a:lnTo>
                  <a:lnTo>
                    <a:pt x="206" y="263"/>
                  </a:lnTo>
                  <a:lnTo>
                    <a:pt x="208" y="263"/>
                  </a:lnTo>
                  <a:lnTo>
                    <a:pt x="206" y="263"/>
                  </a:lnTo>
                  <a:lnTo>
                    <a:pt x="206" y="261"/>
                  </a:lnTo>
                  <a:lnTo>
                    <a:pt x="208" y="261"/>
                  </a:lnTo>
                  <a:lnTo>
                    <a:pt x="206" y="260"/>
                  </a:lnTo>
                  <a:lnTo>
                    <a:pt x="208" y="260"/>
                  </a:lnTo>
                  <a:lnTo>
                    <a:pt x="208" y="258"/>
                  </a:lnTo>
                  <a:lnTo>
                    <a:pt x="208" y="260"/>
                  </a:lnTo>
                  <a:lnTo>
                    <a:pt x="208" y="258"/>
                  </a:lnTo>
                  <a:lnTo>
                    <a:pt x="206" y="258"/>
                  </a:lnTo>
                  <a:lnTo>
                    <a:pt x="206" y="257"/>
                  </a:lnTo>
                  <a:lnTo>
                    <a:pt x="206" y="255"/>
                  </a:lnTo>
                  <a:lnTo>
                    <a:pt x="208" y="257"/>
                  </a:lnTo>
                  <a:lnTo>
                    <a:pt x="208" y="255"/>
                  </a:lnTo>
                  <a:lnTo>
                    <a:pt x="206" y="255"/>
                  </a:lnTo>
                  <a:lnTo>
                    <a:pt x="206" y="253"/>
                  </a:lnTo>
                  <a:lnTo>
                    <a:pt x="205" y="252"/>
                  </a:lnTo>
                  <a:lnTo>
                    <a:pt x="206" y="252"/>
                  </a:lnTo>
                  <a:lnTo>
                    <a:pt x="206" y="250"/>
                  </a:lnTo>
                  <a:lnTo>
                    <a:pt x="206" y="248"/>
                  </a:lnTo>
                  <a:lnTo>
                    <a:pt x="208" y="248"/>
                  </a:lnTo>
                  <a:lnTo>
                    <a:pt x="206" y="248"/>
                  </a:lnTo>
                  <a:lnTo>
                    <a:pt x="206" y="247"/>
                  </a:lnTo>
                  <a:lnTo>
                    <a:pt x="206" y="245"/>
                  </a:lnTo>
                  <a:lnTo>
                    <a:pt x="205" y="245"/>
                  </a:lnTo>
                  <a:lnTo>
                    <a:pt x="206" y="244"/>
                  </a:lnTo>
                  <a:lnTo>
                    <a:pt x="205" y="242"/>
                  </a:lnTo>
                  <a:lnTo>
                    <a:pt x="203" y="240"/>
                  </a:lnTo>
                  <a:lnTo>
                    <a:pt x="205" y="240"/>
                  </a:lnTo>
                  <a:lnTo>
                    <a:pt x="205" y="239"/>
                  </a:lnTo>
                  <a:lnTo>
                    <a:pt x="203" y="239"/>
                  </a:lnTo>
                  <a:lnTo>
                    <a:pt x="203" y="237"/>
                  </a:lnTo>
                  <a:lnTo>
                    <a:pt x="203" y="239"/>
                  </a:lnTo>
                  <a:lnTo>
                    <a:pt x="201" y="237"/>
                  </a:lnTo>
                  <a:lnTo>
                    <a:pt x="201" y="239"/>
                  </a:lnTo>
                  <a:lnTo>
                    <a:pt x="200" y="237"/>
                  </a:lnTo>
                  <a:lnTo>
                    <a:pt x="201" y="237"/>
                  </a:lnTo>
                  <a:lnTo>
                    <a:pt x="201" y="235"/>
                  </a:lnTo>
                  <a:lnTo>
                    <a:pt x="200" y="235"/>
                  </a:lnTo>
                  <a:lnTo>
                    <a:pt x="200" y="234"/>
                  </a:lnTo>
                  <a:lnTo>
                    <a:pt x="198" y="234"/>
                  </a:lnTo>
                  <a:lnTo>
                    <a:pt x="198" y="232"/>
                  </a:lnTo>
                  <a:lnTo>
                    <a:pt x="198" y="234"/>
                  </a:lnTo>
                  <a:lnTo>
                    <a:pt x="198" y="232"/>
                  </a:lnTo>
                  <a:lnTo>
                    <a:pt x="197" y="232"/>
                  </a:lnTo>
                  <a:lnTo>
                    <a:pt x="198" y="232"/>
                  </a:lnTo>
                  <a:lnTo>
                    <a:pt x="197" y="231"/>
                  </a:lnTo>
                  <a:lnTo>
                    <a:pt x="197" y="232"/>
                  </a:lnTo>
                  <a:lnTo>
                    <a:pt x="195" y="231"/>
                  </a:lnTo>
                  <a:lnTo>
                    <a:pt x="197" y="231"/>
                  </a:lnTo>
                  <a:lnTo>
                    <a:pt x="197" y="229"/>
                  </a:lnTo>
                  <a:lnTo>
                    <a:pt x="195" y="231"/>
                  </a:lnTo>
                  <a:lnTo>
                    <a:pt x="195" y="229"/>
                  </a:lnTo>
                  <a:lnTo>
                    <a:pt x="195" y="227"/>
                  </a:lnTo>
                  <a:lnTo>
                    <a:pt x="195" y="229"/>
                  </a:lnTo>
                  <a:lnTo>
                    <a:pt x="195" y="227"/>
                  </a:lnTo>
                  <a:lnTo>
                    <a:pt x="193" y="227"/>
                  </a:lnTo>
                  <a:lnTo>
                    <a:pt x="193" y="226"/>
                  </a:lnTo>
                  <a:lnTo>
                    <a:pt x="195" y="226"/>
                  </a:lnTo>
                  <a:lnTo>
                    <a:pt x="193" y="226"/>
                  </a:lnTo>
                  <a:lnTo>
                    <a:pt x="193" y="224"/>
                  </a:lnTo>
                  <a:lnTo>
                    <a:pt x="192" y="224"/>
                  </a:lnTo>
                  <a:lnTo>
                    <a:pt x="193" y="224"/>
                  </a:lnTo>
                  <a:lnTo>
                    <a:pt x="193" y="226"/>
                  </a:lnTo>
                  <a:lnTo>
                    <a:pt x="192" y="224"/>
                  </a:lnTo>
                  <a:lnTo>
                    <a:pt x="192" y="222"/>
                  </a:lnTo>
                  <a:lnTo>
                    <a:pt x="192" y="224"/>
                  </a:lnTo>
                  <a:lnTo>
                    <a:pt x="190" y="222"/>
                  </a:lnTo>
                  <a:lnTo>
                    <a:pt x="188" y="222"/>
                  </a:lnTo>
                  <a:lnTo>
                    <a:pt x="188" y="221"/>
                  </a:lnTo>
                  <a:lnTo>
                    <a:pt x="187" y="221"/>
                  </a:lnTo>
                  <a:lnTo>
                    <a:pt x="187" y="219"/>
                  </a:lnTo>
                  <a:lnTo>
                    <a:pt x="185" y="217"/>
                  </a:lnTo>
                  <a:lnTo>
                    <a:pt x="187" y="217"/>
                  </a:lnTo>
                  <a:lnTo>
                    <a:pt x="187" y="216"/>
                  </a:lnTo>
                  <a:lnTo>
                    <a:pt x="185" y="216"/>
                  </a:lnTo>
                  <a:lnTo>
                    <a:pt x="185" y="214"/>
                  </a:lnTo>
                  <a:lnTo>
                    <a:pt x="184" y="214"/>
                  </a:lnTo>
                  <a:lnTo>
                    <a:pt x="185" y="214"/>
                  </a:lnTo>
                  <a:lnTo>
                    <a:pt x="185" y="213"/>
                  </a:lnTo>
                  <a:lnTo>
                    <a:pt x="185" y="211"/>
                  </a:lnTo>
                  <a:lnTo>
                    <a:pt x="184" y="211"/>
                  </a:lnTo>
                  <a:lnTo>
                    <a:pt x="182" y="211"/>
                  </a:lnTo>
                  <a:lnTo>
                    <a:pt x="182" y="209"/>
                  </a:lnTo>
                  <a:lnTo>
                    <a:pt x="184" y="209"/>
                  </a:lnTo>
                  <a:lnTo>
                    <a:pt x="184" y="206"/>
                  </a:lnTo>
                  <a:lnTo>
                    <a:pt x="182" y="206"/>
                  </a:lnTo>
                  <a:lnTo>
                    <a:pt x="180" y="206"/>
                  </a:lnTo>
                  <a:lnTo>
                    <a:pt x="180" y="204"/>
                  </a:lnTo>
                  <a:lnTo>
                    <a:pt x="180" y="206"/>
                  </a:lnTo>
                  <a:lnTo>
                    <a:pt x="180" y="204"/>
                  </a:lnTo>
                  <a:lnTo>
                    <a:pt x="182" y="204"/>
                  </a:lnTo>
                  <a:lnTo>
                    <a:pt x="182" y="203"/>
                  </a:lnTo>
                  <a:lnTo>
                    <a:pt x="180" y="203"/>
                  </a:lnTo>
                  <a:lnTo>
                    <a:pt x="180" y="204"/>
                  </a:lnTo>
                  <a:lnTo>
                    <a:pt x="180" y="203"/>
                  </a:lnTo>
                  <a:lnTo>
                    <a:pt x="179" y="201"/>
                  </a:lnTo>
                  <a:lnTo>
                    <a:pt x="179" y="200"/>
                  </a:lnTo>
                  <a:lnTo>
                    <a:pt x="180" y="200"/>
                  </a:lnTo>
                  <a:lnTo>
                    <a:pt x="179" y="200"/>
                  </a:lnTo>
                  <a:lnTo>
                    <a:pt x="179" y="198"/>
                  </a:lnTo>
                  <a:lnTo>
                    <a:pt x="179" y="200"/>
                  </a:lnTo>
                  <a:lnTo>
                    <a:pt x="179" y="198"/>
                  </a:lnTo>
                  <a:lnTo>
                    <a:pt x="175" y="198"/>
                  </a:lnTo>
                  <a:lnTo>
                    <a:pt x="175" y="196"/>
                  </a:lnTo>
                  <a:lnTo>
                    <a:pt x="175" y="198"/>
                  </a:lnTo>
                  <a:lnTo>
                    <a:pt x="174" y="196"/>
                  </a:lnTo>
                  <a:lnTo>
                    <a:pt x="172" y="196"/>
                  </a:lnTo>
                  <a:lnTo>
                    <a:pt x="174" y="195"/>
                  </a:lnTo>
                  <a:lnTo>
                    <a:pt x="175" y="195"/>
                  </a:lnTo>
                  <a:lnTo>
                    <a:pt x="174" y="195"/>
                  </a:lnTo>
                  <a:lnTo>
                    <a:pt x="172" y="193"/>
                  </a:lnTo>
                  <a:lnTo>
                    <a:pt x="172" y="195"/>
                  </a:lnTo>
                  <a:lnTo>
                    <a:pt x="171" y="195"/>
                  </a:lnTo>
                  <a:lnTo>
                    <a:pt x="169" y="195"/>
                  </a:lnTo>
                  <a:lnTo>
                    <a:pt x="169" y="193"/>
                  </a:lnTo>
                  <a:lnTo>
                    <a:pt x="167" y="193"/>
                  </a:lnTo>
                  <a:lnTo>
                    <a:pt x="167" y="195"/>
                  </a:lnTo>
                  <a:lnTo>
                    <a:pt x="167" y="193"/>
                  </a:lnTo>
                  <a:lnTo>
                    <a:pt x="166" y="193"/>
                  </a:lnTo>
                  <a:lnTo>
                    <a:pt x="164" y="193"/>
                  </a:lnTo>
                  <a:lnTo>
                    <a:pt x="166" y="193"/>
                  </a:lnTo>
                  <a:lnTo>
                    <a:pt x="164" y="193"/>
                  </a:lnTo>
                  <a:lnTo>
                    <a:pt x="162" y="193"/>
                  </a:lnTo>
                  <a:lnTo>
                    <a:pt x="164" y="191"/>
                  </a:lnTo>
                  <a:lnTo>
                    <a:pt x="162" y="191"/>
                  </a:lnTo>
                  <a:lnTo>
                    <a:pt x="161" y="191"/>
                  </a:lnTo>
                  <a:lnTo>
                    <a:pt x="159" y="191"/>
                  </a:lnTo>
                  <a:lnTo>
                    <a:pt x="159" y="190"/>
                  </a:lnTo>
                  <a:lnTo>
                    <a:pt x="158" y="191"/>
                  </a:lnTo>
                  <a:lnTo>
                    <a:pt x="158" y="190"/>
                  </a:lnTo>
                  <a:lnTo>
                    <a:pt x="156" y="188"/>
                  </a:lnTo>
                  <a:lnTo>
                    <a:pt x="154" y="187"/>
                  </a:lnTo>
                  <a:lnTo>
                    <a:pt x="153" y="188"/>
                  </a:lnTo>
                  <a:lnTo>
                    <a:pt x="153" y="187"/>
                  </a:lnTo>
                  <a:lnTo>
                    <a:pt x="151" y="187"/>
                  </a:lnTo>
                  <a:lnTo>
                    <a:pt x="149" y="187"/>
                  </a:lnTo>
                  <a:lnTo>
                    <a:pt x="149" y="185"/>
                  </a:lnTo>
                  <a:lnTo>
                    <a:pt x="151" y="185"/>
                  </a:lnTo>
                  <a:lnTo>
                    <a:pt x="151" y="183"/>
                  </a:lnTo>
                  <a:lnTo>
                    <a:pt x="149" y="183"/>
                  </a:lnTo>
                  <a:lnTo>
                    <a:pt x="148" y="183"/>
                  </a:lnTo>
                  <a:lnTo>
                    <a:pt x="146" y="183"/>
                  </a:lnTo>
                  <a:lnTo>
                    <a:pt x="145" y="183"/>
                  </a:lnTo>
                  <a:lnTo>
                    <a:pt x="146" y="183"/>
                  </a:lnTo>
                  <a:lnTo>
                    <a:pt x="146" y="182"/>
                  </a:lnTo>
                  <a:lnTo>
                    <a:pt x="145" y="183"/>
                  </a:lnTo>
                  <a:lnTo>
                    <a:pt x="145" y="182"/>
                  </a:lnTo>
                  <a:lnTo>
                    <a:pt x="146" y="182"/>
                  </a:lnTo>
                  <a:lnTo>
                    <a:pt x="146" y="180"/>
                  </a:lnTo>
                  <a:lnTo>
                    <a:pt x="145" y="180"/>
                  </a:lnTo>
                  <a:lnTo>
                    <a:pt x="145" y="178"/>
                  </a:lnTo>
                  <a:lnTo>
                    <a:pt x="145" y="177"/>
                  </a:lnTo>
                  <a:lnTo>
                    <a:pt x="143" y="177"/>
                  </a:lnTo>
                  <a:lnTo>
                    <a:pt x="143" y="175"/>
                  </a:lnTo>
                  <a:lnTo>
                    <a:pt x="143" y="174"/>
                  </a:lnTo>
                  <a:lnTo>
                    <a:pt x="141" y="174"/>
                  </a:lnTo>
                  <a:lnTo>
                    <a:pt x="141" y="172"/>
                  </a:lnTo>
                  <a:lnTo>
                    <a:pt x="140" y="172"/>
                  </a:lnTo>
                  <a:lnTo>
                    <a:pt x="140" y="170"/>
                  </a:lnTo>
                  <a:lnTo>
                    <a:pt x="138" y="170"/>
                  </a:lnTo>
                  <a:lnTo>
                    <a:pt x="138" y="169"/>
                  </a:lnTo>
                  <a:lnTo>
                    <a:pt x="138" y="167"/>
                  </a:lnTo>
                  <a:lnTo>
                    <a:pt x="136" y="167"/>
                  </a:lnTo>
                  <a:lnTo>
                    <a:pt x="138" y="165"/>
                  </a:lnTo>
                  <a:lnTo>
                    <a:pt x="136" y="165"/>
                  </a:lnTo>
                  <a:lnTo>
                    <a:pt x="135" y="164"/>
                  </a:lnTo>
                  <a:lnTo>
                    <a:pt x="133" y="164"/>
                  </a:lnTo>
                  <a:lnTo>
                    <a:pt x="132" y="164"/>
                  </a:lnTo>
                  <a:lnTo>
                    <a:pt x="133" y="165"/>
                  </a:lnTo>
                  <a:lnTo>
                    <a:pt x="132" y="165"/>
                  </a:lnTo>
                  <a:lnTo>
                    <a:pt x="130" y="165"/>
                  </a:lnTo>
                  <a:lnTo>
                    <a:pt x="130" y="164"/>
                  </a:lnTo>
                  <a:lnTo>
                    <a:pt x="130" y="162"/>
                  </a:lnTo>
                  <a:lnTo>
                    <a:pt x="130" y="164"/>
                  </a:lnTo>
                  <a:lnTo>
                    <a:pt x="128" y="164"/>
                  </a:lnTo>
                  <a:lnTo>
                    <a:pt x="127" y="164"/>
                  </a:lnTo>
                  <a:lnTo>
                    <a:pt x="127" y="165"/>
                  </a:lnTo>
                  <a:lnTo>
                    <a:pt x="125" y="165"/>
                  </a:lnTo>
                  <a:lnTo>
                    <a:pt x="125" y="164"/>
                  </a:lnTo>
                  <a:lnTo>
                    <a:pt x="123" y="162"/>
                  </a:lnTo>
                  <a:lnTo>
                    <a:pt x="122" y="164"/>
                  </a:lnTo>
                  <a:lnTo>
                    <a:pt x="122" y="162"/>
                  </a:lnTo>
                  <a:lnTo>
                    <a:pt x="123" y="162"/>
                  </a:lnTo>
                  <a:lnTo>
                    <a:pt x="122" y="162"/>
                  </a:lnTo>
                  <a:lnTo>
                    <a:pt x="122" y="164"/>
                  </a:lnTo>
                  <a:lnTo>
                    <a:pt x="120" y="162"/>
                  </a:lnTo>
                  <a:lnTo>
                    <a:pt x="122" y="162"/>
                  </a:lnTo>
                  <a:lnTo>
                    <a:pt x="120" y="162"/>
                  </a:lnTo>
                  <a:lnTo>
                    <a:pt x="122" y="162"/>
                  </a:lnTo>
                  <a:lnTo>
                    <a:pt x="122" y="161"/>
                  </a:lnTo>
                  <a:lnTo>
                    <a:pt x="122" y="159"/>
                  </a:lnTo>
                  <a:lnTo>
                    <a:pt x="120" y="159"/>
                  </a:lnTo>
                  <a:lnTo>
                    <a:pt x="120" y="157"/>
                  </a:lnTo>
                  <a:lnTo>
                    <a:pt x="120" y="156"/>
                  </a:lnTo>
                  <a:lnTo>
                    <a:pt x="120" y="157"/>
                  </a:lnTo>
                  <a:lnTo>
                    <a:pt x="119" y="157"/>
                  </a:lnTo>
                  <a:lnTo>
                    <a:pt x="117" y="157"/>
                  </a:lnTo>
                  <a:lnTo>
                    <a:pt x="119" y="156"/>
                  </a:lnTo>
                  <a:lnTo>
                    <a:pt x="117" y="156"/>
                  </a:lnTo>
                  <a:lnTo>
                    <a:pt x="117" y="157"/>
                  </a:lnTo>
                  <a:lnTo>
                    <a:pt x="117" y="156"/>
                  </a:lnTo>
                  <a:lnTo>
                    <a:pt x="117" y="154"/>
                  </a:lnTo>
                  <a:lnTo>
                    <a:pt x="117" y="152"/>
                  </a:lnTo>
                  <a:lnTo>
                    <a:pt x="117" y="151"/>
                  </a:lnTo>
                  <a:lnTo>
                    <a:pt x="115" y="149"/>
                  </a:lnTo>
                  <a:lnTo>
                    <a:pt x="114" y="149"/>
                  </a:lnTo>
                  <a:lnTo>
                    <a:pt x="114" y="148"/>
                  </a:lnTo>
                  <a:lnTo>
                    <a:pt x="114" y="146"/>
                  </a:lnTo>
                  <a:lnTo>
                    <a:pt x="115" y="146"/>
                  </a:lnTo>
                  <a:lnTo>
                    <a:pt x="115" y="144"/>
                  </a:lnTo>
                  <a:lnTo>
                    <a:pt x="114" y="144"/>
                  </a:lnTo>
                  <a:lnTo>
                    <a:pt x="114" y="143"/>
                  </a:lnTo>
                  <a:lnTo>
                    <a:pt x="114" y="144"/>
                  </a:lnTo>
                  <a:lnTo>
                    <a:pt x="112" y="143"/>
                  </a:lnTo>
                  <a:lnTo>
                    <a:pt x="110" y="143"/>
                  </a:lnTo>
                  <a:lnTo>
                    <a:pt x="110" y="141"/>
                  </a:lnTo>
                  <a:lnTo>
                    <a:pt x="110" y="143"/>
                  </a:lnTo>
                  <a:lnTo>
                    <a:pt x="109" y="143"/>
                  </a:lnTo>
                  <a:lnTo>
                    <a:pt x="109" y="144"/>
                  </a:lnTo>
                  <a:lnTo>
                    <a:pt x="109" y="143"/>
                  </a:lnTo>
                  <a:lnTo>
                    <a:pt x="109" y="141"/>
                  </a:lnTo>
                  <a:lnTo>
                    <a:pt x="107" y="141"/>
                  </a:lnTo>
                  <a:lnTo>
                    <a:pt x="107" y="143"/>
                  </a:lnTo>
                  <a:lnTo>
                    <a:pt x="105" y="143"/>
                  </a:lnTo>
                  <a:lnTo>
                    <a:pt x="107" y="143"/>
                  </a:lnTo>
                  <a:lnTo>
                    <a:pt x="105" y="143"/>
                  </a:lnTo>
                  <a:lnTo>
                    <a:pt x="104" y="143"/>
                  </a:lnTo>
                  <a:lnTo>
                    <a:pt x="104" y="141"/>
                  </a:lnTo>
                  <a:lnTo>
                    <a:pt x="102" y="141"/>
                  </a:lnTo>
                  <a:lnTo>
                    <a:pt x="102" y="139"/>
                  </a:lnTo>
                  <a:lnTo>
                    <a:pt x="102" y="138"/>
                  </a:lnTo>
                  <a:lnTo>
                    <a:pt x="101" y="138"/>
                  </a:lnTo>
                  <a:lnTo>
                    <a:pt x="101" y="136"/>
                  </a:lnTo>
                  <a:lnTo>
                    <a:pt x="99" y="136"/>
                  </a:lnTo>
                  <a:lnTo>
                    <a:pt x="99" y="135"/>
                  </a:lnTo>
                  <a:lnTo>
                    <a:pt x="97" y="135"/>
                  </a:lnTo>
                  <a:lnTo>
                    <a:pt x="97" y="133"/>
                  </a:lnTo>
                  <a:lnTo>
                    <a:pt x="96" y="133"/>
                  </a:lnTo>
                  <a:lnTo>
                    <a:pt x="96" y="131"/>
                  </a:lnTo>
                  <a:lnTo>
                    <a:pt x="97" y="131"/>
                  </a:lnTo>
                  <a:lnTo>
                    <a:pt x="97" y="130"/>
                  </a:lnTo>
                  <a:lnTo>
                    <a:pt x="96" y="130"/>
                  </a:lnTo>
                  <a:lnTo>
                    <a:pt x="94" y="131"/>
                  </a:lnTo>
                  <a:lnTo>
                    <a:pt x="94" y="130"/>
                  </a:lnTo>
                  <a:lnTo>
                    <a:pt x="92" y="130"/>
                  </a:lnTo>
                  <a:lnTo>
                    <a:pt x="91" y="130"/>
                  </a:lnTo>
                  <a:lnTo>
                    <a:pt x="91" y="128"/>
                  </a:lnTo>
                  <a:lnTo>
                    <a:pt x="89" y="128"/>
                  </a:lnTo>
                  <a:lnTo>
                    <a:pt x="89" y="126"/>
                  </a:lnTo>
                  <a:lnTo>
                    <a:pt x="86" y="126"/>
                  </a:lnTo>
                  <a:lnTo>
                    <a:pt x="86" y="125"/>
                  </a:lnTo>
                  <a:lnTo>
                    <a:pt x="84" y="125"/>
                  </a:lnTo>
                  <a:lnTo>
                    <a:pt x="84" y="123"/>
                  </a:lnTo>
                  <a:lnTo>
                    <a:pt x="83" y="123"/>
                  </a:lnTo>
                  <a:lnTo>
                    <a:pt x="83" y="122"/>
                  </a:lnTo>
                  <a:lnTo>
                    <a:pt x="81" y="122"/>
                  </a:lnTo>
                  <a:lnTo>
                    <a:pt x="81" y="120"/>
                  </a:lnTo>
                  <a:lnTo>
                    <a:pt x="79" y="120"/>
                  </a:lnTo>
                  <a:lnTo>
                    <a:pt x="79" y="118"/>
                  </a:lnTo>
                  <a:lnTo>
                    <a:pt x="79" y="117"/>
                  </a:lnTo>
                  <a:lnTo>
                    <a:pt x="78" y="117"/>
                  </a:lnTo>
                  <a:lnTo>
                    <a:pt x="78" y="115"/>
                  </a:lnTo>
                  <a:lnTo>
                    <a:pt x="76" y="115"/>
                  </a:lnTo>
                  <a:lnTo>
                    <a:pt x="76" y="113"/>
                  </a:lnTo>
                  <a:lnTo>
                    <a:pt x="78" y="113"/>
                  </a:lnTo>
                  <a:lnTo>
                    <a:pt x="79" y="113"/>
                  </a:lnTo>
                  <a:lnTo>
                    <a:pt x="78" y="113"/>
                  </a:lnTo>
                  <a:lnTo>
                    <a:pt x="78" y="112"/>
                  </a:lnTo>
                  <a:lnTo>
                    <a:pt x="78" y="110"/>
                  </a:lnTo>
                  <a:lnTo>
                    <a:pt x="79" y="110"/>
                  </a:lnTo>
                  <a:lnTo>
                    <a:pt x="78" y="110"/>
                  </a:lnTo>
                  <a:lnTo>
                    <a:pt x="78" y="109"/>
                  </a:lnTo>
                  <a:lnTo>
                    <a:pt x="76" y="109"/>
                  </a:lnTo>
                  <a:lnTo>
                    <a:pt x="75" y="107"/>
                  </a:lnTo>
                  <a:lnTo>
                    <a:pt x="75" y="105"/>
                  </a:lnTo>
                  <a:lnTo>
                    <a:pt x="73" y="105"/>
                  </a:lnTo>
                  <a:lnTo>
                    <a:pt x="71" y="105"/>
                  </a:lnTo>
                  <a:lnTo>
                    <a:pt x="71" y="104"/>
                  </a:lnTo>
                  <a:lnTo>
                    <a:pt x="71" y="102"/>
                  </a:lnTo>
                  <a:lnTo>
                    <a:pt x="70" y="102"/>
                  </a:lnTo>
                  <a:lnTo>
                    <a:pt x="70" y="100"/>
                  </a:lnTo>
                  <a:lnTo>
                    <a:pt x="71" y="100"/>
                  </a:lnTo>
                  <a:lnTo>
                    <a:pt x="71" y="99"/>
                  </a:lnTo>
                  <a:lnTo>
                    <a:pt x="70" y="99"/>
                  </a:lnTo>
                  <a:lnTo>
                    <a:pt x="68" y="99"/>
                  </a:lnTo>
                  <a:lnTo>
                    <a:pt x="66" y="94"/>
                  </a:lnTo>
                  <a:lnTo>
                    <a:pt x="65" y="92"/>
                  </a:lnTo>
                  <a:lnTo>
                    <a:pt x="65" y="91"/>
                  </a:lnTo>
                  <a:lnTo>
                    <a:pt x="62" y="89"/>
                  </a:lnTo>
                  <a:lnTo>
                    <a:pt x="60" y="89"/>
                  </a:lnTo>
                  <a:lnTo>
                    <a:pt x="62" y="86"/>
                  </a:lnTo>
                  <a:lnTo>
                    <a:pt x="62" y="84"/>
                  </a:lnTo>
                  <a:lnTo>
                    <a:pt x="60" y="84"/>
                  </a:lnTo>
                  <a:lnTo>
                    <a:pt x="58" y="84"/>
                  </a:lnTo>
                  <a:lnTo>
                    <a:pt x="58" y="82"/>
                  </a:lnTo>
                  <a:lnTo>
                    <a:pt x="58" y="81"/>
                  </a:lnTo>
                  <a:lnTo>
                    <a:pt x="58" y="79"/>
                  </a:lnTo>
                  <a:lnTo>
                    <a:pt x="57" y="79"/>
                  </a:lnTo>
                  <a:lnTo>
                    <a:pt x="55" y="79"/>
                  </a:lnTo>
                  <a:lnTo>
                    <a:pt x="55" y="78"/>
                  </a:lnTo>
                  <a:lnTo>
                    <a:pt x="55" y="76"/>
                  </a:lnTo>
                  <a:lnTo>
                    <a:pt x="53" y="76"/>
                  </a:lnTo>
                  <a:lnTo>
                    <a:pt x="53" y="78"/>
                  </a:lnTo>
                  <a:lnTo>
                    <a:pt x="52" y="78"/>
                  </a:lnTo>
                  <a:lnTo>
                    <a:pt x="52" y="79"/>
                  </a:lnTo>
                  <a:lnTo>
                    <a:pt x="52" y="78"/>
                  </a:lnTo>
                  <a:lnTo>
                    <a:pt x="52" y="76"/>
                  </a:lnTo>
                  <a:lnTo>
                    <a:pt x="52" y="74"/>
                  </a:lnTo>
                  <a:lnTo>
                    <a:pt x="50" y="74"/>
                  </a:lnTo>
                  <a:lnTo>
                    <a:pt x="50" y="73"/>
                  </a:lnTo>
                  <a:lnTo>
                    <a:pt x="49" y="73"/>
                  </a:lnTo>
                  <a:lnTo>
                    <a:pt x="49" y="71"/>
                  </a:lnTo>
                  <a:lnTo>
                    <a:pt x="45" y="71"/>
                  </a:lnTo>
                  <a:lnTo>
                    <a:pt x="45" y="69"/>
                  </a:lnTo>
                  <a:lnTo>
                    <a:pt x="44" y="68"/>
                  </a:lnTo>
                  <a:lnTo>
                    <a:pt x="44" y="66"/>
                  </a:lnTo>
                  <a:lnTo>
                    <a:pt x="42" y="65"/>
                  </a:lnTo>
                  <a:lnTo>
                    <a:pt x="44" y="63"/>
                  </a:lnTo>
                  <a:lnTo>
                    <a:pt x="42" y="63"/>
                  </a:lnTo>
                  <a:lnTo>
                    <a:pt x="42" y="61"/>
                  </a:lnTo>
                  <a:lnTo>
                    <a:pt x="40" y="61"/>
                  </a:lnTo>
                  <a:lnTo>
                    <a:pt x="40" y="63"/>
                  </a:lnTo>
                  <a:lnTo>
                    <a:pt x="40" y="65"/>
                  </a:lnTo>
                  <a:lnTo>
                    <a:pt x="39" y="65"/>
                  </a:lnTo>
                  <a:lnTo>
                    <a:pt x="39" y="63"/>
                  </a:lnTo>
                  <a:lnTo>
                    <a:pt x="37" y="63"/>
                  </a:lnTo>
                  <a:lnTo>
                    <a:pt x="37" y="65"/>
                  </a:lnTo>
                  <a:lnTo>
                    <a:pt x="36" y="63"/>
                  </a:lnTo>
                  <a:lnTo>
                    <a:pt x="34" y="63"/>
                  </a:lnTo>
                  <a:lnTo>
                    <a:pt x="34" y="61"/>
                  </a:lnTo>
                  <a:lnTo>
                    <a:pt x="36" y="61"/>
                  </a:lnTo>
                  <a:lnTo>
                    <a:pt x="37" y="61"/>
                  </a:lnTo>
                  <a:lnTo>
                    <a:pt x="37" y="60"/>
                  </a:lnTo>
                  <a:lnTo>
                    <a:pt x="36" y="60"/>
                  </a:lnTo>
                  <a:lnTo>
                    <a:pt x="34" y="60"/>
                  </a:lnTo>
                  <a:lnTo>
                    <a:pt x="32" y="60"/>
                  </a:lnTo>
                  <a:lnTo>
                    <a:pt x="32" y="58"/>
                  </a:lnTo>
                  <a:lnTo>
                    <a:pt x="32" y="56"/>
                  </a:lnTo>
                  <a:lnTo>
                    <a:pt x="32" y="55"/>
                  </a:lnTo>
                  <a:lnTo>
                    <a:pt x="31" y="55"/>
                  </a:lnTo>
                  <a:lnTo>
                    <a:pt x="29" y="55"/>
                  </a:lnTo>
                  <a:lnTo>
                    <a:pt x="29" y="56"/>
                  </a:lnTo>
                  <a:lnTo>
                    <a:pt x="31" y="58"/>
                  </a:lnTo>
                  <a:lnTo>
                    <a:pt x="29" y="58"/>
                  </a:lnTo>
                  <a:lnTo>
                    <a:pt x="27" y="58"/>
                  </a:lnTo>
                  <a:lnTo>
                    <a:pt x="27" y="56"/>
                  </a:lnTo>
                  <a:lnTo>
                    <a:pt x="29" y="56"/>
                  </a:lnTo>
                  <a:lnTo>
                    <a:pt x="29" y="55"/>
                  </a:lnTo>
                  <a:lnTo>
                    <a:pt x="27" y="55"/>
                  </a:lnTo>
                  <a:lnTo>
                    <a:pt x="26" y="55"/>
                  </a:lnTo>
                  <a:lnTo>
                    <a:pt x="24" y="55"/>
                  </a:lnTo>
                  <a:lnTo>
                    <a:pt x="24" y="53"/>
                  </a:lnTo>
                  <a:lnTo>
                    <a:pt x="23" y="52"/>
                  </a:lnTo>
                  <a:lnTo>
                    <a:pt x="21" y="52"/>
                  </a:lnTo>
                  <a:lnTo>
                    <a:pt x="21" y="53"/>
                  </a:lnTo>
                  <a:lnTo>
                    <a:pt x="19" y="52"/>
                  </a:lnTo>
                  <a:lnTo>
                    <a:pt x="18" y="52"/>
                  </a:lnTo>
                  <a:lnTo>
                    <a:pt x="18" y="50"/>
                  </a:lnTo>
                  <a:lnTo>
                    <a:pt x="16" y="50"/>
                  </a:lnTo>
                  <a:lnTo>
                    <a:pt x="16" y="52"/>
                  </a:lnTo>
                  <a:lnTo>
                    <a:pt x="14" y="52"/>
                  </a:lnTo>
                  <a:lnTo>
                    <a:pt x="13" y="52"/>
                  </a:lnTo>
                  <a:lnTo>
                    <a:pt x="11" y="53"/>
                  </a:lnTo>
                  <a:lnTo>
                    <a:pt x="11" y="52"/>
                  </a:lnTo>
                  <a:lnTo>
                    <a:pt x="10" y="52"/>
                  </a:lnTo>
                  <a:lnTo>
                    <a:pt x="11" y="53"/>
                  </a:lnTo>
                  <a:lnTo>
                    <a:pt x="10" y="53"/>
                  </a:lnTo>
                  <a:lnTo>
                    <a:pt x="8" y="52"/>
                  </a:lnTo>
                  <a:lnTo>
                    <a:pt x="8" y="50"/>
                  </a:lnTo>
                  <a:lnTo>
                    <a:pt x="6" y="50"/>
                  </a:lnTo>
                  <a:lnTo>
                    <a:pt x="6" y="52"/>
                  </a:lnTo>
                  <a:lnTo>
                    <a:pt x="6" y="53"/>
                  </a:lnTo>
                  <a:lnTo>
                    <a:pt x="5" y="53"/>
                  </a:lnTo>
                  <a:lnTo>
                    <a:pt x="5" y="55"/>
                  </a:lnTo>
                  <a:lnTo>
                    <a:pt x="5" y="53"/>
                  </a:lnTo>
                  <a:lnTo>
                    <a:pt x="5" y="52"/>
                  </a:lnTo>
                  <a:lnTo>
                    <a:pt x="3" y="52"/>
                  </a:lnTo>
                  <a:lnTo>
                    <a:pt x="3" y="53"/>
                  </a:lnTo>
                  <a:lnTo>
                    <a:pt x="1" y="53"/>
                  </a:lnTo>
                  <a:lnTo>
                    <a:pt x="0" y="52"/>
                  </a:lnTo>
                  <a:lnTo>
                    <a:pt x="1" y="48"/>
                  </a:lnTo>
                  <a:lnTo>
                    <a:pt x="1" y="47"/>
                  </a:lnTo>
                  <a:lnTo>
                    <a:pt x="3" y="43"/>
                  </a:lnTo>
                  <a:lnTo>
                    <a:pt x="5" y="42"/>
                  </a:lnTo>
                  <a:lnTo>
                    <a:pt x="5" y="40"/>
                  </a:lnTo>
                  <a:lnTo>
                    <a:pt x="3" y="39"/>
                  </a:lnTo>
                  <a:lnTo>
                    <a:pt x="5" y="39"/>
                  </a:lnTo>
                  <a:lnTo>
                    <a:pt x="5" y="40"/>
                  </a:lnTo>
                  <a:lnTo>
                    <a:pt x="6" y="40"/>
                  </a:lnTo>
                  <a:lnTo>
                    <a:pt x="8" y="42"/>
                  </a:lnTo>
                  <a:lnTo>
                    <a:pt x="8" y="43"/>
                  </a:lnTo>
                  <a:lnTo>
                    <a:pt x="10" y="43"/>
                  </a:lnTo>
                  <a:lnTo>
                    <a:pt x="11" y="42"/>
                  </a:lnTo>
                  <a:lnTo>
                    <a:pt x="11" y="43"/>
                  </a:lnTo>
                  <a:lnTo>
                    <a:pt x="13" y="43"/>
                  </a:lnTo>
                  <a:lnTo>
                    <a:pt x="14" y="45"/>
                  </a:lnTo>
                  <a:lnTo>
                    <a:pt x="16" y="45"/>
                  </a:lnTo>
                  <a:lnTo>
                    <a:pt x="16" y="43"/>
                  </a:lnTo>
                  <a:lnTo>
                    <a:pt x="18" y="42"/>
                  </a:lnTo>
                  <a:lnTo>
                    <a:pt x="16" y="40"/>
                  </a:lnTo>
                  <a:lnTo>
                    <a:pt x="18" y="40"/>
                  </a:lnTo>
                  <a:lnTo>
                    <a:pt x="16" y="39"/>
                  </a:lnTo>
                  <a:lnTo>
                    <a:pt x="16" y="37"/>
                  </a:lnTo>
                  <a:lnTo>
                    <a:pt x="14" y="37"/>
                  </a:lnTo>
                  <a:lnTo>
                    <a:pt x="13" y="37"/>
                  </a:lnTo>
                  <a:lnTo>
                    <a:pt x="11" y="37"/>
                  </a:lnTo>
                  <a:lnTo>
                    <a:pt x="10" y="37"/>
                  </a:lnTo>
                  <a:lnTo>
                    <a:pt x="10" y="35"/>
                  </a:lnTo>
                  <a:lnTo>
                    <a:pt x="8" y="34"/>
                  </a:lnTo>
                  <a:lnTo>
                    <a:pt x="3" y="30"/>
                  </a:lnTo>
                  <a:lnTo>
                    <a:pt x="5" y="30"/>
                  </a:lnTo>
                  <a:lnTo>
                    <a:pt x="8" y="30"/>
                  </a:lnTo>
                  <a:lnTo>
                    <a:pt x="10" y="27"/>
                  </a:lnTo>
                  <a:lnTo>
                    <a:pt x="13" y="27"/>
                  </a:lnTo>
                  <a:lnTo>
                    <a:pt x="16" y="27"/>
                  </a:lnTo>
                  <a:lnTo>
                    <a:pt x="18" y="26"/>
                  </a:lnTo>
                  <a:lnTo>
                    <a:pt x="19" y="26"/>
                  </a:lnTo>
                  <a:lnTo>
                    <a:pt x="21" y="27"/>
                  </a:lnTo>
                  <a:lnTo>
                    <a:pt x="23" y="27"/>
                  </a:lnTo>
                  <a:lnTo>
                    <a:pt x="21" y="29"/>
                  </a:lnTo>
                  <a:lnTo>
                    <a:pt x="21" y="30"/>
                  </a:lnTo>
                  <a:lnTo>
                    <a:pt x="24" y="32"/>
                  </a:lnTo>
                  <a:lnTo>
                    <a:pt x="24" y="30"/>
                  </a:lnTo>
                  <a:lnTo>
                    <a:pt x="26" y="30"/>
                  </a:lnTo>
                  <a:lnTo>
                    <a:pt x="32" y="30"/>
                  </a:lnTo>
                  <a:lnTo>
                    <a:pt x="31" y="29"/>
                  </a:lnTo>
                  <a:lnTo>
                    <a:pt x="32" y="27"/>
                  </a:lnTo>
                  <a:lnTo>
                    <a:pt x="34" y="27"/>
                  </a:lnTo>
                  <a:lnTo>
                    <a:pt x="36" y="27"/>
                  </a:lnTo>
                  <a:lnTo>
                    <a:pt x="36" y="26"/>
                  </a:lnTo>
                  <a:lnTo>
                    <a:pt x="34" y="26"/>
                  </a:lnTo>
                  <a:lnTo>
                    <a:pt x="34" y="24"/>
                  </a:lnTo>
                  <a:lnTo>
                    <a:pt x="32" y="24"/>
                  </a:lnTo>
                  <a:lnTo>
                    <a:pt x="31" y="22"/>
                  </a:lnTo>
                  <a:lnTo>
                    <a:pt x="34" y="21"/>
                  </a:lnTo>
                  <a:lnTo>
                    <a:pt x="36" y="21"/>
                  </a:lnTo>
                  <a:lnTo>
                    <a:pt x="36" y="19"/>
                  </a:lnTo>
                  <a:lnTo>
                    <a:pt x="37" y="17"/>
                  </a:lnTo>
                  <a:lnTo>
                    <a:pt x="37" y="19"/>
                  </a:lnTo>
                  <a:lnTo>
                    <a:pt x="39" y="22"/>
                  </a:lnTo>
                  <a:lnTo>
                    <a:pt x="40" y="24"/>
                  </a:lnTo>
                  <a:lnTo>
                    <a:pt x="42" y="26"/>
                  </a:lnTo>
                  <a:lnTo>
                    <a:pt x="44" y="26"/>
                  </a:lnTo>
                  <a:lnTo>
                    <a:pt x="45" y="24"/>
                  </a:lnTo>
                  <a:lnTo>
                    <a:pt x="49" y="22"/>
                  </a:lnTo>
                  <a:lnTo>
                    <a:pt x="50" y="22"/>
                  </a:lnTo>
                  <a:lnTo>
                    <a:pt x="52" y="22"/>
                  </a:lnTo>
                  <a:lnTo>
                    <a:pt x="53" y="24"/>
                  </a:lnTo>
                  <a:lnTo>
                    <a:pt x="55" y="22"/>
                  </a:lnTo>
                  <a:lnTo>
                    <a:pt x="58" y="22"/>
                  </a:lnTo>
                  <a:lnTo>
                    <a:pt x="58" y="17"/>
                  </a:lnTo>
                  <a:lnTo>
                    <a:pt x="58" y="16"/>
                  </a:lnTo>
                  <a:lnTo>
                    <a:pt x="58" y="14"/>
                  </a:lnTo>
                  <a:lnTo>
                    <a:pt x="58" y="13"/>
                  </a:lnTo>
                  <a:lnTo>
                    <a:pt x="60" y="13"/>
                  </a:lnTo>
                  <a:lnTo>
                    <a:pt x="60" y="11"/>
                  </a:lnTo>
                  <a:lnTo>
                    <a:pt x="62" y="11"/>
                  </a:lnTo>
                  <a:lnTo>
                    <a:pt x="63" y="11"/>
                  </a:lnTo>
                  <a:lnTo>
                    <a:pt x="65" y="13"/>
                  </a:lnTo>
                  <a:lnTo>
                    <a:pt x="65" y="14"/>
                  </a:lnTo>
                  <a:lnTo>
                    <a:pt x="65" y="16"/>
                  </a:lnTo>
                  <a:lnTo>
                    <a:pt x="66" y="16"/>
                  </a:lnTo>
                  <a:lnTo>
                    <a:pt x="66" y="14"/>
                  </a:lnTo>
                  <a:lnTo>
                    <a:pt x="68" y="14"/>
                  </a:lnTo>
                  <a:lnTo>
                    <a:pt x="70" y="14"/>
                  </a:lnTo>
                  <a:lnTo>
                    <a:pt x="71" y="14"/>
                  </a:lnTo>
                  <a:lnTo>
                    <a:pt x="71" y="11"/>
                  </a:lnTo>
                  <a:lnTo>
                    <a:pt x="71" y="9"/>
                  </a:lnTo>
                  <a:lnTo>
                    <a:pt x="73" y="6"/>
                  </a:lnTo>
                  <a:lnTo>
                    <a:pt x="75" y="6"/>
                  </a:lnTo>
                  <a:lnTo>
                    <a:pt x="78" y="4"/>
                  </a:lnTo>
                  <a:lnTo>
                    <a:pt x="78" y="3"/>
                  </a:lnTo>
                  <a:lnTo>
                    <a:pt x="79" y="1"/>
                  </a:lnTo>
                  <a:lnTo>
                    <a:pt x="81" y="0"/>
                  </a:lnTo>
                  <a:lnTo>
                    <a:pt x="83" y="0"/>
                  </a:lnTo>
                  <a:lnTo>
                    <a:pt x="84" y="0"/>
                  </a:lnTo>
                  <a:lnTo>
                    <a:pt x="83" y="1"/>
                  </a:lnTo>
                  <a:lnTo>
                    <a:pt x="83" y="3"/>
                  </a:lnTo>
                  <a:lnTo>
                    <a:pt x="83" y="4"/>
                  </a:lnTo>
                  <a:lnTo>
                    <a:pt x="84" y="4"/>
                  </a:lnTo>
                  <a:lnTo>
                    <a:pt x="86" y="4"/>
                  </a:lnTo>
                  <a:lnTo>
                    <a:pt x="88" y="4"/>
                  </a:lnTo>
                  <a:lnTo>
                    <a:pt x="89" y="4"/>
                  </a:lnTo>
                  <a:close/>
                  <a:moveTo>
                    <a:pt x="348" y="201"/>
                  </a:moveTo>
                  <a:lnTo>
                    <a:pt x="349" y="201"/>
                  </a:lnTo>
                  <a:lnTo>
                    <a:pt x="348" y="201"/>
                  </a:lnTo>
                  <a:close/>
                </a:path>
              </a:pathLst>
            </a:custGeom>
            <a:solidFill>
              <a:srgbClr val="E5E5E5"/>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1201" name="Freeform 47">
              <a:extLst>
                <a:ext uri="{FF2B5EF4-FFF2-40B4-BE49-F238E27FC236}">
                  <a16:creationId xmlns:a16="http://schemas.microsoft.com/office/drawing/2014/main" id="{553A7BD7-2B93-0B66-F100-57BC47637781}"/>
                </a:ext>
              </a:extLst>
            </p:cNvPr>
            <p:cNvSpPr>
              <a:spLocks noEditPoints="1"/>
            </p:cNvSpPr>
            <p:nvPr/>
          </p:nvSpPr>
          <p:spPr bwMode="auto">
            <a:xfrm>
              <a:off x="5097" y="4617"/>
              <a:ext cx="197" cy="237"/>
            </a:xfrm>
            <a:custGeom>
              <a:avLst/>
              <a:gdLst>
                <a:gd name="T0" fmla="*/ 52 w 197"/>
                <a:gd name="T1" fmla="*/ 185 h 237"/>
                <a:gd name="T2" fmla="*/ 62 w 197"/>
                <a:gd name="T3" fmla="*/ 3 h 237"/>
                <a:gd name="T4" fmla="*/ 88 w 197"/>
                <a:gd name="T5" fmla="*/ 14 h 237"/>
                <a:gd name="T6" fmla="*/ 116 w 197"/>
                <a:gd name="T7" fmla="*/ 42 h 237"/>
                <a:gd name="T8" fmla="*/ 133 w 197"/>
                <a:gd name="T9" fmla="*/ 45 h 237"/>
                <a:gd name="T10" fmla="*/ 146 w 197"/>
                <a:gd name="T11" fmla="*/ 48 h 237"/>
                <a:gd name="T12" fmla="*/ 164 w 197"/>
                <a:gd name="T13" fmla="*/ 61 h 237"/>
                <a:gd name="T14" fmla="*/ 189 w 197"/>
                <a:gd name="T15" fmla="*/ 71 h 237"/>
                <a:gd name="T16" fmla="*/ 190 w 197"/>
                <a:gd name="T17" fmla="*/ 89 h 237"/>
                <a:gd name="T18" fmla="*/ 181 w 197"/>
                <a:gd name="T19" fmla="*/ 97 h 237"/>
                <a:gd name="T20" fmla="*/ 163 w 197"/>
                <a:gd name="T21" fmla="*/ 100 h 237"/>
                <a:gd name="T22" fmla="*/ 171 w 197"/>
                <a:gd name="T23" fmla="*/ 117 h 237"/>
                <a:gd name="T24" fmla="*/ 172 w 197"/>
                <a:gd name="T25" fmla="*/ 128 h 237"/>
                <a:gd name="T26" fmla="*/ 161 w 197"/>
                <a:gd name="T27" fmla="*/ 135 h 237"/>
                <a:gd name="T28" fmla="*/ 153 w 197"/>
                <a:gd name="T29" fmla="*/ 141 h 237"/>
                <a:gd name="T30" fmla="*/ 143 w 197"/>
                <a:gd name="T31" fmla="*/ 136 h 237"/>
                <a:gd name="T32" fmla="*/ 143 w 197"/>
                <a:gd name="T33" fmla="*/ 126 h 237"/>
                <a:gd name="T34" fmla="*/ 135 w 197"/>
                <a:gd name="T35" fmla="*/ 118 h 237"/>
                <a:gd name="T36" fmla="*/ 127 w 197"/>
                <a:gd name="T37" fmla="*/ 131 h 237"/>
                <a:gd name="T38" fmla="*/ 122 w 197"/>
                <a:gd name="T39" fmla="*/ 144 h 237"/>
                <a:gd name="T40" fmla="*/ 116 w 197"/>
                <a:gd name="T41" fmla="*/ 157 h 237"/>
                <a:gd name="T42" fmla="*/ 111 w 197"/>
                <a:gd name="T43" fmla="*/ 169 h 237"/>
                <a:gd name="T44" fmla="*/ 103 w 197"/>
                <a:gd name="T45" fmla="*/ 195 h 237"/>
                <a:gd name="T46" fmla="*/ 111 w 197"/>
                <a:gd name="T47" fmla="*/ 217 h 237"/>
                <a:gd name="T48" fmla="*/ 111 w 197"/>
                <a:gd name="T49" fmla="*/ 227 h 237"/>
                <a:gd name="T50" fmla="*/ 112 w 197"/>
                <a:gd name="T51" fmla="*/ 237 h 237"/>
                <a:gd name="T52" fmla="*/ 99 w 197"/>
                <a:gd name="T53" fmla="*/ 230 h 237"/>
                <a:gd name="T54" fmla="*/ 90 w 197"/>
                <a:gd name="T55" fmla="*/ 227 h 237"/>
                <a:gd name="T56" fmla="*/ 88 w 197"/>
                <a:gd name="T57" fmla="*/ 221 h 237"/>
                <a:gd name="T58" fmla="*/ 83 w 197"/>
                <a:gd name="T59" fmla="*/ 211 h 237"/>
                <a:gd name="T60" fmla="*/ 78 w 197"/>
                <a:gd name="T61" fmla="*/ 206 h 237"/>
                <a:gd name="T62" fmla="*/ 72 w 197"/>
                <a:gd name="T63" fmla="*/ 200 h 237"/>
                <a:gd name="T64" fmla="*/ 64 w 197"/>
                <a:gd name="T65" fmla="*/ 193 h 237"/>
                <a:gd name="T66" fmla="*/ 57 w 197"/>
                <a:gd name="T67" fmla="*/ 188 h 237"/>
                <a:gd name="T68" fmla="*/ 50 w 197"/>
                <a:gd name="T69" fmla="*/ 183 h 237"/>
                <a:gd name="T70" fmla="*/ 44 w 197"/>
                <a:gd name="T71" fmla="*/ 183 h 237"/>
                <a:gd name="T72" fmla="*/ 37 w 197"/>
                <a:gd name="T73" fmla="*/ 180 h 237"/>
                <a:gd name="T74" fmla="*/ 33 w 197"/>
                <a:gd name="T75" fmla="*/ 174 h 237"/>
                <a:gd name="T76" fmla="*/ 28 w 197"/>
                <a:gd name="T77" fmla="*/ 172 h 237"/>
                <a:gd name="T78" fmla="*/ 23 w 197"/>
                <a:gd name="T79" fmla="*/ 174 h 237"/>
                <a:gd name="T80" fmla="*/ 16 w 197"/>
                <a:gd name="T81" fmla="*/ 165 h 237"/>
                <a:gd name="T82" fmla="*/ 29 w 197"/>
                <a:gd name="T83" fmla="*/ 167 h 237"/>
                <a:gd name="T84" fmla="*/ 33 w 197"/>
                <a:gd name="T85" fmla="*/ 167 h 237"/>
                <a:gd name="T86" fmla="*/ 29 w 197"/>
                <a:gd name="T87" fmla="*/ 161 h 237"/>
                <a:gd name="T88" fmla="*/ 36 w 197"/>
                <a:gd name="T89" fmla="*/ 159 h 237"/>
                <a:gd name="T90" fmla="*/ 39 w 197"/>
                <a:gd name="T91" fmla="*/ 157 h 237"/>
                <a:gd name="T92" fmla="*/ 31 w 197"/>
                <a:gd name="T93" fmla="*/ 152 h 237"/>
                <a:gd name="T94" fmla="*/ 28 w 197"/>
                <a:gd name="T95" fmla="*/ 156 h 237"/>
                <a:gd name="T96" fmla="*/ 26 w 197"/>
                <a:gd name="T97" fmla="*/ 162 h 237"/>
                <a:gd name="T98" fmla="*/ 15 w 197"/>
                <a:gd name="T99" fmla="*/ 162 h 237"/>
                <a:gd name="T100" fmla="*/ 3 w 197"/>
                <a:gd name="T101" fmla="*/ 146 h 237"/>
                <a:gd name="T102" fmla="*/ 13 w 197"/>
                <a:gd name="T103" fmla="*/ 126 h 237"/>
                <a:gd name="T104" fmla="*/ 2 w 197"/>
                <a:gd name="T105" fmla="*/ 115 h 237"/>
                <a:gd name="T106" fmla="*/ 7 w 197"/>
                <a:gd name="T107" fmla="*/ 95 h 237"/>
                <a:gd name="T108" fmla="*/ 16 w 197"/>
                <a:gd name="T109" fmla="*/ 68 h 237"/>
                <a:gd name="T110" fmla="*/ 20 w 197"/>
                <a:gd name="T111" fmla="*/ 43 h 237"/>
                <a:gd name="T112" fmla="*/ 36 w 197"/>
                <a:gd name="T113" fmla="*/ 29 h 237"/>
                <a:gd name="T114" fmla="*/ 46 w 197"/>
                <a:gd name="T115" fmla="*/ 39 h 237"/>
                <a:gd name="T116" fmla="*/ 54 w 197"/>
                <a:gd name="T117" fmla="*/ 43 h 237"/>
                <a:gd name="T118" fmla="*/ 59 w 197"/>
                <a:gd name="T119" fmla="*/ 30 h 237"/>
                <a:gd name="T120" fmla="*/ 50 w 197"/>
                <a:gd name="T121" fmla="*/ 14 h 237"/>
                <a:gd name="T122" fmla="*/ 42 w 197"/>
                <a:gd name="T123" fmla="*/ 8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97" h="237">
                  <a:moveTo>
                    <a:pt x="86" y="219"/>
                  </a:moveTo>
                  <a:lnTo>
                    <a:pt x="86" y="221"/>
                  </a:lnTo>
                  <a:lnTo>
                    <a:pt x="86" y="219"/>
                  </a:lnTo>
                  <a:close/>
                  <a:moveTo>
                    <a:pt x="52" y="185"/>
                  </a:moveTo>
                  <a:lnTo>
                    <a:pt x="50" y="185"/>
                  </a:lnTo>
                  <a:lnTo>
                    <a:pt x="50" y="183"/>
                  </a:lnTo>
                  <a:lnTo>
                    <a:pt x="50" y="185"/>
                  </a:lnTo>
                  <a:lnTo>
                    <a:pt x="52" y="185"/>
                  </a:lnTo>
                  <a:close/>
                  <a:moveTo>
                    <a:pt x="31" y="165"/>
                  </a:moveTo>
                  <a:lnTo>
                    <a:pt x="33" y="167"/>
                  </a:lnTo>
                  <a:lnTo>
                    <a:pt x="31" y="167"/>
                  </a:lnTo>
                  <a:lnTo>
                    <a:pt x="31" y="165"/>
                  </a:lnTo>
                  <a:close/>
                  <a:moveTo>
                    <a:pt x="50" y="1"/>
                  </a:moveTo>
                  <a:lnTo>
                    <a:pt x="52" y="3"/>
                  </a:lnTo>
                  <a:lnTo>
                    <a:pt x="55" y="3"/>
                  </a:lnTo>
                  <a:lnTo>
                    <a:pt x="62" y="3"/>
                  </a:lnTo>
                  <a:lnTo>
                    <a:pt x="65" y="1"/>
                  </a:lnTo>
                  <a:lnTo>
                    <a:pt x="68" y="1"/>
                  </a:lnTo>
                  <a:lnTo>
                    <a:pt x="70" y="8"/>
                  </a:lnTo>
                  <a:lnTo>
                    <a:pt x="73" y="9"/>
                  </a:lnTo>
                  <a:lnTo>
                    <a:pt x="78" y="11"/>
                  </a:lnTo>
                  <a:lnTo>
                    <a:pt x="80" y="11"/>
                  </a:lnTo>
                  <a:lnTo>
                    <a:pt x="83" y="13"/>
                  </a:lnTo>
                  <a:lnTo>
                    <a:pt x="88" y="14"/>
                  </a:lnTo>
                  <a:lnTo>
                    <a:pt x="94" y="16"/>
                  </a:lnTo>
                  <a:lnTo>
                    <a:pt x="94" y="19"/>
                  </a:lnTo>
                  <a:lnTo>
                    <a:pt x="99" y="22"/>
                  </a:lnTo>
                  <a:lnTo>
                    <a:pt x="106" y="27"/>
                  </a:lnTo>
                  <a:lnTo>
                    <a:pt x="109" y="32"/>
                  </a:lnTo>
                  <a:lnTo>
                    <a:pt x="111" y="37"/>
                  </a:lnTo>
                  <a:lnTo>
                    <a:pt x="112" y="40"/>
                  </a:lnTo>
                  <a:lnTo>
                    <a:pt x="116" y="42"/>
                  </a:lnTo>
                  <a:lnTo>
                    <a:pt x="120" y="43"/>
                  </a:lnTo>
                  <a:lnTo>
                    <a:pt x="124" y="45"/>
                  </a:lnTo>
                  <a:lnTo>
                    <a:pt x="125" y="45"/>
                  </a:lnTo>
                  <a:lnTo>
                    <a:pt x="127" y="45"/>
                  </a:lnTo>
                  <a:lnTo>
                    <a:pt x="129" y="45"/>
                  </a:lnTo>
                  <a:lnTo>
                    <a:pt x="130" y="47"/>
                  </a:lnTo>
                  <a:lnTo>
                    <a:pt x="132" y="45"/>
                  </a:lnTo>
                  <a:lnTo>
                    <a:pt x="133" y="45"/>
                  </a:lnTo>
                  <a:lnTo>
                    <a:pt x="133" y="47"/>
                  </a:lnTo>
                  <a:lnTo>
                    <a:pt x="133" y="48"/>
                  </a:lnTo>
                  <a:lnTo>
                    <a:pt x="135" y="50"/>
                  </a:lnTo>
                  <a:lnTo>
                    <a:pt x="137" y="48"/>
                  </a:lnTo>
                  <a:lnTo>
                    <a:pt x="140" y="47"/>
                  </a:lnTo>
                  <a:lnTo>
                    <a:pt x="142" y="47"/>
                  </a:lnTo>
                  <a:lnTo>
                    <a:pt x="143" y="48"/>
                  </a:lnTo>
                  <a:lnTo>
                    <a:pt x="146" y="48"/>
                  </a:lnTo>
                  <a:lnTo>
                    <a:pt x="150" y="43"/>
                  </a:lnTo>
                  <a:lnTo>
                    <a:pt x="153" y="48"/>
                  </a:lnTo>
                  <a:lnTo>
                    <a:pt x="153" y="52"/>
                  </a:lnTo>
                  <a:lnTo>
                    <a:pt x="155" y="53"/>
                  </a:lnTo>
                  <a:lnTo>
                    <a:pt x="156" y="56"/>
                  </a:lnTo>
                  <a:lnTo>
                    <a:pt x="159" y="60"/>
                  </a:lnTo>
                  <a:lnTo>
                    <a:pt x="164" y="60"/>
                  </a:lnTo>
                  <a:lnTo>
                    <a:pt x="164" y="61"/>
                  </a:lnTo>
                  <a:lnTo>
                    <a:pt x="164" y="65"/>
                  </a:lnTo>
                  <a:lnTo>
                    <a:pt x="164" y="66"/>
                  </a:lnTo>
                  <a:lnTo>
                    <a:pt x="172" y="69"/>
                  </a:lnTo>
                  <a:lnTo>
                    <a:pt x="176" y="68"/>
                  </a:lnTo>
                  <a:lnTo>
                    <a:pt x="179" y="68"/>
                  </a:lnTo>
                  <a:lnTo>
                    <a:pt x="184" y="69"/>
                  </a:lnTo>
                  <a:lnTo>
                    <a:pt x="185" y="69"/>
                  </a:lnTo>
                  <a:lnTo>
                    <a:pt x="189" y="71"/>
                  </a:lnTo>
                  <a:lnTo>
                    <a:pt x="192" y="74"/>
                  </a:lnTo>
                  <a:lnTo>
                    <a:pt x="194" y="79"/>
                  </a:lnTo>
                  <a:lnTo>
                    <a:pt x="195" y="84"/>
                  </a:lnTo>
                  <a:lnTo>
                    <a:pt x="197" y="86"/>
                  </a:lnTo>
                  <a:lnTo>
                    <a:pt x="195" y="86"/>
                  </a:lnTo>
                  <a:lnTo>
                    <a:pt x="194" y="86"/>
                  </a:lnTo>
                  <a:lnTo>
                    <a:pt x="194" y="87"/>
                  </a:lnTo>
                  <a:lnTo>
                    <a:pt x="190" y="89"/>
                  </a:lnTo>
                  <a:lnTo>
                    <a:pt x="189" y="91"/>
                  </a:lnTo>
                  <a:lnTo>
                    <a:pt x="189" y="92"/>
                  </a:lnTo>
                  <a:lnTo>
                    <a:pt x="190" y="95"/>
                  </a:lnTo>
                  <a:lnTo>
                    <a:pt x="189" y="97"/>
                  </a:lnTo>
                  <a:lnTo>
                    <a:pt x="187" y="97"/>
                  </a:lnTo>
                  <a:lnTo>
                    <a:pt x="185" y="97"/>
                  </a:lnTo>
                  <a:lnTo>
                    <a:pt x="184" y="97"/>
                  </a:lnTo>
                  <a:lnTo>
                    <a:pt x="181" y="97"/>
                  </a:lnTo>
                  <a:lnTo>
                    <a:pt x="179" y="97"/>
                  </a:lnTo>
                  <a:lnTo>
                    <a:pt x="176" y="97"/>
                  </a:lnTo>
                  <a:lnTo>
                    <a:pt x="171" y="95"/>
                  </a:lnTo>
                  <a:lnTo>
                    <a:pt x="169" y="95"/>
                  </a:lnTo>
                  <a:lnTo>
                    <a:pt x="166" y="97"/>
                  </a:lnTo>
                  <a:lnTo>
                    <a:pt x="166" y="99"/>
                  </a:lnTo>
                  <a:lnTo>
                    <a:pt x="164" y="99"/>
                  </a:lnTo>
                  <a:lnTo>
                    <a:pt x="163" y="100"/>
                  </a:lnTo>
                  <a:lnTo>
                    <a:pt x="159" y="102"/>
                  </a:lnTo>
                  <a:lnTo>
                    <a:pt x="158" y="102"/>
                  </a:lnTo>
                  <a:lnTo>
                    <a:pt x="163" y="107"/>
                  </a:lnTo>
                  <a:lnTo>
                    <a:pt x="164" y="109"/>
                  </a:lnTo>
                  <a:lnTo>
                    <a:pt x="166" y="110"/>
                  </a:lnTo>
                  <a:lnTo>
                    <a:pt x="166" y="113"/>
                  </a:lnTo>
                  <a:lnTo>
                    <a:pt x="169" y="117"/>
                  </a:lnTo>
                  <a:lnTo>
                    <a:pt x="171" y="117"/>
                  </a:lnTo>
                  <a:lnTo>
                    <a:pt x="174" y="118"/>
                  </a:lnTo>
                  <a:lnTo>
                    <a:pt x="176" y="123"/>
                  </a:lnTo>
                  <a:lnTo>
                    <a:pt x="177" y="130"/>
                  </a:lnTo>
                  <a:lnTo>
                    <a:pt x="177" y="128"/>
                  </a:lnTo>
                  <a:lnTo>
                    <a:pt x="176" y="128"/>
                  </a:lnTo>
                  <a:lnTo>
                    <a:pt x="174" y="126"/>
                  </a:lnTo>
                  <a:lnTo>
                    <a:pt x="174" y="128"/>
                  </a:lnTo>
                  <a:lnTo>
                    <a:pt x="172" y="128"/>
                  </a:lnTo>
                  <a:lnTo>
                    <a:pt x="171" y="130"/>
                  </a:lnTo>
                  <a:lnTo>
                    <a:pt x="169" y="130"/>
                  </a:lnTo>
                  <a:lnTo>
                    <a:pt x="169" y="131"/>
                  </a:lnTo>
                  <a:lnTo>
                    <a:pt x="169" y="135"/>
                  </a:lnTo>
                  <a:lnTo>
                    <a:pt x="166" y="135"/>
                  </a:lnTo>
                  <a:lnTo>
                    <a:pt x="164" y="135"/>
                  </a:lnTo>
                  <a:lnTo>
                    <a:pt x="163" y="135"/>
                  </a:lnTo>
                  <a:lnTo>
                    <a:pt x="161" y="135"/>
                  </a:lnTo>
                  <a:lnTo>
                    <a:pt x="159" y="136"/>
                  </a:lnTo>
                  <a:lnTo>
                    <a:pt x="158" y="136"/>
                  </a:lnTo>
                  <a:lnTo>
                    <a:pt x="158" y="138"/>
                  </a:lnTo>
                  <a:lnTo>
                    <a:pt x="158" y="139"/>
                  </a:lnTo>
                  <a:lnTo>
                    <a:pt x="156" y="138"/>
                  </a:lnTo>
                  <a:lnTo>
                    <a:pt x="155" y="139"/>
                  </a:lnTo>
                  <a:lnTo>
                    <a:pt x="155" y="141"/>
                  </a:lnTo>
                  <a:lnTo>
                    <a:pt x="153" y="141"/>
                  </a:lnTo>
                  <a:lnTo>
                    <a:pt x="151" y="141"/>
                  </a:lnTo>
                  <a:lnTo>
                    <a:pt x="151" y="143"/>
                  </a:lnTo>
                  <a:lnTo>
                    <a:pt x="150" y="143"/>
                  </a:lnTo>
                  <a:lnTo>
                    <a:pt x="148" y="143"/>
                  </a:lnTo>
                  <a:lnTo>
                    <a:pt x="146" y="141"/>
                  </a:lnTo>
                  <a:lnTo>
                    <a:pt x="145" y="139"/>
                  </a:lnTo>
                  <a:lnTo>
                    <a:pt x="143" y="139"/>
                  </a:lnTo>
                  <a:lnTo>
                    <a:pt x="143" y="136"/>
                  </a:lnTo>
                  <a:lnTo>
                    <a:pt x="142" y="136"/>
                  </a:lnTo>
                  <a:lnTo>
                    <a:pt x="142" y="135"/>
                  </a:lnTo>
                  <a:lnTo>
                    <a:pt x="140" y="133"/>
                  </a:lnTo>
                  <a:lnTo>
                    <a:pt x="142" y="131"/>
                  </a:lnTo>
                  <a:lnTo>
                    <a:pt x="142" y="130"/>
                  </a:lnTo>
                  <a:lnTo>
                    <a:pt x="140" y="130"/>
                  </a:lnTo>
                  <a:lnTo>
                    <a:pt x="142" y="128"/>
                  </a:lnTo>
                  <a:lnTo>
                    <a:pt x="143" y="126"/>
                  </a:lnTo>
                  <a:lnTo>
                    <a:pt x="142" y="125"/>
                  </a:lnTo>
                  <a:lnTo>
                    <a:pt x="140" y="123"/>
                  </a:lnTo>
                  <a:lnTo>
                    <a:pt x="140" y="122"/>
                  </a:lnTo>
                  <a:lnTo>
                    <a:pt x="140" y="120"/>
                  </a:lnTo>
                  <a:lnTo>
                    <a:pt x="138" y="120"/>
                  </a:lnTo>
                  <a:lnTo>
                    <a:pt x="137" y="118"/>
                  </a:lnTo>
                  <a:lnTo>
                    <a:pt x="137" y="117"/>
                  </a:lnTo>
                  <a:lnTo>
                    <a:pt x="135" y="118"/>
                  </a:lnTo>
                  <a:lnTo>
                    <a:pt x="133" y="118"/>
                  </a:lnTo>
                  <a:lnTo>
                    <a:pt x="133" y="120"/>
                  </a:lnTo>
                  <a:lnTo>
                    <a:pt x="133" y="122"/>
                  </a:lnTo>
                  <a:lnTo>
                    <a:pt x="132" y="122"/>
                  </a:lnTo>
                  <a:lnTo>
                    <a:pt x="132" y="123"/>
                  </a:lnTo>
                  <a:lnTo>
                    <a:pt x="130" y="123"/>
                  </a:lnTo>
                  <a:lnTo>
                    <a:pt x="127" y="130"/>
                  </a:lnTo>
                  <a:lnTo>
                    <a:pt x="127" y="131"/>
                  </a:lnTo>
                  <a:lnTo>
                    <a:pt x="127" y="133"/>
                  </a:lnTo>
                  <a:lnTo>
                    <a:pt x="127" y="135"/>
                  </a:lnTo>
                  <a:lnTo>
                    <a:pt x="127" y="136"/>
                  </a:lnTo>
                  <a:lnTo>
                    <a:pt x="125" y="136"/>
                  </a:lnTo>
                  <a:lnTo>
                    <a:pt x="125" y="138"/>
                  </a:lnTo>
                  <a:lnTo>
                    <a:pt x="122" y="139"/>
                  </a:lnTo>
                  <a:lnTo>
                    <a:pt x="122" y="141"/>
                  </a:lnTo>
                  <a:lnTo>
                    <a:pt x="122" y="144"/>
                  </a:lnTo>
                  <a:lnTo>
                    <a:pt x="120" y="146"/>
                  </a:lnTo>
                  <a:lnTo>
                    <a:pt x="120" y="148"/>
                  </a:lnTo>
                  <a:lnTo>
                    <a:pt x="119" y="149"/>
                  </a:lnTo>
                  <a:lnTo>
                    <a:pt x="119" y="151"/>
                  </a:lnTo>
                  <a:lnTo>
                    <a:pt x="117" y="152"/>
                  </a:lnTo>
                  <a:lnTo>
                    <a:pt x="116" y="154"/>
                  </a:lnTo>
                  <a:lnTo>
                    <a:pt x="116" y="156"/>
                  </a:lnTo>
                  <a:lnTo>
                    <a:pt x="116" y="157"/>
                  </a:lnTo>
                  <a:lnTo>
                    <a:pt x="114" y="159"/>
                  </a:lnTo>
                  <a:lnTo>
                    <a:pt x="112" y="161"/>
                  </a:lnTo>
                  <a:lnTo>
                    <a:pt x="111" y="161"/>
                  </a:lnTo>
                  <a:lnTo>
                    <a:pt x="111" y="162"/>
                  </a:lnTo>
                  <a:lnTo>
                    <a:pt x="109" y="164"/>
                  </a:lnTo>
                  <a:lnTo>
                    <a:pt x="109" y="165"/>
                  </a:lnTo>
                  <a:lnTo>
                    <a:pt x="109" y="167"/>
                  </a:lnTo>
                  <a:lnTo>
                    <a:pt x="111" y="169"/>
                  </a:lnTo>
                  <a:lnTo>
                    <a:pt x="109" y="170"/>
                  </a:lnTo>
                  <a:lnTo>
                    <a:pt x="109" y="172"/>
                  </a:lnTo>
                  <a:lnTo>
                    <a:pt x="107" y="174"/>
                  </a:lnTo>
                  <a:lnTo>
                    <a:pt x="107" y="175"/>
                  </a:lnTo>
                  <a:lnTo>
                    <a:pt x="104" y="180"/>
                  </a:lnTo>
                  <a:lnTo>
                    <a:pt x="104" y="182"/>
                  </a:lnTo>
                  <a:lnTo>
                    <a:pt x="98" y="191"/>
                  </a:lnTo>
                  <a:lnTo>
                    <a:pt x="103" y="195"/>
                  </a:lnTo>
                  <a:lnTo>
                    <a:pt x="112" y="201"/>
                  </a:lnTo>
                  <a:lnTo>
                    <a:pt x="111" y="204"/>
                  </a:lnTo>
                  <a:lnTo>
                    <a:pt x="111" y="208"/>
                  </a:lnTo>
                  <a:lnTo>
                    <a:pt x="109" y="209"/>
                  </a:lnTo>
                  <a:lnTo>
                    <a:pt x="109" y="213"/>
                  </a:lnTo>
                  <a:lnTo>
                    <a:pt x="111" y="214"/>
                  </a:lnTo>
                  <a:lnTo>
                    <a:pt x="111" y="216"/>
                  </a:lnTo>
                  <a:lnTo>
                    <a:pt x="111" y="217"/>
                  </a:lnTo>
                  <a:lnTo>
                    <a:pt x="111" y="219"/>
                  </a:lnTo>
                  <a:lnTo>
                    <a:pt x="112" y="221"/>
                  </a:lnTo>
                  <a:lnTo>
                    <a:pt x="109" y="221"/>
                  </a:lnTo>
                  <a:lnTo>
                    <a:pt x="109" y="222"/>
                  </a:lnTo>
                  <a:lnTo>
                    <a:pt x="109" y="224"/>
                  </a:lnTo>
                  <a:lnTo>
                    <a:pt x="109" y="226"/>
                  </a:lnTo>
                  <a:lnTo>
                    <a:pt x="111" y="226"/>
                  </a:lnTo>
                  <a:lnTo>
                    <a:pt x="111" y="227"/>
                  </a:lnTo>
                  <a:lnTo>
                    <a:pt x="109" y="229"/>
                  </a:lnTo>
                  <a:lnTo>
                    <a:pt x="109" y="230"/>
                  </a:lnTo>
                  <a:lnTo>
                    <a:pt x="111" y="230"/>
                  </a:lnTo>
                  <a:lnTo>
                    <a:pt x="112" y="230"/>
                  </a:lnTo>
                  <a:lnTo>
                    <a:pt x="112" y="232"/>
                  </a:lnTo>
                  <a:lnTo>
                    <a:pt x="112" y="234"/>
                  </a:lnTo>
                  <a:lnTo>
                    <a:pt x="112" y="235"/>
                  </a:lnTo>
                  <a:lnTo>
                    <a:pt x="112" y="237"/>
                  </a:lnTo>
                  <a:lnTo>
                    <a:pt x="111" y="235"/>
                  </a:lnTo>
                  <a:lnTo>
                    <a:pt x="109" y="235"/>
                  </a:lnTo>
                  <a:lnTo>
                    <a:pt x="109" y="234"/>
                  </a:lnTo>
                  <a:lnTo>
                    <a:pt x="109" y="235"/>
                  </a:lnTo>
                  <a:lnTo>
                    <a:pt x="107" y="234"/>
                  </a:lnTo>
                  <a:lnTo>
                    <a:pt x="106" y="232"/>
                  </a:lnTo>
                  <a:lnTo>
                    <a:pt x="103" y="232"/>
                  </a:lnTo>
                  <a:lnTo>
                    <a:pt x="99" y="230"/>
                  </a:lnTo>
                  <a:lnTo>
                    <a:pt x="98" y="230"/>
                  </a:lnTo>
                  <a:lnTo>
                    <a:pt x="96" y="230"/>
                  </a:lnTo>
                  <a:lnTo>
                    <a:pt x="96" y="229"/>
                  </a:lnTo>
                  <a:lnTo>
                    <a:pt x="94" y="229"/>
                  </a:lnTo>
                  <a:lnTo>
                    <a:pt x="93" y="229"/>
                  </a:lnTo>
                  <a:lnTo>
                    <a:pt x="91" y="229"/>
                  </a:lnTo>
                  <a:lnTo>
                    <a:pt x="91" y="227"/>
                  </a:lnTo>
                  <a:lnTo>
                    <a:pt x="90" y="227"/>
                  </a:lnTo>
                  <a:lnTo>
                    <a:pt x="88" y="227"/>
                  </a:lnTo>
                  <a:lnTo>
                    <a:pt x="88" y="226"/>
                  </a:lnTo>
                  <a:lnTo>
                    <a:pt x="90" y="226"/>
                  </a:lnTo>
                  <a:lnTo>
                    <a:pt x="88" y="224"/>
                  </a:lnTo>
                  <a:lnTo>
                    <a:pt x="86" y="224"/>
                  </a:lnTo>
                  <a:lnTo>
                    <a:pt x="86" y="222"/>
                  </a:lnTo>
                  <a:lnTo>
                    <a:pt x="86" y="221"/>
                  </a:lnTo>
                  <a:lnTo>
                    <a:pt x="88" y="221"/>
                  </a:lnTo>
                  <a:lnTo>
                    <a:pt x="86" y="221"/>
                  </a:lnTo>
                  <a:lnTo>
                    <a:pt x="86" y="219"/>
                  </a:lnTo>
                  <a:lnTo>
                    <a:pt x="86" y="217"/>
                  </a:lnTo>
                  <a:lnTo>
                    <a:pt x="86" y="216"/>
                  </a:lnTo>
                  <a:lnTo>
                    <a:pt x="86" y="214"/>
                  </a:lnTo>
                  <a:lnTo>
                    <a:pt x="85" y="214"/>
                  </a:lnTo>
                  <a:lnTo>
                    <a:pt x="85" y="213"/>
                  </a:lnTo>
                  <a:lnTo>
                    <a:pt x="83" y="211"/>
                  </a:lnTo>
                  <a:lnTo>
                    <a:pt x="81" y="211"/>
                  </a:lnTo>
                  <a:lnTo>
                    <a:pt x="80" y="209"/>
                  </a:lnTo>
                  <a:lnTo>
                    <a:pt x="78" y="209"/>
                  </a:lnTo>
                  <a:lnTo>
                    <a:pt x="78" y="208"/>
                  </a:lnTo>
                  <a:lnTo>
                    <a:pt x="77" y="208"/>
                  </a:lnTo>
                  <a:lnTo>
                    <a:pt x="78" y="206"/>
                  </a:lnTo>
                  <a:lnTo>
                    <a:pt x="78" y="208"/>
                  </a:lnTo>
                  <a:lnTo>
                    <a:pt x="78" y="206"/>
                  </a:lnTo>
                  <a:lnTo>
                    <a:pt x="78" y="204"/>
                  </a:lnTo>
                  <a:lnTo>
                    <a:pt x="77" y="203"/>
                  </a:lnTo>
                  <a:lnTo>
                    <a:pt x="75" y="203"/>
                  </a:lnTo>
                  <a:lnTo>
                    <a:pt x="75" y="201"/>
                  </a:lnTo>
                  <a:lnTo>
                    <a:pt x="73" y="200"/>
                  </a:lnTo>
                  <a:lnTo>
                    <a:pt x="73" y="201"/>
                  </a:lnTo>
                  <a:lnTo>
                    <a:pt x="72" y="201"/>
                  </a:lnTo>
                  <a:lnTo>
                    <a:pt x="72" y="200"/>
                  </a:lnTo>
                  <a:lnTo>
                    <a:pt x="70" y="201"/>
                  </a:lnTo>
                  <a:lnTo>
                    <a:pt x="68" y="200"/>
                  </a:lnTo>
                  <a:lnTo>
                    <a:pt x="68" y="198"/>
                  </a:lnTo>
                  <a:lnTo>
                    <a:pt x="67" y="198"/>
                  </a:lnTo>
                  <a:lnTo>
                    <a:pt x="64" y="196"/>
                  </a:lnTo>
                  <a:lnTo>
                    <a:pt x="65" y="196"/>
                  </a:lnTo>
                  <a:lnTo>
                    <a:pt x="65" y="195"/>
                  </a:lnTo>
                  <a:lnTo>
                    <a:pt x="64" y="193"/>
                  </a:lnTo>
                  <a:lnTo>
                    <a:pt x="62" y="193"/>
                  </a:lnTo>
                  <a:lnTo>
                    <a:pt x="62" y="191"/>
                  </a:lnTo>
                  <a:lnTo>
                    <a:pt x="60" y="191"/>
                  </a:lnTo>
                  <a:lnTo>
                    <a:pt x="59" y="191"/>
                  </a:lnTo>
                  <a:lnTo>
                    <a:pt x="57" y="190"/>
                  </a:lnTo>
                  <a:lnTo>
                    <a:pt x="57" y="188"/>
                  </a:lnTo>
                  <a:lnTo>
                    <a:pt x="55" y="188"/>
                  </a:lnTo>
                  <a:lnTo>
                    <a:pt x="57" y="188"/>
                  </a:lnTo>
                  <a:lnTo>
                    <a:pt x="55" y="187"/>
                  </a:lnTo>
                  <a:lnTo>
                    <a:pt x="55" y="185"/>
                  </a:lnTo>
                  <a:lnTo>
                    <a:pt x="55" y="183"/>
                  </a:lnTo>
                  <a:lnTo>
                    <a:pt x="54" y="183"/>
                  </a:lnTo>
                  <a:lnTo>
                    <a:pt x="54" y="182"/>
                  </a:lnTo>
                  <a:lnTo>
                    <a:pt x="52" y="182"/>
                  </a:lnTo>
                  <a:lnTo>
                    <a:pt x="52" y="183"/>
                  </a:lnTo>
                  <a:lnTo>
                    <a:pt x="50" y="183"/>
                  </a:lnTo>
                  <a:lnTo>
                    <a:pt x="50" y="182"/>
                  </a:lnTo>
                  <a:lnTo>
                    <a:pt x="49" y="182"/>
                  </a:lnTo>
                  <a:lnTo>
                    <a:pt x="49" y="183"/>
                  </a:lnTo>
                  <a:lnTo>
                    <a:pt x="47" y="183"/>
                  </a:lnTo>
                  <a:lnTo>
                    <a:pt x="46" y="183"/>
                  </a:lnTo>
                  <a:lnTo>
                    <a:pt x="46" y="185"/>
                  </a:lnTo>
                  <a:lnTo>
                    <a:pt x="46" y="183"/>
                  </a:lnTo>
                  <a:lnTo>
                    <a:pt x="44" y="183"/>
                  </a:lnTo>
                  <a:lnTo>
                    <a:pt x="44" y="185"/>
                  </a:lnTo>
                  <a:lnTo>
                    <a:pt x="42" y="185"/>
                  </a:lnTo>
                  <a:lnTo>
                    <a:pt x="41" y="183"/>
                  </a:lnTo>
                  <a:lnTo>
                    <a:pt x="39" y="183"/>
                  </a:lnTo>
                  <a:lnTo>
                    <a:pt x="39" y="182"/>
                  </a:lnTo>
                  <a:lnTo>
                    <a:pt x="37" y="180"/>
                  </a:lnTo>
                  <a:lnTo>
                    <a:pt x="37" y="182"/>
                  </a:lnTo>
                  <a:lnTo>
                    <a:pt x="37" y="180"/>
                  </a:lnTo>
                  <a:lnTo>
                    <a:pt x="36" y="180"/>
                  </a:lnTo>
                  <a:lnTo>
                    <a:pt x="36" y="178"/>
                  </a:lnTo>
                  <a:lnTo>
                    <a:pt x="34" y="178"/>
                  </a:lnTo>
                  <a:lnTo>
                    <a:pt x="36" y="177"/>
                  </a:lnTo>
                  <a:lnTo>
                    <a:pt x="34" y="177"/>
                  </a:lnTo>
                  <a:lnTo>
                    <a:pt x="34" y="175"/>
                  </a:lnTo>
                  <a:lnTo>
                    <a:pt x="33" y="175"/>
                  </a:lnTo>
                  <a:lnTo>
                    <a:pt x="33" y="174"/>
                  </a:lnTo>
                  <a:lnTo>
                    <a:pt x="34" y="174"/>
                  </a:lnTo>
                  <a:lnTo>
                    <a:pt x="33" y="174"/>
                  </a:lnTo>
                  <a:lnTo>
                    <a:pt x="33" y="172"/>
                  </a:lnTo>
                  <a:lnTo>
                    <a:pt x="33" y="170"/>
                  </a:lnTo>
                  <a:lnTo>
                    <a:pt x="31" y="170"/>
                  </a:lnTo>
                  <a:lnTo>
                    <a:pt x="29" y="170"/>
                  </a:lnTo>
                  <a:lnTo>
                    <a:pt x="28" y="170"/>
                  </a:lnTo>
                  <a:lnTo>
                    <a:pt x="28" y="172"/>
                  </a:lnTo>
                  <a:lnTo>
                    <a:pt x="29" y="172"/>
                  </a:lnTo>
                  <a:lnTo>
                    <a:pt x="28" y="172"/>
                  </a:lnTo>
                  <a:lnTo>
                    <a:pt x="28" y="174"/>
                  </a:lnTo>
                  <a:lnTo>
                    <a:pt x="28" y="172"/>
                  </a:lnTo>
                  <a:lnTo>
                    <a:pt x="26" y="172"/>
                  </a:lnTo>
                  <a:lnTo>
                    <a:pt x="26" y="174"/>
                  </a:lnTo>
                  <a:lnTo>
                    <a:pt x="24" y="174"/>
                  </a:lnTo>
                  <a:lnTo>
                    <a:pt x="23" y="174"/>
                  </a:lnTo>
                  <a:lnTo>
                    <a:pt x="23" y="172"/>
                  </a:lnTo>
                  <a:lnTo>
                    <a:pt x="21" y="172"/>
                  </a:lnTo>
                  <a:lnTo>
                    <a:pt x="20" y="170"/>
                  </a:lnTo>
                  <a:lnTo>
                    <a:pt x="20" y="169"/>
                  </a:lnTo>
                  <a:lnTo>
                    <a:pt x="18" y="169"/>
                  </a:lnTo>
                  <a:lnTo>
                    <a:pt x="18" y="167"/>
                  </a:lnTo>
                  <a:lnTo>
                    <a:pt x="16" y="167"/>
                  </a:lnTo>
                  <a:lnTo>
                    <a:pt x="16" y="165"/>
                  </a:lnTo>
                  <a:lnTo>
                    <a:pt x="18" y="165"/>
                  </a:lnTo>
                  <a:lnTo>
                    <a:pt x="18" y="164"/>
                  </a:lnTo>
                  <a:lnTo>
                    <a:pt x="20" y="164"/>
                  </a:lnTo>
                  <a:lnTo>
                    <a:pt x="21" y="165"/>
                  </a:lnTo>
                  <a:lnTo>
                    <a:pt x="23" y="165"/>
                  </a:lnTo>
                  <a:lnTo>
                    <a:pt x="26" y="165"/>
                  </a:lnTo>
                  <a:lnTo>
                    <a:pt x="28" y="167"/>
                  </a:lnTo>
                  <a:lnTo>
                    <a:pt x="29" y="167"/>
                  </a:lnTo>
                  <a:lnTo>
                    <a:pt x="31" y="167"/>
                  </a:lnTo>
                  <a:lnTo>
                    <a:pt x="33" y="167"/>
                  </a:lnTo>
                  <a:lnTo>
                    <a:pt x="33" y="169"/>
                  </a:lnTo>
                  <a:lnTo>
                    <a:pt x="34" y="169"/>
                  </a:lnTo>
                  <a:lnTo>
                    <a:pt x="34" y="167"/>
                  </a:lnTo>
                  <a:lnTo>
                    <a:pt x="33" y="167"/>
                  </a:lnTo>
                  <a:lnTo>
                    <a:pt x="34" y="167"/>
                  </a:lnTo>
                  <a:lnTo>
                    <a:pt x="33" y="167"/>
                  </a:lnTo>
                  <a:lnTo>
                    <a:pt x="34" y="167"/>
                  </a:lnTo>
                  <a:lnTo>
                    <a:pt x="34" y="165"/>
                  </a:lnTo>
                  <a:lnTo>
                    <a:pt x="33" y="165"/>
                  </a:lnTo>
                  <a:lnTo>
                    <a:pt x="33" y="164"/>
                  </a:lnTo>
                  <a:lnTo>
                    <a:pt x="31" y="164"/>
                  </a:lnTo>
                  <a:lnTo>
                    <a:pt x="31" y="162"/>
                  </a:lnTo>
                  <a:lnTo>
                    <a:pt x="31" y="161"/>
                  </a:lnTo>
                  <a:lnTo>
                    <a:pt x="29" y="161"/>
                  </a:lnTo>
                  <a:lnTo>
                    <a:pt x="29" y="159"/>
                  </a:lnTo>
                  <a:lnTo>
                    <a:pt x="31" y="159"/>
                  </a:lnTo>
                  <a:lnTo>
                    <a:pt x="29" y="157"/>
                  </a:lnTo>
                  <a:lnTo>
                    <a:pt x="31" y="157"/>
                  </a:lnTo>
                  <a:lnTo>
                    <a:pt x="33" y="157"/>
                  </a:lnTo>
                  <a:lnTo>
                    <a:pt x="34" y="157"/>
                  </a:lnTo>
                  <a:lnTo>
                    <a:pt x="36" y="157"/>
                  </a:lnTo>
                  <a:lnTo>
                    <a:pt x="36" y="159"/>
                  </a:lnTo>
                  <a:lnTo>
                    <a:pt x="37" y="159"/>
                  </a:lnTo>
                  <a:lnTo>
                    <a:pt x="37" y="161"/>
                  </a:lnTo>
                  <a:lnTo>
                    <a:pt x="39" y="162"/>
                  </a:lnTo>
                  <a:lnTo>
                    <a:pt x="39" y="164"/>
                  </a:lnTo>
                  <a:lnTo>
                    <a:pt x="39" y="162"/>
                  </a:lnTo>
                  <a:lnTo>
                    <a:pt x="39" y="161"/>
                  </a:lnTo>
                  <a:lnTo>
                    <a:pt x="39" y="159"/>
                  </a:lnTo>
                  <a:lnTo>
                    <a:pt x="39" y="157"/>
                  </a:lnTo>
                  <a:lnTo>
                    <a:pt x="37" y="156"/>
                  </a:lnTo>
                  <a:lnTo>
                    <a:pt x="37" y="154"/>
                  </a:lnTo>
                  <a:lnTo>
                    <a:pt x="36" y="156"/>
                  </a:lnTo>
                  <a:lnTo>
                    <a:pt x="34" y="156"/>
                  </a:lnTo>
                  <a:lnTo>
                    <a:pt x="33" y="156"/>
                  </a:lnTo>
                  <a:lnTo>
                    <a:pt x="31" y="156"/>
                  </a:lnTo>
                  <a:lnTo>
                    <a:pt x="31" y="154"/>
                  </a:lnTo>
                  <a:lnTo>
                    <a:pt x="31" y="152"/>
                  </a:lnTo>
                  <a:lnTo>
                    <a:pt x="31" y="151"/>
                  </a:lnTo>
                  <a:lnTo>
                    <a:pt x="29" y="151"/>
                  </a:lnTo>
                  <a:lnTo>
                    <a:pt x="29" y="152"/>
                  </a:lnTo>
                  <a:lnTo>
                    <a:pt x="28" y="152"/>
                  </a:lnTo>
                  <a:lnTo>
                    <a:pt x="28" y="154"/>
                  </a:lnTo>
                  <a:lnTo>
                    <a:pt x="26" y="154"/>
                  </a:lnTo>
                  <a:lnTo>
                    <a:pt x="26" y="156"/>
                  </a:lnTo>
                  <a:lnTo>
                    <a:pt x="28" y="156"/>
                  </a:lnTo>
                  <a:lnTo>
                    <a:pt x="29" y="156"/>
                  </a:lnTo>
                  <a:lnTo>
                    <a:pt x="31" y="156"/>
                  </a:lnTo>
                  <a:lnTo>
                    <a:pt x="29" y="157"/>
                  </a:lnTo>
                  <a:lnTo>
                    <a:pt x="29" y="159"/>
                  </a:lnTo>
                  <a:lnTo>
                    <a:pt x="28" y="161"/>
                  </a:lnTo>
                  <a:lnTo>
                    <a:pt x="28" y="162"/>
                  </a:lnTo>
                  <a:lnTo>
                    <a:pt x="26" y="161"/>
                  </a:lnTo>
                  <a:lnTo>
                    <a:pt x="26" y="162"/>
                  </a:lnTo>
                  <a:lnTo>
                    <a:pt x="24" y="162"/>
                  </a:lnTo>
                  <a:lnTo>
                    <a:pt x="23" y="164"/>
                  </a:lnTo>
                  <a:lnTo>
                    <a:pt x="21" y="164"/>
                  </a:lnTo>
                  <a:lnTo>
                    <a:pt x="20" y="164"/>
                  </a:lnTo>
                  <a:lnTo>
                    <a:pt x="20" y="162"/>
                  </a:lnTo>
                  <a:lnTo>
                    <a:pt x="18" y="162"/>
                  </a:lnTo>
                  <a:lnTo>
                    <a:pt x="16" y="162"/>
                  </a:lnTo>
                  <a:lnTo>
                    <a:pt x="15" y="162"/>
                  </a:lnTo>
                  <a:lnTo>
                    <a:pt x="13" y="162"/>
                  </a:lnTo>
                  <a:lnTo>
                    <a:pt x="11" y="162"/>
                  </a:lnTo>
                  <a:lnTo>
                    <a:pt x="10" y="162"/>
                  </a:lnTo>
                  <a:lnTo>
                    <a:pt x="8" y="162"/>
                  </a:lnTo>
                  <a:lnTo>
                    <a:pt x="7" y="161"/>
                  </a:lnTo>
                  <a:lnTo>
                    <a:pt x="5" y="156"/>
                  </a:lnTo>
                  <a:lnTo>
                    <a:pt x="3" y="148"/>
                  </a:lnTo>
                  <a:lnTo>
                    <a:pt x="3" y="146"/>
                  </a:lnTo>
                  <a:lnTo>
                    <a:pt x="5" y="144"/>
                  </a:lnTo>
                  <a:lnTo>
                    <a:pt x="13" y="139"/>
                  </a:lnTo>
                  <a:lnTo>
                    <a:pt x="15" y="136"/>
                  </a:lnTo>
                  <a:lnTo>
                    <a:pt x="16" y="136"/>
                  </a:lnTo>
                  <a:lnTo>
                    <a:pt x="18" y="136"/>
                  </a:lnTo>
                  <a:lnTo>
                    <a:pt x="16" y="135"/>
                  </a:lnTo>
                  <a:lnTo>
                    <a:pt x="16" y="131"/>
                  </a:lnTo>
                  <a:lnTo>
                    <a:pt x="13" y="126"/>
                  </a:lnTo>
                  <a:lnTo>
                    <a:pt x="13" y="125"/>
                  </a:lnTo>
                  <a:lnTo>
                    <a:pt x="13" y="122"/>
                  </a:lnTo>
                  <a:lnTo>
                    <a:pt x="7" y="122"/>
                  </a:lnTo>
                  <a:lnTo>
                    <a:pt x="5" y="120"/>
                  </a:lnTo>
                  <a:lnTo>
                    <a:pt x="3" y="120"/>
                  </a:lnTo>
                  <a:lnTo>
                    <a:pt x="3" y="118"/>
                  </a:lnTo>
                  <a:lnTo>
                    <a:pt x="3" y="117"/>
                  </a:lnTo>
                  <a:lnTo>
                    <a:pt x="2" y="115"/>
                  </a:lnTo>
                  <a:lnTo>
                    <a:pt x="2" y="113"/>
                  </a:lnTo>
                  <a:lnTo>
                    <a:pt x="2" y="112"/>
                  </a:lnTo>
                  <a:lnTo>
                    <a:pt x="0" y="110"/>
                  </a:lnTo>
                  <a:lnTo>
                    <a:pt x="0" y="109"/>
                  </a:lnTo>
                  <a:lnTo>
                    <a:pt x="2" y="107"/>
                  </a:lnTo>
                  <a:lnTo>
                    <a:pt x="7" y="100"/>
                  </a:lnTo>
                  <a:lnTo>
                    <a:pt x="7" y="99"/>
                  </a:lnTo>
                  <a:lnTo>
                    <a:pt x="7" y="95"/>
                  </a:lnTo>
                  <a:lnTo>
                    <a:pt x="5" y="86"/>
                  </a:lnTo>
                  <a:lnTo>
                    <a:pt x="5" y="84"/>
                  </a:lnTo>
                  <a:lnTo>
                    <a:pt x="7" y="82"/>
                  </a:lnTo>
                  <a:lnTo>
                    <a:pt x="10" y="81"/>
                  </a:lnTo>
                  <a:lnTo>
                    <a:pt x="16" y="78"/>
                  </a:lnTo>
                  <a:lnTo>
                    <a:pt x="18" y="76"/>
                  </a:lnTo>
                  <a:lnTo>
                    <a:pt x="18" y="71"/>
                  </a:lnTo>
                  <a:lnTo>
                    <a:pt x="16" y="68"/>
                  </a:lnTo>
                  <a:lnTo>
                    <a:pt x="16" y="60"/>
                  </a:lnTo>
                  <a:lnTo>
                    <a:pt x="16" y="58"/>
                  </a:lnTo>
                  <a:lnTo>
                    <a:pt x="20" y="50"/>
                  </a:lnTo>
                  <a:lnTo>
                    <a:pt x="21" y="50"/>
                  </a:lnTo>
                  <a:lnTo>
                    <a:pt x="21" y="48"/>
                  </a:lnTo>
                  <a:lnTo>
                    <a:pt x="20" y="47"/>
                  </a:lnTo>
                  <a:lnTo>
                    <a:pt x="20" y="45"/>
                  </a:lnTo>
                  <a:lnTo>
                    <a:pt x="20" y="43"/>
                  </a:lnTo>
                  <a:lnTo>
                    <a:pt x="23" y="42"/>
                  </a:lnTo>
                  <a:lnTo>
                    <a:pt x="28" y="39"/>
                  </a:lnTo>
                  <a:lnTo>
                    <a:pt x="34" y="34"/>
                  </a:lnTo>
                  <a:lnTo>
                    <a:pt x="33" y="32"/>
                  </a:lnTo>
                  <a:lnTo>
                    <a:pt x="33" y="30"/>
                  </a:lnTo>
                  <a:lnTo>
                    <a:pt x="34" y="30"/>
                  </a:lnTo>
                  <a:lnTo>
                    <a:pt x="36" y="30"/>
                  </a:lnTo>
                  <a:lnTo>
                    <a:pt x="36" y="29"/>
                  </a:lnTo>
                  <a:lnTo>
                    <a:pt x="39" y="29"/>
                  </a:lnTo>
                  <a:lnTo>
                    <a:pt x="41" y="29"/>
                  </a:lnTo>
                  <a:lnTo>
                    <a:pt x="42" y="30"/>
                  </a:lnTo>
                  <a:lnTo>
                    <a:pt x="44" y="32"/>
                  </a:lnTo>
                  <a:lnTo>
                    <a:pt x="46" y="34"/>
                  </a:lnTo>
                  <a:lnTo>
                    <a:pt x="46" y="35"/>
                  </a:lnTo>
                  <a:lnTo>
                    <a:pt x="44" y="37"/>
                  </a:lnTo>
                  <a:lnTo>
                    <a:pt x="46" y="39"/>
                  </a:lnTo>
                  <a:lnTo>
                    <a:pt x="47" y="39"/>
                  </a:lnTo>
                  <a:lnTo>
                    <a:pt x="49" y="39"/>
                  </a:lnTo>
                  <a:lnTo>
                    <a:pt x="49" y="40"/>
                  </a:lnTo>
                  <a:lnTo>
                    <a:pt x="49" y="42"/>
                  </a:lnTo>
                  <a:lnTo>
                    <a:pt x="50" y="43"/>
                  </a:lnTo>
                  <a:lnTo>
                    <a:pt x="52" y="43"/>
                  </a:lnTo>
                  <a:lnTo>
                    <a:pt x="54" y="45"/>
                  </a:lnTo>
                  <a:lnTo>
                    <a:pt x="54" y="43"/>
                  </a:lnTo>
                  <a:lnTo>
                    <a:pt x="55" y="42"/>
                  </a:lnTo>
                  <a:lnTo>
                    <a:pt x="55" y="40"/>
                  </a:lnTo>
                  <a:lnTo>
                    <a:pt x="55" y="37"/>
                  </a:lnTo>
                  <a:lnTo>
                    <a:pt x="54" y="35"/>
                  </a:lnTo>
                  <a:lnTo>
                    <a:pt x="54" y="34"/>
                  </a:lnTo>
                  <a:lnTo>
                    <a:pt x="57" y="34"/>
                  </a:lnTo>
                  <a:lnTo>
                    <a:pt x="59" y="32"/>
                  </a:lnTo>
                  <a:lnTo>
                    <a:pt x="59" y="30"/>
                  </a:lnTo>
                  <a:lnTo>
                    <a:pt x="57" y="30"/>
                  </a:lnTo>
                  <a:lnTo>
                    <a:pt x="55" y="29"/>
                  </a:lnTo>
                  <a:lnTo>
                    <a:pt x="54" y="27"/>
                  </a:lnTo>
                  <a:lnTo>
                    <a:pt x="54" y="26"/>
                  </a:lnTo>
                  <a:lnTo>
                    <a:pt x="52" y="24"/>
                  </a:lnTo>
                  <a:lnTo>
                    <a:pt x="52" y="21"/>
                  </a:lnTo>
                  <a:lnTo>
                    <a:pt x="52" y="17"/>
                  </a:lnTo>
                  <a:lnTo>
                    <a:pt x="50" y="14"/>
                  </a:lnTo>
                  <a:lnTo>
                    <a:pt x="49" y="13"/>
                  </a:lnTo>
                  <a:lnTo>
                    <a:pt x="47" y="13"/>
                  </a:lnTo>
                  <a:lnTo>
                    <a:pt x="46" y="14"/>
                  </a:lnTo>
                  <a:lnTo>
                    <a:pt x="44" y="13"/>
                  </a:lnTo>
                  <a:lnTo>
                    <a:pt x="44" y="11"/>
                  </a:lnTo>
                  <a:lnTo>
                    <a:pt x="42" y="11"/>
                  </a:lnTo>
                  <a:lnTo>
                    <a:pt x="41" y="9"/>
                  </a:lnTo>
                  <a:lnTo>
                    <a:pt x="42" y="8"/>
                  </a:lnTo>
                  <a:lnTo>
                    <a:pt x="42" y="6"/>
                  </a:lnTo>
                  <a:lnTo>
                    <a:pt x="44" y="4"/>
                  </a:lnTo>
                  <a:lnTo>
                    <a:pt x="44" y="0"/>
                  </a:lnTo>
                  <a:lnTo>
                    <a:pt x="46" y="0"/>
                  </a:lnTo>
                  <a:lnTo>
                    <a:pt x="49" y="0"/>
                  </a:lnTo>
                  <a:lnTo>
                    <a:pt x="50" y="1"/>
                  </a:lnTo>
                  <a:close/>
                </a:path>
              </a:pathLst>
            </a:custGeom>
            <a:solidFill>
              <a:srgbClr val="E5E5E5"/>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1202" name="Freeform 48">
              <a:extLst>
                <a:ext uri="{FF2B5EF4-FFF2-40B4-BE49-F238E27FC236}">
                  <a16:creationId xmlns:a16="http://schemas.microsoft.com/office/drawing/2014/main" id="{70467C97-DA6D-E6CB-79F2-2EDE2750CBC5}"/>
                </a:ext>
              </a:extLst>
            </p:cNvPr>
            <p:cNvSpPr>
              <a:spLocks/>
            </p:cNvSpPr>
            <p:nvPr/>
          </p:nvSpPr>
          <p:spPr bwMode="auto">
            <a:xfrm>
              <a:off x="5331" y="4737"/>
              <a:ext cx="272" cy="234"/>
            </a:xfrm>
            <a:custGeom>
              <a:avLst/>
              <a:gdLst>
                <a:gd name="T0" fmla="*/ 174 w 272"/>
                <a:gd name="T1" fmla="*/ 6 h 234"/>
                <a:gd name="T2" fmla="*/ 187 w 272"/>
                <a:gd name="T3" fmla="*/ 5 h 234"/>
                <a:gd name="T4" fmla="*/ 194 w 272"/>
                <a:gd name="T5" fmla="*/ 13 h 234"/>
                <a:gd name="T6" fmla="*/ 204 w 272"/>
                <a:gd name="T7" fmla="*/ 21 h 234"/>
                <a:gd name="T8" fmla="*/ 213 w 272"/>
                <a:gd name="T9" fmla="*/ 31 h 234"/>
                <a:gd name="T10" fmla="*/ 223 w 272"/>
                <a:gd name="T11" fmla="*/ 34 h 234"/>
                <a:gd name="T12" fmla="*/ 236 w 272"/>
                <a:gd name="T13" fmla="*/ 37 h 234"/>
                <a:gd name="T14" fmla="*/ 246 w 272"/>
                <a:gd name="T15" fmla="*/ 37 h 234"/>
                <a:gd name="T16" fmla="*/ 251 w 272"/>
                <a:gd name="T17" fmla="*/ 54 h 234"/>
                <a:gd name="T18" fmla="*/ 259 w 272"/>
                <a:gd name="T19" fmla="*/ 67 h 234"/>
                <a:gd name="T20" fmla="*/ 270 w 272"/>
                <a:gd name="T21" fmla="*/ 78 h 234"/>
                <a:gd name="T22" fmla="*/ 265 w 272"/>
                <a:gd name="T23" fmla="*/ 88 h 234"/>
                <a:gd name="T24" fmla="*/ 267 w 272"/>
                <a:gd name="T25" fmla="*/ 99 h 234"/>
                <a:gd name="T26" fmla="*/ 267 w 272"/>
                <a:gd name="T27" fmla="*/ 110 h 234"/>
                <a:gd name="T28" fmla="*/ 270 w 272"/>
                <a:gd name="T29" fmla="*/ 124 h 234"/>
                <a:gd name="T30" fmla="*/ 265 w 272"/>
                <a:gd name="T31" fmla="*/ 133 h 234"/>
                <a:gd name="T32" fmla="*/ 254 w 272"/>
                <a:gd name="T33" fmla="*/ 137 h 234"/>
                <a:gd name="T34" fmla="*/ 251 w 272"/>
                <a:gd name="T35" fmla="*/ 163 h 234"/>
                <a:gd name="T36" fmla="*/ 241 w 272"/>
                <a:gd name="T37" fmla="*/ 164 h 234"/>
                <a:gd name="T38" fmla="*/ 226 w 272"/>
                <a:gd name="T39" fmla="*/ 171 h 234"/>
                <a:gd name="T40" fmla="*/ 212 w 272"/>
                <a:gd name="T41" fmla="*/ 171 h 234"/>
                <a:gd name="T42" fmla="*/ 207 w 272"/>
                <a:gd name="T43" fmla="*/ 171 h 234"/>
                <a:gd name="T44" fmla="*/ 195 w 272"/>
                <a:gd name="T45" fmla="*/ 171 h 234"/>
                <a:gd name="T46" fmla="*/ 187 w 272"/>
                <a:gd name="T47" fmla="*/ 177 h 234"/>
                <a:gd name="T48" fmla="*/ 178 w 272"/>
                <a:gd name="T49" fmla="*/ 176 h 234"/>
                <a:gd name="T50" fmla="*/ 165 w 272"/>
                <a:gd name="T51" fmla="*/ 189 h 234"/>
                <a:gd name="T52" fmla="*/ 160 w 272"/>
                <a:gd name="T53" fmla="*/ 198 h 234"/>
                <a:gd name="T54" fmla="*/ 155 w 272"/>
                <a:gd name="T55" fmla="*/ 208 h 234"/>
                <a:gd name="T56" fmla="*/ 145 w 272"/>
                <a:gd name="T57" fmla="*/ 210 h 234"/>
                <a:gd name="T58" fmla="*/ 140 w 272"/>
                <a:gd name="T59" fmla="*/ 218 h 234"/>
                <a:gd name="T60" fmla="*/ 132 w 272"/>
                <a:gd name="T61" fmla="*/ 223 h 234"/>
                <a:gd name="T62" fmla="*/ 121 w 272"/>
                <a:gd name="T63" fmla="*/ 219 h 234"/>
                <a:gd name="T64" fmla="*/ 103 w 272"/>
                <a:gd name="T65" fmla="*/ 228 h 234"/>
                <a:gd name="T66" fmla="*/ 88 w 272"/>
                <a:gd name="T67" fmla="*/ 231 h 234"/>
                <a:gd name="T68" fmla="*/ 62 w 272"/>
                <a:gd name="T69" fmla="*/ 226 h 234"/>
                <a:gd name="T70" fmla="*/ 51 w 272"/>
                <a:gd name="T71" fmla="*/ 228 h 234"/>
                <a:gd name="T72" fmla="*/ 38 w 272"/>
                <a:gd name="T73" fmla="*/ 223 h 234"/>
                <a:gd name="T74" fmla="*/ 21 w 272"/>
                <a:gd name="T75" fmla="*/ 200 h 234"/>
                <a:gd name="T76" fmla="*/ 13 w 272"/>
                <a:gd name="T77" fmla="*/ 189 h 234"/>
                <a:gd name="T78" fmla="*/ 7 w 272"/>
                <a:gd name="T79" fmla="*/ 174 h 234"/>
                <a:gd name="T80" fmla="*/ 12 w 272"/>
                <a:gd name="T81" fmla="*/ 169 h 234"/>
                <a:gd name="T82" fmla="*/ 10 w 272"/>
                <a:gd name="T83" fmla="*/ 159 h 234"/>
                <a:gd name="T84" fmla="*/ 2 w 272"/>
                <a:gd name="T85" fmla="*/ 150 h 234"/>
                <a:gd name="T86" fmla="*/ 0 w 272"/>
                <a:gd name="T87" fmla="*/ 143 h 234"/>
                <a:gd name="T88" fmla="*/ 7 w 272"/>
                <a:gd name="T89" fmla="*/ 132 h 234"/>
                <a:gd name="T90" fmla="*/ 4 w 272"/>
                <a:gd name="T91" fmla="*/ 122 h 234"/>
                <a:gd name="T92" fmla="*/ 5 w 272"/>
                <a:gd name="T93" fmla="*/ 110 h 234"/>
                <a:gd name="T94" fmla="*/ 5 w 272"/>
                <a:gd name="T95" fmla="*/ 99 h 234"/>
                <a:gd name="T96" fmla="*/ 17 w 272"/>
                <a:gd name="T97" fmla="*/ 91 h 234"/>
                <a:gd name="T98" fmla="*/ 25 w 272"/>
                <a:gd name="T99" fmla="*/ 83 h 234"/>
                <a:gd name="T100" fmla="*/ 21 w 272"/>
                <a:gd name="T101" fmla="*/ 71 h 234"/>
                <a:gd name="T102" fmla="*/ 30 w 272"/>
                <a:gd name="T103" fmla="*/ 63 h 234"/>
                <a:gd name="T104" fmla="*/ 38 w 272"/>
                <a:gd name="T105" fmla="*/ 57 h 234"/>
                <a:gd name="T106" fmla="*/ 47 w 272"/>
                <a:gd name="T107" fmla="*/ 50 h 234"/>
                <a:gd name="T108" fmla="*/ 57 w 272"/>
                <a:gd name="T109" fmla="*/ 41 h 234"/>
                <a:gd name="T110" fmla="*/ 78 w 272"/>
                <a:gd name="T111" fmla="*/ 49 h 234"/>
                <a:gd name="T112" fmla="*/ 91 w 272"/>
                <a:gd name="T113" fmla="*/ 26 h 234"/>
                <a:gd name="T114" fmla="*/ 103 w 272"/>
                <a:gd name="T115" fmla="*/ 28 h 234"/>
                <a:gd name="T116" fmla="*/ 114 w 272"/>
                <a:gd name="T117" fmla="*/ 26 h 234"/>
                <a:gd name="T118" fmla="*/ 126 w 272"/>
                <a:gd name="T119" fmla="*/ 21 h 234"/>
                <a:gd name="T120" fmla="*/ 127 w 272"/>
                <a:gd name="T121" fmla="*/ 8 h 234"/>
                <a:gd name="T122" fmla="*/ 142 w 272"/>
                <a:gd name="T123" fmla="*/ 16 h 234"/>
                <a:gd name="T124" fmla="*/ 156 w 272"/>
                <a:gd name="T125" fmla="*/ 13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72" h="234">
                  <a:moveTo>
                    <a:pt x="156" y="13"/>
                  </a:moveTo>
                  <a:lnTo>
                    <a:pt x="163" y="11"/>
                  </a:lnTo>
                  <a:lnTo>
                    <a:pt x="165" y="11"/>
                  </a:lnTo>
                  <a:lnTo>
                    <a:pt x="168" y="10"/>
                  </a:lnTo>
                  <a:lnTo>
                    <a:pt x="171" y="10"/>
                  </a:lnTo>
                  <a:lnTo>
                    <a:pt x="173" y="8"/>
                  </a:lnTo>
                  <a:lnTo>
                    <a:pt x="174" y="6"/>
                  </a:lnTo>
                  <a:lnTo>
                    <a:pt x="176" y="6"/>
                  </a:lnTo>
                  <a:lnTo>
                    <a:pt x="178" y="3"/>
                  </a:lnTo>
                  <a:lnTo>
                    <a:pt x="179" y="2"/>
                  </a:lnTo>
                  <a:lnTo>
                    <a:pt x="179" y="0"/>
                  </a:lnTo>
                  <a:lnTo>
                    <a:pt x="181" y="2"/>
                  </a:lnTo>
                  <a:lnTo>
                    <a:pt x="184" y="3"/>
                  </a:lnTo>
                  <a:lnTo>
                    <a:pt x="187" y="5"/>
                  </a:lnTo>
                  <a:lnTo>
                    <a:pt x="189" y="6"/>
                  </a:lnTo>
                  <a:lnTo>
                    <a:pt x="189" y="8"/>
                  </a:lnTo>
                  <a:lnTo>
                    <a:pt x="191" y="8"/>
                  </a:lnTo>
                  <a:lnTo>
                    <a:pt x="192" y="10"/>
                  </a:lnTo>
                  <a:lnTo>
                    <a:pt x="192" y="11"/>
                  </a:lnTo>
                  <a:lnTo>
                    <a:pt x="194" y="11"/>
                  </a:lnTo>
                  <a:lnTo>
                    <a:pt x="194" y="13"/>
                  </a:lnTo>
                  <a:lnTo>
                    <a:pt x="195" y="13"/>
                  </a:lnTo>
                  <a:lnTo>
                    <a:pt x="197" y="15"/>
                  </a:lnTo>
                  <a:lnTo>
                    <a:pt x="199" y="18"/>
                  </a:lnTo>
                  <a:lnTo>
                    <a:pt x="200" y="19"/>
                  </a:lnTo>
                  <a:lnTo>
                    <a:pt x="202" y="19"/>
                  </a:lnTo>
                  <a:lnTo>
                    <a:pt x="204" y="19"/>
                  </a:lnTo>
                  <a:lnTo>
                    <a:pt x="204" y="21"/>
                  </a:lnTo>
                  <a:lnTo>
                    <a:pt x="205" y="23"/>
                  </a:lnTo>
                  <a:lnTo>
                    <a:pt x="205" y="24"/>
                  </a:lnTo>
                  <a:lnTo>
                    <a:pt x="207" y="26"/>
                  </a:lnTo>
                  <a:lnTo>
                    <a:pt x="207" y="28"/>
                  </a:lnTo>
                  <a:lnTo>
                    <a:pt x="210" y="28"/>
                  </a:lnTo>
                  <a:lnTo>
                    <a:pt x="213" y="29"/>
                  </a:lnTo>
                  <a:lnTo>
                    <a:pt x="213" y="31"/>
                  </a:lnTo>
                  <a:lnTo>
                    <a:pt x="215" y="31"/>
                  </a:lnTo>
                  <a:lnTo>
                    <a:pt x="217" y="31"/>
                  </a:lnTo>
                  <a:lnTo>
                    <a:pt x="217" y="32"/>
                  </a:lnTo>
                  <a:lnTo>
                    <a:pt x="218" y="31"/>
                  </a:lnTo>
                  <a:lnTo>
                    <a:pt x="220" y="32"/>
                  </a:lnTo>
                  <a:lnTo>
                    <a:pt x="221" y="32"/>
                  </a:lnTo>
                  <a:lnTo>
                    <a:pt x="223" y="34"/>
                  </a:lnTo>
                  <a:lnTo>
                    <a:pt x="225" y="34"/>
                  </a:lnTo>
                  <a:lnTo>
                    <a:pt x="226" y="34"/>
                  </a:lnTo>
                  <a:lnTo>
                    <a:pt x="230" y="34"/>
                  </a:lnTo>
                  <a:lnTo>
                    <a:pt x="231" y="36"/>
                  </a:lnTo>
                  <a:lnTo>
                    <a:pt x="233" y="36"/>
                  </a:lnTo>
                  <a:lnTo>
                    <a:pt x="234" y="37"/>
                  </a:lnTo>
                  <a:lnTo>
                    <a:pt x="236" y="37"/>
                  </a:lnTo>
                  <a:lnTo>
                    <a:pt x="238" y="37"/>
                  </a:lnTo>
                  <a:lnTo>
                    <a:pt x="238" y="36"/>
                  </a:lnTo>
                  <a:lnTo>
                    <a:pt x="239" y="37"/>
                  </a:lnTo>
                  <a:lnTo>
                    <a:pt x="241" y="37"/>
                  </a:lnTo>
                  <a:lnTo>
                    <a:pt x="243" y="39"/>
                  </a:lnTo>
                  <a:lnTo>
                    <a:pt x="244" y="37"/>
                  </a:lnTo>
                  <a:lnTo>
                    <a:pt x="246" y="37"/>
                  </a:lnTo>
                  <a:lnTo>
                    <a:pt x="246" y="39"/>
                  </a:lnTo>
                  <a:lnTo>
                    <a:pt x="246" y="41"/>
                  </a:lnTo>
                  <a:lnTo>
                    <a:pt x="247" y="42"/>
                  </a:lnTo>
                  <a:lnTo>
                    <a:pt x="249" y="49"/>
                  </a:lnTo>
                  <a:lnTo>
                    <a:pt x="249" y="52"/>
                  </a:lnTo>
                  <a:lnTo>
                    <a:pt x="251" y="52"/>
                  </a:lnTo>
                  <a:lnTo>
                    <a:pt x="251" y="54"/>
                  </a:lnTo>
                  <a:lnTo>
                    <a:pt x="252" y="55"/>
                  </a:lnTo>
                  <a:lnTo>
                    <a:pt x="252" y="57"/>
                  </a:lnTo>
                  <a:lnTo>
                    <a:pt x="254" y="57"/>
                  </a:lnTo>
                  <a:lnTo>
                    <a:pt x="256" y="58"/>
                  </a:lnTo>
                  <a:lnTo>
                    <a:pt x="257" y="62"/>
                  </a:lnTo>
                  <a:lnTo>
                    <a:pt x="257" y="65"/>
                  </a:lnTo>
                  <a:lnTo>
                    <a:pt x="259" y="67"/>
                  </a:lnTo>
                  <a:lnTo>
                    <a:pt x="260" y="68"/>
                  </a:lnTo>
                  <a:lnTo>
                    <a:pt x="262" y="70"/>
                  </a:lnTo>
                  <a:lnTo>
                    <a:pt x="262" y="71"/>
                  </a:lnTo>
                  <a:lnTo>
                    <a:pt x="267" y="71"/>
                  </a:lnTo>
                  <a:lnTo>
                    <a:pt x="267" y="73"/>
                  </a:lnTo>
                  <a:lnTo>
                    <a:pt x="270" y="76"/>
                  </a:lnTo>
                  <a:lnTo>
                    <a:pt x="270" y="78"/>
                  </a:lnTo>
                  <a:lnTo>
                    <a:pt x="270" y="80"/>
                  </a:lnTo>
                  <a:lnTo>
                    <a:pt x="269" y="81"/>
                  </a:lnTo>
                  <a:lnTo>
                    <a:pt x="269" y="83"/>
                  </a:lnTo>
                  <a:lnTo>
                    <a:pt x="267" y="84"/>
                  </a:lnTo>
                  <a:lnTo>
                    <a:pt x="267" y="86"/>
                  </a:lnTo>
                  <a:lnTo>
                    <a:pt x="267" y="88"/>
                  </a:lnTo>
                  <a:lnTo>
                    <a:pt x="265" y="88"/>
                  </a:lnTo>
                  <a:lnTo>
                    <a:pt x="264" y="89"/>
                  </a:lnTo>
                  <a:lnTo>
                    <a:pt x="264" y="91"/>
                  </a:lnTo>
                  <a:lnTo>
                    <a:pt x="264" y="93"/>
                  </a:lnTo>
                  <a:lnTo>
                    <a:pt x="264" y="94"/>
                  </a:lnTo>
                  <a:lnTo>
                    <a:pt x="264" y="96"/>
                  </a:lnTo>
                  <a:lnTo>
                    <a:pt x="265" y="97"/>
                  </a:lnTo>
                  <a:lnTo>
                    <a:pt x="267" y="99"/>
                  </a:lnTo>
                  <a:lnTo>
                    <a:pt x="267" y="101"/>
                  </a:lnTo>
                  <a:lnTo>
                    <a:pt x="267" y="102"/>
                  </a:lnTo>
                  <a:lnTo>
                    <a:pt x="267" y="104"/>
                  </a:lnTo>
                  <a:lnTo>
                    <a:pt x="267" y="106"/>
                  </a:lnTo>
                  <a:lnTo>
                    <a:pt x="269" y="107"/>
                  </a:lnTo>
                  <a:lnTo>
                    <a:pt x="269" y="109"/>
                  </a:lnTo>
                  <a:lnTo>
                    <a:pt x="267" y="110"/>
                  </a:lnTo>
                  <a:lnTo>
                    <a:pt x="269" y="112"/>
                  </a:lnTo>
                  <a:lnTo>
                    <a:pt x="270" y="115"/>
                  </a:lnTo>
                  <a:lnTo>
                    <a:pt x="270" y="117"/>
                  </a:lnTo>
                  <a:lnTo>
                    <a:pt x="270" y="119"/>
                  </a:lnTo>
                  <a:lnTo>
                    <a:pt x="269" y="120"/>
                  </a:lnTo>
                  <a:lnTo>
                    <a:pt x="270" y="122"/>
                  </a:lnTo>
                  <a:lnTo>
                    <a:pt x="270" y="124"/>
                  </a:lnTo>
                  <a:lnTo>
                    <a:pt x="270" y="127"/>
                  </a:lnTo>
                  <a:lnTo>
                    <a:pt x="272" y="128"/>
                  </a:lnTo>
                  <a:lnTo>
                    <a:pt x="272" y="130"/>
                  </a:lnTo>
                  <a:lnTo>
                    <a:pt x="270" y="132"/>
                  </a:lnTo>
                  <a:lnTo>
                    <a:pt x="269" y="133"/>
                  </a:lnTo>
                  <a:lnTo>
                    <a:pt x="267" y="133"/>
                  </a:lnTo>
                  <a:lnTo>
                    <a:pt x="265" y="133"/>
                  </a:lnTo>
                  <a:lnTo>
                    <a:pt x="264" y="133"/>
                  </a:lnTo>
                  <a:lnTo>
                    <a:pt x="262" y="133"/>
                  </a:lnTo>
                  <a:lnTo>
                    <a:pt x="260" y="133"/>
                  </a:lnTo>
                  <a:lnTo>
                    <a:pt x="260" y="135"/>
                  </a:lnTo>
                  <a:lnTo>
                    <a:pt x="259" y="135"/>
                  </a:lnTo>
                  <a:lnTo>
                    <a:pt x="256" y="135"/>
                  </a:lnTo>
                  <a:lnTo>
                    <a:pt x="254" y="137"/>
                  </a:lnTo>
                  <a:lnTo>
                    <a:pt x="251" y="138"/>
                  </a:lnTo>
                  <a:lnTo>
                    <a:pt x="251" y="141"/>
                  </a:lnTo>
                  <a:lnTo>
                    <a:pt x="251" y="143"/>
                  </a:lnTo>
                  <a:lnTo>
                    <a:pt x="251" y="145"/>
                  </a:lnTo>
                  <a:lnTo>
                    <a:pt x="251" y="146"/>
                  </a:lnTo>
                  <a:lnTo>
                    <a:pt x="252" y="161"/>
                  </a:lnTo>
                  <a:lnTo>
                    <a:pt x="251" y="163"/>
                  </a:lnTo>
                  <a:lnTo>
                    <a:pt x="249" y="164"/>
                  </a:lnTo>
                  <a:lnTo>
                    <a:pt x="247" y="163"/>
                  </a:lnTo>
                  <a:lnTo>
                    <a:pt x="246" y="163"/>
                  </a:lnTo>
                  <a:lnTo>
                    <a:pt x="243" y="159"/>
                  </a:lnTo>
                  <a:lnTo>
                    <a:pt x="241" y="159"/>
                  </a:lnTo>
                  <a:lnTo>
                    <a:pt x="241" y="163"/>
                  </a:lnTo>
                  <a:lnTo>
                    <a:pt x="241" y="164"/>
                  </a:lnTo>
                  <a:lnTo>
                    <a:pt x="239" y="167"/>
                  </a:lnTo>
                  <a:lnTo>
                    <a:pt x="238" y="167"/>
                  </a:lnTo>
                  <a:lnTo>
                    <a:pt x="238" y="169"/>
                  </a:lnTo>
                  <a:lnTo>
                    <a:pt x="236" y="171"/>
                  </a:lnTo>
                  <a:lnTo>
                    <a:pt x="234" y="171"/>
                  </a:lnTo>
                  <a:lnTo>
                    <a:pt x="233" y="169"/>
                  </a:lnTo>
                  <a:lnTo>
                    <a:pt x="226" y="171"/>
                  </a:lnTo>
                  <a:lnTo>
                    <a:pt x="225" y="171"/>
                  </a:lnTo>
                  <a:lnTo>
                    <a:pt x="223" y="172"/>
                  </a:lnTo>
                  <a:lnTo>
                    <a:pt x="218" y="172"/>
                  </a:lnTo>
                  <a:lnTo>
                    <a:pt x="217" y="172"/>
                  </a:lnTo>
                  <a:lnTo>
                    <a:pt x="215" y="171"/>
                  </a:lnTo>
                  <a:lnTo>
                    <a:pt x="215" y="172"/>
                  </a:lnTo>
                  <a:lnTo>
                    <a:pt x="212" y="171"/>
                  </a:lnTo>
                  <a:lnTo>
                    <a:pt x="212" y="172"/>
                  </a:lnTo>
                  <a:lnTo>
                    <a:pt x="210" y="172"/>
                  </a:lnTo>
                  <a:lnTo>
                    <a:pt x="208" y="172"/>
                  </a:lnTo>
                  <a:lnTo>
                    <a:pt x="208" y="174"/>
                  </a:lnTo>
                  <a:lnTo>
                    <a:pt x="208" y="172"/>
                  </a:lnTo>
                  <a:lnTo>
                    <a:pt x="207" y="172"/>
                  </a:lnTo>
                  <a:lnTo>
                    <a:pt x="207" y="171"/>
                  </a:lnTo>
                  <a:lnTo>
                    <a:pt x="205" y="171"/>
                  </a:lnTo>
                  <a:lnTo>
                    <a:pt x="204" y="171"/>
                  </a:lnTo>
                  <a:lnTo>
                    <a:pt x="202" y="171"/>
                  </a:lnTo>
                  <a:lnTo>
                    <a:pt x="200" y="169"/>
                  </a:lnTo>
                  <a:lnTo>
                    <a:pt x="197" y="171"/>
                  </a:lnTo>
                  <a:lnTo>
                    <a:pt x="195" y="169"/>
                  </a:lnTo>
                  <a:lnTo>
                    <a:pt x="195" y="171"/>
                  </a:lnTo>
                  <a:lnTo>
                    <a:pt x="194" y="171"/>
                  </a:lnTo>
                  <a:lnTo>
                    <a:pt x="192" y="171"/>
                  </a:lnTo>
                  <a:lnTo>
                    <a:pt x="192" y="172"/>
                  </a:lnTo>
                  <a:lnTo>
                    <a:pt x="191" y="172"/>
                  </a:lnTo>
                  <a:lnTo>
                    <a:pt x="189" y="176"/>
                  </a:lnTo>
                  <a:lnTo>
                    <a:pt x="189" y="177"/>
                  </a:lnTo>
                  <a:lnTo>
                    <a:pt x="187" y="177"/>
                  </a:lnTo>
                  <a:lnTo>
                    <a:pt x="186" y="177"/>
                  </a:lnTo>
                  <a:lnTo>
                    <a:pt x="184" y="176"/>
                  </a:lnTo>
                  <a:lnTo>
                    <a:pt x="182" y="177"/>
                  </a:lnTo>
                  <a:lnTo>
                    <a:pt x="182" y="176"/>
                  </a:lnTo>
                  <a:lnTo>
                    <a:pt x="181" y="174"/>
                  </a:lnTo>
                  <a:lnTo>
                    <a:pt x="179" y="174"/>
                  </a:lnTo>
                  <a:lnTo>
                    <a:pt x="178" y="176"/>
                  </a:lnTo>
                  <a:lnTo>
                    <a:pt x="176" y="177"/>
                  </a:lnTo>
                  <a:lnTo>
                    <a:pt x="173" y="179"/>
                  </a:lnTo>
                  <a:lnTo>
                    <a:pt x="171" y="179"/>
                  </a:lnTo>
                  <a:lnTo>
                    <a:pt x="168" y="182"/>
                  </a:lnTo>
                  <a:lnTo>
                    <a:pt x="166" y="184"/>
                  </a:lnTo>
                  <a:lnTo>
                    <a:pt x="165" y="185"/>
                  </a:lnTo>
                  <a:lnTo>
                    <a:pt x="165" y="189"/>
                  </a:lnTo>
                  <a:lnTo>
                    <a:pt x="165" y="190"/>
                  </a:lnTo>
                  <a:lnTo>
                    <a:pt x="165" y="192"/>
                  </a:lnTo>
                  <a:lnTo>
                    <a:pt x="165" y="193"/>
                  </a:lnTo>
                  <a:lnTo>
                    <a:pt x="163" y="193"/>
                  </a:lnTo>
                  <a:lnTo>
                    <a:pt x="163" y="195"/>
                  </a:lnTo>
                  <a:lnTo>
                    <a:pt x="161" y="195"/>
                  </a:lnTo>
                  <a:lnTo>
                    <a:pt x="160" y="198"/>
                  </a:lnTo>
                  <a:lnTo>
                    <a:pt x="160" y="200"/>
                  </a:lnTo>
                  <a:lnTo>
                    <a:pt x="158" y="202"/>
                  </a:lnTo>
                  <a:lnTo>
                    <a:pt x="156" y="203"/>
                  </a:lnTo>
                  <a:lnTo>
                    <a:pt x="155" y="203"/>
                  </a:lnTo>
                  <a:lnTo>
                    <a:pt x="155" y="206"/>
                  </a:lnTo>
                  <a:lnTo>
                    <a:pt x="156" y="208"/>
                  </a:lnTo>
                  <a:lnTo>
                    <a:pt x="155" y="208"/>
                  </a:lnTo>
                  <a:lnTo>
                    <a:pt x="155" y="210"/>
                  </a:lnTo>
                  <a:lnTo>
                    <a:pt x="155" y="211"/>
                  </a:lnTo>
                  <a:lnTo>
                    <a:pt x="152" y="211"/>
                  </a:lnTo>
                  <a:lnTo>
                    <a:pt x="150" y="211"/>
                  </a:lnTo>
                  <a:lnTo>
                    <a:pt x="148" y="211"/>
                  </a:lnTo>
                  <a:lnTo>
                    <a:pt x="147" y="211"/>
                  </a:lnTo>
                  <a:lnTo>
                    <a:pt x="145" y="210"/>
                  </a:lnTo>
                  <a:lnTo>
                    <a:pt x="143" y="210"/>
                  </a:lnTo>
                  <a:lnTo>
                    <a:pt x="143" y="211"/>
                  </a:lnTo>
                  <a:lnTo>
                    <a:pt x="142" y="213"/>
                  </a:lnTo>
                  <a:lnTo>
                    <a:pt x="142" y="215"/>
                  </a:lnTo>
                  <a:lnTo>
                    <a:pt x="142" y="216"/>
                  </a:lnTo>
                  <a:lnTo>
                    <a:pt x="142" y="218"/>
                  </a:lnTo>
                  <a:lnTo>
                    <a:pt x="140" y="218"/>
                  </a:lnTo>
                  <a:lnTo>
                    <a:pt x="139" y="218"/>
                  </a:lnTo>
                  <a:lnTo>
                    <a:pt x="139" y="219"/>
                  </a:lnTo>
                  <a:lnTo>
                    <a:pt x="137" y="219"/>
                  </a:lnTo>
                  <a:lnTo>
                    <a:pt x="137" y="221"/>
                  </a:lnTo>
                  <a:lnTo>
                    <a:pt x="135" y="221"/>
                  </a:lnTo>
                  <a:lnTo>
                    <a:pt x="135" y="223"/>
                  </a:lnTo>
                  <a:lnTo>
                    <a:pt x="132" y="223"/>
                  </a:lnTo>
                  <a:lnTo>
                    <a:pt x="132" y="221"/>
                  </a:lnTo>
                  <a:lnTo>
                    <a:pt x="130" y="221"/>
                  </a:lnTo>
                  <a:lnTo>
                    <a:pt x="127" y="219"/>
                  </a:lnTo>
                  <a:lnTo>
                    <a:pt x="127" y="218"/>
                  </a:lnTo>
                  <a:lnTo>
                    <a:pt x="126" y="218"/>
                  </a:lnTo>
                  <a:lnTo>
                    <a:pt x="122" y="218"/>
                  </a:lnTo>
                  <a:lnTo>
                    <a:pt x="121" y="219"/>
                  </a:lnTo>
                  <a:lnTo>
                    <a:pt x="119" y="219"/>
                  </a:lnTo>
                  <a:lnTo>
                    <a:pt x="117" y="218"/>
                  </a:lnTo>
                  <a:lnTo>
                    <a:pt x="114" y="218"/>
                  </a:lnTo>
                  <a:lnTo>
                    <a:pt x="114" y="219"/>
                  </a:lnTo>
                  <a:lnTo>
                    <a:pt x="111" y="224"/>
                  </a:lnTo>
                  <a:lnTo>
                    <a:pt x="108" y="226"/>
                  </a:lnTo>
                  <a:lnTo>
                    <a:pt x="103" y="228"/>
                  </a:lnTo>
                  <a:lnTo>
                    <a:pt x="99" y="229"/>
                  </a:lnTo>
                  <a:lnTo>
                    <a:pt x="98" y="229"/>
                  </a:lnTo>
                  <a:lnTo>
                    <a:pt x="96" y="228"/>
                  </a:lnTo>
                  <a:lnTo>
                    <a:pt x="93" y="228"/>
                  </a:lnTo>
                  <a:lnTo>
                    <a:pt x="91" y="228"/>
                  </a:lnTo>
                  <a:lnTo>
                    <a:pt x="90" y="229"/>
                  </a:lnTo>
                  <a:lnTo>
                    <a:pt x="88" y="231"/>
                  </a:lnTo>
                  <a:lnTo>
                    <a:pt x="85" y="232"/>
                  </a:lnTo>
                  <a:lnTo>
                    <a:pt x="69" y="234"/>
                  </a:lnTo>
                  <a:lnTo>
                    <a:pt x="69" y="231"/>
                  </a:lnTo>
                  <a:lnTo>
                    <a:pt x="69" y="229"/>
                  </a:lnTo>
                  <a:lnTo>
                    <a:pt x="67" y="228"/>
                  </a:lnTo>
                  <a:lnTo>
                    <a:pt x="64" y="226"/>
                  </a:lnTo>
                  <a:lnTo>
                    <a:pt x="62" y="226"/>
                  </a:lnTo>
                  <a:lnTo>
                    <a:pt x="60" y="226"/>
                  </a:lnTo>
                  <a:lnTo>
                    <a:pt x="59" y="226"/>
                  </a:lnTo>
                  <a:lnTo>
                    <a:pt x="54" y="224"/>
                  </a:lnTo>
                  <a:lnTo>
                    <a:pt x="52" y="224"/>
                  </a:lnTo>
                  <a:lnTo>
                    <a:pt x="52" y="226"/>
                  </a:lnTo>
                  <a:lnTo>
                    <a:pt x="52" y="228"/>
                  </a:lnTo>
                  <a:lnTo>
                    <a:pt x="51" y="228"/>
                  </a:lnTo>
                  <a:lnTo>
                    <a:pt x="51" y="229"/>
                  </a:lnTo>
                  <a:lnTo>
                    <a:pt x="51" y="231"/>
                  </a:lnTo>
                  <a:lnTo>
                    <a:pt x="49" y="231"/>
                  </a:lnTo>
                  <a:lnTo>
                    <a:pt x="47" y="231"/>
                  </a:lnTo>
                  <a:lnTo>
                    <a:pt x="44" y="231"/>
                  </a:lnTo>
                  <a:lnTo>
                    <a:pt x="41" y="231"/>
                  </a:lnTo>
                  <a:lnTo>
                    <a:pt x="38" y="223"/>
                  </a:lnTo>
                  <a:lnTo>
                    <a:pt x="33" y="210"/>
                  </a:lnTo>
                  <a:lnTo>
                    <a:pt x="31" y="206"/>
                  </a:lnTo>
                  <a:lnTo>
                    <a:pt x="23" y="206"/>
                  </a:lnTo>
                  <a:lnTo>
                    <a:pt x="21" y="205"/>
                  </a:lnTo>
                  <a:lnTo>
                    <a:pt x="21" y="203"/>
                  </a:lnTo>
                  <a:lnTo>
                    <a:pt x="21" y="202"/>
                  </a:lnTo>
                  <a:lnTo>
                    <a:pt x="21" y="200"/>
                  </a:lnTo>
                  <a:lnTo>
                    <a:pt x="20" y="198"/>
                  </a:lnTo>
                  <a:lnTo>
                    <a:pt x="18" y="195"/>
                  </a:lnTo>
                  <a:lnTo>
                    <a:pt x="17" y="193"/>
                  </a:lnTo>
                  <a:lnTo>
                    <a:pt x="15" y="193"/>
                  </a:lnTo>
                  <a:lnTo>
                    <a:pt x="15" y="192"/>
                  </a:lnTo>
                  <a:lnTo>
                    <a:pt x="13" y="190"/>
                  </a:lnTo>
                  <a:lnTo>
                    <a:pt x="13" y="189"/>
                  </a:lnTo>
                  <a:lnTo>
                    <a:pt x="12" y="189"/>
                  </a:lnTo>
                  <a:lnTo>
                    <a:pt x="12" y="187"/>
                  </a:lnTo>
                  <a:lnTo>
                    <a:pt x="12" y="185"/>
                  </a:lnTo>
                  <a:lnTo>
                    <a:pt x="10" y="184"/>
                  </a:lnTo>
                  <a:lnTo>
                    <a:pt x="10" y="180"/>
                  </a:lnTo>
                  <a:lnTo>
                    <a:pt x="10" y="177"/>
                  </a:lnTo>
                  <a:lnTo>
                    <a:pt x="7" y="174"/>
                  </a:lnTo>
                  <a:lnTo>
                    <a:pt x="8" y="172"/>
                  </a:lnTo>
                  <a:lnTo>
                    <a:pt x="10" y="172"/>
                  </a:lnTo>
                  <a:lnTo>
                    <a:pt x="10" y="174"/>
                  </a:lnTo>
                  <a:lnTo>
                    <a:pt x="12" y="172"/>
                  </a:lnTo>
                  <a:lnTo>
                    <a:pt x="10" y="171"/>
                  </a:lnTo>
                  <a:lnTo>
                    <a:pt x="12" y="171"/>
                  </a:lnTo>
                  <a:lnTo>
                    <a:pt x="12" y="169"/>
                  </a:lnTo>
                  <a:lnTo>
                    <a:pt x="13" y="167"/>
                  </a:lnTo>
                  <a:lnTo>
                    <a:pt x="13" y="166"/>
                  </a:lnTo>
                  <a:lnTo>
                    <a:pt x="13" y="164"/>
                  </a:lnTo>
                  <a:lnTo>
                    <a:pt x="13" y="163"/>
                  </a:lnTo>
                  <a:lnTo>
                    <a:pt x="13" y="161"/>
                  </a:lnTo>
                  <a:lnTo>
                    <a:pt x="12" y="161"/>
                  </a:lnTo>
                  <a:lnTo>
                    <a:pt x="10" y="159"/>
                  </a:lnTo>
                  <a:lnTo>
                    <a:pt x="8" y="159"/>
                  </a:lnTo>
                  <a:lnTo>
                    <a:pt x="7" y="158"/>
                  </a:lnTo>
                  <a:lnTo>
                    <a:pt x="7" y="156"/>
                  </a:lnTo>
                  <a:lnTo>
                    <a:pt x="7" y="154"/>
                  </a:lnTo>
                  <a:lnTo>
                    <a:pt x="5" y="151"/>
                  </a:lnTo>
                  <a:lnTo>
                    <a:pt x="4" y="151"/>
                  </a:lnTo>
                  <a:lnTo>
                    <a:pt x="2" y="150"/>
                  </a:lnTo>
                  <a:lnTo>
                    <a:pt x="0" y="150"/>
                  </a:lnTo>
                  <a:lnTo>
                    <a:pt x="0" y="148"/>
                  </a:lnTo>
                  <a:lnTo>
                    <a:pt x="0" y="146"/>
                  </a:lnTo>
                  <a:lnTo>
                    <a:pt x="2" y="146"/>
                  </a:lnTo>
                  <a:lnTo>
                    <a:pt x="2" y="145"/>
                  </a:lnTo>
                  <a:lnTo>
                    <a:pt x="0" y="145"/>
                  </a:lnTo>
                  <a:lnTo>
                    <a:pt x="0" y="143"/>
                  </a:lnTo>
                  <a:lnTo>
                    <a:pt x="2" y="143"/>
                  </a:lnTo>
                  <a:lnTo>
                    <a:pt x="4" y="143"/>
                  </a:lnTo>
                  <a:lnTo>
                    <a:pt x="5" y="141"/>
                  </a:lnTo>
                  <a:lnTo>
                    <a:pt x="7" y="140"/>
                  </a:lnTo>
                  <a:lnTo>
                    <a:pt x="10" y="138"/>
                  </a:lnTo>
                  <a:lnTo>
                    <a:pt x="8" y="135"/>
                  </a:lnTo>
                  <a:lnTo>
                    <a:pt x="7" y="132"/>
                  </a:lnTo>
                  <a:lnTo>
                    <a:pt x="5" y="130"/>
                  </a:lnTo>
                  <a:lnTo>
                    <a:pt x="5" y="128"/>
                  </a:lnTo>
                  <a:lnTo>
                    <a:pt x="4" y="127"/>
                  </a:lnTo>
                  <a:lnTo>
                    <a:pt x="5" y="127"/>
                  </a:lnTo>
                  <a:lnTo>
                    <a:pt x="5" y="124"/>
                  </a:lnTo>
                  <a:lnTo>
                    <a:pt x="5" y="122"/>
                  </a:lnTo>
                  <a:lnTo>
                    <a:pt x="4" y="122"/>
                  </a:lnTo>
                  <a:lnTo>
                    <a:pt x="4" y="119"/>
                  </a:lnTo>
                  <a:lnTo>
                    <a:pt x="2" y="119"/>
                  </a:lnTo>
                  <a:lnTo>
                    <a:pt x="4" y="115"/>
                  </a:lnTo>
                  <a:lnTo>
                    <a:pt x="4" y="114"/>
                  </a:lnTo>
                  <a:lnTo>
                    <a:pt x="4" y="112"/>
                  </a:lnTo>
                  <a:lnTo>
                    <a:pt x="4" y="110"/>
                  </a:lnTo>
                  <a:lnTo>
                    <a:pt x="5" y="110"/>
                  </a:lnTo>
                  <a:lnTo>
                    <a:pt x="5" y="109"/>
                  </a:lnTo>
                  <a:lnTo>
                    <a:pt x="7" y="109"/>
                  </a:lnTo>
                  <a:lnTo>
                    <a:pt x="7" y="107"/>
                  </a:lnTo>
                  <a:lnTo>
                    <a:pt x="5" y="104"/>
                  </a:lnTo>
                  <a:lnTo>
                    <a:pt x="5" y="102"/>
                  </a:lnTo>
                  <a:lnTo>
                    <a:pt x="5" y="101"/>
                  </a:lnTo>
                  <a:lnTo>
                    <a:pt x="5" y="99"/>
                  </a:lnTo>
                  <a:lnTo>
                    <a:pt x="5" y="97"/>
                  </a:lnTo>
                  <a:lnTo>
                    <a:pt x="7" y="96"/>
                  </a:lnTo>
                  <a:lnTo>
                    <a:pt x="8" y="96"/>
                  </a:lnTo>
                  <a:lnTo>
                    <a:pt x="12" y="94"/>
                  </a:lnTo>
                  <a:lnTo>
                    <a:pt x="13" y="93"/>
                  </a:lnTo>
                  <a:lnTo>
                    <a:pt x="15" y="91"/>
                  </a:lnTo>
                  <a:lnTo>
                    <a:pt x="17" y="91"/>
                  </a:lnTo>
                  <a:lnTo>
                    <a:pt x="20" y="91"/>
                  </a:lnTo>
                  <a:lnTo>
                    <a:pt x="23" y="91"/>
                  </a:lnTo>
                  <a:lnTo>
                    <a:pt x="23" y="89"/>
                  </a:lnTo>
                  <a:lnTo>
                    <a:pt x="25" y="89"/>
                  </a:lnTo>
                  <a:lnTo>
                    <a:pt x="25" y="88"/>
                  </a:lnTo>
                  <a:lnTo>
                    <a:pt x="25" y="86"/>
                  </a:lnTo>
                  <a:lnTo>
                    <a:pt x="25" y="83"/>
                  </a:lnTo>
                  <a:lnTo>
                    <a:pt x="25" y="81"/>
                  </a:lnTo>
                  <a:lnTo>
                    <a:pt x="23" y="80"/>
                  </a:lnTo>
                  <a:lnTo>
                    <a:pt x="23" y="78"/>
                  </a:lnTo>
                  <a:lnTo>
                    <a:pt x="23" y="76"/>
                  </a:lnTo>
                  <a:lnTo>
                    <a:pt x="23" y="75"/>
                  </a:lnTo>
                  <a:lnTo>
                    <a:pt x="21" y="73"/>
                  </a:lnTo>
                  <a:lnTo>
                    <a:pt x="21" y="71"/>
                  </a:lnTo>
                  <a:lnTo>
                    <a:pt x="23" y="70"/>
                  </a:lnTo>
                  <a:lnTo>
                    <a:pt x="23" y="68"/>
                  </a:lnTo>
                  <a:lnTo>
                    <a:pt x="23" y="67"/>
                  </a:lnTo>
                  <a:lnTo>
                    <a:pt x="25" y="67"/>
                  </a:lnTo>
                  <a:lnTo>
                    <a:pt x="25" y="65"/>
                  </a:lnTo>
                  <a:lnTo>
                    <a:pt x="26" y="63"/>
                  </a:lnTo>
                  <a:lnTo>
                    <a:pt x="30" y="63"/>
                  </a:lnTo>
                  <a:lnTo>
                    <a:pt x="30" y="62"/>
                  </a:lnTo>
                  <a:lnTo>
                    <a:pt x="31" y="60"/>
                  </a:lnTo>
                  <a:lnTo>
                    <a:pt x="33" y="60"/>
                  </a:lnTo>
                  <a:lnTo>
                    <a:pt x="34" y="60"/>
                  </a:lnTo>
                  <a:lnTo>
                    <a:pt x="36" y="60"/>
                  </a:lnTo>
                  <a:lnTo>
                    <a:pt x="36" y="58"/>
                  </a:lnTo>
                  <a:lnTo>
                    <a:pt x="38" y="57"/>
                  </a:lnTo>
                  <a:lnTo>
                    <a:pt x="38" y="55"/>
                  </a:lnTo>
                  <a:lnTo>
                    <a:pt x="39" y="54"/>
                  </a:lnTo>
                  <a:lnTo>
                    <a:pt x="41" y="54"/>
                  </a:lnTo>
                  <a:lnTo>
                    <a:pt x="43" y="54"/>
                  </a:lnTo>
                  <a:lnTo>
                    <a:pt x="44" y="52"/>
                  </a:lnTo>
                  <a:lnTo>
                    <a:pt x="46" y="52"/>
                  </a:lnTo>
                  <a:lnTo>
                    <a:pt x="47" y="50"/>
                  </a:lnTo>
                  <a:lnTo>
                    <a:pt x="49" y="50"/>
                  </a:lnTo>
                  <a:lnTo>
                    <a:pt x="51" y="47"/>
                  </a:lnTo>
                  <a:lnTo>
                    <a:pt x="52" y="45"/>
                  </a:lnTo>
                  <a:lnTo>
                    <a:pt x="54" y="44"/>
                  </a:lnTo>
                  <a:lnTo>
                    <a:pt x="56" y="42"/>
                  </a:lnTo>
                  <a:lnTo>
                    <a:pt x="57" y="42"/>
                  </a:lnTo>
                  <a:lnTo>
                    <a:pt x="57" y="41"/>
                  </a:lnTo>
                  <a:lnTo>
                    <a:pt x="64" y="44"/>
                  </a:lnTo>
                  <a:lnTo>
                    <a:pt x="67" y="47"/>
                  </a:lnTo>
                  <a:lnTo>
                    <a:pt x="73" y="54"/>
                  </a:lnTo>
                  <a:lnTo>
                    <a:pt x="75" y="55"/>
                  </a:lnTo>
                  <a:lnTo>
                    <a:pt x="75" y="54"/>
                  </a:lnTo>
                  <a:lnTo>
                    <a:pt x="78" y="54"/>
                  </a:lnTo>
                  <a:lnTo>
                    <a:pt x="78" y="49"/>
                  </a:lnTo>
                  <a:lnTo>
                    <a:pt x="78" y="45"/>
                  </a:lnTo>
                  <a:lnTo>
                    <a:pt x="80" y="44"/>
                  </a:lnTo>
                  <a:lnTo>
                    <a:pt x="82" y="39"/>
                  </a:lnTo>
                  <a:lnTo>
                    <a:pt x="85" y="31"/>
                  </a:lnTo>
                  <a:lnTo>
                    <a:pt x="86" y="31"/>
                  </a:lnTo>
                  <a:lnTo>
                    <a:pt x="90" y="29"/>
                  </a:lnTo>
                  <a:lnTo>
                    <a:pt x="91" y="26"/>
                  </a:lnTo>
                  <a:lnTo>
                    <a:pt x="93" y="24"/>
                  </a:lnTo>
                  <a:lnTo>
                    <a:pt x="95" y="24"/>
                  </a:lnTo>
                  <a:lnTo>
                    <a:pt x="96" y="24"/>
                  </a:lnTo>
                  <a:lnTo>
                    <a:pt x="98" y="24"/>
                  </a:lnTo>
                  <a:lnTo>
                    <a:pt x="99" y="26"/>
                  </a:lnTo>
                  <a:lnTo>
                    <a:pt x="101" y="28"/>
                  </a:lnTo>
                  <a:lnTo>
                    <a:pt x="103" y="28"/>
                  </a:lnTo>
                  <a:lnTo>
                    <a:pt x="104" y="28"/>
                  </a:lnTo>
                  <a:lnTo>
                    <a:pt x="106" y="28"/>
                  </a:lnTo>
                  <a:lnTo>
                    <a:pt x="106" y="26"/>
                  </a:lnTo>
                  <a:lnTo>
                    <a:pt x="108" y="26"/>
                  </a:lnTo>
                  <a:lnTo>
                    <a:pt x="109" y="26"/>
                  </a:lnTo>
                  <a:lnTo>
                    <a:pt x="111" y="26"/>
                  </a:lnTo>
                  <a:lnTo>
                    <a:pt x="114" y="26"/>
                  </a:lnTo>
                  <a:lnTo>
                    <a:pt x="116" y="26"/>
                  </a:lnTo>
                  <a:lnTo>
                    <a:pt x="117" y="28"/>
                  </a:lnTo>
                  <a:lnTo>
                    <a:pt x="117" y="26"/>
                  </a:lnTo>
                  <a:lnTo>
                    <a:pt x="119" y="26"/>
                  </a:lnTo>
                  <a:lnTo>
                    <a:pt x="124" y="24"/>
                  </a:lnTo>
                  <a:lnTo>
                    <a:pt x="126" y="23"/>
                  </a:lnTo>
                  <a:lnTo>
                    <a:pt x="126" y="21"/>
                  </a:lnTo>
                  <a:lnTo>
                    <a:pt x="127" y="19"/>
                  </a:lnTo>
                  <a:lnTo>
                    <a:pt x="127" y="16"/>
                  </a:lnTo>
                  <a:lnTo>
                    <a:pt x="127" y="15"/>
                  </a:lnTo>
                  <a:lnTo>
                    <a:pt x="127" y="13"/>
                  </a:lnTo>
                  <a:lnTo>
                    <a:pt x="126" y="10"/>
                  </a:lnTo>
                  <a:lnTo>
                    <a:pt x="126" y="8"/>
                  </a:lnTo>
                  <a:lnTo>
                    <a:pt x="127" y="8"/>
                  </a:lnTo>
                  <a:lnTo>
                    <a:pt x="129" y="8"/>
                  </a:lnTo>
                  <a:lnTo>
                    <a:pt x="130" y="10"/>
                  </a:lnTo>
                  <a:lnTo>
                    <a:pt x="137" y="13"/>
                  </a:lnTo>
                  <a:lnTo>
                    <a:pt x="137" y="16"/>
                  </a:lnTo>
                  <a:lnTo>
                    <a:pt x="139" y="16"/>
                  </a:lnTo>
                  <a:lnTo>
                    <a:pt x="140" y="16"/>
                  </a:lnTo>
                  <a:lnTo>
                    <a:pt x="142" y="16"/>
                  </a:lnTo>
                  <a:lnTo>
                    <a:pt x="143" y="15"/>
                  </a:lnTo>
                  <a:lnTo>
                    <a:pt x="145" y="15"/>
                  </a:lnTo>
                  <a:lnTo>
                    <a:pt x="148" y="13"/>
                  </a:lnTo>
                  <a:lnTo>
                    <a:pt x="152" y="15"/>
                  </a:lnTo>
                  <a:lnTo>
                    <a:pt x="153" y="15"/>
                  </a:lnTo>
                  <a:lnTo>
                    <a:pt x="155" y="13"/>
                  </a:lnTo>
                  <a:lnTo>
                    <a:pt x="156" y="13"/>
                  </a:lnTo>
                  <a:close/>
                </a:path>
              </a:pathLst>
            </a:custGeom>
            <a:solidFill>
              <a:srgbClr val="E5E5E5"/>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1203" name="Freeform 49">
              <a:extLst>
                <a:ext uri="{FF2B5EF4-FFF2-40B4-BE49-F238E27FC236}">
                  <a16:creationId xmlns:a16="http://schemas.microsoft.com/office/drawing/2014/main" id="{E92240D0-E647-8E2F-4330-C08BC4CBE055}"/>
                </a:ext>
              </a:extLst>
            </p:cNvPr>
            <p:cNvSpPr>
              <a:spLocks noEditPoints="1"/>
            </p:cNvSpPr>
            <p:nvPr/>
          </p:nvSpPr>
          <p:spPr bwMode="auto">
            <a:xfrm>
              <a:off x="4695" y="5723"/>
              <a:ext cx="48" cy="40"/>
            </a:xfrm>
            <a:custGeom>
              <a:avLst/>
              <a:gdLst>
                <a:gd name="T0" fmla="*/ 23 w 48"/>
                <a:gd name="T1" fmla="*/ 13 h 40"/>
                <a:gd name="T2" fmla="*/ 23 w 48"/>
                <a:gd name="T3" fmla="*/ 16 h 40"/>
                <a:gd name="T4" fmla="*/ 26 w 48"/>
                <a:gd name="T5" fmla="*/ 16 h 40"/>
                <a:gd name="T6" fmla="*/ 25 w 48"/>
                <a:gd name="T7" fmla="*/ 17 h 40"/>
                <a:gd name="T8" fmla="*/ 28 w 48"/>
                <a:gd name="T9" fmla="*/ 17 h 40"/>
                <a:gd name="T10" fmla="*/ 30 w 48"/>
                <a:gd name="T11" fmla="*/ 16 h 40"/>
                <a:gd name="T12" fmla="*/ 31 w 48"/>
                <a:gd name="T13" fmla="*/ 17 h 40"/>
                <a:gd name="T14" fmla="*/ 33 w 48"/>
                <a:gd name="T15" fmla="*/ 19 h 40"/>
                <a:gd name="T16" fmla="*/ 38 w 48"/>
                <a:gd name="T17" fmla="*/ 21 h 40"/>
                <a:gd name="T18" fmla="*/ 38 w 48"/>
                <a:gd name="T19" fmla="*/ 22 h 40"/>
                <a:gd name="T20" fmla="*/ 41 w 48"/>
                <a:gd name="T21" fmla="*/ 22 h 40"/>
                <a:gd name="T22" fmla="*/ 39 w 48"/>
                <a:gd name="T23" fmla="*/ 24 h 40"/>
                <a:gd name="T24" fmla="*/ 41 w 48"/>
                <a:gd name="T25" fmla="*/ 24 h 40"/>
                <a:gd name="T26" fmla="*/ 39 w 48"/>
                <a:gd name="T27" fmla="*/ 27 h 40"/>
                <a:gd name="T28" fmla="*/ 41 w 48"/>
                <a:gd name="T29" fmla="*/ 26 h 40"/>
                <a:gd name="T30" fmla="*/ 43 w 48"/>
                <a:gd name="T31" fmla="*/ 24 h 40"/>
                <a:gd name="T32" fmla="*/ 46 w 48"/>
                <a:gd name="T33" fmla="*/ 26 h 40"/>
                <a:gd name="T34" fmla="*/ 48 w 48"/>
                <a:gd name="T35" fmla="*/ 29 h 40"/>
                <a:gd name="T36" fmla="*/ 48 w 48"/>
                <a:gd name="T37" fmla="*/ 30 h 40"/>
                <a:gd name="T38" fmla="*/ 48 w 48"/>
                <a:gd name="T39" fmla="*/ 32 h 40"/>
                <a:gd name="T40" fmla="*/ 46 w 48"/>
                <a:gd name="T41" fmla="*/ 32 h 40"/>
                <a:gd name="T42" fmla="*/ 48 w 48"/>
                <a:gd name="T43" fmla="*/ 35 h 40"/>
                <a:gd name="T44" fmla="*/ 44 w 48"/>
                <a:gd name="T45" fmla="*/ 32 h 40"/>
                <a:gd name="T46" fmla="*/ 43 w 48"/>
                <a:gd name="T47" fmla="*/ 34 h 40"/>
                <a:gd name="T48" fmla="*/ 44 w 48"/>
                <a:gd name="T49" fmla="*/ 35 h 40"/>
                <a:gd name="T50" fmla="*/ 44 w 48"/>
                <a:gd name="T51" fmla="*/ 35 h 40"/>
                <a:gd name="T52" fmla="*/ 38 w 48"/>
                <a:gd name="T53" fmla="*/ 37 h 40"/>
                <a:gd name="T54" fmla="*/ 31 w 48"/>
                <a:gd name="T55" fmla="*/ 35 h 40"/>
                <a:gd name="T56" fmla="*/ 28 w 48"/>
                <a:gd name="T57" fmla="*/ 34 h 40"/>
                <a:gd name="T58" fmla="*/ 23 w 48"/>
                <a:gd name="T59" fmla="*/ 30 h 40"/>
                <a:gd name="T60" fmla="*/ 20 w 48"/>
                <a:gd name="T61" fmla="*/ 26 h 40"/>
                <a:gd name="T62" fmla="*/ 20 w 48"/>
                <a:gd name="T63" fmla="*/ 24 h 40"/>
                <a:gd name="T64" fmla="*/ 20 w 48"/>
                <a:gd name="T65" fmla="*/ 21 h 40"/>
                <a:gd name="T66" fmla="*/ 20 w 48"/>
                <a:gd name="T67" fmla="*/ 21 h 40"/>
                <a:gd name="T68" fmla="*/ 20 w 48"/>
                <a:gd name="T69" fmla="*/ 17 h 40"/>
                <a:gd name="T70" fmla="*/ 20 w 48"/>
                <a:gd name="T71" fmla="*/ 16 h 40"/>
                <a:gd name="T72" fmla="*/ 18 w 48"/>
                <a:gd name="T73" fmla="*/ 14 h 40"/>
                <a:gd name="T74" fmla="*/ 18 w 48"/>
                <a:gd name="T75" fmla="*/ 13 h 40"/>
                <a:gd name="T76" fmla="*/ 22 w 48"/>
                <a:gd name="T77" fmla="*/ 13 h 40"/>
                <a:gd name="T78" fmla="*/ 23 w 48"/>
                <a:gd name="T79" fmla="*/ 11 h 40"/>
                <a:gd name="T80" fmla="*/ 8 w 48"/>
                <a:gd name="T81" fmla="*/ 1 h 40"/>
                <a:gd name="T82" fmla="*/ 12 w 48"/>
                <a:gd name="T83" fmla="*/ 3 h 40"/>
                <a:gd name="T84" fmla="*/ 13 w 48"/>
                <a:gd name="T85" fmla="*/ 3 h 40"/>
                <a:gd name="T86" fmla="*/ 17 w 48"/>
                <a:gd name="T87" fmla="*/ 4 h 40"/>
                <a:gd name="T88" fmla="*/ 18 w 48"/>
                <a:gd name="T89" fmla="*/ 8 h 40"/>
                <a:gd name="T90" fmla="*/ 15 w 48"/>
                <a:gd name="T91" fmla="*/ 8 h 40"/>
                <a:gd name="T92" fmla="*/ 12 w 48"/>
                <a:gd name="T93" fmla="*/ 9 h 40"/>
                <a:gd name="T94" fmla="*/ 7 w 48"/>
                <a:gd name="T95" fmla="*/ 9 h 40"/>
                <a:gd name="T96" fmla="*/ 4 w 48"/>
                <a:gd name="T97" fmla="*/ 8 h 40"/>
                <a:gd name="T98" fmla="*/ 2 w 48"/>
                <a:gd name="T99" fmla="*/ 6 h 40"/>
                <a:gd name="T100" fmla="*/ 0 w 48"/>
                <a:gd name="T101" fmla="*/ 3 h 40"/>
                <a:gd name="T102" fmla="*/ 5 w 48"/>
                <a:gd name="T103" fmla="*/ 1 h 40"/>
                <a:gd name="T104" fmla="*/ 20 w 48"/>
                <a:gd name="T105" fmla="*/ 9 h 40"/>
                <a:gd name="T106" fmla="*/ 18 w 48"/>
                <a:gd name="T107" fmla="*/ 9 h 40"/>
                <a:gd name="T108" fmla="*/ 18 w 48"/>
                <a:gd name="T109" fmla="*/ 8 h 40"/>
                <a:gd name="T110" fmla="*/ 18 w 48"/>
                <a:gd name="T111" fmla="*/ 9 h 40"/>
                <a:gd name="T112" fmla="*/ 18 w 48"/>
                <a:gd name="T113" fmla="*/ 9 h 40"/>
                <a:gd name="T114" fmla="*/ 28 w 48"/>
                <a:gd name="T115" fmla="*/ 16 h 40"/>
                <a:gd name="T116" fmla="*/ 30 w 48"/>
                <a:gd name="T117" fmla="*/ 4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8" h="40">
                  <a:moveTo>
                    <a:pt x="23" y="11"/>
                  </a:moveTo>
                  <a:lnTo>
                    <a:pt x="23" y="11"/>
                  </a:lnTo>
                  <a:lnTo>
                    <a:pt x="23" y="13"/>
                  </a:lnTo>
                  <a:lnTo>
                    <a:pt x="23" y="13"/>
                  </a:lnTo>
                  <a:lnTo>
                    <a:pt x="25" y="13"/>
                  </a:lnTo>
                  <a:lnTo>
                    <a:pt x="23" y="13"/>
                  </a:lnTo>
                  <a:lnTo>
                    <a:pt x="23" y="13"/>
                  </a:lnTo>
                  <a:lnTo>
                    <a:pt x="22" y="14"/>
                  </a:lnTo>
                  <a:lnTo>
                    <a:pt x="22" y="14"/>
                  </a:lnTo>
                  <a:lnTo>
                    <a:pt x="22" y="16"/>
                  </a:lnTo>
                  <a:lnTo>
                    <a:pt x="22" y="16"/>
                  </a:lnTo>
                  <a:lnTo>
                    <a:pt x="22" y="16"/>
                  </a:lnTo>
                  <a:lnTo>
                    <a:pt x="23" y="16"/>
                  </a:lnTo>
                  <a:lnTo>
                    <a:pt x="23" y="16"/>
                  </a:lnTo>
                  <a:lnTo>
                    <a:pt x="25" y="14"/>
                  </a:lnTo>
                  <a:lnTo>
                    <a:pt x="25" y="16"/>
                  </a:lnTo>
                  <a:lnTo>
                    <a:pt x="25" y="14"/>
                  </a:lnTo>
                  <a:lnTo>
                    <a:pt x="26" y="16"/>
                  </a:lnTo>
                  <a:lnTo>
                    <a:pt x="26" y="16"/>
                  </a:lnTo>
                  <a:lnTo>
                    <a:pt x="26" y="16"/>
                  </a:lnTo>
                  <a:lnTo>
                    <a:pt x="26" y="16"/>
                  </a:lnTo>
                  <a:lnTo>
                    <a:pt x="26" y="16"/>
                  </a:lnTo>
                  <a:lnTo>
                    <a:pt x="26" y="16"/>
                  </a:lnTo>
                  <a:lnTo>
                    <a:pt x="26" y="16"/>
                  </a:lnTo>
                  <a:lnTo>
                    <a:pt x="26" y="16"/>
                  </a:lnTo>
                  <a:lnTo>
                    <a:pt x="26" y="17"/>
                  </a:lnTo>
                  <a:lnTo>
                    <a:pt x="26" y="17"/>
                  </a:lnTo>
                  <a:lnTo>
                    <a:pt x="25" y="17"/>
                  </a:lnTo>
                  <a:lnTo>
                    <a:pt x="25" y="19"/>
                  </a:lnTo>
                  <a:lnTo>
                    <a:pt x="26" y="17"/>
                  </a:lnTo>
                  <a:lnTo>
                    <a:pt x="26" y="17"/>
                  </a:lnTo>
                  <a:lnTo>
                    <a:pt x="26" y="17"/>
                  </a:lnTo>
                  <a:lnTo>
                    <a:pt x="28" y="17"/>
                  </a:lnTo>
                  <a:lnTo>
                    <a:pt x="28" y="17"/>
                  </a:lnTo>
                  <a:lnTo>
                    <a:pt x="28" y="17"/>
                  </a:lnTo>
                  <a:lnTo>
                    <a:pt x="30" y="17"/>
                  </a:lnTo>
                  <a:lnTo>
                    <a:pt x="30" y="16"/>
                  </a:lnTo>
                  <a:lnTo>
                    <a:pt x="30" y="16"/>
                  </a:lnTo>
                  <a:lnTo>
                    <a:pt x="30" y="16"/>
                  </a:lnTo>
                  <a:lnTo>
                    <a:pt x="30" y="16"/>
                  </a:lnTo>
                  <a:lnTo>
                    <a:pt x="30" y="16"/>
                  </a:lnTo>
                  <a:lnTo>
                    <a:pt x="30" y="16"/>
                  </a:lnTo>
                  <a:lnTo>
                    <a:pt x="30" y="17"/>
                  </a:lnTo>
                  <a:lnTo>
                    <a:pt x="30" y="19"/>
                  </a:lnTo>
                  <a:lnTo>
                    <a:pt x="30" y="17"/>
                  </a:lnTo>
                  <a:lnTo>
                    <a:pt x="30" y="17"/>
                  </a:lnTo>
                  <a:lnTo>
                    <a:pt x="31" y="17"/>
                  </a:lnTo>
                  <a:lnTo>
                    <a:pt x="31" y="17"/>
                  </a:lnTo>
                  <a:lnTo>
                    <a:pt x="31" y="17"/>
                  </a:lnTo>
                  <a:lnTo>
                    <a:pt x="33" y="17"/>
                  </a:lnTo>
                  <a:lnTo>
                    <a:pt x="33" y="17"/>
                  </a:lnTo>
                  <a:lnTo>
                    <a:pt x="33" y="17"/>
                  </a:lnTo>
                  <a:lnTo>
                    <a:pt x="33" y="17"/>
                  </a:lnTo>
                  <a:lnTo>
                    <a:pt x="33" y="17"/>
                  </a:lnTo>
                  <a:lnTo>
                    <a:pt x="33" y="17"/>
                  </a:lnTo>
                  <a:lnTo>
                    <a:pt x="33" y="19"/>
                  </a:lnTo>
                  <a:lnTo>
                    <a:pt x="35" y="19"/>
                  </a:lnTo>
                  <a:lnTo>
                    <a:pt x="35" y="19"/>
                  </a:lnTo>
                  <a:lnTo>
                    <a:pt x="36" y="19"/>
                  </a:lnTo>
                  <a:lnTo>
                    <a:pt x="36" y="19"/>
                  </a:lnTo>
                  <a:lnTo>
                    <a:pt x="36" y="19"/>
                  </a:lnTo>
                  <a:lnTo>
                    <a:pt x="36" y="19"/>
                  </a:lnTo>
                  <a:lnTo>
                    <a:pt x="38" y="21"/>
                  </a:lnTo>
                  <a:lnTo>
                    <a:pt x="38" y="21"/>
                  </a:lnTo>
                  <a:lnTo>
                    <a:pt x="38" y="21"/>
                  </a:lnTo>
                  <a:lnTo>
                    <a:pt x="38" y="21"/>
                  </a:lnTo>
                  <a:lnTo>
                    <a:pt x="38" y="21"/>
                  </a:lnTo>
                  <a:lnTo>
                    <a:pt x="38" y="21"/>
                  </a:lnTo>
                  <a:lnTo>
                    <a:pt x="38" y="22"/>
                  </a:lnTo>
                  <a:lnTo>
                    <a:pt x="38" y="22"/>
                  </a:lnTo>
                  <a:lnTo>
                    <a:pt x="39" y="22"/>
                  </a:lnTo>
                  <a:lnTo>
                    <a:pt x="39" y="21"/>
                  </a:lnTo>
                  <a:lnTo>
                    <a:pt x="39" y="22"/>
                  </a:lnTo>
                  <a:lnTo>
                    <a:pt x="39" y="22"/>
                  </a:lnTo>
                  <a:lnTo>
                    <a:pt x="39" y="22"/>
                  </a:lnTo>
                  <a:lnTo>
                    <a:pt x="41" y="22"/>
                  </a:lnTo>
                  <a:lnTo>
                    <a:pt x="41" y="22"/>
                  </a:lnTo>
                  <a:lnTo>
                    <a:pt x="41" y="24"/>
                  </a:lnTo>
                  <a:lnTo>
                    <a:pt x="39" y="22"/>
                  </a:lnTo>
                  <a:lnTo>
                    <a:pt x="39" y="22"/>
                  </a:lnTo>
                  <a:lnTo>
                    <a:pt x="39" y="24"/>
                  </a:lnTo>
                  <a:lnTo>
                    <a:pt x="39" y="24"/>
                  </a:lnTo>
                  <a:lnTo>
                    <a:pt x="39" y="24"/>
                  </a:lnTo>
                  <a:lnTo>
                    <a:pt x="39" y="24"/>
                  </a:lnTo>
                  <a:lnTo>
                    <a:pt x="39" y="24"/>
                  </a:lnTo>
                  <a:lnTo>
                    <a:pt x="39" y="24"/>
                  </a:lnTo>
                  <a:lnTo>
                    <a:pt x="39" y="24"/>
                  </a:lnTo>
                  <a:lnTo>
                    <a:pt x="39" y="24"/>
                  </a:lnTo>
                  <a:lnTo>
                    <a:pt x="39" y="24"/>
                  </a:lnTo>
                  <a:lnTo>
                    <a:pt x="39" y="26"/>
                  </a:lnTo>
                  <a:lnTo>
                    <a:pt x="41" y="24"/>
                  </a:lnTo>
                  <a:lnTo>
                    <a:pt x="41" y="24"/>
                  </a:lnTo>
                  <a:lnTo>
                    <a:pt x="41" y="24"/>
                  </a:lnTo>
                  <a:lnTo>
                    <a:pt x="41" y="24"/>
                  </a:lnTo>
                  <a:lnTo>
                    <a:pt x="41" y="24"/>
                  </a:lnTo>
                  <a:lnTo>
                    <a:pt x="39" y="26"/>
                  </a:lnTo>
                  <a:lnTo>
                    <a:pt x="39" y="26"/>
                  </a:lnTo>
                  <a:lnTo>
                    <a:pt x="39" y="27"/>
                  </a:lnTo>
                  <a:lnTo>
                    <a:pt x="41" y="26"/>
                  </a:lnTo>
                  <a:lnTo>
                    <a:pt x="41" y="27"/>
                  </a:lnTo>
                  <a:lnTo>
                    <a:pt x="41" y="26"/>
                  </a:lnTo>
                  <a:lnTo>
                    <a:pt x="41" y="26"/>
                  </a:lnTo>
                  <a:lnTo>
                    <a:pt x="41" y="26"/>
                  </a:lnTo>
                  <a:lnTo>
                    <a:pt x="41" y="26"/>
                  </a:lnTo>
                  <a:lnTo>
                    <a:pt x="41" y="26"/>
                  </a:lnTo>
                  <a:lnTo>
                    <a:pt x="41" y="26"/>
                  </a:lnTo>
                  <a:lnTo>
                    <a:pt x="43" y="26"/>
                  </a:lnTo>
                  <a:lnTo>
                    <a:pt x="41" y="26"/>
                  </a:lnTo>
                  <a:lnTo>
                    <a:pt x="43" y="24"/>
                  </a:lnTo>
                  <a:lnTo>
                    <a:pt x="43" y="24"/>
                  </a:lnTo>
                  <a:lnTo>
                    <a:pt x="41" y="24"/>
                  </a:lnTo>
                  <a:lnTo>
                    <a:pt x="43" y="24"/>
                  </a:lnTo>
                  <a:lnTo>
                    <a:pt x="43" y="24"/>
                  </a:lnTo>
                  <a:lnTo>
                    <a:pt x="44" y="24"/>
                  </a:lnTo>
                  <a:lnTo>
                    <a:pt x="44" y="26"/>
                  </a:lnTo>
                  <a:lnTo>
                    <a:pt x="46" y="26"/>
                  </a:lnTo>
                  <a:lnTo>
                    <a:pt x="46" y="26"/>
                  </a:lnTo>
                  <a:lnTo>
                    <a:pt x="46" y="26"/>
                  </a:lnTo>
                  <a:lnTo>
                    <a:pt x="46" y="26"/>
                  </a:lnTo>
                  <a:lnTo>
                    <a:pt x="46" y="27"/>
                  </a:lnTo>
                  <a:lnTo>
                    <a:pt x="48" y="27"/>
                  </a:lnTo>
                  <a:lnTo>
                    <a:pt x="48" y="27"/>
                  </a:lnTo>
                  <a:lnTo>
                    <a:pt x="48" y="29"/>
                  </a:lnTo>
                  <a:lnTo>
                    <a:pt x="48" y="29"/>
                  </a:lnTo>
                  <a:lnTo>
                    <a:pt x="48" y="29"/>
                  </a:lnTo>
                  <a:lnTo>
                    <a:pt x="48" y="29"/>
                  </a:lnTo>
                  <a:lnTo>
                    <a:pt x="46" y="29"/>
                  </a:lnTo>
                  <a:lnTo>
                    <a:pt x="46" y="29"/>
                  </a:lnTo>
                  <a:lnTo>
                    <a:pt x="48" y="29"/>
                  </a:lnTo>
                  <a:lnTo>
                    <a:pt x="48" y="29"/>
                  </a:lnTo>
                  <a:lnTo>
                    <a:pt x="48" y="29"/>
                  </a:lnTo>
                  <a:lnTo>
                    <a:pt x="48" y="29"/>
                  </a:lnTo>
                  <a:lnTo>
                    <a:pt x="48" y="30"/>
                  </a:lnTo>
                  <a:lnTo>
                    <a:pt x="48" y="30"/>
                  </a:lnTo>
                  <a:lnTo>
                    <a:pt x="48" y="30"/>
                  </a:lnTo>
                  <a:lnTo>
                    <a:pt x="48" y="30"/>
                  </a:lnTo>
                  <a:lnTo>
                    <a:pt x="48" y="30"/>
                  </a:lnTo>
                  <a:lnTo>
                    <a:pt x="48" y="32"/>
                  </a:lnTo>
                  <a:lnTo>
                    <a:pt x="48" y="32"/>
                  </a:lnTo>
                  <a:lnTo>
                    <a:pt x="48" y="32"/>
                  </a:lnTo>
                  <a:lnTo>
                    <a:pt x="48" y="32"/>
                  </a:lnTo>
                  <a:lnTo>
                    <a:pt x="48" y="32"/>
                  </a:lnTo>
                  <a:lnTo>
                    <a:pt x="48" y="32"/>
                  </a:lnTo>
                  <a:lnTo>
                    <a:pt x="48" y="32"/>
                  </a:lnTo>
                  <a:lnTo>
                    <a:pt x="48" y="32"/>
                  </a:lnTo>
                  <a:lnTo>
                    <a:pt x="46" y="32"/>
                  </a:lnTo>
                  <a:lnTo>
                    <a:pt x="46" y="32"/>
                  </a:lnTo>
                  <a:lnTo>
                    <a:pt x="48" y="34"/>
                  </a:lnTo>
                  <a:lnTo>
                    <a:pt x="48" y="34"/>
                  </a:lnTo>
                  <a:lnTo>
                    <a:pt x="48" y="34"/>
                  </a:lnTo>
                  <a:lnTo>
                    <a:pt x="48" y="34"/>
                  </a:lnTo>
                  <a:lnTo>
                    <a:pt x="48" y="34"/>
                  </a:lnTo>
                  <a:lnTo>
                    <a:pt x="48" y="35"/>
                  </a:lnTo>
                  <a:lnTo>
                    <a:pt x="48" y="35"/>
                  </a:lnTo>
                  <a:lnTo>
                    <a:pt x="48" y="35"/>
                  </a:lnTo>
                  <a:lnTo>
                    <a:pt x="46" y="35"/>
                  </a:lnTo>
                  <a:lnTo>
                    <a:pt x="46" y="34"/>
                  </a:lnTo>
                  <a:lnTo>
                    <a:pt x="46" y="34"/>
                  </a:lnTo>
                  <a:lnTo>
                    <a:pt x="46" y="32"/>
                  </a:lnTo>
                  <a:lnTo>
                    <a:pt x="46" y="32"/>
                  </a:lnTo>
                  <a:lnTo>
                    <a:pt x="44" y="32"/>
                  </a:lnTo>
                  <a:lnTo>
                    <a:pt x="44" y="32"/>
                  </a:lnTo>
                  <a:lnTo>
                    <a:pt x="44" y="34"/>
                  </a:lnTo>
                  <a:lnTo>
                    <a:pt x="44" y="34"/>
                  </a:lnTo>
                  <a:lnTo>
                    <a:pt x="44" y="34"/>
                  </a:lnTo>
                  <a:lnTo>
                    <a:pt x="44" y="34"/>
                  </a:lnTo>
                  <a:lnTo>
                    <a:pt x="43" y="34"/>
                  </a:lnTo>
                  <a:lnTo>
                    <a:pt x="43" y="34"/>
                  </a:lnTo>
                  <a:lnTo>
                    <a:pt x="43" y="34"/>
                  </a:lnTo>
                  <a:lnTo>
                    <a:pt x="44" y="34"/>
                  </a:lnTo>
                  <a:lnTo>
                    <a:pt x="43" y="34"/>
                  </a:lnTo>
                  <a:lnTo>
                    <a:pt x="43" y="35"/>
                  </a:lnTo>
                  <a:lnTo>
                    <a:pt x="44" y="35"/>
                  </a:lnTo>
                  <a:lnTo>
                    <a:pt x="44" y="35"/>
                  </a:lnTo>
                  <a:lnTo>
                    <a:pt x="44" y="35"/>
                  </a:lnTo>
                  <a:lnTo>
                    <a:pt x="44" y="35"/>
                  </a:lnTo>
                  <a:lnTo>
                    <a:pt x="44" y="35"/>
                  </a:lnTo>
                  <a:lnTo>
                    <a:pt x="46" y="35"/>
                  </a:lnTo>
                  <a:lnTo>
                    <a:pt x="46" y="35"/>
                  </a:lnTo>
                  <a:lnTo>
                    <a:pt x="46" y="35"/>
                  </a:lnTo>
                  <a:lnTo>
                    <a:pt x="46" y="35"/>
                  </a:lnTo>
                  <a:lnTo>
                    <a:pt x="44" y="35"/>
                  </a:lnTo>
                  <a:lnTo>
                    <a:pt x="44" y="37"/>
                  </a:lnTo>
                  <a:lnTo>
                    <a:pt x="44" y="37"/>
                  </a:lnTo>
                  <a:lnTo>
                    <a:pt x="43" y="37"/>
                  </a:lnTo>
                  <a:lnTo>
                    <a:pt x="41" y="37"/>
                  </a:lnTo>
                  <a:lnTo>
                    <a:pt x="39" y="37"/>
                  </a:lnTo>
                  <a:lnTo>
                    <a:pt x="38" y="37"/>
                  </a:lnTo>
                  <a:lnTo>
                    <a:pt x="38" y="37"/>
                  </a:lnTo>
                  <a:lnTo>
                    <a:pt x="36" y="37"/>
                  </a:lnTo>
                  <a:lnTo>
                    <a:pt x="36" y="35"/>
                  </a:lnTo>
                  <a:lnTo>
                    <a:pt x="35" y="35"/>
                  </a:lnTo>
                  <a:lnTo>
                    <a:pt x="35" y="35"/>
                  </a:lnTo>
                  <a:lnTo>
                    <a:pt x="33" y="35"/>
                  </a:lnTo>
                  <a:lnTo>
                    <a:pt x="33" y="35"/>
                  </a:lnTo>
                  <a:lnTo>
                    <a:pt x="31" y="35"/>
                  </a:lnTo>
                  <a:lnTo>
                    <a:pt x="30" y="35"/>
                  </a:lnTo>
                  <a:lnTo>
                    <a:pt x="30" y="35"/>
                  </a:lnTo>
                  <a:lnTo>
                    <a:pt x="30" y="34"/>
                  </a:lnTo>
                  <a:lnTo>
                    <a:pt x="28" y="34"/>
                  </a:lnTo>
                  <a:lnTo>
                    <a:pt x="28" y="34"/>
                  </a:lnTo>
                  <a:lnTo>
                    <a:pt x="28" y="34"/>
                  </a:lnTo>
                  <a:lnTo>
                    <a:pt x="28" y="34"/>
                  </a:lnTo>
                  <a:lnTo>
                    <a:pt x="26" y="34"/>
                  </a:lnTo>
                  <a:lnTo>
                    <a:pt x="26" y="32"/>
                  </a:lnTo>
                  <a:lnTo>
                    <a:pt x="25" y="32"/>
                  </a:lnTo>
                  <a:lnTo>
                    <a:pt x="25" y="32"/>
                  </a:lnTo>
                  <a:lnTo>
                    <a:pt x="25" y="32"/>
                  </a:lnTo>
                  <a:lnTo>
                    <a:pt x="23" y="30"/>
                  </a:lnTo>
                  <a:lnTo>
                    <a:pt x="23" y="30"/>
                  </a:lnTo>
                  <a:lnTo>
                    <a:pt x="23" y="30"/>
                  </a:lnTo>
                  <a:lnTo>
                    <a:pt x="22" y="30"/>
                  </a:lnTo>
                  <a:lnTo>
                    <a:pt x="22" y="29"/>
                  </a:lnTo>
                  <a:lnTo>
                    <a:pt x="22" y="29"/>
                  </a:lnTo>
                  <a:lnTo>
                    <a:pt x="20" y="29"/>
                  </a:lnTo>
                  <a:lnTo>
                    <a:pt x="20" y="27"/>
                  </a:lnTo>
                  <a:lnTo>
                    <a:pt x="20" y="26"/>
                  </a:lnTo>
                  <a:lnTo>
                    <a:pt x="18" y="26"/>
                  </a:lnTo>
                  <a:lnTo>
                    <a:pt x="20" y="26"/>
                  </a:lnTo>
                  <a:lnTo>
                    <a:pt x="18" y="24"/>
                  </a:lnTo>
                  <a:lnTo>
                    <a:pt x="20" y="24"/>
                  </a:lnTo>
                  <a:lnTo>
                    <a:pt x="20" y="24"/>
                  </a:lnTo>
                  <a:lnTo>
                    <a:pt x="20" y="24"/>
                  </a:lnTo>
                  <a:lnTo>
                    <a:pt x="20" y="24"/>
                  </a:lnTo>
                  <a:lnTo>
                    <a:pt x="20" y="24"/>
                  </a:lnTo>
                  <a:lnTo>
                    <a:pt x="20" y="22"/>
                  </a:lnTo>
                  <a:lnTo>
                    <a:pt x="20" y="22"/>
                  </a:lnTo>
                  <a:lnTo>
                    <a:pt x="20" y="22"/>
                  </a:lnTo>
                  <a:lnTo>
                    <a:pt x="20" y="22"/>
                  </a:lnTo>
                  <a:lnTo>
                    <a:pt x="20" y="22"/>
                  </a:lnTo>
                  <a:lnTo>
                    <a:pt x="20" y="21"/>
                  </a:lnTo>
                  <a:lnTo>
                    <a:pt x="20" y="21"/>
                  </a:lnTo>
                  <a:lnTo>
                    <a:pt x="20" y="21"/>
                  </a:lnTo>
                  <a:lnTo>
                    <a:pt x="20" y="21"/>
                  </a:lnTo>
                  <a:lnTo>
                    <a:pt x="20" y="21"/>
                  </a:lnTo>
                  <a:lnTo>
                    <a:pt x="20" y="21"/>
                  </a:lnTo>
                  <a:lnTo>
                    <a:pt x="20" y="21"/>
                  </a:lnTo>
                  <a:lnTo>
                    <a:pt x="20" y="21"/>
                  </a:lnTo>
                  <a:lnTo>
                    <a:pt x="18" y="19"/>
                  </a:lnTo>
                  <a:lnTo>
                    <a:pt x="18" y="19"/>
                  </a:lnTo>
                  <a:lnTo>
                    <a:pt x="18" y="19"/>
                  </a:lnTo>
                  <a:lnTo>
                    <a:pt x="20" y="19"/>
                  </a:lnTo>
                  <a:lnTo>
                    <a:pt x="20" y="19"/>
                  </a:lnTo>
                  <a:lnTo>
                    <a:pt x="20" y="17"/>
                  </a:lnTo>
                  <a:lnTo>
                    <a:pt x="20" y="17"/>
                  </a:lnTo>
                  <a:lnTo>
                    <a:pt x="20" y="17"/>
                  </a:lnTo>
                  <a:lnTo>
                    <a:pt x="20" y="17"/>
                  </a:lnTo>
                  <a:lnTo>
                    <a:pt x="20" y="17"/>
                  </a:lnTo>
                  <a:lnTo>
                    <a:pt x="20" y="17"/>
                  </a:lnTo>
                  <a:lnTo>
                    <a:pt x="20" y="16"/>
                  </a:lnTo>
                  <a:lnTo>
                    <a:pt x="20" y="16"/>
                  </a:lnTo>
                  <a:lnTo>
                    <a:pt x="20" y="16"/>
                  </a:lnTo>
                  <a:lnTo>
                    <a:pt x="20" y="16"/>
                  </a:lnTo>
                  <a:lnTo>
                    <a:pt x="18" y="16"/>
                  </a:lnTo>
                  <a:lnTo>
                    <a:pt x="18" y="16"/>
                  </a:lnTo>
                  <a:lnTo>
                    <a:pt x="17" y="16"/>
                  </a:lnTo>
                  <a:lnTo>
                    <a:pt x="18" y="14"/>
                  </a:lnTo>
                  <a:lnTo>
                    <a:pt x="18" y="14"/>
                  </a:lnTo>
                  <a:lnTo>
                    <a:pt x="18" y="14"/>
                  </a:lnTo>
                  <a:lnTo>
                    <a:pt x="18" y="14"/>
                  </a:lnTo>
                  <a:lnTo>
                    <a:pt x="18" y="13"/>
                  </a:lnTo>
                  <a:lnTo>
                    <a:pt x="18" y="13"/>
                  </a:lnTo>
                  <a:lnTo>
                    <a:pt x="18" y="13"/>
                  </a:lnTo>
                  <a:lnTo>
                    <a:pt x="18" y="13"/>
                  </a:lnTo>
                  <a:lnTo>
                    <a:pt x="18" y="13"/>
                  </a:lnTo>
                  <a:lnTo>
                    <a:pt x="18" y="13"/>
                  </a:lnTo>
                  <a:lnTo>
                    <a:pt x="18" y="13"/>
                  </a:lnTo>
                  <a:lnTo>
                    <a:pt x="20" y="13"/>
                  </a:lnTo>
                  <a:lnTo>
                    <a:pt x="20" y="13"/>
                  </a:lnTo>
                  <a:lnTo>
                    <a:pt x="20" y="13"/>
                  </a:lnTo>
                  <a:lnTo>
                    <a:pt x="20" y="13"/>
                  </a:lnTo>
                  <a:lnTo>
                    <a:pt x="22" y="13"/>
                  </a:lnTo>
                  <a:lnTo>
                    <a:pt x="22" y="13"/>
                  </a:lnTo>
                  <a:lnTo>
                    <a:pt x="22" y="13"/>
                  </a:lnTo>
                  <a:lnTo>
                    <a:pt x="22" y="13"/>
                  </a:lnTo>
                  <a:lnTo>
                    <a:pt x="22" y="13"/>
                  </a:lnTo>
                  <a:lnTo>
                    <a:pt x="23" y="13"/>
                  </a:lnTo>
                  <a:lnTo>
                    <a:pt x="22" y="11"/>
                  </a:lnTo>
                  <a:lnTo>
                    <a:pt x="22" y="11"/>
                  </a:lnTo>
                  <a:lnTo>
                    <a:pt x="23" y="11"/>
                  </a:lnTo>
                  <a:lnTo>
                    <a:pt x="23" y="11"/>
                  </a:lnTo>
                  <a:lnTo>
                    <a:pt x="23" y="11"/>
                  </a:lnTo>
                  <a:close/>
                  <a:moveTo>
                    <a:pt x="7" y="0"/>
                  </a:moveTo>
                  <a:lnTo>
                    <a:pt x="8" y="0"/>
                  </a:lnTo>
                  <a:lnTo>
                    <a:pt x="8" y="0"/>
                  </a:lnTo>
                  <a:lnTo>
                    <a:pt x="8" y="0"/>
                  </a:lnTo>
                  <a:lnTo>
                    <a:pt x="8" y="1"/>
                  </a:lnTo>
                  <a:lnTo>
                    <a:pt x="8" y="1"/>
                  </a:lnTo>
                  <a:lnTo>
                    <a:pt x="10" y="1"/>
                  </a:lnTo>
                  <a:lnTo>
                    <a:pt x="10" y="1"/>
                  </a:lnTo>
                  <a:lnTo>
                    <a:pt x="10" y="1"/>
                  </a:lnTo>
                  <a:lnTo>
                    <a:pt x="10" y="1"/>
                  </a:lnTo>
                  <a:lnTo>
                    <a:pt x="10" y="1"/>
                  </a:lnTo>
                  <a:lnTo>
                    <a:pt x="12" y="3"/>
                  </a:lnTo>
                  <a:lnTo>
                    <a:pt x="12" y="3"/>
                  </a:lnTo>
                  <a:lnTo>
                    <a:pt x="12" y="3"/>
                  </a:lnTo>
                  <a:lnTo>
                    <a:pt x="12" y="3"/>
                  </a:lnTo>
                  <a:lnTo>
                    <a:pt x="13" y="3"/>
                  </a:lnTo>
                  <a:lnTo>
                    <a:pt x="13" y="1"/>
                  </a:lnTo>
                  <a:lnTo>
                    <a:pt x="13" y="1"/>
                  </a:lnTo>
                  <a:lnTo>
                    <a:pt x="13" y="3"/>
                  </a:lnTo>
                  <a:lnTo>
                    <a:pt x="13" y="3"/>
                  </a:lnTo>
                  <a:lnTo>
                    <a:pt x="15" y="3"/>
                  </a:lnTo>
                  <a:lnTo>
                    <a:pt x="15" y="3"/>
                  </a:lnTo>
                  <a:lnTo>
                    <a:pt x="15" y="3"/>
                  </a:lnTo>
                  <a:lnTo>
                    <a:pt x="17" y="3"/>
                  </a:lnTo>
                  <a:lnTo>
                    <a:pt x="17" y="4"/>
                  </a:lnTo>
                  <a:lnTo>
                    <a:pt x="17" y="4"/>
                  </a:lnTo>
                  <a:lnTo>
                    <a:pt x="17" y="4"/>
                  </a:lnTo>
                  <a:lnTo>
                    <a:pt x="18" y="6"/>
                  </a:lnTo>
                  <a:lnTo>
                    <a:pt x="18" y="6"/>
                  </a:lnTo>
                  <a:lnTo>
                    <a:pt x="18" y="6"/>
                  </a:lnTo>
                  <a:lnTo>
                    <a:pt x="18" y="6"/>
                  </a:lnTo>
                  <a:lnTo>
                    <a:pt x="18" y="6"/>
                  </a:lnTo>
                  <a:lnTo>
                    <a:pt x="18" y="8"/>
                  </a:lnTo>
                  <a:lnTo>
                    <a:pt x="18" y="8"/>
                  </a:lnTo>
                  <a:lnTo>
                    <a:pt x="17" y="8"/>
                  </a:lnTo>
                  <a:lnTo>
                    <a:pt x="17" y="8"/>
                  </a:lnTo>
                  <a:lnTo>
                    <a:pt x="15" y="8"/>
                  </a:lnTo>
                  <a:lnTo>
                    <a:pt x="15" y="8"/>
                  </a:lnTo>
                  <a:lnTo>
                    <a:pt x="15" y="8"/>
                  </a:lnTo>
                  <a:lnTo>
                    <a:pt x="15" y="8"/>
                  </a:lnTo>
                  <a:lnTo>
                    <a:pt x="15" y="8"/>
                  </a:lnTo>
                  <a:lnTo>
                    <a:pt x="13" y="9"/>
                  </a:lnTo>
                  <a:lnTo>
                    <a:pt x="13" y="9"/>
                  </a:lnTo>
                  <a:lnTo>
                    <a:pt x="13" y="9"/>
                  </a:lnTo>
                  <a:lnTo>
                    <a:pt x="12" y="9"/>
                  </a:lnTo>
                  <a:lnTo>
                    <a:pt x="12" y="9"/>
                  </a:lnTo>
                  <a:lnTo>
                    <a:pt x="12" y="9"/>
                  </a:lnTo>
                  <a:lnTo>
                    <a:pt x="10" y="9"/>
                  </a:lnTo>
                  <a:lnTo>
                    <a:pt x="10" y="9"/>
                  </a:lnTo>
                  <a:lnTo>
                    <a:pt x="10" y="9"/>
                  </a:lnTo>
                  <a:lnTo>
                    <a:pt x="10" y="9"/>
                  </a:lnTo>
                  <a:lnTo>
                    <a:pt x="8" y="9"/>
                  </a:lnTo>
                  <a:lnTo>
                    <a:pt x="7" y="9"/>
                  </a:lnTo>
                  <a:lnTo>
                    <a:pt x="7" y="9"/>
                  </a:lnTo>
                  <a:lnTo>
                    <a:pt x="5" y="9"/>
                  </a:lnTo>
                  <a:lnTo>
                    <a:pt x="5" y="9"/>
                  </a:lnTo>
                  <a:lnTo>
                    <a:pt x="5" y="9"/>
                  </a:lnTo>
                  <a:lnTo>
                    <a:pt x="4" y="8"/>
                  </a:lnTo>
                  <a:lnTo>
                    <a:pt x="4" y="8"/>
                  </a:lnTo>
                  <a:lnTo>
                    <a:pt x="4" y="8"/>
                  </a:lnTo>
                  <a:lnTo>
                    <a:pt x="4" y="8"/>
                  </a:lnTo>
                  <a:lnTo>
                    <a:pt x="4" y="8"/>
                  </a:lnTo>
                  <a:lnTo>
                    <a:pt x="2" y="8"/>
                  </a:lnTo>
                  <a:lnTo>
                    <a:pt x="2" y="8"/>
                  </a:lnTo>
                  <a:lnTo>
                    <a:pt x="2" y="8"/>
                  </a:lnTo>
                  <a:lnTo>
                    <a:pt x="2" y="8"/>
                  </a:lnTo>
                  <a:lnTo>
                    <a:pt x="2" y="6"/>
                  </a:lnTo>
                  <a:lnTo>
                    <a:pt x="2" y="6"/>
                  </a:lnTo>
                  <a:lnTo>
                    <a:pt x="2" y="4"/>
                  </a:lnTo>
                  <a:lnTo>
                    <a:pt x="2" y="4"/>
                  </a:lnTo>
                  <a:lnTo>
                    <a:pt x="2" y="4"/>
                  </a:lnTo>
                  <a:lnTo>
                    <a:pt x="2" y="4"/>
                  </a:lnTo>
                  <a:lnTo>
                    <a:pt x="2" y="4"/>
                  </a:lnTo>
                  <a:lnTo>
                    <a:pt x="2" y="3"/>
                  </a:lnTo>
                  <a:lnTo>
                    <a:pt x="0" y="3"/>
                  </a:lnTo>
                  <a:lnTo>
                    <a:pt x="0" y="1"/>
                  </a:lnTo>
                  <a:lnTo>
                    <a:pt x="0" y="1"/>
                  </a:lnTo>
                  <a:lnTo>
                    <a:pt x="2" y="1"/>
                  </a:lnTo>
                  <a:lnTo>
                    <a:pt x="4" y="1"/>
                  </a:lnTo>
                  <a:lnTo>
                    <a:pt x="4" y="1"/>
                  </a:lnTo>
                  <a:lnTo>
                    <a:pt x="5" y="0"/>
                  </a:lnTo>
                  <a:lnTo>
                    <a:pt x="5" y="1"/>
                  </a:lnTo>
                  <a:lnTo>
                    <a:pt x="5" y="0"/>
                  </a:lnTo>
                  <a:lnTo>
                    <a:pt x="5" y="0"/>
                  </a:lnTo>
                  <a:lnTo>
                    <a:pt x="7" y="0"/>
                  </a:lnTo>
                  <a:lnTo>
                    <a:pt x="7" y="0"/>
                  </a:lnTo>
                  <a:close/>
                  <a:moveTo>
                    <a:pt x="20" y="8"/>
                  </a:moveTo>
                  <a:lnTo>
                    <a:pt x="20" y="9"/>
                  </a:lnTo>
                  <a:lnTo>
                    <a:pt x="20" y="9"/>
                  </a:lnTo>
                  <a:lnTo>
                    <a:pt x="22" y="9"/>
                  </a:lnTo>
                  <a:lnTo>
                    <a:pt x="20" y="9"/>
                  </a:lnTo>
                  <a:lnTo>
                    <a:pt x="18" y="11"/>
                  </a:lnTo>
                  <a:lnTo>
                    <a:pt x="18" y="11"/>
                  </a:lnTo>
                  <a:lnTo>
                    <a:pt x="18" y="11"/>
                  </a:lnTo>
                  <a:lnTo>
                    <a:pt x="18" y="11"/>
                  </a:lnTo>
                  <a:lnTo>
                    <a:pt x="18" y="9"/>
                  </a:lnTo>
                  <a:lnTo>
                    <a:pt x="18" y="9"/>
                  </a:lnTo>
                  <a:lnTo>
                    <a:pt x="18" y="9"/>
                  </a:lnTo>
                  <a:lnTo>
                    <a:pt x="17" y="9"/>
                  </a:lnTo>
                  <a:lnTo>
                    <a:pt x="18" y="8"/>
                  </a:lnTo>
                  <a:lnTo>
                    <a:pt x="18" y="8"/>
                  </a:lnTo>
                  <a:lnTo>
                    <a:pt x="18" y="8"/>
                  </a:lnTo>
                  <a:lnTo>
                    <a:pt x="18" y="8"/>
                  </a:lnTo>
                  <a:lnTo>
                    <a:pt x="20" y="9"/>
                  </a:lnTo>
                  <a:lnTo>
                    <a:pt x="20" y="8"/>
                  </a:lnTo>
                  <a:lnTo>
                    <a:pt x="20" y="8"/>
                  </a:lnTo>
                  <a:lnTo>
                    <a:pt x="20" y="8"/>
                  </a:lnTo>
                  <a:lnTo>
                    <a:pt x="20" y="8"/>
                  </a:lnTo>
                  <a:close/>
                  <a:moveTo>
                    <a:pt x="18" y="9"/>
                  </a:moveTo>
                  <a:lnTo>
                    <a:pt x="18" y="9"/>
                  </a:lnTo>
                  <a:lnTo>
                    <a:pt x="17" y="9"/>
                  </a:lnTo>
                  <a:lnTo>
                    <a:pt x="17" y="9"/>
                  </a:lnTo>
                  <a:lnTo>
                    <a:pt x="17" y="9"/>
                  </a:lnTo>
                  <a:lnTo>
                    <a:pt x="17" y="9"/>
                  </a:lnTo>
                  <a:lnTo>
                    <a:pt x="17" y="9"/>
                  </a:lnTo>
                  <a:lnTo>
                    <a:pt x="17" y="9"/>
                  </a:lnTo>
                  <a:lnTo>
                    <a:pt x="18" y="9"/>
                  </a:lnTo>
                  <a:close/>
                  <a:moveTo>
                    <a:pt x="28" y="16"/>
                  </a:moveTo>
                  <a:lnTo>
                    <a:pt x="26" y="16"/>
                  </a:lnTo>
                  <a:lnTo>
                    <a:pt x="26" y="16"/>
                  </a:lnTo>
                  <a:lnTo>
                    <a:pt x="26" y="16"/>
                  </a:lnTo>
                  <a:lnTo>
                    <a:pt x="28" y="16"/>
                  </a:lnTo>
                  <a:lnTo>
                    <a:pt x="28" y="16"/>
                  </a:lnTo>
                  <a:lnTo>
                    <a:pt x="28" y="16"/>
                  </a:lnTo>
                  <a:close/>
                  <a:moveTo>
                    <a:pt x="30" y="40"/>
                  </a:moveTo>
                  <a:lnTo>
                    <a:pt x="30" y="40"/>
                  </a:lnTo>
                  <a:lnTo>
                    <a:pt x="30" y="40"/>
                  </a:lnTo>
                  <a:lnTo>
                    <a:pt x="30" y="40"/>
                  </a:lnTo>
                  <a:lnTo>
                    <a:pt x="30" y="40"/>
                  </a:lnTo>
                  <a:lnTo>
                    <a:pt x="30" y="40"/>
                  </a:lnTo>
                  <a:lnTo>
                    <a:pt x="30" y="40"/>
                  </a:lnTo>
                  <a:close/>
                </a:path>
              </a:pathLst>
            </a:custGeom>
            <a:solidFill>
              <a:srgbClr val="1EC08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1204" name="Freeform 50">
              <a:extLst>
                <a:ext uri="{FF2B5EF4-FFF2-40B4-BE49-F238E27FC236}">
                  <a16:creationId xmlns:a16="http://schemas.microsoft.com/office/drawing/2014/main" id="{43AF73C7-0AD3-26C1-E439-9AAEB8EEBBB4}"/>
                </a:ext>
              </a:extLst>
            </p:cNvPr>
            <p:cNvSpPr>
              <a:spLocks noEditPoints="1"/>
            </p:cNvSpPr>
            <p:nvPr/>
          </p:nvSpPr>
          <p:spPr bwMode="auto">
            <a:xfrm>
              <a:off x="3611" y="3234"/>
              <a:ext cx="356" cy="399"/>
            </a:xfrm>
            <a:custGeom>
              <a:avLst/>
              <a:gdLst>
                <a:gd name="T0" fmla="*/ 68 w 356"/>
                <a:gd name="T1" fmla="*/ 304 h 399"/>
                <a:gd name="T2" fmla="*/ 43 w 356"/>
                <a:gd name="T3" fmla="*/ 320 h 399"/>
                <a:gd name="T4" fmla="*/ 11 w 356"/>
                <a:gd name="T5" fmla="*/ 290 h 399"/>
                <a:gd name="T6" fmla="*/ 32 w 356"/>
                <a:gd name="T7" fmla="*/ 273 h 399"/>
                <a:gd name="T8" fmla="*/ 125 w 356"/>
                <a:gd name="T9" fmla="*/ 251 h 399"/>
                <a:gd name="T10" fmla="*/ 135 w 356"/>
                <a:gd name="T11" fmla="*/ 254 h 399"/>
                <a:gd name="T12" fmla="*/ 120 w 356"/>
                <a:gd name="T13" fmla="*/ 249 h 399"/>
                <a:gd name="T14" fmla="*/ 128 w 356"/>
                <a:gd name="T15" fmla="*/ 247 h 399"/>
                <a:gd name="T16" fmla="*/ 139 w 356"/>
                <a:gd name="T17" fmla="*/ 254 h 399"/>
                <a:gd name="T18" fmla="*/ 107 w 356"/>
                <a:gd name="T19" fmla="*/ 254 h 399"/>
                <a:gd name="T20" fmla="*/ 117 w 356"/>
                <a:gd name="T21" fmla="*/ 239 h 399"/>
                <a:gd name="T22" fmla="*/ 99 w 356"/>
                <a:gd name="T23" fmla="*/ 225 h 399"/>
                <a:gd name="T24" fmla="*/ 89 w 356"/>
                <a:gd name="T25" fmla="*/ 226 h 399"/>
                <a:gd name="T26" fmla="*/ 83 w 356"/>
                <a:gd name="T27" fmla="*/ 225 h 399"/>
                <a:gd name="T28" fmla="*/ 78 w 356"/>
                <a:gd name="T29" fmla="*/ 283 h 399"/>
                <a:gd name="T30" fmla="*/ 32 w 356"/>
                <a:gd name="T31" fmla="*/ 288 h 399"/>
                <a:gd name="T32" fmla="*/ 16 w 356"/>
                <a:gd name="T33" fmla="*/ 265 h 399"/>
                <a:gd name="T34" fmla="*/ 29 w 356"/>
                <a:gd name="T35" fmla="*/ 267 h 399"/>
                <a:gd name="T36" fmla="*/ 60 w 356"/>
                <a:gd name="T37" fmla="*/ 278 h 399"/>
                <a:gd name="T38" fmla="*/ 58 w 356"/>
                <a:gd name="T39" fmla="*/ 267 h 399"/>
                <a:gd name="T40" fmla="*/ 65 w 356"/>
                <a:gd name="T41" fmla="*/ 262 h 399"/>
                <a:gd name="T42" fmla="*/ 48 w 356"/>
                <a:gd name="T43" fmla="*/ 241 h 399"/>
                <a:gd name="T44" fmla="*/ 66 w 356"/>
                <a:gd name="T45" fmla="*/ 215 h 399"/>
                <a:gd name="T46" fmla="*/ 97 w 356"/>
                <a:gd name="T47" fmla="*/ 234 h 399"/>
                <a:gd name="T48" fmla="*/ 97 w 356"/>
                <a:gd name="T49" fmla="*/ 252 h 399"/>
                <a:gd name="T50" fmla="*/ 182 w 356"/>
                <a:gd name="T51" fmla="*/ 223 h 399"/>
                <a:gd name="T52" fmla="*/ 136 w 356"/>
                <a:gd name="T53" fmla="*/ 239 h 399"/>
                <a:gd name="T54" fmla="*/ 152 w 356"/>
                <a:gd name="T55" fmla="*/ 161 h 399"/>
                <a:gd name="T56" fmla="*/ 154 w 356"/>
                <a:gd name="T57" fmla="*/ 57 h 399"/>
                <a:gd name="T58" fmla="*/ 175 w 356"/>
                <a:gd name="T59" fmla="*/ 29 h 399"/>
                <a:gd name="T60" fmla="*/ 206 w 356"/>
                <a:gd name="T61" fmla="*/ 15 h 399"/>
                <a:gd name="T62" fmla="*/ 104 w 356"/>
                <a:gd name="T63" fmla="*/ 257 h 399"/>
                <a:gd name="T64" fmla="*/ 167 w 356"/>
                <a:gd name="T65" fmla="*/ 254 h 399"/>
                <a:gd name="T66" fmla="*/ 170 w 356"/>
                <a:gd name="T67" fmla="*/ 244 h 399"/>
                <a:gd name="T68" fmla="*/ 157 w 356"/>
                <a:gd name="T69" fmla="*/ 216 h 399"/>
                <a:gd name="T70" fmla="*/ 86 w 356"/>
                <a:gd name="T71" fmla="*/ 223 h 399"/>
                <a:gd name="T72" fmla="*/ 117 w 356"/>
                <a:gd name="T73" fmla="*/ 153 h 399"/>
                <a:gd name="T74" fmla="*/ 148 w 356"/>
                <a:gd name="T75" fmla="*/ 159 h 399"/>
                <a:gd name="T76" fmla="*/ 196 w 356"/>
                <a:gd name="T77" fmla="*/ 143 h 399"/>
                <a:gd name="T78" fmla="*/ 221 w 356"/>
                <a:gd name="T79" fmla="*/ 99 h 399"/>
                <a:gd name="T80" fmla="*/ 198 w 356"/>
                <a:gd name="T81" fmla="*/ 68 h 399"/>
                <a:gd name="T82" fmla="*/ 182 w 356"/>
                <a:gd name="T83" fmla="*/ 109 h 399"/>
                <a:gd name="T84" fmla="*/ 161 w 356"/>
                <a:gd name="T85" fmla="*/ 133 h 399"/>
                <a:gd name="T86" fmla="*/ 159 w 356"/>
                <a:gd name="T87" fmla="*/ 159 h 399"/>
                <a:gd name="T88" fmla="*/ 126 w 356"/>
                <a:gd name="T89" fmla="*/ 119 h 399"/>
                <a:gd name="T90" fmla="*/ 165 w 356"/>
                <a:gd name="T91" fmla="*/ 80 h 399"/>
                <a:gd name="T92" fmla="*/ 247 w 356"/>
                <a:gd name="T93" fmla="*/ 21 h 399"/>
                <a:gd name="T94" fmla="*/ 323 w 356"/>
                <a:gd name="T95" fmla="*/ 16 h 399"/>
                <a:gd name="T96" fmla="*/ 356 w 356"/>
                <a:gd name="T97" fmla="*/ 51 h 399"/>
                <a:gd name="T98" fmla="*/ 309 w 356"/>
                <a:gd name="T99" fmla="*/ 133 h 399"/>
                <a:gd name="T100" fmla="*/ 317 w 356"/>
                <a:gd name="T101" fmla="*/ 207 h 399"/>
                <a:gd name="T102" fmla="*/ 276 w 356"/>
                <a:gd name="T103" fmla="*/ 244 h 399"/>
                <a:gd name="T104" fmla="*/ 240 w 356"/>
                <a:gd name="T105" fmla="*/ 262 h 399"/>
                <a:gd name="T106" fmla="*/ 248 w 356"/>
                <a:gd name="T107" fmla="*/ 343 h 399"/>
                <a:gd name="T108" fmla="*/ 232 w 356"/>
                <a:gd name="T109" fmla="*/ 392 h 399"/>
                <a:gd name="T110" fmla="*/ 204 w 356"/>
                <a:gd name="T111" fmla="*/ 376 h 399"/>
                <a:gd name="T112" fmla="*/ 211 w 356"/>
                <a:gd name="T113" fmla="*/ 335 h 399"/>
                <a:gd name="T114" fmla="*/ 148 w 356"/>
                <a:gd name="T115" fmla="*/ 290 h 399"/>
                <a:gd name="T116" fmla="*/ 96 w 356"/>
                <a:gd name="T117" fmla="*/ 288 h 399"/>
                <a:gd name="T118" fmla="*/ 78 w 356"/>
                <a:gd name="T119" fmla="*/ 280 h 399"/>
                <a:gd name="T120" fmla="*/ 141 w 356"/>
                <a:gd name="T121" fmla="*/ 296 h 399"/>
                <a:gd name="T122" fmla="*/ 255 w 356"/>
                <a:gd name="T123" fmla="*/ 10 h 399"/>
                <a:gd name="T124" fmla="*/ 292 w 356"/>
                <a:gd name="T125" fmla="*/ 2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56" h="399">
                  <a:moveTo>
                    <a:pt x="40" y="303"/>
                  </a:moveTo>
                  <a:lnTo>
                    <a:pt x="40" y="304"/>
                  </a:lnTo>
                  <a:lnTo>
                    <a:pt x="40" y="307"/>
                  </a:lnTo>
                  <a:lnTo>
                    <a:pt x="42" y="307"/>
                  </a:lnTo>
                  <a:lnTo>
                    <a:pt x="42" y="309"/>
                  </a:lnTo>
                  <a:lnTo>
                    <a:pt x="42" y="311"/>
                  </a:lnTo>
                  <a:lnTo>
                    <a:pt x="40" y="311"/>
                  </a:lnTo>
                  <a:lnTo>
                    <a:pt x="40" y="312"/>
                  </a:lnTo>
                  <a:lnTo>
                    <a:pt x="39" y="316"/>
                  </a:lnTo>
                  <a:lnTo>
                    <a:pt x="37" y="317"/>
                  </a:lnTo>
                  <a:lnTo>
                    <a:pt x="37" y="319"/>
                  </a:lnTo>
                  <a:lnTo>
                    <a:pt x="37" y="317"/>
                  </a:lnTo>
                  <a:lnTo>
                    <a:pt x="39" y="317"/>
                  </a:lnTo>
                  <a:lnTo>
                    <a:pt x="39" y="316"/>
                  </a:lnTo>
                  <a:lnTo>
                    <a:pt x="40" y="312"/>
                  </a:lnTo>
                  <a:lnTo>
                    <a:pt x="42" y="312"/>
                  </a:lnTo>
                  <a:lnTo>
                    <a:pt x="42" y="311"/>
                  </a:lnTo>
                  <a:lnTo>
                    <a:pt x="42" y="309"/>
                  </a:lnTo>
                  <a:lnTo>
                    <a:pt x="40" y="306"/>
                  </a:lnTo>
                  <a:lnTo>
                    <a:pt x="42" y="304"/>
                  </a:lnTo>
                  <a:lnTo>
                    <a:pt x="40" y="304"/>
                  </a:lnTo>
                  <a:lnTo>
                    <a:pt x="40" y="303"/>
                  </a:lnTo>
                  <a:lnTo>
                    <a:pt x="40" y="301"/>
                  </a:lnTo>
                  <a:lnTo>
                    <a:pt x="42" y="301"/>
                  </a:lnTo>
                  <a:lnTo>
                    <a:pt x="45" y="301"/>
                  </a:lnTo>
                  <a:lnTo>
                    <a:pt x="47" y="301"/>
                  </a:lnTo>
                  <a:lnTo>
                    <a:pt x="47" y="299"/>
                  </a:lnTo>
                  <a:lnTo>
                    <a:pt x="48" y="299"/>
                  </a:lnTo>
                  <a:lnTo>
                    <a:pt x="50" y="298"/>
                  </a:lnTo>
                  <a:lnTo>
                    <a:pt x="52" y="298"/>
                  </a:lnTo>
                  <a:lnTo>
                    <a:pt x="53" y="298"/>
                  </a:lnTo>
                  <a:lnTo>
                    <a:pt x="53" y="296"/>
                  </a:lnTo>
                  <a:lnTo>
                    <a:pt x="55" y="296"/>
                  </a:lnTo>
                  <a:lnTo>
                    <a:pt x="53" y="294"/>
                  </a:lnTo>
                  <a:lnTo>
                    <a:pt x="55" y="293"/>
                  </a:lnTo>
                  <a:lnTo>
                    <a:pt x="56" y="293"/>
                  </a:lnTo>
                  <a:lnTo>
                    <a:pt x="58" y="293"/>
                  </a:lnTo>
                  <a:lnTo>
                    <a:pt x="60" y="294"/>
                  </a:lnTo>
                  <a:lnTo>
                    <a:pt x="60" y="296"/>
                  </a:lnTo>
                  <a:lnTo>
                    <a:pt x="61" y="298"/>
                  </a:lnTo>
                  <a:lnTo>
                    <a:pt x="61" y="299"/>
                  </a:lnTo>
                  <a:lnTo>
                    <a:pt x="65" y="299"/>
                  </a:lnTo>
                  <a:lnTo>
                    <a:pt x="66" y="301"/>
                  </a:lnTo>
                  <a:lnTo>
                    <a:pt x="68" y="301"/>
                  </a:lnTo>
                  <a:lnTo>
                    <a:pt x="68" y="303"/>
                  </a:lnTo>
                  <a:lnTo>
                    <a:pt x="68" y="304"/>
                  </a:lnTo>
                  <a:lnTo>
                    <a:pt x="70" y="304"/>
                  </a:lnTo>
                  <a:lnTo>
                    <a:pt x="68" y="304"/>
                  </a:lnTo>
                  <a:lnTo>
                    <a:pt x="68" y="303"/>
                  </a:lnTo>
                  <a:lnTo>
                    <a:pt x="68" y="301"/>
                  </a:lnTo>
                  <a:lnTo>
                    <a:pt x="66" y="299"/>
                  </a:lnTo>
                  <a:lnTo>
                    <a:pt x="68" y="299"/>
                  </a:lnTo>
                  <a:lnTo>
                    <a:pt x="70" y="299"/>
                  </a:lnTo>
                  <a:lnTo>
                    <a:pt x="70" y="301"/>
                  </a:lnTo>
                  <a:lnTo>
                    <a:pt x="70" y="303"/>
                  </a:lnTo>
                  <a:lnTo>
                    <a:pt x="71" y="303"/>
                  </a:lnTo>
                  <a:lnTo>
                    <a:pt x="71" y="301"/>
                  </a:lnTo>
                  <a:lnTo>
                    <a:pt x="73" y="301"/>
                  </a:lnTo>
                  <a:lnTo>
                    <a:pt x="71" y="301"/>
                  </a:lnTo>
                  <a:lnTo>
                    <a:pt x="70" y="299"/>
                  </a:lnTo>
                  <a:lnTo>
                    <a:pt x="71" y="299"/>
                  </a:lnTo>
                  <a:lnTo>
                    <a:pt x="73" y="299"/>
                  </a:lnTo>
                  <a:lnTo>
                    <a:pt x="73" y="301"/>
                  </a:lnTo>
                  <a:lnTo>
                    <a:pt x="74" y="301"/>
                  </a:lnTo>
                  <a:lnTo>
                    <a:pt x="73" y="301"/>
                  </a:lnTo>
                  <a:lnTo>
                    <a:pt x="73" y="299"/>
                  </a:lnTo>
                  <a:lnTo>
                    <a:pt x="73" y="298"/>
                  </a:lnTo>
                  <a:lnTo>
                    <a:pt x="74" y="298"/>
                  </a:lnTo>
                  <a:lnTo>
                    <a:pt x="74" y="299"/>
                  </a:lnTo>
                  <a:lnTo>
                    <a:pt x="76" y="299"/>
                  </a:lnTo>
                  <a:lnTo>
                    <a:pt x="76" y="301"/>
                  </a:lnTo>
                  <a:lnTo>
                    <a:pt x="78" y="303"/>
                  </a:lnTo>
                  <a:lnTo>
                    <a:pt x="78" y="304"/>
                  </a:lnTo>
                  <a:lnTo>
                    <a:pt x="71" y="309"/>
                  </a:lnTo>
                  <a:lnTo>
                    <a:pt x="68" y="312"/>
                  </a:lnTo>
                  <a:lnTo>
                    <a:pt x="61" y="316"/>
                  </a:lnTo>
                  <a:lnTo>
                    <a:pt x="60" y="316"/>
                  </a:lnTo>
                  <a:lnTo>
                    <a:pt x="60" y="317"/>
                  </a:lnTo>
                  <a:lnTo>
                    <a:pt x="58" y="316"/>
                  </a:lnTo>
                  <a:lnTo>
                    <a:pt x="58" y="317"/>
                  </a:lnTo>
                  <a:lnTo>
                    <a:pt x="56" y="317"/>
                  </a:lnTo>
                  <a:lnTo>
                    <a:pt x="56" y="316"/>
                  </a:lnTo>
                  <a:lnTo>
                    <a:pt x="55" y="317"/>
                  </a:lnTo>
                  <a:lnTo>
                    <a:pt x="53" y="319"/>
                  </a:lnTo>
                  <a:lnTo>
                    <a:pt x="52" y="319"/>
                  </a:lnTo>
                  <a:lnTo>
                    <a:pt x="50" y="319"/>
                  </a:lnTo>
                  <a:lnTo>
                    <a:pt x="48" y="320"/>
                  </a:lnTo>
                  <a:lnTo>
                    <a:pt x="48" y="319"/>
                  </a:lnTo>
                  <a:lnTo>
                    <a:pt x="48" y="320"/>
                  </a:lnTo>
                  <a:lnTo>
                    <a:pt x="47" y="320"/>
                  </a:lnTo>
                  <a:lnTo>
                    <a:pt x="45" y="320"/>
                  </a:lnTo>
                  <a:lnTo>
                    <a:pt x="43" y="320"/>
                  </a:lnTo>
                  <a:lnTo>
                    <a:pt x="45" y="319"/>
                  </a:lnTo>
                  <a:lnTo>
                    <a:pt x="43" y="319"/>
                  </a:lnTo>
                  <a:lnTo>
                    <a:pt x="42" y="320"/>
                  </a:lnTo>
                  <a:lnTo>
                    <a:pt x="40" y="319"/>
                  </a:lnTo>
                  <a:lnTo>
                    <a:pt x="39" y="319"/>
                  </a:lnTo>
                  <a:lnTo>
                    <a:pt x="37" y="319"/>
                  </a:lnTo>
                  <a:lnTo>
                    <a:pt x="37" y="317"/>
                  </a:lnTo>
                  <a:lnTo>
                    <a:pt x="37" y="314"/>
                  </a:lnTo>
                  <a:lnTo>
                    <a:pt x="37" y="312"/>
                  </a:lnTo>
                  <a:lnTo>
                    <a:pt x="35" y="312"/>
                  </a:lnTo>
                  <a:lnTo>
                    <a:pt x="34" y="312"/>
                  </a:lnTo>
                  <a:lnTo>
                    <a:pt x="34" y="311"/>
                  </a:lnTo>
                  <a:lnTo>
                    <a:pt x="30" y="309"/>
                  </a:lnTo>
                  <a:lnTo>
                    <a:pt x="29" y="309"/>
                  </a:lnTo>
                  <a:lnTo>
                    <a:pt x="27" y="309"/>
                  </a:lnTo>
                  <a:lnTo>
                    <a:pt x="27" y="307"/>
                  </a:lnTo>
                  <a:lnTo>
                    <a:pt x="26" y="307"/>
                  </a:lnTo>
                  <a:lnTo>
                    <a:pt x="24" y="306"/>
                  </a:lnTo>
                  <a:lnTo>
                    <a:pt x="24" y="307"/>
                  </a:lnTo>
                  <a:lnTo>
                    <a:pt x="19" y="304"/>
                  </a:lnTo>
                  <a:lnTo>
                    <a:pt x="17" y="306"/>
                  </a:lnTo>
                  <a:lnTo>
                    <a:pt x="19" y="306"/>
                  </a:lnTo>
                  <a:lnTo>
                    <a:pt x="16" y="306"/>
                  </a:lnTo>
                  <a:lnTo>
                    <a:pt x="14" y="306"/>
                  </a:lnTo>
                  <a:lnTo>
                    <a:pt x="13" y="306"/>
                  </a:lnTo>
                  <a:lnTo>
                    <a:pt x="13" y="312"/>
                  </a:lnTo>
                  <a:lnTo>
                    <a:pt x="8" y="312"/>
                  </a:lnTo>
                  <a:lnTo>
                    <a:pt x="4" y="312"/>
                  </a:lnTo>
                  <a:lnTo>
                    <a:pt x="4" y="311"/>
                  </a:lnTo>
                  <a:lnTo>
                    <a:pt x="3" y="309"/>
                  </a:lnTo>
                  <a:lnTo>
                    <a:pt x="1" y="309"/>
                  </a:lnTo>
                  <a:lnTo>
                    <a:pt x="1" y="307"/>
                  </a:lnTo>
                  <a:lnTo>
                    <a:pt x="0" y="306"/>
                  </a:lnTo>
                  <a:lnTo>
                    <a:pt x="0" y="304"/>
                  </a:lnTo>
                  <a:lnTo>
                    <a:pt x="0" y="303"/>
                  </a:lnTo>
                  <a:lnTo>
                    <a:pt x="0" y="301"/>
                  </a:lnTo>
                  <a:lnTo>
                    <a:pt x="1" y="298"/>
                  </a:lnTo>
                  <a:lnTo>
                    <a:pt x="1" y="296"/>
                  </a:lnTo>
                  <a:lnTo>
                    <a:pt x="1" y="294"/>
                  </a:lnTo>
                  <a:lnTo>
                    <a:pt x="1" y="293"/>
                  </a:lnTo>
                  <a:lnTo>
                    <a:pt x="1" y="291"/>
                  </a:lnTo>
                  <a:lnTo>
                    <a:pt x="4" y="291"/>
                  </a:lnTo>
                  <a:lnTo>
                    <a:pt x="6" y="291"/>
                  </a:lnTo>
                  <a:lnTo>
                    <a:pt x="8" y="290"/>
                  </a:lnTo>
                  <a:lnTo>
                    <a:pt x="9" y="290"/>
                  </a:lnTo>
                  <a:lnTo>
                    <a:pt x="11" y="290"/>
                  </a:lnTo>
                  <a:lnTo>
                    <a:pt x="13" y="290"/>
                  </a:lnTo>
                  <a:lnTo>
                    <a:pt x="13" y="288"/>
                  </a:lnTo>
                  <a:lnTo>
                    <a:pt x="13" y="290"/>
                  </a:lnTo>
                  <a:lnTo>
                    <a:pt x="14" y="290"/>
                  </a:lnTo>
                  <a:lnTo>
                    <a:pt x="17" y="290"/>
                  </a:lnTo>
                  <a:lnTo>
                    <a:pt x="19" y="290"/>
                  </a:lnTo>
                  <a:lnTo>
                    <a:pt x="19" y="291"/>
                  </a:lnTo>
                  <a:lnTo>
                    <a:pt x="21" y="293"/>
                  </a:lnTo>
                  <a:lnTo>
                    <a:pt x="22" y="293"/>
                  </a:lnTo>
                  <a:lnTo>
                    <a:pt x="26" y="294"/>
                  </a:lnTo>
                  <a:lnTo>
                    <a:pt x="27" y="294"/>
                  </a:lnTo>
                  <a:lnTo>
                    <a:pt x="29" y="296"/>
                  </a:lnTo>
                  <a:lnTo>
                    <a:pt x="29" y="298"/>
                  </a:lnTo>
                  <a:lnTo>
                    <a:pt x="29" y="296"/>
                  </a:lnTo>
                  <a:lnTo>
                    <a:pt x="30" y="296"/>
                  </a:lnTo>
                  <a:lnTo>
                    <a:pt x="30" y="298"/>
                  </a:lnTo>
                  <a:lnTo>
                    <a:pt x="32" y="299"/>
                  </a:lnTo>
                  <a:lnTo>
                    <a:pt x="34" y="299"/>
                  </a:lnTo>
                  <a:lnTo>
                    <a:pt x="35" y="299"/>
                  </a:lnTo>
                  <a:lnTo>
                    <a:pt x="34" y="299"/>
                  </a:lnTo>
                  <a:lnTo>
                    <a:pt x="35" y="301"/>
                  </a:lnTo>
                  <a:lnTo>
                    <a:pt x="35" y="299"/>
                  </a:lnTo>
                  <a:lnTo>
                    <a:pt x="37" y="299"/>
                  </a:lnTo>
                  <a:lnTo>
                    <a:pt x="39" y="299"/>
                  </a:lnTo>
                  <a:lnTo>
                    <a:pt x="39" y="301"/>
                  </a:lnTo>
                  <a:lnTo>
                    <a:pt x="40" y="303"/>
                  </a:lnTo>
                  <a:close/>
                  <a:moveTo>
                    <a:pt x="78" y="296"/>
                  </a:moveTo>
                  <a:lnTo>
                    <a:pt x="79" y="296"/>
                  </a:lnTo>
                  <a:lnTo>
                    <a:pt x="79" y="298"/>
                  </a:lnTo>
                  <a:lnTo>
                    <a:pt x="79" y="299"/>
                  </a:lnTo>
                  <a:lnTo>
                    <a:pt x="81" y="299"/>
                  </a:lnTo>
                  <a:lnTo>
                    <a:pt x="79" y="299"/>
                  </a:lnTo>
                  <a:lnTo>
                    <a:pt x="79" y="298"/>
                  </a:lnTo>
                  <a:lnTo>
                    <a:pt x="78" y="296"/>
                  </a:lnTo>
                  <a:lnTo>
                    <a:pt x="78" y="293"/>
                  </a:lnTo>
                  <a:lnTo>
                    <a:pt x="78" y="291"/>
                  </a:lnTo>
                  <a:lnTo>
                    <a:pt x="78" y="290"/>
                  </a:lnTo>
                  <a:lnTo>
                    <a:pt x="78" y="288"/>
                  </a:lnTo>
                  <a:lnTo>
                    <a:pt x="78" y="286"/>
                  </a:lnTo>
                  <a:lnTo>
                    <a:pt x="78" y="288"/>
                  </a:lnTo>
                  <a:lnTo>
                    <a:pt x="78" y="290"/>
                  </a:lnTo>
                  <a:lnTo>
                    <a:pt x="78" y="291"/>
                  </a:lnTo>
                  <a:lnTo>
                    <a:pt x="79" y="294"/>
                  </a:lnTo>
                  <a:lnTo>
                    <a:pt x="78" y="296"/>
                  </a:lnTo>
                  <a:close/>
                  <a:moveTo>
                    <a:pt x="30" y="273"/>
                  </a:moveTo>
                  <a:lnTo>
                    <a:pt x="32" y="273"/>
                  </a:lnTo>
                  <a:lnTo>
                    <a:pt x="30" y="273"/>
                  </a:lnTo>
                  <a:close/>
                  <a:moveTo>
                    <a:pt x="39" y="270"/>
                  </a:moveTo>
                  <a:lnTo>
                    <a:pt x="37" y="270"/>
                  </a:lnTo>
                  <a:lnTo>
                    <a:pt x="39" y="270"/>
                  </a:lnTo>
                  <a:close/>
                  <a:moveTo>
                    <a:pt x="30" y="270"/>
                  </a:moveTo>
                  <a:lnTo>
                    <a:pt x="32" y="270"/>
                  </a:lnTo>
                  <a:lnTo>
                    <a:pt x="32" y="272"/>
                  </a:lnTo>
                  <a:lnTo>
                    <a:pt x="30" y="272"/>
                  </a:lnTo>
                  <a:lnTo>
                    <a:pt x="32" y="272"/>
                  </a:lnTo>
                  <a:lnTo>
                    <a:pt x="30" y="272"/>
                  </a:lnTo>
                  <a:lnTo>
                    <a:pt x="30" y="270"/>
                  </a:lnTo>
                  <a:close/>
                  <a:moveTo>
                    <a:pt x="29" y="268"/>
                  </a:moveTo>
                  <a:lnTo>
                    <a:pt x="30" y="268"/>
                  </a:lnTo>
                  <a:lnTo>
                    <a:pt x="29" y="268"/>
                  </a:lnTo>
                  <a:close/>
                  <a:moveTo>
                    <a:pt x="34" y="257"/>
                  </a:moveTo>
                  <a:lnTo>
                    <a:pt x="35" y="257"/>
                  </a:lnTo>
                  <a:lnTo>
                    <a:pt x="35" y="259"/>
                  </a:lnTo>
                  <a:lnTo>
                    <a:pt x="34" y="259"/>
                  </a:lnTo>
                  <a:lnTo>
                    <a:pt x="35" y="259"/>
                  </a:lnTo>
                  <a:lnTo>
                    <a:pt x="35" y="257"/>
                  </a:lnTo>
                  <a:lnTo>
                    <a:pt x="35" y="259"/>
                  </a:lnTo>
                  <a:lnTo>
                    <a:pt x="34" y="259"/>
                  </a:lnTo>
                  <a:lnTo>
                    <a:pt x="34" y="260"/>
                  </a:lnTo>
                  <a:lnTo>
                    <a:pt x="34" y="259"/>
                  </a:lnTo>
                  <a:lnTo>
                    <a:pt x="32" y="259"/>
                  </a:lnTo>
                  <a:lnTo>
                    <a:pt x="32" y="260"/>
                  </a:lnTo>
                  <a:lnTo>
                    <a:pt x="30" y="260"/>
                  </a:lnTo>
                  <a:lnTo>
                    <a:pt x="32" y="260"/>
                  </a:lnTo>
                  <a:lnTo>
                    <a:pt x="30" y="260"/>
                  </a:lnTo>
                  <a:lnTo>
                    <a:pt x="30" y="259"/>
                  </a:lnTo>
                  <a:lnTo>
                    <a:pt x="32" y="259"/>
                  </a:lnTo>
                  <a:lnTo>
                    <a:pt x="34" y="257"/>
                  </a:lnTo>
                  <a:close/>
                  <a:moveTo>
                    <a:pt x="35" y="255"/>
                  </a:moveTo>
                  <a:lnTo>
                    <a:pt x="37" y="255"/>
                  </a:lnTo>
                  <a:lnTo>
                    <a:pt x="35" y="255"/>
                  </a:lnTo>
                  <a:close/>
                  <a:moveTo>
                    <a:pt x="74" y="257"/>
                  </a:moveTo>
                  <a:lnTo>
                    <a:pt x="76" y="257"/>
                  </a:lnTo>
                  <a:lnTo>
                    <a:pt x="74" y="257"/>
                  </a:lnTo>
                  <a:close/>
                  <a:moveTo>
                    <a:pt x="113" y="255"/>
                  </a:moveTo>
                  <a:lnTo>
                    <a:pt x="113" y="254"/>
                  </a:lnTo>
                  <a:lnTo>
                    <a:pt x="113" y="255"/>
                  </a:lnTo>
                  <a:close/>
                  <a:moveTo>
                    <a:pt x="125" y="252"/>
                  </a:moveTo>
                  <a:lnTo>
                    <a:pt x="125" y="251"/>
                  </a:lnTo>
                  <a:lnTo>
                    <a:pt x="125" y="252"/>
                  </a:lnTo>
                  <a:close/>
                  <a:moveTo>
                    <a:pt x="126" y="251"/>
                  </a:moveTo>
                  <a:lnTo>
                    <a:pt x="125" y="251"/>
                  </a:lnTo>
                  <a:lnTo>
                    <a:pt x="126" y="251"/>
                  </a:lnTo>
                  <a:close/>
                  <a:moveTo>
                    <a:pt x="136" y="252"/>
                  </a:moveTo>
                  <a:lnTo>
                    <a:pt x="136" y="251"/>
                  </a:lnTo>
                  <a:lnTo>
                    <a:pt x="136" y="252"/>
                  </a:lnTo>
                  <a:close/>
                  <a:moveTo>
                    <a:pt x="126" y="252"/>
                  </a:moveTo>
                  <a:lnTo>
                    <a:pt x="125" y="252"/>
                  </a:lnTo>
                  <a:lnTo>
                    <a:pt x="126" y="251"/>
                  </a:lnTo>
                  <a:lnTo>
                    <a:pt x="128" y="251"/>
                  </a:lnTo>
                  <a:lnTo>
                    <a:pt x="126" y="252"/>
                  </a:lnTo>
                  <a:close/>
                  <a:moveTo>
                    <a:pt x="118" y="251"/>
                  </a:moveTo>
                  <a:lnTo>
                    <a:pt x="118" y="249"/>
                  </a:lnTo>
                  <a:lnTo>
                    <a:pt x="120" y="249"/>
                  </a:lnTo>
                  <a:lnTo>
                    <a:pt x="120" y="251"/>
                  </a:lnTo>
                  <a:lnTo>
                    <a:pt x="118" y="251"/>
                  </a:lnTo>
                  <a:close/>
                  <a:moveTo>
                    <a:pt x="130" y="251"/>
                  </a:moveTo>
                  <a:lnTo>
                    <a:pt x="128" y="251"/>
                  </a:lnTo>
                  <a:lnTo>
                    <a:pt x="130" y="251"/>
                  </a:lnTo>
                  <a:close/>
                  <a:moveTo>
                    <a:pt x="130" y="249"/>
                  </a:moveTo>
                  <a:lnTo>
                    <a:pt x="128" y="249"/>
                  </a:lnTo>
                  <a:lnTo>
                    <a:pt x="130" y="249"/>
                  </a:lnTo>
                  <a:close/>
                  <a:moveTo>
                    <a:pt x="131" y="249"/>
                  </a:moveTo>
                  <a:lnTo>
                    <a:pt x="130" y="249"/>
                  </a:lnTo>
                  <a:lnTo>
                    <a:pt x="131" y="249"/>
                  </a:lnTo>
                  <a:close/>
                  <a:moveTo>
                    <a:pt x="84" y="244"/>
                  </a:moveTo>
                  <a:lnTo>
                    <a:pt x="86" y="246"/>
                  </a:lnTo>
                  <a:lnTo>
                    <a:pt x="87" y="246"/>
                  </a:lnTo>
                  <a:lnTo>
                    <a:pt x="89" y="246"/>
                  </a:lnTo>
                  <a:lnTo>
                    <a:pt x="89" y="247"/>
                  </a:lnTo>
                  <a:lnTo>
                    <a:pt x="91" y="247"/>
                  </a:lnTo>
                  <a:lnTo>
                    <a:pt x="92" y="247"/>
                  </a:lnTo>
                  <a:lnTo>
                    <a:pt x="92" y="249"/>
                  </a:lnTo>
                  <a:lnTo>
                    <a:pt x="91" y="249"/>
                  </a:lnTo>
                  <a:lnTo>
                    <a:pt x="89" y="249"/>
                  </a:lnTo>
                  <a:lnTo>
                    <a:pt x="86" y="247"/>
                  </a:lnTo>
                  <a:lnTo>
                    <a:pt x="86" y="246"/>
                  </a:lnTo>
                  <a:lnTo>
                    <a:pt x="84" y="246"/>
                  </a:lnTo>
                  <a:lnTo>
                    <a:pt x="84" y="244"/>
                  </a:lnTo>
                  <a:close/>
                  <a:moveTo>
                    <a:pt x="131" y="249"/>
                  </a:moveTo>
                  <a:lnTo>
                    <a:pt x="133" y="247"/>
                  </a:lnTo>
                  <a:lnTo>
                    <a:pt x="133" y="249"/>
                  </a:lnTo>
                  <a:lnTo>
                    <a:pt x="135" y="249"/>
                  </a:lnTo>
                  <a:lnTo>
                    <a:pt x="136" y="249"/>
                  </a:lnTo>
                  <a:lnTo>
                    <a:pt x="136" y="251"/>
                  </a:lnTo>
                  <a:lnTo>
                    <a:pt x="136" y="252"/>
                  </a:lnTo>
                  <a:lnTo>
                    <a:pt x="136" y="254"/>
                  </a:lnTo>
                  <a:lnTo>
                    <a:pt x="135" y="254"/>
                  </a:lnTo>
                  <a:lnTo>
                    <a:pt x="133" y="254"/>
                  </a:lnTo>
                  <a:lnTo>
                    <a:pt x="131" y="254"/>
                  </a:lnTo>
                  <a:lnTo>
                    <a:pt x="130" y="254"/>
                  </a:lnTo>
                  <a:lnTo>
                    <a:pt x="130" y="252"/>
                  </a:lnTo>
                  <a:lnTo>
                    <a:pt x="131" y="252"/>
                  </a:lnTo>
                  <a:lnTo>
                    <a:pt x="131" y="251"/>
                  </a:lnTo>
                  <a:lnTo>
                    <a:pt x="130" y="252"/>
                  </a:lnTo>
                  <a:lnTo>
                    <a:pt x="128" y="252"/>
                  </a:lnTo>
                  <a:lnTo>
                    <a:pt x="128" y="251"/>
                  </a:lnTo>
                  <a:lnTo>
                    <a:pt x="130" y="251"/>
                  </a:lnTo>
                  <a:lnTo>
                    <a:pt x="131" y="249"/>
                  </a:lnTo>
                  <a:close/>
                  <a:moveTo>
                    <a:pt x="118" y="242"/>
                  </a:moveTo>
                  <a:lnTo>
                    <a:pt x="117" y="242"/>
                  </a:lnTo>
                  <a:lnTo>
                    <a:pt x="117" y="241"/>
                  </a:lnTo>
                  <a:lnTo>
                    <a:pt x="118" y="241"/>
                  </a:lnTo>
                  <a:lnTo>
                    <a:pt x="118" y="242"/>
                  </a:lnTo>
                  <a:close/>
                  <a:moveTo>
                    <a:pt x="122" y="238"/>
                  </a:moveTo>
                  <a:lnTo>
                    <a:pt x="125" y="238"/>
                  </a:lnTo>
                  <a:lnTo>
                    <a:pt x="125" y="239"/>
                  </a:lnTo>
                  <a:lnTo>
                    <a:pt x="126" y="239"/>
                  </a:lnTo>
                  <a:lnTo>
                    <a:pt x="125" y="239"/>
                  </a:lnTo>
                  <a:lnTo>
                    <a:pt x="125" y="238"/>
                  </a:lnTo>
                  <a:lnTo>
                    <a:pt x="126" y="239"/>
                  </a:lnTo>
                  <a:lnTo>
                    <a:pt x="128" y="239"/>
                  </a:lnTo>
                  <a:lnTo>
                    <a:pt x="130" y="239"/>
                  </a:lnTo>
                  <a:lnTo>
                    <a:pt x="131" y="239"/>
                  </a:lnTo>
                  <a:lnTo>
                    <a:pt x="135" y="239"/>
                  </a:lnTo>
                  <a:lnTo>
                    <a:pt x="136" y="239"/>
                  </a:lnTo>
                  <a:lnTo>
                    <a:pt x="138" y="239"/>
                  </a:lnTo>
                  <a:lnTo>
                    <a:pt x="139" y="239"/>
                  </a:lnTo>
                  <a:lnTo>
                    <a:pt x="141" y="239"/>
                  </a:lnTo>
                  <a:lnTo>
                    <a:pt x="138" y="241"/>
                  </a:lnTo>
                  <a:lnTo>
                    <a:pt x="138" y="242"/>
                  </a:lnTo>
                  <a:lnTo>
                    <a:pt x="136" y="242"/>
                  </a:lnTo>
                  <a:lnTo>
                    <a:pt x="133" y="241"/>
                  </a:lnTo>
                  <a:lnTo>
                    <a:pt x="131" y="242"/>
                  </a:lnTo>
                  <a:lnTo>
                    <a:pt x="130" y="242"/>
                  </a:lnTo>
                  <a:lnTo>
                    <a:pt x="128" y="244"/>
                  </a:lnTo>
                  <a:lnTo>
                    <a:pt x="128" y="246"/>
                  </a:lnTo>
                  <a:lnTo>
                    <a:pt x="126" y="247"/>
                  </a:lnTo>
                  <a:lnTo>
                    <a:pt x="125" y="249"/>
                  </a:lnTo>
                  <a:lnTo>
                    <a:pt x="123" y="249"/>
                  </a:lnTo>
                  <a:lnTo>
                    <a:pt x="123" y="251"/>
                  </a:lnTo>
                  <a:lnTo>
                    <a:pt x="122" y="251"/>
                  </a:lnTo>
                  <a:lnTo>
                    <a:pt x="120" y="251"/>
                  </a:lnTo>
                  <a:lnTo>
                    <a:pt x="120" y="249"/>
                  </a:lnTo>
                  <a:lnTo>
                    <a:pt x="122" y="247"/>
                  </a:lnTo>
                  <a:lnTo>
                    <a:pt x="120" y="249"/>
                  </a:lnTo>
                  <a:lnTo>
                    <a:pt x="120" y="247"/>
                  </a:lnTo>
                  <a:lnTo>
                    <a:pt x="122" y="247"/>
                  </a:lnTo>
                  <a:lnTo>
                    <a:pt x="120" y="247"/>
                  </a:lnTo>
                  <a:lnTo>
                    <a:pt x="118" y="251"/>
                  </a:lnTo>
                  <a:lnTo>
                    <a:pt x="118" y="252"/>
                  </a:lnTo>
                  <a:lnTo>
                    <a:pt x="118" y="251"/>
                  </a:lnTo>
                  <a:lnTo>
                    <a:pt x="117" y="251"/>
                  </a:lnTo>
                  <a:lnTo>
                    <a:pt x="117" y="252"/>
                  </a:lnTo>
                  <a:lnTo>
                    <a:pt x="117" y="251"/>
                  </a:lnTo>
                  <a:lnTo>
                    <a:pt x="118" y="247"/>
                  </a:lnTo>
                  <a:lnTo>
                    <a:pt x="117" y="247"/>
                  </a:lnTo>
                  <a:lnTo>
                    <a:pt x="117" y="242"/>
                  </a:lnTo>
                  <a:lnTo>
                    <a:pt x="118" y="242"/>
                  </a:lnTo>
                  <a:lnTo>
                    <a:pt x="120" y="241"/>
                  </a:lnTo>
                  <a:lnTo>
                    <a:pt x="118" y="241"/>
                  </a:lnTo>
                  <a:lnTo>
                    <a:pt x="118" y="242"/>
                  </a:lnTo>
                  <a:lnTo>
                    <a:pt x="118" y="241"/>
                  </a:lnTo>
                  <a:lnTo>
                    <a:pt x="120" y="239"/>
                  </a:lnTo>
                  <a:lnTo>
                    <a:pt x="122" y="238"/>
                  </a:lnTo>
                  <a:close/>
                  <a:moveTo>
                    <a:pt x="138" y="247"/>
                  </a:moveTo>
                  <a:lnTo>
                    <a:pt x="138" y="249"/>
                  </a:lnTo>
                  <a:lnTo>
                    <a:pt x="136" y="249"/>
                  </a:lnTo>
                  <a:lnTo>
                    <a:pt x="135" y="249"/>
                  </a:lnTo>
                  <a:lnTo>
                    <a:pt x="133" y="247"/>
                  </a:lnTo>
                  <a:lnTo>
                    <a:pt x="131" y="247"/>
                  </a:lnTo>
                  <a:lnTo>
                    <a:pt x="130" y="249"/>
                  </a:lnTo>
                  <a:lnTo>
                    <a:pt x="126" y="251"/>
                  </a:lnTo>
                  <a:lnTo>
                    <a:pt x="126" y="249"/>
                  </a:lnTo>
                  <a:lnTo>
                    <a:pt x="128" y="249"/>
                  </a:lnTo>
                  <a:lnTo>
                    <a:pt x="128" y="247"/>
                  </a:lnTo>
                  <a:lnTo>
                    <a:pt x="130" y="247"/>
                  </a:lnTo>
                  <a:lnTo>
                    <a:pt x="128" y="247"/>
                  </a:lnTo>
                  <a:lnTo>
                    <a:pt x="128" y="249"/>
                  </a:lnTo>
                  <a:lnTo>
                    <a:pt x="126" y="251"/>
                  </a:lnTo>
                  <a:lnTo>
                    <a:pt x="125" y="251"/>
                  </a:lnTo>
                  <a:lnTo>
                    <a:pt x="123" y="252"/>
                  </a:lnTo>
                  <a:lnTo>
                    <a:pt x="122" y="252"/>
                  </a:lnTo>
                  <a:lnTo>
                    <a:pt x="123" y="251"/>
                  </a:lnTo>
                  <a:lnTo>
                    <a:pt x="125" y="251"/>
                  </a:lnTo>
                  <a:lnTo>
                    <a:pt x="125" y="249"/>
                  </a:lnTo>
                  <a:lnTo>
                    <a:pt x="126" y="249"/>
                  </a:lnTo>
                  <a:lnTo>
                    <a:pt x="128" y="249"/>
                  </a:lnTo>
                  <a:lnTo>
                    <a:pt x="126" y="249"/>
                  </a:lnTo>
                  <a:lnTo>
                    <a:pt x="128" y="247"/>
                  </a:lnTo>
                  <a:lnTo>
                    <a:pt x="128" y="246"/>
                  </a:lnTo>
                  <a:lnTo>
                    <a:pt x="130" y="244"/>
                  </a:lnTo>
                  <a:lnTo>
                    <a:pt x="131" y="242"/>
                  </a:lnTo>
                  <a:lnTo>
                    <a:pt x="133" y="242"/>
                  </a:lnTo>
                  <a:lnTo>
                    <a:pt x="135" y="242"/>
                  </a:lnTo>
                  <a:lnTo>
                    <a:pt x="136" y="242"/>
                  </a:lnTo>
                  <a:lnTo>
                    <a:pt x="138" y="242"/>
                  </a:lnTo>
                  <a:lnTo>
                    <a:pt x="139" y="242"/>
                  </a:lnTo>
                  <a:lnTo>
                    <a:pt x="139" y="241"/>
                  </a:lnTo>
                  <a:lnTo>
                    <a:pt x="141" y="241"/>
                  </a:lnTo>
                  <a:lnTo>
                    <a:pt x="143" y="239"/>
                  </a:lnTo>
                  <a:lnTo>
                    <a:pt x="144" y="239"/>
                  </a:lnTo>
                  <a:lnTo>
                    <a:pt x="146" y="239"/>
                  </a:lnTo>
                  <a:lnTo>
                    <a:pt x="148" y="239"/>
                  </a:lnTo>
                  <a:lnTo>
                    <a:pt x="149" y="241"/>
                  </a:lnTo>
                  <a:lnTo>
                    <a:pt x="151" y="241"/>
                  </a:lnTo>
                  <a:lnTo>
                    <a:pt x="152" y="241"/>
                  </a:lnTo>
                  <a:lnTo>
                    <a:pt x="152" y="242"/>
                  </a:lnTo>
                  <a:lnTo>
                    <a:pt x="154" y="242"/>
                  </a:lnTo>
                  <a:lnTo>
                    <a:pt x="154" y="244"/>
                  </a:lnTo>
                  <a:lnTo>
                    <a:pt x="156" y="244"/>
                  </a:lnTo>
                  <a:lnTo>
                    <a:pt x="156" y="246"/>
                  </a:lnTo>
                  <a:lnTo>
                    <a:pt x="156" y="247"/>
                  </a:lnTo>
                  <a:lnTo>
                    <a:pt x="157" y="247"/>
                  </a:lnTo>
                  <a:lnTo>
                    <a:pt x="157" y="246"/>
                  </a:lnTo>
                  <a:lnTo>
                    <a:pt x="159" y="247"/>
                  </a:lnTo>
                  <a:lnTo>
                    <a:pt x="159" y="246"/>
                  </a:lnTo>
                  <a:lnTo>
                    <a:pt x="157" y="246"/>
                  </a:lnTo>
                  <a:lnTo>
                    <a:pt x="159" y="246"/>
                  </a:lnTo>
                  <a:lnTo>
                    <a:pt x="161" y="247"/>
                  </a:lnTo>
                  <a:lnTo>
                    <a:pt x="162" y="247"/>
                  </a:lnTo>
                  <a:lnTo>
                    <a:pt x="162" y="249"/>
                  </a:lnTo>
                  <a:lnTo>
                    <a:pt x="162" y="251"/>
                  </a:lnTo>
                  <a:lnTo>
                    <a:pt x="161" y="252"/>
                  </a:lnTo>
                  <a:lnTo>
                    <a:pt x="159" y="254"/>
                  </a:lnTo>
                  <a:lnTo>
                    <a:pt x="156" y="255"/>
                  </a:lnTo>
                  <a:lnTo>
                    <a:pt x="154" y="255"/>
                  </a:lnTo>
                  <a:lnTo>
                    <a:pt x="152" y="255"/>
                  </a:lnTo>
                  <a:lnTo>
                    <a:pt x="151" y="255"/>
                  </a:lnTo>
                  <a:lnTo>
                    <a:pt x="149" y="255"/>
                  </a:lnTo>
                  <a:lnTo>
                    <a:pt x="148" y="254"/>
                  </a:lnTo>
                  <a:lnTo>
                    <a:pt x="146" y="254"/>
                  </a:lnTo>
                  <a:lnTo>
                    <a:pt x="144" y="254"/>
                  </a:lnTo>
                  <a:lnTo>
                    <a:pt x="143" y="254"/>
                  </a:lnTo>
                  <a:lnTo>
                    <a:pt x="141" y="254"/>
                  </a:lnTo>
                  <a:lnTo>
                    <a:pt x="139" y="254"/>
                  </a:lnTo>
                  <a:lnTo>
                    <a:pt x="138" y="254"/>
                  </a:lnTo>
                  <a:lnTo>
                    <a:pt x="136" y="254"/>
                  </a:lnTo>
                  <a:lnTo>
                    <a:pt x="136" y="252"/>
                  </a:lnTo>
                  <a:lnTo>
                    <a:pt x="136" y="251"/>
                  </a:lnTo>
                  <a:lnTo>
                    <a:pt x="138" y="251"/>
                  </a:lnTo>
                  <a:lnTo>
                    <a:pt x="138" y="249"/>
                  </a:lnTo>
                  <a:lnTo>
                    <a:pt x="139" y="249"/>
                  </a:lnTo>
                  <a:lnTo>
                    <a:pt x="138" y="249"/>
                  </a:lnTo>
                  <a:lnTo>
                    <a:pt x="138" y="251"/>
                  </a:lnTo>
                  <a:lnTo>
                    <a:pt x="136" y="251"/>
                  </a:lnTo>
                  <a:lnTo>
                    <a:pt x="138" y="249"/>
                  </a:lnTo>
                  <a:lnTo>
                    <a:pt x="136" y="249"/>
                  </a:lnTo>
                  <a:lnTo>
                    <a:pt x="138" y="247"/>
                  </a:lnTo>
                  <a:lnTo>
                    <a:pt x="138" y="246"/>
                  </a:lnTo>
                  <a:lnTo>
                    <a:pt x="139" y="246"/>
                  </a:lnTo>
                  <a:lnTo>
                    <a:pt x="138" y="246"/>
                  </a:lnTo>
                  <a:lnTo>
                    <a:pt x="138" y="247"/>
                  </a:lnTo>
                  <a:close/>
                  <a:moveTo>
                    <a:pt x="99" y="236"/>
                  </a:moveTo>
                  <a:lnTo>
                    <a:pt x="100" y="236"/>
                  </a:lnTo>
                  <a:lnTo>
                    <a:pt x="100" y="234"/>
                  </a:lnTo>
                  <a:lnTo>
                    <a:pt x="102" y="234"/>
                  </a:lnTo>
                  <a:lnTo>
                    <a:pt x="102" y="236"/>
                  </a:lnTo>
                  <a:lnTo>
                    <a:pt x="104" y="236"/>
                  </a:lnTo>
                  <a:lnTo>
                    <a:pt x="105" y="234"/>
                  </a:lnTo>
                  <a:lnTo>
                    <a:pt x="107" y="234"/>
                  </a:lnTo>
                  <a:lnTo>
                    <a:pt x="107" y="236"/>
                  </a:lnTo>
                  <a:lnTo>
                    <a:pt x="109" y="236"/>
                  </a:lnTo>
                  <a:lnTo>
                    <a:pt x="110" y="236"/>
                  </a:lnTo>
                  <a:lnTo>
                    <a:pt x="112" y="236"/>
                  </a:lnTo>
                  <a:lnTo>
                    <a:pt x="112" y="238"/>
                  </a:lnTo>
                  <a:lnTo>
                    <a:pt x="112" y="239"/>
                  </a:lnTo>
                  <a:lnTo>
                    <a:pt x="113" y="239"/>
                  </a:lnTo>
                  <a:lnTo>
                    <a:pt x="115" y="239"/>
                  </a:lnTo>
                  <a:lnTo>
                    <a:pt x="117" y="241"/>
                  </a:lnTo>
                  <a:lnTo>
                    <a:pt x="117" y="242"/>
                  </a:lnTo>
                  <a:lnTo>
                    <a:pt x="117" y="244"/>
                  </a:lnTo>
                  <a:lnTo>
                    <a:pt x="117" y="246"/>
                  </a:lnTo>
                  <a:lnTo>
                    <a:pt x="117" y="247"/>
                  </a:lnTo>
                  <a:lnTo>
                    <a:pt x="117" y="249"/>
                  </a:lnTo>
                  <a:lnTo>
                    <a:pt x="117" y="251"/>
                  </a:lnTo>
                  <a:lnTo>
                    <a:pt x="115" y="252"/>
                  </a:lnTo>
                  <a:lnTo>
                    <a:pt x="113" y="252"/>
                  </a:lnTo>
                  <a:lnTo>
                    <a:pt x="113" y="254"/>
                  </a:lnTo>
                  <a:lnTo>
                    <a:pt x="112" y="254"/>
                  </a:lnTo>
                  <a:lnTo>
                    <a:pt x="110" y="254"/>
                  </a:lnTo>
                  <a:lnTo>
                    <a:pt x="107" y="254"/>
                  </a:lnTo>
                  <a:lnTo>
                    <a:pt x="105" y="254"/>
                  </a:lnTo>
                  <a:lnTo>
                    <a:pt x="105" y="252"/>
                  </a:lnTo>
                  <a:lnTo>
                    <a:pt x="104" y="252"/>
                  </a:lnTo>
                  <a:lnTo>
                    <a:pt x="102" y="252"/>
                  </a:lnTo>
                  <a:lnTo>
                    <a:pt x="100" y="252"/>
                  </a:lnTo>
                  <a:lnTo>
                    <a:pt x="99" y="251"/>
                  </a:lnTo>
                  <a:lnTo>
                    <a:pt x="97" y="251"/>
                  </a:lnTo>
                  <a:lnTo>
                    <a:pt x="96" y="249"/>
                  </a:lnTo>
                  <a:lnTo>
                    <a:pt x="94" y="249"/>
                  </a:lnTo>
                  <a:lnTo>
                    <a:pt x="92" y="247"/>
                  </a:lnTo>
                  <a:lnTo>
                    <a:pt x="89" y="246"/>
                  </a:lnTo>
                  <a:lnTo>
                    <a:pt x="86" y="244"/>
                  </a:lnTo>
                  <a:lnTo>
                    <a:pt x="84" y="242"/>
                  </a:lnTo>
                  <a:lnTo>
                    <a:pt x="83" y="242"/>
                  </a:lnTo>
                  <a:lnTo>
                    <a:pt x="83" y="241"/>
                  </a:lnTo>
                  <a:lnTo>
                    <a:pt x="84" y="241"/>
                  </a:lnTo>
                  <a:lnTo>
                    <a:pt x="84" y="239"/>
                  </a:lnTo>
                  <a:lnTo>
                    <a:pt x="86" y="238"/>
                  </a:lnTo>
                  <a:lnTo>
                    <a:pt x="87" y="238"/>
                  </a:lnTo>
                  <a:lnTo>
                    <a:pt x="89" y="238"/>
                  </a:lnTo>
                  <a:lnTo>
                    <a:pt x="91" y="238"/>
                  </a:lnTo>
                  <a:lnTo>
                    <a:pt x="92" y="236"/>
                  </a:lnTo>
                  <a:lnTo>
                    <a:pt x="94" y="236"/>
                  </a:lnTo>
                  <a:lnTo>
                    <a:pt x="96" y="236"/>
                  </a:lnTo>
                  <a:lnTo>
                    <a:pt x="97" y="234"/>
                  </a:lnTo>
                  <a:lnTo>
                    <a:pt x="99" y="236"/>
                  </a:lnTo>
                  <a:close/>
                  <a:moveTo>
                    <a:pt x="109" y="223"/>
                  </a:moveTo>
                  <a:lnTo>
                    <a:pt x="109" y="225"/>
                  </a:lnTo>
                  <a:lnTo>
                    <a:pt x="109" y="226"/>
                  </a:lnTo>
                  <a:lnTo>
                    <a:pt x="110" y="226"/>
                  </a:lnTo>
                  <a:lnTo>
                    <a:pt x="112" y="225"/>
                  </a:lnTo>
                  <a:lnTo>
                    <a:pt x="113" y="226"/>
                  </a:lnTo>
                  <a:lnTo>
                    <a:pt x="115" y="226"/>
                  </a:lnTo>
                  <a:lnTo>
                    <a:pt x="115" y="228"/>
                  </a:lnTo>
                  <a:lnTo>
                    <a:pt x="117" y="228"/>
                  </a:lnTo>
                  <a:lnTo>
                    <a:pt x="118" y="228"/>
                  </a:lnTo>
                  <a:lnTo>
                    <a:pt x="118" y="231"/>
                  </a:lnTo>
                  <a:lnTo>
                    <a:pt x="120" y="233"/>
                  </a:lnTo>
                  <a:lnTo>
                    <a:pt x="122" y="234"/>
                  </a:lnTo>
                  <a:lnTo>
                    <a:pt x="122" y="236"/>
                  </a:lnTo>
                  <a:lnTo>
                    <a:pt x="122" y="238"/>
                  </a:lnTo>
                  <a:lnTo>
                    <a:pt x="120" y="239"/>
                  </a:lnTo>
                  <a:lnTo>
                    <a:pt x="118" y="239"/>
                  </a:lnTo>
                  <a:lnTo>
                    <a:pt x="118" y="241"/>
                  </a:lnTo>
                  <a:lnTo>
                    <a:pt x="117" y="241"/>
                  </a:lnTo>
                  <a:lnTo>
                    <a:pt x="117" y="239"/>
                  </a:lnTo>
                  <a:lnTo>
                    <a:pt x="117" y="241"/>
                  </a:lnTo>
                  <a:lnTo>
                    <a:pt x="115" y="239"/>
                  </a:lnTo>
                  <a:lnTo>
                    <a:pt x="117" y="239"/>
                  </a:lnTo>
                  <a:lnTo>
                    <a:pt x="115" y="239"/>
                  </a:lnTo>
                  <a:lnTo>
                    <a:pt x="113" y="239"/>
                  </a:lnTo>
                  <a:lnTo>
                    <a:pt x="112" y="239"/>
                  </a:lnTo>
                  <a:lnTo>
                    <a:pt x="112" y="238"/>
                  </a:lnTo>
                  <a:lnTo>
                    <a:pt x="112" y="236"/>
                  </a:lnTo>
                  <a:lnTo>
                    <a:pt x="110" y="236"/>
                  </a:lnTo>
                  <a:lnTo>
                    <a:pt x="109" y="236"/>
                  </a:lnTo>
                  <a:lnTo>
                    <a:pt x="107" y="234"/>
                  </a:lnTo>
                  <a:lnTo>
                    <a:pt x="105" y="234"/>
                  </a:lnTo>
                  <a:lnTo>
                    <a:pt x="104" y="234"/>
                  </a:lnTo>
                  <a:lnTo>
                    <a:pt x="102" y="234"/>
                  </a:lnTo>
                  <a:lnTo>
                    <a:pt x="100" y="234"/>
                  </a:lnTo>
                  <a:lnTo>
                    <a:pt x="100" y="233"/>
                  </a:lnTo>
                  <a:lnTo>
                    <a:pt x="99" y="233"/>
                  </a:lnTo>
                  <a:lnTo>
                    <a:pt x="97" y="233"/>
                  </a:lnTo>
                  <a:lnTo>
                    <a:pt x="96" y="233"/>
                  </a:lnTo>
                  <a:lnTo>
                    <a:pt x="94" y="233"/>
                  </a:lnTo>
                  <a:lnTo>
                    <a:pt x="94" y="231"/>
                  </a:lnTo>
                  <a:lnTo>
                    <a:pt x="92" y="229"/>
                  </a:lnTo>
                  <a:lnTo>
                    <a:pt x="92" y="228"/>
                  </a:lnTo>
                  <a:lnTo>
                    <a:pt x="92" y="226"/>
                  </a:lnTo>
                  <a:lnTo>
                    <a:pt x="94" y="226"/>
                  </a:lnTo>
                  <a:lnTo>
                    <a:pt x="92" y="226"/>
                  </a:lnTo>
                  <a:lnTo>
                    <a:pt x="94" y="226"/>
                  </a:lnTo>
                  <a:lnTo>
                    <a:pt x="94" y="228"/>
                  </a:lnTo>
                  <a:lnTo>
                    <a:pt x="94" y="226"/>
                  </a:lnTo>
                  <a:lnTo>
                    <a:pt x="94" y="225"/>
                  </a:lnTo>
                  <a:lnTo>
                    <a:pt x="96" y="225"/>
                  </a:lnTo>
                  <a:lnTo>
                    <a:pt x="96" y="226"/>
                  </a:lnTo>
                  <a:lnTo>
                    <a:pt x="94" y="226"/>
                  </a:lnTo>
                  <a:lnTo>
                    <a:pt x="96" y="226"/>
                  </a:lnTo>
                  <a:lnTo>
                    <a:pt x="96" y="225"/>
                  </a:lnTo>
                  <a:lnTo>
                    <a:pt x="97" y="226"/>
                  </a:lnTo>
                  <a:lnTo>
                    <a:pt x="99" y="226"/>
                  </a:lnTo>
                  <a:lnTo>
                    <a:pt x="99" y="228"/>
                  </a:lnTo>
                  <a:lnTo>
                    <a:pt x="97" y="228"/>
                  </a:lnTo>
                  <a:lnTo>
                    <a:pt x="99" y="228"/>
                  </a:lnTo>
                  <a:lnTo>
                    <a:pt x="100" y="228"/>
                  </a:lnTo>
                  <a:lnTo>
                    <a:pt x="99" y="228"/>
                  </a:lnTo>
                  <a:lnTo>
                    <a:pt x="100" y="228"/>
                  </a:lnTo>
                  <a:lnTo>
                    <a:pt x="100" y="226"/>
                  </a:lnTo>
                  <a:lnTo>
                    <a:pt x="99" y="226"/>
                  </a:lnTo>
                  <a:lnTo>
                    <a:pt x="99" y="225"/>
                  </a:lnTo>
                  <a:lnTo>
                    <a:pt x="99" y="226"/>
                  </a:lnTo>
                  <a:lnTo>
                    <a:pt x="100" y="226"/>
                  </a:lnTo>
                  <a:lnTo>
                    <a:pt x="99" y="225"/>
                  </a:lnTo>
                  <a:lnTo>
                    <a:pt x="100" y="225"/>
                  </a:lnTo>
                  <a:lnTo>
                    <a:pt x="100" y="226"/>
                  </a:lnTo>
                  <a:lnTo>
                    <a:pt x="100" y="225"/>
                  </a:lnTo>
                  <a:lnTo>
                    <a:pt x="100" y="226"/>
                  </a:lnTo>
                  <a:lnTo>
                    <a:pt x="102" y="226"/>
                  </a:lnTo>
                  <a:lnTo>
                    <a:pt x="100" y="226"/>
                  </a:lnTo>
                  <a:lnTo>
                    <a:pt x="102" y="226"/>
                  </a:lnTo>
                  <a:lnTo>
                    <a:pt x="102" y="228"/>
                  </a:lnTo>
                  <a:lnTo>
                    <a:pt x="104" y="228"/>
                  </a:lnTo>
                  <a:lnTo>
                    <a:pt x="102" y="226"/>
                  </a:lnTo>
                  <a:lnTo>
                    <a:pt x="102" y="225"/>
                  </a:lnTo>
                  <a:lnTo>
                    <a:pt x="102" y="226"/>
                  </a:lnTo>
                  <a:lnTo>
                    <a:pt x="105" y="226"/>
                  </a:lnTo>
                  <a:lnTo>
                    <a:pt x="107" y="226"/>
                  </a:lnTo>
                  <a:lnTo>
                    <a:pt x="105" y="226"/>
                  </a:lnTo>
                  <a:lnTo>
                    <a:pt x="105" y="225"/>
                  </a:lnTo>
                  <a:lnTo>
                    <a:pt x="107" y="225"/>
                  </a:lnTo>
                  <a:lnTo>
                    <a:pt x="105" y="225"/>
                  </a:lnTo>
                  <a:lnTo>
                    <a:pt x="107" y="225"/>
                  </a:lnTo>
                  <a:lnTo>
                    <a:pt x="109" y="223"/>
                  </a:lnTo>
                  <a:close/>
                  <a:moveTo>
                    <a:pt x="107" y="225"/>
                  </a:moveTo>
                  <a:lnTo>
                    <a:pt x="107" y="223"/>
                  </a:lnTo>
                  <a:lnTo>
                    <a:pt x="107" y="225"/>
                  </a:lnTo>
                  <a:close/>
                  <a:moveTo>
                    <a:pt x="68" y="218"/>
                  </a:moveTo>
                  <a:lnTo>
                    <a:pt x="70" y="216"/>
                  </a:lnTo>
                  <a:lnTo>
                    <a:pt x="68" y="218"/>
                  </a:lnTo>
                  <a:close/>
                  <a:moveTo>
                    <a:pt x="79" y="218"/>
                  </a:moveTo>
                  <a:lnTo>
                    <a:pt x="81" y="218"/>
                  </a:lnTo>
                  <a:lnTo>
                    <a:pt x="83" y="220"/>
                  </a:lnTo>
                  <a:lnTo>
                    <a:pt x="83" y="221"/>
                  </a:lnTo>
                  <a:lnTo>
                    <a:pt x="84" y="221"/>
                  </a:lnTo>
                  <a:lnTo>
                    <a:pt x="86" y="223"/>
                  </a:lnTo>
                  <a:lnTo>
                    <a:pt x="87" y="225"/>
                  </a:lnTo>
                  <a:lnTo>
                    <a:pt x="89" y="225"/>
                  </a:lnTo>
                  <a:lnTo>
                    <a:pt x="89" y="226"/>
                  </a:lnTo>
                  <a:lnTo>
                    <a:pt x="87" y="226"/>
                  </a:lnTo>
                  <a:lnTo>
                    <a:pt x="89" y="226"/>
                  </a:lnTo>
                  <a:lnTo>
                    <a:pt x="87" y="226"/>
                  </a:lnTo>
                  <a:lnTo>
                    <a:pt x="87" y="225"/>
                  </a:lnTo>
                  <a:lnTo>
                    <a:pt x="87" y="226"/>
                  </a:lnTo>
                  <a:lnTo>
                    <a:pt x="87" y="228"/>
                  </a:lnTo>
                  <a:lnTo>
                    <a:pt x="87" y="226"/>
                  </a:lnTo>
                  <a:lnTo>
                    <a:pt x="89" y="226"/>
                  </a:lnTo>
                  <a:lnTo>
                    <a:pt x="91" y="226"/>
                  </a:lnTo>
                  <a:lnTo>
                    <a:pt x="89" y="226"/>
                  </a:lnTo>
                  <a:lnTo>
                    <a:pt x="89" y="228"/>
                  </a:lnTo>
                  <a:lnTo>
                    <a:pt x="91" y="228"/>
                  </a:lnTo>
                  <a:lnTo>
                    <a:pt x="91" y="226"/>
                  </a:lnTo>
                  <a:lnTo>
                    <a:pt x="91" y="228"/>
                  </a:lnTo>
                  <a:lnTo>
                    <a:pt x="92" y="228"/>
                  </a:lnTo>
                  <a:lnTo>
                    <a:pt x="92" y="229"/>
                  </a:lnTo>
                  <a:lnTo>
                    <a:pt x="91" y="229"/>
                  </a:lnTo>
                  <a:lnTo>
                    <a:pt x="89" y="229"/>
                  </a:lnTo>
                  <a:lnTo>
                    <a:pt x="86" y="229"/>
                  </a:lnTo>
                  <a:lnTo>
                    <a:pt x="86" y="228"/>
                  </a:lnTo>
                  <a:lnTo>
                    <a:pt x="84" y="228"/>
                  </a:lnTo>
                  <a:lnTo>
                    <a:pt x="84" y="226"/>
                  </a:lnTo>
                  <a:lnTo>
                    <a:pt x="84" y="228"/>
                  </a:lnTo>
                  <a:lnTo>
                    <a:pt x="84" y="226"/>
                  </a:lnTo>
                  <a:lnTo>
                    <a:pt x="83" y="225"/>
                  </a:lnTo>
                  <a:lnTo>
                    <a:pt x="83" y="223"/>
                  </a:lnTo>
                  <a:lnTo>
                    <a:pt x="79" y="221"/>
                  </a:lnTo>
                  <a:lnTo>
                    <a:pt x="78" y="220"/>
                  </a:lnTo>
                  <a:lnTo>
                    <a:pt x="74" y="216"/>
                  </a:lnTo>
                  <a:lnTo>
                    <a:pt x="74" y="215"/>
                  </a:lnTo>
                  <a:lnTo>
                    <a:pt x="73" y="213"/>
                  </a:lnTo>
                  <a:lnTo>
                    <a:pt x="73" y="215"/>
                  </a:lnTo>
                  <a:lnTo>
                    <a:pt x="74" y="215"/>
                  </a:lnTo>
                  <a:lnTo>
                    <a:pt x="74" y="216"/>
                  </a:lnTo>
                  <a:lnTo>
                    <a:pt x="74" y="218"/>
                  </a:lnTo>
                  <a:lnTo>
                    <a:pt x="76" y="218"/>
                  </a:lnTo>
                  <a:lnTo>
                    <a:pt x="71" y="216"/>
                  </a:lnTo>
                  <a:lnTo>
                    <a:pt x="73" y="216"/>
                  </a:lnTo>
                  <a:lnTo>
                    <a:pt x="71" y="216"/>
                  </a:lnTo>
                  <a:lnTo>
                    <a:pt x="71" y="215"/>
                  </a:lnTo>
                  <a:lnTo>
                    <a:pt x="73" y="213"/>
                  </a:lnTo>
                  <a:lnTo>
                    <a:pt x="74" y="215"/>
                  </a:lnTo>
                  <a:lnTo>
                    <a:pt x="74" y="216"/>
                  </a:lnTo>
                  <a:lnTo>
                    <a:pt x="76" y="216"/>
                  </a:lnTo>
                  <a:lnTo>
                    <a:pt x="76" y="215"/>
                  </a:lnTo>
                  <a:lnTo>
                    <a:pt x="76" y="216"/>
                  </a:lnTo>
                  <a:lnTo>
                    <a:pt x="78" y="216"/>
                  </a:lnTo>
                  <a:lnTo>
                    <a:pt x="78" y="218"/>
                  </a:lnTo>
                  <a:lnTo>
                    <a:pt x="79" y="218"/>
                  </a:lnTo>
                  <a:lnTo>
                    <a:pt x="81" y="220"/>
                  </a:lnTo>
                  <a:lnTo>
                    <a:pt x="81" y="221"/>
                  </a:lnTo>
                  <a:lnTo>
                    <a:pt x="83" y="221"/>
                  </a:lnTo>
                  <a:lnTo>
                    <a:pt x="83" y="223"/>
                  </a:lnTo>
                  <a:lnTo>
                    <a:pt x="83" y="225"/>
                  </a:lnTo>
                  <a:lnTo>
                    <a:pt x="84" y="225"/>
                  </a:lnTo>
                  <a:lnTo>
                    <a:pt x="86" y="225"/>
                  </a:lnTo>
                  <a:lnTo>
                    <a:pt x="84" y="225"/>
                  </a:lnTo>
                  <a:lnTo>
                    <a:pt x="83" y="223"/>
                  </a:lnTo>
                  <a:lnTo>
                    <a:pt x="83" y="221"/>
                  </a:lnTo>
                  <a:lnTo>
                    <a:pt x="83" y="220"/>
                  </a:lnTo>
                  <a:lnTo>
                    <a:pt x="81" y="218"/>
                  </a:lnTo>
                  <a:lnTo>
                    <a:pt x="79" y="218"/>
                  </a:lnTo>
                  <a:close/>
                  <a:moveTo>
                    <a:pt x="79" y="218"/>
                  </a:moveTo>
                  <a:lnTo>
                    <a:pt x="78" y="216"/>
                  </a:lnTo>
                  <a:lnTo>
                    <a:pt x="76" y="215"/>
                  </a:lnTo>
                  <a:lnTo>
                    <a:pt x="74" y="213"/>
                  </a:lnTo>
                  <a:lnTo>
                    <a:pt x="76" y="213"/>
                  </a:lnTo>
                  <a:lnTo>
                    <a:pt x="76" y="215"/>
                  </a:lnTo>
                  <a:lnTo>
                    <a:pt x="78" y="215"/>
                  </a:lnTo>
                  <a:lnTo>
                    <a:pt x="78" y="216"/>
                  </a:lnTo>
                  <a:lnTo>
                    <a:pt x="79" y="218"/>
                  </a:lnTo>
                  <a:close/>
                  <a:moveTo>
                    <a:pt x="74" y="257"/>
                  </a:moveTo>
                  <a:lnTo>
                    <a:pt x="76" y="257"/>
                  </a:lnTo>
                  <a:lnTo>
                    <a:pt x="74" y="257"/>
                  </a:lnTo>
                  <a:lnTo>
                    <a:pt x="74" y="259"/>
                  </a:lnTo>
                  <a:lnTo>
                    <a:pt x="76" y="259"/>
                  </a:lnTo>
                  <a:lnTo>
                    <a:pt x="78" y="260"/>
                  </a:lnTo>
                  <a:lnTo>
                    <a:pt x="79" y="260"/>
                  </a:lnTo>
                  <a:lnTo>
                    <a:pt x="79" y="262"/>
                  </a:lnTo>
                  <a:lnTo>
                    <a:pt x="81" y="262"/>
                  </a:lnTo>
                  <a:lnTo>
                    <a:pt x="79" y="262"/>
                  </a:lnTo>
                  <a:lnTo>
                    <a:pt x="78" y="264"/>
                  </a:lnTo>
                  <a:lnTo>
                    <a:pt x="76" y="265"/>
                  </a:lnTo>
                  <a:lnTo>
                    <a:pt x="76" y="267"/>
                  </a:lnTo>
                  <a:lnTo>
                    <a:pt x="76" y="268"/>
                  </a:lnTo>
                  <a:lnTo>
                    <a:pt x="78" y="268"/>
                  </a:lnTo>
                  <a:lnTo>
                    <a:pt x="78" y="270"/>
                  </a:lnTo>
                  <a:lnTo>
                    <a:pt x="79" y="270"/>
                  </a:lnTo>
                  <a:lnTo>
                    <a:pt x="79" y="272"/>
                  </a:lnTo>
                  <a:lnTo>
                    <a:pt x="79" y="273"/>
                  </a:lnTo>
                  <a:lnTo>
                    <a:pt x="79" y="275"/>
                  </a:lnTo>
                  <a:lnTo>
                    <a:pt x="79" y="277"/>
                  </a:lnTo>
                  <a:lnTo>
                    <a:pt x="78" y="277"/>
                  </a:lnTo>
                  <a:lnTo>
                    <a:pt x="78" y="278"/>
                  </a:lnTo>
                  <a:lnTo>
                    <a:pt x="78" y="280"/>
                  </a:lnTo>
                  <a:lnTo>
                    <a:pt x="76" y="280"/>
                  </a:lnTo>
                  <a:lnTo>
                    <a:pt x="74" y="278"/>
                  </a:lnTo>
                  <a:lnTo>
                    <a:pt x="74" y="280"/>
                  </a:lnTo>
                  <a:lnTo>
                    <a:pt x="78" y="281"/>
                  </a:lnTo>
                  <a:lnTo>
                    <a:pt x="78" y="283"/>
                  </a:lnTo>
                  <a:lnTo>
                    <a:pt x="78" y="286"/>
                  </a:lnTo>
                  <a:lnTo>
                    <a:pt x="78" y="288"/>
                  </a:lnTo>
                  <a:lnTo>
                    <a:pt x="78" y="290"/>
                  </a:lnTo>
                  <a:lnTo>
                    <a:pt x="78" y="291"/>
                  </a:lnTo>
                  <a:lnTo>
                    <a:pt x="78" y="296"/>
                  </a:lnTo>
                  <a:lnTo>
                    <a:pt x="76" y="296"/>
                  </a:lnTo>
                  <a:lnTo>
                    <a:pt x="76" y="294"/>
                  </a:lnTo>
                  <a:lnTo>
                    <a:pt x="74" y="294"/>
                  </a:lnTo>
                  <a:lnTo>
                    <a:pt x="73" y="294"/>
                  </a:lnTo>
                  <a:lnTo>
                    <a:pt x="71" y="296"/>
                  </a:lnTo>
                  <a:lnTo>
                    <a:pt x="70" y="294"/>
                  </a:lnTo>
                  <a:lnTo>
                    <a:pt x="68" y="294"/>
                  </a:lnTo>
                  <a:lnTo>
                    <a:pt x="66" y="294"/>
                  </a:lnTo>
                  <a:lnTo>
                    <a:pt x="65" y="293"/>
                  </a:lnTo>
                  <a:lnTo>
                    <a:pt x="63" y="293"/>
                  </a:lnTo>
                  <a:lnTo>
                    <a:pt x="63" y="291"/>
                  </a:lnTo>
                  <a:lnTo>
                    <a:pt x="61" y="291"/>
                  </a:lnTo>
                  <a:lnTo>
                    <a:pt x="61" y="290"/>
                  </a:lnTo>
                  <a:lnTo>
                    <a:pt x="60" y="288"/>
                  </a:lnTo>
                  <a:lnTo>
                    <a:pt x="60" y="290"/>
                  </a:lnTo>
                  <a:lnTo>
                    <a:pt x="60" y="288"/>
                  </a:lnTo>
                  <a:lnTo>
                    <a:pt x="58" y="286"/>
                  </a:lnTo>
                  <a:lnTo>
                    <a:pt x="58" y="288"/>
                  </a:lnTo>
                  <a:lnTo>
                    <a:pt x="58" y="286"/>
                  </a:lnTo>
                  <a:lnTo>
                    <a:pt x="56" y="286"/>
                  </a:lnTo>
                  <a:lnTo>
                    <a:pt x="56" y="285"/>
                  </a:lnTo>
                  <a:lnTo>
                    <a:pt x="55" y="285"/>
                  </a:lnTo>
                  <a:lnTo>
                    <a:pt x="53" y="285"/>
                  </a:lnTo>
                  <a:lnTo>
                    <a:pt x="52" y="286"/>
                  </a:lnTo>
                  <a:lnTo>
                    <a:pt x="50" y="286"/>
                  </a:lnTo>
                  <a:lnTo>
                    <a:pt x="52" y="288"/>
                  </a:lnTo>
                  <a:lnTo>
                    <a:pt x="50" y="290"/>
                  </a:lnTo>
                  <a:lnTo>
                    <a:pt x="50" y="291"/>
                  </a:lnTo>
                  <a:lnTo>
                    <a:pt x="48" y="293"/>
                  </a:lnTo>
                  <a:lnTo>
                    <a:pt x="47" y="293"/>
                  </a:lnTo>
                  <a:lnTo>
                    <a:pt x="45" y="293"/>
                  </a:lnTo>
                  <a:lnTo>
                    <a:pt x="43" y="294"/>
                  </a:lnTo>
                  <a:lnTo>
                    <a:pt x="42" y="294"/>
                  </a:lnTo>
                  <a:lnTo>
                    <a:pt x="40" y="294"/>
                  </a:lnTo>
                  <a:lnTo>
                    <a:pt x="39" y="293"/>
                  </a:lnTo>
                  <a:lnTo>
                    <a:pt x="37" y="291"/>
                  </a:lnTo>
                  <a:lnTo>
                    <a:pt x="37" y="290"/>
                  </a:lnTo>
                  <a:lnTo>
                    <a:pt x="35" y="290"/>
                  </a:lnTo>
                  <a:lnTo>
                    <a:pt x="34" y="290"/>
                  </a:lnTo>
                  <a:lnTo>
                    <a:pt x="32" y="290"/>
                  </a:lnTo>
                  <a:lnTo>
                    <a:pt x="32" y="288"/>
                  </a:lnTo>
                  <a:lnTo>
                    <a:pt x="32" y="286"/>
                  </a:lnTo>
                  <a:lnTo>
                    <a:pt x="30" y="285"/>
                  </a:lnTo>
                  <a:lnTo>
                    <a:pt x="29" y="285"/>
                  </a:lnTo>
                  <a:lnTo>
                    <a:pt x="30" y="283"/>
                  </a:lnTo>
                  <a:lnTo>
                    <a:pt x="32" y="285"/>
                  </a:lnTo>
                  <a:lnTo>
                    <a:pt x="30" y="285"/>
                  </a:lnTo>
                  <a:lnTo>
                    <a:pt x="32" y="285"/>
                  </a:lnTo>
                  <a:lnTo>
                    <a:pt x="32" y="283"/>
                  </a:lnTo>
                  <a:lnTo>
                    <a:pt x="34" y="283"/>
                  </a:lnTo>
                  <a:lnTo>
                    <a:pt x="32" y="283"/>
                  </a:lnTo>
                  <a:lnTo>
                    <a:pt x="30" y="283"/>
                  </a:lnTo>
                  <a:lnTo>
                    <a:pt x="32" y="281"/>
                  </a:lnTo>
                  <a:lnTo>
                    <a:pt x="32" y="283"/>
                  </a:lnTo>
                  <a:lnTo>
                    <a:pt x="32" y="281"/>
                  </a:lnTo>
                  <a:lnTo>
                    <a:pt x="34" y="281"/>
                  </a:lnTo>
                  <a:lnTo>
                    <a:pt x="32" y="281"/>
                  </a:lnTo>
                  <a:lnTo>
                    <a:pt x="32" y="280"/>
                  </a:lnTo>
                  <a:lnTo>
                    <a:pt x="32" y="281"/>
                  </a:lnTo>
                  <a:lnTo>
                    <a:pt x="30" y="281"/>
                  </a:lnTo>
                  <a:lnTo>
                    <a:pt x="30" y="283"/>
                  </a:lnTo>
                  <a:lnTo>
                    <a:pt x="29" y="283"/>
                  </a:lnTo>
                  <a:lnTo>
                    <a:pt x="27" y="283"/>
                  </a:lnTo>
                  <a:lnTo>
                    <a:pt x="26" y="285"/>
                  </a:lnTo>
                  <a:lnTo>
                    <a:pt x="24" y="285"/>
                  </a:lnTo>
                  <a:lnTo>
                    <a:pt x="22" y="285"/>
                  </a:lnTo>
                  <a:lnTo>
                    <a:pt x="22" y="283"/>
                  </a:lnTo>
                  <a:lnTo>
                    <a:pt x="22" y="285"/>
                  </a:lnTo>
                  <a:lnTo>
                    <a:pt x="21" y="285"/>
                  </a:lnTo>
                  <a:lnTo>
                    <a:pt x="19" y="285"/>
                  </a:lnTo>
                  <a:lnTo>
                    <a:pt x="17" y="283"/>
                  </a:lnTo>
                  <a:lnTo>
                    <a:pt x="16" y="281"/>
                  </a:lnTo>
                  <a:lnTo>
                    <a:pt x="14" y="280"/>
                  </a:lnTo>
                  <a:lnTo>
                    <a:pt x="14" y="278"/>
                  </a:lnTo>
                  <a:lnTo>
                    <a:pt x="13" y="277"/>
                  </a:lnTo>
                  <a:lnTo>
                    <a:pt x="13" y="275"/>
                  </a:lnTo>
                  <a:lnTo>
                    <a:pt x="11" y="275"/>
                  </a:lnTo>
                  <a:lnTo>
                    <a:pt x="9" y="273"/>
                  </a:lnTo>
                  <a:lnTo>
                    <a:pt x="9" y="272"/>
                  </a:lnTo>
                  <a:lnTo>
                    <a:pt x="8" y="272"/>
                  </a:lnTo>
                  <a:lnTo>
                    <a:pt x="8" y="270"/>
                  </a:lnTo>
                  <a:lnTo>
                    <a:pt x="9" y="268"/>
                  </a:lnTo>
                  <a:lnTo>
                    <a:pt x="11" y="268"/>
                  </a:lnTo>
                  <a:lnTo>
                    <a:pt x="13" y="267"/>
                  </a:lnTo>
                  <a:lnTo>
                    <a:pt x="14" y="267"/>
                  </a:lnTo>
                  <a:lnTo>
                    <a:pt x="14" y="265"/>
                  </a:lnTo>
                  <a:lnTo>
                    <a:pt x="16" y="265"/>
                  </a:lnTo>
                  <a:lnTo>
                    <a:pt x="17" y="264"/>
                  </a:lnTo>
                  <a:lnTo>
                    <a:pt x="19" y="264"/>
                  </a:lnTo>
                  <a:lnTo>
                    <a:pt x="21" y="264"/>
                  </a:lnTo>
                  <a:lnTo>
                    <a:pt x="22" y="262"/>
                  </a:lnTo>
                  <a:lnTo>
                    <a:pt x="24" y="264"/>
                  </a:lnTo>
                  <a:lnTo>
                    <a:pt x="26" y="264"/>
                  </a:lnTo>
                  <a:lnTo>
                    <a:pt x="27" y="264"/>
                  </a:lnTo>
                  <a:lnTo>
                    <a:pt x="29" y="264"/>
                  </a:lnTo>
                  <a:lnTo>
                    <a:pt x="30" y="264"/>
                  </a:lnTo>
                  <a:lnTo>
                    <a:pt x="30" y="262"/>
                  </a:lnTo>
                  <a:lnTo>
                    <a:pt x="32" y="262"/>
                  </a:lnTo>
                  <a:lnTo>
                    <a:pt x="32" y="264"/>
                  </a:lnTo>
                  <a:lnTo>
                    <a:pt x="32" y="262"/>
                  </a:lnTo>
                  <a:lnTo>
                    <a:pt x="32" y="264"/>
                  </a:lnTo>
                  <a:lnTo>
                    <a:pt x="34" y="264"/>
                  </a:lnTo>
                  <a:lnTo>
                    <a:pt x="35" y="264"/>
                  </a:lnTo>
                  <a:lnTo>
                    <a:pt x="37" y="264"/>
                  </a:lnTo>
                  <a:lnTo>
                    <a:pt x="39" y="264"/>
                  </a:lnTo>
                  <a:lnTo>
                    <a:pt x="40" y="264"/>
                  </a:lnTo>
                  <a:lnTo>
                    <a:pt x="42" y="262"/>
                  </a:lnTo>
                  <a:lnTo>
                    <a:pt x="43" y="264"/>
                  </a:lnTo>
                  <a:lnTo>
                    <a:pt x="45" y="264"/>
                  </a:lnTo>
                  <a:lnTo>
                    <a:pt x="47" y="264"/>
                  </a:lnTo>
                  <a:lnTo>
                    <a:pt x="48" y="265"/>
                  </a:lnTo>
                  <a:lnTo>
                    <a:pt x="48" y="267"/>
                  </a:lnTo>
                  <a:lnTo>
                    <a:pt x="50" y="268"/>
                  </a:lnTo>
                  <a:lnTo>
                    <a:pt x="50" y="270"/>
                  </a:lnTo>
                  <a:lnTo>
                    <a:pt x="48" y="270"/>
                  </a:lnTo>
                  <a:lnTo>
                    <a:pt x="47" y="270"/>
                  </a:lnTo>
                  <a:lnTo>
                    <a:pt x="47" y="272"/>
                  </a:lnTo>
                  <a:lnTo>
                    <a:pt x="45" y="272"/>
                  </a:lnTo>
                  <a:lnTo>
                    <a:pt x="45" y="270"/>
                  </a:lnTo>
                  <a:lnTo>
                    <a:pt x="43" y="270"/>
                  </a:lnTo>
                  <a:lnTo>
                    <a:pt x="42" y="270"/>
                  </a:lnTo>
                  <a:lnTo>
                    <a:pt x="42" y="272"/>
                  </a:lnTo>
                  <a:lnTo>
                    <a:pt x="40" y="270"/>
                  </a:lnTo>
                  <a:lnTo>
                    <a:pt x="39" y="270"/>
                  </a:lnTo>
                  <a:lnTo>
                    <a:pt x="37" y="270"/>
                  </a:lnTo>
                  <a:lnTo>
                    <a:pt x="35" y="270"/>
                  </a:lnTo>
                  <a:lnTo>
                    <a:pt x="35" y="272"/>
                  </a:lnTo>
                  <a:lnTo>
                    <a:pt x="34" y="272"/>
                  </a:lnTo>
                  <a:lnTo>
                    <a:pt x="32" y="273"/>
                  </a:lnTo>
                  <a:lnTo>
                    <a:pt x="32" y="272"/>
                  </a:lnTo>
                  <a:lnTo>
                    <a:pt x="32" y="270"/>
                  </a:lnTo>
                  <a:lnTo>
                    <a:pt x="30" y="268"/>
                  </a:lnTo>
                  <a:lnTo>
                    <a:pt x="29" y="267"/>
                  </a:lnTo>
                  <a:lnTo>
                    <a:pt x="29" y="265"/>
                  </a:lnTo>
                  <a:lnTo>
                    <a:pt x="27" y="265"/>
                  </a:lnTo>
                  <a:lnTo>
                    <a:pt x="27" y="264"/>
                  </a:lnTo>
                  <a:lnTo>
                    <a:pt x="26" y="264"/>
                  </a:lnTo>
                  <a:lnTo>
                    <a:pt x="26" y="265"/>
                  </a:lnTo>
                  <a:lnTo>
                    <a:pt x="26" y="267"/>
                  </a:lnTo>
                  <a:lnTo>
                    <a:pt x="27" y="267"/>
                  </a:lnTo>
                  <a:lnTo>
                    <a:pt x="27" y="268"/>
                  </a:lnTo>
                  <a:lnTo>
                    <a:pt x="29" y="268"/>
                  </a:lnTo>
                  <a:lnTo>
                    <a:pt x="29" y="270"/>
                  </a:lnTo>
                  <a:lnTo>
                    <a:pt x="30" y="270"/>
                  </a:lnTo>
                  <a:lnTo>
                    <a:pt x="30" y="273"/>
                  </a:lnTo>
                  <a:lnTo>
                    <a:pt x="32" y="275"/>
                  </a:lnTo>
                  <a:lnTo>
                    <a:pt x="34" y="273"/>
                  </a:lnTo>
                  <a:lnTo>
                    <a:pt x="35" y="272"/>
                  </a:lnTo>
                  <a:lnTo>
                    <a:pt x="37" y="272"/>
                  </a:lnTo>
                  <a:lnTo>
                    <a:pt x="37" y="270"/>
                  </a:lnTo>
                  <a:lnTo>
                    <a:pt x="39" y="272"/>
                  </a:lnTo>
                  <a:lnTo>
                    <a:pt x="40" y="272"/>
                  </a:lnTo>
                  <a:lnTo>
                    <a:pt x="42" y="272"/>
                  </a:lnTo>
                  <a:lnTo>
                    <a:pt x="43" y="270"/>
                  </a:lnTo>
                  <a:lnTo>
                    <a:pt x="43" y="272"/>
                  </a:lnTo>
                  <a:lnTo>
                    <a:pt x="45" y="272"/>
                  </a:lnTo>
                  <a:lnTo>
                    <a:pt x="47" y="273"/>
                  </a:lnTo>
                  <a:lnTo>
                    <a:pt x="48" y="272"/>
                  </a:lnTo>
                  <a:lnTo>
                    <a:pt x="48" y="273"/>
                  </a:lnTo>
                  <a:lnTo>
                    <a:pt x="50" y="273"/>
                  </a:lnTo>
                  <a:lnTo>
                    <a:pt x="50" y="272"/>
                  </a:lnTo>
                  <a:lnTo>
                    <a:pt x="52" y="272"/>
                  </a:lnTo>
                  <a:lnTo>
                    <a:pt x="53" y="273"/>
                  </a:lnTo>
                  <a:lnTo>
                    <a:pt x="52" y="273"/>
                  </a:lnTo>
                  <a:lnTo>
                    <a:pt x="53" y="275"/>
                  </a:lnTo>
                  <a:lnTo>
                    <a:pt x="55" y="275"/>
                  </a:lnTo>
                  <a:lnTo>
                    <a:pt x="58" y="277"/>
                  </a:lnTo>
                  <a:lnTo>
                    <a:pt x="60" y="277"/>
                  </a:lnTo>
                  <a:lnTo>
                    <a:pt x="60" y="278"/>
                  </a:lnTo>
                  <a:lnTo>
                    <a:pt x="58" y="278"/>
                  </a:lnTo>
                  <a:lnTo>
                    <a:pt x="58" y="280"/>
                  </a:lnTo>
                  <a:lnTo>
                    <a:pt x="58" y="285"/>
                  </a:lnTo>
                  <a:lnTo>
                    <a:pt x="58" y="286"/>
                  </a:lnTo>
                  <a:lnTo>
                    <a:pt x="58" y="285"/>
                  </a:lnTo>
                  <a:lnTo>
                    <a:pt x="58" y="283"/>
                  </a:lnTo>
                  <a:lnTo>
                    <a:pt x="58" y="280"/>
                  </a:lnTo>
                  <a:lnTo>
                    <a:pt x="60" y="278"/>
                  </a:lnTo>
                  <a:lnTo>
                    <a:pt x="60" y="277"/>
                  </a:lnTo>
                  <a:lnTo>
                    <a:pt x="60" y="278"/>
                  </a:lnTo>
                  <a:lnTo>
                    <a:pt x="61" y="278"/>
                  </a:lnTo>
                  <a:lnTo>
                    <a:pt x="61" y="280"/>
                  </a:lnTo>
                  <a:lnTo>
                    <a:pt x="63" y="280"/>
                  </a:lnTo>
                  <a:lnTo>
                    <a:pt x="63" y="281"/>
                  </a:lnTo>
                  <a:lnTo>
                    <a:pt x="63" y="283"/>
                  </a:lnTo>
                  <a:lnTo>
                    <a:pt x="65" y="286"/>
                  </a:lnTo>
                  <a:lnTo>
                    <a:pt x="66" y="288"/>
                  </a:lnTo>
                  <a:lnTo>
                    <a:pt x="68" y="290"/>
                  </a:lnTo>
                  <a:lnTo>
                    <a:pt x="70" y="290"/>
                  </a:lnTo>
                  <a:lnTo>
                    <a:pt x="71" y="290"/>
                  </a:lnTo>
                  <a:lnTo>
                    <a:pt x="73" y="290"/>
                  </a:lnTo>
                  <a:lnTo>
                    <a:pt x="74" y="290"/>
                  </a:lnTo>
                  <a:lnTo>
                    <a:pt x="74" y="288"/>
                  </a:lnTo>
                  <a:lnTo>
                    <a:pt x="74" y="290"/>
                  </a:lnTo>
                  <a:lnTo>
                    <a:pt x="74" y="288"/>
                  </a:lnTo>
                  <a:lnTo>
                    <a:pt x="74" y="290"/>
                  </a:lnTo>
                  <a:lnTo>
                    <a:pt x="76" y="290"/>
                  </a:lnTo>
                  <a:lnTo>
                    <a:pt x="78" y="290"/>
                  </a:lnTo>
                  <a:lnTo>
                    <a:pt x="78" y="288"/>
                  </a:lnTo>
                  <a:lnTo>
                    <a:pt x="78" y="286"/>
                  </a:lnTo>
                  <a:lnTo>
                    <a:pt x="78" y="283"/>
                  </a:lnTo>
                  <a:lnTo>
                    <a:pt x="78" y="281"/>
                  </a:lnTo>
                  <a:lnTo>
                    <a:pt x="74" y="280"/>
                  </a:lnTo>
                  <a:lnTo>
                    <a:pt x="73" y="278"/>
                  </a:lnTo>
                  <a:lnTo>
                    <a:pt x="74" y="280"/>
                  </a:lnTo>
                  <a:lnTo>
                    <a:pt x="73" y="278"/>
                  </a:lnTo>
                  <a:lnTo>
                    <a:pt x="74" y="278"/>
                  </a:lnTo>
                  <a:lnTo>
                    <a:pt x="73" y="278"/>
                  </a:lnTo>
                  <a:lnTo>
                    <a:pt x="73" y="277"/>
                  </a:lnTo>
                  <a:lnTo>
                    <a:pt x="71" y="277"/>
                  </a:lnTo>
                  <a:lnTo>
                    <a:pt x="70" y="277"/>
                  </a:lnTo>
                  <a:lnTo>
                    <a:pt x="68" y="277"/>
                  </a:lnTo>
                  <a:lnTo>
                    <a:pt x="70" y="277"/>
                  </a:lnTo>
                  <a:lnTo>
                    <a:pt x="68" y="277"/>
                  </a:lnTo>
                  <a:lnTo>
                    <a:pt x="66" y="277"/>
                  </a:lnTo>
                  <a:lnTo>
                    <a:pt x="65" y="277"/>
                  </a:lnTo>
                  <a:lnTo>
                    <a:pt x="65" y="275"/>
                  </a:lnTo>
                  <a:lnTo>
                    <a:pt x="65" y="273"/>
                  </a:lnTo>
                  <a:lnTo>
                    <a:pt x="63" y="273"/>
                  </a:lnTo>
                  <a:lnTo>
                    <a:pt x="63" y="272"/>
                  </a:lnTo>
                  <a:lnTo>
                    <a:pt x="61" y="272"/>
                  </a:lnTo>
                  <a:lnTo>
                    <a:pt x="61" y="270"/>
                  </a:lnTo>
                  <a:lnTo>
                    <a:pt x="60" y="270"/>
                  </a:lnTo>
                  <a:lnTo>
                    <a:pt x="60" y="268"/>
                  </a:lnTo>
                  <a:lnTo>
                    <a:pt x="58" y="268"/>
                  </a:lnTo>
                  <a:lnTo>
                    <a:pt x="58" y="267"/>
                  </a:lnTo>
                  <a:lnTo>
                    <a:pt x="58" y="265"/>
                  </a:lnTo>
                  <a:lnTo>
                    <a:pt x="60" y="265"/>
                  </a:lnTo>
                  <a:lnTo>
                    <a:pt x="61" y="265"/>
                  </a:lnTo>
                  <a:lnTo>
                    <a:pt x="63" y="265"/>
                  </a:lnTo>
                  <a:lnTo>
                    <a:pt x="65" y="265"/>
                  </a:lnTo>
                  <a:lnTo>
                    <a:pt x="65" y="264"/>
                  </a:lnTo>
                  <a:lnTo>
                    <a:pt x="66" y="264"/>
                  </a:lnTo>
                  <a:lnTo>
                    <a:pt x="68" y="264"/>
                  </a:lnTo>
                  <a:lnTo>
                    <a:pt x="70" y="265"/>
                  </a:lnTo>
                  <a:lnTo>
                    <a:pt x="73" y="265"/>
                  </a:lnTo>
                  <a:lnTo>
                    <a:pt x="73" y="267"/>
                  </a:lnTo>
                  <a:lnTo>
                    <a:pt x="74" y="267"/>
                  </a:lnTo>
                  <a:lnTo>
                    <a:pt x="74" y="265"/>
                  </a:lnTo>
                  <a:lnTo>
                    <a:pt x="76" y="265"/>
                  </a:lnTo>
                  <a:lnTo>
                    <a:pt x="74" y="265"/>
                  </a:lnTo>
                  <a:lnTo>
                    <a:pt x="76" y="264"/>
                  </a:lnTo>
                  <a:lnTo>
                    <a:pt x="74" y="264"/>
                  </a:lnTo>
                  <a:lnTo>
                    <a:pt x="73" y="264"/>
                  </a:lnTo>
                  <a:lnTo>
                    <a:pt x="71" y="264"/>
                  </a:lnTo>
                  <a:lnTo>
                    <a:pt x="70" y="262"/>
                  </a:lnTo>
                  <a:lnTo>
                    <a:pt x="70" y="260"/>
                  </a:lnTo>
                  <a:lnTo>
                    <a:pt x="68" y="260"/>
                  </a:lnTo>
                  <a:lnTo>
                    <a:pt x="70" y="260"/>
                  </a:lnTo>
                  <a:lnTo>
                    <a:pt x="70" y="259"/>
                  </a:lnTo>
                  <a:lnTo>
                    <a:pt x="71" y="259"/>
                  </a:lnTo>
                  <a:lnTo>
                    <a:pt x="73" y="259"/>
                  </a:lnTo>
                  <a:lnTo>
                    <a:pt x="74" y="260"/>
                  </a:lnTo>
                  <a:lnTo>
                    <a:pt x="76" y="260"/>
                  </a:lnTo>
                  <a:lnTo>
                    <a:pt x="78" y="262"/>
                  </a:lnTo>
                  <a:lnTo>
                    <a:pt x="78" y="260"/>
                  </a:lnTo>
                  <a:lnTo>
                    <a:pt x="76" y="260"/>
                  </a:lnTo>
                  <a:lnTo>
                    <a:pt x="76" y="259"/>
                  </a:lnTo>
                  <a:lnTo>
                    <a:pt x="74" y="259"/>
                  </a:lnTo>
                  <a:lnTo>
                    <a:pt x="76" y="259"/>
                  </a:lnTo>
                  <a:lnTo>
                    <a:pt x="74" y="259"/>
                  </a:lnTo>
                  <a:lnTo>
                    <a:pt x="74" y="257"/>
                  </a:lnTo>
                  <a:lnTo>
                    <a:pt x="74" y="255"/>
                  </a:lnTo>
                  <a:lnTo>
                    <a:pt x="73" y="255"/>
                  </a:lnTo>
                  <a:lnTo>
                    <a:pt x="70" y="255"/>
                  </a:lnTo>
                  <a:lnTo>
                    <a:pt x="70" y="257"/>
                  </a:lnTo>
                  <a:lnTo>
                    <a:pt x="70" y="259"/>
                  </a:lnTo>
                  <a:lnTo>
                    <a:pt x="68" y="259"/>
                  </a:lnTo>
                  <a:lnTo>
                    <a:pt x="68" y="260"/>
                  </a:lnTo>
                  <a:lnTo>
                    <a:pt x="66" y="260"/>
                  </a:lnTo>
                  <a:lnTo>
                    <a:pt x="66" y="262"/>
                  </a:lnTo>
                  <a:lnTo>
                    <a:pt x="65" y="262"/>
                  </a:lnTo>
                  <a:lnTo>
                    <a:pt x="65" y="260"/>
                  </a:lnTo>
                  <a:lnTo>
                    <a:pt x="63" y="262"/>
                  </a:lnTo>
                  <a:lnTo>
                    <a:pt x="61" y="262"/>
                  </a:lnTo>
                  <a:lnTo>
                    <a:pt x="60" y="262"/>
                  </a:lnTo>
                  <a:lnTo>
                    <a:pt x="58" y="264"/>
                  </a:lnTo>
                  <a:lnTo>
                    <a:pt x="56" y="264"/>
                  </a:lnTo>
                  <a:lnTo>
                    <a:pt x="55" y="260"/>
                  </a:lnTo>
                  <a:lnTo>
                    <a:pt x="55" y="259"/>
                  </a:lnTo>
                  <a:lnTo>
                    <a:pt x="53" y="260"/>
                  </a:lnTo>
                  <a:lnTo>
                    <a:pt x="52" y="260"/>
                  </a:lnTo>
                  <a:lnTo>
                    <a:pt x="50" y="260"/>
                  </a:lnTo>
                  <a:lnTo>
                    <a:pt x="52" y="259"/>
                  </a:lnTo>
                  <a:lnTo>
                    <a:pt x="50" y="259"/>
                  </a:lnTo>
                  <a:lnTo>
                    <a:pt x="50" y="257"/>
                  </a:lnTo>
                  <a:lnTo>
                    <a:pt x="50" y="255"/>
                  </a:lnTo>
                  <a:lnTo>
                    <a:pt x="48" y="254"/>
                  </a:lnTo>
                  <a:lnTo>
                    <a:pt x="48" y="252"/>
                  </a:lnTo>
                  <a:lnTo>
                    <a:pt x="47" y="252"/>
                  </a:lnTo>
                  <a:lnTo>
                    <a:pt x="43" y="251"/>
                  </a:lnTo>
                  <a:lnTo>
                    <a:pt x="45" y="252"/>
                  </a:lnTo>
                  <a:lnTo>
                    <a:pt x="45" y="251"/>
                  </a:lnTo>
                  <a:lnTo>
                    <a:pt x="43" y="249"/>
                  </a:lnTo>
                  <a:lnTo>
                    <a:pt x="42" y="249"/>
                  </a:lnTo>
                  <a:lnTo>
                    <a:pt x="42" y="251"/>
                  </a:lnTo>
                  <a:lnTo>
                    <a:pt x="43" y="251"/>
                  </a:lnTo>
                  <a:lnTo>
                    <a:pt x="42" y="251"/>
                  </a:lnTo>
                  <a:lnTo>
                    <a:pt x="40" y="252"/>
                  </a:lnTo>
                  <a:lnTo>
                    <a:pt x="39" y="252"/>
                  </a:lnTo>
                  <a:lnTo>
                    <a:pt x="37" y="252"/>
                  </a:lnTo>
                  <a:lnTo>
                    <a:pt x="35" y="252"/>
                  </a:lnTo>
                  <a:lnTo>
                    <a:pt x="35" y="254"/>
                  </a:lnTo>
                  <a:lnTo>
                    <a:pt x="34" y="254"/>
                  </a:lnTo>
                  <a:lnTo>
                    <a:pt x="34" y="252"/>
                  </a:lnTo>
                  <a:lnTo>
                    <a:pt x="32" y="251"/>
                  </a:lnTo>
                  <a:lnTo>
                    <a:pt x="32" y="249"/>
                  </a:lnTo>
                  <a:lnTo>
                    <a:pt x="32" y="247"/>
                  </a:lnTo>
                  <a:lnTo>
                    <a:pt x="34" y="246"/>
                  </a:lnTo>
                  <a:lnTo>
                    <a:pt x="34" y="244"/>
                  </a:lnTo>
                  <a:lnTo>
                    <a:pt x="35" y="244"/>
                  </a:lnTo>
                  <a:lnTo>
                    <a:pt x="40" y="242"/>
                  </a:lnTo>
                  <a:lnTo>
                    <a:pt x="42" y="242"/>
                  </a:lnTo>
                  <a:lnTo>
                    <a:pt x="45" y="244"/>
                  </a:lnTo>
                  <a:lnTo>
                    <a:pt x="45" y="242"/>
                  </a:lnTo>
                  <a:lnTo>
                    <a:pt x="47" y="242"/>
                  </a:lnTo>
                  <a:lnTo>
                    <a:pt x="47" y="241"/>
                  </a:lnTo>
                  <a:lnTo>
                    <a:pt x="48" y="241"/>
                  </a:lnTo>
                  <a:lnTo>
                    <a:pt x="50" y="239"/>
                  </a:lnTo>
                  <a:lnTo>
                    <a:pt x="50" y="238"/>
                  </a:lnTo>
                  <a:lnTo>
                    <a:pt x="48" y="234"/>
                  </a:lnTo>
                  <a:lnTo>
                    <a:pt x="50" y="234"/>
                  </a:lnTo>
                  <a:lnTo>
                    <a:pt x="50" y="233"/>
                  </a:lnTo>
                  <a:lnTo>
                    <a:pt x="52" y="233"/>
                  </a:lnTo>
                  <a:lnTo>
                    <a:pt x="53" y="233"/>
                  </a:lnTo>
                  <a:lnTo>
                    <a:pt x="60" y="229"/>
                  </a:lnTo>
                  <a:lnTo>
                    <a:pt x="61" y="229"/>
                  </a:lnTo>
                  <a:lnTo>
                    <a:pt x="63" y="229"/>
                  </a:lnTo>
                  <a:lnTo>
                    <a:pt x="63" y="231"/>
                  </a:lnTo>
                  <a:lnTo>
                    <a:pt x="65" y="233"/>
                  </a:lnTo>
                  <a:lnTo>
                    <a:pt x="66" y="233"/>
                  </a:lnTo>
                  <a:lnTo>
                    <a:pt x="66" y="231"/>
                  </a:lnTo>
                  <a:lnTo>
                    <a:pt x="68" y="231"/>
                  </a:lnTo>
                  <a:lnTo>
                    <a:pt x="68" y="229"/>
                  </a:lnTo>
                  <a:lnTo>
                    <a:pt x="68" y="228"/>
                  </a:lnTo>
                  <a:lnTo>
                    <a:pt x="66" y="226"/>
                  </a:lnTo>
                  <a:lnTo>
                    <a:pt x="66" y="225"/>
                  </a:lnTo>
                  <a:lnTo>
                    <a:pt x="66" y="223"/>
                  </a:lnTo>
                  <a:lnTo>
                    <a:pt x="68" y="221"/>
                  </a:lnTo>
                  <a:lnTo>
                    <a:pt x="68" y="220"/>
                  </a:lnTo>
                  <a:lnTo>
                    <a:pt x="66" y="220"/>
                  </a:lnTo>
                  <a:lnTo>
                    <a:pt x="63" y="220"/>
                  </a:lnTo>
                  <a:lnTo>
                    <a:pt x="63" y="218"/>
                  </a:lnTo>
                  <a:lnTo>
                    <a:pt x="63" y="216"/>
                  </a:lnTo>
                  <a:lnTo>
                    <a:pt x="65" y="218"/>
                  </a:lnTo>
                  <a:lnTo>
                    <a:pt x="65" y="216"/>
                  </a:lnTo>
                  <a:lnTo>
                    <a:pt x="63" y="216"/>
                  </a:lnTo>
                  <a:lnTo>
                    <a:pt x="65" y="215"/>
                  </a:lnTo>
                  <a:lnTo>
                    <a:pt x="65" y="213"/>
                  </a:lnTo>
                  <a:lnTo>
                    <a:pt x="65" y="212"/>
                  </a:lnTo>
                  <a:lnTo>
                    <a:pt x="66" y="212"/>
                  </a:lnTo>
                  <a:lnTo>
                    <a:pt x="66" y="210"/>
                  </a:lnTo>
                  <a:lnTo>
                    <a:pt x="68" y="210"/>
                  </a:lnTo>
                  <a:lnTo>
                    <a:pt x="70" y="212"/>
                  </a:lnTo>
                  <a:lnTo>
                    <a:pt x="71" y="212"/>
                  </a:lnTo>
                  <a:lnTo>
                    <a:pt x="71" y="213"/>
                  </a:lnTo>
                  <a:lnTo>
                    <a:pt x="70" y="213"/>
                  </a:lnTo>
                  <a:lnTo>
                    <a:pt x="71" y="213"/>
                  </a:lnTo>
                  <a:lnTo>
                    <a:pt x="70" y="213"/>
                  </a:lnTo>
                  <a:lnTo>
                    <a:pt x="70" y="212"/>
                  </a:lnTo>
                  <a:lnTo>
                    <a:pt x="68" y="212"/>
                  </a:lnTo>
                  <a:lnTo>
                    <a:pt x="68" y="213"/>
                  </a:lnTo>
                  <a:lnTo>
                    <a:pt x="66" y="213"/>
                  </a:lnTo>
                  <a:lnTo>
                    <a:pt x="66" y="215"/>
                  </a:lnTo>
                  <a:lnTo>
                    <a:pt x="68" y="213"/>
                  </a:lnTo>
                  <a:lnTo>
                    <a:pt x="70" y="215"/>
                  </a:lnTo>
                  <a:lnTo>
                    <a:pt x="70" y="213"/>
                  </a:lnTo>
                  <a:lnTo>
                    <a:pt x="70" y="215"/>
                  </a:lnTo>
                  <a:lnTo>
                    <a:pt x="70" y="213"/>
                  </a:lnTo>
                  <a:lnTo>
                    <a:pt x="70" y="215"/>
                  </a:lnTo>
                  <a:lnTo>
                    <a:pt x="71" y="215"/>
                  </a:lnTo>
                  <a:lnTo>
                    <a:pt x="68" y="216"/>
                  </a:lnTo>
                  <a:lnTo>
                    <a:pt x="68" y="215"/>
                  </a:lnTo>
                  <a:lnTo>
                    <a:pt x="68" y="216"/>
                  </a:lnTo>
                  <a:lnTo>
                    <a:pt x="70" y="216"/>
                  </a:lnTo>
                  <a:lnTo>
                    <a:pt x="71" y="216"/>
                  </a:lnTo>
                  <a:lnTo>
                    <a:pt x="70" y="216"/>
                  </a:lnTo>
                  <a:lnTo>
                    <a:pt x="68" y="216"/>
                  </a:lnTo>
                  <a:lnTo>
                    <a:pt x="66" y="218"/>
                  </a:lnTo>
                  <a:lnTo>
                    <a:pt x="66" y="216"/>
                  </a:lnTo>
                  <a:lnTo>
                    <a:pt x="66" y="215"/>
                  </a:lnTo>
                  <a:lnTo>
                    <a:pt x="66" y="216"/>
                  </a:lnTo>
                  <a:lnTo>
                    <a:pt x="66" y="218"/>
                  </a:lnTo>
                  <a:lnTo>
                    <a:pt x="68" y="218"/>
                  </a:lnTo>
                  <a:lnTo>
                    <a:pt x="70" y="218"/>
                  </a:lnTo>
                  <a:lnTo>
                    <a:pt x="71" y="218"/>
                  </a:lnTo>
                  <a:lnTo>
                    <a:pt x="74" y="218"/>
                  </a:lnTo>
                  <a:lnTo>
                    <a:pt x="76" y="218"/>
                  </a:lnTo>
                  <a:lnTo>
                    <a:pt x="76" y="220"/>
                  </a:lnTo>
                  <a:lnTo>
                    <a:pt x="78" y="220"/>
                  </a:lnTo>
                  <a:lnTo>
                    <a:pt x="78" y="221"/>
                  </a:lnTo>
                  <a:lnTo>
                    <a:pt x="83" y="225"/>
                  </a:lnTo>
                  <a:lnTo>
                    <a:pt x="83" y="226"/>
                  </a:lnTo>
                  <a:lnTo>
                    <a:pt x="84" y="228"/>
                  </a:lnTo>
                  <a:lnTo>
                    <a:pt x="86" y="228"/>
                  </a:lnTo>
                  <a:lnTo>
                    <a:pt x="86" y="229"/>
                  </a:lnTo>
                  <a:lnTo>
                    <a:pt x="89" y="229"/>
                  </a:lnTo>
                  <a:lnTo>
                    <a:pt x="91" y="229"/>
                  </a:lnTo>
                  <a:lnTo>
                    <a:pt x="92" y="229"/>
                  </a:lnTo>
                  <a:lnTo>
                    <a:pt x="92" y="231"/>
                  </a:lnTo>
                  <a:lnTo>
                    <a:pt x="94" y="233"/>
                  </a:lnTo>
                  <a:lnTo>
                    <a:pt x="96" y="233"/>
                  </a:lnTo>
                  <a:lnTo>
                    <a:pt x="97" y="233"/>
                  </a:lnTo>
                  <a:lnTo>
                    <a:pt x="99" y="233"/>
                  </a:lnTo>
                  <a:lnTo>
                    <a:pt x="99" y="234"/>
                  </a:lnTo>
                  <a:lnTo>
                    <a:pt x="97" y="234"/>
                  </a:lnTo>
                  <a:lnTo>
                    <a:pt x="99" y="234"/>
                  </a:lnTo>
                  <a:lnTo>
                    <a:pt x="100" y="234"/>
                  </a:lnTo>
                  <a:lnTo>
                    <a:pt x="99" y="234"/>
                  </a:lnTo>
                  <a:lnTo>
                    <a:pt x="97" y="234"/>
                  </a:lnTo>
                  <a:lnTo>
                    <a:pt x="96" y="236"/>
                  </a:lnTo>
                  <a:lnTo>
                    <a:pt x="94" y="236"/>
                  </a:lnTo>
                  <a:lnTo>
                    <a:pt x="92" y="236"/>
                  </a:lnTo>
                  <a:lnTo>
                    <a:pt x="91" y="238"/>
                  </a:lnTo>
                  <a:lnTo>
                    <a:pt x="89" y="238"/>
                  </a:lnTo>
                  <a:lnTo>
                    <a:pt x="87" y="238"/>
                  </a:lnTo>
                  <a:lnTo>
                    <a:pt x="86" y="238"/>
                  </a:lnTo>
                  <a:lnTo>
                    <a:pt x="84" y="238"/>
                  </a:lnTo>
                  <a:lnTo>
                    <a:pt x="84" y="241"/>
                  </a:lnTo>
                  <a:lnTo>
                    <a:pt x="83" y="241"/>
                  </a:lnTo>
                  <a:lnTo>
                    <a:pt x="83" y="239"/>
                  </a:lnTo>
                  <a:lnTo>
                    <a:pt x="81" y="239"/>
                  </a:lnTo>
                  <a:lnTo>
                    <a:pt x="81" y="238"/>
                  </a:lnTo>
                  <a:lnTo>
                    <a:pt x="79" y="238"/>
                  </a:lnTo>
                  <a:lnTo>
                    <a:pt x="78" y="238"/>
                  </a:lnTo>
                  <a:lnTo>
                    <a:pt x="78" y="236"/>
                  </a:lnTo>
                  <a:lnTo>
                    <a:pt x="76" y="234"/>
                  </a:lnTo>
                  <a:lnTo>
                    <a:pt x="74" y="234"/>
                  </a:lnTo>
                  <a:lnTo>
                    <a:pt x="73" y="234"/>
                  </a:lnTo>
                  <a:lnTo>
                    <a:pt x="73" y="233"/>
                  </a:lnTo>
                  <a:lnTo>
                    <a:pt x="71" y="233"/>
                  </a:lnTo>
                  <a:lnTo>
                    <a:pt x="70" y="231"/>
                  </a:lnTo>
                  <a:lnTo>
                    <a:pt x="68" y="231"/>
                  </a:lnTo>
                  <a:lnTo>
                    <a:pt x="66" y="233"/>
                  </a:lnTo>
                  <a:lnTo>
                    <a:pt x="66" y="234"/>
                  </a:lnTo>
                  <a:lnTo>
                    <a:pt x="68" y="234"/>
                  </a:lnTo>
                  <a:lnTo>
                    <a:pt x="70" y="236"/>
                  </a:lnTo>
                  <a:lnTo>
                    <a:pt x="71" y="238"/>
                  </a:lnTo>
                  <a:lnTo>
                    <a:pt x="74" y="239"/>
                  </a:lnTo>
                  <a:lnTo>
                    <a:pt x="76" y="241"/>
                  </a:lnTo>
                  <a:lnTo>
                    <a:pt x="79" y="241"/>
                  </a:lnTo>
                  <a:lnTo>
                    <a:pt x="79" y="242"/>
                  </a:lnTo>
                  <a:lnTo>
                    <a:pt x="81" y="244"/>
                  </a:lnTo>
                  <a:lnTo>
                    <a:pt x="81" y="246"/>
                  </a:lnTo>
                  <a:lnTo>
                    <a:pt x="83" y="246"/>
                  </a:lnTo>
                  <a:lnTo>
                    <a:pt x="83" y="247"/>
                  </a:lnTo>
                  <a:lnTo>
                    <a:pt x="84" y="249"/>
                  </a:lnTo>
                  <a:lnTo>
                    <a:pt x="86" y="251"/>
                  </a:lnTo>
                  <a:lnTo>
                    <a:pt x="87" y="251"/>
                  </a:lnTo>
                  <a:lnTo>
                    <a:pt x="89" y="252"/>
                  </a:lnTo>
                  <a:lnTo>
                    <a:pt x="91" y="252"/>
                  </a:lnTo>
                  <a:lnTo>
                    <a:pt x="96" y="254"/>
                  </a:lnTo>
                  <a:lnTo>
                    <a:pt x="96" y="252"/>
                  </a:lnTo>
                  <a:lnTo>
                    <a:pt x="97" y="252"/>
                  </a:lnTo>
                  <a:lnTo>
                    <a:pt x="96" y="252"/>
                  </a:lnTo>
                  <a:lnTo>
                    <a:pt x="97" y="252"/>
                  </a:lnTo>
                  <a:lnTo>
                    <a:pt x="96" y="254"/>
                  </a:lnTo>
                  <a:lnTo>
                    <a:pt x="97" y="254"/>
                  </a:lnTo>
                  <a:lnTo>
                    <a:pt x="96" y="255"/>
                  </a:lnTo>
                  <a:lnTo>
                    <a:pt x="96" y="254"/>
                  </a:lnTo>
                  <a:lnTo>
                    <a:pt x="94" y="254"/>
                  </a:lnTo>
                  <a:lnTo>
                    <a:pt x="92" y="254"/>
                  </a:lnTo>
                  <a:lnTo>
                    <a:pt x="92" y="255"/>
                  </a:lnTo>
                  <a:lnTo>
                    <a:pt x="92" y="257"/>
                  </a:lnTo>
                  <a:lnTo>
                    <a:pt x="91" y="259"/>
                  </a:lnTo>
                  <a:lnTo>
                    <a:pt x="89" y="259"/>
                  </a:lnTo>
                  <a:lnTo>
                    <a:pt x="87" y="259"/>
                  </a:lnTo>
                  <a:lnTo>
                    <a:pt x="86" y="259"/>
                  </a:lnTo>
                  <a:lnTo>
                    <a:pt x="84" y="259"/>
                  </a:lnTo>
                  <a:lnTo>
                    <a:pt x="81" y="259"/>
                  </a:lnTo>
                  <a:lnTo>
                    <a:pt x="81" y="257"/>
                  </a:lnTo>
                  <a:lnTo>
                    <a:pt x="79" y="255"/>
                  </a:lnTo>
                  <a:lnTo>
                    <a:pt x="78" y="255"/>
                  </a:lnTo>
                  <a:lnTo>
                    <a:pt x="78" y="254"/>
                  </a:lnTo>
                  <a:lnTo>
                    <a:pt x="76" y="254"/>
                  </a:lnTo>
                  <a:lnTo>
                    <a:pt x="74" y="254"/>
                  </a:lnTo>
                  <a:lnTo>
                    <a:pt x="74" y="255"/>
                  </a:lnTo>
                  <a:lnTo>
                    <a:pt x="74" y="257"/>
                  </a:lnTo>
                  <a:lnTo>
                    <a:pt x="76" y="257"/>
                  </a:lnTo>
                  <a:lnTo>
                    <a:pt x="74" y="257"/>
                  </a:lnTo>
                  <a:close/>
                  <a:moveTo>
                    <a:pt x="164" y="216"/>
                  </a:moveTo>
                  <a:lnTo>
                    <a:pt x="165" y="216"/>
                  </a:lnTo>
                  <a:lnTo>
                    <a:pt x="165" y="218"/>
                  </a:lnTo>
                  <a:lnTo>
                    <a:pt x="164" y="216"/>
                  </a:lnTo>
                  <a:close/>
                  <a:moveTo>
                    <a:pt x="161" y="215"/>
                  </a:moveTo>
                  <a:lnTo>
                    <a:pt x="162" y="215"/>
                  </a:lnTo>
                  <a:lnTo>
                    <a:pt x="164" y="216"/>
                  </a:lnTo>
                  <a:lnTo>
                    <a:pt x="165" y="218"/>
                  </a:lnTo>
                  <a:lnTo>
                    <a:pt x="165" y="220"/>
                  </a:lnTo>
                  <a:lnTo>
                    <a:pt x="167" y="220"/>
                  </a:lnTo>
                  <a:lnTo>
                    <a:pt x="169" y="220"/>
                  </a:lnTo>
                  <a:lnTo>
                    <a:pt x="169" y="221"/>
                  </a:lnTo>
                  <a:lnTo>
                    <a:pt x="170" y="221"/>
                  </a:lnTo>
                  <a:lnTo>
                    <a:pt x="172" y="221"/>
                  </a:lnTo>
                  <a:lnTo>
                    <a:pt x="172" y="220"/>
                  </a:lnTo>
                  <a:lnTo>
                    <a:pt x="174" y="220"/>
                  </a:lnTo>
                  <a:lnTo>
                    <a:pt x="175" y="220"/>
                  </a:lnTo>
                  <a:lnTo>
                    <a:pt x="175" y="221"/>
                  </a:lnTo>
                  <a:lnTo>
                    <a:pt x="177" y="221"/>
                  </a:lnTo>
                  <a:lnTo>
                    <a:pt x="178" y="221"/>
                  </a:lnTo>
                  <a:lnTo>
                    <a:pt x="180" y="223"/>
                  </a:lnTo>
                  <a:lnTo>
                    <a:pt x="182" y="223"/>
                  </a:lnTo>
                  <a:lnTo>
                    <a:pt x="183" y="223"/>
                  </a:lnTo>
                  <a:lnTo>
                    <a:pt x="185" y="225"/>
                  </a:lnTo>
                  <a:lnTo>
                    <a:pt x="187" y="226"/>
                  </a:lnTo>
                  <a:lnTo>
                    <a:pt x="191" y="229"/>
                  </a:lnTo>
                  <a:lnTo>
                    <a:pt x="191" y="233"/>
                  </a:lnTo>
                  <a:lnTo>
                    <a:pt x="190" y="233"/>
                  </a:lnTo>
                  <a:lnTo>
                    <a:pt x="190" y="234"/>
                  </a:lnTo>
                  <a:lnTo>
                    <a:pt x="188" y="234"/>
                  </a:lnTo>
                  <a:lnTo>
                    <a:pt x="188" y="236"/>
                  </a:lnTo>
                  <a:lnTo>
                    <a:pt x="188" y="238"/>
                  </a:lnTo>
                  <a:lnTo>
                    <a:pt x="187" y="239"/>
                  </a:lnTo>
                  <a:lnTo>
                    <a:pt x="185" y="241"/>
                  </a:lnTo>
                  <a:lnTo>
                    <a:pt x="185" y="242"/>
                  </a:lnTo>
                  <a:lnTo>
                    <a:pt x="183" y="242"/>
                  </a:lnTo>
                  <a:lnTo>
                    <a:pt x="183" y="244"/>
                  </a:lnTo>
                  <a:lnTo>
                    <a:pt x="182" y="244"/>
                  </a:lnTo>
                  <a:lnTo>
                    <a:pt x="180" y="244"/>
                  </a:lnTo>
                  <a:lnTo>
                    <a:pt x="180" y="242"/>
                  </a:lnTo>
                  <a:lnTo>
                    <a:pt x="178" y="242"/>
                  </a:lnTo>
                  <a:lnTo>
                    <a:pt x="178" y="241"/>
                  </a:lnTo>
                  <a:lnTo>
                    <a:pt x="177" y="241"/>
                  </a:lnTo>
                  <a:lnTo>
                    <a:pt x="175" y="241"/>
                  </a:lnTo>
                  <a:lnTo>
                    <a:pt x="175" y="242"/>
                  </a:lnTo>
                  <a:lnTo>
                    <a:pt x="174" y="242"/>
                  </a:lnTo>
                  <a:lnTo>
                    <a:pt x="172" y="242"/>
                  </a:lnTo>
                  <a:lnTo>
                    <a:pt x="170" y="242"/>
                  </a:lnTo>
                  <a:lnTo>
                    <a:pt x="169" y="242"/>
                  </a:lnTo>
                  <a:lnTo>
                    <a:pt x="165" y="241"/>
                  </a:lnTo>
                  <a:lnTo>
                    <a:pt x="164" y="241"/>
                  </a:lnTo>
                  <a:lnTo>
                    <a:pt x="164" y="242"/>
                  </a:lnTo>
                  <a:lnTo>
                    <a:pt x="162" y="241"/>
                  </a:lnTo>
                  <a:lnTo>
                    <a:pt x="161" y="241"/>
                  </a:lnTo>
                  <a:lnTo>
                    <a:pt x="161" y="239"/>
                  </a:lnTo>
                  <a:lnTo>
                    <a:pt x="159" y="239"/>
                  </a:lnTo>
                  <a:lnTo>
                    <a:pt x="157" y="239"/>
                  </a:lnTo>
                  <a:lnTo>
                    <a:pt x="156" y="241"/>
                  </a:lnTo>
                  <a:lnTo>
                    <a:pt x="154" y="241"/>
                  </a:lnTo>
                  <a:lnTo>
                    <a:pt x="151" y="239"/>
                  </a:lnTo>
                  <a:lnTo>
                    <a:pt x="149" y="239"/>
                  </a:lnTo>
                  <a:lnTo>
                    <a:pt x="148" y="239"/>
                  </a:lnTo>
                  <a:lnTo>
                    <a:pt x="146" y="239"/>
                  </a:lnTo>
                  <a:lnTo>
                    <a:pt x="146" y="238"/>
                  </a:lnTo>
                  <a:lnTo>
                    <a:pt x="144" y="238"/>
                  </a:lnTo>
                  <a:lnTo>
                    <a:pt x="139" y="239"/>
                  </a:lnTo>
                  <a:lnTo>
                    <a:pt x="138" y="239"/>
                  </a:lnTo>
                  <a:lnTo>
                    <a:pt x="136" y="239"/>
                  </a:lnTo>
                  <a:lnTo>
                    <a:pt x="135" y="239"/>
                  </a:lnTo>
                  <a:lnTo>
                    <a:pt x="133" y="239"/>
                  </a:lnTo>
                  <a:lnTo>
                    <a:pt x="131" y="239"/>
                  </a:lnTo>
                  <a:lnTo>
                    <a:pt x="130" y="239"/>
                  </a:lnTo>
                  <a:lnTo>
                    <a:pt x="128" y="238"/>
                  </a:lnTo>
                  <a:lnTo>
                    <a:pt x="126" y="238"/>
                  </a:lnTo>
                  <a:lnTo>
                    <a:pt x="125" y="238"/>
                  </a:lnTo>
                  <a:lnTo>
                    <a:pt x="122" y="238"/>
                  </a:lnTo>
                  <a:lnTo>
                    <a:pt x="122" y="234"/>
                  </a:lnTo>
                  <a:lnTo>
                    <a:pt x="120" y="233"/>
                  </a:lnTo>
                  <a:lnTo>
                    <a:pt x="118" y="231"/>
                  </a:lnTo>
                  <a:lnTo>
                    <a:pt x="118" y="228"/>
                  </a:lnTo>
                  <a:lnTo>
                    <a:pt x="120" y="228"/>
                  </a:lnTo>
                  <a:lnTo>
                    <a:pt x="122" y="228"/>
                  </a:lnTo>
                  <a:lnTo>
                    <a:pt x="125" y="228"/>
                  </a:lnTo>
                  <a:lnTo>
                    <a:pt x="126" y="228"/>
                  </a:lnTo>
                  <a:lnTo>
                    <a:pt x="130" y="226"/>
                  </a:lnTo>
                  <a:lnTo>
                    <a:pt x="131" y="225"/>
                  </a:lnTo>
                  <a:lnTo>
                    <a:pt x="133" y="225"/>
                  </a:lnTo>
                  <a:lnTo>
                    <a:pt x="135" y="225"/>
                  </a:lnTo>
                  <a:lnTo>
                    <a:pt x="138" y="221"/>
                  </a:lnTo>
                  <a:lnTo>
                    <a:pt x="139" y="221"/>
                  </a:lnTo>
                  <a:lnTo>
                    <a:pt x="141" y="223"/>
                  </a:lnTo>
                  <a:lnTo>
                    <a:pt x="144" y="223"/>
                  </a:lnTo>
                  <a:lnTo>
                    <a:pt x="144" y="221"/>
                  </a:lnTo>
                  <a:lnTo>
                    <a:pt x="146" y="221"/>
                  </a:lnTo>
                  <a:lnTo>
                    <a:pt x="146" y="220"/>
                  </a:lnTo>
                  <a:lnTo>
                    <a:pt x="148" y="220"/>
                  </a:lnTo>
                  <a:lnTo>
                    <a:pt x="149" y="220"/>
                  </a:lnTo>
                  <a:lnTo>
                    <a:pt x="151" y="220"/>
                  </a:lnTo>
                  <a:lnTo>
                    <a:pt x="151" y="218"/>
                  </a:lnTo>
                  <a:lnTo>
                    <a:pt x="152" y="218"/>
                  </a:lnTo>
                  <a:lnTo>
                    <a:pt x="154" y="218"/>
                  </a:lnTo>
                  <a:lnTo>
                    <a:pt x="154" y="220"/>
                  </a:lnTo>
                  <a:lnTo>
                    <a:pt x="156" y="220"/>
                  </a:lnTo>
                  <a:lnTo>
                    <a:pt x="156" y="218"/>
                  </a:lnTo>
                  <a:lnTo>
                    <a:pt x="157" y="216"/>
                  </a:lnTo>
                  <a:lnTo>
                    <a:pt x="159" y="216"/>
                  </a:lnTo>
                  <a:lnTo>
                    <a:pt x="161" y="215"/>
                  </a:lnTo>
                  <a:close/>
                  <a:moveTo>
                    <a:pt x="164" y="166"/>
                  </a:moveTo>
                  <a:lnTo>
                    <a:pt x="165" y="166"/>
                  </a:lnTo>
                  <a:lnTo>
                    <a:pt x="164" y="166"/>
                  </a:lnTo>
                  <a:close/>
                  <a:moveTo>
                    <a:pt x="149" y="159"/>
                  </a:moveTo>
                  <a:lnTo>
                    <a:pt x="151" y="159"/>
                  </a:lnTo>
                  <a:lnTo>
                    <a:pt x="152" y="159"/>
                  </a:lnTo>
                  <a:lnTo>
                    <a:pt x="152" y="161"/>
                  </a:lnTo>
                  <a:lnTo>
                    <a:pt x="151" y="161"/>
                  </a:lnTo>
                  <a:lnTo>
                    <a:pt x="149" y="159"/>
                  </a:lnTo>
                  <a:close/>
                  <a:moveTo>
                    <a:pt x="152" y="159"/>
                  </a:moveTo>
                  <a:lnTo>
                    <a:pt x="154" y="161"/>
                  </a:lnTo>
                  <a:lnTo>
                    <a:pt x="154" y="163"/>
                  </a:lnTo>
                  <a:lnTo>
                    <a:pt x="154" y="161"/>
                  </a:lnTo>
                  <a:lnTo>
                    <a:pt x="152" y="161"/>
                  </a:lnTo>
                  <a:lnTo>
                    <a:pt x="152" y="159"/>
                  </a:lnTo>
                  <a:close/>
                  <a:moveTo>
                    <a:pt x="117" y="145"/>
                  </a:moveTo>
                  <a:lnTo>
                    <a:pt x="117" y="146"/>
                  </a:lnTo>
                  <a:lnTo>
                    <a:pt x="118" y="145"/>
                  </a:lnTo>
                  <a:lnTo>
                    <a:pt x="118" y="146"/>
                  </a:lnTo>
                  <a:lnTo>
                    <a:pt x="118" y="145"/>
                  </a:lnTo>
                  <a:lnTo>
                    <a:pt x="117" y="146"/>
                  </a:lnTo>
                  <a:lnTo>
                    <a:pt x="117" y="145"/>
                  </a:lnTo>
                  <a:close/>
                  <a:moveTo>
                    <a:pt x="193" y="145"/>
                  </a:moveTo>
                  <a:lnTo>
                    <a:pt x="191" y="146"/>
                  </a:lnTo>
                  <a:lnTo>
                    <a:pt x="195" y="143"/>
                  </a:lnTo>
                  <a:lnTo>
                    <a:pt x="193" y="145"/>
                  </a:lnTo>
                  <a:close/>
                  <a:moveTo>
                    <a:pt x="185" y="117"/>
                  </a:moveTo>
                  <a:lnTo>
                    <a:pt x="187" y="119"/>
                  </a:lnTo>
                  <a:lnTo>
                    <a:pt x="190" y="119"/>
                  </a:lnTo>
                  <a:lnTo>
                    <a:pt x="190" y="120"/>
                  </a:lnTo>
                  <a:lnTo>
                    <a:pt x="191" y="122"/>
                  </a:lnTo>
                  <a:lnTo>
                    <a:pt x="193" y="124"/>
                  </a:lnTo>
                  <a:lnTo>
                    <a:pt x="190" y="120"/>
                  </a:lnTo>
                  <a:lnTo>
                    <a:pt x="190" y="119"/>
                  </a:lnTo>
                  <a:lnTo>
                    <a:pt x="187" y="119"/>
                  </a:lnTo>
                  <a:lnTo>
                    <a:pt x="185" y="117"/>
                  </a:lnTo>
                  <a:close/>
                  <a:moveTo>
                    <a:pt x="131" y="73"/>
                  </a:moveTo>
                  <a:lnTo>
                    <a:pt x="133" y="72"/>
                  </a:lnTo>
                  <a:lnTo>
                    <a:pt x="133" y="73"/>
                  </a:lnTo>
                  <a:lnTo>
                    <a:pt x="135" y="73"/>
                  </a:lnTo>
                  <a:lnTo>
                    <a:pt x="136" y="72"/>
                  </a:lnTo>
                  <a:lnTo>
                    <a:pt x="136" y="73"/>
                  </a:lnTo>
                  <a:lnTo>
                    <a:pt x="135" y="73"/>
                  </a:lnTo>
                  <a:lnTo>
                    <a:pt x="133" y="75"/>
                  </a:lnTo>
                  <a:lnTo>
                    <a:pt x="131" y="75"/>
                  </a:lnTo>
                  <a:lnTo>
                    <a:pt x="131" y="73"/>
                  </a:lnTo>
                  <a:close/>
                  <a:moveTo>
                    <a:pt x="154" y="47"/>
                  </a:moveTo>
                  <a:lnTo>
                    <a:pt x="154" y="49"/>
                  </a:lnTo>
                  <a:lnTo>
                    <a:pt x="156" y="51"/>
                  </a:lnTo>
                  <a:lnTo>
                    <a:pt x="156" y="52"/>
                  </a:lnTo>
                  <a:lnTo>
                    <a:pt x="154" y="54"/>
                  </a:lnTo>
                  <a:lnTo>
                    <a:pt x="154" y="55"/>
                  </a:lnTo>
                  <a:lnTo>
                    <a:pt x="154" y="57"/>
                  </a:lnTo>
                  <a:lnTo>
                    <a:pt x="154" y="59"/>
                  </a:lnTo>
                  <a:lnTo>
                    <a:pt x="154" y="60"/>
                  </a:lnTo>
                  <a:lnTo>
                    <a:pt x="152" y="60"/>
                  </a:lnTo>
                  <a:lnTo>
                    <a:pt x="152" y="62"/>
                  </a:lnTo>
                  <a:lnTo>
                    <a:pt x="151" y="64"/>
                  </a:lnTo>
                  <a:lnTo>
                    <a:pt x="151" y="65"/>
                  </a:lnTo>
                  <a:lnTo>
                    <a:pt x="149" y="65"/>
                  </a:lnTo>
                  <a:lnTo>
                    <a:pt x="149" y="67"/>
                  </a:lnTo>
                  <a:lnTo>
                    <a:pt x="148" y="65"/>
                  </a:lnTo>
                  <a:lnTo>
                    <a:pt x="144" y="68"/>
                  </a:lnTo>
                  <a:lnTo>
                    <a:pt x="144" y="70"/>
                  </a:lnTo>
                  <a:lnTo>
                    <a:pt x="143" y="70"/>
                  </a:lnTo>
                  <a:lnTo>
                    <a:pt x="143" y="68"/>
                  </a:lnTo>
                  <a:lnTo>
                    <a:pt x="141" y="68"/>
                  </a:lnTo>
                  <a:lnTo>
                    <a:pt x="141" y="70"/>
                  </a:lnTo>
                  <a:lnTo>
                    <a:pt x="143" y="70"/>
                  </a:lnTo>
                  <a:lnTo>
                    <a:pt x="141" y="70"/>
                  </a:lnTo>
                  <a:lnTo>
                    <a:pt x="139" y="72"/>
                  </a:lnTo>
                  <a:lnTo>
                    <a:pt x="138" y="72"/>
                  </a:lnTo>
                  <a:lnTo>
                    <a:pt x="138" y="70"/>
                  </a:lnTo>
                  <a:lnTo>
                    <a:pt x="138" y="68"/>
                  </a:lnTo>
                  <a:lnTo>
                    <a:pt x="138" y="65"/>
                  </a:lnTo>
                  <a:lnTo>
                    <a:pt x="139" y="60"/>
                  </a:lnTo>
                  <a:lnTo>
                    <a:pt x="139" y="59"/>
                  </a:lnTo>
                  <a:lnTo>
                    <a:pt x="141" y="57"/>
                  </a:lnTo>
                  <a:lnTo>
                    <a:pt x="143" y="54"/>
                  </a:lnTo>
                  <a:lnTo>
                    <a:pt x="148" y="49"/>
                  </a:lnTo>
                  <a:lnTo>
                    <a:pt x="149" y="46"/>
                  </a:lnTo>
                  <a:lnTo>
                    <a:pt x="151" y="46"/>
                  </a:lnTo>
                  <a:lnTo>
                    <a:pt x="152" y="44"/>
                  </a:lnTo>
                  <a:lnTo>
                    <a:pt x="152" y="46"/>
                  </a:lnTo>
                  <a:lnTo>
                    <a:pt x="152" y="47"/>
                  </a:lnTo>
                  <a:lnTo>
                    <a:pt x="154" y="47"/>
                  </a:lnTo>
                  <a:close/>
                  <a:moveTo>
                    <a:pt x="185" y="37"/>
                  </a:moveTo>
                  <a:lnTo>
                    <a:pt x="185" y="36"/>
                  </a:lnTo>
                  <a:lnTo>
                    <a:pt x="187" y="36"/>
                  </a:lnTo>
                  <a:lnTo>
                    <a:pt x="188" y="37"/>
                  </a:lnTo>
                  <a:lnTo>
                    <a:pt x="187" y="37"/>
                  </a:lnTo>
                  <a:lnTo>
                    <a:pt x="187" y="36"/>
                  </a:lnTo>
                  <a:lnTo>
                    <a:pt x="185" y="37"/>
                  </a:lnTo>
                  <a:lnTo>
                    <a:pt x="187" y="37"/>
                  </a:lnTo>
                  <a:lnTo>
                    <a:pt x="185" y="37"/>
                  </a:lnTo>
                  <a:close/>
                  <a:moveTo>
                    <a:pt x="177" y="33"/>
                  </a:moveTo>
                  <a:lnTo>
                    <a:pt x="175" y="33"/>
                  </a:lnTo>
                  <a:lnTo>
                    <a:pt x="175" y="31"/>
                  </a:lnTo>
                  <a:lnTo>
                    <a:pt x="175" y="29"/>
                  </a:lnTo>
                  <a:lnTo>
                    <a:pt x="177" y="29"/>
                  </a:lnTo>
                  <a:lnTo>
                    <a:pt x="178" y="29"/>
                  </a:lnTo>
                  <a:lnTo>
                    <a:pt x="178" y="31"/>
                  </a:lnTo>
                  <a:lnTo>
                    <a:pt x="177" y="31"/>
                  </a:lnTo>
                  <a:lnTo>
                    <a:pt x="177" y="33"/>
                  </a:lnTo>
                  <a:close/>
                  <a:moveTo>
                    <a:pt x="174" y="29"/>
                  </a:moveTo>
                  <a:lnTo>
                    <a:pt x="172" y="29"/>
                  </a:lnTo>
                  <a:lnTo>
                    <a:pt x="170" y="29"/>
                  </a:lnTo>
                  <a:lnTo>
                    <a:pt x="169" y="31"/>
                  </a:lnTo>
                  <a:lnTo>
                    <a:pt x="165" y="33"/>
                  </a:lnTo>
                  <a:lnTo>
                    <a:pt x="164" y="33"/>
                  </a:lnTo>
                  <a:lnTo>
                    <a:pt x="164" y="34"/>
                  </a:lnTo>
                  <a:lnTo>
                    <a:pt x="165" y="34"/>
                  </a:lnTo>
                  <a:lnTo>
                    <a:pt x="162" y="36"/>
                  </a:lnTo>
                  <a:lnTo>
                    <a:pt x="162" y="37"/>
                  </a:lnTo>
                  <a:lnTo>
                    <a:pt x="161" y="37"/>
                  </a:lnTo>
                  <a:lnTo>
                    <a:pt x="159" y="39"/>
                  </a:lnTo>
                  <a:lnTo>
                    <a:pt x="157" y="39"/>
                  </a:lnTo>
                  <a:lnTo>
                    <a:pt x="156" y="39"/>
                  </a:lnTo>
                  <a:lnTo>
                    <a:pt x="154" y="39"/>
                  </a:lnTo>
                  <a:lnTo>
                    <a:pt x="152" y="41"/>
                  </a:lnTo>
                  <a:lnTo>
                    <a:pt x="151" y="41"/>
                  </a:lnTo>
                  <a:lnTo>
                    <a:pt x="151" y="39"/>
                  </a:lnTo>
                  <a:lnTo>
                    <a:pt x="152" y="39"/>
                  </a:lnTo>
                  <a:lnTo>
                    <a:pt x="154" y="37"/>
                  </a:lnTo>
                  <a:lnTo>
                    <a:pt x="157" y="34"/>
                  </a:lnTo>
                  <a:lnTo>
                    <a:pt x="159" y="34"/>
                  </a:lnTo>
                  <a:lnTo>
                    <a:pt x="161" y="34"/>
                  </a:lnTo>
                  <a:lnTo>
                    <a:pt x="162" y="33"/>
                  </a:lnTo>
                  <a:lnTo>
                    <a:pt x="164" y="31"/>
                  </a:lnTo>
                  <a:lnTo>
                    <a:pt x="167" y="29"/>
                  </a:lnTo>
                  <a:lnTo>
                    <a:pt x="170" y="28"/>
                  </a:lnTo>
                  <a:lnTo>
                    <a:pt x="172" y="28"/>
                  </a:lnTo>
                  <a:lnTo>
                    <a:pt x="174" y="28"/>
                  </a:lnTo>
                  <a:lnTo>
                    <a:pt x="174" y="29"/>
                  </a:lnTo>
                  <a:close/>
                  <a:moveTo>
                    <a:pt x="208" y="10"/>
                  </a:moveTo>
                  <a:lnTo>
                    <a:pt x="209" y="10"/>
                  </a:lnTo>
                  <a:lnTo>
                    <a:pt x="211" y="10"/>
                  </a:lnTo>
                  <a:lnTo>
                    <a:pt x="213" y="10"/>
                  </a:lnTo>
                  <a:lnTo>
                    <a:pt x="214" y="11"/>
                  </a:lnTo>
                  <a:lnTo>
                    <a:pt x="213" y="11"/>
                  </a:lnTo>
                  <a:lnTo>
                    <a:pt x="213" y="13"/>
                  </a:lnTo>
                  <a:lnTo>
                    <a:pt x="211" y="13"/>
                  </a:lnTo>
                  <a:lnTo>
                    <a:pt x="209" y="13"/>
                  </a:lnTo>
                  <a:lnTo>
                    <a:pt x="208" y="15"/>
                  </a:lnTo>
                  <a:lnTo>
                    <a:pt x="206" y="15"/>
                  </a:lnTo>
                  <a:lnTo>
                    <a:pt x="208" y="15"/>
                  </a:lnTo>
                  <a:lnTo>
                    <a:pt x="206" y="15"/>
                  </a:lnTo>
                  <a:lnTo>
                    <a:pt x="208" y="15"/>
                  </a:lnTo>
                  <a:lnTo>
                    <a:pt x="208" y="16"/>
                  </a:lnTo>
                  <a:lnTo>
                    <a:pt x="206" y="16"/>
                  </a:lnTo>
                  <a:lnTo>
                    <a:pt x="200" y="16"/>
                  </a:lnTo>
                  <a:lnTo>
                    <a:pt x="198" y="16"/>
                  </a:lnTo>
                  <a:lnTo>
                    <a:pt x="196" y="18"/>
                  </a:lnTo>
                  <a:lnTo>
                    <a:pt x="195" y="18"/>
                  </a:lnTo>
                  <a:lnTo>
                    <a:pt x="195" y="20"/>
                  </a:lnTo>
                  <a:lnTo>
                    <a:pt x="193" y="18"/>
                  </a:lnTo>
                  <a:lnTo>
                    <a:pt x="191" y="20"/>
                  </a:lnTo>
                  <a:lnTo>
                    <a:pt x="190" y="20"/>
                  </a:lnTo>
                  <a:lnTo>
                    <a:pt x="188" y="20"/>
                  </a:lnTo>
                  <a:lnTo>
                    <a:pt x="187" y="20"/>
                  </a:lnTo>
                  <a:lnTo>
                    <a:pt x="185" y="20"/>
                  </a:lnTo>
                  <a:lnTo>
                    <a:pt x="185" y="21"/>
                  </a:lnTo>
                  <a:lnTo>
                    <a:pt x="183" y="21"/>
                  </a:lnTo>
                  <a:lnTo>
                    <a:pt x="183" y="23"/>
                  </a:lnTo>
                  <a:lnTo>
                    <a:pt x="182" y="23"/>
                  </a:lnTo>
                  <a:lnTo>
                    <a:pt x="180" y="23"/>
                  </a:lnTo>
                  <a:lnTo>
                    <a:pt x="178" y="21"/>
                  </a:lnTo>
                  <a:lnTo>
                    <a:pt x="182" y="18"/>
                  </a:lnTo>
                  <a:lnTo>
                    <a:pt x="182" y="16"/>
                  </a:lnTo>
                  <a:lnTo>
                    <a:pt x="183" y="16"/>
                  </a:lnTo>
                  <a:lnTo>
                    <a:pt x="190" y="15"/>
                  </a:lnTo>
                  <a:lnTo>
                    <a:pt x="195" y="15"/>
                  </a:lnTo>
                  <a:lnTo>
                    <a:pt x="198" y="13"/>
                  </a:lnTo>
                  <a:lnTo>
                    <a:pt x="203" y="11"/>
                  </a:lnTo>
                  <a:lnTo>
                    <a:pt x="206" y="11"/>
                  </a:lnTo>
                  <a:lnTo>
                    <a:pt x="208" y="10"/>
                  </a:lnTo>
                  <a:close/>
                  <a:moveTo>
                    <a:pt x="257" y="13"/>
                  </a:moveTo>
                  <a:lnTo>
                    <a:pt x="257" y="11"/>
                  </a:lnTo>
                  <a:lnTo>
                    <a:pt x="258" y="11"/>
                  </a:lnTo>
                  <a:lnTo>
                    <a:pt x="257" y="13"/>
                  </a:lnTo>
                  <a:close/>
                  <a:moveTo>
                    <a:pt x="96" y="255"/>
                  </a:moveTo>
                  <a:lnTo>
                    <a:pt x="97" y="255"/>
                  </a:lnTo>
                  <a:lnTo>
                    <a:pt x="96" y="255"/>
                  </a:lnTo>
                  <a:lnTo>
                    <a:pt x="97" y="255"/>
                  </a:lnTo>
                  <a:lnTo>
                    <a:pt x="97" y="254"/>
                  </a:lnTo>
                  <a:lnTo>
                    <a:pt x="99" y="254"/>
                  </a:lnTo>
                  <a:lnTo>
                    <a:pt x="97" y="254"/>
                  </a:lnTo>
                  <a:lnTo>
                    <a:pt x="99" y="254"/>
                  </a:lnTo>
                  <a:lnTo>
                    <a:pt x="100" y="254"/>
                  </a:lnTo>
                  <a:lnTo>
                    <a:pt x="100" y="255"/>
                  </a:lnTo>
                  <a:lnTo>
                    <a:pt x="104" y="257"/>
                  </a:lnTo>
                  <a:lnTo>
                    <a:pt x="105" y="257"/>
                  </a:lnTo>
                  <a:lnTo>
                    <a:pt x="107" y="257"/>
                  </a:lnTo>
                  <a:lnTo>
                    <a:pt x="109" y="257"/>
                  </a:lnTo>
                  <a:lnTo>
                    <a:pt x="110" y="255"/>
                  </a:lnTo>
                  <a:lnTo>
                    <a:pt x="112" y="255"/>
                  </a:lnTo>
                  <a:lnTo>
                    <a:pt x="112" y="257"/>
                  </a:lnTo>
                  <a:lnTo>
                    <a:pt x="112" y="259"/>
                  </a:lnTo>
                  <a:lnTo>
                    <a:pt x="112" y="257"/>
                  </a:lnTo>
                  <a:lnTo>
                    <a:pt x="112" y="255"/>
                  </a:lnTo>
                  <a:lnTo>
                    <a:pt x="113" y="255"/>
                  </a:lnTo>
                  <a:lnTo>
                    <a:pt x="113" y="257"/>
                  </a:lnTo>
                  <a:lnTo>
                    <a:pt x="113" y="259"/>
                  </a:lnTo>
                  <a:lnTo>
                    <a:pt x="113" y="257"/>
                  </a:lnTo>
                  <a:lnTo>
                    <a:pt x="113" y="255"/>
                  </a:lnTo>
                  <a:lnTo>
                    <a:pt x="115" y="255"/>
                  </a:lnTo>
                  <a:lnTo>
                    <a:pt x="115" y="254"/>
                  </a:lnTo>
                  <a:lnTo>
                    <a:pt x="117" y="254"/>
                  </a:lnTo>
                  <a:lnTo>
                    <a:pt x="118" y="254"/>
                  </a:lnTo>
                  <a:lnTo>
                    <a:pt x="123" y="252"/>
                  </a:lnTo>
                  <a:lnTo>
                    <a:pt x="125" y="252"/>
                  </a:lnTo>
                  <a:lnTo>
                    <a:pt x="126" y="252"/>
                  </a:lnTo>
                  <a:lnTo>
                    <a:pt x="128" y="252"/>
                  </a:lnTo>
                  <a:lnTo>
                    <a:pt x="131" y="254"/>
                  </a:lnTo>
                  <a:lnTo>
                    <a:pt x="133" y="255"/>
                  </a:lnTo>
                  <a:lnTo>
                    <a:pt x="136" y="254"/>
                  </a:lnTo>
                  <a:lnTo>
                    <a:pt x="136" y="255"/>
                  </a:lnTo>
                  <a:lnTo>
                    <a:pt x="138" y="255"/>
                  </a:lnTo>
                  <a:lnTo>
                    <a:pt x="136" y="254"/>
                  </a:lnTo>
                  <a:lnTo>
                    <a:pt x="138" y="254"/>
                  </a:lnTo>
                  <a:lnTo>
                    <a:pt x="139" y="254"/>
                  </a:lnTo>
                  <a:lnTo>
                    <a:pt x="141" y="254"/>
                  </a:lnTo>
                  <a:lnTo>
                    <a:pt x="143" y="254"/>
                  </a:lnTo>
                  <a:lnTo>
                    <a:pt x="144" y="254"/>
                  </a:lnTo>
                  <a:lnTo>
                    <a:pt x="146" y="254"/>
                  </a:lnTo>
                  <a:lnTo>
                    <a:pt x="148" y="254"/>
                  </a:lnTo>
                  <a:lnTo>
                    <a:pt x="149" y="255"/>
                  </a:lnTo>
                  <a:lnTo>
                    <a:pt x="151" y="255"/>
                  </a:lnTo>
                  <a:lnTo>
                    <a:pt x="154" y="255"/>
                  </a:lnTo>
                  <a:lnTo>
                    <a:pt x="156" y="255"/>
                  </a:lnTo>
                  <a:lnTo>
                    <a:pt x="159" y="254"/>
                  </a:lnTo>
                  <a:lnTo>
                    <a:pt x="162" y="252"/>
                  </a:lnTo>
                  <a:lnTo>
                    <a:pt x="164" y="252"/>
                  </a:lnTo>
                  <a:lnTo>
                    <a:pt x="162" y="252"/>
                  </a:lnTo>
                  <a:lnTo>
                    <a:pt x="164" y="252"/>
                  </a:lnTo>
                  <a:lnTo>
                    <a:pt x="165" y="252"/>
                  </a:lnTo>
                  <a:lnTo>
                    <a:pt x="167" y="254"/>
                  </a:lnTo>
                  <a:lnTo>
                    <a:pt x="169" y="252"/>
                  </a:lnTo>
                  <a:lnTo>
                    <a:pt x="170" y="254"/>
                  </a:lnTo>
                  <a:lnTo>
                    <a:pt x="172" y="254"/>
                  </a:lnTo>
                  <a:lnTo>
                    <a:pt x="174" y="254"/>
                  </a:lnTo>
                  <a:lnTo>
                    <a:pt x="172" y="254"/>
                  </a:lnTo>
                  <a:lnTo>
                    <a:pt x="170" y="252"/>
                  </a:lnTo>
                  <a:lnTo>
                    <a:pt x="169" y="252"/>
                  </a:lnTo>
                  <a:lnTo>
                    <a:pt x="167" y="252"/>
                  </a:lnTo>
                  <a:lnTo>
                    <a:pt x="165" y="252"/>
                  </a:lnTo>
                  <a:lnTo>
                    <a:pt x="161" y="252"/>
                  </a:lnTo>
                  <a:lnTo>
                    <a:pt x="162" y="252"/>
                  </a:lnTo>
                  <a:lnTo>
                    <a:pt x="162" y="251"/>
                  </a:lnTo>
                  <a:lnTo>
                    <a:pt x="164" y="251"/>
                  </a:lnTo>
                  <a:lnTo>
                    <a:pt x="165" y="251"/>
                  </a:lnTo>
                  <a:lnTo>
                    <a:pt x="167" y="251"/>
                  </a:lnTo>
                  <a:lnTo>
                    <a:pt x="165" y="252"/>
                  </a:lnTo>
                  <a:lnTo>
                    <a:pt x="167" y="252"/>
                  </a:lnTo>
                  <a:lnTo>
                    <a:pt x="167" y="251"/>
                  </a:lnTo>
                  <a:lnTo>
                    <a:pt x="165" y="249"/>
                  </a:lnTo>
                  <a:lnTo>
                    <a:pt x="164" y="249"/>
                  </a:lnTo>
                  <a:lnTo>
                    <a:pt x="164" y="251"/>
                  </a:lnTo>
                  <a:lnTo>
                    <a:pt x="162" y="251"/>
                  </a:lnTo>
                  <a:lnTo>
                    <a:pt x="162" y="249"/>
                  </a:lnTo>
                  <a:lnTo>
                    <a:pt x="162" y="247"/>
                  </a:lnTo>
                  <a:lnTo>
                    <a:pt x="161" y="247"/>
                  </a:lnTo>
                  <a:lnTo>
                    <a:pt x="161" y="246"/>
                  </a:lnTo>
                  <a:lnTo>
                    <a:pt x="159" y="246"/>
                  </a:lnTo>
                  <a:lnTo>
                    <a:pt x="161" y="246"/>
                  </a:lnTo>
                  <a:lnTo>
                    <a:pt x="159" y="246"/>
                  </a:lnTo>
                  <a:lnTo>
                    <a:pt x="157" y="246"/>
                  </a:lnTo>
                  <a:lnTo>
                    <a:pt x="156" y="246"/>
                  </a:lnTo>
                  <a:lnTo>
                    <a:pt x="156" y="244"/>
                  </a:lnTo>
                  <a:lnTo>
                    <a:pt x="154" y="244"/>
                  </a:lnTo>
                  <a:lnTo>
                    <a:pt x="152" y="242"/>
                  </a:lnTo>
                  <a:lnTo>
                    <a:pt x="151" y="241"/>
                  </a:lnTo>
                  <a:lnTo>
                    <a:pt x="152" y="241"/>
                  </a:lnTo>
                  <a:lnTo>
                    <a:pt x="154" y="241"/>
                  </a:lnTo>
                  <a:lnTo>
                    <a:pt x="156" y="241"/>
                  </a:lnTo>
                  <a:lnTo>
                    <a:pt x="157" y="241"/>
                  </a:lnTo>
                  <a:lnTo>
                    <a:pt x="159" y="241"/>
                  </a:lnTo>
                  <a:lnTo>
                    <a:pt x="162" y="242"/>
                  </a:lnTo>
                  <a:lnTo>
                    <a:pt x="164" y="242"/>
                  </a:lnTo>
                  <a:lnTo>
                    <a:pt x="167" y="242"/>
                  </a:lnTo>
                  <a:lnTo>
                    <a:pt x="169" y="242"/>
                  </a:lnTo>
                  <a:lnTo>
                    <a:pt x="169" y="244"/>
                  </a:lnTo>
                  <a:lnTo>
                    <a:pt x="170" y="244"/>
                  </a:lnTo>
                  <a:lnTo>
                    <a:pt x="172" y="242"/>
                  </a:lnTo>
                  <a:lnTo>
                    <a:pt x="175" y="242"/>
                  </a:lnTo>
                  <a:lnTo>
                    <a:pt x="177" y="242"/>
                  </a:lnTo>
                  <a:lnTo>
                    <a:pt x="178" y="242"/>
                  </a:lnTo>
                  <a:lnTo>
                    <a:pt x="180" y="244"/>
                  </a:lnTo>
                  <a:lnTo>
                    <a:pt x="182" y="246"/>
                  </a:lnTo>
                  <a:lnTo>
                    <a:pt x="183" y="244"/>
                  </a:lnTo>
                  <a:lnTo>
                    <a:pt x="185" y="241"/>
                  </a:lnTo>
                  <a:lnTo>
                    <a:pt x="187" y="241"/>
                  </a:lnTo>
                  <a:lnTo>
                    <a:pt x="187" y="239"/>
                  </a:lnTo>
                  <a:lnTo>
                    <a:pt x="188" y="239"/>
                  </a:lnTo>
                  <a:lnTo>
                    <a:pt x="188" y="238"/>
                  </a:lnTo>
                  <a:lnTo>
                    <a:pt x="188" y="236"/>
                  </a:lnTo>
                  <a:lnTo>
                    <a:pt x="190" y="236"/>
                  </a:lnTo>
                  <a:lnTo>
                    <a:pt x="190" y="234"/>
                  </a:lnTo>
                  <a:lnTo>
                    <a:pt x="191" y="234"/>
                  </a:lnTo>
                  <a:lnTo>
                    <a:pt x="191" y="233"/>
                  </a:lnTo>
                  <a:lnTo>
                    <a:pt x="193" y="233"/>
                  </a:lnTo>
                  <a:lnTo>
                    <a:pt x="191" y="233"/>
                  </a:lnTo>
                  <a:lnTo>
                    <a:pt x="191" y="231"/>
                  </a:lnTo>
                  <a:lnTo>
                    <a:pt x="191" y="229"/>
                  </a:lnTo>
                  <a:lnTo>
                    <a:pt x="187" y="226"/>
                  </a:lnTo>
                  <a:lnTo>
                    <a:pt x="185" y="225"/>
                  </a:lnTo>
                  <a:lnTo>
                    <a:pt x="182" y="223"/>
                  </a:lnTo>
                  <a:lnTo>
                    <a:pt x="182" y="221"/>
                  </a:lnTo>
                  <a:lnTo>
                    <a:pt x="182" y="223"/>
                  </a:lnTo>
                  <a:lnTo>
                    <a:pt x="180" y="223"/>
                  </a:lnTo>
                  <a:lnTo>
                    <a:pt x="178" y="221"/>
                  </a:lnTo>
                  <a:lnTo>
                    <a:pt x="177" y="221"/>
                  </a:lnTo>
                  <a:lnTo>
                    <a:pt x="175" y="220"/>
                  </a:lnTo>
                  <a:lnTo>
                    <a:pt x="174" y="220"/>
                  </a:lnTo>
                  <a:lnTo>
                    <a:pt x="174" y="218"/>
                  </a:lnTo>
                  <a:lnTo>
                    <a:pt x="172" y="220"/>
                  </a:lnTo>
                  <a:lnTo>
                    <a:pt x="172" y="221"/>
                  </a:lnTo>
                  <a:lnTo>
                    <a:pt x="170" y="221"/>
                  </a:lnTo>
                  <a:lnTo>
                    <a:pt x="169" y="221"/>
                  </a:lnTo>
                  <a:lnTo>
                    <a:pt x="167" y="220"/>
                  </a:lnTo>
                  <a:lnTo>
                    <a:pt x="165" y="220"/>
                  </a:lnTo>
                  <a:lnTo>
                    <a:pt x="165" y="218"/>
                  </a:lnTo>
                  <a:lnTo>
                    <a:pt x="165" y="216"/>
                  </a:lnTo>
                  <a:lnTo>
                    <a:pt x="164" y="216"/>
                  </a:lnTo>
                  <a:lnTo>
                    <a:pt x="164" y="215"/>
                  </a:lnTo>
                  <a:lnTo>
                    <a:pt x="162" y="215"/>
                  </a:lnTo>
                  <a:lnTo>
                    <a:pt x="161" y="215"/>
                  </a:lnTo>
                  <a:lnTo>
                    <a:pt x="159" y="215"/>
                  </a:lnTo>
                  <a:lnTo>
                    <a:pt x="157" y="216"/>
                  </a:lnTo>
                  <a:lnTo>
                    <a:pt x="156" y="218"/>
                  </a:lnTo>
                  <a:lnTo>
                    <a:pt x="154" y="220"/>
                  </a:lnTo>
                  <a:lnTo>
                    <a:pt x="154" y="218"/>
                  </a:lnTo>
                  <a:lnTo>
                    <a:pt x="152" y="218"/>
                  </a:lnTo>
                  <a:lnTo>
                    <a:pt x="151" y="218"/>
                  </a:lnTo>
                  <a:lnTo>
                    <a:pt x="149" y="220"/>
                  </a:lnTo>
                  <a:lnTo>
                    <a:pt x="148" y="220"/>
                  </a:lnTo>
                  <a:lnTo>
                    <a:pt x="146" y="220"/>
                  </a:lnTo>
                  <a:lnTo>
                    <a:pt x="146" y="221"/>
                  </a:lnTo>
                  <a:lnTo>
                    <a:pt x="144" y="221"/>
                  </a:lnTo>
                  <a:lnTo>
                    <a:pt x="141" y="223"/>
                  </a:lnTo>
                  <a:lnTo>
                    <a:pt x="139" y="221"/>
                  </a:lnTo>
                  <a:lnTo>
                    <a:pt x="138" y="221"/>
                  </a:lnTo>
                  <a:lnTo>
                    <a:pt x="136" y="223"/>
                  </a:lnTo>
                  <a:lnTo>
                    <a:pt x="135" y="225"/>
                  </a:lnTo>
                  <a:lnTo>
                    <a:pt x="133" y="225"/>
                  </a:lnTo>
                  <a:lnTo>
                    <a:pt x="131" y="225"/>
                  </a:lnTo>
                  <a:lnTo>
                    <a:pt x="130" y="226"/>
                  </a:lnTo>
                  <a:lnTo>
                    <a:pt x="126" y="228"/>
                  </a:lnTo>
                  <a:lnTo>
                    <a:pt x="125" y="228"/>
                  </a:lnTo>
                  <a:lnTo>
                    <a:pt x="123" y="228"/>
                  </a:lnTo>
                  <a:lnTo>
                    <a:pt x="120" y="228"/>
                  </a:lnTo>
                  <a:lnTo>
                    <a:pt x="118" y="228"/>
                  </a:lnTo>
                  <a:lnTo>
                    <a:pt x="117" y="228"/>
                  </a:lnTo>
                  <a:lnTo>
                    <a:pt x="115" y="228"/>
                  </a:lnTo>
                  <a:lnTo>
                    <a:pt x="115" y="226"/>
                  </a:lnTo>
                  <a:lnTo>
                    <a:pt x="113" y="225"/>
                  </a:lnTo>
                  <a:lnTo>
                    <a:pt x="112" y="225"/>
                  </a:lnTo>
                  <a:lnTo>
                    <a:pt x="110" y="226"/>
                  </a:lnTo>
                  <a:lnTo>
                    <a:pt x="109" y="225"/>
                  </a:lnTo>
                  <a:lnTo>
                    <a:pt x="109" y="223"/>
                  </a:lnTo>
                  <a:lnTo>
                    <a:pt x="107" y="223"/>
                  </a:lnTo>
                  <a:lnTo>
                    <a:pt x="105" y="225"/>
                  </a:lnTo>
                  <a:lnTo>
                    <a:pt x="104" y="225"/>
                  </a:lnTo>
                  <a:lnTo>
                    <a:pt x="100" y="225"/>
                  </a:lnTo>
                  <a:lnTo>
                    <a:pt x="99" y="225"/>
                  </a:lnTo>
                  <a:lnTo>
                    <a:pt x="97" y="225"/>
                  </a:lnTo>
                  <a:lnTo>
                    <a:pt x="99" y="225"/>
                  </a:lnTo>
                  <a:lnTo>
                    <a:pt x="97" y="225"/>
                  </a:lnTo>
                  <a:lnTo>
                    <a:pt x="96" y="225"/>
                  </a:lnTo>
                  <a:lnTo>
                    <a:pt x="94" y="225"/>
                  </a:lnTo>
                  <a:lnTo>
                    <a:pt x="92" y="225"/>
                  </a:lnTo>
                  <a:lnTo>
                    <a:pt x="91" y="225"/>
                  </a:lnTo>
                  <a:lnTo>
                    <a:pt x="89" y="225"/>
                  </a:lnTo>
                  <a:lnTo>
                    <a:pt x="87" y="223"/>
                  </a:lnTo>
                  <a:lnTo>
                    <a:pt x="86" y="223"/>
                  </a:lnTo>
                  <a:lnTo>
                    <a:pt x="86" y="221"/>
                  </a:lnTo>
                  <a:lnTo>
                    <a:pt x="84" y="221"/>
                  </a:lnTo>
                  <a:lnTo>
                    <a:pt x="84" y="220"/>
                  </a:lnTo>
                  <a:lnTo>
                    <a:pt x="83" y="218"/>
                  </a:lnTo>
                  <a:lnTo>
                    <a:pt x="79" y="216"/>
                  </a:lnTo>
                  <a:lnTo>
                    <a:pt x="78" y="215"/>
                  </a:lnTo>
                  <a:lnTo>
                    <a:pt x="78" y="213"/>
                  </a:lnTo>
                  <a:lnTo>
                    <a:pt x="76" y="213"/>
                  </a:lnTo>
                  <a:lnTo>
                    <a:pt x="74" y="212"/>
                  </a:lnTo>
                  <a:lnTo>
                    <a:pt x="73" y="212"/>
                  </a:lnTo>
                  <a:lnTo>
                    <a:pt x="73" y="210"/>
                  </a:lnTo>
                  <a:lnTo>
                    <a:pt x="74" y="210"/>
                  </a:lnTo>
                  <a:lnTo>
                    <a:pt x="76" y="208"/>
                  </a:lnTo>
                  <a:lnTo>
                    <a:pt x="78" y="207"/>
                  </a:lnTo>
                  <a:lnTo>
                    <a:pt x="78" y="205"/>
                  </a:lnTo>
                  <a:lnTo>
                    <a:pt x="79" y="205"/>
                  </a:lnTo>
                  <a:lnTo>
                    <a:pt x="81" y="203"/>
                  </a:lnTo>
                  <a:lnTo>
                    <a:pt x="81" y="202"/>
                  </a:lnTo>
                  <a:lnTo>
                    <a:pt x="83" y="202"/>
                  </a:lnTo>
                  <a:lnTo>
                    <a:pt x="84" y="200"/>
                  </a:lnTo>
                  <a:lnTo>
                    <a:pt x="84" y="199"/>
                  </a:lnTo>
                  <a:lnTo>
                    <a:pt x="86" y="199"/>
                  </a:lnTo>
                  <a:lnTo>
                    <a:pt x="86" y="197"/>
                  </a:lnTo>
                  <a:lnTo>
                    <a:pt x="91" y="194"/>
                  </a:lnTo>
                  <a:lnTo>
                    <a:pt x="91" y="192"/>
                  </a:lnTo>
                  <a:lnTo>
                    <a:pt x="92" y="192"/>
                  </a:lnTo>
                  <a:lnTo>
                    <a:pt x="94" y="190"/>
                  </a:lnTo>
                  <a:lnTo>
                    <a:pt x="94" y="189"/>
                  </a:lnTo>
                  <a:lnTo>
                    <a:pt x="96" y="187"/>
                  </a:lnTo>
                  <a:lnTo>
                    <a:pt x="99" y="185"/>
                  </a:lnTo>
                  <a:lnTo>
                    <a:pt x="99" y="184"/>
                  </a:lnTo>
                  <a:lnTo>
                    <a:pt x="100" y="182"/>
                  </a:lnTo>
                  <a:lnTo>
                    <a:pt x="100" y="181"/>
                  </a:lnTo>
                  <a:lnTo>
                    <a:pt x="102" y="181"/>
                  </a:lnTo>
                  <a:lnTo>
                    <a:pt x="104" y="179"/>
                  </a:lnTo>
                  <a:lnTo>
                    <a:pt x="105" y="176"/>
                  </a:lnTo>
                  <a:lnTo>
                    <a:pt x="107" y="172"/>
                  </a:lnTo>
                  <a:lnTo>
                    <a:pt x="109" y="168"/>
                  </a:lnTo>
                  <a:lnTo>
                    <a:pt x="110" y="166"/>
                  </a:lnTo>
                  <a:lnTo>
                    <a:pt x="112" y="164"/>
                  </a:lnTo>
                  <a:lnTo>
                    <a:pt x="112" y="161"/>
                  </a:lnTo>
                  <a:lnTo>
                    <a:pt x="113" y="159"/>
                  </a:lnTo>
                  <a:lnTo>
                    <a:pt x="115" y="158"/>
                  </a:lnTo>
                  <a:lnTo>
                    <a:pt x="115" y="156"/>
                  </a:lnTo>
                  <a:lnTo>
                    <a:pt x="117" y="155"/>
                  </a:lnTo>
                  <a:lnTo>
                    <a:pt x="117" y="153"/>
                  </a:lnTo>
                  <a:lnTo>
                    <a:pt x="118" y="151"/>
                  </a:lnTo>
                  <a:lnTo>
                    <a:pt x="118" y="150"/>
                  </a:lnTo>
                  <a:lnTo>
                    <a:pt x="118" y="148"/>
                  </a:lnTo>
                  <a:lnTo>
                    <a:pt x="118" y="146"/>
                  </a:lnTo>
                  <a:lnTo>
                    <a:pt x="120" y="146"/>
                  </a:lnTo>
                  <a:lnTo>
                    <a:pt x="120" y="145"/>
                  </a:lnTo>
                  <a:lnTo>
                    <a:pt x="120" y="146"/>
                  </a:lnTo>
                  <a:lnTo>
                    <a:pt x="122" y="145"/>
                  </a:lnTo>
                  <a:lnTo>
                    <a:pt x="122" y="146"/>
                  </a:lnTo>
                  <a:lnTo>
                    <a:pt x="125" y="146"/>
                  </a:lnTo>
                  <a:lnTo>
                    <a:pt x="126" y="146"/>
                  </a:lnTo>
                  <a:lnTo>
                    <a:pt x="128" y="146"/>
                  </a:lnTo>
                  <a:lnTo>
                    <a:pt x="131" y="150"/>
                  </a:lnTo>
                  <a:lnTo>
                    <a:pt x="133" y="151"/>
                  </a:lnTo>
                  <a:lnTo>
                    <a:pt x="136" y="151"/>
                  </a:lnTo>
                  <a:lnTo>
                    <a:pt x="136" y="153"/>
                  </a:lnTo>
                  <a:lnTo>
                    <a:pt x="136" y="155"/>
                  </a:lnTo>
                  <a:lnTo>
                    <a:pt x="136" y="156"/>
                  </a:lnTo>
                  <a:lnTo>
                    <a:pt x="138" y="156"/>
                  </a:lnTo>
                  <a:lnTo>
                    <a:pt x="138" y="155"/>
                  </a:lnTo>
                  <a:lnTo>
                    <a:pt x="136" y="155"/>
                  </a:lnTo>
                  <a:lnTo>
                    <a:pt x="138" y="155"/>
                  </a:lnTo>
                  <a:lnTo>
                    <a:pt x="139" y="155"/>
                  </a:lnTo>
                  <a:lnTo>
                    <a:pt x="138" y="155"/>
                  </a:lnTo>
                  <a:lnTo>
                    <a:pt x="136" y="153"/>
                  </a:lnTo>
                  <a:lnTo>
                    <a:pt x="139" y="153"/>
                  </a:lnTo>
                  <a:lnTo>
                    <a:pt x="139" y="155"/>
                  </a:lnTo>
                  <a:lnTo>
                    <a:pt x="141" y="156"/>
                  </a:lnTo>
                  <a:lnTo>
                    <a:pt x="139" y="156"/>
                  </a:lnTo>
                  <a:lnTo>
                    <a:pt x="141" y="156"/>
                  </a:lnTo>
                  <a:lnTo>
                    <a:pt x="143" y="156"/>
                  </a:lnTo>
                  <a:lnTo>
                    <a:pt x="141" y="156"/>
                  </a:lnTo>
                  <a:lnTo>
                    <a:pt x="143" y="156"/>
                  </a:lnTo>
                  <a:lnTo>
                    <a:pt x="141" y="156"/>
                  </a:lnTo>
                  <a:lnTo>
                    <a:pt x="141" y="155"/>
                  </a:lnTo>
                  <a:lnTo>
                    <a:pt x="141" y="153"/>
                  </a:lnTo>
                  <a:lnTo>
                    <a:pt x="143" y="155"/>
                  </a:lnTo>
                  <a:lnTo>
                    <a:pt x="144" y="155"/>
                  </a:lnTo>
                  <a:lnTo>
                    <a:pt x="144" y="156"/>
                  </a:lnTo>
                  <a:lnTo>
                    <a:pt x="144" y="155"/>
                  </a:lnTo>
                  <a:lnTo>
                    <a:pt x="146" y="156"/>
                  </a:lnTo>
                  <a:lnTo>
                    <a:pt x="144" y="156"/>
                  </a:lnTo>
                  <a:lnTo>
                    <a:pt x="146" y="156"/>
                  </a:lnTo>
                  <a:lnTo>
                    <a:pt x="146" y="158"/>
                  </a:lnTo>
                  <a:lnTo>
                    <a:pt x="148" y="158"/>
                  </a:lnTo>
                  <a:lnTo>
                    <a:pt x="148" y="159"/>
                  </a:lnTo>
                  <a:lnTo>
                    <a:pt x="149" y="159"/>
                  </a:lnTo>
                  <a:lnTo>
                    <a:pt x="151" y="161"/>
                  </a:lnTo>
                  <a:lnTo>
                    <a:pt x="152" y="161"/>
                  </a:lnTo>
                  <a:lnTo>
                    <a:pt x="151" y="161"/>
                  </a:lnTo>
                  <a:lnTo>
                    <a:pt x="152" y="161"/>
                  </a:lnTo>
                  <a:lnTo>
                    <a:pt x="151" y="161"/>
                  </a:lnTo>
                  <a:lnTo>
                    <a:pt x="152" y="161"/>
                  </a:lnTo>
                  <a:lnTo>
                    <a:pt x="152" y="163"/>
                  </a:lnTo>
                  <a:lnTo>
                    <a:pt x="154" y="163"/>
                  </a:lnTo>
                  <a:lnTo>
                    <a:pt x="154" y="164"/>
                  </a:lnTo>
                  <a:lnTo>
                    <a:pt x="156" y="164"/>
                  </a:lnTo>
                  <a:lnTo>
                    <a:pt x="156" y="166"/>
                  </a:lnTo>
                  <a:lnTo>
                    <a:pt x="157" y="166"/>
                  </a:lnTo>
                  <a:lnTo>
                    <a:pt x="157" y="164"/>
                  </a:lnTo>
                  <a:lnTo>
                    <a:pt x="159" y="164"/>
                  </a:lnTo>
                  <a:lnTo>
                    <a:pt x="159" y="166"/>
                  </a:lnTo>
                  <a:lnTo>
                    <a:pt x="159" y="168"/>
                  </a:lnTo>
                  <a:lnTo>
                    <a:pt x="159" y="166"/>
                  </a:lnTo>
                  <a:lnTo>
                    <a:pt x="161" y="166"/>
                  </a:lnTo>
                  <a:lnTo>
                    <a:pt x="162" y="166"/>
                  </a:lnTo>
                  <a:lnTo>
                    <a:pt x="164" y="166"/>
                  </a:lnTo>
                  <a:lnTo>
                    <a:pt x="165" y="168"/>
                  </a:lnTo>
                  <a:lnTo>
                    <a:pt x="167" y="168"/>
                  </a:lnTo>
                  <a:lnTo>
                    <a:pt x="167" y="169"/>
                  </a:lnTo>
                  <a:lnTo>
                    <a:pt x="167" y="168"/>
                  </a:lnTo>
                  <a:lnTo>
                    <a:pt x="167" y="169"/>
                  </a:lnTo>
                  <a:lnTo>
                    <a:pt x="167" y="168"/>
                  </a:lnTo>
                  <a:lnTo>
                    <a:pt x="169" y="168"/>
                  </a:lnTo>
                  <a:lnTo>
                    <a:pt x="167" y="168"/>
                  </a:lnTo>
                  <a:lnTo>
                    <a:pt x="167" y="166"/>
                  </a:lnTo>
                  <a:lnTo>
                    <a:pt x="167" y="163"/>
                  </a:lnTo>
                  <a:lnTo>
                    <a:pt x="167" y="161"/>
                  </a:lnTo>
                  <a:lnTo>
                    <a:pt x="170" y="159"/>
                  </a:lnTo>
                  <a:lnTo>
                    <a:pt x="170" y="158"/>
                  </a:lnTo>
                  <a:lnTo>
                    <a:pt x="167" y="159"/>
                  </a:lnTo>
                  <a:lnTo>
                    <a:pt x="177" y="155"/>
                  </a:lnTo>
                  <a:lnTo>
                    <a:pt x="175" y="156"/>
                  </a:lnTo>
                  <a:lnTo>
                    <a:pt x="177" y="155"/>
                  </a:lnTo>
                  <a:lnTo>
                    <a:pt x="178" y="155"/>
                  </a:lnTo>
                  <a:lnTo>
                    <a:pt x="180" y="153"/>
                  </a:lnTo>
                  <a:lnTo>
                    <a:pt x="182" y="153"/>
                  </a:lnTo>
                  <a:lnTo>
                    <a:pt x="191" y="146"/>
                  </a:lnTo>
                  <a:lnTo>
                    <a:pt x="193" y="145"/>
                  </a:lnTo>
                  <a:lnTo>
                    <a:pt x="195" y="145"/>
                  </a:lnTo>
                  <a:lnTo>
                    <a:pt x="195" y="143"/>
                  </a:lnTo>
                  <a:lnTo>
                    <a:pt x="196" y="143"/>
                  </a:lnTo>
                  <a:lnTo>
                    <a:pt x="195" y="143"/>
                  </a:lnTo>
                  <a:lnTo>
                    <a:pt x="196" y="142"/>
                  </a:lnTo>
                  <a:lnTo>
                    <a:pt x="195" y="142"/>
                  </a:lnTo>
                  <a:lnTo>
                    <a:pt x="195" y="143"/>
                  </a:lnTo>
                  <a:lnTo>
                    <a:pt x="193" y="143"/>
                  </a:lnTo>
                  <a:lnTo>
                    <a:pt x="195" y="143"/>
                  </a:lnTo>
                  <a:lnTo>
                    <a:pt x="195" y="140"/>
                  </a:lnTo>
                  <a:lnTo>
                    <a:pt x="196" y="137"/>
                  </a:lnTo>
                  <a:lnTo>
                    <a:pt x="198" y="137"/>
                  </a:lnTo>
                  <a:lnTo>
                    <a:pt x="198" y="135"/>
                  </a:lnTo>
                  <a:lnTo>
                    <a:pt x="200" y="135"/>
                  </a:lnTo>
                  <a:lnTo>
                    <a:pt x="198" y="135"/>
                  </a:lnTo>
                  <a:lnTo>
                    <a:pt x="198" y="132"/>
                  </a:lnTo>
                  <a:lnTo>
                    <a:pt x="193" y="124"/>
                  </a:lnTo>
                  <a:lnTo>
                    <a:pt x="195" y="125"/>
                  </a:lnTo>
                  <a:lnTo>
                    <a:pt x="195" y="127"/>
                  </a:lnTo>
                  <a:lnTo>
                    <a:pt x="198" y="132"/>
                  </a:lnTo>
                  <a:lnTo>
                    <a:pt x="200" y="135"/>
                  </a:lnTo>
                  <a:lnTo>
                    <a:pt x="198" y="137"/>
                  </a:lnTo>
                  <a:lnTo>
                    <a:pt x="196" y="137"/>
                  </a:lnTo>
                  <a:lnTo>
                    <a:pt x="195" y="140"/>
                  </a:lnTo>
                  <a:lnTo>
                    <a:pt x="195" y="142"/>
                  </a:lnTo>
                  <a:lnTo>
                    <a:pt x="196" y="140"/>
                  </a:lnTo>
                  <a:lnTo>
                    <a:pt x="196" y="142"/>
                  </a:lnTo>
                  <a:lnTo>
                    <a:pt x="196" y="140"/>
                  </a:lnTo>
                  <a:lnTo>
                    <a:pt x="198" y="138"/>
                  </a:lnTo>
                  <a:lnTo>
                    <a:pt x="201" y="138"/>
                  </a:lnTo>
                  <a:lnTo>
                    <a:pt x="201" y="137"/>
                  </a:lnTo>
                  <a:lnTo>
                    <a:pt x="203" y="137"/>
                  </a:lnTo>
                  <a:lnTo>
                    <a:pt x="204" y="135"/>
                  </a:lnTo>
                  <a:lnTo>
                    <a:pt x="206" y="133"/>
                  </a:lnTo>
                  <a:lnTo>
                    <a:pt x="208" y="132"/>
                  </a:lnTo>
                  <a:lnTo>
                    <a:pt x="213" y="132"/>
                  </a:lnTo>
                  <a:lnTo>
                    <a:pt x="214" y="130"/>
                  </a:lnTo>
                  <a:lnTo>
                    <a:pt x="216" y="130"/>
                  </a:lnTo>
                  <a:lnTo>
                    <a:pt x="214" y="129"/>
                  </a:lnTo>
                  <a:lnTo>
                    <a:pt x="213" y="125"/>
                  </a:lnTo>
                  <a:lnTo>
                    <a:pt x="211" y="124"/>
                  </a:lnTo>
                  <a:lnTo>
                    <a:pt x="211" y="120"/>
                  </a:lnTo>
                  <a:lnTo>
                    <a:pt x="211" y="112"/>
                  </a:lnTo>
                  <a:lnTo>
                    <a:pt x="211" y="109"/>
                  </a:lnTo>
                  <a:lnTo>
                    <a:pt x="213" y="107"/>
                  </a:lnTo>
                  <a:lnTo>
                    <a:pt x="214" y="104"/>
                  </a:lnTo>
                  <a:lnTo>
                    <a:pt x="218" y="99"/>
                  </a:lnTo>
                  <a:lnTo>
                    <a:pt x="219" y="99"/>
                  </a:lnTo>
                  <a:lnTo>
                    <a:pt x="221" y="99"/>
                  </a:lnTo>
                  <a:lnTo>
                    <a:pt x="222" y="99"/>
                  </a:lnTo>
                  <a:lnTo>
                    <a:pt x="222" y="98"/>
                  </a:lnTo>
                  <a:lnTo>
                    <a:pt x="221" y="98"/>
                  </a:lnTo>
                  <a:lnTo>
                    <a:pt x="219" y="98"/>
                  </a:lnTo>
                  <a:lnTo>
                    <a:pt x="218" y="98"/>
                  </a:lnTo>
                  <a:lnTo>
                    <a:pt x="218" y="96"/>
                  </a:lnTo>
                  <a:lnTo>
                    <a:pt x="218" y="94"/>
                  </a:lnTo>
                  <a:lnTo>
                    <a:pt x="216" y="94"/>
                  </a:lnTo>
                  <a:lnTo>
                    <a:pt x="214" y="96"/>
                  </a:lnTo>
                  <a:lnTo>
                    <a:pt x="213" y="96"/>
                  </a:lnTo>
                  <a:lnTo>
                    <a:pt x="211" y="96"/>
                  </a:lnTo>
                  <a:lnTo>
                    <a:pt x="211" y="98"/>
                  </a:lnTo>
                  <a:lnTo>
                    <a:pt x="209" y="98"/>
                  </a:lnTo>
                  <a:lnTo>
                    <a:pt x="208" y="98"/>
                  </a:lnTo>
                  <a:lnTo>
                    <a:pt x="206" y="98"/>
                  </a:lnTo>
                  <a:lnTo>
                    <a:pt x="203" y="96"/>
                  </a:lnTo>
                  <a:lnTo>
                    <a:pt x="201" y="94"/>
                  </a:lnTo>
                  <a:lnTo>
                    <a:pt x="200" y="94"/>
                  </a:lnTo>
                  <a:lnTo>
                    <a:pt x="198" y="96"/>
                  </a:lnTo>
                  <a:lnTo>
                    <a:pt x="196" y="94"/>
                  </a:lnTo>
                  <a:lnTo>
                    <a:pt x="195" y="93"/>
                  </a:lnTo>
                  <a:lnTo>
                    <a:pt x="193" y="91"/>
                  </a:lnTo>
                  <a:lnTo>
                    <a:pt x="191" y="91"/>
                  </a:lnTo>
                  <a:lnTo>
                    <a:pt x="191" y="90"/>
                  </a:lnTo>
                  <a:lnTo>
                    <a:pt x="193" y="88"/>
                  </a:lnTo>
                  <a:lnTo>
                    <a:pt x="195" y="88"/>
                  </a:lnTo>
                  <a:lnTo>
                    <a:pt x="195" y="86"/>
                  </a:lnTo>
                  <a:lnTo>
                    <a:pt x="195" y="88"/>
                  </a:lnTo>
                  <a:lnTo>
                    <a:pt x="196" y="88"/>
                  </a:lnTo>
                  <a:lnTo>
                    <a:pt x="196" y="86"/>
                  </a:lnTo>
                  <a:lnTo>
                    <a:pt x="196" y="85"/>
                  </a:lnTo>
                  <a:lnTo>
                    <a:pt x="196" y="83"/>
                  </a:lnTo>
                  <a:lnTo>
                    <a:pt x="196" y="81"/>
                  </a:lnTo>
                  <a:lnTo>
                    <a:pt x="198" y="80"/>
                  </a:lnTo>
                  <a:lnTo>
                    <a:pt x="196" y="80"/>
                  </a:lnTo>
                  <a:lnTo>
                    <a:pt x="198" y="80"/>
                  </a:lnTo>
                  <a:lnTo>
                    <a:pt x="196" y="80"/>
                  </a:lnTo>
                  <a:lnTo>
                    <a:pt x="198" y="80"/>
                  </a:lnTo>
                  <a:lnTo>
                    <a:pt x="198" y="78"/>
                  </a:lnTo>
                  <a:lnTo>
                    <a:pt x="196" y="77"/>
                  </a:lnTo>
                  <a:lnTo>
                    <a:pt x="196" y="75"/>
                  </a:lnTo>
                  <a:lnTo>
                    <a:pt x="196" y="73"/>
                  </a:lnTo>
                  <a:lnTo>
                    <a:pt x="198" y="72"/>
                  </a:lnTo>
                  <a:lnTo>
                    <a:pt x="198" y="70"/>
                  </a:lnTo>
                  <a:lnTo>
                    <a:pt x="196" y="70"/>
                  </a:lnTo>
                  <a:lnTo>
                    <a:pt x="198" y="68"/>
                  </a:lnTo>
                  <a:lnTo>
                    <a:pt x="196" y="68"/>
                  </a:lnTo>
                  <a:lnTo>
                    <a:pt x="196" y="67"/>
                  </a:lnTo>
                  <a:lnTo>
                    <a:pt x="195" y="67"/>
                  </a:lnTo>
                  <a:lnTo>
                    <a:pt x="195" y="65"/>
                  </a:lnTo>
                  <a:lnTo>
                    <a:pt x="196" y="65"/>
                  </a:lnTo>
                  <a:lnTo>
                    <a:pt x="198" y="65"/>
                  </a:lnTo>
                  <a:lnTo>
                    <a:pt x="196" y="65"/>
                  </a:lnTo>
                  <a:lnTo>
                    <a:pt x="196" y="64"/>
                  </a:lnTo>
                  <a:lnTo>
                    <a:pt x="196" y="62"/>
                  </a:lnTo>
                  <a:lnTo>
                    <a:pt x="196" y="60"/>
                  </a:lnTo>
                  <a:lnTo>
                    <a:pt x="195" y="60"/>
                  </a:lnTo>
                  <a:lnTo>
                    <a:pt x="195" y="62"/>
                  </a:lnTo>
                  <a:lnTo>
                    <a:pt x="193" y="62"/>
                  </a:lnTo>
                  <a:lnTo>
                    <a:pt x="191" y="64"/>
                  </a:lnTo>
                  <a:lnTo>
                    <a:pt x="190" y="64"/>
                  </a:lnTo>
                  <a:lnTo>
                    <a:pt x="188" y="64"/>
                  </a:lnTo>
                  <a:lnTo>
                    <a:pt x="187" y="65"/>
                  </a:lnTo>
                  <a:lnTo>
                    <a:pt x="182" y="68"/>
                  </a:lnTo>
                  <a:lnTo>
                    <a:pt x="182" y="70"/>
                  </a:lnTo>
                  <a:lnTo>
                    <a:pt x="180" y="70"/>
                  </a:lnTo>
                  <a:lnTo>
                    <a:pt x="178" y="70"/>
                  </a:lnTo>
                  <a:lnTo>
                    <a:pt x="167" y="80"/>
                  </a:lnTo>
                  <a:lnTo>
                    <a:pt x="167" y="81"/>
                  </a:lnTo>
                  <a:lnTo>
                    <a:pt x="165" y="80"/>
                  </a:lnTo>
                  <a:lnTo>
                    <a:pt x="165" y="81"/>
                  </a:lnTo>
                  <a:lnTo>
                    <a:pt x="165" y="83"/>
                  </a:lnTo>
                  <a:lnTo>
                    <a:pt x="167" y="85"/>
                  </a:lnTo>
                  <a:lnTo>
                    <a:pt x="170" y="94"/>
                  </a:lnTo>
                  <a:lnTo>
                    <a:pt x="170" y="96"/>
                  </a:lnTo>
                  <a:lnTo>
                    <a:pt x="170" y="99"/>
                  </a:lnTo>
                  <a:lnTo>
                    <a:pt x="170" y="101"/>
                  </a:lnTo>
                  <a:lnTo>
                    <a:pt x="169" y="104"/>
                  </a:lnTo>
                  <a:lnTo>
                    <a:pt x="170" y="104"/>
                  </a:lnTo>
                  <a:lnTo>
                    <a:pt x="170" y="106"/>
                  </a:lnTo>
                  <a:lnTo>
                    <a:pt x="170" y="107"/>
                  </a:lnTo>
                  <a:lnTo>
                    <a:pt x="172" y="107"/>
                  </a:lnTo>
                  <a:lnTo>
                    <a:pt x="172" y="109"/>
                  </a:lnTo>
                  <a:lnTo>
                    <a:pt x="174" y="109"/>
                  </a:lnTo>
                  <a:lnTo>
                    <a:pt x="175" y="109"/>
                  </a:lnTo>
                  <a:lnTo>
                    <a:pt x="177" y="109"/>
                  </a:lnTo>
                  <a:lnTo>
                    <a:pt x="177" y="107"/>
                  </a:lnTo>
                  <a:lnTo>
                    <a:pt x="178" y="107"/>
                  </a:lnTo>
                  <a:lnTo>
                    <a:pt x="180" y="107"/>
                  </a:lnTo>
                  <a:lnTo>
                    <a:pt x="182" y="107"/>
                  </a:lnTo>
                  <a:lnTo>
                    <a:pt x="183" y="109"/>
                  </a:lnTo>
                  <a:lnTo>
                    <a:pt x="182" y="109"/>
                  </a:lnTo>
                  <a:lnTo>
                    <a:pt x="183" y="109"/>
                  </a:lnTo>
                  <a:lnTo>
                    <a:pt x="185" y="109"/>
                  </a:lnTo>
                  <a:lnTo>
                    <a:pt x="185" y="111"/>
                  </a:lnTo>
                  <a:lnTo>
                    <a:pt x="185" y="112"/>
                  </a:lnTo>
                  <a:lnTo>
                    <a:pt x="185" y="114"/>
                  </a:lnTo>
                  <a:lnTo>
                    <a:pt x="185" y="116"/>
                  </a:lnTo>
                  <a:lnTo>
                    <a:pt x="187" y="116"/>
                  </a:lnTo>
                  <a:lnTo>
                    <a:pt x="187" y="114"/>
                  </a:lnTo>
                  <a:lnTo>
                    <a:pt x="187" y="116"/>
                  </a:lnTo>
                  <a:lnTo>
                    <a:pt x="185" y="116"/>
                  </a:lnTo>
                  <a:lnTo>
                    <a:pt x="187" y="116"/>
                  </a:lnTo>
                  <a:lnTo>
                    <a:pt x="185" y="116"/>
                  </a:lnTo>
                  <a:lnTo>
                    <a:pt x="183" y="117"/>
                  </a:lnTo>
                  <a:lnTo>
                    <a:pt x="185" y="117"/>
                  </a:lnTo>
                  <a:lnTo>
                    <a:pt x="183" y="117"/>
                  </a:lnTo>
                  <a:lnTo>
                    <a:pt x="183" y="119"/>
                  </a:lnTo>
                  <a:lnTo>
                    <a:pt x="183" y="117"/>
                  </a:lnTo>
                  <a:lnTo>
                    <a:pt x="182" y="117"/>
                  </a:lnTo>
                  <a:lnTo>
                    <a:pt x="180" y="117"/>
                  </a:lnTo>
                  <a:lnTo>
                    <a:pt x="180" y="119"/>
                  </a:lnTo>
                  <a:lnTo>
                    <a:pt x="180" y="120"/>
                  </a:lnTo>
                  <a:lnTo>
                    <a:pt x="180" y="122"/>
                  </a:lnTo>
                  <a:lnTo>
                    <a:pt x="178" y="122"/>
                  </a:lnTo>
                  <a:lnTo>
                    <a:pt x="178" y="124"/>
                  </a:lnTo>
                  <a:lnTo>
                    <a:pt x="177" y="124"/>
                  </a:lnTo>
                  <a:lnTo>
                    <a:pt x="175" y="124"/>
                  </a:lnTo>
                  <a:lnTo>
                    <a:pt x="175" y="125"/>
                  </a:lnTo>
                  <a:lnTo>
                    <a:pt x="174" y="125"/>
                  </a:lnTo>
                  <a:lnTo>
                    <a:pt x="172" y="127"/>
                  </a:lnTo>
                  <a:lnTo>
                    <a:pt x="172" y="125"/>
                  </a:lnTo>
                  <a:lnTo>
                    <a:pt x="170" y="127"/>
                  </a:lnTo>
                  <a:lnTo>
                    <a:pt x="169" y="125"/>
                  </a:lnTo>
                  <a:lnTo>
                    <a:pt x="170" y="125"/>
                  </a:lnTo>
                  <a:lnTo>
                    <a:pt x="169" y="125"/>
                  </a:lnTo>
                  <a:lnTo>
                    <a:pt x="167" y="125"/>
                  </a:lnTo>
                  <a:lnTo>
                    <a:pt x="167" y="124"/>
                  </a:lnTo>
                  <a:lnTo>
                    <a:pt x="165" y="124"/>
                  </a:lnTo>
                  <a:lnTo>
                    <a:pt x="164" y="124"/>
                  </a:lnTo>
                  <a:lnTo>
                    <a:pt x="162" y="124"/>
                  </a:lnTo>
                  <a:lnTo>
                    <a:pt x="161" y="124"/>
                  </a:lnTo>
                  <a:lnTo>
                    <a:pt x="161" y="125"/>
                  </a:lnTo>
                  <a:lnTo>
                    <a:pt x="161" y="127"/>
                  </a:lnTo>
                  <a:lnTo>
                    <a:pt x="161" y="129"/>
                  </a:lnTo>
                  <a:lnTo>
                    <a:pt x="161" y="130"/>
                  </a:lnTo>
                  <a:lnTo>
                    <a:pt x="161" y="132"/>
                  </a:lnTo>
                  <a:lnTo>
                    <a:pt x="161" y="133"/>
                  </a:lnTo>
                  <a:lnTo>
                    <a:pt x="162" y="135"/>
                  </a:lnTo>
                  <a:lnTo>
                    <a:pt x="162" y="137"/>
                  </a:lnTo>
                  <a:lnTo>
                    <a:pt x="162" y="138"/>
                  </a:lnTo>
                  <a:lnTo>
                    <a:pt x="164" y="138"/>
                  </a:lnTo>
                  <a:lnTo>
                    <a:pt x="164" y="140"/>
                  </a:lnTo>
                  <a:lnTo>
                    <a:pt x="164" y="142"/>
                  </a:lnTo>
                  <a:lnTo>
                    <a:pt x="165" y="143"/>
                  </a:lnTo>
                  <a:lnTo>
                    <a:pt x="164" y="143"/>
                  </a:lnTo>
                  <a:lnTo>
                    <a:pt x="164" y="145"/>
                  </a:lnTo>
                  <a:lnTo>
                    <a:pt x="162" y="145"/>
                  </a:lnTo>
                  <a:lnTo>
                    <a:pt x="162" y="146"/>
                  </a:lnTo>
                  <a:lnTo>
                    <a:pt x="164" y="148"/>
                  </a:lnTo>
                  <a:lnTo>
                    <a:pt x="162" y="148"/>
                  </a:lnTo>
                  <a:lnTo>
                    <a:pt x="161" y="148"/>
                  </a:lnTo>
                  <a:lnTo>
                    <a:pt x="159" y="148"/>
                  </a:lnTo>
                  <a:lnTo>
                    <a:pt x="159" y="146"/>
                  </a:lnTo>
                  <a:lnTo>
                    <a:pt x="157" y="146"/>
                  </a:lnTo>
                  <a:lnTo>
                    <a:pt x="159" y="148"/>
                  </a:lnTo>
                  <a:lnTo>
                    <a:pt x="161" y="148"/>
                  </a:lnTo>
                  <a:lnTo>
                    <a:pt x="162" y="148"/>
                  </a:lnTo>
                  <a:lnTo>
                    <a:pt x="162" y="150"/>
                  </a:lnTo>
                  <a:lnTo>
                    <a:pt x="161" y="150"/>
                  </a:lnTo>
                  <a:lnTo>
                    <a:pt x="161" y="151"/>
                  </a:lnTo>
                  <a:lnTo>
                    <a:pt x="162" y="151"/>
                  </a:lnTo>
                  <a:lnTo>
                    <a:pt x="162" y="153"/>
                  </a:lnTo>
                  <a:lnTo>
                    <a:pt x="162" y="151"/>
                  </a:lnTo>
                  <a:lnTo>
                    <a:pt x="164" y="153"/>
                  </a:lnTo>
                  <a:lnTo>
                    <a:pt x="165" y="153"/>
                  </a:lnTo>
                  <a:lnTo>
                    <a:pt x="165" y="151"/>
                  </a:lnTo>
                  <a:lnTo>
                    <a:pt x="165" y="150"/>
                  </a:lnTo>
                  <a:lnTo>
                    <a:pt x="165" y="148"/>
                  </a:lnTo>
                  <a:lnTo>
                    <a:pt x="165" y="145"/>
                  </a:lnTo>
                  <a:lnTo>
                    <a:pt x="165" y="148"/>
                  </a:lnTo>
                  <a:lnTo>
                    <a:pt x="167" y="148"/>
                  </a:lnTo>
                  <a:lnTo>
                    <a:pt x="167" y="150"/>
                  </a:lnTo>
                  <a:lnTo>
                    <a:pt x="169" y="150"/>
                  </a:lnTo>
                  <a:lnTo>
                    <a:pt x="167" y="150"/>
                  </a:lnTo>
                  <a:lnTo>
                    <a:pt x="165" y="151"/>
                  </a:lnTo>
                  <a:lnTo>
                    <a:pt x="165" y="153"/>
                  </a:lnTo>
                  <a:lnTo>
                    <a:pt x="164" y="153"/>
                  </a:lnTo>
                  <a:lnTo>
                    <a:pt x="164" y="155"/>
                  </a:lnTo>
                  <a:lnTo>
                    <a:pt x="162" y="155"/>
                  </a:lnTo>
                  <a:lnTo>
                    <a:pt x="162" y="156"/>
                  </a:lnTo>
                  <a:lnTo>
                    <a:pt x="161" y="156"/>
                  </a:lnTo>
                  <a:lnTo>
                    <a:pt x="159" y="158"/>
                  </a:lnTo>
                  <a:lnTo>
                    <a:pt x="159" y="159"/>
                  </a:lnTo>
                  <a:lnTo>
                    <a:pt x="157" y="159"/>
                  </a:lnTo>
                  <a:lnTo>
                    <a:pt x="157" y="161"/>
                  </a:lnTo>
                  <a:lnTo>
                    <a:pt x="156" y="161"/>
                  </a:lnTo>
                  <a:lnTo>
                    <a:pt x="154" y="161"/>
                  </a:lnTo>
                  <a:lnTo>
                    <a:pt x="154" y="159"/>
                  </a:lnTo>
                  <a:lnTo>
                    <a:pt x="154" y="161"/>
                  </a:lnTo>
                  <a:lnTo>
                    <a:pt x="152" y="159"/>
                  </a:lnTo>
                  <a:lnTo>
                    <a:pt x="151" y="159"/>
                  </a:lnTo>
                  <a:lnTo>
                    <a:pt x="149" y="159"/>
                  </a:lnTo>
                  <a:lnTo>
                    <a:pt x="148" y="159"/>
                  </a:lnTo>
                  <a:lnTo>
                    <a:pt x="148" y="158"/>
                  </a:lnTo>
                  <a:lnTo>
                    <a:pt x="148" y="156"/>
                  </a:lnTo>
                  <a:lnTo>
                    <a:pt x="146" y="156"/>
                  </a:lnTo>
                  <a:lnTo>
                    <a:pt x="146" y="155"/>
                  </a:lnTo>
                  <a:lnTo>
                    <a:pt x="144" y="155"/>
                  </a:lnTo>
                  <a:lnTo>
                    <a:pt x="144" y="153"/>
                  </a:lnTo>
                  <a:lnTo>
                    <a:pt x="146" y="153"/>
                  </a:lnTo>
                  <a:lnTo>
                    <a:pt x="144" y="153"/>
                  </a:lnTo>
                  <a:lnTo>
                    <a:pt x="144" y="155"/>
                  </a:lnTo>
                  <a:lnTo>
                    <a:pt x="143" y="153"/>
                  </a:lnTo>
                  <a:lnTo>
                    <a:pt x="141" y="153"/>
                  </a:lnTo>
                  <a:lnTo>
                    <a:pt x="139" y="153"/>
                  </a:lnTo>
                  <a:lnTo>
                    <a:pt x="138" y="153"/>
                  </a:lnTo>
                  <a:lnTo>
                    <a:pt x="138" y="151"/>
                  </a:lnTo>
                  <a:lnTo>
                    <a:pt x="135" y="151"/>
                  </a:lnTo>
                  <a:lnTo>
                    <a:pt x="133" y="150"/>
                  </a:lnTo>
                  <a:lnTo>
                    <a:pt x="131" y="150"/>
                  </a:lnTo>
                  <a:lnTo>
                    <a:pt x="130" y="148"/>
                  </a:lnTo>
                  <a:lnTo>
                    <a:pt x="128" y="146"/>
                  </a:lnTo>
                  <a:lnTo>
                    <a:pt x="126" y="146"/>
                  </a:lnTo>
                  <a:lnTo>
                    <a:pt x="126" y="145"/>
                  </a:lnTo>
                  <a:lnTo>
                    <a:pt x="125" y="145"/>
                  </a:lnTo>
                  <a:lnTo>
                    <a:pt x="123" y="145"/>
                  </a:lnTo>
                  <a:lnTo>
                    <a:pt x="122" y="145"/>
                  </a:lnTo>
                  <a:lnTo>
                    <a:pt x="123" y="145"/>
                  </a:lnTo>
                  <a:lnTo>
                    <a:pt x="122" y="145"/>
                  </a:lnTo>
                  <a:lnTo>
                    <a:pt x="120" y="145"/>
                  </a:lnTo>
                  <a:lnTo>
                    <a:pt x="122" y="142"/>
                  </a:lnTo>
                  <a:lnTo>
                    <a:pt x="122" y="140"/>
                  </a:lnTo>
                  <a:lnTo>
                    <a:pt x="122" y="138"/>
                  </a:lnTo>
                  <a:lnTo>
                    <a:pt x="123" y="137"/>
                  </a:lnTo>
                  <a:lnTo>
                    <a:pt x="123" y="133"/>
                  </a:lnTo>
                  <a:lnTo>
                    <a:pt x="123" y="132"/>
                  </a:lnTo>
                  <a:lnTo>
                    <a:pt x="125" y="125"/>
                  </a:lnTo>
                  <a:lnTo>
                    <a:pt x="125" y="122"/>
                  </a:lnTo>
                  <a:lnTo>
                    <a:pt x="126" y="119"/>
                  </a:lnTo>
                  <a:lnTo>
                    <a:pt x="126" y="117"/>
                  </a:lnTo>
                  <a:lnTo>
                    <a:pt x="126" y="116"/>
                  </a:lnTo>
                  <a:lnTo>
                    <a:pt x="128" y="114"/>
                  </a:lnTo>
                  <a:lnTo>
                    <a:pt x="128" y="111"/>
                  </a:lnTo>
                  <a:lnTo>
                    <a:pt x="128" y="109"/>
                  </a:lnTo>
                  <a:lnTo>
                    <a:pt x="128" y="107"/>
                  </a:lnTo>
                  <a:lnTo>
                    <a:pt x="130" y="103"/>
                  </a:lnTo>
                  <a:lnTo>
                    <a:pt x="131" y="99"/>
                  </a:lnTo>
                  <a:lnTo>
                    <a:pt x="133" y="98"/>
                  </a:lnTo>
                  <a:lnTo>
                    <a:pt x="133" y="94"/>
                  </a:lnTo>
                  <a:lnTo>
                    <a:pt x="133" y="93"/>
                  </a:lnTo>
                  <a:lnTo>
                    <a:pt x="135" y="90"/>
                  </a:lnTo>
                  <a:lnTo>
                    <a:pt x="136" y="86"/>
                  </a:lnTo>
                  <a:lnTo>
                    <a:pt x="136" y="85"/>
                  </a:lnTo>
                  <a:lnTo>
                    <a:pt x="136" y="83"/>
                  </a:lnTo>
                  <a:lnTo>
                    <a:pt x="138" y="78"/>
                  </a:lnTo>
                  <a:lnTo>
                    <a:pt x="138" y="77"/>
                  </a:lnTo>
                  <a:lnTo>
                    <a:pt x="138" y="75"/>
                  </a:lnTo>
                  <a:lnTo>
                    <a:pt x="139" y="75"/>
                  </a:lnTo>
                  <a:lnTo>
                    <a:pt x="141" y="75"/>
                  </a:lnTo>
                  <a:lnTo>
                    <a:pt x="143" y="75"/>
                  </a:lnTo>
                  <a:lnTo>
                    <a:pt x="143" y="77"/>
                  </a:lnTo>
                  <a:lnTo>
                    <a:pt x="144" y="77"/>
                  </a:lnTo>
                  <a:lnTo>
                    <a:pt x="144" y="75"/>
                  </a:lnTo>
                  <a:lnTo>
                    <a:pt x="144" y="77"/>
                  </a:lnTo>
                  <a:lnTo>
                    <a:pt x="144" y="78"/>
                  </a:lnTo>
                  <a:lnTo>
                    <a:pt x="144" y="80"/>
                  </a:lnTo>
                  <a:lnTo>
                    <a:pt x="144" y="81"/>
                  </a:lnTo>
                  <a:lnTo>
                    <a:pt x="144" y="83"/>
                  </a:lnTo>
                  <a:lnTo>
                    <a:pt x="146" y="83"/>
                  </a:lnTo>
                  <a:lnTo>
                    <a:pt x="148" y="85"/>
                  </a:lnTo>
                  <a:lnTo>
                    <a:pt x="149" y="86"/>
                  </a:lnTo>
                  <a:lnTo>
                    <a:pt x="151" y="86"/>
                  </a:lnTo>
                  <a:lnTo>
                    <a:pt x="154" y="86"/>
                  </a:lnTo>
                  <a:lnTo>
                    <a:pt x="154" y="85"/>
                  </a:lnTo>
                  <a:lnTo>
                    <a:pt x="156" y="85"/>
                  </a:lnTo>
                  <a:lnTo>
                    <a:pt x="157" y="85"/>
                  </a:lnTo>
                  <a:lnTo>
                    <a:pt x="157" y="83"/>
                  </a:lnTo>
                  <a:lnTo>
                    <a:pt x="157" y="81"/>
                  </a:lnTo>
                  <a:lnTo>
                    <a:pt x="159" y="81"/>
                  </a:lnTo>
                  <a:lnTo>
                    <a:pt x="161" y="81"/>
                  </a:lnTo>
                  <a:lnTo>
                    <a:pt x="162" y="80"/>
                  </a:lnTo>
                  <a:lnTo>
                    <a:pt x="162" y="81"/>
                  </a:lnTo>
                  <a:lnTo>
                    <a:pt x="164" y="81"/>
                  </a:lnTo>
                  <a:lnTo>
                    <a:pt x="164" y="80"/>
                  </a:lnTo>
                  <a:lnTo>
                    <a:pt x="165" y="80"/>
                  </a:lnTo>
                  <a:lnTo>
                    <a:pt x="165" y="81"/>
                  </a:lnTo>
                  <a:lnTo>
                    <a:pt x="165" y="80"/>
                  </a:lnTo>
                  <a:lnTo>
                    <a:pt x="165" y="81"/>
                  </a:lnTo>
                  <a:lnTo>
                    <a:pt x="165" y="80"/>
                  </a:lnTo>
                  <a:lnTo>
                    <a:pt x="167" y="80"/>
                  </a:lnTo>
                  <a:lnTo>
                    <a:pt x="180" y="70"/>
                  </a:lnTo>
                  <a:lnTo>
                    <a:pt x="187" y="65"/>
                  </a:lnTo>
                  <a:lnTo>
                    <a:pt x="188" y="64"/>
                  </a:lnTo>
                  <a:lnTo>
                    <a:pt x="191" y="62"/>
                  </a:lnTo>
                  <a:lnTo>
                    <a:pt x="193" y="62"/>
                  </a:lnTo>
                  <a:lnTo>
                    <a:pt x="195" y="60"/>
                  </a:lnTo>
                  <a:lnTo>
                    <a:pt x="196" y="60"/>
                  </a:lnTo>
                  <a:lnTo>
                    <a:pt x="196" y="59"/>
                  </a:lnTo>
                  <a:lnTo>
                    <a:pt x="198" y="57"/>
                  </a:lnTo>
                  <a:lnTo>
                    <a:pt x="198" y="55"/>
                  </a:lnTo>
                  <a:lnTo>
                    <a:pt x="200" y="55"/>
                  </a:lnTo>
                  <a:lnTo>
                    <a:pt x="200" y="52"/>
                  </a:lnTo>
                  <a:lnTo>
                    <a:pt x="200" y="51"/>
                  </a:lnTo>
                  <a:lnTo>
                    <a:pt x="200" y="49"/>
                  </a:lnTo>
                  <a:lnTo>
                    <a:pt x="200" y="47"/>
                  </a:lnTo>
                  <a:lnTo>
                    <a:pt x="201" y="47"/>
                  </a:lnTo>
                  <a:lnTo>
                    <a:pt x="201" y="46"/>
                  </a:lnTo>
                  <a:lnTo>
                    <a:pt x="203" y="42"/>
                  </a:lnTo>
                  <a:lnTo>
                    <a:pt x="204" y="41"/>
                  </a:lnTo>
                  <a:lnTo>
                    <a:pt x="206" y="41"/>
                  </a:lnTo>
                  <a:lnTo>
                    <a:pt x="206" y="39"/>
                  </a:lnTo>
                  <a:lnTo>
                    <a:pt x="208" y="37"/>
                  </a:lnTo>
                  <a:lnTo>
                    <a:pt x="209" y="37"/>
                  </a:lnTo>
                  <a:lnTo>
                    <a:pt x="211" y="37"/>
                  </a:lnTo>
                  <a:lnTo>
                    <a:pt x="211" y="36"/>
                  </a:lnTo>
                  <a:lnTo>
                    <a:pt x="213" y="36"/>
                  </a:lnTo>
                  <a:lnTo>
                    <a:pt x="213" y="34"/>
                  </a:lnTo>
                  <a:lnTo>
                    <a:pt x="216" y="33"/>
                  </a:lnTo>
                  <a:lnTo>
                    <a:pt x="218" y="31"/>
                  </a:lnTo>
                  <a:lnTo>
                    <a:pt x="219" y="31"/>
                  </a:lnTo>
                  <a:lnTo>
                    <a:pt x="221" y="29"/>
                  </a:lnTo>
                  <a:lnTo>
                    <a:pt x="224" y="28"/>
                  </a:lnTo>
                  <a:lnTo>
                    <a:pt x="227" y="28"/>
                  </a:lnTo>
                  <a:lnTo>
                    <a:pt x="231" y="26"/>
                  </a:lnTo>
                  <a:lnTo>
                    <a:pt x="237" y="23"/>
                  </a:lnTo>
                  <a:lnTo>
                    <a:pt x="239" y="21"/>
                  </a:lnTo>
                  <a:lnTo>
                    <a:pt x="240" y="21"/>
                  </a:lnTo>
                  <a:lnTo>
                    <a:pt x="242" y="20"/>
                  </a:lnTo>
                  <a:lnTo>
                    <a:pt x="244" y="21"/>
                  </a:lnTo>
                  <a:lnTo>
                    <a:pt x="245" y="21"/>
                  </a:lnTo>
                  <a:lnTo>
                    <a:pt x="247" y="21"/>
                  </a:lnTo>
                  <a:lnTo>
                    <a:pt x="250" y="20"/>
                  </a:lnTo>
                  <a:lnTo>
                    <a:pt x="252" y="20"/>
                  </a:lnTo>
                  <a:lnTo>
                    <a:pt x="253" y="20"/>
                  </a:lnTo>
                  <a:lnTo>
                    <a:pt x="255" y="20"/>
                  </a:lnTo>
                  <a:lnTo>
                    <a:pt x="257" y="18"/>
                  </a:lnTo>
                  <a:lnTo>
                    <a:pt x="258" y="18"/>
                  </a:lnTo>
                  <a:lnTo>
                    <a:pt x="260" y="20"/>
                  </a:lnTo>
                  <a:lnTo>
                    <a:pt x="260" y="18"/>
                  </a:lnTo>
                  <a:lnTo>
                    <a:pt x="263" y="20"/>
                  </a:lnTo>
                  <a:lnTo>
                    <a:pt x="266" y="18"/>
                  </a:lnTo>
                  <a:lnTo>
                    <a:pt x="268" y="18"/>
                  </a:lnTo>
                  <a:lnTo>
                    <a:pt x="270" y="18"/>
                  </a:lnTo>
                  <a:lnTo>
                    <a:pt x="270" y="20"/>
                  </a:lnTo>
                  <a:lnTo>
                    <a:pt x="270" y="18"/>
                  </a:lnTo>
                  <a:lnTo>
                    <a:pt x="271" y="20"/>
                  </a:lnTo>
                  <a:lnTo>
                    <a:pt x="273" y="18"/>
                  </a:lnTo>
                  <a:lnTo>
                    <a:pt x="274" y="18"/>
                  </a:lnTo>
                  <a:lnTo>
                    <a:pt x="274" y="20"/>
                  </a:lnTo>
                  <a:lnTo>
                    <a:pt x="276" y="20"/>
                  </a:lnTo>
                  <a:lnTo>
                    <a:pt x="278" y="21"/>
                  </a:lnTo>
                  <a:lnTo>
                    <a:pt x="279" y="21"/>
                  </a:lnTo>
                  <a:lnTo>
                    <a:pt x="279" y="20"/>
                  </a:lnTo>
                  <a:lnTo>
                    <a:pt x="281" y="20"/>
                  </a:lnTo>
                  <a:lnTo>
                    <a:pt x="283" y="20"/>
                  </a:lnTo>
                  <a:lnTo>
                    <a:pt x="284" y="18"/>
                  </a:lnTo>
                  <a:lnTo>
                    <a:pt x="286" y="18"/>
                  </a:lnTo>
                  <a:lnTo>
                    <a:pt x="287" y="18"/>
                  </a:lnTo>
                  <a:lnTo>
                    <a:pt x="289" y="18"/>
                  </a:lnTo>
                  <a:lnTo>
                    <a:pt x="291" y="18"/>
                  </a:lnTo>
                  <a:lnTo>
                    <a:pt x="294" y="18"/>
                  </a:lnTo>
                  <a:lnTo>
                    <a:pt x="299" y="18"/>
                  </a:lnTo>
                  <a:lnTo>
                    <a:pt x="302" y="16"/>
                  </a:lnTo>
                  <a:lnTo>
                    <a:pt x="304" y="16"/>
                  </a:lnTo>
                  <a:lnTo>
                    <a:pt x="309" y="15"/>
                  </a:lnTo>
                  <a:lnTo>
                    <a:pt x="310" y="13"/>
                  </a:lnTo>
                  <a:lnTo>
                    <a:pt x="312" y="13"/>
                  </a:lnTo>
                  <a:lnTo>
                    <a:pt x="317" y="13"/>
                  </a:lnTo>
                  <a:lnTo>
                    <a:pt x="318" y="13"/>
                  </a:lnTo>
                  <a:lnTo>
                    <a:pt x="318" y="15"/>
                  </a:lnTo>
                  <a:lnTo>
                    <a:pt x="320" y="15"/>
                  </a:lnTo>
                  <a:lnTo>
                    <a:pt x="322" y="15"/>
                  </a:lnTo>
                  <a:lnTo>
                    <a:pt x="322" y="13"/>
                  </a:lnTo>
                  <a:lnTo>
                    <a:pt x="323" y="15"/>
                  </a:lnTo>
                  <a:lnTo>
                    <a:pt x="323" y="16"/>
                  </a:lnTo>
                  <a:lnTo>
                    <a:pt x="322" y="15"/>
                  </a:lnTo>
                  <a:lnTo>
                    <a:pt x="323" y="16"/>
                  </a:lnTo>
                  <a:lnTo>
                    <a:pt x="325" y="16"/>
                  </a:lnTo>
                  <a:lnTo>
                    <a:pt x="323" y="16"/>
                  </a:lnTo>
                  <a:lnTo>
                    <a:pt x="325" y="15"/>
                  </a:lnTo>
                  <a:lnTo>
                    <a:pt x="326" y="16"/>
                  </a:lnTo>
                  <a:lnTo>
                    <a:pt x="328" y="16"/>
                  </a:lnTo>
                  <a:lnTo>
                    <a:pt x="328" y="18"/>
                  </a:lnTo>
                  <a:lnTo>
                    <a:pt x="328" y="20"/>
                  </a:lnTo>
                  <a:lnTo>
                    <a:pt x="326" y="20"/>
                  </a:lnTo>
                  <a:lnTo>
                    <a:pt x="326" y="21"/>
                  </a:lnTo>
                  <a:lnTo>
                    <a:pt x="326" y="23"/>
                  </a:lnTo>
                  <a:lnTo>
                    <a:pt x="328" y="23"/>
                  </a:lnTo>
                  <a:lnTo>
                    <a:pt x="328" y="24"/>
                  </a:lnTo>
                  <a:lnTo>
                    <a:pt x="328" y="26"/>
                  </a:lnTo>
                  <a:lnTo>
                    <a:pt x="328" y="28"/>
                  </a:lnTo>
                  <a:lnTo>
                    <a:pt x="328" y="29"/>
                  </a:lnTo>
                  <a:lnTo>
                    <a:pt x="328" y="31"/>
                  </a:lnTo>
                  <a:lnTo>
                    <a:pt x="330" y="31"/>
                  </a:lnTo>
                  <a:lnTo>
                    <a:pt x="331" y="33"/>
                  </a:lnTo>
                  <a:lnTo>
                    <a:pt x="333" y="33"/>
                  </a:lnTo>
                  <a:lnTo>
                    <a:pt x="333" y="34"/>
                  </a:lnTo>
                  <a:lnTo>
                    <a:pt x="331" y="34"/>
                  </a:lnTo>
                  <a:lnTo>
                    <a:pt x="331" y="33"/>
                  </a:lnTo>
                  <a:lnTo>
                    <a:pt x="331" y="34"/>
                  </a:lnTo>
                  <a:lnTo>
                    <a:pt x="333" y="34"/>
                  </a:lnTo>
                  <a:lnTo>
                    <a:pt x="335" y="34"/>
                  </a:lnTo>
                  <a:lnTo>
                    <a:pt x="336" y="36"/>
                  </a:lnTo>
                  <a:lnTo>
                    <a:pt x="338" y="36"/>
                  </a:lnTo>
                  <a:lnTo>
                    <a:pt x="338" y="37"/>
                  </a:lnTo>
                  <a:lnTo>
                    <a:pt x="339" y="37"/>
                  </a:lnTo>
                  <a:lnTo>
                    <a:pt x="341" y="37"/>
                  </a:lnTo>
                  <a:lnTo>
                    <a:pt x="343" y="37"/>
                  </a:lnTo>
                  <a:lnTo>
                    <a:pt x="344" y="37"/>
                  </a:lnTo>
                  <a:lnTo>
                    <a:pt x="346" y="37"/>
                  </a:lnTo>
                  <a:lnTo>
                    <a:pt x="344" y="39"/>
                  </a:lnTo>
                  <a:lnTo>
                    <a:pt x="344" y="41"/>
                  </a:lnTo>
                  <a:lnTo>
                    <a:pt x="343" y="42"/>
                  </a:lnTo>
                  <a:lnTo>
                    <a:pt x="344" y="44"/>
                  </a:lnTo>
                  <a:lnTo>
                    <a:pt x="346" y="46"/>
                  </a:lnTo>
                  <a:lnTo>
                    <a:pt x="348" y="46"/>
                  </a:lnTo>
                  <a:lnTo>
                    <a:pt x="349" y="46"/>
                  </a:lnTo>
                  <a:lnTo>
                    <a:pt x="351" y="46"/>
                  </a:lnTo>
                  <a:lnTo>
                    <a:pt x="351" y="47"/>
                  </a:lnTo>
                  <a:lnTo>
                    <a:pt x="352" y="47"/>
                  </a:lnTo>
                  <a:lnTo>
                    <a:pt x="354" y="47"/>
                  </a:lnTo>
                  <a:lnTo>
                    <a:pt x="354" y="49"/>
                  </a:lnTo>
                  <a:lnTo>
                    <a:pt x="356" y="51"/>
                  </a:lnTo>
                  <a:lnTo>
                    <a:pt x="356" y="52"/>
                  </a:lnTo>
                  <a:lnTo>
                    <a:pt x="356" y="54"/>
                  </a:lnTo>
                  <a:lnTo>
                    <a:pt x="354" y="54"/>
                  </a:lnTo>
                  <a:lnTo>
                    <a:pt x="354" y="55"/>
                  </a:lnTo>
                  <a:lnTo>
                    <a:pt x="356" y="55"/>
                  </a:lnTo>
                  <a:lnTo>
                    <a:pt x="354" y="57"/>
                  </a:lnTo>
                  <a:lnTo>
                    <a:pt x="352" y="59"/>
                  </a:lnTo>
                  <a:lnTo>
                    <a:pt x="352" y="60"/>
                  </a:lnTo>
                  <a:lnTo>
                    <a:pt x="352" y="62"/>
                  </a:lnTo>
                  <a:lnTo>
                    <a:pt x="352" y="65"/>
                  </a:lnTo>
                  <a:lnTo>
                    <a:pt x="352" y="70"/>
                  </a:lnTo>
                  <a:lnTo>
                    <a:pt x="354" y="80"/>
                  </a:lnTo>
                  <a:lnTo>
                    <a:pt x="352" y="81"/>
                  </a:lnTo>
                  <a:lnTo>
                    <a:pt x="351" y="90"/>
                  </a:lnTo>
                  <a:lnTo>
                    <a:pt x="344" y="99"/>
                  </a:lnTo>
                  <a:lnTo>
                    <a:pt x="343" y="103"/>
                  </a:lnTo>
                  <a:lnTo>
                    <a:pt x="341" y="103"/>
                  </a:lnTo>
                  <a:lnTo>
                    <a:pt x="343" y="104"/>
                  </a:lnTo>
                  <a:lnTo>
                    <a:pt x="339" y="107"/>
                  </a:lnTo>
                  <a:lnTo>
                    <a:pt x="339" y="109"/>
                  </a:lnTo>
                  <a:lnTo>
                    <a:pt x="338" y="125"/>
                  </a:lnTo>
                  <a:lnTo>
                    <a:pt x="338" y="132"/>
                  </a:lnTo>
                  <a:lnTo>
                    <a:pt x="338" y="133"/>
                  </a:lnTo>
                  <a:lnTo>
                    <a:pt x="336" y="133"/>
                  </a:lnTo>
                  <a:lnTo>
                    <a:pt x="335" y="133"/>
                  </a:lnTo>
                  <a:lnTo>
                    <a:pt x="333" y="133"/>
                  </a:lnTo>
                  <a:lnTo>
                    <a:pt x="333" y="132"/>
                  </a:lnTo>
                  <a:lnTo>
                    <a:pt x="331" y="132"/>
                  </a:lnTo>
                  <a:lnTo>
                    <a:pt x="330" y="132"/>
                  </a:lnTo>
                  <a:lnTo>
                    <a:pt x="328" y="132"/>
                  </a:lnTo>
                  <a:lnTo>
                    <a:pt x="326" y="132"/>
                  </a:lnTo>
                  <a:lnTo>
                    <a:pt x="325" y="132"/>
                  </a:lnTo>
                  <a:lnTo>
                    <a:pt x="325" y="130"/>
                  </a:lnTo>
                  <a:lnTo>
                    <a:pt x="325" y="132"/>
                  </a:lnTo>
                  <a:lnTo>
                    <a:pt x="325" y="130"/>
                  </a:lnTo>
                  <a:lnTo>
                    <a:pt x="323" y="130"/>
                  </a:lnTo>
                  <a:lnTo>
                    <a:pt x="322" y="130"/>
                  </a:lnTo>
                  <a:lnTo>
                    <a:pt x="320" y="130"/>
                  </a:lnTo>
                  <a:lnTo>
                    <a:pt x="318" y="130"/>
                  </a:lnTo>
                  <a:lnTo>
                    <a:pt x="317" y="130"/>
                  </a:lnTo>
                  <a:lnTo>
                    <a:pt x="315" y="130"/>
                  </a:lnTo>
                  <a:lnTo>
                    <a:pt x="313" y="130"/>
                  </a:lnTo>
                  <a:lnTo>
                    <a:pt x="312" y="130"/>
                  </a:lnTo>
                  <a:lnTo>
                    <a:pt x="310" y="130"/>
                  </a:lnTo>
                  <a:lnTo>
                    <a:pt x="309" y="132"/>
                  </a:lnTo>
                  <a:lnTo>
                    <a:pt x="309" y="133"/>
                  </a:lnTo>
                  <a:lnTo>
                    <a:pt x="309" y="135"/>
                  </a:lnTo>
                  <a:lnTo>
                    <a:pt x="309" y="138"/>
                  </a:lnTo>
                  <a:lnTo>
                    <a:pt x="309" y="140"/>
                  </a:lnTo>
                  <a:lnTo>
                    <a:pt x="312" y="142"/>
                  </a:lnTo>
                  <a:lnTo>
                    <a:pt x="312" y="143"/>
                  </a:lnTo>
                  <a:lnTo>
                    <a:pt x="309" y="143"/>
                  </a:lnTo>
                  <a:lnTo>
                    <a:pt x="307" y="143"/>
                  </a:lnTo>
                  <a:lnTo>
                    <a:pt x="305" y="143"/>
                  </a:lnTo>
                  <a:lnTo>
                    <a:pt x="307" y="148"/>
                  </a:lnTo>
                  <a:lnTo>
                    <a:pt x="305" y="153"/>
                  </a:lnTo>
                  <a:lnTo>
                    <a:pt x="307" y="155"/>
                  </a:lnTo>
                  <a:lnTo>
                    <a:pt x="310" y="156"/>
                  </a:lnTo>
                  <a:lnTo>
                    <a:pt x="312" y="158"/>
                  </a:lnTo>
                  <a:lnTo>
                    <a:pt x="315" y="158"/>
                  </a:lnTo>
                  <a:lnTo>
                    <a:pt x="318" y="158"/>
                  </a:lnTo>
                  <a:lnTo>
                    <a:pt x="318" y="159"/>
                  </a:lnTo>
                  <a:lnTo>
                    <a:pt x="325" y="161"/>
                  </a:lnTo>
                  <a:lnTo>
                    <a:pt x="328" y="161"/>
                  </a:lnTo>
                  <a:lnTo>
                    <a:pt x="330" y="159"/>
                  </a:lnTo>
                  <a:lnTo>
                    <a:pt x="331" y="156"/>
                  </a:lnTo>
                  <a:lnTo>
                    <a:pt x="331" y="158"/>
                  </a:lnTo>
                  <a:lnTo>
                    <a:pt x="333" y="161"/>
                  </a:lnTo>
                  <a:lnTo>
                    <a:pt x="333" y="163"/>
                  </a:lnTo>
                  <a:lnTo>
                    <a:pt x="335" y="164"/>
                  </a:lnTo>
                  <a:lnTo>
                    <a:pt x="335" y="166"/>
                  </a:lnTo>
                  <a:lnTo>
                    <a:pt x="336" y="168"/>
                  </a:lnTo>
                  <a:lnTo>
                    <a:pt x="338" y="171"/>
                  </a:lnTo>
                  <a:lnTo>
                    <a:pt x="338" y="174"/>
                  </a:lnTo>
                  <a:lnTo>
                    <a:pt x="336" y="176"/>
                  </a:lnTo>
                  <a:lnTo>
                    <a:pt x="333" y="182"/>
                  </a:lnTo>
                  <a:lnTo>
                    <a:pt x="333" y="184"/>
                  </a:lnTo>
                  <a:lnTo>
                    <a:pt x="335" y="185"/>
                  </a:lnTo>
                  <a:lnTo>
                    <a:pt x="336" y="190"/>
                  </a:lnTo>
                  <a:lnTo>
                    <a:pt x="335" y="192"/>
                  </a:lnTo>
                  <a:lnTo>
                    <a:pt x="333" y="192"/>
                  </a:lnTo>
                  <a:lnTo>
                    <a:pt x="331" y="192"/>
                  </a:lnTo>
                  <a:lnTo>
                    <a:pt x="330" y="192"/>
                  </a:lnTo>
                  <a:lnTo>
                    <a:pt x="328" y="194"/>
                  </a:lnTo>
                  <a:lnTo>
                    <a:pt x="326" y="199"/>
                  </a:lnTo>
                  <a:lnTo>
                    <a:pt x="323" y="199"/>
                  </a:lnTo>
                  <a:lnTo>
                    <a:pt x="322" y="199"/>
                  </a:lnTo>
                  <a:lnTo>
                    <a:pt x="322" y="200"/>
                  </a:lnTo>
                  <a:lnTo>
                    <a:pt x="320" y="202"/>
                  </a:lnTo>
                  <a:lnTo>
                    <a:pt x="318" y="205"/>
                  </a:lnTo>
                  <a:lnTo>
                    <a:pt x="318" y="207"/>
                  </a:lnTo>
                  <a:lnTo>
                    <a:pt x="317" y="207"/>
                  </a:lnTo>
                  <a:lnTo>
                    <a:pt x="315" y="207"/>
                  </a:lnTo>
                  <a:lnTo>
                    <a:pt x="313" y="207"/>
                  </a:lnTo>
                  <a:lnTo>
                    <a:pt x="310" y="207"/>
                  </a:lnTo>
                  <a:lnTo>
                    <a:pt x="309" y="207"/>
                  </a:lnTo>
                  <a:lnTo>
                    <a:pt x="309" y="208"/>
                  </a:lnTo>
                  <a:lnTo>
                    <a:pt x="307" y="210"/>
                  </a:lnTo>
                  <a:lnTo>
                    <a:pt x="307" y="212"/>
                  </a:lnTo>
                  <a:lnTo>
                    <a:pt x="305" y="213"/>
                  </a:lnTo>
                  <a:lnTo>
                    <a:pt x="304" y="213"/>
                  </a:lnTo>
                  <a:lnTo>
                    <a:pt x="302" y="213"/>
                  </a:lnTo>
                  <a:lnTo>
                    <a:pt x="302" y="215"/>
                  </a:lnTo>
                  <a:lnTo>
                    <a:pt x="302" y="218"/>
                  </a:lnTo>
                  <a:lnTo>
                    <a:pt x="304" y="218"/>
                  </a:lnTo>
                  <a:lnTo>
                    <a:pt x="305" y="218"/>
                  </a:lnTo>
                  <a:lnTo>
                    <a:pt x="307" y="218"/>
                  </a:lnTo>
                  <a:lnTo>
                    <a:pt x="313" y="225"/>
                  </a:lnTo>
                  <a:lnTo>
                    <a:pt x="313" y="226"/>
                  </a:lnTo>
                  <a:lnTo>
                    <a:pt x="313" y="228"/>
                  </a:lnTo>
                  <a:lnTo>
                    <a:pt x="312" y="229"/>
                  </a:lnTo>
                  <a:lnTo>
                    <a:pt x="310" y="231"/>
                  </a:lnTo>
                  <a:lnTo>
                    <a:pt x="310" y="233"/>
                  </a:lnTo>
                  <a:lnTo>
                    <a:pt x="310" y="234"/>
                  </a:lnTo>
                  <a:lnTo>
                    <a:pt x="309" y="234"/>
                  </a:lnTo>
                  <a:lnTo>
                    <a:pt x="305" y="238"/>
                  </a:lnTo>
                  <a:lnTo>
                    <a:pt x="304" y="238"/>
                  </a:lnTo>
                  <a:lnTo>
                    <a:pt x="304" y="236"/>
                  </a:lnTo>
                  <a:lnTo>
                    <a:pt x="302" y="236"/>
                  </a:lnTo>
                  <a:lnTo>
                    <a:pt x="300" y="234"/>
                  </a:lnTo>
                  <a:lnTo>
                    <a:pt x="296" y="238"/>
                  </a:lnTo>
                  <a:lnTo>
                    <a:pt x="292" y="238"/>
                  </a:lnTo>
                  <a:lnTo>
                    <a:pt x="289" y="239"/>
                  </a:lnTo>
                  <a:lnTo>
                    <a:pt x="287" y="239"/>
                  </a:lnTo>
                  <a:lnTo>
                    <a:pt x="286" y="241"/>
                  </a:lnTo>
                  <a:lnTo>
                    <a:pt x="284" y="241"/>
                  </a:lnTo>
                  <a:lnTo>
                    <a:pt x="284" y="242"/>
                  </a:lnTo>
                  <a:lnTo>
                    <a:pt x="283" y="242"/>
                  </a:lnTo>
                  <a:lnTo>
                    <a:pt x="281" y="242"/>
                  </a:lnTo>
                  <a:lnTo>
                    <a:pt x="281" y="241"/>
                  </a:lnTo>
                  <a:lnTo>
                    <a:pt x="279" y="241"/>
                  </a:lnTo>
                  <a:lnTo>
                    <a:pt x="279" y="242"/>
                  </a:lnTo>
                  <a:lnTo>
                    <a:pt x="278" y="242"/>
                  </a:lnTo>
                  <a:lnTo>
                    <a:pt x="276" y="241"/>
                  </a:lnTo>
                  <a:lnTo>
                    <a:pt x="274" y="239"/>
                  </a:lnTo>
                  <a:lnTo>
                    <a:pt x="274" y="242"/>
                  </a:lnTo>
                  <a:lnTo>
                    <a:pt x="276" y="242"/>
                  </a:lnTo>
                  <a:lnTo>
                    <a:pt x="276" y="244"/>
                  </a:lnTo>
                  <a:lnTo>
                    <a:pt x="276" y="246"/>
                  </a:lnTo>
                  <a:lnTo>
                    <a:pt x="274" y="246"/>
                  </a:lnTo>
                  <a:lnTo>
                    <a:pt x="273" y="246"/>
                  </a:lnTo>
                  <a:lnTo>
                    <a:pt x="273" y="244"/>
                  </a:lnTo>
                  <a:lnTo>
                    <a:pt x="271" y="244"/>
                  </a:lnTo>
                  <a:lnTo>
                    <a:pt x="271" y="242"/>
                  </a:lnTo>
                  <a:lnTo>
                    <a:pt x="268" y="242"/>
                  </a:lnTo>
                  <a:lnTo>
                    <a:pt x="266" y="241"/>
                  </a:lnTo>
                  <a:lnTo>
                    <a:pt x="265" y="239"/>
                  </a:lnTo>
                  <a:lnTo>
                    <a:pt x="263" y="239"/>
                  </a:lnTo>
                  <a:lnTo>
                    <a:pt x="261" y="239"/>
                  </a:lnTo>
                  <a:lnTo>
                    <a:pt x="257" y="238"/>
                  </a:lnTo>
                  <a:lnTo>
                    <a:pt x="257" y="236"/>
                  </a:lnTo>
                  <a:lnTo>
                    <a:pt x="255" y="236"/>
                  </a:lnTo>
                  <a:lnTo>
                    <a:pt x="253" y="234"/>
                  </a:lnTo>
                  <a:lnTo>
                    <a:pt x="252" y="236"/>
                  </a:lnTo>
                  <a:lnTo>
                    <a:pt x="250" y="234"/>
                  </a:lnTo>
                  <a:lnTo>
                    <a:pt x="250" y="236"/>
                  </a:lnTo>
                  <a:lnTo>
                    <a:pt x="252" y="238"/>
                  </a:lnTo>
                  <a:lnTo>
                    <a:pt x="253" y="239"/>
                  </a:lnTo>
                  <a:lnTo>
                    <a:pt x="255" y="241"/>
                  </a:lnTo>
                  <a:lnTo>
                    <a:pt x="255" y="242"/>
                  </a:lnTo>
                  <a:lnTo>
                    <a:pt x="255" y="244"/>
                  </a:lnTo>
                  <a:lnTo>
                    <a:pt x="252" y="242"/>
                  </a:lnTo>
                  <a:lnTo>
                    <a:pt x="248" y="242"/>
                  </a:lnTo>
                  <a:lnTo>
                    <a:pt x="245" y="241"/>
                  </a:lnTo>
                  <a:lnTo>
                    <a:pt x="244" y="242"/>
                  </a:lnTo>
                  <a:lnTo>
                    <a:pt x="242" y="242"/>
                  </a:lnTo>
                  <a:lnTo>
                    <a:pt x="240" y="244"/>
                  </a:lnTo>
                  <a:lnTo>
                    <a:pt x="239" y="244"/>
                  </a:lnTo>
                  <a:lnTo>
                    <a:pt x="235" y="242"/>
                  </a:lnTo>
                  <a:lnTo>
                    <a:pt x="235" y="244"/>
                  </a:lnTo>
                  <a:lnTo>
                    <a:pt x="235" y="246"/>
                  </a:lnTo>
                  <a:lnTo>
                    <a:pt x="237" y="249"/>
                  </a:lnTo>
                  <a:lnTo>
                    <a:pt x="237" y="251"/>
                  </a:lnTo>
                  <a:lnTo>
                    <a:pt x="239" y="251"/>
                  </a:lnTo>
                  <a:lnTo>
                    <a:pt x="239" y="252"/>
                  </a:lnTo>
                  <a:lnTo>
                    <a:pt x="239" y="254"/>
                  </a:lnTo>
                  <a:lnTo>
                    <a:pt x="235" y="255"/>
                  </a:lnTo>
                  <a:lnTo>
                    <a:pt x="234" y="255"/>
                  </a:lnTo>
                  <a:lnTo>
                    <a:pt x="235" y="257"/>
                  </a:lnTo>
                  <a:lnTo>
                    <a:pt x="239" y="257"/>
                  </a:lnTo>
                  <a:lnTo>
                    <a:pt x="239" y="259"/>
                  </a:lnTo>
                  <a:lnTo>
                    <a:pt x="240" y="259"/>
                  </a:lnTo>
                  <a:lnTo>
                    <a:pt x="242" y="260"/>
                  </a:lnTo>
                  <a:lnTo>
                    <a:pt x="240" y="262"/>
                  </a:lnTo>
                  <a:lnTo>
                    <a:pt x="242" y="264"/>
                  </a:lnTo>
                  <a:lnTo>
                    <a:pt x="240" y="265"/>
                  </a:lnTo>
                  <a:lnTo>
                    <a:pt x="242" y="265"/>
                  </a:lnTo>
                  <a:lnTo>
                    <a:pt x="242" y="267"/>
                  </a:lnTo>
                  <a:lnTo>
                    <a:pt x="245" y="268"/>
                  </a:lnTo>
                  <a:lnTo>
                    <a:pt x="248" y="270"/>
                  </a:lnTo>
                  <a:lnTo>
                    <a:pt x="248" y="272"/>
                  </a:lnTo>
                  <a:lnTo>
                    <a:pt x="247" y="275"/>
                  </a:lnTo>
                  <a:lnTo>
                    <a:pt x="245" y="277"/>
                  </a:lnTo>
                  <a:lnTo>
                    <a:pt x="247" y="278"/>
                  </a:lnTo>
                  <a:lnTo>
                    <a:pt x="250" y="281"/>
                  </a:lnTo>
                  <a:lnTo>
                    <a:pt x="252" y="283"/>
                  </a:lnTo>
                  <a:lnTo>
                    <a:pt x="253" y="286"/>
                  </a:lnTo>
                  <a:lnTo>
                    <a:pt x="255" y="288"/>
                  </a:lnTo>
                  <a:lnTo>
                    <a:pt x="257" y="290"/>
                  </a:lnTo>
                  <a:lnTo>
                    <a:pt x="257" y="293"/>
                  </a:lnTo>
                  <a:lnTo>
                    <a:pt x="257" y="294"/>
                  </a:lnTo>
                  <a:lnTo>
                    <a:pt x="257" y="296"/>
                  </a:lnTo>
                  <a:lnTo>
                    <a:pt x="255" y="301"/>
                  </a:lnTo>
                  <a:lnTo>
                    <a:pt x="255" y="306"/>
                  </a:lnTo>
                  <a:lnTo>
                    <a:pt x="257" y="307"/>
                  </a:lnTo>
                  <a:lnTo>
                    <a:pt x="255" y="309"/>
                  </a:lnTo>
                  <a:lnTo>
                    <a:pt x="257" y="312"/>
                  </a:lnTo>
                  <a:lnTo>
                    <a:pt x="255" y="314"/>
                  </a:lnTo>
                  <a:lnTo>
                    <a:pt x="252" y="316"/>
                  </a:lnTo>
                  <a:lnTo>
                    <a:pt x="250" y="317"/>
                  </a:lnTo>
                  <a:lnTo>
                    <a:pt x="250" y="319"/>
                  </a:lnTo>
                  <a:lnTo>
                    <a:pt x="248" y="320"/>
                  </a:lnTo>
                  <a:lnTo>
                    <a:pt x="247" y="322"/>
                  </a:lnTo>
                  <a:lnTo>
                    <a:pt x="247" y="324"/>
                  </a:lnTo>
                  <a:lnTo>
                    <a:pt x="244" y="327"/>
                  </a:lnTo>
                  <a:lnTo>
                    <a:pt x="242" y="329"/>
                  </a:lnTo>
                  <a:lnTo>
                    <a:pt x="242" y="330"/>
                  </a:lnTo>
                  <a:lnTo>
                    <a:pt x="242" y="332"/>
                  </a:lnTo>
                  <a:lnTo>
                    <a:pt x="240" y="332"/>
                  </a:lnTo>
                  <a:lnTo>
                    <a:pt x="240" y="335"/>
                  </a:lnTo>
                  <a:lnTo>
                    <a:pt x="242" y="337"/>
                  </a:lnTo>
                  <a:lnTo>
                    <a:pt x="242" y="338"/>
                  </a:lnTo>
                  <a:lnTo>
                    <a:pt x="244" y="338"/>
                  </a:lnTo>
                  <a:lnTo>
                    <a:pt x="245" y="338"/>
                  </a:lnTo>
                  <a:lnTo>
                    <a:pt x="250" y="335"/>
                  </a:lnTo>
                  <a:lnTo>
                    <a:pt x="250" y="337"/>
                  </a:lnTo>
                  <a:lnTo>
                    <a:pt x="248" y="338"/>
                  </a:lnTo>
                  <a:lnTo>
                    <a:pt x="247" y="338"/>
                  </a:lnTo>
                  <a:lnTo>
                    <a:pt x="250" y="342"/>
                  </a:lnTo>
                  <a:lnTo>
                    <a:pt x="248" y="343"/>
                  </a:lnTo>
                  <a:lnTo>
                    <a:pt x="245" y="343"/>
                  </a:lnTo>
                  <a:lnTo>
                    <a:pt x="242" y="345"/>
                  </a:lnTo>
                  <a:lnTo>
                    <a:pt x="242" y="347"/>
                  </a:lnTo>
                  <a:lnTo>
                    <a:pt x="240" y="347"/>
                  </a:lnTo>
                  <a:lnTo>
                    <a:pt x="237" y="350"/>
                  </a:lnTo>
                  <a:lnTo>
                    <a:pt x="234" y="351"/>
                  </a:lnTo>
                  <a:lnTo>
                    <a:pt x="232" y="351"/>
                  </a:lnTo>
                  <a:lnTo>
                    <a:pt x="231" y="355"/>
                  </a:lnTo>
                  <a:lnTo>
                    <a:pt x="231" y="356"/>
                  </a:lnTo>
                  <a:lnTo>
                    <a:pt x="231" y="358"/>
                  </a:lnTo>
                  <a:lnTo>
                    <a:pt x="227" y="358"/>
                  </a:lnTo>
                  <a:lnTo>
                    <a:pt x="227" y="355"/>
                  </a:lnTo>
                  <a:lnTo>
                    <a:pt x="226" y="355"/>
                  </a:lnTo>
                  <a:lnTo>
                    <a:pt x="226" y="353"/>
                  </a:lnTo>
                  <a:lnTo>
                    <a:pt x="226" y="355"/>
                  </a:lnTo>
                  <a:lnTo>
                    <a:pt x="224" y="355"/>
                  </a:lnTo>
                  <a:lnTo>
                    <a:pt x="221" y="355"/>
                  </a:lnTo>
                  <a:lnTo>
                    <a:pt x="222" y="358"/>
                  </a:lnTo>
                  <a:lnTo>
                    <a:pt x="222" y="360"/>
                  </a:lnTo>
                  <a:lnTo>
                    <a:pt x="224" y="361"/>
                  </a:lnTo>
                  <a:lnTo>
                    <a:pt x="224" y="363"/>
                  </a:lnTo>
                  <a:lnTo>
                    <a:pt x="224" y="364"/>
                  </a:lnTo>
                  <a:lnTo>
                    <a:pt x="224" y="366"/>
                  </a:lnTo>
                  <a:lnTo>
                    <a:pt x="229" y="364"/>
                  </a:lnTo>
                  <a:lnTo>
                    <a:pt x="231" y="366"/>
                  </a:lnTo>
                  <a:lnTo>
                    <a:pt x="234" y="366"/>
                  </a:lnTo>
                  <a:lnTo>
                    <a:pt x="235" y="366"/>
                  </a:lnTo>
                  <a:lnTo>
                    <a:pt x="234" y="368"/>
                  </a:lnTo>
                  <a:lnTo>
                    <a:pt x="234" y="369"/>
                  </a:lnTo>
                  <a:lnTo>
                    <a:pt x="234" y="371"/>
                  </a:lnTo>
                  <a:lnTo>
                    <a:pt x="234" y="373"/>
                  </a:lnTo>
                  <a:lnTo>
                    <a:pt x="237" y="374"/>
                  </a:lnTo>
                  <a:lnTo>
                    <a:pt x="239" y="374"/>
                  </a:lnTo>
                  <a:lnTo>
                    <a:pt x="240" y="374"/>
                  </a:lnTo>
                  <a:lnTo>
                    <a:pt x="240" y="376"/>
                  </a:lnTo>
                  <a:lnTo>
                    <a:pt x="239" y="377"/>
                  </a:lnTo>
                  <a:lnTo>
                    <a:pt x="239" y="379"/>
                  </a:lnTo>
                  <a:lnTo>
                    <a:pt x="239" y="381"/>
                  </a:lnTo>
                  <a:lnTo>
                    <a:pt x="240" y="381"/>
                  </a:lnTo>
                  <a:lnTo>
                    <a:pt x="239" y="384"/>
                  </a:lnTo>
                  <a:lnTo>
                    <a:pt x="239" y="386"/>
                  </a:lnTo>
                  <a:lnTo>
                    <a:pt x="237" y="384"/>
                  </a:lnTo>
                  <a:lnTo>
                    <a:pt x="234" y="386"/>
                  </a:lnTo>
                  <a:lnTo>
                    <a:pt x="234" y="387"/>
                  </a:lnTo>
                  <a:lnTo>
                    <a:pt x="234" y="390"/>
                  </a:lnTo>
                  <a:lnTo>
                    <a:pt x="232" y="392"/>
                  </a:lnTo>
                  <a:lnTo>
                    <a:pt x="231" y="390"/>
                  </a:lnTo>
                  <a:lnTo>
                    <a:pt x="231" y="392"/>
                  </a:lnTo>
                  <a:lnTo>
                    <a:pt x="232" y="395"/>
                  </a:lnTo>
                  <a:lnTo>
                    <a:pt x="234" y="395"/>
                  </a:lnTo>
                  <a:lnTo>
                    <a:pt x="232" y="397"/>
                  </a:lnTo>
                  <a:lnTo>
                    <a:pt x="232" y="399"/>
                  </a:lnTo>
                  <a:lnTo>
                    <a:pt x="231" y="399"/>
                  </a:lnTo>
                  <a:lnTo>
                    <a:pt x="229" y="399"/>
                  </a:lnTo>
                  <a:lnTo>
                    <a:pt x="229" y="397"/>
                  </a:lnTo>
                  <a:lnTo>
                    <a:pt x="227" y="397"/>
                  </a:lnTo>
                  <a:lnTo>
                    <a:pt x="224" y="399"/>
                  </a:lnTo>
                  <a:lnTo>
                    <a:pt x="222" y="399"/>
                  </a:lnTo>
                  <a:lnTo>
                    <a:pt x="221" y="399"/>
                  </a:lnTo>
                  <a:lnTo>
                    <a:pt x="221" y="397"/>
                  </a:lnTo>
                  <a:lnTo>
                    <a:pt x="221" y="395"/>
                  </a:lnTo>
                  <a:lnTo>
                    <a:pt x="218" y="397"/>
                  </a:lnTo>
                  <a:lnTo>
                    <a:pt x="218" y="395"/>
                  </a:lnTo>
                  <a:lnTo>
                    <a:pt x="216" y="397"/>
                  </a:lnTo>
                  <a:lnTo>
                    <a:pt x="214" y="397"/>
                  </a:lnTo>
                  <a:lnTo>
                    <a:pt x="213" y="395"/>
                  </a:lnTo>
                  <a:lnTo>
                    <a:pt x="211" y="395"/>
                  </a:lnTo>
                  <a:lnTo>
                    <a:pt x="211" y="394"/>
                  </a:lnTo>
                  <a:lnTo>
                    <a:pt x="208" y="395"/>
                  </a:lnTo>
                  <a:lnTo>
                    <a:pt x="208" y="397"/>
                  </a:lnTo>
                  <a:lnTo>
                    <a:pt x="206" y="397"/>
                  </a:lnTo>
                  <a:lnTo>
                    <a:pt x="206" y="395"/>
                  </a:lnTo>
                  <a:lnTo>
                    <a:pt x="204" y="397"/>
                  </a:lnTo>
                  <a:lnTo>
                    <a:pt x="203" y="397"/>
                  </a:lnTo>
                  <a:lnTo>
                    <a:pt x="203" y="395"/>
                  </a:lnTo>
                  <a:lnTo>
                    <a:pt x="203" y="394"/>
                  </a:lnTo>
                  <a:lnTo>
                    <a:pt x="204" y="394"/>
                  </a:lnTo>
                  <a:lnTo>
                    <a:pt x="204" y="390"/>
                  </a:lnTo>
                  <a:lnTo>
                    <a:pt x="204" y="389"/>
                  </a:lnTo>
                  <a:lnTo>
                    <a:pt x="203" y="389"/>
                  </a:lnTo>
                  <a:lnTo>
                    <a:pt x="203" y="387"/>
                  </a:lnTo>
                  <a:lnTo>
                    <a:pt x="201" y="387"/>
                  </a:lnTo>
                  <a:lnTo>
                    <a:pt x="200" y="387"/>
                  </a:lnTo>
                  <a:lnTo>
                    <a:pt x="200" y="386"/>
                  </a:lnTo>
                  <a:lnTo>
                    <a:pt x="200" y="384"/>
                  </a:lnTo>
                  <a:lnTo>
                    <a:pt x="200" y="382"/>
                  </a:lnTo>
                  <a:lnTo>
                    <a:pt x="200" y="381"/>
                  </a:lnTo>
                  <a:lnTo>
                    <a:pt x="201" y="379"/>
                  </a:lnTo>
                  <a:lnTo>
                    <a:pt x="203" y="379"/>
                  </a:lnTo>
                  <a:lnTo>
                    <a:pt x="203" y="377"/>
                  </a:lnTo>
                  <a:lnTo>
                    <a:pt x="204" y="377"/>
                  </a:lnTo>
                  <a:lnTo>
                    <a:pt x="204" y="376"/>
                  </a:lnTo>
                  <a:lnTo>
                    <a:pt x="204" y="374"/>
                  </a:lnTo>
                  <a:lnTo>
                    <a:pt x="206" y="374"/>
                  </a:lnTo>
                  <a:lnTo>
                    <a:pt x="208" y="374"/>
                  </a:lnTo>
                  <a:lnTo>
                    <a:pt x="208" y="373"/>
                  </a:lnTo>
                  <a:lnTo>
                    <a:pt x="209" y="371"/>
                  </a:lnTo>
                  <a:lnTo>
                    <a:pt x="209" y="369"/>
                  </a:lnTo>
                  <a:lnTo>
                    <a:pt x="211" y="369"/>
                  </a:lnTo>
                  <a:lnTo>
                    <a:pt x="211" y="368"/>
                  </a:lnTo>
                  <a:lnTo>
                    <a:pt x="209" y="368"/>
                  </a:lnTo>
                  <a:lnTo>
                    <a:pt x="208" y="368"/>
                  </a:lnTo>
                  <a:lnTo>
                    <a:pt x="208" y="366"/>
                  </a:lnTo>
                  <a:lnTo>
                    <a:pt x="209" y="366"/>
                  </a:lnTo>
                  <a:lnTo>
                    <a:pt x="209" y="364"/>
                  </a:lnTo>
                  <a:lnTo>
                    <a:pt x="211" y="363"/>
                  </a:lnTo>
                  <a:lnTo>
                    <a:pt x="213" y="363"/>
                  </a:lnTo>
                  <a:lnTo>
                    <a:pt x="213" y="361"/>
                  </a:lnTo>
                  <a:lnTo>
                    <a:pt x="213" y="360"/>
                  </a:lnTo>
                  <a:lnTo>
                    <a:pt x="213" y="358"/>
                  </a:lnTo>
                  <a:lnTo>
                    <a:pt x="211" y="358"/>
                  </a:lnTo>
                  <a:lnTo>
                    <a:pt x="211" y="356"/>
                  </a:lnTo>
                  <a:lnTo>
                    <a:pt x="213" y="355"/>
                  </a:lnTo>
                  <a:lnTo>
                    <a:pt x="213" y="353"/>
                  </a:lnTo>
                  <a:lnTo>
                    <a:pt x="214" y="353"/>
                  </a:lnTo>
                  <a:lnTo>
                    <a:pt x="216" y="353"/>
                  </a:lnTo>
                  <a:lnTo>
                    <a:pt x="216" y="351"/>
                  </a:lnTo>
                  <a:lnTo>
                    <a:pt x="216" y="350"/>
                  </a:lnTo>
                  <a:lnTo>
                    <a:pt x="216" y="348"/>
                  </a:lnTo>
                  <a:lnTo>
                    <a:pt x="218" y="348"/>
                  </a:lnTo>
                  <a:lnTo>
                    <a:pt x="218" y="350"/>
                  </a:lnTo>
                  <a:lnTo>
                    <a:pt x="219" y="348"/>
                  </a:lnTo>
                  <a:lnTo>
                    <a:pt x="219" y="347"/>
                  </a:lnTo>
                  <a:lnTo>
                    <a:pt x="218" y="347"/>
                  </a:lnTo>
                  <a:lnTo>
                    <a:pt x="216" y="347"/>
                  </a:lnTo>
                  <a:lnTo>
                    <a:pt x="218" y="345"/>
                  </a:lnTo>
                  <a:lnTo>
                    <a:pt x="219" y="343"/>
                  </a:lnTo>
                  <a:lnTo>
                    <a:pt x="221" y="342"/>
                  </a:lnTo>
                  <a:lnTo>
                    <a:pt x="219" y="340"/>
                  </a:lnTo>
                  <a:lnTo>
                    <a:pt x="219" y="338"/>
                  </a:lnTo>
                  <a:lnTo>
                    <a:pt x="218" y="338"/>
                  </a:lnTo>
                  <a:lnTo>
                    <a:pt x="216" y="340"/>
                  </a:lnTo>
                  <a:lnTo>
                    <a:pt x="214" y="340"/>
                  </a:lnTo>
                  <a:lnTo>
                    <a:pt x="214" y="338"/>
                  </a:lnTo>
                  <a:lnTo>
                    <a:pt x="213" y="338"/>
                  </a:lnTo>
                  <a:lnTo>
                    <a:pt x="214" y="337"/>
                  </a:lnTo>
                  <a:lnTo>
                    <a:pt x="213" y="335"/>
                  </a:lnTo>
                  <a:lnTo>
                    <a:pt x="211" y="335"/>
                  </a:lnTo>
                  <a:lnTo>
                    <a:pt x="209" y="335"/>
                  </a:lnTo>
                  <a:lnTo>
                    <a:pt x="208" y="337"/>
                  </a:lnTo>
                  <a:lnTo>
                    <a:pt x="208" y="335"/>
                  </a:lnTo>
                  <a:lnTo>
                    <a:pt x="206" y="335"/>
                  </a:lnTo>
                  <a:lnTo>
                    <a:pt x="204" y="335"/>
                  </a:lnTo>
                  <a:lnTo>
                    <a:pt x="203" y="335"/>
                  </a:lnTo>
                  <a:lnTo>
                    <a:pt x="203" y="333"/>
                  </a:lnTo>
                  <a:lnTo>
                    <a:pt x="203" y="332"/>
                  </a:lnTo>
                  <a:lnTo>
                    <a:pt x="200" y="332"/>
                  </a:lnTo>
                  <a:lnTo>
                    <a:pt x="196" y="329"/>
                  </a:lnTo>
                  <a:lnTo>
                    <a:pt x="195" y="329"/>
                  </a:lnTo>
                  <a:lnTo>
                    <a:pt x="195" y="327"/>
                  </a:lnTo>
                  <a:lnTo>
                    <a:pt x="195" y="322"/>
                  </a:lnTo>
                  <a:lnTo>
                    <a:pt x="193" y="320"/>
                  </a:lnTo>
                  <a:lnTo>
                    <a:pt x="191" y="319"/>
                  </a:lnTo>
                  <a:lnTo>
                    <a:pt x="190" y="317"/>
                  </a:lnTo>
                  <a:lnTo>
                    <a:pt x="188" y="317"/>
                  </a:lnTo>
                  <a:lnTo>
                    <a:pt x="188" y="319"/>
                  </a:lnTo>
                  <a:lnTo>
                    <a:pt x="187" y="319"/>
                  </a:lnTo>
                  <a:lnTo>
                    <a:pt x="185" y="320"/>
                  </a:lnTo>
                  <a:lnTo>
                    <a:pt x="183" y="322"/>
                  </a:lnTo>
                  <a:lnTo>
                    <a:pt x="177" y="320"/>
                  </a:lnTo>
                  <a:lnTo>
                    <a:pt x="175" y="322"/>
                  </a:lnTo>
                  <a:lnTo>
                    <a:pt x="172" y="322"/>
                  </a:lnTo>
                  <a:lnTo>
                    <a:pt x="169" y="320"/>
                  </a:lnTo>
                  <a:lnTo>
                    <a:pt x="167" y="322"/>
                  </a:lnTo>
                  <a:lnTo>
                    <a:pt x="165" y="320"/>
                  </a:lnTo>
                  <a:lnTo>
                    <a:pt x="167" y="316"/>
                  </a:lnTo>
                  <a:lnTo>
                    <a:pt x="164" y="312"/>
                  </a:lnTo>
                  <a:lnTo>
                    <a:pt x="162" y="314"/>
                  </a:lnTo>
                  <a:lnTo>
                    <a:pt x="161" y="314"/>
                  </a:lnTo>
                  <a:lnTo>
                    <a:pt x="159" y="314"/>
                  </a:lnTo>
                  <a:lnTo>
                    <a:pt x="157" y="312"/>
                  </a:lnTo>
                  <a:lnTo>
                    <a:pt x="157" y="309"/>
                  </a:lnTo>
                  <a:lnTo>
                    <a:pt x="157" y="307"/>
                  </a:lnTo>
                  <a:lnTo>
                    <a:pt x="157" y="306"/>
                  </a:lnTo>
                  <a:lnTo>
                    <a:pt x="152" y="301"/>
                  </a:lnTo>
                  <a:lnTo>
                    <a:pt x="156" y="298"/>
                  </a:lnTo>
                  <a:lnTo>
                    <a:pt x="156" y="296"/>
                  </a:lnTo>
                  <a:lnTo>
                    <a:pt x="154" y="291"/>
                  </a:lnTo>
                  <a:lnTo>
                    <a:pt x="151" y="291"/>
                  </a:lnTo>
                  <a:lnTo>
                    <a:pt x="151" y="290"/>
                  </a:lnTo>
                  <a:lnTo>
                    <a:pt x="151" y="288"/>
                  </a:lnTo>
                  <a:lnTo>
                    <a:pt x="149" y="288"/>
                  </a:lnTo>
                  <a:lnTo>
                    <a:pt x="149" y="290"/>
                  </a:lnTo>
                  <a:lnTo>
                    <a:pt x="148" y="290"/>
                  </a:lnTo>
                  <a:lnTo>
                    <a:pt x="148" y="293"/>
                  </a:lnTo>
                  <a:lnTo>
                    <a:pt x="148" y="294"/>
                  </a:lnTo>
                  <a:lnTo>
                    <a:pt x="146" y="294"/>
                  </a:lnTo>
                  <a:lnTo>
                    <a:pt x="143" y="298"/>
                  </a:lnTo>
                  <a:lnTo>
                    <a:pt x="139" y="301"/>
                  </a:lnTo>
                  <a:lnTo>
                    <a:pt x="138" y="299"/>
                  </a:lnTo>
                  <a:lnTo>
                    <a:pt x="138" y="298"/>
                  </a:lnTo>
                  <a:lnTo>
                    <a:pt x="136" y="298"/>
                  </a:lnTo>
                  <a:lnTo>
                    <a:pt x="135" y="298"/>
                  </a:lnTo>
                  <a:lnTo>
                    <a:pt x="133" y="298"/>
                  </a:lnTo>
                  <a:lnTo>
                    <a:pt x="131" y="298"/>
                  </a:lnTo>
                  <a:lnTo>
                    <a:pt x="130" y="298"/>
                  </a:lnTo>
                  <a:lnTo>
                    <a:pt x="128" y="298"/>
                  </a:lnTo>
                  <a:lnTo>
                    <a:pt x="126" y="296"/>
                  </a:lnTo>
                  <a:lnTo>
                    <a:pt x="126" y="294"/>
                  </a:lnTo>
                  <a:lnTo>
                    <a:pt x="128" y="294"/>
                  </a:lnTo>
                  <a:lnTo>
                    <a:pt x="130" y="296"/>
                  </a:lnTo>
                  <a:lnTo>
                    <a:pt x="131" y="296"/>
                  </a:lnTo>
                  <a:lnTo>
                    <a:pt x="133" y="296"/>
                  </a:lnTo>
                  <a:lnTo>
                    <a:pt x="131" y="296"/>
                  </a:lnTo>
                  <a:lnTo>
                    <a:pt x="131" y="294"/>
                  </a:lnTo>
                  <a:lnTo>
                    <a:pt x="131" y="293"/>
                  </a:lnTo>
                  <a:lnTo>
                    <a:pt x="131" y="291"/>
                  </a:lnTo>
                  <a:lnTo>
                    <a:pt x="133" y="291"/>
                  </a:lnTo>
                  <a:lnTo>
                    <a:pt x="133" y="290"/>
                  </a:lnTo>
                  <a:lnTo>
                    <a:pt x="133" y="288"/>
                  </a:lnTo>
                  <a:lnTo>
                    <a:pt x="131" y="286"/>
                  </a:lnTo>
                  <a:lnTo>
                    <a:pt x="130" y="285"/>
                  </a:lnTo>
                  <a:lnTo>
                    <a:pt x="128" y="285"/>
                  </a:lnTo>
                  <a:lnTo>
                    <a:pt x="126" y="285"/>
                  </a:lnTo>
                  <a:lnTo>
                    <a:pt x="125" y="286"/>
                  </a:lnTo>
                  <a:lnTo>
                    <a:pt x="123" y="286"/>
                  </a:lnTo>
                  <a:lnTo>
                    <a:pt x="120" y="291"/>
                  </a:lnTo>
                  <a:lnTo>
                    <a:pt x="118" y="291"/>
                  </a:lnTo>
                  <a:lnTo>
                    <a:pt x="117" y="291"/>
                  </a:lnTo>
                  <a:lnTo>
                    <a:pt x="117" y="294"/>
                  </a:lnTo>
                  <a:lnTo>
                    <a:pt x="115" y="294"/>
                  </a:lnTo>
                  <a:lnTo>
                    <a:pt x="109" y="293"/>
                  </a:lnTo>
                  <a:lnTo>
                    <a:pt x="105" y="294"/>
                  </a:lnTo>
                  <a:lnTo>
                    <a:pt x="105" y="290"/>
                  </a:lnTo>
                  <a:lnTo>
                    <a:pt x="107" y="286"/>
                  </a:lnTo>
                  <a:lnTo>
                    <a:pt x="104" y="286"/>
                  </a:lnTo>
                  <a:lnTo>
                    <a:pt x="100" y="286"/>
                  </a:lnTo>
                  <a:lnTo>
                    <a:pt x="99" y="286"/>
                  </a:lnTo>
                  <a:lnTo>
                    <a:pt x="97" y="286"/>
                  </a:lnTo>
                  <a:lnTo>
                    <a:pt x="96" y="288"/>
                  </a:lnTo>
                  <a:lnTo>
                    <a:pt x="92" y="290"/>
                  </a:lnTo>
                  <a:lnTo>
                    <a:pt x="91" y="291"/>
                  </a:lnTo>
                  <a:lnTo>
                    <a:pt x="92" y="291"/>
                  </a:lnTo>
                  <a:lnTo>
                    <a:pt x="92" y="293"/>
                  </a:lnTo>
                  <a:lnTo>
                    <a:pt x="92" y="294"/>
                  </a:lnTo>
                  <a:lnTo>
                    <a:pt x="94" y="298"/>
                  </a:lnTo>
                  <a:lnTo>
                    <a:pt x="96" y="299"/>
                  </a:lnTo>
                  <a:lnTo>
                    <a:pt x="96" y="301"/>
                  </a:lnTo>
                  <a:lnTo>
                    <a:pt x="94" y="301"/>
                  </a:lnTo>
                  <a:lnTo>
                    <a:pt x="96" y="301"/>
                  </a:lnTo>
                  <a:lnTo>
                    <a:pt x="96" y="303"/>
                  </a:lnTo>
                  <a:lnTo>
                    <a:pt x="94" y="303"/>
                  </a:lnTo>
                  <a:lnTo>
                    <a:pt x="92" y="303"/>
                  </a:lnTo>
                  <a:lnTo>
                    <a:pt x="91" y="303"/>
                  </a:lnTo>
                  <a:lnTo>
                    <a:pt x="89" y="303"/>
                  </a:lnTo>
                  <a:lnTo>
                    <a:pt x="87" y="303"/>
                  </a:lnTo>
                  <a:lnTo>
                    <a:pt x="87" y="299"/>
                  </a:lnTo>
                  <a:lnTo>
                    <a:pt x="81" y="299"/>
                  </a:lnTo>
                  <a:lnTo>
                    <a:pt x="79" y="298"/>
                  </a:lnTo>
                  <a:lnTo>
                    <a:pt x="79" y="294"/>
                  </a:lnTo>
                  <a:lnTo>
                    <a:pt x="79" y="291"/>
                  </a:lnTo>
                  <a:lnTo>
                    <a:pt x="79" y="290"/>
                  </a:lnTo>
                  <a:lnTo>
                    <a:pt x="79" y="288"/>
                  </a:lnTo>
                  <a:lnTo>
                    <a:pt x="79" y="290"/>
                  </a:lnTo>
                  <a:lnTo>
                    <a:pt x="78" y="288"/>
                  </a:lnTo>
                  <a:lnTo>
                    <a:pt x="79" y="288"/>
                  </a:lnTo>
                  <a:lnTo>
                    <a:pt x="79" y="286"/>
                  </a:lnTo>
                  <a:lnTo>
                    <a:pt x="78" y="285"/>
                  </a:lnTo>
                  <a:lnTo>
                    <a:pt x="79" y="283"/>
                  </a:lnTo>
                  <a:lnTo>
                    <a:pt x="78" y="281"/>
                  </a:lnTo>
                  <a:lnTo>
                    <a:pt x="79" y="281"/>
                  </a:lnTo>
                  <a:lnTo>
                    <a:pt x="81" y="281"/>
                  </a:lnTo>
                  <a:lnTo>
                    <a:pt x="81" y="283"/>
                  </a:lnTo>
                  <a:lnTo>
                    <a:pt x="83" y="283"/>
                  </a:lnTo>
                  <a:lnTo>
                    <a:pt x="83" y="285"/>
                  </a:lnTo>
                  <a:lnTo>
                    <a:pt x="83" y="283"/>
                  </a:lnTo>
                  <a:lnTo>
                    <a:pt x="81" y="283"/>
                  </a:lnTo>
                  <a:lnTo>
                    <a:pt x="81" y="281"/>
                  </a:lnTo>
                  <a:lnTo>
                    <a:pt x="79" y="281"/>
                  </a:lnTo>
                  <a:lnTo>
                    <a:pt x="79" y="280"/>
                  </a:lnTo>
                  <a:lnTo>
                    <a:pt x="81" y="280"/>
                  </a:lnTo>
                  <a:lnTo>
                    <a:pt x="79" y="280"/>
                  </a:lnTo>
                  <a:lnTo>
                    <a:pt x="79" y="281"/>
                  </a:lnTo>
                  <a:lnTo>
                    <a:pt x="79" y="280"/>
                  </a:lnTo>
                  <a:lnTo>
                    <a:pt x="79" y="281"/>
                  </a:lnTo>
                  <a:lnTo>
                    <a:pt x="78" y="280"/>
                  </a:lnTo>
                  <a:lnTo>
                    <a:pt x="79" y="280"/>
                  </a:lnTo>
                  <a:lnTo>
                    <a:pt x="78" y="280"/>
                  </a:lnTo>
                  <a:lnTo>
                    <a:pt x="79" y="275"/>
                  </a:lnTo>
                  <a:lnTo>
                    <a:pt x="81" y="275"/>
                  </a:lnTo>
                  <a:lnTo>
                    <a:pt x="81" y="273"/>
                  </a:lnTo>
                  <a:lnTo>
                    <a:pt x="79" y="272"/>
                  </a:lnTo>
                  <a:lnTo>
                    <a:pt x="79" y="270"/>
                  </a:lnTo>
                  <a:lnTo>
                    <a:pt x="78" y="268"/>
                  </a:lnTo>
                  <a:lnTo>
                    <a:pt x="76" y="267"/>
                  </a:lnTo>
                  <a:lnTo>
                    <a:pt x="76" y="265"/>
                  </a:lnTo>
                  <a:lnTo>
                    <a:pt x="78" y="264"/>
                  </a:lnTo>
                  <a:lnTo>
                    <a:pt x="79" y="262"/>
                  </a:lnTo>
                  <a:lnTo>
                    <a:pt x="81" y="262"/>
                  </a:lnTo>
                  <a:lnTo>
                    <a:pt x="83" y="262"/>
                  </a:lnTo>
                  <a:lnTo>
                    <a:pt x="84" y="262"/>
                  </a:lnTo>
                  <a:lnTo>
                    <a:pt x="86" y="262"/>
                  </a:lnTo>
                  <a:lnTo>
                    <a:pt x="86" y="260"/>
                  </a:lnTo>
                  <a:lnTo>
                    <a:pt x="87" y="260"/>
                  </a:lnTo>
                  <a:lnTo>
                    <a:pt x="89" y="260"/>
                  </a:lnTo>
                  <a:lnTo>
                    <a:pt x="91" y="260"/>
                  </a:lnTo>
                  <a:lnTo>
                    <a:pt x="92" y="260"/>
                  </a:lnTo>
                  <a:lnTo>
                    <a:pt x="92" y="259"/>
                  </a:lnTo>
                  <a:lnTo>
                    <a:pt x="94" y="259"/>
                  </a:lnTo>
                  <a:lnTo>
                    <a:pt x="94" y="260"/>
                  </a:lnTo>
                  <a:lnTo>
                    <a:pt x="94" y="262"/>
                  </a:lnTo>
                  <a:lnTo>
                    <a:pt x="94" y="260"/>
                  </a:lnTo>
                  <a:lnTo>
                    <a:pt x="94" y="259"/>
                  </a:lnTo>
                  <a:lnTo>
                    <a:pt x="96" y="257"/>
                  </a:lnTo>
                  <a:lnTo>
                    <a:pt x="96" y="255"/>
                  </a:lnTo>
                  <a:close/>
                  <a:moveTo>
                    <a:pt x="143" y="293"/>
                  </a:moveTo>
                  <a:lnTo>
                    <a:pt x="141" y="293"/>
                  </a:lnTo>
                  <a:lnTo>
                    <a:pt x="143" y="293"/>
                  </a:lnTo>
                  <a:close/>
                  <a:moveTo>
                    <a:pt x="141" y="294"/>
                  </a:moveTo>
                  <a:lnTo>
                    <a:pt x="141" y="293"/>
                  </a:lnTo>
                  <a:lnTo>
                    <a:pt x="141" y="294"/>
                  </a:lnTo>
                  <a:lnTo>
                    <a:pt x="141" y="293"/>
                  </a:lnTo>
                  <a:lnTo>
                    <a:pt x="139" y="293"/>
                  </a:lnTo>
                  <a:lnTo>
                    <a:pt x="141" y="293"/>
                  </a:lnTo>
                  <a:lnTo>
                    <a:pt x="139" y="293"/>
                  </a:lnTo>
                  <a:lnTo>
                    <a:pt x="141" y="294"/>
                  </a:lnTo>
                  <a:lnTo>
                    <a:pt x="139" y="294"/>
                  </a:lnTo>
                  <a:lnTo>
                    <a:pt x="139" y="296"/>
                  </a:lnTo>
                  <a:lnTo>
                    <a:pt x="141" y="294"/>
                  </a:lnTo>
                  <a:lnTo>
                    <a:pt x="141" y="296"/>
                  </a:lnTo>
                  <a:lnTo>
                    <a:pt x="141" y="294"/>
                  </a:lnTo>
                  <a:lnTo>
                    <a:pt x="141" y="296"/>
                  </a:lnTo>
                  <a:lnTo>
                    <a:pt x="141" y="294"/>
                  </a:lnTo>
                  <a:close/>
                  <a:moveTo>
                    <a:pt x="141" y="294"/>
                  </a:moveTo>
                  <a:lnTo>
                    <a:pt x="143" y="294"/>
                  </a:lnTo>
                  <a:lnTo>
                    <a:pt x="141" y="294"/>
                  </a:lnTo>
                  <a:close/>
                  <a:moveTo>
                    <a:pt x="221" y="8"/>
                  </a:moveTo>
                  <a:lnTo>
                    <a:pt x="222" y="8"/>
                  </a:lnTo>
                  <a:lnTo>
                    <a:pt x="224" y="7"/>
                  </a:lnTo>
                  <a:lnTo>
                    <a:pt x="224" y="8"/>
                  </a:lnTo>
                  <a:lnTo>
                    <a:pt x="226" y="8"/>
                  </a:lnTo>
                  <a:lnTo>
                    <a:pt x="227" y="8"/>
                  </a:lnTo>
                  <a:lnTo>
                    <a:pt x="229" y="10"/>
                  </a:lnTo>
                  <a:lnTo>
                    <a:pt x="234" y="10"/>
                  </a:lnTo>
                  <a:lnTo>
                    <a:pt x="244" y="10"/>
                  </a:lnTo>
                  <a:lnTo>
                    <a:pt x="247" y="10"/>
                  </a:lnTo>
                  <a:lnTo>
                    <a:pt x="248" y="10"/>
                  </a:lnTo>
                  <a:lnTo>
                    <a:pt x="250" y="10"/>
                  </a:lnTo>
                  <a:lnTo>
                    <a:pt x="250" y="11"/>
                  </a:lnTo>
                  <a:lnTo>
                    <a:pt x="250" y="10"/>
                  </a:lnTo>
                  <a:lnTo>
                    <a:pt x="248" y="11"/>
                  </a:lnTo>
                  <a:lnTo>
                    <a:pt x="245" y="11"/>
                  </a:lnTo>
                  <a:lnTo>
                    <a:pt x="244" y="11"/>
                  </a:lnTo>
                  <a:lnTo>
                    <a:pt x="242" y="11"/>
                  </a:lnTo>
                  <a:lnTo>
                    <a:pt x="240" y="11"/>
                  </a:lnTo>
                  <a:lnTo>
                    <a:pt x="237" y="13"/>
                  </a:lnTo>
                  <a:lnTo>
                    <a:pt x="235" y="13"/>
                  </a:lnTo>
                  <a:lnTo>
                    <a:pt x="234" y="13"/>
                  </a:lnTo>
                  <a:lnTo>
                    <a:pt x="232" y="13"/>
                  </a:lnTo>
                  <a:lnTo>
                    <a:pt x="231" y="13"/>
                  </a:lnTo>
                  <a:lnTo>
                    <a:pt x="231" y="11"/>
                  </a:lnTo>
                  <a:lnTo>
                    <a:pt x="229" y="11"/>
                  </a:lnTo>
                  <a:lnTo>
                    <a:pt x="229" y="13"/>
                  </a:lnTo>
                  <a:lnTo>
                    <a:pt x="227" y="13"/>
                  </a:lnTo>
                  <a:lnTo>
                    <a:pt x="226" y="13"/>
                  </a:lnTo>
                  <a:lnTo>
                    <a:pt x="226" y="15"/>
                  </a:lnTo>
                  <a:lnTo>
                    <a:pt x="224" y="15"/>
                  </a:lnTo>
                  <a:lnTo>
                    <a:pt x="222" y="15"/>
                  </a:lnTo>
                  <a:lnTo>
                    <a:pt x="221" y="13"/>
                  </a:lnTo>
                  <a:lnTo>
                    <a:pt x="219" y="11"/>
                  </a:lnTo>
                  <a:lnTo>
                    <a:pt x="219" y="10"/>
                  </a:lnTo>
                  <a:lnTo>
                    <a:pt x="221" y="8"/>
                  </a:lnTo>
                  <a:close/>
                  <a:moveTo>
                    <a:pt x="253" y="10"/>
                  </a:moveTo>
                  <a:lnTo>
                    <a:pt x="255" y="10"/>
                  </a:lnTo>
                  <a:lnTo>
                    <a:pt x="257" y="8"/>
                  </a:lnTo>
                  <a:lnTo>
                    <a:pt x="258" y="10"/>
                  </a:lnTo>
                  <a:lnTo>
                    <a:pt x="257" y="10"/>
                  </a:lnTo>
                  <a:lnTo>
                    <a:pt x="255" y="10"/>
                  </a:lnTo>
                  <a:lnTo>
                    <a:pt x="255" y="11"/>
                  </a:lnTo>
                  <a:lnTo>
                    <a:pt x="253" y="10"/>
                  </a:lnTo>
                  <a:close/>
                  <a:moveTo>
                    <a:pt x="281" y="5"/>
                  </a:moveTo>
                  <a:lnTo>
                    <a:pt x="283" y="5"/>
                  </a:lnTo>
                  <a:lnTo>
                    <a:pt x="284" y="5"/>
                  </a:lnTo>
                  <a:lnTo>
                    <a:pt x="283" y="7"/>
                  </a:lnTo>
                  <a:lnTo>
                    <a:pt x="281" y="7"/>
                  </a:lnTo>
                  <a:lnTo>
                    <a:pt x="279" y="7"/>
                  </a:lnTo>
                  <a:lnTo>
                    <a:pt x="276" y="8"/>
                  </a:lnTo>
                  <a:lnTo>
                    <a:pt x="274" y="10"/>
                  </a:lnTo>
                  <a:lnTo>
                    <a:pt x="273" y="10"/>
                  </a:lnTo>
                  <a:lnTo>
                    <a:pt x="271" y="10"/>
                  </a:lnTo>
                  <a:lnTo>
                    <a:pt x="270" y="10"/>
                  </a:lnTo>
                  <a:lnTo>
                    <a:pt x="266" y="10"/>
                  </a:lnTo>
                  <a:lnTo>
                    <a:pt x="266" y="11"/>
                  </a:lnTo>
                  <a:lnTo>
                    <a:pt x="265" y="11"/>
                  </a:lnTo>
                  <a:lnTo>
                    <a:pt x="265" y="13"/>
                  </a:lnTo>
                  <a:lnTo>
                    <a:pt x="263" y="13"/>
                  </a:lnTo>
                  <a:lnTo>
                    <a:pt x="263" y="11"/>
                  </a:lnTo>
                  <a:lnTo>
                    <a:pt x="263" y="10"/>
                  </a:lnTo>
                  <a:lnTo>
                    <a:pt x="263" y="8"/>
                  </a:lnTo>
                  <a:lnTo>
                    <a:pt x="265" y="7"/>
                  </a:lnTo>
                  <a:lnTo>
                    <a:pt x="266" y="7"/>
                  </a:lnTo>
                  <a:lnTo>
                    <a:pt x="266" y="5"/>
                  </a:lnTo>
                  <a:lnTo>
                    <a:pt x="274" y="5"/>
                  </a:lnTo>
                  <a:lnTo>
                    <a:pt x="276" y="5"/>
                  </a:lnTo>
                  <a:lnTo>
                    <a:pt x="279" y="5"/>
                  </a:lnTo>
                  <a:lnTo>
                    <a:pt x="281" y="5"/>
                  </a:lnTo>
                  <a:close/>
                  <a:moveTo>
                    <a:pt x="304" y="5"/>
                  </a:moveTo>
                  <a:lnTo>
                    <a:pt x="302" y="5"/>
                  </a:lnTo>
                  <a:lnTo>
                    <a:pt x="302" y="3"/>
                  </a:lnTo>
                  <a:lnTo>
                    <a:pt x="304" y="3"/>
                  </a:lnTo>
                  <a:lnTo>
                    <a:pt x="304" y="5"/>
                  </a:lnTo>
                  <a:close/>
                  <a:moveTo>
                    <a:pt x="304" y="2"/>
                  </a:moveTo>
                  <a:lnTo>
                    <a:pt x="302" y="2"/>
                  </a:lnTo>
                  <a:lnTo>
                    <a:pt x="304" y="2"/>
                  </a:lnTo>
                  <a:close/>
                  <a:moveTo>
                    <a:pt x="294" y="0"/>
                  </a:moveTo>
                  <a:lnTo>
                    <a:pt x="296" y="0"/>
                  </a:lnTo>
                  <a:lnTo>
                    <a:pt x="296" y="2"/>
                  </a:lnTo>
                  <a:lnTo>
                    <a:pt x="297" y="3"/>
                  </a:lnTo>
                  <a:lnTo>
                    <a:pt x="296" y="3"/>
                  </a:lnTo>
                  <a:lnTo>
                    <a:pt x="296" y="2"/>
                  </a:lnTo>
                  <a:lnTo>
                    <a:pt x="296" y="3"/>
                  </a:lnTo>
                  <a:lnTo>
                    <a:pt x="294" y="3"/>
                  </a:lnTo>
                  <a:lnTo>
                    <a:pt x="292" y="3"/>
                  </a:lnTo>
                  <a:lnTo>
                    <a:pt x="292" y="2"/>
                  </a:lnTo>
                  <a:lnTo>
                    <a:pt x="292" y="0"/>
                  </a:lnTo>
                  <a:lnTo>
                    <a:pt x="294" y="0"/>
                  </a:lnTo>
                  <a:close/>
                  <a:moveTo>
                    <a:pt x="195" y="64"/>
                  </a:moveTo>
                  <a:lnTo>
                    <a:pt x="195" y="62"/>
                  </a:lnTo>
                  <a:lnTo>
                    <a:pt x="195" y="64"/>
                  </a:lnTo>
                  <a:lnTo>
                    <a:pt x="196" y="64"/>
                  </a:lnTo>
                  <a:lnTo>
                    <a:pt x="196" y="65"/>
                  </a:lnTo>
                  <a:lnTo>
                    <a:pt x="195" y="65"/>
                  </a:lnTo>
                  <a:lnTo>
                    <a:pt x="195" y="64"/>
                  </a:lnTo>
                  <a:close/>
                </a:path>
              </a:pathLst>
            </a:custGeom>
            <a:solidFill>
              <a:srgbClr val="FFC0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1205" name="Freeform 51">
              <a:extLst>
                <a:ext uri="{FF2B5EF4-FFF2-40B4-BE49-F238E27FC236}">
                  <a16:creationId xmlns:a16="http://schemas.microsoft.com/office/drawing/2014/main" id="{231D8841-1A1F-D9BB-5DB3-4FE64F4A20EC}"/>
                </a:ext>
              </a:extLst>
            </p:cNvPr>
            <p:cNvSpPr>
              <a:spLocks noEditPoints="1"/>
            </p:cNvSpPr>
            <p:nvPr/>
          </p:nvSpPr>
          <p:spPr bwMode="auto">
            <a:xfrm>
              <a:off x="3306" y="612"/>
              <a:ext cx="1946" cy="1994"/>
            </a:xfrm>
            <a:custGeom>
              <a:avLst/>
              <a:gdLst>
                <a:gd name="T0" fmla="*/ 864 w 1946"/>
                <a:gd name="T1" fmla="*/ 1858 h 1994"/>
                <a:gd name="T2" fmla="*/ 931 w 1946"/>
                <a:gd name="T3" fmla="*/ 1832 h 1994"/>
                <a:gd name="T4" fmla="*/ 579 w 1946"/>
                <a:gd name="T5" fmla="*/ 1784 h 1994"/>
                <a:gd name="T6" fmla="*/ 558 w 1946"/>
                <a:gd name="T7" fmla="*/ 1739 h 1994"/>
                <a:gd name="T8" fmla="*/ 549 w 1946"/>
                <a:gd name="T9" fmla="*/ 1679 h 1994"/>
                <a:gd name="T10" fmla="*/ 552 w 1946"/>
                <a:gd name="T11" fmla="*/ 1653 h 1994"/>
                <a:gd name="T12" fmla="*/ 537 w 1946"/>
                <a:gd name="T13" fmla="*/ 1581 h 1994"/>
                <a:gd name="T14" fmla="*/ 544 w 1946"/>
                <a:gd name="T15" fmla="*/ 1536 h 1994"/>
                <a:gd name="T16" fmla="*/ 550 w 1946"/>
                <a:gd name="T17" fmla="*/ 1477 h 1994"/>
                <a:gd name="T18" fmla="*/ 617 w 1946"/>
                <a:gd name="T19" fmla="*/ 1373 h 1994"/>
                <a:gd name="T20" fmla="*/ 697 w 1946"/>
                <a:gd name="T21" fmla="*/ 1310 h 1994"/>
                <a:gd name="T22" fmla="*/ 752 w 1946"/>
                <a:gd name="T23" fmla="*/ 1258 h 1994"/>
                <a:gd name="T24" fmla="*/ 784 w 1946"/>
                <a:gd name="T25" fmla="*/ 1223 h 1994"/>
                <a:gd name="T26" fmla="*/ 768 w 1946"/>
                <a:gd name="T27" fmla="*/ 1199 h 1994"/>
                <a:gd name="T28" fmla="*/ 845 w 1946"/>
                <a:gd name="T29" fmla="*/ 1178 h 1994"/>
                <a:gd name="T30" fmla="*/ 830 w 1946"/>
                <a:gd name="T31" fmla="*/ 1157 h 1994"/>
                <a:gd name="T32" fmla="*/ 989 w 1946"/>
                <a:gd name="T33" fmla="*/ 1129 h 1994"/>
                <a:gd name="T34" fmla="*/ 971 w 1946"/>
                <a:gd name="T35" fmla="*/ 1041 h 1994"/>
                <a:gd name="T36" fmla="*/ 942 w 1946"/>
                <a:gd name="T37" fmla="*/ 1009 h 1994"/>
                <a:gd name="T38" fmla="*/ 949 w 1946"/>
                <a:gd name="T39" fmla="*/ 992 h 1994"/>
                <a:gd name="T40" fmla="*/ 1033 w 1946"/>
                <a:gd name="T41" fmla="*/ 916 h 1994"/>
                <a:gd name="T42" fmla="*/ 1045 w 1946"/>
                <a:gd name="T43" fmla="*/ 870 h 1994"/>
                <a:gd name="T44" fmla="*/ 1027 w 1946"/>
                <a:gd name="T45" fmla="*/ 846 h 1994"/>
                <a:gd name="T46" fmla="*/ 1062 w 1946"/>
                <a:gd name="T47" fmla="*/ 823 h 1994"/>
                <a:gd name="T48" fmla="*/ 1056 w 1946"/>
                <a:gd name="T49" fmla="*/ 792 h 1994"/>
                <a:gd name="T50" fmla="*/ 1075 w 1946"/>
                <a:gd name="T51" fmla="*/ 760 h 1994"/>
                <a:gd name="T52" fmla="*/ 1084 w 1946"/>
                <a:gd name="T53" fmla="*/ 722 h 1994"/>
                <a:gd name="T54" fmla="*/ 1154 w 1946"/>
                <a:gd name="T55" fmla="*/ 644 h 1994"/>
                <a:gd name="T56" fmla="*/ 1160 w 1946"/>
                <a:gd name="T57" fmla="*/ 576 h 1994"/>
                <a:gd name="T58" fmla="*/ 1074 w 1946"/>
                <a:gd name="T59" fmla="*/ 555 h 1994"/>
                <a:gd name="T60" fmla="*/ 1097 w 1946"/>
                <a:gd name="T61" fmla="*/ 544 h 1994"/>
                <a:gd name="T62" fmla="*/ 1175 w 1946"/>
                <a:gd name="T63" fmla="*/ 483 h 1994"/>
                <a:gd name="T64" fmla="*/ 1191 w 1946"/>
                <a:gd name="T65" fmla="*/ 457 h 1994"/>
                <a:gd name="T66" fmla="*/ 1165 w 1946"/>
                <a:gd name="T67" fmla="*/ 423 h 1994"/>
                <a:gd name="T68" fmla="*/ 1206 w 1946"/>
                <a:gd name="T69" fmla="*/ 399 h 1994"/>
                <a:gd name="T70" fmla="*/ 1313 w 1946"/>
                <a:gd name="T71" fmla="*/ 304 h 1994"/>
                <a:gd name="T72" fmla="*/ 1363 w 1946"/>
                <a:gd name="T73" fmla="*/ 275 h 1994"/>
                <a:gd name="T74" fmla="*/ 1378 w 1946"/>
                <a:gd name="T75" fmla="*/ 200 h 1994"/>
                <a:gd name="T76" fmla="*/ 1900 w 1946"/>
                <a:gd name="T77" fmla="*/ 145 h 1994"/>
                <a:gd name="T78" fmla="*/ 1521 w 1946"/>
                <a:gd name="T79" fmla="*/ 122 h 1994"/>
                <a:gd name="T80" fmla="*/ 1650 w 1946"/>
                <a:gd name="T81" fmla="*/ 31 h 1994"/>
                <a:gd name="T82" fmla="*/ 1736 w 1946"/>
                <a:gd name="T83" fmla="*/ 182 h 1994"/>
                <a:gd name="T84" fmla="*/ 942 w 1946"/>
                <a:gd name="T85" fmla="*/ 1739 h 1994"/>
                <a:gd name="T86" fmla="*/ 843 w 1946"/>
                <a:gd name="T87" fmla="*/ 1885 h 1994"/>
                <a:gd name="T88" fmla="*/ 654 w 1946"/>
                <a:gd name="T89" fmla="*/ 1952 h 1994"/>
                <a:gd name="T90" fmla="*/ 594 w 1946"/>
                <a:gd name="T91" fmla="*/ 1763 h 1994"/>
                <a:gd name="T92" fmla="*/ 641 w 1946"/>
                <a:gd name="T93" fmla="*/ 1638 h 1994"/>
                <a:gd name="T94" fmla="*/ 578 w 1946"/>
                <a:gd name="T95" fmla="*/ 1602 h 1994"/>
                <a:gd name="T96" fmla="*/ 630 w 1946"/>
                <a:gd name="T97" fmla="*/ 1531 h 1994"/>
                <a:gd name="T98" fmla="*/ 651 w 1946"/>
                <a:gd name="T99" fmla="*/ 1436 h 1994"/>
                <a:gd name="T100" fmla="*/ 657 w 1946"/>
                <a:gd name="T101" fmla="*/ 1352 h 1994"/>
                <a:gd name="T102" fmla="*/ 776 w 1946"/>
                <a:gd name="T103" fmla="*/ 1258 h 1994"/>
                <a:gd name="T104" fmla="*/ 950 w 1946"/>
                <a:gd name="T105" fmla="*/ 1184 h 1994"/>
                <a:gd name="T106" fmla="*/ 929 w 1946"/>
                <a:gd name="T107" fmla="*/ 1082 h 1994"/>
                <a:gd name="T108" fmla="*/ 993 w 1946"/>
                <a:gd name="T109" fmla="*/ 1002 h 1994"/>
                <a:gd name="T110" fmla="*/ 1059 w 1946"/>
                <a:gd name="T111" fmla="*/ 875 h 1994"/>
                <a:gd name="T112" fmla="*/ 1118 w 1946"/>
                <a:gd name="T113" fmla="*/ 724 h 1994"/>
                <a:gd name="T114" fmla="*/ 1188 w 1946"/>
                <a:gd name="T115" fmla="*/ 610 h 1994"/>
                <a:gd name="T116" fmla="*/ 1246 w 1946"/>
                <a:gd name="T117" fmla="*/ 542 h 1994"/>
                <a:gd name="T118" fmla="*/ 1339 w 1946"/>
                <a:gd name="T119" fmla="*/ 353 h 1994"/>
                <a:gd name="T120" fmla="*/ 1493 w 1946"/>
                <a:gd name="T121" fmla="*/ 248 h 1994"/>
                <a:gd name="T122" fmla="*/ 1602 w 1946"/>
                <a:gd name="T123" fmla="*/ 69 h 1994"/>
                <a:gd name="T124" fmla="*/ 1708 w 1946"/>
                <a:gd name="T125" fmla="*/ 28 h 19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946" h="1994">
                  <a:moveTo>
                    <a:pt x="708" y="1993"/>
                  </a:moveTo>
                  <a:lnTo>
                    <a:pt x="710" y="1993"/>
                  </a:lnTo>
                  <a:lnTo>
                    <a:pt x="708" y="1993"/>
                  </a:lnTo>
                  <a:close/>
                  <a:moveTo>
                    <a:pt x="710" y="1993"/>
                  </a:moveTo>
                  <a:lnTo>
                    <a:pt x="708" y="1993"/>
                  </a:lnTo>
                  <a:lnTo>
                    <a:pt x="708" y="1991"/>
                  </a:lnTo>
                  <a:lnTo>
                    <a:pt x="710" y="1993"/>
                  </a:lnTo>
                  <a:close/>
                  <a:moveTo>
                    <a:pt x="713" y="1991"/>
                  </a:moveTo>
                  <a:lnTo>
                    <a:pt x="714" y="1991"/>
                  </a:lnTo>
                  <a:lnTo>
                    <a:pt x="714" y="1993"/>
                  </a:lnTo>
                  <a:lnTo>
                    <a:pt x="714" y="1994"/>
                  </a:lnTo>
                  <a:lnTo>
                    <a:pt x="713" y="1994"/>
                  </a:lnTo>
                  <a:lnTo>
                    <a:pt x="713" y="1993"/>
                  </a:lnTo>
                  <a:lnTo>
                    <a:pt x="713" y="1991"/>
                  </a:lnTo>
                  <a:close/>
                  <a:moveTo>
                    <a:pt x="713" y="1991"/>
                  </a:moveTo>
                  <a:lnTo>
                    <a:pt x="714" y="1991"/>
                  </a:lnTo>
                  <a:lnTo>
                    <a:pt x="713" y="1991"/>
                  </a:lnTo>
                  <a:close/>
                  <a:moveTo>
                    <a:pt x="718" y="1991"/>
                  </a:moveTo>
                  <a:lnTo>
                    <a:pt x="718" y="1993"/>
                  </a:lnTo>
                  <a:lnTo>
                    <a:pt x="716" y="1993"/>
                  </a:lnTo>
                  <a:lnTo>
                    <a:pt x="716" y="1991"/>
                  </a:lnTo>
                  <a:lnTo>
                    <a:pt x="718" y="1991"/>
                  </a:lnTo>
                  <a:close/>
                  <a:moveTo>
                    <a:pt x="714" y="1989"/>
                  </a:moveTo>
                  <a:lnTo>
                    <a:pt x="716" y="1989"/>
                  </a:lnTo>
                  <a:lnTo>
                    <a:pt x="716" y="1991"/>
                  </a:lnTo>
                  <a:lnTo>
                    <a:pt x="714" y="1991"/>
                  </a:lnTo>
                  <a:lnTo>
                    <a:pt x="714" y="1989"/>
                  </a:lnTo>
                  <a:close/>
                  <a:moveTo>
                    <a:pt x="718" y="1989"/>
                  </a:moveTo>
                  <a:lnTo>
                    <a:pt x="718" y="1991"/>
                  </a:lnTo>
                  <a:lnTo>
                    <a:pt x="716" y="1991"/>
                  </a:lnTo>
                  <a:lnTo>
                    <a:pt x="716" y="1989"/>
                  </a:lnTo>
                  <a:lnTo>
                    <a:pt x="718" y="1989"/>
                  </a:lnTo>
                  <a:close/>
                  <a:moveTo>
                    <a:pt x="705" y="1989"/>
                  </a:moveTo>
                  <a:lnTo>
                    <a:pt x="703" y="1989"/>
                  </a:lnTo>
                  <a:lnTo>
                    <a:pt x="705" y="1989"/>
                  </a:lnTo>
                  <a:lnTo>
                    <a:pt x="703" y="1988"/>
                  </a:lnTo>
                  <a:lnTo>
                    <a:pt x="705" y="1988"/>
                  </a:lnTo>
                  <a:lnTo>
                    <a:pt x="705" y="1989"/>
                  </a:lnTo>
                  <a:close/>
                  <a:moveTo>
                    <a:pt x="703" y="1988"/>
                  </a:moveTo>
                  <a:lnTo>
                    <a:pt x="703" y="1989"/>
                  </a:lnTo>
                  <a:lnTo>
                    <a:pt x="703" y="1988"/>
                  </a:lnTo>
                  <a:close/>
                  <a:moveTo>
                    <a:pt x="677" y="1988"/>
                  </a:moveTo>
                  <a:lnTo>
                    <a:pt x="679" y="1988"/>
                  </a:lnTo>
                  <a:lnTo>
                    <a:pt x="677" y="1988"/>
                  </a:lnTo>
                  <a:close/>
                  <a:moveTo>
                    <a:pt x="708" y="1989"/>
                  </a:moveTo>
                  <a:lnTo>
                    <a:pt x="708" y="1988"/>
                  </a:lnTo>
                  <a:lnTo>
                    <a:pt x="708" y="1989"/>
                  </a:lnTo>
                  <a:close/>
                  <a:moveTo>
                    <a:pt x="721" y="1988"/>
                  </a:moveTo>
                  <a:lnTo>
                    <a:pt x="721" y="1989"/>
                  </a:lnTo>
                  <a:lnTo>
                    <a:pt x="721" y="1988"/>
                  </a:lnTo>
                  <a:close/>
                  <a:moveTo>
                    <a:pt x="719" y="1988"/>
                  </a:moveTo>
                  <a:lnTo>
                    <a:pt x="721" y="1988"/>
                  </a:lnTo>
                  <a:lnTo>
                    <a:pt x="719" y="1988"/>
                  </a:lnTo>
                  <a:close/>
                  <a:moveTo>
                    <a:pt x="713" y="1988"/>
                  </a:moveTo>
                  <a:lnTo>
                    <a:pt x="714" y="1988"/>
                  </a:lnTo>
                  <a:lnTo>
                    <a:pt x="716" y="1988"/>
                  </a:lnTo>
                  <a:lnTo>
                    <a:pt x="714" y="1988"/>
                  </a:lnTo>
                  <a:lnTo>
                    <a:pt x="716" y="1988"/>
                  </a:lnTo>
                  <a:lnTo>
                    <a:pt x="716" y="1989"/>
                  </a:lnTo>
                  <a:lnTo>
                    <a:pt x="718" y="1989"/>
                  </a:lnTo>
                  <a:lnTo>
                    <a:pt x="716" y="1989"/>
                  </a:lnTo>
                  <a:lnTo>
                    <a:pt x="714" y="1989"/>
                  </a:lnTo>
                  <a:lnTo>
                    <a:pt x="713" y="1989"/>
                  </a:lnTo>
                  <a:lnTo>
                    <a:pt x="713" y="1988"/>
                  </a:lnTo>
                  <a:close/>
                  <a:moveTo>
                    <a:pt x="693" y="1988"/>
                  </a:moveTo>
                  <a:lnTo>
                    <a:pt x="693" y="1986"/>
                  </a:lnTo>
                  <a:lnTo>
                    <a:pt x="695" y="1988"/>
                  </a:lnTo>
                  <a:lnTo>
                    <a:pt x="693" y="1988"/>
                  </a:lnTo>
                  <a:close/>
                  <a:moveTo>
                    <a:pt x="705" y="1988"/>
                  </a:moveTo>
                  <a:lnTo>
                    <a:pt x="705" y="1986"/>
                  </a:lnTo>
                  <a:lnTo>
                    <a:pt x="705" y="1988"/>
                  </a:lnTo>
                  <a:close/>
                  <a:moveTo>
                    <a:pt x="700" y="1986"/>
                  </a:moveTo>
                  <a:lnTo>
                    <a:pt x="700" y="1988"/>
                  </a:lnTo>
                  <a:lnTo>
                    <a:pt x="700" y="1986"/>
                  </a:lnTo>
                  <a:close/>
                  <a:moveTo>
                    <a:pt x="687" y="1986"/>
                  </a:moveTo>
                  <a:lnTo>
                    <a:pt x="687" y="1988"/>
                  </a:lnTo>
                  <a:lnTo>
                    <a:pt x="685" y="1988"/>
                  </a:lnTo>
                  <a:lnTo>
                    <a:pt x="687" y="1986"/>
                  </a:lnTo>
                  <a:close/>
                  <a:moveTo>
                    <a:pt x="708" y="1988"/>
                  </a:moveTo>
                  <a:lnTo>
                    <a:pt x="708" y="1986"/>
                  </a:lnTo>
                  <a:lnTo>
                    <a:pt x="708" y="1988"/>
                  </a:lnTo>
                  <a:close/>
                  <a:moveTo>
                    <a:pt x="703" y="1986"/>
                  </a:moveTo>
                  <a:lnTo>
                    <a:pt x="705" y="1986"/>
                  </a:lnTo>
                  <a:lnTo>
                    <a:pt x="703" y="1986"/>
                  </a:lnTo>
                  <a:close/>
                  <a:moveTo>
                    <a:pt x="731" y="1986"/>
                  </a:moveTo>
                  <a:lnTo>
                    <a:pt x="732" y="1986"/>
                  </a:lnTo>
                  <a:lnTo>
                    <a:pt x="731" y="1986"/>
                  </a:lnTo>
                  <a:close/>
                  <a:moveTo>
                    <a:pt x="671" y="1986"/>
                  </a:moveTo>
                  <a:lnTo>
                    <a:pt x="669" y="1986"/>
                  </a:lnTo>
                  <a:lnTo>
                    <a:pt x="671" y="1986"/>
                  </a:lnTo>
                  <a:close/>
                  <a:moveTo>
                    <a:pt x="687" y="1986"/>
                  </a:moveTo>
                  <a:lnTo>
                    <a:pt x="685" y="1986"/>
                  </a:lnTo>
                  <a:lnTo>
                    <a:pt x="685" y="1988"/>
                  </a:lnTo>
                  <a:lnTo>
                    <a:pt x="685" y="1986"/>
                  </a:lnTo>
                  <a:lnTo>
                    <a:pt x="685" y="1985"/>
                  </a:lnTo>
                  <a:lnTo>
                    <a:pt x="687" y="1985"/>
                  </a:lnTo>
                  <a:lnTo>
                    <a:pt x="687" y="1986"/>
                  </a:lnTo>
                  <a:close/>
                  <a:moveTo>
                    <a:pt x="732" y="1985"/>
                  </a:moveTo>
                  <a:lnTo>
                    <a:pt x="734" y="1986"/>
                  </a:lnTo>
                  <a:lnTo>
                    <a:pt x="732" y="1986"/>
                  </a:lnTo>
                  <a:lnTo>
                    <a:pt x="732" y="1985"/>
                  </a:lnTo>
                  <a:close/>
                  <a:moveTo>
                    <a:pt x="671" y="1985"/>
                  </a:moveTo>
                  <a:lnTo>
                    <a:pt x="671" y="1986"/>
                  </a:lnTo>
                  <a:lnTo>
                    <a:pt x="671" y="1985"/>
                  </a:lnTo>
                  <a:close/>
                  <a:moveTo>
                    <a:pt x="726" y="1985"/>
                  </a:moveTo>
                  <a:lnTo>
                    <a:pt x="727" y="1985"/>
                  </a:lnTo>
                  <a:lnTo>
                    <a:pt x="726" y="1985"/>
                  </a:lnTo>
                  <a:lnTo>
                    <a:pt x="727" y="1985"/>
                  </a:lnTo>
                  <a:lnTo>
                    <a:pt x="727" y="1986"/>
                  </a:lnTo>
                  <a:lnTo>
                    <a:pt x="727" y="1988"/>
                  </a:lnTo>
                  <a:lnTo>
                    <a:pt x="726" y="1988"/>
                  </a:lnTo>
                  <a:lnTo>
                    <a:pt x="726" y="1986"/>
                  </a:lnTo>
                  <a:lnTo>
                    <a:pt x="727" y="1986"/>
                  </a:lnTo>
                  <a:lnTo>
                    <a:pt x="726" y="1986"/>
                  </a:lnTo>
                  <a:lnTo>
                    <a:pt x="726" y="1985"/>
                  </a:lnTo>
                  <a:close/>
                  <a:moveTo>
                    <a:pt x="724" y="1985"/>
                  </a:moveTo>
                  <a:lnTo>
                    <a:pt x="724" y="1986"/>
                  </a:lnTo>
                  <a:lnTo>
                    <a:pt x="724" y="1985"/>
                  </a:lnTo>
                  <a:lnTo>
                    <a:pt x="723" y="1985"/>
                  </a:lnTo>
                  <a:lnTo>
                    <a:pt x="724" y="1985"/>
                  </a:lnTo>
                  <a:close/>
                  <a:moveTo>
                    <a:pt x="695" y="1985"/>
                  </a:moveTo>
                  <a:lnTo>
                    <a:pt x="697" y="1985"/>
                  </a:lnTo>
                  <a:lnTo>
                    <a:pt x="698" y="1985"/>
                  </a:lnTo>
                  <a:lnTo>
                    <a:pt x="700" y="1986"/>
                  </a:lnTo>
                  <a:lnTo>
                    <a:pt x="698" y="1986"/>
                  </a:lnTo>
                  <a:lnTo>
                    <a:pt x="700" y="1986"/>
                  </a:lnTo>
                  <a:lnTo>
                    <a:pt x="700" y="1988"/>
                  </a:lnTo>
                  <a:lnTo>
                    <a:pt x="700" y="1989"/>
                  </a:lnTo>
                  <a:lnTo>
                    <a:pt x="700" y="1988"/>
                  </a:lnTo>
                  <a:lnTo>
                    <a:pt x="698" y="1988"/>
                  </a:lnTo>
                  <a:lnTo>
                    <a:pt x="697" y="1988"/>
                  </a:lnTo>
                  <a:lnTo>
                    <a:pt x="698" y="1989"/>
                  </a:lnTo>
                  <a:lnTo>
                    <a:pt x="697" y="1989"/>
                  </a:lnTo>
                  <a:lnTo>
                    <a:pt x="697" y="1988"/>
                  </a:lnTo>
                  <a:lnTo>
                    <a:pt x="695" y="1988"/>
                  </a:lnTo>
                  <a:lnTo>
                    <a:pt x="697" y="1988"/>
                  </a:lnTo>
                  <a:lnTo>
                    <a:pt x="695" y="1986"/>
                  </a:lnTo>
                  <a:lnTo>
                    <a:pt x="697" y="1986"/>
                  </a:lnTo>
                  <a:lnTo>
                    <a:pt x="697" y="1988"/>
                  </a:lnTo>
                  <a:lnTo>
                    <a:pt x="697" y="1986"/>
                  </a:lnTo>
                  <a:lnTo>
                    <a:pt x="697" y="1988"/>
                  </a:lnTo>
                  <a:lnTo>
                    <a:pt x="698" y="1986"/>
                  </a:lnTo>
                  <a:lnTo>
                    <a:pt x="697" y="1986"/>
                  </a:lnTo>
                  <a:lnTo>
                    <a:pt x="697" y="1985"/>
                  </a:lnTo>
                  <a:lnTo>
                    <a:pt x="695" y="1985"/>
                  </a:lnTo>
                  <a:close/>
                  <a:moveTo>
                    <a:pt x="724" y="1985"/>
                  </a:moveTo>
                  <a:lnTo>
                    <a:pt x="724" y="1983"/>
                  </a:lnTo>
                  <a:lnTo>
                    <a:pt x="724" y="1985"/>
                  </a:lnTo>
                  <a:close/>
                  <a:moveTo>
                    <a:pt x="693" y="1983"/>
                  </a:moveTo>
                  <a:lnTo>
                    <a:pt x="695" y="1983"/>
                  </a:lnTo>
                  <a:lnTo>
                    <a:pt x="693" y="1983"/>
                  </a:lnTo>
                  <a:close/>
                  <a:moveTo>
                    <a:pt x="695" y="1983"/>
                  </a:moveTo>
                  <a:lnTo>
                    <a:pt x="697" y="1983"/>
                  </a:lnTo>
                  <a:lnTo>
                    <a:pt x="695" y="1983"/>
                  </a:lnTo>
                  <a:close/>
                  <a:moveTo>
                    <a:pt x="687" y="1983"/>
                  </a:moveTo>
                  <a:lnTo>
                    <a:pt x="688" y="1983"/>
                  </a:lnTo>
                  <a:lnTo>
                    <a:pt x="687" y="1983"/>
                  </a:lnTo>
                  <a:lnTo>
                    <a:pt x="688" y="1983"/>
                  </a:lnTo>
                  <a:lnTo>
                    <a:pt x="687" y="1983"/>
                  </a:lnTo>
                  <a:close/>
                  <a:moveTo>
                    <a:pt x="732" y="1983"/>
                  </a:moveTo>
                  <a:lnTo>
                    <a:pt x="732" y="1981"/>
                  </a:lnTo>
                  <a:lnTo>
                    <a:pt x="732" y="1983"/>
                  </a:lnTo>
                  <a:lnTo>
                    <a:pt x="734" y="1983"/>
                  </a:lnTo>
                  <a:lnTo>
                    <a:pt x="734" y="1981"/>
                  </a:lnTo>
                  <a:lnTo>
                    <a:pt x="734" y="1983"/>
                  </a:lnTo>
                  <a:lnTo>
                    <a:pt x="732" y="1983"/>
                  </a:lnTo>
                  <a:close/>
                  <a:moveTo>
                    <a:pt x="736" y="1983"/>
                  </a:moveTo>
                  <a:lnTo>
                    <a:pt x="734" y="1983"/>
                  </a:lnTo>
                  <a:lnTo>
                    <a:pt x="736" y="1981"/>
                  </a:lnTo>
                  <a:lnTo>
                    <a:pt x="736" y="1983"/>
                  </a:lnTo>
                  <a:close/>
                  <a:moveTo>
                    <a:pt x="724" y="1983"/>
                  </a:moveTo>
                  <a:lnTo>
                    <a:pt x="724" y="1981"/>
                  </a:lnTo>
                  <a:lnTo>
                    <a:pt x="724" y="1983"/>
                  </a:lnTo>
                  <a:close/>
                  <a:moveTo>
                    <a:pt x="729" y="1981"/>
                  </a:moveTo>
                  <a:lnTo>
                    <a:pt x="731" y="1983"/>
                  </a:lnTo>
                  <a:lnTo>
                    <a:pt x="729" y="1983"/>
                  </a:lnTo>
                  <a:lnTo>
                    <a:pt x="729" y="1981"/>
                  </a:lnTo>
                  <a:lnTo>
                    <a:pt x="729" y="1983"/>
                  </a:lnTo>
                  <a:lnTo>
                    <a:pt x="729" y="1981"/>
                  </a:lnTo>
                  <a:close/>
                  <a:moveTo>
                    <a:pt x="724" y="1981"/>
                  </a:moveTo>
                  <a:lnTo>
                    <a:pt x="726" y="1981"/>
                  </a:lnTo>
                  <a:lnTo>
                    <a:pt x="724" y="1981"/>
                  </a:lnTo>
                  <a:close/>
                  <a:moveTo>
                    <a:pt x="731" y="1981"/>
                  </a:moveTo>
                  <a:lnTo>
                    <a:pt x="732" y="1981"/>
                  </a:lnTo>
                  <a:lnTo>
                    <a:pt x="732" y="1983"/>
                  </a:lnTo>
                  <a:lnTo>
                    <a:pt x="731" y="1983"/>
                  </a:lnTo>
                  <a:lnTo>
                    <a:pt x="731" y="1981"/>
                  </a:lnTo>
                  <a:close/>
                  <a:moveTo>
                    <a:pt x="726" y="1981"/>
                  </a:moveTo>
                  <a:lnTo>
                    <a:pt x="726" y="1983"/>
                  </a:lnTo>
                  <a:lnTo>
                    <a:pt x="726" y="1981"/>
                  </a:lnTo>
                  <a:close/>
                  <a:moveTo>
                    <a:pt x="667" y="1981"/>
                  </a:moveTo>
                  <a:lnTo>
                    <a:pt x="669" y="1981"/>
                  </a:lnTo>
                  <a:lnTo>
                    <a:pt x="667" y="1981"/>
                  </a:lnTo>
                  <a:close/>
                  <a:moveTo>
                    <a:pt x="685" y="1981"/>
                  </a:moveTo>
                  <a:lnTo>
                    <a:pt x="685" y="1983"/>
                  </a:lnTo>
                  <a:lnTo>
                    <a:pt x="684" y="1983"/>
                  </a:lnTo>
                  <a:lnTo>
                    <a:pt x="684" y="1981"/>
                  </a:lnTo>
                  <a:lnTo>
                    <a:pt x="685" y="1981"/>
                  </a:lnTo>
                  <a:close/>
                  <a:moveTo>
                    <a:pt x="734" y="1981"/>
                  </a:moveTo>
                  <a:lnTo>
                    <a:pt x="732" y="1981"/>
                  </a:lnTo>
                  <a:lnTo>
                    <a:pt x="734" y="1981"/>
                  </a:lnTo>
                  <a:close/>
                  <a:moveTo>
                    <a:pt x="740" y="1981"/>
                  </a:moveTo>
                  <a:lnTo>
                    <a:pt x="742" y="1981"/>
                  </a:lnTo>
                  <a:lnTo>
                    <a:pt x="740" y="1981"/>
                  </a:lnTo>
                  <a:close/>
                  <a:moveTo>
                    <a:pt x="731" y="1981"/>
                  </a:moveTo>
                  <a:lnTo>
                    <a:pt x="729" y="1981"/>
                  </a:lnTo>
                  <a:lnTo>
                    <a:pt x="729" y="1980"/>
                  </a:lnTo>
                  <a:lnTo>
                    <a:pt x="731" y="1980"/>
                  </a:lnTo>
                  <a:lnTo>
                    <a:pt x="731" y="1981"/>
                  </a:lnTo>
                  <a:close/>
                  <a:moveTo>
                    <a:pt x="731" y="1981"/>
                  </a:moveTo>
                  <a:lnTo>
                    <a:pt x="731" y="1980"/>
                  </a:lnTo>
                  <a:lnTo>
                    <a:pt x="731" y="1981"/>
                  </a:lnTo>
                  <a:close/>
                  <a:moveTo>
                    <a:pt x="737" y="1980"/>
                  </a:moveTo>
                  <a:lnTo>
                    <a:pt x="739" y="1981"/>
                  </a:lnTo>
                  <a:lnTo>
                    <a:pt x="737" y="1981"/>
                  </a:lnTo>
                  <a:lnTo>
                    <a:pt x="737" y="1980"/>
                  </a:lnTo>
                  <a:close/>
                  <a:moveTo>
                    <a:pt x="734" y="1980"/>
                  </a:moveTo>
                  <a:lnTo>
                    <a:pt x="736" y="1980"/>
                  </a:lnTo>
                  <a:lnTo>
                    <a:pt x="736" y="1981"/>
                  </a:lnTo>
                  <a:lnTo>
                    <a:pt x="737" y="1981"/>
                  </a:lnTo>
                  <a:lnTo>
                    <a:pt x="736" y="1981"/>
                  </a:lnTo>
                  <a:lnTo>
                    <a:pt x="734" y="1981"/>
                  </a:lnTo>
                  <a:lnTo>
                    <a:pt x="734" y="1980"/>
                  </a:lnTo>
                  <a:close/>
                  <a:moveTo>
                    <a:pt x="749" y="1980"/>
                  </a:moveTo>
                  <a:lnTo>
                    <a:pt x="749" y="1981"/>
                  </a:lnTo>
                  <a:lnTo>
                    <a:pt x="749" y="1980"/>
                  </a:lnTo>
                  <a:close/>
                  <a:moveTo>
                    <a:pt x="732" y="1980"/>
                  </a:moveTo>
                  <a:lnTo>
                    <a:pt x="731" y="1980"/>
                  </a:lnTo>
                  <a:lnTo>
                    <a:pt x="732" y="1980"/>
                  </a:lnTo>
                  <a:close/>
                  <a:moveTo>
                    <a:pt x="675" y="1980"/>
                  </a:moveTo>
                  <a:lnTo>
                    <a:pt x="675" y="1978"/>
                  </a:lnTo>
                  <a:lnTo>
                    <a:pt x="675" y="1980"/>
                  </a:lnTo>
                  <a:close/>
                  <a:moveTo>
                    <a:pt x="729" y="1980"/>
                  </a:moveTo>
                  <a:lnTo>
                    <a:pt x="729" y="1978"/>
                  </a:lnTo>
                  <a:lnTo>
                    <a:pt x="729" y="1980"/>
                  </a:lnTo>
                  <a:close/>
                  <a:moveTo>
                    <a:pt x="737" y="1980"/>
                  </a:moveTo>
                  <a:lnTo>
                    <a:pt x="737" y="1978"/>
                  </a:lnTo>
                  <a:lnTo>
                    <a:pt x="737" y="1980"/>
                  </a:lnTo>
                  <a:lnTo>
                    <a:pt x="739" y="1980"/>
                  </a:lnTo>
                  <a:lnTo>
                    <a:pt x="737" y="1980"/>
                  </a:lnTo>
                  <a:close/>
                  <a:moveTo>
                    <a:pt x="740" y="1978"/>
                  </a:moveTo>
                  <a:lnTo>
                    <a:pt x="742" y="1980"/>
                  </a:lnTo>
                  <a:lnTo>
                    <a:pt x="742" y="1978"/>
                  </a:lnTo>
                  <a:lnTo>
                    <a:pt x="742" y="1980"/>
                  </a:lnTo>
                  <a:lnTo>
                    <a:pt x="740" y="1980"/>
                  </a:lnTo>
                  <a:lnTo>
                    <a:pt x="740" y="1978"/>
                  </a:lnTo>
                  <a:close/>
                  <a:moveTo>
                    <a:pt x="662" y="1980"/>
                  </a:moveTo>
                  <a:lnTo>
                    <a:pt x="664" y="1980"/>
                  </a:lnTo>
                  <a:lnTo>
                    <a:pt x="664" y="1978"/>
                  </a:lnTo>
                  <a:lnTo>
                    <a:pt x="666" y="1980"/>
                  </a:lnTo>
                  <a:lnTo>
                    <a:pt x="664" y="1980"/>
                  </a:lnTo>
                  <a:lnTo>
                    <a:pt x="662" y="1980"/>
                  </a:lnTo>
                  <a:lnTo>
                    <a:pt x="664" y="1980"/>
                  </a:lnTo>
                  <a:lnTo>
                    <a:pt x="662" y="1980"/>
                  </a:lnTo>
                  <a:close/>
                  <a:moveTo>
                    <a:pt x="744" y="1980"/>
                  </a:moveTo>
                  <a:lnTo>
                    <a:pt x="744" y="1978"/>
                  </a:lnTo>
                  <a:lnTo>
                    <a:pt x="744" y="1980"/>
                  </a:lnTo>
                  <a:close/>
                  <a:moveTo>
                    <a:pt x="662" y="1978"/>
                  </a:moveTo>
                  <a:lnTo>
                    <a:pt x="664" y="1978"/>
                  </a:lnTo>
                  <a:lnTo>
                    <a:pt x="662" y="1978"/>
                  </a:lnTo>
                  <a:close/>
                  <a:moveTo>
                    <a:pt x="661" y="1978"/>
                  </a:moveTo>
                  <a:lnTo>
                    <a:pt x="662" y="1978"/>
                  </a:lnTo>
                  <a:lnTo>
                    <a:pt x="662" y="1980"/>
                  </a:lnTo>
                  <a:lnTo>
                    <a:pt x="662" y="1978"/>
                  </a:lnTo>
                  <a:lnTo>
                    <a:pt x="661" y="1978"/>
                  </a:lnTo>
                  <a:close/>
                  <a:moveTo>
                    <a:pt x="752" y="1978"/>
                  </a:moveTo>
                  <a:lnTo>
                    <a:pt x="752" y="1980"/>
                  </a:lnTo>
                  <a:lnTo>
                    <a:pt x="752" y="1978"/>
                  </a:lnTo>
                  <a:close/>
                  <a:moveTo>
                    <a:pt x="753" y="1978"/>
                  </a:moveTo>
                  <a:lnTo>
                    <a:pt x="755" y="1978"/>
                  </a:lnTo>
                  <a:lnTo>
                    <a:pt x="753" y="1978"/>
                  </a:lnTo>
                  <a:close/>
                  <a:moveTo>
                    <a:pt x="654" y="1978"/>
                  </a:moveTo>
                  <a:lnTo>
                    <a:pt x="654" y="1976"/>
                  </a:lnTo>
                  <a:lnTo>
                    <a:pt x="654" y="1978"/>
                  </a:lnTo>
                  <a:close/>
                  <a:moveTo>
                    <a:pt x="656" y="1978"/>
                  </a:moveTo>
                  <a:lnTo>
                    <a:pt x="657" y="1976"/>
                  </a:lnTo>
                  <a:lnTo>
                    <a:pt x="657" y="1978"/>
                  </a:lnTo>
                  <a:lnTo>
                    <a:pt x="656" y="1978"/>
                  </a:lnTo>
                  <a:close/>
                  <a:moveTo>
                    <a:pt x="666" y="1976"/>
                  </a:moveTo>
                  <a:lnTo>
                    <a:pt x="667" y="1976"/>
                  </a:lnTo>
                  <a:lnTo>
                    <a:pt x="666" y="1976"/>
                  </a:lnTo>
                  <a:close/>
                  <a:moveTo>
                    <a:pt x="664" y="1976"/>
                  </a:moveTo>
                  <a:lnTo>
                    <a:pt x="666" y="1976"/>
                  </a:lnTo>
                  <a:lnTo>
                    <a:pt x="666" y="1978"/>
                  </a:lnTo>
                  <a:lnTo>
                    <a:pt x="664" y="1978"/>
                  </a:lnTo>
                  <a:lnTo>
                    <a:pt x="664" y="1976"/>
                  </a:lnTo>
                  <a:lnTo>
                    <a:pt x="662" y="1976"/>
                  </a:lnTo>
                  <a:lnTo>
                    <a:pt x="664" y="1976"/>
                  </a:lnTo>
                  <a:close/>
                  <a:moveTo>
                    <a:pt x="747" y="1976"/>
                  </a:moveTo>
                  <a:lnTo>
                    <a:pt x="747" y="1975"/>
                  </a:lnTo>
                  <a:lnTo>
                    <a:pt x="749" y="1976"/>
                  </a:lnTo>
                  <a:lnTo>
                    <a:pt x="750" y="1976"/>
                  </a:lnTo>
                  <a:lnTo>
                    <a:pt x="750" y="1978"/>
                  </a:lnTo>
                  <a:lnTo>
                    <a:pt x="749" y="1978"/>
                  </a:lnTo>
                  <a:lnTo>
                    <a:pt x="747" y="1978"/>
                  </a:lnTo>
                  <a:lnTo>
                    <a:pt x="749" y="1978"/>
                  </a:lnTo>
                  <a:lnTo>
                    <a:pt x="749" y="1980"/>
                  </a:lnTo>
                  <a:lnTo>
                    <a:pt x="747" y="1980"/>
                  </a:lnTo>
                  <a:lnTo>
                    <a:pt x="745" y="1980"/>
                  </a:lnTo>
                  <a:lnTo>
                    <a:pt x="745" y="1981"/>
                  </a:lnTo>
                  <a:lnTo>
                    <a:pt x="745" y="1980"/>
                  </a:lnTo>
                  <a:lnTo>
                    <a:pt x="744" y="1980"/>
                  </a:lnTo>
                  <a:lnTo>
                    <a:pt x="744" y="1978"/>
                  </a:lnTo>
                  <a:lnTo>
                    <a:pt x="745" y="1978"/>
                  </a:lnTo>
                  <a:lnTo>
                    <a:pt x="747" y="1978"/>
                  </a:lnTo>
                  <a:lnTo>
                    <a:pt x="745" y="1978"/>
                  </a:lnTo>
                  <a:lnTo>
                    <a:pt x="747" y="1978"/>
                  </a:lnTo>
                  <a:lnTo>
                    <a:pt x="747" y="1976"/>
                  </a:lnTo>
                  <a:lnTo>
                    <a:pt x="747" y="1978"/>
                  </a:lnTo>
                  <a:lnTo>
                    <a:pt x="747" y="1976"/>
                  </a:lnTo>
                  <a:close/>
                  <a:moveTo>
                    <a:pt x="755" y="1976"/>
                  </a:moveTo>
                  <a:lnTo>
                    <a:pt x="755" y="1975"/>
                  </a:lnTo>
                  <a:lnTo>
                    <a:pt x="755" y="1976"/>
                  </a:lnTo>
                  <a:close/>
                  <a:moveTo>
                    <a:pt x="755" y="1976"/>
                  </a:moveTo>
                  <a:lnTo>
                    <a:pt x="755" y="1975"/>
                  </a:lnTo>
                  <a:lnTo>
                    <a:pt x="755" y="1976"/>
                  </a:lnTo>
                  <a:close/>
                  <a:moveTo>
                    <a:pt x="749" y="1976"/>
                  </a:moveTo>
                  <a:lnTo>
                    <a:pt x="749" y="1975"/>
                  </a:lnTo>
                  <a:lnTo>
                    <a:pt x="749" y="1976"/>
                  </a:lnTo>
                  <a:close/>
                  <a:moveTo>
                    <a:pt x="657" y="1975"/>
                  </a:moveTo>
                  <a:lnTo>
                    <a:pt x="659" y="1975"/>
                  </a:lnTo>
                  <a:lnTo>
                    <a:pt x="657" y="1975"/>
                  </a:lnTo>
                  <a:close/>
                  <a:moveTo>
                    <a:pt x="758" y="1975"/>
                  </a:moveTo>
                  <a:lnTo>
                    <a:pt x="758" y="1976"/>
                  </a:lnTo>
                  <a:lnTo>
                    <a:pt x="758" y="1975"/>
                  </a:lnTo>
                  <a:lnTo>
                    <a:pt x="757" y="1975"/>
                  </a:lnTo>
                  <a:lnTo>
                    <a:pt x="758" y="1975"/>
                  </a:lnTo>
                  <a:lnTo>
                    <a:pt x="757" y="1975"/>
                  </a:lnTo>
                  <a:lnTo>
                    <a:pt x="758" y="1975"/>
                  </a:lnTo>
                  <a:close/>
                  <a:moveTo>
                    <a:pt x="659" y="1975"/>
                  </a:moveTo>
                  <a:lnTo>
                    <a:pt x="659" y="1973"/>
                  </a:lnTo>
                  <a:lnTo>
                    <a:pt x="659" y="1975"/>
                  </a:lnTo>
                  <a:close/>
                  <a:moveTo>
                    <a:pt x="659" y="1975"/>
                  </a:moveTo>
                  <a:lnTo>
                    <a:pt x="659" y="1973"/>
                  </a:lnTo>
                  <a:lnTo>
                    <a:pt x="659" y="1975"/>
                  </a:lnTo>
                  <a:close/>
                  <a:moveTo>
                    <a:pt x="753" y="1973"/>
                  </a:moveTo>
                  <a:lnTo>
                    <a:pt x="755" y="1973"/>
                  </a:lnTo>
                  <a:lnTo>
                    <a:pt x="753" y="1975"/>
                  </a:lnTo>
                  <a:lnTo>
                    <a:pt x="753" y="1973"/>
                  </a:lnTo>
                  <a:close/>
                  <a:moveTo>
                    <a:pt x="755" y="1973"/>
                  </a:moveTo>
                  <a:lnTo>
                    <a:pt x="757" y="1973"/>
                  </a:lnTo>
                  <a:lnTo>
                    <a:pt x="757" y="1975"/>
                  </a:lnTo>
                  <a:lnTo>
                    <a:pt x="757" y="1976"/>
                  </a:lnTo>
                  <a:lnTo>
                    <a:pt x="755" y="1976"/>
                  </a:lnTo>
                  <a:lnTo>
                    <a:pt x="757" y="1976"/>
                  </a:lnTo>
                  <a:lnTo>
                    <a:pt x="757" y="1975"/>
                  </a:lnTo>
                  <a:lnTo>
                    <a:pt x="755" y="1975"/>
                  </a:lnTo>
                  <a:lnTo>
                    <a:pt x="755" y="1973"/>
                  </a:lnTo>
                  <a:close/>
                  <a:moveTo>
                    <a:pt x="752" y="1973"/>
                  </a:moveTo>
                  <a:lnTo>
                    <a:pt x="752" y="1975"/>
                  </a:lnTo>
                  <a:lnTo>
                    <a:pt x="752" y="1973"/>
                  </a:lnTo>
                  <a:close/>
                  <a:moveTo>
                    <a:pt x="753" y="1972"/>
                  </a:moveTo>
                  <a:lnTo>
                    <a:pt x="755" y="1972"/>
                  </a:lnTo>
                  <a:lnTo>
                    <a:pt x="755" y="1973"/>
                  </a:lnTo>
                  <a:lnTo>
                    <a:pt x="753" y="1973"/>
                  </a:lnTo>
                  <a:lnTo>
                    <a:pt x="753" y="1972"/>
                  </a:lnTo>
                  <a:close/>
                  <a:moveTo>
                    <a:pt x="766" y="1972"/>
                  </a:moveTo>
                  <a:lnTo>
                    <a:pt x="766" y="1973"/>
                  </a:lnTo>
                  <a:lnTo>
                    <a:pt x="766" y="1972"/>
                  </a:lnTo>
                  <a:close/>
                  <a:moveTo>
                    <a:pt x="747" y="1972"/>
                  </a:moveTo>
                  <a:lnTo>
                    <a:pt x="749" y="1972"/>
                  </a:lnTo>
                  <a:lnTo>
                    <a:pt x="747" y="1972"/>
                  </a:lnTo>
                  <a:lnTo>
                    <a:pt x="749" y="1972"/>
                  </a:lnTo>
                  <a:lnTo>
                    <a:pt x="747" y="1973"/>
                  </a:lnTo>
                  <a:lnTo>
                    <a:pt x="749" y="1973"/>
                  </a:lnTo>
                  <a:lnTo>
                    <a:pt x="747" y="1972"/>
                  </a:lnTo>
                  <a:close/>
                  <a:moveTo>
                    <a:pt x="747" y="1970"/>
                  </a:moveTo>
                  <a:lnTo>
                    <a:pt x="747" y="1972"/>
                  </a:lnTo>
                  <a:lnTo>
                    <a:pt x="749" y="1972"/>
                  </a:lnTo>
                  <a:lnTo>
                    <a:pt x="747" y="1972"/>
                  </a:lnTo>
                  <a:lnTo>
                    <a:pt x="747" y="1970"/>
                  </a:lnTo>
                  <a:close/>
                  <a:moveTo>
                    <a:pt x="768" y="1970"/>
                  </a:moveTo>
                  <a:lnTo>
                    <a:pt x="770" y="1970"/>
                  </a:lnTo>
                  <a:lnTo>
                    <a:pt x="768" y="1972"/>
                  </a:lnTo>
                  <a:lnTo>
                    <a:pt x="768" y="1970"/>
                  </a:lnTo>
                  <a:close/>
                  <a:moveTo>
                    <a:pt x="750" y="1970"/>
                  </a:moveTo>
                  <a:lnTo>
                    <a:pt x="752" y="1970"/>
                  </a:lnTo>
                  <a:lnTo>
                    <a:pt x="750" y="1970"/>
                  </a:lnTo>
                  <a:close/>
                  <a:moveTo>
                    <a:pt x="768" y="1970"/>
                  </a:moveTo>
                  <a:lnTo>
                    <a:pt x="768" y="1968"/>
                  </a:lnTo>
                  <a:lnTo>
                    <a:pt x="768" y="1970"/>
                  </a:lnTo>
                  <a:close/>
                  <a:moveTo>
                    <a:pt x="768" y="1970"/>
                  </a:moveTo>
                  <a:lnTo>
                    <a:pt x="768" y="1968"/>
                  </a:lnTo>
                  <a:lnTo>
                    <a:pt x="768" y="1970"/>
                  </a:lnTo>
                  <a:close/>
                  <a:moveTo>
                    <a:pt x="750" y="1970"/>
                  </a:moveTo>
                  <a:lnTo>
                    <a:pt x="750" y="1968"/>
                  </a:lnTo>
                  <a:lnTo>
                    <a:pt x="752" y="1968"/>
                  </a:lnTo>
                  <a:lnTo>
                    <a:pt x="752" y="1970"/>
                  </a:lnTo>
                  <a:lnTo>
                    <a:pt x="750" y="1970"/>
                  </a:lnTo>
                  <a:close/>
                  <a:moveTo>
                    <a:pt x="770" y="1967"/>
                  </a:moveTo>
                  <a:lnTo>
                    <a:pt x="770" y="1965"/>
                  </a:lnTo>
                  <a:lnTo>
                    <a:pt x="770" y="1967"/>
                  </a:lnTo>
                  <a:close/>
                  <a:moveTo>
                    <a:pt x="771" y="1967"/>
                  </a:moveTo>
                  <a:lnTo>
                    <a:pt x="771" y="1965"/>
                  </a:lnTo>
                  <a:lnTo>
                    <a:pt x="771" y="1967"/>
                  </a:lnTo>
                  <a:close/>
                  <a:moveTo>
                    <a:pt x="775" y="1962"/>
                  </a:moveTo>
                  <a:lnTo>
                    <a:pt x="775" y="1963"/>
                  </a:lnTo>
                  <a:lnTo>
                    <a:pt x="775" y="1962"/>
                  </a:lnTo>
                  <a:close/>
                  <a:moveTo>
                    <a:pt x="773" y="1963"/>
                  </a:moveTo>
                  <a:lnTo>
                    <a:pt x="771" y="1963"/>
                  </a:lnTo>
                  <a:lnTo>
                    <a:pt x="770" y="1962"/>
                  </a:lnTo>
                  <a:lnTo>
                    <a:pt x="771" y="1962"/>
                  </a:lnTo>
                  <a:lnTo>
                    <a:pt x="771" y="1963"/>
                  </a:lnTo>
                  <a:lnTo>
                    <a:pt x="771" y="1962"/>
                  </a:lnTo>
                  <a:lnTo>
                    <a:pt x="773" y="1963"/>
                  </a:lnTo>
                  <a:close/>
                  <a:moveTo>
                    <a:pt x="770" y="1960"/>
                  </a:moveTo>
                  <a:lnTo>
                    <a:pt x="771" y="1960"/>
                  </a:lnTo>
                  <a:lnTo>
                    <a:pt x="770" y="1960"/>
                  </a:lnTo>
                  <a:close/>
                  <a:moveTo>
                    <a:pt x="771" y="1960"/>
                  </a:moveTo>
                  <a:lnTo>
                    <a:pt x="771" y="1959"/>
                  </a:lnTo>
                  <a:lnTo>
                    <a:pt x="771" y="1960"/>
                  </a:lnTo>
                  <a:close/>
                  <a:moveTo>
                    <a:pt x="779" y="1955"/>
                  </a:moveTo>
                  <a:lnTo>
                    <a:pt x="781" y="1955"/>
                  </a:lnTo>
                  <a:lnTo>
                    <a:pt x="779" y="1955"/>
                  </a:lnTo>
                  <a:close/>
                  <a:moveTo>
                    <a:pt x="638" y="1955"/>
                  </a:moveTo>
                  <a:lnTo>
                    <a:pt x="636" y="1955"/>
                  </a:lnTo>
                  <a:lnTo>
                    <a:pt x="636" y="1954"/>
                  </a:lnTo>
                  <a:lnTo>
                    <a:pt x="638" y="1955"/>
                  </a:lnTo>
                  <a:close/>
                  <a:moveTo>
                    <a:pt x="640" y="1954"/>
                  </a:moveTo>
                  <a:lnTo>
                    <a:pt x="640" y="1955"/>
                  </a:lnTo>
                  <a:lnTo>
                    <a:pt x="638" y="1955"/>
                  </a:lnTo>
                  <a:lnTo>
                    <a:pt x="640" y="1954"/>
                  </a:lnTo>
                  <a:close/>
                  <a:moveTo>
                    <a:pt x="784" y="1954"/>
                  </a:moveTo>
                  <a:lnTo>
                    <a:pt x="786" y="1955"/>
                  </a:lnTo>
                  <a:lnTo>
                    <a:pt x="784" y="1955"/>
                  </a:lnTo>
                  <a:lnTo>
                    <a:pt x="784" y="1954"/>
                  </a:lnTo>
                  <a:close/>
                  <a:moveTo>
                    <a:pt x="788" y="1954"/>
                  </a:moveTo>
                  <a:lnTo>
                    <a:pt x="789" y="1954"/>
                  </a:lnTo>
                  <a:lnTo>
                    <a:pt x="788" y="1954"/>
                  </a:lnTo>
                  <a:close/>
                  <a:moveTo>
                    <a:pt x="646" y="1952"/>
                  </a:moveTo>
                  <a:lnTo>
                    <a:pt x="648" y="1952"/>
                  </a:lnTo>
                  <a:lnTo>
                    <a:pt x="648" y="1954"/>
                  </a:lnTo>
                  <a:lnTo>
                    <a:pt x="648" y="1955"/>
                  </a:lnTo>
                  <a:lnTo>
                    <a:pt x="646" y="1957"/>
                  </a:lnTo>
                  <a:lnTo>
                    <a:pt x="644" y="1957"/>
                  </a:lnTo>
                  <a:lnTo>
                    <a:pt x="646" y="1955"/>
                  </a:lnTo>
                  <a:lnTo>
                    <a:pt x="646" y="1954"/>
                  </a:lnTo>
                  <a:lnTo>
                    <a:pt x="646" y="1952"/>
                  </a:lnTo>
                  <a:close/>
                  <a:moveTo>
                    <a:pt x="646" y="1952"/>
                  </a:moveTo>
                  <a:lnTo>
                    <a:pt x="648" y="1952"/>
                  </a:lnTo>
                  <a:lnTo>
                    <a:pt x="646" y="1952"/>
                  </a:lnTo>
                  <a:close/>
                  <a:moveTo>
                    <a:pt x="640" y="1954"/>
                  </a:moveTo>
                  <a:lnTo>
                    <a:pt x="638" y="1955"/>
                  </a:lnTo>
                  <a:lnTo>
                    <a:pt x="638" y="1954"/>
                  </a:lnTo>
                  <a:lnTo>
                    <a:pt x="636" y="1954"/>
                  </a:lnTo>
                  <a:lnTo>
                    <a:pt x="636" y="1952"/>
                  </a:lnTo>
                  <a:lnTo>
                    <a:pt x="636" y="1954"/>
                  </a:lnTo>
                  <a:lnTo>
                    <a:pt x="635" y="1954"/>
                  </a:lnTo>
                  <a:lnTo>
                    <a:pt x="635" y="1952"/>
                  </a:lnTo>
                  <a:lnTo>
                    <a:pt x="635" y="1950"/>
                  </a:lnTo>
                  <a:lnTo>
                    <a:pt x="635" y="1952"/>
                  </a:lnTo>
                  <a:lnTo>
                    <a:pt x="636" y="1952"/>
                  </a:lnTo>
                  <a:lnTo>
                    <a:pt x="636" y="1950"/>
                  </a:lnTo>
                  <a:lnTo>
                    <a:pt x="636" y="1952"/>
                  </a:lnTo>
                  <a:lnTo>
                    <a:pt x="636" y="1950"/>
                  </a:lnTo>
                  <a:lnTo>
                    <a:pt x="636" y="1949"/>
                  </a:lnTo>
                  <a:lnTo>
                    <a:pt x="636" y="1950"/>
                  </a:lnTo>
                  <a:lnTo>
                    <a:pt x="638" y="1950"/>
                  </a:lnTo>
                  <a:lnTo>
                    <a:pt x="640" y="1950"/>
                  </a:lnTo>
                  <a:lnTo>
                    <a:pt x="643" y="1950"/>
                  </a:lnTo>
                  <a:lnTo>
                    <a:pt x="643" y="1952"/>
                  </a:lnTo>
                  <a:lnTo>
                    <a:pt x="644" y="1952"/>
                  </a:lnTo>
                  <a:lnTo>
                    <a:pt x="644" y="1954"/>
                  </a:lnTo>
                  <a:lnTo>
                    <a:pt x="644" y="1955"/>
                  </a:lnTo>
                  <a:lnTo>
                    <a:pt x="644" y="1957"/>
                  </a:lnTo>
                  <a:lnTo>
                    <a:pt x="643" y="1957"/>
                  </a:lnTo>
                  <a:lnTo>
                    <a:pt x="641" y="1957"/>
                  </a:lnTo>
                  <a:lnTo>
                    <a:pt x="640" y="1955"/>
                  </a:lnTo>
                  <a:lnTo>
                    <a:pt x="640" y="1954"/>
                  </a:lnTo>
                  <a:lnTo>
                    <a:pt x="641" y="1954"/>
                  </a:lnTo>
                  <a:lnTo>
                    <a:pt x="640" y="1954"/>
                  </a:lnTo>
                  <a:lnTo>
                    <a:pt x="640" y="1952"/>
                  </a:lnTo>
                  <a:lnTo>
                    <a:pt x="638" y="1952"/>
                  </a:lnTo>
                  <a:lnTo>
                    <a:pt x="640" y="1952"/>
                  </a:lnTo>
                  <a:lnTo>
                    <a:pt x="640" y="1954"/>
                  </a:lnTo>
                  <a:close/>
                  <a:moveTo>
                    <a:pt x="635" y="1950"/>
                  </a:moveTo>
                  <a:lnTo>
                    <a:pt x="635" y="1949"/>
                  </a:lnTo>
                  <a:lnTo>
                    <a:pt x="636" y="1950"/>
                  </a:lnTo>
                  <a:lnTo>
                    <a:pt x="635" y="1950"/>
                  </a:lnTo>
                  <a:close/>
                  <a:moveTo>
                    <a:pt x="791" y="1949"/>
                  </a:moveTo>
                  <a:lnTo>
                    <a:pt x="789" y="1949"/>
                  </a:lnTo>
                  <a:lnTo>
                    <a:pt x="791" y="1949"/>
                  </a:lnTo>
                  <a:close/>
                  <a:moveTo>
                    <a:pt x="646" y="1947"/>
                  </a:moveTo>
                  <a:lnTo>
                    <a:pt x="646" y="1949"/>
                  </a:lnTo>
                  <a:lnTo>
                    <a:pt x="646" y="1947"/>
                  </a:lnTo>
                  <a:close/>
                  <a:moveTo>
                    <a:pt x="792" y="1947"/>
                  </a:moveTo>
                  <a:lnTo>
                    <a:pt x="794" y="1945"/>
                  </a:lnTo>
                  <a:lnTo>
                    <a:pt x="794" y="1947"/>
                  </a:lnTo>
                  <a:lnTo>
                    <a:pt x="792" y="1947"/>
                  </a:lnTo>
                  <a:close/>
                  <a:moveTo>
                    <a:pt x="791" y="1945"/>
                  </a:moveTo>
                  <a:lnTo>
                    <a:pt x="792" y="1945"/>
                  </a:lnTo>
                  <a:lnTo>
                    <a:pt x="791" y="1945"/>
                  </a:lnTo>
                  <a:close/>
                  <a:moveTo>
                    <a:pt x="794" y="1944"/>
                  </a:moveTo>
                  <a:lnTo>
                    <a:pt x="794" y="1942"/>
                  </a:lnTo>
                  <a:lnTo>
                    <a:pt x="794" y="1944"/>
                  </a:lnTo>
                  <a:close/>
                  <a:moveTo>
                    <a:pt x="620" y="1941"/>
                  </a:moveTo>
                  <a:lnTo>
                    <a:pt x="620" y="1942"/>
                  </a:lnTo>
                  <a:lnTo>
                    <a:pt x="620" y="1941"/>
                  </a:lnTo>
                  <a:close/>
                  <a:moveTo>
                    <a:pt x="618" y="1941"/>
                  </a:moveTo>
                  <a:lnTo>
                    <a:pt x="620" y="1941"/>
                  </a:lnTo>
                  <a:lnTo>
                    <a:pt x="618" y="1941"/>
                  </a:lnTo>
                  <a:close/>
                  <a:moveTo>
                    <a:pt x="799" y="1941"/>
                  </a:moveTo>
                  <a:lnTo>
                    <a:pt x="799" y="1942"/>
                  </a:lnTo>
                  <a:lnTo>
                    <a:pt x="797" y="1942"/>
                  </a:lnTo>
                  <a:lnTo>
                    <a:pt x="799" y="1942"/>
                  </a:lnTo>
                  <a:lnTo>
                    <a:pt x="797" y="1942"/>
                  </a:lnTo>
                  <a:lnTo>
                    <a:pt x="797" y="1941"/>
                  </a:lnTo>
                  <a:lnTo>
                    <a:pt x="799" y="1941"/>
                  </a:lnTo>
                  <a:close/>
                  <a:moveTo>
                    <a:pt x="799" y="1942"/>
                  </a:moveTo>
                  <a:lnTo>
                    <a:pt x="801" y="1942"/>
                  </a:lnTo>
                  <a:lnTo>
                    <a:pt x="801" y="1941"/>
                  </a:lnTo>
                  <a:lnTo>
                    <a:pt x="801" y="1942"/>
                  </a:lnTo>
                  <a:lnTo>
                    <a:pt x="799" y="1942"/>
                  </a:lnTo>
                  <a:lnTo>
                    <a:pt x="799" y="1941"/>
                  </a:lnTo>
                  <a:lnTo>
                    <a:pt x="801" y="1941"/>
                  </a:lnTo>
                  <a:lnTo>
                    <a:pt x="799" y="1942"/>
                  </a:lnTo>
                  <a:close/>
                  <a:moveTo>
                    <a:pt x="804" y="1937"/>
                  </a:moveTo>
                  <a:lnTo>
                    <a:pt x="805" y="1937"/>
                  </a:lnTo>
                  <a:lnTo>
                    <a:pt x="804" y="1937"/>
                  </a:lnTo>
                  <a:close/>
                  <a:moveTo>
                    <a:pt x="804" y="1936"/>
                  </a:moveTo>
                  <a:lnTo>
                    <a:pt x="805" y="1936"/>
                  </a:lnTo>
                  <a:lnTo>
                    <a:pt x="804" y="1936"/>
                  </a:lnTo>
                  <a:close/>
                  <a:moveTo>
                    <a:pt x="809" y="1932"/>
                  </a:moveTo>
                  <a:lnTo>
                    <a:pt x="809" y="1934"/>
                  </a:lnTo>
                  <a:lnTo>
                    <a:pt x="809" y="1932"/>
                  </a:lnTo>
                  <a:lnTo>
                    <a:pt x="807" y="1932"/>
                  </a:lnTo>
                  <a:lnTo>
                    <a:pt x="809" y="1932"/>
                  </a:lnTo>
                  <a:close/>
                  <a:moveTo>
                    <a:pt x="804" y="1932"/>
                  </a:moveTo>
                  <a:lnTo>
                    <a:pt x="805" y="1932"/>
                  </a:lnTo>
                  <a:lnTo>
                    <a:pt x="804" y="1932"/>
                  </a:lnTo>
                  <a:close/>
                  <a:moveTo>
                    <a:pt x="804" y="1932"/>
                  </a:moveTo>
                  <a:lnTo>
                    <a:pt x="802" y="1932"/>
                  </a:lnTo>
                  <a:lnTo>
                    <a:pt x="804" y="1932"/>
                  </a:lnTo>
                  <a:close/>
                  <a:moveTo>
                    <a:pt x="805" y="1931"/>
                  </a:moveTo>
                  <a:lnTo>
                    <a:pt x="807" y="1931"/>
                  </a:lnTo>
                  <a:lnTo>
                    <a:pt x="805" y="1931"/>
                  </a:lnTo>
                  <a:close/>
                  <a:moveTo>
                    <a:pt x="810" y="1929"/>
                  </a:moveTo>
                  <a:lnTo>
                    <a:pt x="809" y="1929"/>
                  </a:lnTo>
                  <a:lnTo>
                    <a:pt x="810" y="1929"/>
                  </a:lnTo>
                  <a:close/>
                  <a:moveTo>
                    <a:pt x="810" y="1928"/>
                  </a:moveTo>
                  <a:lnTo>
                    <a:pt x="810" y="1929"/>
                  </a:lnTo>
                  <a:lnTo>
                    <a:pt x="810" y="1928"/>
                  </a:lnTo>
                  <a:close/>
                  <a:moveTo>
                    <a:pt x="592" y="1923"/>
                  </a:moveTo>
                  <a:lnTo>
                    <a:pt x="594" y="1924"/>
                  </a:lnTo>
                  <a:lnTo>
                    <a:pt x="592" y="1924"/>
                  </a:lnTo>
                  <a:lnTo>
                    <a:pt x="592" y="1923"/>
                  </a:lnTo>
                  <a:close/>
                  <a:moveTo>
                    <a:pt x="596" y="1923"/>
                  </a:moveTo>
                  <a:lnTo>
                    <a:pt x="596" y="1924"/>
                  </a:lnTo>
                  <a:lnTo>
                    <a:pt x="596" y="1923"/>
                  </a:lnTo>
                  <a:close/>
                  <a:moveTo>
                    <a:pt x="817" y="1923"/>
                  </a:moveTo>
                  <a:lnTo>
                    <a:pt x="817" y="1924"/>
                  </a:lnTo>
                  <a:lnTo>
                    <a:pt x="817" y="1923"/>
                  </a:lnTo>
                  <a:lnTo>
                    <a:pt x="819" y="1921"/>
                  </a:lnTo>
                  <a:lnTo>
                    <a:pt x="819" y="1923"/>
                  </a:lnTo>
                  <a:lnTo>
                    <a:pt x="817" y="1923"/>
                  </a:lnTo>
                  <a:close/>
                  <a:moveTo>
                    <a:pt x="820" y="1918"/>
                  </a:moveTo>
                  <a:lnTo>
                    <a:pt x="820" y="1919"/>
                  </a:lnTo>
                  <a:lnTo>
                    <a:pt x="819" y="1919"/>
                  </a:lnTo>
                  <a:lnTo>
                    <a:pt x="819" y="1921"/>
                  </a:lnTo>
                  <a:lnTo>
                    <a:pt x="817" y="1921"/>
                  </a:lnTo>
                  <a:lnTo>
                    <a:pt x="817" y="1923"/>
                  </a:lnTo>
                  <a:lnTo>
                    <a:pt x="815" y="1923"/>
                  </a:lnTo>
                  <a:lnTo>
                    <a:pt x="815" y="1924"/>
                  </a:lnTo>
                  <a:lnTo>
                    <a:pt x="817" y="1924"/>
                  </a:lnTo>
                  <a:lnTo>
                    <a:pt x="815" y="1926"/>
                  </a:lnTo>
                  <a:lnTo>
                    <a:pt x="814" y="1926"/>
                  </a:lnTo>
                  <a:lnTo>
                    <a:pt x="814" y="1928"/>
                  </a:lnTo>
                  <a:lnTo>
                    <a:pt x="812" y="1928"/>
                  </a:lnTo>
                  <a:lnTo>
                    <a:pt x="810" y="1928"/>
                  </a:lnTo>
                  <a:lnTo>
                    <a:pt x="812" y="1926"/>
                  </a:lnTo>
                  <a:lnTo>
                    <a:pt x="810" y="1926"/>
                  </a:lnTo>
                  <a:lnTo>
                    <a:pt x="810" y="1928"/>
                  </a:lnTo>
                  <a:lnTo>
                    <a:pt x="809" y="1928"/>
                  </a:lnTo>
                  <a:lnTo>
                    <a:pt x="809" y="1926"/>
                  </a:lnTo>
                  <a:lnTo>
                    <a:pt x="809" y="1924"/>
                  </a:lnTo>
                  <a:lnTo>
                    <a:pt x="807" y="1924"/>
                  </a:lnTo>
                  <a:lnTo>
                    <a:pt x="809" y="1924"/>
                  </a:lnTo>
                  <a:lnTo>
                    <a:pt x="810" y="1923"/>
                  </a:lnTo>
                  <a:lnTo>
                    <a:pt x="812" y="1923"/>
                  </a:lnTo>
                  <a:lnTo>
                    <a:pt x="812" y="1921"/>
                  </a:lnTo>
                  <a:lnTo>
                    <a:pt x="814" y="1921"/>
                  </a:lnTo>
                  <a:lnTo>
                    <a:pt x="815" y="1919"/>
                  </a:lnTo>
                  <a:lnTo>
                    <a:pt x="819" y="1918"/>
                  </a:lnTo>
                  <a:lnTo>
                    <a:pt x="820" y="1918"/>
                  </a:lnTo>
                  <a:close/>
                  <a:moveTo>
                    <a:pt x="589" y="1916"/>
                  </a:moveTo>
                  <a:lnTo>
                    <a:pt x="591" y="1916"/>
                  </a:lnTo>
                  <a:lnTo>
                    <a:pt x="589" y="1916"/>
                  </a:lnTo>
                  <a:close/>
                  <a:moveTo>
                    <a:pt x="822" y="1916"/>
                  </a:moveTo>
                  <a:lnTo>
                    <a:pt x="822" y="1915"/>
                  </a:lnTo>
                  <a:lnTo>
                    <a:pt x="822" y="1916"/>
                  </a:lnTo>
                  <a:close/>
                  <a:moveTo>
                    <a:pt x="589" y="1915"/>
                  </a:moveTo>
                  <a:lnTo>
                    <a:pt x="588" y="1915"/>
                  </a:lnTo>
                  <a:lnTo>
                    <a:pt x="589" y="1915"/>
                  </a:lnTo>
                  <a:close/>
                  <a:moveTo>
                    <a:pt x="586" y="1915"/>
                  </a:moveTo>
                  <a:lnTo>
                    <a:pt x="588" y="1915"/>
                  </a:lnTo>
                  <a:lnTo>
                    <a:pt x="586" y="1915"/>
                  </a:lnTo>
                  <a:close/>
                  <a:moveTo>
                    <a:pt x="581" y="1906"/>
                  </a:moveTo>
                  <a:lnTo>
                    <a:pt x="583" y="1906"/>
                  </a:lnTo>
                  <a:lnTo>
                    <a:pt x="581" y="1906"/>
                  </a:lnTo>
                  <a:close/>
                  <a:moveTo>
                    <a:pt x="823" y="1906"/>
                  </a:moveTo>
                  <a:lnTo>
                    <a:pt x="825" y="1906"/>
                  </a:lnTo>
                  <a:lnTo>
                    <a:pt x="823" y="1906"/>
                  </a:lnTo>
                  <a:close/>
                  <a:moveTo>
                    <a:pt x="576" y="1905"/>
                  </a:moveTo>
                  <a:lnTo>
                    <a:pt x="576" y="1906"/>
                  </a:lnTo>
                  <a:lnTo>
                    <a:pt x="576" y="1905"/>
                  </a:lnTo>
                  <a:close/>
                  <a:moveTo>
                    <a:pt x="830" y="1905"/>
                  </a:moveTo>
                  <a:lnTo>
                    <a:pt x="832" y="1905"/>
                  </a:lnTo>
                  <a:lnTo>
                    <a:pt x="830" y="1905"/>
                  </a:lnTo>
                  <a:lnTo>
                    <a:pt x="832" y="1905"/>
                  </a:lnTo>
                  <a:lnTo>
                    <a:pt x="830" y="1905"/>
                  </a:lnTo>
                  <a:lnTo>
                    <a:pt x="830" y="1906"/>
                  </a:lnTo>
                  <a:lnTo>
                    <a:pt x="830" y="1908"/>
                  </a:lnTo>
                  <a:lnTo>
                    <a:pt x="828" y="1908"/>
                  </a:lnTo>
                  <a:lnTo>
                    <a:pt x="830" y="1906"/>
                  </a:lnTo>
                  <a:lnTo>
                    <a:pt x="828" y="1908"/>
                  </a:lnTo>
                  <a:lnTo>
                    <a:pt x="827" y="1908"/>
                  </a:lnTo>
                  <a:lnTo>
                    <a:pt x="827" y="1906"/>
                  </a:lnTo>
                  <a:lnTo>
                    <a:pt x="827" y="1905"/>
                  </a:lnTo>
                  <a:lnTo>
                    <a:pt x="828" y="1905"/>
                  </a:lnTo>
                  <a:lnTo>
                    <a:pt x="830" y="1905"/>
                  </a:lnTo>
                  <a:close/>
                  <a:moveTo>
                    <a:pt x="828" y="1905"/>
                  </a:moveTo>
                  <a:lnTo>
                    <a:pt x="828" y="1903"/>
                  </a:lnTo>
                  <a:lnTo>
                    <a:pt x="828" y="1905"/>
                  </a:lnTo>
                  <a:close/>
                  <a:moveTo>
                    <a:pt x="832" y="1903"/>
                  </a:moveTo>
                  <a:lnTo>
                    <a:pt x="833" y="1903"/>
                  </a:lnTo>
                  <a:lnTo>
                    <a:pt x="832" y="1903"/>
                  </a:lnTo>
                  <a:close/>
                  <a:moveTo>
                    <a:pt x="833" y="1900"/>
                  </a:moveTo>
                  <a:lnTo>
                    <a:pt x="835" y="1898"/>
                  </a:lnTo>
                  <a:lnTo>
                    <a:pt x="835" y="1900"/>
                  </a:lnTo>
                  <a:lnTo>
                    <a:pt x="836" y="1900"/>
                  </a:lnTo>
                  <a:lnTo>
                    <a:pt x="835" y="1900"/>
                  </a:lnTo>
                  <a:lnTo>
                    <a:pt x="835" y="1902"/>
                  </a:lnTo>
                  <a:lnTo>
                    <a:pt x="835" y="1900"/>
                  </a:lnTo>
                  <a:lnTo>
                    <a:pt x="833" y="1900"/>
                  </a:lnTo>
                  <a:lnTo>
                    <a:pt x="835" y="1902"/>
                  </a:lnTo>
                  <a:lnTo>
                    <a:pt x="833" y="1902"/>
                  </a:lnTo>
                  <a:lnTo>
                    <a:pt x="835" y="1902"/>
                  </a:lnTo>
                  <a:lnTo>
                    <a:pt x="833" y="1902"/>
                  </a:lnTo>
                  <a:lnTo>
                    <a:pt x="833" y="1903"/>
                  </a:lnTo>
                  <a:lnTo>
                    <a:pt x="832" y="1903"/>
                  </a:lnTo>
                  <a:lnTo>
                    <a:pt x="830" y="1903"/>
                  </a:lnTo>
                  <a:lnTo>
                    <a:pt x="828" y="1903"/>
                  </a:lnTo>
                  <a:lnTo>
                    <a:pt x="830" y="1903"/>
                  </a:lnTo>
                  <a:lnTo>
                    <a:pt x="830" y="1902"/>
                  </a:lnTo>
                  <a:lnTo>
                    <a:pt x="832" y="1902"/>
                  </a:lnTo>
                  <a:lnTo>
                    <a:pt x="833" y="1900"/>
                  </a:lnTo>
                  <a:close/>
                  <a:moveTo>
                    <a:pt x="836" y="1898"/>
                  </a:moveTo>
                  <a:lnTo>
                    <a:pt x="836" y="1900"/>
                  </a:lnTo>
                  <a:lnTo>
                    <a:pt x="836" y="1898"/>
                  </a:lnTo>
                  <a:close/>
                  <a:moveTo>
                    <a:pt x="838" y="1898"/>
                  </a:moveTo>
                  <a:lnTo>
                    <a:pt x="836" y="1898"/>
                  </a:lnTo>
                  <a:lnTo>
                    <a:pt x="838" y="1898"/>
                  </a:lnTo>
                  <a:close/>
                  <a:moveTo>
                    <a:pt x="838" y="1892"/>
                  </a:moveTo>
                  <a:lnTo>
                    <a:pt x="838" y="1890"/>
                  </a:lnTo>
                  <a:lnTo>
                    <a:pt x="838" y="1892"/>
                  </a:lnTo>
                  <a:close/>
                  <a:moveTo>
                    <a:pt x="840" y="1890"/>
                  </a:moveTo>
                  <a:lnTo>
                    <a:pt x="841" y="1890"/>
                  </a:lnTo>
                  <a:lnTo>
                    <a:pt x="841" y="1892"/>
                  </a:lnTo>
                  <a:lnTo>
                    <a:pt x="840" y="1890"/>
                  </a:lnTo>
                  <a:close/>
                  <a:moveTo>
                    <a:pt x="843" y="1890"/>
                  </a:moveTo>
                  <a:lnTo>
                    <a:pt x="843" y="1889"/>
                  </a:lnTo>
                  <a:lnTo>
                    <a:pt x="843" y="1890"/>
                  </a:lnTo>
                  <a:close/>
                  <a:moveTo>
                    <a:pt x="846" y="1887"/>
                  </a:moveTo>
                  <a:lnTo>
                    <a:pt x="845" y="1887"/>
                  </a:lnTo>
                  <a:lnTo>
                    <a:pt x="845" y="1889"/>
                  </a:lnTo>
                  <a:lnTo>
                    <a:pt x="843" y="1889"/>
                  </a:lnTo>
                  <a:lnTo>
                    <a:pt x="843" y="1887"/>
                  </a:lnTo>
                  <a:lnTo>
                    <a:pt x="845" y="1887"/>
                  </a:lnTo>
                  <a:lnTo>
                    <a:pt x="845" y="1885"/>
                  </a:lnTo>
                  <a:lnTo>
                    <a:pt x="846" y="1885"/>
                  </a:lnTo>
                  <a:lnTo>
                    <a:pt x="846" y="1887"/>
                  </a:lnTo>
                  <a:close/>
                  <a:moveTo>
                    <a:pt x="848" y="1885"/>
                  </a:moveTo>
                  <a:lnTo>
                    <a:pt x="848" y="1887"/>
                  </a:lnTo>
                  <a:lnTo>
                    <a:pt x="846" y="1887"/>
                  </a:lnTo>
                  <a:lnTo>
                    <a:pt x="846" y="1885"/>
                  </a:lnTo>
                  <a:lnTo>
                    <a:pt x="846" y="1887"/>
                  </a:lnTo>
                  <a:lnTo>
                    <a:pt x="846" y="1885"/>
                  </a:lnTo>
                  <a:lnTo>
                    <a:pt x="848" y="1885"/>
                  </a:lnTo>
                  <a:lnTo>
                    <a:pt x="849" y="1885"/>
                  </a:lnTo>
                  <a:lnTo>
                    <a:pt x="848" y="1885"/>
                  </a:lnTo>
                  <a:close/>
                  <a:moveTo>
                    <a:pt x="849" y="1885"/>
                  </a:moveTo>
                  <a:lnTo>
                    <a:pt x="848" y="1885"/>
                  </a:lnTo>
                  <a:lnTo>
                    <a:pt x="849" y="1885"/>
                  </a:lnTo>
                  <a:close/>
                  <a:moveTo>
                    <a:pt x="862" y="1872"/>
                  </a:moveTo>
                  <a:lnTo>
                    <a:pt x="861" y="1872"/>
                  </a:lnTo>
                  <a:lnTo>
                    <a:pt x="861" y="1871"/>
                  </a:lnTo>
                  <a:lnTo>
                    <a:pt x="862" y="1871"/>
                  </a:lnTo>
                  <a:lnTo>
                    <a:pt x="862" y="1872"/>
                  </a:lnTo>
                  <a:close/>
                  <a:moveTo>
                    <a:pt x="864" y="1871"/>
                  </a:moveTo>
                  <a:lnTo>
                    <a:pt x="864" y="1872"/>
                  </a:lnTo>
                  <a:lnTo>
                    <a:pt x="864" y="1871"/>
                  </a:lnTo>
                  <a:close/>
                  <a:moveTo>
                    <a:pt x="862" y="1871"/>
                  </a:moveTo>
                  <a:lnTo>
                    <a:pt x="864" y="1871"/>
                  </a:lnTo>
                  <a:lnTo>
                    <a:pt x="862" y="1871"/>
                  </a:lnTo>
                  <a:close/>
                  <a:moveTo>
                    <a:pt x="861" y="1869"/>
                  </a:moveTo>
                  <a:lnTo>
                    <a:pt x="862" y="1869"/>
                  </a:lnTo>
                  <a:lnTo>
                    <a:pt x="861" y="1869"/>
                  </a:lnTo>
                  <a:close/>
                  <a:moveTo>
                    <a:pt x="849" y="1867"/>
                  </a:moveTo>
                  <a:lnTo>
                    <a:pt x="849" y="1869"/>
                  </a:lnTo>
                  <a:lnTo>
                    <a:pt x="849" y="1867"/>
                  </a:lnTo>
                  <a:close/>
                  <a:moveTo>
                    <a:pt x="848" y="1867"/>
                  </a:moveTo>
                  <a:lnTo>
                    <a:pt x="849" y="1867"/>
                  </a:lnTo>
                  <a:lnTo>
                    <a:pt x="848" y="1867"/>
                  </a:lnTo>
                  <a:close/>
                  <a:moveTo>
                    <a:pt x="853" y="1867"/>
                  </a:moveTo>
                  <a:lnTo>
                    <a:pt x="854" y="1867"/>
                  </a:lnTo>
                  <a:lnTo>
                    <a:pt x="856" y="1867"/>
                  </a:lnTo>
                  <a:lnTo>
                    <a:pt x="854" y="1869"/>
                  </a:lnTo>
                  <a:lnTo>
                    <a:pt x="853" y="1869"/>
                  </a:lnTo>
                  <a:lnTo>
                    <a:pt x="853" y="1867"/>
                  </a:lnTo>
                  <a:lnTo>
                    <a:pt x="854" y="1867"/>
                  </a:lnTo>
                  <a:lnTo>
                    <a:pt x="853" y="1867"/>
                  </a:lnTo>
                  <a:close/>
                  <a:moveTo>
                    <a:pt x="854" y="1867"/>
                  </a:moveTo>
                  <a:lnTo>
                    <a:pt x="856" y="1867"/>
                  </a:lnTo>
                  <a:lnTo>
                    <a:pt x="854" y="1867"/>
                  </a:lnTo>
                  <a:close/>
                  <a:moveTo>
                    <a:pt x="848" y="1866"/>
                  </a:moveTo>
                  <a:lnTo>
                    <a:pt x="849" y="1866"/>
                  </a:lnTo>
                  <a:lnTo>
                    <a:pt x="849" y="1867"/>
                  </a:lnTo>
                  <a:lnTo>
                    <a:pt x="848" y="1867"/>
                  </a:lnTo>
                  <a:lnTo>
                    <a:pt x="848" y="1866"/>
                  </a:lnTo>
                  <a:close/>
                  <a:moveTo>
                    <a:pt x="858" y="1864"/>
                  </a:moveTo>
                  <a:lnTo>
                    <a:pt x="859" y="1864"/>
                  </a:lnTo>
                  <a:lnTo>
                    <a:pt x="861" y="1864"/>
                  </a:lnTo>
                  <a:lnTo>
                    <a:pt x="861" y="1866"/>
                  </a:lnTo>
                  <a:lnTo>
                    <a:pt x="862" y="1866"/>
                  </a:lnTo>
                  <a:lnTo>
                    <a:pt x="861" y="1866"/>
                  </a:lnTo>
                  <a:lnTo>
                    <a:pt x="862" y="1866"/>
                  </a:lnTo>
                  <a:lnTo>
                    <a:pt x="864" y="1864"/>
                  </a:lnTo>
                  <a:lnTo>
                    <a:pt x="864" y="1866"/>
                  </a:lnTo>
                  <a:lnTo>
                    <a:pt x="864" y="1867"/>
                  </a:lnTo>
                  <a:lnTo>
                    <a:pt x="866" y="1867"/>
                  </a:lnTo>
                  <a:lnTo>
                    <a:pt x="867" y="1866"/>
                  </a:lnTo>
                  <a:lnTo>
                    <a:pt x="866" y="1867"/>
                  </a:lnTo>
                  <a:lnTo>
                    <a:pt x="867" y="1867"/>
                  </a:lnTo>
                  <a:lnTo>
                    <a:pt x="866" y="1867"/>
                  </a:lnTo>
                  <a:lnTo>
                    <a:pt x="864" y="1869"/>
                  </a:lnTo>
                  <a:lnTo>
                    <a:pt x="866" y="1869"/>
                  </a:lnTo>
                  <a:lnTo>
                    <a:pt x="864" y="1869"/>
                  </a:lnTo>
                  <a:lnTo>
                    <a:pt x="864" y="1871"/>
                  </a:lnTo>
                  <a:lnTo>
                    <a:pt x="862" y="1871"/>
                  </a:lnTo>
                  <a:lnTo>
                    <a:pt x="862" y="1869"/>
                  </a:lnTo>
                  <a:lnTo>
                    <a:pt x="864" y="1869"/>
                  </a:lnTo>
                  <a:lnTo>
                    <a:pt x="862" y="1869"/>
                  </a:lnTo>
                  <a:lnTo>
                    <a:pt x="861" y="1869"/>
                  </a:lnTo>
                  <a:lnTo>
                    <a:pt x="861" y="1871"/>
                  </a:lnTo>
                  <a:lnTo>
                    <a:pt x="862" y="1871"/>
                  </a:lnTo>
                  <a:lnTo>
                    <a:pt x="861" y="1871"/>
                  </a:lnTo>
                  <a:lnTo>
                    <a:pt x="859" y="1869"/>
                  </a:lnTo>
                  <a:lnTo>
                    <a:pt x="858" y="1867"/>
                  </a:lnTo>
                  <a:lnTo>
                    <a:pt x="858" y="1869"/>
                  </a:lnTo>
                  <a:lnTo>
                    <a:pt x="858" y="1867"/>
                  </a:lnTo>
                  <a:lnTo>
                    <a:pt x="859" y="1867"/>
                  </a:lnTo>
                  <a:lnTo>
                    <a:pt x="861" y="1867"/>
                  </a:lnTo>
                  <a:lnTo>
                    <a:pt x="861" y="1866"/>
                  </a:lnTo>
                  <a:lnTo>
                    <a:pt x="859" y="1866"/>
                  </a:lnTo>
                  <a:lnTo>
                    <a:pt x="858" y="1867"/>
                  </a:lnTo>
                  <a:lnTo>
                    <a:pt x="858" y="1866"/>
                  </a:lnTo>
                  <a:lnTo>
                    <a:pt x="858" y="1864"/>
                  </a:lnTo>
                  <a:close/>
                  <a:moveTo>
                    <a:pt x="866" y="1871"/>
                  </a:moveTo>
                  <a:lnTo>
                    <a:pt x="866" y="1872"/>
                  </a:lnTo>
                  <a:lnTo>
                    <a:pt x="867" y="1871"/>
                  </a:lnTo>
                  <a:lnTo>
                    <a:pt x="867" y="1869"/>
                  </a:lnTo>
                  <a:lnTo>
                    <a:pt x="867" y="1867"/>
                  </a:lnTo>
                  <a:lnTo>
                    <a:pt x="869" y="1867"/>
                  </a:lnTo>
                  <a:lnTo>
                    <a:pt x="869" y="1866"/>
                  </a:lnTo>
                  <a:lnTo>
                    <a:pt x="871" y="1866"/>
                  </a:lnTo>
                  <a:lnTo>
                    <a:pt x="871" y="1864"/>
                  </a:lnTo>
                  <a:lnTo>
                    <a:pt x="871" y="1866"/>
                  </a:lnTo>
                  <a:lnTo>
                    <a:pt x="871" y="1867"/>
                  </a:lnTo>
                  <a:lnTo>
                    <a:pt x="869" y="1867"/>
                  </a:lnTo>
                  <a:lnTo>
                    <a:pt x="869" y="1869"/>
                  </a:lnTo>
                  <a:lnTo>
                    <a:pt x="867" y="1871"/>
                  </a:lnTo>
                  <a:lnTo>
                    <a:pt x="866" y="1871"/>
                  </a:lnTo>
                  <a:close/>
                  <a:moveTo>
                    <a:pt x="867" y="1861"/>
                  </a:moveTo>
                  <a:lnTo>
                    <a:pt x="869" y="1861"/>
                  </a:lnTo>
                  <a:lnTo>
                    <a:pt x="867" y="1861"/>
                  </a:lnTo>
                  <a:close/>
                  <a:moveTo>
                    <a:pt x="874" y="1861"/>
                  </a:moveTo>
                  <a:lnTo>
                    <a:pt x="875" y="1861"/>
                  </a:lnTo>
                  <a:lnTo>
                    <a:pt x="874" y="1861"/>
                  </a:lnTo>
                  <a:lnTo>
                    <a:pt x="874" y="1863"/>
                  </a:lnTo>
                  <a:lnTo>
                    <a:pt x="872" y="1863"/>
                  </a:lnTo>
                  <a:lnTo>
                    <a:pt x="872" y="1861"/>
                  </a:lnTo>
                  <a:lnTo>
                    <a:pt x="874" y="1861"/>
                  </a:lnTo>
                  <a:close/>
                  <a:moveTo>
                    <a:pt x="869" y="1863"/>
                  </a:moveTo>
                  <a:lnTo>
                    <a:pt x="869" y="1864"/>
                  </a:lnTo>
                  <a:lnTo>
                    <a:pt x="869" y="1863"/>
                  </a:lnTo>
                  <a:lnTo>
                    <a:pt x="867" y="1863"/>
                  </a:lnTo>
                  <a:lnTo>
                    <a:pt x="869" y="1863"/>
                  </a:lnTo>
                  <a:lnTo>
                    <a:pt x="869" y="1861"/>
                  </a:lnTo>
                  <a:lnTo>
                    <a:pt x="871" y="1861"/>
                  </a:lnTo>
                  <a:lnTo>
                    <a:pt x="869" y="1861"/>
                  </a:lnTo>
                  <a:lnTo>
                    <a:pt x="869" y="1863"/>
                  </a:lnTo>
                  <a:close/>
                  <a:moveTo>
                    <a:pt x="871" y="1859"/>
                  </a:moveTo>
                  <a:lnTo>
                    <a:pt x="872" y="1859"/>
                  </a:lnTo>
                  <a:lnTo>
                    <a:pt x="871" y="1859"/>
                  </a:lnTo>
                  <a:close/>
                  <a:moveTo>
                    <a:pt x="877" y="1859"/>
                  </a:moveTo>
                  <a:lnTo>
                    <a:pt x="877" y="1858"/>
                  </a:lnTo>
                  <a:lnTo>
                    <a:pt x="877" y="1859"/>
                  </a:lnTo>
                  <a:close/>
                  <a:moveTo>
                    <a:pt x="872" y="1858"/>
                  </a:moveTo>
                  <a:lnTo>
                    <a:pt x="872" y="1859"/>
                  </a:lnTo>
                  <a:lnTo>
                    <a:pt x="872" y="1858"/>
                  </a:lnTo>
                  <a:close/>
                  <a:moveTo>
                    <a:pt x="866" y="1858"/>
                  </a:moveTo>
                  <a:lnTo>
                    <a:pt x="867" y="1858"/>
                  </a:lnTo>
                  <a:lnTo>
                    <a:pt x="867" y="1859"/>
                  </a:lnTo>
                  <a:lnTo>
                    <a:pt x="869" y="1859"/>
                  </a:lnTo>
                  <a:lnTo>
                    <a:pt x="867" y="1859"/>
                  </a:lnTo>
                  <a:lnTo>
                    <a:pt x="866" y="1858"/>
                  </a:lnTo>
                  <a:close/>
                  <a:moveTo>
                    <a:pt x="864" y="1858"/>
                  </a:moveTo>
                  <a:lnTo>
                    <a:pt x="866" y="1858"/>
                  </a:lnTo>
                  <a:lnTo>
                    <a:pt x="866" y="1859"/>
                  </a:lnTo>
                  <a:lnTo>
                    <a:pt x="864" y="1859"/>
                  </a:lnTo>
                  <a:lnTo>
                    <a:pt x="864" y="1858"/>
                  </a:lnTo>
                  <a:close/>
                  <a:moveTo>
                    <a:pt x="866" y="1858"/>
                  </a:moveTo>
                  <a:lnTo>
                    <a:pt x="866" y="1859"/>
                  </a:lnTo>
                  <a:lnTo>
                    <a:pt x="866" y="1858"/>
                  </a:lnTo>
                  <a:close/>
                  <a:moveTo>
                    <a:pt x="890" y="1854"/>
                  </a:moveTo>
                  <a:lnTo>
                    <a:pt x="890" y="1856"/>
                  </a:lnTo>
                  <a:lnTo>
                    <a:pt x="890" y="1854"/>
                  </a:lnTo>
                  <a:close/>
                  <a:moveTo>
                    <a:pt x="892" y="1854"/>
                  </a:moveTo>
                  <a:lnTo>
                    <a:pt x="892" y="1856"/>
                  </a:lnTo>
                  <a:lnTo>
                    <a:pt x="892" y="1854"/>
                  </a:lnTo>
                  <a:close/>
                  <a:moveTo>
                    <a:pt x="872" y="1856"/>
                  </a:moveTo>
                  <a:lnTo>
                    <a:pt x="874" y="1854"/>
                  </a:lnTo>
                  <a:lnTo>
                    <a:pt x="874" y="1856"/>
                  </a:lnTo>
                  <a:lnTo>
                    <a:pt x="872" y="1856"/>
                  </a:lnTo>
                  <a:close/>
                  <a:moveTo>
                    <a:pt x="888" y="1854"/>
                  </a:moveTo>
                  <a:lnTo>
                    <a:pt x="890" y="1854"/>
                  </a:lnTo>
                  <a:lnTo>
                    <a:pt x="888" y="1854"/>
                  </a:lnTo>
                  <a:close/>
                  <a:moveTo>
                    <a:pt x="890" y="1854"/>
                  </a:moveTo>
                  <a:lnTo>
                    <a:pt x="890" y="1853"/>
                  </a:lnTo>
                  <a:lnTo>
                    <a:pt x="890" y="1854"/>
                  </a:lnTo>
                  <a:close/>
                  <a:moveTo>
                    <a:pt x="890" y="1853"/>
                  </a:moveTo>
                  <a:lnTo>
                    <a:pt x="892" y="1853"/>
                  </a:lnTo>
                  <a:lnTo>
                    <a:pt x="892" y="1854"/>
                  </a:lnTo>
                  <a:lnTo>
                    <a:pt x="890" y="1853"/>
                  </a:lnTo>
                  <a:close/>
                  <a:moveTo>
                    <a:pt x="965" y="1853"/>
                  </a:moveTo>
                  <a:lnTo>
                    <a:pt x="965" y="1854"/>
                  </a:lnTo>
                  <a:lnTo>
                    <a:pt x="965" y="1853"/>
                  </a:lnTo>
                  <a:close/>
                  <a:moveTo>
                    <a:pt x="560" y="1854"/>
                  </a:moveTo>
                  <a:lnTo>
                    <a:pt x="560" y="1853"/>
                  </a:lnTo>
                  <a:lnTo>
                    <a:pt x="560" y="1854"/>
                  </a:lnTo>
                  <a:close/>
                  <a:moveTo>
                    <a:pt x="562" y="1853"/>
                  </a:moveTo>
                  <a:lnTo>
                    <a:pt x="560" y="1853"/>
                  </a:lnTo>
                  <a:lnTo>
                    <a:pt x="562" y="1853"/>
                  </a:lnTo>
                  <a:close/>
                  <a:moveTo>
                    <a:pt x="879" y="1853"/>
                  </a:moveTo>
                  <a:lnTo>
                    <a:pt x="877" y="1853"/>
                  </a:lnTo>
                  <a:lnTo>
                    <a:pt x="877" y="1851"/>
                  </a:lnTo>
                  <a:lnTo>
                    <a:pt x="879" y="1851"/>
                  </a:lnTo>
                  <a:lnTo>
                    <a:pt x="879" y="1853"/>
                  </a:lnTo>
                  <a:close/>
                  <a:moveTo>
                    <a:pt x="910" y="1851"/>
                  </a:moveTo>
                  <a:lnTo>
                    <a:pt x="911" y="1851"/>
                  </a:lnTo>
                  <a:lnTo>
                    <a:pt x="910" y="1851"/>
                  </a:lnTo>
                  <a:lnTo>
                    <a:pt x="911" y="1851"/>
                  </a:lnTo>
                  <a:lnTo>
                    <a:pt x="911" y="1853"/>
                  </a:lnTo>
                  <a:lnTo>
                    <a:pt x="910" y="1853"/>
                  </a:lnTo>
                  <a:lnTo>
                    <a:pt x="910" y="1851"/>
                  </a:lnTo>
                  <a:close/>
                  <a:moveTo>
                    <a:pt x="918" y="1851"/>
                  </a:moveTo>
                  <a:lnTo>
                    <a:pt x="916" y="1851"/>
                  </a:lnTo>
                  <a:lnTo>
                    <a:pt x="916" y="1850"/>
                  </a:lnTo>
                  <a:lnTo>
                    <a:pt x="918" y="1851"/>
                  </a:lnTo>
                  <a:close/>
                  <a:moveTo>
                    <a:pt x="916" y="1851"/>
                  </a:moveTo>
                  <a:lnTo>
                    <a:pt x="916" y="1850"/>
                  </a:lnTo>
                  <a:lnTo>
                    <a:pt x="916" y="1851"/>
                  </a:lnTo>
                  <a:close/>
                  <a:moveTo>
                    <a:pt x="601" y="1850"/>
                  </a:moveTo>
                  <a:lnTo>
                    <a:pt x="602" y="1851"/>
                  </a:lnTo>
                  <a:lnTo>
                    <a:pt x="602" y="1850"/>
                  </a:lnTo>
                  <a:lnTo>
                    <a:pt x="604" y="1851"/>
                  </a:lnTo>
                  <a:lnTo>
                    <a:pt x="604" y="1853"/>
                  </a:lnTo>
                  <a:lnTo>
                    <a:pt x="602" y="1853"/>
                  </a:lnTo>
                  <a:lnTo>
                    <a:pt x="602" y="1851"/>
                  </a:lnTo>
                  <a:lnTo>
                    <a:pt x="601" y="1851"/>
                  </a:lnTo>
                  <a:lnTo>
                    <a:pt x="601" y="1850"/>
                  </a:lnTo>
                  <a:close/>
                  <a:moveTo>
                    <a:pt x="970" y="1850"/>
                  </a:moveTo>
                  <a:lnTo>
                    <a:pt x="971" y="1850"/>
                  </a:lnTo>
                  <a:lnTo>
                    <a:pt x="971" y="1851"/>
                  </a:lnTo>
                  <a:lnTo>
                    <a:pt x="970" y="1851"/>
                  </a:lnTo>
                  <a:lnTo>
                    <a:pt x="970" y="1850"/>
                  </a:lnTo>
                  <a:close/>
                  <a:moveTo>
                    <a:pt x="968" y="1850"/>
                  </a:moveTo>
                  <a:lnTo>
                    <a:pt x="968" y="1848"/>
                  </a:lnTo>
                  <a:lnTo>
                    <a:pt x="968" y="1850"/>
                  </a:lnTo>
                  <a:close/>
                  <a:moveTo>
                    <a:pt x="978" y="1850"/>
                  </a:moveTo>
                  <a:lnTo>
                    <a:pt x="978" y="1848"/>
                  </a:lnTo>
                  <a:lnTo>
                    <a:pt x="978" y="1850"/>
                  </a:lnTo>
                  <a:lnTo>
                    <a:pt x="980" y="1848"/>
                  </a:lnTo>
                  <a:lnTo>
                    <a:pt x="980" y="1850"/>
                  </a:lnTo>
                  <a:lnTo>
                    <a:pt x="978" y="1850"/>
                  </a:lnTo>
                  <a:close/>
                  <a:moveTo>
                    <a:pt x="570" y="1848"/>
                  </a:moveTo>
                  <a:lnTo>
                    <a:pt x="570" y="1850"/>
                  </a:lnTo>
                  <a:lnTo>
                    <a:pt x="570" y="1848"/>
                  </a:lnTo>
                  <a:close/>
                  <a:moveTo>
                    <a:pt x="566" y="1848"/>
                  </a:moveTo>
                  <a:lnTo>
                    <a:pt x="566" y="1850"/>
                  </a:lnTo>
                  <a:lnTo>
                    <a:pt x="565" y="1850"/>
                  </a:lnTo>
                  <a:lnTo>
                    <a:pt x="565" y="1848"/>
                  </a:lnTo>
                  <a:lnTo>
                    <a:pt x="565" y="1850"/>
                  </a:lnTo>
                  <a:lnTo>
                    <a:pt x="566" y="1850"/>
                  </a:lnTo>
                  <a:lnTo>
                    <a:pt x="565" y="1848"/>
                  </a:lnTo>
                  <a:lnTo>
                    <a:pt x="566" y="1848"/>
                  </a:lnTo>
                  <a:close/>
                  <a:moveTo>
                    <a:pt x="905" y="1850"/>
                  </a:moveTo>
                  <a:lnTo>
                    <a:pt x="903" y="1850"/>
                  </a:lnTo>
                  <a:lnTo>
                    <a:pt x="903" y="1848"/>
                  </a:lnTo>
                  <a:lnTo>
                    <a:pt x="905" y="1848"/>
                  </a:lnTo>
                  <a:lnTo>
                    <a:pt x="905" y="1850"/>
                  </a:lnTo>
                  <a:close/>
                  <a:moveTo>
                    <a:pt x="884" y="1848"/>
                  </a:moveTo>
                  <a:lnTo>
                    <a:pt x="884" y="1850"/>
                  </a:lnTo>
                  <a:lnTo>
                    <a:pt x="884" y="1848"/>
                  </a:lnTo>
                  <a:lnTo>
                    <a:pt x="882" y="1846"/>
                  </a:lnTo>
                  <a:lnTo>
                    <a:pt x="884" y="1846"/>
                  </a:lnTo>
                  <a:lnTo>
                    <a:pt x="884" y="1848"/>
                  </a:lnTo>
                  <a:close/>
                  <a:moveTo>
                    <a:pt x="976" y="1848"/>
                  </a:moveTo>
                  <a:lnTo>
                    <a:pt x="976" y="1846"/>
                  </a:lnTo>
                  <a:lnTo>
                    <a:pt x="976" y="1848"/>
                  </a:lnTo>
                  <a:close/>
                  <a:moveTo>
                    <a:pt x="882" y="1848"/>
                  </a:moveTo>
                  <a:lnTo>
                    <a:pt x="882" y="1850"/>
                  </a:lnTo>
                  <a:lnTo>
                    <a:pt x="882" y="1846"/>
                  </a:lnTo>
                  <a:lnTo>
                    <a:pt x="882" y="1848"/>
                  </a:lnTo>
                  <a:close/>
                  <a:moveTo>
                    <a:pt x="976" y="1846"/>
                  </a:moveTo>
                  <a:lnTo>
                    <a:pt x="978" y="1846"/>
                  </a:lnTo>
                  <a:lnTo>
                    <a:pt x="978" y="1848"/>
                  </a:lnTo>
                  <a:lnTo>
                    <a:pt x="978" y="1850"/>
                  </a:lnTo>
                  <a:lnTo>
                    <a:pt x="978" y="1848"/>
                  </a:lnTo>
                  <a:lnTo>
                    <a:pt x="976" y="1848"/>
                  </a:lnTo>
                  <a:lnTo>
                    <a:pt x="978" y="1848"/>
                  </a:lnTo>
                  <a:lnTo>
                    <a:pt x="976" y="1848"/>
                  </a:lnTo>
                  <a:lnTo>
                    <a:pt x="976" y="1846"/>
                  </a:lnTo>
                  <a:close/>
                  <a:moveTo>
                    <a:pt x="908" y="1846"/>
                  </a:moveTo>
                  <a:lnTo>
                    <a:pt x="910" y="1846"/>
                  </a:lnTo>
                  <a:lnTo>
                    <a:pt x="908" y="1846"/>
                  </a:lnTo>
                  <a:close/>
                  <a:moveTo>
                    <a:pt x="884" y="1845"/>
                  </a:moveTo>
                  <a:lnTo>
                    <a:pt x="885" y="1846"/>
                  </a:lnTo>
                  <a:lnTo>
                    <a:pt x="885" y="1848"/>
                  </a:lnTo>
                  <a:lnTo>
                    <a:pt x="885" y="1846"/>
                  </a:lnTo>
                  <a:lnTo>
                    <a:pt x="887" y="1848"/>
                  </a:lnTo>
                  <a:lnTo>
                    <a:pt x="885" y="1848"/>
                  </a:lnTo>
                  <a:lnTo>
                    <a:pt x="885" y="1850"/>
                  </a:lnTo>
                  <a:lnTo>
                    <a:pt x="884" y="1848"/>
                  </a:lnTo>
                  <a:lnTo>
                    <a:pt x="885" y="1848"/>
                  </a:lnTo>
                  <a:lnTo>
                    <a:pt x="885" y="1846"/>
                  </a:lnTo>
                  <a:lnTo>
                    <a:pt x="884" y="1846"/>
                  </a:lnTo>
                  <a:lnTo>
                    <a:pt x="884" y="1845"/>
                  </a:lnTo>
                  <a:close/>
                  <a:moveTo>
                    <a:pt x="975" y="1846"/>
                  </a:moveTo>
                  <a:lnTo>
                    <a:pt x="975" y="1845"/>
                  </a:lnTo>
                  <a:lnTo>
                    <a:pt x="975" y="1846"/>
                  </a:lnTo>
                  <a:close/>
                  <a:moveTo>
                    <a:pt x="978" y="1846"/>
                  </a:moveTo>
                  <a:lnTo>
                    <a:pt x="976" y="1846"/>
                  </a:lnTo>
                  <a:lnTo>
                    <a:pt x="976" y="1845"/>
                  </a:lnTo>
                  <a:lnTo>
                    <a:pt x="978" y="1845"/>
                  </a:lnTo>
                  <a:lnTo>
                    <a:pt x="978" y="1846"/>
                  </a:lnTo>
                  <a:close/>
                  <a:moveTo>
                    <a:pt x="908" y="1845"/>
                  </a:moveTo>
                  <a:lnTo>
                    <a:pt x="908" y="1846"/>
                  </a:lnTo>
                  <a:lnTo>
                    <a:pt x="908" y="1845"/>
                  </a:lnTo>
                  <a:lnTo>
                    <a:pt x="908" y="1846"/>
                  </a:lnTo>
                  <a:lnTo>
                    <a:pt x="908" y="1848"/>
                  </a:lnTo>
                  <a:lnTo>
                    <a:pt x="906" y="1848"/>
                  </a:lnTo>
                  <a:lnTo>
                    <a:pt x="906" y="1846"/>
                  </a:lnTo>
                  <a:lnTo>
                    <a:pt x="906" y="1845"/>
                  </a:lnTo>
                  <a:lnTo>
                    <a:pt x="908" y="1845"/>
                  </a:lnTo>
                  <a:close/>
                  <a:moveTo>
                    <a:pt x="563" y="1845"/>
                  </a:moveTo>
                  <a:lnTo>
                    <a:pt x="565" y="1845"/>
                  </a:lnTo>
                  <a:lnTo>
                    <a:pt x="563" y="1845"/>
                  </a:lnTo>
                  <a:close/>
                  <a:moveTo>
                    <a:pt x="908" y="1845"/>
                  </a:moveTo>
                  <a:lnTo>
                    <a:pt x="910" y="1845"/>
                  </a:lnTo>
                  <a:lnTo>
                    <a:pt x="908" y="1845"/>
                  </a:lnTo>
                  <a:close/>
                  <a:moveTo>
                    <a:pt x="563" y="1845"/>
                  </a:moveTo>
                  <a:lnTo>
                    <a:pt x="562" y="1845"/>
                  </a:lnTo>
                  <a:lnTo>
                    <a:pt x="563" y="1845"/>
                  </a:lnTo>
                  <a:close/>
                  <a:moveTo>
                    <a:pt x="562" y="1845"/>
                  </a:moveTo>
                  <a:lnTo>
                    <a:pt x="560" y="1845"/>
                  </a:lnTo>
                  <a:lnTo>
                    <a:pt x="562" y="1845"/>
                  </a:lnTo>
                  <a:close/>
                  <a:moveTo>
                    <a:pt x="589" y="1845"/>
                  </a:moveTo>
                  <a:lnTo>
                    <a:pt x="591" y="1845"/>
                  </a:lnTo>
                  <a:lnTo>
                    <a:pt x="591" y="1846"/>
                  </a:lnTo>
                  <a:lnTo>
                    <a:pt x="589" y="1848"/>
                  </a:lnTo>
                  <a:lnTo>
                    <a:pt x="589" y="1846"/>
                  </a:lnTo>
                  <a:lnTo>
                    <a:pt x="588" y="1845"/>
                  </a:lnTo>
                  <a:lnTo>
                    <a:pt x="589" y="1845"/>
                  </a:lnTo>
                  <a:close/>
                  <a:moveTo>
                    <a:pt x="562" y="1845"/>
                  </a:moveTo>
                  <a:lnTo>
                    <a:pt x="562" y="1843"/>
                  </a:lnTo>
                  <a:lnTo>
                    <a:pt x="562" y="1845"/>
                  </a:lnTo>
                  <a:close/>
                  <a:moveTo>
                    <a:pt x="976" y="1845"/>
                  </a:moveTo>
                  <a:lnTo>
                    <a:pt x="976" y="1843"/>
                  </a:lnTo>
                  <a:lnTo>
                    <a:pt x="976" y="1845"/>
                  </a:lnTo>
                  <a:close/>
                  <a:moveTo>
                    <a:pt x="586" y="1845"/>
                  </a:moveTo>
                  <a:lnTo>
                    <a:pt x="586" y="1843"/>
                  </a:lnTo>
                  <a:lnTo>
                    <a:pt x="586" y="1845"/>
                  </a:lnTo>
                  <a:close/>
                  <a:moveTo>
                    <a:pt x="983" y="1845"/>
                  </a:moveTo>
                  <a:lnTo>
                    <a:pt x="981" y="1845"/>
                  </a:lnTo>
                  <a:lnTo>
                    <a:pt x="980" y="1846"/>
                  </a:lnTo>
                  <a:lnTo>
                    <a:pt x="981" y="1846"/>
                  </a:lnTo>
                  <a:lnTo>
                    <a:pt x="980" y="1846"/>
                  </a:lnTo>
                  <a:lnTo>
                    <a:pt x="980" y="1848"/>
                  </a:lnTo>
                  <a:lnTo>
                    <a:pt x="980" y="1846"/>
                  </a:lnTo>
                  <a:lnTo>
                    <a:pt x="978" y="1846"/>
                  </a:lnTo>
                  <a:lnTo>
                    <a:pt x="980" y="1846"/>
                  </a:lnTo>
                  <a:lnTo>
                    <a:pt x="978" y="1846"/>
                  </a:lnTo>
                  <a:lnTo>
                    <a:pt x="978" y="1845"/>
                  </a:lnTo>
                  <a:lnTo>
                    <a:pt x="980" y="1845"/>
                  </a:lnTo>
                  <a:lnTo>
                    <a:pt x="981" y="1845"/>
                  </a:lnTo>
                  <a:lnTo>
                    <a:pt x="981" y="1843"/>
                  </a:lnTo>
                  <a:lnTo>
                    <a:pt x="983" y="1843"/>
                  </a:lnTo>
                  <a:lnTo>
                    <a:pt x="983" y="1845"/>
                  </a:lnTo>
                  <a:close/>
                  <a:moveTo>
                    <a:pt x="563" y="1843"/>
                  </a:moveTo>
                  <a:lnTo>
                    <a:pt x="563" y="1845"/>
                  </a:lnTo>
                  <a:lnTo>
                    <a:pt x="563" y="1843"/>
                  </a:lnTo>
                  <a:close/>
                  <a:moveTo>
                    <a:pt x="566" y="1843"/>
                  </a:moveTo>
                  <a:lnTo>
                    <a:pt x="565" y="1843"/>
                  </a:lnTo>
                  <a:lnTo>
                    <a:pt x="566" y="1843"/>
                  </a:lnTo>
                  <a:close/>
                  <a:moveTo>
                    <a:pt x="586" y="1843"/>
                  </a:moveTo>
                  <a:lnTo>
                    <a:pt x="588" y="1843"/>
                  </a:lnTo>
                  <a:lnTo>
                    <a:pt x="586" y="1843"/>
                  </a:lnTo>
                  <a:close/>
                  <a:moveTo>
                    <a:pt x="565" y="1843"/>
                  </a:moveTo>
                  <a:lnTo>
                    <a:pt x="563" y="1843"/>
                  </a:lnTo>
                  <a:lnTo>
                    <a:pt x="565" y="1843"/>
                  </a:lnTo>
                  <a:close/>
                  <a:moveTo>
                    <a:pt x="588" y="1843"/>
                  </a:moveTo>
                  <a:lnTo>
                    <a:pt x="588" y="1841"/>
                  </a:lnTo>
                  <a:lnTo>
                    <a:pt x="588" y="1843"/>
                  </a:lnTo>
                  <a:close/>
                  <a:moveTo>
                    <a:pt x="918" y="1843"/>
                  </a:moveTo>
                  <a:lnTo>
                    <a:pt x="918" y="1841"/>
                  </a:lnTo>
                  <a:lnTo>
                    <a:pt x="918" y="1843"/>
                  </a:lnTo>
                  <a:close/>
                  <a:moveTo>
                    <a:pt x="882" y="1843"/>
                  </a:moveTo>
                  <a:lnTo>
                    <a:pt x="884" y="1843"/>
                  </a:lnTo>
                  <a:lnTo>
                    <a:pt x="884" y="1845"/>
                  </a:lnTo>
                  <a:lnTo>
                    <a:pt x="884" y="1846"/>
                  </a:lnTo>
                  <a:lnTo>
                    <a:pt x="882" y="1846"/>
                  </a:lnTo>
                  <a:lnTo>
                    <a:pt x="882" y="1845"/>
                  </a:lnTo>
                  <a:lnTo>
                    <a:pt x="882" y="1843"/>
                  </a:lnTo>
                  <a:lnTo>
                    <a:pt x="882" y="1845"/>
                  </a:lnTo>
                  <a:lnTo>
                    <a:pt x="882" y="1843"/>
                  </a:lnTo>
                  <a:lnTo>
                    <a:pt x="880" y="1843"/>
                  </a:lnTo>
                  <a:lnTo>
                    <a:pt x="880" y="1841"/>
                  </a:lnTo>
                  <a:lnTo>
                    <a:pt x="882" y="1843"/>
                  </a:lnTo>
                  <a:close/>
                  <a:moveTo>
                    <a:pt x="591" y="1843"/>
                  </a:moveTo>
                  <a:lnTo>
                    <a:pt x="589" y="1843"/>
                  </a:lnTo>
                  <a:lnTo>
                    <a:pt x="589" y="1841"/>
                  </a:lnTo>
                  <a:lnTo>
                    <a:pt x="591" y="1841"/>
                  </a:lnTo>
                  <a:lnTo>
                    <a:pt x="589" y="1841"/>
                  </a:lnTo>
                  <a:lnTo>
                    <a:pt x="591" y="1841"/>
                  </a:lnTo>
                  <a:lnTo>
                    <a:pt x="591" y="1843"/>
                  </a:lnTo>
                  <a:close/>
                  <a:moveTo>
                    <a:pt x="921" y="1841"/>
                  </a:moveTo>
                  <a:lnTo>
                    <a:pt x="921" y="1840"/>
                  </a:lnTo>
                  <a:lnTo>
                    <a:pt x="923" y="1841"/>
                  </a:lnTo>
                  <a:lnTo>
                    <a:pt x="921" y="1841"/>
                  </a:lnTo>
                  <a:close/>
                  <a:moveTo>
                    <a:pt x="983" y="1841"/>
                  </a:moveTo>
                  <a:lnTo>
                    <a:pt x="983" y="1840"/>
                  </a:lnTo>
                  <a:lnTo>
                    <a:pt x="983" y="1841"/>
                  </a:lnTo>
                  <a:close/>
                  <a:moveTo>
                    <a:pt x="602" y="1841"/>
                  </a:moveTo>
                  <a:lnTo>
                    <a:pt x="604" y="1840"/>
                  </a:lnTo>
                  <a:lnTo>
                    <a:pt x="604" y="1841"/>
                  </a:lnTo>
                  <a:lnTo>
                    <a:pt x="602" y="1841"/>
                  </a:lnTo>
                  <a:close/>
                  <a:moveTo>
                    <a:pt x="602" y="1843"/>
                  </a:moveTo>
                  <a:lnTo>
                    <a:pt x="602" y="1845"/>
                  </a:lnTo>
                  <a:lnTo>
                    <a:pt x="601" y="1843"/>
                  </a:lnTo>
                  <a:lnTo>
                    <a:pt x="602" y="1843"/>
                  </a:lnTo>
                  <a:lnTo>
                    <a:pt x="601" y="1843"/>
                  </a:lnTo>
                  <a:lnTo>
                    <a:pt x="601" y="1841"/>
                  </a:lnTo>
                  <a:lnTo>
                    <a:pt x="602" y="1840"/>
                  </a:lnTo>
                  <a:lnTo>
                    <a:pt x="602" y="1841"/>
                  </a:lnTo>
                  <a:lnTo>
                    <a:pt x="602" y="1843"/>
                  </a:lnTo>
                  <a:close/>
                  <a:moveTo>
                    <a:pt x="963" y="1841"/>
                  </a:moveTo>
                  <a:lnTo>
                    <a:pt x="963" y="1840"/>
                  </a:lnTo>
                  <a:lnTo>
                    <a:pt x="963" y="1841"/>
                  </a:lnTo>
                  <a:close/>
                  <a:moveTo>
                    <a:pt x="591" y="1840"/>
                  </a:moveTo>
                  <a:lnTo>
                    <a:pt x="591" y="1841"/>
                  </a:lnTo>
                  <a:lnTo>
                    <a:pt x="589" y="1841"/>
                  </a:lnTo>
                  <a:lnTo>
                    <a:pt x="589" y="1840"/>
                  </a:lnTo>
                  <a:lnTo>
                    <a:pt x="591" y="1840"/>
                  </a:lnTo>
                  <a:close/>
                  <a:moveTo>
                    <a:pt x="939" y="1840"/>
                  </a:moveTo>
                  <a:lnTo>
                    <a:pt x="939" y="1841"/>
                  </a:lnTo>
                  <a:lnTo>
                    <a:pt x="939" y="1840"/>
                  </a:lnTo>
                  <a:close/>
                  <a:moveTo>
                    <a:pt x="589" y="1840"/>
                  </a:moveTo>
                  <a:lnTo>
                    <a:pt x="588" y="1840"/>
                  </a:lnTo>
                  <a:lnTo>
                    <a:pt x="589" y="1840"/>
                  </a:lnTo>
                  <a:close/>
                  <a:moveTo>
                    <a:pt x="565" y="1840"/>
                  </a:moveTo>
                  <a:lnTo>
                    <a:pt x="566" y="1840"/>
                  </a:lnTo>
                  <a:lnTo>
                    <a:pt x="565" y="1840"/>
                  </a:lnTo>
                  <a:close/>
                  <a:moveTo>
                    <a:pt x="884" y="1840"/>
                  </a:moveTo>
                  <a:lnTo>
                    <a:pt x="885" y="1840"/>
                  </a:lnTo>
                  <a:lnTo>
                    <a:pt x="884" y="1840"/>
                  </a:lnTo>
                  <a:close/>
                  <a:moveTo>
                    <a:pt x="596" y="1840"/>
                  </a:moveTo>
                  <a:lnTo>
                    <a:pt x="597" y="1840"/>
                  </a:lnTo>
                  <a:lnTo>
                    <a:pt x="599" y="1840"/>
                  </a:lnTo>
                  <a:lnTo>
                    <a:pt x="601" y="1841"/>
                  </a:lnTo>
                  <a:lnTo>
                    <a:pt x="601" y="1843"/>
                  </a:lnTo>
                  <a:lnTo>
                    <a:pt x="599" y="1843"/>
                  </a:lnTo>
                  <a:lnTo>
                    <a:pt x="597" y="1841"/>
                  </a:lnTo>
                  <a:lnTo>
                    <a:pt x="596" y="1841"/>
                  </a:lnTo>
                  <a:lnTo>
                    <a:pt x="596" y="1840"/>
                  </a:lnTo>
                  <a:close/>
                  <a:moveTo>
                    <a:pt x="981" y="1840"/>
                  </a:moveTo>
                  <a:lnTo>
                    <a:pt x="983" y="1840"/>
                  </a:lnTo>
                  <a:lnTo>
                    <a:pt x="983" y="1841"/>
                  </a:lnTo>
                  <a:lnTo>
                    <a:pt x="981" y="1841"/>
                  </a:lnTo>
                  <a:lnTo>
                    <a:pt x="981" y="1843"/>
                  </a:lnTo>
                  <a:lnTo>
                    <a:pt x="980" y="1843"/>
                  </a:lnTo>
                  <a:lnTo>
                    <a:pt x="981" y="1841"/>
                  </a:lnTo>
                  <a:lnTo>
                    <a:pt x="981" y="1840"/>
                  </a:lnTo>
                  <a:close/>
                  <a:moveTo>
                    <a:pt x="967" y="1841"/>
                  </a:moveTo>
                  <a:lnTo>
                    <a:pt x="965" y="1841"/>
                  </a:lnTo>
                  <a:lnTo>
                    <a:pt x="965" y="1840"/>
                  </a:lnTo>
                  <a:lnTo>
                    <a:pt x="967" y="1840"/>
                  </a:lnTo>
                  <a:lnTo>
                    <a:pt x="967" y="1841"/>
                  </a:lnTo>
                  <a:close/>
                  <a:moveTo>
                    <a:pt x="884" y="1840"/>
                  </a:moveTo>
                  <a:lnTo>
                    <a:pt x="885" y="1840"/>
                  </a:lnTo>
                  <a:lnTo>
                    <a:pt x="884" y="1840"/>
                  </a:lnTo>
                  <a:close/>
                  <a:moveTo>
                    <a:pt x="937" y="1840"/>
                  </a:moveTo>
                  <a:lnTo>
                    <a:pt x="937" y="1838"/>
                  </a:lnTo>
                  <a:lnTo>
                    <a:pt x="937" y="1840"/>
                  </a:lnTo>
                  <a:close/>
                  <a:moveTo>
                    <a:pt x="932" y="1838"/>
                  </a:moveTo>
                  <a:lnTo>
                    <a:pt x="932" y="1840"/>
                  </a:lnTo>
                  <a:lnTo>
                    <a:pt x="932" y="1838"/>
                  </a:lnTo>
                  <a:close/>
                  <a:moveTo>
                    <a:pt x="588" y="1840"/>
                  </a:moveTo>
                  <a:lnTo>
                    <a:pt x="586" y="1840"/>
                  </a:lnTo>
                  <a:lnTo>
                    <a:pt x="586" y="1838"/>
                  </a:lnTo>
                  <a:lnTo>
                    <a:pt x="588" y="1838"/>
                  </a:lnTo>
                  <a:lnTo>
                    <a:pt x="588" y="1840"/>
                  </a:lnTo>
                  <a:close/>
                  <a:moveTo>
                    <a:pt x="605" y="1838"/>
                  </a:moveTo>
                  <a:lnTo>
                    <a:pt x="604" y="1838"/>
                  </a:lnTo>
                  <a:lnTo>
                    <a:pt x="605" y="1838"/>
                  </a:lnTo>
                  <a:close/>
                  <a:moveTo>
                    <a:pt x="586" y="1838"/>
                  </a:moveTo>
                  <a:lnTo>
                    <a:pt x="588" y="1838"/>
                  </a:lnTo>
                  <a:lnTo>
                    <a:pt x="586" y="1838"/>
                  </a:lnTo>
                  <a:close/>
                  <a:moveTo>
                    <a:pt x="605" y="1838"/>
                  </a:moveTo>
                  <a:lnTo>
                    <a:pt x="605" y="1837"/>
                  </a:lnTo>
                  <a:lnTo>
                    <a:pt x="605" y="1838"/>
                  </a:lnTo>
                  <a:close/>
                  <a:moveTo>
                    <a:pt x="973" y="1838"/>
                  </a:moveTo>
                  <a:lnTo>
                    <a:pt x="973" y="1840"/>
                  </a:lnTo>
                  <a:lnTo>
                    <a:pt x="973" y="1838"/>
                  </a:lnTo>
                  <a:lnTo>
                    <a:pt x="971" y="1838"/>
                  </a:lnTo>
                  <a:lnTo>
                    <a:pt x="973" y="1838"/>
                  </a:lnTo>
                  <a:lnTo>
                    <a:pt x="973" y="1837"/>
                  </a:lnTo>
                  <a:lnTo>
                    <a:pt x="973" y="1838"/>
                  </a:lnTo>
                  <a:close/>
                  <a:moveTo>
                    <a:pt x="586" y="1837"/>
                  </a:moveTo>
                  <a:lnTo>
                    <a:pt x="588" y="1837"/>
                  </a:lnTo>
                  <a:lnTo>
                    <a:pt x="586" y="1837"/>
                  </a:lnTo>
                  <a:close/>
                  <a:moveTo>
                    <a:pt x="939" y="1837"/>
                  </a:moveTo>
                  <a:lnTo>
                    <a:pt x="939" y="1838"/>
                  </a:lnTo>
                  <a:lnTo>
                    <a:pt x="939" y="1840"/>
                  </a:lnTo>
                  <a:lnTo>
                    <a:pt x="939" y="1838"/>
                  </a:lnTo>
                  <a:lnTo>
                    <a:pt x="937" y="1838"/>
                  </a:lnTo>
                  <a:lnTo>
                    <a:pt x="939" y="1838"/>
                  </a:lnTo>
                  <a:lnTo>
                    <a:pt x="939" y="1837"/>
                  </a:lnTo>
                  <a:close/>
                  <a:moveTo>
                    <a:pt x="916" y="1838"/>
                  </a:moveTo>
                  <a:lnTo>
                    <a:pt x="916" y="1837"/>
                  </a:lnTo>
                  <a:lnTo>
                    <a:pt x="916" y="1838"/>
                  </a:lnTo>
                  <a:close/>
                  <a:moveTo>
                    <a:pt x="584" y="1837"/>
                  </a:moveTo>
                  <a:lnTo>
                    <a:pt x="584" y="1838"/>
                  </a:lnTo>
                  <a:lnTo>
                    <a:pt x="586" y="1838"/>
                  </a:lnTo>
                  <a:lnTo>
                    <a:pt x="584" y="1838"/>
                  </a:lnTo>
                  <a:lnTo>
                    <a:pt x="586" y="1838"/>
                  </a:lnTo>
                  <a:lnTo>
                    <a:pt x="586" y="1840"/>
                  </a:lnTo>
                  <a:lnTo>
                    <a:pt x="584" y="1840"/>
                  </a:lnTo>
                  <a:lnTo>
                    <a:pt x="584" y="1838"/>
                  </a:lnTo>
                  <a:lnTo>
                    <a:pt x="584" y="1840"/>
                  </a:lnTo>
                  <a:lnTo>
                    <a:pt x="584" y="1841"/>
                  </a:lnTo>
                  <a:lnTo>
                    <a:pt x="583" y="1841"/>
                  </a:lnTo>
                  <a:lnTo>
                    <a:pt x="584" y="1841"/>
                  </a:lnTo>
                  <a:lnTo>
                    <a:pt x="583" y="1841"/>
                  </a:lnTo>
                  <a:lnTo>
                    <a:pt x="583" y="1840"/>
                  </a:lnTo>
                  <a:lnTo>
                    <a:pt x="581" y="1840"/>
                  </a:lnTo>
                  <a:lnTo>
                    <a:pt x="581" y="1838"/>
                  </a:lnTo>
                  <a:lnTo>
                    <a:pt x="581" y="1837"/>
                  </a:lnTo>
                  <a:lnTo>
                    <a:pt x="583" y="1837"/>
                  </a:lnTo>
                  <a:lnTo>
                    <a:pt x="584" y="1837"/>
                  </a:lnTo>
                  <a:close/>
                  <a:moveTo>
                    <a:pt x="586" y="1837"/>
                  </a:moveTo>
                  <a:lnTo>
                    <a:pt x="586" y="1838"/>
                  </a:lnTo>
                  <a:lnTo>
                    <a:pt x="586" y="1837"/>
                  </a:lnTo>
                  <a:close/>
                  <a:moveTo>
                    <a:pt x="916" y="1838"/>
                  </a:moveTo>
                  <a:lnTo>
                    <a:pt x="916" y="1837"/>
                  </a:lnTo>
                  <a:lnTo>
                    <a:pt x="916" y="1838"/>
                  </a:lnTo>
                  <a:close/>
                  <a:moveTo>
                    <a:pt x="971" y="1837"/>
                  </a:moveTo>
                  <a:lnTo>
                    <a:pt x="973" y="1837"/>
                  </a:lnTo>
                  <a:lnTo>
                    <a:pt x="971" y="1837"/>
                  </a:lnTo>
                  <a:close/>
                  <a:moveTo>
                    <a:pt x="918" y="1837"/>
                  </a:moveTo>
                  <a:lnTo>
                    <a:pt x="919" y="1837"/>
                  </a:lnTo>
                  <a:lnTo>
                    <a:pt x="918" y="1837"/>
                  </a:lnTo>
                  <a:close/>
                  <a:moveTo>
                    <a:pt x="586" y="1837"/>
                  </a:moveTo>
                  <a:lnTo>
                    <a:pt x="588" y="1837"/>
                  </a:lnTo>
                  <a:lnTo>
                    <a:pt x="586" y="1837"/>
                  </a:lnTo>
                  <a:close/>
                  <a:moveTo>
                    <a:pt x="981" y="1837"/>
                  </a:moveTo>
                  <a:lnTo>
                    <a:pt x="981" y="1835"/>
                  </a:lnTo>
                  <a:lnTo>
                    <a:pt x="981" y="1837"/>
                  </a:lnTo>
                  <a:close/>
                  <a:moveTo>
                    <a:pt x="586" y="1837"/>
                  </a:moveTo>
                  <a:lnTo>
                    <a:pt x="586" y="1835"/>
                  </a:lnTo>
                  <a:lnTo>
                    <a:pt x="586" y="1837"/>
                  </a:lnTo>
                  <a:lnTo>
                    <a:pt x="586" y="1835"/>
                  </a:lnTo>
                  <a:lnTo>
                    <a:pt x="586" y="1837"/>
                  </a:lnTo>
                  <a:close/>
                  <a:moveTo>
                    <a:pt x="919" y="1835"/>
                  </a:moveTo>
                  <a:lnTo>
                    <a:pt x="919" y="1837"/>
                  </a:lnTo>
                  <a:lnTo>
                    <a:pt x="919" y="1835"/>
                  </a:lnTo>
                  <a:close/>
                  <a:moveTo>
                    <a:pt x="921" y="1835"/>
                  </a:moveTo>
                  <a:lnTo>
                    <a:pt x="921" y="1837"/>
                  </a:lnTo>
                  <a:lnTo>
                    <a:pt x="921" y="1835"/>
                  </a:lnTo>
                  <a:close/>
                  <a:moveTo>
                    <a:pt x="934" y="1835"/>
                  </a:moveTo>
                  <a:lnTo>
                    <a:pt x="934" y="1837"/>
                  </a:lnTo>
                  <a:lnTo>
                    <a:pt x="934" y="1838"/>
                  </a:lnTo>
                  <a:lnTo>
                    <a:pt x="934" y="1837"/>
                  </a:lnTo>
                  <a:lnTo>
                    <a:pt x="934" y="1835"/>
                  </a:lnTo>
                  <a:close/>
                  <a:moveTo>
                    <a:pt x="586" y="1835"/>
                  </a:moveTo>
                  <a:lnTo>
                    <a:pt x="588" y="1835"/>
                  </a:lnTo>
                  <a:lnTo>
                    <a:pt x="586" y="1835"/>
                  </a:lnTo>
                  <a:close/>
                  <a:moveTo>
                    <a:pt x="594" y="1835"/>
                  </a:moveTo>
                  <a:lnTo>
                    <a:pt x="596" y="1835"/>
                  </a:lnTo>
                  <a:lnTo>
                    <a:pt x="596" y="1837"/>
                  </a:lnTo>
                  <a:lnTo>
                    <a:pt x="594" y="1835"/>
                  </a:lnTo>
                  <a:close/>
                  <a:moveTo>
                    <a:pt x="978" y="1835"/>
                  </a:moveTo>
                  <a:lnTo>
                    <a:pt x="976" y="1835"/>
                  </a:lnTo>
                  <a:lnTo>
                    <a:pt x="978" y="1835"/>
                  </a:lnTo>
                  <a:close/>
                  <a:moveTo>
                    <a:pt x="558" y="1837"/>
                  </a:moveTo>
                  <a:lnTo>
                    <a:pt x="557" y="1837"/>
                  </a:lnTo>
                  <a:lnTo>
                    <a:pt x="558" y="1835"/>
                  </a:lnTo>
                  <a:lnTo>
                    <a:pt x="558" y="1837"/>
                  </a:lnTo>
                  <a:close/>
                  <a:moveTo>
                    <a:pt x="578" y="1835"/>
                  </a:moveTo>
                  <a:lnTo>
                    <a:pt x="579" y="1833"/>
                  </a:lnTo>
                  <a:lnTo>
                    <a:pt x="579" y="1835"/>
                  </a:lnTo>
                  <a:lnTo>
                    <a:pt x="578" y="1835"/>
                  </a:lnTo>
                  <a:close/>
                  <a:moveTo>
                    <a:pt x="971" y="1835"/>
                  </a:moveTo>
                  <a:lnTo>
                    <a:pt x="971" y="1833"/>
                  </a:lnTo>
                  <a:lnTo>
                    <a:pt x="971" y="1835"/>
                  </a:lnTo>
                  <a:close/>
                  <a:moveTo>
                    <a:pt x="976" y="1833"/>
                  </a:moveTo>
                  <a:lnTo>
                    <a:pt x="976" y="1835"/>
                  </a:lnTo>
                  <a:lnTo>
                    <a:pt x="976" y="1837"/>
                  </a:lnTo>
                  <a:lnTo>
                    <a:pt x="978" y="1837"/>
                  </a:lnTo>
                  <a:lnTo>
                    <a:pt x="980" y="1837"/>
                  </a:lnTo>
                  <a:lnTo>
                    <a:pt x="978" y="1837"/>
                  </a:lnTo>
                  <a:lnTo>
                    <a:pt x="978" y="1835"/>
                  </a:lnTo>
                  <a:lnTo>
                    <a:pt x="978" y="1833"/>
                  </a:lnTo>
                  <a:lnTo>
                    <a:pt x="978" y="1835"/>
                  </a:lnTo>
                  <a:lnTo>
                    <a:pt x="980" y="1835"/>
                  </a:lnTo>
                  <a:lnTo>
                    <a:pt x="981" y="1837"/>
                  </a:lnTo>
                  <a:lnTo>
                    <a:pt x="980" y="1837"/>
                  </a:lnTo>
                  <a:lnTo>
                    <a:pt x="981" y="1837"/>
                  </a:lnTo>
                  <a:lnTo>
                    <a:pt x="980" y="1838"/>
                  </a:lnTo>
                  <a:lnTo>
                    <a:pt x="980" y="1840"/>
                  </a:lnTo>
                  <a:lnTo>
                    <a:pt x="978" y="1840"/>
                  </a:lnTo>
                  <a:lnTo>
                    <a:pt x="978" y="1841"/>
                  </a:lnTo>
                  <a:lnTo>
                    <a:pt x="976" y="1841"/>
                  </a:lnTo>
                  <a:lnTo>
                    <a:pt x="978" y="1841"/>
                  </a:lnTo>
                  <a:lnTo>
                    <a:pt x="978" y="1840"/>
                  </a:lnTo>
                  <a:lnTo>
                    <a:pt x="978" y="1841"/>
                  </a:lnTo>
                  <a:lnTo>
                    <a:pt x="978" y="1843"/>
                  </a:lnTo>
                  <a:lnTo>
                    <a:pt x="976" y="1843"/>
                  </a:lnTo>
                  <a:lnTo>
                    <a:pt x="976" y="1845"/>
                  </a:lnTo>
                  <a:lnTo>
                    <a:pt x="975" y="1845"/>
                  </a:lnTo>
                  <a:lnTo>
                    <a:pt x="975" y="1843"/>
                  </a:lnTo>
                  <a:lnTo>
                    <a:pt x="973" y="1843"/>
                  </a:lnTo>
                  <a:lnTo>
                    <a:pt x="973" y="1840"/>
                  </a:lnTo>
                  <a:lnTo>
                    <a:pt x="975" y="1838"/>
                  </a:lnTo>
                  <a:lnTo>
                    <a:pt x="973" y="1838"/>
                  </a:lnTo>
                  <a:lnTo>
                    <a:pt x="973" y="1837"/>
                  </a:lnTo>
                  <a:lnTo>
                    <a:pt x="973" y="1835"/>
                  </a:lnTo>
                  <a:lnTo>
                    <a:pt x="975" y="1835"/>
                  </a:lnTo>
                  <a:lnTo>
                    <a:pt x="973" y="1835"/>
                  </a:lnTo>
                  <a:lnTo>
                    <a:pt x="973" y="1833"/>
                  </a:lnTo>
                  <a:lnTo>
                    <a:pt x="975" y="1833"/>
                  </a:lnTo>
                  <a:lnTo>
                    <a:pt x="975" y="1835"/>
                  </a:lnTo>
                  <a:lnTo>
                    <a:pt x="975" y="1833"/>
                  </a:lnTo>
                  <a:lnTo>
                    <a:pt x="976" y="1833"/>
                  </a:lnTo>
                  <a:close/>
                  <a:moveTo>
                    <a:pt x="976" y="1833"/>
                  </a:moveTo>
                  <a:lnTo>
                    <a:pt x="978" y="1833"/>
                  </a:lnTo>
                  <a:lnTo>
                    <a:pt x="976" y="1833"/>
                  </a:lnTo>
                  <a:close/>
                  <a:moveTo>
                    <a:pt x="958" y="1833"/>
                  </a:moveTo>
                  <a:lnTo>
                    <a:pt x="958" y="1835"/>
                  </a:lnTo>
                  <a:lnTo>
                    <a:pt x="957" y="1833"/>
                  </a:lnTo>
                  <a:lnTo>
                    <a:pt x="958" y="1833"/>
                  </a:lnTo>
                  <a:close/>
                  <a:moveTo>
                    <a:pt x="588" y="1833"/>
                  </a:moveTo>
                  <a:lnTo>
                    <a:pt x="589" y="1833"/>
                  </a:lnTo>
                  <a:lnTo>
                    <a:pt x="588" y="1833"/>
                  </a:lnTo>
                  <a:close/>
                  <a:moveTo>
                    <a:pt x="879" y="1833"/>
                  </a:moveTo>
                  <a:lnTo>
                    <a:pt x="879" y="1832"/>
                  </a:lnTo>
                  <a:lnTo>
                    <a:pt x="879" y="1833"/>
                  </a:lnTo>
                  <a:close/>
                  <a:moveTo>
                    <a:pt x="936" y="1832"/>
                  </a:moveTo>
                  <a:lnTo>
                    <a:pt x="937" y="1832"/>
                  </a:lnTo>
                  <a:lnTo>
                    <a:pt x="937" y="1833"/>
                  </a:lnTo>
                  <a:lnTo>
                    <a:pt x="936" y="1833"/>
                  </a:lnTo>
                  <a:lnTo>
                    <a:pt x="936" y="1832"/>
                  </a:lnTo>
                  <a:close/>
                  <a:moveTo>
                    <a:pt x="560" y="1832"/>
                  </a:moveTo>
                  <a:lnTo>
                    <a:pt x="562" y="1832"/>
                  </a:lnTo>
                  <a:lnTo>
                    <a:pt x="560" y="1833"/>
                  </a:lnTo>
                  <a:lnTo>
                    <a:pt x="560" y="1832"/>
                  </a:lnTo>
                  <a:close/>
                  <a:moveTo>
                    <a:pt x="579" y="1832"/>
                  </a:moveTo>
                  <a:lnTo>
                    <a:pt x="579" y="1833"/>
                  </a:lnTo>
                  <a:lnTo>
                    <a:pt x="579" y="1832"/>
                  </a:lnTo>
                  <a:close/>
                  <a:moveTo>
                    <a:pt x="934" y="1833"/>
                  </a:moveTo>
                  <a:lnTo>
                    <a:pt x="932" y="1833"/>
                  </a:lnTo>
                  <a:lnTo>
                    <a:pt x="932" y="1832"/>
                  </a:lnTo>
                  <a:lnTo>
                    <a:pt x="934" y="1832"/>
                  </a:lnTo>
                  <a:lnTo>
                    <a:pt x="934" y="1833"/>
                  </a:lnTo>
                  <a:close/>
                  <a:moveTo>
                    <a:pt x="936" y="1832"/>
                  </a:moveTo>
                  <a:lnTo>
                    <a:pt x="936" y="1833"/>
                  </a:lnTo>
                  <a:lnTo>
                    <a:pt x="936" y="1835"/>
                  </a:lnTo>
                  <a:lnTo>
                    <a:pt x="936" y="1833"/>
                  </a:lnTo>
                  <a:lnTo>
                    <a:pt x="934" y="1833"/>
                  </a:lnTo>
                  <a:lnTo>
                    <a:pt x="936" y="1832"/>
                  </a:lnTo>
                  <a:close/>
                  <a:moveTo>
                    <a:pt x="926" y="1832"/>
                  </a:moveTo>
                  <a:lnTo>
                    <a:pt x="926" y="1833"/>
                  </a:lnTo>
                  <a:lnTo>
                    <a:pt x="926" y="1832"/>
                  </a:lnTo>
                  <a:close/>
                  <a:moveTo>
                    <a:pt x="926" y="1832"/>
                  </a:moveTo>
                  <a:lnTo>
                    <a:pt x="926" y="1833"/>
                  </a:lnTo>
                  <a:lnTo>
                    <a:pt x="926" y="1832"/>
                  </a:lnTo>
                  <a:close/>
                  <a:moveTo>
                    <a:pt x="921" y="1833"/>
                  </a:moveTo>
                  <a:lnTo>
                    <a:pt x="919" y="1833"/>
                  </a:lnTo>
                  <a:lnTo>
                    <a:pt x="919" y="1832"/>
                  </a:lnTo>
                  <a:lnTo>
                    <a:pt x="921" y="1832"/>
                  </a:lnTo>
                  <a:lnTo>
                    <a:pt x="921" y="1833"/>
                  </a:lnTo>
                  <a:close/>
                  <a:moveTo>
                    <a:pt x="970" y="1833"/>
                  </a:moveTo>
                  <a:lnTo>
                    <a:pt x="971" y="1832"/>
                  </a:lnTo>
                  <a:lnTo>
                    <a:pt x="971" y="1833"/>
                  </a:lnTo>
                  <a:lnTo>
                    <a:pt x="970" y="1833"/>
                  </a:lnTo>
                  <a:close/>
                  <a:moveTo>
                    <a:pt x="558" y="1832"/>
                  </a:moveTo>
                  <a:lnTo>
                    <a:pt x="558" y="1833"/>
                  </a:lnTo>
                  <a:lnTo>
                    <a:pt x="558" y="1832"/>
                  </a:lnTo>
                  <a:lnTo>
                    <a:pt x="560" y="1832"/>
                  </a:lnTo>
                  <a:lnTo>
                    <a:pt x="558" y="1832"/>
                  </a:lnTo>
                  <a:close/>
                  <a:moveTo>
                    <a:pt x="591" y="1833"/>
                  </a:moveTo>
                  <a:lnTo>
                    <a:pt x="589" y="1833"/>
                  </a:lnTo>
                  <a:lnTo>
                    <a:pt x="589" y="1832"/>
                  </a:lnTo>
                  <a:lnTo>
                    <a:pt x="591" y="1832"/>
                  </a:lnTo>
                  <a:lnTo>
                    <a:pt x="591" y="1833"/>
                  </a:lnTo>
                  <a:close/>
                  <a:moveTo>
                    <a:pt x="955" y="1832"/>
                  </a:moveTo>
                  <a:lnTo>
                    <a:pt x="957" y="1832"/>
                  </a:lnTo>
                  <a:lnTo>
                    <a:pt x="955" y="1832"/>
                  </a:lnTo>
                  <a:close/>
                  <a:moveTo>
                    <a:pt x="973" y="1830"/>
                  </a:moveTo>
                  <a:lnTo>
                    <a:pt x="973" y="1832"/>
                  </a:lnTo>
                  <a:lnTo>
                    <a:pt x="973" y="1830"/>
                  </a:lnTo>
                  <a:close/>
                  <a:moveTo>
                    <a:pt x="584" y="1832"/>
                  </a:moveTo>
                  <a:lnTo>
                    <a:pt x="584" y="1830"/>
                  </a:lnTo>
                  <a:lnTo>
                    <a:pt x="584" y="1832"/>
                  </a:lnTo>
                  <a:close/>
                  <a:moveTo>
                    <a:pt x="562" y="1832"/>
                  </a:moveTo>
                  <a:lnTo>
                    <a:pt x="563" y="1830"/>
                  </a:lnTo>
                  <a:lnTo>
                    <a:pt x="562" y="1832"/>
                  </a:lnTo>
                  <a:close/>
                  <a:moveTo>
                    <a:pt x="931" y="1830"/>
                  </a:moveTo>
                  <a:lnTo>
                    <a:pt x="932" y="1830"/>
                  </a:lnTo>
                  <a:lnTo>
                    <a:pt x="932" y="1832"/>
                  </a:lnTo>
                  <a:lnTo>
                    <a:pt x="932" y="1833"/>
                  </a:lnTo>
                  <a:lnTo>
                    <a:pt x="931" y="1833"/>
                  </a:lnTo>
                  <a:lnTo>
                    <a:pt x="932" y="1833"/>
                  </a:lnTo>
                  <a:lnTo>
                    <a:pt x="932" y="1835"/>
                  </a:lnTo>
                  <a:lnTo>
                    <a:pt x="932" y="1837"/>
                  </a:lnTo>
                  <a:lnTo>
                    <a:pt x="932" y="1835"/>
                  </a:lnTo>
                  <a:lnTo>
                    <a:pt x="932" y="1833"/>
                  </a:lnTo>
                  <a:lnTo>
                    <a:pt x="932" y="1835"/>
                  </a:lnTo>
                  <a:lnTo>
                    <a:pt x="932" y="1837"/>
                  </a:lnTo>
                  <a:lnTo>
                    <a:pt x="934" y="1837"/>
                  </a:lnTo>
                  <a:lnTo>
                    <a:pt x="932" y="1837"/>
                  </a:lnTo>
                  <a:lnTo>
                    <a:pt x="934" y="1838"/>
                  </a:lnTo>
                  <a:lnTo>
                    <a:pt x="932" y="1838"/>
                  </a:lnTo>
                  <a:lnTo>
                    <a:pt x="931" y="1838"/>
                  </a:lnTo>
                  <a:lnTo>
                    <a:pt x="931" y="1837"/>
                  </a:lnTo>
                  <a:lnTo>
                    <a:pt x="931" y="1835"/>
                  </a:lnTo>
                  <a:lnTo>
                    <a:pt x="931" y="1833"/>
                  </a:lnTo>
                  <a:lnTo>
                    <a:pt x="931" y="1832"/>
                  </a:lnTo>
                  <a:lnTo>
                    <a:pt x="931" y="1830"/>
                  </a:lnTo>
                  <a:close/>
                  <a:moveTo>
                    <a:pt x="953" y="1830"/>
                  </a:moveTo>
                  <a:lnTo>
                    <a:pt x="955" y="1830"/>
                  </a:lnTo>
                  <a:lnTo>
                    <a:pt x="953" y="1830"/>
                  </a:lnTo>
                  <a:close/>
                  <a:moveTo>
                    <a:pt x="558" y="1830"/>
                  </a:moveTo>
                  <a:lnTo>
                    <a:pt x="560" y="1830"/>
                  </a:lnTo>
                  <a:lnTo>
                    <a:pt x="560" y="1832"/>
                  </a:lnTo>
                  <a:lnTo>
                    <a:pt x="558" y="1830"/>
                  </a:lnTo>
                  <a:lnTo>
                    <a:pt x="558" y="1832"/>
                  </a:lnTo>
                  <a:lnTo>
                    <a:pt x="558" y="1830"/>
                  </a:lnTo>
                  <a:close/>
                  <a:moveTo>
                    <a:pt x="970" y="1830"/>
                  </a:moveTo>
                  <a:lnTo>
                    <a:pt x="970" y="1832"/>
                  </a:lnTo>
                  <a:lnTo>
                    <a:pt x="970" y="1830"/>
                  </a:lnTo>
                  <a:lnTo>
                    <a:pt x="970" y="1832"/>
                  </a:lnTo>
                  <a:lnTo>
                    <a:pt x="970" y="1830"/>
                  </a:lnTo>
                  <a:close/>
                  <a:moveTo>
                    <a:pt x="575" y="1830"/>
                  </a:moveTo>
                  <a:lnTo>
                    <a:pt x="576" y="1830"/>
                  </a:lnTo>
                  <a:lnTo>
                    <a:pt x="575" y="1830"/>
                  </a:lnTo>
                  <a:close/>
                  <a:moveTo>
                    <a:pt x="934" y="1832"/>
                  </a:moveTo>
                  <a:lnTo>
                    <a:pt x="932" y="1832"/>
                  </a:lnTo>
                  <a:lnTo>
                    <a:pt x="932" y="1830"/>
                  </a:lnTo>
                  <a:lnTo>
                    <a:pt x="934" y="1830"/>
                  </a:lnTo>
                  <a:lnTo>
                    <a:pt x="934" y="1832"/>
                  </a:lnTo>
                  <a:close/>
                  <a:moveTo>
                    <a:pt x="1001" y="1832"/>
                  </a:moveTo>
                  <a:lnTo>
                    <a:pt x="999" y="1830"/>
                  </a:lnTo>
                  <a:lnTo>
                    <a:pt x="1001" y="1830"/>
                  </a:lnTo>
                  <a:lnTo>
                    <a:pt x="1001" y="1832"/>
                  </a:lnTo>
                  <a:close/>
                  <a:moveTo>
                    <a:pt x="934" y="1830"/>
                  </a:moveTo>
                  <a:lnTo>
                    <a:pt x="934" y="1832"/>
                  </a:lnTo>
                  <a:lnTo>
                    <a:pt x="934" y="1830"/>
                  </a:lnTo>
                  <a:close/>
                  <a:moveTo>
                    <a:pt x="983" y="1832"/>
                  </a:moveTo>
                  <a:lnTo>
                    <a:pt x="983" y="1830"/>
                  </a:lnTo>
                  <a:lnTo>
                    <a:pt x="984" y="1830"/>
                  </a:lnTo>
                  <a:lnTo>
                    <a:pt x="984" y="1832"/>
                  </a:lnTo>
                  <a:lnTo>
                    <a:pt x="983" y="1833"/>
                  </a:lnTo>
                  <a:lnTo>
                    <a:pt x="984" y="1833"/>
                  </a:lnTo>
                  <a:lnTo>
                    <a:pt x="983" y="1833"/>
                  </a:lnTo>
                  <a:lnTo>
                    <a:pt x="983" y="1832"/>
                  </a:lnTo>
                  <a:close/>
                  <a:moveTo>
                    <a:pt x="975" y="1830"/>
                  </a:moveTo>
                  <a:lnTo>
                    <a:pt x="975" y="1832"/>
                  </a:lnTo>
                  <a:lnTo>
                    <a:pt x="975" y="1830"/>
                  </a:lnTo>
                  <a:close/>
                  <a:moveTo>
                    <a:pt x="924" y="1830"/>
                  </a:moveTo>
                  <a:lnTo>
                    <a:pt x="926" y="1830"/>
                  </a:lnTo>
                  <a:lnTo>
                    <a:pt x="924" y="1830"/>
                  </a:lnTo>
                  <a:close/>
                  <a:moveTo>
                    <a:pt x="926" y="1830"/>
                  </a:moveTo>
                  <a:lnTo>
                    <a:pt x="927" y="1830"/>
                  </a:lnTo>
                  <a:lnTo>
                    <a:pt x="926" y="1830"/>
                  </a:lnTo>
                  <a:lnTo>
                    <a:pt x="927" y="1832"/>
                  </a:lnTo>
                  <a:lnTo>
                    <a:pt x="926" y="1832"/>
                  </a:lnTo>
                  <a:lnTo>
                    <a:pt x="927" y="1832"/>
                  </a:lnTo>
                  <a:lnTo>
                    <a:pt x="926" y="1832"/>
                  </a:lnTo>
                  <a:lnTo>
                    <a:pt x="926" y="1830"/>
                  </a:lnTo>
                  <a:lnTo>
                    <a:pt x="926" y="1832"/>
                  </a:lnTo>
                  <a:lnTo>
                    <a:pt x="926" y="1830"/>
                  </a:lnTo>
                  <a:close/>
                  <a:moveTo>
                    <a:pt x="970" y="1830"/>
                  </a:moveTo>
                  <a:lnTo>
                    <a:pt x="971" y="1830"/>
                  </a:lnTo>
                  <a:lnTo>
                    <a:pt x="970" y="1830"/>
                  </a:lnTo>
                  <a:close/>
                  <a:moveTo>
                    <a:pt x="560" y="1830"/>
                  </a:moveTo>
                  <a:lnTo>
                    <a:pt x="560" y="1828"/>
                  </a:lnTo>
                  <a:lnTo>
                    <a:pt x="560" y="1830"/>
                  </a:lnTo>
                  <a:close/>
                  <a:moveTo>
                    <a:pt x="963" y="1828"/>
                  </a:moveTo>
                  <a:lnTo>
                    <a:pt x="963" y="1830"/>
                  </a:lnTo>
                  <a:lnTo>
                    <a:pt x="965" y="1830"/>
                  </a:lnTo>
                  <a:lnTo>
                    <a:pt x="965" y="1832"/>
                  </a:lnTo>
                  <a:lnTo>
                    <a:pt x="965" y="1830"/>
                  </a:lnTo>
                  <a:lnTo>
                    <a:pt x="965" y="1832"/>
                  </a:lnTo>
                  <a:lnTo>
                    <a:pt x="967" y="1830"/>
                  </a:lnTo>
                  <a:lnTo>
                    <a:pt x="967" y="1832"/>
                  </a:lnTo>
                  <a:lnTo>
                    <a:pt x="968" y="1832"/>
                  </a:lnTo>
                  <a:lnTo>
                    <a:pt x="968" y="1833"/>
                  </a:lnTo>
                  <a:lnTo>
                    <a:pt x="968" y="1832"/>
                  </a:lnTo>
                  <a:lnTo>
                    <a:pt x="968" y="1833"/>
                  </a:lnTo>
                  <a:lnTo>
                    <a:pt x="970" y="1832"/>
                  </a:lnTo>
                  <a:lnTo>
                    <a:pt x="970" y="1833"/>
                  </a:lnTo>
                  <a:lnTo>
                    <a:pt x="970" y="1835"/>
                  </a:lnTo>
                  <a:lnTo>
                    <a:pt x="968" y="1835"/>
                  </a:lnTo>
                  <a:lnTo>
                    <a:pt x="968" y="1837"/>
                  </a:lnTo>
                  <a:lnTo>
                    <a:pt x="970" y="1837"/>
                  </a:lnTo>
                  <a:lnTo>
                    <a:pt x="970" y="1835"/>
                  </a:lnTo>
                  <a:lnTo>
                    <a:pt x="971" y="1835"/>
                  </a:lnTo>
                  <a:lnTo>
                    <a:pt x="971" y="1837"/>
                  </a:lnTo>
                  <a:lnTo>
                    <a:pt x="970" y="1837"/>
                  </a:lnTo>
                  <a:lnTo>
                    <a:pt x="971" y="1837"/>
                  </a:lnTo>
                  <a:lnTo>
                    <a:pt x="971" y="1838"/>
                  </a:lnTo>
                  <a:lnTo>
                    <a:pt x="971" y="1840"/>
                  </a:lnTo>
                  <a:lnTo>
                    <a:pt x="971" y="1841"/>
                  </a:lnTo>
                  <a:lnTo>
                    <a:pt x="970" y="1841"/>
                  </a:lnTo>
                  <a:lnTo>
                    <a:pt x="970" y="1843"/>
                  </a:lnTo>
                  <a:lnTo>
                    <a:pt x="970" y="1841"/>
                  </a:lnTo>
                  <a:lnTo>
                    <a:pt x="968" y="1841"/>
                  </a:lnTo>
                  <a:lnTo>
                    <a:pt x="970" y="1841"/>
                  </a:lnTo>
                  <a:lnTo>
                    <a:pt x="968" y="1841"/>
                  </a:lnTo>
                  <a:lnTo>
                    <a:pt x="970" y="1840"/>
                  </a:lnTo>
                  <a:lnTo>
                    <a:pt x="968" y="1840"/>
                  </a:lnTo>
                  <a:lnTo>
                    <a:pt x="968" y="1838"/>
                  </a:lnTo>
                  <a:lnTo>
                    <a:pt x="968" y="1837"/>
                  </a:lnTo>
                  <a:lnTo>
                    <a:pt x="968" y="1838"/>
                  </a:lnTo>
                  <a:lnTo>
                    <a:pt x="967" y="1838"/>
                  </a:lnTo>
                  <a:lnTo>
                    <a:pt x="965" y="1838"/>
                  </a:lnTo>
                  <a:lnTo>
                    <a:pt x="965" y="1837"/>
                  </a:lnTo>
                  <a:lnTo>
                    <a:pt x="965" y="1838"/>
                  </a:lnTo>
                  <a:lnTo>
                    <a:pt x="963" y="1837"/>
                  </a:lnTo>
                  <a:lnTo>
                    <a:pt x="965" y="1837"/>
                  </a:lnTo>
                  <a:lnTo>
                    <a:pt x="963" y="1837"/>
                  </a:lnTo>
                  <a:lnTo>
                    <a:pt x="963" y="1838"/>
                  </a:lnTo>
                  <a:lnTo>
                    <a:pt x="963" y="1837"/>
                  </a:lnTo>
                  <a:lnTo>
                    <a:pt x="962" y="1837"/>
                  </a:lnTo>
                  <a:lnTo>
                    <a:pt x="962" y="1835"/>
                  </a:lnTo>
                  <a:lnTo>
                    <a:pt x="962" y="1833"/>
                  </a:lnTo>
                  <a:lnTo>
                    <a:pt x="962" y="1835"/>
                  </a:lnTo>
                  <a:lnTo>
                    <a:pt x="962" y="1833"/>
                  </a:lnTo>
                  <a:lnTo>
                    <a:pt x="962" y="1832"/>
                  </a:lnTo>
                  <a:lnTo>
                    <a:pt x="963" y="1832"/>
                  </a:lnTo>
                  <a:lnTo>
                    <a:pt x="963" y="1830"/>
                  </a:lnTo>
                  <a:lnTo>
                    <a:pt x="962" y="1832"/>
                  </a:lnTo>
                  <a:lnTo>
                    <a:pt x="962" y="1830"/>
                  </a:lnTo>
                  <a:lnTo>
                    <a:pt x="963" y="1830"/>
                  </a:lnTo>
                  <a:lnTo>
                    <a:pt x="963" y="1828"/>
                  </a:lnTo>
                  <a:close/>
                  <a:moveTo>
                    <a:pt x="563" y="1830"/>
                  </a:moveTo>
                  <a:lnTo>
                    <a:pt x="563" y="1828"/>
                  </a:lnTo>
                  <a:lnTo>
                    <a:pt x="563" y="1830"/>
                  </a:lnTo>
                  <a:close/>
                  <a:moveTo>
                    <a:pt x="968" y="1830"/>
                  </a:moveTo>
                  <a:lnTo>
                    <a:pt x="968" y="1828"/>
                  </a:lnTo>
                  <a:lnTo>
                    <a:pt x="968" y="1830"/>
                  </a:lnTo>
                  <a:close/>
                  <a:moveTo>
                    <a:pt x="560" y="1828"/>
                  </a:moveTo>
                  <a:lnTo>
                    <a:pt x="560" y="1830"/>
                  </a:lnTo>
                  <a:lnTo>
                    <a:pt x="560" y="1828"/>
                  </a:lnTo>
                  <a:close/>
                  <a:moveTo>
                    <a:pt x="968" y="1830"/>
                  </a:moveTo>
                  <a:lnTo>
                    <a:pt x="968" y="1828"/>
                  </a:lnTo>
                  <a:lnTo>
                    <a:pt x="970" y="1828"/>
                  </a:lnTo>
                  <a:lnTo>
                    <a:pt x="970" y="1830"/>
                  </a:lnTo>
                  <a:lnTo>
                    <a:pt x="970" y="1832"/>
                  </a:lnTo>
                  <a:lnTo>
                    <a:pt x="968" y="1832"/>
                  </a:lnTo>
                  <a:lnTo>
                    <a:pt x="970" y="1830"/>
                  </a:lnTo>
                  <a:lnTo>
                    <a:pt x="968" y="1830"/>
                  </a:lnTo>
                  <a:close/>
                  <a:moveTo>
                    <a:pt x="981" y="1828"/>
                  </a:moveTo>
                  <a:lnTo>
                    <a:pt x="981" y="1830"/>
                  </a:lnTo>
                  <a:lnTo>
                    <a:pt x="981" y="1828"/>
                  </a:lnTo>
                  <a:lnTo>
                    <a:pt x="983" y="1828"/>
                  </a:lnTo>
                  <a:lnTo>
                    <a:pt x="981" y="1828"/>
                  </a:lnTo>
                  <a:close/>
                  <a:moveTo>
                    <a:pt x="927" y="1828"/>
                  </a:moveTo>
                  <a:lnTo>
                    <a:pt x="927" y="1830"/>
                  </a:lnTo>
                  <a:lnTo>
                    <a:pt x="927" y="1828"/>
                  </a:lnTo>
                  <a:close/>
                  <a:moveTo>
                    <a:pt x="967" y="1828"/>
                  </a:moveTo>
                  <a:lnTo>
                    <a:pt x="968" y="1828"/>
                  </a:lnTo>
                  <a:lnTo>
                    <a:pt x="967" y="1828"/>
                  </a:lnTo>
                  <a:close/>
                  <a:moveTo>
                    <a:pt x="983" y="1828"/>
                  </a:moveTo>
                  <a:lnTo>
                    <a:pt x="983" y="1827"/>
                  </a:lnTo>
                  <a:lnTo>
                    <a:pt x="983" y="1828"/>
                  </a:lnTo>
                  <a:close/>
                  <a:moveTo>
                    <a:pt x="565" y="1828"/>
                  </a:moveTo>
                  <a:lnTo>
                    <a:pt x="563" y="1828"/>
                  </a:lnTo>
                  <a:lnTo>
                    <a:pt x="565" y="1827"/>
                  </a:lnTo>
                  <a:lnTo>
                    <a:pt x="565" y="1828"/>
                  </a:lnTo>
                  <a:close/>
                  <a:moveTo>
                    <a:pt x="932" y="1828"/>
                  </a:moveTo>
                  <a:lnTo>
                    <a:pt x="932" y="1830"/>
                  </a:lnTo>
                  <a:lnTo>
                    <a:pt x="932" y="1828"/>
                  </a:lnTo>
                  <a:lnTo>
                    <a:pt x="932" y="1827"/>
                  </a:lnTo>
                  <a:lnTo>
                    <a:pt x="932" y="1828"/>
                  </a:lnTo>
                  <a:close/>
                  <a:moveTo>
                    <a:pt x="934" y="1828"/>
                  </a:moveTo>
                  <a:lnTo>
                    <a:pt x="934" y="1827"/>
                  </a:lnTo>
                  <a:lnTo>
                    <a:pt x="934" y="1828"/>
                  </a:lnTo>
                  <a:close/>
                  <a:moveTo>
                    <a:pt x="971" y="1827"/>
                  </a:moveTo>
                  <a:lnTo>
                    <a:pt x="973" y="1827"/>
                  </a:lnTo>
                  <a:lnTo>
                    <a:pt x="971" y="1827"/>
                  </a:lnTo>
                  <a:close/>
                  <a:moveTo>
                    <a:pt x="965" y="1827"/>
                  </a:moveTo>
                  <a:lnTo>
                    <a:pt x="967" y="1827"/>
                  </a:lnTo>
                  <a:lnTo>
                    <a:pt x="965" y="1827"/>
                  </a:lnTo>
                  <a:close/>
                  <a:moveTo>
                    <a:pt x="927" y="1827"/>
                  </a:moveTo>
                  <a:lnTo>
                    <a:pt x="927" y="1828"/>
                  </a:lnTo>
                  <a:lnTo>
                    <a:pt x="927" y="1827"/>
                  </a:lnTo>
                  <a:close/>
                  <a:moveTo>
                    <a:pt x="936" y="1827"/>
                  </a:moveTo>
                  <a:lnTo>
                    <a:pt x="937" y="1827"/>
                  </a:lnTo>
                  <a:lnTo>
                    <a:pt x="936" y="1827"/>
                  </a:lnTo>
                  <a:close/>
                  <a:moveTo>
                    <a:pt x="566" y="1827"/>
                  </a:moveTo>
                  <a:lnTo>
                    <a:pt x="565" y="1827"/>
                  </a:lnTo>
                  <a:lnTo>
                    <a:pt x="566" y="1825"/>
                  </a:lnTo>
                  <a:lnTo>
                    <a:pt x="566" y="1827"/>
                  </a:lnTo>
                  <a:close/>
                  <a:moveTo>
                    <a:pt x="934" y="1827"/>
                  </a:moveTo>
                  <a:lnTo>
                    <a:pt x="934" y="1825"/>
                  </a:lnTo>
                  <a:lnTo>
                    <a:pt x="934" y="1827"/>
                  </a:lnTo>
                  <a:close/>
                  <a:moveTo>
                    <a:pt x="970" y="1827"/>
                  </a:moveTo>
                  <a:lnTo>
                    <a:pt x="970" y="1828"/>
                  </a:lnTo>
                  <a:lnTo>
                    <a:pt x="970" y="1825"/>
                  </a:lnTo>
                  <a:lnTo>
                    <a:pt x="970" y="1827"/>
                  </a:lnTo>
                  <a:close/>
                  <a:moveTo>
                    <a:pt x="965" y="1827"/>
                  </a:moveTo>
                  <a:lnTo>
                    <a:pt x="967" y="1825"/>
                  </a:lnTo>
                  <a:lnTo>
                    <a:pt x="967" y="1827"/>
                  </a:lnTo>
                  <a:lnTo>
                    <a:pt x="965" y="1827"/>
                  </a:lnTo>
                  <a:close/>
                  <a:moveTo>
                    <a:pt x="589" y="1825"/>
                  </a:moveTo>
                  <a:lnTo>
                    <a:pt x="589" y="1827"/>
                  </a:lnTo>
                  <a:lnTo>
                    <a:pt x="591" y="1827"/>
                  </a:lnTo>
                  <a:lnTo>
                    <a:pt x="591" y="1828"/>
                  </a:lnTo>
                  <a:lnTo>
                    <a:pt x="589" y="1827"/>
                  </a:lnTo>
                  <a:lnTo>
                    <a:pt x="589" y="1825"/>
                  </a:lnTo>
                  <a:close/>
                  <a:moveTo>
                    <a:pt x="983" y="1825"/>
                  </a:moveTo>
                  <a:lnTo>
                    <a:pt x="983" y="1827"/>
                  </a:lnTo>
                  <a:lnTo>
                    <a:pt x="983" y="1825"/>
                  </a:lnTo>
                  <a:lnTo>
                    <a:pt x="981" y="1825"/>
                  </a:lnTo>
                  <a:lnTo>
                    <a:pt x="983" y="1825"/>
                  </a:lnTo>
                  <a:close/>
                  <a:moveTo>
                    <a:pt x="560" y="1827"/>
                  </a:moveTo>
                  <a:lnTo>
                    <a:pt x="560" y="1825"/>
                  </a:lnTo>
                  <a:lnTo>
                    <a:pt x="560" y="1827"/>
                  </a:lnTo>
                  <a:lnTo>
                    <a:pt x="562" y="1825"/>
                  </a:lnTo>
                  <a:lnTo>
                    <a:pt x="562" y="1827"/>
                  </a:lnTo>
                  <a:lnTo>
                    <a:pt x="562" y="1828"/>
                  </a:lnTo>
                  <a:lnTo>
                    <a:pt x="560" y="1828"/>
                  </a:lnTo>
                  <a:lnTo>
                    <a:pt x="562" y="1828"/>
                  </a:lnTo>
                  <a:lnTo>
                    <a:pt x="562" y="1827"/>
                  </a:lnTo>
                  <a:lnTo>
                    <a:pt x="560" y="1828"/>
                  </a:lnTo>
                  <a:lnTo>
                    <a:pt x="560" y="1830"/>
                  </a:lnTo>
                  <a:lnTo>
                    <a:pt x="558" y="1830"/>
                  </a:lnTo>
                  <a:lnTo>
                    <a:pt x="558" y="1828"/>
                  </a:lnTo>
                  <a:lnTo>
                    <a:pt x="560" y="1830"/>
                  </a:lnTo>
                  <a:lnTo>
                    <a:pt x="560" y="1828"/>
                  </a:lnTo>
                  <a:lnTo>
                    <a:pt x="558" y="1828"/>
                  </a:lnTo>
                  <a:lnTo>
                    <a:pt x="558" y="1827"/>
                  </a:lnTo>
                  <a:lnTo>
                    <a:pt x="560" y="1827"/>
                  </a:lnTo>
                  <a:close/>
                  <a:moveTo>
                    <a:pt x="973" y="1827"/>
                  </a:moveTo>
                  <a:lnTo>
                    <a:pt x="973" y="1825"/>
                  </a:lnTo>
                  <a:lnTo>
                    <a:pt x="973" y="1827"/>
                  </a:lnTo>
                  <a:close/>
                  <a:moveTo>
                    <a:pt x="988" y="1827"/>
                  </a:moveTo>
                  <a:lnTo>
                    <a:pt x="986" y="1825"/>
                  </a:lnTo>
                  <a:lnTo>
                    <a:pt x="988" y="1825"/>
                  </a:lnTo>
                  <a:lnTo>
                    <a:pt x="988" y="1827"/>
                  </a:lnTo>
                  <a:close/>
                  <a:moveTo>
                    <a:pt x="965" y="1825"/>
                  </a:moveTo>
                  <a:lnTo>
                    <a:pt x="967" y="1825"/>
                  </a:lnTo>
                  <a:lnTo>
                    <a:pt x="965" y="1825"/>
                  </a:lnTo>
                  <a:close/>
                  <a:moveTo>
                    <a:pt x="975" y="1825"/>
                  </a:moveTo>
                  <a:lnTo>
                    <a:pt x="973" y="1825"/>
                  </a:lnTo>
                  <a:lnTo>
                    <a:pt x="975" y="1825"/>
                  </a:lnTo>
                  <a:close/>
                  <a:moveTo>
                    <a:pt x="566" y="1825"/>
                  </a:moveTo>
                  <a:lnTo>
                    <a:pt x="565" y="1825"/>
                  </a:lnTo>
                  <a:lnTo>
                    <a:pt x="566" y="1825"/>
                  </a:lnTo>
                  <a:close/>
                  <a:moveTo>
                    <a:pt x="960" y="1825"/>
                  </a:moveTo>
                  <a:lnTo>
                    <a:pt x="958" y="1825"/>
                  </a:lnTo>
                  <a:lnTo>
                    <a:pt x="960" y="1825"/>
                  </a:lnTo>
                  <a:lnTo>
                    <a:pt x="960" y="1824"/>
                  </a:lnTo>
                  <a:lnTo>
                    <a:pt x="960" y="1825"/>
                  </a:lnTo>
                  <a:close/>
                  <a:moveTo>
                    <a:pt x="965" y="1824"/>
                  </a:moveTo>
                  <a:lnTo>
                    <a:pt x="967" y="1824"/>
                  </a:lnTo>
                  <a:lnTo>
                    <a:pt x="965" y="1824"/>
                  </a:lnTo>
                  <a:close/>
                  <a:moveTo>
                    <a:pt x="924" y="1824"/>
                  </a:moveTo>
                  <a:lnTo>
                    <a:pt x="926" y="1824"/>
                  </a:lnTo>
                  <a:lnTo>
                    <a:pt x="927" y="1827"/>
                  </a:lnTo>
                  <a:lnTo>
                    <a:pt x="926" y="1827"/>
                  </a:lnTo>
                  <a:lnTo>
                    <a:pt x="927" y="1828"/>
                  </a:lnTo>
                  <a:lnTo>
                    <a:pt x="926" y="1828"/>
                  </a:lnTo>
                  <a:lnTo>
                    <a:pt x="926" y="1827"/>
                  </a:lnTo>
                  <a:lnTo>
                    <a:pt x="926" y="1828"/>
                  </a:lnTo>
                  <a:lnTo>
                    <a:pt x="924" y="1828"/>
                  </a:lnTo>
                  <a:lnTo>
                    <a:pt x="924" y="1827"/>
                  </a:lnTo>
                  <a:lnTo>
                    <a:pt x="924" y="1825"/>
                  </a:lnTo>
                  <a:lnTo>
                    <a:pt x="924" y="1824"/>
                  </a:lnTo>
                  <a:close/>
                  <a:moveTo>
                    <a:pt x="927" y="1825"/>
                  </a:moveTo>
                  <a:lnTo>
                    <a:pt x="927" y="1824"/>
                  </a:lnTo>
                  <a:lnTo>
                    <a:pt x="929" y="1824"/>
                  </a:lnTo>
                  <a:lnTo>
                    <a:pt x="931" y="1824"/>
                  </a:lnTo>
                  <a:lnTo>
                    <a:pt x="931" y="1825"/>
                  </a:lnTo>
                  <a:lnTo>
                    <a:pt x="932" y="1825"/>
                  </a:lnTo>
                  <a:lnTo>
                    <a:pt x="932" y="1827"/>
                  </a:lnTo>
                  <a:lnTo>
                    <a:pt x="931" y="1827"/>
                  </a:lnTo>
                  <a:lnTo>
                    <a:pt x="931" y="1828"/>
                  </a:lnTo>
                  <a:lnTo>
                    <a:pt x="932" y="1828"/>
                  </a:lnTo>
                  <a:lnTo>
                    <a:pt x="932" y="1830"/>
                  </a:lnTo>
                  <a:lnTo>
                    <a:pt x="931" y="1830"/>
                  </a:lnTo>
                  <a:lnTo>
                    <a:pt x="931" y="1832"/>
                  </a:lnTo>
                  <a:lnTo>
                    <a:pt x="931" y="1833"/>
                  </a:lnTo>
                  <a:lnTo>
                    <a:pt x="929" y="1833"/>
                  </a:lnTo>
                  <a:lnTo>
                    <a:pt x="931" y="1835"/>
                  </a:lnTo>
                  <a:lnTo>
                    <a:pt x="931" y="1837"/>
                  </a:lnTo>
                  <a:lnTo>
                    <a:pt x="931" y="1838"/>
                  </a:lnTo>
                  <a:lnTo>
                    <a:pt x="931" y="1840"/>
                  </a:lnTo>
                  <a:lnTo>
                    <a:pt x="929" y="1840"/>
                  </a:lnTo>
                  <a:lnTo>
                    <a:pt x="929" y="1838"/>
                  </a:lnTo>
                  <a:lnTo>
                    <a:pt x="929" y="1840"/>
                  </a:lnTo>
                  <a:lnTo>
                    <a:pt x="929" y="1838"/>
                  </a:lnTo>
                  <a:lnTo>
                    <a:pt x="929" y="1837"/>
                  </a:lnTo>
                  <a:lnTo>
                    <a:pt x="929" y="1835"/>
                  </a:lnTo>
                  <a:lnTo>
                    <a:pt x="929" y="1833"/>
                  </a:lnTo>
                  <a:lnTo>
                    <a:pt x="927" y="1833"/>
                  </a:lnTo>
                  <a:lnTo>
                    <a:pt x="927" y="1832"/>
                  </a:lnTo>
                  <a:lnTo>
                    <a:pt x="927" y="1830"/>
                  </a:lnTo>
                  <a:lnTo>
                    <a:pt x="927" y="1828"/>
                  </a:lnTo>
                  <a:lnTo>
                    <a:pt x="927" y="1827"/>
                  </a:lnTo>
                  <a:lnTo>
                    <a:pt x="929" y="1827"/>
                  </a:lnTo>
                  <a:lnTo>
                    <a:pt x="927" y="1827"/>
                  </a:lnTo>
                  <a:lnTo>
                    <a:pt x="927" y="1825"/>
                  </a:lnTo>
                  <a:close/>
                  <a:moveTo>
                    <a:pt x="936" y="1824"/>
                  </a:moveTo>
                  <a:lnTo>
                    <a:pt x="937" y="1824"/>
                  </a:lnTo>
                  <a:lnTo>
                    <a:pt x="936" y="1824"/>
                  </a:lnTo>
                  <a:close/>
                  <a:moveTo>
                    <a:pt x="596" y="1824"/>
                  </a:moveTo>
                  <a:lnTo>
                    <a:pt x="597" y="1824"/>
                  </a:lnTo>
                  <a:lnTo>
                    <a:pt x="596" y="1824"/>
                  </a:lnTo>
                  <a:close/>
                  <a:moveTo>
                    <a:pt x="971" y="1825"/>
                  </a:moveTo>
                  <a:lnTo>
                    <a:pt x="971" y="1824"/>
                  </a:lnTo>
                  <a:lnTo>
                    <a:pt x="973" y="1824"/>
                  </a:lnTo>
                  <a:lnTo>
                    <a:pt x="971" y="1825"/>
                  </a:lnTo>
                  <a:close/>
                  <a:moveTo>
                    <a:pt x="958" y="1822"/>
                  </a:moveTo>
                  <a:lnTo>
                    <a:pt x="960" y="1824"/>
                  </a:lnTo>
                  <a:lnTo>
                    <a:pt x="958" y="1824"/>
                  </a:lnTo>
                  <a:lnTo>
                    <a:pt x="958" y="1822"/>
                  </a:lnTo>
                  <a:close/>
                  <a:moveTo>
                    <a:pt x="934" y="1822"/>
                  </a:moveTo>
                  <a:lnTo>
                    <a:pt x="936" y="1822"/>
                  </a:lnTo>
                  <a:lnTo>
                    <a:pt x="934" y="1824"/>
                  </a:lnTo>
                  <a:lnTo>
                    <a:pt x="934" y="1822"/>
                  </a:lnTo>
                  <a:close/>
                  <a:moveTo>
                    <a:pt x="965" y="1822"/>
                  </a:moveTo>
                  <a:lnTo>
                    <a:pt x="965" y="1824"/>
                  </a:lnTo>
                  <a:lnTo>
                    <a:pt x="965" y="1822"/>
                  </a:lnTo>
                  <a:close/>
                  <a:moveTo>
                    <a:pt x="952" y="1824"/>
                  </a:moveTo>
                  <a:lnTo>
                    <a:pt x="952" y="1822"/>
                  </a:lnTo>
                  <a:lnTo>
                    <a:pt x="952" y="1824"/>
                  </a:lnTo>
                  <a:close/>
                  <a:moveTo>
                    <a:pt x="573" y="1822"/>
                  </a:moveTo>
                  <a:lnTo>
                    <a:pt x="575" y="1822"/>
                  </a:lnTo>
                  <a:lnTo>
                    <a:pt x="575" y="1824"/>
                  </a:lnTo>
                  <a:lnTo>
                    <a:pt x="576" y="1824"/>
                  </a:lnTo>
                  <a:lnTo>
                    <a:pt x="578" y="1824"/>
                  </a:lnTo>
                  <a:lnTo>
                    <a:pt x="578" y="1825"/>
                  </a:lnTo>
                  <a:lnTo>
                    <a:pt x="579" y="1825"/>
                  </a:lnTo>
                  <a:lnTo>
                    <a:pt x="579" y="1827"/>
                  </a:lnTo>
                  <a:lnTo>
                    <a:pt x="581" y="1827"/>
                  </a:lnTo>
                  <a:lnTo>
                    <a:pt x="581" y="1828"/>
                  </a:lnTo>
                  <a:lnTo>
                    <a:pt x="581" y="1830"/>
                  </a:lnTo>
                  <a:lnTo>
                    <a:pt x="579" y="1830"/>
                  </a:lnTo>
                  <a:lnTo>
                    <a:pt x="579" y="1832"/>
                  </a:lnTo>
                  <a:lnTo>
                    <a:pt x="581" y="1832"/>
                  </a:lnTo>
                  <a:lnTo>
                    <a:pt x="581" y="1833"/>
                  </a:lnTo>
                  <a:lnTo>
                    <a:pt x="583" y="1833"/>
                  </a:lnTo>
                  <a:lnTo>
                    <a:pt x="583" y="1832"/>
                  </a:lnTo>
                  <a:lnTo>
                    <a:pt x="584" y="1832"/>
                  </a:lnTo>
                  <a:lnTo>
                    <a:pt x="586" y="1832"/>
                  </a:lnTo>
                  <a:lnTo>
                    <a:pt x="588" y="1832"/>
                  </a:lnTo>
                  <a:lnTo>
                    <a:pt x="586" y="1832"/>
                  </a:lnTo>
                  <a:lnTo>
                    <a:pt x="586" y="1833"/>
                  </a:lnTo>
                  <a:lnTo>
                    <a:pt x="584" y="1833"/>
                  </a:lnTo>
                  <a:lnTo>
                    <a:pt x="583" y="1833"/>
                  </a:lnTo>
                  <a:lnTo>
                    <a:pt x="581" y="1833"/>
                  </a:lnTo>
                  <a:lnTo>
                    <a:pt x="579" y="1832"/>
                  </a:lnTo>
                  <a:lnTo>
                    <a:pt x="578" y="1833"/>
                  </a:lnTo>
                  <a:lnTo>
                    <a:pt x="576" y="1833"/>
                  </a:lnTo>
                  <a:lnTo>
                    <a:pt x="576" y="1832"/>
                  </a:lnTo>
                  <a:lnTo>
                    <a:pt x="576" y="1830"/>
                  </a:lnTo>
                  <a:lnTo>
                    <a:pt x="578" y="1832"/>
                  </a:lnTo>
                  <a:lnTo>
                    <a:pt x="579" y="1832"/>
                  </a:lnTo>
                  <a:lnTo>
                    <a:pt x="578" y="1832"/>
                  </a:lnTo>
                  <a:lnTo>
                    <a:pt x="578" y="1830"/>
                  </a:lnTo>
                  <a:lnTo>
                    <a:pt x="576" y="1830"/>
                  </a:lnTo>
                  <a:lnTo>
                    <a:pt x="578" y="1830"/>
                  </a:lnTo>
                  <a:lnTo>
                    <a:pt x="579" y="1830"/>
                  </a:lnTo>
                  <a:lnTo>
                    <a:pt x="579" y="1828"/>
                  </a:lnTo>
                  <a:lnTo>
                    <a:pt x="579" y="1827"/>
                  </a:lnTo>
                  <a:lnTo>
                    <a:pt x="579" y="1828"/>
                  </a:lnTo>
                  <a:lnTo>
                    <a:pt x="578" y="1828"/>
                  </a:lnTo>
                  <a:lnTo>
                    <a:pt x="576" y="1828"/>
                  </a:lnTo>
                  <a:lnTo>
                    <a:pt x="578" y="1827"/>
                  </a:lnTo>
                  <a:lnTo>
                    <a:pt x="576" y="1827"/>
                  </a:lnTo>
                  <a:lnTo>
                    <a:pt x="575" y="1827"/>
                  </a:lnTo>
                  <a:lnTo>
                    <a:pt x="575" y="1825"/>
                  </a:lnTo>
                  <a:lnTo>
                    <a:pt x="575" y="1824"/>
                  </a:lnTo>
                  <a:lnTo>
                    <a:pt x="573" y="1824"/>
                  </a:lnTo>
                  <a:lnTo>
                    <a:pt x="573" y="1825"/>
                  </a:lnTo>
                  <a:lnTo>
                    <a:pt x="575" y="1825"/>
                  </a:lnTo>
                  <a:lnTo>
                    <a:pt x="573" y="1825"/>
                  </a:lnTo>
                  <a:lnTo>
                    <a:pt x="571" y="1825"/>
                  </a:lnTo>
                  <a:lnTo>
                    <a:pt x="573" y="1825"/>
                  </a:lnTo>
                  <a:lnTo>
                    <a:pt x="571" y="1825"/>
                  </a:lnTo>
                  <a:lnTo>
                    <a:pt x="571" y="1824"/>
                  </a:lnTo>
                  <a:lnTo>
                    <a:pt x="573" y="1824"/>
                  </a:lnTo>
                  <a:lnTo>
                    <a:pt x="571" y="1824"/>
                  </a:lnTo>
                  <a:lnTo>
                    <a:pt x="571" y="1822"/>
                  </a:lnTo>
                  <a:lnTo>
                    <a:pt x="571" y="1824"/>
                  </a:lnTo>
                  <a:lnTo>
                    <a:pt x="573" y="1822"/>
                  </a:lnTo>
                  <a:close/>
                  <a:moveTo>
                    <a:pt x="571" y="1822"/>
                  </a:moveTo>
                  <a:lnTo>
                    <a:pt x="573" y="1822"/>
                  </a:lnTo>
                  <a:lnTo>
                    <a:pt x="571" y="1822"/>
                  </a:lnTo>
                  <a:close/>
                  <a:moveTo>
                    <a:pt x="939" y="1822"/>
                  </a:moveTo>
                  <a:lnTo>
                    <a:pt x="940" y="1822"/>
                  </a:lnTo>
                  <a:lnTo>
                    <a:pt x="939" y="1822"/>
                  </a:lnTo>
                  <a:close/>
                  <a:moveTo>
                    <a:pt x="589" y="1822"/>
                  </a:moveTo>
                  <a:lnTo>
                    <a:pt x="591" y="1822"/>
                  </a:lnTo>
                  <a:lnTo>
                    <a:pt x="592" y="1822"/>
                  </a:lnTo>
                  <a:lnTo>
                    <a:pt x="594" y="1824"/>
                  </a:lnTo>
                  <a:lnTo>
                    <a:pt x="592" y="1824"/>
                  </a:lnTo>
                  <a:lnTo>
                    <a:pt x="592" y="1825"/>
                  </a:lnTo>
                  <a:lnTo>
                    <a:pt x="591" y="1825"/>
                  </a:lnTo>
                  <a:lnTo>
                    <a:pt x="591" y="1824"/>
                  </a:lnTo>
                  <a:lnTo>
                    <a:pt x="589" y="1824"/>
                  </a:lnTo>
                  <a:lnTo>
                    <a:pt x="589" y="1822"/>
                  </a:lnTo>
                  <a:close/>
                  <a:moveTo>
                    <a:pt x="936" y="1822"/>
                  </a:moveTo>
                  <a:lnTo>
                    <a:pt x="936" y="1824"/>
                  </a:lnTo>
                  <a:lnTo>
                    <a:pt x="936" y="1822"/>
                  </a:lnTo>
                  <a:close/>
                  <a:moveTo>
                    <a:pt x="591" y="1822"/>
                  </a:moveTo>
                  <a:lnTo>
                    <a:pt x="589" y="1822"/>
                  </a:lnTo>
                  <a:lnTo>
                    <a:pt x="591" y="1822"/>
                  </a:lnTo>
                  <a:close/>
                  <a:moveTo>
                    <a:pt x="926" y="1822"/>
                  </a:moveTo>
                  <a:lnTo>
                    <a:pt x="926" y="1824"/>
                  </a:lnTo>
                  <a:lnTo>
                    <a:pt x="926" y="1822"/>
                  </a:lnTo>
                  <a:lnTo>
                    <a:pt x="926" y="1820"/>
                  </a:lnTo>
                  <a:lnTo>
                    <a:pt x="926" y="1822"/>
                  </a:lnTo>
                  <a:close/>
                  <a:moveTo>
                    <a:pt x="953" y="1822"/>
                  </a:moveTo>
                  <a:lnTo>
                    <a:pt x="953" y="1820"/>
                  </a:lnTo>
                  <a:lnTo>
                    <a:pt x="953" y="1822"/>
                  </a:lnTo>
                  <a:close/>
                  <a:moveTo>
                    <a:pt x="958" y="1820"/>
                  </a:moveTo>
                  <a:lnTo>
                    <a:pt x="960" y="1820"/>
                  </a:lnTo>
                  <a:lnTo>
                    <a:pt x="958" y="1820"/>
                  </a:lnTo>
                  <a:close/>
                  <a:moveTo>
                    <a:pt x="936" y="1820"/>
                  </a:moveTo>
                  <a:lnTo>
                    <a:pt x="936" y="1822"/>
                  </a:lnTo>
                  <a:lnTo>
                    <a:pt x="936" y="1820"/>
                  </a:lnTo>
                  <a:close/>
                  <a:moveTo>
                    <a:pt x="939" y="1822"/>
                  </a:moveTo>
                  <a:lnTo>
                    <a:pt x="939" y="1820"/>
                  </a:lnTo>
                  <a:lnTo>
                    <a:pt x="939" y="1822"/>
                  </a:lnTo>
                  <a:close/>
                  <a:moveTo>
                    <a:pt x="609" y="1819"/>
                  </a:moveTo>
                  <a:lnTo>
                    <a:pt x="610" y="1820"/>
                  </a:lnTo>
                  <a:lnTo>
                    <a:pt x="609" y="1820"/>
                  </a:lnTo>
                  <a:lnTo>
                    <a:pt x="609" y="1819"/>
                  </a:lnTo>
                  <a:close/>
                  <a:moveTo>
                    <a:pt x="605" y="1820"/>
                  </a:moveTo>
                  <a:lnTo>
                    <a:pt x="605" y="1819"/>
                  </a:lnTo>
                  <a:lnTo>
                    <a:pt x="607" y="1820"/>
                  </a:lnTo>
                  <a:lnTo>
                    <a:pt x="605" y="1820"/>
                  </a:lnTo>
                  <a:close/>
                  <a:moveTo>
                    <a:pt x="596" y="1819"/>
                  </a:moveTo>
                  <a:lnTo>
                    <a:pt x="596" y="1820"/>
                  </a:lnTo>
                  <a:lnTo>
                    <a:pt x="596" y="1819"/>
                  </a:lnTo>
                  <a:close/>
                  <a:moveTo>
                    <a:pt x="926" y="1820"/>
                  </a:moveTo>
                  <a:lnTo>
                    <a:pt x="924" y="1820"/>
                  </a:lnTo>
                  <a:lnTo>
                    <a:pt x="924" y="1819"/>
                  </a:lnTo>
                  <a:lnTo>
                    <a:pt x="926" y="1820"/>
                  </a:lnTo>
                  <a:close/>
                  <a:moveTo>
                    <a:pt x="939" y="1819"/>
                  </a:moveTo>
                  <a:lnTo>
                    <a:pt x="939" y="1820"/>
                  </a:lnTo>
                  <a:lnTo>
                    <a:pt x="939" y="1819"/>
                  </a:lnTo>
                  <a:close/>
                  <a:moveTo>
                    <a:pt x="942" y="1820"/>
                  </a:moveTo>
                  <a:lnTo>
                    <a:pt x="940" y="1820"/>
                  </a:lnTo>
                  <a:lnTo>
                    <a:pt x="942" y="1819"/>
                  </a:lnTo>
                  <a:lnTo>
                    <a:pt x="942" y="1820"/>
                  </a:lnTo>
                  <a:close/>
                  <a:moveTo>
                    <a:pt x="940" y="1819"/>
                  </a:moveTo>
                  <a:lnTo>
                    <a:pt x="940" y="1820"/>
                  </a:lnTo>
                  <a:lnTo>
                    <a:pt x="940" y="1819"/>
                  </a:lnTo>
                  <a:close/>
                  <a:moveTo>
                    <a:pt x="605" y="1819"/>
                  </a:moveTo>
                  <a:lnTo>
                    <a:pt x="604" y="1819"/>
                  </a:lnTo>
                  <a:lnTo>
                    <a:pt x="605" y="1819"/>
                  </a:lnTo>
                  <a:close/>
                  <a:moveTo>
                    <a:pt x="937" y="1820"/>
                  </a:moveTo>
                  <a:lnTo>
                    <a:pt x="937" y="1819"/>
                  </a:lnTo>
                  <a:lnTo>
                    <a:pt x="937" y="1820"/>
                  </a:lnTo>
                  <a:close/>
                  <a:moveTo>
                    <a:pt x="936" y="1819"/>
                  </a:moveTo>
                  <a:lnTo>
                    <a:pt x="936" y="1820"/>
                  </a:lnTo>
                  <a:lnTo>
                    <a:pt x="936" y="1819"/>
                  </a:lnTo>
                  <a:lnTo>
                    <a:pt x="936" y="1817"/>
                  </a:lnTo>
                  <a:lnTo>
                    <a:pt x="937" y="1819"/>
                  </a:lnTo>
                  <a:lnTo>
                    <a:pt x="936" y="1819"/>
                  </a:lnTo>
                  <a:close/>
                  <a:moveTo>
                    <a:pt x="934" y="1819"/>
                  </a:moveTo>
                  <a:lnTo>
                    <a:pt x="934" y="1820"/>
                  </a:lnTo>
                  <a:lnTo>
                    <a:pt x="934" y="1819"/>
                  </a:lnTo>
                  <a:lnTo>
                    <a:pt x="934" y="1817"/>
                  </a:lnTo>
                  <a:lnTo>
                    <a:pt x="936" y="1819"/>
                  </a:lnTo>
                  <a:lnTo>
                    <a:pt x="934" y="1819"/>
                  </a:lnTo>
                  <a:close/>
                  <a:moveTo>
                    <a:pt x="575" y="1817"/>
                  </a:moveTo>
                  <a:lnTo>
                    <a:pt x="575" y="1819"/>
                  </a:lnTo>
                  <a:lnTo>
                    <a:pt x="576" y="1819"/>
                  </a:lnTo>
                  <a:lnTo>
                    <a:pt x="578" y="1819"/>
                  </a:lnTo>
                  <a:lnTo>
                    <a:pt x="578" y="1820"/>
                  </a:lnTo>
                  <a:lnTo>
                    <a:pt x="579" y="1819"/>
                  </a:lnTo>
                  <a:lnTo>
                    <a:pt x="579" y="1820"/>
                  </a:lnTo>
                  <a:lnTo>
                    <a:pt x="581" y="1820"/>
                  </a:lnTo>
                  <a:lnTo>
                    <a:pt x="581" y="1822"/>
                  </a:lnTo>
                  <a:lnTo>
                    <a:pt x="583" y="1820"/>
                  </a:lnTo>
                  <a:lnTo>
                    <a:pt x="584" y="1820"/>
                  </a:lnTo>
                  <a:lnTo>
                    <a:pt x="586" y="1820"/>
                  </a:lnTo>
                  <a:lnTo>
                    <a:pt x="588" y="1822"/>
                  </a:lnTo>
                  <a:lnTo>
                    <a:pt x="588" y="1824"/>
                  </a:lnTo>
                  <a:lnTo>
                    <a:pt x="588" y="1825"/>
                  </a:lnTo>
                  <a:lnTo>
                    <a:pt x="588" y="1827"/>
                  </a:lnTo>
                  <a:lnTo>
                    <a:pt x="588" y="1828"/>
                  </a:lnTo>
                  <a:lnTo>
                    <a:pt x="586" y="1828"/>
                  </a:lnTo>
                  <a:lnTo>
                    <a:pt x="584" y="1828"/>
                  </a:lnTo>
                  <a:lnTo>
                    <a:pt x="583" y="1827"/>
                  </a:lnTo>
                  <a:lnTo>
                    <a:pt x="581" y="1825"/>
                  </a:lnTo>
                  <a:lnTo>
                    <a:pt x="581" y="1824"/>
                  </a:lnTo>
                  <a:lnTo>
                    <a:pt x="581" y="1825"/>
                  </a:lnTo>
                  <a:lnTo>
                    <a:pt x="581" y="1824"/>
                  </a:lnTo>
                  <a:lnTo>
                    <a:pt x="579" y="1824"/>
                  </a:lnTo>
                  <a:lnTo>
                    <a:pt x="578" y="1824"/>
                  </a:lnTo>
                  <a:lnTo>
                    <a:pt x="578" y="1822"/>
                  </a:lnTo>
                  <a:lnTo>
                    <a:pt x="576" y="1822"/>
                  </a:lnTo>
                  <a:lnTo>
                    <a:pt x="576" y="1820"/>
                  </a:lnTo>
                  <a:lnTo>
                    <a:pt x="575" y="1820"/>
                  </a:lnTo>
                  <a:lnTo>
                    <a:pt x="573" y="1820"/>
                  </a:lnTo>
                  <a:lnTo>
                    <a:pt x="573" y="1822"/>
                  </a:lnTo>
                  <a:lnTo>
                    <a:pt x="573" y="1820"/>
                  </a:lnTo>
                  <a:lnTo>
                    <a:pt x="571" y="1820"/>
                  </a:lnTo>
                  <a:lnTo>
                    <a:pt x="573" y="1820"/>
                  </a:lnTo>
                  <a:lnTo>
                    <a:pt x="573" y="1819"/>
                  </a:lnTo>
                  <a:lnTo>
                    <a:pt x="575" y="1820"/>
                  </a:lnTo>
                  <a:lnTo>
                    <a:pt x="573" y="1819"/>
                  </a:lnTo>
                  <a:lnTo>
                    <a:pt x="573" y="1817"/>
                  </a:lnTo>
                  <a:lnTo>
                    <a:pt x="575" y="1817"/>
                  </a:lnTo>
                  <a:close/>
                  <a:moveTo>
                    <a:pt x="602" y="1819"/>
                  </a:moveTo>
                  <a:lnTo>
                    <a:pt x="602" y="1817"/>
                  </a:lnTo>
                  <a:lnTo>
                    <a:pt x="604" y="1817"/>
                  </a:lnTo>
                  <a:lnTo>
                    <a:pt x="602" y="1819"/>
                  </a:lnTo>
                  <a:close/>
                  <a:moveTo>
                    <a:pt x="545" y="1817"/>
                  </a:moveTo>
                  <a:lnTo>
                    <a:pt x="547" y="1817"/>
                  </a:lnTo>
                  <a:lnTo>
                    <a:pt x="545" y="1817"/>
                  </a:lnTo>
                  <a:close/>
                  <a:moveTo>
                    <a:pt x="597" y="1817"/>
                  </a:moveTo>
                  <a:lnTo>
                    <a:pt x="599" y="1817"/>
                  </a:lnTo>
                  <a:lnTo>
                    <a:pt x="599" y="1815"/>
                  </a:lnTo>
                  <a:lnTo>
                    <a:pt x="599" y="1817"/>
                  </a:lnTo>
                  <a:lnTo>
                    <a:pt x="599" y="1819"/>
                  </a:lnTo>
                  <a:lnTo>
                    <a:pt x="601" y="1819"/>
                  </a:lnTo>
                  <a:lnTo>
                    <a:pt x="601" y="1820"/>
                  </a:lnTo>
                  <a:lnTo>
                    <a:pt x="599" y="1820"/>
                  </a:lnTo>
                  <a:lnTo>
                    <a:pt x="599" y="1822"/>
                  </a:lnTo>
                  <a:lnTo>
                    <a:pt x="597" y="1822"/>
                  </a:lnTo>
                  <a:lnTo>
                    <a:pt x="596" y="1822"/>
                  </a:lnTo>
                  <a:lnTo>
                    <a:pt x="596" y="1824"/>
                  </a:lnTo>
                  <a:lnTo>
                    <a:pt x="596" y="1822"/>
                  </a:lnTo>
                  <a:lnTo>
                    <a:pt x="594" y="1820"/>
                  </a:lnTo>
                  <a:lnTo>
                    <a:pt x="596" y="1820"/>
                  </a:lnTo>
                  <a:lnTo>
                    <a:pt x="597" y="1820"/>
                  </a:lnTo>
                  <a:lnTo>
                    <a:pt x="597" y="1819"/>
                  </a:lnTo>
                  <a:lnTo>
                    <a:pt x="596" y="1819"/>
                  </a:lnTo>
                  <a:lnTo>
                    <a:pt x="597" y="1817"/>
                  </a:lnTo>
                  <a:close/>
                  <a:moveTo>
                    <a:pt x="594" y="1817"/>
                  </a:moveTo>
                  <a:lnTo>
                    <a:pt x="594" y="1815"/>
                  </a:lnTo>
                  <a:lnTo>
                    <a:pt x="594" y="1817"/>
                  </a:lnTo>
                  <a:close/>
                  <a:moveTo>
                    <a:pt x="549" y="1817"/>
                  </a:moveTo>
                  <a:lnTo>
                    <a:pt x="547" y="1817"/>
                  </a:lnTo>
                  <a:lnTo>
                    <a:pt x="549" y="1815"/>
                  </a:lnTo>
                  <a:lnTo>
                    <a:pt x="549" y="1817"/>
                  </a:lnTo>
                  <a:close/>
                  <a:moveTo>
                    <a:pt x="934" y="1817"/>
                  </a:moveTo>
                  <a:lnTo>
                    <a:pt x="934" y="1815"/>
                  </a:lnTo>
                  <a:lnTo>
                    <a:pt x="936" y="1815"/>
                  </a:lnTo>
                  <a:lnTo>
                    <a:pt x="936" y="1817"/>
                  </a:lnTo>
                  <a:lnTo>
                    <a:pt x="934" y="1817"/>
                  </a:lnTo>
                  <a:close/>
                  <a:moveTo>
                    <a:pt x="581" y="1817"/>
                  </a:moveTo>
                  <a:lnTo>
                    <a:pt x="581" y="1815"/>
                  </a:lnTo>
                  <a:lnTo>
                    <a:pt x="581" y="1817"/>
                  </a:lnTo>
                  <a:close/>
                  <a:moveTo>
                    <a:pt x="547" y="1815"/>
                  </a:moveTo>
                  <a:lnTo>
                    <a:pt x="547" y="1817"/>
                  </a:lnTo>
                  <a:lnTo>
                    <a:pt x="547" y="1815"/>
                  </a:lnTo>
                  <a:close/>
                  <a:moveTo>
                    <a:pt x="937" y="1817"/>
                  </a:moveTo>
                  <a:lnTo>
                    <a:pt x="937" y="1815"/>
                  </a:lnTo>
                  <a:lnTo>
                    <a:pt x="937" y="1817"/>
                  </a:lnTo>
                  <a:close/>
                  <a:moveTo>
                    <a:pt x="939" y="1817"/>
                  </a:moveTo>
                  <a:lnTo>
                    <a:pt x="939" y="1815"/>
                  </a:lnTo>
                  <a:lnTo>
                    <a:pt x="939" y="1817"/>
                  </a:lnTo>
                  <a:lnTo>
                    <a:pt x="940" y="1815"/>
                  </a:lnTo>
                  <a:lnTo>
                    <a:pt x="940" y="1817"/>
                  </a:lnTo>
                  <a:lnTo>
                    <a:pt x="942" y="1817"/>
                  </a:lnTo>
                  <a:lnTo>
                    <a:pt x="940" y="1817"/>
                  </a:lnTo>
                  <a:lnTo>
                    <a:pt x="942" y="1817"/>
                  </a:lnTo>
                  <a:lnTo>
                    <a:pt x="942" y="1819"/>
                  </a:lnTo>
                  <a:lnTo>
                    <a:pt x="942" y="1820"/>
                  </a:lnTo>
                  <a:lnTo>
                    <a:pt x="942" y="1819"/>
                  </a:lnTo>
                  <a:lnTo>
                    <a:pt x="940" y="1819"/>
                  </a:lnTo>
                  <a:lnTo>
                    <a:pt x="940" y="1817"/>
                  </a:lnTo>
                  <a:lnTo>
                    <a:pt x="939" y="1817"/>
                  </a:lnTo>
                  <a:close/>
                  <a:moveTo>
                    <a:pt x="927" y="1815"/>
                  </a:moveTo>
                  <a:lnTo>
                    <a:pt x="927" y="1817"/>
                  </a:lnTo>
                  <a:lnTo>
                    <a:pt x="927" y="1815"/>
                  </a:lnTo>
                  <a:close/>
                  <a:moveTo>
                    <a:pt x="604" y="1817"/>
                  </a:moveTo>
                  <a:lnTo>
                    <a:pt x="602" y="1817"/>
                  </a:lnTo>
                  <a:lnTo>
                    <a:pt x="601" y="1815"/>
                  </a:lnTo>
                  <a:lnTo>
                    <a:pt x="602" y="1815"/>
                  </a:lnTo>
                  <a:lnTo>
                    <a:pt x="604" y="1815"/>
                  </a:lnTo>
                  <a:lnTo>
                    <a:pt x="604" y="1817"/>
                  </a:lnTo>
                  <a:close/>
                  <a:moveTo>
                    <a:pt x="937" y="1815"/>
                  </a:moveTo>
                  <a:lnTo>
                    <a:pt x="939" y="1815"/>
                  </a:lnTo>
                  <a:lnTo>
                    <a:pt x="939" y="1817"/>
                  </a:lnTo>
                  <a:lnTo>
                    <a:pt x="937" y="1817"/>
                  </a:lnTo>
                  <a:lnTo>
                    <a:pt x="937" y="1815"/>
                  </a:lnTo>
                  <a:close/>
                  <a:moveTo>
                    <a:pt x="937" y="1815"/>
                  </a:moveTo>
                  <a:lnTo>
                    <a:pt x="937" y="1817"/>
                  </a:lnTo>
                  <a:lnTo>
                    <a:pt x="937" y="1815"/>
                  </a:lnTo>
                  <a:close/>
                  <a:moveTo>
                    <a:pt x="586" y="1815"/>
                  </a:moveTo>
                  <a:lnTo>
                    <a:pt x="584" y="1815"/>
                  </a:lnTo>
                  <a:lnTo>
                    <a:pt x="586" y="1815"/>
                  </a:lnTo>
                  <a:close/>
                  <a:moveTo>
                    <a:pt x="562" y="1815"/>
                  </a:moveTo>
                  <a:lnTo>
                    <a:pt x="562" y="1814"/>
                  </a:lnTo>
                  <a:lnTo>
                    <a:pt x="562" y="1815"/>
                  </a:lnTo>
                  <a:close/>
                  <a:moveTo>
                    <a:pt x="957" y="1814"/>
                  </a:moveTo>
                  <a:lnTo>
                    <a:pt x="957" y="1815"/>
                  </a:lnTo>
                  <a:lnTo>
                    <a:pt x="957" y="1817"/>
                  </a:lnTo>
                  <a:lnTo>
                    <a:pt x="958" y="1817"/>
                  </a:lnTo>
                  <a:lnTo>
                    <a:pt x="958" y="1819"/>
                  </a:lnTo>
                  <a:lnTo>
                    <a:pt x="957" y="1819"/>
                  </a:lnTo>
                  <a:lnTo>
                    <a:pt x="957" y="1820"/>
                  </a:lnTo>
                  <a:lnTo>
                    <a:pt x="957" y="1819"/>
                  </a:lnTo>
                  <a:lnTo>
                    <a:pt x="957" y="1817"/>
                  </a:lnTo>
                  <a:lnTo>
                    <a:pt x="955" y="1817"/>
                  </a:lnTo>
                  <a:lnTo>
                    <a:pt x="955" y="1815"/>
                  </a:lnTo>
                  <a:lnTo>
                    <a:pt x="957" y="1815"/>
                  </a:lnTo>
                  <a:lnTo>
                    <a:pt x="955" y="1815"/>
                  </a:lnTo>
                  <a:lnTo>
                    <a:pt x="957" y="1814"/>
                  </a:lnTo>
                  <a:close/>
                  <a:moveTo>
                    <a:pt x="602" y="1815"/>
                  </a:moveTo>
                  <a:lnTo>
                    <a:pt x="602" y="1814"/>
                  </a:lnTo>
                  <a:lnTo>
                    <a:pt x="602" y="1815"/>
                  </a:lnTo>
                  <a:close/>
                  <a:moveTo>
                    <a:pt x="955" y="1815"/>
                  </a:moveTo>
                  <a:lnTo>
                    <a:pt x="953" y="1815"/>
                  </a:lnTo>
                  <a:lnTo>
                    <a:pt x="955" y="1815"/>
                  </a:lnTo>
                  <a:lnTo>
                    <a:pt x="953" y="1814"/>
                  </a:lnTo>
                  <a:lnTo>
                    <a:pt x="955" y="1815"/>
                  </a:lnTo>
                  <a:close/>
                  <a:moveTo>
                    <a:pt x="599" y="1814"/>
                  </a:moveTo>
                  <a:lnTo>
                    <a:pt x="601" y="1815"/>
                  </a:lnTo>
                  <a:lnTo>
                    <a:pt x="601" y="1814"/>
                  </a:lnTo>
                  <a:lnTo>
                    <a:pt x="601" y="1815"/>
                  </a:lnTo>
                  <a:lnTo>
                    <a:pt x="601" y="1817"/>
                  </a:lnTo>
                  <a:lnTo>
                    <a:pt x="601" y="1815"/>
                  </a:lnTo>
                  <a:lnTo>
                    <a:pt x="601" y="1817"/>
                  </a:lnTo>
                  <a:lnTo>
                    <a:pt x="599" y="1817"/>
                  </a:lnTo>
                  <a:lnTo>
                    <a:pt x="599" y="1815"/>
                  </a:lnTo>
                  <a:lnTo>
                    <a:pt x="599" y="1814"/>
                  </a:lnTo>
                  <a:close/>
                  <a:moveTo>
                    <a:pt x="584" y="1814"/>
                  </a:moveTo>
                  <a:lnTo>
                    <a:pt x="586" y="1814"/>
                  </a:lnTo>
                  <a:lnTo>
                    <a:pt x="586" y="1815"/>
                  </a:lnTo>
                  <a:lnTo>
                    <a:pt x="584" y="1814"/>
                  </a:lnTo>
                  <a:close/>
                  <a:moveTo>
                    <a:pt x="602" y="1814"/>
                  </a:moveTo>
                  <a:lnTo>
                    <a:pt x="604" y="1814"/>
                  </a:lnTo>
                  <a:lnTo>
                    <a:pt x="604" y="1815"/>
                  </a:lnTo>
                  <a:lnTo>
                    <a:pt x="602" y="1814"/>
                  </a:lnTo>
                  <a:close/>
                  <a:moveTo>
                    <a:pt x="584" y="1814"/>
                  </a:moveTo>
                  <a:lnTo>
                    <a:pt x="584" y="1815"/>
                  </a:lnTo>
                  <a:lnTo>
                    <a:pt x="584" y="1814"/>
                  </a:lnTo>
                  <a:close/>
                  <a:moveTo>
                    <a:pt x="563" y="1814"/>
                  </a:moveTo>
                  <a:lnTo>
                    <a:pt x="565" y="1814"/>
                  </a:lnTo>
                  <a:lnTo>
                    <a:pt x="563" y="1814"/>
                  </a:lnTo>
                  <a:close/>
                  <a:moveTo>
                    <a:pt x="544" y="1814"/>
                  </a:moveTo>
                  <a:lnTo>
                    <a:pt x="544" y="1815"/>
                  </a:lnTo>
                  <a:lnTo>
                    <a:pt x="544" y="1814"/>
                  </a:lnTo>
                  <a:close/>
                  <a:moveTo>
                    <a:pt x="581" y="1814"/>
                  </a:moveTo>
                  <a:lnTo>
                    <a:pt x="583" y="1814"/>
                  </a:lnTo>
                  <a:lnTo>
                    <a:pt x="581" y="1814"/>
                  </a:lnTo>
                  <a:close/>
                  <a:moveTo>
                    <a:pt x="599" y="1814"/>
                  </a:moveTo>
                  <a:lnTo>
                    <a:pt x="601" y="1814"/>
                  </a:lnTo>
                  <a:lnTo>
                    <a:pt x="599" y="1814"/>
                  </a:lnTo>
                  <a:close/>
                  <a:moveTo>
                    <a:pt x="583" y="1812"/>
                  </a:moveTo>
                  <a:lnTo>
                    <a:pt x="583" y="1814"/>
                  </a:lnTo>
                  <a:lnTo>
                    <a:pt x="583" y="1812"/>
                  </a:lnTo>
                  <a:close/>
                  <a:moveTo>
                    <a:pt x="937" y="1812"/>
                  </a:moveTo>
                  <a:lnTo>
                    <a:pt x="937" y="1814"/>
                  </a:lnTo>
                  <a:lnTo>
                    <a:pt x="937" y="1812"/>
                  </a:lnTo>
                  <a:close/>
                  <a:moveTo>
                    <a:pt x="936" y="1814"/>
                  </a:moveTo>
                  <a:lnTo>
                    <a:pt x="936" y="1812"/>
                  </a:lnTo>
                  <a:lnTo>
                    <a:pt x="936" y="1814"/>
                  </a:lnTo>
                  <a:close/>
                  <a:moveTo>
                    <a:pt x="936" y="1814"/>
                  </a:moveTo>
                  <a:lnTo>
                    <a:pt x="934" y="1814"/>
                  </a:lnTo>
                  <a:lnTo>
                    <a:pt x="934" y="1812"/>
                  </a:lnTo>
                  <a:lnTo>
                    <a:pt x="936" y="1812"/>
                  </a:lnTo>
                  <a:lnTo>
                    <a:pt x="936" y="1814"/>
                  </a:lnTo>
                  <a:close/>
                  <a:moveTo>
                    <a:pt x="602" y="1812"/>
                  </a:moveTo>
                  <a:lnTo>
                    <a:pt x="604" y="1812"/>
                  </a:lnTo>
                  <a:lnTo>
                    <a:pt x="602" y="1812"/>
                  </a:lnTo>
                  <a:close/>
                  <a:moveTo>
                    <a:pt x="936" y="1812"/>
                  </a:moveTo>
                  <a:lnTo>
                    <a:pt x="937" y="1812"/>
                  </a:lnTo>
                  <a:lnTo>
                    <a:pt x="936" y="1812"/>
                  </a:lnTo>
                  <a:close/>
                  <a:moveTo>
                    <a:pt x="952" y="1815"/>
                  </a:moveTo>
                  <a:lnTo>
                    <a:pt x="952" y="1817"/>
                  </a:lnTo>
                  <a:lnTo>
                    <a:pt x="950" y="1817"/>
                  </a:lnTo>
                  <a:lnTo>
                    <a:pt x="950" y="1815"/>
                  </a:lnTo>
                  <a:lnTo>
                    <a:pt x="950" y="1814"/>
                  </a:lnTo>
                  <a:lnTo>
                    <a:pt x="950" y="1812"/>
                  </a:lnTo>
                  <a:lnTo>
                    <a:pt x="952" y="1812"/>
                  </a:lnTo>
                  <a:lnTo>
                    <a:pt x="952" y="1814"/>
                  </a:lnTo>
                  <a:lnTo>
                    <a:pt x="952" y="1815"/>
                  </a:lnTo>
                  <a:close/>
                  <a:moveTo>
                    <a:pt x="604" y="1810"/>
                  </a:moveTo>
                  <a:lnTo>
                    <a:pt x="605" y="1810"/>
                  </a:lnTo>
                  <a:lnTo>
                    <a:pt x="605" y="1812"/>
                  </a:lnTo>
                  <a:lnTo>
                    <a:pt x="604" y="1810"/>
                  </a:lnTo>
                  <a:close/>
                  <a:moveTo>
                    <a:pt x="562" y="1810"/>
                  </a:moveTo>
                  <a:lnTo>
                    <a:pt x="562" y="1812"/>
                  </a:lnTo>
                  <a:lnTo>
                    <a:pt x="562" y="1810"/>
                  </a:lnTo>
                  <a:close/>
                  <a:moveTo>
                    <a:pt x="602" y="1812"/>
                  </a:moveTo>
                  <a:lnTo>
                    <a:pt x="602" y="1810"/>
                  </a:lnTo>
                  <a:lnTo>
                    <a:pt x="602" y="1812"/>
                  </a:lnTo>
                  <a:close/>
                  <a:moveTo>
                    <a:pt x="596" y="1815"/>
                  </a:moveTo>
                  <a:lnTo>
                    <a:pt x="594" y="1815"/>
                  </a:lnTo>
                  <a:lnTo>
                    <a:pt x="592" y="1817"/>
                  </a:lnTo>
                  <a:lnTo>
                    <a:pt x="592" y="1819"/>
                  </a:lnTo>
                  <a:lnTo>
                    <a:pt x="591" y="1819"/>
                  </a:lnTo>
                  <a:lnTo>
                    <a:pt x="589" y="1819"/>
                  </a:lnTo>
                  <a:lnTo>
                    <a:pt x="588" y="1819"/>
                  </a:lnTo>
                  <a:lnTo>
                    <a:pt x="588" y="1817"/>
                  </a:lnTo>
                  <a:lnTo>
                    <a:pt x="588" y="1815"/>
                  </a:lnTo>
                  <a:lnTo>
                    <a:pt x="588" y="1814"/>
                  </a:lnTo>
                  <a:lnTo>
                    <a:pt x="589" y="1814"/>
                  </a:lnTo>
                  <a:lnTo>
                    <a:pt x="589" y="1815"/>
                  </a:lnTo>
                  <a:lnTo>
                    <a:pt x="591" y="1814"/>
                  </a:lnTo>
                  <a:lnTo>
                    <a:pt x="589" y="1814"/>
                  </a:lnTo>
                  <a:lnTo>
                    <a:pt x="589" y="1812"/>
                  </a:lnTo>
                  <a:lnTo>
                    <a:pt x="591" y="1812"/>
                  </a:lnTo>
                  <a:lnTo>
                    <a:pt x="591" y="1810"/>
                  </a:lnTo>
                  <a:lnTo>
                    <a:pt x="592" y="1810"/>
                  </a:lnTo>
                  <a:lnTo>
                    <a:pt x="594" y="1810"/>
                  </a:lnTo>
                  <a:lnTo>
                    <a:pt x="594" y="1812"/>
                  </a:lnTo>
                  <a:lnTo>
                    <a:pt x="596" y="1812"/>
                  </a:lnTo>
                  <a:lnTo>
                    <a:pt x="596" y="1814"/>
                  </a:lnTo>
                  <a:lnTo>
                    <a:pt x="596" y="1815"/>
                  </a:lnTo>
                  <a:close/>
                  <a:moveTo>
                    <a:pt x="599" y="1810"/>
                  </a:moveTo>
                  <a:lnTo>
                    <a:pt x="601" y="1809"/>
                  </a:lnTo>
                  <a:lnTo>
                    <a:pt x="601" y="1810"/>
                  </a:lnTo>
                  <a:lnTo>
                    <a:pt x="602" y="1810"/>
                  </a:lnTo>
                  <a:lnTo>
                    <a:pt x="602" y="1812"/>
                  </a:lnTo>
                  <a:lnTo>
                    <a:pt x="602" y="1814"/>
                  </a:lnTo>
                  <a:lnTo>
                    <a:pt x="601" y="1814"/>
                  </a:lnTo>
                  <a:lnTo>
                    <a:pt x="601" y="1812"/>
                  </a:lnTo>
                  <a:lnTo>
                    <a:pt x="599" y="1810"/>
                  </a:lnTo>
                  <a:lnTo>
                    <a:pt x="599" y="1809"/>
                  </a:lnTo>
                  <a:lnTo>
                    <a:pt x="599" y="1810"/>
                  </a:lnTo>
                  <a:close/>
                  <a:moveTo>
                    <a:pt x="950" y="1807"/>
                  </a:moveTo>
                  <a:lnTo>
                    <a:pt x="949" y="1807"/>
                  </a:lnTo>
                  <a:lnTo>
                    <a:pt x="950" y="1807"/>
                  </a:lnTo>
                  <a:close/>
                  <a:moveTo>
                    <a:pt x="568" y="1807"/>
                  </a:moveTo>
                  <a:lnTo>
                    <a:pt x="568" y="1809"/>
                  </a:lnTo>
                  <a:lnTo>
                    <a:pt x="568" y="1807"/>
                  </a:lnTo>
                  <a:close/>
                  <a:moveTo>
                    <a:pt x="610" y="1806"/>
                  </a:moveTo>
                  <a:lnTo>
                    <a:pt x="610" y="1807"/>
                  </a:lnTo>
                  <a:lnTo>
                    <a:pt x="610" y="1806"/>
                  </a:lnTo>
                  <a:lnTo>
                    <a:pt x="610" y="1807"/>
                  </a:lnTo>
                  <a:lnTo>
                    <a:pt x="612" y="1806"/>
                  </a:lnTo>
                  <a:lnTo>
                    <a:pt x="612" y="1807"/>
                  </a:lnTo>
                  <a:lnTo>
                    <a:pt x="612" y="1809"/>
                  </a:lnTo>
                  <a:lnTo>
                    <a:pt x="610" y="1809"/>
                  </a:lnTo>
                  <a:lnTo>
                    <a:pt x="610" y="1810"/>
                  </a:lnTo>
                  <a:lnTo>
                    <a:pt x="609" y="1810"/>
                  </a:lnTo>
                  <a:lnTo>
                    <a:pt x="609" y="1812"/>
                  </a:lnTo>
                  <a:lnTo>
                    <a:pt x="607" y="1814"/>
                  </a:lnTo>
                  <a:lnTo>
                    <a:pt x="607" y="1812"/>
                  </a:lnTo>
                  <a:lnTo>
                    <a:pt x="607" y="1814"/>
                  </a:lnTo>
                  <a:lnTo>
                    <a:pt x="605" y="1812"/>
                  </a:lnTo>
                  <a:lnTo>
                    <a:pt x="605" y="1814"/>
                  </a:lnTo>
                  <a:lnTo>
                    <a:pt x="605" y="1815"/>
                  </a:lnTo>
                  <a:lnTo>
                    <a:pt x="605" y="1814"/>
                  </a:lnTo>
                  <a:lnTo>
                    <a:pt x="604" y="1814"/>
                  </a:lnTo>
                  <a:lnTo>
                    <a:pt x="604" y="1812"/>
                  </a:lnTo>
                  <a:lnTo>
                    <a:pt x="604" y="1814"/>
                  </a:lnTo>
                  <a:lnTo>
                    <a:pt x="605" y="1814"/>
                  </a:lnTo>
                  <a:lnTo>
                    <a:pt x="605" y="1812"/>
                  </a:lnTo>
                  <a:lnTo>
                    <a:pt x="605" y="1810"/>
                  </a:lnTo>
                  <a:lnTo>
                    <a:pt x="604" y="1810"/>
                  </a:lnTo>
                  <a:lnTo>
                    <a:pt x="604" y="1809"/>
                  </a:lnTo>
                  <a:lnTo>
                    <a:pt x="605" y="1809"/>
                  </a:lnTo>
                  <a:lnTo>
                    <a:pt x="607" y="1809"/>
                  </a:lnTo>
                  <a:lnTo>
                    <a:pt x="609" y="1809"/>
                  </a:lnTo>
                  <a:lnTo>
                    <a:pt x="609" y="1807"/>
                  </a:lnTo>
                  <a:lnTo>
                    <a:pt x="610" y="1806"/>
                  </a:lnTo>
                  <a:close/>
                  <a:moveTo>
                    <a:pt x="949" y="1806"/>
                  </a:moveTo>
                  <a:lnTo>
                    <a:pt x="950" y="1806"/>
                  </a:lnTo>
                  <a:lnTo>
                    <a:pt x="949" y="1806"/>
                  </a:lnTo>
                  <a:close/>
                  <a:moveTo>
                    <a:pt x="594" y="1807"/>
                  </a:moveTo>
                  <a:lnTo>
                    <a:pt x="592" y="1807"/>
                  </a:lnTo>
                  <a:lnTo>
                    <a:pt x="591" y="1807"/>
                  </a:lnTo>
                  <a:lnTo>
                    <a:pt x="589" y="1806"/>
                  </a:lnTo>
                  <a:lnTo>
                    <a:pt x="591" y="1806"/>
                  </a:lnTo>
                  <a:lnTo>
                    <a:pt x="592" y="1806"/>
                  </a:lnTo>
                  <a:lnTo>
                    <a:pt x="592" y="1807"/>
                  </a:lnTo>
                  <a:lnTo>
                    <a:pt x="592" y="1806"/>
                  </a:lnTo>
                  <a:lnTo>
                    <a:pt x="594" y="1806"/>
                  </a:lnTo>
                  <a:lnTo>
                    <a:pt x="594" y="1807"/>
                  </a:lnTo>
                  <a:close/>
                  <a:moveTo>
                    <a:pt x="596" y="1804"/>
                  </a:moveTo>
                  <a:lnTo>
                    <a:pt x="597" y="1804"/>
                  </a:lnTo>
                  <a:lnTo>
                    <a:pt x="597" y="1806"/>
                  </a:lnTo>
                  <a:lnTo>
                    <a:pt x="597" y="1807"/>
                  </a:lnTo>
                  <a:lnTo>
                    <a:pt x="596" y="1807"/>
                  </a:lnTo>
                  <a:lnTo>
                    <a:pt x="596" y="1806"/>
                  </a:lnTo>
                  <a:lnTo>
                    <a:pt x="596" y="1804"/>
                  </a:lnTo>
                  <a:close/>
                  <a:moveTo>
                    <a:pt x="571" y="1804"/>
                  </a:moveTo>
                  <a:lnTo>
                    <a:pt x="573" y="1804"/>
                  </a:lnTo>
                  <a:lnTo>
                    <a:pt x="571" y="1804"/>
                  </a:lnTo>
                  <a:close/>
                  <a:moveTo>
                    <a:pt x="949" y="1804"/>
                  </a:moveTo>
                  <a:lnTo>
                    <a:pt x="949" y="1806"/>
                  </a:lnTo>
                  <a:lnTo>
                    <a:pt x="949" y="1804"/>
                  </a:lnTo>
                  <a:close/>
                  <a:moveTo>
                    <a:pt x="573" y="1804"/>
                  </a:moveTo>
                  <a:lnTo>
                    <a:pt x="571" y="1804"/>
                  </a:lnTo>
                  <a:lnTo>
                    <a:pt x="573" y="1802"/>
                  </a:lnTo>
                  <a:lnTo>
                    <a:pt x="573" y="1804"/>
                  </a:lnTo>
                  <a:close/>
                  <a:moveTo>
                    <a:pt x="592" y="1804"/>
                  </a:moveTo>
                  <a:lnTo>
                    <a:pt x="592" y="1802"/>
                  </a:lnTo>
                  <a:lnTo>
                    <a:pt x="592" y="1804"/>
                  </a:lnTo>
                  <a:close/>
                  <a:moveTo>
                    <a:pt x="571" y="1802"/>
                  </a:moveTo>
                  <a:lnTo>
                    <a:pt x="573" y="1802"/>
                  </a:lnTo>
                  <a:lnTo>
                    <a:pt x="571" y="1802"/>
                  </a:lnTo>
                  <a:close/>
                  <a:moveTo>
                    <a:pt x="537" y="1802"/>
                  </a:moveTo>
                  <a:lnTo>
                    <a:pt x="536" y="1802"/>
                  </a:lnTo>
                  <a:lnTo>
                    <a:pt x="537" y="1802"/>
                  </a:lnTo>
                  <a:close/>
                  <a:moveTo>
                    <a:pt x="558" y="1802"/>
                  </a:moveTo>
                  <a:lnTo>
                    <a:pt x="558" y="1801"/>
                  </a:lnTo>
                  <a:lnTo>
                    <a:pt x="558" y="1802"/>
                  </a:lnTo>
                  <a:close/>
                  <a:moveTo>
                    <a:pt x="573" y="1802"/>
                  </a:moveTo>
                  <a:lnTo>
                    <a:pt x="573" y="1801"/>
                  </a:lnTo>
                  <a:lnTo>
                    <a:pt x="575" y="1801"/>
                  </a:lnTo>
                  <a:lnTo>
                    <a:pt x="573" y="1802"/>
                  </a:lnTo>
                  <a:close/>
                  <a:moveTo>
                    <a:pt x="536" y="1801"/>
                  </a:moveTo>
                  <a:lnTo>
                    <a:pt x="536" y="1802"/>
                  </a:lnTo>
                  <a:lnTo>
                    <a:pt x="536" y="1801"/>
                  </a:lnTo>
                  <a:close/>
                  <a:moveTo>
                    <a:pt x="565" y="1801"/>
                  </a:moveTo>
                  <a:lnTo>
                    <a:pt x="566" y="1801"/>
                  </a:lnTo>
                  <a:lnTo>
                    <a:pt x="566" y="1802"/>
                  </a:lnTo>
                  <a:lnTo>
                    <a:pt x="566" y="1804"/>
                  </a:lnTo>
                  <a:lnTo>
                    <a:pt x="568" y="1804"/>
                  </a:lnTo>
                  <a:lnTo>
                    <a:pt x="568" y="1806"/>
                  </a:lnTo>
                  <a:lnTo>
                    <a:pt x="568" y="1807"/>
                  </a:lnTo>
                  <a:lnTo>
                    <a:pt x="568" y="1806"/>
                  </a:lnTo>
                  <a:lnTo>
                    <a:pt x="568" y="1807"/>
                  </a:lnTo>
                  <a:lnTo>
                    <a:pt x="568" y="1806"/>
                  </a:lnTo>
                  <a:lnTo>
                    <a:pt x="566" y="1806"/>
                  </a:lnTo>
                  <a:lnTo>
                    <a:pt x="566" y="1807"/>
                  </a:lnTo>
                  <a:lnTo>
                    <a:pt x="566" y="1806"/>
                  </a:lnTo>
                  <a:lnTo>
                    <a:pt x="565" y="1806"/>
                  </a:lnTo>
                  <a:lnTo>
                    <a:pt x="565" y="1807"/>
                  </a:lnTo>
                  <a:lnTo>
                    <a:pt x="566" y="1809"/>
                  </a:lnTo>
                  <a:lnTo>
                    <a:pt x="565" y="1809"/>
                  </a:lnTo>
                  <a:lnTo>
                    <a:pt x="566" y="1810"/>
                  </a:lnTo>
                  <a:lnTo>
                    <a:pt x="565" y="1810"/>
                  </a:lnTo>
                  <a:lnTo>
                    <a:pt x="565" y="1812"/>
                  </a:lnTo>
                  <a:lnTo>
                    <a:pt x="565" y="1814"/>
                  </a:lnTo>
                  <a:lnTo>
                    <a:pt x="563" y="1814"/>
                  </a:lnTo>
                  <a:lnTo>
                    <a:pt x="562" y="1814"/>
                  </a:lnTo>
                  <a:lnTo>
                    <a:pt x="562" y="1812"/>
                  </a:lnTo>
                  <a:lnTo>
                    <a:pt x="563" y="1812"/>
                  </a:lnTo>
                  <a:lnTo>
                    <a:pt x="562" y="1812"/>
                  </a:lnTo>
                  <a:lnTo>
                    <a:pt x="562" y="1810"/>
                  </a:lnTo>
                  <a:lnTo>
                    <a:pt x="562" y="1812"/>
                  </a:lnTo>
                  <a:lnTo>
                    <a:pt x="560" y="1812"/>
                  </a:lnTo>
                  <a:lnTo>
                    <a:pt x="560" y="1814"/>
                  </a:lnTo>
                  <a:lnTo>
                    <a:pt x="558" y="1814"/>
                  </a:lnTo>
                  <a:lnTo>
                    <a:pt x="560" y="1814"/>
                  </a:lnTo>
                  <a:lnTo>
                    <a:pt x="558" y="1814"/>
                  </a:lnTo>
                  <a:lnTo>
                    <a:pt x="558" y="1812"/>
                  </a:lnTo>
                  <a:lnTo>
                    <a:pt x="558" y="1810"/>
                  </a:lnTo>
                  <a:lnTo>
                    <a:pt x="558" y="1809"/>
                  </a:lnTo>
                  <a:lnTo>
                    <a:pt x="560" y="1809"/>
                  </a:lnTo>
                  <a:lnTo>
                    <a:pt x="558" y="1809"/>
                  </a:lnTo>
                  <a:lnTo>
                    <a:pt x="558" y="1807"/>
                  </a:lnTo>
                  <a:lnTo>
                    <a:pt x="558" y="1806"/>
                  </a:lnTo>
                  <a:lnTo>
                    <a:pt x="560" y="1806"/>
                  </a:lnTo>
                  <a:lnTo>
                    <a:pt x="558" y="1804"/>
                  </a:lnTo>
                  <a:lnTo>
                    <a:pt x="560" y="1804"/>
                  </a:lnTo>
                  <a:lnTo>
                    <a:pt x="560" y="1802"/>
                  </a:lnTo>
                  <a:lnTo>
                    <a:pt x="560" y="1801"/>
                  </a:lnTo>
                  <a:lnTo>
                    <a:pt x="562" y="1802"/>
                  </a:lnTo>
                  <a:lnTo>
                    <a:pt x="563" y="1802"/>
                  </a:lnTo>
                  <a:lnTo>
                    <a:pt x="563" y="1804"/>
                  </a:lnTo>
                  <a:lnTo>
                    <a:pt x="565" y="1804"/>
                  </a:lnTo>
                  <a:lnTo>
                    <a:pt x="565" y="1806"/>
                  </a:lnTo>
                  <a:lnTo>
                    <a:pt x="565" y="1804"/>
                  </a:lnTo>
                  <a:lnTo>
                    <a:pt x="565" y="1802"/>
                  </a:lnTo>
                  <a:lnTo>
                    <a:pt x="565" y="1801"/>
                  </a:lnTo>
                  <a:close/>
                  <a:moveTo>
                    <a:pt x="949" y="1802"/>
                  </a:moveTo>
                  <a:lnTo>
                    <a:pt x="947" y="1802"/>
                  </a:lnTo>
                  <a:lnTo>
                    <a:pt x="947" y="1801"/>
                  </a:lnTo>
                  <a:lnTo>
                    <a:pt x="949" y="1801"/>
                  </a:lnTo>
                  <a:lnTo>
                    <a:pt x="949" y="1802"/>
                  </a:lnTo>
                  <a:close/>
                  <a:moveTo>
                    <a:pt x="557" y="1801"/>
                  </a:moveTo>
                  <a:lnTo>
                    <a:pt x="558" y="1801"/>
                  </a:lnTo>
                  <a:lnTo>
                    <a:pt x="557" y="1801"/>
                  </a:lnTo>
                  <a:close/>
                  <a:moveTo>
                    <a:pt x="560" y="1801"/>
                  </a:moveTo>
                  <a:lnTo>
                    <a:pt x="562" y="1801"/>
                  </a:lnTo>
                  <a:lnTo>
                    <a:pt x="560" y="1801"/>
                  </a:lnTo>
                  <a:close/>
                  <a:moveTo>
                    <a:pt x="581" y="1801"/>
                  </a:moveTo>
                  <a:lnTo>
                    <a:pt x="579" y="1801"/>
                  </a:lnTo>
                  <a:lnTo>
                    <a:pt x="581" y="1801"/>
                  </a:lnTo>
                  <a:close/>
                  <a:moveTo>
                    <a:pt x="560" y="1801"/>
                  </a:moveTo>
                  <a:lnTo>
                    <a:pt x="560" y="1799"/>
                  </a:lnTo>
                  <a:lnTo>
                    <a:pt x="560" y="1801"/>
                  </a:lnTo>
                  <a:close/>
                  <a:moveTo>
                    <a:pt x="592" y="1801"/>
                  </a:moveTo>
                  <a:lnTo>
                    <a:pt x="592" y="1799"/>
                  </a:lnTo>
                  <a:lnTo>
                    <a:pt x="592" y="1801"/>
                  </a:lnTo>
                  <a:lnTo>
                    <a:pt x="594" y="1801"/>
                  </a:lnTo>
                  <a:lnTo>
                    <a:pt x="594" y="1802"/>
                  </a:lnTo>
                  <a:lnTo>
                    <a:pt x="592" y="1802"/>
                  </a:lnTo>
                  <a:lnTo>
                    <a:pt x="591" y="1804"/>
                  </a:lnTo>
                  <a:lnTo>
                    <a:pt x="592" y="1804"/>
                  </a:lnTo>
                  <a:lnTo>
                    <a:pt x="592" y="1806"/>
                  </a:lnTo>
                  <a:lnTo>
                    <a:pt x="591" y="1804"/>
                  </a:lnTo>
                  <a:lnTo>
                    <a:pt x="592" y="1804"/>
                  </a:lnTo>
                  <a:lnTo>
                    <a:pt x="591" y="1804"/>
                  </a:lnTo>
                  <a:lnTo>
                    <a:pt x="589" y="1804"/>
                  </a:lnTo>
                  <a:lnTo>
                    <a:pt x="589" y="1802"/>
                  </a:lnTo>
                  <a:lnTo>
                    <a:pt x="591" y="1802"/>
                  </a:lnTo>
                  <a:lnTo>
                    <a:pt x="589" y="1801"/>
                  </a:lnTo>
                  <a:lnTo>
                    <a:pt x="591" y="1801"/>
                  </a:lnTo>
                  <a:lnTo>
                    <a:pt x="592" y="1801"/>
                  </a:lnTo>
                  <a:close/>
                  <a:moveTo>
                    <a:pt x="571" y="1801"/>
                  </a:moveTo>
                  <a:lnTo>
                    <a:pt x="570" y="1801"/>
                  </a:lnTo>
                  <a:lnTo>
                    <a:pt x="571" y="1801"/>
                  </a:lnTo>
                  <a:lnTo>
                    <a:pt x="571" y="1799"/>
                  </a:lnTo>
                  <a:lnTo>
                    <a:pt x="571" y="1801"/>
                  </a:lnTo>
                  <a:close/>
                  <a:moveTo>
                    <a:pt x="947" y="1799"/>
                  </a:moveTo>
                  <a:lnTo>
                    <a:pt x="949" y="1799"/>
                  </a:lnTo>
                  <a:lnTo>
                    <a:pt x="949" y="1801"/>
                  </a:lnTo>
                  <a:lnTo>
                    <a:pt x="947" y="1801"/>
                  </a:lnTo>
                  <a:lnTo>
                    <a:pt x="947" y="1799"/>
                  </a:lnTo>
                  <a:close/>
                  <a:moveTo>
                    <a:pt x="562" y="1799"/>
                  </a:moveTo>
                  <a:lnTo>
                    <a:pt x="563" y="1799"/>
                  </a:lnTo>
                  <a:lnTo>
                    <a:pt x="562" y="1799"/>
                  </a:lnTo>
                  <a:close/>
                  <a:moveTo>
                    <a:pt x="562" y="1799"/>
                  </a:moveTo>
                  <a:lnTo>
                    <a:pt x="562" y="1801"/>
                  </a:lnTo>
                  <a:lnTo>
                    <a:pt x="562" y="1799"/>
                  </a:lnTo>
                  <a:close/>
                  <a:moveTo>
                    <a:pt x="594" y="1799"/>
                  </a:moveTo>
                  <a:lnTo>
                    <a:pt x="596" y="1799"/>
                  </a:lnTo>
                  <a:lnTo>
                    <a:pt x="597" y="1801"/>
                  </a:lnTo>
                  <a:lnTo>
                    <a:pt x="597" y="1802"/>
                  </a:lnTo>
                  <a:lnTo>
                    <a:pt x="596" y="1802"/>
                  </a:lnTo>
                  <a:lnTo>
                    <a:pt x="597" y="1802"/>
                  </a:lnTo>
                  <a:lnTo>
                    <a:pt x="596" y="1802"/>
                  </a:lnTo>
                  <a:lnTo>
                    <a:pt x="596" y="1804"/>
                  </a:lnTo>
                  <a:lnTo>
                    <a:pt x="594" y="1802"/>
                  </a:lnTo>
                  <a:lnTo>
                    <a:pt x="594" y="1804"/>
                  </a:lnTo>
                  <a:lnTo>
                    <a:pt x="592" y="1804"/>
                  </a:lnTo>
                  <a:lnTo>
                    <a:pt x="592" y="1802"/>
                  </a:lnTo>
                  <a:lnTo>
                    <a:pt x="594" y="1802"/>
                  </a:lnTo>
                  <a:lnTo>
                    <a:pt x="594" y="1801"/>
                  </a:lnTo>
                  <a:lnTo>
                    <a:pt x="594" y="1799"/>
                  </a:lnTo>
                  <a:lnTo>
                    <a:pt x="596" y="1799"/>
                  </a:lnTo>
                  <a:lnTo>
                    <a:pt x="594" y="1799"/>
                  </a:lnTo>
                  <a:close/>
                  <a:moveTo>
                    <a:pt x="558" y="1799"/>
                  </a:moveTo>
                  <a:lnTo>
                    <a:pt x="560" y="1799"/>
                  </a:lnTo>
                  <a:lnTo>
                    <a:pt x="558" y="1799"/>
                  </a:lnTo>
                  <a:close/>
                  <a:moveTo>
                    <a:pt x="578" y="1797"/>
                  </a:moveTo>
                  <a:lnTo>
                    <a:pt x="578" y="1799"/>
                  </a:lnTo>
                  <a:lnTo>
                    <a:pt x="578" y="1797"/>
                  </a:lnTo>
                  <a:close/>
                  <a:moveTo>
                    <a:pt x="565" y="1799"/>
                  </a:moveTo>
                  <a:lnTo>
                    <a:pt x="566" y="1799"/>
                  </a:lnTo>
                  <a:lnTo>
                    <a:pt x="566" y="1797"/>
                  </a:lnTo>
                  <a:lnTo>
                    <a:pt x="566" y="1799"/>
                  </a:lnTo>
                  <a:lnTo>
                    <a:pt x="566" y="1797"/>
                  </a:lnTo>
                  <a:lnTo>
                    <a:pt x="566" y="1799"/>
                  </a:lnTo>
                  <a:lnTo>
                    <a:pt x="566" y="1801"/>
                  </a:lnTo>
                  <a:lnTo>
                    <a:pt x="565" y="1801"/>
                  </a:lnTo>
                  <a:lnTo>
                    <a:pt x="565" y="1799"/>
                  </a:lnTo>
                  <a:close/>
                  <a:moveTo>
                    <a:pt x="558" y="1797"/>
                  </a:moveTo>
                  <a:lnTo>
                    <a:pt x="558" y="1799"/>
                  </a:lnTo>
                  <a:lnTo>
                    <a:pt x="558" y="1801"/>
                  </a:lnTo>
                  <a:lnTo>
                    <a:pt x="558" y="1799"/>
                  </a:lnTo>
                  <a:lnTo>
                    <a:pt x="558" y="1797"/>
                  </a:lnTo>
                  <a:close/>
                  <a:moveTo>
                    <a:pt x="584" y="1797"/>
                  </a:moveTo>
                  <a:lnTo>
                    <a:pt x="583" y="1797"/>
                  </a:lnTo>
                  <a:lnTo>
                    <a:pt x="584" y="1797"/>
                  </a:lnTo>
                  <a:close/>
                  <a:moveTo>
                    <a:pt x="591" y="1797"/>
                  </a:moveTo>
                  <a:lnTo>
                    <a:pt x="591" y="1799"/>
                  </a:lnTo>
                  <a:lnTo>
                    <a:pt x="591" y="1797"/>
                  </a:lnTo>
                  <a:close/>
                  <a:moveTo>
                    <a:pt x="605" y="1797"/>
                  </a:moveTo>
                  <a:lnTo>
                    <a:pt x="609" y="1797"/>
                  </a:lnTo>
                  <a:lnTo>
                    <a:pt x="610" y="1797"/>
                  </a:lnTo>
                  <a:lnTo>
                    <a:pt x="612" y="1799"/>
                  </a:lnTo>
                  <a:lnTo>
                    <a:pt x="614" y="1801"/>
                  </a:lnTo>
                  <a:lnTo>
                    <a:pt x="614" y="1802"/>
                  </a:lnTo>
                  <a:lnTo>
                    <a:pt x="612" y="1804"/>
                  </a:lnTo>
                  <a:lnTo>
                    <a:pt x="610" y="1804"/>
                  </a:lnTo>
                  <a:lnTo>
                    <a:pt x="610" y="1806"/>
                  </a:lnTo>
                  <a:lnTo>
                    <a:pt x="609" y="1806"/>
                  </a:lnTo>
                  <a:lnTo>
                    <a:pt x="607" y="1806"/>
                  </a:lnTo>
                  <a:lnTo>
                    <a:pt x="605" y="1806"/>
                  </a:lnTo>
                  <a:lnTo>
                    <a:pt x="604" y="1806"/>
                  </a:lnTo>
                  <a:lnTo>
                    <a:pt x="604" y="1807"/>
                  </a:lnTo>
                  <a:lnTo>
                    <a:pt x="602" y="1807"/>
                  </a:lnTo>
                  <a:lnTo>
                    <a:pt x="601" y="1807"/>
                  </a:lnTo>
                  <a:lnTo>
                    <a:pt x="601" y="1806"/>
                  </a:lnTo>
                  <a:lnTo>
                    <a:pt x="599" y="1806"/>
                  </a:lnTo>
                  <a:lnTo>
                    <a:pt x="601" y="1806"/>
                  </a:lnTo>
                  <a:lnTo>
                    <a:pt x="601" y="1804"/>
                  </a:lnTo>
                  <a:lnTo>
                    <a:pt x="599" y="1802"/>
                  </a:lnTo>
                  <a:lnTo>
                    <a:pt x="599" y="1801"/>
                  </a:lnTo>
                  <a:lnTo>
                    <a:pt x="599" y="1799"/>
                  </a:lnTo>
                  <a:lnTo>
                    <a:pt x="601" y="1799"/>
                  </a:lnTo>
                  <a:lnTo>
                    <a:pt x="602" y="1799"/>
                  </a:lnTo>
                  <a:lnTo>
                    <a:pt x="602" y="1797"/>
                  </a:lnTo>
                  <a:lnTo>
                    <a:pt x="604" y="1797"/>
                  </a:lnTo>
                  <a:lnTo>
                    <a:pt x="605" y="1797"/>
                  </a:lnTo>
                  <a:close/>
                  <a:moveTo>
                    <a:pt x="579" y="1797"/>
                  </a:moveTo>
                  <a:lnTo>
                    <a:pt x="581" y="1797"/>
                  </a:lnTo>
                  <a:lnTo>
                    <a:pt x="579" y="1797"/>
                  </a:lnTo>
                  <a:close/>
                  <a:moveTo>
                    <a:pt x="583" y="1797"/>
                  </a:moveTo>
                  <a:lnTo>
                    <a:pt x="584" y="1796"/>
                  </a:lnTo>
                  <a:lnTo>
                    <a:pt x="584" y="1797"/>
                  </a:lnTo>
                  <a:lnTo>
                    <a:pt x="583" y="1797"/>
                  </a:lnTo>
                  <a:close/>
                  <a:moveTo>
                    <a:pt x="565" y="1796"/>
                  </a:moveTo>
                  <a:lnTo>
                    <a:pt x="565" y="1797"/>
                  </a:lnTo>
                  <a:lnTo>
                    <a:pt x="563" y="1797"/>
                  </a:lnTo>
                  <a:lnTo>
                    <a:pt x="565" y="1796"/>
                  </a:lnTo>
                  <a:close/>
                  <a:moveTo>
                    <a:pt x="560" y="1796"/>
                  </a:moveTo>
                  <a:lnTo>
                    <a:pt x="562" y="1796"/>
                  </a:lnTo>
                  <a:lnTo>
                    <a:pt x="563" y="1797"/>
                  </a:lnTo>
                  <a:lnTo>
                    <a:pt x="562" y="1797"/>
                  </a:lnTo>
                  <a:lnTo>
                    <a:pt x="562" y="1799"/>
                  </a:lnTo>
                  <a:lnTo>
                    <a:pt x="562" y="1797"/>
                  </a:lnTo>
                  <a:lnTo>
                    <a:pt x="560" y="1797"/>
                  </a:lnTo>
                  <a:lnTo>
                    <a:pt x="560" y="1796"/>
                  </a:lnTo>
                  <a:close/>
                  <a:moveTo>
                    <a:pt x="563" y="1796"/>
                  </a:moveTo>
                  <a:lnTo>
                    <a:pt x="565" y="1796"/>
                  </a:lnTo>
                  <a:lnTo>
                    <a:pt x="563" y="1796"/>
                  </a:lnTo>
                  <a:close/>
                  <a:moveTo>
                    <a:pt x="542" y="1794"/>
                  </a:moveTo>
                  <a:lnTo>
                    <a:pt x="544" y="1796"/>
                  </a:lnTo>
                  <a:lnTo>
                    <a:pt x="542" y="1794"/>
                  </a:lnTo>
                  <a:close/>
                  <a:moveTo>
                    <a:pt x="562" y="1796"/>
                  </a:moveTo>
                  <a:lnTo>
                    <a:pt x="562" y="1794"/>
                  </a:lnTo>
                  <a:lnTo>
                    <a:pt x="562" y="1796"/>
                  </a:lnTo>
                  <a:close/>
                  <a:moveTo>
                    <a:pt x="544" y="1794"/>
                  </a:moveTo>
                  <a:lnTo>
                    <a:pt x="544" y="1796"/>
                  </a:lnTo>
                  <a:lnTo>
                    <a:pt x="544" y="1794"/>
                  </a:lnTo>
                  <a:close/>
                  <a:moveTo>
                    <a:pt x="545" y="1794"/>
                  </a:moveTo>
                  <a:lnTo>
                    <a:pt x="547" y="1794"/>
                  </a:lnTo>
                  <a:lnTo>
                    <a:pt x="545" y="1794"/>
                  </a:lnTo>
                  <a:close/>
                  <a:moveTo>
                    <a:pt x="560" y="1794"/>
                  </a:moveTo>
                  <a:lnTo>
                    <a:pt x="562" y="1794"/>
                  </a:lnTo>
                  <a:lnTo>
                    <a:pt x="560" y="1794"/>
                  </a:lnTo>
                  <a:close/>
                  <a:moveTo>
                    <a:pt x="565" y="1794"/>
                  </a:moveTo>
                  <a:lnTo>
                    <a:pt x="566" y="1794"/>
                  </a:lnTo>
                  <a:lnTo>
                    <a:pt x="565" y="1794"/>
                  </a:lnTo>
                  <a:close/>
                  <a:moveTo>
                    <a:pt x="521" y="1794"/>
                  </a:moveTo>
                  <a:lnTo>
                    <a:pt x="521" y="1793"/>
                  </a:lnTo>
                  <a:lnTo>
                    <a:pt x="521" y="1794"/>
                  </a:lnTo>
                  <a:close/>
                  <a:moveTo>
                    <a:pt x="545" y="1793"/>
                  </a:moveTo>
                  <a:lnTo>
                    <a:pt x="547" y="1793"/>
                  </a:lnTo>
                  <a:lnTo>
                    <a:pt x="545" y="1793"/>
                  </a:lnTo>
                  <a:close/>
                  <a:moveTo>
                    <a:pt x="547" y="1793"/>
                  </a:moveTo>
                  <a:lnTo>
                    <a:pt x="547" y="1791"/>
                  </a:lnTo>
                  <a:lnTo>
                    <a:pt x="547" y="1793"/>
                  </a:lnTo>
                  <a:close/>
                  <a:moveTo>
                    <a:pt x="578" y="1793"/>
                  </a:moveTo>
                  <a:lnTo>
                    <a:pt x="578" y="1791"/>
                  </a:lnTo>
                  <a:lnTo>
                    <a:pt x="578" y="1793"/>
                  </a:lnTo>
                  <a:close/>
                  <a:moveTo>
                    <a:pt x="937" y="1791"/>
                  </a:moveTo>
                  <a:lnTo>
                    <a:pt x="937" y="1793"/>
                  </a:lnTo>
                  <a:lnTo>
                    <a:pt x="939" y="1793"/>
                  </a:lnTo>
                  <a:lnTo>
                    <a:pt x="939" y="1794"/>
                  </a:lnTo>
                  <a:lnTo>
                    <a:pt x="939" y="1796"/>
                  </a:lnTo>
                  <a:lnTo>
                    <a:pt x="937" y="1794"/>
                  </a:lnTo>
                  <a:lnTo>
                    <a:pt x="937" y="1793"/>
                  </a:lnTo>
                  <a:lnTo>
                    <a:pt x="937" y="1791"/>
                  </a:lnTo>
                  <a:close/>
                  <a:moveTo>
                    <a:pt x="547" y="1791"/>
                  </a:moveTo>
                  <a:lnTo>
                    <a:pt x="547" y="1793"/>
                  </a:lnTo>
                  <a:lnTo>
                    <a:pt x="545" y="1791"/>
                  </a:lnTo>
                  <a:lnTo>
                    <a:pt x="547" y="1791"/>
                  </a:lnTo>
                  <a:close/>
                  <a:moveTo>
                    <a:pt x="622" y="1791"/>
                  </a:moveTo>
                  <a:lnTo>
                    <a:pt x="623" y="1791"/>
                  </a:lnTo>
                  <a:lnTo>
                    <a:pt x="622" y="1791"/>
                  </a:lnTo>
                  <a:close/>
                  <a:moveTo>
                    <a:pt x="604" y="1791"/>
                  </a:moveTo>
                  <a:lnTo>
                    <a:pt x="604" y="1793"/>
                  </a:lnTo>
                  <a:lnTo>
                    <a:pt x="602" y="1793"/>
                  </a:lnTo>
                  <a:lnTo>
                    <a:pt x="602" y="1791"/>
                  </a:lnTo>
                  <a:lnTo>
                    <a:pt x="604" y="1791"/>
                  </a:lnTo>
                  <a:close/>
                  <a:moveTo>
                    <a:pt x="545" y="1791"/>
                  </a:moveTo>
                  <a:lnTo>
                    <a:pt x="547" y="1791"/>
                  </a:lnTo>
                  <a:lnTo>
                    <a:pt x="545" y="1791"/>
                  </a:lnTo>
                  <a:close/>
                  <a:moveTo>
                    <a:pt x="945" y="1791"/>
                  </a:moveTo>
                  <a:lnTo>
                    <a:pt x="945" y="1789"/>
                  </a:lnTo>
                  <a:lnTo>
                    <a:pt x="947" y="1791"/>
                  </a:lnTo>
                  <a:lnTo>
                    <a:pt x="945" y="1791"/>
                  </a:lnTo>
                  <a:close/>
                  <a:moveTo>
                    <a:pt x="557" y="1791"/>
                  </a:moveTo>
                  <a:lnTo>
                    <a:pt x="557" y="1789"/>
                  </a:lnTo>
                  <a:lnTo>
                    <a:pt x="558" y="1789"/>
                  </a:lnTo>
                  <a:lnTo>
                    <a:pt x="557" y="1791"/>
                  </a:lnTo>
                  <a:close/>
                  <a:moveTo>
                    <a:pt x="526" y="1789"/>
                  </a:moveTo>
                  <a:lnTo>
                    <a:pt x="526" y="1791"/>
                  </a:lnTo>
                  <a:lnTo>
                    <a:pt x="524" y="1791"/>
                  </a:lnTo>
                  <a:lnTo>
                    <a:pt x="524" y="1793"/>
                  </a:lnTo>
                  <a:lnTo>
                    <a:pt x="524" y="1791"/>
                  </a:lnTo>
                  <a:lnTo>
                    <a:pt x="524" y="1793"/>
                  </a:lnTo>
                  <a:lnTo>
                    <a:pt x="523" y="1791"/>
                  </a:lnTo>
                  <a:lnTo>
                    <a:pt x="523" y="1793"/>
                  </a:lnTo>
                  <a:lnTo>
                    <a:pt x="523" y="1791"/>
                  </a:lnTo>
                  <a:lnTo>
                    <a:pt x="521" y="1791"/>
                  </a:lnTo>
                  <a:lnTo>
                    <a:pt x="523" y="1789"/>
                  </a:lnTo>
                  <a:lnTo>
                    <a:pt x="523" y="1788"/>
                  </a:lnTo>
                  <a:lnTo>
                    <a:pt x="524" y="1788"/>
                  </a:lnTo>
                  <a:lnTo>
                    <a:pt x="524" y="1789"/>
                  </a:lnTo>
                  <a:lnTo>
                    <a:pt x="524" y="1788"/>
                  </a:lnTo>
                  <a:lnTo>
                    <a:pt x="526" y="1789"/>
                  </a:lnTo>
                  <a:close/>
                  <a:moveTo>
                    <a:pt x="942" y="1784"/>
                  </a:moveTo>
                  <a:lnTo>
                    <a:pt x="942" y="1786"/>
                  </a:lnTo>
                  <a:lnTo>
                    <a:pt x="942" y="1784"/>
                  </a:lnTo>
                  <a:close/>
                  <a:moveTo>
                    <a:pt x="549" y="1784"/>
                  </a:moveTo>
                  <a:lnTo>
                    <a:pt x="549" y="1786"/>
                  </a:lnTo>
                  <a:lnTo>
                    <a:pt x="549" y="1784"/>
                  </a:lnTo>
                  <a:close/>
                  <a:moveTo>
                    <a:pt x="578" y="1784"/>
                  </a:moveTo>
                  <a:lnTo>
                    <a:pt x="579" y="1784"/>
                  </a:lnTo>
                  <a:lnTo>
                    <a:pt x="579" y="1786"/>
                  </a:lnTo>
                  <a:lnTo>
                    <a:pt x="581" y="1788"/>
                  </a:lnTo>
                  <a:lnTo>
                    <a:pt x="579" y="1789"/>
                  </a:lnTo>
                  <a:lnTo>
                    <a:pt x="578" y="1789"/>
                  </a:lnTo>
                  <a:lnTo>
                    <a:pt x="578" y="1788"/>
                  </a:lnTo>
                  <a:lnTo>
                    <a:pt x="579" y="1788"/>
                  </a:lnTo>
                  <a:lnTo>
                    <a:pt x="578" y="1786"/>
                  </a:lnTo>
                  <a:lnTo>
                    <a:pt x="579" y="1786"/>
                  </a:lnTo>
                  <a:lnTo>
                    <a:pt x="579" y="1784"/>
                  </a:lnTo>
                  <a:lnTo>
                    <a:pt x="578" y="1784"/>
                  </a:lnTo>
                  <a:close/>
                  <a:moveTo>
                    <a:pt x="610" y="1784"/>
                  </a:moveTo>
                  <a:lnTo>
                    <a:pt x="609" y="1784"/>
                  </a:lnTo>
                  <a:lnTo>
                    <a:pt x="610" y="1783"/>
                  </a:lnTo>
                  <a:lnTo>
                    <a:pt x="610" y="1784"/>
                  </a:lnTo>
                  <a:close/>
                  <a:moveTo>
                    <a:pt x="534" y="1783"/>
                  </a:moveTo>
                  <a:lnTo>
                    <a:pt x="536" y="1783"/>
                  </a:lnTo>
                  <a:lnTo>
                    <a:pt x="534" y="1783"/>
                  </a:lnTo>
                  <a:close/>
                  <a:moveTo>
                    <a:pt x="609" y="1784"/>
                  </a:moveTo>
                  <a:lnTo>
                    <a:pt x="609" y="1783"/>
                  </a:lnTo>
                  <a:lnTo>
                    <a:pt x="610" y="1783"/>
                  </a:lnTo>
                  <a:lnTo>
                    <a:pt x="609" y="1784"/>
                  </a:lnTo>
                  <a:close/>
                  <a:moveTo>
                    <a:pt x="545" y="1783"/>
                  </a:moveTo>
                  <a:lnTo>
                    <a:pt x="547" y="1783"/>
                  </a:lnTo>
                  <a:lnTo>
                    <a:pt x="545" y="1783"/>
                  </a:lnTo>
                  <a:close/>
                  <a:moveTo>
                    <a:pt x="614" y="1783"/>
                  </a:moveTo>
                  <a:lnTo>
                    <a:pt x="612" y="1783"/>
                  </a:lnTo>
                  <a:lnTo>
                    <a:pt x="614" y="1781"/>
                  </a:lnTo>
                  <a:lnTo>
                    <a:pt x="614" y="1783"/>
                  </a:lnTo>
                  <a:close/>
                  <a:moveTo>
                    <a:pt x="549" y="1781"/>
                  </a:moveTo>
                  <a:lnTo>
                    <a:pt x="549" y="1783"/>
                  </a:lnTo>
                  <a:lnTo>
                    <a:pt x="549" y="1781"/>
                  </a:lnTo>
                  <a:close/>
                  <a:moveTo>
                    <a:pt x="536" y="1783"/>
                  </a:moveTo>
                  <a:lnTo>
                    <a:pt x="534" y="1783"/>
                  </a:lnTo>
                  <a:lnTo>
                    <a:pt x="536" y="1783"/>
                  </a:lnTo>
                  <a:lnTo>
                    <a:pt x="536" y="1781"/>
                  </a:lnTo>
                  <a:lnTo>
                    <a:pt x="536" y="1783"/>
                  </a:lnTo>
                  <a:close/>
                  <a:moveTo>
                    <a:pt x="534" y="1781"/>
                  </a:moveTo>
                  <a:lnTo>
                    <a:pt x="534" y="1783"/>
                  </a:lnTo>
                  <a:lnTo>
                    <a:pt x="534" y="1781"/>
                  </a:lnTo>
                  <a:close/>
                  <a:moveTo>
                    <a:pt x="549" y="1780"/>
                  </a:moveTo>
                  <a:lnTo>
                    <a:pt x="549" y="1781"/>
                  </a:lnTo>
                  <a:lnTo>
                    <a:pt x="549" y="1780"/>
                  </a:lnTo>
                  <a:close/>
                  <a:moveTo>
                    <a:pt x="544" y="1778"/>
                  </a:moveTo>
                  <a:lnTo>
                    <a:pt x="545" y="1778"/>
                  </a:lnTo>
                  <a:lnTo>
                    <a:pt x="545" y="1780"/>
                  </a:lnTo>
                  <a:lnTo>
                    <a:pt x="545" y="1781"/>
                  </a:lnTo>
                  <a:lnTo>
                    <a:pt x="547" y="1781"/>
                  </a:lnTo>
                  <a:lnTo>
                    <a:pt x="545" y="1781"/>
                  </a:lnTo>
                  <a:lnTo>
                    <a:pt x="545" y="1783"/>
                  </a:lnTo>
                  <a:lnTo>
                    <a:pt x="545" y="1781"/>
                  </a:lnTo>
                  <a:lnTo>
                    <a:pt x="545" y="1783"/>
                  </a:lnTo>
                  <a:lnTo>
                    <a:pt x="544" y="1783"/>
                  </a:lnTo>
                  <a:lnTo>
                    <a:pt x="544" y="1781"/>
                  </a:lnTo>
                  <a:lnTo>
                    <a:pt x="544" y="1780"/>
                  </a:lnTo>
                  <a:lnTo>
                    <a:pt x="544" y="1778"/>
                  </a:lnTo>
                  <a:close/>
                  <a:moveTo>
                    <a:pt x="550" y="1776"/>
                  </a:moveTo>
                  <a:lnTo>
                    <a:pt x="553" y="1780"/>
                  </a:lnTo>
                  <a:lnTo>
                    <a:pt x="553" y="1781"/>
                  </a:lnTo>
                  <a:lnTo>
                    <a:pt x="555" y="1783"/>
                  </a:lnTo>
                  <a:lnTo>
                    <a:pt x="553" y="1783"/>
                  </a:lnTo>
                  <a:lnTo>
                    <a:pt x="553" y="1784"/>
                  </a:lnTo>
                  <a:lnTo>
                    <a:pt x="555" y="1784"/>
                  </a:lnTo>
                  <a:lnTo>
                    <a:pt x="555" y="1786"/>
                  </a:lnTo>
                  <a:lnTo>
                    <a:pt x="555" y="1784"/>
                  </a:lnTo>
                  <a:lnTo>
                    <a:pt x="555" y="1786"/>
                  </a:lnTo>
                  <a:lnTo>
                    <a:pt x="553" y="1786"/>
                  </a:lnTo>
                  <a:lnTo>
                    <a:pt x="553" y="1788"/>
                  </a:lnTo>
                  <a:lnTo>
                    <a:pt x="555" y="1786"/>
                  </a:lnTo>
                  <a:lnTo>
                    <a:pt x="555" y="1788"/>
                  </a:lnTo>
                  <a:lnTo>
                    <a:pt x="553" y="1788"/>
                  </a:lnTo>
                  <a:lnTo>
                    <a:pt x="553" y="1789"/>
                  </a:lnTo>
                  <a:lnTo>
                    <a:pt x="555" y="1791"/>
                  </a:lnTo>
                  <a:lnTo>
                    <a:pt x="555" y="1789"/>
                  </a:lnTo>
                  <a:lnTo>
                    <a:pt x="555" y="1791"/>
                  </a:lnTo>
                  <a:lnTo>
                    <a:pt x="557" y="1791"/>
                  </a:lnTo>
                  <a:lnTo>
                    <a:pt x="555" y="1791"/>
                  </a:lnTo>
                  <a:lnTo>
                    <a:pt x="557" y="1791"/>
                  </a:lnTo>
                  <a:lnTo>
                    <a:pt x="555" y="1793"/>
                  </a:lnTo>
                  <a:lnTo>
                    <a:pt x="553" y="1793"/>
                  </a:lnTo>
                  <a:lnTo>
                    <a:pt x="555" y="1793"/>
                  </a:lnTo>
                  <a:lnTo>
                    <a:pt x="555" y="1794"/>
                  </a:lnTo>
                  <a:lnTo>
                    <a:pt x="553" y="1794"/>
                  </a:lnTo>
                  <a:lnTo>
                    <a:pt x="555" y="1794"/>
                  </a:lnTo>
                  <a:lnTo>
                    <a:pt x="553" y="1794"/>
                  </a:lnTo>
                  <a:lnTo>
                    <a:pt x="555" y="1794"/>
                  </a:lnTo>
                  <a:lnTo>
                    <a:pt x="555" y="1796"/>
                  </a:lnTo>
                  <a:lnTo>
                    <a:pt x="555" y="1797"/>
                  </a:lnTo>
                  <a:lnTo>
                    <a:pt x="557" y="1797"/>
                  </a:lnTo>
                  <a:lnTo>
                    <a:pt x="555" y="1799"/>
                  </a:lnTo>
                  <a:lnTo>
                    <a:pt x="555" y="1802"/>
                  </a:lnTo>
                  <a:lnTo>
                    <a:pt x="555" y="1804"/>
                  </a:lnTo>
                  <a:lnTo>
                    <a:pt x="555" y="1806"/>
                  </a:lnTo>
                  <a:lnTo>
                    <a:pt x="555" y="1807"/>
                  </a:lnTo>
                  <a:lnTo>
                    <a:pt x="553" y="1809"/>
                  </a:lnTo>
                  <a:lnTo>
                    <a:pt x="553" y="1810"/>
                  </a:lnTo>
                  <a:lnTo>
                    <a:pt x="553" y="1812"/>
                  </a:lnTo>
                  <a:lnTo>
                    <a:pt x="553" y="1814"/>
                  </a:lnTo>
                  <a:lnTo>
                    <a:pt x="553" y="1812"/>
                  </a:lnTo>
                  <a:lnTo>
                    <a:pt x="553" y="1814"/>
                  </a:lnTo>
                  <a:lnTo>
                    <a:pt x="552" y="1814"/>
                  </a:lnTo>
                  <a:lnTo>
                    <a:pt x="552" y="1815"/>
                  </a:lnTo>
                  <a:lnTo>
                    <a:pt x="550" y="1815"/>
                  </a:lnTo>
                  <a:lnTo>
                    <a:pt x="550" y="1817"/>
                  </a:lnTo>
                  <a:lnTo>
                    <a:pt x="550" y="1815"/>
                  </a:lnTo>
                  <a:lnTo>
                    <a:pt x="549" y="1815"/>
                  </a:lnTo>
                  <a:lnTo>
                    <a:pt x="549" y="1817"/>
                  </a:lnTo>
                  <a:lnTo>
                    <a:pt x="549" y="1815"/>
                  </a:lnTo>
                  <a:lnTo>
                    <a:pt x="547" y="1815"/>
                  </a:lnTo>
                  <a:lnTo>
                    <a:pt x="549" y="1815"/>
                  </a:lnTo>
                  <a:lnTo>
                    <a:pt x="547" y="1815"/>
                  </a:lnTo>
                  <a:lnTo>
                    <a:pt x="547" y="1814"/>
                  </a:lnTo>
                  <a:lnTo>
                    <a:pt x="547" y="1815"/>
                  </a:lnTo>
                  <a:lnTo>
                    <a:pt x="545" y="1815"/>
                  </a:lnTo>
                  <a:lnTo>
                    <a:pt x="544" y="1814"/>
                  </a:lnTo>
                  <a:lnTo>
                    <a:pt x="545" y="1814"/>
                  </a:lnTo>
                  <a:lnTo>
                    <a:pt x="545" y="1812"/>
                  </a:lnTo>
                  <a:lnTo>
                    <a:pt x="545" y="1810"/>
                  </a:lnTo>
                  <a:lnTo>
                    <a:pt x="544" y="1810"/>
                  </a:lnTo>
                  <a:lnTo>
                    <a:pt x="544" y="1809"/>
                  </a:lnTo>
                  <a:lnTo>
                    <a:pt x="544" y="1807"/>
                  </a:lnTo>
                  <a:lnTo>
                    <a:pt x="544" y="1806"/>
                  </a:lnTo>
                  <a:lnTo>
                    <a:pt x="544" y="1804"/>
                  </a:lnTo>
                  <a:lnTo>
                    <a:pt x="544" y="1802"/>
                  </a:lnTo>
                  <a:lnTo>
                    <a:pt x="545" y="1802"/>
                  </a:lnTo>
                  <a:lnTo>
                    <a:pt x="545" y="1801"/>
                  </a:lnTo>
                  <a:lnTo>
                    <a:pt x="545" y="1799"/>
                  </a:lnTo>
                  <a:lnTo>
                    <a:pt x="545" y="1801"/>
                  </a:lnTo>
                  <a:lnTo>
                    <a:pt x="545" y="1799"/>
                  </a:lnTo>
                  <a:lnTo>
                    <a:pt x="544" y="1799"/>
                  </a:lnTo>
                  <a:lnTo>
                    <a:pt x="545" y="1799"/>
                  </a:lnTo>
                  <a:lnTo>
                    <a:pt x="545" y="1797"/>
                  </a:lnTo>
                  <a:lnTo>
                    <a:pt x="545" y="1796"/>
                  </a:lnTo>
                  <a:lnTo>
                    <a:pt x="545" y="1794"/>
                  </a:lnTo>
                  <a:lnTo>
                    <a:pt x="545" y="1796"/>
                  </a:lnTo>
                  <a:lnTo>
                    <a:pt x="545" y="1794"/>
                  </a:lnTo>
                  <a:lnTo>
                    <a:pt x="547" y="1794"/>
                  </a:lnTo>
                  <a:lnTo>
                    <a:pt x="545" y="1793"/>
                  </a:lnTo>
                  <a:lnTo>
                    <a:pt x="547" y="1793"/>
                  </a:lnTo>
                  <a:lnTo>
                    <a:pt x="549" y="1793"/>
                  </a:lnTo>
                  <a:lnTo>
                    <a:pt x="547" y="1791"/>
                  </a:lnTo>
                  <a:lnTo>
                    <a:pt x="549" y="1791"/>
                  </a:lnTo>
                  <a:lnTo>
                    <a:pt x="547" y="1791"/>
                  </a:lnTo>
                  <a:lnTo>
                    <a:pt x="547" y="1789"/>
                  </a:lnTo>
                  <a:lnTo>
                    <a:pt x="547" y="1788"/>
                  </a:lnTo>
                  <a:lnTo>
                    <a:pt x="545" y="1786"/>
                  </a:lnTo>
                  <a:lnTo>
                    <a:pt x="547" y="1786"/>
                  </a:lnTo>
                  <a:lnTo>
                    <a:pt x="547" y="1784"/>
                  </a:lnTo>
                  <a:lnTo>
                    <a:pt x="547" y="1786"/>
                  </a:lnTo>
                  <a:lnTo>
                    <a:pt x="549" y="1786"/>
                  </a:lnTo>
                  <a:lnTo>
                    <a:pt x="549" y="1784"/>
                  </a:lnTo>
                  <a:lnTo>
                    <a:pt x="550" y="1784"/>
                  </a:lnTo>
                  <a:lnTo>
                    <a:pt x="549" y="1783"/>
                  </a:lnTo>
                  <a:lnTo>
                    <a:pt x="550" y="1783"/>
                  </a:lnTo>
                  <a:lnTo>
                    <a:pt x="549" y="1783"/>
                  </a:lnTo>
                  <a:lnTo>
                    <a:pt x="549" y="1781"/>
                  </a:lnTo>
                  <a:lnTo>
                    <a:pt x="549" y="1780"/>
                  </a:lnTo>
                  <a:lnTo>
                    <a:pt x="549" y="1778"/>
                  </a:lnTo>
                  <a:lnTo>
                    <a:pt x="550" y="1778"/>
                  </a:lnTo>
                  <a:lnTo>
                    <a:pt x="549" y="1778"/>
                  </a:lnTo>
                  <a:lnTo>
                    <a:pt x="550" y="1778"/>
                  </a:lnTo>
                  <a:lnTo>
                    <a:pt x="550" y="1776"/>
                  </a:lnTo>
                  <a:close/>
                  <a:moveTo>
                    <a:pt x="929" y="1778"/>
                  </a:moveTo>
                  <a:lnTo>
                    <a:pt x="927" y="1778"/>
                  </a:lnTo>
                  <a:lnTo>
                    <a:pt x="926" y="1776"/>
                  </a:lnTo>
                  <a:lnTo>
                    <a:pt x="927" y="1776"/>
                  </a:lnTo>
                  <a:lnTo>
                    <a:pt x="929" y="1778"/>
                  </a:lnTo>
                  <a:close/>
                  <a:moveTo>
                    <a:pt x="949" y="1775"/>
                  </a:moveTo>
                  <a:lnTo>
                    <a:pt x="949" y="1776"/>
                  </a:lnTo>
                  <a:lnTo>
                    <a:pt x="949" y="1775"/>
                  </a:lnTo>
                  <a:close/>
                  <a:moveTo>
                    <a:pt x="542" y="1776"/>
                  </a:moveTo>
                  <a:lnTo>
                    <a:pt x="540" y="1776"/>
                  </a:lnTo>
                  <a:lnTo>
                    <a:pt x="542" y="1775"/>
                  </a:lnTo>
                  <a:lnTo>
                    <a:pt x="542" y="1776"/>
                  </a:lnTo>
                  <a:close/>
                  <a:moveTo>
                    <a:pt x="544" y="1776"/>
                  </a:moveTo>
                  <a:lnTo>
                    <a:pt x="544" y="1775"/>
                  </a:lnTo>
                  <a:lnTo>
                    <a:pt x="544" y="1776"/>
                  </a:lnTo>
                  <a:close/>
                  <a:moveTo>
                    <a:pt x="947" y="1775"/>
                  </a:moveTo>
                  <a:lnTo>
                    <a:pt x="945" y="1773"/>
                  </a:lnTo>
                  <a:lnTo>
                    <a:pt x="947" y="1773"/>
                  </a:lnTo>
                  <a:lnTo>
                    <a:pt x="947" y="1775"/>
                  </a:lnTo>
                  <a:close/>
                  <a:moveTo>
                    <a:pt x="924" y="1773"/>
                  </a:moveTo>
                  <a:lnTo>
                    <a:pt x="924" y="1775"/>
                  </a:lnTo>
                  <a:lnTo>
                    <a:pt x="924" y="1773"/>
                  </a:lnTo>
                  <a:close/>
                  <a:moveTo>
                    <a:pt x="539" y="1773"/>
                  </a:moveTo>
                  <a:lnTo>
                    <a:pt x="537" y="1773"/>
                  </a:lnTo>
                  <a:lnTo>
                    <a:pt x="539" y="1773"/>
                  </a:lnTo>
                  <a:close/>
                  <a:moveTo>
                    <a:pt x="926" y="1773"/>
                  </a:moveTo>
                  <a:lnTo>
                    <a:pt x="926" y="1775"/>
                  </a:lnTo>
                  <a:lnTo>
                    <a:pt x="924" y="1773"/>
                  </a:lnTo>
                  <a:lnTo>
                    <a:pt x="924" y="1771"/>
                  </a:lnTo>
                  <a:lnTo>
                    <a:pt x="926" y="1773"/>
                  </a:lnTo>
                  <a:close/>
                  <a:moveTo>
                    <a:pt x="924" y="1771"/>
                  </a:moveTo>
                  <a:lnTo>
                    <a:pt x="924" y="1773"/>
                  </a:lnTo>
                  <a:lnTo>
                    <a:pt x="924" y="1771"/>
                  </a:lnTo>
                  <a:close/>
                  <a:moveTo>
                    <a:pt x="539" y="1771"/>
                  </a:moveTo>
                  <a:lnTo>
                    <a:pt x="539" y="1773"/>
                  </a:lnTo>
                  <a:lnTo>
                    <a:pt x="539" y="1771"/>
                  </a:lnTo>
                  <a:close/>
                  <a:moveTo>
                    <a:pt x="923" y="1773"/>
                  </a:moveTo>
                  <a:lnTo>
                    <a:pt x="924" y="1773"/>
                  </a:lnTo>
                  <a:lnTo>
                    <a:pt x="923" y="1773"/>
                  </a:lnTo>
                  <a:lnTo>
                    <a:pt x="923" y="1771"/>
                  </a:lnTo>
                  <a:lnTo>
                    <a:pt x="923" y="1773"/>
                  </a:lnTo>
                  <a:close/>
                  <a:moveTo>
                    <a:pt x="540" y="1771"/>
                  </a:moveTo>
                  <a:lnTo>
                    <a:pt x="542" y="1771"/>
                  </a:lnTo>
                  <a:lnTo>
                    <a:pt x="542" y="1773"/>
                  </a:lnTo>
                  <a:lnTo>
                    <a:pt x="540" y="1773"/>
                  </a:lnTo>
                  <a:lnTo>
                    <a:pt x="540" y="1775"/>
                  </a:lnTo>
                  <a:lnTo>
                    <a:pt x="540" y="1773"/>
                  </a:lnTo>
                  <a:lnTo>
                    <a:pt x="539" y="1773"/>
                  </a:lnTo>
                  <a:lnTo>
                    <a:pt x="539" y="1771"/>
                  </a:lnTo>
                  <a:lnTo>
                    <a:pt x="540" y="1771"/>
                  </a:lnTo>
                  <a:close/>
                  <a:moveTo>
                    <a:pt x="539" y="1771"/>
                  </a:moveTo>
                  <a:lnTo>
                    <a:pt x="539" y="1770"/>
                  </a:lnTo>
                  <a:lnTo>
                    <a:pt x="539" y="1771"/>
                  </a:lnTo>
                  <a:close/>
                  <a:moveTo>
                    <a:pt x="547" y="1763"/>
                  </a:moveTo>
                  <a:lnTo>
                    <a:pt x="547" y="1762"/>
                  </a:lnTo>
                  <a:lnTo>
                    <a:pt x="549" y="1762"/>
                  </a:lnTo>
                  <a:lnTo>
                    <a:pt x="547" y="1763"/>
                  </a:lnTo>
                  <a:close/>
                  <a:moveTo>
                    <a:pt x="544" y="1762"/>
                  </a:moveTo>
                  <a:lnTo>
                    <a:pt x="545" y="1760"/>
                  </a:lnTo>
                  <a:lnTo>
                    <a:pt x="545" y="1762"/>
                  </a:lnTo>
                  <a:lnTo>
                    <a:pt x="544" y="1762"/>
                  </a:lnTo>
                  <a:close/>
                  <a:moveTo>
                    <a:pt x="542" y="1762"/>
                  </a:moveTo>
                  <a:lnTo>
                    <a:pt x="542" y="1760"/>
                  </a:lnTo>
                  <a:lnTo>
                    <a:pt x="542" y="1762"/>
                  </a:lnTo>
                  <a:close/>
                  <a:moveTo>
                    <a:pt x="540" y="1762"/>
                  </a:moveTo>
                  <a:lnTo>
                    <a:pt x="540" y="1760"/>
                  </a:lnTo>
                  <a:lnTo>
                    <a:pt x="542" y="1760"/>
                  </a:lnTo>
                  <a:lnTo>
                    <a:pt x="540" y="1762"/>
                  </a:lnTo>
                  <a:close/>
                  <a:moveTo>
                    <a:pt x="553" y="1755"/>
                  </a:moveTo>
                  <a:lnTo>
                    <a:pt x="555" y="1757"/>
                  </a:lnTo>
                  <a:lnTo>
                    <a:pt x="553" y="1757"/>
                  </a:lnTo>
                  <a:lnTo>
                    <a:pt x="553" y="1755"/>
                  </a:lnTo>
                  <a:close/>
                  <a:moveTo>
                    <a:pt x="545" y="1754"/>
                  </a:moveTo>
                  <a:lnTo>
                    <a:pt x="545" y="1752"/>
                  </a:lnTo>
                  <a:lnTo>
                    <a:pt x="545" y="1754"/>
                  </a:lnTo>
                  <a:close/>
                  <a:moveTo>
                    <a:pt x="544" y="1752"/>
                  </a:moveTo>
                  <a:lnTo>
                    <a:pt x="545" y="1752"/>
                  </a:lnTo>
                  <a:lnTo>
                    <a:pt x="544" y="1752"/>
                  </a:lnTo>
                  <a:close/>
                  <a:moveTo>
                    <a:pt x="544" y="1750"/>
                  </a:moveTo>
                  <a:lnTo>
                    <a:pt x="544" y="1752"/>
                  </a:lnTo>
                  <a:lnTo>
                    <a:pt x="544" y="1750"/>
                  </a:lnTo>
                  <a:close/>
                  <a:moveTo>
                    <a:pt x="942" y="1750"/>
                  </a:moveTo>
                  <a:lnTo>
                    <a:pt x="944" y="1752"/>
                  </a:lnTo>
                  <a:lnTo>
                    <a:pt x="942" y="1750"/>
                  </a:lnTo>
                  <a:close/>
                  <a:moveTo>
                    <a:pt x="544" y="1750"/>
                  </a:moveTo>
                  <a:lnTo>
                    <a:pt x="544" y="1752"/>
                  </a:lnTo>
                  <a:lnTo>
                    <a:pt x="544" y="1750"/>
                  </a:lnTo>
                  <a:close/>
                  <a:moveTo>
                    <a:pt x="944" y="1752"/>
                  </a:moveTo>
                  <a:lnTo>
                    <a:pt x="944" y="1750"/>
                  </a:lnTo>
                  <a:lnTo>
                    <a:pt x="944" y="1752"/>
                  </a:lnTo>
                  <a:close/>
                  <a:moveTo>
                    <a:pt x="545" y="1750"/>
                  </a:moveTo>
                  <a:lnTo>
                    <a:pt x="547" y="1750"/>
                  </a:lnTo>
                  <a:lnTo>
                    <a:pt x="547" y="1752"/>
                  </a:lnTo>
                  <a:lnTo>
                    <a:pt x="545" y="1752"/>
                  </a:lnTo>
                  <a:lnTo>
                    <a:pt x="545" y="1750"/>
                  </a:lnTo>
                  <a:lnTo>
                    <a:pt x="545" y="1752"/>
                  </a:lnTo>
                  <a:lnTo>
                    <a:pt x="545" y="1750"/>
                  </a:lnTo>
                  <a:close/>
                  <a:moveTo>
                    <a:pt x="544" y="1750"/>
                  </a:moveTo>
                  <a:lnTo>
                    <a:pt x="544" y="1749"/>
                  </a:lnTo>
                  <a:lnTo>
                    <a:pt x="544" y="1750"/>
                  </a:lnTo>
                  <a:close/>
                  <a:moveTo>
                    <a:pt x="549" y="1749"/>
                  </a:moveTo>
                  <a:lnTo>
                    <a:pt x="547" y="1749"/>
                  </a:lnTo>
                  <a:lnTo>
                    <a:pt x="549" y="1749"/>
                  </a:lnTo>
                  <a:close/>
                  <a:moveTo>
                    <a:pt x="545" y="1749"/>
                  </a:moveTo>
                  <a:lnTo>
                    <a:pt x="544" y="1749"/>
                  </a:lnTo>
                  <a:lnTo>
                    <a:pt x="545" y="1749"/>
                  </a:lnTo>
                  <a:close/>
                  <a:moveTo>
                    <a:pt x="542" y="1749"/>
                  </a:moveTo>
                  <a:lnTo>
                    <a:pt x="542" y="1747"/>
                  </a:lnTo>
                  <a:lnTo>
                    <a:pt x="542" y="1749"/>
                  </a:lnTo>
                  <a:close/>
                  <a:moveTo>
                    <a:pt x="544" y="1749"/>
                  </a:moveTo>
                  <a:lnTo>
                    <a:pt x="545" y="1747"/>
                  </a:lnTo>
                  <a:lnTo>
                    <a:pt x="545" y="1749"/>
                  </a:lnTo>
                  <a:lnTo>
                    <a:pt x="544" y="1749"/>
                  </a:lnTo>
                  <a:close/>
                  <a:moveTo>
                    <a:pt x="937" y="1747"/>
                  </a:moveTo>
                  <a:lnTo>
                    <a:pt x="937" y="1749"/>
                  </a:lnTo>
                  <a:lnTo>
                    <a:pt x="939" y="1749"/>
                  </a:lnTo>
                  <a:lnTo>
                    <a:pt x="937" y="1749"/>
                  </a:lnTo>
                  <a:lnTo>
                    <a:pt x="937" y="1747"/>
                  </a:lnTo>
                  <a:close/>
                  <a:moveTo>
                    <a:pt x="544" y="1747"/>
                  </a:moveTo>
                  <a:lnTo>
                    <a:pt x="544" y="1749"/>
                  </a:lnTo>
                  <a:lnTo>
                    <a:pt x="544" y="1747"/>
                  </a:lnTo>
                  <a:close/>
                  <a:moveTo>
                    <a:pt x="568" y="1747"/>
                  </a:moveTo>
                  <a:lnTo>
                    <a:pt x="568" y="1749"/>
                  </a:lnTo>
                  <a:lnTo>
                    <a:pt x="568" y="1747"/>
                  </a:lnTo>
                  <a:close/>
                  <a:moveTo>
                    <a:pt x="573" y="1745"/>
                  </a:moveTo>
                  <a:lnTo>
                    <a:pt x="575" y="1745"/>
                  </a:lnTo>
                  <a:lnTo>
                    <a:pt x="573" y="1745"/>
                  </a:lnTo>
                  <a:close/>
                  <a:moveTo>
                    <a:pt x="939" y="1747"/>
                  </a:moveTo>
                  <a:lnTo>
                    <a:pt x="939" y="1749"/>
                  </a:lnTo>
                  <a:lnTo>
                    <a:pt x="939" y="1747"/>
                  </a:lnTo>
                  <a:lnTo>
                    <a:pt x="939" y="1745"/>
                  </a:lnTo>
                  <a:lnTo>
                    <a:pt x="939" y="1747"/>
                  </a:lnTo>
                  <a:close/>
                  <a:moveTo>
                    <a:pt x="940" y="1744"/>
                  </a:moveTo>
                  <a:lnTo>
                    <a:pt x="940" y="1745"/>
                  </a:lnTo>
                  <a:lnTo>
                    <a:pt x="940" y="1747"/>
                  </a:lnTo>
                  <a:lnTo>
                    <a:pt x="942" y="1747"/>
                  </a:lnTo>
                  <a:lnTo>
                    <a:pt x="942" y="1749"/>
                  </a:lnTo>
                  <a:lnTo>
                    <a:pt x="944" y="1750"/>
                  </a:lnTo>
                  <a:lnTo>
                    <a:pt x="942" y="1750"/>
                  </a:lnTo>
                  <a:lnTo>
                    <a:pt x="940" y="1750"/>
                  </a:lnTo>
                  <a:lnTo>
                    <a:pt x="940" y="1749"/>
                  </a:lnTo>
                  <a:lnTo>
                    <a:pt x="940" y="1747"/>
                  </a:lnTo>
                  <a:lnTo>
                    <a:pt x="940" y="1745"/>
                  </a:lnTo>
                  <a:lnTo>
                    <a:pt x="939" y="1745"/>
                  </a:lnTo>
                  <a:lnTo>
                    <a:pt x="940" y="1744"/>
                  </a:lnTo>
                  <a:close/>
                  <a:moveTo>
                    <a:pt x="547" y="1744"/>
                  </a:moveTo>
                  <a:lnTo>
                    <a:pt x="547" y="1745"/>
                  </a:lnTo>
                  <a:lnTo>
                    <a:pt x="547" y="1747"/>
                  </a:lnTo>
                  <a:lnTo>
                    <a:pt x="547" y="1745"/>
                  </a:lnTo>
                  <a:lnTo>
                    <a:pt x="545" y="1744"/>
                  </a:lnTo>
                  <a:lnTo>
                    <a:pt x="547" y="1742"/>
                  </a:lnTo>
                  <a:lnTo>
                    <a:pt x="547" y="1744"/>
                  </a:lnTo>
                  <a:close/>
                  <a:moveTo>
                    <a:pt x="942" y="1744"/>
                  </a:moveTo>
                  <a:lnTo>
                    <a:pt x="940" y="1744"/>
                  </a:lnTo>
                  <a:lnTo>
                    <a:pt x="940" y="1742"/>
                  </a:lnTo>
                  <a:lnTo>
                    <a:pt x="942" y="1742"/>
                  </a:lnTo>
                  <a:lnTo>
                    <a:pt x="942" y="1744"/>
                  </a:lnTo>
                  <a:close/>
                  <a:moveTo>
                    <a:pt x="544" y="1744"/>
                  </a:moveTo>
                  <a:lnTo>
                    <a:pt x="544" y="1742"/>
                  </a:lnTo>
                  <a:lnTo>
                    <a:pt x="545" y="1742"/>
                  </a:lnTo>
                  <a:lnTo>
                    <a:pt x="544" y="1744"/>
                  </a:lnTo>
                  <a:close/>
                  <a:moveTo>
                    <a:pt x="591" y="1744"/>
                  </a:moveTo>
                  <a:lnTo>
                    <a:pt x="591" y="1742"/>
                  </a:lnTo>
                  <a:lnTo>
                    <a:pt x="591" y="1744"/>
                  </a:lnTo>
                  <a:close/>
                  <a:moveTo>
                    <a:pt x="544" y="1742"/>
                  </a:moveTo>
                  <a:lnTo>
                    <a:pt x="542" y="1742"/>
                  </a:lnTo>
                  <a:lnTo>
                    <a:pt x="544" y="1742"/>
                  </a:lnTo>
                  <a:close/>
                  <a:moveTo>
                    <a:pt x="589" y="1741"/>
                  </a:moveTo>
                  <a:lnTo>
                    <a:pt x="591" y="1741"/>
                  </a:lnTo>
                  <a:lnTo>
                    <a:pt x="591" y="1742"/>
                  </a:lnTo>
                  <a:lnTo>
                    <a:pt x="589" y="1742"/>
                  </a:lnTo>
                  <a:lnTo>
                    <a:pt x="589" y="1741"/>
                  </a:lnTo>
                  <a:close/>
                  <a:moveTo>
                    <a:pt x="545" y="1739"/>
                  </a:moveTo>
                  <a:lnTo>
                    <a:pt x="545" y="1741"/>
                  </a:lnTo>
                  <a:lnTo>
                    <a:pt x="545" y="1739"/>
                  </a:lnTo>
                  <a:close/>
                  <a:moveTo>
                    <a:pt x="557" y="1739"/>
                  </a:moveTo>
                  <a:lnTo>
                    <a:pt x="558" y="1739"/>
                  </a:lnTo>
                  <a:lnTo>
                    <a:pt x="557" y="1739"/>
                  </a:lnTo>
                  <a:close/>
                  <a:moveTo>
                    <a:pt x="940" y="1741"/>
                  </a:moveTo>
                  <a:lnTo>
                    <a:pt x="940" y="1739"/>
                  </a:lnTo>
                  <a:lnTo>
                    <a:pt x="940" y="1741"/>
                  </a:lnTo>
                  <a:close/>
                  <a:moveTo>
                    <a:pt x="579" y="1736"/>
                  </a:moveTo>
                  <a:lnTo>
                    <a:pt x="579" y="1737"/>
                  </a:lnTo>
                  <a:lnTo>
                    <a:pt x="579" y="1736"/>
                  </a:lnTo>
                  <a:close/>
                  <a:moveTo>
                    <a:pt x="558" y="1736"/>
                  </a:moveTo>
                  <a:lnTo>
                    <a:pt x="560" y="1737"/>
                  </a:lnTo>
                  <a:lnTo>
                    <a:pt x="558" y="1736"/>
                  </a:lnTo>
                  <a:close/>
                  <a:moveTo>
                    <a:pt x="545" y="1736"/>
                  </a:moveTo>
                  <a:lnTo>
                    <a:pt x="547" y="1736"/>
                  </a:lnTo>
                  <a:lnTo>
                    <a:pt x="545" y="1736"/>
                  </a:lnTo>
                  <a:close/>
                  <a:moveTo>
                    <a:pt x="544" y="1736"/>
                  </a:moveTo>
                  <a:lnTo>
                    <a:pt x="544" y="1737"/>
                  </a:lnTo>
                  <a:lnTo>
                    <a:pt x="542" y="1736"/>
                  </a:lnTo>
                  <a:lnTo>
                    <a:pt x="544" y="1736"/>
                  </a:lnTo>
                  <a:close/>
                  <a:moveTo>
                    <a:pt x="544" y="1736"/>
                  </a:moveTo>
                  <a:lnTo>
                    <a:pt x="545" y="1736"/>
                  </a:lnTo>
                  <a:lnTo>
                    <a:pt x="545" y="1737"/>
                  </a:lnTo>
                  <a:lnTo>
                    <a:pt x="544" y="1736"/>
                  </a:lnTo>
                  <a:lnTo>
                    <a:pt x="544" y="1737"/>
                  </a:lnTo>
                  <a:lnTo>
                    <a:pt x="545" y="1737"/>
                  </a:lnTo>
                  <a:lnTo>
                    <a:pt x="544" y="1737"/>
                  </a:lnTo>
                  <a:lnTo>
                    <a:pt x="544" y="1736"/>
                  </a:lnTo>
                  <a:close/>
                  <a:moveTo>
                    <a:pt x="558" y="1736"/>
                  </a:moveTo>
                  <a:lnTo>
                    <a:pt x="560" y="1736"/>
                  </a:lnTo>
                  <a:lnTo>
                    <a:pt x="558" y="1736"/>
                  </a:lnTo>
                  <a:close/>
                  <a:moveTo>
                    <a:pt x="599" y="1736"/>
                  </a:moveTo>
                  <a:lnTo>
                    <a:pt x="597" y="1737"/>
                  </a:lnTo>
                  <a:lnTo>
                    <a:pt x="597" y="1736"/>
                  </a:lnTo>
                  <a:lnTo>
                    <a:pt x="599" y="1736"/>
                  </a:lnTo>
                  <a:close/>
                  <a:moveTo>
                    <a:pt x="557" y="1734"/>
                  </a:moveTo>
                  <a:lnTo>
                    <a:pt x="557" y="1736"/>
                  </a:lnTo>
                  <a:lnTo>
                    <a:pt x="557" y="1734"/>
                  </a:lnTo>
                  <a:close/>
                  <a:moveTo>
                    <a:pt x="589" y="1734"/>
                  </a:moveTo>
                  <a:lnTo>
                    <a:pt x="591" y="1734"/>
                  </a:lnTo>
                  <a:lnTo>
                    <a:pt x="589" y="1734"/>
                  </a:lnTo>
                  <a:close/>
                  <a:moveTo>
                    <a:pt x="545" y="1734"/>
                  </a:moveTo>
                  <a:lnTo>
                    <a:pt x="545" y="1732"/>
                  </a:lnTo>
                  <a:lnTo>
                    <a:pt x="545" y="1734"/>
                  </a:lnTo>
                  <a:close/>
                  <a:moveTo>
                    <a:pt x="542" y="1734"/>
                  </a:moveTo>
                  <a:lnTo>
                    <a:pt x="544" y="1732"/>
                  </a:lnTo>
                  <a:lnTo>
                    <a:pt x="544" y="1734"/>
                  </a:lnTo>
                  <a:lnTo>
                    <a:pt x="542" y="1734"/>
                  </a:lnTo>
                  <a:close/>
                  <a:moveTo>
                    <a:pt x="566" y="1732"/>
                  </a:moveTo>
                  <a:lnTo>
                    <a:pt x="568" y="1732"/>
                  </a:lnTo>
                  <a:lnTo>
                    <a:pt x="568" y="1734"/>
                  </a:lnTo>
                  <a:lnTo>
                    <a:pt x="566" y="1732"/>
                  </a:lnTo>
                  <a:close/>
                  <a:moveTo>
                    <a:pt x="584" y="1732"/>
                  </a:moveTo>
                  <a:lnTo>
                    <a:pt x="584" y="1731"/>
                  </a:lnTo>
                  <a:lnTo>
                    <a:pt x="586" y="1731"/>
                  </a:lnTo>
                  <a:lnTo>
                    <a:pt x="586" y="1732"/>
                  </a:lnTo>
                  <a:lnTo>
                    <a:pt x="588" y="1732"/>
                  </a:lnTo>
                  <a:lnTo>
                    <a:pt x="588" y="1734"/>
                  </a:lnTo>
                  <a:lnTo>
                    <a:pt x="589" y="1734"/>
                  </a:lnTo>
                  <a:lnTo>
                    <a:pt x="588" y="1736"/>
                  </a:lnTo>
                  <a:lnTo>
                    <a:pt x="589" y="1736"/>
                  </a:lnTo>
                  <a:lnTo>
                    <a:pt x="589" y="1737"/>
                  </a:lnTo>
                  <a:lnTo>
                    <a:pt x="588" y="1737"/>
                  </a:lnTo>
                  <a:lnTo>
                    <a:pt x="588" y="1736"/>
                  </a:lnTo>
                  <a:lnTo>
                    <a:pt x="586" y="1736"/>
                  </a:lnTo>
                  <a:lnTo>
                    <a:pt x="584" y="1736"/>
                  </a:lnTo>
                  <a:lnTo>
                    <a:pt x="583" y="1734"/>
                  </a:lnTo>
                  <a:lnTo>
                    <a:pt x="584" y="1734"/>
                  </a:lnTo>
                  <a:lnTo>
                    <a:pt x="583" y="1734"/>
                  </a:lnTo>
                  <a:lnTo>
                    <a:pt x="584" y="1734"/>
                  </a:lnTo>
                  <a:lnTo>
                    <a:pt x="584" y="1732"/>
                  </a:lnTo>
                  <a:close/>
                  <a:moveTo>
                    <a:pt x="562" y="1731"/>
                  </a:moveTo>
                  <a:lnTo>
                    <a:pt x="563" y="1732"/>
                  </a:lnTo>
                  <a:lnTo>
                    <a:pt x="563" y="1731"/>
                  </a:lnTo>
                  <a:lnTo>
                    <a:pt x="563" y="1732"/>
                  </a:lnTo>
                  <a:lnTo>
                    <a:pt x="565" y="1732"/>
                  </a:lnTo>
                  <a:lnTo>
                    <a:pt x="565" y="1734"/>
                  </a:lnTo>
                  <a:lnTo>
                    <a:pt x="563" y="1734"/>
                  </a:lnTo>
                  <a:lnTo>
                    <a:pt x="563" y="1732"/>
                  </a:lnTo>
                  <a:lnTo>
                    <a:pt x="562" y="1732"/>
                  </a:lnTo>
                  <a:lnTo>
                    <a:pt x="562" y="1731"/>
                  </a:lnTo>
                  <a:close/>
                  <a:moveTo>
                    <a:pt x="555" y="1731"/>
                  </a:moveTo>
                  <a:lnTo>
                    <a:pt x="557" y="1732"/>
                  </a:lnTo>
                  <a:lnTo>
                    <a:pt x="555" y="1732"/>
                  </a:lnTo>
                  <a:lnTo>
                    <a:pt x="555" y="1731"/>
                  </a:lnTo>
                  <a:lnTo>
                    <a:pt x="557" y="1731"/>
                  </a:lnTo>
                  <a:lnTo>
                    <a:pt x="555" y="1731"/>
                  </a:lnTo>
                  <a:close/>
                  <a:moveTo>
                    <a:pt x="565" y="1731"/>
                  </a:moveTo>
                  <a:lnTo>
                    <a:pt x="566" y="1731"/>
                  </a:lnTo>
                  <a:lnTo>
                    <a:pt x="568" y="1731"/>
                  </a:lnTo>
                  <a:lnTo>
                    <a:pt x="566" y="1731"/>
                  </a:lnTo>
                  <a:lnTo>
                    <a:pt x="566" y="1732"/>
                  </a:lnTo>
                  <a:lnTo>
                    <a:pt x="566" y="1731"/>
                  </a:lnTo>
                  <a:lnTo>
                    <a:pt x="565" y="1732"/>
                  </a:lnTo>
                  <a:lnTo>
                    <a:pt x="565" y="1731"/>
                  </a:lnTo>
                  <a:close/>
                  <a:moveTo>
                    <a:pt x="586" y="1729"/>
                  </a:moveTo>
                  <a:lnTo>
                    <a:pt x="588" y="1729"/>
                  </a:lnTo>
                  <a:lnTo>
                    <a:pt x="588" y="1731"/>
                  </a:lnTo>
                  <a:lnTo>
                    <a:pt x="589" y="1731"/>
                  </a:lnTo>
                  <a:lnTo>
                    <a:pt x="589" y="1729"/>
                  </a:lnTo>
                  <a:lnTo>
                    <a:pt x="589" y="1731"/>
                  </a:lnTo>
                  <a:lnTo>
                    <a:pt x="589" y="1732"/>
                  </a:lnTo>
                  <a:lnTo>
                    <a:pt x="589" y="1734"/>
                  </a:lnTo>
                  <a:lnTo>
                    <a:pt x="588" y="1732"/>
                  </a:lnTo>
                  <a:lnTo>
                    <a:pt x="586" y="1732"/>
                  </a:lnTo>
                  <a:lnTo>
                    <a:pt x="586" y="1731"/>
                  </a:lnTo>
                  <a:lnTo>
                    <a:pt x="586" y="1729"/>
                  </a:lnTo>
                  <a:close/>
                  <a:moveTo>
                    <a:pt x="549" y="1729"/>
                  </a:moveTo>
                  <a:lnTo>
                    <a:pt x="549" y="1728"/>
                  </a:lnTo>
                  <a:lnTo>
                    <a:pt x="549" y="1729"/>
                  </a:lnTo>
                  <a:lnTo>
                    <a:pt x="549" y="1731"/>
                  </a:lnTo>
                  <a:lnTo>
                    <a:pt x="547" y="1731"/>
                  </a:lnTo>
                  <a:lnTo>
                    <a:pt x="549" y="1731"/>
                  </a:lnTo>
                  <a:lnTo>
                    <a:pt x="549" y="1729"/>
                  </a:lnTo>
                  <a:lnTo>
                    <a:pt x="549" y="1731"/>
                  </a:lnTo>
                  <a:lnTo>
                    <a:pt x="547" y="1731"/>
                  </a:lnTo>
                  <a:lnTo>
                    <a:pt x="547" y="1729"/>
                  </a:lnTo>
                  <a:lnTo>
                    <a:pt x="549" y="1729"/>
                  </a:lnTo>
                  <a:close/>
                  <a:moveTo>
                    <a:pt x="937" y="1729"/>
                  </a:moveTo>
                  <a:lnTo>
                    <a:pt x="936" y="1729"/>
                  </a:lnTo>
                  <a:lnTo>
                    <a:pt x="937" y="1728"/>
                  </a:lnTo>
                  <a:lnTo>
                    <a:pt x="937" y="1729"/>
                  </a:lnTo>
                  <a:close/>
                  <a:moveTo>
                    <a:pt x="550" y="1728"/>
                  </a:moveTo>
                  <a:lnTo>
                    <a:pt x="550" y="1729"/>
                  </a:lnTo>
                  <a:lnTo>
                    <a:pt x="550" y="1728"/>
                  </a:lnTo>
                  <a:close/>
                  <a:moveTo>
                    <a:pt x="581" y="1726"/>
                  </a:moveTo>
                  <a:lnTo>
                    <a:pt x="581" y="1724"/>
                  </a:lnTo>
                  <a:lnTo>
                    <a:pt x="581" y="1726"/>
                  </a:lnTo>
                  <a:lnTo>
                    <a:pt x="581" y="1724"/>
                  </a:lnTo>
                  <a:lnTo>
                    <a:pt x="581" y="1726"/>
                  </a:lnTo>
                  <a:close/>
                  <a:moveTo>
                    <a:pt x="952" y="1726"/>
                  </a:moveTo>
                  <a:lnTo>
                    <a:pt x="952" y="1724"/>
                  </a:lnTo>
                  <a:lnTo>
                    <a:pt x="953" y="1724"/>
                  </a:lnTo>
                  <a:lnTo>
                    <a:pt x="952" y="1726"/>
                  </a:lnTo>
                  <a:close/>
                  <a:moveTo>
                    <a:pt x="576" y="1726"/>
                  </a:moveTo>
                  <a:lnTo>
                    <a:pt x="576" y="1724"/>
                  </a:lnTo>
                  <a:lnTo>
                    <a:pt x="576" y="1726"/>
                  </a:lnTo>
                  <a:close/>
                  <a:moveTo>
                    <a:pt x="942" y="1724"/>
                  </a:moveTo>
                  <a:lnTo>
                    <a:pt x="942" y="1726"/>
                  </a:lnTo>
                  <a:lnTo>
                    <a:pt x="942" y="1724"/>
                  </a:lnTo>
                  <a:close/>
                  <a:moveTo>
                    <a:pt x="939" y="1724"/>
                  </a:moveTo>
                  <a:lnTo>
                    <a:pt x="939" y="1726"/>
                  </a:lnTo>
                  <a:lnTo>
                    <a:pt x="940" y="1724"/>
                  </a:lnTo>
                  <a:lnTo>
                    <a:pt x="939" y="1726"/>
                  </a:lnTo>
                  <a:lnTo>
                    <a:pt x="937" y="1726"/>
                  </a:lnTo>
                  <a:lnTo>
                    <a:pt x="939" y="1726"/>
                  </a:lnTo>
                  <a:lnTo>
                    <a:pt x="937" y="1726"/>
                  </a:lnTo>
                  <a:lnTo>
                    <a:pt x="937" y="1724"/>
                  </a:lnTo>
                  <a:lnTo>
                    <a:pt x="939" y="1724"/>
                  </a:lnTo>
                  <a:lnTo>
                    <a:pt x="939" y="1723"/>
                  </a:lnTo>
                  <a:lnTo>
                    <a:pt x="940" y="1723"/>
                  </a:lnTo>
                  <a:lnTo>
                    <a:pt x="940" y="1724"/>
                  </a:lnTo>
                  <a:lnTo>
                    <a:pt x="939" y="1724"/>
                  </a:lnTo>
                  <a:close/>
                  <a:moveTo>
                    <a:pt x="944" y="1723"/>
                  </a:moveTo>
                  <a:lnTo>
                    <a:pt x="945" y="1723"/>
                  </a:lnTo>
                  <a:lnTo>
                    <a:pt x="944" y="1723"/>
                  </a:lnTo>
                  <a:close/>
                  <a:moveTo>
                    <a:pt x="560" y="1723"/>
                  </a:moveTo>
                  <a:lnTo>
                    <a:pt x="560" y="1721"/>
                  </a:lnTo>
                  <a:lnTo>
                    <a:pt x="560" y="1723"/>
                  </a:lnTo>
                  <a:close/>
                  <a:moveTo>
                    <a:pt x="586" y="1721"/>
                  </a:moveTo>
                  <a:lnTo>
                    <a:pt x="588" y="1721"/>
                  </a:lnTo>
                  <a:lnTo>
                    <a:pt x="588" y="1723"/>
                  </a:lnTo>
                  <a:lnTo>
                    <a:pt x="586" y="1721"/>
                  </a:lnTo>
                  <a:lnTo>
                    <a:pt x="586" y="1723"/>
                  </a:lnTo>
                  <a:lnTo>
                    <a:pt x="586" y="1721"/>
                  </a:lnTo>
                  <a:close/>
                  <a:moveTo>
                    <a:pt x="942" y="1723"/>
                  </a:moveTo>
                  <a:lnTo>
                    <a:pt x="942" y="1724"/>
                  </a:lnTo>
                  <a:lnTo>
                    <a:pt x="940" y="1724"/>
                  </a:lnTo>
                  <a:lnTo>
                    <a:pt x="940" y="1723"/>
                  </a:lnTo>
                  <a:lnTo>
                    <a:pt x="942" y="1723"/>
                  </a:lnTo>
                  <a:lnTo>
                    <a:pt x="942" y="1721"/>
                  </a:lnTo>
                  <a:lnTo>
                    <a:pt x="944" y="1721"/>
                  </a:lnTo>
                  <a:lnTo>
                    <a:pt x="944" y="1723"/>
                  </a:lnTo>
                  <a:lnTo>
                    <a:pt x="942" y="1723"/>
                  </a:lnTo>
                  <a:close/>
                  <a:moveTo>
                    <a:pt x="592" y="1723"/>
                  </a:moveTo>
                  <a:lnTo>
                    <a:pt x="591" y="1723"/>
                  </a:lnTo>
                  <a:lnTo>
                    <a:pt x="592" y="1721"/>
                  </a:lnTo>
                  <a:lnTo>
                    <a:pt x="592" y="1723"/>
                  </a:lnTo>
                  <a:close/>
                  <a:moveTo>
                    <a:pt x="940" y="1721"/>
                  </a:moveTo>
                  <a:lnTo>
                    <a:pt x="940" y="1723"/>
                  </a:lnTo>
                  <a:lnTo>
                    <a:pt x="939" y="1723"/>
                  </a:lnTo>
                  <a:lnTo>
                    <a:pt x="939" y="1721"/>
                  </a:lnTo>
                  <a:lnTo>
                    <a:pt x="940" y="1721"/>
                  </a:lnTo>
                  <a:close/>
                  <a:moveTo>
                    <a:pt x="584" y="1723"/>
                  </a:moveTo>
                  <a:lnTo>
                    <a:pt x="584" y="1724"/>
                  </a:lnTo>
                  <a:lnTo>
                    <a:pt x="586" y="1723"/>
                  </a:lnTo>
                  <a:lnTo>
                    <a:pt x="588" y="1723"/>
                  </a:lnTo>
                  <a:lnTo>
                    <a:pt x="588" y="1724"/>
                  </a:lnTo>
                  <a:lnTo>
                    <a:pt x="589" y="1724"/>
                  </a:lnTo>
                  <a:lnTo>
                    <a:pt x="589" y="1723"/>
                  </a:lnTo>
                  <a:lnTo>
                    <a:pt x="588" y="1723"/>
                  </a:lnTo>
                  <a:lnTo>
                    <a:pt x="588" y="1721"/>
                  </a:lnTo>
                  <a:lnTo>
                    <a:pt x="589" y="1721"/>
                  </a:lnTo>
                  <a:lnTo>
                    <a:pt x="591" y="1721"/>
                  </a:lnTo>
                  <a:lnTo>
                    <a:pt x="591" y="1723"/>
                  </a:lnTo>
                  <a:lnTo>
                    <a:pt x="591" y="1724"/>
                  </a:lnTo>
                  <a:lnTo>
                    <a:pt x="592" y="1724"/>
                  </a:lnTo>
                  <a:lnTo>
                    <a:pt x="591" y="1724"/>
                  </a:lnTo>
                  <a:lnTo>
                    <a:pt x="592" y="1726"/>
                  </a:lnTo>
                  <a:lnTo>
                    <a:pt x="592" y="1724"/>
                  </a:lnTo>
                  <a:lnTo>
                    <a:pt x="592" y="1726"/>
                  </a:lnTo>
                  <a:lnTo>
                    <a:pt x="594" y="1726"/>
                  </a:lnTo>
                  <a:lnTo>
                    <a:pt x="594" y="1724"/>
                  </a:lnTo>
                  <a:lnTo>
                    <a:pt x="594" y="1726"/>
                  </a:lnTo>
                  <a:lnTo>
                    <a:pt x="596" y="1726"/>
                  </a:lnTo>
                  <a:lnTo>
                    <a:pt x="597" y="1728"/>
                  </a:lnTo>
                  <a:lnTo>
                    <a:pt x="597" y="1729"/>
                  </a:lnTo>
                  <a:lnTo>
                    <a:pt x="597" y="1731"/>
                  </a:lnTo>
                  <a:lnTo>
                    <a:pt x="596" y="1731"/>
                  </a:lnTo>
                  <a:lnTo>
                    <a:pt x="594" y="1729"/>
                  </a:lnTo>
                  <a:lnTo>
                    <a:pt x="594" y="1731"/>
                  </a:lnTo>
                  <a:lnTo>
                    <a:pt x="594" y="1732"/>
                  </a:lnTo>
                  <a:lnTo>
                    <a:pt x="592" y="1734"/>
                  </a:lnTo>
                  <a:lnTo>
                    <a:pt x="591" y="1734"/>
                  </a:lnTo>
                  <a:lnTo>
                    <a:pt x="591" y="1736"/>
                  </a:lnTo>
                  <a:lnTo>
                    <a:pt x="591" y="1734"/>
                  </a:lnTo>
                  <a:lnTo>
                    <a:pt x="589" y="1732"/>
                  </a:lnTo>
                  <a:lnTo>
                    <a:pt x="591" y="1732"/>
                  </a:lnTo>
                  <a:lnTo>
                    <a:pt x="591" y="1731"/>
                  </a:lnTo>
                  <a:lnTo>
                    <a:pt x="591" y="1729"/>
                  </a:lnTo>
                  <a:lnTo>
                    <a:pt x="589" y="1729"/>
                  </a:lnTo>
                  <a:lnTo>
                    <a:pt x="591" y="1729"/>
                  </a:lnTo>
                  <a:lnTo>
                    <a:pt x="591" y="1728"/>
                  </a:lnTo>
                  <a:lnTo>
                    <a:pt x="592" y="1726"/>
                  </a:lnTo>
                  <a:lnTo>
                    <a:pt x="591" y="1726"/>
                  </a:lnTo>
                  <a:lnTo>
                    <a:pt x="591" y="1728"/>
                  </a:lnTo>
                  <a:lnTo>
                    <a:pt x="589" y="1726"/>
                  </a:lnTo>
                  <a:lnTo>
                    <a:pt x="589" y="1724"/>
                  </a:lnTo>
                  <a:lnTo>
                    <a:pt x="588" y="1724"/>
                  </a:lnTo>
                  <a:lnTo>
                    <a:pt x="588" y="1726"/>
                  </a:lnTo>
                  <a:lnTo>
                    <a:pt x="586" y="1726"/>
                  </a:lnTo>
                  <a:lnTo>
                    <a:pt x="586" y="1724"/>
                  </a:lnTo>
                  <a:lnTo>
                    <a:pt x="584" y="1724"/>
                  </a:lnTo>
                  <a:lnTo>
                    <a:pt x="583" y="1723"/>
                  </a:lnTo>
                  <a:lnTo>
                    <a:pt x="583" y="1721"/>
                  </a:lnTo>
                  <a:lnTo>
                    <a:pt x="584" y="1721"/>
                  </a:lnTo>
                  <a:lnTo>
                    <a:pt x="586" y="1721"/>
                  </a:lnTo>
                  <a:lnTo>
                    <a:pt x="584" y="1723"/>
                  </a:lnTo>
                  <a:close/>
                  <a:moveTo>
                    <a:pt x="544" y="1721"/>
                  </a:moveTo>
                  <a:lnTo>
                    <a:pt x="544" y="1723"/>
                  </a:lnTo>
                  <a:lnTo>
                    <a:pt x="544" y="1721"/>
                  </a:lnTo>
                  <a:close/>
                  <a:moveTo>
                    <a:pt x="542" y="1721"/>
                  </a:moveTo>
                  <a:lnTo>
                    <a:pt x="544" y="1721"/>
                  </a:lnTo>
                  <a:lnTo>
                    <a:pt x="542" y="1721"/>
                  </a:lnTo>
                  <a:close/>
                  <a:moveTo>
                    <a:pt x="589" y="1721"/>
                  </a:moveTo>
                  <a:lnTo>
                    <a:pt x="591" y="1721"/>
                  </a:lnTo>
                  <a:lnTo>
                    <a:pt x="589" y="1721"/>
                  </a:lnTo>
                  <a:close/>
                  <a:moveTo>
                    <a:pt x="586" y="1721"/>
                  </a:moveTo>
                  <a:lnTo>
                    <a:pt x="586" y="1719"/>
                  </a:lnTo>
                  <a:lnTo>
                    <a:pt x="586" y="1721"/>
                  </a:lnTo>
                  <a:close/>
                  <a:moveTo>
                    <a:pt x="542" y="1719"/>
                  </a:moveTo>
                  <a:lnTo>
                    <a:pt x="542" y="1721"/>
                  </a:lnTo>
                  <a:lnTo>
                    <a:pt x="542" y="1719"/>
                  </a:lnTo>
                  <a:close/>
                  <a:moveTo>
                    <a:pt x="953" y="1721"/>
                  </a:moveTo>
                  <a:lnTo>
                    <a:pt x="953" y="1719"/>
                  </a:lnTo>
                  <a:lnTo>
                    <a:pt x="953" y="1721"/>
                  </a:lnTo>
                  <a:close/>
                  <a:moveTo>
                    <a:pt x="950" y="1719"/>
                  </a:moveTo>
                  <a:lnTo>
                    <a:pt x="950" y="1721"/>
                  </a:lnTo>
                  <a:lnTo>
                    <a:pt x="950" y="1719"/>
                  </a:lnTo>
                  <a:close/>
                  <a:moveTo>
                    <a:pt x="588" y="1719"/>
                  </a:moveTo>
                  <a:lnTo>
                    <a:pt x="589" y="1719"/>
                  </a:lnTo>
                  <a:lnTo>
                    <a:pt x="588" y="1719"/>
                  </a:lnTo>
                  <a:lnTo>
                    <a:pt x="588" y="1721"/>
                  </a:lnTo>
                  <a:lnTo>
                    <a:pt x="588" y="1719"/>
                  </a:lnTo>
                  <a:close/>
                  <a:moveTo>
                    <a:pt x="952" y="1719"/>
                  </a:moveTo>
                  <a:lnTo>
                    <a:pt x="952" y="1721"/>
                  </a:lnTo>
                  <a:lnTo>
                    <a:pt x="952" y="1719"/>
                  </a:lnTo>
                  <a:lnTo>
                    <a:pt x="950" y="1721"/>
                  </a:lnTo>
                  <a:lnTo>
                    <a:pt x="950" y="1719"/>
                  </a:lnTo>
                  <a:lnTo>
                    <a:pt x="952" y="1719"/>
                  </a:lnTo>
                  <a:close/>
                  <a:moveTo>
                    <a:pt x="952" y="1719"/>
                  </a:moveTo>
                  <a:lnTo>
                    <a:pt x="953" y="1719"/>
                  </a:lnTo>
                  <a:lnTo>
                    <a:pt x="952" y="1719"/>
                  </a:lnTo>
                  <a:lnTo>
                    <a:pt x="953" y="1719"/>
                  </a:lnTo>
                  <a:lnTo>
                    <a:pt x="952" y="1719"/>
                  </a:lnTo>
                  <a:close/>
                  <a:moveTo>
                    <a:pt x="557" y="1718"/>
                  </a:moveTo>
                  <a:lnTo>
                    <a:pt x="557" y="1719"/>
                  </a:lnTo>
                  <a:lnTo>
                    <a:pt x="557" y="1718"/>
                  </a:lnTo>
                  <a:close/>
                  <a:moveTo>
                    <a:pt x="555" y="1718"/>
                  </a:moveTo>
                  <a:lnTo>
                    <a:pt x="557" y="1718"/>
                  </a:lnTo>
                  <a:lnTo>
                    <a:pt x="555" y="1718"/>
                  </a:lnTo>
                  <a:close/>
                  <a:moveTo>
                    <a:pt x="557" y="1718"/>
                  </a:moveTo>
                  <a:lnTo>
                    <a:pt x="558" y="1718"/>
                  </a:lnTo>
                  <a:lnTo>
                    <a:pt x="558" y="1719"/>
                  </a:lnTo>
                  <a:lnTo>
                    <a:pt x="557" y="1718"/>
                  </a:lnTo>
                  <a:close/>
                  <a:moveTo>
                    <a:pt x="547" y="1718"/>
                  </a:moveTo>
                  <a:lnTo>
                    <a:pt x="545" y="1718"/>
                  </a:lnTo>
                  <a:lnTo>
                    <a:pt x="547" y="1716"/>
                  </a:lnTo>
                  <a:lnTo>
                    <a:pt x="547" y="1718"/>
                  </a:lnTo>
                  <a:close/>
                  <a:moveTo>
                    <a:pt x="544" y="1718"/>
                  </a:moveTo>
                  <a:lnTo>
                    <a:pt x="544" y="1716"/>
                  </a:lnTo>
                  <a:lnTo>
                    <a:pt x="545" y="1716"/>
                  </a:lnTo>
                  <a:lnTo>
                    <a:pt x="545" y="1718"/>
                  </a:lnTo>
                  <a:lnTo>
                    <a:pt x="544" y="1718"/>
                  </a:lnTo>
                  <a:lnTo>
                    <a:pt x="545" y="1718"/>
                  </a:lnTo>
                  <a:lnTo>
                    <a:pt x="544" y="1718"/>
                  </a:lnTo>
                  <a:close/>
                  <a:moveTo>
                    <a:pt x="540" y="1716"/>
                  </a:moveTo>
                  <a:lnTo>
                    <a:pt x="542" y="1718"/>
                  </a:lnTo>
                  <a:lnTo>
                    <a:pt x="540" y="1716"/>
                  </a:lnTo>
                  <a:close/>
                  <a:moveTo>
                    <a:pt x="557" y="1716"/>
                  </a:moveTo>
                  <a:lnTo>
                    <a:pt x="558" y="1716"/>
                  </a:lnTo>
                  <a:lnTo>
                    <a:pt x="557" y="1716"/>
                  </a:lnTo>
                  <a:close/>
                  <a:moveTo>
                    <a:pt x="542" y="1716"/>
                  </a:moveTo>
                  <a:lnTo>
                    <a:pt x="544" y="1718"/>
                  </a:lnTo>
                  <a:lnTo>
                    <a:pt x="544" y="1719"/>
                  </a:lnTo>
                  <a:lnTo>
                    <a:pt x="545" y="1719"/>
                  </a:lnTo>
                  <a:lnTo>
                    <a:pt x="545" y="1721"/>
                  </a:lnTo>
                  <a:lnTo>
                    <a:pt x="544" y="1721"/>
                  </a:lnTo>
                  <a:lnTo>
                    <a:pt x="544" y="1719"/>
                  </a:lnTo>
                  <a:lnTo>
                    <a:pt x="544" y="1721"/>
                  </a:lnTo>
                  <a:lnTo>
                    <a:pt x="544" y="1719"/>
                  </a:lnTo>
                  <a:lnTo>
                    <a:pt x="544" y="1721"/>
                  </a:lnTo>
                  <a:lnTo>
                    <a:pt x="544" y="1719"/>
                  </a:lnTo>
                  <a:lnTo>
                    <a:pt x="542" y="1719"/>
                  </a:lnTo>
                  <a:lnTo>
                    <a:pt x="542" y="1721"/>
                  </a:lnTo>
                  <a:lnTo>
                    <a:pt x="542" y="1719"/>
                  </a:lnTo>
                  <a:lnTo>
                    <a:pt x="542" y="1718"/>
                  </a:lnTo>
                  <a:lnTo>
                    <a:pt x="542" y="1716"/>
                  </a:lnTo>
                  <a:lnTo>
                    <a:pt x="542" y="1718"/>
                  </a:lnTo>
                  <a:lnTo>
                    <a:pt x="544" y="1718"/>
                  </a:lnTo>
                  <a:lnTo>
                    <a:pt x="542" y="1716"/>
                  </a:lnTo>
                  <a:close/>
                  <a:moveTo>
                    <a:pt x="550" y="1715"/>
                  </a:moveTo>
                  <a:lnTo>
                    <a:pt x="550" y="1716"/>
                  </a:lnTo>
                  <a:lnTo>
                    <a:pt x="550" y="1715"/>
                  </a:lnTo>
                  <a:close/>
                  <a:moveTo>
                    <a:pt x="540" y="1715"/>
                  </a:moveTo>
                  <a:lnTo>
                    <a:pt x="542" y="1715"/>
                  </a:lnTo>
                  <a:lnTo>
                    <a:pt x="540" y="1715"/>
                  </a:lnTo>
                  <a:close/>
                  <a:moveTo>
                    <a:pt x="583" y="1713"/>
                  </a:moveTo>
                  <a:lnTo>
                    <a:pt x="583" y="1715"/>
                  </a:lnTo>
                  <a:lnTo>
                    <a:pt x="583" y="1713"/>
                  </a:lnTo>
                  <a:close/>
                  <a:moveTo>
                    <a:pt x="581" y="1713"/>
                  </a:moveTo>
                  <a:lnTo>
                    <a:pt x="583" y="1715"/>
                  </a:lnTo>
                  <a:lnTo>
                    <a:pt x="583" y="1716"/>
                  </a:lnTo>
                  <a:lnTo>
                    <a:pt x="581" y="1716"/>
                  </a:lnTo>
                  <a:lnTo>
                    <a:pt x="581" y="1718"/>
                  </a:lnTo>
                  <a:lnTo>
                    <a:pt x="581" y="1719"/>
                  </a:lnTo>
                  <a:lnTo>
                    <a:pt x="581" y="1721"/>
                  </a:lnTo>
                  <a:lnTo>
                    <a:pt x="579" y="1721"/>
                  </a:lnTo>
                  <a:lnTo>
                    <a:pt x="579" y="1719"/>
                  </a:lnTo>
                  <a:lnTo>
                    <a:pt x="579" y="1718"/>
                  </a:lnTo>
                  <a:lnTo>
                    <a:pt x="578" y="1718"/>
                  </a:lnTo>
                  <a:lnTo>
                    <a:pt x="579" y="1718"/>
                  </a:lnTo>
                  <a:lnTo>
                    <a:pt x="579" y="1716"/>
                  </a:lnTo>
                  <a:lnTo>
                    <a:pt x="578" y="1716"/>
                  </a:lnTo>
                  <a:lnTo>
                    <a:pt x="578" y="1715"/>
                  </a:lnTo>
                  <a:lnTo>
                    <a:pt x="578" y="1713"/>
                  </a:lnTo>
                  <a:lnTo>
                    <a:pt x="579" y="1713"/>
                  </a:lnTo>
                  <a:lnTo>
                    <a:pt x="579" y="1711"/>
                  </a:lnTo>
                  <a:lnTo>
                    <a:pt x="581" y="1713"/>
                  </a:lnTo>
                  <a:lnTo>
                    <a:pt x="583" y="1713"/>
                  </a:lnTo>
                  <a:lnTo>
                    <a:pt x="581" y="1713"/>
                  </a:lnTo>
                  <a:close/>
                  <a:moveTo>
                    <a:pt x="540" y="1711"/>
                  </a:moveTo>
                  <a:lnTo>
                    <a:pt x="542" y="1711"/>
                  </a:lnTo>
                  <a:lnTo>
                    <a:pt x="540" y="1711"/>
                  </a:lnTo>
                  <a:close/>
                  <a:moveTo>
                    <a:pt x="579" y="1713"/>
                  </a:moveTo>
                  <a:lnTo>
                    <a:pt x="579" y="1711"/>
                  </a:lnTo>
                  <a:lnTo>
                    <a:pt x="579" y="1713"/>
                  </a:lnTo>
                  <a:close/>
                  <a:moveTo>
                    <a:pt x="544" y="1710"/>
                  </a:moveTo>
                  <a:lnTo>
                    <a:pt x="544" y="1711"/>
                  </a:lnTo>
                  <a:lnTo>
                    <a:pt x="544" y="1710"/>
                  </a:lnTo>
                  <a:close/>
                  <a:moveTo>
                    <a:pt x="553" y="1710"/>
                  </a:moveTo>
                  <a:lnTo>
                    <a:pt x="553" y="1711"/>
                  </a:lnTo>
                  <a:lnTo>
                    <a:pt x="553" y="1710"/>
                  </a:lnTo>
                  <a:close/>
                  <a:moveTo>
                    <a:pt x="552" y="1710"/>
                  </a:moveTo>
                  <a:lnTo>
                    <a:pt x="553" y="1710"/>
                  </a:lnTo>
                  <a:lnTo>
                    <a:pt x="552" y="1710"/>
                  </a:lnTo>
                  <a:lnTo>
                    <a:pt x="552" y="1708"/>
                  </a:lnTo>
                  <a:lnTo>
                    <a:pt x="552" y="1710"/>
                  </a:lnTo>
                  <a:close/>
                  <a:moveTo>
                    <a:pt x="547" y="1708"/>
                  </a:moveTo>
                  <a:lnTo>
                    <a:pt x="549" y="1708"/>
                  </a:lnTo>
                  <a:lnTo>
                    <a:pt x="550" y="1708"/>
                  </a:lnTo>
                  <a:lnTo>
                    <a:pt x="550" y="1710"/>
                  </a:lnTo>
                  <a:lnTo>
                    <a:pt x="550" y="1708"/>
                  </a:lnTo>
                  <a:lnTo>
                    <a:pt x="552" y="1708"/>
                  </a:lnTo>
                  <a:lnTo>
                    <a:pt x="552" y="1710"/>
                  </a:lnTo>
                  <a:lnTo>
                    <a:pt x="550" y="1710"/>
                  </a:lnTo>
                  <a:lnTo>
                    <a:pt x="549" y="1710"/>
                  </a:lnTo>
                  <a:lnTo>
                    <a:pt x="549" y="1708"/>
                  </a:lnTo>
                  <a:lnTo>
                    <a:pt x="547" y="1708"/>
                  </a:lnTo>
                  <a:close/>
                  <a:moveTo>
                    <a:pt x="547" y="1708"/>
                  </a:moveTo>
                  <a:lnTo>
                    <a:pt x="547" y="1710"/>
                  </a:lnTo>
                  <a:lnTo>
                    <a:pt x="547" y="1711"/>
                  </a:lnTo>
                  <a:lnTo>
                    <a:pt x="545" y="1710"/>
                  </a:lnTo>
                  <a:lnTo>
                    <a:pt x="545" y="1711"/>
                  </a:lnTo>
                  <a:lnTo>
                    <a:pt x="547" y="1711"/>
                  </a:lnTo>
                  <a:lnTo>
                    <a:pt x="549" y="1713"/>
                  </a:lnTo>
                  <a:lnTo>
                    <a:pt x="549" y="1715"/>
                  </a:lnTo>
                  <a:lnTo>
                    <a:pt x="550" y="1715"/>
                  </a:lnTo>
                  <a:lnTo>
                    <a:pt x="549" y="1715"/>
                  </a:lnTo>
                  <a:lnTo>
                    <a:pt x="549" y="1716"/>
                  </a:lnTo>
                  <a:lnTo>
                    <a:pt x="549" y="1718"/>
                  </a:lnTo>
                  <a:lnTo>
                    <a:pt x="549" y="1716"/>
                  </a:lnTo>
                  <a:lnTo>
                    <a:pt x="550" y="1716"/>
                  </a:lnTo>
                  <a:lnTo>
                    <a:pt x="552" y="1716"/>
                  </a:lnTo>
                  <a:lnTo>
                    <a:pt x="552" y="1718"/>
                  </a:lnTo>
                  <a:lnTo>
                    <a:pt x="552" y="1719"/>
                  </a:lnTo>
                  <a:lnTo>
                    <a:pt x="552" y="1718"/>
                  </a:lnTo>
                  <a:lnTo>
                    <a:pt x="552" y="1716"/>
                  </a:lnTo>
                  <a:lnTo>
                    <a:pt x="550" y="1716"/>
                  </a:lnTo>
                  <a:lnTo>
                    <a:pt x="550" y="1715"/>
                  </a:lnTo>
                  <a:lnTo>
                    <a:pt x="549" y="1713"/>
                  </a:lnTo>
                  <a:lnTo>
                    <a:pt x="550" y="1713"/>
                  </a:lnTo>
                  <a:lnTo>
                    <a:pt x="549" y="1711"/>
                  </a:lnTo>
                  <a:lnTo>
                    <a:pt x="549" y="1710"/>
                  </a:lnTo>
                  <a:lnTo>
                    <a:pt x="549" y="1711"/>
                  </a:lnTo>
                  <a:lnTo>
                    <a:pt x="550" y="1710"/>
                  </a:lnTo>
                  <a:lnTo>
                    <a:pt x="550" y="1711"/>
                  </a:lnTo>
                  <a:lnTo>
                    <a:pt x="550" y="1710"/>
                  </a:lnTo>
                  <a:lnTo>
                    <a:pt x="550" y="1711"/>
                  </a:lnTo>
                  <a:lnTo>
                    <a:pt x="552" y="1711"/>
                  </a:lnTo>
                  <a:lnTo>
                    <a:pt x="550" y="1711"/>
                  </a:lnTo>
                  <a:lnTo>
                    <a:pt x="550" y="1710"/>
                  </a:lnTo>
                  <a:lnTo>
                    <a:pt x="552" y="1710"/>
                  </a:lnTo>
                  <a:lnTo>
                    <a:pt x="552" y="1711"/>
                  </a:lnTo>
                  <a:lnTo>
                    <a:pt x="553" y="1713"/>
                  </a:lnTo>
                  <a:lnTo>
                    <a:pt x="553" y="1715"/>
                  </a:lnTo>
                  <a:lnTo>
                    <a:pt x="553" y="1716"/>
                  </a:lnTo>
                  <a:lnTo>
                    <a:pt x="555" y="1716"/>
                  </a:lnTo>
                  <a:lnTo>
                    <a:pt x="555" y="1715"/>
                  </a:lnTo>
                  <a:lnTo>
                    <a:pt x="553" y="1715"/>
                  </a:lnTo>
                  <a:lnTo>
                    <a:pt x="555" y="1715"/>
                  </a:lnTo>
                  <a:lnTo>
                    <a:pt x="555" y="1713"/>
                  </a:lnTo>
                  <a:lnTo>
                    <a:pt x="555" y="1715"/>
                  </a:lnTo>
                  <a:lnTo>
                    <a:pt x="555" y="1713"/>
                  </a:lnTo>
                  <a:lnTo>
                    <a:pt x="553" y="1713"/>
                  </a:lnTo>
                  <a:lnTo>
                    <a:pt x="553" y="1711"/>
                  </a:lnTo>
                  <a:lnTo>
                    <a:pt x="553" y="1713"/>
                  </a:lnTo>
                  <a:lnTo>
                    <a:pt x="553" y="1711"/>
                  </a:lnTo>
                  <a:lnTo>
                    <a:pt x="553" y="1713"/>
                  </a:lnTo>
                  <a:lnTo>
                    <a:pt x="555" y="1713"/>
                  </a:lnTo>
                  <a:lnTo>
                    <a:pt x="555" y="1715"/>
                  </a:lnTo>
                  <a:lnTo>
                    <a:pt x="557" y="1715"/>
                  </a:lnTo>
                  <a:lnTo>
                    <a:pt x="557" y="1716"/>
                  </a:lnTo>
                  <a:lnTo>
                    <a:pt x="557" y="1718"/>
                  </a:lnTo>
                  <a:lnTo>
                    <a:pt x="555" y="1716"/>
                  </a:lnTo>
                  <a:lnTo>
                    <a:pt x="555" y="1718"/>
                  </a:lnTo>
                  <a:lnTo>
                    <a:pt x="557" y="1718"/>
                  </a:lnTo>
                  <a:lnTo>
                    <a:pt x="557" y="1719"/>
                  </a:lnTo>
                  <a:lnTo>
                    <a:pt x="558" y="1719"/>
                  </a:lnTo>
                  <a:lnTo>
                    <a:pt x="557" y="1719"/>
                  </a:lnTo>
                  <a:lnTo>
                    <a:pt x="557" y="1721"/>
                  </a:lnTo>
                  <a:lnTo>
                    <a:pt x="555" y="1719"/>
                  </a:lnTo>
                  <a:lnTo>
                    <a:pt x="557" y="1721"/>
                  </a:lnTo>
                  <a:lnTo>
                    <a:pt x="555" y="1721"/>
                  </a:lnTo>
                  <a:lnTo>
                    <a:pt x="557" y="1723"/>
                  </a:lnTo>
                  <a:lnTo>
                    <a:pt x="557" y="1721"/>
                  </a:lnTo>
                  <a:lnTo>
                    <a:pt x="558" y="1721"/>
                  </a:lnTo>
                  <a:lnTo>
                    <a:pt x="558" y="1719"/>
                  </a:lnTo>
                  <a:lnTo>
                    <a:pt x="558" y="1721"/>
                  </a:lnTo>
                  <a:lnTo>
                    <a:pt x="560" y="1721"/>
                  </a:lnTo>
                  <a:lnTo>
                    <a:pt x="560" y="1724"/>
                  </a:lnTo>
                  <a:lnTo>
                    <a:pt x="560" y="1726"/>
                  </a:lnTo>
                  <a:lnTo>
                    <a:pt x="562" y="1728"/>
                  </a:lnTo>
                  <a:lnTo>
                    <a:pt x="562" y="1729"/>
                  </a:lnTo>
                  <a:lnTo>
                    <a:pt x="562" y="1731"/>
                  </a:lnTo>
                  <a:lnTo>
                    <a:pt x="562" y="1732"/>
                  </a:lnTo>
                  <a:lnTo>
                    <a:pt x="562" y="1734"/>
                  </a:lnTo>
                  <a:lnTo>
                    <a:pt x="563" y="1734"/>
                  </a:lnTo>
                  <a:lnTo>
                    <a:pt x="563" y="1736"/>
                  </a:lnTo>
                  <a:lnTo>
                    <a:pt x="563" y="1734"/>
                  </a:lnTo>
                  <a:lnTo>
                    <a:pt x="565" y="1736"/>
                  </a:lnTo>
                  <a:lnTo>
                    <a:pt x="565" y="1734"/>
                  </a:lnTo>
                  <a:lnTo>
                    <a:pt x="565" y="1736"/>
                  </a:lnTo>
                  <a:lnTo>
                    <a:pt x="565" y="1737"/>
                  </a:lnTo>
                  <a:lnTo>
                    <a:pt x="563" y="1737"/>
                  </a:lnTo>
                  <a:lnTo>
                    <a:pt x="562" y="1737"/>
                  </a:lnTo>
                  <a:lnTo>
                    <a:pt x="562" y="1739"/>
                  </a:lnTo>
                  <a:lnTo>
                    <a:pt x="560" y="1739"/>
                  </a:lnTo>
                  <a:lnTo>
                    <a:pt x="558" y="1741"/>
                  </a:lnTo>
                  <a:lnTo>
                    <a:pt x="558" y="1739"/>
                  </a:lnTo>
                  <a:lnTo>
                    <a:pt x="558" y="1741"/>
                  </a:lnTo>
                  <a:lnTo>
                    <a:pt x="558" y="1739"/>
                  </a:lnTo>
                  <a:lnTo>
                    <a:pt x="558" y="1737"/>
                  </a:lnTo>
                  <a:lnTo>
                    <a:pt x="557" y="1739"/>
                  </a:lnTo>
                  <a:lnTo>
                    <a:pt x="558" y="1737"/>
                  </a:lnTo>
                  <a:lnTo>
                    <a:pt x="557" y="1737"/>
                  </a:lnTo>
                  <a:lnTo>
                    <a:pt x="558" y="1737"/>
                  </a:lnTo>
                  <a:lnTo>
                    <a:pt x="558" y="1736"/>
                  </a:lnTo>
                  <a:lnTo>
                    <a:pt x="558" y="1737"/>
                  </a:lnTo>
                  <a:lnTo>
                    <a:pt x="560" y="1737"/>
                  </a:lnTo>
                  <a:lnTo>
                    <a:pt x="562" y="1737"/>
                  </a:lnTo>
                  <a:lnTo>
                    <a:pt x="560" y="1736"/>
                  </a:lnTo>
                  <a:lnTo>
                    <a:pt x="562" y="1736"/>
                  </a:lnTo>
                  <a:lnTo>
                    <a:pt x="562" y="1734"/>
                  </a:lnTo>
                  <a:lnTo>
                    <a:pt x="560" y="1734"/>
                  </a:lnTo>
                  <a:lnTo>
                    <a:pt x="560" y="1732"/>
                  </a:lnTo>
                  <a:lnTo>
                    <a:pt x="560" y="1731"/>
                  </a:lnTo>
                  <a:lnTo>
                    <a:pt x="560" y="1729"/>
                  </a:lnTo>
                  <a:lnTo>
                    <a:pt x="560" y="1731"/>
                  </a:lnTo>
                  <a:lnTo>
                    <a:pt x="558" y="1731"/>
                  </a:lnTo>
                  <a:lnTo>
                    <a:pt x="558" y="1732"/>
                  </a:lnTo>
                  <a:lnTo>
                    <a:pt x="558" y="1731"/>
                  </a:lnTo>
                  <a:lnTo>
                    <a:pt x="560" y="1732"/>
                  </a:lnTo>
                  <a:lnTo>
                    <a:pt x="558" y="1732"/>
                  </a:lnTo>
                  <a:lnTo>
                    <a:pt x="558" y="1731"/>
                  </a:lnTo>
                  <a:lnTo>
                    <a:pt x="557" y="1732"/>
                  </a:lnTo>
                  <a:lnTo>
                    <a:pt x="557" y="1731"/>
                  </a:lnTo>
                  <a:lnTo>
                    <a:pt x="557" y="1729"/>
                  </a:lnTo>
                  <a:lnTo>
                    <a:pt x="555" y="1729"/>
                  </a:lnTo>
                  <a:lnTo>
                    <a:pt x="553" y="1729"/>
                  </a:lnTo>
                  <a:lnTo>
                    <a:pt x="555" y="1731"/>
                  </a:lnTo>
                  <a:lnTo>
                    <a:pt x="555" y="1732"/>
                  </a:lnTo>
                  <a:lnTo>
                    <a:pt x="555" y="1731"/>
                  </a:lnTo>
                  <a:lnTo>
                    <a:pt x="555" y="1732"/>
                  </a:lnTo>
                  <a:lnTo>
                    <a:pt x="553" y="1734"/>
                  </a:lnTo>
                  <a:lnTo>
                    <a:pt x="555" y="1734"/>
                  </a:lnTo>
                  <a:lnTo>
                    <a:pt x="555" y="1736"/>
                  </a:lnTo>
                  <a:lnTo>
                    <a:pt x="555" y="1734"/>
                  </a:lnTo>
                  <a:lnTo>
                    <a:pt x="555" y="1732"/>
                  </a:lnTo>
                  <a:lnTo>
                    <a:pt x="557" y="1732"/>
                  </a:lnTo>
                  <a:lnTo>
                    <a:pt x="555" y="1734"/>
                  </a:lnTo>
                  <a:lnTo>
                    <a:pt x="557" y="1734"/>
                  </a:lnTo>
                  <a:lnTo>
                    <a:pt x="557" y="1736"/>
                  </a:lnTo>
                  <a:lnTo>
                    <a:pt x="555" y="1736"/>
                  </a:lnTo>
                  <a:lnTo>
                    <a:pt x="555" y="1737"/>
                  </a:lnTo>
                  <a:lnTo>
                    <a:pt x="555" y="1736"/>
                  </a:lnTo>
                  <a:lnTo>
                    <a:pt x="553" y="1736"/>
                  </a:lnTo>
                  <a:lnTo>
                    <a:pt x="553" y="1737"/>
                  </a:lnTo>
                  <a:lnTo>
                    <a:pt x="555" y="1737"/>
                  </a:lnTo>
                  <a:lnTo>
                    <a:pt x="555" y="1739"/>
                  </a:lnTo>
                  <a:lnTo>
                    <a:pt x="555" y="1741"/>
                  </a:lnTo>
                  <a:lnTo>
                    <a:pt x="553" y="1742"/>
                  </a:lnTo>
                  <a:lnTo>
                    <a:pt x="552" y="1742"/>
                  </a:lnTo>
                  <a:lnTo>
                    <a:pt x="553" y="1744"/>
                  </a:lnTo>
                  <a:lnTo>
                    <a:pt x="552" y="1744"/>
                  </a:lnTo>
                  <a:lnTo>
                    <a:pt x="553" y="1744"/>
                  </a:lnTo>
                  <a:lnTo>
                    <a:pt x="553" y="1745"/>
                  </a:lnTo>
                  <a:lnTo>
                    <a:pt x="553" y="1747"/>
                  </a:lnTo>
                  <a:lnTo>
                    <a:pt x="552" y="1747"/>
                  </a:lnTo>
                  <a:lnTo>
                    <a:pt x="552" y="1749"/>
                  </a:lnTo>
                  <a:lnTo>
                    <a:pt x="552" y="1747"/>
                  </a:lnTo>
                  <a:lnTo>
                    <a:pt x="552" y="1749"/>
                  </a:lnTo>
                  <a:lnTo>
                    <a:pt x="553" y="1747"/>
                  </a:lnTo>
                  <a:lnTo>
                    <a:pt x="553" y="1749"/>
                  </a:lnTo>
                  <a:lnTo>
                    <a:pt x="552" y="1749"/>
                  </a:lnTo>
                  <a:lnTo>
                    <a:pt x="553" y="1749"/>
                  </a:lnTo>
                  <a:lnTo>
                    <a:pt x="553" y="1750"/>
                  </a:lnTo>
                  <a:lnTo>
                    <a:pt x="552" y="1750"/>
                  </a:lnTo>
                  <a:lnTo>
                    <a:pt x="552" y="1752"/>
                  </a:lnTo>
                  <a:lnTo>
                    <a:pt x="550" y="1754"/>
                  </a:lnTo>
                  <a:lnTo>
                    <a:pt x="549" y="1754"/>
                  </a:lnTo>
                  <a:lnTo>
                    <a:pt x="549" y="1752"/>
                  </a:lnTo>
                  <a:lnTo>
                    <a:pt x="549" y="1750"/>
                  </a:lnTo>
                  <a:lnTo>
                    <a:pt x="547" y="1750"/>
                  </a:lnTo>
                  <a:lnTo>
                    <a:pt x="549" y="1750"/>
                  </a:lnTo>
                  <a:lnTo>
                    <a:pt x="549" y="1749"/>
                  </a:lnTo>
                  <a:lnTo>
                    <a:pt x="547" y="1749"/>
                  </a:lnTo>
                  <a:lnTo>
                    <a:pt x="547" y="1747"/>
                  </a:lnTo>
                  <a:lnTo>
                    <a:pt x="549" y="1747"/>
                  </a:lnTo>
                  <a:lnTo>
                    <a:pt x="549" y="1745"/>
                  </a:lnTo>
                  <a:lnTo>
                    <a:pt x="547" y="1745"/>
                  </a:lnTo>
                  <a:lnTo>
                    <a:pt x="547" y="1744"/>
                  </a:lnTo>
                  <a:lnTo>
                    <a:pt x="547" y="1742"/>
                  </a:lnTo>
                  <a:lnTo>
                    <a:pt x="547" y="1741"/>
                  </a:lnTo>
                  <a:lnTo>
                    <a:pt x="549" y="1739"/>
                  </a:lnTo>
                  <a:lnTo>
                    <a:pt x="547" y="1741"/>
                  </a:lnTo>
                  <a:lnTo>
                    <a:pt x="547" y="1739"/>
                  </a:lnTo>
                  <a:lnTo>
                    <a:pt x="547" y="1737"/>
                  </a:lnTo>
                  <a:lnTo>
                    <a:pt x="549" y="1737"/>
                  </a:lnTo>
                  <a:lnTo>
                    <a:pt x="549" y="1736"/>
                  </a:lnTo>
                  <a:lnTo>
                    <a:pt x="549" y="1734"/>
                  </a:lnTo>
                  <a:lnTo>
                    <a:pt x="549" y="1732"/>
                  </a:lnTo>
                  <a:lnTo>
                    <a:pt x="550" y="1732"/>
                  </a:lnTo>
                  <a:lnTo>
                    <a:pt x="550" y="1731"/>
                  </a:lnTo>
                  <a:lnTo>
                    <a:pt x="552" y="1731"/>
                  </a:lnTo>
                  <a:lnTo>
                    <a:pt x="550" y="1731"/>
                  </a:lnTo>
                  <a:lnTo>
                    <a:pt x="552" y="1731"/>
                  </a:lnTo>
                  <a:lnTo>
                    <a:pt x="552" y="1729"/>
                  </a:lnTo>
                  <a:lnTo>
                    <a:pt x="552" y="1731"/>
                  </a:lnTo>
                  <a:lnTo>
                    <a:pt x="553" y="1731"/>
                  </a:lnTo>
                  <a:lnTo>
                    <a:pt x="553" y="1729"/>
                  </a:lnTo>
                  <a:lnTo>
                    <a:pt x="552" y="1729"/>
                  </a:lnTo>
                  <a:lnTo>
                    <a:pt x="553" y="1728"/>
                  </a:lnTo>
                  <a:lnTo>
                    <a:pt x="553" y="1729"/>
                  </a:lnTo>
                  <a:lnTo>
                    <a:pt x="555" y="1728"/>
                  </a:lnTo>
                  <a:lnTo>
                    <a:pt x="553" y="1728"/>
                  </a:lnTo>
                  <a:lnTo>
                    <a:pt x="552" y="1728"/>
                  </a:lnTo>
                  <a:lnTo>
                    <a:pt x="552" y="1729"/>
                  </a:lnTo>
                  <a:lnTo>
                    <a:pt x="552" y="1728"/>
                  </a:lnTo>
                  <a:lnTo>
                    <a:pt x="550" y="1728"/>
                  </a:lnTo>
                  <a:lnTo>
                    <a:pt x="550" y="1729"/>
                  </a:lnTo>
                  <a:lnTo>
                    <a:pt x="549" y="1728"/>
                  </a:lnTo>
                  <a:lnTo>
                    <a:pt x="550" y="1726"/>
                  </a:lnTo>
                  <a:lnTo>
                    <a:pt x="549" y="1726"/>
                  </a:lnTo>
                  <a:lnTo>
                    <a:pt x="549" y="1728"/>
                  </a:lnTo>
                  <a:lnTo>
                    <a:pt x="549" y="1726"/>
                  </a:lnTo>
                  <a:lnTo>
                    <a:pt x="549" y="1728"/>
                  </a:lnTo>
                  <a:lnTo>
                    <a:pt x="549" y="1726"/>
                  </a:lnTo>
                  <a:lnTo>
                    <a:pt x="549" y="1724"/>
                  </a:lnTo>
                  <a:lnTo>
                    <a:pt x="549" y="1726"/>
                  </a:lnTo>
                  <a:lnTo>
                    <a:pt x="547" y="1728"/>
                  </a:lnTo>
                  <a:lnTo>
                    <a:pt x="547" y="1726"/>
                  </a:lnTo>
                  <a:lnTo>
                    <a:pt x="547" y="1728"/>
                  </a:lnTo>
                  <a:lnTo>
                    <a:pt x="547" y="1729"/>
                  </a:lnTo>
                  <a:lnTo>
                    <a:pt x="547" y="1731"/>
                  </a:lnTo>
                  <a:lnTo>
                    <a:pt x="547" y="1732"/>
                  </a:lnTo>
                  <a:lnTo>
                    <a:pt x="547" y="1731"/>
                  </a:lnTo>
                  <a:lnTo>
                    <a:pt x="545" y="1732"/>
                  </a:lnTo>
                  <a:lnTo>
                    <a:pt x="545" y="1731"/>
                  </a:lnTo>
                  <a:lnTo>
                    <a:pt x="545" y="1729"/>
                  </a:lnTo>
                  <a:lnTo>
                    <a:pt x="547" y="1731"/>
                  </a:lnTo>
                  <a:lnTo>
                    <a:pt x="547" y="1729"/>
                  </a:lnTo>
                  <a:lnTo>
                    <a:pt x="547" y="1728"/>
                  </a:lnTo>
                  <a:lnTo>
                    <a:pt x="547" y="1729"/>
                  </a:lnTo>
                  <a:lnTo>
                    <a:pt x="545" y="1729"/>
                  </a:lnTo>
                  <a:lnTo>
                    <a:pt x="545" y="1728"/>
                  </a:lnTo>
                  <a:lnTo>
                    <a:pt x="547" y="1728"/>
                  </a:lnTo>
                  <a:lnTo>
                    <a:pt x="545" y="1728"/>
                  </a:lnTo>
                  <a:lnTo>
                    <a:pt x="545" y="1726"/>
                  </a:lnTo>
                  <a:lnTo>
                    <a:pt x="545" y="1728"/>
                  </a:lnTo>
                  <a:lnTo>
                    <a:pt x="545" y="1726"/>
                  </a:lnTo>
                  <a:lnTo>
                    <a:pt x="544" y="1726"/>
                  </a:lnTo>
                  <a:lnTo>
                    <a:pt x="545" y="1724"/>
                  </a:lnTo>
                  <a:lnTo>
                    <a:pt x="545" y="1723"/>
                  </a:lnTo>
                  <a:lnTo>
                    <a:pt x="545" y="1724"/>
                  </a:lnTo>
                  <a:lnTo>
                    <a:pt x="545" y="1723"/>
                  </a:lnTo>
                  <a:lnTo>
                    <a:pt x="547" y="1721"/>
                  </a:lnTo>
                  <a:lnTo>
                    <a:pt x="547" y="1719"/>
                  </a:lnTo>
                  <a:lnTo>
                    <a:pt x="545" y="1718"/>
                  </a:lnTo>
                  <a:lnTo>
                    <a:pt x="547" y="1718"/>
                  </a:lnTo>
                  <a:lnTo>
                    <a:pt x="549" y="1719"/>
                  </a:lnTo>
                  <a:lnTo>
                    <a:pt x="549" y="1718"/>
                  </a:lnTo>
                  <a:lnTo>
                    <a:pt x="547" y="1718"/>
                  </a:lnTo>
                  <a:lnTo>
                    <a:pt x="549" y="1718"/>
                  </a:lnTo>
                  <a:lnTo>
                    <a:pt x="549" y="1716"/>
                  </a:lnTo>
                  <a:lnTo>
                    <a:pt x="547" y="1716"/>
                  </a:lnTo>
                  <a:lnTo>
                    <a:pt x="549" y="1718"/>
                  </a:lnTo>
                  <a:lnTo>
                    <a:pt x="547" y="1718"/>
                  </a:lnTo>
                  <a:lnTo>
                    <a:pt x="547" y="1716"/>
                  </a:lnTo>
                  <a:lnTo>
                    <a:pt x="547" y="1718"/>
                  </a:lnTo>
                  <a:lnTo>
                    <a:pt x="547" y="1716"/>
                  </a:lnTo>
                  <a:lnTo>
                    <a:pt x="545" y="1716"/>
                  </a:lnTo>
                  <a:lnTo>
                    <a:pt x="545" y="1718"/>
                  </a:lnTo>
                  <a:lnTo>
                    <a:pt x="545" y="1716"/>
                  </a:lnTo>
                  <a:lnTo>
                    <a:pt x="544" y="1716"/>
                  </a:lnTo>
                  <a:lnTo>
                    <a:pt x="545" y="1716"/>
                  </a:lnTo>
                  <a:lnTo>
                    <a:pt x="544" y="1716"/>
                  </a:lnTo>
                  <a:lnTo>
                    <a:pt x="544" y="1715"/>
                  </a:lnTo>
                  <a:lnTo>
                    <a:pt x="542" y="1715"/>
                  </a:lnTo>
                  <a:lnTo>
                    <a:pt x="542" y="1713"/>
                  </a:lnTo>
                  <a:lnTo>
                    <a:pt x="544" y="1713"/>
                  </a:lnTo>
                  <a:lnTo>
                    <a:pt x="544" y="1711"/>
                  </a:lnTo>
                  <a:lnTo>
                    <a:pt x="544" y="1710"/>
                  </a:lnTo>
                  <a:lnTo>
                    <a:pt x="544" y="1711"/>
                  </a:lnTo>
                  <a:lnTo>
                    <a:pt x="545" y="1711"/>
                  </a:lnTo>
                  <a:lnTo>
                    <a:pt x="544" y="1710"/>
                  </a:lnTo>
                  <a:lnTo>
                    <a:pt x="545" y="1710"/>
                  </a:lnTo>
                  <a:lnTo>
                    <a:pt x="545" y="1708"/>
                  </a:lnTo>
                  <a:lnTo>
                    <a:pt x="547" y="1708"/>
                  </a:lnTo>
                  <a:close/>
                  <a:moveTo>
                    <a:pt x="542" y="1708"/>
                  </a:moveTo>
                  <a:lnTo>
                    <a:pt x="540" y="1706"/>
                  </a:lnTo>
                  <a:lnTo>
                    <a:pt x="542" y="1706"/>
                  </a:lnTo>
                  <a:lnTo>
                    <a:pt x="542" y="1708"/>
                  </a:lnTo>
                  <a:close/>
                  <a:moveTo>
                    <a:pt x="553" y="1708"/>
                  </a:moveTo>
                  <a:lnTo>
                    <a:pt x="553" y="1706"/>
                  </a:lnTo>
                  <a:lnTo>
                    <a:pt x="553" y="1708"/>
                  </a:lnTo>
                  <a:close/>
                  <a:moveTo>
                    <a:pt x="552" y="1706"/>
                  </a:moveTo>
                  <a:lnTo>
                    <a:pt x="552" y="1708"/>
                  </a:lnTo>
                  <a:lnTo>
                    <a:pt x="553" y="1708"/>
                  </a:lnTo>
                  <a:lnTo>
                    <a:pt x="553" y="1710"/>
                  </a:lnTo>
                  <a:lnTo>
                    <a:pt x="552" y="1708"/>
                  </a:lnTo>
                  <a:lnTo>
                    <a:pt x="552" y="1706"/>
                  </a:lnTo>
                  <a:close/>
                  <a:moveTo>
                    <a:pt x="553" y="1706"/>
                  </a:moveTo>
                  <a:lnTo>
                    <a:pt x="555" y="1708"/>
                  </a:lnTo>
                  <a:lnTo>
                    <a:pt x="557" y="1708"/>
                  </a:lnTo>
                  <a:lnTo>
                    <a:pt x="557" y="1710"/>
                  </a:lnTo>
                  <a:lnTo>
                    <a:pt x="557" y="1708"/>
                  </a:lnTo>
                  <a:lnTo>
                    <a:pt x="557" y="1710"/>
                  </a:lnTo>
                  <a:lnTo>
                    <a:pt x="558" y="1713"/>
                  </a:lnTo>
                  <a:lnTo>
                    <a:pt x="557" y="1715"/>
                  </a:lnTo>
                  <a:lnTo>
                    <a:pt x="557" y="1713"/>
                  </a:lnTo>
                  <a:lnTo>
                    <a:pt x="555" y="1713"/>
                  </a:lnTo>
                  <a:lnTo>
                    <a:pt x="557" y="1711"/>
                  </a:lnTo>
                  <a:lnTo>
                    <a:pt x="555" y="1711"/>
                  </a:lnTo>
                  <a:lnTo>
                    <a:pt x="555" y="1710"/>
                  </a:lnTo>
                  <a:lnTo>
                    <a:pt x="553" y="1710"/>
                  </a:lnTo>
                  <a:lnTo>
                    <a:pt x="555" y="1710"/>
                  </a:lnTo>
                  <a:lnTo>
                    <a:pt x="555" y="1708"/>
                  </a:lnTo>
                  <a:lnTo>
                    <a:pt x="553" y="1708"/>
                  </a:lnTo>
                  <a:lnTo>
                    <a:pt x="553" y="1706"/>
                  </a:lnTo>
                  <a:close/>
                  <a:moveTo>
                    <a:pt x="549" y="1706"/>
                  </a:moveTo>
                  <a:lnTo>
                    <a:pt x="550" y="1706"/>
                  </a:lnTo>
                  <a:lnTo>
                    <a:pt x="550" y="1708"/>
                  </a:lnTo>
                  <a:lnTo>
                    <a:pt x="549" y="1708"/>
                  </a:lnTo>
                  <a:lnTo>
                    <a:pt x="549" y="1706"/>
                  </a:lnTo>
                  <a:close/>
                  <a:moveTo>
                    <a:pt x="553" y="1706"/>
                  </a:moveTo>
                  <a:lnTo>
                    <a:pt x="553" y="1705"/>
                  </a:lnTo>
                  <a:lnTo>
                    <a:pt x="553" y="1706"/>
                  </a:lnTo>
                  <a:close/>
                  <a:moveTo>
                    <a:pt x="544" y="1706"/>
                  </a:moveTo>
                  <a:lnTo>
                    <a:pt x="544" y="1705"/>
                  </a:lnTo>
                  <a:lnTo>
                    <a:pt x="544" y="1706"/>
                  </a:lnTo>
                  <a:close/>
                  <a:moveTo>
                    <a:pt x="545" y="1706"/>
                  </a:moveTo>
                  <a:lnTo>
                    <a:pt x="545" y="1705"/>
                  </a:lnTo>
                  <a:lnTo>
                    <a:pt x="545" y="1706"/>
                  </a:lnTo>
                  <a:lnTo>
                    <a:pt x="545" y="1705"/>
                  </a:lnTo>
                  <a:lnTo>
                    <a:pt x="547" y="1706"/>
                  </a:lnTo>
                  <a:lnTo>
                    <a:pt x="545" y="1706"/>
                  </a:lnTo>
                  <a:lnTo>
                    <a:pt x="545" y="1708"/>
                  </a:lnTo>
                  <a:lnTo>
                    <a:pt x="545" y="1706"/>
                  </a:lnTo>
                  <a:lnTo>
                    <a:pt x="545" y="1708"/>
                  </a:lnTo>
                  <a:lnTo>
                    <a:pt x="544" y="1708"/>
                  </a:lnTo>
                  <a:lnTo>
                    <a:pt x="542" y="1710"/>
                  </a:lnTo>
                  <a:lnTo>
                    <a:pt x="542" y="1708"/>
                  </a:lnTo>
                  <a:lnTo>
                    <a:pt x="542" y="1706"/>
                  </a:lnTo>
                  <a:lnTo>
                    <a:pt x="544" y="1706"/>
                  </a:lnTo>
                  <a:lnTo>
                    <a:pt x="544" y="1705"/>
                  </a:lnTo>
                  <a:lnTo>
                    <a:pt x="545" y="1706"/>
                  </a:lnTo>
                  <a:close/>
                  <a:moveTo>
                    <a:pt x="589" y="1706"/>
                  </a:moveTo>
                  <a:lnTo>
                    <a:pt x="589" y="1705"/>
                  </a:lnTo>
                  <a:lnTo>
                    <a:pt x="589" y="1706"/>
                  </a:lnTo>
                  <a:close/>
                  <a:moveTo>
                    <a:pt x="588" y="1708"/>
                  </a:moveTo>
                  <a:lnTo>
                    <a:pt x="588" y="1706"/>
                  </a:lnTo>
                  <a:lnTo>
                    <a:pt x="588" y="1705"/>
                  </a:lnTo>
                  <a:lnTo>
                    <a:pt x="588" y="1706"/>
                  </a:lnTo>
                  <a:lnTo>
                    <a:pt x="588" y="1708"/>
                  </a:lnTo>
                  <a:close/>
                  <a:moveTo>
                    <a:pt x="550" y="1705"/>
                  </a:moveTo>
                  <a:lnTo>
                    <a:pt x="552" y="1705"/>
                  </a:lnTo>
                  <a:lnTo>
                    <a:pt x="552" y="1706"/>
                  </a:lnTo>
                  <a:lnTo>
                    <a:pt x="553" y="1706"/>
                  </a:lnTo>
                  <a:lnTo>
                    <a:pt x="552" y="1706"/>
                  </a:lnTo>
                  <a:lnTo>
                    <a:pt x="550" y="1706"/>
                  </a:lnTo>
                  <a:lnTo>
                    <a:pt x="550" y="1705"/>
                  </a:lnTo>
                  <a:close/>
                  <a:moveTo>
                    <a:pt x="555" y="1705"/>
                  </a:moveTo>
                  <a:lnTo>
                    <a:pt x="557" y="1705"/>
                  </a:lnTo>
                  <a:lnTo>
                    <a:pt x="557" y="1706"/>
                  </a:lnTo>
                  <a:lnTo>
                    <a:pt x="557" y="1708"/>
                  </a:lnTo>
                  <a:lnTo>
                    <a:pt x="557" y="1706"/>
                  </a:lnTo>
                  <a:lnTo>
                    <a:pt x="555" y="1706"/>
                  </a:lnTo>
                  <a:lnTo>
                    <a:pt x="555" y="1705"/>
                  </a:lnTo>
                  <a:close/>
                  <a:moveTo>
                    <a:pt x="553" y="1705"/>
                  </a:moveTo>
                  <a:lnTo>
                    <a:pt x="553" y="1703"/>
                  </a:lnTo>
                  <a:lnTo>
                    <a:pt x="553" y="1705"/>
                  </a:lnTo>
                  <a:close/>
                  <a:moveTo>
                    <a:pt x="591" y="1705"/>
                  </a:moveTo>
                  <a:lnTo>
                    <a:pt x="591" y="1703"/>
                  </a:lnTo>
                  <a:lnTo>
                    <a:pt x="591" y="1705"/>
                  </a:lnTo>
                  <a:lnTo>
                    <a:pt x="591" y="1706"/>
                  </a:lnTo>
                  <a:lnTo>
                    <a:pt x="591" y="1708"/>
                  </a:lnTo>
                  <a:lnTo>
                    <a:pt x="591" y="1706"/>
                  </a:lnTo>
                  <a:lnTo>
                    <a:pt x="589" y="1706"/>
                  </a:lnTo>
                  <a:lnTo>
                    <a:pt x="589" y="1705"/>
                  </a:lnTo>
                  <a:lnTo>
                    <a:pt x="591" y="1705"/>
                  </a:lnTo>
                  <a:close/>
                  <a:moveTo>
                    <a:pt x="555" y="1705"/>
                  </a:moveTo>
                  <a:lnTo>
                    <a:pt x="555" y="1703"/>
                  </a:lnTo>
                  <a:lnTo>
                    <a:pt x="555" y="1705"/>
                  </a:lnTo>
                  <a:close/>
                  <a:moveTo>
                    <a:pt x="550" y="1705"/>
                  </a:moveTo>
                  <a:lnTo>
                    <a:pt x="549" y="1705"/>
                  </a:lnTo>
                  <a:lnTo>
                    <a:pt x="549" y="1703"/>
                  </a:lnTo>
                  <a:lnTo>
                    <a:pt x="550" y="1705"/>
                  </a:lnTo>
                  <a:close/>
                  <a:moveTo>
                    <a:pt x="549" y="1705"/>
                  </a:moveTo>
                  <a:lnTo>
                    <a:pt x="549" y="1706"/>
                  </a:lnTo>
                  <a:lnTo>
                    <a:pt x="549" y="1705"/>
                  </a:lnTo>
                  <a:lnTo>
                    <a:pt x="547" y="1706"/>
                  </a:lnTo>
                  <a:lnTo>
                    <a:pt x="547" y="1705"/>
                  </a:lnTo>
                  <a:lnTo>
                    <a:pt x="547" y="1703"/>
                  </a:lnTo>
                  <a:lnTo>
                    <a:pt x="549" y="1703"/>
                  </a:lnTo>
                  <a:lnTo>
                    <a:pt x="549" y="1705"/>
                  </a:lnTo>
                  <a:close/>
                  <a:moveTo>
                    <a:pt x="550" y="1705"/>
                  </a:moveTo>
                  <a:lnTo>
                    <a:pt x="550" y="1703"/>
                  </a:lnTo>
                  <a:lnTo>
                    <a:pt x="552" y="1703"/>
                  </a:lnTo>
                  <a:lnTo>
                    <a:pt x="552" y="1705"/>
                  </a:lnTo>
                  <a:lnTo>
                    <a:pt x="550" y="1705"/>
                  </a:lnTo>
                  <a:close/>
                  <a:moveTo>
                    <a:pt x="555" y="1703"/>
                  </a:moveTo>
                  <a:lnTo>
                    <a:pt x="555" y="1702"/>
                  </a:lnTo>
                  <a:lnTo>
                    <a:pt x="555" y="1703"/>
                  </a:lnTo>
                  <a:close/>
                  <a:moveTo>
                    <a:pt x="557" y="1702"/>
                  </a:moveTo>
                  <a:lnTo>
                    <a:pt x="557" y="1703"/>
                  </a:lnTo>
                  <a:lnTo>
                    <a:pt x="558" y="1703"/>
                  </a:lnTo>
                  <a:lnTo>
                    <a:pt x="558" y="1705"/>
                  </a:lnTo>
                  <a:lnTo>
                    <a:pt x="558" y="1703"/>
                  </a:lnTo>
                  <a:lnTo>
                    <a:pt x="558" y="1705"/>
                  </a:lnTo>
                  <a:lnTo>
                    <a:pt x="558" y="1703"/>
                  </a:lnTo>
                  <a:lnTo>
                    <a:pt x="558" y="1705"/>
                  </a:lnTo>
                  <a:lnTo>
                    <a:pt x="557" y="1705"/>
                  </a:lnTo>
                  <a:lnTo>
                    <a:pt x="557" y="1706"/>
                  </a:lnTo>
                  <a:lnTo>
                    <a:pt x="557" y="1705"/>
                  </a:lnTo>
                  <a:lnTo>
                    <a:pt x="557" y="1703"/>
                  </a:lnTo>
                  <a:lnTo>
                    <a:pt x="555" y="1703"/>
                  </a:lnTo>
                  <a:lnTo>
                    <a:pt x="557" y="1703"/>
                  </a:lnTo>
                  <a:lnTo>
                    <a:pt x="557" y="1702"/>
                  </a:lnTo>
                  <a:close/>
                  <a:moveTo>
                    <a:pt x="553" y="1702"/>
                  </a:moveTo>
                  <a:lnTo>
                    <a:pt x="553" y="1703"/>
                  </a:lnTo>
                  <a:lnTo>
                    <a:pt x="555" y="1703"/>
                  </a:lnTo>
                  <a:lnTo>
                    <a:pt x="553" y="1703"/>
                  </a:lnTo>
                  <a:lnTo>
                    <a:pt x="553" y="1705"/>
                  </a:lnTo>
                  <a:lnTo>
                    <a:pt x="552" y="1703"/>
                  </a:lnTo>
                  <a:lnTo>
                    <a:pt x="553" y="1703"/>
                  </a:lnTo>
                  <a:lnTo>
                    <a:pt x="552" y="1702"/>
                  </a:lnTo>
                  <a:lnTo>
                    <a:pt x="553" y="1703"/>
                  </a:lnTo>
                  <a:lnTo>
                    <a:pt x="553" y="1702"/>
                  </a:lnTo>
                  <a:close/>
                  <a:moveTo>
                    <a:pt x="553" y="1702"/>
                  </a:moveTo>
                  <a:lnTo>
                    <a:pt x="555" y="1702"/>
                  </a:lnTo>
                  <a:lnTo>
                    <a:pt x="553" y="1702"/>
                  </a:lnTo>
                  <a:close/>
                  <a:moveTo>
                    <a:pt x="560" y="1700"/>
                  </a:moveTo>
                  <a:lnTo>
                    <a:pt x="562" y="1700"/>
                  </a:lnTo>
                  <a:lnTo>
                    <a:pt x="560" y="1700"/>
                  </a:lnTo>
                  <a:close/>
                  <a:moveTo>
                    <a:pt x="558" y="1698"/>
                  </a:moveTo>
                  <a:lnTo>
                    <a:pt x="558" y="1700"/>
                  </a:lnTo>
                  <a:lnTo>
                    <a:pt x="560" y="1700"/>
                  </a:lnTo>
                  <a:lnTo>
                    <a:pt x="560" y="1702"/>
                  </a:lnTo>
                  <a:lnTo>
                    <a:pt x="560" y="1703"/>
                  </a:lnTo>
                  <a:lnTo>
                    <a:pt x="560" y="1705"/>
                  </a:lnTo>
                  <a:lnTo>
                    <a:pt x="560" y="1703"/>
                  </a:lnTo>
                  <a:lnTo>
                    <a:pt x="558" y="1702"/>
                  </a:lnTo>
                  <a:lnTo>
                    <a:pt x="558" y="1703"/>
                  </a:lnTo>
                  <a:lnTo>
                    <a:pt x="558" y="1702"/>
                  </a:lnTo>
                  <a:lnTo>
                    <a:pt x="557" y="1702"/>
                  </a:lnTo>
                  <a:lnTo>
                    <a:pt x="558" y="1702"/>
                  </a:lnTo>
                  <a:lnTo>
                    <a:pt x="557" y="1700"/>
                  </a:lnTo>
                  <a:lnTo>
                    <a:pt x="558" y="1698"/>
                  </a:lnTo>
                  <a:close/>
                  <a:moveTo>
                    <a:pt x="609" y="1700"/>
                  </a:moveTo>
                  <a:lnTo>
                    <a:pt x="607" y="1702"/>
                  </a:lnTo>
                  <a:lnTo>
                    <a:pt x="605" y="1702"/>
                  </a:lnTo>
                  <a:lnTo>
                    <a:pt x="604" y="1702"/>
                  </a:lnTo>
                  <a:lnTo>
                    <a:pt x="602" y="1702"/>
                  </a:lnTo>
                  <a:lnTo>
                    <a:pt x="601" y="1702"/>
                  </a:lnTo>
                  <a:lnTo>
                    <a:pt x="601" y="1703"/>
                  </a:lnTo>
                  <a:lnTo>
                    <a:pt x="599" y="1703"/>
                  </a:lnTo>
                  <a:lnTo>
                    <a:pt x="599" y="1705"/>
                  </a:lnTo>
                  <a:lnTo>
                    <a:pt x="597" y="1705"/>
                  </a:lnTo>
                  <a:lnTo>
                    <a:pt x="596" y="1705"/>
                  </a:lnTo>
                  <a:lnTo>
                    <a:pt x="597" y="1705"/>
                  </a:lnTo>
                  <a:lnTo>
                    <a:pt x="597" y="1703"/>
                  </a:lnTo>
                  <a:lnTo>
                    <a:pt x="599" y="1703"/>
                  </a:lnTo>
                  <a:lnTo>
                    <a:pt x="601" y="1702"/>
                  </a:lnTo>
                  <a:lnTo>
                    <a:pt x="602" y="1702"/>
                  </a:lnTo>
                  <a:lnTo>
                    <a:pt x="604" y="1700"/>
                  </a:lnTo>
                  <a:lnTo>
                    <a:pt x="605" y="1700"/>
                  </a:lnTo>
                  <a:lnTo>
                    <a:pt x="605" y="1698"/>
                  </a:lnTo>
                  <a:lnTo>
                    <a:pt x="607" y="1698"/>
                  </a:lnTo>
                  <a:lnTo>
                    <a:pt x="609" y="1698"/>
                  </a:lnTo>
                  <a:lnTo>
                    <a:pt x="609" y="1700"/>
                  </a:lnTo>
                  <a:close/>
                  <a:moveTo>
                    <a:pt x="592" y="1698"/>
                  </a:moveTo>
                  <a:lnTo>
                    <a:pt x="594" y="1697"/>
                  </a:lnTo>
                  <a:lnTo>
                    <a:pt x="594" y="1698"/>
                  </a:lnTo>
                  <a:lnTo>
                    <a:pt x="592" y="1698"/>
                  </a:lnTo>
                  <a:close/>
                  <a:moveTo>
                    <a:pt x="607" y="1698"/>
                  </a:moveTo>
                  <a:lnTo>
                    <a:pt x="609" y="1698"/>
                  </a:lnTo>
                  <a:lnTo>
                    <a:pt x="607" y="1698"/>
                  </a:lnTo>
                  <a:lnTo>
                    <a:pt x="607" y="1697"/>
                  </a:lnTo>
                  <a:lnTo>
                    <a:pt x="609" y="1697"/>
                  </a:lnTo>
                  <a:lnTo>
                    <a:pt x="607" y="1698"/>
                  </a:lnTo>
                  <a:close/>
                  <a:moveTo>
                    <a:pt x="592" y="1697"/>
                  </a:moveTo>
                  <a:lnTo>
                    <a:pt x="594" y="1697"/>
                  </a:lnTo>
                  <a:lnTo>
                    <a:pt x="592" y="1697"/>
                  </a:lnTo>
                  <a:close/>
                  <a:moveTo>
                    <a:pt x="562" y="1697"/>
                  </a:moveTo>
                  <a:lnTo>
                    <a:pt x="563" y="1697"/>
                  </a:lnTo>
                  <a:lnTo>
                    <a:pt x="563" y="1698"/>
                  </a:lnTo>
                  <a:lnTo>
                    <a:pt x="565" y="1698"/>
                  </a:lnTo>
                  <a:lnTo>
                    <a:pt x="565" y="1697"/>
                  </a:lnTo>
                  <a:lnTo>
                    <a:pt x="565" y="1698"/>
                  </a:lnTo>
                  <a:lnTo>
                    <a:pt x="566" y="1698"/>
                  </a:lnTo>
                  <a:lnTo>
                    <a:pt x="566" y="1700"/>
                  </a:lnTo>
                  <a:lnTo>
                    <a:pt x="568" y="1700"/>
                  </a:lnTo>
                  <a:lnTo>
                    <a:pt x="568" y="1702"/>
                  </a:lnTo>
                  <a:lnTo>
                    <a:pt x="570" y="1702"/>
                  </a:lnTo>
                  <a:lnTo>
                    <a:pt x="571" y="1703"/>
                  </a:lnTo>
                  <a:lnTo>
                    <a:pt x="573" y="1703"/>
                  </a:lnTo>
                  <a:lnTo>
                    <a:pt x="573" y="1705"/>
                  </a:lnTo>
                  <a:lnTo>
                    <a:pt x="575" y="1706"/>
                  </a:lnTo>
                  <a:lnTo>
                    <a:pt x="576" y="1711"/>
                  </a:lnTo>
                  <a:lnTo>
                    <a:pt x="576" y="1713"/>
                  </a:lnTo>
                  <a:lnTo>
                    <a:pt x="576" y="1715"/>
                  </a:lnTo>
                  <a:lnTo>
                    <a:pt x="576" y="1716"/>
                  </a:lnTo>
                  <a:lnTo>
                    <a:pt x="576" y="1718"/>
                  </a:lnTo>
                  <a:lnTo>
                    <a:pt x="576" y="1719"/>
                  </a:lnTo>
                  <a:lnTo>
                    <a:pt x="576" y="1721"/>
                  </a:lnTo>
                  <a:lnTo>
                    <a:pt x="576" y="1723"/>
                  </a:lnTo>
                  <a:lnTo>
                    <a:pt x="576" y="1724"/>
                  </a:lnTo>
                  <a:lnTo>
                    <a:pt x="575" y="1726"/>
                  </a:lnTo>
                  <a:lnTo>
                    <a:pt x="575" y="1724"/>
                  </a:lnTo>
                  <a:lnTo>
                    <a:pt x="573" y="1726"/>
                  </a:lnTo>
                  <a:lnTo>
                    <a:pt x="575" y="1726"/>
                  </a:lnTo>
                  <a:lnTo>
                    <a:pt x="575" y="1728"/>
                  </a:lnTo>
                  <a:lnTo>
                    <a:pt x="573" y="1728"/>
                  </a:lnTo>
                  <a:lnTo>
                    <a:pt x="573" y="1729"/>
                  </a:lnTo>
                  <a:lnTo>
                    <a:pt x="573" y="1728"/>
                  </a:lnTo>
                  <a:lnTo>
                    <a:pt x="573" y="1729"/>
                  </a:lnTo>
                  <a:lnTo>
                    <a:pt x="573" y="1728"/>
                  </a:lnTo>
                  <a:lnTo>
                    <a:pt x="573" y="1729"/>
                  </a:lnTo>
                  <a:lnTo>
                    <a:pt x="571" y="1729"/>
                  </a:lnTo>
                  <a:lnTo>
                    <a:pt x="571" y="1728"/>
                  </a:lnTo>
                  <a:lnTo>
                    <a:pt x="571" y="1729"/>
                  </a:lnTo>
                  <a:lnTo>
                    <a:pt x="570" y="1729"/>
                  </a:lnTo>
                  <a:lnTo>
                    <a:pt x="570" y="1731"/>
                  </a:lnTo>
                  <a:lnTo>
                    <a:pt x="568" y="1729"/>
                  </a:lnTo>
                  <a:lnTo>
                    <a:pt x="566" y="1729"/>
                  </a:lnTo>
                  <a:lnTo>
                    <a:pt x="566" y="1728"/>
                  </a:lnTo>
                  <a:lnTo>
                    <a:pt x="565" y="1728"/>
                  </a:lnTo>
                  <a:lnTo>
                    <a:pt x="565" y="1726"/>
                  </a:lnTo>
                  <a:lnTo>
                    <a:pt x="563" y="1726"/>
                  </a:lnTo>
                  <a:lnTo>
                    <a:pt x="563" y="1724"/>
                  </a:lnTo>
                  <a:lnTo>
                    <a:pt x="562" y="1726"/>
                  </a:lnTo>
                  <a:lnTo>
                    <a:pt x="562" y="1724"/>
                  </a:lnTo>
                  <a:lnTo>
                    <a:pt x="562" y="1723"/>
                  </a:lnTo>
                  <a:lnTo>
                    <a:pt x="562" y="1721"/>
                  </a:lnTo>
                  <a:lnTo>
                    <a:pt x="562" y="1719"/>
                  </a:lnTo>
                  <a:lnTo>
                    <a:pt x="562" y="1721"/>
                  </a:lnTo>
                  <a:lnTo>
                    <a:pt x="562" y="1719"/>
                  </a:lnTo>
                  <a:lnTo>
                    <a:pt x="560" y="1719"/>
                  </a:lnTo>
                  <a:lnTo>
                    <a:pt x="560" y="1718"/>
                  </a:lnTo>
                  <a:lnTo>
                    <a:pt x="560" y="1716"/>
                  </a:lnTo>
                  <a:lnTo>
                    <a:pt x="560" y="1715"/>
                  </a:lnTo>
                  <a:lnTo>
                    <a:pt x="560" y="1713"/>
                  </a:lnTo>
                  <a:lnTo>
                    <a:pt x="558" y="1715"/>
                  </a:lnTo>
                  <a:lnTo>
                    <a:pt x="558" y="1713"/>
                  </a:lnTo>
                  <a:lnTo>
                    <a:pt x="560" y="1713"/>
                  </a:lnTo>
                  <a:lnTo>
                    <a:pt x="558" y="1711"/>
                  </a:lnTo>
                  <a:lnTo>
                    <a:pt x="558" y="1710"/>
                  </a:lnTo>
                  <a:lnTo>
                    <a:pt x="560" y="1710"/>
                  </a:lnTo>
                  <a:lnTo>
                    <a:pt x="558" y="1710"/>
                  </a:lnTo>
                  <a:lnTo>
                    <a:pt x="558" y="1708"/>
                  </a:lnTo>
                  <a:lnTo>
                    <a:pt x="558" y="1710"/>
                  </a:lnTo>
                  <a:lnTo>
                    <a:pt x="558" y="1708"/>
                  </a:lnTo>
                  <a:lnTo>
                    <a:pt x="558" y="1706"/>
                  </a:lnTo>
                  <a:lnTo>
                    <a:pt x="558" y="1705"/>
                  </a:lnTo>
                  <a:lnTo>
                    <a:pt x="560" y="1706"/>
                  </a:lnTo>
                  <a:lnTo>
                    <a:pt x="558" y="1705"/>
                  </a:lnTo>
                  <a:lnTo>
                    <a:pt x="560" y="1705"/>
                  </a:lnTo>
                  <a:lnTo>
                    <a:pt x="562" y="1705"/>
                  </a:lnTo>
                  <a:lnTo>
                    <a:pt x="562" y="1703"/>
                  </a:lnTo>
                  <a:lnTo>
                    <a:pt x="563" y="1703"/>
                  </a:lnTo>
                  <a:lnTo>
                    <a:pt x="562" y="1703"/>
                  </a:lnTo>
                  <a:lnTo>
                    <a:pt x="562" y="1702"/>
                  </a:lnTo>
                  <a:lnTo>
                    <a:pt x="563" y="1702"/>
                  </a:lnTo>
                  <a:lnTo>
                    <a:pt x="562" y="1702"/>
                  </a:lnTo>
                  <a:lnTo>
                    <a:pt x="562" y="1700"/>
                  </a:lnTo>
                  <a:lnTo>
                    <a:pt x="560" y="1700"/>
                  </a:lnTo>
                  <a:lnTo>
                    <a:pt x="560" y="1698"/>
                  </a:lnTo>
                  <a:lnTo>
                    <a:pt x="562" y="1697"/>
                  </a:lnTo>
                  <a:close/>
                  <a:moveTo>
                    <a:pt x="591" y="1695"/>
                  </a:moveTo>
                  <a:lnTo>
                    <a:pt x="591" y="1693"/>
                  </a:lnTo>
                  <a:lnTo>
                    <a:pt x="591" y="1695"/>
                  </a:lnTo>
                  <a:close/>
                  <a:moveTo>
                    <a:pt x="591" y="1693"/>
                  </a:moveTo>
                  <a:lnTo>
                    <a:pt x="591" y="1695"/>
                  </a:lnTo>
                  <a:lnTo>
                    <a:pt x="591" y="1693"/>
                  </a:lnTo>
                  <a:close/>
                  <a:moveTo>
                    <a:pt x="566" y="1693"/>
                  </a:moveTo>
                  <a:lnTo>
                    <a:pt x="568" y="1693"/>
                  </a:lnTo>
                  <a:lnTo>
                    <a:pt x="566" y="1693"/>
                  </a:lnTo>
                  <a:close/>
                  <a:moveTo>
                    <a:pt x="571" y="1693"/>
                  </a:moveTo>
                  <a:lnTo>
                    <a:pt x="571" y="1692"/>
                  </a:lnTo>
                  <a:lnTo>
                    <a:pt x="571" y="1693"/>
                  </a:lnTo>
                  <a:close/>
                  <a:moveTo>
                    <a:pt x="570" y="1692"/>
                  </a:moveTo>
                  <a:lnTo>
                    <a:pt x="570" y="1693"/>
                  </a:lnTo>
                  <a:lnTo>
                    <a:pt x="570" y="1692"/>
                  </a:lnTo>
                  <a:close/>
                  <a:moveTo>
                    <a:pt x="573" y="1692"/>
                  </a:moveTo>
                  <a:lnTo>
                    <a:pt x="573" y="1690"/>
                  </a:lnTo>
                  <a:lnTo>
                    <a:pt x="573" y="1692"/>
                  </a:lnTo>
                  <a:close/>
                  <a:moveTo>
                    <a:pt x="540" y="1692"/>
                  </a:moveTo>
                  <a:lnTo>
                    <a:pt x="540" y="1690"/>
                  </a:lnTo>
                  <a:lnTo>
                    <a:pt x="540" y="1692"/>
                  </a:lnTo>
                  <a:close/>
                  <a:moveTo>
                    <a:pt x="562" y="1690"/>
                  </a:moveTo>
                  <a:lnTo>
                    <a:pt x="562" y="1692"/>
                  </a:lnTo>
                  <a:lnTo>
                    <a:pt x="562" y="1690"/>
                  </a:lnTo>
                  <a:close/>
                  <a:moveTo>
                    <a:pt x="552" y="1690"/>
                  </a:moveTo>
                  <a:lnTo>
                    <a:pt x="553" y="1690"/>
                  </a:lnTo>
                  <a:lnTo>
                    <a:pt x="555" y="1692"/>
                  </a:lnTo>
                  <a:lnTo>
                    <a:pt x="553" y="1692"/>
                  </a:lnTo>
                  <a:lnTo>
                    <a:pt x="555" y="1692"/>
                  </a:lnTo>
                  <a:lnTo>
                    <a:pt x="555" y="1693"/>
                  </a:lnTo>
                  <a:lnTo>
                    <a:pt x="555" y="1695"/>
                  </a:lnTo>
                  <a:lnTo>
                    <a:pt x="553" y="1695"/>
                  </a:lnTo>
                  <a:lnTo>
                    <a:pt x="553" y="1697"/>
                  </a:lnTo>
                  <a:lnTo>
                    <a:pt x="552" y="1697"/>
                  </a:lnTo>
                  <a:lnTo>
                    <a:pt x="550" y="1697"/>
                  </a:lnTo>
                  <a:lnTo>
                    <a:pt x="549" y="1697"/>
                  </a:lnTo>
                  <a:lnTo>
                    <a:pt x="547" y="1697"/>
                  </a:lnTo>
                  <a:lnTo>
                    <a:pt x="549" y="1695"/>
                  </a:lnTo>
                  <a:lnTo>
                    <a:pt x="547" y="1695"/>
                  </a:lnTo>
                  <a:lnTo>
                    <a:pt x="547" y="1693"/>
                  </a:lnTo>
                  <a:lnTo>
                    <a:pt x="547" y="1692"/>
                  </a:lnTo>
                  <a:lnTo>
                    <a:pt x="549" y="1692"/>
                  </a:lnTo>
                  <a:lnTo>
                    <a:pt x="550" y="1692"/>
                  </a:lnTo>
                  <a:lnTo>
                    <a:pt x="550" y="1690"/>
                  </a:lnTo>
                  <a:lnTo>
                    <a:pt x="552" y="1690"/>
                  </a:lnTo>
                  <a:lnTo>
                    <a:pt x="550" y="1692"/>
                  </a:lnTo>
                  <a:lnTo>
                    <a:pt x="552" y="1692"/>
                  </a:lnTo>
                  <a:lnTo>
                    <a:pt x="552" y="1690"/>
                  </a:lnTo>
                  <a:lnTo>
                    <a:pt x="553" y="1692"/>
                  </a:lnTo>
                  <a:lnTo>
                    <a:pt x="553" y="1690"/>
                  </a:lnTo>
                  <a:lnTo>
                    <a:pt x="552" y="1690"/>
                  </a:lnTo>
                  <a:close/>
                  <a:moveTo>
                    <a:pt x="549" y="1690"/>
                  </a:moveTo>
                  <a:lnTo>
                    <a:pt x="549" y="1689"/>
                  </a:lnTo>
                  <a:lnTo>
                    <a:pt x="549" y="1690"/>
                  </a:lnTo>
                  <a:close/>
                  <a:moveTo>
                    <a:pt x="542" y="1690"/>
                  </a:moveTo>
                  <a:lnTo>
                    <a:pt x="542" y="1689"/>
                  </a:lnTo>
                  <a:lnTo>
                    <a:pt x="544" y="1690"/>
                  </a:lnTo>
                  <a:lnTo>
                    <a:pt x="545" y="1690"/>
                  </a:lnTo>
                  <a:lnTo>
                    <a:pt x="547" y="1690"/>
                  </a:lnTo>
                  <a:lnTo>
                    <a:pt x="547" y="1692"/>
                  </a:lnTo>
                  <a:lnTo>
                    <a:pt x="547" y="1693"/>
                  </a:lnTo>
                  <a:lnTo>
                    <a:pt x="545" y="1693"/>
                  </a:lnTo>
                  <a:lnTo>
                    <a:pt x="545" y="1695"/>
                  </a:lnTo>
                  <a:lnTo>
                    <a:pt x="544" y="1695"/>
                  </a:lnTo>
                  <a:lnTo>
                    <a:pt x="544" y="1693"/>
                  </a:lnTo>
                  <a:lnTo>
                    <a:pt x="542" y="1693"/>
                  </a:lnTo>
                  <a:lnTo>
                    <a:pt x="544" y="1693"/>
                  </a:lnTo>
                  <a:lnTo>
                    <a:pt x="542" y="1693"/>
                  </a:lnTo>
                  <a:lnTo>
                    <a:pt x="544" y="1693"/>
                  </a:lnTo>
                  <a:lnTo>
                    <a:pt x="544" y="1692"/>
                  </a:lnTo>
                  <a:lnTo>
                    <a:pt x="544" y="1690"/>
                  </a:lnTo>
                  <a:lnTo>
                    <a:pt x="545" y="1690"/>
                  </a:lnTo>
                  <a:lnTo>
                    <a:pt x="544" y="1690"/>
                  </a:lnTo>
                  <a:lnTo>
                    <a:pt x="542" y="1690"/>
                  </a:lnTo>
                  <a:close/>
                  <a:moveTo>
                    <a:pt x="552" y="1689"/>
                  </a:moveTo>
                  <a:lnTo>
                    <a:pt x="552" y="1690"/>
                  </a:lnTo>
                  <a:lnTo>
                    <a:pt x="552" y="1689"/>
                  </a:lnTo>
                  <a:close/>
                  <a:moveTo>
                    <a:pt x="540" y="1690"/>
                  </a:moveTo>
                  <a:lnTo>
                    <a:pt x="540" y="1689"/>
                  </a:lnTo>
                  <a:lnTo>
                    <a:pt x="542" y="1689"/>
                  </a:lnTo>
                  <a:lnTo>
                    <a:pt x="542" y="1690"/>
                  </a:lnTo>
                  <a:lnTo>
                    <a:pt x="540" y="1690"/>
                  </a:lnTo>
                  <a:close/>
                  <a:moveTo>
                    <a:pt x="544" y="1689"/>
                  </a:moveTo>
                  <a:lnTo>
                    <a:pt x="545" y="1689"/>
                  </a:lnTo>
                  <a:lnTo>
                    <a:pt x="544" y="1689"/>
                  </a:lnTo>
                  <a:close/>
                  <a:moveTo>
                    <a:pt x="549" y="1690"/>
                  </a:moveTo>
                  <a:lnTo>
                    <a:pt x="549" y="1689"/>
                  </a:lnTo>
                  <a:lnTo>
                    <a:pt x="550" y="1689"/>
                  </a:lnTo>
                  <a:lnTo>
                    <a:pt x="549" y="1690"/>
                  </a:lnTo>
                  <a:close/>
                  <a:moveTo>
                    <a:pt x="540" y="1689"/>
                  </a:moveTo>
                  <a:lnTo>
                    <a:pt x="540" y="1687"/>
                  </a:lnTo>
                  <a:lnTo>
                    <a:pt x="540" y="1689"/>
                  </a:lnTo>
                  <a:close/>
                  <a:moveTo>
                    <a:pt x="547" y="1687"/>
                  </a:moveTo>
                  <a:lnTo>
                    <a:pt x="547" y="1685"/>
                  </a:lnTo>
                  <a:lnTo>
                    <a:pt x="547" y="1687"/>
                  </a:lnTo>
                  <a:close/>
                  <a:moveTo>
                    <a:pt x="545" y="1687"/>
                  </a:moveTo>
                  <a:lnTo>
                    <a:pt x="547" y="1685"/>
                  </a:lnTo>
                  <a:lnTo>
                    <a:pt x="547" y="1687"/>
                  </a:lnTo>
                  <a:lnTo>
                    <a:pt x="545" y="1687"/>
                  </a:lnTo>
                  <a:close/>
                  <a:moveTo>
                    <a:pt x="586" y="1685"/>
                  </a:moveTo>
                  <a:lnTo>
                    <a:pt x="584" y="1685"/>
                  </a:lnTo>
                  <a:lnTo>
                    <a:pt x="586" y="1685"/>
                  </a:lnTo>
                  <a:close/>
                  <a:moveTo>
                    <a:pt x="547" y="1685"/>
                  </a:moveTo>
                  <a:lnTo>
                    <a:pt x="549" y="1685"/>
                  </a:lnTo>
                  <a:lnTo>
                    <a:pt x="547" y="1685"/>
                  </a:lnTo>
                  <a:close/>
                  <a:moveTo>
                    <a:pt x="545" y="1685"/>
                  </a:moveTo>
                  <a:lnTo>
                    <a:pt x="544" y="1685"/>
                  </a:lnTo>
                  <a:lnTo>
                    <a:pt x="544" y="1684"/>
                  </a:lnTo>
                  <a:lnTo>
                    <a:pt x="545" y="1684"/>
                  </a:lnTo>
                  <a:lnTo>
                    <a:pt x="545" y="1685"/>
                  </a:lnTo>
                  <a:close/>
                  <a:moveTo>
                    <a:pt x="540" y="1684"/>
                  </a:moveTo>
                  <a:lnTo>
                    <a:pt x="540" y="1685"/>
                  </a:lnTo>
                  <a:lnTo>
                    <a:pt x="540" y="1684"/>
                  </a:lnTo>
                  <a:close/>
                  <a:moveTo>
                    <a:pt x="545" y="1684"/>
                  </a:moveTo>
                  <a:lnTo>
                    <a:pt x="547" y="1684"/>
                  </a:lnTo>
                  <a:lnTo>
                    <a:pt x="545" y="1685"/>
                  </a:lnTo>
                  <a:lnTo>
                    <a:pt x="545" y="1684"/>
                  </a:lnTo>
                  <a:close/>
                  <a:moveTo>
                    <a:pt x="552" y="1684"/>
                  </a:moveTo>
                  <a:lnTo>
                    <a:pt x="553" y="1684"/>
                  </a:lnTo>
                  <a:lnTo>
                    <a:pt x="552" y="1684"/>
                  </a:lnTo>
                  <a:close/>
                  <a:moveTo>
                    <a:pt x="579" y="1684"/>
                  </a:moveTo>
                  <a:lnTo>
                    <a:pt x="581" y="1684"/>
                  </a:lnTo>
                  <a:lnTo>
                    <a:pt x="579" y="1684"/>
                  </a:lnTo>
                  <a:lnTo>
                    <a:pt x="581" y="1684"/>
                  </a:lnTo>
                  <a:lnTo>
                    <a:pt x="583" y="1684"/>
                  </a:lnTo>
                  <a:lnTo>
                    <a:pt x="581" y="1684"/>
                  </a:lnTo>
                  <a:lnTo>
                    <a:pt x="583" y="1684"/>
                  </a:lnTo>
                  <a:lnTo>
                    <a:pt x="581" y="1685"/>
                  </a:lnTo>
                  <a:lnTo>
                    <a:pt x="583" y="1684"/>
                  </a:lnTo>
                  <a:lnTo>
                    <a:pt x="583" y="1685"/>
                  </a:lnTo>
                  <a:lnTo>
                    <a:pt x="584" y="1685"/>
                  </a:lnTo>
                  <a:lnTo>
                    <a:pt x="584" y="1687"/>
                  </a:lnTo>
                  <a:lnTo>
                    <a:pt x="586" y="1687"/>
                  </a:lnTo>
                  <a:lnTo>
                    <a:pt x="586" y="1685"/>
                  </a:lnTo>
                  <a:lnTo>
                    <a:pt x="586" y="1684"/>
                  </a:lnTo>
                  <a:lnTo>
                    <a:pt x="586" y="1685"/>
                  </a:lnTo>
                  <a:lnTo>
                    <a:pt x="586" y="1684"/>
                  </a:lnTo>
                  <a:lnTo>
                    <a:pt x="588" y="1684"/>
                  </a:lnTo>
                  <a:lnTo>
                    <a:pt x="589" y="1684"/>
                  </a:lnTo>
                  <a:lnTo>
                    <a:pt x="589" y="1685"/>
                  </a:lnTo>
                  <a:lnTo>
                    <a:pt x="591" y="1684"/>
                  </a:lnTo>
                  <a:lnTo>
                    <a:pt x="591" y="1685"/>
                  </a:lnTo>
                  <a:lnTo>
                    <a:pt x="591" y="1687"/>
                  </a:lnTo>
                  <a:lnTo>
                    <a:pt x="591" y="1689"/>
                  </a:lnTo>
                  <a:lnTo>
                    <a:pt x="591" y="1690"/>
                  </a:lnTo>
                  <a:lnTo>
                    <a:pt x="591" y="1692"/>
                  </a:lnTo>
                  <a:lnTo>
                    <a:pt x="591" y="1693"/>
                  </a:lnTo>
                  <a:lnTo>
                    <a:pt x="589" y="1693"/>
                  </a:lnTo>
                  <a:lnTo>
                    <a:pt x="589" y="1695"/>
                  </a:lnTo>
                  <a:lnTo>
                    <a:pt x="591" y="1695"/>
                  </a:lnTo>
                  <a:lnTo>
                    <a:pt x="589" y="1695"/>
                  </a:lnTo>
                  <a:lnTo>
                    <a:pt x="589" y="1697"/>
                  </a:lnTo>
                  <a:lnTo>
                    <a:pt x="588" y="1697"/>
                  </a:lnTo>
                  <a:lnTo>
                    <a:pt x="588" y="1698"/>
                  </a:lnTo>
                  <a:lnTo>
                    <a:pt x="586" y="1700"/>
                  </a:lnTo>
                  <a:lnTo>
                    <a:pt x="584" y="1702"/>
                  </a:lnTo>
                  <a:lnTo>
                    <a:pt x="584" y="1703"/>
                  </a:lnTo>
                  <a:lnTo>
                    <a:pt x="586" y="1705"/>
                  </a:lnTo>
                  <a:lnTo>
                    <a:pt x="584" y="1705"/>
                  </a:lnTo>
                  <a:lnTo>
                    <a:pt x="586" y="1705"/>
                  </a:lnTo>
                  <a:lnTo>
                    <a:pt x="586" y="1706"/>
                  </a:lnTo>
                  <a:lnTo>
                    <a:pt x="586" y="1705"/>
                  </a:lnTo>
                  <a:lnTo>
                    <a:pt x="588" y="1705"/>
                  </a:lnTo>
                  <a:lnTo>
                    <a:pt x="588" y="1706"/>
                  </a:lnTo>
                  <a:lnTo>
                    <a:pt x="586" y="1708"/>
                  </a:lnTo>
                  <a:lnTo>
                    <a:pt x="588" y="1708"/>
                  </a:lnTo>
                  <a:lnTo>
                    <a:pt x="586" y="1708"/>
                  </a:lnTo>
                  <a:lnTo>
                    <a:pt x="586" y="1710"/>
                  </a:lnTo>
                  <a:lnTo>
                    <a:pt x="586" y="1708"/>
                  </a:lnTo>
                  <a:lnTo>
                    <a:pt x="586" y="1710"/>
                  </a:lnTo>
                  <a:lnTo>
                    <a:pt x="584" y="1710"/>
                  </a:lnTo>
                  <a:lnTo>
                    <a:pt x="584" y="1708"/>
                  </a:lnTo>
                  <a:lnTo>
                    <a:pt x="586" y="1708"/>
                  </a:lnTo>
                  <a:lnTo>
                    <a:pt x="586" y="1706"/>
                  </a:lnTo>
                  <a:lnTo>
                    <a:pt x="584" y="1708"/>
                  </a:lnTo>
                  <a:lnTo>
                    <a:pt x="583" y="1708"/>
                  </a:lnTo>
                  <a:lnTo>
                    <a:pt x="584" y="1708"/>
                  </a:lnTo>
                  <a:lnTo>
                    <a:pt x="584" y="1710"/>
                  </a:lnTo>
                  <a:lnTo>
                    <a:pt x="583" y="1710"/>
                  </a:lnTo>
                  <a:lnTo>
                    <a:pt x="583" y="1711"/>
                  </a:lnTo>
                  <a:lnTo>
                    <a:pt x="583" y="1713"/>
                  </a:lnTo>
                  <a:lnTo>
                    <a:pt x="581" y="1713"/>
                  </a:lnTo>
                  <a:lnTo>
                    <a:pt x="581" y="1711"/>
                  </a:lnTo>
                  <a:lnTo>
                    <a:pt x="579" y="1711"/>
                  </a:lnTo>
                  <a:lnTo>
                    <a:pt x="579" y="1710"/>
                  </a:lnTo>
                  <a:lnTo>
                    <a:pt x="581" y="1708"/>
                  </a:lnTo>
                  <a:lnTo>
                    <a:pt x="581" y="1706"/>
                  </a:lnTo>
                  <a:lnTo>
                    <a:pt x="581" y="1708"/>
                  </a:lnTo>
                  <a:lnTo>
                    <a:pt x="579" y="1710"/>
                  </a:lnTo>
                  <a:lnTo>
                    <a:pt x="578" y="1710"/>
                  </a:lnTo>
                  <a:lnTo>
                    <a:pt x="578" y="1711"/>
                  </a:lnTo>
                  <a:lnTo>
                    <a:pt x="578" y="1710"/>
                  </a:lnTo>
                  <a:lnTo>
                    <a:pt x="576" y="1710"/>
                  </a:lnTo>
                  <a:lnTo>
                    <a:pt x="578" y="1708"/>
                  </a:lnTo>
                  <a:lnTo>
                    <a:pt x="576" y="1708"/>
                  </a:lnTo>
                  <a:lnTo>
                    <a:pt x="576" y="1705"/>
                  </a:lnTo>
                  <a:lnTo>
                    <a:pt x="576" y="1703"/>
                  </a:lnTo>
                  <a:lnTo>
                    <a:pt x="575" y="1702"/>
                  </a:lnTo>
                  <a:lnTo>
                    <a:pt x="575" y="1700"/>
                  </a:lnTo>
                  <a:lnTo>
                    <a:pt x="576" y="1700"/>
                  </a:lnTo>
                  <a:lnTo>
                    <a:pt x="575" y="1698"/>
                  </a:lnTo>
                  <a:lnTo>
                    <a:pt x="576" y="1698"/>
                  </a:lnTo>
                  <a:lnTo>
                    <a:pt x="575" y="1697"/>
                  </a:lnTo>
                  <a:lnTo>
                    <a:pt x="575" y="1698"/>
                  </a:lnTo>
                  <a:lnTo>
                    <a:pt x="575" y="1700"/>
                  </a:lnTo>
                  <a:lnTo>
                    <a:pt x="575" y="1702"/>
                  </a:lnTo>
                  <a:lnTo>
                    <a:pt x="575" y="1703"/>
                  </a:lnTo>
                  <a:lnTo>
                    <a:pt x="573" y="1703"/>
                  </a:lnTo>
                  <a:lnTo>
                    <a:pt x="573" y="1702"/>
                  </a:lnTo>
                  <a:lnTo>
                    <a:pt x="571" y="1702"/>
                  </a:lnTo>
                  <a:lnTo>
                    <a:pt x="570" y="1698"/>
                  </a:lnTo>
                  <a:lnTo>
                    <a:pt x="568" y="1698"/>
                  </a:lnTo>
                  <a:lnTo>
                    <a:pt x="568" y="1697"/>
                  </a:lnTo>
                  <a:lnTo>
                    <a:pt x="566" y="1697"/>
                  </a:lnTo>
                  <a:lnTo>
                    <a:pt x="566" y="1695"/>
                  </a:lnTo>
                  <a:lnTo>
                    <a:pt x="568" y="1695"/>
                  </a:lnTo>
                  <a:lnTo>
                    <a:pt x="568" y="1693"/>
                  </a:lnTo>
                  <a:lnTo>
                    <a:pt x="570" y="1693"/>
                  </a:lnTo>
                  <a:lnTo>
                    <a:pt x="571" y="1693"/>
                  </a:lnTo>
                  <a:lnTo>
                    <a:pt x="571" y="1695"/>
                  </a:lnTo>
                  <a:lnTo>
                    <a:pt x="570" y="1695"/>
                  </a:lnTo>
                  <a:lnTo>
                    <a:pt x="571" y="1695"/>
                  </a:lnTo>
                  <a:lnTo>
                    <a:pt x="573" y="1693"/>
                  </a:lnTo>
                  <a:lnTo>
                    <a:pt x="573" y="1695"/>
                  </a:lnTo>
                  <a:lnTo>
                    <a:pt x="573" y="1697"/>
                  </a:lnTo>
                  <a:lnTo>
                    <a:pt x="575" y="1695"/>
                  </a:lnTo>
                  <a:lnTo>
                    <a:pt x="573" y="1693"/>
                  </a:lnTo>
                  <a:lnTo>
                    <a:pt x="573" y="1692"/>
                  </a:lnTo>
                  <a:lnTo>
                    <a:pt x="573" y="1690"/>
                  </a:lnTo>
                  <a:lnTo>
                    <a:pt x="573" y="1689"/>
                  </a:lnTo>
                  <a:lnTo>
                    <a:pt x="575" y="1687"/>
                  </a:lnTo>
                  <a:lnTo>
                    <a:pt x="576" y="1687"/>
                  </a:lnTo>
                  <a:lnTo>
                    <a:pt x="578" y="1687"/>
                  </a:lnTo>
                  <a:lnTo>
                    <a:pt x="578" y="1689"/>
                  </a:lnTo>
                  <a:lnTo>
                    <a:pt x="578" y="1687"/>
                  </a:lnTo>
                  <a:lnTo>
                    <a:pt x="579" y="1687"/>
                  </a:lnTo>
                  <a:lnTo>
                    <a:pt x="579" y="1689"/>
                  </a:lnTo>
                  <a:lnTo>
                    <a:pt x="581" y="1689"/>
                  </a:lnTo>
                  <a:lnTo>
                    <a:pt x="581" y="1687"/>
                  </a:lnTo>
                  <a:lnTo>
                    <a:pt x="579" y="1687"/>
                  </a:lnTo>
                  <a:lnTo>
                    <a:pt x="578" y="1687"/>
                  </a:lnTo>
                  <a:lnTo>
                    <a:pt x="579" y="1687"/>
                  </a:lnTo>
                  <a:lnTo>
                    <a:pt x="579" y="1685"/>
                  </a:lnTo>
                  <a:lnTo>
                    <a:pt x="581" y="1685"/>
                  </a:lnTo>
                  <a:lnTo>
                    <a:pt x="579" y="1685"/>
                  </a:lnTo>
                  <a:lnTo>
                    <a:pt x="581" y="1685"/>
                  </a:lnTo>
                  <a:lnTo>
                    <a:pt x="579" y="1685"/>
                  </a:lnTo>
                  <a:lnTo>
                    <a:pt x="579" y="1684"/>
                  </a:lnTo>
                  <a:close/>
                  <a:moveTo>
                    <a:pt x="542" y="1682"/>
                  </a:moveTo>
                  <a:lnTo>
                    <a:pt x="542" y="1684"/>
                  </a:lnTo>
                  <a:lnTo>
                    <a:pt x="542" y="1682"/>
                  </a:lnTo>
                  <a:close/>
                  <a:moveTo>
                    <a:pt x="545" y="1684"/>
                  </a:moveTo>
                  <a:lnTo>
                    <a:pt x="545" y="1682"/>
                  </a:lnTo>
                  <a:lnTo>
                    <a:pt x="545" y="1684"/>
                  </a:lnTo>
                  <a:close/>
                  <a:moveTo>
                    <a:pt x="544" y="1684"/>
                  </a:moveTo>
                  <a:lnTo>
                    <a:pt x="544" y="1682"/>
                  </a:lnTo>
                  <a:lnTo>
                    <a:pt x="544" y="1684"/>
                  </a:lnTo>
                  <a:close/>
                  <a:moveTo>
                    <a:pt x="545" y="1682"/>
                  </a:moveTo>
                  <a:lnTo>
                    <a:pt x="545" y="1684"/>
                  </a:lnTo>
                  <a:lnTo>
                    <a:pt x="545" y="1682"/>
                  </a:lnTo>
                  <a:close/>
                  <a:moveTo>
                    <a:pt x="544" y="1682"/>
                  </a:moveTo>
                  <a:lnTo>
                    <a:pt x="544" y="1684"/>
                  </a:lnTo>
                  <a:lnTo>
                    <a:pt x="544" y="1682"/>
                  </a:lnTo>
                  <a:close/>
                  <a:moveTo>
                    <a:pt x="544" y="1682"/>
                  </a:moveTo>
                  <a:lnTo>
                    <a:pt x="542" y="1684"/>
                  </a:lnTo>
                  <a:lnTo>
                    <a:pt x="544" y="1682"/>
                  </a:lnTo>
                  <a:close/>
                  <a:moveTo>
                    <a:pt x="557" y="1682"/>
                  </a:moveTo>
                  <a:lnTo>
                    <a:pt x="555" y="1682"/>
                  </a:lnTo>
                  <a:lnTo>
                    <a:pt x="557" y="1682"/>
                  </a:lnTo>
                  <a:close/>
                  <a:moveTo>
                    <a:pt x="614" y="1682"/>
                  </a:moveTo>
                  <a:lnTo>
                    <a:pt x="615" y="1682"/>
                  </a:lnTo>
                  <a:lnTo>
                    <a:pt x="614" y="1682"/>
                  </a:lnTo>
                  <a:close/>
                  <a:moveTo>
                    <a:pt x="570" y="1682"/>
                  </a:moveTo>
                  <a:lnTo>
                    <a:pt x="571" y="1682"/>
                  </a:lnTo>
                  <a:lnTo>
                    <a:pt x="570" y="1682"/>
                  </a:lnTo>
                  <a:close/>
                  <a:moveTo>
                    <a:pt x="571" y="1682"/>
                  </a:moveTo>
                  <a:lnTo>
                    <a:pt x="573" y="1682"/>
                  </a:lnTo>
                  <a:lnTo>
                    <a:pt x="571" y="1682"/>
                  </a:lnTo>
                  <a:close/>
                  <a:moveTo>
                    <a:pt x="545" y="1682"/>
                  </a:moveTo>
                  <a:lnTo>
                    <a:pt x="547" y="1682"/>
                  </a:lnTo>
                  <a:lnTo>
                    <a:pt x="547" y="1684"/>
                  </a:lnTo>
                  <a:lnTo>
                    <a:pt x="545" y="1684"/>
                  </a:lnTo>
                  <a:lnTo>
                    <a:pt x="545" y="1682"/>
                  </a:lnTo>
                  <a:lnTo>
                    <a:pt x="547" y="1684"/>
                  </a:lnTo>
                  <a:lnTo>
                    <a:pt x="545" y="1682"/>
                  </a:lnTo>
                  <a:close/>
                  <a:moveTo>
                    <a:pt x="570" y="1682"/>
                  </a:moveTo>
                  <a:lnTo>
                    <a:pt x="570" y="1684"/>
                  </a:lnTo>
                  <a:lnTo>
                    <a:pt x="570" y="1682"/>
                  </a:lnTo>
                  <a:lnTo>
                    <a:pt x="570" y="1684"/>
                  </a:lnTo>
                  <a:lnTo>
                    <a:pt x="571" y="1684"/>
                  </a:lnTo>
                  <a:lnTo>
                    <a:pt x="571" y="1682"/>
                  </a:lnTo>
                  <a:lnTo>
                    <a:pt x="571" y="1684"/>
                  </a:lnTo>
                  <a:lnTo>
                    <a:pt x="571" y="1685"/>
                  </a:lnTo>
                  <a:lnTo>
                    <a:pt x="571" y="1684"/>
                  </a:lnTo>
                  <a:lnTo>
                    <a:pt x="570" y="1684"/>
                  </a:lnTo>
                  <a:lnTo>
                    <a:pt x="571" y="1685"/>
                  </a:lnTo>
                  <a:lnTo>
                    <a:pt x="571" y="1687"/>
                  </a:lnTo>
                  <a:lnTo>
                    <a:pt x="571" y="1689"/>
                  </a:lnTo>
                  <a:lnTo>
                    <a:pt x="571" y="1690"/>
                  </a:lnTo>
                  <a:lnTo>
                    <a:pt x="571" y="1692"/>
                  </a:lnTo>
                  <a:lnTo>
                    <a:pt x="570" y="1692"/>
                  </a:lnTo>
                  <a:lnTo>
                    <a:pt x="571" y="1692"/>
                  </a:lnTo>
                  <a:lnTo>
                    <a:pt x="570" y="1692"/>
                  </a:lnTo>
                  <a:lnTo>
                    <a:pt x="570" y="1693"/>
                  </a:lnTo>
                  <a:lnTo>
                    <a:pt x="570" y="1692"/>
                  </a:lnTo>
                  <a:lnTo>
                    <a:pt x="570" y="1693"/>
                  </a:lnTo>
                  <a:lnTo>
                    <a:pt x="568" y="1693"/>
                  </a:lnTo>
                  <a:lnTo>
                    <a:pt x="568" y="1692"/>
                  </a:lnTo>
                  <a:lnTo>
                    <a:pt x="566" y="1692"/>
                  </a:lnTo>
                  <a:lnTo>
                    <a:pt x="566" y="1693"/>
                  </a:lnTo>
                  <a:lnTo>
                    <a:pt x="566" y="1695"/>
                  </a:lnTo>
                  <a:lnTo>
                    <a:pt x="565" y="1695"/>
                  </a:lnTo>
                  <a:lnTo>
                    <a:pt x="565" y="1693"/>
                  </a:lnTo>
                  <a:lnTo>
                    <a:pt x="566" y="1693"/>
                  </a:lnTo>
                  <a:lnTo>
                    <a:pt x="565" y="1693"/>
                  </a:lnTo>
                  <a:lnTo>
                    <a:pt x="566" y="1693"/>
                  </a:lnTo>
                  <a:lnTo>
                    <a:pt x="565" y="1693"/>
                  </a:lnTo>
                  <a:lnTo>
                    <a:pt x="566" y="1692"/>
                  </a:lnTo>
                  <a:lnTo>
                    <a:pt x="565" y="1692"/>
                  </a:lnTo>
                  <a:lnTo>
                    <a:pt x="565" y="1690"/>
                  </a:lnTo>
                  <a:lnTo>
                    <a:pt x="565" y="1689"/>
                  </a:lnTo>
                  <a:lnTo>
                    <a:pt x="565" y="1687"/>
                  </a:lnTo>
                  <a:lnTo>
                    <a:pt x="566" y="1687"/>
                  </a:lnTo>
                  <a:lnTo>
                    <a:pt x="565" y="1685"/>
                  </a:lnTo>
                  <a:lnTo>
                    <a:pt x="566" y="1685"/>
                  </a:lnTo>
                  <a:lnTo>
                    <a:pt x="565" y="1684"/>
                  </a:lnTo>
                  <a:lnTo>
                    <a:pt x="566" y="1684"/>
                  </a:lnTo>
                  <a:lnTo>
                    <a:pt x="566" y="1682"/>
                  </a:lnTo>
                  <a:lnTo>
                    <a:pt x="568" y="1682"/>
                  </a:lnTo>
                  <a:lnTo>
                    <a:pt x="570" y="1682"/>
                  </a:lnTo>
                  <a:close/>
                  <a:moveTo>
                    <a:pt x="566" y="1682"/>
                  </a:moveTo>
                  <a:lnTo>
                    <a:pt x="566" y="1680"/>
                  </a:lnTo>
                  <a:lnTo>
                    <a:pt x="566" y="1682"/>
                  </a:lnTo>
                  <a:close/>
                  <a:moveTo>
                    <a:pt x="552" y="1682"/>
                  </a:moveTo>
                  <a:lnTo>
                    <a:pt x="552" y="1680"/>
                  </a:lnTo>
                  <a:lnTo>
                    <a:pt x="552" y="1682"/>
                  </a:lnTo>
                  <a:close/>
                  <a:moveTo>
                    <a:pt x="555" y="1680"/>
                  </a:moveTo>
                  <a:lnTo>
                    <a:pt x="557" y="1682"/>
                  </a:lnTo>
                  <a:lnTo>
                    <a:pt x="555" y="1682"/>
                  </a:lnTo>
                  <a:lnTo>
                    <a:pt x="555" y="1680"/>
                  </a:lnTo>
                  <a:close/>
                  <a:moveTo>
                    <a:pt x="553" y="1680"/>
                  </a:moveTo>
                  <a:lnTo>
                    <a:pt x="553" y="1682"/>
                  </a:lnTo>
                  <a:lnTo>
                    <a:pt x="553" y="1680"/>
                  </a:lnTo>
                  <a:close/>
                  <a:moveTo>
                    <a:pt x="550" y="1680"/>
                  </a:moveTo>
                  <a:lnTo>
                    <a:pt x="549" y="1680"/>
                  </a:lnTo>
                  <a:lnTo>
                    <a:pt x="550" y="1680"/>
                  </a:lnTo>
                  <a:close/>
                  <a:moveTo>
                    <a:pt x="552" y="1680"/>
                  </a:moveTo>
                  <a:lnTo>
                    <a:pt x="550" y="1680"/>
                  </a:lnTo>
                  <a:lnTo>
                    <a:pt x="552" y="1680"/>
                  </a:lnTo>
                  <a:close/>
                  <a:moveTo>
                    <a:pt x="549" y="1679"/>
                  </a:moveTo>
                  <a:lnTo>
                    <a:pt x="550" y="1679"/>
                  </a:lnTo>
                  <a:lnTo>
                    <a:pt x="549" y="1680"/>
                  </a:lnTo>
                  <a:lnTo>
                    <a:pt x="549" y="1679"/>
                  </a:lnTo>
                  <a:close/>
                  <a:moveTo>
                    <a:pt x="549" y="1679"/>
                  </a:moveTo>
                  <a:lnTo>
                    <a:pt x="549" y="1680"/>
                  </a:lnTo>
                  <a:lnTo>
                    <a:pt x="549" y="1679"/>
                  </a:lnTo>
                  <a:close/>
                  <a:moveTo>
                    <a:pt x="553" y="1679"/>
                  </a:moveTo>
                  <a:lnTo>
                    <a:pt x="553" y="1680"/>
                  </a:lnTo>
                  <a:lnTo>
                    <a:pt x="553" y="1679"/>
                  </a:lnTo>
                  <a:close/>
                  <a:moveTo>
                    <a:pt x="550" y="1680"/>
                  </a:moveTo>
                  <a:lnTo>
                    <a:pt x="550" y="1679"/>
                  </a:lnTo>
                  <a:lnTo>
                    <a:pt x="550" y="1680"/>
                  </a:lnTo>
                  <a:close/>
                  <a:moveTo>
                    <a:pt x="553" y="1679"/>
                  </a:moveTo>
                  <a:lnTo>
                    <a:pt x="553" y="1680"/>
                  </a:lnTo>
                  <a:lnTo>
                    <a:pt x="553" y="1679"/>
                  </a:lnTo>
                  <a:close/>
                  <a:moveTo>
                    <a:pt x="617" y="1680"/>
                  </a:moveTo>
                  <a:lnTo>
                    <a:pt x="618" y="1679"/>
                  </a:lnTo>
                  <a:lnTo>
                    <a:pt x="618" y="1680"/>
                  </a:lnTo>
                  <a:lnTo>
                    <a:pt x="617" y="1680"/>
                  </a:lnTo>
                  <a:close/>
                  <a:moveTo>
                    <a:pt x="560" y="1679"/>
                  </a:moveTo>
                  <a:lnTo>
                    <a:pt x="560" y="1680"/>
                  </a:lnTo>
                  <a:lnTo>
                    <a:pt x="560" y="1679"/>
                  </a:lnTo>
                  <a:close/>
                  <a:moveTo>
                    <a:pt x="553" y="1679"/>
                  </a:moveTo>
                  <a:lnTo>
                    <a:pt x="553" y="1680"/>
                  </a:lnTo>
                  <a:lnTo>
                    <a:pt x="553" y="1679"/>
                  </a:lnTo>
                  <a:close/>
                  <a:moveTo>
                    <a:pt x="555" y="1679"/>
                  </a:moveTo>
                  <a:lnTo>
                    <a:pt x="553" y="1679"/>
                  </a:lnTo>
                  <a:lnTo>
                    <a:pt x="555" y="1679"/>
                  </a:lnTo>
                  <a:close/>
                  <a:moveTo>
                    <a:pt x="547" y="1679"/>
                  </a:moveTo>
                  <a:lnTo>
                    <a:pt x="547" y="1677"/>
                  </a:lnTo>
                  <a:lnTo>
                    <a:pt x="549" y="1677"/>
                  </a:lnTo>
                  <a:lnTo>
                    <a:pt x="547" y="1679"/>
                  </a:lnTo>
                  <a:lnTo>
                    <a:pt x="549" y="1679"/>
                  </a:lnTo>
                  <a:lnTo>
                    <a:pt x="549" y="1677"/>
                  </a:lnTo>
                  <a:lnTo>
                    <a:pt x="549" y="1679"/>
                  </a:lnTo>
                  <a:lnTo>
                    <a:pt x="549" y="1680"/>
                  </a:lnTo>
                  <a:lnTo>
                    <a:pt x="547" y="1679"/>
                  </a:lnTo>
                  <a:lnTo>
                    <a:pt x="547" y="1680"/>
                  </a:lnTo>
                  <a:lnTo>
                    <a:pt x="547" y="1679"/>
                  </a:lnTo>
                  <a:close/>
                  <a:moveTo>
                    <a:pt x="558" y="1677"/>
                  </a:moveTo>
                  <a:lnTo>
                    <a:pt x="558" y="1679"/>
                  </a:lnTo>
                  <a:lnTo>
                    <a:pt x="558" y="1677"/>
                  </a:lnTo>
                  <a:lnTo>
                    <a:pt x="558" y="1679"/>
                  </a:lnTo>
                  <a:lnTo>
                    <a:pt x="558" y="1677"/>
                  </a:lnTo>
                  <a:close/>
                  <a:moveTo>
                    <a:pt x="560" y="1679"/>
                  </a:moveTo>
                  <a:lnTo>
                    <a:pt x="560" y="1677"/>
                  </a:lnTo>
                  <a:lnTo>
                    <a:pt x="560" y="1679"/>
                  </a:lnTo>
                  <a:close/>
                  <a:moveTo>
                    <a:pt x="558" y="1677"/>
                  </a:moveTo>
                  <a:lnTo>
                    <a:pt x="560" y="1677"/>
                  </a:lnTo>
                  <a:lnTo>
                    <a:pt x="558" y="1677"/>
                  </a:lnTo>
                  <a:close/>
                  <a:moveTo>
                    <a:pt x="558" y="1677"/>
                  </a:moveTo>
                  <a:lnTo>
                    <a:pt x="560" y="1677"/>
                  </a:lnTo>
                  <a:lnTo>
                    <a:pt x="558" y="1677"/>
                  </a:lnTo>
                  <a:close/>
                  <a:moveTo>
                    <a:pt x="557" y="1676"/>
                  </a:moveTo>
                  <a:lnTo>
                    <a:pt x="557" y="1677"/>
                  </a:lnTo>
                  <a:lnTo>
                    <a:pt x="557" y="1676"/>
                  </a:lnTo>
                  <a:close/>
                  <a:moveTo>
                    <a:pt x="555" y="1676"/>
                  </a:moveTo>
                  <a:lnTo>
                    <a:pt x="555" y="1674"/>
                  </a:lnTo>
                  <a:lnTo>
                    <a:pt x="557" y="1674"/>
                  </a:lnTo>
                  <a:lnTo>
                    <a:pt x="557" y="1676"/>
                  </a:lnTo>
                  <a:lnTo>
                    <a:pt x="557" y="1677"/>
                  </a:lnTo>
                  <a:lnTo>
                    <a:pt x="558" y="1677"/>
                  </a:lnTo>
                  <a:lnTo>
                    <a:pt x="558" y="1679"/>
                  </a:lnTo>
                  <a:lnTo>
                    <a:pt x="560" y="1680"/>
                  </a:lnTo>
                  <a:lnTo>
                    <a:pt x="558" y="1680"/>
                  </a:lnTo>
                  <a:lnTo>
                    <a:pt x="560" y="1680"/>
                  </a:lnTo>
                  <a:lnTo>
                    <a:pt x="560" y="1682"/>
                  </a:lnTo>
                  <a:lnTo>
                    <a:pt x="562" y="1682"/>
                  </a:lnTo>
                  <a:lnTo>
                    <a:pt x="562" y="1684"/>
                  </a:lnTo>
                  <a:lnTo>
                    <a:pt x="562" y="1687"/>
                  </a:lnTo>
                  <a:lnTo>
                    <a:pt x="562" y="1689"/>
                  </a:lnTo>
                  <a:lnTo>
                    <a:pt x="562" y="1690"/>
                  </a:lnTo>
                  <a:lnTo>
                    <a:pt x="560" y="1690"/>
                  </a:lnTo>
                  <a:lnTo>
                    <a:pt x="560" y="1692"/>
                  </a:lnTo>
                  <a:lnTo>
                    <a:pt x="560" y="1693"/>
                  </a:lnTo>
                  <a:lnTo>
                    <a:pt x="558" y="1693"/>
                  </a:lnTo>
                  <a:lnTo>
                    <a:pt x="558" y="1695"/>
                  </a:lnTo>
                  <a:lnTo>
                    <a:pt x="558" y="1693"/>
                  </a:lnTo>
                  <a:lnTo>
                    <a:pt x="558" y="1695"/>
                  </a:lnTo>
                  <a:lnTo>
                    <a:pt x="557" y="1693"/>
                  </a:lnTo>
                  <a:lnTo>
                    <a:pt x="558" y="1692"/>
                  </a:lnTo>
                  <a:lnTo>
                    <a:pt x="557" y="1692"/>
                  </a:lnTo>
                  <a:lnTo>
                    <a:pt x="555" y="1692"/>
                  </a:lnTo>
                  <a:lnTo>
                    <a:pt x="555" y="1690"/>
                  </a:lnTo>
                  <a:lnTo>
                    <a:pt x="553" y="1690"/>
                  </a:lnTo>
                  <a:lnTo>
                    <a:pt x="555" y="1689"/>
                  </a:lnTo>
                  <a:lnTo>
                    <a:pt x="553" y="1689"/>
                  </a:lnTo>
                  <a:lnTo>
                    <a:pt x="555" y="1687"/>
                  </a:lnTo>
                  <a:lnTo>
                    <a:pt x="553" y="1687"/>
                  </a:lnTo>
                  <a:lnTo>
                    <a:pt x="553" y="1685"/>
                  </a:lnTo>
                  <a:lnTo>
                    <a:pt x="553" y="1687"/>
                  </a:lnTo>
                  <a:lnTo>
                    <a:pt x="552" y="1685"/>
                  </a:lnTo>
                  <a:lnTo>
                    <a:pt x="553" y="1685"/>
                  </a:lnTo>
                  <a:lnTo>
                    <a:pt x="552" y="1685"/>
                  </a:lnTo>
                  <a:lnTo>
                    <a:pt x="553" y="1684"/>
                  </a:lnTo>
                  <a:lnTo>
                    <a:pt x="553" y="1682"/>
                  </a:lnTo>
                  <a:lnTo>
                    <a:pt x="555" y="1682"/>
                  </a:lnTo>
                  <a:lnTo>
                    <a:pt x="555" y="1680"/>
                  </a:lnTo>
                  <a:lnTo>
                    <a:pt x="555" y="1682"/>
                  </a:lnTo>
                  <a:lnTo>
                    <a:pt x="555" y="1680"/>
                  </a:lnTo>
                  <a:lnTo>
                    <a:pt x="555" y="1679"/>
                  </a:lnTo>
                  <a:lnTo>
                    <a:pt x="555" y="1680"/>
                  </a:lnTo>
                  <a:lnTo>
                    <a:pt x="555" y="1682"/>
                  </a:lnTo>
                  <a:lnTo>
                    <a:pt x="555" y="1684"/>
                  </a:lnTo>
                  <a:lnTo>
                    <a:pt x="557" y="1684"/>
                  </a:lnTo>
                  <a:lnTo>
                    <a:pt x="557" y="1682"/>
                  </a:lnTo>
                  <a:lnTo>
                    <a:pt x="557" y="1680"/>
                  </a:lnTo>
                  <a:lnTo>
                    <a:pt x="557" y="1679"/>
                  </a:lnTo>
                  <a:lnTo>
                    <a:pt x="555" y="1679"/>
                  </a:lnTo>
                  <a:lnTo>
                    <a:pt x="555" y="1677"/>
                  </a:lnTo>
                  <a:lnTo>
                    <a:pt x="555" y="1679"/>
                  </a:lnTo>
                  <a:lnTo>
                    <a:pt x="555" y="1677"/>
                  </a:lnTo>
                  <a:lnTo>
                    <a:pt x="555" y="1676"/>
                  </a:lnTo>
                  <a:close/>
                  <a:moveTo>
                    <a:pt x="549" y="1676"/>
                  </a:moveTo>
                  <a:lnTo>
                    <a:pt x="549" y="1674"/>
                  </a:lnTo>
                  <a:lnTo>
                    <a:pt x="549" y="1676"/>
                  </a:lnTo>
                  <a:close/>
                  <a:moveTo>
                    <a:pt x="547" y="1674"/>
                  </a:moveTo>
                  <a:lnTo>
                    <a:pt x="547" y="1676"/>
                  </a:lnTo>
                  <a:lnTo>
                    <a:pt x="547" y="1674"/>
                  </a:lnTo>
                  <a:close/>
                  <a:moveTo>
                    <a:pt x="568" y="1674"/>
                  </a:moveTo>
                  <a:lnTo>
                    <a:pt x="570" y="1674"/>
                  </a:lnTo>
                  <a:lnTo>
                    <a:pt x="568" y="1674"/>
                  </a:lnTo>
                  <a:close/>
                  <a:moveTo>
                    <a:pt x="549" y="1674"/>
                  </a:moveTo>
                  <a:lnTo>
                    <a:pt x="547" y="1674"/>
                  </a:lnTo>
                  <a:lnTo>
                    <a:pt x="549" y="1674"/>
                  </a:lnTo>
                  <a:close/>
                  <a:moveTo>
                    <a:pt x="552" y="1672"/>
                  </a:moveTo>
                  <a:lnTo>
                    <a:pt x="553" y="1674"/>
                  </a:lnTo>
                  <a:lnTo>
                    <a:pt x="552" y="1674"/>
                  </a:lnTo>
                  <a:lnTo>
                    <a:pt x="552" y="1672"/>
                  </a:lnTo>
                  <a:close/>
                  <a:moveTo>
                    <a:pt x="555" y="1672"/>
                  </a:moveTo>
                  <a:lnTo>
                    <a:pt x="555" y="1674"/>
                  </a:lnTo>
                  <a:lnTo>
                    <a:pt x="555" y="1672"/>
                  </a:lnTo>
                  <a:close/>
                  <a:moveTo>
                    <a:pt x="542" y="1674"/>
                  </a:moveTo>
                  <a:lnTo>
                    <a:pt x="542" y="1672"/>
                  </a:lnTo>
                  <a:lnTo>
                    <a:pt x="542" y="1674"/>
                  </a:lnTo>
                  <a:close/>
                  <a:moveTo>
                    <a:pt x="557" y="1672"/>
                  </a:moveTo>
                  <a:lnTo>
                    <a:pt x="557" y="1674"/>
                  </a:lnTo>
                  <a:lnTo>
                    <a:pt x="557" y="1672"/>
                  </a:lnTo>
                  <a:close/>
                  <a:moveTo>
                    <a:pt x="542" y="1674"/>
                  </a:moveTo>
                  <a:lnTo>
                    <a:pt x="542" y="1672"/>
                  </a:lnTo>
                  <a:lnTo>
                    <a:pt x="542" y="1674"/>
                  </a:lnTo>
                  <a:close/>
                  <a:moveTo>
                    <a:pt x="591" y="1672"/>
                  </a:moveTo>
                  <a:lnTo>
                    <a:pt x="589" y="1674"/>
                  </a:lnTo>
                  <a:lnTo>
                    <a:pt x="589" y="1672"/>
                  </a:lnTo>
                  <a:lnTo>
                    <a:pt x="591" y="1672"/>
                  </a:lnTo>
                  <a:close/>
                  <a:moveTo>
                    <a:pt x="612" y="1674"/>
                  </a:moveTo>
                  <a:lnTo>
                    <a:pt x="614" y="1672"/>
                  </a:lnTo>
                  <a:lnTo>
                    <a:pt x="615" y="1674"/>
                  </a:lnTo>
                  <a:lnTo>
                    <a:pt x="617" y="1676"/>
                  </a:lnTo>
                  <a:lnTo>
                    <a:pt x="617" y="1677"/>
                  </a:lnTo>
                  <a:lnTo>
                    <a:pt x="617" y="1679"/>
                  </a:lnTo>
                  <a:lnTo>
                    <a:pt x="615" y="1680"/>
                  </a:lnTo>
                  <a:lnTo>
                    <a:pt x="615" y="1682"/>
                  </a:lnTo>
                  <a:lnTo>
                    <a:pt x="614" y="1682"/>
                  </a:lnTo>
                  <a:lnTo>
                    <a:pt x="612" y="1684"/>
                  </a:lnTo>
                  <a:lnTo>
                    <a:pt x="612" y="1685"/>
                  </a:lnTo>
                  <a:lnTo>
                    <a:pt x="610" y="1687"/>
                  </a:lnTo>
                  <a:lnTo>
                    <a:pt x="610" y="1685"/>
                  </a:lnTo>
                  <a:lnTo>
                    <a:pt x="610" y="1684"/>
                  </a:lnTo>
                  <a:lnTo>
                    <a:pt x="609" y="1684"/>
                  </a:lnTo>
                  <a:lnTo>
                    <a:pt x="609" y="1682"/>
                  </a:lnTo>
                  <a:lnTo>
                    <a:pt x="607" y="1679"/>
                  </a:lnTo>
                  <a:lnTo>
                    <a:pt x="607" y="1677"/>
                  </a:lnTo>
                  <a:lnTo>
                    <a:pt x="607" y="1676"/>
                  </a:lnTo>
                  <a:lnTo>
                    <a:pt x="609" y="1676"/>
                  </a:lnTo>
                  <a:lnTo>
                    <a:pt x="610" y="1674"/>
                  </a:lnTo>
                  <a:lnTo>
                    <a:pt x="612" y="1674"/>
                  </a:lnTo>
                  <a:lnTo>
                    <a:pt x="612" y="1672"/>
                  </a:lnTo>
                  <a:lnTo>
                    <a:pt x="612" y="1674"/>
                  </a:lnTo>
                  <a:close/>
                  <a:moveTo>
                    <a:pt x="558" y="1672"/>
                  </a:moveTo>
                  <a:lnTo>
                    <a:pt x="558" y="1674"/>
                  </a:lnTo>
                  <a:lnTo>
                    <a:pt x="560" y="1674"/>
                  </a:lnTo>
                  <a:lnTo>
                    <a:pt x="558" y="1674"/>
                  </a:lnTo>
                  <a:lnTo>
                    <a:pt x="560" y="1674"/>
                  </a:lnTo>
                  <a:lnTo>
                    <a:pt x="558" y="1674"/>
                  </a:lnTo>
                  <a:lnTo>
                    <a:pt x="558" y="1672"/>
                  </a:lnTo>
                  <a:close/>
                  <a:moveTo>
                    <a:pt x="568" y="1672"/>
                  </a:moveTo>
                  <a:lnTo>
                    <a:pt x="568" y="1674"/>
                  </a:lnTo>
                  <a:lnTo>
                    <a:pt x="568" y="1676"/>
                  </a:lnTo>
                  <a:lnTo>
                    <a:pt x="568" y="1674"/>
                  </a:lnTo>
                  <a:lnTo>
                    <a:pt x="566" y="1676"/>
                  </a:lnTo>
                  <a:lnTo>
                    <a:pt x="566" y="1674"/>
                  </a:lnTo>
                  <a:lnTo>
                    <a:pt x="568" y="1672"/>
                  </a:lnTo>
                  <a:lnTo>
                    <a:pt x="568" y="1674"/>
                  </a:lnTo>
                  <a:lnTo>
                    <a:pt x="568" y="1672"/>
                  </a:lnTo>
                  <a:close/>
                  <a:moveTo>
                    <a:pt x="545" y="1672"/>
                  </a:moveTo>
                  <a:lnTo>
                    <a:pt x="547" y="1672"/>
                  </a:lnTo>
                  <a:lnTo>
                    <a:pt x="549" y="1672"/>
                  </a:lnTo>
                  <a:lnTo>
                    <a:pt x="549" y="1674"/>
                  </a:lnTo>
                  <a:lnTo>
                    <a:pt x="547" y="1674"/>
                  </a:lnTo>
                  <a:lnTo>
                    <a:pt x="545" y="1674"/>
                  </a:lnTo>
                  <a:lnTo>
                    <a:pt x="545" y="1676"/>
                  </a:lnTo>
                  <a:lnTo>
                    <a:pt x="547" y="1676"/>
                  </a:lnTo>
                  <a:lnTo>
                    <a:pt x="545" y="1676"/>
                  </a:lnTo>
                  <a:lnTo>
                    <a:pt x="544" y="1676"/>
                  </a:lnTo>
                  <a:lnTo>
                    <a:pt x="544" y="1674"/>
                  </a:lnTo>
                  <a:lnTo>
                    <a:pt x="544" y="1672"/>
                  </a:lnTo>
                  <a:lnTo>
                    <a:pt x="545" y="1672"/>
                  </a:lnTo>
                  <a:close/>
                  <a:moveTo>
                    <a:pt x="552" y="1672"/>
                  </a:moveTo>
                  <a:lnTo>
                    <a:pt x="552" y="1671"/>
                  </a:lnTo>
                  <a:lnTo>
                    <a:pt x="552" y="1672"/>
                  </a:lnTo>
                  <a:close/>
                  <a:moveTo>
                    <a:pt x="558" y="1672"/>
                  </a:moveTo>
                  <a:lnTo>
                    <a:pt x="558" y="1671"/>
                  </a:lnTo>
                  <a:lnTo>
                    <a:pt x="558" y="1672"/>
                  </a:lnTo>
                  <a:close/>
                  <a:moveTo>
                    <a:pt x="558" y="1671"/>
                  </a:moveTo>
                  <a:lnTo>
                    <a:pt x="558" y="1672"/>
                  </a:lnTo>
                  <a:lnTo>
                    <a:pt x="558" y="1671"/>
                  </a:lnTo>
                  <a:close/>
                  <a:moveTo>
                    <a:pt x="557" y="1671"/>
                  </a:moveTo>
                  <a:lnTo>
                    <a:pt x="558" y="1671"/>
                  </a:lnTo>
                  <a:lnTo>
                    <a:pt x="558" y="1672"/>
                  </a:lnTo>
                  <a:lnTo>
                    <a:pt x="557" y="1671"/>
                  </a:lnTo>
                  <a:close/>
                  <a:moveTo>
                    <a:pt x="550" y="1677"/>
                  </a:moveTo>
                  <a:lnTo>
                    <a:pt x="550" y="1676"/>
                  </a:lnTo>
                  <a:lnTo>
                    <a:pt x="550" y="1674"/>
                  </a:lnTo>
                  <a:lnTo>
                    <a:pt x="550" y="1676"/>
                  </a:lnTo>
                  <a:lnTo>
                    <a:pt x="550" y="1674"/>
                  </a:lnTo>
                  <a:lnTo>
                    <a:pt x="549" y="1674"/>
                  </a:lnTo>
                  <a:lnTo>
                    <a:pt x="549" y="1672"/>
                  </a:lnTo>
                  <a:lnTo>
                    <a:pt x="550" y="1672"/>
                  </a:lnTo>
                  <a:lnTo>
                    <a:pt x="549" y="1672"/>
                  </a:lnTo>
                  <a:lnTo>
                    <a:pt x="550" y="1672"/>
                  </a:lnTo>
                  <a:lnTo>
                    <a:pt x="552" y="1672"/>
                  </a:lnTo>
                  <a:lnTo>
                    <a:pt x="552" y="1671"/>
                  </a:lnTo>
                  <a:lnTo>
                    <a:pt x="550" y="1671"/>
                  </a:lnTo>
                  <a:lnTo>
                    <a:pt x="552" y="1671"/>
                  </a:lnTo>
                  <a:lnTo>
                    <a:pt x="552" y="1672"/>
                  </a:lnTo>
                  <a:lnTo>
                    <a:pt x="553" y="1672"/>
                  </a:lnTo>
                  <a:lnTo>
                    <a:pt x="552" y="1672"/>
                  </a:lnTo>
                  <a:lnTo>
                    <a:pt x="553" y="1671"/>
                  </a:lnTo>
                  <a:lnTo>
                    <a:pt x="553" y="1672"/>
                  </a:lnTo>
                  <a:lnTo>
                    <a:pt x="553" y="1671"/>
                  </a:lnTo>
                  <a:lnTo>
                    <a:pt x="553" y="1672"/>
                  </a:lnTo>
                  <a:lnTo>
                    <a:pt x="553" y="1671"/>
                  </a:lnTo>
                  <a:lnTo>
                    <a:pt x="555" y="1672"/>
                  </a:lnTo>
                  <a:lnTo>
                    <a:pt x="553" y="1672"/>
                  </a:lnTo>
                  <a:lnTo>
                    <a:pt x="552" y="1672"/>
                  </a:lnTo>
                  <a:lnTo>
                    <a:pt x="552" y="1674"/>
                  </a:lnTo>
                  <a:lnTo>
                    <a:pt x="552" y="1672"/>
                  </a:lnTo>
                  <a:lnTo>
                    <a:pt x="552" y="1674"/>
                  </a:lnTo>
                  <a:lnTo>
                    <a:pt x="552" y="1676"/>
                  </a:lnTo>
                  <a:lnTo>
                    <a:pt x="552" y="1677"/>
                  </a:lnTo>
                  <a:lnTo>
                    <a:pt x="552" y="1676"/>
                  </a:lnTo>
                  <a:lnTo>
                    <a:pt x="553" y="1676"/>
                  </a:lnTo>
                  <a:lnTo>
                    <a:pt x="553" y="1677"/>
                  </a:lnTo>
                  <a:lnTo>
                    <a:pt x="553" y="1676"/>
                  </a:lnTo>
                  <a:lnTo>
                    <a:pt x="553" y="1677"/>
                  </a:lnTo>
                  <a:lnTo>
                    <a:pt x="553" y="1679"/>
                  </a:lnTo>
                  <a:lnTo>
                    <a:pt x="552" y="1679"/>
                  </a:lnTo>
                  <a:lnTo>
                    <a:pt x="553" y="1680"/>
                  </a:lnTo>
                  <a:lnTo>
                    <a:pt x="552" y="1680"/>
                  </a:lnTo>
                  <a:lnTo>
                    <a:pt x="552" y="1679"/>
                  </a:lnTo>
                  <a:lnTo>
                    <a:pt x="552" y="1680"/>
                  </a:lnTo>
                  <a:lnTo>
                    <a:pt x="552" y="1679"/>
                  </a:lnTo>
                  <a:lnTo>
                    <a:pt x="550" y="1679"/>
                  </a:lnTo>
                  <a:lnTo>
                    <a:pt x="550" y="1677"/>
                  </a:lnTo>
                  <a:close/>
                  <a:moveTo>
                    <a:pt x="557" y="1672"/>
                  </a:moveTo>
                  <a:lnTo>
                    <a:pt x="555" y="1672"/>
                  </a:lnTo>
                  <a:lnTo>
                    <a:pt x="555" y="1671"/>
                  </a:lnTo>
                  <a:lnTo>
                    <a:pt x="557" y="1671"/>
                  </a:lnTo>
                  <a:lnTo>
                    <a:pt x="557" y="1672"/>
                  </a:lnTo>
                  <a:close/>
                  <a:moveTo>
                    <a:pt x="553" y="1671"/>
                  </a:moveTo>
                  <a:lnTo>
                    <a:pt x="553" y="1669"/>
                  </a:lnTo>
                  <a:lnTo>
                    <a:pt x="555" y="1669"/>
                  </a:lnTo>
                  <a:lnTo>
                    <a:pt x="555" y="1671"/>
                  </a:lnTo>
                  <a:lnTo>
                    <a:pt x="553" y="1671"/>
                  </a:lnTo>
                  <a:close/>
                  <a:moveTo>
                    <a:pt x="555" y="1669"/>
                  </a:moveTo>
                  <a:lnTo>
                    <a:pt x="557" y="1669"/>
                  </a:lnTo>
                  <a:lnTo>
                    <a:pt x="555" y="1669"/>
                  </a:lnTo>
                  <a:close/>
                  <a:moveTo>
                    <a:pt x="545" y="1669"/>
                  </a:moveTo>
                  <a:lnTo>
                    <a:pt x="544" y="1669"/>
                  </a:lnTo>
                  <a:lnTo>
                    <a:pt x="545" y="1669"/>
                  </a:lnTo>
                  <a:close/>
                  <a:moveTo>
                    <a:pt x="542" y="1669"/>
                  </a:moveTo>
                  <a:lnTo>
                    <a:pt x="542" y="1667"/>
                  </a:lnTo>
                  <a:lnTo>
                    <a:pt x="544" y="1667"/>
                  </a:lnTo>
                  <a:lnTo>
                    <a:pt x="544" y="1669"/>
                  </a:lnTo>
                  <a:lnTo>
                    <a:pt x="542" y="1669"/>
                  </a:lnTo>
                  <a:close/>
                  <a:moveTo>
                    <a:pt x="563" y="1667"/>
                  </a:moveTo>
                  <a:lnTo>
                    <a:pt x="565" y="1669"/>
                  </a:lnTo>
                  <a:lnTo>
                    <a:pt x="563" y="1669"/>
                  </a:lnTo>
                  <a:lnTo>
                    <a:pt x="565" y="1669"/>
                  </a:lnTo>
                  <a:lnTo>
                    <a:pt x="563" y="1671"/>
                  </a:lnTo>
                  <a:lnTo>
                    <a:pt x="563" y="1669"/>
                  </a:lnTo>
                  <a:lnTo>
                    <a:pt x="563" y="1667"/>
                  </a:lnTo>
                  <a:close/>
                  <a:moveTo>
                    <a:pt x="540" y="1667"/>
                  </a:moveTo>
                  <a:lnTo>
                    <a:pt x="542" y="1667"/>
                  </a:lnTo>
                  <a:lnTo>
                    <a:pt x="542" y="1669"/>
                  </a:lnTo>
                  <a:lnTo>
                    <a:pt x="540" y="1669"/>
                  </a:lnTo>
                  <a:lnTo>
                    <a:pt x="540" y="1667"/>
                  </a:lnTo>
                  <a:close/>
                  <a:moveTo>
                    <a:pt x="549" y="1667"/>
                  </a:moveTo>
                  <a:lnTo>
                    <a:pt x="549" y="1669"/>
                  </a:lnTo>
                  <a:lnTo>
                    <a:pt x="549" y="1667"/>
                  </a:lnTo>
                  <a:close/>
                  <a:moveTo>
                    <a:pt x="566" y="1667"/>
                  </a:moveTo>
                  <a:lnTo>
                    <a:pt x="566" y="1669"/>
                  </a:lnTo>
                  <a:lnTo>
                    <a:pt x="568" y="1669"/>
                  </a:lnTo>
                  <a:lnTo>
                    <a:pt x="568" y="1671"/>
                  </a:lnTo>
                  <a:lnTo>
                    <a:pt x="568" y="1672"/>
                  </a:lnTo>
                  <a:lnTo>
                    <a:pt x="566" y="1671"/>
                  </a:lnTo>
                  <a:lnTo>
                    <a:pt x="566" y="1672"/>
                  </a:lnTo>
                  <a:lnTo>
                    <a:pt x="566" y="1674"/>
                  </a:lnTo>
                  <a:lnTo>
                    <a:pt x="566" y="1672"/>
                  </a:lnTo>
                  <a:lnTo>
                    <a:pt x="565" y="1672"/>
                  </a:lnTo>
                  <a:lnTo>
                    <a:pt x="565" y="1671"/>
                  </a:lnTo>
                  <a:lnTo>
                    <a:pt x="563" y="1671"/>
                  </a:lnTo>
                  <a:lnTo>
                    <a:pt x="563" y="1672"/>
                  </a:lnTo>
                  <a:lnTo>
                    <a:pt x="563" y="1671"/>
                  </a:lnTo>
                  <a:lnTo>
                    <a:pt x="563" y="1672"/>
                  </a:lnTo>
                  <a:lnTo>
                    <a:pt x="563" y="1671"/>
                  </a:lnTo>
                  <a:lnTo>
                    <a:pt x="565" y="1671"/>
                  </a:lnTo>
                  <a:lnTo>
                    <a:pt x="565" y="1669"/>
                  </a:lnTo>
                  <a:lnTo>
                    <a:pt x="566" y="1669"/>
                  </a:lnTo>
                  <a:lnTo>
                    <a:pt x="566" y="1667"/>
                  </a:lnTo>
                  <a:close/>
                  <a:moveTo>
                    <a:pt x="542" y="1667"/>
                  </a:moveTo>
                  <a:lnTo>
                    <a:pt x="540" y="1667"/>
                  </a:lnTo>
                  <a:lnTo>
                    <a:pt x="542" y="1667"/>
                  </a:lnTo>
                  <a:close/>
                  <a:moveTo>
                    <a:pt x="540" y="1667"/>
                  </a:moveTo>
                  <a:lnTo>
                    <a:pt x="540" y="1666"/>
                  </a:lnTo>
                  <a:lnTo>
                    <a:pt x="540" y="1667"/>
                  </a:lnTo>
                  <a:close/>
                  <a:moveTo>
                    <a:pt x="542" y="1666"/>
                  </a:moveTo>
                  <a:lnTo>
                    <a:pt x="544" y="1667"/>
                  </a:lnTo>
                  <a:lnTo>
                    <a:pt x="542" y="1666"/>
                  </a:lnTo>
                  <a:lnTo>
                    <a:pt x="542" y="1667"/>
                  </a:lnTo>
                  <a:lnTo>
                    <a:pt x="542" y="1666"/>
                  </a:lnTo>
                  <a:close/>
                  <a:moveTo>
                    <a:pt x="544" y="1666"/>
                  </a:moveTo>
                  <a:lnTo>
                    <a:pt x="542" y="1666"/>
                  </a:lnTo>
                  <a:lnTo>
                    <a:pt x="544" y="1664"/>
                  </a:lnTo>
                  <a:lnTo>
                    <a:pt x="544" y="1666"/>
                  </a:lnTo>
                  <a:close/>
                  <a:moveTo>
                    <a:pt x="612" y="1666"/>
                  </a:moveTo>
                  <a:lnTo>
                    <a:pt x="612" y="1664"/>
                  </a:lnTo>
                  <a:lnTo>
                    <a:pt x="612" y="1666"/>
                  </a:lnTo>
                  <a:close/>
                  <a:moveTo>
                    <a:pt x="565" y="1664"/>
                  </a:moveTo>
                  <a:lnTo>
                    <a:pt x="565" y="1666"/>
                  </a:lnTo>
                  <a:lnTo>
                    <a:pt x="565" y="1664"/>
                  </a:lnTo>
                  <a:close/>
                  <a:moveTo>
                    <a:pt x="542" y="1664"/>
                  </a:moveTo>
                  <a:lnTo>
                    <a:pt x="544" y="1664"/>
                  </a:lnTo>
                  <a:lnTo>
                    <a:pt x="542" y="1664"/>
                  </a:lnTo>
                  <a:close/>
                  <a:moveTo>
                    <a:pt x="544" y="1662"/>
                  </a:moveTo>
                  <a:lnTo>
                    <a:pt x="544" y="1664"/>
                  </a:lnTo>
                  <a:lnTo>
                    <a:pt x="544" y="1662"/>
                  </a:lnTo>
                  <a:close/>
                  <a:moveTo>
                    <a:pt x="566" y="1664"/>
                  </a:moveTo>
                  <a:lnTo>
                    <a:pt x="566" y="1662"/>
                  </a:lnTo>
                  <a:lnTo>
                    <a:pt x="566" y="1664"/>
                  </a:lnTo>
                  <a:close/>
                  <a:moveTo>
                    <a:pt x="566" y="1662"/>
                  </a:moveTo>
                  <a:lnTo>
                    <a:pt x="568" y="1662"/>
                  </a:lnTo>
                  <a:lnTo>
                    <a:pt x="568" y="1664"/>
                  </a:lnTo>
                  <a:lnTo>
                    <a:pt x="566" y="1662"/>
                  </a:lnTo>
                  <a:close/>
                  <a:moveTo>
                    <a:pt x="565" y="1662"/>
                  </a:moveTo>
                  <a:lnTo>
                    <a:pt x="566" y="1662"/>
                  </a:lnTo>
                  <a:lnTo>
                    <a:pt x="565" y="1662"/>
                  </a:lnTo>
                  <a:lnTo>
                    <a:pt x="566" y="1662"/>
                  </a:lnTo>
                  <a:lnTo>
                    <a:pt x="565" y="1662"/>
                  </a:lnTo>
                  <a:close/>
                  <a:moveTo>
                    <a:pt x="563" y="1662"/>
                  </a:moveTo>
                  <a:lnTo>
                    <a:pt x="563" y="1661"/>
                  </a:lnTo>
                  <a:lnTo>
                    <a:pt x="563" y="1662"/>
                  </a:lnTo>
                  <a:close/>
                  <a:moveTo>
                    <a:pt x="566" y="1661"/>
                  </a:moveTo>
                  <a:lnTo>
                    <a:pt x="566" y="1662"/>
                  </a:lnTo>
                  <a:lnTo>
                    <a:pt x="566" y="1661"/>
                  </a:lnTo>
                  <a:close/>
                  <a:moveTo>
                    <a:pt x="566" y="1661"/>
                  </a:moveTo>
                  <a:lnTo>
                    <a:pt x="566" y="1662"/>
                  </a:lnTo>
                  <a:lnTo>
                    <a:pt x="566" y="1661"/>
                  </a:lnTo>
                  <a:close/>
                  <a:moveTo>
                    <a:pt x="614" y="1661"/>
                  </a:moveTo>
                  <a:lnTo>
                    <a:pt x="614" y="1662"/>
                  </a:lnTo>
                  <a:lnTo>
                    <a:pt x="614" y="1661"/>
                  </a:lnTo>
                  <a:close/>
                  <a:moveTo>
                    <a:pt x="555" y="1661"/>
                  </a:moveTo>
                  <a:lnTo>
                    <a:pt x="557" y="1661"/>
                  </a:lnTo>
                  <a:lnTo>
                    <a:pt x="555" y="1661"/>
                  </a:lnTo>
                  <a:close/>
                  <a:moveTo>
                    <a:pt x="553" y="1661"/>
                  </a:moveTo>
                  <a:lnTo>
                    <a:pt x="555" y="1659"/>
                  </a:lnTo>
                  <a:lnTo>
                    <a:pt x="555" y="1661"/>
                  </a:lnTo>
                  <a:lnTo>
                    <a:pt x="553" y="1661"/>
                  </a:lnTo>
                  <a:close/>
                  <a:moveTo>
                    <a:pt x="618" y="1659"/>
                  </a:moveTo>
                  <a:lnTo>
                    <a:pt x="618" y="1661"/>
                  </a:lnTo>
                  <a:lnTo>
                    <a:pt x="618" y="1659"/>
                  </a:lnTo>
                  <a:close/>
                  <a:moveTo>
                    <a:pt x="558" y="1659"/>
                  </a:moveTo>
                  <a:lnTo>
                    <a:pt x="557" y="1661"/>
                  </a:lnTo>
                  <a:lnTo>
                    <a:pt x="557" y="1659"/>
                  </a:lnTo>
                  <a:lnTo>
                    <a:pt x="558" y="1659"/>
                  </a:lnTo>
                  <a:close/>
                  <a:moveTo>
                    <a:pt x="557" y="1658"/>
                  </a:moveTo>
                  <a:lnTo>
                    <a:pt x="557" y="1659"/>
                  </a:lnTo>
                  <a:lnTo>
                    <a:pt x="557" y="1658"/>
                  </a:lnTo>
                  <a:close/>
                  <a:moveTo>
                    <a:pt x="555" y="1658"/>
                  </a:moveTo>
                  <a:lnTo>
                    <a:pt x="555" y="1659"/>
                  </a:lnTo>
                  <a:lnTo>
                    <a:pt x="557" y="1659"/>
                  </a:lnTo>
                  <a:lnTo>
                    <a:pt x="555" y="1659"/>
                  </a:lnTo>
                  <a:lnTo>
                    <a:pt x="555" y="1661"/>
                  </a:lnTo>
                  <a:lnTo>
                    <a:pt x="555" y="1659"/>
                  </a:lnTo>
                  <a:lnTo>
                    <a:pt x="553" y="1659"/>
                  </a:lnTo>
                  <a:lnTo>
                    <a:pt x="553" y="1658"/>
                  </a:lnTo>
                  <a:lnTo>
                    <a:pt x="555" y="1658"/>
                  </a:lnTo>
                  <a:close/>
                  <a:moveTo>
                    <a:pt x="539" y="1656"/>
                  </a:moveTo>
                  <a:lnTo>
                    <a:pt x="540" y="1656"/>
                  </a:lnTo>
                  <a:lnTo>
                    <a:pt x="539" y="1656"/>
                  </a:lnTo>
                  <a:close/>
                  <a:moveTo>
                    <a:pt x="589" y="1658"/>
                  </a:moveTo>
                  <a:lnTo>
                    <a:pt x="589" y="1656"/>
                  </a:lnTo>
                  <a:lnTo>
                    <a:pt x="589" y="1658"/>
                  </a:lnTo>
                  <a:close/>
                  <a:moveTo>
                    <a:pt x="558" y="1658"/>
                  </a:moveTo>
                  <a:lnTo>
                    <a:pt x="558" y="1656"/>
                  </a:lnTo>
                  <a:lnTo>
                    <a:pt x="558" y="1658"/>
                  </a:lnTo>
                  <a:lnTo>
                    <a:pt x="558" y="1659"/>
                  </a:lnTo>
                  <a:lnTo>
                    <a:pt x="557" y="1659"/>
                  </a:lnTo>
                  <a:lnTo>
                    <a:pt x="557" y="1658"/>
                  </a:lnTo>
                  <a:lnTo>
                    <a:pt x="558" y="1658"/>
                  </a:lnTo>
                  <a:close/>
                  <a:moveTo>
                    <a:pt x="555" y="1656"/>
                  </a:moveTo>
                  <a:lnTo>
                    <a:pt x="557" y="1656"/>
                  </a:lnTo>
                  <a:lnTo>
                    <a:pt x="555" y="1656"/>
                  </a:lnTo>
                  <a:close/>
                  <a:moveTo>
                    <a:pt x="540" y="1656"/>
                  </a:moveTo>
                  <a:lnTo>
                    <a:pt x="540" y="1654"/>
                  </a:lnTo>
                  <a:lnTo>
                    <a:pt x="540" y="1656"/>
                  </a:lnTo>
                  <a:close/>
                  <a:moveTo>
                    <a:pt x="565" y="1656"/>
                  </a:moveTo>
                  <a:lnTo>
                    <a:pt x="565" y="1654"/>
                  </a:lnTo>
                  <a:lnTo>
                    <a:pt x="565" y="1656"/>
                  </a:lnTo>
                  <a:close/>
                  <a:moveTo>
                    <a:pt x="539" y="1654"/>
                  </a:moveTo>
                  <a:lnTo>
                    <a:pt x="539" y="1656"/>
                  </a:lnTo>
                  <a:lnTo>
                    <a:pt x="539" y="1654"/>
                  </a:lnTo>
                  <a:close/>
                  <a:moveTo>
                    <a:pt x="557" y="1654"/>
                  </a:moveTo>
                  <a:lnTo>
                    <a:pt x="558" y="1654"/>
                  </a:lnTo>
                  <a:lnTo>
                    <a:pt x="557" y="1654"/>
                  </a:lnTo>
                  <a:close/>
                  <a:moveTo>
                    <a:pt x="550" y="1653"/>
                  </a:moveTo>
                  <a:lnTo>
                    <a:pt x="550" y="1654"/>
                  </a:lnTo>
                  <a:lnTo>
                    <a:pt x="550" y="1653"/>
                  </a:lnTo>
                  <a:close/>
                  <a:moveTo>
                    <a:pt x="537" y="1653"/>
                  </a:moveTo>
                  <a:lnTo>
                    <a:pt x="537" y="1654"/>
                  </a:lnTo>
                  <a:lnTo>
                    <a:pt x="537" y="1653"/>
                  </a:lnTo>
                  <a:lnTo>
                    <a:pt x="539" y="1653"/>
                  </a:lnTo>
                  <a:lnTo>
                    <a:pt x="537" y="1653"/>
                  </a:lnTo>
                  <a:close/>
                  <a:moveTo>
                    <a:pt x="555" y="1651"/>
                  </a:moveTo>
                  <a:lnTo>
                    <a:pt x="555" y="1653"/>
                  </a:lnTo>
                  <a:lnTo>
                    <a:pt x="555" y="1651"/>
                  </a:lnTo>
                  <a:close/>
                  <a:moveTo>
                    <a:pt x="539" y="1651"/>
                  </a:moveTo>
                  <a:lnTo>
                    <a:pt x="539" y="1649"/>
                  </a:lnTo>
                  <a:lnTo>
                    <a:pt x="539" y="1651"/>
                  </a:lnTo>
                  <a:close/>
                  <a:moveTo>
                    <a:pt x="555" y="1651"/>
                  </a:moveTo>
                  <a:lnTo>
                    <a:pt x="555" y="1649"/>
                  </a:lnTo>
                  <a:lnTo>
                    <a:pt x="557" y="1649"/>
                  </a:lnTo>
                  <a:lnTo>
                    <a:pt x="557" y="1651"/>
                  </a:lnTo>
                  <a:lnTo>
                    <a:pt x="555" y="1651"/>
                  </a:lnTo>
                  <a:close/>
                  <a:moveTo>
                    <a:pt x="553" y="1651"/>
                  </a:moveTo>
                  <a:lnTo>
                    <a:pt x="553" y="1649"/>
                  </a:lnTo>
                  <a:lnTo>
                    <a:pt x="555" y="1649"/>
                  </a:lnTo>
                  <a:lnTo>
                    <a:pt x="555" y="1651"/>
                  </a:lnTo>
                  <a:lnTo>
                    <a:pt x="553" y="1651"/>
                  </a:lnTo>
                  <a:close/>
                  <a:moveTo>
                    <a:pt x="537" y="1648"/>
                  </a:moveTo>
                  <a:lnTo>
                    <a:pt x="539" y="1646"/>
                  </a:lnTo>
                  <a:lnTo>
                    <a:pt x="539" y="1648"/>
                  </a:lnTo>
                  <a:lnTo>
                    <a:pt x="537" y="1648"/>
                  </a:lnTo>
                  <a:close/>
                  <a:moveTo>
                    <a:pt x="553" y="1646"/>
                  </a:moveTo>
                  <a:lnTo>
                    <a:pt x="553" y="1648"/>
                  </a:lnTo>
                  <a:lnTo>
                    <a:pt x="553" y="1646"/>
                  </a:lnTo>
                  <a:close/>
                  <a:moveTo>
                    <a:pt x="539" y="1648"/>
                  </a:moveTo>
                  <a:lnTo>
                    <a:pt x="539" y="1646"/>
                  </a:lnTo>
                  <a:lnTo>
                    <a:pt x="539" y="1648"/>
                  </a:lnTo>
                  <a:lnTo>
                    <a:pt x="539" y="1646"/>
                  </a:lnTo>
                  <a:lnTo>
                    <a:pt x="540" y="1646"/>
                  </a:lnTo>
                  <a:lnTo>
                    <a:pt x="540" y="1648"/>
                  </a:lnTo>
                  <a:lnTo>
                    <a:pt x="539" y="1648"/>
                  </a:lnTo>
                  <a:close/>
                  <a:moveTo>
                    <a:pt x="542" y="1646"/>
                  </a:moveTo>
                  <a:lnTo>
                    <a:pt x="542" y="1648"/>
                  </a:lnTo>
                  <a:lnTo>
                    <a:pt x="542" y="1646"/>
                  </a:lnTo>
                  <a:lnTo>
                    <a:pt x="542" y="1648"/>
                  </a:lnTo>
                  <a:lnTo>
                    <a:pt x="540" y="1648"/>
                  </a:lnTo>
                  <a:lnTo>
                    <a:pt x="540" y="1646"/>
                  </a:lnTo>
                  <a:lnTo>
                    <a:pt x="542" y="1646"/>
                  </a:lnTo>
                  <a:close/>
                  <a:moveTo>
                    <a:pt x="553" y="1646"/>
                  </a:moveTo>
                  <a:lnTo>
                    <a:pt x="555" y="1646"/>
                  </a:lnTo>
                  <a:lnTo>
                    <a:pt x="553" y="1646"/>
                  </a:lnTo>
                  <a:close/>
                  <a:moveTo>
                    <a:pt x="539" y="1646"/>
                  </a:moveTo>
                  <a:lnTo>
                    <a:pt x="539" y="1645"/>
                  </a:lnTo>
                  <a:lnTo>
                    <a:pt x="539" y="1646"/>
                  </a:lnTo>
                  <a:close/>
                  <a:moveTo>
                    <a:pt x="539" y="1646"/>
                  </a:moveTo>
                  <a:lnTo>
                    <a:pt x="539" y="1645"/>
                  </a:lnTo>
                  <a:lnTo>
                    <a:pt x="539" y="1646"/>
                  </a:lnTo>
                  <a:close/>
                  <a:moveTo>
                    <a:pt x="633" y="1645"/>
                  </a:moveTo>
                  <a:lnTo>
                    <a:pt x="635" y="1645"/>
                  </a:lnTo>
                  <a:lnTo>
                    <a:pt x="635" y="1646"/>
                  </a:lnTo>
                  <a:lnTo>
                    <a:pt x="635" y="1645"/>
                  </a:lnTo>
                  <a:lnTo>
                    <a:pt x="633" y="1645"/>
                  </a:lnTo>
                  <a:close/>
                  <a:moveTo>
                    <a:pt x="537" y="1645"/>
                  </a:moveTo>
                  <a:lnTo>
                    <a:pt x="539" y="1645"/>
                  </a:lnTo>
                  <a:lnTo>
                    <a:pt x="537" y="1645"/>
                  </a:lnTo>
                  <a:close/>
                  <a:moveTo>
                    <a:pt x="555" y="1645"/>
                  </a:moveTo>
                  <a:lnTo>
                    <a:pt x="557" y="1645"/>
                  </a:lnTo>
                  <a:lnTo>
                    <a:pt x="557" y="1646"/>
                  </a:lnTo>
                  <a:lnTo>
                    <a:pt x="557" y="1648"/>
                  </a:lnTo>
                  <a:lnTo>
                    <a:pt x="555" y="1648"/>
                  </a:lnTo>
                  <a:lnTo>
                    <a:pt x="555" y="1649"/>
                  </a:lnTo>
                  <a:lnTo>
                    <a:pt x="553" y="1649"/>
                  </a:lnTo>
                  <a:lnTo>
                    <a:pt x="555" y="1648"/>
                  </a:lnTo>
                  <a:lnTo>
                    <a:pt x="553" y="1648"/>
                  </a:lnTo>
                  <a:lnTo>
                    <a:pt x="553" y="1646"/>
                  </a:lnTo>
                  <a:lnTo>
                    <a:pt x="555" y="1646"/>
                  </a:lnTo>
                  <a:lnTo>
                    <a:pt x="555" y="1645"/>
                  </a:lnTo>
                  <a:close/>
                  <a:moveTo>
                    <a:pt x="625" y="1645"/>
                  </a:moveTo>
                  <a:lnTo>
                    <a:pt x="627" y="1645"/>
                  </a:lnTo>
                  <a:lnTo>
                    <a:pt x="625" y="1645"/>
                  </a:lnTo>
                  <a:close/>
                  <a:moveTo>
                    <a:pt x="536" y="1643"/>
                  </a:moveTo>
                  <a:lnTo>
                    <a:pt x="536" y="1645"/>
                  </a:lnTo>
                  <a:lnTo>
                    <a:pt x="536" y="1643"/>
                  </a:lnTo>
                  <a:close/>
                  <a:moveTo>
                    <a:pt x="540" y="1641"/>
                  </a:moveTo>
                  <a:lnTo>
                    <a:pt x="542" y="1641"/>
                  </a:lnTo>
                  <a:lnTo>
                    <a:pt x="542" y="1643"/>
                  </a:lnTo>
                  <a:lnTo>
                    <a:pt x="542" y="1645"/>
                  </a:lnTo>
                  <a:lnTo>
                    <a:pt x="542" y="1643"/>
                  </a:lnTo>
                  <a:lnTo>
                    <a:pt x="540" y="1643"/>
                  </a:lnTo>
                  <a:lnTo>
                    <a:pt x="542" y="1643"/>
                  </a:lnTo>
                  <a:lnTo>
                    <a:pt x="540" y="1643"/>
                  </a:lnTo>
                  <a:lnTo>
                    <a:pt x="540" y="1641"/>
                  </a:lnTo>
                  <a:close/>
                  <a:moveTo>
                    <a:pt x="539" y="1640"/>
                  </a:moveTo>
                  <a:lnTo>
                    <a:pt x="540" y="1640"/>
                  </a:lnTo>
                  <a:lnTo>
                    <a:pt x="542" y="1640"/>
                  </a:lnTo>
                  <a:lnTo>
                    <a:pt x="542" y="1641"/>
                  </a:lnTo>
                  <a:lnTo>
                    <a:pt x="540" y="1643"/>
                  </a:lnTo>
                  <a:lnTo>
                    <a:pt x="542" y="1643"/>
                  </a:lnTo>
                  <a:lnTo>
                    <a:pt x="542" y="1645"/>
                  </a:lnTo>
                  <a:lnTo>
                    <a:pt x="542" y="1646"/>
                  </a:lnTo>
                  <a:lnTo>
                    <a:pt x="542" y="1645"/>
                  </a:lnTo>
                  <a:lnTo>
                    <a:pt x="540" y="1646"/>
                  </a:lnTo>
                  <a:lnTo>
                    <a:pt x="540" y="1645"/>
                  </a:lnTo>
                  <a:lnTo>
                    <a:pt x="540" y="1646"/>
                  </a:lnTo>
                  <a:lnTo>
                    <a:pt x="539" y="1646"/>
                  </a:lnTo>
                  <a:lnTo>
                    <a:pt x="540" y="1646"/>
                  </a:lnTo>
                  <a:lnTo>
                    <a:pt x="540" y="1645"/>
                  </a:lnTo>
                  <a:lnTo>
                    <a:pt x="539" y="1645"/>
                  </a:lnTo>
                  <a:lnTo>
                    <a:pt x="539" y="1643"/>
                  </a:lnTo>
                  <a:lnTo>
                    <a:pt x="540" y="1643"/>
                  </a:lnTo>
                  <a:lnTo>
                    <a:pt x="539" y="1643"/>
                  </a:lnTo>
                  <a:lnTo>
                    <a:pt x="537" y="1643"/>
                  </a:lnTo>
                  <a:lnTo>
                    <a:pt x="539" y="1641"/>
                  </a:lnTo>
                  <a:lnTo>
                    <a:pt x="539" y="1643"/>
                  </a:lnTo>
                  <a:lnTo>
                    <a:pt x="539" y="1641"/>
                  </a:lnTo>
                  <a:lnTo>
                    <a:pt x="539" y="1643"/>
                  </a:lnTo>
                  <a:lnTo>
                    <a:pt x="539" y="1641"/>
                  </a:lnTo>
                  <a:lnTo>
                    <a:pt x="539" y="1643"/>
                  </a:lnTo>
                  <a:lnTo>
                    <a:pt x="539" y="1641"/>
                  </a:lnTo>
                  <a:lnTo>
                    <a:pt x="537" y="1641"/>
                  </a:lnTo>
                  <a:lnTo>
                    <a:pt x="539" y="1641"/>
                  </a:lnTo>
                  <a:lnTo>
                    <a:pt x="537" y="1641"/>
                  </a:lnTo>
                  <a:lnTo>
                    <a:pt x="537" y="1640"/>
                  </a:lnTo>
                  <a:lnTo>
                    <a:pt x="539" y="1640"/>
                  </a:lnTo>
                  <a:close/>
                  <a:moveTo>
                    <a:pt x="537" y="1640"/>
                  </a:moveTo>
                  <a:lnTo>
                    <a:pt x="539" y="1640"/>
                  </a:lnTo>
                  <a:lnTo>
                    <a:pt x="537" y="1640"/>
                  </a:lnTo>
                  <a:close/>
                  <a:moveTo>
                    <a:pt x="549" y="1640"/>
                  </a:moveTo>
                  <a:lnTo>
                    <a:pt x="550" y="1640"/>
                  </a:lnTo>
                  <a:lnTo>
                    <a:pt x="549" y="1640"/>
                  </a:lnTo>
                  <a:close/>
                  <a:moveTo>
                    <a:pt x="549" y="1640"/>
                  </a:moveTo>
                  <a:lnTo>
                    <a:pt x="550" y="1640"/>
                  </a:lnTo>
                  <a:lnTo>
                    <a:pt x="549" y="1640"/>
                  </a:lnTo>
                  <a:close/>
                  <a:moveTo>
                    <a:pt x="540" y="1638"/>
                  </a:moveTo>
                  <a:lnTo>
                    <a:pt x="542" y="1638"/>
                  </a:lnTo>
                  <a:lnTo>
                    <a:pt x="540" y="1638"/>
                  </a:lnTo>
                  <a:close/>
                  <a:moveTo>
                    <a:pt x="539" y="1638"/>
                  </a:moveTo>
                  <a:lnTo>
                    <a:pt x="539" y="1636"/>
                  </a:lnTo>
                  <a:lnTo>
                    <a:pt x="539" y="1638"/>
                  </a:lnTo>
                  <a:close/>
                  <a:moveTo>
                    <a:pt x="539" y="1638"/>
                  </a:moveTo>
                  <a:lnTo>
                    <a:pt x="539" y="1636"/>
                  </a:lnTo>
                  <a:lnTo>
                    <a:pt x="540" y="1636"/>
                  </a:lnTo>
                  <a:lnTo>
                    <a:pt x="540" y="1638"/>
                  </a:lnTo>
                  <a:lnTo>
                    <a:pt x="540" y="1640"/>
                  </a:lnTo>
                  <a:lnTo>
                    <a:pt x="539" y="1640"/>
                  </a:lnTo>
                  <a:lnTo>
                    <a:pt x="539" y="1638"/>
                  </a:lnTo>
                  <a:lnTo>
                    <a:pt x="539" y="1640"/>
                  </a:lnTo>
                  <a:lnTo>
                    <a:pt x="539" y="1638"/>
                  </a:lnTo>
                  <a:close/>
                  <a:moveTo>
                    <a:pt x="539" y="1636"/>
                  </a:moveTo>
                  <a:lnTo>
                    <a:pt x="539" y="1638"/>
                  </a:lnTo>
                  <a:lnTo>
                    <a:pt x="539" y="1636"/>
                  </a:lnTo>
                  <a:close/>
                  <a:moveTo>
                    <a:pt x="540" y="1636"/>
                  </a:moveTo>
                  <a:lnTo>
                    <a:pt x="540" y="1638"/>
                  </a:lnTo>
                  <a:lnTo>
                    <a:pt x="540" y="1636"/>
                  </a:lnTo>
                  <a:close/>
                  <a:moveTo>
                    <a:pt x="557" y="1635"/>
                  </a:moveTo>
                  <a:lnTo>
                    <a:pt x="557" y="1636"/>
                  </a:lnTo>
                  <a:lnTo>
                    <a:pt x="557" y="1635"/>
                  </a:lnTo>
                  <a:close/>
                  <a:moveTo>
                    <a:pt x="537" y="1635"/>
                  </a:moveTo>
                  <a:lnTo>
                    <a:pt x="539" y="1635"/>
                  </a:lnTo>
                  <a:lnTo>
                    <a:pt x="537" y="1636"/>
                  </a:lnTo>
                  <a:lnTo>
                    <a:pt x="537" y="1635"/>
                  </a:lnTo>
                  <a:close/>
                  <a:moveTo>
                    <a:pt x="539" y="1635"/>
                  </a:moveTo>
                  <a:lnTo>
                    <a:pt x="540" y="1635"/>
                  </a:lnTo>
                  <a:lnTo>
                    <a:pt x="539" y="1635"/>
                  </a:lnTo>
                  <a:close/>
                  <a:moveTo>
                    <a:pt x="550" y="1635"/>
                  </a:moveTo>
                  <a:lnTo>
                    <a:pt x="552" y="1635"/>
                  </a:lnTo>
                  <a:lnTo>
                    <a:pt x="550" y="1635"/>
                  </a:lnTo>
                  <a:close/>
                  <a:moveTo>
                    <a:pt x="549" y="1635"/>
                  </a:moveTo>
                  <a:lnTo>
                    <a:pt x="550" y="1636"/>
                  </a:lnTo>
                  <a:lnTo>
                    <a:pt x="549" y="1636"/>
                  </a:lnTo>
                  <a:lnTo>
                    <a:pt x="549" y="1635"/>
                  </a:lnTo>
                  <a:close/>
                  <a:moveTo>
                    <a:pt x="550" y="1635"/>
                  </a:moveTo>
                  <a:lnTo>
                    <a:pt x="552" y="1635"/>
                  </a:lnTo>
                  <a:lnTo>
                    <a:pt x="550" y="1635"/>
                  </a:lnTo>
                  <a:close/>
                  <a:moveTo>
                    <a:pt x="552" y="1635"/>
                  </a:moveTo>
                  <a:lnTo>
                    <a:pt x="553" y="1633"/>
                  </a:lnTo>
                  <a:lnTo>
                    <a:pt x="553" y="1635"/>
                  </a:lnTo>
                  <a:lnTo>
                    <a:pt x="552" y="1635"/>
                  </a:lnTo>
                  <a:close/>
                  <a:moveTo>
                    <a:pt x="542" y="1633"/>
                  </a:moveTo>
                  <a:lnTo>
                    <a:pt x="542" y="1635"/>
                  </a:lnTo>
                  <a:lnTo>
                    <a:pt x="542" y="1633"/>
                  </a:lnTo>
                  <a:close/>
                  <a:moveTo>
                    <a:pt x="539" y="1633"/>
                  </a:moveTo>
                  <a:lnTo>
                    <a:pt x="539" y="1635"/>
                  </a:lnTo>
                  <a:lnTo>
                    <a:pt x="539" y="1633"/>
                  </a:lnTo>
                  <a:close/>
                  <a:moveTo>
                    <a:pt x="537" y="1632"/>
                  </a:moveTo>
                  <a:lnTo>
                    <a:pt x="539" y="1632"/>
                  </a:lnTo>
                  <a:lnTo>
                    <a:pt x="539" y="1633"/>
                  </a:lnTo>
                  <a:lnTo>
                    <a:pt x="537" y="1633"/>
                  </a:lnTo>
                  <a:lnTo>
                    <a:pt x="539" y="1633"/>
                  </a:lnTo>
                  <a:lnTo>
                    <a:pt x="537" y="1633"/>
                  </a:lnTo>
                  <a:lnTo>
                    <a:pt x="537" y="1632"/>
                  </a:lnTo>
                  <a:close/>
                  <a:moveTo>
                    <a:pt x="550" y="1632"/>
                  </a:moveTo>
                  <a:lnTo>
                    <a:pt x="550" y="1633"/>
                  </a:lnTo>
                  <a:lnTo>
                    <a:pt x="549" y="1632"/>
                  </a:lnTo>
                  <a:lnTo>
                    <a:pt x="550" y="1632"/>
                  </a:lnTo>
                  <a:close/>
                  <a:moveTo>
                    <a:pt x="552" y="1632"/>
                  </a:moveTo>
                  <a:lnTo>
                    <a:pt x="553" y="1632"/>
                  </a:lnTo>
                  <a:lnTo>
                    <a:pt x="553" y="1633"/>
                  </a:lnTo>
                  <a:lnTo>
                    <a:pt x="552" y="1633"/>
                  </a:lnTo>
                  <a:lnTo>
                    <a:pt x="552" y="1632"/>
                  </a:lnTo>
                  <a:close/>
                  <a:moveTo>
                    <a:pt x="537" y="1633"/>
                  </a:moveTo>
                  <a:lnTo>
                    <a:pt x="537" y="1632"/>
                  </a:lnTo>
                  <a:lnTo>
                    <a:pt x="537" y="1633"/>
                  </a:lnTo>
                  <a:close/>
                  <a:moveTo>
                    <a:pt x="539" y="1632"/>
                  </a:moveTo>
                  <a:lnTo>
                    <a:pt x="540" y="1632"/>
                  </a:lnTo>
                  <a:lnTo>
                    <a:pt x="539" y="1632"/>
                  </a:lnTo>
                  <a:close/>
                  <a:moveTo>
                    <a:pt x="537" y="1632"/>
                  </a:moveTo>
                  <a:lnTo>
                    <a:pt x="537" y="1630"/>
                  </a:lnTo>
                  <a:lnTo>
                    <a:pt x="537" y="1632"/>
                  </a:lnTo>
                  <a:close/>
                  <a:moveTo>
                    <a:pt x="539" y="1632"/>
                  </a:moveTo>
                  <a:lnTo>
                    <a:pt x="539" y="1630"/>
                  </a:lnTo>
                  <a:lnTo>
                    <a:pt x="539" y="1632"/>
                  </a:lnTo>
                  <a:lnTo>
                    <a:pt x="537" y="1632"/>
                  </a:lnTo>
                  <a:lnTo>
                    <a:pt x="537" y="1630"/>
                  </a:lnTo>
                  <a:lnTo>
                    <a:pt x="539" y="1632"/>
                  </a:lnTo>
                  <a:close/>
                  <a:moveTo>
                    <a:pt x="540" y="1628"/>
                  </a:moveTo>
                  <a:lnTo>
                    <a:pt x="540" y="1630"/>
                  </a:lnTo>
                  <a:lnTo>
                    <a:pt x="540" y="1628"/>
                  </a:lnTo>
                  <a:close/>
                  <a:moveTo>
                    <a:pt x="539" y="1630"/>
                  </a:moveTo>
                  <a:lnTo>
                    <a:pt x="539" y="1628"/>
                  </a:lnTo>
                  <a:lnTo>
                    <a:pt x="539" y="1630"/>
                  </a:lnTo>
                  <a:close/>
                  <a:moveTo>
                    <a:pt x="547" y="1630"/>
                  </a:moveTo>
                  <a:lnTo>
                    <a:pt x="549" y="1630"/>
                  </a:lnTo>
                  <a:lnTo>
                    <a:pt x="549" y="1628"/>
                  </a:lnTo>
                  <a:lnTo>
                    <a:pt x="549" y="1630"/>
                  </a:lnTo>
                  <a:lnTo>
                    <a:pt x="547" y="1630"/>
                  </a:lnTo>
                  <a:close/>
                  <a:moveTo>
                    <a:pt x="536" y="1628"/>
                  </a:moveTo>
                  <a:lnTo>
                    <a:pt x="534" y="1628"/>
                  </a:lnTo>
                  <a:lnTo>
                    <a:pt x="536" y="1628"/>
                  </a:lnTo>
                  <a:close/>
                  <a:moveTo>
                    <a:pt x="576" y="1627"/>
                  </a:moveTo>
                  <a:lnTo>
                    <a:pt x="576" y="1628"/>
                  </a:lnTo>
                  <a:lnTo>
                    <a:pt x="576" y="1627"/>
                  </a:lnTo>
                  <a:close/>
                  <a:moveTo>
                    <a:pt x="547" y="1662"/>
                  </a:moveTo>
                  <a:lnTo>
                    <a:pt x="547" y="1664"/>
                  </a:lnTo>
                  <a:lnTo>
                    <a:pt x="547" y="1666"/>
                  </a:lnTo>
                  <a:lnTo>
                    <a:pt x="547" y="1664"/>
                  </a:lnTo>
                  <a:lnTo>
                    <a:pt x="547" y="1666"/>
                  </a:lnTo>
                  <a:lnTo>
                    <a:pt x="547" y="1667"/>
                  </a:lnTo>
                  <a:lnTo>
                    <a:pt x="547" y="1669"/>
                  </a:lnTo>
                  <a:lnTo>
                    <a:pt x="545" y="1669"/>
                  </a:lnTo>
                  <a:lnTo>
                    <a:pt x="544" y="1669"/>
                  </a:lnTo>
                  <a:lnTo>
                    <a:pt x="544" y="1667"/>
                  </a:lnTo>
                  <a:lnTo>
                    <a:pt x="544" y="1669"/>
                  </a:lnTo>
                  <a:lnTo>
                    <a:pt x="544" y="1667"/>
                  </a:lnTo>
                  <a:lnTo>
                    <a:pt x="545" y="1667"/>
                  </a:lnTo>
                  <a:lnTo>
                    <a:pt x="544" y="1666"/>
                  </a:lnTo>
                  <a:lnTo>
                    <a:pt x="545" y="1666"/>
                  </a:lnTo>
                  <a:lnTo>
                    <a:pt x="544" y="1666"/>
                  </a:lnTo>
                  <a:lnTo>
                    <a:pt x="545" y="1666"/>
                  </a:lnTo>
                  <a:lnTo>
                    <a:pt x="544" y="1666"/>
                  </a:lnTo>
                  <a:lnTo>
                    <a:pt x="545" y="1664"/>
                  </a:lnTo>
                  <a:lnTo>
                    <a:pt x="545" y="1662"/>
                  </a:lnTo>
                  <a:lnTo>
                    <a:pt x="547" y="1662"/>
                  </a:lnTo>
                  <a:lnTo>
                    <a:pt x="547" y="1661"/>
                  </a:lnTo>
                  <a:lnTo>
                    <a:pt x="547" y="1659"/>
                  </a:lnTo>
                  <a:lnTo>
                    <a:pt x="547" y="1658"/>
                  </a:lnTo>
                  <a:lnTo>
                    <a:pt x="545" y="1658"/>
                  </a:lnTo>
                  <a:lnTo>
                    <a:pt x="545" y="1659"/>
                  </a:lnTo>
                  <a:lnTo>
                    <a:pt x="545" y="1661"/>
                  </a:lnTo>
                  <a:lnTo>
                    <a:pt x="547" y="1661"/>
                  </a:lnTo>
                  <a:lnTo>
                    <a:pt x="545" y="1661"/>
                  </a:lnTo>
                  <a:lnTo>
                    <a:pt x="545" y="1662"/>
                  </a:lnTo>
                  <a:lnTo>
                    <a:pt x="544" y="1662"/>
                  </a:lnTo>
                  <a:lnTo>
                    <a:pt x="542" y="1662"/>
                  </a:lnTo>
                  <a:lnTo>
                    <a:pt x="544" y="1662"/>
                  </a:lnTo>
                  <a:lnTo>
                    <a:pt x="542" y="1661"/>
                  </a:lnTo>
                  <a:lnTo>
                    <a:pt x="544" y="1661"/>
                  </a:lnTo>
                  <a:lnTo>
                    <a:pt x="542" y="1661"/>
                  </a:lnTo>
                  <a:lnTo>
                    <a:pt x="542" y="1659"/>
                  </a:lnTo>
                  <a:lnTo>
                    <a:pt x="540" y="1661"/>
                  </a:lnTo>
                  <a:lnTo>
                    <a:pt x="540" y="1659"/>
                  </a:lnTo>
                  <a:lnTo>
                    <a:pt x="540" y="1658"/>
                  </a:lnTo>
                  <a:lnTo>
                    <a:pt x="540" y="1656"/>
                  </a:lnTo>
                  <a:lnTo>
                    <a:pt x="542" y="1656"/>
                  </a:lnTo>
                  <a:lnTo>
                    <a:pt x="540" y="1656"/>
                  </a:lnTo>
                  <a:lnTo>
                    <a:pt x="542" y="1654"/>
                  </a:lnTo>
                  <a:lnTo>
                    <a:pt x="540" y="1654"/>
                  </a:lnTo>
                  <a:lnTo>
                    <a:pt x="540" y="1656"/>
                  </a:lnTo>
                  <a:lnTo>
                    <a:pt x="539" y="1656"/>
                  </a:lnTo>
                  <a:lnTo>
                    <a:pt x="540" y="1656"/>
                  </a:lnTo>
                  <a:lnTo>
                    <a:pt x="539" y="1654"/>
                  </a:lnTo>
                  <a:lnTo>
                    <a:pt x="539" y="1653"/>
                  </a:lnTo>
                  <a:lnTo>
                    <a:pt x="539" y="1651"/>
                  </a:lnTo>
                  <a:lnTo>
                    <a:pt x="539" y="1653"/>
                  </a:lnTo>
                  <a:lnTo>
                    <a:pt x="539" y="1651"/>
                  </a:lnTo>
                  <a:lnTo>
                    <a:pt x="539" y="1649"/>
                  </a:lnTo>
                  <a:lnTo>
                    <a:pt x="540" y="1649"/>
                  </a:lnTo>
                  <a:lnTo>
                    <a:pt x="539" y="1649"/>
                  </a:lnTo>
                  <a:lnTo>
                    <a:pt x="540" y="1649"/>
                  </a:lnTo>
                  <a:lnTo>
                    <a:pt x="539" y="1649"/>
                  </a:lnTo>
                  <a:lnTo>
                    <a:pt x="539" y="1648"/>
                  </a:lnTo>
                  <a:lnTo>
                    <a:pt x="539" y="1649"/>
                  </a:lnTo>
                  <a:lnTo>
                    <a:pt x="539" y="1648"/>
                  </a:lnTo>
                  <a:lnTo>
                    <a:pt x="540" y="1648"/>
                  </a:lnTo>
                  <a:lnTo>
                    <a:pt x="540" y="1649"/>
                  </a:lnTo>
                  <a:lnTo>
                    <a:pt x="542" y="1651"/>
                  </a:lnTo>
                  <a:lnTo>
                    <a:pt x="542" y="1649"/>
                  </a:lnTo>
                  <a:lnTo>
                    <a:pt x="542" y="1651"/>
                  </a:lnTo>
                  <a:lnTo>
                    <a:pt x="542" y="1649"/>
                  </a:lnTo>
                  <a:lnTo>
                    <a:pt x="540" y="1649"/>
                  </a:lnTo>
                  <a:lnTo>
                    <a:pt x="542" y="1649"/>
                  </a:lnTo>
                  <a:lnTo>
                    <a:pt x="542" y="1651"/>
                  </a:lnTo>
                  <a:lnTo>
                    <a:pt x="544" y="1651"/>
                  </a:lnTo>
                  <a:lnTo>
                    <a:pt x="544" y="1649"/>
                  </a:lnTo>
                  <a:lnTo>
                    <a:pt x="542" y="1649"/>
                  </a:lnTo>
                  <a:lnTo>
                    <a:pt x="544" y="1649"/>
                  </a:lnTo>
                  <a:lnTo>
                    <a:pt x="545" y="1649"/>
                  </a:lnTo>
                  <a:lnTo>
                    <a:pt x="545" y="1651"/>
                  </a:lnTo>
                  <a:lnTo>
                    <a:pt x="545" y="1649"/>
                  </a:lnTo>
                  <a:lnTo>
                    <a:pt x="545" y="1648"/>
                  </a:lnTo>
                  <a:lnTo>
                    <a:pt x="545" y="1649"/>
                  </a:lnTo>
                  <a:lnTo>
                    <a:pt x="544" y="1649"/>
                  </a:lnTo>
                  <a:lnTo>
                    <a:pt x="544" y="1648"/>
                  </a:lnTo>
                  <a:lnTo>
                    <a:pt x="544" y="1646"/>
                  </a:lnTo>
                  <a:lnTo>
                    <a:pt x="544" y="1648"/>
                  </a:lnTo>
                  <a:lnTo>
                    <a:pt x="544" y="1646"/>
                  </a:lnTo>
                  <a:lnTo>
                    <a:pt x="544" y="1645"/>
                  </a:lnTo>
                  <a:lnTo>
                    <a:pt x="542" y="1645"/>
                  </a:lnTo>
                  <a:lnTo>
                    <a:pt x="542" y="1643"/>
                  </a:lnTo>
                  <a:lnTo>
                    <a:pt x="542" y="1641"/>
                  </a:lnTo>
                  <a:lnTo>
                    <a:pt x="542" y="1638"/>
                  </a:lnTo>
                  <a:lnTo>
                    <a:pt x="540" y="1638"/>
                  </a:lnTo>
                  <a:lnTo>
                    <a:pt x="542" y="1638"/>
                  </a:lnTo>
                  <a:lnTo>
                    <a:pt x="540" y="1636"/>
                  </a:lnTo>
                  <a:lnTo>
                    <a:pt x="542" y="1636"/>
                  </a:lnTo>
                  <a:lnTo>
                    <a:pt x="542" y="1635"/>
                  </a:lnTo>
                  <a:lnTo>
                    <a:pt x="542" y="1636"/>
                  </a:lnTo>
                  <a:lnTo>
                    <a:pt x="542" y="1635"/>
                  </a:lnTo>
                  <a:lnTo>
                    <a:pt x="542" y="1636"/>
                  </a:lnTo>
                  <a:lnTo>
                    <a:pt x="542" y="1635"/>
                  </a:lnTo>
                  <a:lnTo>
                    <a:pt x="542" y="1633"/>
                  </a:lnTo>
                  <a:lnTo>
                    <a:pt x="540" y="1633"/>
                  </a:lnTo>
                  <a:lnTo>
                    <a:pt x="540" y="1635"/>
                  </a:lnTo>
                  <a:lnTo>
                    <a:pt x="540" y="1633"/>
                  </a:lnTo>
                  <a:lnTo>
                    <a:pt x="540" y="1635"/>
                  </a:lnTo>
                  <a:lnTo>
                    <a:pt x="540" y="1633"/>
                  </a:lnTo>
                  <a:lnTo>
                    <a:pt x="540" y="1632"/>
                  </a:lnTo>
                  <a:lnTo>
                    <a:pt x="540" y="1630"/>
                  </a:lnTo>
                  <a:lnTo>
                    <a:pt x="542" y="1630"/>
                  </a:lnTo>
                  <a:lnTo>
                    <a:pt x="542" y="1628"/>
                  </a:lnTo>
                  <a:lnTo>
                    <a:pt x="542" y="1627"/>
                  </a:lnTo>
                  <a:lnTo>
                    <a:pt x="544" y="1628"/>
                  </a:lnTo>
                  <a:lnTo>
                    <a:pt x="544" y="1627"/>
                  </a:lnTo>
                  <a:lnTo>
                    <a:pt x="544" y="1628"/>
                  </a:lnTo>
                  <a:lnTo>
                    <a:pt x="545" y="1630"/>
                  </a:lnTo>
                  <a:lnTo>
                    <a:pt x="545" y="1632"/>
                  </a:lnTo>
                  <a:lnTo>
                    <a:pt x="544" y="1632"/>
                  </a:lnTo>
                  <a:lnTo>
                    <a:pt x="544" y="1633"/>
                  </a:lnTo>
                  <a:lnTo>
                    <a:pt x="545" y="1632"/>
                  </a:lnTo>
                  <a:lnTo>
                    <a:pt x="545" y="1633"/>
                  </a:lnTo>
                  <a:lnTo>
                    <a:pt x="547" y="1635"/>
                  </a:lnTo>
                  <a:lnTo>
                    <a:pt x="547" y="1633"/>
                  </a:lnTo>
                  <a:lnTo>
                    <a:pt x="547" y="1635"/>
                  </a:lnTo>
                  <a:lnTo>
                    <a:pt x="547" y="1636"/>
                  </a:lnTo>
                  <a:lnTo>
                    <a:pt x="549" y="1636"/>
                  </a:lnTo>
                  <a:lnTo>
                    <a:pt x="547" y="1636"/>
                  </a:lnTo>
                  <a:lnTo>
                    <a:pt x="547" y="1638"/>
                  </a:lnTo>
                  <a:lnTo>
                    <a:pt x="549" y="1640"/>
                  </a:lnTo>
                  <a:lnTo>
                    <a:pt x="550" y="1641"/>
                  </a:lnTo>
                  <a:lnTo>
                    <a:pt x="550" y="1640"/>
                  </a:lnTo>
                  <a:lnTo>
                    <a:pt x="552" y="1641"/>
                  </a:lnTo>
                  <a:lnTo>
                    <a:pt x="552" y="1640"/>
                  </a:lnTo>
                  <a:lnTo>
                    <a:pt x="552" y="1638"/>
                  </a:lnTo>
                  <a:lnTo>
                    <a:pt x="552" y="1640"/>
                  </a:lnTo>
                  <a:lnTo>
                    <a:pt x="550" y="1640"/>
                  </a:lnTo>
                  <a:lnTo>
                    <a:pt x="552" y="1640"/>
                  </a:lnTo>
                  <a:lnTo>
                    <a:pt x="550" y="1640"/>
                  </a:lnTo>
                  <a:lnTo>
                    <a:pt x="550" y="1638"/>
                  </a:lnTo>
                  <a:lnTo>
                    <a:pt x="549" y="1638"/>
                  </a:lnTo>
                  <a:lnTo>
                    <a:pt x="550" y="1638"/>
                  </a:lnTo>
                  <a:lnTo>
                    <a:pt x="550" y="1636"/>
                  </a:lnTo>
                  <a:lnTo>
                    <a:pt x="550" y="1638"/>
                  </a:lnTo>
                  <a:lnTo>
                    <a:pt x="552" y="1638"/>
                  </a:lnTo>
                  <a:lnTo>
                    <a:pt x="550" y="1636"/>
                  </a:lnTo>
                  <a:lnTo>
                    <a:pt x="552" y="1635"/>
                  </a:lnTo>
                  <a:lnTo>
                    <a:pt x="552" y="1636"/>
                  </a:lnTo>
                  <a:lnTo>
                    <a:pt x="553" y="1636"/>
                  </a:lnTo>
                  <a:lnTo>
                    <a:pt x="555" y="1636"/>
                  </a:lnTo>
                  <a:lnTo>
                    <a:pt x="555" y="1638"/>
                  </a:lnTo>
                  <a:lnTo>
                    <a:pt x="555" y="1640"/>
                  </a:lnTo>
                  <a:lnTo>
                    <a:pt x="555" y="1641"/>
                  </a:lnTo>
                  <a:lnTo>
                    <a:pt x="555" y="1643"/>
                  </a:lnTo>
                  <a:lnTo>
                    <a:pt x="555" y="1645"/>
                  </a:lnTo>
                  <a:lnTo>
                    <a:pt x="553" y="1645"/>
                  </a:lnTo>
                  <a:lnTo>
                    <a:pt x="552" y="1645"/>
                  </a:lnTo>
                  <a:lnTo>
                    <a:pt x="552" y="1643"/>
                  </a:lnTo>
                  <a:lnTo>
                    <a:pt x="552" y="1641"/>
                  </a:lnTo>
                  <a:lnTo>
                    <a:pt x="552" y="1643"/>
                  </a:lnTo>
                  <a:lnTo>
                    <a:pt x="552" y="1645"/>
                  </a:lnTo>
                  <a:lnTo>
                    <a:pt x="553" y="1646"/>
                  </a:lnTo>
                  <a:lnTo>
                    <a:pt x="552" y="1648"/>
                  </a:lnTo>
                  <a:lnTo>
                    <a:pt x="552" y="1649"/>
                  </a:lnTo>
                  <a:lnTo>
                    <a:pt x="552" y="1651"/>
                  </a:lnTo>
                  <a:lnTo>
                    <a:pt x="552" y="1653"/>
                  </a:lnTo>
                  <a:lnTo>
                    <a:pt x="550" y="1653"/>
                  </a:lnTo>
                  <a:lnTo>
                    <a:pt x="549" y="1651"/>
                  </a:lnTo>
                  <a:lnTo>
                    <a:pt x="549" y="1653"/>
                  </a:lnTo>
                  <a:lnTo>
                    <a:pt x="549" y="1651"/>
                  </a:lnTo>
                  <a:lnTo>
                    <a:pt x="549" y="1653"/>
                  </a:lnTo>
                  <a:lnTo>
                    <a:pt x="549" y="1654"/>
                  </a:lnTo>
                  <a:lnTo>
                    <a:pt x="549" y="1653"/>
                  </a:lnTo>
                  <a:lnTo>
                    <a:pt x="550" y="1653"/>
                  </a:lnTo>
                  <a:lnTo>
                    <a:pt x="550" y="1654"/>
                  </a:lnTo>
                  <a:lnTo>
                    <a:pt x="552" y="1656"/>
                  </a:lnTo>
                  <a:lnTo>
                    <a:pt x="552" y="1658"/>
                  </a:lnTo>
                  <a:lnTo>
                    <a:pt x="552" y="1659"/>
                  </a:lnTo>
                  <a:lnTo>
                    <a:pt x="553" y="1659"/>
                  </a:lnTo>
                  <a:lnTo>
                    <a:pt x="552" y="1659"/>
                  </a:lnTo>
                  <a:lnTo>
                    <a:pt x="553" y="1659"/>
                  </a:lnTo>
                  <a:lnTo>
                    <a:pt x="553" y="1661"/>
                  </a:lnTo>
                  <a:lnTo>
                    <a:pt x="553" y="1662"/>
                  </a:lnTo>
                  <a:lnTo>
                    <a:pt x="553" y="1661"/>
                  </a:lnTo>
                  <a:lnTo>
                    <a:pt x="553" y="1662"/>
                  </a:lnTo>
                  <a:lnTo>
                    <a:pt x="553" y="1664"/>
                  </a:lnTo>
                  <a:lnTo>
                    <a:pt x="553" y="1662"/>
                  </a:lnTo>
                  <a:lnTo>
                    <a:pt x="553" y="1664"/>
                  </a:lnTo>
                  <a:lnTo>
                    <a:pt x="553" y="1666"/>
                  </a:lnTo>
                  <a:lnTo>
                    <a:pt x="552" y="1666"/>
                  </a:lnTo>
                  <a:lnTo>
                    <a:pt x="553" y="1666"/>
                  </a:lnTo>
                  <a:lnTo>
                    <a:pt x="552" y="1666"/>
                  </a:lnTo>
                  <a:lnTo>
                    <a:pt x="550" y="1667"/>
                  </a:lnTo>
                  <a:lnTo>
                    <a:pt x="550" y="1666"/>
                  </a:lnTo>
                  <a:lnTo>
                    <a:pt x="549" y="1666"/>
                  </a:lnTo>
                  <a:lnTo>
                    <a:pt x="550" y="1666"/>
                  </a:lnTo>
                  <a:lnTo>
                    <a:pt x="549" y="1666"/>
                  </a:lnTo>
                  <a:lnTo>
                    <a:pt x="550" y="1666"/>
                  </a:lnTo>
                  <a:lnTo>
                    <a:pt x="549" y="1667"/>
                  </a:lnTo>
                  <a:lnTo>
                    <a:pt x="550" y="1667"/>
                  </a:lnTo>
                  <a:lnTo>
                    <a:pt x="549" y="1667"/>
                  </a:lnTo>
                  <a:lnTo>
                    <a:pt x="547" y="1666"/>
                  </a:lnTo>
                  <a:lnTo>
                    <a:pt x="547" y="1664"/>
                  </a:lnTo>
                  <a:lnTo>
                    <a:pt x="547" y="1662"/>
                  </a:lnTo>
                  <a:close/>
                  <a:moveTo>
                    <a:pt x="537" y="1627"/>
                  </a:moveTo>
                  <a:lnTo>
                    <a:pt x="539" y="1625"/>
                  </a:lnTo>
                  <a:lnTo>
                    <a:pt x="539" y="1627"/>
                  </a:lnTo>
                  <a:lnTo>
                    <a:pt x="539" y="1628"/>
                  </a:lnTo>
                  <a:lnTo>
                    <a:pt x="539" y="1630"/>
                  </a:lnTo>
                  <a:lnTo>
                    <a:pt x="539" y="1628"/>
                  </a:lnTo>
                  <a:lnTo>
                    <a:pt x="537" y="1628"/>
                  </a:lnTo>
                  <a:lnTo>
                    <a:pt x="537" y="1630"/>
                  </a:lnTo>
                  <a:lnTo>
                    <a:pt x="537" y="1628"/>
                  </a:lnTo>
                  <a:lnTo>
                    <a:pt x="537" y="1627"/>
                  </a:lnTo>
                  <a:close/>
                  <a:moveTo>
                    <a:pt x="547" y="1627"/>
                  </a:moveTo>
                  <a:lnTo>
                    <a:pt x="547" y="1625"/>
                  </a:lnTo>
                  <a:lnTo>
                    <a:pt x="547" y="1627"/>
                  </a:lnTo>
                  <a:close/>
                  <a:moveTo>
                    <a:pt x="547" y="1627"/>
                  </a:moveTo>
                  <a:lnTo>
                    <a:pt x="547" y="1625"/>
                  </a:lnTo>
                  <a:lnTo>
                    <a:pt x="547" y="1627"/>
                  </a:lnTo>
                  <a:close/>
                  <a:moveTo>
                    <a:pt x="542" y="1625"/>
                  </a:moveTo>
                  <a:lnTo>
                    <a:pt x="544" y="1627"/>
                  </a:lnTo>
                  <a:lnTo>
                    <a:pt x="542" y="1625"/>
                  </a:lnTo>
                  <a:close/>
                  <a:moveTo>
                    <a:pt x="542" y="1625"/>
                  </a:moveTo>
                  <a:lnTo>
                    <a:pt x="544" y="1625"/>
                  </a:lnTo>
                  <a:lnTo>
                    <a:pt x="542" y="1625"/>
                  </a:lnTo>
                  <a:close/>
                  <a:moveTo>
                    <a:pt x="547" y="1622"/>
                  </a:moveTo>
                  <a:lnTo>
                    <a:pt x="549" y="1622"/>
                  </a:lnTo>
                  <a:lnTo>
                    <a:pt x="549" y="1623"/>
                  </a:lnTo>
                  <a:lnTo>
                    <a:pt x="549" y="1622"/>
                  </a:lnTo>
                  <a:lnTo>
                    <a:pt x="547" y="1623"/>
                  </a:lnTo>
                  <a:lnTo>
                    <a:pt x="547" y="1622"/>
                  </a:lnTo>
                  <a:close/>
                  <a:moveTo>
                    <a:pt x="537" y="1622"/>
                  </a:moveTo>
                  <a:lnTo>
                    <a:pt x="537" y="1620"/>
                  </a:lnTo>
                  <a:lnTo>
                    <a:pt x="537" y="1622"/>
                  </a:lnTo>
                  <a:close/>
                  <a:moveTo>
                    <a:pt x="534" y="1622"/>
                  </a:moveTo>
                  <a:lnTo>
                    <a:pt x="536" y="1620"/>
                  </a:lnTo>
                  <a:lnTo>
                    <a:pt x="536" y="1622"/>
                  </a:lnTo>
                  <a:lnTo>
                    <a:pt x="534" y="1622"/>
                  </a:lnTo>
                  <a:close/>
                  <a:moveTo>
                    <a:pt x="537" y="1622"/>
                  </a:moveTo>
                  <a:lnTo>
                    <a:pt x="537" y="1620"/>
                  </a:lnTo>
                  <a:lnTo>
                    <a:pt x="537" y="1622"/>
                  </a:lnTo>
                  <a:close/>
                  <a:moveTo>
                    <a:pt x="539" y="1622"/>
                  </a:moveTo>
                  <a:lnTo>
                    <a:pt x="539" y="1620"/>
                  </a:lnTo>
                  <a:lnTo>
                    <a:pt x="539" y="1622"/>
                  </a:lnTo>
                  <a:close/>
                  <a:moveTo>
                    <a:pt x="536" y="1620"/>
                  </a:moveTo>
                  <a:lnTo>
                    <a:pt x="537" y="1620"/>
                  </a:lnTo>
                  <a:lnTo>
                    <a:pt x="537" y="1622"/>
                  </a:lnTo>
                  <a:lnTo>
                    <a:pt x="536" y="1620"/>
                  </a:lnTo>
                  <a:close/>
                  <a:moveTo>
                    <a:pt x="537" y="1620"/>
                  </a:moveTo>
                  <a:lnTo>
                    <a:pt x="539" y="1620"/>
                  </a:lnTo>
                  <a:lnTo>
                    <a:pt x="537" y="1620"/>
                  </a:lnTo>
                  <a:close/>
                  <a:moveTo>
                    <a:pt x="540" y="1620"/>
                  </a:moveTo>
                  <a:lnTo>
                    <a:pt x="542" y="1620"/>
                  </a:lnTo>
                  <a:lnTo>
                    <a:pt x="542" y="1622"/>
                  </a:lnTo>
                  <a:lnTo>
                    <a:pt x="542" y="1623"/>
                  </a:lnTo>
                  <a:lnTo>
                    <a:pt x="542" y="1625"/>
                  </a:lnTo>
                  <a:lnTo>
                    <a:pt x="542" y="1627"/>
                  </a:lnTo>
                  <a:lnTo>
                    <a:pt x="542" y="1628"/>
                  </a:lnTo>
                  <a:lnTo>
                    <a:pt x="540" y="1627"/>
                  </a:lnTo>
                  <a:lnTo>
                    <a:pt x="542" y="1627"/>
                  </a:lnTo>
                  <a:lnTo>
                    <a:pt x="542" y="1625"/>
                  </a:lnTo>
                  <a:lnTo>
                    <a:pt x="540" y="1627"/>
                  </a:lnTo>
                  <a:lnTo>
                    <a:pt x="540" y="1625"/>
                  </a:lnTo>
                  <a:lnTo>
                    <a:pt x="540" y="1627"/>
                  </a:lnTo>
                  <a:lnTo>
                    <a:pt x="540" y="1625"/>
                  </a:lnTo>
                  <a:lnTo>
                    <a:pt x="540" y="1627"/>
                  </a:lnTo>
                  <a:lnTo>
                    <a:pt x="539" y="1627"/>
                  </a:lnTo>
                  <a:lnTo>
                    <a:pt x="539" y="1625"/>
                  </a:lnTo>
                  <a:lnTo>
                    <a:pt x="540" y="1625"/>
                  </a:lnTo>
                  <a:lnTo>
                    <a:pt x="539" y="1625"/>
                  </a:lnTo>
                  <a:lnTo>
                    <a:pt x="539" y="1623"/>
                  </a:lnTo>
                  <a:lnTo>
                    <a:pt x="539" y="1625"/>
                  </a:lnTo>
                  <a:lnTo>
                    <a:pt x="539" y="1623"/>
                  </a:lnTo>
                  <a:lnTo>
                    <a:pt x="540" y="1623"/>
                  </a:lnTo>
                  <a:lnTo>
                    <a:pt x="540" y="1622"/>
                  </a:lnTo>
                  <a:lnTo>
                    <a:pt x="539" y="1622"/>
                  </a:lnTo>
                  <a:lnTo>
                    <a:pt x="540" y="1622"/>
                  </a:lnTo>
                  <a:lnTo>
                    <a:pt x="539" y="1622"/>
                  </a:lnTo>
                  <a:lnTo>
                    <a:pt x="540" y="1622"/>
                  </a:lnTo>
                  <a:lnTo>
                    <a:pt x="540" y="1620"/>
                  </a:lnTo>
                  <a:close/>
                  <a:moveTo>
                    <a:pt x="537" y="1620"/>
                  </a:moveTo>
                  <a:lnTo>
                    <a:pt x="539" y="1620"/>
                  </a:lnTo>
                  <a:lnTo>
                    <a:pt x="537" y="1620"/>
                  </a:lnTo>
                  <a:close/>
                  <a:moveTo>
                    <a:pt x="539" y="1619"/>
                  </a:moveTo>
                  <a:lnTo>
                    <a:pt x="539" y="1620"/>
                  </a:lnTo>
                  <a:lnTo>
                    <a:pt x="539" y="1619"/>
                  </a:lnTo>
                  <a:close/>
                  <a:moveTo>
                    <a:pt x="536" y="1619"/>
                  </a:moveTo>
                  <a:lnTo>
                    <a:pt x="536" y="1620"/>
                  </a:lnTo>
                  <a:lnTo>
                    <a:pt x="536" y="1619"/>
                  </a:lnTo>
                  <a:close/>
                  <a:moveTo>
                    <a:pt x="545" y="1619"/>
                  </a:moveTo>
                  <a:lnTo>
                    <a:pt x="545" y="1620"/>
                  </a:lnTo>
                  <a:lnTo>
                    <a:pt x="545" y="1619"/>
                  </a:lnTo>
                  <a:close/>
                  <a:moveTo>
                    <a:pt x="534" y="1619"/>
                  </a:moveTo>
                  <a:lnTo>
                    <a:pt x="534" y="1620"/>
                  </a:lnTo>
                  <a:lnTo>
                    <a:pt x="534" y="1619"/>
                  </a:lnTo>
                  <a:close/>
                  <a:moveTo>
                    <a:pt x="682" y="1619"/>
                  </a:moveTo>
                  <a:lnTo>
                    <a:pt x="684" y="1619"/>
                  </a:lnTo>
                  <a:lnTo>
                    <a:pt x="682" y="1619"/>
                  </a:lnTo>
                  <a:close/>
                  <a:moveTo>
                    <a:pt x="534" y="1617"/>
                  </a:moveTo>
                  <a:lnTo>
                    <a:pt x="534" y="1619"/>
                  </a:lnTo>
                  <a:lnTo>
                    <a:pt x="534" y="1617"/>
                  </a:lnTo>
                  <a:close/>
                  <a:moveTo>
                    <a:pt x="534" y="1615"/>
                  </a:moveTo>
                  <a:lnTo>
                    <a:pt x="534" y="1617"/>
                  </a:lnTo>
                  <a:lnTo>
                    <a:pt x="534" y="1615"/>
                  </a:lnTo>
                  <a:close/>
                  <a:moveTo>
                    <a:pt x="542" y="1615"/>
                  </a:moveTo>
                  <a:lnTo>
                    <a:pt x="544" y="1615"/>
                  </a:lnTo>
                  <a:lnTo>
                    <a:pt x="542" y="1615"/>
                  </a:lnTo>
                  <a:close/>
                  <a:moveTo>
                    <a:pt x="536" y="1615"/>
                  </a:moveTo>
                  <a:lnTo>
                    <a:pt x="534" y="1615"/>
                  </a:lnTo>
                  <a:lnTo>
                    <a:pt x="536" y="1615"/>
                  </a:lnTo>
                  <a:close/>
                  <a:moveTo>
                    <a:pt x="542" y="1614"/>
                  </a:moveTo>
                  <a:lnTo>
                    <a:pt x="544" y="1614"/>
                  </a:lnTo>
                  <a:lnTo>
                    <a:pt x="544" y="1615"/>
                  </a:lnTo>
                  <a:lnTo>
                    <a:pt x="542" y="1614"/>
                  </a:lnTo>
                  <a:close/>
                  <a:moveTo>
                    <a:pt x="532" y="1614"/>
                  </a:moveTo>
                  <a:lnTo>
                    <a:pt x="534" y="1614"/>
                  </a:lnTo>
                  <a:lnTo>
                    <a:pt x="532" y="1614"/>
                  </a:lnTo>
                  <a:close/>
                  <a:moveTo>
                    <a:pt x="562" y="1612"/>
                  </a:moveTo>
                  <a:lnTo>
                    <a:pt x="562" y="1614"/>
                  </a:lnTo>
                  <a:lnTo>
                    <a:pt x="562" y="1612"/>
                  </a:lnTo>
                  <a:close/>
                  <a:moveTo>
                    <a:pt x="542" y="1612"/>
                  </a:moveTo>
                  <a:lnTo>
                    <a:pt x="542" y="1614"/>
                  </a:lnTo>
                  <a:lnTo>
                    <a:pt x="542" y="1612"/>
                  </a:lnTo>
                  <a:close/>
                  <a:moveTo>
                    <a:pt x="542" y="1610"/>
                  </a:moveTo>
                  <a:lnTo>
                    <a:pt x="544" y="1610"/>
                  </a:lnTo>
                  <a:lnTo>
                    <a:pt x="544" y="1612"/>
                  </a:lnTo>
                  <a:lnTo>
                    <a:pt x="545" y="1614"/>
                  </a:lnTo>
                  <a:lnTo>
                    <a:pt x="547" y="1615"/>
                  </a:lnTo>
                  <a:lnTo>
                    <a:pt x="547" y="1617"/>
                  </a:lnTo>
                  <a:lnTo>
                    <a:pt x="547" y="1619"/>
                  </a:lnTo>
                  <a:lnTo>
                    <a:pt x="549" y="1619"/>
                  </a:lnTo>
                  <a:lnTo>
                    <a:pt x="549" y="1617"/>
                  </a:lnTo>
                  <a:lnTo>
                    <a:pt x="547" y="1617"/>
                  </a:lnTo>
                  <a:lnTo>
                    <a:pt x="549" y="1615"/>
                  </a:lnTo>
                  <a:lnTo>
                    <a:pt x="549" y="1617"/>
                  </a:lnTo>
                  <a:lnTo>
                    <a:pt x="549" y="1615"/>
                  </a:lnTo>
                  <a:lnTo>
                    <a:pt x="549" y="1617"/>
                  </a:lnTo>
                  <a:lnTo>
                    <a:pt x="549" y="1615"/>
                  </a:lnTo>
                  <a:lnTo>
                    <a:pt x="550" y="1617"/>
                  </a:lnTo>
                  <a:lnTo>
                    <a:pt x="550" y="1619"/>
                  </a:lnTo>
                  <a:lnTo>
                    <a:pt x="552" y="1619"/>
                  </a:lnTo>
                  <a:lnTo>
                    <a:pt x="552" y="1617"/>
                  </a:lnTo>
                  <a:lnTo>
                    <a:pt x="553" y="1619"/>
                  </a:lnTo>
                  <a:lnTo>
                    <a:pt x="555" y="1619"/>
                  </a:lnTo>
                  <a:lnTo>
                    <a:pt x="555" y="1620"/>
                  </a:lnTo>
                  <a:lnTo>
                    <a:pt x="557" y="1620"/>
                  </a:lnTo>
                  <a:lnTo>
                    <a:pt x="558" y="1622"/>
                  </a:lnTo>
                  <a:lnTo>
                    <a:pt x="558" y="1623"/>
                  </a:lnTo>
                  <a:lnTo>
                    <a:pt x="560" y="1622"/>
                  </a:lnTo>
                  <a:lnTo>
                    <a:pt x="560" y="1623"/>
                  </a:lnTo>
                  <a:lnTo>
                    <a:pt x="560" y="1625"/>
                  </a:lnTo>
                  <a:lnTo>
                    <a:pt x="560" y="1627"/>
                  </a:lnTo>
                  <a:lnTo>
                    <a:pt x="562" y="1627"/>
                  </a:lnTo>
                  <a:lnTo>
                    <a:pt x="562" y="1628"/>
                  </a:lnTo>
                  <a:lnTo>
                    <a:pt x="560" y="1628"/>
                  </a:lnTo>
                  <a:lnTo>
                    <a:pt x="560" y="1630"/>
                  </a:lnTo>
                  <a:lnTo>
                    <a:pt x="562" y="1630"/>
                  </a:lnTo>
                  <a:lnTo>
                    <a:pt x="562" y="1632"/>
                  </a:lnTo>
                  <a:lnTo>
                    <a:pt x="562" y="1633"/>
                  </a:lnTo>
                  <a:lnTo>
                    <a:pt x="562" y="1635"/>
                  </a:lnTo>
                  <a:lnTo>
                    <a:pt x="562" y="1633"/>
                  </a:lnTo>
                  <a:lnTo>
                    <a:pt x="560" y="1635"/>
                  </a:lnTo>
                  <a:lnTo>
                    <a:pt x="558" y="1635"/>
                  </a:lnTo>
                  <a:lnTo>
                    <a:pt x="558" y="1636"/>
                  </a:lnTo>
                  <a:lnTo>
                    <a:pt x="558" y="1635"/>
                  </a:lnTo>
                  <a:lnTo>
                    <a:pt x="558" y="1636"/>
                  </a:lnTo>
                  <a:lnTo>
                    <a:pt x="558" y="1635"/>
                  </a:lnTo>
                  <a:lnTo>
                    <a:pt x="557" y="1635"/>
                  </a:lnTo>
                  <a:lnTo>
                    <a:pt x="557" y="1636"/>
                  </a:lnTo>
                  <a:lnTo>
                    <a:pt x="555" y="1636"/>
                  </a:lnTo>
                  <a:lnTo>
                    <a:pt x="555" y="1635"/>
                  </a:lnTo>
                  <a:lnTo>
                    <a:pt x="555" y="1633"/>
                  </a:lnTo>
                  <a:lnTo>
                    <a:pt x="553" y="1633"/>
                  </a:lnTo>
                  <a:lnTo>
                    <a:pt x="553" y="1632"/>
                  </a:lnTo>
                  <a:lnTo>
                    <a:pt x="555" y="1632"/>
                  </a:lnTo>
                  <a:lnTo>
                    <a:pt x="557" y="1632"/>
                  </a:lnTo>
                  <a:lnTo>
                    <a:pt x="555" y="1632"/>
                  </a:lnTo>
                  <a:lnTo>
                    <a:pt x="555" y="1630"/>
                  </a:lnTo>
                  <a:lnTo>
                    <a:pt x="557" y="1630"/>
                  </a:lnTo>
                  <a:lnTo>
                    <a:pt x="555" y="1630"/>
                  </a:lnTo>
                  <a:lnTo>
                    <a:pt x="555" y="1628"/>
                  </a:lnTo>
                  <a:lnTo>
                    <a:pt x="553" y="1630"/>
                  </a:lnTo>
                  <a:lnTo>
                    <a:pt x="553" y="1628"/>
                  </a:lnTo>
                  <a:lnTo>
                    <a:pt x="553" y="1630"/>
                  </a:lnTo>
                  <a:lnTo>
                    <a:pt x="553" y="1628"/>
                  </a:lnTo>
                  <a:lnTo>
                    <a:pt x="553" y="1630"/>
                  </a:lnTo>
                  <a:lnTo>
                    <a:pt x="552" y="1628"/>
                  </a:lnTo>
                  <a:lnTo>
                    <a:pt x="552" y="1630"/>
                  </a:lnTo>
                  <a:lnTo>
                    <a:pt x="552" y="1628"/>
                  </a:lnTo>
                  <a:lnTo>
                    <a:pt x="552" y="1627"/>
                  </a:lnTo>
                  <a:lnTo>
                    <a:pt x="552" y="1628"/>
                  </a:lnTo>
                  <a:lnTo>
                    <a:pt x="552" y="1630"/>
                  </a:lnTo>
                  <a:lnTo>
                    <a:pt x="550" y="1630"/>
                  </a:lnTo>
                  <a:lnTo>
                    <a:pt x="550" y="1628"/>
                  </a:lnTo>
                  <a:lnTo>
                    <a:pt x="552" y="1628"/>
                  </a:lnTo>
                  <a:lnTo>
                    <a:pt x="550" y="1628"/>
                  </a:lnTo>
                  <a:lnTo>
                    <a:pt x="550" y="1630"/>
                  </a:lnTo>
                  <a:lnTo>
                    <a:pt x="550" y="1628"/>
                  </a:lnTo>
                  <a:lnTo>
                    <a:pt x="550" y="1630"/>
                  </a:lnTo>
                  <a:lnTo>
                    <a:pt x="549" y="1630"/>
                  </a:lnTo>
                  <a:lnTo>
                    <a:pt x="549" y="1628"/>
                  </a:lnTo>
                  <a:lnTo>
                    <a:pt x="550" y="1630"/>
                  </a:lnTo>
                  <a:lnTo>
                    <a:pt x="550" y="1628"/>
                  </a:lnTo>
                  <a:lnTo>
                    <a:pt x="550" y="1630"/>
                  </a:lnTo>
                  <a:lnTo>
                    <a:pt x="549" y="1628"/>
                  </a:lnTo>
                  <a:lnTo>
                    <a:pt x="550" y="1628"/>
                  </a:lnTo>
                  <a:lnTo>
                    <a:pt x="550" y="1627"/>
                  </a:lnTo>
                  <a:lnTo>
                    <a:pt x="550" y="1628"/>
                  </a:lnTo>
                  <a:lnTo>
                    <a:pt x="550" y="1627"/>
                  </a:lnTo>
                  <a:lnTo>
                    <a:pt x="552" y="1627"/>
                  </a:lnTo>
                  <a:lnTo>
                    <a:pt x="553" y="1625"/>
                  </a:lnTo>
                  <a:lnTo>
                    <a:pt x="552" y="1625"/>
                  </a:lnTo>
                  <a:lnTo>
                    <a:pt x="550" y="1627"/>
                  </a:lnTo>
                  <a:lnTo>
                    <a:pt x="550" y="1625"/>
                  </a:lnTo>
                  <a:lnTo>
                    <a:pt x="550" y="1627"/>
                  </a:lnTo>
                  <a:lnTo>
                    <a:pt x="550" y="1625"/>
                  </a:lnTo>
                  <a:lnTo>
                    <a:pt x="550" y="1623"/>
                  </a:lnTo>
                  <a:lnTo>
                    <a:pt x="549" y="1627"/>
                  </a:lnTo>
                  <a:lnTo>
                    <a:pt x="549" y="1625"/>
                  </a:lnTo>
                  <a:lnTo>
                    <a:pt x="547" y="1625"/>
                  </a:lnTo>
                  <a:lnTo>
                    <a:pt x="549" y="1625"/>
                  </a:lnTo>
                  <a:lnTo>
                    <a:pt x="549" y="1623"/>
                  </a:lnTo>
                  <a:lnTo>
                    <a:pt x="549" y="1625"/>
                  </a:lnTo>
                  <a:lnTo>
                    <a:pt x="549" y="1623"/>
                  </a:lnTo>
                  <a:lnTo>
                    <a:pt x="549" y="1625"/>
                  </a:lnTo>
                  <a:lnTo>
                    <a:pt x="549" y="1623"/>
                  </a:lnTo>
                  <a:lnTo>
                    <a:pt x="549" y="1622"/>
                  </a:lnTo>
                  <a:lnTo>
                    <a:pt x="550" y="1622"/>
                  </a:lnTo>
                  <a:lnTo>
                    <a:pt x="549" y="1622"/>
                  </a:lnTo>
                  <a:lnTo>
                    <a:pt x="549" y="1620"/>
                  </a:lnTo>
                  <a:lnTo>
                    <a:pt x="547" y="1620"/>
                  </a:lnTo>
                  <a:lnTo>
                    <a:pt x="549" y="1620"/>
                  </a:lnTo>
                  <a:lnTo>
                    <a:pt x="547" y="1620"/>
                  </a:lnTo>
                  <a:lnTo>
                    <a:pt x="547" y="1619"/>
                  </a:lnTo>
                  <a:lnTo>
                    <a:pt x="545" y="1619"/>
                  </a:lnTo>
                  <a:lnTo>
                    <a:pt x="545" y="1617"/>
                  </a:lnTo>
                  <a:lnTo>
                    <a:pt x="545" y="1615"/>
                  </a:lnTo>
                  <a:lnTo>
                    <a:pt x="545" y="1617"/>
                  </a:lnTo>
                  <a:lnTo>
                    <a:pt x="545" y="1615"/>
                  </a:lnTo>
                  <a:lnTo>
                    <a:pt x="544" y="1615"/>
                  </a:lnTo>
                  <a:lnTo>
                    <a:pt x="545" y="1615"/>
                  </a:lnTo>
                  <a:lnTo>
                    <a:pt x="544" y="1615"/>
                  </a:lnTo>
                  <a:lnTo>
                    <a:pt x="544" y="1617"/>
                  </a:lnTo>
                  <a:lnTo>
                    <a:pt x="544" y="1615"/>
                  </a:lnTo>
                  <a:lnTo>
                    <a:pt x="544" y="1614"/>
                  </a:lnTo>
                  <a:lnTo>
                    <a:pt x="542" y="1614"/>
                  </a:lnTo>
                  <a:lnTo>
                    <a:pt x="542" y="1612"/>
                  </a:lnTo>
                  <a:lnTo>
                    <a:pt x="544" y="1612"/>
                  </a:lnTo>
                  <a:lnTo>
                    <a:pt x="542" y="1612"/>
                  </a:lnTo>
                  <a:lnTo>
                    <a:pt x="542" y="1610"/>
                  </a:lnTo>
                  <a:close/>
                  <a:moveTo>
                    <a:pt x="573" y="1609"/>
                  </a:moveTo>
                  <a:lnTo>
                    <a:pt x="573" y="1610"/>
                  </a:lnTo>
                  <a:lnTo>
                    <a:pt x="573" y="1609"/>
                  </a:lnTo>
                  <a:close/>
                  <a:moveTo>
                    <a:pt x="531" y="1610"/>
                  </a:moveTo>
                  <a:lnTo>
                    <a:pt x="531" y="1609"/>
                  </a:lnTo>
                  <a:lnTo>
                    <a:pt x="531" y="1610"/>
                  </a:lnTo>
                  <a:close/>
                  <a:moveTo>
                    <a:pt x="544" y="1609"/>
                  </a:moveTo>
                  <a:lnTo>
                    <a:pt x="545" y="1609"/>
                  </a:lnTo>
                  <a:lnTo>
                    <a:pt x="545" y="1610"/>
                  </a:lnTo>
                  <a:lnTo>
                    <a:pt x="544" y="1610"/>
                  </a:lnTo>
                  <a:lnTo>
                    <a:pt x="544" y="1609"/>
                  </a:lnTo>
                  <a:close/>
                  <a:moveTo>
                    <a:pt x="544" y="1609"/>
                  </a:moveTo>
                  <a:lnTo>
                    <a:pt x="544" y="1610"/>
                  </a:lnTo>
                  <a:lnTo>
                    <a:pt x="544" y="1609"/>
                  </a:lnTo>
                  <a:close/>
                  <a:moveTo>
                    <a:pt x="562" y="1609"/>
                  </a:moveTo>
                  <a:lnTo>
                    <a:pt x="562" y="1610"/>
                  </a:lnTo>
                  <a:lnTo>
                    <a:pt x="562" y="1609"/>
                  </a:lnTo>
                  <a:lnTo>
                    <a:pt x="560" y="1609"/>
                  </a:lnTo>
                  <a:lnTo>
                    <a:pt x="562" y="1609"/>
                  </a:lnTo>
                  <a:close/>
                  <a:moveTo>
                    <a:pt x="542" y="1609"/>
                  </a:moveTo>
                  <a:lnTo>
                    <a:pt x="544" y="1609"/>
                  </a:lnTo>
                  <a:lnTo>
                    <a:pt x="542" y="1609"/>
                  </a:lnTo>
                  <a:lnTo>
                    <a:pt x="542" y="1610"/>
                  </a:lnTo>
                  <a:lnTo>
                    <a:pt x="542" y="1609"/>
                  </a:lnTo>
                  <a:close/>
                  <a:moveTo>
                    <a:pt x="534" y="1609"/>
                  </a:moveTo>
                  <a:lnTo>
                    <a:pt x="534" y="1607"/>
                  </a:lnTo>
                  <a:lnTo>
                    <a:pt x="534" y="1609"/>
                  </a:lnTo>
                  <a:close/>
                  <a:moveTo>
                    <a:pt x="544" y="1609"/>
                  </a:moveTo>
                  <a:lnTo>
                    <a:pt x="544" y="1607"/>
                  </a:lnTo>
                  <a:lnTo>
                    <a:pt x="544" y="1609"/>
                  </a:lnTo>
                  <a:close/>
                  <a:moveTo>
                    <a:pt x="531" y="1607"/>
                  </a:moveTo>
                  <a:lnTo>
                    <a:pt x="531" y="1609"/>
                  </a:lnTo>
                  <a:lnTo>
                    <a:pt x="531" y="1607"/>
                  </a:lnTo>
                  <a:close/>
                  <a:moveTo>
                    <a:pt x="531" y="1607"/>
                  </a:moveTo>
                  <a:lnTo>
                    <a:pt x="529" y="1607"/>
                  </a:lnTo>
                  <a:lnTo>
                    <a:pt x="531" y="1607"/>
                  </a:lnTo>
                  <a:lnTo>
                    <a:pt x="529" y="1607"/>
                  </a:lnTo>
                  <a:lnTo>
                    <a:pt x="531" y="1607"/>
                  </a:lnTo>
                  <a:close/>
                  <a:moveTo>
                    <a:pt x="544" y="1606"/>
                  </a:moveTo>
                  <a:lnTo>
                    <a:pt x="544" y="1607"/>
                  </a:lnTo>
                  <a:lnTo>
                    <a:pt x="544" y="1606"/>
                  </a:lnTo>
                  <a:close/>
                  <a:moveTo>
                    <a:pt x="552" y="1606"/>
                  </a:moveTo>
                  <a:lnTo>
                    <a:pt x="553" y="1607"/>
                  </a:lnTo>
                  <a:lnTo>
                    <a:pt x="552" y="1607"/>
                  </a:lnTo>
                  <a:lnTo>
                    <a:pt x="552" y="1606"/>
                  </a:lnTo>
                  <a:close/>
                  <a:moveTo>
                    <a:pt x="531" y="1606"/>
                  </a:moveTo>
                  <a:lnTo>
                    <a:pt x="531" y="1607"/>
                  </a:lnTo>
                  <a:lnTo>
                    <a:pt x="531" y="1606"/>
                  </a:lnTo>
                  <a:close/>
                  <a:moveTo>
                    <a:pt x="542" y="1606"/>
                  </a:moveTo>
                  <a:lnTo>
                    <a:pt x="542" y="1607"/>
                  </a:lnTo>
                  <a:lnTo>
                    <a:pt x="542" y="1606"/>
                  </a:lnTo>
                  <a:close/>
                  <a:moveTo>
                    <a:pt x="540" y="1604"/>
                  </a:moveTo>
                  <a:lnTo>
                    <a:pt x="542" y="1604"/>
                  </a:lnTo>
                  <a:lnTo>
                    <a:pt x="542" y="1606"/>
                  </a:lnTo>
                  <a:lnTo>
                    <a:pt x="540" y="1604"/>
                  </a:lnTo>
                  <a:close/>
                  <a:moveTo>
                    <a:pt x="550" y="1604"/>
                  </a:moveTo>
                  <a:lnTo>
                    <a:pt x="552" y="1604"/>
                  </a:lnTo>
                  <a:lnTo>
                    <a:pt x="552" y="1606"/>
                  </a:lnTo>
                  <a:lnTo>
                    <a:pt x="550" y="1606"/>
                  </a:lnTo>
                  <a:lnTo>
                    <a:pt x="550" y="1604"/>
                  </a:lnTo>
                  <a:close/>
                  <a:moveTo>
                    <a:pt x="536" y="1604"/>
                  </a:moveTo>
                  <a:lnTo>
                    <a:pt x="537" y="1604"/>
                  </a:lnTo>
                  <a:lnTo>
                    <a:pt x="536" y="1604"/>
                  </a:lnTo>
                  <a:close/>
                  <a:moveTo>
                    <a:pt x="542" y="1604"/>
                  </a:moveTo>
                  <a:lnTo>
                    <a:pt x="544" y="1604"/>
                  </a:lnTo>
                  <a:lnTo>
                    <a:pt x="545" y="1604"/>
                  </a:lnTo>
                  <a:lnTo>
                    <a:pt x="545" y="1606"/>
                  </a:lnTo>
                  <a:lnTo>
                    <a:pt x="547" y="1606"/>
                  </a:lnTo>
                  <a:lnTo>
                    <a:pt x="547" y="1604"/>
                  </a:lnTo>
                  <a:lnTo>
                    <a:pt x="549" y="1604"/>
                  </a:lnTo>
                  <a:lnTo>
                    <a:pt x="550" y="1604"/>
                  </a:lnTo>
                  <a:lnTo>
                    <a:pt x="550" y="1606"/>
                  </a:lnTo>
                  <a:lnTo>
                    <a:pt x="552" y="1606"/>
                  </a:lnTo>
                  <a:lnTo>
                    <a:pt x="552" y="1607"/>
                  </a:lnTo>
                  <a:lnTo>
                    <a:pt x="555" y="1607"/>
                  </a:lnTo>
                  <a:lnTo>
                    <a:pt x="557" y="1607"/>
                  </a:lnTo>
                  <a:lnTo>
                    <a:pt x="558" y="1610"/>
                  </a:lnTo>
                  <a:lnTo>
                    <a:pt x="562" y="1614"/>
                  </a:lnTo>
                  <a:lnTo>
                    <a:pt x="562" y="1615"/>
                  </a:lnTo>
                  <a:lnTo>
                    <a:pt x="562" y="1614"/>
                  </a:lnTo>
                  <a:lnTo>
                    <a:pt x="563" y="1615"/>
                  </a:lnTo>
                  <a:lnTo>
                    <a:pt x="565" y="1615"/>
                  </a:lnTo>
                  <a:lnTo>
                    <a:pt x="565" y="1617"/>
                  </a:lnTo>
                  <a:lnTo>
                    <a:pt x="563" y="1617"/>
                  </a:lnTo>
                  <a:lnTo>
                    <a:pt x="563" y="1615"/>
                  </a:lnTo>
                  <a:lnTo>
                    <a:pt x="562" y="1615"/>
                  </a:lnTo>
                  <a:lnTo>
                    <a:pt x="563" y="1617"/>
                  </a:lnTo>
                  <a:lnTo>
                    <a:pt x="563" y="1619"/>
                  </a:lnTo>
                  <a:lnTo>
                    <a:pt x="563" y="1620"/>
                  </a:lnTo>
                  <a:lnTo>
                    <a:pt x="562" y="1620"/>
                  </a:lnTo>
                  <a:lnTo>
                    <a:pt x="560" y="1620"/>
                  </a:lnTo>
                  <a:lnTo>
                    <a:pt x="558" y="1620"/>
                  </a:lnTo>
                  <a:lnTo>
                    <a:pt x="558" y="1619"/>
                  </a:lnTo>
                  <a:lnTo>
                    <a:pt x="557" y="1619"/>
                  </a:lnTo>
                  <a:lnTo>
                    <a:pt x="557" y="1617"/>
                  </a:lnTo>
                  <a:lnTo>
                    <a:pt x="555" y="1617"/>
                  </a:lnTo>
                  <a:lnTo>
                    <a:pt x="553" y="1617"/>
                  </a:lnTo>
                  <a:lnTo>
                    <a:pt x="552" y="1615"/>
                  </a:lnTo>
                  <a:lnTo>
                    <a:pt x="550" y="1615"/>
                  </a:lnTo>
                  <a:lnTo>
                    <a:pt x="549" y="1615"/>
                  </a:lnTo>
                  <a:lnTo>
                    <a:pt x="549" y="1614"/>
                  </a:lnTo>
                  <a:lnTo>
                    <a:pt x="547" y="1614"/>
                  </a:lnTo>
                  <a:lnTo>
                    <a:pt x="547" y="1612"/>
                  </a:lnTo>
                  <a:lnTo>
                    <a:pt x="547" y="1614"/>
                  </a:lnTo>
                  <a:lnTo>
                    <a:pt x="545" y="1612"/>
                  </a:lnTo>
                  <a:lnTo>
                    <a:pt x="545" y="1610"/>
                  </a:lnTo>
                  <a:lnTo>
                    <a:pt x="545" y="1612"/>
                  </a:lnTo>
                  <a:lnTo>
                    <a:pt x="547" y="1612"/>
                  </a:lnTo>
                  <a:lnTo>
                    <a:pt x="549" y="1612"/>
                  </a:lnTo>
                  <a:lnTo>
                    <a:pt x="547" y="1612"/>
                  </a:lnTo>
                  <a:lnTo>
                    <a:pt x="545" y="1610"/>
                  </a:lnTo>
                  <a:lnTo>
                    <a:pt x="545" y="1609"/>
                  </a:lnTo>
                  <a:lnTo>
                    <a:pt x="547" y="1610"/>
                  </a:lnTo>
                  <a:lnTo>
                    <a:pt x="547" y="1609"/>
                  </a:lnTo>
                  <a:lnTo>
                    <a:pt x="545" y="1609"/>
                  </a:lnTo>
                  <a:lnTo>
                    <a:pt x="545" y="1607"/>
                  </a:lnTo>
                  <a:lnTo>
                    <a:pt x="545" y="1609"/>
                  </a:lnTo>
                  <a:lnTo>
                    <a:pt x="545" y="1607"/>
                  </a:lnTo>
                  <a:lnTo>
                    <a:pt x="544" y="1606"/>
                  </a:lnTo>
                  <a:lnTo>
                    <a:pt x="542" y="1606"/>
                  </a:lnTo>
                  <a:lnTo>
                    <a:pt x="542" y="1604"/>
                  </a:lnTo>
                  <a:close/>
                  <a:moveTo>
                    <a:pt x="531" y="1602"/>
                  </a:moveTo>
                  <a:lnTo>
                    <a:pt x="531" y="1604"/>
                  </a:lnTo>
                  <a:lnTo>
                    <a:pt x="531" y="1602"/>
                  </a:lnTo>
                  <a:close/>
                  <a:moveTo>
                    <a:pt x="529" y="1602"/>
                  </a:moveTo>
                  <a:lnTo>
                    <a:pt x="529" y="1601"/>
                  </a:lnTo>
                  <a:lnTo>
                    <a:pt x="529" y="1602"/>
                  </a:lnTo>
                  <a:close/>
                  <a:moveTo>
                    <a:pt x="545" y="1601"/>
                  </a:moveTo>
                  <a:lnTo>
                    <a:pt x="547" y="1601"/>
                  </a:lnTo>
                  <a:lnTo>
                    <a:pt x="545" y="1601"/>
                  </a:lnTo>
                  <a:close/>
                  <a:moveTo>
                    <a:pt x="531" y="1601"/>
                  </a:moveTo>
                  <a:lnTo>
                    <a:pt x="531" y="1599"/>
                  </a:lnTo>
                  <a:lnTo>
                    <a:pt x="531" y="1601"/>
                  </a:lnTo>
                  <a:close/>
                  <a:moveTo>
                    <a:pt x="545" y="1599"/>
                  </a:moveTo>
                  <a:lnTo>
                    <a:pt x="547" y="1599"/>
                  </a:lnTo>
                  <a:lnTo>
                    <a:pt x="547" y="1601"/>
                  </a:lnTo>
                  <a:lnTo>
                    <a:pt x="545" y="1601"/>
                  </a:lnTo>
                  <a:lnTo>
                    <a:pt x="545" y="1599"/>
                  </a:lnTo>
                  <a:close/>
                  <a:moveTo>
                    <a:pt x="527" y="1599"/>
                  </a:moveTo>
                  <a:lnTo>
                    <a:pt x="527" y="1597"/>
                  </a:lnTo>
                  <a:lnTo>
                    <a:pt x="527" y="1599"/>
                  </a:lnTo>
                  <a:close/>
                  <a:moveTo>
                    <a:pt x="527" y="1596"/>
                  </a:moveTo>
                  <a:lnTo>
                    <a:pt x="529" y="1596"/>
                  </a:lnTo>
                  <a:lnTo>
                    <a:pt x="527" y="1596"/>
                  </a:lnTo>
                  <a:close/>
                  <a:moveTo>
                    <a:pt x="539" y="1596"/>
                  </a:moveTo>
                  <a:lnTo>
                    <a:pt x="540" y="1596"/>
                  </a:lnTo>
                  <a:lnTo>
                    <a:pt x="542" y="1597"/>
                  </a:lnTo>
                  <a:lnTo>
                    <a:pt x="544" y="1599"/>
                  </a:lnTo>
                  <a:lnTo>
                    <a:pt x="545" y="1601"/>
                  </a:lnTo>
                  <a:lnTo>
                    <a:pt x="544" y="1599"/>
                  </a:lnTo>
                  <a:lnTo>
                    <a:pt x="542" y="1597"/>
                  </a:lnTo>
                  <a:lnTo>
                    <a:pt x="544" y="1597"/>
                  </a:lnTo>
                  <a:lnTo>
                    <a:pt x="545" y="1601"/>
                  </a:lnTo>
                  <a:lnTo>
                    <a:pt x="544" y="1601"/>
                  </a:lnTo>
                  <a:lnTo>
                    <a:pt x="542" y="1601"/>
                  </a:lnTo>
                  <a:lnTo>
                    <a:pt x="542" y="1599"/>
                  </a:lnTo>
                  <a:lnTo>
                    <a:pt x="542" y="1601"/>
                  </a:lnTo>
                  <a:lnTo>
                    <a:pt x="542" y="1599"/>
                  </a:lnTo>
                  <a:lnTo>
                    <a:pt x="542" y="1597"/>
                  </a:lnTo>
                  <a:lnTo>
                    <a:pt x="542" y="1599"/>
                  </a:lnTo>
                  <a:lnTo>
                    <a:pt x="540" y="1597"/>
                  </a:lnTo>
                  <a:lnTo>
                    <a:pt x="540" y="1596"/>
                  </a:lnTo>
                  <a:lnTo>
                    <a:pt x="539" y="1596"/>
                  </a:lnTo>
                  <a:close/>
                  <a:moveTo>
                    <a:pt x="589" y="1596"/>
                  </a:moveTo>
                  <a:lnTo>
                    <a:pt x="589" y="1597"/>
                  </a:lnTo>
                  <a:lnTo>
                    <a:pt x="589" y="1599"/>
                  </a:lnTo>
                  <a:lnTo>
                    <a:pt x="589" y="1601"/>
                  </a:lnTo>
                  <a:lnTo>
                    <a:pt x="588" y="1602"/>
                  </a:lnTo>
                  <a:lnTo>
                    <a:pt x="588" y="1601"/>
                  </a:lnTo>
                  <a:lnTo>
                    <a:pt x="588" y="1599"/>
                  </a:lnTo>
                  <a:lnTo>
                    <a:pt x="588" y="1597"/>
                  </a:lnTo>
                  <a:lnTo>
                    <a:pt x="588" y="1596"/>
                  </a:lnTo>
                  <a:lnTo>
                    <a:pt x="589" y="1597"/>
                  </a:lnTo>
                  <a:lnTo>
                    <a:pt x="588" y="1596"/>
                  </a:lnTo>
                  <a:lnTo>
                    <a:pt x="589" y="1596"/>
                  </a:lnTo>
                  <a:close/>
                  <a:moveTo>
                    <a:pt x="531" y="1596"/>
                  </a:moveTo>
                  <a:lnTo>
                    <a:pt x="531" y="1594"/>
                  </a:lnTo>
                  <a:lnTo>
                    <a:pt x="531" y="1596"/>
                  </a:lnTo>
                  <a:close/>
                  <a:moveTo>
                    <a:pt x="588" y="1596"/>
                  </a:moveTo>
                  <a:lnTo>
                    <a:pt x="588" y="1594"/>
                  </a:lnTo>
                  <a:lnTo>
                    <a:pt x="588" y="1596"/>
                  </a:lnTo>
                  <a:close/>
                  <a:moveTo>
                    <a:pt x="539" y="1594"/>
                  </a:moveTo>
                  <a:lnTo>
                    <a:pt x="539" y="1596"/>
                  </a:lnTo>
                  <a:lnTo>
                    <a:pt x="539" y="1594"/>
                  </a:lnTo>
                  <a:close/>
                  <a:moveTo>
                    <a:pt x="555" y="1594"/>
                  </a:moveTo>
                  <a:lnTo>
                    <a:pt x="555" y="1596"/>
                  </a:lnTo>
                  <a:lnTo>
                    <a:pt x="555" y="1594"/>
                  </a:lnTo>
                  <a:close/>
                  <a:moveTo>
                    <a:pt x="529" y="1594"/>
                  </a:moveTo>
                  <a:lnTo>
                    <a:pt x="531" y="1594"/>
                  </a:lnTo>
                  <a:lnTo>
                    <a:pt x="529" y="1596"/>
                  </a:lnTo>
                  <a:lnTo>
                    <a:pt x="529" y="1594"/>
                  </a:lnTo>
                  <a:close/>
                  <a:moveTo>
                    <a:pt x="529" y="1594"/>
                  </a:moveTo>
                  <a:lnTo>
                    <a:pt x="529" y="1596"/>
                  </a:lnTo>
                  <a:lnTo>
                    <a:pt x="527" y="1596"/>
                  </a:lnTo>
                  <a:lnTo>
                    <a:pt x="527" y="1594"/>
                  </a:lnTo>
                  <a:lnTo>
                    <a:pt x="529" y="1596"/>
                  </a:lnTo>
                  <a:lnTo>
                    <a:pt x="529" y="1594"/>
                  </a:lnTo>
                  <a:close/>
                  <a:moveTo>
                    <a:pt x="532" y="1594"/>
                  </a:moveTo>
                  <a:lnTo>
                    <a:pt x="534" y="1594"/>
                  </a:lnTo>
                  <a:lnTo>
                    <a:pt x="532" y="1594"/>
                  </a:lnTo>
                  <a:close/>
                  <a:moveTo>
                    <a:pt x="573" y="1596"/>
                  </a:moveTo>
                  <a:lnTo>
                    <a:pt x="573" y="1594"/>
                  </a:lnTo>
                  <a:lnTo>
                    <a:pt x="573" y="1596"/>
                  </a:lnTo>
                  <a:close/>
                  <a:moveTo>
                    <a:pt x="532" y="1596"/>
                  </a:moveTo>
                  <a:lnTo>
                    <a:pt x="532" y="1594"/>
                  </a:lnTo>
                  <a:lnTo>
                    <a:pt x="534" y="1596"/>
                  </a:lnTo>
                  <a:lnTo>
                    <a:pt x="532" y="1596"/>
                  </a:lnTo>
                  <a:lnTo>
                    <a:pt x="534" y="1596"/>
                  </a:lnTo>
                  <a:lnTo>
                    <a:pt x="534" y="1599"/>
                  </a:lnTo>
                  <a:lnTo>
                    <a:pt x="536" y="1601"/>
                  </a:lnTo>
                  <a:lnTo>
                    <a:pt x="536" y="1602"/>
                  </a:lnTo>
                  <a:lnTo>
                    <a:pt x="536" y="1604"/>
                  </a:lnTo>
                  <a:lnTo>
                    <a:pt x="534" y="1604"/>
                  </a:lnTo>
                  <a:lnTo>
                    <a:pt x="536" y="1604"/>
                  </a:lnTo>
                  <a:lnTo>
                    <a:pt x="536" y="1606"/>
                  </a:lnTo>
                  <a:lnTo>
                    <a:pt x="536" y="1607"/>
                  </a:lnTo>
                  <a:lnTo>
                    <a:pt x="536" y="1609"/>
                  </a:lnTo>
                  <a:lnTo>
                    <a:pt x="537" y="1609"/>
                  </a:lnTo>
                  <a:lnTo>
                    <a:pt x="536" y="1609"/>
                  </a:lnTo>
                  <a:lnTo>
                    <a:pt x="537" y="1610"/>
                  </a:lnTo>
                  <a:lnTo>
                    <a:pt x="536" y="1610"/>
                  </a:lnTo>
                  <a:lnTo>
                    <a:pt x="536" y="1612"/>
                  </a:lnTo>
                  <a:lnTo>
                    <a:pt x="536" y="1610"/>
                  </a:lnTo>
                  <a:lnTo>
                    <a:pt x="537" y="1610"/>
                  </a:lnTo>
                  <a:lnTo>
                    <a:pt x="537" y="1612"/>
                  </a:lnTo>
                  <a:lnTo>
                    <a:pt x="537" y="1614"/>
                  </a:lnTo>
                  <a:lnTo>
                    <a:pt x="539" y="1614"/>
                  </a:lnTo>
                  <a:lnTo>
                    <a:pt x="539" y="1615"/>
                  </a:lnTo>
                  <a:lnTo>
                    <a:pt x="539" y="1617"/>
                  </a:lnTo>
                  <a:lnTo>
                    <a:pt x="537" y="1617"/>
                  </a:lnTo>
                  <a:lnTo>
                    <a:pt x="539" y="1617"/>
                  </a:lnTo>
                  <a:lnTo>
                    <a:pt x="539" y="1619"/>
                  </a:lnTo>
                  <a:lnTo>
                    <a:pt x="540" y="1620"/>
                  </a:lnTo>
                  <a:lnTo>
                    <a:pt x="539" y="1620"/>
                  </a:lnTo>
                  <a:lnTo>
                    <a:pt x="539" y="1619"/>
                  </a:lnTo>
                  <a:lnTo>
                    <a:pt x="537" y="1619"/>
                  </a:lnTo>
                  <a:lnTo>
                    <a:pt x="537" y="1620"/>
                  </a:lnTo>
                  <a:lnTo>
                    <a:pt x="537" y="1619"/>
                  </a:lnTo>
                  <a:lnTo>
                    <a:pt x="537" y="1620"/>
                  </a:lnTo>
                  <a:lnTo>
                    <a:pt x="536" y="1620"/>
                  </a:lnTo>
                  <a:lnTo>
                    <a:pt x="537" y="1620"/>
                  </a:lnTo>
                  <a:lnTo>
                    <a:pt x="536" y="1620"/>
                  </a:lnTo>
                  <a:lnTo>
                    <a:pt x="536" y="1619"/>
                  </a:lnTo>
                  <a:lnTo>
                    <a:pt x="537" y="1619"/>
                  </a:lnTo>
                  <a:lnTo>
                    <a:pt x="536" y="1619"/>
                  </a:lnTo>
                  <a:lnTo>
                    <a:pt x="536" y="1617"/>
                  </a:lnTo>
                  <a:lnTo>
                    <a:pt x="537" y="1617"/>
                  </a:lnTo>
                  <a:lnTo>
                    <a:pt x="536" y="1617"/>
                  </a:lnTo>
                  <a:lnTo>
                    <a:pt x="536" y="1615"/>
                  </a:lnTo>
                  <a:lnTo>
                    <a:pt x="536" y="1614"/>
                  </a:lnTo>
                  <a:lnTo>
                    <a:pt x="534" y="1612"/>
                  </a:lnTo>
                  <a:lnTo>
                    <a:pt x="534" y="1614"/>
                  </a:lnTo>
                  <a:lnTo>
                    <a:pt x="534" y="1612"/>
                  </a:lnTo>
                  <a:lnTo>
                    <a:pt x="532" y="1614"/>
                  </a:lnTo>
                  <a:lnTo>
                    <a:pt x="532" y="1612"/>
                  </a:lnTo>
                  <a:lnTo>
                    <a:pt x="532" y="1610"/>
                  </a:lnTo>
                  <a:lnTo>
                    <a:pt x="532" y="1612"/>
                  </a:lnTo>
                  <a:lnTo>
                    <a:pt x="531" y="1612"/>
                  </a:lnTo>
                  <a:lnTo>
                    <a:pt x="532" y="1612"/>
                  </a:lnTo>
                  <a:lnTo>
                    <a:pt x="532" y="1614"/>
                  </a:lnTo>
                  <a:lnTo>
                    <a:pt x="531" y="1614"/>
                  </a:lnTo>
                  <a:lnTo>
                    <a:pt x="531" y="1612"/>
                  </a:lnTo>
                  <a:lnTo>
                    <a:pt x="531" y="1610"/>
                  </a:lnTo>
                  <a:lnTo>
                    <a:pt x="532" y="1610"/>
                  </a:lnTo>
                  <a:lnTo>
                    <a:pt x="531" y="1610"/>
                  </a:lnTo>
                  <a:lnTo>
                    <a:pt x="531" y="1609"/>
                  </a:lnTo>
                  <a:lnTo>
                    <a:pt x="532" y="1609"/>
                  </a:lnTo>
                  <a:lnTo>
                    <a:pt x="534" y="1610"/>
                  </a:lnTo>
                  <a:lnTo>
                    <a:pt x="534" y="1609"/>
                  </a:lnTo>
                  <a:lnTo>
                    <a:pt x="536" y="1609"/>
                  </a:lnTo>
                  <a:lnTo>
                    <a:pt x="536" y="1607"/>
                  </a:lnTo>
                  <a:lnTo>
                    <a:pt x="534" y="1607"/>
                  </a:lnTo>
                  <a:lnTo>
                    <a:pt x="532" y="1607"/>
                  </a:lnTo>
                  <a:lnTo>
                    <a:pt x="534" y="1607"/>
                  </a:lnTo>
                  <a:lnTo>
                    <a:pt x="532" y="1607"/>
                  </a:lnTo>
                  <a:lnTo>
                    <a:pt x="532" y="1606"/>
                  </a:lnTo>
                  <a:lnTo>
                    <a:pt x="532" y="1607"/>
                  </a:lnTo>
                  <a:lnTo>
                    <a:pt x="532" y="1606"/>
                  </a:lnTo>
                  <a:lnTo>
                    <a:pt x="532" y="1607"/>
                  </a:lnTo>
                  <a:lnTo>
                    <a:pt x="531" y="1607"/>
                  </a:lnTo>
                  <a:lnTo>
                    <a:pt x="531" y="1606"/>
                  </a:lnTo>
                  <a:lnTo>
                    <a:pt x="529" y="1606"/>
                  </a:lnTo>
                  <a:lnTo>
                    <a:pt x="529" y="1604"/>
                  </a:lnTo>
                  <a:lnTo>
                    <a:pt x="529" y="1606"/>
                  </a:lnTo>
                  <a:lnTo>
                    <a:pt x="531" y="1606"/>
                  </a:lnTo>
                  <a:lnTo>
                    <a:pt x="531" y="1604"/>
                  </a:lnTo>
                  <a:lnTo>
                    <a:pt x="531" y="1606"/>
                  </a:lnTo>
                  <a:lnTo>
                    <a:pt x="531" y="1604"/>
                  </a:lnTo>
                  <a:lnTo>
                    <a:pt x="532" y="1604"/>
                  </a:lnTo>
                  <a:lnTo>
                    <a:pt x="531" y="1604"/>
                  </a:lnTo>
                  <a:lnTo>
                    <a:pt x="532" y="1604"/>
                  </a:lnTo>
                  <a:lnTo>
                    <a:pt x="531" y="1604"/>
                  </a:lnTo>
                  <a:lnTo>
                    <a:pt x="531" y="1602"/>
                  </a:lnTo>
                  <a:lnTo>
                    <a:pt x="531" y="1601"/>
                  </a:lnTo>
                  <a:lnTo>
                    <a:pt x="532" y="1601"/>
                  </a:lnTo>
                  <a:lnTo>
                    <a:pt x="532" y="1599"/>
                  </a:lnTo>
                  <a:lnTo>
                    <a:pt x="531" y="1601"/>
                  </a:lnTo>
                  <a:lnTo>
                    <a:pt x="532" y="1599"/>
                  </a:lnTo>
                  <a:lnTo>
                    <a:pt x="531" y="1599"/>
                  </a:lnTo>
                  <a:lnTo>
                    <a:pt x="531" y="1597"/>
                  </a:lnTo>
                  <a:lnTo>
                    <a:pt x="532" y="1597"/>
                  </a:lnTo>
                  <a:lnTo>
                    <a:pt x="532" y="1596"/>
                  </a:lnTo>
                  <a:lnTo>
                    <a:pt x="531" y="1597"/>
                  </a:lnTo>
                  <a:lnTo>
                    <a:pt x="531" y="1596"/>
                  </a:lnTo>
                  <a:lnTo>
                    <a:pt x="532" y="1596"/>
                  </a:lnTo>
                  <a:close/>
                  <a:moveTo>
                    <a:pt x="529" y="1594"/>
                  </a:moveTo>
                  <a:lnTo>
                    <a:pt x="531" y="1594"/>
                  </a:lnTo>
                  <a:lnTo>
                    <a:pt x="529" y="1594"/>
                  </a:lnTo>
                  <a:close/>
                  <a:moveTo>
                    <a:pt x="599" y="1599"/>
                  </a:moveTo>
                  <a:lnTo>
                    <a:pt x="597" y="1601"/>
                  </a:lnTo>
                  <a:lnTo>
                    <a:pt x="597" y="1602"/>
                  </a:lnTo>
                  <a:lnTo>
                    <a:pt x="597" y="1604"/>
                  </a:lnTo>
                  <a:lnTo>
                    <a:pt x="597" y="1606"/>
                  </a:lnTo>
                  <a:lnTo>
                    <a:pt x="597" y="1607"/>
                  </a:lnTo>
                  <a:lnTo>
                    <a:pt x="597" y="1609"/>
                  </a:lnTo>
                  <a:lnTo>
                    <a:pt x="596" y="1610"/>
                  </a:lnTo>
                  <a:lnTo>
                    <a:pt x="597" y="1610"/>
                  </a:lnTo>
                  <a:lnTo>
                    <a:pt x="596" y="1612"/>
                  </a:lnTo>
                  <a:lnTo>
                    <a:pt x="596" y="1614"/>
                  </a:lnTo>
                  <a:lnTo>
                    <a:pt x="596" y="1615"/>
                  </a:lnTo>
                  <a:lnTo>
                    <a:pt x="596" y="1617"/>
                  </a:lnTo>
                  <a:lnTo>
                    <a:pt x="594" y="1619"/>
                  </a:lnTo>
                  <a:lnTo>
                    <a:pt x="594" y="1622"/>
                  </a:lnTo>
                  <a:lnTo>
                    <a:pt x="594" y="1623"/>
                  </a:lnTo>
                  <a:lnTo>
                    <a:pt x="596" y="1625"/>
                  </a:lnTo>
                  <a:lnTo>
                    <a:pt x="596" y="1627"/>
                  </a:lnTo>
                  <a:lnTo>
                    <a:pt x="594" y="1627"/>
                  </a:lnTo>
                  <a:lnTo>
                    <a:pt x="594" y="1628"/>
                  </a:lnTo>
                  <a:lnTo>
                    <a:pt x="594" y="1627"/>
                  </a:lnTo>
                  <a:lnTo>
                    <a:pt x="592" y="1627"/>
                  </a:lnTo>
                  <a:lnTo>
                    <a:pt x="591" y="1628"/>
                  </a:lnTo>
                  <a:lnTo>
                    <a:pt x="589" y="1628"/>
                  </a:lnTo>
                  <a:lnTo>
                    <a:pt x="589" y="1630"/>
                  </a:lnTo>
                  <a:lnTo>
                    <a:pt x="588" y="1630"/>
                  </a:lnTo>
                  <a:lnTo>
                    <a:pt x="588" y="1632"/>
                  </a:lnTo>
                  <a:lnTo>
                    <a:pt x="586" y="1632"/>
                  </a:lnTo>
                  <a:lnTo>
                    <a:pt x="584" y="1632"/>
                  </a:lnTo>
                  <a:lnTo>
                    <a:pt x="583" y="1633"/>
                  </a:lnTo>
                  <a:lnTo>
                    <a:pt x="583" y="1632"/>
                  </a:lnTo>
                  <a:lnTo>
                    <a:pt x="583" y="1633"/>
                  </a:lnTo>
                  <a:lnTo>
                    <a:pt x="581" y="1633"/>
                  </a:lnTo>
                  <a:lnTo>
                    <a:pt x="581" y="1632"/>
                  </a:lnTo>
                  <a:lnTo>
                    <a:pt x="579" y="1630"/>
                  </a:lnTo>
                  <a:lnTo>
                    <a:pt x="579" y="1628"/>
                  </a:lnTo>
                  <a:lnTo>
                    <a:pt x="578" y="1628"/>
                  </a:lnTo>
                  <a:lnTo>
                    <a:pt x="578" y="1627"/>
                  </a:lnTo>
                  <a:lnTo>
                    <a:pt x="576" y="1625"/>
                  </a:lnTo>
                  <a:lnTo>
                    <a:pt x="575" y="1623"/>
                  </a:lnTo>
                  <a:lnTo>
                    <a:pt x="575" y="1622"/>
                  </a:lnTo>
                  <a:lnTo>
                    <a:pt x="573" y="1622"/>
                  </a:lnTo>
                  <a:lnTo>
                    <a:pt x="573" y="1620"/>
                  </a:lnTo>
                  <a:lnTo>
                    <a:pt x="571" y="1619"/>
                  </a:lnTo>
                  <a:lnTo>
                    <a:pt x="570" y="1619"/>
                  </a:lnTo>
                  <a:lnTo>
                    <a:pt x="570" y="1617"/>
                  </a:lnTo>
                  <a:lnTo>
                    <a:pt x="570" y="1615"/>
                  </a:lnTo>
                  <a:lnTo>
                    <a:pt x="571" y="1615"/>
                  </a:lnTo>
                  <a:lnTo>
                    <a:pt x="573" y="1615"/>
                  </a:lnTo>
                  <a:lnTo>
                    <a:pt x="573" y="1614"/>
                  </a:lnTo>
                  <a:lnTo>
                    <a:pt x="575" y="1615"/>
                  </a:lnTo>
                  <a:lnTo>
                    <a:pt x="575" y="1614"/>
                  </a:lnTo>
                  <a:lnTo>
                    <a:pt x="576" y="1614"/>
                  </a:lnTo>
                  <a:lnTo>
                    <a:pt x="578" y="1615"/>
                  </a:lnTo>
                  <a:lnTo>
                    <a:pt x="578" y="1617"/>
                  </a:lnTo>
                  <a:lnTo>
                    <a:pt x="579" y="1617"/>
                  </a:lnTo>
                  <a:lnTo>
                    <a:pt x="579" y="1619"/>
                  </a:lnTo>
                  <a:lnTo>
                    <a:pt x="579" y="1617"/>
                  </a:lnTo>
                  <a:lnTo>
                    <a:pt x="578" y="1617"/>
                  </a:lnTo>
                  <a:lnTo>
                    <a:pt x="578" y="1615"/>
                  </a:lnTo>
                  <a:lnTo>
                    <a:pt x="576" y="1614"/>
                  </a:lnTo>
                  <a:lnTo>
                    <a:pt x="576" y="1612"/>
                  </a:lnTo>
                  <a:lnTo>
                    <a:pt x="578" y="1612"/>
                  </a:lnTo>
                  <a:lnTo>
                    <a:pt x="578" y="1610"/>
                  </a:lnTo>
                  <a:lnTo>
                    <a:pt x="579" y="1610"/>
                  </a:lnTo>
                  <a:lnTo>
                    <a:pt x="579" y="1612"/>
                  </a:lnTo>
                  <a:lnTo>
                    <a:pt x="579" y="1610"/>
                  </a:lnTo>
                  <a:lnTo>
                    <a:pt x="579" y="1609"/>
                  </a:lnTo>
                  <a:lnTo>
                    <a:pt x="581" y="1609"/>
                  </a:lnTo>
                  <a:lnTo>
                    <a:pt x="583" y="1609"/>
                  </a:lnTo>
                  <a:lnTo>
                    <a:pt x="583" y="1610"/>
                  </a:lnTo>
                  <a:lnTo>
                    <a:pt x="583" y="1609"/>
                  </a:lnTo>
                  <a:lnTo>
                    <a:pt x="583" y="1607"/>
                  </a:lnTo>
                  <a:lnTo>
                    <a:pt x="581" y="1607"/>
                  </a:lnTo>
                  <a:lnTo>
                    <a:pt x="583" y="1607"/>
                  </a:lnTo>
                  <a:lnTo>
                    <a:pt x="584" y="1606"/>
                  </a:lnTo>
                  <a:lnTo>
                    <a:pt x="584" y="1607"/>
                  </a:lnTo>
                  <a:lnTo>
                    <a:pt x="584" y="1609"/>
                  </a:lnTo>
                  <a:lnTo>
                    <a:pt x="584" y="1607"/>
                  </a:lnTo>
                  <a:lnTo>
                    <a:pt x="586" y="1607"/>
                  </a:lnTo>
                  <a:lnTo>
                    <a:pt x="584" y="1607"/>
                  </a:lnTo>
                  <a:lnTo>
                    <a:pt x="586" y="1606"/>
                  </a:lnTo>
                  <a:lnTo>
                    <a:pt x="588" y="1606"/>
                  </a:lnTo>
                  <a:lnTo>
                    <a:pt x="588" y="1604"/>
                  </a:lnTo>
                  <a:lnTo>
                    <a:pt x="589" y="1602"/>
                  </a:lnTo>
                  <a:lnTo>
                    <a:pt x="589" y="1601"/>
                  </a:lnTo>
                  <a:lnTo>
                    <a:pt x="591" y="1601"/>
                  </a:lnTo>
                  <a:lnTo>
                    <a:pt x="589" y="1599"/>
                  </a:lnTo>
                  <a:lnTo>
                    <a:pt x="591" y="1599"/>
                  </a:lnTo>
                  <a:lnTo>
                    <a:pt x="591" y="1597"/>
                  </a:lnTo>
                  <a:lnTo>
                    <a:pt x="592" y="1597"/>
                  </a:lnTo>
                  <a:lnTo>
                    <a:pt x="592" y="1596"/>
                  </a:lnTo>
                  <a:lnTo>
                    <a:pt x="591" y="1596"/>
                  </a:lnTo>
                  <a:lnTo>
                    <a:pt x="591" y="1597"/>
                  </a:lnTo>
                  <a:lnTo>
                    <a:pt x="589" y="1597"/>
                  </a:lnTo>
                  <a:lnTo>
                    <a:pt x="589" y="1596"/>
                  </a:lnTo>
                  <a:lnTo>
                    <a:pt x="591" y="1596"/>
                  </a:lnTo>
                  <a:lnTo>
                    <a:pt x="591" y="1594"/>
                  </a:lnTo>
                  <a:lnTo>
                    <a:pt x="592" y="1594"/>
                  </a:lnTo>
                  <a:lnTo>
                    <a:pt x="594" y="1594"/>
                  </a:lnTo>
                  <a:lnTo>
                    <a:pt x="594" y="1596"/>
                  </a:lnTo>
                  <a:lnTo>
                    <a:pt x="594" y="1597"/>
                  </a:lnTo>
                  <a:lnTo>
                    <a:pt x="594" y="1596"/>
                  </a:lnTo>
                  <a:lnTo>
                    <a:pt x="596" y="1596"/>
                  </a:lnTo>
                  <a:lnTo>
                    <a:pt x="596" y="1594"/>
                  </a:lnTo>
                  <a:lnTo>
                    <a:pt x="597" y="1596"/>
                  </a:lnTo>
                  <a:lnTo>
                    <a:pt x="599" y="1597"/>
                  </a:lnTo>
                  <a:lnTo>
                    <a:pt x="599" y="1599"/>
                  </a:lnTo>
                  <a:close/>
                  <a:moveTo>
                    <a:pt x="529" y="1594"/>
                  </a:moveTo>
                  <a:lnTo>
                    <a:pt x="529" y="1593"/>
                  </a:lnTo>
                  <a:lnTo>
                    <a:pt x="531" y="1593"/>
                  </a:lnTo>
                  <a:lnTo>
                    <a:pt x="529" y="1594"/>
                  </a:lnTo>
                  <a:close/>
                  <a:moveTo>
                    <a:pt x="527" y="1591"/>
                  </a:moveTo>
                  <a:lnTo>
                    <a:pt x="529" y="1591"/>
                  </a:lnTo>
                  <a:lnTo>
                    <a:pt x="529" y="1593"/>
                  </a:lnTo>
                  <a:lnTo>
                    <a:pt x="531" y="1593"/>
                  </a:lnTo>
                  <a:lnTo>
                    <a:pt x="529" y="1593"/>
                  </a:lnTo>
                  <a:lnTo>
                    <a:pt x="527" y="1593"/>
                  </a:lnTo>
                  <a:lnTo>
                    <a:pt x="529" y="1591"/>
                  </a:lnTo>
                  <a:lnTo>
                    <a:pt x="527" y="1591"/>
                  </a:lnTo>
                  <a:lnTo>
                    <a:pt x="527" y="1593"/>
                  </a:lnTo>
                  <a:lnTo>
                    <a:pt x="527" y="1591"/>
                  </a:lnTo>
                  <a:lnTo>
                    <a:pt x="526" y="1591"/>
                  </a:lnTo>
                  <a:lnTo>
                    <a:pt x="527" y="1591"/>
                  </a:lnTo>
                  <a:close/>
                  <a:moveTo>
                    <a:pt x="571" y="1589"/>
                  </a:moveTo>
                  <a:lnTo>
                    <a:pt x="571" y="1591"/>
                  </a:lnTo>
                  <a:lnTo>
                    <a:pt x="571" y="1589"/>
                  </a:lnTo>
                  <a:close/>
                  <a:moveTo>
                    <a:pt x="550" y="1589"/>
                  </a:moveTo>
                  <a:lnTo>
                    <a:pt x="552" y="1589"/>
                  </a:lnTo>
                  <a:lnTo>
                    <a:pt x="552" y="1591"/>
                  </a:lnTo>
                  <a:lnTo>
                    <a:pt x="553" y="1591"/>
                  </a:lnTo>
                  <a:lnTo>
                    <a:pt x="552" y="1591"/>
                  </a:lnTo>
                  <a:lnTo>
                    <a:pt x="553" y="1591"/>
                  </a:lnTo>
                  <a:lnTo>
                    <a:pt x="553" y="1593"/>
                  </a:lnTo>
                  <a:lnTo>
                    <a:pt x="553" y="1591"/>
                  </a:lnTo>
                  <a:lnTo>
                    <a:pt x="553" y="1593"/>
                  </a:lnTo>
                  <a:lnTo>
                    <a:pt x="555" y="1593"/>
                  </a:lnTo>
                  <a:lnTo>
                    <a:pt x="557" y="1594"/>
                  </a:lnTo>
                  <a:lnTo>
                    <a:pt x="557" y="1596"/>
                  </a:lnTo>
                  <a:lnTo>
                    <a:pt x="557" y="1594"/>
                  </a:lnTo>
                  <a:lnTo>
                    <a:pt x="558" y="1596"/>
                  </a:lnTo>
                  <a:lnTo>
                    <a:pt x="557" y="1596"/>
                  </a:lnTo>
                  <a:lnTo>
                    <a:pt x="555" y="1594"/>
                  </a:lnTo>
                  <a:lnTo>
                    <a:pt x="553" y="1593"/>
                  </a:lnTo>
                  <a:lnTo>
                    <a:pt x="552" y="1591"/>
                  </a:lnTo>
                  <a:lnTo>
                    <a:pt x="550" y="1589"/>
                  </a:lnTo>
                  <a:close/>
                  <a:moveTo>
                    <a:pt x="527" y="1589"/>
                  </a:moveTo>
                  <a:lnTo>
                    <a:pt x="529" y="1589"/>
                  </a:lnTo>
                  <a:lnTo>
                    <a:pt x="529" y="1591"/>
                  </a:lnTo>
                  <a:lnTo>
                    <a:pt x="527" y="1589"/>
                  </a:lnTo>
                  <a:lnTo>
                    <a:pt x="529" y="1589"/>
                  </a:lnTo>
                  <a:lnTo>
                    <a:pt x="527" y="1589"/>
                  </a:lnTo>
                  <a:close/>
                  <a:moveTo>
                    <a:pt x="540" y="1589"/>
                  </a:moveTo>
                  <a:lnTo>
                    <a:pt x="540" y="1588"/>
                  </a:lnTo>
                  <a:lnTo>
                    <a:pt x="540" y="1589"/>
                  </a:lnTo>
                  <a:close/>
                  <a:moveTo>
                    <a:pt x="552" y="1588"/>
                  </a:moveTo>
                  <a:lnTo>
                    <a:pt x="553" y="1589"/>
                  </a:lnTo>
                  <a:lnTo>
                    <a:pt x="552" y="1589"/>
                  </a:lnTo>
                  <a:lnTo>
                    <a:pt x="552" y="1588"/>
                  </a:lnTo>
                  <a:close/>
                  <a:moveTo>
                    <a:pt x="547" y="1588"/>
                  </a:moveTo>
                  <a:lnTo>
                    <a:pt x="549" y="1588"/>
                  </a:lnTo>
                  <a:lnTo>
                    <a:pt x="549" y="1589"/>
                  </a:lnTo>
                  <a:lnTo>
                    <a:pt x="549" y="1588"/>
                  </a:lnTo>
                  <a:lnTo>
                    <a:pt x="547" y="1588"/>
                  </a:lnTo>
                  <a:close/>
                  <a:moveTo>
                    <a:pt x="527" y="1588"/>
                  </a:moveTo>
                  <a:lnTo>
                    <a:pt x="529" y="1588"/>
                  </a:lnTo>
                  <a:lnTo>
                    <a:pt x="529" y="1589"/>
                  </a:lnTo>
                  <a:lnTo>
                    <a:pt x="527" y="1588"/>
                  </a:lnTo>
                  <a:lnTo>
                    <a:pt x="529" y="1589"/>
                  </a:lnTo>
                  <a:lnTo>
                    <a:pt x="527" y="1588"/>
                  </a:lnTo>
                  <a:close/>
                  <a:moveTo>
                    <a:pt x="539" y="1588"/>
                  </a:moveTo>
                  <a:lnTo>
                    <a:pt x="539" y="1586"/>
                  </a:lnTo>
                  <a:lnTo>
                    <a:pt x="539" y="1588"/>
                  </a:lnTo>
                  <a:close/>
                  <a:moveTo>
                    <a:pt x="536" y="1586"/>
                  </a:moveTo>
                  <a:lnTo>
                    <a:pt x="537" y="1586"/>
                  </a:lnTo>
                  <a:lnTo>
                    <a:pt x="536" y="1586"/>
                  </a:lnTo>
                  <a:close/>
                  <a:moveTo>
                    <a:pt x="539" y="1586"/>
                  </a:moveTo>
                  <a:lnTo>
                    <a:pt x="539" y="1588"/>
                  </a:lnTo>
                  <a:lnTo>
                    <a:pt x="539" y="1586"/>
                  </a:lnTo>
                  <a:close/>
                  <a:moveTo>
                    <a:pt x="537" y="1586"/>
                  </a:moveTo>
                  <a:lnTo>
                    <a:pt x="537" y="1588"/>
                  </a:lnTo>
                  <a:lnTo>
                    <a:pt x="537" y="1586"/>
                  </a:lnTo>
                  <a:close/>
                  <a:moveTo>
                    <a:pt x="542" y="1586"/>
                  </a:moveTo>
                  <a:lnTo>
                    <a:pt x="544" y="1586"/>
                  </a:lnTo>
                  <a:lnTo>
                    <a:pt x="542" y="1586"/>
                  </a:lnTo>
                  <a:close/>
                  <a:moveTo>
                    <a:pt x="539" y="1586"/>
                  </a:moveTo>
                  <a:lnTo>
                    <a:pt x="537" y="1586"/>
                  </a:lnTo>
                  <a:lnTo>
                    <a:pt x="539" y="1586"/>
                  </a:lnTo>
                  <a:lnTo>
                    <a:pt x="539" y="1588"/>
                  </a:lnTo>
                  <a:lnTo>
                    <a:pt x="537" y="1588"/>
                  </a:lnTo>
                  <a:lnTo>
                    <a:pt x="537" y="1586"/>
                  </a:lnTo>
                  <a:lnTo>
                    <a:pt x="539" y="1586"/>
                  </a:lnTo>
                  <a:close/>
                  <a:moveTo>
                    <a:pt x="542" y="1584"/>
                  </a:moveTo>
                  <a:lnTo>
                    <a:pt x="542" y="1586"/>
                  </a:lnTo>
                  <a:lnTo>
                    <a:pt x="542" y="1584"/>
                  </a:lnTo>
                  <a:close/>
                  <a:moveTo>
                    <a:pt x="536" y="1584"/>
                  </a:moveTo>
                  <a:lnTo>
                    <a:pt x="537" y="1584"/>
                  </a:lnTo>
                  <a:lnTo>
                    <a:pt x="536" y="1584"/>
                  </a:lnTo>
                  <a:close/>
                  <a:moveTo>
                    <a:pt x="563" y="1584"/>
                  </a:moveTo>
                  <a:lnTo>
                    <a:pt x="562" y="1584"/>
                  </a:lnTo>
                  <a:lnTo>
                    <a:pt x="563" y="1584"/>
                  </a:lnTo>
                  <a:close/>
                  <a:moveTo>
                    <a:pt x="549" y="1583"/>
                  </a:moveTo>
                  <a:lnTo>
                    <a:pt x="549" y="1584"/>
                  </a:lnTo>
                  <a:lnTo>
                    <a:pt x="549" y="1583"/>
                  </a:lnTo>
                  <a:close/>
                  <a:moveTo>
                    <a:pt x="527" y="1583"/>
                  </a:moveTo>
                  <a:lnTo>
                    <a:pt x="526" y="1583"/>
                  </a:lnTo>
                  <a:lnTo>
                    <a:pt x="527" y="1583"/>
                  </a:lnTo>
                  <a:close/>
                  <a:moveTo>
                    <a:pt x="537" y="1581"/>
                  </a:moveTo>
                  <a:lnTo>
                    <a:pt x="537" y="1583"/>
                  </a:lnTo>
                  <a:lnTo>
                    <a:pt x="537" y="1581"/>
                  </a:lnTo>
                  <a:close/>
                  <a:moveTo>
                    <a:pt x="560" y="1583"/>
                  </a:moveTo>
                  <a:lnTo>
                    <a:pt x="560" y="1581"/>
                  </a:lnTo>
                  <a:lnTo>
                    <a:pt x="560" y="1583"/>
                  </a:lnTo>
                  <a:close/>
                  <a:moveTo>
                    <a:pt x="537" y="1581"/>
                  </a:moveTo>
                  <a:lnTo>
                    <a:pt x="537" y="1583"/>
                  </a:lnTo>
                  <a:lnTo>
                    <a:pt x="537" y="1581"/>
                  </a:lnTo>
                  <a:close/>
                  <a:moveTo>
                    <a:pt x="565" y="1581"/>
                  </a:moveTo>
                  <a:lnTo>
                    <a:pt x="566" y="1581"/>
                  </a:lnTo>
                  <a:lnTo>
                    <a:pt x="566" y="1583"/>
                  </a:lnTo>
                  <a:lnTo>
                    <a:pt x="565" y="1583"/>
                  </a:lnTo>
                  <a:lnTo>
                    <a:pt x="565" y="1581"/>
                  </a:lnTo>
                  <a:close/>
                  <a:moveTo>
                    <a:pt x="537" y="1581"/>
                  </a:moveTo>
                  <a:lnTo>
                    <a:pt x="539" y="1583"/>
                  </a:lnTo>
                  <a:lnTo>
                    <a:pt x="537" y="1583"/>
                  </a:lnTo>
                  <a:lnTo>
                    <a:pt x="537" y="1581"/>
                  </a:lnTo>
                  <a:lnTo>
                    <a:pt x="537" y="1583"/>
                  </a:lnTo>
                  <a:lnTo>
                    <a:pt x="537" y="1581"/>
                  </a:lnTo>
                  <a:close/>
                  <a:moveTo>
                    <a:pt x="526" y="1580"/>
                  </a:moveTo>
                  <a:lnTo>
                    <a:pt x="526" y="1581"/>
                  </a:lnTo>
                  <a:lnTo>
                    <a:pt x="526" y="1580"/>
                  </a:lnTo>
                  <a:close/>
                  <a:moveTo>
                    <a:pt x="537" y="1580"/>
                  </a:moveTo>
                  <a:lnTo>
                    <a:pt x="539" y="1580"/>
                  </a:lnTo>
                  <a:lnTo>
                    <a:pt x="537" y="1580"/>
                  </a:lnTo>
                  <a:close/>
                  <a:moveTo>
                    <a:pt x="524" y="1580"/>
                  </a:moveTo>
                  <a:lnTo>
                    <a:pt x="524" y="1578"/>
                  </a:lnTo>
                  <a:lnTo>
                    <a:pt x="524" y="1580"/>
                  </a:lnTo>
                  <a:close/>
                  <a:moveTo>
                    <a:pt x="563" y="1580"/>
                  </a:moveTo>
                  <a:lnTo>
                    <a:pt x="563" y="1578"/>
                  </a:lnTo>
                  <a:lnTo>
                    <a:pt x="563" y="1580"/>
                  </a:lnTo>
                  <a:lnTo>
                    <a:pt x="563" y="1578"/>
                  </a:lnTo>
                  <a:lnTo>
                    <a:pt x="563" y="1580"/>
                  </a:lnTo>
                  <a:lnTo>
                    <a:pt x="563" y="1581"/>
                  </a:lnTo>
                  <a:lnTo>
                    <a:pt x="563" y="1580"/>
                  </a:lnTo>
                  <a:close/>
                  <a:moveTo>
                    <a:pt x="536" y="1578"/>
                  </a:moveTo>
                  <a:lnTo>
                    <a:pt x="537" y="1580"/>
                  </a:lnTo>
                  <a:lnTo>
                    <a:pt x="536" y="1580"/>
                  </a:lnTo>
                  <a:lnTo>
                    <a:pt x="536" y="1578"/>
                  </a:lnTo>
                  <a:close/>
                  <a:moveTo>
                    <a:pt x="534" y="1578"/>
                  </a:moveTo>
                  <a:lnTo>
                    <a:pt x="536" y="1578"/>
                  </a:lnTo>
                  <a:lnTo>
                    <a:pt x="536" y="1580"/>
                  </a:lnTo>
                  <a:lnTo>
                    <a:pt x="534" y="1578"/>
                  </a:lnTo>
                  <a:close/>
                  <a:moveTo>
                    <a:pt x="534" y="1578"/>
                  </a:moveTo>
                  <a:lnTo>
                    <a:pt x="536" y="1578"/>
                  </a:lnTo>
                  <a:lnTo>
                    <a:pt x="534" y="1578"/>
                  </a:lnTo>
                  <a:close/>
                  <a:moveTo>
                    <a:pt x="527" y="1583"/>
                  </a:moveTo>
                  <a:lnTo>
                    <a:pt x="527" y="1581"/>
                  </a:lnTo>
                  <a:lnTo>
                    <a:pt x="526" y="1581"/>
                  </a:lnTo>
                  <a:lnTo>
                    <a:pt x="526" y="1580"/>
                  </a:lnTo>
                  <a:lnTo>
                    <a:pt x="527" y="1580"/>
                  </a:lnTo>
                  <a:lnTo>
                    <a:pt x="526" y="1580"/>
                  </a:lnTo>
                  <a:lnTo>
                    <a:pt x="526" y="1578"/>
                  </a:lnTo>
                  <a:lnTo>
                    <a:pt x="527" y="1578"/>
                  </a:lnTo>
                  <a:lnTo>
                    <a:pt x="527" y="1580"/>
                  </a:lnTo>
                  <a:lnTo>
                    <a:pt x="527" y="1578"/>
                  </a:lnTo>
                  <a:lnTo>
                    <a:pt x="529" y="1578"/>
                  </a:lnTo>
                  <a:lnTo>
                    <a:pt x="527" y="1578"/>
                  </a:lnTo>
                  <a:lnTo>
                    <a:pt x="529" y="1578"/>
                  </a:lnTo>
                  <a:lnTo>
                    <a:pt x="529" y="1580"/>
                  </a:lnTo>
                  <a:lnTo>
                    <a:pt x="529" y="1581"/>
                  </a:lnTo>
                  <a:lnTo>
                    <a:pt x="529" y="1583"/>
                  </a:lnTo>
                  <a:lnTo>
                    <a:pt x="527" y="1583"/>
                  </a:lnTo>
                  <a:close/>
                  <a:moveTo>
                    <a:pt x="534" y="1578"/>
                  </a:moveTo>
                  <a:lnTo>
                    <a:pt x="536" y="1578"/>
                  </a:lnTo>
                  <a:lnTo>
                    <a:pt x="534" y="1578"/>
                  </a:lnTo>
                  <a:close/>
                  <a:moveTo>
                    <a:pt x="542" y="1576"/>
                  </a:moveTo>
                  <a:lnTo>
                    <a:pt x="542" y="1578"/>
                  </a:lnTo>
                  <a:lnTo>
                    <a:pt x="542" y="1576"/>
                  </a:lnTo>
                  <a:close/>
                  <a:moveTo>
                    <a:pt x="532" y="1576"/>
                  </a:moveTo>
                  <a:lnTo>
                    <a:pt x="532" y="1578"/>
                  </a:lnTo>
                  <a:lnTo>
                    <a:pt x="532" y="1576"/>
                  </a:lnTo>
                  <a:close/>
                  <a:moveTo>
                    <a:pt x="526" y="1578"/>
                  </a:moveTo>
                  <a:lnTo>
                    <a:pt x="526" y="1576"/>
                  </a:lnTo>
                  <a:lnTo>
                    <a:pt x="526" y="1578"/>
                  </a:lnTo>
                  <a:close/>
                  <a:moveTo>
                    <a:pt x="526" y="1576"/>
                  </a:moveTo>
                  <a:lnTo>
                    <a:pt x="526" y="1578"/>
                  </a:lnTo>
                  <a:lnTo>
                    <a:pt x="524" y="1578"/>
                  </a:lnTo>
                  <a:lnTo>
                    <a:pt x="526" y="1578"/>
                  </a:lnTo>
                  <a:lnTo>
                    <a:pt x="526" y="1576"/>
                  </a:lnTo>
                  <a:close/>
                  <a:moveTo>
                    <a:pt x="544" y="1576"/>
                  </a:moveTo>
                  <a:lnTo>
                    <a:pt x="544" y="1578"/>
                  </a:lnTo>
                  <a:lnTo>
                    <a:pt x="544" y="1576"/>
                  </a:lnTo>
                  <a:close/>
                  <a:moveTo>
                    <a:pt x="565" y="1578"/>
                  </a:moveTo>
                  <a:lnTo>
                    <a:pt x="563" y="1578"/>
                  </a:lnTo>
                  <a:lnTo>
                    <a:pt x="563" y="1576"/>
                  </a:lnTo>
                  <a:lnTo>
                    <a:pt x="565" y="1578"/>
                  </a:lnTo>
                  <a:close/>
                  <a:moveTo>
                    <a:pt x="527" y="1576"/>
                  </a:moveTo>
                  <a:lnTo>
                    <a:pt x="527" y="1578"/>
                  </a:lnTo>
                  <a:lnTo>
                    <a:pt x="527" y="1576"/>
                  </a:lnTo>
                  <a:lnTo>
                    <a:pt x="526" y="1576"/>
                  </a:lnTo>
                  <a:lnTo>
                    <a:pt x="527" y="1576"/>
                  </a:lnTo>
                  <a:close/>
                  <a:moveTo>
                    <a:pt x="537" y="1576"/>
                  </a:moveTo>
                  <a:lnTo>
                    <a:pt x="537" y="1578"/>
                  </a:lnTo>
                  <a:lnTo>
                    <a:pt x="537" y="1576"/>
                  </a:lnTo>
                  <a:close/>
                  <a:moveTo>
                    <a:pt x="532" y="1576"/>
                  </a:moveTo>
                  <a:lnTo>
                    <a:pt x="534" y="1576"/>
                  </a:lnTo>
                  <a:lnTo>
                    <a:pt x="532" y="1576"/>
                  </a:lnTo>
                  <a:close/>
                  <a:moveTo>
                    <a:pt x="526" y="1576"/>
                  </a:moveTo>
                  <a:lnTo>
                    <a:pt x="527" y="1576"/>
                  </a:lnTo>
                  <a:lnTo>
                    <a:pt x="526" y="1576"/>
                  </a:lnTo>
                  <a:lnTo>
                    <a:pt x="524" y="1578"/>
                  </a:lnTo>
                  <a:lnTo>
                    <a:pt x="524" y="1576"/>
                  </a:lnTo>
                  <a:lnTo>
                    <a:pt x="526" y="1576"/>
                  </a:lnTo>
                  <a:close/>
                  <a:moveTo>
                    <a:pt x="526" y="1576"/>
                  </a:moveTo>
                  <a:lnTo>
                    <a:pt x="526" y="1575"/>
                  </a:lnTo>
                  <a:lnTo>
                    <a:pt x="526" y="1576"/>
                  </a:lnTo>
                  <a:close/>
                  <a:moveTo>
                    <a:pt x="536" y="1575"/>
                  </a:moveTo>
                  <a:lnTo>
                    <a:pt x="536" y="1576"/>
                  </a:lnTo>
                  <a:lnTo>
                    <a:pt x="536" y="1575"/>
                  </a:lnTo>
                  <a:close/>
                  <a:moveTo>
                    <a:pt x="544" y="1575"/>
                  </a:moveTo>
                  <a:lnTo>
                    <a:pt x="545" y="1575"/>
                  </a:lnTo>
                  <a:lnTo>
                    <a:pt x="545" y="1576"/>
                  </a:lnTo>
                  <a:lnTo>
                    <a:pt x="544" y="1576"/>
                  </a:lnTo>
                  <a:lnTo>
                    <a:pt x="544" y="1575"/>
                  </a:lnTo>
                  <a:close/>
                  <a:moveTo>
                    <a:pt x="524" y="1575"/>
                  </a:moveTo>
                  <a:lnTo>
                    <a:pt x="524" y="1576"/>
                  </a:lnTo>
                  <a:lnTo>
                    <a:pt x="524" y="1575"/>
                  </a:lnTo>
                  <a:close/>
                  <a:moveTo>
                    <a:pt x="536" y="1575"/>
                  </a:moveTo>
                  <a:lnTo>
                    <a:pt x="536" y="1576"/>
                  </a:lnTo>
                  <a:lnTo>
                    <a:pt x="536" y="1575"/>
                  </a:lnTo>
                  <a:close/>
                  <a:moveTo>
                    <a:pt x="558" y="1575"/>
                  </a:moveTo>
                  <a:lnTo>
                    <a:pt x="558" y="1576"/>
                  </a:lnTo>
                  <a:lnTo>
                    <a:pt x="558" y="1575"/>
                  </a:lnTo>
                  <a:close/>
                  <a:moveTo>
                    <a:pt x="571" y="1576"/>
                  </a:moveTo>
                  <a:lnTo>
                    <a:pt x="571" y="1575"/>
                  </a:lnTo>
                  <a:lnTo>
                    <a:pt x="571" y="1576"/>
                  </a:lnTo>
                  <a:close/>
                  <a:moveTo>
                    <a:pt x="534" y="1575"/>
                  </a:moveTo>
                  <a:lnTo>
                    <a:pt x="534" y="1576"/>
                  </a:lnTo>
                  <a:lnTo>
                    <a:pt x="534" y="1575"/>
                  </a:lnTo>
                  <a:close/>
                  <a:moveTo>
                    <a:pt x="562" y="1575"/>
                  </a:moveTo>
                  <a:lnTo>
                    <a:pt x="563" y="1575"/>
                  </a:lnTo>
                  <a:lnTo>
                    <a:pt x="562" y="1575"/>
                  </a:lnTo>
                  <a:close/>
                  <a:moveTo>
                    <a:pt x="540" y="1575"/>
                  </a:moveTo>
                  <a:lnTo>
                    <a:pt x="540" y="1576"/>
                  </a:lnTo>
                  <a:lnTo>
                    <a:pt x="540" y="1575"/>
                  </a:lnTo>
                  <a:close/>
                  <a:moveTo>
                    <a:pt x="532" y="1575"/>
                  </a:moveTo>
                  <a:lnTo>
                    <a:pt x="534" y="1575"/>
                  </a:lnTo>
                  <a:lnTo>
                    <a:pt x="532" y="1575"/>
                  </a:lnTo>
                  <a:close/>
                  <a:moveTo>
                    <a:pt x="558" y="1575"/>
                  </a:moveTo>
                  <a:lnTo>
                    <a:pt x="558" y="1576"/>
                  </a:lnTo>
                  <a:lnTo>
                    <a:pt x="557" y="1576"/>
                  </a:lnTo>
                  <a:lnTo>
                    <a:pt x="557" y="1575"/>
                  </a:lnTo>
                  <a:lnTo>
                    <a:pt x="558" y="1575"/>
                  </a:lnTo>
                  <a:close/>
                  <a:moveTo>
                    <a:pt x="537" y="1575"/>
                  </a:moveTo>
                  <a:lnTo>
                    <a:pt x="537" y="1576"/>
                  </a:lnTo>
                  <a:lnTo>
                    <a:pt x="537" y="1575"/>
                  </a:lnTo>
                  <a:close/>
                  <a:moveTo>
                    <a:pt x="536" y="1576"/>
                  </a:moveTo>
                  <a:lnTo>
                    <a:pt x="537" y="1576"/>
                  </a:lnTo>
                  <a:lnTo>
                    <a:pt x="537" y="1578"/>
                  </a:lnTo>
                  <a:lnTo>
                    <a:pt x="537" y="1580"/>
                  </a:lnTo>
                  <a:lnTo>
                    <a:pt x="539" y="1580"/>
                  </a:lnTo>
                  <a:lnTo>
                    <a:pt x="537" y="1580"/>
                  </a:lnTo>
                  <a:lnTo>
                    <a:pt x="537" y="1578"/>
                  </a:lnTo>
                  <a:lnTo>
                    <a:pt x="539" y="1578"/>
                  </a:lnTo>
                  <a:lnTo>
                    <a:pt x="537" y="1578"/>
                  </a:lnTo>
                  <a:lnTo>
                    <a:pt x="537" y="1576"/>
                  </a:lnTo>
                  <a:lnTo>
                    <a:pt x="537" y="1578"/>
                  </a:lnTo>
                  <a:lnTo>
                    <a:pt x="539" y="1578"/>
                  </a:lnTo>
                  <a:lnTo>
                    <a:pt x="539" y="1576"/>
                  </a:lnTo>
                  <a:lnTo>
                    <a:pt x="540" y="1578"/>
                  </a:lnTo>
                  <a:lnTo>
                    <a:pt x="542" y="1580"/>
                  </a:lnTo>
                  <a:lnTo>
                    <a:pt x="542" y="1578"/>
                  </a:lnTo>
                  <a:lnTo>
                    <a:pt x="540" y="1576"/>
                  </a:lnTo>
                  <a:lnTo>
                    <a:pt x="542" y="1576"/>
                  </a:lnTo>
                  <a:lnTo>
                    <a:pt x="540" y="1575"/>
                  </a:lnTo>
                  <a:lnTo>
                    <a:pt x="542" y="1575"/>
                  </a:lnTo>
                  <a:lnTo>
                    <a:pt x="544" y="1576"/>
                  </a:lnTo>
                  <a:lnTo>
                    <a:pt x="544" y="1578"/>
                  </a:lnTo>
                  <a:lnTo>
                    <a:pt x="542" y="1576"/>
                  </a:lnTo>
                  <a:lnTo>
                    <a:pt x="542" y="1578"/>
                  </a:lnTo>
                  <a:lnTo>
                    <a:pt x="544" y="1578"/>
                  </a:lnTo>
                  <a:lnTo>
                    <a:pt x="544" y="1580"/>
                  </a:lnTo>
                  <a:lnTo>
                    <a:pt x="545" y="1580"/>
                  </a:lnTo>
                  <a:lnTo>
                    <a:pt x="545" y="1581"/>
                  </a:lnTo>
                  <a:lnTo>
                    <a:pt x="545" y="1583"/>
                  </a:lnTo>
                  <a:lnTo>
                    <a:pt x="545" y="1581"/>
                  </a:lnTo>
                  <a:lnTo>
                    <a:pt x="547" y="1583"/>
                  </a:lnTo>
                  <a:lnTo>
                    <a:pt x="549" y="1583"/>
                  </a:lnTo>
                  <a:lnTo>
                    <a:pt x="549" y="1584"/>
                  </a:lnTo>
                  <a:lnTo>
                    <a:pt x="547" y="1583"/>
                  </a:lnTo>
                  <a:lnTo>
                    <a:pt x="549" y="1584"/>
                  </a:lnTo>
                  <a:lnTo>
                    <a:pt x="549" y="1586"/>
                  </a:lnTo>
                  <a:lnTo>
                    <a:pt x="547" y="1584"/>
                  </a:lnTo>
                  <a:lnTo>
                    <a:pt x="545" y="1584"/>
                  </a:lnTo>
                  <a:lnTo>
                    <a:pt x="545" y="1583"/>
                  </a:lnTo>
                  <a:lnTo>
                    <a:pt x="547" y="1584"/>
                  </a:lnTo>
                  <a:lnTo>
                    <a:pt x="545" y="1584"/>
                  </a:lnTo>
                  <a:lnTo>
                    <a:pt x="547" y="1586"/>
                  </a:lnTo>
                  <a:lnTo>
                    <a:pt x="545" y="1586"/>
                  </a:lnTo>
                  <a:lnTo>
                    <a:pt x="547" y="1586"/>
                  </a:lnTo>
                  <a:lnTo>
                    <a:pt x="545" y="1586"/>
                  </a:lnTo>
                  <a:lnTo>
                    <a:pt x="547" y="1586"/>
                  </a:lnTo>
                  <a:lnTo>
                    <a:pt x="545" y="1586"/>
                  </a:lnTo>
                  <a:lnTo>
                    <a:pt x="545" y="1588"/>
                  </a:lnTo>
                  <a:lnTo>
                    <a:pt x="545" y="1586"/>
                  </a:lnTo>
                  <a:lnTo>
                    <a:pt x="544" y="1586"/>
                  </a:lnTo>
                  <a:lnTo>
                    <a:pt x="544" y="1584"/>
                  </a:lnTo>
                  <a:lnTo>
                    <a:pt x="542" y="1584"/>
                  </a:lnTo>
                  <a:lnTo>
                    <a:pt x="540" y="1583"/>
                  </a:lnTo>
                  <a:lnTo>
                    <a:pt x="539" y="1583"/>
                  </a:lnTo>
                  <a:lnTo>
                    <a:pt x="539" y="1581"/>
                  </a:lnTo>
                  <a:lnTo>
                    <a:pt x="540" y="1581"/>
                  </a:lnTo>
                  <a:lnTo>
                    <a:pt x="539" y="1581"/>
                  </a:lnTo>
                  <a:lnTo>
                    <a:pt x="540" y="1581"/>
                  </a:lnTo>
                  <a:lnTo>
                    <a:pt x="540" y="1583"/>
                  </a:lnTo>
                  <a:lnTo>
                    <a:pt x="540" y="1581"/>
                  </a:lnTo>
                  <a:lnTo>
                    <a:pt x="539" y="1581"/>
                  </a:lnTo>
                  <a:lnTo>
                    <a:pt x="539" y="1580"/>
                  </a:lnTo>
                  <a:lnTo>
                    <a:pt x="537" y="1580"/>
                  </a:lnTo>
                  <a:lnTo>
                    <a:pt x="537" y="1578"/>
                  </a:lnTo>
                  <a:lnTo>
                    <a:pt x="536" y="1578"/>
                  </a:lnTo>
                  <a:lnTo>
                    <a:pt x="536" y="1576"/>
                  </a:lnTo>
                  <a:lnTo>
                    <a:pt x="534" y="1576"/>
                  </a:lnTo>
                  <a:lnTo>
                    <a:pt x="536" y="1576"/>
                  </a:lnTo>
                  <a:lnTo>
                    <a:pt x="536" y="1578"/>
                  </a:lnTo>
                  <a:lnTo>
                    <a:pt x="537" y="1578"/>
                  </a:lnTo>
                  <a:lnTo>
                    <a:pt x="537" y="1576"/>
                  </a:lnTo>
                  <a:lnTo>
                    <a:pt x="536" y="1578"/>
                  </a:lnTo>
                  <a:lnTo>
                    <a:pt x="536" y="1576"/>
                  </a:lnTo>
                  <a:close/>
                  <a:moveTo>
                    <a:pt x="563" y="1573"/>
                  </a:moveTo>
                  <a:lnTo>
                    <a:pt x="563" y="1575"/>
                  </a:lnTo>
                  <a:lnTo>
                    <a:pt x="563" y="1573"/>
                  </a:lnTo>
                  <a:close/>
                  <a:moveTo>
                    <a:pt x="532" y="1573"/>
                  </a:moveTo>
                  <a:lnTo>
                    <a:pt x="532" y="1575"/>
                  </a:lnTo>
                  <a:lnTo>
                    <a:pt x="532" y="1573"/>
                  </a:lnTo>
                  <a:close/>
                  <a:moveTo>
                    <a:pt x="542" y="1573"/>
                  </a:moveTo>
                  <a:lnTo>
                    <a:pt x="542" y="1575"/>
                  </a:lnTo>
                  <a:lnTo>
                    <a:pt x="542" y="1573"/>
                  </a:lnTo>
                  <a:close/>
                  <a:moveTo>
                    <a:pt x="557" y="1573"/>
                  </a:moveTo>
                  <a:lnTo>
                    <a:pt x="557" y="1575"/>
                  </a:lnTo>
                  <a:lnTo>
                    <a:pt x="557" y="1573"/>
                  </a:lnTo>
                  <a:close/>
                  <a:moveTo>
                    <a:pt x="532" y="1573"/>
                  </a:moveTo>
                  <a:lnTo>
                    <a:pt x="532" y="1575"/>
                  </a:lnTo>
                  <a:lnTo>
                    <a:pt x="532" y="1573"/>
                  </a:lnTo>
                  <a:close/>
                  <a:moveTo>
                    <a:pt x="547" y="1573"/>
                  </a:moveTo>
                  <a:lnTo>
                    <a:pt x="549" y="1573"/>
                  </a:lnTo>
                  <a:lnTo>
                    <a:pt x="549" y="1575"/>
                  </a:lnTo>
                  <a:lnTo>
                    <a:pt x="547" y="1575"/>
                  </a:lnTo>
                  <a:lnTo>
                    <a:pt x="547" y="1573"/>
                  </a:lnTo>
                  <a:close/>
                  <a:moveTo>
                    <a:pt x="534" y="1573"/>
                  </a:moveTo>
                  <a:lnTo>
                    <a:pt x="536" y="1575"/>
                  </a:lnTo>
                  <a:lnTo>
                    <a:pt x="534" y="1575"/>
                  </a:lnTo>
                  <a:lnTo>
                    <a:pt x="536" y="1575"/>
                  </a:lnTo>
                  <a:lnTo>
                    <a:pt x="534" y="1575"/>
                  </a:lnTo>
                  <a:lnTo>
                    <a:pt x="536" y="1575"/>
                  </a:lnTo>
                  <a:lnTo>
                    <a:pt x="534" y="1575"/>
                  </a:lnTo>
                  <a:lnTo>
                    <a:pt x="536" y="1575"/>
                  </a:lnTo>
                  <a:lnTo>
                    <a:pt x="534" y="1575"/>
                  </a:lnTo>
                  <a:lnTo>
                    <a:pt x="534" y="1576"/>
                  </a:lnTo>
                  <a:lnTo>
                    <a:pt x="534" y="1575"/>
                  </a:lnTo>
                  <a:lnTo>
                    <a:pt x="534" y="1573"/>
                  </a:lnTo>
                  <a:close/>
                  <a:moveTo>
                    <a:pt x="524" y="1573"/>
                  </a:moveTo>
                  <a:lnTo>
                    <a:pt x="524" y="1571"/>
                  </a:lnTo>
                  <a:lnTo>
                    <a:pt x="524" y="1573"/>
                  </a:lnTo>
                  <a:close/>
                  <a:moveTo>
                    <a:pt x="534" y="1573"/>
                  </a:moveTo>
                  <a:lnTo>
                    <a:pt x="532" y="1573"/>
                  </a:lnTo>
                  <a:lnTo>
                    <a:pt x="532" y="1575"/>
                  </a:lnTo>
                  <a:lnTo>
                    <a:pt x="532" y="1573"/>
                  </a:lnTo>
                  <a:lnTo>
                    <a:pt x="532" y="1571"/>
                  </a:lnTo>
                  <a:lnTo>
                    <a:pt x="534" y="1573"/>
                  </a:lnTo>
                  <a:close/>
                  <a:moveTo>
                    <a:pt x="536" y="1575"/>
                  </a:moveTo>
                  <a:lnTo>
                    <a:pt x="536" y="1573"/>
                  </a:lnTo>
                  <a:lnTo>
                    <a:pt x="534" y="1573"/>
                  </a:lnTo>
                  <a:lnTo>
                    <a:pt x="534" y="1571"/>
                  </a:lnTo>
                  <a:lnTo>
                    <a:pt x="536" y="1573"/>
                  </a:lnTo>
                  <a:lnTo>
                    <a:pt x="537" y="1575"/>
                  </a:lnTo>
                  <a:lnTo>
                    <a:pt x="537" y="1576"/>
                  </a:lnTo>
                  <a:lnTo>
                    <a:pt x="536" y="1576"/>
                  </a:lnTo>
                  <a:lnTo>
                    <a:pt x="537" y="1576"/>
                  </a:lnTo>
                  <a:lnTo>
                    <a:pt x="536" y="1576"/>
                  </a:lnTo>
                  <a:lnTo>
                    <a:pt x="536" y="1575"/>
                  </a:lnTo>
                  <a:close/>
                  <a:moveTo>
                    <a:pt x="524" y="1571"/>
                  </a:moveTo>
                  <a:lnTo>
                    <a:pt x="524" y="1573"/>
                  </a:lnTo>
                  <a:lnTo>
                    <a:pt x="524" y="1571"/>
                  </a:lnTo>
                  <a:close/>
                  <a:moveTo>
                    <a:pt x="542" y="1575"/>
                  </a:moveTo>
                  <a:lnTo>
                    <a:pt x="540" y="1575"/>
                  </a:lnTo>
                  <a:lnTo>
                    <a:pt x="540" y="1573"/>
                  </a:lnTo>
                  <a:lnTo>
                    <a:pt x="540" y="1571"/>
                  </a:lnTo>
                  <a:lnTo>
                    <a:pt x="542" y="1571"/>
                  </a:lnTo>
                  <a:lnTo>
                    <a:pt x="542" y="1573"/>
                  </a:lnTo>
                  <a:lnTo>
                    <a:pt x="540" y="1573"/>
                  </a:lnTo>
                  <a:lnTo>
                    <a:pt x="542" y="1573"/>
                  </a:lnTo>
                  <a:lnTo>
                    <a:pt x="542" y="1575"/>
                  </a:lnTo>
                  <a:close/>
                  <a:moveTo>
                    <a:pt x="539" y="1571"/>
                  </a:moveTo>
                  <a:lnTo>
                    <a:pt x="540" y="1571"/>
                  </a:lnTo>
                  <a:lnTo>
                    <a:pt x="539" y="1571"/>
                  </a:lnTo>
                  <a:close/>
                  <a:moveTo>
                    <a:pt x="539" y="1571"/>
                  </a:moveTo>
                  <a:lnTo>
                    <a:pt x="540" y="1571"/>
                  </a:lnTo>
                  <a:lnTo>
                    <a:pt x="540" y="1573"/>
                  </a:lnTo>
                  <a:lnTo>
                    <a:pt x="540" y="1575"/>
                  </a:lnTo>
                  <a:lnTo>
                    <a:pt x="540" y="1573"/>
                  </a:lnTo>
                  <a:lnTo>
                    <a:pt x="539" y="1571"/>
                  </a:lnTo>
                  <a:lnTo>
                    <a:pt x="539" y="1573"/>
                  </a:lnTo>
                  <a:lnTo>
                    <a:pt x="539" y="1575"/>
                  </a:lnTo>
                  <a:lnTo>
                    <a:pt x="540" y="1575"/>
                  </a:lnTo>
                  <a:lnTo>
                    <a:pt x="539" y="1575"/>
                  </a:lnTo>
                  <a:lnTo>
                    <a:pt x="539" y="1573"/>
                  </a:lnTo>
                  <a:lnTo>
                    <a:pt x="537" y="1573"/>
                  </a:lnTo>
                  <a:lnTo>
                    <a:pt x="539" y="1573"/>
                  </a:lnTo>
                  <a:lnTo>
                    <a:pt x="539" y="1571"/>
                  </a:lnTo>
                  <a:close/>
                  <a:moveTo>
                    <a:pt x="534" y="1571"/>
                  </a:moveTo>
                  <a:lnTo>
                    <a:pt x="536" y="1571"/>
                  </a:lnTo>
                  <a:lnTo>
                    <a:pt x="534" y="1571"/>
                  </a:lnTo>
                  <a:close/>
                  <a:moveTo>
                    <a:pt x="524" y="1571"/>
                  </a:moveTo>
                  <a:lnTo>
                    <a:pt x="523" y="1571"/>
                  </a:lnTo>
                  <a:lnTo>
                    <a:pt x="524" y="1571"/>
                  </a:lnTo>
                  <a:close/>
                  <a:moveTo>
                    <a:pt x="550" y="1571"/>
                  </a:moveTo>
                  <a:lnTo>
                    <a:pt x="552" y="1571"/>
                  </a:lnTo>
                  <a:lnTo>
                    <a:pt x="550" y="1571"/>
                  </a:lnTo>
                  <a:close/>
                  <a:moveTo>
                    <a:pt x="552" y="1570"/>
                  </a:moveTo>
                  <a:lnTo>
                    <a:pt x="552" y="1568"/>
                  </a:lnTo>
                  <a:lnTo>
                    <a:pt x="552" y="1570"/>
                  </a:lnTo>
                  <a:close/>
                  <a:moveTo>
                    <a:pt x="537" y="1568"/>
                  </a:moveTo>
                  <a:lnTo>
                    <a:pt x="537" y="1567"/>
                  </a:lnTo>
                  <a:lnTo>
                    <a:pt x="537" y="1568"/>
                  </a:lnTo>
                  <a:close/>
                  <a:moveTo>
                    <a:pt x="552" y="1567"/>
                  </a:moveTo>
                  <a:lnTo>
                    <a:pt x="552" y="1568"/>
                  </a:lnTo>
                  <a:lnTo>
                    <a:pt x="552" y="1567"/>
                  </a:lnTo>
                  <a:close/>
                  <a:moveTo>
                    <a:pt x="539" y="1567"/>
                  </a:moveTo>
                  <a:lnTo>
                    <a:pt x="539" y="1565"/>
                  </a:lnTo>
                  <a:lnTo>
                    <a:pt x="539" y="1567"/>
                  </a:lnTo>
                  <a:close/>
                  <a:moveTo>
                    <a:pt x="532" y="1567"/>
                  </a:moveTo>
                  <a:lnTo>
                    <a:pt x="532" y="1565"/>
                  </a:lnTo>
                  <a:lnTo>
                    <a:pt x="532" y="1567"/>
                  </a:lnTo>
                  <a:close/>
                  <a:moveTo>
                    <a:pt x="537" y="1565"/>
                  </a:moveTo>
                  <a:lnTo>
                    <a:pt x="539" y="1565"/>
                  </a:lnTo>
                  <a:lnTo>
                    <a:pt x="539" y="1567"/>
                  </a:lnTo>
                  <a:lnTo>
                    <a:pt x="539" y="1568"/>
                  </a:lnTo>
                  <a:lnTo>
                    <a:pt x="539" y="1567"/>
                  </a:lnTo>
                  <a:lnTo>
                    <a:pt x="539" y="1568"/>
                  </a:lnTo>
                  <a:lnTo>
                    <a:pt x="539" y="1567"/>
                  </a:lnTo>
                  <a:lnTo>
                    <a:pt x="537" y="1567"/>
                  </a:lnTo>
                  <a:lnTo>
                    <a:pt x="537" y="1565"/>
                  </a:lnTo>
                  <a:lnTo>
                    <a:pt x="537" y="1567"/>
                  </a:lnTo>
                  <a:lnTo>
                    <a:pt x="537" y="1565"/>
                  </a:lnTo>
                  <a:close/>
                  <a:moveTo>
                    <a:pt x="537" y="1565"/>
                  </a:moveTo>
                  <a:lnTo>
                    <a:pt x="539" y="1565"/>
                  </a:lnTo>
                  <a:lnTo>
                    <a:pt x="537" y="1565"/>
                  </a:lnTo>
                  <a:close/>
                  <a:moveTo>
                    <a:pt x="534" y="1565"/>
                  </a:moveTo>
                  <a:lnTo>
                    <a:pt x="536" y="1567"/>
                  </a:lnTo>
                  <a:lnTo>
                    <a:pt x="536" y="1568"/>
                  </a:lnTo>
                  <a:lnTo>
                    <a:pt x="534" y="1568"/>
                  </a:lnTo>
                  <a:lnTo>
                    <a:pt x="534" y="1567"/>
                  </a:lnTo>
                  <a:lnTo>
                    <a:pt x="534" y="1565"/>
                  </a:lnTo>
                  <a:close/>
                  <a:moveTo>
                    <a:pt x="534" y="1565"/>
                  </a:moveTo>
                  <a:lnTo>
                    <a:pt x="536" y="1565"/>
                  </a:lnTo>
                  <a:lnTo>
                    <a:pt x="534" y="1565"/>
                  </a:lnTo>
                  <a:close/>
                  <a:moveTo>
                    <a:pt x="537" y="1565"/>
                  </a:moveTo>
                  <a:lnTo>
                    <a:pt x="539" y="1565"/>
                  </a:lnTo>
                  <a:lnTo>
                    <a:pt x="537" y="1565"/>
                  </a:lnTo>
                  <a:close/>
                  <a:moveTo>
                    <a:pt x="537" y="1565"/>
                  </a:moveTo>
                  <a:lnTo>
                    <a:pt x="539" y="1563"/>
                  </a:lnTo>
                  <a:lnTo>
                    <a:pt x="539" y="1565"/>
                  </a:lnTo>
                  <a:lnTo>
                    <a:pt x="537" y="1565"/>
                  </a:lnTo>
                  <a:close/>
                  <a:moveTo>
                    <a:pt x="529" y="1565"/>
                  </a:moveTo>
                  <a:lnTo>
                    <a:pt x="529" y="1563"/>
                  </a:lnTo>
                  <a:lnTo>
                    <a:pt x="529" y="1565"/>
                  </a:lnTo>
                  <a:close/>
                  <a:moveTo>
                    <a:pt x="534" y="1565"/>
                  </a:moveTo>
                  <a:lnTo>
                    <a:pt x="534" y="1563"/>
                  </a:lnTo>
                  <a:lnTo>
                    <a:pt x="534" y="1565"/>
                  </a:lnTo>
                  <a:close/>
                  <a:moveTo>
                    <a:pt x="536" y="1563"/>
                  </a:moveTo>
                  <a:lnTo>
                    <a:pt x="536" y="1565"/>
                  </a:lnTo>
                  <a:lnTo>
                    <a:pt x="536" y="1563"/>
                  </a:lnTo>
                  <a:close/>
                  <a:moveTo>
                    <a:pt x="531" y="1563"/>
                  </a:moveTo>
                  <a:lnTo>
                    <a:pt x="532" y="1563"/>
                  </a:lnTo>
                  <a:lnTo>
                    <a:pt x="532" y="1565"/>
                  </a:lnTo>
                  <a:lnTo>
                    <a:pt x="531" y="1565"/>
                  </a:lnTo>
                  <a:lnTo>
                    <a:pt x="531" y="1563"/>
                  </a:lnTo>
                  <a:lnTo>
                    <a:pt x="532" y="1563"/>
                  </a:lnTo>
                  <a:lnTo>
                    <a:pt x="531" y="1563"/>
                  </a:lnTo>
                  <a:close/>
                  <a:moveTo>
                    <a:pt x="550" y="1563"/>
                  </a:moveTo>
                  <a:lnTo>
                    <a:pt x="552" y="1563"/>
                  </a:lnTo>
                  <a:lnTo>
                    <a:pt x="550" y="1563"/>
                  </a:lnTo>
                  <a:close/>
                  <a:moveTo>
                    <a:pt x="531" y="1563"/>
                  </a:moveTo>
                  <a:lnTo>
                    <a:pt x="531" y="1565"/>
                  </a:lnTo>
                  <a:lnTo>
                    <a:pt x="531" y="1563"/>
                  </a:lnTo>
                  <a:close/>
                  <a:moveTo>
                    <a:pt x="534" y="1563"/>
                  </a:moveTo>
                  <a:lnTo>
                    <a:pt x="536" y="1563"/>
                  </a:lnTo>
                  <a:lnTo>
                    <a:pt x="534" y="1563"/>
                  </a:lnTo>
                  <a:lnTo>
                    <a:pt x="536" y="1563"/>
                  </a:lnTo>
                  <a:lnTo>
                    <a:pt x="534" y="1563"/>
                  </a:lnTo>
                  <a:close/>
                  <a:moveTo>
                    <a:pt x="529" y="1563"/>
                  </a:moveTo>
                  <a:lnTo>
                    <a:pt x="531" y="1565"/>
                  </a:lnTo>
                  <a:lnTo>
                    <a:pt x="529" y="1565"/>
                  </a:lnTo>
                  <a:lnTo>
                    <a:pt x="529" y="1563"/>
                  </a:lnTo>
                  <a:lnTo>
                    <a:pt x="529" y="1565"/>
                  </a:lnTo>
                  <a:lnTo>
                    <a:pt x="529" y="1563"/>
                  </a:lnTo>
                  <a:close/>
                  <a:moveTo>
                    <a:pt x="544" y="1562"/>
                  </a:moveTo>
                  <a:lnTo>
                    <a:pt x="544" y="1563"/>
                  </a:lnTo>
                  <a:lnTo>
                    <a:pt x="545" y="1565"/>
                  </a:lnTo>
                  <a:lnTo>
                    <a:pt x="545" y="1567"/>
                  </a:lnTo>
                  <a:lnTo>
                    <a:pt x="544" y="1565"/>
                  </a:lnTo>
                  <a:lnTo>
                    <a:pt x="544" y="1563"/>
                  </a:lnTo>
                  <a:lnTo>
                    <a:pt x="542" y="1562"/>
                  </a:lnTo>
                  <a:lnTo>
                    <a:pt x="544" y="1562"/>
                  </a:lnTo>
                  <a:close/>
                  <a:moveTo>
                    <a:pt x="536" y="1562"/>
                  </a:moveTo>
                  <a:lnTo>
                    <a:pt x="537" y="1562"/>
                  </a:lnTo>
                  <a:lnTo>
                    <a:pt x="536" y="1562"/>
                  </a:lnTo>
                  <a:close/>
                  <a:moveTo>
                    <a:pt x="537" y="1562"/>
                  </a:moveTo>
                  <a:lnTo>
                    <a:pt x="537" y="1560"/>
                  </a:lnTo>
                  <a:lnTo>
                    <a:pt x="537" y="1562"/>
                  </a:lnTo>
                  <a:close/>
                  <a:moveTo>
                    <a:pt x="550" y="1560"/>
                  </a:moveTo>
                  <a:lnTo>
                    <a:pt x="552" y="1560"/>
                  </a:lnTo>
                  <a:lnTo>
                    <a:pt x="550" y="1560"/>
                  </a:lnTo>
                  <a:close/>
                  <a:moveTo>
                    <a:pt x="550" y="1558"/>
                  </a:moveTo>
                  <a:lnTo>
                    <a:pt x="550" y="1560"/>
                  </a:lnTo>
                  <a:lnTo>
                    <a:pt x="550" y="1558"/>
                  </a:lnTo>
                  <a:close/>
                  <a:moveTo>
                    <a:pt x="544" y="1557"/>
                  </a:moveTo>
                  <a:lnTo>
                    <a:pt x="545" y="1557"/>
                  </a:lnTo>
                  <a:lnTo>
                    <a:pt x="545" y="1558"/>
                  </a:lnTo>
                  <a:lnTo>
                    <a:pt x="544" y="1557"/>
                  </a:lnTo>
                  <a:close/>
                  <a:moveTo>
                    <a:pt x="542" y="1557"/>
                  </a:moveTo>
                  <a:lnTo>
                    <a:pt x="542" y="1558"/>
                  </a:lnTo>
                  <a:lnTo>
                    <a:pt x="542" y="1557"/>
                  </a:lnTo>
                  <a:close/>
                  <a:moveTo>
                    <a:pt x="542" y="1557"/>
                  </a:moveTo>
                  <a:lnTo>
                    <a:pt x="544" y="1557"/>
                  </a:lnTo>
                  <a:lnTo>
                    <a:pt x="544" y="1558"/>
                  </a:lnTo>
                  <a:lnTo>
                    <a:pt x="545" y="1560"/>
                  </a:lnTo>
                  <a:lnTo>
                    <a:pt x="547" y="1560"/>
                  </a:lnTo>
                  <a:lnTo>
                    <a:pt x="545" y="1562"/>
                  </a:lnTo>
                  <a:lnTo>
                    <a:pt x="545" y="1563"/>
                  </a:lnTo>
                  <a:lnTo>
                    <a:pt x="547" y="1565"/>
                  </a:lnTo>
                  <a:lnTo>
                    <a:pt x="545" y="1565"/>
                  </a:lnTo>
                  <a:lnTo>
                    <a:pt x="544" y="1565"/>
                  </a:lnTo>
                  <a:lnTo>
                    <a:pt x="544" y="1563"/>
                  </a:lnTo>
                  <a:lnTo>
                    <a:pt x="544" y="1562"/>
                  </a:lnTo>
                  <a:lnTo>
                    <a:pt x="544" y="1560"/>
                  </a:lnTo>
                  <a:lnTo>
                    <a:pt x="542" y="1560"/>
                  </a:lnTo>
                  <a:lnTo>
                    <a:pt x="542" y="1558"/>
                  </a:lnTo>
                  <a:lnTo>
                    <a:pt x="542" y="1557"/>
                  </a:lnTo>
                  <a:close/>
                  <a:moveTo>
                    <a:pt x="545" y="1557"/>
                  </a:moveTo>
                  <a:lnTo>
                    <a:pt x="545" y="1558"/>
                  </a:lnTo>
                  <a:lnTo>
                    <a:pt x="545" y="1557"/>
                  </a:lnTo>
                  <a:lnTo>
                    <a:pt x="544" y="1557"/>
                  </a:lnTo>
                  <a:lnTo>
                    <a:pt x="545" y="1557"/>
                  </a:lnTo>
                  <a:close/>
                  <a:moveTo>
                    <a:pt x="550" y="1563"/>
                  </a:moveTo>
                  <a:lnTo>
                    <a:pt x="550" y="1565"/>
                  </a:lnTo>
                  <a:lnTo>
                    <a:pt x="550" y="1567"/>
                  </a:lnTo>
                  <a:lnTo>
                    <a:pt x="550" y="1568"/>
                  </a:lnTo>
                  <a:lnTo>
                    <a:pt x="550" y="1570"/>
                  </a:lnTo>
                  <a:lnTo>
                    <a:pt x="552" y="1570"/>
                  </a:lnTo>
                  <a:lnTo>
                    <a:pt x="552" y="1571"/>
                  </a:lnTo>
                  <a:lnTo>
                    <a:pt x="550" y="1571"/>
                  </a:lnTo>
                  <a:lnTo>
                    <a:pt x="549" y="1570"/>
                  </a:lnTo>
                  <a:lnTo>
                    <a:pt x="549" y="1571"/>
                  </a:lnTo>
                  <a:lnTo>
                    <a:pt x="547" y="1570"/>
                  </a:lnTo>
                  <a:lnTo>
                    <a:pt x="547" y="1568"/>
                  </a:lnTo>
                  <a:lnTo>
                    <a:pt x="547" y="1567"/>
                  </a:lnTo>
                  <a:lnTo>
                    <a:pt x="547" y="1565"/>
                  </a:lnTo>
                  <a:lnTo>
                    <a:pt x="547" y="1563"/>
                  </a:lnTo>
                  <a:lnTo>
                    <a:pt x="547" y="1562"/>
                  </a:lnTo>
                  <a:lnTo>
                    <a:pt x="547" y="1560"/>
                  </a:lnTo>
                  <a:lnTo>
                    <a:pt x="547" y="1558"/>
                  </a:lnTo>
                  <a:lnTo>
                    <a:pt x="545" y="1557"/>
                  </a:lnTo>
                  <a:lnTo>
                    <a:pt x="547" y="1557"/>
                  </a:lnTo>
                  <a:lnTo>
                    <a:pt x="549" y="1557"/>
                  </a:lnTo>
                  <a:lnTo>
                    <a:pt x="550" y="1558"/>
                  </a:lnTo>
                  <a:lnTo>
                    <a:pt x="550" y="1560"/>
                  </a:lnTo>
                  <a:lnTo>
                    <a:pt x="550" y="1562"/>
                  </a:lnTo>
                  <a:lnTo>
                    <a:pt x="550" y="1563"/>
                  </a:lnTo>
                  <a:close/>
                  <a:moveTo>
                    <a:pt x="550" y="1555"/>
                  </a:moveTo>
                  <a:lnTo>
                    <a:pt x="550" y="1557"/>
                  </a:lnTo>
                  <a:lnTo>
                    <a:pt x="550" y="1555"/>
                  </a:lnTo>
                  <a:close/>
                  <a:moveTo>
                    <a:pt x="534" y="1558"/>
                  </a:moveTo>
                  <a:lnTo>
                    <a:pt x="534" y="1557"/>
                  </a:lnTo>
                  <a:lnTo>
                    <a:pt x="536" y="1557"/>
                  </a:lnTo>
                  <a:lnTo>
                    <a:pt x="537" y="1557"/>
                  </a:lnTo>
                  <a:lnTo>
                    <a:pt x="537" y="1555"/>
                  </a:lnTo>
                  <a:lnTo>
                    <a:pt x="539" y="1555"/>
                  </a:lnTo>
                  <a:lnTo>
                    <a:pt x="539" y="1557"/>
                  </a:lnTo>
                  <a:lnTo>
                    <a:pt x="540" y="1558"/>
                  </a:lnTo>
                  <a:lnTo>
                    <a:pt x="540" y="1560"/>
                  </a:lnTo>
                  <a:lnTo>
                    <a:pt x="540" y="1562"/>
                  </a:lnTo>
                  <a:lnTo>
                    <a:pt x="540" y="1560"/>
                  </a:lnTo>
                  <a:lnTo>
                    <a:pt x="542" y="1560"/>
                  </a:lnTo>
                  <a:lnTo>
                    <a:pt x="542" y="1562"/>
                  </a:lnTo>
                  <a:lnTo>
                    <a:pt x="542" y="1563"/>
                  </a:lnTo>
                  <a:lnTo>
                    <a:pt x="544" y="1565"/>
                  </a:lnTo>
                  <a:lnTo>
                    <a:pt x="544" y="1567"/>
                  </a:lnTo>
                  <a:lnTo>
                    <a:pt x="544" y="1568"/>
                  </a:lnTo>
                  <a:lnTo>
                    <a:pt x="544" y="1570"/>
                  </a:lnTo>
                  <a:lnTo>
                    <a:pt x="542" y="1570"/>
                  </a:lnTo>
                  <a:lnTo>
                    <a:pt x="542" y="1568"/>
                  </a:lnTo>
                  <a:lnTo>
                    <a:pt x="540" y="1568"/>
                  </a:lnTo>
                  <a:lnTo>
                    <a:pt x="540" y="1567"/>
                  </a:lnTo>
                  <a:lnTo>
                    <a:pt x="540" y="1565"/>
                  </a:lnTo>
                  <a:lnTo>
                    <a:pt x="539" y="1563"/>
                  </a:lnTo>
                  <a:lnTo>
                    <a:pt x="539" y="1565"/>
                  </a:lnTo>
                  <a:lnTo>
                    <a:pt x="539" y="1563"/>
                  </a:lnTo>
                  <a:lnTo>
                    <a:pt x="537" y="1563"/>
                  </a:lnTo>
                  <a:lnTo>
                    <a:pt x="537" y="1562"/>
                  </a:lnTo>
                  <a:lnTo>
                    <a:pt x="539" y="1562"/>
                  </a:lnTo>
                  <a:lnTo>
                    <a:pt x="537" y="1562"/>
                  </a:lnTo>
                  <a:lnTo>
                    <a:pt x="537" y="1560"/>
                  </a:lnTo>
                  <a:lnTo>
                    <a:pt x="537" y="1558"/>
                  </a:lnTo>
                  <a:lnTo>
                    <a:pt x="537" y="1560"/>
                  </a:lnTo>
                  <a:lnTo>
                    <a:pt x="536" y="1560"/>
                  </a:lnTo>
                  <a:lnTo>
                    <a:pt x="537" y="1560"/>
                  </a:lnTo>
                  <a:lnTo>
                    <a:pt x="537" y="1562"/>
                  </a:lnTo>
                  <a:lnTo>
                    <a:pt x="536" y="1562"/>
                  </a:lnTo>
                  <a:lnTo>
                    <a:pt x="536" y="1560"/>
                  </a:lnTo>
                  <a:lnTo>
                    <a:pt x="536" y="1562"/>
                  </a:lnTo>
                  <a:lnTo>
                    <a:pt x="534" y="1562"/>
                  </a:lnTo>
                  <a:lnTo>
                    <a:pt x="534" y="1560"/>
                  </a:lnTo>
                  <a:lnTo>
                    <a:pt x="536" y="1560"/>
                  </a:lnTo>
                  <a:lnTo>
                    <a:pt x="536" y="1558"/>
                  </a:lnTo>
                  <a:lnTo>
                    <a:pt x="534" y="1558"/>
                  </a:lnTo>
                  <a:lnTo>
                    <a:pt x="534" y="1560"/>
                  </a:lnTo>
                  <a:lnTo>
                    <a:pt x="534" y="1558"/>
                  </a:lnTo>
                  <a:close/>
                  <a:moveTo>
                    <a:pt x="549" y="1557"/>
                  </a:moveTo>
                  <a:lnTo>
                    <a:pt x="547" y="1557"/>
                  </a:lnTo>
                  <a:lnTo>
                    <a:pt x="547" y="1555"/>
                  </a:lnTo>
                  <a:lnTo>
                    <a:pt x="549" y="1555"/>
                  </a:lnTo>
                  <a:lnTo>
                    <a:pt x="549" y="1557"/>
                  </a:lnTo>
                  <a:close/>
                  <a:moveTo>
                    <a:pt x="547" y="1557"/>
                  </a:moveTo>
                  <a:lnTo>
                    <a:pt x="547" y="1555"/>
                  </a:lnTo>
                  <a:lnTo>
                    <a:pt x="547" y="1557"/>
                  </a:lnTo>
                  <a:close/>
                  <a:moveTo>
                    <a:pt x="540" y="1555"/>
                  </a:moveTo>
                  <a:lnTo>
                    <a:pt x="542" y="1555"/>
                  </a:lnTo>
                  <a:lnTo>
                    <a:pt x="540" y="1555"/>
                  </a:lnTo>
                  <a:lnTo>
                    <a:pt x="542" y="1555"/>
                  </a:lnTo>
                  <a:lnTo>
                    <a:pt x="540" y="1555"/>
                  </a:lnTo>
                  <a:close/>
                  <a:moveTo>
                    <a:pt x="532" y="1555"/>
                  </a:moveTo>
                  <a:lnTo>
                    <a:pt x="534" y="1555"/>
                  </a:lnTo>
                  <a:lnTo>
                    <a:pt x="532" y="1555"/>
                  </a:lnTo>
                  <a:close/>
                  <a:moveTo>
                    <a:pt x="540" y="1555"/>
                  </a:moveTo>
                  <a:lnTo>
                    <a:pt x="542" y="1557"/>
                  </a:lnTo>
                  <a:lnTo>
                    <a:pt x="540" y="1557"/>
                  </a:lnTo>
                  <a:lnTo>
                    <a:pt x="542" y="1557"/>
                  </a:lnTo>
                  <a:lnTo>
                    <a:pt x="542" y="1558"/>
                  </a:lnTo>
                  <a:lnTo>
                    <a:pt x="542" y="1560"/>
                  </a:lnTo>
                  <a:lnTo>
                    <a:pt x="540" y="1558"/>
                  </a:lnTo>
                  <a:lnTo>
                    <a:pt x="540" y="1557"/>
                  </a:lnTo>
                  <a:lnTo>
                    <a:pt x="539" y="1557"/>
                  </a:lnTo>
                  <a:lnTo>
                    <a:pt x="539" y="1555"/>
                  </a:lnTo>
                  <a:lnTo>
                    <a:pt x="540" y="1555"/>
                  </a:lnTo>
                  <a:close/>
                  <a:moveTo>
                    <a:pt x="549" y="1554"/>
                  </a:moveTo>
                  <a:lnTo>
                    <a:pt x="549" y="1555"/>
                  </a:lnTo>
                  <a:lnTo>
                    <a:pt x="549" y="1554"/>
                  </a:lnTo>
                  <a:close/>
                  <a:moveTo>
                    <a:pt x="536" y="1554"/>
                  </a:moveTo>
                  <a:lnTo>
                    <a:pt x="537" y="1554"/>
                  </a:lnTo>
                  <a:lnTo>
                    <a:pt x="537" y="1555"/>
                  </a:lnTo>
                  <a:lnTo>
                    <a:pt x="536" y="1555"/>
                  </a:lnTo>
                  <a:lnTo>
                    <a:pt x="536" y="1554"/>
                  </a:lnTo>
                  <a:close/>
                  <a:moveTo>
                    <a:pt x="550" y="1555"/>
                  </a:moveTo>
                  <a:lnTo>
                    <a:pt x="549" y="1555"/>
                  </a:lnTo>
                  <a:lnTo>
                    <a:pt x="549" y="1554"/>
                  </a:lnTo>
                  <a:lnTo>
                    <a:pt x="550" y="1554"/>
                  </a:lnTo>
                  <a:lnTo>
                    <a:pt x="550" y="1555"/>
                  </a:lnTo>
                  <a:close/>
                  <a:moveTo>
                    <a:pt x="542" y="1554"/>
                  </a:moveTo>
                  <a:lnTo>
                    <a:pt x="544" y="1554"/>
                  </a:lnTo>
                  <a:lnTo>
                    <a:pt x="544" y="1555"/>
                  </a:lnTo>
                  <a:lnTo>
                    <a:pt x="544" y="1557"/>
                  </a:lnTo>
                  <a:lnTo>
                    <a:pt x="542" y="1555"/>
                  </a:lnTo>
                  <a:lnTo>
                    <a:pt x="542" y="1554"/>
                  </a:lnTo>
                  <a:close/>
                  <a:moveTo>
                    <a:pt x="537" y="1554"/>
                  </a:moveTo>
                  <a:lnTo>
                    <a:pt x="539" y="1554"/>
                  </a:lnTo>
                  <a:lnTo>
                    <a:pt x="537" y="1554"/>
                  </a:lnTo>
                  <a:close/>
                  <a:moveTo>
                    <a:pt x="542" y="1554"/>
                  </a:moveTo>
                  <a:lnTo>
                    <a:pt x="542" y="1555"/>
                  </a:lnTo>
                  <a:lnTo>
                    <a:pt x="542" y="1554"/>
                  </a:lnTo>
                  <a:close/>
                  <a:moveTo>
                    <a:pt x="534" y="1554"/>
                  </a:moveTo>
                  <a:lnTo>
                    <a:pt x="536" y="1554"/>
                  </a:lnTo>
                  <a:lnTo>
                    <a:pt x="537" y="1554"/>
                  </a:lnTo>
                  <a:lnTo>
                    <a:pt x="536" y="1554"/>
                  </a:lnTo>
                  <a:lnTo>
                    <a:pt x="534" y="1554"/>
                  </a:lnTo>
                  <a:close/>
                  <a:moveTo>
                    <a:pt x="545" y="1554"/>
                  </a:moveTo>
                  <a:lnTo>
                    <a:pt x="547" y="1554"/>
                  </a:lnTo>
                  <a:lnTo>
                    <a:pt x="549" y="1554"/>
                  </a:lnTo>
                  <a:lnTo>
                    <a:pt x="549" y="1555"/>
                  </a:lnTo>
                  <a:lnTo>
                    <a:pt x="547" y="1555"/>
                  </a:lnTo>
                  <a:lnTo>
                    <a:pt x="545" y="1555"/>
                  </a:lnTo>
                  <a:lnTo>
                    <a:pt x="545" y="1554"/>
                  </a:lnTo>
                  <a:close/>
                  <a:moveTo>
                    <a:pt x="540" y="1554"/>
                  </a:moveTo>
                  <a:lnTo>
                    <a:pt x="542" y="1555"/>
                  </a:lnTo>
                  <a:lnTo>
                    <a:pt x="540" y="1555"/>
                  </a:lnTo>
                  <a:lnTo>
                    <a:pt x="540" y="1554"/>
                  </a:lnTo>
                  <a:close/>
                  <a:moveTo>
                    <a:pt x="553" y="1552"/>
                  </a:moveTo>
                  <a:lnTo>
                    <a:pt x="555" y="1552"/>
                  </a:lnTo>
                  <a:lnTo>
                    <a:pt x="555" y="1554"/>
                  </a:lnTo>
                  <a:lnTo>
                    <a:pt x="557" y="1554"/>
                  </a:lnTo>
                  <a:lnTo>
                    <a:pt x="555" y="1554"/>
                  </a:lnTo>
                  <a:lnTo>
                    <a:pt x="553" y="1554"/>
                  </a:lnTo>
                  <a:lnTo>
                    <a:pt x="552" y="1552"/>
                  </a:lnTo>
                  <a:lnTo>
                    <a:pt x="553" y="1552"/>
                  </a:lnTo>
                  <a:close/>
                  <a:moveTo>
                    <a:pt x="539" y="1554"/>
                  </a:moveTo>
                  <a:lnTo>
                    <a:pt x="539" y="1552"/>
                  </a:lnTo>
                  <a:lnTo>
                    <a:pt x="539" y="1554"/>
                  </a:lnTo>
                  <a:close/>
                  <a:moveTo>
                    <a:pt x="537" y="1552"/>
                  </a:moveTo>
                  <a:lnTo>
                    <a:pt x="536" y="1552"/>
                  </a:lnTo>
                  <a:lnTo>
                    <a:pt x="537" y="1552"/>
                  </a:lnTo>
                  <a:close/>
                  <a:moveTo>
                    <a:pt x="544" y="1552"/>
                  </a:moveTo>
                  <a:lnTo>
                    <a:pt x="542" y="1552"/>
                  </a:lnTo>
                  <a:lnTo>
                    <a:pt x="544" y="1552"/>
                  </a:lnTo>
                  <a:lnTo>
                    <a:pt x="542" y="1552"/>
                  </a:lnTo>
                  <a:lnTo>
                    <a:pt x="544" y="1552"/>
                  </a:lnTo>
                  <a:lnTo>
                    <a:pt x="542" y="1552"/>
                  </a:lnTo>
                  <a:lnTo>
                    <a:pt x="544" y="1552"/>
                  </a:lnTo>
                  <a:close/>
                  <a:moveTo>
                    <a:pt x="537" y="1552"/>
                  </a:moveTo>
                  <a:lnTo>
                    <a:pt x="536" y="1552"/>
                  </a:lnTo>
                  <a:lnTo>
                    <a:pt x="537" y="1552"/>
                  </a:lnTo>
                  <a:close/>
                  <a:moveTo>
                    <a:pt x="542" y="1550"/>
                  </a:moveTo>
                  <a:lnTo>
                    <a:pt x="542" y="1552"/>
                  </a:lnTo>
                  <a:lnTo>
                    <a:pt x="542" y="1550"/>
                  </a:lnTo>
                  <a:close/>
                  <a:moveTo>
                    <a:pt x="544" y="1550"/>
                  </a:moveTo>
                  <a:lnTo>
                    <a:pt x="544" y="1552"/>
                  </a:lnTo>
                  <a:lnTo>
                    <a:pt x="544" y="1550"/>
                  </a:lnTo>
                  <a:close/>
                  <a:moveTo>
                    <a:pt x="536" y="1550"/>
                  </a:moveTo>
                  <a:lnTo>
                    <a:pt x="536" y="1552"/>
                  </a:lnTo>
                  <a:lnTo>
                    <a:pt x="536" y="1550"/>
                  </a:lnTo>
                  <a:close/>
                  <a:moveTo>
                    <a:pt x="542" y="1550"/>
                  </a:moveTo>
                  <a:lnTo>
                    <a:pt x="544" y="1550"/>
                  </a:lnTo>
                  <a:lnTo>
                    <a:pt x="542" y="1550"/>
                  </a:lnTo>
                  <a:close/>
                  <a:moveTo>
                    <a:pt x="536" y="1550"/>
                  </a:moveTo>
                  <a:lnTo>
                    <a:pt x="537" y="1550"/>
                  </a:lnTo>
                  <a:lnTo>
                    <a:pt x="536" y="1550"/>
                  </a:lnTo>
                  <a:close/>
                  <a:moveTo>
                    <a:pt x="542" y="1550"/>
                  </a:moveTo>
                  <a:lnTo>
                    <a:pt x="544" y="1550"/>
                  </a:lnTo>
                  <a:lnTo>
                    <a:pt x="542" y="1550"/>
                  </a:lnTo>
                  <a:close/>
                  <a:moveTo>
                    <a:pt x="536" y="1549"/>
                  </a:moveTo>
                  <a:lnTo>
                    <a:pt x="536" y="1550"/>
                  </a:lnTo>
                  <a:lnTo>
                    <a:pt x="536" y="1549"/>
                  </a:lnTo>
                  <a:close/>
                  <a:moveTo>
                    <a:pt x="527" y="1550"/>
                  </a:moveTo>
                  <a:lnTo>
                    <a:pt x="527" y="1549"/>
                  </a:lnTo>
                  <a:lnTo>
                    <a:pt x="527" y="1550"/>
                  </a:lnTo>
                  <a:close/>
                  <a:moveTo>
                    <a:pt x="537" y="1550"/>
                  </a:moveTo>
                  <a:lnTo>
                    <a:pt x="536" y="1550"/>
                  </a:lnTo>
                  <a:lnTo>
                    <a:pt x="537" y="1550"/>
                  </a:lnTo>
                  <a:lnTo>
                    <a:pt x="537" y="1549"/>
                  </a:lnTo>
                  <a:lnTo>
                    <a:pt x="537" y="1550"/>
                  </a:lnTo>
                  <a:close/>
                  <a:moveTo>
                    <a:pt x="527" y="1549"/>
                  </a:moveTo>
                  <a:lnTo>
                    <a:pt x="527" y="1550"/>
                  </a:lnTo>
                  <a:lnTo>
                    <a:pt x="527" y="1549"/>
                  </a:lnTo>
                  <a:close/>
                  <a:moveTo>
                    <a:pt x="542" y="1549"/>
                  </a:moveTo>
                  <a:lnTo>
                    <a:pt x="542" y="1550"/>
                  </a:lnTo>
                  <a:lnTo>
                    <a:pt x="542" y="1549"/>
                  </a:lnTo>
                  <a:close/>
                  <a:moveTo>
                    <a:pt x="539" y="1549"/>
                  </a:moveTo>
                  <a:lnTo>
                    <a:pt x="540" y="1549"/>
                  </a:lnTo>
                  <a:lnTo>
                    <a:pt x="540" y="1550"/>
                  </a:lnTo>
                  <a:lnTo>
                    <a:pt x="540" y="1552"/>
                  </a:lnTo>
                  <a:lnTo>
                    <a:pt x="539" y="1550"/>
                  </a:lnTo>
                  <a:lnTo>
                    <a:pt x="539" y="1552"/>
                  </a:lnTo>
                  <a:lnTo>
                    <a:pt x="537" y="1552"/>
                  </a:lnTo>
                  <a:lnTo>
                    <a:pt x="537" y="1550"/>
                  </a:lnTo>
                  <a:lnTo>
                    <a:pt x="537" y="1549"/>
                  </a:lnTo>
                  <a:lnTo>
                    <a:pt x="539" y="1549"/>
                  </a:lnTo>
                  <a:close/>
                  <a:moveTo>
                    <a:pt x="542" y="1549"/>
                  </a:moveTo>
                  <a:lnTo>
                    <a:pt x="542" y="1550"/>
                  </a:lnTo>
                  <a:lnTo>
                    <a:pt x="542" y="1549"/>
                  </a:lnTo>
                  <a:close/>
                  <a:moveTo>
                    <a:pt x="526" y="1549"/>
                  </a:moveTo>
                  <a:lnTo>
                    <a:pt x="527" y="1549"/>
                  </a:lnTo>
                  <a:lnTo>
                    <a:pt x="527" y="1550"/>
                  </a:lnTo>
                  <a:lnTo>
                    <a:pt x="527" y="1549"/>
                  </a:lnTo>
                  <a:lnTo>
                    <a:pt x="526" y="1549"/>
                  </a:lnTo>
                  <a:close/>
                  <a:moveTo>
                    <a:pt x="524" y="1549"/>
                  </a:moveTo>
                  <a:lnTo>
                    <a:pt x="523" y="1549"/>
                  </a:lnTo>
                  <a:lnTo>
                    <a:pt x="524" y="1549"/>
                  </a:lnTo>
                  <a:close/>
                  <a:moveTo>
                    <a:pt x="527" y="1547"/>
                  </a:moveTo>
                  <a:lnTo>
                    <a:pt x="527" y="1549"/>
                  </a:lnTo>
                  <a:lnTo>
                    <a:pt x="527" y="1547"/>
                  </a:lnTo>
                  <a:close/>
                  <a:moveTo>
                    <a:pt x="532" y="1547"/>
                  </a:moveTo>
                  <a:lnTo>
                    <a:pt x="532" y="1549"/>
                  </a:lnTo>
                  <a:lnTo>
                    <a:pt x="532" y="1547"/>
                  </a:lnTo>
                  <a:close/>
                  <a:moveTo>
                    <a:pt x="523" y="1547"/>
                  </a:moveTo>
                  <a:lnTo>
                    <a:pt x="523" y="1549"/>
                  </a:lnTo>
                  <a:lnTo>
                    <a:pt x="523" y="1547"/>
                  </a:lnTo>
                  <a:lnTo>
                    <a:pt x="523" y="1549"/>
                  </a:lnTo>
                  <a:lnTo>
                    <a:pt x="523" y="1547"/>
                  </a:lnTo>
                  <a:close/>
                  <a:moveTo>
                    <a:pt x="526" y="1547"/>
                  </a:moveTo>
                  <a:lnTo>
                    <a:pt x="527" y="1547"/>
                  </a:lnTo>
                  <a:lnTo>
                    <a:pt x="526" y="1547"/>
                  </a:lnTo>
                  <a:close/>
                  <a:moveTo>
                    <a:pt x="521" y="1547"/>
                  </a:moveTo>
                  <a:lnTo>
                    <a:pt x="521" y="1549"/>
                  </a:lnTo>
                  <a:lnTo>
                    <a:pt x="519" y="1547"/>
                  </a:lnTo>
                  <a:lnTo>
                    <a:pt x="521" y="1547"/>
                  </a:lnTo>
                  <a:close/>
                  <a:moveTo>
                    <a:pt x="549" y="1547"/>
                  </a:moveTo>
                  <a:lnTo>
                    <a:pt x="550" y="1547"/>
                  </a:lnTo>
                  <a:lnTo>
                    <a:pt x="552" y="1547"/>
                  </a:lnTo>
                  <a:lnTo>
                    <a:pt x="550" y="1549"/>
                  </a:lnTo>
                  <a:lnTo>
                    <a:pt x="552" y="1549"/>
                  </a:lnTo>
                  <a:lnTo>
                    <a:pt x="550" y="1549"/>
                  </a:lnTo>
                  <a:lnTo>
                    <a:pt x="552" y="1549"/>
                  </a:lnTo>
                  <a:lnTo>
                    <a:pt x="552" y="1550"/>
                  </a:lnTo>
                  <a:lnTo>
                    <a:pt x="550" y="1550"/>
                  </a:lnTo>
                  <a:lnTo>
                    <a:pt x="550" y="1549"/>
                  </a:lnTo>
                  <a:lnTo>
                    <a:pt x="549" y="1550"/>
                  </a:lnTo>
                  <a:lnTo>
                    <a:pt x="550" y="1550"/>
                  </a:lnTo>
                  <a:lnTo>
                    <a:pt x="552" y="1550"/>
                  </a:lnTo>
                  <a:lnTo>
                    <a:pt x="552" y="1552"/>
                  </a:lnTo>
                  <a:lnTo>
                    <a:pt x="552" y="1554"/>
                  </a:lnTo>
                  <a:lnTo>
                    <a:pt x="552" y="1552"/>
                  </a:lnTo>
                  <a:lnTo>
                    <a:pt x="550" y="1552"/>
                  </a:lnTo>
                  <a:lnTo>
                    <a:pt x="549" y="1552"/>
                  </a:lnTo>
                  <a:lnTo>
                    <a:pt x="547" y="1552"/>
                  </a:lnTo>
                  <a:lnTo>
                    <a:pt x="545" y="1552"/>
                  </a:lnTo>
                  <a:lnTo>
                    <a:pt x="545" y="1550"/>
                  </a:lnTo>
                  <a:lnTo>
                    <a:pt x="545" y="1549"/>
                  </a:lnTo>
                  <a:lnTo>
                    <a:pt x="545" y="1547"/>
                  </a:lnTo>
                  <a:lnTo>
                    <a:pt x="547" y="1547"/>
                  </a:lnTo>
                  <a:lnTo>
                    <a:pt x="549" y="1547"/>
                  </a:lnTo>
                  <a:close/>
                  <a:moveTo>
                    <a:pt x="523" y="1547"/>
                  </a:moveTo>
                  <a:lnTo>
                    <a:pt x="523" y="1549"/>
                  </a:lnTo>
                  <a:lnTo>
                    <a:pt x="521" y="1549"/>
                  </a:lnTo>
                  <a:lnTo>
                    <a:pt x="521" y="1547"/>
                  </a:lnTo>
                  <a:lnTo>
                    <a:pt x="523" y="1547"/>
                  </a:lnTo>
                  <a:close/>
                  <a:moveTo>
                    <a:pt x="550" y="1545"/>
                  </a:moveTo>
                  <a:lnTo>
                    <a:pt x="550" y="1547"/>
                  </a:lnTo>
                  <a:lnTo>
                    <a:pt x="550" y="1545"/>
                  </a:lnTo>
                  <a:close/>
                  <a:moveTo>
                    <a:pt x="523" y="1547"/>
                  </a:moveTo>
                  <a:lnTo>
                    <a:pt x="523" y="1545"/>
                  </a:lnTo>
                  <a:lnTo>
                    <a:pt x="523" y="1547"/>
                  </a:lnTo>
                  <a:close/>
                  <a:moveTo>
                    <a:pt x="526" y="1545"/>
                  </a:moveTo>
                  <a:lnTo>
                    <a:pt x="526" y="1547"/>
                  </a:lnTo>
                  <a:lnTo>
                    <a:pt x="526" y="1545"/>
                  </a:lnTo>
                  <a:close/>
                  <a:moveTo>
                    <a:pt x="534" y="1545"/>
                  </a:moveTo>
                  <a:lnTo>
                    <a:pt x="536" y="1545"/>
                  </a:lnTo>
                  <a:lnTo>
                    <a:pt x="534" y="1545"/>
                  </a:lnTo>
                  <a:close/>
                  <a:moveTo>
                    <a:pt x="521" y="1545"/>
                  </a:moveTo>
                  <a:lnTo>
                    <a:pt x="521" y="1544"/>
                  </a:lnTo>
                  <a:lnTo>
                    <a:pt x="521" y="1545"/>
                  </a:lnTo>
                  <a:close/>
                  <a:moveTo>
                    <a:pt x="523" y="1545"/>
                  </a:moveTo>
                  <a:lnTo>
                    <a:pt x="523" y="1544"/>
                  </a:lnTo>
                  <a:lnTo>
                    <a:pt x="523" y="1545"/>
                  </a:lnTo>
                  <a:lnTo>
                    <a:pt x="524" y="1545"/>
                  </a:lnTo>
                  <a:lnTo>
                    <a:pt x="523" y="1545"/>
                  </a:lnTo>
                  <a:close/>
                  <a:moveTo>
                    <a:pt x="550" y="1544"/>
                  </a:moveTo>
                  <a:lnTo>
                    <a:pt x="550" y="1545"/>
                  </a:lnTo>
                  <a:lnTo>
                    <a:pt x="550" y="1544"/>
                  </a:lnTo>
                  <a:close/>
                  <a:moveTo>
                    <a:pt x="523" y="1544"/>
                  </a:moveTo>
                  <a:lnTo>
                    <a:pt x="523" y="1542"/>
                  </a:lnTo>
                  <a:lnTo>
                    <a:pt x="523" y="1544"/>
                  </a:lnTo>
                  <a:close/>
                  <a:moveTo>
                    <a:pt x="518" y="1544"/>
                  </a:moveTo>
                  <a:lnTo>
                    <a:pt x="518" y="1542"/>
                  </a:lnTo>
                  <a:lnTo>
                    <a:pt x="518" y="1544"/>
                  </a:lnTo>
                  <a:close/>
                  <a:moveTo>
                    <a:pt x="516" y="1542"/>
                  </a:moveTo>
                  <a:lnTo>
                    <a:pt x="516" y="1544"/>
                  </a:lnTo>
                  <a:lnTo>
                    <a:pt x="516" y="1542"/>
                  </a:lnTo>
                  <a:close/>
                  <a:moveTo>
                    <a:pt x="518" y="1542"/>
                  </a:moveTo>
                  <a:lnTo>
                    <a:pt x="519" y="1542"/>
                  </a:lnTo>
                  <a:lnTo>
                    <a:pt x="518" y="1542"/>
                  </a:lnTo>
                  <a:close/>
                  <a:moveTo>
                    <a:pt x="532" y="1542"/>
                  </a:moveTo>
                  <a:lnTo>
                    <a:pt x="532" y="1541"/>
                  </a:lnTo>
                  <a:lnTo>
                    <a:pt x="532" y="1542"/>
                  </a:lnTo>
                  <a:close/>
                  <a:moveTo>
                    <a:pt x="521" y="1541"/>
                  </a:moveTo>
                  <a:lnTo>
                    <a:pt x="523" y="1541"/>
                  </a:lnTo>
                  <a:lnTo>
                    <a:pt x="521" y="1542"/>
                  </a:lnTo>
                  <a:lnTo>
                    <a:pt x="521" y="1541"/>
                  </a:lnTo>
                  <a:close/>
                  <a:moveTo>
                    <a:pt x="516" y="1542"/>
                  </a:moveTo>
                  <a:lnTo>
                    <a:pt x="516" y="1541"/>
                  </a:lnTo>
                  <a:lnTo>
                    <a:pt x="516" y="1542"/>
                  </a:lnTo>
                  <a:close/>
                  <a:moveTo>
                    <a:pt x="540" y="1542"/>
                  </a:moveTo>
                  <a:lnTo>
                    <a:pt x="540" y="1541"/>
                  </a:lnTo>
                  <a:lnTo>
                    <a:pt x="540" y="1542"/>
                  </a:lnTo>
                  <a:close/>
                  <a:moveTo>
                    <a:pt x="519" y="1541"/>
                  </a:moveTo>
                  <a:lnTo>
                    <a:pt x="519" y="1542"/>
                  </a:lnTo>
                  <a:lnTo>
                    <a:pt x="519" y="1541"/>
                  </a:lnTo>
                  <a:close/>
                  <a:moveTo>
                    <a:pt x="516" y="1541"/>
                  </a:moveTo>
                  <a:lnTo>
                    <a:pt x="516" y="1542"/>
                  </a:lnTo>
                  <a:lnTo>
                    <a:pt x="516" y="1541"/>
                  </a:lnTo>
                  <a:lnTo>
                    <a:pt x="516" y="1542"/>
                  </a:lnTo>
                  <a:lnTo>
                    <a:pt x="516" y="1541"/>
                  </a:lnTo>
                  <a:close/>
                  <a:moveTo>
                    <a:pt x="531" y="1539"/>
                  </a:moveTo>
                  <a:lnTo>
                    <a:pt x="531" y="1541"/>
                  </a:lnTo>
                  <a:lnTo>
                    <a:pt x="532" y="1541"/>
                  </a:lnTo>
                  <a:lnTo>
                    <a:pt x="531" y="1541"/>
                  </a:lnTo>
                  <a:lnTo>
                    <a:pt x="531" y="1539"/>
                  </a:lnTo>
                  <a:close/>
                  <a:moveTo>
                    <a:pt x="563" y="1539"/>
                  </a:moveTo>
                  <a:lnTo>
                    <a:pt x="563" y="1537"/>
                  </a:lnTo>
                  <a:lnTo>
                    <a:pt x="563" y="1539"/>
                  </a:lnTo>
                  <a:close/>
                  <a:moveTo>
                    <a:pt x="544" y="1539"/>
                  </a:moveTo>
                  <a:lnTo>
                    <a:pt x="544" y="1537"/>
                  </a:lnTo>
                  <a:lnTo>
                    <a:pt x="545" y="1537"/>
                  </a:lnTo>
                  <a:lnTo>
                    <a:pt x="544" y="1537"/>
                  </a:lnTo>
                  <a:lnTo>
                    <a:pt x="544" y="1539"/>
                  </a:lnTo>
                  <a:lnTo>
                    <a:pt x="545" y="1537"/>
                  </a:lnTo>
                  <a:lnTo>
                    <a:pt x="545" y="1539"/>
                  </a:lnTo>
                  <a:lnTo>
                    <a:pt x="544" y="1539"/>
                  </a:lnTo>
                  <a:close/>
                  <a:moveTo>
                    <a:pt x="531" y="1537"/>
                  </a:moveTo>
                  <a:lnTo>
                    <a:pt x="531" y="1539"/>
                  </a:lnTo>
                  <a:lnTo>
                    <a:pt x="531" y="1537"/>
                  </a:lnTo>
                  <a:close/>
                  <a:moveTo>
                    <a:pt x="544" y="1539"/>
                  </a:moveTo>
                  <a:lnTo>
                    <a:pt x="544" y="1541"/>
                  </a:lnTo>
                  <a:lnTo>
                    <a:pt x="544" y="1539"/>
                  </a:lnTo>
                  <a:lnTo>
                    <a:pt x="545" y="1541"/>
                  </a:lnTo>
                  <a:lnTo>
                    <a:pt x="544" y="1541"/>
                  </a:lnTo>
                  <a:lnTo>
                    <a:pt x="544" y="1542"/>
                  </a:lnTo>
                  <a:lnTo>
                    <a:pt x="542" y="1542"/>
                  </a:lnTo>
                  <a:lnTo>
                    <a:pt x="544" y="1542"/>
                  </a:lnTo>
                  <a:lnTo>
                    <a:pt x="542" y="1542"/>
                  </a:lnTo>
                  <a:lnTo>
                    <a:pt x="542" y="1541"/>
                  </a:lnTo>
                  <a:lnTo>
                    <a:pt x="542" y="1539"/>
                  </a:lnTo>
                  <a:lnTo>
                    <a:pt x="542" y="1541"/>
                  </a:lnTo>
                  <a:lnTo>
                    <a:pt x="542" y="1539"/>
                  </a:lnTo>
                  <a:lnTo>
                    <a:pt x="542" y="1537"/>
                  </a:lnTo>
                  <a:lnTo>
                    <a:pt x="544" y="1537"/>
                  </a:lnTo>
                  <a:lnTo>
                    <a:pt x="544" y="1539"/>
                  </a:lnTo>
                  <a:close/>
                  <a:moveTo>
                    <a:pt x="563" y="1537"/>
                  </a:moveTo>
                  <a:lnTo>
                    <a:pt x="562" y="1537"/>
                  </a:lnTo>
                  <a:lnTo>
                    <a:pt x="563" y="1537"/>
                  </a:lnTo>
                  <a:close/>
                  <a:moveTo>
                    <a:pt x="544" y="1537"/>
                  </a:moveTo>
                  <a:lnTo>
                    <a:pt x="544" y="1536"/>
                  </a:lnTo>
                  <a:lnTo>
                    <a:pt x="544" y="1537"/>
                  </a:lnTo>
                  <a:close/>
                  <a:moveTo>
                    <a:pt x="545" y="1537"/>
                  </a:moveTo>
                  <a:lnTo>
                    <a:pt x="545" y="1536"/>
                  </a:lnTo>
                  <a:lnTo>
                    <a:pt x="545" y="1537"/>
                  </a:lnTo>
                  <a:close/>
                  <a:moveTo>
                    <a:pt x="542" y="1536"/>
                  </a:moveTo>
                  <a:lnTo>
                    <a:pt x="544" y="1536"/>
                  </a:lnTo>
                  <a:lnTo>
                    <a:pt x="542" y="1536"/>
                  </a:lnTo>
                  <a:close/>
                  <a:moveTo>
                    <a:pt x="516" y="1536"/>
                  </a:moveTo>
                  <a:lnTo>
                    <a:pt x="518" y="1536"/>
                  </a:lnTo>
                  <a:lnTo>
                    <a:pt x="516" y="1536"/>
                  </a:lnTo>
                  <a:close/>
                  <a:moveTo>
                    <a:pt x="544" y="1536"/>
                  </a:moveTo>
                  <a:lnTo>
                    <a:pt x="545" y="1536"/>
                  </a:lnTo>
                  <a:lnTo>
                    <a:pt x="544" y="1536"/>
                  </a:lnTo>
                  <a:close/>
                  <a:moveTo>
                    <a:pt x="537" y="1536"/>
                  </a:moveTo>
                  <a:lnTo>
                    <a:pt x="537" y="1534"/>
                  </a:lnTo>
                  <a:lnTo>
                    <a:pt x="537" y="1536"/>
                  </a:lnTo>
                  <a:close/>
                  <a:moveTo>
                    <a:pt x="529" y="1532"/>
                  </a:moveTo>
                  <a:lnTo>
                    <a:pt x="531" y="1532"/>
                  </a:lnTo>
                  <a:lnTo>
                    <a:pt x="531" y="1534"/>
                  </a:lnTo>
                  <a:lnTo>
                    <a:pt x="531" y="1536"/>
                  </a:lnTo>
                  <a:lnTo>
                    <a:pt x="531" y="1537"/>
                  </a:lnTo>
                  <a:lnTo>
                    <a:pt x="531" y="1539"/>
                  </a:lnTo>
                  <a:lnTo>
                    <a:pt x="531" y="1541"/>
                  </a:lnTo>
                  <a:lnTo>
                    <a:pt x="531" y="1542"/>
                  </a:lnTo>
                  <a:lnTo>
                    <a:pt x="532" y="1542"/>
                  </a:lnTo>
                  <a:lnTo>
                    <a:pt x="532" y="1544"/>
                  </a:lnTo>
                  <a:lnTo>
                    <a:pt x="532" y="1545"/>
                  </a:lnTo>
                  <a:lnTo>
                    <a:pt x="532" y="1547"/>
                  </a:lnTo>
                  <a:lnTo>
                    <a:pt x="531" y="1549"/>
                  </a:lnTo>
                  <a:lnTo>
                    <a:pt x="531" y="1547"/>
                  </a:lnTo>
                  <a:lnTo>
                    <a:pt x="531" y="1549"/>
                  </a:lnTo>
                  <a:lnTo>
                    <a:pt x="529" y="1550"/>
                  </a:lnTo>
                  <a:lnTo>
                    <a:pt x="529" y="1549"/>
                  </a:lnTo>
                  <a:lnTo>
                    <a:pt x="529" y="1547"/>
                  </a:lnTo>
                  <a:lnTo>
                    <a:pt x="529" y="1545"/>
                  </a:lnTo>
                  <a:lnTo>
                    <a:pt x="531" y="1545"/>
                  </a:lnTo>
                  <a:lnTo>
                    <a:pt x="529" y="1545"/>
                  </a:lnTo>
                  <a:lnTo>
                    <a:pt x="529" y="1547"/>
                  </a:lnTo>
                  <a:lnTo>
                    <a:pt x="529" y="1549"/>
                  </a:lnTo>
                  <a:lnTo>
                    <a:pt x="527" y="1549"/>
                  </a:lnTo>
                  <a:lnTo>
                    <a:pt x="527" y="1547"/>
                  </a:lnTo>
                  <a:lnTo>
                    <a:pt x="527" y="1549"/>
                  </a:lnTo>
                  <a:lnTo>
                    <a:pt x="527" y="1547"/>
                  </a:lnTo>
                  <a:lnTo>
                    <a:pt x="527" y="1549"/>
                  </a:lnTo>
                  <a:lnTo>
                    <a:pt x="527" y="1547"/>
                  </a:lnTo>
                  <a:lnTo>
                    <a:pt x="526" y="1547"/>
                  </a:lnTo>
                  <a:lnTo>
                    <a:pt x="526" y="1545"/>
                  </a:lnTo>
                  <a:lnTo>
                    <a:pt x="527" y="1545"/>
                  </a:lnTo>
                  <a:lnTo>
                    <a:pt x="526" y="1545"/>
                  </a:lnTo>
                  <a:lnTo>
                    <a:pt x="527" y="1545"/>
                  </a:lnTo>
                  <a:lnTo>
                    <a:pt x="526" y="1544"/>
                  </a:lnTo>
                  <a:lnTo>
                    <a:pt x="526" y="1542"/>
                  </a:lnTo>
                  <a:lnTo>
                    <a:pt x="526" y="1541"/>
                  </a:lnTo>
                  <a:lnTo>
                    <a:pt x="526" y="1539"/>
                  </a:lnTo>
                  <a:lnTo>
                    <a:pt x="526" y="1537"/>
                  </a:lnTo>
                  <a:lnTo>
                    <a:pt x="526" y="1539"/>
                  </a:lnTo>
                  <a:lnTo>
                    <a:pt x="526" y="1537"/>
                  </a:lnTo>
                  <a:lnTo>
                    <a:pt x="527" y="1537"/>
                  </a:lnTo>
                  <a:lnTo>
                    <a:pt x="529" y="1536"/>
                  </a:lnTo>
                  <a:lnTo>
                    <a:pt x="527" y="1536"/>
                  </a:lnTo>
                  <a:lnTo>
                    <a:pt x="529" y="1536"/>
                  </a:lnTo>
                  <a:lnTo>
                    <a:pt x="527" y="1536"/>
                  </a:lnTo>
                  <a:lnTo>
                    <a:pt x="529" y="1536"/>
                  </a:lnTo>
                  <a:lnTo>
                    <a:pt x="529" y="1534"/>
                  </a:lnTo>
                  <a:lnTo>
                    <a:pt x="529" y="1536"/>
                  </a:lnTo>
                  <a:lnTo>
                    <a:pt x="531" y="1536"/>
                  </a:lnTo>
                  <a:lnTo>
                    <a:pt x="529" y="1536"/>
                  </a:lnTo>
                  <a:lnTo>
                    <a:pt x="531" y="1534"/>
                  </a:lnTo>
                  <a:lnTo>
                    <a:pt x="529" y="1534"/>
                  </a:lnTo>
                  <a:lnTo>
                    <a:pt x="529" y="1532"/>
                  </a:lnTo>
                  <a:close/>
                  <a:moveTo>
                    <a:pt x="529" y="1532"/>
                  </a:moveTo>
                  <a:lnTo>
                    <a:pt x="529" y="1531"/>
                  </a:lnTo>
                  <a:lnTo>
                    <a:pt x="529" y="1532"/>
                  </a:lnTo>
                  <a:close/>
                  <a:moveTo>
                    <a:pt x="529" y="1532"/>
                  </a:moveTo>
                  <a:lnTo>
                    <a:pt x="529" y="1531"/>
                  </a:lnTo>
                  <a:lnTo>
                    <a:pt x="529" y="1532"/>
                  </a:lnTo>
                  <a:close/>
                  <a:moveTo>
                    <a:pt x="529" y="1532"/>
                  </a:moveTo>
                  <a:lnTo>
                    <a:pt x="529" y="1531"/>
                  </a:lnTo>
                  <a:lnTo>
                    <a:pt x="529" y="1532"/>
                  </a:lnTo>
                  <a:close/>
                  <a:moveTo>
                    <a:pt x="529" y="1531"/>
                  </a:moveTo>
                  <a:lnTo>
                    <a:pt x="531" y="1531"/>
                  </a:lnTo>
                  <a:lnTo>
                    <a:pt x="529" y="1531"/>
                  </a:lnTo>
                  <a:close/>
                  <a:moveTo>
                    <a:pt x="534" y="1531"/>
                  </a:moveTo>
                  <a:lnTo>
                    <a:pt x="536" y="1531"/>
                  </a:lnTo>
                  <a:lnTo>
                    <a:pt x="534" y="1531"/>
                  </a:lnTo>
                  <a:close/>
                  <a:moveTo>
                    <a:pt x="532" y="1531"/>
                  </a:moveTo>
                  <a:lnTo>
                    <a:pt x="532" y="1532"/>
                  </a:lnTo>
                  <a:lnTo>
                    <a:pt x="532" y="1534"/>
                  </a:lnTo>
                  <a:lnTo>
                    <a:pt x="532" y="1532"/>
                  </a:lnTo>
                  <a:lnTo>
                    <a:pt x="531" y="1532"/>
                  </a:lnTo>
                  <a:lnTo>
                    <a:pt x="531" y="1531"/>
                  </a:lnTo>
                  <a:lnTo>
                    <a:pt x="532" y="1531"/>
                  </a:lnTo>
                  <a:close/>
                  <a:moveTo>
                    <a:pt x="531" y="1529"/>
                  </a:moveTo>
                  <a:lnTo>
                    <a:pt x="531" y="1531"/>
                  </a:lnTo>
                  <a:lnTo>
                    <a:pt x="531" y="1529"/>
                  </a:lnTo>
                  <a:close/>
                  <a:moveTo>
                    <a:pt x="531" y="1531"/>
                  </a:moveTo>
                  <a:lnTo>
                    <a:pt x="531" y="1529"/>
                  </a:lnTo>
                  <a:lnTo>
                    <a:pt x="531" y="1531"/>
                  </a:lnTo>
                  <a:close/>
                  <a:moveTo>
                    <a:pt x="604" y="1529"/>
                  </a:moveTo>
                  <a:lnTo>
                    <a:pt x="602" y="1529"/>
                  </a:lnTo>
                  <a:lnTo>
                    <a:pt x="604" y="1529"/>
                  </a:lnTo>
                  <a:close/>
                  <a:moveTo>
                    <a:pt x="532" y="1531"/>
                  </a:moveTo>
                  <a:lnTo>
                    <a:pt x="532" y="1529"/>
                  </a:lnTo>
                  <a:lnTo>
                    <a:pt x="531" y="1529"/>
                  </a:lnTo>
                  <a:lnTo>
                    <a:pt x="532" y="1529"/>
                  </a:lnTo>
                  <a:lnTo>
                    <a:pt x="534" y="1529"/>
                  </a:lnTo>
                  <a:lnTo>
                    <a:pt x="532" y="1529"/>
                  </a:lnTo>
                  <a:lnTo>
                    <a:pt x="532" y="1531"/>
                  </a:lnTo>
                  <a:close/>
                  <a:moveTo>
                    <a:pt x="545" y="1529"/>
                  </a:moveTo>
                  <a:lnTo>
                    <a:pt x="545" y="1528"/>
                  </a:lnTo>
                  <a:lnTo>
                    <a:pt x="545" y="1529"/>
                  </a:lnTo>
                  <a:close/>
                  <a:moveTo>
                    <a:pt x="531" y="1529"/>
                  </a:moveTo>
                  <a:lnTo>
                    <a:pt x="531" y="1528"/>
                  </a:lnTo>
                  <a:lnTo>
                    <a:pt x="531" y="1529"/>
                  </a:lnTo>
                  <a:close/>
                  <a:moveTo>
                    <a:pt x="532" y="1529"/>
                  </a:moveTo>
                  <a:lnTo>
                    <a:pt x="532" y="1528"/>
                  </a:lnTo>
                  <a:lnTo>
                    <a:pt x="532" y="1529"/>
                  </a:lnTo>
                  <a:close/>
                  <a:moveTo>
                    <a:pt x="539" y="1528"/>
                  </a:moveTo>
                  <a:lnTo>
                    <a:pt x="539" y="1529"/>
                  </a:lnTo>
                  <a:lnTo>
                    <a:pt x="539" y="1528"/>
                  </a:lnTo>
                  <a:close/>
                  <a:moveTo>
                    <a:pt x="539" y="1528"/>
                  </a:moveTo>
                  <a:lnTo>
                    <a:pt x="539" y="1529"/>
                  </a:lnTo>
                  <a:lnTo>
                    <a:pt x="539" y="1531"/>
                  </a:lnTo>
                  <a:lnTo>
                    <a:pt x="539" y="1532"/>
                  </a:lnTo>
                  <a:lnTo>
                    <a:pt x="539" y="1534"/>
                  </a:lnTo>
                  <a:lnTo>
                    <a:pt x="539" y="1532"/>
                  </a:lnTo>
                  <a:lnTo>
                    <a:pt x="537" y="1532"/>
                  </a:lnTo>
                  <a:lnTo>
                    <a:pt x="539" y="1531"/>
                  </a:lnTo>
                  <a:lnTo>
                    <a:pt x="537" y="1531"/>
                  </a:lnTo>
                  <a:lnTo>
                    <a:pt x="537" y="1529"/>
                  </a:lnTo>
                  <a:lnTo>
                    <a:pt x="537" y="1528"/>
                  </a:lnTo>
                  <a:lnTo>
                    <a:pt x="537" y="1529"/>
                  </a:lnTo>
                  <a:lnTo>
                    <a:pt x="537" y="1528"/>
                  </a:lnTo>
                  <a:lnTo>
                    <a:pt x="539" y="1528"/>
                  </a:lnTo>
                  <a:close/>
                  <a:moveTo>
                    <a:pt x="536" y="1526"/>
                  </a:moveTo>
                  <a:lnTo>
                    <a:pt x="537" y="1528"/>
                  </a:lnTo>
                  <a:lnTo>
                    <a:pt x="537" y="1529"/>
                  </a:lnTo>
                  <a:lnTo>
                    <a:pt x="536" y="1529"/>
                  </a:lnTo>
                  <a:lnTo>
                    <a:pt x="536" y="1528"/>
                  </a:lnTo>
                  <a:lnTo>
                    <a:pt x="536" y="1529"/>
                  </a:lnTo>
                  <a:lnTo>
                    <a:pt x="536" y="1528"/>
                  </a:lnTo>
                  <a:lnTo>
                    <a:pt x="537" y="1528"/>
                  </a:lnTo>
                  <a:lnTo>
                    <a:pt x="536" y="1528"/>
                  </a:lnTo>
                  <a:lnTo>
                    <a:pt x="536" y="1526"/>
                  </a:lnTo>
                  <a:close/>
                  <a:moveTo>
                    <a:pt x="537" y="1526"/>
                  </a:moveTo>
                  <a:lnTo>
                    <a:pt x="537" y="1528"/>
                  </a:lnTo>
                  <a:lnTo>
                    <a:pt x="537" y="1526"/>
                  </a:lnTo>
                  <a:close/>
                  <a:moveTo>
                    <a:pt x="536" y="1526"/>
                  </a:moveTo>
                  <a:lnTo>
                    <a:pt x="537" y="1526"/>
                  </a:lnTo>
                  <a:lnTo>
                    <a:pt x="536" y="1526"/>
                  </a:lnTo>
                  <a:close/>
                  <a:moveTo>
                    <a:pt x="547" y="1526"/>
                  </a:moveTo>
                  <a:lnTo>
                    <a:pt x="549" y="1524"/>
                  </a:lnTo>
                  <a:lnTo>
                    <a:pt x="549" y="1526"/>
                  </a:lnTo>
                  <a:lnTo>
                    <a:pt x="547" y="1526"/>
                  </a:lnTo>
                  <a:close/>
                  <a:moveTo>
                    <a:pt x="532" y="1526"/>
                  </a:moveTo>
                  <a:lnTo>
                    <a:pt x="532" y="1524"/>
                  </a:lnTo>
                  <a:lnTo>
                    <a:pt x="532" y="1526"/>
                  </a:lnTo>
                  <a:close/>
                  <a:moveTo>
                    <a:pt x="527" y="1524"/>
                  </a:moveTo>
                  <a:lnTo>
                    <a:pt x="529" y="1524"/>
                  </a:lnTo>
                  <a:lnTo>
                    <a:pt x="527" y="1524"/>
                  </a:lnTo>
                  <a:close/>
                  <a:moveTo>
                    <a:pt x="558" y="1531"/>
                  </a:moveTo>
                  <a:lnTo>
                    <a:pt x="558" y="1532"/>
                  </a:lnTo>
                  <a:lnTo>
                    <a:pt x="557" y="1532"/>
                  </a:lnTo>
                  <a:lnTo>
                    <a:pt x="555" y="1532"/>
                  </a:lnTo>
                  <a:lnTo>
                    <a:pt x="553" y="1532"/>
                  </a:lnTo>
                  <a:lnTo>
                    <a:pt x="553" y="1531"/>
                  </a:lnTo>
                  <a:lnTo>
                    <a:pt x="553" y="1529"/>
                  </a:lnTo>
                  <a:lnTo>
                    <a:pt x="553" y="1528"/>
                  </a:lnTo>
                  <a:lnTo>
                    <a:pt x="553" y="1526"/>
                  </a:lnTo>
                  <a:lnTo>
                    <a:pt x="553" y="1524"/>
                  </a:lnTo>
                  <a:lnTo>
                    <a:pt x="555" y="1526"/>
                  </a:lnTo>
                  <a:lnTo>
                    <a:pt x="557" y="1526"/>
                  </a:lnTo>
                  <a:lnTo>
                    <a:pt x="557" y="1528"/>
                  </a:lnTo>
                  <a:lnTo>
                    <a:pt x="558" y="1529"/>
                  </a:lnTo>
                  <a:lnTo>
                    <a:pt x="558" y="1531"/>
                  </a:lnTo>
                  <a:close/>
                  <a:moveTo>
                    <a:pt x="549" y="1521"/>
                  </a:moveTo>
                  <a:lnTo>
                    <a:pt x="550" y="1523"/>
                  </a:lnTo>
                  <a:lnTo>
                    <a:pt x="549" y="1523"/>
                  </a:lnTo>
                  <a:lnTo>
                    <a:pt x="549" y="1521"/>
                  </a:lnTo>
                  <a:close/>
                  <a:moveTo>
                    <a:pt x="531" y="1523"/>
                  </a:moveTo>
                  <a:lnTo>
                    <a:pt x="531" y="1521"/>
                  </a:lnTo>
                  <a:lnTo>
                    <a:pt x="531" y="1523"/>
                  </a:lnTo>
                  <a:lnTo>
                    <a:pt x="531" y="1521"/>
                  </a:lnTo>
                  <a:lnTo>
                    <a:pt x="531" y="1523"/>
                  </a:lnTo>
                  <a:close/>
                  <a:moveTo>
                    <a:pt x="700" y="1521"/>
                  </a:moveTo>
                  <a:lnTo>
                    <a:pt x="701" y="1521"/>
                  </a:lnTo>
                  <a:lnTo>
                    <a:pt x="700" y="1521"/>
                  </a:lnTo>
                  <a:close/>
                  <a:moveTo>
                    <a:pt x="553" y="1521"/>
                  </a:moveTo>
                  <a:lnTo>
                    <a:pt x="555" y="1521"/>
                  </a:lnTo>
                  <a:lnTo>
                    <a:pt x="557" y="1521"/>
                  </a:lnTo>
                  <a:lnTo>
                    <a:pt x="557" y="1523"/>
                  </a:lnTo>
                  <a:lnTo>
                    <a:pt x="557" y="1524"/>
                  </a:lnTo>
                  <a:lnTo>
                    <a:pt x="555" y="1524"/>
                  </a:lnTo>
                  <a:lnTo>
                    <a:pt x="553" y="1524"/>
                  </a:lnTo>
                  <a:lnTo>
                    <a:pt x="553" y="1523"/>
                  </a:lnTo>
                  <a:lnTo>
                    <a:pt x="553" y="1521"/>
                  </a:lnTo>
                  <a:close/>
                  <a:moveTo>
                    <a:pt x="565" y="1521"/>
                  </a:moveTo>
                  <a:lnTo>
                    <a:pt x="565" y="1519"/>
                  </a:lnTo>
                  <a:lnTo>
                    <a:pt x="565" y="1521"/>
                  </a:lnTo>
                  <a:close/>
                  <a:moveTo>
                    <a:pt x="537" y="1521"/>
                  </a:moveTo>
                  <a:lnTo>
                    <a:pt x="537" y="1519"/>
                  </a:lnTo>
                  <a:lnTo>
                    <a:pt x="537" y="1521"/>
                  </a:lnTo>
                  <a:close/>
                  <a:moveTo>
                    <a:pt x="565" y="1521"/>
                  </a:moveTo>
                  <a:lnTo>
                    <a:pt x="565" y="1519"/>
                  </a:lnTo>
                  <a:lnTo>
                    <a:pt x="565" y="1521"/>
                  </a:lnTo>
                  <a:close/>
                  <a:moveTo>
                    <a:pt x="531" y="1521"/>
                  </a:moveTo>
                  <a:lnTo>
                    <a:pt x="531" y="1519"/>
                  </a:lnTo>
                  <a:lnTo>
                    <a:pt x="531" y="1521"/>
                  </a:lnTo>
                  <a:lnTo>
                    <a:pt x="531" y="1519"/>
                  </a:lnTo>
                  <a:lnTo>
                    <a:pt x="531" y="1521"/>
                  </a:lnTo>
                  <a:close/>
                  <a:moveTo>
                    <a:pt x="539" y="1519"/>
                  </a:moveTo>
                  <a:lnTo>
                    <a:pt x="540" y="1519"/>
                  </a:lnTo>
                  <a:lnTo>
                    <a:pt x="539" y="1519"/>
                  </a:lnTo>
                  <a:close/>
                  <a:moveTo>
                    <a:pt x="539" y="1519"/>
                  </a:moveTo>
                  <a:lnTo>
                    <a:pt x="539" y="1521"/>
                  </a:lnTo>
                  <a:lnTo>
                    <a:pt x="539" y="1519"/>
                  </a:lnTo>
                  <a:lnTo>
                    <a:pt x="539" y="1521"/>
                  </a:lnTo>
                  <a:lnTo>
                    <a:pt x="539" y="1519"/>
                  </a:lnTo>
                  <a:close/>
                  <a:moveTo>
                    <a:pt x="539" y="1519"/>
                  </a:moveTo>
                  <a:lnTo>
                    <a:pt x="540" y="1519"/>
                  </a:lnTo>
                  <a:lnTo>
                    <a:pt x="539" y="1519"/>
                  </a:lnTo>
                  <a:close/>
                  <a:moveTo>
                    <a:pt x="544" y="1521"/>
                  </a:moveTo>
                  <a:lnTo>
                    <a:pt x="544" y="1519"/>
                  </a:lnTo>
                  <a:lnTo>
                    <a:pt x="542" y="1519"/>
                  </a:lnTo>
                  <a:lnTo>
                    <a:pt x="544" y="1519"/>
                  </a:lnTo>
                  <a:lnTo>
                    <a:pt x="544" y="1521"/>
                  </a:lnTo>
                  <a:close/>
                  <a:moveTo>
                    <a:pt x="537" y="1519"/>
                  </a:moveTo>
                  <a:lnTo>
                    <a:pt x="539" y="1519"/>
                  </a:lnTo>
                  <a:lnTo>
                    <a:pt x="537" y="1519"/>
                  </a:lnTo>
                  <a:close/>
                  <a:moveTo>
                    <a:pt x="537" y="1519"/>
                  </a:moveTo>
                  <a:lnTo>
                    <a:pt x="539" y="1518"/>
                  </a:lnTo>
                  <a:lnTo>
                    <a:pt x="539" y="1519"/>
                  </a:lnTo>
                  <a:lnTo>
                    <a:pt x="537" y="1519"/>
                  </a:lnTo>
                  <a:close/>
                  <a:moveTo>
                    <a:pt x="539" y="1518"/>
                  </a:moveTo>
                  <a:lnTo>
                    <a:pt x="539" y="1519"/>
                  </a:lnTo>
                  <a:lnTo>
                    <a:pt x="539" y="1518"/>
                  </a:lnTo>
                  <a:close/>
                  <a:moveTo>
                    <a:pt x="539" y="1518"/>
                  </a:moveTo>
                  <a:lnTo>
                    <a:pt x="540" y="1518"/>
                  </a:lnTo>
                  <a:lnTo>
                    <a:pt x="539" y="1519"/>
                  </a:lnTo>
                  <a:lnTo>
                    <a:pt x="539" y="1518"/>
                  </a:lnTo>
                  <a:close/>
                  <a:moveTo>
                    <a:pt x="537" y="1536"/>
                  </a:moveTo>
                  <a:lnTo>
                    <a:pt x="537" y="1534"/>
                  </a:lnTo>
                  <a:lnTo>
                    <a:pt x="537" y="1532"/>
                  </a:lnTo>
                  <a:lnTo>
                    <a:pt x="537" y="1534"/>
                  </a:lnTo>
                  <a:lnTo>
                    <a:pt x="537" y="1532"/>
                  </a:lnTo>
                  <a:lnTo>
                    <a:pt x="537" y="1534"/>
                  </a:lnTo>
                  <a:lnTo>
                    <a:pt x="537" y="1532"/>
                  </a:lnTo>
                  <a:lnTo>
                    <a:pt x="539" y="1534"/>
                  </a:lnTo>
                  <a:lnTo>
                    <a:pt x="539" y="1536"/>
                  </a:lnTo>
                  <a:lnTo>
                    <a:pt x="537" y="1536"/>
                  </a:lnTo>
                  <a:lnTo>
                    <a:pt x="539" y="1537"/>
                  </a:lnTo>
                  <a:lnTo>
                    <a:pt x="539" y="1536"/>
                  </a:lnTo>
                  <a:lnTo>
                    <a:pt x="539" y="1537"/>
                  </a:lnTo>
                  <a:lnTo>
                    <a:pt x="539" y="1539"/>
                  </a:lnTo>
                  <a:lnTo>
                    <a:pt x="539" y="1537"/>
                  </a:lnTo>
                  <a:lnTo>
                    <a:pt x="539" y="1539"/>
                  </a:lnTo>
                  <a:lnTo>
                    <a:pt x="539" y="1537"/>
                  </a:lnTo>
                  <a:lnTo>
                    <a:pt x="539" y="1536"/>
                  </a:lnTo>
                  <a:lnTo>
                    <a:pt x="539" y="1534"/>
                  </a:lnTo>
                  <a:lnTo>
                    <a:pt x="539" y="1536"/>
                  </a:lnTo>
                  <a:lnTo>
                    <a:pt x="540" y="1534"/>
                  </a:lnTo>
                  <a:lnTo>
                    <a:pt x="539" y="1534"/>
                  </a:lnTo>
                  <a:lnTo>
                    <a:pt x="539" y="1532"/>
                  </a:lnTo>
                  <a:lnTo>
                    <a:pt x="539" y="1531"/>
                  </a:lnTo>
                  <a:lnTo>
                    <a:pt x="539" y="1529"/>
                  </a:lnTo>
                  <a:lnTo>
                    <a:pt x="540" y="1531"/>
                  </a:lnTo>
                  <a:lnTo>
                    <a:pt x="540" y="1529"/>
                  </a:lnTo>
                  <a:lnTo>
                    <a:pt x="539" y="1529"/>
                  </a:lnTo>
                  <a:lnTo>
                    <a:pt x="539" y="1528"/>
                  </a:lnTo>
                  <a:lnTo>
                    <a:pt x="537" y="1528"/>
                  </a:lnTo>
                  <a:lnTo>
                    <a:pt x="539" y="1528"/>
                  </a:lnTo>
                  <a:lnTo>
                    <a:pt x="539" y="1526"/>
                  </a:lnTo>
                  <a:lnTo>
                    <a:pt x="537" y="1526"/>
                  </a:lnTo>
                  <a:lnTo>
                    <a:pt x="539" y="1526"/>
                  </a:lnTo>
                  <a:lnTo>
                    <a:pt x="539" y="1528"/>
                  </a:lnTo>
                  <a:lnTo>
                    <a:pt x="539" y="1526"/>
                  </a:lnTo>
                  <a:lnTo>
                    <a:pt x="539" y="1524"/>
                  </a:lnTo>
                  <a:lnTo>
                    <a:pt x="540" y="1524"/>
                  </a:lnTo>
                  <a:lnTo>
                    <a:pt x="542" y="1524"/>
                  </a:lnTo>
                  <a:lnTo>
                    <a:pt x="542" y="1526"/>
                  </a:lnTo>
                  <a:lnTo>
                    <a:pt x="542" y="1528"/>
                  </a:lnTo>
                  <a:lnTo>
                    <a:pt x="542" y="1526"/>
                  </a:lnTo>
                  <a:lnTo>
                    <a:pt x="542" y="1524"/>
                  </a:lnTo>
                  <a:lnTo>
                    <a:pt x="542" y="1523"/>
                  </a:lnTo>
                  <a:lnTo>
                    <a:pt x="544" y="1523"/>
                  </a:lnTo>
                  <a:lnTo>
                    <a:pt x="542" y="1523"/>
                  </a:lnTo>
                  <a:lnTo>
                    <a:pt x="542" y="1521"/>
                  </a:lnTo>
                  <a:lnTo>
                    <a:pt x="544" y="1521"/>
                  </a:lnTo>
                  <a:lnTo>
                    <a:pt x="542" y="1521"/>
                  </a:lnTo>
                  <a:lnTo>
                    <a:pt x="544" y="1523"/>
                  </a:lnTo>
                  <a:lnTo>
                    <a:pt x="544" y="1524"/>
                  </a:lnTo>
                  <a:lnTo>
                    <a:pt x="544" y="1526"/>
                  </a:lnTo>
                  <a:lnTo>
                    <a:pt x="544" y="1528"/>
                  </a:lnTo>
                  <a:lnTo>
                    <a:pt x="545" y="1529"/>
                  </a:lnTo>
                  <a:lnTo>
                    <a:pt x="545" y="1531"/>
                  </a:lnTo>
                  <a:lnTo>
                    <a:pt x="545" y="1529"/>
                  </a:lnTo>
                  <a:lnTo>
                    <a:pt x="545" y="1528"/>
                  </a:lnTo>
                  <a:lnTo>
                    <a:pt x="544" y="1528"/>
                  </a:lnTo>
                  <a:lnTo>
                    <a:pt x="545" y="1528"/>
                  </a:lnTo>
                  <a:lnTo>
                    <a:pt x="544" y="1526"/>
                  </a:lnTo>
                  <a:lnTo>
                    <a:pt x="545" y="1524"/>
                  </a:lnTo>
                  <a:lnTo>
                    <a:pt x="544" y="1524"/>
                  </a:lnTo>
                  <a:lnTo>
                    <a:pt x="545" y="1523"/>
                  </a:lnTo>
                  <a:lnTo>
                    <a:pt x="544" y="1519"/>
                  </a:lnTo>
                  <a:lnTo>
                    <a:pt x="544" y="1518"/>
                  </a:lnTo>
                  <a:lnTo>
                    <a:pt x="545" y="1518"/>
                  </a:lnTo>
                  <a:lnTo>
                    <a:pt x="547" y="1518"/>
                  </a:lnTo>
                  <a:lnTo>
                    <a:pt x="547" y="1519"/>
                  </a:lnTo>
                  <a:lnTo>
                    <a:pt x="547" y="1518"/>
                  </a:lnTo>
                  <a:lnTo>
                    <a:pt x="547" y="1519"/>
                  </a:lnTo>
                  <a:lnTo>
                    <a:pt x="549" y="1521"/>
                  </a:lnTo>
                  <a:lnTo>
                    <a:pt x="547" y="1521"/>
                  </a:lnTo>
                  <a:lnTo>
                    <a:pt x="549" y="1521"/>
                  </a:lnTo>
                  <a:lnTo>
                    <a:pt x="547" y="1521"/>
                  </a:lnTo>
                  <a:lnTo>
                    <a:pt x="547" y="1523"/>
                  </a:lnTo>
                  <a:lnTo>
                    <a:pt x="547" y="1524"/>
                  </a:lnTo>
                  <a:lnTo>
                    <a:pt x="549" y="1524"/>
                  </a:lnTo>
                  <a:lnTo>
                    <a:pt x="547" y="1524"/>
                  </a:lnTo>
                  <a:lnTo>
                    <a:pt x="547" y="1526"/>
                  </a:lnTo>
                  <a:lnTo>
                    <a:pt x="549" y="1526"/>
                  </a:lnTo>
                  <a:lnTo>
                    <a:pt x="547" y="1526"/>
                  </a:lnTo>
                  <a:lnTo>
                    <a:pt x="549" y="1529"/>
                  </a:lnTo>
                  <a:lnTo>
                    <a:pt x="549" y="1528"/>
                  </a:lnTo>
                  <a:lnTo>
                    <a:pt x="549" y="1526"/>
                  </a:lnTo>
                  <a:lnTo>
                    <a:pt x="549" y="1524"/>
                  </a:lnTo>
                  <a:lnTo>
                    <a:pt x="549" y="1523"/>
                  </a:lnTo>
                  <a:lnTo>
                    <a:pt x="549" y="1521"/>
                  </a:lnTo>
                  <a:lnTo>
                    <a:pt x="549" y="1523"/>
                  </a:lnTo>
                  <a:lnTo>
                    <a:pt x="550" y="1523"/>
                  </a:lnTo>
                  <a:lnTo>
                    <a:pt x="549" y="1523"/>
                  </a:lnTo>
                  <a:lnTo>
                    <a:pt x="550" y="1523"/>
                  </a:lnTo>
                  <a:lnTo>
                    <a:pt x="550" y="1524"/>
                  </a:lnTo>
                  <a:lnTo>
                    <a:pt x="550" y="1523"/>
                  </a:lnTo>
                  <a:lnTo>
                    <a:pt x="549" y="1521"/>
                  </a:lnTo>
                  <a:lnTo>
                    <a:pt x="549" y="1519"/>
                  </a:lnTo>
                  <a:lnTo>
                    <a:pt x="550" y="1519"/>
                  </a:lnTo>
                  <a:lnTo>
                    <a:pt x="552" y="1519"/>
                  </a:lnTo>
                  <a:lnTo>
                    <a:pt x="552" y="1521"/>
                  </a:lnTo>
                  <a:lnTo>
                    <a:pt x="552" y="1523"/>
                  </a:lnTo>
                  <a:lnTo>
                    <a:pt x="552" y="1524"/>
                  </a:lnTo>
                  <a:lnTo>
                    <a:pt x="553" y="1524"/>
                  </a:lnTo>
                  <a:lnTo>
                    <a:pt x="552" y="1524"/>
                  </a:lnTo>
                  <a:lnTo>
                    <a:pt x="552" y="1526"/>
                  </a:lnTo>
                  <a:lnTo>
                    <a:pt x="553" y="1526"/>
                  </a:lnTo>
                  <a:lnTo>
                    <a:pt x="553" y="1529"/>
                  </a:lnTo>
                  <a:lnTo>
                    <a:pt x="553" y="1531"/>
                  </a:lnTo>
                  <a:lnTo>
                    <a:pt x="553" y="1532"/>
                  </a:lnTo>
                  <a:lnTo>
                    <a:pt x="553" y="1534"/>
                  </a:lnTo>
                  <a:lnTo>
                    <a:pt x="552" y="1534"/>
                  </a:lnTo>
                  <a:lnTo>
                    <a:pt x="552" y="1536"/>
                  </a:lnTo>
                  <a:lnTo>
                    <a:pt x="550" y="1536"/>
                  </a:lnTo>
                  <a:lnTo>
                    <a:pt x="549" y="1537"/>
                  </a:lnTo>
                  <a:lnTo>
                    <a:pt x="549" y="1536"/>
                  </a:lnTo>
                  <a:lnTo>
                    <a:pt x="549" y="1537"/>
                  </a:lnTo>
                  <a:lnTo>
                    <a:pt x="547" y="1537"/>
                  </a:lnTo>
                  <a:lnTo>
                    <a:pt x="547" y="1539"/>
                  </a:lnTo>
                  <a:lnTo>
                    <a:pt x="547" y="1541"/>
                  </a:lnTo>
                  <a:lnTo>
                    <a:pt x="545" y="1541"/>
                  </a:lnTo>
                  <a:lnTo>
                    <a:pt x="545" y="1539"/>
                  </a:lnTo>
                  <a:lnTo>
                    <a:pt x="545" y="1537"/>
                  </a:lnTo>
                  <a:lnTo>
                    <a:pt x="545" y="1536"/>
                  </a:lnTo>
                  <a:lnTo>
                    <a:pt x="545" y="1534"/>
                  </a:lnTo>
                  <a:lnTo>
                    <a:pt x="544" y="1534"/>
                  </a:lnTo>
                  <a:lnTo>
                    <a:pt x="544" y="1532"/>
                  </a:lnTo>
                  <a:lnTo>
                    <a:pt x="544" y="1534"/>
                  </a:lnTo>
                  <a:lnTo>
                    <a:pt x="544" y="1536"/>
                  </a:lnTo>
                  <a:lnTo>
                    <a:pt x="542" y="1536"/>
                  </a:lnTo>
                  <a:lnTo>
                    <a:pt x="542" y="1537"/>
                  </a:lnTo>
                  <a:lnTo>
                    <a:pt x="542" y="1539"/>
                  </a:lnTo>
                  <a:lnTo>
                    <a:pt x="540" y="1539"/>
                  </a:lnTo>
                  <a:lnTo>
                    <a:pt x="540" y="1541"/>
                  </a:lnTo>
                  <a:lnTo>
                    <a:pt x="540" y="1542"/>
                  </a:lnTo>
                  <a:lnTo>
                    <a:pt x="539" y="1541"/>
                  </a:lnTo>
                  <a:lnTo>
                    <a:pt x="539" y="1542"/>
                  </a:lnTo>
                  <a:lnTo>
                    <a:pt x="539" y="1541"/>
                  </a:lnTo>
                  <a:lnTo>
                    <a:pt x="539" y="1539"/>
                  </a:lnTo>
                  <a:lnTo>
                    <a:pt x="537" y="1539"/>
                  </a:lnTo>
                  <a:lnTo>
                    <a:pt x="539" y="1539"/>
                  </a:lnTo>
                  <a:lnTo>
                    <a:pt x="537" y="1541"/>
                  </a:lnTo>
                  <a:lnTo>
                    <a:pt x="537" y="1542"/>
                  </a:lnTo>
                  <a:lnTo>
                    <a:pt x="537" y="1541"/>
                  </a:lnTo>
                  <a:lnTo>
                    <a:pt x="537" y="1539"/>
                  </a:lnTo>
                  <a:lnTo>
                    <a:pt x="536" y="1539"/>
                  </a:lnTo>
                  <a:lnTo>
                    <a:pt x="536" y="1541"/>
                  </a:lnTo>
                  <a:lnTo>
                    <a:pt x="536" y="1539"/>
                  </a:lnTo>
                  <a:lnTo>
                    <a:pt x="536" y="1541"/>
                  </a:lnTo>
                  <a:lnTo>
                    <a:pt x="536" y="1542"/>
                  </a:lnTo>
                  <a:lnTo>
                    <a:pt x="536" y="1544"/>
                  </a:lnTo>
                  <a:lnTo>
                    <a:pt x="536" y="1542"/>
                  </a:lnTo>
                  <a:lnTo>
                    <a:pt x="536" y="1544"/>
                  </a:lnTo>
                  <a:lnTo>
                    <a:pt x="534" y="1544"/>
                  </a:lnTo>
                  <a:lnTo>
                    <a:pt x="534" y="1542"/>
                  </a:lnTo>
                  <a:lnTo>
                    <a:pt x="534" y="1541"/>
                  </a:lnTo>
                  <a:lnTo>
                    <a:pt x="534" y="1539"/>
                  </a:lnTo>
                  <a:lnTo>
                    <a:pt x="534" y="1541"/>
                  </a:lnTo>
                  <a:lnTo>
                    <a:pt x="532" y="1542"/>
                  </a:lnTo>
                  <a:lnTo>
                    <a:pt x="532" y="1541"/>
                  </a:lnTo>
                  <a:lnTo>
                    <a:pt x="532" y="1542"/>
                  </a:lnTo>
                  <a:lnTo>
                    <a:pt x="532" y="1541"/>
                  </a:lnTo>
                  <a:lnTo>
                    <a:pt x="532" y="1539"/>
                  </a:lnTo>
                  <a:lnTo>
                    <a:pt x="532" y="1537"/>
                  </a:lnTo>
                  <a:lnTo>
                    <a:pt x="532" y="1536"/>
                  </a:lnTo>
                  <a:lnTo>
                    <a:pt x="532" y="1534"/>
                  </a:lnTo>
                  <a:lnTo>
                    <a:pt x="534" y="1534"/>
                  </a:lnTo>
                  <a:lnTo>
                    <a:pt x="534" y="1536"/>
                  </a:lnTo>
                  <a:lnTo>
                    <a:pt x="534" y="1534"/>
                  </a:lnTo>
                  <a:lnTo>
                    <a:pt x="534" y="1532"/>
                  </a:lnTo>
                  <a:lnTo>
                    <a:pt x="534" y="1534"/>
                  </a:lnTo>
                  <a:lnTo>
                    <a:pt x="536" y="1532"/>
                  </a:lnTo>
                  <a:lnTo>
                    <a:pt x="536" y="1534"/>
                  </a:lnTo>
                  <a:lnTo>
                    <a:pt x="536" y="1532"/>
                  </a:lnTo>
                  <a:lnTo>
                    <a:pt x="536" y="1534"/>
                  </a:lnTo>
                  <a:lnTo>
                    <a:pt x="537" y="1532"/>
                  </a:lnTo>
                  <a:lnTo>
                    <a:pt x="537" y="1531"/>
                  </a:lnTo>
                  <a:lnTo>
                    <a:pt x="536" y="1531"/>
                  </a:lnTo>
                  <a:lnTo>
                    <a:pt x="537" y="1529"/>
                  </a:lnTo>
                  <a:lnTo>
                    <a:pt x="537" y="1531"/>
                  </a:lnTo>
                  <a:lnTo>
                    <a:pt x="537" y="1532"/>
                  </a:lnTo>
                  <a:lnTo>
                    <a:pt x="537" y="1531"/>
                  </a:lnTo>
                  <a:lnTo>
                    <a:pt x="537" y="1532"/>
                  </a:lnTo>
                  <a:lnTo>
                    <a:pt x="537" y="1531"/>
                  </a:lnTo>
                  <a:lnTo>
                    <a:pt x="537" y="1532"/>
                  </a:lnTo>
                  <a:lnTo>
                    <a:pt x="537" y="1531"/>
                  </a:lnTo>
                  <a:lnTo>
                    <a:pt x="537" y="1532"/>
                  </a:lnTo>
                  <a:lnTo>
                    <a:pt x="537" y="1534"/>
                  </a:lnTo>
                  <a:lnTo>
                    <a:pt x="537" y="1536"/>
                  </a:lnTo>
                  <a:close/>
                  <a:moveTo>
                    <a:pt x="544" y="1518"/>
                  </a:moveTo>
                  <a:lnTo>
                    <a:pt x="544" y="1516"/>
                  </a:lnTo>
                  <a:lnTo>
                    <a:pt x="544" y="1518"/>
                  </a:lnTo>
                  <a:close/>
                  <a:moveTo>
                    <a:pt x="534" y="1516"/>
                  </a:moveTo>
                  <a:lnTo>
                    <a:pt x="534" y="1518"/>
                  </a:lnTo>
                  <a:lnTo>
                    <a:pt x="534" y="1516"/>
                  </a:lnTo>
                  <a:close/>
                  <a:moveTo>
                    <a:pt x="542" y="1516"/>
                  </a:moveTo>
                  <a:lnTo>
                    <a:pt x="542" y="1518"/>
                  </a:lnTo>
                  <a:lnTo>
                    <a:pt x="542" y="1516"/>
                  </a:lnTo>
                  <a:close/>
                  <a:moveTo>
                    <a:pt x="534" y="1516"/>
                  </a:moveTo>
                  <a:lnTo>
                    <a:pt x="534" y="1518"/>
                  </a:lnTo>
                  <a:lnTo>
                    <a:pt x="534" y="1516"/>
                  </a:lnTo>
                  <a:close/>
                  <a:moveTo>
                    <a:pt x="537" y="1518"/>
                  </a:moveTo>
                  <a:lnTo>
                    <a:pt x="537" y="1516"/>
                  </a:lnTo>
                  <a:lnTo>
                    <a:pt x="537" y="1518"/>
                  </a:lnTo>
                  <a:close/>
                  <a:moveTo>
                    <a:pt x="539" y="1518"/>
                  </a:moveTo>
                  <a:lnTo>
                    <a:pt x="539" y="1516"/>
                  </a:lnTo>
                  <a:lnTo>
                    <a:pt x="539" y="1518"/>
                  </a:lnTo>
                  <a:lnTo>
                    <a:pt x="539" y="1516"/>
                  </a:lnTo>
                  <a:lnTo>
                    <a:pt x="539" y="1518"/>
                  </a:lnTo>
                  <a:lnTo>
                    <a:pt x="539" y="1519"/>
                  </a:lnTo>
                  <a:lnTo>
                    <a:pt x="539" y="1518"/>
                  </a:lnTo>
                  <a:close/>
                  <a:moveTo>
                    <a:pt x="542" y="1519"/>
                  </a:moveTo>
                  <a:lnTo>
                    <a:pt x="542" y="1518"/>
                  </a:lnTo>
                  <a:lnTo>
                    <a:pt x="542" y="1516"/>
                  </a:lnTo>
                  <a:lnTo>
                    <a:pt x="544" y="1518"/>
                  </a:lnTo>
                  <a:lnTo>
                    <a:pt x="544" y="1519"/>
                  </a:lnTo>
                  <a:lnTo>
                    <a:pt x="542" y="1519"/>
                  </a:lnTo>
                  <a:close/>
                  <a:moveTo>
                    <a:pt x="549" y="1516"/>
                  </a:moveTo>
                  <a:lnTo>
                    <a:pt x="550" y="1516"/>
                  </a:lnTo>
                  <a:lnTo>
                    <a:pt x="549" y="1516"/>
                  </a:lnTo>
                  <a:close/>
                  <a:moveTo>
                    <a:pt x="542" y="1518"/>
                  </a:moveTo>
                  <a:lnTo>
                    <a:pt x="542" y="1519"/>
                  </a:lnTo>
                  <a:lnTo>
                    <a:pt x="540" y="1519"/>
                  </a:lnTo>
                  <a:lnTo>
                    <a:pt x="540" y="1518"/>
                  </a:lnTo>
                  <a:lnTo>
                    <a:pt x="540" y="1516"/>
                  </a:lnTo>
                  <a:lnTo>
                    <a:pt x="542" y="1516"/>
                  </a:lnTo>
                  <a:lnTo>
                    <a:pt x="542" y="1518"/>
                  </a:lnTo>
                  <a:close/>
                  <a:moveTo>
                    <a:pt x="532" y="1516"/>
                  </a:moveTo>
                  <a:lnTo>
                    <a:pt x="534" y="1516"/>
                  </a:lnTo>
                  <a:lnTo>
                    <a:pt x="532" y="1516"/>
                  </a:lnTo>
                  <a:close/>
                  <a:moveTo>
                    <a:pt x="534" y="1516"/>
                  </a:moveTo>
                  <a:lnTo>
                    <a:pt x="532" y="1516"/>
                  </a:lnTo>
                  <a:lnTo>
                    <a:pt x="534" y="1516"/>
                  </a:lnTo>
                  <a:close/>
                  <a:moveTo>
                    <a:pt x="550" y="1516"/>
                  </a:moveTo>
                  <a:lnTo>
                    <a:pt x="552" y="1516"/>
                  </a:lnTo>
                  <a:lnTo>
                    <a:pt x="550" y="1516"/>
                  </a:lnTo>
                  <a:close/>
                  <a:moveTo>
                    <a:pt x="550" y="1516"/>
                  </a:moveTo>
                  <a:lnTo>
                    <a:pt x="550" y="1514"/>
                  </a:lnTo>
                  <a:lnTo>
                    <a:pt x="550" y="1516"/>
                  </a:lnTo>
                  <a:close/>
                  <a:moveTo>
                    <a:pt x="536" y="1516"/>
                  </a:moveTo>
                  <a:lnTo>
                    <a:pt x="536" y="1514"/>
                  </a:lnTo>
                  <a:lnTo>
                    <a:pt x="536" y="1516"/>
                  </a:lnTo>
                  <a:lnTo>
                    <a:pt x="536" y="1514"/>
                  </a:lnTo>
                  <a:lnTo>
                    <a:pt x="536" y="1516"/>
                  </a:lnTo>
                  <a:close/>
                  <a:moveTo>
                    <a:pt x="536" y="1514"/>
                  </a:moveTo>
                  <a:lnTo>
                    <a:pt x="536" y="1516"/>
                  </a:lnTo>
                  <a:lnTo>
                    <a:pt x="536" y="1514"/>
                  </a:lnTo>
                  <a:close/>
                  <a:moveTo>
                    <a:pt x="537" y="1519"/>
                  </a:moveTo>
                  <a:lnTo>
                    <a:pt x="536" y="1519"/>
                  </a:lnTo>
                  <a:lnTo>
                    <a:pt x="534" y="1519"/>
                  </a:lnTo>
                  <a:lnTo>
                    <a:pt x="536" y="1519"/>
                  </a:lnTo>
                  <a:lnTo>
                    <a:pt x="534" y="1519"/>
                  </a:lnTo>
                  <a:lnTo>
                    <a:pt x="534" y="1518"/>
                  </a:lnTo>
                  <a:lnTo>
                    <a:pt x="534" y="1519"/>
                  </a:lnTo>
                  <a:lnTo>
                    <a:pt x="534" y="1518"/>
                  </a:lnTo>
                  <a:lnTo>
                    <a:pt x="534" y="1516"/>
                  </a:lnTo>
                  <a:lnTo>
                    <a:pt x="534" y="1514"/>
                  </a:lnTo>
                  <a:lnTo>
                    <a:pt x="536" y="1516"/>
                  </a:lnTo>
                  <a:lnTo>
                    <a:pt x="534" y="1514"/>
                  </a:lnTo>
                  <a:lnTo>
                    <a:pt x="536" y="1514"/>
                  </a:lnTo>
                  <a:lnTo>
                    <a:pt x="536" y="1516"/>
                  </a:lnTo>
                  <a:lnTo>
                    <a:pt x="536" y="1518"/>
                  </a:lnTo>
                  <a:lnTo>
                    <a:pt x="536" y="1516"/>
                  </a:lnTo>
                  <a:lnTo>
                    <a:pt x="537" y="1518"/>
                  </a:lnTo>
                  <a:lnTo>
                    <a:pt x="537" y="1516"/>
                  </a:lnTo>
                  <a:lnTo>
                    <a:pt x="537" y="1518"/>
                  </a:lnTo>
                  <a:lnTo>
                    <a:pt x="537" y="1519"/>
                  </a:lnTo>
                  <a:close/>
                  <a:moveTo>
                    <a:pt x="555" y="1510"/>
                  </a:moveTo>
                  <a:lnTo>
                    <a:pt x="555" y="1511"/>
                  </a:lnTo>
                  <a:lnTo>
                    <a:pt x="555" y="1510"/>
                  </a:lnTo>
                  <a:close/>
                  <a:moveTo>
                    <a:pt x="550" y="1510"/>
                  </a:moveTo>
                  <a:lnTo>
                    <a:pt x="552" y="1510"/>
                  </a:lnTo>
                  <a:lnTo>
                    <a:pt x="552" y="1511"/>
                  </a:lnTo>
                  <a:lnTo>
                    <a:pt x="550" y="1511"/>
                  </a:lnTo>
                  <a:lnTo>
                    <a:pt x="549" y="1511"/>
                  </a:lnTo>
                  <a:lnTo>
                    <a:pt x="549" y="1510"/>
                  </a:lnTo>
                  <a:lnTo>
                    <a:pt x="550" y="1510"/>
                  </a:lnTo>
                  <a:lnTo>
                    <a:pt x="549" y="1510"/>
                  </a:lnTo>
                  <a:lnTo>
                    <a:pt x="550" y="1510"/>
                  </a:lnTo>
                  <a:close/>
                  <a:moveTo>
                    <a:pt x="539" y="1510"/>
                  </a:moveTo>
                  <a:lnTo>
                    <a:pt x="539" y="1508"/>
                  </a:lnTo>
                  <a:lnTo>
                    <a:pt x="539" y="1510"/>
                  </a:lnTo>
                  <a:close/>
                  <a:moveTo>
                    <a:pt x="534" y="1508"/>
                  </a:moveTo>
                  <a:lnTo>
                    <a:pt x="536" y="1508"/>
                  </a:lnTo>
                  <a:lnTo>
                    <a:pt x="534" y="1508"/>
                  </a:lnTo>
                  <a:close/>
                  <a:moveTo>
                    <a:pt x="544" y="1510"/>
                  </a:moveTo>
                  <a:lnTo>
                    <a:pt x="544" y="1508"/>
                  </a:lnTo>
                  <a:lnTo>
                    <a:pt x="545" y="1508"/>
                  </a:lnTo>
                  <a:lnTo>
                    <a:pt x="544" y="1510"/>
                  </a:lnTo>
                  <a:close/>
                  <a:moveTo>
                    <a:pt x="532" y="1508"/>
                  </a:moveTo>
                  <a:lnTo>
                    <a:pt x="534" y="1508"/>
                  </a:lnTo>
                  <a:lnTo>
                    <a:pt x="532" y="1508"/>
                  </a:lnTo>
                  <a:close/>
                  <a:moveTo>
                    <a:pt x="534" y="1506"/>
                  </a:moveTo>
                  <a:lnTo>
                    <a:pt x="536" y="1506"/>
                  </a:lnTo>
                  <a:lnTo>
                    <a:pt x="534" y="1508"/>
                  </a:lnTo>
                  <a:lnTo>
                    <a:pt x="534" y="1506"/>
                  </a:lnTo>
                  <a:close/>
                  <a:moveTo>
                    <a:pt x="534" y="1506"/>
                  </a:moveTo>
                  <a:lnTo>
                    <a:pt x="536" y="1506"/>
                  </a:lnTo>
                  <a:lnTo>
                    <a:pt x="534" y="1506"/>
                  </a:lnTo>
                  <a:close/>
                  <a:moveTo>
                    <a:pt x="542" y="1506"/>
                  </a:moveTo>
                  <a:lnTo>
                    <a:pt x="544" y="1506"/>
                  </a:lnTo>
                  <a:lnTo>
                    <a:pt x="542" y="1506"/>
                  </a:lnTo>
                  <a:close/>
                  <a:moveTo>
                    <a:pt x="560" y="1506"/>
                  </a:moveTo>
                  <a:lnTo>
                    <a:pt x="562" y="1506"/>
                  </a:lnTo>
                  <a:lnTo>
                    <a:pt x="560" y="1506"/>
                  </a:lnTo>
                  <a:close/>
                  <a:moveTo>
                    <a:pt x="526" y="1506"/>
                  </a:moveTo>
                  <a:lnTo>
                    <a:pt x="526" y="1505"/>
                  </a:lnTo>
                  <a:lnTo>
                    <a:pt x="526" y="1506"/>
                  </a:lnTo>
                  <a:close/>
                  <a:moveTo>
                    <a:pt x="524" y="1506"/>
                  </a:moveTo>
                  <a:lnTo>
                    <a:pt x="524" y="1505"/>
                  </a:lnTo>
                  <a:lnTo>
                    <a:pt x="524" y="1506"/>
                  </a:lnTo>
                  <a:close/>
                  <a:moveTo>
                    <a:pt x="524" y="1505"/>
                  </a:moveTo>
                  <a:lnTo>
                    <a:pt x="524" y="1506"/>
                  </a:lnTo>
                  <a:lnTo>
                    <a:pt x="524" y="1505"/>
                  </a:lnTo>
                  <a:lnTo>
                    <a:pt x="526" y="1505"/>
                  </a:lnTo>
                  <a:lnTo>
                    <a:pt x="524" y="1505"/>
                  </a:lnTo>
                  <a:close/>
                  <a:moveTo>
                    <a:pt x="529" y="1506"/>
                  </a:moveTo>
                  <a:lnTo>
                    <a:pt x="529" y="1505"/>
                  </a:lnTo>
                  <a:lnTo>
                    <a:pt x="531" y="1505"/>
                  </a:lnTo>
                  <a:lnTo>
                    <a:pt x="531" y="1506"/>
                  </a:lnTo>
                  <a:lnTo>
                    <a:pt x="529" y="1505"/>
                  </a:lnTo>
                  <a:lnTo>
                    <a:pt x="529" y="1506"/>
                  </a:lnTo>
                  <a:close/>
                  <a:moveTo>
                    <a:pt x="526" y="1505"/>
                  </a:moveTo>
                  <a:lnTo>
                    <a:pt x="526" y="1506"/>
                  </a:lnTo>
                  <a:lnTo>
                    <a:pt x="526" y="1505"/>
                  </a:lnTo>
                  <a:close/>
                  <a:moveTo>
                    <a:pt x="526" y="1505"/>
                  </a:moveTo>
                  <a:lnTo>
                    <a:pt x="524" y="1505"/>
                  </a:lnTo>
                  <a:lnTo>
                    <a:pt x="526" y="1505"/>
                  </a:lnTo>
                  <a:close/>
                  <a:moveTo>
                    <a:pt x="555" y="1505"/>
                  </a:moveTo>
                  <a:lnTo>
                    <a:pt x="555" y="1503"/>
                  </a:lnTo>
                  <a:lnTo>
                    <a:pt x="555" y="1505"/>
                  </a:lnTo>
                  <a:close/>
                  <a:moveTo>
                    <a:pt x="524" y="1505"/>
                  </a:moveTo>
                  <a:lnTo>
                    <a:pt x="524" y="1503"/>
                  </a:lnTo>
                  <a:lnTo>
                    <a:pt x="524" y="1505"/>
                  </a:lnTo>
                  <a:close/>
                  <a:moveTo>
                    <a:pt x="524" y="1505"/>
                  </a:moveTo>
                  <a:lnTo>
                    <a:pt x="524" y="1503"/>
                  </a:lnTo>
                  <a:lnTo>
                    <a:pt x="524" y="1505"/>
                  </a:lnTo>
                  <a:close/>
                  <a:moveTo>
                    <a:pt x="527" y="1503"/>
                  </a:moveTo>
                  <a:lnTo>
                    <a:pt x="527" y="1505"/>
                  </a:lnTo>
                  <a:lnTo>
                    <a:pt x="529" y="1505"/>
                  </a:lnTo>
                  <a:lnTo>
                    <a:pt x="527" y="1505"/>
                  </a:lnTo>
                  <a:lnTo>
                    <a:pt x="529" y="1503"/>
                  </a:lnTo>
                  <a:lnTo>
                    <a:pt x="529" y="1505"/>
                  </a:lnTo>
                  <a:lnTo>
                    <a:pt x="529" y="1506"/>
                  </a:lnTo>
                  <a:lnTo>
                    <a:pt x="527" y="1506"/>
                  </a:lnTo>
                  <a:lnTo>
                    <a:pt x="527" y="1505"/>
                  </a:lnTo>
                  <a:lnTo>
                    <a:pt x="527" y="1506"/>
                  </a:lnTo>
                  <a:lnTo>
                    <a:pt x="526" y="1506"/>
                  </a:lnTo>
                  <a:lnTo>
                    <a:pt x="526" y="1505"/>
                  </a:lnTo>
                  <a:lnTo>
                    <a:pt x="527" y="1505"/>
                  </a:lnTo>
                  <a:lnTo>
                    <a:pt x="526" y="1505"/>
                  </a:lnTo>
                  <a:lnTo>
                    <a:pt x="527" y="1505"/>
                  </a:lnTo>
                  <a:lnTo>
                    <a:pt x="527" y="1503"/>
                  </a:lnTo>
                  <a:close/>
                  <a:moveTo>
                    <a:pt x="524" y="1505"/>
                  </a:moveTo>
                  <a:lnTo>
                    <a:pt x="524" y="1503"/>
                  </a:lnTo>
                  <a:lnTo>
                    <a:pt x="524" y="1505"/>
                  </a:lnTo>
                  <a:close/>
                  <a:moveTo>
                    <a:pt x="529" y="1505"/>
                  </a:moveTo>
                  <a:lnTo>
                    <a:pt x="529" y="1503"/>
                  </a:lnTo>
                  <a:lnTo>
                    <a:pt x="529" y="1505"/>
                  </a:lnTo>
                  <a:close/>
                  <a:moveTo>
                    <a:pt x="529" y="1503"/>
                  </a:moveTo>
                  <a:lnTo>
                    <a:pt x="529" y="1505"/>
                  </a:lnTo>
                  <a:lnTo>
                    <a:pt x="529" y="1503"/>
                  </a:lnTo>
                  <a:close/>
                  <a:moveTo>
                    <a:pt x="529" y="1503"/>
                  </a:moveTo>
                  <a:lnTo>
                    <a:pt x="531" y="1503"/>
                  </a:lnTo>
                  <a:lnTo>
                    <a:pt x="529" y="1503"/>
                  </a:lnTo>
                  <a:close/>
                  <a:moveTo>
                    <a:pt x="531" y="1503"/>
                  </a:moveTo>
                  <a:lnTo>
                    <a:pt x="531" y="1505"/>
                  </a:lnTo>
                  <a:lnTo>
                    <a:pt x="532" y="1505"/>
                  </a:lnTo>
                  <a:lnTo>
                    <a:pt x="532" y="1506"/>
                  </a:lnTo>
                  <a:lnTo>
                    <a:pt x="531" y="1506"/>
                  </a:lnTo>
                  <a:lnTo>
                    <a:pt x="532" y="1506"/>
                  </a:lnTo>
                  <a:lnTo>
                    <a:pt x="531" y="1506"/>
                  </a:lnTo>
                  <a:lnTo>
                    <a:pt x="531" y="1505"/>
                  </a:lnTo>
                  <a:lnTo>
                    <a:pt x="531" y="1503"/>
                  </a:lnTo>
                  <a:close/>
                  <a:moveTo>
                    <a:pt x="549" y="1503"/>
                  </a:moveTo>
                  <a:lnTo>
                    <a:pt x="549" y="1501"/>
                  </a:lnTo>
                  <a:lnTo>
                    <a:pt x="549" y="1503"/>
                  </a:lnTo>
                  <a:close/>
                  <a:moveTo>
                    <a:pt x="534" y="1501"/>
                  </a:moveTo>
                  <a:lnTo>
                    <a:pt x="536" y="1501"/>
                  </a:lnTo>
                  <a:lnTo>
                    <a:pt x="536" y="1503"/>
                  </a:lnTo>
                  <a:lnTo>
                    <a:pt x="536" y="1505"/>
                  </a:lnTo>
                  <a:lnTo>
                    <a:pt x="537" y="1505"/>
                  </a:lnTo>
                  <a:lnTo>
                    <a:pt x="539" y="1506"/>
                  </a:lnTo>
                  <a:lnTo>
                    <a:pt x="537" y="1506"/>
                  </a:lnTo>
                  <a:lnTo>
                    <a:pt x="537" y="1508"/>
                  </a:lnTo>
                  <a:lnTo>
                    <a:pt x="537" y="1506"/>
                  </a:lnTo>
                  <a:lnTo>
                    <a:pt x="537" y="1508"/>
                  </a:lnTo>
                  <a:lnTo>
                    <a:pt x="537" y="1506"/>
                  </a:lnTo>
                  <a:lnTo>
                    <a:pt x="536" y="1506"/>
                  </a:lnTo>
                  <a:lnTo>
                    <a:pt x="536" y="1508"/>
                  </a:lnTo>
                  <a:lnTo>
                    <a:pt x="536" y="1506"/>
                  </a:lnTo>
                  <a:lnTo>
                    <a:pt x="534" y="1506"/>
                  </a:lnTo>
                  <a:lnTo>
                    <a:pt x="532" y="1506"/>
                  </a:lnTo>
                  <a:lnTo>
                    <a:pt x="532" y="1505"/>
                  </a:lnTo>
                  <a:lnTo>
                    <a:pt x="532" y="1503"/>
                  </a:lnTo>
                  <a:lnTo>
                    <a:pt x="532" y="1501"/>
                  </a:lnTo>
                  <a:lnTo>
                    <a:pt x="534" y="1501"/>
                  </a:lnTo>
                  <a:close/>
                  <a:moveTo>
                    <a:pt x="547" y="1501"/>
                  </a:moveTo>
                  <a:lnTo>
                    <a:pt x="549" y="1501"/>
                  </a:lnTo>
                  <a:lnTo>
                    <a:pt x="547" y="1501"/>
                  </a:lnTo>
                  <a:close/>
                  <a:moveTo>
                    <a:pt x="532" y="1501"/>
                  </a:moveTo>
                  <a:lnTo>
                    <a:pt x="534" y="1501"/>
                  </a:lnTo>
                  <a:lnTo>
                    <a:pt x="532" y="1501"/>
                  </a:lnTo>
                  <a:close/>
                  <a:moveTo>
                    <a:pt x="558" y="1501"/>
                  </a:moveTo>
                  <a:lnTo>
                    <a:pt x="557" y="1501"/>
                  </a:lnTo>
                  <a:lnTo>
                    <a:pt x="558" y="1501"/>
                  </a:lnTo>
                  <a:close/>
                  <a:moveTo>
                    <a:pt x="575" y="1500"/>
                  </a:moveTo>
                  <a:lnTo>
                    <a:pt x="575" y="1501"/>
                  </a:lnTo>
                  <a:lnTo>
                    <a:pt x="575" y="1500"/>
                  </a:lnTo>
                  <a:close/>
                  <a:moveTo>
                    <a:pt x="537" y="1500"/>
                  </a:moveTo>
                  <a:lnTo>
                    <a:pt x="539" y="1500"/>
                  </a:lnTo>
                  <a:lnTo>
                    <a:pt x="539" y="1501"/>
                  </a:lnTo>
                  <a:lnTo>
                    <a:pt x="539" y="1503"/>
                  </a:lnTo>
                  <a:lnTo>
                    <a:pt x="537" y="1503"/>
                  </a:lnTo>
                  <a:lnTo>
                    <a:pt x="537" y="1501"/>
                  </a:lnTo>
                  <a:lnTo>
                    <a:pt x="536" y="1501"/>
                  </a:lnTo>
                  <a:lnTo>
                    <a:pt x="536" y="1500"/>
                  </a:lnTo>
                  <a:lnTo>
                    <a:pt x="537" y="1500"/>
                  </a:lnTo>
                  <a:close/>
                  <a:moveTo>
                    <a:pt x="578" y="1498"/>
                  </a:moveTo>
                  <a:lnTo>
                    <a:pt x="578" y="1500"/>
                  </a:lnTo>
                  <a:lnTo>
                    <a:pt x="576" y="1500"/>
                  </a:lnTo>
                  <a:lnTo>
                    <a:pt x="576" y="1498"/>
                  </a:lnTo>
                  <a:lnTo>
                    <a:pt x="578" y="1498"/>
                  </a:lnTo>
                  <a:close/>
                  <a:moveTo>
                    <a:pt x="544" y="1497"/>
                  </a:moveTo>
                  <a:lnTo>
                    <a:pt x="544" y="1498"/>
                  </a:lnTo>
                  <a:lnTo>
                    <a:pt x="544" y="1500"/>
                  </a:lnTo>
                  <a:lnTo>
                    <a:pt x="542" y="1500"/>
                  </a:lnTo>
                  <a:lnTo>
                    <a:pt x="542" y="1498"/>
                  </a:lnTo>
                  <a:lnTo>
                    <a:pt x="542" y="1497"/>
                  </a:lnTo>
                  <a:lnTo>
                    <a:pt x="544" y="1497"/>
                  </a:lnTo>
                  <a:close/>
                  <a:moveTo>
                    <a:pt x="531" y="1497"/>
                  </a:moveTo>
                  <a:lnTo>
                    <a:pt x="532" y="1497"/>
                  </a:lnTo>
                  <a:lnTo>
                    <a:pt x="531" y="1498"/>
                  </a:lnTo>
                  <a:lnTo>
                    <a:pt x="531" y="1497"/>
                  </a:lnTo>
                  <a:close/>
                  <a:moveTo>
                    <a:pt x="545" y="1497"/>
                  </a:moveTo>
                  <a:lnTo>
                    <a:pt x="545" y="1495"/>
                  </a:lnTo>
                  <a:lnTo>
                    <a:pt x="545" y="1497"/>
                  </a:lnTo>
                  <a:close/>
                  <a:moveTo>
                    <a:pt x="532" y="1497"/>
                  </a:moveTo>
                  <a:lnTo>
                    <a:pt x="532" y="1495"/>
                  </a:lnTo>
                  <a:lnTo>
                    <a:pt x="532" y="1497"/>
                  </a:lnTo>
                  <a:close/>
                  <a:moveTo>
                    <a:pt x="547" y="1497"/>
                  </a:moveTo>
                  <a:lnTo>
                    <a:pt x="545" y="1497"/>
                  </a:lnTo>
                  <a:lnTo>
                    <a:pt x="545" y="1495"/>
                  </a:lnTo>
                  <a:lnTo>
                    <a:pt x="547" y="1495"/>
                  </a:lnTo>
                  <a:lnTo>
                    <a:pt x="547" y="1497"/>
                  </a:lnTo>
                  <a:close/>
                  <a:moveTo>
                    <a:pt x="547" y="1495"/>
                  </a:moveTo>
                  <a:lnTo>
                    <a:pt x="545" y="1495"/>
                  </a:lnTo>
                  <a:lnTo>
                    <a:pt x="547" y="1495"/>
                  </a:lnTo>
                  <a:lnTo>
                    <a:pt x="545" y="1495"/>
                  </a:lnTo>
                  <a:lnTo>
                    <a:pt x="547" y="1495"/>
                  </a:lnTo>
                  <a:close/>
                  <a:moveTo>
                    <a:pt x="547" y="1493"/>
                  </a:moveTo>
                  <a:lnTo>
                    <a:pt x="547" y="1495"/>
                  </a:lnTo>
                  <a:lnTo>
                    <a:pt x="547" y="1493"/>
                  </a:lnTo>
                  <a:close/>
                  <a:moveTo>
                    <a:pt x="549" y="1493"/>
                  </a:moveTo>
                  <a:lnTo>
                    <a:pt x="549" y="1495"/>
                  </a:lnTo>
                  <a:lnTo>
                    <a:pt x="550" y="1493"/>
                  </a:lnTo>
                  <a:lnTo>
                    <a:pt x="550" y="1495"/>
                  </a:lnTo>
                  <a:lnTo>
                    <a:pt x="552" y="1495"/>
                  </a:lnTo>
                  <a:lnTo>
                    <a:pt x="552" y="1497"/>
                  </a:lnTo>
                  <a:lnTo>
                    <a:pt x="553" y="1495"/>
                  </a:lnTo>
                  <a:lnTo>
                    <a:pt x="553" y="1493"/>
                  </a:lnTo>
                  <a:lnTo>
                    <a:pt x="555" y="1495"/>
                  </a:lnTo>
                  <a:lnTo>
                    <a:pt x="555" y="1497"/>
                  </a:lnTo>
                  <a:lnTo>
                    <a:pt x="555" y="1498"/>
                  </a:lnTo>
                  <a:lnTo>
                    <a:pt x="555" y="1500"/>
                  </a:lnTo>
                  <a:lnTo>
                    <a:pt x="555" y="1501"/>
                  </a:lnTo>
                  <a:lnTo>
                    <a:pt x="557" y="1501"/>
                  </a:lnTo>
                  <a:lnTo>
                    <a:pt x="557" y="1503"/>
                  </a:lnTo>
                  <a:lnTo>
                    <a:pt x="555" y="1501"/>
                  </a:lnTo>
                  <a:lnTo>
                    <a:pt x="555" y="1503"/>
                  </a:lnTo>
                  <a:lnTo>
                    <a:pt x="555" y="1501"/>
                  </a:lnTo>
                  <a:lnTo>
                    <a:pt x="553" y="1501"/>
                  </a:lnTo>
                  <a:lnTo>
                    <a:pt x="553" y="1503"/>
                  </a:lnTo>
                  <a:lnTo>
                    <a:pt x="555" y="1503"/>
                  </a:lnTo>
                  <a:lnTo>
                    <a:pt x="553" y="1503"/>
                  </a:lnTo>
                  <a:lnTo>
                    <a:pt x="552" y="1503"/>
                  </a:lnTo>
                  <a:lnTo>
                    <a:pt x="550" y="1503"/>
                  </a:lnTo>
                  <a:lnTo>
                    <a:pt x="549" y="1503"/>
                  </a:lnTo>
                  <a:lnTo>
                    <a:pt x="549" y="1501"/>
                  </a:lnTo>
                  <a:lnTo>
                    <a:pt x="549" y="1503"/>
                  </a:lnTo>
                  <a:lnTo>
                    <a:pt x="550" y="1503"/>
                  </a:lnTo>
                  <a:lnTo>
                    <a:pt x="550" y="1501"/>
                  </a:lnTo>
                  <a:lnTo>
                    <a:pt x="549" y="1501"/>
                  </a:lnTo>
                  <a:lnTo>
                    <a:pt x="549" y="1500"/>
                  </a:lnTo>
                  <a:lnTo>
                    <a:pt x="547" y="1500"/>
                  </a:lnTo>
                  <a:lnTo>
                    <a:pt x="545" y="1500"/>
                  </a:lnTo>
                  <a:lnTo>
                    <a:pt x="545" y="1498"/>
                  </a:lnTo>
                  <a:lnTo>
                    <a:pt x="545" y="1497"/>
                  </a:lnTo>
                  <a:lnTo>
                    <a:pt x="547" y="1498"/>
                  </a:lnTo>
                  <a:lnTo>
                    <a:pt x="547" y="1497"/>
                  </a:lnTo>
                  <a:lnTo>
                    <a:pt x="549" y="1495"/>
                  </a:lnTo>
                  <a:lnTo>
                    <a:pt x="547" y="1495"/>
                  </a:lnTo>
                  <a:lnTo>
                    <a:pt x="549" y="1495"/>
                  </a:lnTo>
                  <a:lnTo>
                    <a:pt x="547" y="1495"/>
                  </a:lnTo>
                  <a:lnTo>
                    <a:pt x="549" y="1493"/>
                  </a:lnTo>
                  <a:close/>
                  <a:moveTo>
                    <a:pt x="552" y="1493"/>
                  </a:moveTo>
                  <a:lnTo>
                    <a:pt x="553" y="1493"/>
                  </a:lnTo>
                  <a:lnTo>
                    <a:pt x="553" y="1495"/>
                  </a:lnTo>
                  <a:lnTo>
                    <a:pt x="552" y="1493"/>
                  </a:lnTo>
                  <a:close/>
                  <a:moveTo>
                    <a:pt x="550" y="1493"/>
                  </a:moveTo>
                  <a:lnTo>
                    <a:pt x="550" y="1492"/>
                  </a:lnTo>
                  <a:lnTo>
                    <a:pt x="550" y="1493"/>
                  </a:lnTo>
                  <a:close/>
                  <a:moveTo>
                    <a:pt x="549" y="1492"/>
                  </a:moveTo>
                  <a:lnTo>
                    <a:pt x="550" y="1492"/>
                  </a:lnTo>
                  <a:lnTo>
                    <a:pt x="550" y="1493"/>
                  </a:lnTo>
                  <a:lnTo>
                    <a:pt x="549" y="1493"/>
                  </a:lnTo>
                  <a:lnTo>
                    <a:pt x="549" y="1492"/>
                  </a:lnTo>
                  <a:lnTo>
                    <a:pt x="547" y="1493"/>
                  </a:lnTo>
                  <a:lnTo>
                    <a:pt x="549" y="1492"/>
                  </a:lnTo>
                  <a:lnTo>
                    <a:pt x="549" y="1493"/>
                  </a:lnTo>
                  <a:lnTo>
                    <a:pt x="549" y="1492"/>
                  </a:lnTo>
                  <a:lnTo>
                    <a:pt x="550" y="1492"/>
                  </a:lnTo>
                  <a:lnTo>
                    <a:pt x="549" y="1492"/>
                  </a:lnTo>
                  <a:close/>
                  <a:moveTo>
                    <a:pt x="540" y="1492"/>
                  </a:moveTo>
                  <a:lnTo>
                    <a:pt x="539" y="1492"/>
                  </a:lnTo>
                  <a:lnTo>
                    <a:pt x="540" y="1490"/>
                  </a:lnTo>
                  <a:lnTo>
                    <a:pt x="540" y="1492"/>
                  </a:lnTo>
                  <a:close/>
                  <a:moveTo>
                    <a:pt x="552" y="1490"/>
                  </a:moveTo>
                  <a:lnTo>
                    <a:pt x="552" y="1492"/>
                  </a:lnTo>
                  <a:lnTo>
                    <a:pt x="552" y="1490"/>
                  </a:lnTo>
                  <a:close/>
                  <a:moveTo>
                    <a:pt x="549" y="1490"/>
                  </a:moveTo>
                  <a:lnTo>
                    <a:pt x="549" y="1488"/>
                  </a:lnTo>
                  <a:lnTo>
                    <a:pt x="549" y="1490"/>
                  </a:lnTo>
                  <a:close/>
                  <a:moveTo>
                    <a:pt x="547" y="1488"/>
                  </a:moveTo>
                  <a:lnTo>
                    <a:pt x="549" y="1488"/>
                  </a:lnTo>
                  <a:lnTo>
                    <a:pt x="547" y="1488"/>
                  </a:lnTo>
                  <a:lnTo>
                    <a:pt x="549" y="1490"/>
                  </a:lnTo>
                  <a:lnTo>
                    <a:pt x="547" y="1490"/>
                  </a:lnTo>
                  <a:lnTo>
                    <a:pt x="547" y="1488"/>
                  </a:lnTo>
                  <a:lnTo>
                    <a:pt x="549" y="1488"/>
                  </a:lnTo>
                  <a:lnTo>
                    <a:pt x="547" y="1488"/>
                  </a:lnTo>
                  <a:close/>
                  <a:moveTo>
                    <a:pt x="549" y="1487"/>
                  </a:moveTo>
                  <a:lnTo>
                    <a:pt x="550" y="1487"/>
                  </a:lnTo>
                  <a:lnTo>
                    <a:pt x="550" y="1488"/>
                  </a:lnTo>
                  <a:lnTo>
                    <a:pt x="549" y="1487"/>
                  </a:lnTo>
                  <a:close/>
                  <a:moveTo>
                    <a:pt x="549" y="1487"/>
                  </a:moveTo>
                  <a:lnTo>
                    <a:pt x="549" y="1488"/>
                  </a:lnTo>
                  <a:lnTo>
                    <a:pt x="549" y="1487"/>
                  </a:lnTo>
                  <a:close/>
                  <a:moveTo>
                    <a:pt x="589" y="1487"/>
                  </a:moveTo>
                  <a:lnTo>
                    <a:pt x="591" y="1487"/>
                  </a:lnTo>
                  <a:lnTo>
                    <a:pt x="589" y="1487"/>
                  </a:lnTo>
                  <a:close/>
                  <a:moveTo>
                    <a:pt x="562" y="1482"/>
                  </a:moveTo>
                  <a:lnTo>
                    <a:pt x="562" y="1480"/>
                  </a:lnTo>
                  <a:lnTo>
                    <a:pt x="562" y="1482"/>
                  </a:lnTo>
                  <a:close/>
                  <a:moveTo>
                    <a:pt x="558" y="1480"/>
                  </a:moveTo>
                  <a:lnTo>
                    <a:pt x="558" y="1482"/>
                  </a:lnTo>
                  <a:lnTo>
                    <a:pt x="558" y="1480"/>
                  </a:lnTo>
                  <a:close/>
                  <a:moveTo>
                    <a:pt x="555" y="1479"/>
                  </a:moveTo>
                  <a:lnTo>
                    <a:pt x="555" y="1480"/>
                  </a:lnTo>
                  <a:lnTo>
                    <a:pt x="555" y="1479"/>
                  </a:lnTo>
                  <a:close/>
                  <a:moveTo>
                    <a:pt x="557" y="1479"/>
                  </a:moveTo>
                  <a:lnTo>
                    <a:pt x="557" y="1480"/>
                  </a:lnTo>
                  <a:lnTo>
                    <a:pt x="557" y="1479"/>
                  </a:lnTo>
                  <a:close/>
                  <a:moveTo>
                    <a:pt x="555" y="1477"/>
                  </a:moveTo>
                  <a:lnTo>
                    <a:pt x="555" y="1479"/>
                  </a:lnTo>
                  <a:lnTo>
                    <a:pt x="555" y="1477"/>
                  </a:lnTo>
                  <a:close/>
                  <a:moveTo>
                    <a:pt x="565" y="1477"/>
                  </a:moveTo>
                  <a:lnTo>
                    <a:pt x="565" y="1479"/>
                  </a:lnTo>
                  <a:lnTo>
                    <a:pt x="565" y="1477"/>
                  </a:lnTo>
                  <a:close/>
                  <a:moveTo>
                    <a:pt x="549" y="1479"/>
                  </a:moveTo>
                  <a:lnTo>
                    <a:pt x="549" y="1477"/>
                  </a:lnTo>
                  <a:lnTo>
                    <a:pt x="549" y="1479"/>
                  </a:lnTo>
                  <a:close/>
                  <a:moveTo>
                    <a:pt x="553" y="1479"/>
                  </a:moveTo>
                  <a:lnTo>
                    <a:pt x="552" y="1479"/>
                  </a:lnTo>
                  <a:lnTo>
                    <a:pt x="553" y="1477"/>
                  </a:lnTo>
                  <a:lnTo>
                    <a:pt x="553" y="1479"/>
                  </a:lnTo>
                  <a:close/>
                  <a:moveTo>
                    <a:pt x="555" y="1477"/>
                  </a:moveTo>
                  <a:lnTo>
                    <a:pt x="555" y="1479"/>
                  </a:lnTo>
                  <a:lnTo>
                    <a:pt x="555" y="1477"/>
                  </a:lnTo>
                  <a:lnTo>
                    <a:pt x="557" y="1477"/>
                  </a:lnTo>
                  <a:lnTo>
                    <a:pt x="555" y="1477"/>
                  </a:lnTo>
                  <a:close/>
                  <a:moveTo>
                    <a:pt x="558" y="1479"/>
                  </a:moveTo>
                  <a:lnTo>
                    <a:pt x="558" y="1477"/>
                  </a:lnTo>
                  <a:lnTo>
                    <a:pt x="558" y="1479"/>
                  </a:lnTo>
                  <a:close/>
                  <a:moveTo>
                    <a:pt x="550" y="1477"/>
                  </a:moveTo>
                  <a:lnTo>
                    <a:pt x="549" y="1477"/>
                  </a:lnTo>
                  <a:lnTo>
                    <a:pt x="550" y="1477"/>
                  </a:lnTo>
                  <a:close/>
                  <a:moveTo>
                    <a:pt x="557" y="1477"/>
                  </a:moveTo>
                  <a:lnTo>
                    <a:pt x="558" y="1477"/>
                  </a:lnTo>
                  <a:lnTo>
                    <a:pt x="557" y="1477"/>
                  </a:lnTo>
                  <a:close/>
                  <a:moveTo>
                    <a:pt x="550" y="1477"/>
                  </a:moveTo>
                  <a:lnTo>
                    <a:pt x="552" y="1477"/>
                  </a:lnTo>
                  <a:lnTo>
                    <a:pt x="552" y="1479"/>
                  </a:lnTo>
                  <a:lnTo>
                    <a:pt x="552" y="1477"/>
                  </a:lnTo>
                  <a:lnTo>
                    <a:pt x="550" y="1477"/>
                  </a:lnTo>
                  <a:close/>
                  <a:moveTo>
                    <a:pt x="566" y="1479"/>
                  </a:moveTo>
                  <a:lnTo>
                    <a:pt x="566" y="1480"/>
                  </a:lnTo>
                  <a:lnTo>
                    <a:pt x="565" y="1479"/>
                  </a:lnTo>
                  <a:lnTo>
                    <a:pt x="563" y="1479"/>
                  </a:lnTo>
                  <a:lnTo>
                    <a:pt x="563" y="1480"/>
                  </a:lnTo>
                  <a:lnTo>
                    <a:pt x="563" y="1482"/>
                  </a:lnTo>
                  <a:lnTo>
                    <a:pt x="562" y="1482"/>
                  </a:lnTo>
                  <a:lnTo>
                    <a:pt x="562" y="1480"/>
                  </a:lnTo>
                  <a:lnTo>
                    <a:pt x="560" y="1480"/>
                  </a:lnTo>
                  <a:lnTo>
                    <a:pt x="558" y="1482"/>
                  </a:lnTo>
                  <a:lnTo>
                    <a:pt x="558" y="1480"/>
                  </a:lnTo>
                  <a:lnTo>
                    <a:pt x="560" y="1480"/>
                  </a:lnTo>
                  <a:lnTo>
                    <a:pt x="560" y="1479"/>
                  </a:lnTo>
                  <a:lnTo>
                    <a:pt x="558" y="1479"/>
                  </a:lnTo>
                  <a:lnTo>
                    <a:pt x="560" y="1479"/>
                  </a:lnTo>
                  <a:lnTo>
                    <a:pt x="558" y="1477"/>
                  </a:lnTo>
                  <a:lnTo>
                    <a:pt x="560" y="1477"/>
                  </a:lnTo>
                  <a:lnTo>
                    <a:pt x="562" y="1477"/>
                  </a:lnTo>
                  <a:lnTo>
                    <a:pt x="562" y="1479"/>
                  </a:lnTo>
                  <a:lnTo>
                    <a:pt x="563" y="1479"/>
                  </a:lnTo>
                  <a:lnTo>
                    <a:pt x="562" y="1477"/>
                  </a:lnTo>
                  <a:lnTo>
                    <a:pt x="563" y="1477"/>
                  </a:lnTo>
                  <a:lnTo>
                    <a:pt x="562" y="1477"/>
                  </a:lnTo>
                  <a:lnTo>
                    <a:pt x="563" y="1477"/>
                  </a:lnTo>
                  <a:lnTo>
                    <a:pt x="563" y="1479"/>
                  </a:lnTo>
                  <a:lnTo>
                    <a:pt x="565" y="1479"/>
                  </a:lnTo>
                  <a:lnTo>
                    <a:pt x="566" y="1479"/>
                  </a:lnTo>
                  <a:lnTo>
                    <a:pt x="565" y="1479"/>
                  </a:lnTo>
                  <a:lnTo>
                    <a:pt x="566" y="1479"/>
                  </a:lnTo>
                  <a:close/>
                  <a:moveTo>
                    <a:pt x="550" y="1471"/>
                  </a:moveTo>
                  <a:lnTo>
                    <a:pt x="552" y="1472"/>
                  </a:lnTo>
                  <a:lnTo>
                    <a:pt x="552" y="1474"/>
                  </a:lnTo>
                  <a:lnTo>
                    <a:pt x="553" y="1474"/>
                  </a:lnTo>
                  <a:lnTo>
                    <a:pt x="553" y="1475"/>
                  </a:lnTo>
                  <a:lnTo>
                    <a:pt x="553" y="1474"/>
                  </a:lnTo>
                  <a:lnTo>
                    <a:pt x="555" y="1474"/>
                  </a:lnTo>
                  <a:lnTo>
                    <a:pt x="555" y="1475"/>
                  </a:lnTo>
                  <a:lnTo>
                    <a:pt x="555" y="1474"/>
                  </a:lnTo>
                  <a:lnTo>
                    <a:pt x="555" y="1475"/>
                  </a:lnTo>
                  <a:lnTo>
                    <a:pt x="555" y="1477"/>
                  </a:lnTo>
                  <a:lnTo>
                    <a:pt x="553" y="1477"/>
                  </a:lnTo>
                  <a:lnTo>
                    <a:pt x="552" y="1477"/>
                  </a:lnTo>
                  <a:lnTo>
                    <a:pt x="552" y="1475"/>
                  </a:lnTo>
                  <a:lnTo>
                    <a:pt x="550" y="1475"/>
                  </a:lnTo>
                  <a:lnTo>
                    <a:pt x="550" y="1474"/>
                  </a:lnTo>
                  <a:lnTo>
                    <a:pt x="550" y="1472"/>
                  </a:lnTo>
                  <a:lnTo>
                    <a:pt x="550" y="1471"/>
                  </a:lnTo>
                  <a:close/>
                  <a:moveTo>
                    <a:pt x="547" y="1471"/>
                  </a:moveTo>
                  <a:lnTo>
                    <a:pt x="547" y="1469"/>
                  </a:lnTo>
                  <a:lnTo>
                    <a:pt x="547" y="1471"/>
                  </a:lnTo>
                  <a:close/>
                  <a:moveTo>
                    <a:pt x="576" y="1469"/>
                  </a:moveTo>
                  <a:lnTo>
                    <a:pt x="578" y="1471"/>
                  </a:lnTo>
                  <a:lnTo>
                    <a:pt x="576" y="1471"/>
                  </a:lnTo>
                  <a:lnTo>
                    <a:pt x="576" y="1469"/>
                  </a:lnTo>
                  <a:close/>
                  <a:moveTo>
                    <a:pt x="560" y="1469"/>
                  </a:moveTo>
                  <a:lnTo>
                    <a:pt x="562" y="1469"/>
                  </a:lnTo>
                  <a:lnTo>
                    <a:pt x="562" y="1471"/>
                  </a:lnTo>
                  <a:lnTo>
                    <a:pt x="560" y="1469"/>
                  </a:lnTo>
                  <a:close/>
                  <a:moveTo>
                    <a:pt x="555" y="1469"/>
                  </a:moveTo>
                  <a:lnTo>
                    <a:pt x="555" y="1471"/>
                  </a:lnTo>
                  <a:lnTo>
                    <a:pt x="555" y="1469"/>
                  </a:lnTo>
                  <a:lnTo>
                    <a:pt x="555" y="1471"/>
                  </a:lnTo>
                  <a:lnTo>
                    <a:pt x="553" y="1471"/>
                  </a:lnTo>
                  <a:lnTo>
                    <a:pt x="553" y="1469"/>
                  </a:lnTo>
                  <a:lnTo>
                    <a:pt x="555" y="1469"/>
                  </a:lnTo>
                  <a:close/>
                  <a:moveTo>
                    <a:pt x="553" y="1469"/>
                  </a:moveTo>
                  <a:lnTo>
                    <a:pt x="555" y="1469"/>
                  </a:lnTo>
                  <a:lnTo>
                    <a:pt x="553" y="1469"/>
                  </a:lnTo>
                  <a:close/>
                  <a:moveTo>
                    <a:pt x="550" y="1469"/>
                  </a:moveTo>
                  <a:lnTo>
                    <a:pt x="552" y="1469"/>
                  </a:lnTo>
                  <a:lnTo>
                    <a:pt x="550" y="1469"/>
                  </a:lnTo>
                  <a:close/>
                  <a:moveTo>
                    <a:pt x="558" y="1469"/>
                  </a:moveTo>
                  <a:lnTo>
                    <a:pt x="560" y="1469"/>
                  </a:lnTo>
                  <a:lnTo>
                    <a:pt x="558" y="1469"/>
                  </a:lnTo>
                  <a:close/>
                  <a:moveTo>
                    <a:pt x="542" y="1467"/>
                  </a:moveTo>
                  <a:lnTo>
                    <a:pt x="542" y="1469"/>
                  </a:lnTo>
                  <a:lnTo>
                    <a:pt x="542" y="1467"/>
                  </a:lnTo>
                  <a:close/>
                  <a:moveTo>
                    <a:pt x="571" y="1467"/>
                  </a:moveTo>
                  <a:lnTo>
                    <a:pt x="573" y="1469"/>
                  </a:lnTo>
                  <a:lnTo>
                    <a:pt x="575" y="1469"/>
                  </a:lnTo>
                  <a:lnTo>
                    <a:pt x="573" y="1469"/>
                  </a:lnTo>
                  <a:lnTo>
                    <a:pt x="571" y="1469"/>
                  </a:lnTo>
                  <a:lnTo>
                    <a:pt x="571" y="1467"/>
                  </a:lnTo>
                  <a:close/>
                  <a:moveTo>
                    <a:pt x="568" y="1467"/>
                  </a:moveTo>
                  <a:lnTo>
                    <a:pt x="570" y="1467"/>
                  </a:lnTo>
                  <a:lnTo>
                    <a:pt x="570" y="1469"/>
                  </a:lnTo>
                  <a:lnTo>
                    <a:pt x="571" y="1469"/>
                  </a:lnTo>
                  <a:lnTo>
                    <a:pt x="570" y="1469"/>
                  </a:lnTo>
                  <a:lnTo>
                    <a:pt x="568" y="1467"/>
                  </a:lnTo>
                  <a:close/>
                  <a:moveTo>
                    <a:pt x="562" y="1467"/>
                  </a:moveTo>
                  <a:lnTo>
                    <a:pt x="563" y="1467"/>
                  </a:lnTo>
                  <a:lnTo>
                    <a:pt x="565" y="1469"/>
                  </a:lnTo>
                  <a:lnTo>
                    <a:pt x="566" y="1469"/>
                  </a:lnTo>
                  <a:lnTo>
                    <a:pt x="566" y="1471"/>
                  </a:lnTo>
                  <a:lnTo>
                    <a:pt x="568" y="1471"/>
                  </a:lnTo>
                  <a:lnTo>
                    <a:pt x="568" y="1472"/>
                  </a:lnTo>
                  <a:lnTo>
                    <a:pt x="566" y="1472"/>
                  </a:lnTo>
                  <a:lnTo>
                    <a:pt x="568" y="1472"/>
                  </a:lnTo>
                  <a:lnTo>
                    <a:pt x="566" y="1472"/>
                  </a:lnTo>
                  <a:lnTo>
                    <a:pt x="565" y="1472"/>
                  </a:lnTo>
                  <a:lnTo>
                    <a:pt x="565" y="1471"/>
                  </a:lnTo>
                  <a:lnTo>
                    <a:pt x="563" y="1471"/>
                  </a:lnTo>
                  <a:lnTo>
                    <a:pt x="565" y="1471"/>
                  </a:lnTo>
                  <a:lnTo>
                    <a:pt x="563" y="1471"/>
                  </a:lnTo>
                  <a:lnTo>
                    <a:pt x="562" y="1469"/>
                  </a:lnTo>
                  <a:lnTo>
                    <a:pt x="560" y="1469"/>
                  </a:lnTo>
                  <a:lnTo>
                    <a:pt x="560" y="1467"/>
                  </a:lnTo>
                  <a:lnTo>
                    <a:pt x="560" y="1469"/>
                  </a:lnTo>
                  <a:lnTo>
                    <a:pt x="560" y="1467"/>
                  </a:lnTo>
                  <a:lnTo>
                    <a:pt x="560" y="1469"/>
                  </a:lnTo>
                  <a:lnTo>
                    <a:pt x="558" y="1467"/>
                  </a:lnTo>
                  <a:lnTo>
                    <a:pt x="560" y="1467"/>
                  </a:lnTo>
                  <a:lnTo>
                    <a:pt x="562" y="1467"/>
                  </a:lnTo>
                  <a:lnTo>
                    <a:pt x="560" y="1467"/>
                  </a:lnTo>
                  <a:lnTo>
                    <a:pt x="562" y="1467"/>
                  </a:lnTo>
                  <a:close/>
                  <a:moveTo>
                    <a:pt x="550" y="1466"/>
                  </a:moveTo>
                  <a:lnTo>
                    <a:pt x="550" y="1467"/>
                  </a:lnTo>
                  <a:lnTo>
                    <a:pt x="550" y="1466"/>
                  </a:lnTo>
                  <a:close/>
                  <a:moveTo>
                    <a:pt x="563" y="1466"/>
                  </a:moveTo>
                  <a:lnTo>
                    <a:pt x="565" y="1466"/>
                  </a:lnTo>
                  <a:lnTo>
                    <a:pt x="566" y="1466"/>
                  </a:lnTo>
                  <a:lnTo>
                    <a:pt x="566" y="1467"/>
                  </a:lnTo>
                  <a:lnTo>
                    <a:pt x="568" y="1467"/>
                  </a:lnTo>
                  <a:lnTo>
                    <a:pt x="566" y="1467"/>
                  </a:lnTo>
                  <a:lnTo>
                    <a:pt x="565" y="1467"/>
                  </a:lnTo>
                  <a:lnTo>
                    <a:pt x="563" y="1467"/>
                  </a:lnTo>
                  <a:lnTo>
                    <a:pt x="563" y="1466"/>
                  </a:lnTo>
                  <a:close/>
                  <a:moveTo>
                    <a:pt x="539" y="1466"/>
                  </a:moveTo>
                  <a:lnTo>
                    <a:pt x="540" y="1466"/>
                  </a:lnTo>
                  <a:lnTo>
                    <a:pt x="540" y="1467"/>
                  </a:lnTo>
                  <a:lnTo>
                    <a:pt x="540" y="1469"/>
                  </a:lnTo>
                  <a:lnTo>
                    <a:pt x="539" y="1469"/>
                  </a:lnTo>
                  <a:lnTo>
                    <a:pt x="537" y="1469"/>
                  </a:lnTo>
                  <a:lnTo>
                    <a:pt x="539" y="1467"/>
                  </a:lnTo>
                  <a:lnTo>
                    <a:pt x="537" y="1467"/>
                  </a:lnTo>
                  <a:lnTo>
                    <a:pt x="539" y="1467"/>
                  </a:lnTo>
                  <a:lnTo>
                    <a:pt x="539" y="1466"/>
                  </a:lnTo>
                  <a:close/>
                  <a:moveTo>
                    <a:pt x="545" y="1466"/>
                  </a:moveTo>
                  <a:lnTo>
                    <a:pt x="547" y="1466"/>
                  </a:lnTo>
                  <a:lnTo>
                    <a:pt x="549" y="1466"/>
                  </a:lnTo>
                  <a:lnTo>
                    <a:pt x="549" y="1467"/>
                  </a:lnTo>
                  <a:lnTo>
                    <a:pt x="549" y="1466"/>
                  </a:lnTo>
                  <a:lnTo>
                    <a:pt x="549" y="1467"/>
                  </a:lnTo>
                  <a:lnTo>
                    <a:pt x="547" y="1467"/>
                  </a:lnTo>
                  <a:lnTo>
                    <a:pt x="545" y="1467"/>
                  </a:lnTo>
                  <a:lnTo>
                    <a:pt x="544" y="1467"/>
                  </a:lnTo>
                  <a:lnTo>
                    <a:pt x="542" y="1467"/>
                  </a:lnTo>
                  <a:lnTo>
                    <a:pt x="540" y="1467"/>
                  </a:lnTo>
                  <a:lnTo>
                    <a:pt x="542" y="1467"/>
                  </a:lnTo>
                  <a:lnTo>
                    <a:pt x="542" y="1466"/>
                  </a:lnTo>
                  <a:lnTo>
                    <a:pt x="542" y="1467"/>
                  </a:lnTo>
                  <a:lnTo>
                    <a:pt x="542" y="1466"/>
                  </a:lnTo>
                  <a:lnTo>
                    <a:pt x="544" y="1466"/>
                  </a:lnTo>
                  <a:lnTo>
                    <a:pt x="545" y="1466"/>
                  </a:lnTo>
                  <a:close/>
                  <a:moveTo>
                    <a:pt x="555" y="1466"/>
                  </a:moveTo>
                  <a:lnTo>
                    <a:pt x="557" y="1466"/>
                  </a:lnTo>
                  <a:lnTo>
                    <a:pt x="555" y="1466"/>
                  </a:lnTo>
                  <a:close/>
                  <a:moveTo>
                    <a:pt x="550" y="1466"/>
                  </a:moveTo>
                  <a:lnTo>
                    <a:pt x="552" y="1466"/>
                  </a:lnTo>
                  <a:lnTo>
                    <a:pt x="550" y="1466"/>
                  </a:lnTo>
                  <a:close/>
                  <a:moveTo>
                    <a:pt x="545" y="1466"/>
                  </a:moveTo>
                  <a:lnTo>
                    <a:pt x="547" y="1466"/>
                  </a:lnTo>
                  <a:lnTo>
                    <a:pt x="545" y="1466"/>
                  </a:lnTo>
                  <a:close/>
                  <a:moveTo>
                    <a:pt x="547" y="1464"/>
                  </a:moveTo>
                  <a:lnTo>
                    <a:pt x="547" y="1466"/>
                  </a:lnTo>
                  <a:lnTo>
                    <a:pt x="547" y="1464"/>
                  </a:lnTo>
                  <a:close/>
                  <a:moveTo>
                    <a:pt x="547" y="1464"/>
                  </a:moveTo>
                  <a:lnTo>
                    <a:pt x="547" y="1466"/>
                  </a:lnTo>
                  <a:lnTo>
                    <a:pt x="547" y="1464"/>
                  </a:lnTo>
                  <a:close/>
                  <a:moveTo>
                    <a:pt x="534" y="1466"/>
                  </a:moveTo>
                  <a:lnTo>
                    <a:pt x="536" y="1464"/>
                  </a:lnTo>
                  <a:lnTo>
                    <a:pt x="536" y="1466"/>
                  </a:lnTo>
                  <a:lnTo>
                    <a:pt x="534" y="1466"/>
                  </a:lnTo>
                  <a:close/>
                  <a:moveTo>
                    <a:pt x="539" y="1466"/>
                  </a:moveTo>
                  <a:lnTo>
                    <a:pt x="537" y="1466"/>
                  </a:lnTo>
                  <a:lnTo>
                    <a:pt x="537" y="1464"/>
                  </a:lnTo>
                  <a:lnTo>
                    <a:pt x="539" y="1464"/>
                  </a:lnTo>
                  <a:lnTo>
                    <a:pt x="539" y="1466"/>
                  </a:lnTo>
                  <a:close/>
                  <a:moveTo>
                    <a:pt x="555" y="1464"/>
                  </a:moveTo>
                  <a:lnTo>
                    <a:pt x="555" y="1466"/>
                  </a:lnTo>
                  <a:lnTo>
                    <a:pt x="555" y="1464"/>
                  </a:lnTo>
                  <a:close/>
                  <a:moveTo>
                    <a:pt x="553" y="1464"/>
                  </a:moveTo>
                  <a:lnTo>
                    <a:pt x="553" y="1466"/>
                  </a:lnTo>
                  <a:lnTo>
                    <a:pt x="553" y="1464"/>
                  </a:lnTo>
                  <a:lnTo>
                    <a:pt x="553" y="1466"/>
                  </a:lnTo>
                  <a:lnTo>
                    <a:pt x="555" y="1466"/>
                  </a:lnTo>
                  <a:lnTo>
                    <a:pt x="553" y="1466"/>
                  </a:lnTo>
                  <a:lnTo>
                    <a:pt x="555" y="1466"/>
                  </a:lnTo>
                  <a:lnTo>
                    <a:pt x="553" y="1466"/>
                  </a:lnTo>
                  <a:lnTo>
                    <a:pt x="553" y="1464"/>
                  </a:lnTo>
                  <a:close/>
                  <a:moveTo>
                    <a:pt x="552" y="1464"/>
                  </a:moveTo>
                  <a:lnTo>
                    <a:pt x="552" y="1466"/>
                  </a:lnTo>
                  <a:lnTo>
                    <a:pt x="552" y="1464"/>
                  </a:lnTo>
                  <a:close/>
                  <a:moveTo>
                    <a:pt x="537" y="1464"/>
                  </a:moveTo>
                  <a:lnTo>
                    <a:pt x="539" y="1464"/>
                  </a:lnTo>
                  <a:lnTo>
                    <a:pt x="537" y="1464"/>
                  </a:lnTo>
                  <a:close/>
                  <a:moveTo>
                    <a:pt x="550" y="1464"/>
                  </a:moveTo>
                  <a:lnTo>
                    <a:pt x="552" y="1464"/>
                  </a:lnTo>
                  <a:lnTo>
                    <a:pt x="550" y="1464"/>
                  </a:lnTo>
                  <a:close/>
                  <a:moveTo>
                    <a:pt x="540" y="1464"/>
                  </a:moveTo>
                  <a:lnTo>
                    <a:pt x="542" y="1464"/>
                  </a:lnTo>
                  <a:lnTo>
                    <a:pt x="540" y="1464"/>
                  </a:lnTo>
                  <a:close/>
                  <a:moveTo>
                    <a:pt x="575" y="1462"/>
                  </a:moveTo>
                  <a:lnTo>
                    <a:pt x="575" y="1464"/>
                  </a:lnTo>
                  <a:lnTo>
                    <a:pt x="575" y="1462"/>
                  </a:lnTo>
                  <a:close/>
                  <a:moveTo>
                    <a:pt x="575" y="1462"/>
                  </a:moveTo>
                  <a:lnTo>
                    <a:pt x="573" y="1462"/>
                  </a:lnTo>
                  <a:lnTo>
                    <a:pt x="575" y="1462"/>
                  </a:lnTo>
                  <a:close/>
                  <a:moveTo>
                    <a:pt x="552" y="1462"/>
                  </a:moveTo>
                  <a:lnTo>
                    <a:pt x="553" y="1462"/>
                  </a:lnTo>
                  <a:lnTo>
                    <a:pt x="552" y="1462"/>
                  </a:lnTo>
                  <a:lnTo>
                    <a:pt x="552" y="1464"/>
                  </a:lnTo>
                  <a:lnTo>
                    <a:pt x="550" y="1464"/>
                  </a:lnTo>
                  <a:lnTo>
                    <a:pt x="550" y="1462"/>
                  </a:lnTo>
                  <a:lnTo>
                    <a:pt x="552" y="1462"/>
                  </a:lnTo>
                  <a:close/>
                  <a:moveTo>
                    <a:pt x="570" y="1462"/>
                  </a:moveTo>
                  <a:lnTo>
                    <a:pt x="570" y="1461"/>
                  </a:lnTo>
                  <a:lnTo>
                    <a:pt x="570" y="1462"/>
                  </a:lnTo>
                  <a:close/>
                  <a:moveTo>
                    <a:pt x="539" y="1462"/>
                  </a:moveTo>
                  <a:lnTo>
                    <a:pt x="539" y="1461"/>
                  </a:lnTo>
                  <a:lnTo>
                    <a:pt x="539" y="1462"/>
                  </a:lnTo>
                  <a:close/>
                  <a:moveTo>
                    <a:pt x="558" y="1462"/>
                  </a:moveTo>
                  <a:lnTo>
                    <a:pt x="560" y="1461"/>
                  </a:lnTo>
                  <a:lnTo>
                    <a:pt x="560" y="1462"/>
                  </a:lnTo>
                  <a:lnTo>
                    <a:pt x="558" y="1462"/>
                  </a:lnTo>
                  <a:close/>
                  <a:moveTo>
                    <a:pt x="550" y="1461"/>
                  </a:moveTo>
                  <a:lnTo>
                    <a:pt x="550" y="1462"/>
                  </a:lnTo>
                  <a:lnTo>
                    <a:pt x="550" y="1461"/>
                  </a:lnTo>
                  <a:close/>
                  <a:moveTo>
                    <a:pt x="557" y="1462"/>
                  </a:moveTo>
                  <a:lnTo>
                    <a:pt x="558" y="1461"/>
                  </a:lnTo>
                  <a:lnTo>
                    <a:pt x="558" y="1462"/>
                  </a:lnTo>
                  <a:lnTo>
                    <a:pt x="560" y="1462"/>
                  </a:lnTo>
                  <a:lnTo>
                    <a:pt x="558" y="1462"/>
                  </a:lnTo>
                  <a:lnTo>
                    <a:pt x="557" y="1462"/>
                  </a:lnTo>
                  <a:close/>
                  <a:moveTo>
                    <a:pt x="560" y="1461"/>
                  </a:moveTo>
                  <a:lnTo>
                    <a:pt x="562" y="1461"/>
                  </a:lnTo>
                  <a:lnTo>
                    <a:pt x="560" y="1461"/>
                  </a:lnTo>
                  <a:close/>
                  <a:moveTo>
                    <a:pt x="544" y="1461"/>
                  </a:moveTo>
                  <a:lnTo>
                    <a:pt x="545" y="1461"/>
                  </a:lnTo>
                  <a:lnTo>
                    <a:pt x="544" y="1461"/>
                  </a:lnTo>
                  <a:close/>
                  <a:moveTo>
                    <a:pt x="565" y="1461"/>
                  </a:moveTo>
                  <a:lnTo>
                    <a:pt x="566" y="1461"/>
                  </a:lnTo>
                  <a:lnTo>
                    <a:pt x="568" y="1461"/>
                  </a:lnTo>
                  <a:lnTo>
                    <a:pt x="570" y="1461"/>
                  </a:lnTo>
                  <a:lnTo>
                    <a:pt x="568" y="1462"/>
                  </a:lnTo>
                  <a:lnTo>
                    <a:pt x="566" y="1462"/>
                  </a:lnTo>
                  <a:lnTo>
                    <a:pt x="566" y="1461"/>
                  </a:lnTo>
                  <a:lnTo>
                    <a:pt x="565" y="1461"/>
                  </a:lnTo>
                  <a:close/>
                  <a:moveTo>
                    <a:pt x="570" y="1461"/>
                  </a:moveTo>
                  <a:lnTo>
                    <a:pt x="568" y="1461"/>
                  </a:lnTo>
                  <a:lnTo>
                    <a:pt x="570" y="1461"/>
                  </a:lnTo>
                  <a:close/>
                  <a:moveTo>
                    <a:pt x="565" y="1461"/>
                  </a:moveTo>
                  <a:lnTo>
                    <a:pt x="565" y="1459"/>
                  </a:lnTo>
                  <a:lnTo>
                    <a:pt x="565" y="1461"/>
                  </a:lnTo>
                  <a:close/>
                  <a:moveTo>
                    <a:pt x="560" y="1459"/>
                  </a:moveTo>
                  <a:lnTo>
                    <a:pt x="560" y="1461"/>
                  </a:lnTo>
                  <a:lnTo>
                    <a:pt x="560" y="1459"/>
                  </a:lnTo>
                  <a:close/>
                  <a:moveTo>
                    <a:pt x="545" y="1459"/>
                  </a:moveTo>
                  <a:lnTo>
                    <a:pt x="545" y="1461"/>
                  </a:lnTo>
                  <a:lnTo>
                    <a:pt x="545" y="1459"/>
                  </a:lnTo>
                  <a:close/>
                  <a:moveTo>
                    <a:pt x="558" y="1461"/>
                  </a:moveTo>
                  <a:lnTo>
                    <a:pt x="558" y="1459"/>
                  </a:lnTo>
                  <a:lnTo>
                    <a:pt x="558" y="1461"/>
                  </a:lnTo>
                  <a:close/>
                  <a:moveTo>
                    <a:pt x="545" y="1459"/>
                  </a:moveTo>
                  <a:lnTo>
                    <a:pt x="545" y="1461"/>
                  </a:lnTo>
                  <a:lnTo>
                    <a:pt x="545" y="1459"/>
                  </a:lnTo>
                  <a:close/>
                  <a:moveTo>
                    <a:pt x="583" y="1459"/>
                  </a:moveTo>
                  <a:lnTo>
                    <a:pt x="584" y="1459"/>
                  </a:lnTo>
                  <a:lnTo>
                    <a:pt x="583" y="1459"/>
                  </a:lnTo>
                  <a:close/>
                  <a:moveTo>
                    <a:pt x="542" y="1459"/>
                  </a:moveTo>
                  <a:lnTo>
                    <a:pt x="544" y="1459"/>
                  </a:lnTo>
                  <a:lnTo>
                    <a:pt x="544" y="1461"/>
                  </a:lnTo>
                  <a:lnTo>
                    <a:pt x="542" y="1461"/>
                  </a:lnTo>
                  <a:lnTo>
                    <a:pt x="542" y="1459"/>
                  </a:lnTo>
                  <a:close/>
                  <a:moveTo>
                    <a:pt x="560" y="1459"/>
                  </a:moveTo>
                  <a:lnTo>
                    <a:pt x="562" y="1459"/>
                  </a:lnTo>
                  <a:lnTo>
                    <a:pt x="560" y="1459"/>
                  </a:lnTo>
                  <a:close/>
                  <a:moveTo>
                    <a:pt x="547" y="1459"/>
                  </a:moveTo>
                  <a:lnTo>
                    <a:pt x="549" y="1459"/>
                  </a:lnTo>
                  <a:lnTo>
                    <a:pt x="549" y="1461"/>
                  </a:lnTo>
                  <a:lnTo>
                    <a:pt x="549" y="1459"/>
                  </a:lnTo>
                  <a:lnTo>
                    <a:pt x="547" y="1461"/>
                  </a:lnTo>
                  <a:lnTo>
                    <a:pt x="547" y="1459"/>
                  </a:lnTo>
                  <a:close/>
                  <a:moveTo>
                    <a:pt x="563" y="1459"/>
                  </a:moveTo>
                  <a:lnTo>
                    <a:pt x="565" y="1459"/>
                  </a:lnTo>
                  <a:lnTo>
                    <a:pt x="563" y="1459"/>
                  </a:lnTo>
                  <a:lnTo>
                    <a:pt x="563" y="1461"/>
                  </a:lnTo>
                  <a:lnTo>
                    <a:pt x="562" y="1459"/>
                  </a:lnTo>
                  <a:lnTo>
                    <a:pt x="563" y="1459"/>
                  </a:lnTo>
                  <a:close/>
                  <a:moveTo>
                    <a:pt x="553" y="1459"/>
                  </a:moveTo>
                  <a:lnTo>
                    <a:pt x="555" y="1459"/>
                  </a:lnTo>
                  <a:lnTo>
                    <a:pt x="553" y="1459"/>
                  </a:lnTo>
                  <a:close/>
                  <a:moveTo>
                    <a:pt x="545" y="1458"/>
                  </a:moveTo>
                  <a:lnTo>
                    <a:pt x="545" y="1459"/>
                  </a:lnTo>
                  <a:lnTo>
                    <a:pt x="545" y="1458"/>
                  </a:lnTo>
                  <a:close/>
                  <a:moveTo>
                    <a:pt x="549" y="1459"/>
                  </a:moveTo>
                  <a:lnTo>
                    <a:pt x="549" y="1458"/>
                  </a:lnTo>
                  <a:lnTo>
                    <a:pt x="549" y="1459"/>
                  </a:lnTo>
                  <a:close/>
                  <a:moveTo>
                    <a:pt x="553" y="1459"/>
                  </a:moveTo>
                  <a:lnTo>
                    <a:pt x="553" y="1458"/>
                  </a:lnTo>
                  <a:lnTo>
                    <a:pt x="553" y="1459"/>
                  </a:lnTo>
                  <a:close/>
                  <a:moveTo>
                    <a:pt x="545" y="1458"/>
                  </a:moveTo>
                  <a:lnTo>
                    <a:pt x="545" y="1459"/>
                  </a:lnTo>
                  <a:lnTo>
                    <a:pt x="545" y="1458"/>
                  </a:lnTo>
                  <a:close/>
                  <a:moveTo>
                    <a:pt x="544" y="1458"/>
                  </a:moveTo>
                  <a:lnTo>
                    <a:pt x="544" y="1459"/>
                  </a:lnTo>
                  <a:lnTo>
                    <a:pt x="545" y="1459"/>
                  </a:lnTo>
                  <a:lnTo>
                    <a:pt x="544" y="1459"/>
                  </a:lnTo>
                  <a:lnTo>
                    <a:pt x="545" y="1459"/>
                  </a:lnTo>
                  <a:lnTo>
                    <a:pt x="544" y="1459"/>
                  </a:lnTo>
                  <a:lnTo>
                    <a:pt x="545" y="1461"/>
                  </a:lnTo>
                  <a:lnTo>
                    <a:pt x="544" y="1459"/>
                  </a:lnTo>
                  <a:lnTo>
                    <a:pt x="545" y="1461"/>
                  </a:lnTo>
                  <a:lnTo>
                    <a:pt x="544" y="1459"/>
                  </a:lnTo>
                  <a:lnTo>
                    <a:pt x="544" y="1458"/>
                  </a:lnTo>
                  <a:lnTo>
                    <a:pt x="544" y="1459"/>
                  </a:lnTo>
                  <a:lnTo>
                    <a:pt x="544" y="1458"/>
                  </a:lnTo>
                  <a:close/>
                  <a:moveTo>
                    <a:pt x="544" y="1458"/>
                  </a:moveTo>
                  <a:lnTo>
                    <a:pt x="545" y="1458"/>
                  </a:lnTo>
                  <a:lnTo>
                    <a:pt x="544" y="1458"/>
                  </a:lnTo>
                  <a:close/>
                  <a:moveTo>
                    <a:pt x="553" y="1456"/>
                  </a:moveTo>
                  <a:lnTo>
                    <a:pt x="553" y="1458"/>
                  </a:lnTo>
                  <a:lnTo>
                    <a:pt x="553" y="1456"/>
                  </a:lnTo>
                  <a:close/>
                  <a:moveTo>
                    <a:pt x="553" y="1458"/>
                  </a:moveTo>
                  <a:lnTo>
                    <a:pt x="555" y="1456"/>
                  </a:lnTo>
                  <a:lnTo>
                    <a:pt x="555" y="1458"/>
                  </a:lnTo>
                  <a:lnTo>
                    <a:pt x="555" y="1459"/>
                  </a:lnTo>
                  <a:lnTo>
                    <a:pt x="553" y="1458"/>
                  </a:lnTo>
                  <a:lnTo>
                    <a:pt x="555" y="1458"/>
                  </a:lnTo>
                  <a:lnTo>
                    <a:pt x="553" y="1458"/>
                  </a:lnTo>
                  <a:close/>
                  <a:moveTo>
                    <a:pt x="544" y="1456"/>
                  </a:moveTo>
                  <a:lnTo>
                    <a:pt x="545" y="1456"/>
                  </a:lnTo>
                  <a:lnTo>
                    <a:pt x="545" y="1458"/>
                  </a:lnTo>
                  <a:lnTo>
                    <a:pt x="544" y="1458"/>
                  </a:lnTo>
                  <a:lnTo>
                    <a:pt x="544" y="1456"/>
                  </a:lnTo>
                  <a:close/>
                  <a:moveTo>
                    <a:pt x="545" y="1456"/>
                  </a:moveTo>
                  <a:lnTo>
                    <a:pt x="547" y="1456"/>
                  </a:lnTo>
                  <a:lnTo>
                    <a:pt x="547" y="1458"/>
                  </a:lnTo>
                  <a:lnTo>
                    <a:pt x="547" y="1459"/>
                  </a:lnTo>
                  <a:lnTo>
                    <a:pt x="547" y="1461"/>
                  </a:lnTo>
                  <a:lnTo>
                    <a:pt x="549" y="1461"/>
                  </a:lnTo>
                  <a:lnTo>
                    <a:pt x="549" y="1462"/>
                  </a:lnTo>
                  <a:lnTo>
                    <a:pt x="549" y="1464"/>
                  </a:lnTo>
                  <a:lnTo>
                    <a:pt x="547" y="1464"/>
                  </a:lnTo>
                  <a:lnTo>
                    <a:pt x="545" y="1464"/>
                  </a:lnTo>
                  <a:lnTo>
                    <a:pt x="544" y="1464"/>
                  </a:lnTo>
                  <a:lnTo>
                    <a:pt x="545" y="1464"/>
                  </a:lnTo>
                  <a:lnTo>
                    <a:pt x="544" y="1464"/>
                  </a:lnTo>
                  <a:lnTo>
                    <a:pt x="542" y="1464"/>
                  </a:lnTo>
                  <a:lnTo>
                    <a:pt x="544" y="1462"/>
                  </a:lnTo>
                  <a:lnTo>
                    <a:pt x="545" y="1462"/>
                  </a:lnTo>
                  <a:lnTo>
                    <a:pt x="544" y="1462"/>
                  </a:lnTo>
                  <a:lnTo>
                    <a:pt x="544" y="1461"/>
                  </a:lnTo>
                  <a:lnTo>
                    <a:pt x="545" y="1461"/>
                  </a:lnTo>
                  <a:lnTo>
                    <a:pt x="547" y="1461"/>
                  </a:lnTo>
                  <a:lnTo>
                    <a:pt x="545" y="1461"/>
                  </a:lnTo>
                  <a:lnTo>
                    <a:pt x="547" y="1461"/>
                  </a:lnTo>
                  <a:lnTo>
                    <a:pt x="545" y="1459"/>
                  </a:lnTo>
                  <a:lnTo>
                    <a:pt x="547" y="1459"/>
                  </a:lnTo>
                  <a:lnTo>
                    <a:pt x="545" y="1459"/>
                  </a:lnTo>
                  <a:lnTo>
                    <a:pt x="545" y="1458"/>
                  </a:lnTo>
                  <a:lnTo>
                    <a:pt x="547" y="1458"/>
                  </a:lnTo>
                  <a:lnTo>
                    <a:pt x="545" y="1458"/>
                  </a:lnTo>
                  <a:lnTo>
                    <a:pt x="545" y="1456"/>
                  </a:lnTo>
                  <a:lnTo>
                    <a:pt x="547" y="1456"/>
                  </a:lnTo>
                  <a:lnTo>
                    <a:pt x="545" y="1456"/>
                  </a:lnTo>
                  <a:close/>
                  <a:moveTo>
                    <a:pt x="544" y="1454"/>
                  </a:moveTo>
                  <a:lnTo>
                    <a:pt x="544" y="1453"/>
                  </a:lnTo>
                  <a:lnTo>
                    <a:pt x="544" y="1454"/>
                  </a:lnTo>
                  <a:lnTo>
                    <a:pt x="544" y="1456"/>
                  </a:lnTo>
                  <a:lnTo>
                    <a:pt x="544" y="1458"/>
                  </a:lnTo>
                  <a:lnTo>
                    <a:pt x="542" y="1458"/>
                  </a:lnTo>
                  <a:lnTo>
                    <a:pt x="542" y="1456"/>
                  </a:lnTo>
                  <a:lnTo>
                    <a:pt x="542" y="1454"/>
                  </a:lnTo>
                  <a:lnTo>
                    <a:pt x="544" y="1454"/>
                  </a:lnTo>
                  <a:lnTo>
                    <a:pt x="542" y="1454"/>
                  </a:lnTo>
                  <a:lnTo>
                    <a:pt x="544" y="1454"/>
                  </a:lnTo>
                  <a:close/>
                  <a:moveTo>
                    <a:pt x="553" y="1453"/>
                  </a:moveTo>
                  <a:lnTo>
                    <a:pt x="553" y="1454"/>
                  </a:lnTo>
                  <a:lnTo>
                    <a:pt x="553" y="1453"/>
                  </a:lnTo>
                  <a:close/>
                  <a:moveTo>
                    <a:pt x="545" y="1448"/>
                  </a:moveTo>
                  <a:lnTo>
                    <a:pt x="545" y="1449"/>
                  </a:lnTo>
                  <a:lnTo>
                    <a:pt x="545" y="1448"/>
                  </a:lnTo>
                  <a:close/>
                  <a:moveTo>
                    <a:pt x="553" y="1448"/>
                  </a:moveTo>
                  <a:lnTo>
                    <a:pt x="553" y="1446"/>
                  </a:lnTo>
                  <a:lnTo>
                    <a:pt x="553" y="1448"/>
                  </a:lnTo>
                  <a:close/>
                  <a:moveTo>
                    <a:pt x="549" y="1446"/>
                  </a:moveTo>
                  <a:lnTo>
                    <a:pt x="550" y="1446"/>
                  </a:lnTo>
                  <a:lnTo>
                    <a:pt x="550" y="1448"/>
                  </a:lnTo>
                  <a:lnTo>
                    <a:pt x="549" y="1448"/>
                  </a:lnTo>
                  <a:lnTo>
                    <a:pt x="550" y="1448"/>
                  </a:lnTo>
                  <a:lnTo>
                    <a:pt x="550" y="1449"/>
                  </a:lnTo>
                  <a:lnTo>
                    <a:pt x="550" y="1451"/>
                  </a:lnTo>
                  <a:lnTo>
                    <a:pt x="550" y="1449"/>
                  </a:lnTo>
                  <a:lnTo>
                    <a:pt x="550" y="1451"/>
                  </a:lnTo>
                  <a:lnTo>
                    <a:pt x="550" y="1453"/>
                  </a:lnTo>
                  <a:lnTo>
                    <a:pt x="550" y="1454"/>
                  </a:lnTo>
                  <a:lnTo>
                    <a:pt x="550" y="1456"/>
                  </a:lnTo>
                  <a:lnTo>
                    <a:pt x="550" y="1454"/>
                  </a:lnTo>
                  <a:lnTo>
                    <a:pt x="550" y="1453"/>
                  </a:lnTo>
                  <a:lnTo>
                    <a:pt x="549" y="1453"/>
                  </a:lnTo>
                  <a:lnTo>
                    <a:pt x="549" y="1454"/>
                  </a:lnTo>
                  <a:lnTo>
                    <a:pt x="547" y="1454"/>
                  </a:lnTo>
                  <a:lnTo>
                    <a:pt x="547" y="1453"/>
                  </a:lnTo>
                  <a:lnTo>
                    <a:pt x="547" y="1454"/>
                  </a:lnTo>
                  <a:lnTo>
                    <a:pt x="547" y="1453"/>
                  </a:lnTo>
                  <a:lnTo>
                    <a:pt x="545" y="1453"/>
                  </a:lnTo>
                  <a:lnTo>
                    <a:pt x="545" y="1451"/>
                  </a:lnTo>
                  <a:lnTo>
                    <a:pt x="545" y="1449"/>
                  </a:lnTo>
                  <a:lnTo>
                    <a:pt x="545" y="1448"/>
                  </a:lnTo>
                  <a:lnTo>
                    <a:pt x="547" y="1448"/>
                  </a:lnTo>
                  <a:lnTo>
                    <a:pt x="549" y="1448"/>
                  </a:lnTo>
                  <a:lnTo>
                    <a:pt x="547" y="1448"/>
                  </a:lnTo>
                  <a:lnTo>
                    <a:pt x="549" y="1446"/>
                  </a:lnTo>
                  <a:close/>
                  <a:moveTo>
                    <a:pt x="550" y="1445"/>
                  </a:moveTo>
                  <a:lnTo>
                    <a:pt x="550" y="1446"/>
                  </a:lnTo>
                  <a:lnTo>
                    <a:pt x="550" y="1445"/>
                  </a:lnTo>
                  <a:close/>
                  <a:moveTo>
                    <a:pt x="550" y="1446"/>
                  </a:moveTo>
                  <a:lnTo>
                    <a:pt x="550" y="1445"/>
                  </a:lnTo>
                  <a:lnTo>
                    <a:pt x="550" y="1446"/>
                  </a:lnTo>
                  <a:close/>
                  <a:moveTo>
                    <a:pt x="555" y="1443"/>
                  </a:moveTo>
                  <a:lnTo>
                    <a:pt x="555" y="1445"/>
                  </a:lnTo>
                  <a:lnTo>
                    <a:pt x="555" y="1443"/>
                  </a:lnTo>
                  <a:close/>
                  <a:moveTo>
                    <a:pt x="566" y="1443"/>
                  </a:moveTo>
                  <a:lnTo>
                    <a:pt x="568" y="1441"/>
                  </a:lnTo>
                  <a:lnTo>
                    <a:pt x="568" y="1443"/>
                  </a:lnTo>
                  <a:lnTo>
                    <a:pt x="566" y="1443"/>
                  </a:lnTo>
                  <a:close/>
                  <a:moveTo>
                    <a:pt x="547" y="1441"/>
                  </a:moveTo>
                  <a:lnTo>
                    <a:pt x="545" y="1441"/>
                  </a:lnTo>
                  <a:lnTo>
                    <a:pt x="547" y="1441"/>
                  </a:lnTo>
                  <a:close/>
                  <a:moveTo>
                    <a:pt x="570" y="1441"/>
                  </a:moveTo>
                  <a:lnTo>
                    <a:pt x="570" y="1440"/>
                  </a:lnTo>
                  <a:lnTo>
                    <a:pt x="570" y="1441"/>
                  </a:lnTo>
                  <a:close/>
                  <a:moveTo>
                    <a:pt x="545" y="1441"/>
                  </a:moveTo>
                  <a:lnTo>
                    <a:pt x="547" y="1440"/>
                  </a:lnTo>
                  <a:lnTo>
                    <a:pt x="547" y="1441"/>
                  </a:lnTo>
                  <a:lnTo>
                    <a:pt x="545" y="1441"/>
                  </a:lnTo>
                  <a:close/>
                  <a:moveTo>
                    <a:pt x="547" y="1440"/>
                  </a:moveTo>
                  <a:lnTo>
                    <a:pt x="547" y="1438"/>
                  </a:lnTo>
                  <a:lnTo>
                    <a:pt x="547" y="1440"/>
                  </a:lnTo>
                  <a:close/>
                  <a:moveTo>
                    <a:pt x="545" y="1438"/>
                  </a:moveTo>
                  <a:lnTo>
                    <a:pt x="547" y="1438"/>
                  </a:lnTo>
                  <a:lnTo>
                    <a:pt x="545" y="1438"/>
                  </a:lnTo>
                  <a:close/>
                  <a:moveTo>
                    <a:pt x="552" y="1438"/>
                  </a:moveTo>
                  <a:lnTo>
                    <a:pt x="552" y="1436"/>
                  </a:lnTo>
                  <a:lnTo>
                    <a:pt x="552" y="1438"/>
                  </a:lnTo>
                  <a:lnTo>
                    <a:pt x="553" y="1438"/>
                  </a:lnTo>
                  <a:lnTo>
                    <a:pt x="552" y="1438"/>
                  </a:lnTo>
                  <a:close/>
                  <a:moveTo>
                    <a:pt x="555" y="1435"/>
                  </a:moveTo>
                  <a:lnTo>
                    <a:pt x="555" y="1436"/>
                  </a:lnTo>
                  <a:lnTo>
                    <a:pt x="555" y="1435"/>
                  </a:lnTo>
                  <a:close/>
                  <a:moveTo>
                    <a:pt x="553" y="1436"/>
                  </a:moveTo>
                  <a:lnTo>
                    <a:pt x="552" y="1435"/>
                  </a:lnTo>
                  <a:lnTo>
                    <a:pt x="553" y="1435"/>
                  </a:lnTo>
                  <a:lnTo>
                    <a:pt x="553" y="1436"/>
                  </a:lnTo>
                  <a:close/>
                  <a:moveTo>
                    <a:pt x="552" y="1435"/>
                  </a:moveTo>
                  <a:lnTo>
                    <a:pt x="552" y="1436"/>
                  </a:lnTo>
                  <a:lnTo>
                    <a:pt x="552" y="1435"/>
                  </a:lnTo>
                  <a:close/>
                  <a:moveTo>
                    <a:pt x="552" y="1435"/>
                  </a:moveTo>
                  <a:lnTo>
                    <a:pt x="552" y="1436"/>
                  </a:lnTo>
                  <a:lnTo>
                    <a:pt x="552" y="1435"/>
                  </a:lnTo>
                  <a:close/>
                  <a:moveTo>
                    <a:pt x="573" y="1433"/>
                  </a:moveTo>
                  <a:lnTo>
                    <a:pt x="571" y="1433"/>
                  </a:lnTo>
                  <a:lnTo>
                    <a:pt x="573" y="1433"/>
                  </a:lnTo>
                  <a:lnTo>
                    <a:pt x="575" y="1433"/>
                  </a:lnTo>
                  <a:lnTo>
                    <a:pt x="573" y="1433"/>
                  </a:lnTo>
                  <a:close/>
                  <a:moveTo>
                    <a:pt x="557" y="1432"/>
                  </a:moveTo>
                  <a:lnTo>
                    <a:pt x="557" y="1433"/>
                  </a:lnTo>
                  <a:lnTo>
                    <a:pt x="557" y="1432"/>
                  </a:lnTo>
                  <a:close/>
                  <a:moveTo>
                    <a:pt x="547" y="1433"/>
                  </a:moveTo>
                  <a:lnTo>
                    <a:pt x="549" y="1433"/>
                  </a:lnTo>
                  <a:lnTo>
                    <a:pt x="549" y="1432"/>
                  </a:lnTo>
                  <a:lnTo>
                    <a:pt x="549" y="1433"/>
                  </a:lnTo>
                  <a:lnTo>
                    <a:pt x="550" y="1433"/>
                  </a:lnTo>
                  <a:lnTo>
                    <a:pt x="550" y="1435"/>
                  </a:lnTo>
                  <a:lnTo>
                    <a:pt x="552" y="1435"/>
                  </a:lnTo>
                  <a:lnTo>
                    <a:pt x="552" y="1436"/>
                  </a:lnTo>
                  <a:lnTo>
                    <a:pt x="552" y="1438"/>
                  </a:lnTo>
                  <a:lnTo>
                    <a:pt x="550" y="1438"/>
                  </a:lnTo>
                  <a:lnTo>
                    <a:pt x="550" y="1440"/>
                  </a:lnTo>
                  <a:lnTo>
                    <a:pt x="550" y="1438"/>
                  </a:lnTo>
                  <a:lnTo>
                    <a:pt x="550" y="1440"/>
                  </a:lnTo>
                  <a:lnTo>
                    <a:pt x="549" y="1441"/>
                  </a:lnTo>
                  <a:lnTo>
                    <a:pt x="549" y="1440"/>
                  </a:lnTo>
                  <a:lnTo>
                    <a:pt x="549" y="1441"/>
                  </a:lnTo>
                  <a:lnTo>
                    <a:pt x="547" y="1441"/>
                  </a:lnTo>
                  <a:lnTo>
                    <a:pt x="549" y="1441"/>
                  </a:lnTo>
                  <a:lnTo>
                    <a:pt x="549" y="1438"/>
                  </a:lnTo>
                  <a:lnTo>
                    <a:pt x="547" y="1438"/>
                  </a:lnTo>
                  <a:lnTo>
                    <a:pt x="547" y="1436"/>
                  </a:lnTo>
                  <a:lnTo>
                    <a:pt x="545" y="1436"/>
                  </a:lnTo>
                  <a:lnTo>
                    <a:pt x="545" y="1435"/>
                  </a:lnTo>
                  <a:lnTo>
                    <a:pt x="544" y="1435"/>
                  </a:lnTo>
                  <a:lnTo>
                    <a:pt x="545" y="1435"/>
                  </a:lnTo>
                  <a:lnTo>
                    <a:pt x="547" y="1433"/>
                  </a:lnTo>
                  <a:lnTo>
                    <a:pt x="545" y="1433"/>
                  </a:lnTo>
                  <a:lnTo>
                    <a:pt x="547" y="1433"/>
                  </a:lnTo>
                  <a:close/>
                  <a:moveTo>
                    <a:pt x="555" y="1428"/>
                  </a:moveTo>
                  <a:lnTo>
                    <a:pt x="555" y="1430"/>
                  </a:lnTo>
                  <a:lnTo>
                    <a:pt x="555" y="1428"/>
                  </a:lnTo>
                  <a:close/>
                  <a:moveTo>
                    <a:pt x="579" y="1430"/>
                  </a:moveTo>
                  <a:lnTo>
                    <a:pt x="578" y="1430"/>
                  </a:lnTo>
                  <a:lnTo>
                    <a:pt x="578" y="1428"/>
                  </a:lnTo>
                  <a:lnTo>
                    <a:pt x="579" y="1428"/>
                  </a:lnTo>
                  <a:lnTo>
                    <a:pt x="579" y="1430"/>
                  </a:lnTo>
                  <a:close/>
                  <a:moveTo>
                    <a:pt x="566" y="1423"/>
                  </a:moveTo>
                  <a:lnTo>
                    <a:pt x="568" y="1423"/>
                  </a:lnTo>
                  <a:lnTo>
                    <a:pt x="566" y="1423"/>
                  </a:lnTo>
                  <a:close/>
                  <a:moveTo>
                    <a:pt x="568" y="1422"/>
                  </a:moveTo>
                  <a:lnTo>
                    <a:pt x="570" y="1422"/>
                  </a:lnTo>
                  <a:lnTo>
                    <a:pt x="571" y="1423"/>
                  </a:lnTo>
                  <a:lnTo>
                    <a:pt x="570" y="1423"/>
                  </a:lnTo>
                  <a:lnTo>
                    <a:pt x="568" y="1423"/>
                  </a:lnTo>
                  <a:lnTo>
                    <a:pt x="568" y="1422"/>
                  </a:lnTo>
                  <a:lnTo>
                    <a:pt x="568" y="1423"/>
                  </a:lnTo>
                  <a:lnTo>
                    <a:pt x="568" y="1422"/>
                  </a:lnTo>
                  <a:close/>
                  <a:moveTo>
                    <a:pt x="568" y="1422"/>
                  </a:moveTo>
                  <a:lnTo>
                    <a:pt x="570" y="1422"/>
                  </a:lnTo>
                  <a:lnTo>
                    <a:pt x="568" y="1422"/>
                  </a:lnTo>
                  <a:close/>
                  <a:moveTo>
                    <a:pt x="566" y="1419"/>
                  </a:moveTo>
                  <a:lnTo>
                    <a:pt x="566" y="1420"/>
                  </a:lnTo>
                  <a:lnTo>
                    <a:pt x="566" y="1419"/>
                  </a:lnTo>
                  <a:close/>
                  <a:moveTo>
                    <a:pt x="550" y="1419"/>
                  </a:moveTo>
                  <a:lnTo>
                    <a:pt x="550" y="1420"/>
                  </a:lnTo>
                  <a:lnTo>
                    <a:pt x="550" y="1419"/>
                  </a:lnTo>
                  <a:close/>
                  <a:moveTo>
                    <a:pt x="557" y="1419"/>
                  </a:moveTo>
                  <a:lnTo>
                    <a:pt x="558" y="1420"/>
                  </a:lnTo>
                  <a:lnTo>
                    <a:pt x="560" y="1420"/>
                  </a:lnTo>
                  <a:lnTo>
                    <a:pt x="562" y="1422"/>
                  </a:lnTo>
                  <a:lnTo>
                    <a:pt x="565" y="1423"/>
                  </a:lnTo>
                  <a:lnTo>
                    <a:pt x="566" y="1423"/>
                  </a:lnTo>
                  <a:lnTo>
                    <a:pt x="568" y="1423"/>
                  </a:lnTo>
                  <a:lnTo>
                    <a:pt x="571" y="1425"/>
                  </a:lnTo>
                  <a:lnTo>
                    <a:pt x="573" y="1425"/>
                  </a:lnTo>
                  <a:lnTo>
                    <a:pt x="575" y="1425"/>
                  </a:lnTo>
                  <a:lnTo>
                    <a:pt x="575" y="1427"/>
                  </a:lnTo>
                  <a:lnTo>
                    <a:pt x="576" y="1427"/>
                  </a:lnTo>
                  <a:lnTo>
                    <a:pt x="578" y="1427"/>
                  </a:lnTo>
                  <a:lnTo>
                    <a:pt x="578" y="1428"/>
                  </a:lnTo>
                  <a:lnTo>
                    <a:pt x="576" y="1428"/>
                  </a:lnTo>
                  <a:lnTo>
                    <a:pt x="576" y="1430"/>
                  </a:lnTo>
                  <a:lnTo>
                    <a:pt x="576" y="1432"/>
                  </a:lnTo>
                  <a:lnTo>
                    <a:pt x="576" y="1430"/>
                  </a:lnTo>
                  <a:lnTo>
                    <a:pt x="573" y="1432"/>
                  </a:lnTo>
                  <a:lnTo>
                    <a:pt x="573" y="1430"/>
                  </a:lnTo>
                  <a:lnTo>
                    <a:pt x="571" y="1432"/>
                  </a:lnTo>
                  <a:lnTo>
                    <a:pt x="570" y="1432"/>
                  </a:lnTo>
                  <a:lnTo>
                    <a:pt x="568" y="1432"/>
                  </a:lnTo>
                  <a:lnTo>
                    <a:pt x="568" y="1430"/>
                  </a:lnTo>
                  <a:lnTo>
                    <a:pt x="570" y="1430"/>
                  </a:lnTo>
                  <a:lnTo>
                    <a:pt x="570" y="1428"/>
                  </a:lnTo>
                  <a:lnTo>
                    <a:pt x="570" y="1427"/>
                  </a:lnTo>
                  <a:lnTo>
                    <a:pt x="570" y="1425"/>
                  </a:lnTo>
                  <a:lnTo>
                    <a:pt x="570" y="1427"/>
                  </a:lnTo>
                  <a:lnTo>
                    <a:pt x="570" y="1428"/>
                  </a:lnTo>
                  <a:lnTo>
                    <a:pt x="570" y="1430"/>
                  </a:lnTo>
                  <a:lnTo>
                    <a:pt x="568" y="1430"/>
                  </a:lnTo>
                  <a:lnTo>
                    <a:pt x="566" y="1432"/>
                  </a:lnTo>
                  <a:lnTo>
                    <a:pt x="565" y="1433"/>
                  </a:lnTo>
                  <a:lnTo>
                    <a:pt x="563" y="1433"/>
                  </a:lnTo>
                  <a:lnTo>
                    <a:pt x="563" y="1435"/>
                  </a:lnTo>
                  <a:lnTo>
                    <a:pt x="562" y="1435"/>
                  </a:lnTo>
                  <a:lnTo>
                    <a:pt x="560" y="1435"/>
                  </a:lnTo>
                  <a:lnTo>
                    <a:pt x="560" y="1436"/>
                  </a:lnTo>
                  <a:lnTo>
                    <a:pt x="558" y="1436"/>
                  </a:lnTo>
                  <a:lnTo>
                    <a:pt x="555" y="1438"/>
                  </a:lnTo>
                  <a:lnTo>
                    <a:pt x="555" y="1436"/>
                  </a:lnTo>
                  <a:lnTo>
                    <a:pt x="555" y="1435"/>
                  </a:lnTo>
                  <a:lnTo>
                    <a:pt x="555" y="1436"/>
                  </a:lnTo>
                  <a:lnTo>
                    <a:pt x="555" y="1438"/>
                  </a:lnTo>
                  <a:lnTo>
                    <a:pt x="553" y="1440"/>
                  </a:lnTo>
                  <a:lnTo>
                    <a:pt x="553" y="1438"/>
                  </a:lnTo>
                  <a:lnTo>
                    <a:pt x="553" y="1436"/>
                  </a:lnTo>
                  <a:lnTo>
                    <a:pt x="553" y="1438"/>
                  </a:lnTo>
                  <a:lnTo>
                    <a:pt x="553" y="1436"/>
                  </a:lnTo>
                  <a:lnTo>
                    <a:pt x="553" y="1435"/>
                  </a:lnTo>
                  <a:lnTo>
                    <a:pt x="553" y="1433"/>
                  </a:lnTo>
                  <a:lnTo>
                    <a:pt x="552" y="1433"/>
                  </a:lnTo>
                  <a:lnTo>
                    <a:pt x="552" y="1432"/>
                  </a:lnTo>
                  <a:lnTo>
                    <a:pt x="553" y="1432"/>
                  </a:lnTo>
                  <a:lnTo>
                    <a:pt x="555" y="1432"/>
                  </a:lnTo>
                  <a:lnTo>
                    <a:pt x="557" y="1433"/>
                  </a:lnTo>
                  <a:lnTo>
                    <a:pt x="557" y="1432"/>
                  </a:lnTo>
                  <a:lnTo>
                    <a:pt x="555" y="1432"/>
                  </a:lnTo>
                  <a:lnTo>
                    <a:pt x="555" y="1430"/>
                  </a:lnTo>
                  <a:lnTo>
                    <a:pt x="557" y="1430"/>
                  </a:lnTo>
                  <a:lnTo>
                    <a:pt x="558" y="1430"/>
                  </a:lnTo>
                  <a:lnTo>
                    <a:pt x="560" y="1430"/>
                  </a:lnTo>
                  <a:lnTo>
                    <a:pt x="558" y="1428"/>
                  </a:lnTo>
                  <a:lnTo>
                    <a:pt x="558" y="1430"/>
                  </a:lnTo>
                  <a:lnTo>
                    <a:pt x="558" y="1428"/>
                  </a:lnTo>
                  <a:lnTo>
                    <a:pt x="557" y="1428"/>
                  </a:lnTo>
                  <a:lnTo>
                    <a:pt x="555" y="1428"/>
                  </a:lnTo>
                  <a:lnTo>
                    <a:pt x="555" y="1430"/>
                  </a:lnTo>
                  <a:lnTo>
                    <a:pt x="553" y="1428"/>
                  </a:lnTo>
                  <a:lnTo>
                    <a:pt x="552" y="1428"/>
                  </a:lnTo>
                  <a:lnTo>
                    <a:pt x="552" y="1427"/>
                  </a:lnTo>
                  <a:lnTo>
                    <a:pt x="550" y="1427"/>
                  </a:lnTo>
                  <a:lnTo>
                    <a:pt x="549" y="1427"/>
                  </a:lnTo>
                  <a:lnTo>
                    <a:pt x="547" y="1427"/>
                  </a:lnTo>
                  <a:lnTo>
                    <a:pt x="547" y="1425"/>
                  </a:lnTo>
                  <a:lnTo>
                    <a:pt x="549" y="1425"/>
                  </a:lnTo>
                  <a:lnTo>
                    <a:pt x="549" y="1423"/>
                  </a:lnTo>
                  <a:lnTo>
                    <a:pt x="550" y="1423"/>
                  </a:lnTo>
                  <a:lnTo>
                    <a:pt x="552" y="1423"/>
                  </a:lnTo>
                  <a:lnTo>
                    <a:pt x="552" y="1422"/>
                  </a:lnTo>
                  <a:lnTo>
                    <a:pt x="553" y="1422"/>
                  </a:lnTo>
                  <a:lnTo>
                    <a:pt x="555" y="1422"/>
                  </a:lnTo>
                  <a:lnTo>
                    <a:pt x="553" y="1422"/>
                  </a:lnTo>
                  <a:lnTo>
                    <a:pt x="553" y="1420"/>
                  </a:lnTo>
                  <a:lnTo>
                    <a:pt x="555" y="1420"/>
                  </a:lnTo>
                  <a:lnTo>
                    <a:pt x="555" y="1419"/>
                  </a:lnTo>
                  <a:lnTo>
                    <a:pt x="557" y="1419"/>
                  </a:lnTo>
                  <a:close/>
                  <a:moveTo>
                    <a:pt x="586" y="1417"/>
                  </a:moveTo>
                  <a:lnTo>
                    <a:pt x="586" y="1419"/>
                  </a:lnTo>
                  <a:lnTo>
                    <a:pt x="586" y="1417"/>
                  </a:lnTo>
                  <a:close/>
                  <a:moveTo>
                    <a:pt x="588" y="1419"/>
                  </a:moveTo>
                  <a:lnTo>
                    <a:pt x="588" y="1417"/>
                  </a:lnTo>
                  <a:lnTo>
                    <a:pt x="588" y="1419"/>
                  </a:lnTo>
                  <a:close/>
                  <a:moveTo>
                    <a:pt x="566" y="1422"/>
                  </a:moveTo>
                  <a:lnTo>
                    <a:pt x="566" y="1420"/>
                  </a:lnTo>
                  <a:lnTo>
                    <a:pt x="566" y="1422"/>
                  </a:lnTo>
                  <a:lnTo>
                    <a:pt x="565" y="1422"/>
                  </a:lnTo>
                  <a:lnTo>
                    <a:pt x="565" y="1420"/>
                  </a:lnTo>
                  <a:lnTo>
                    <a:pt x="563" y="1420"/>
                  </a:lnTo>
                  <a:lnTo>
                    <a:pt x="563" y="1422"/>
                  </a:lnTo>
                  <a:lnTo>
                    <a:pt x="563" y="1420"/>
                  </a:lnTo>
                  <a:lnTo>
                    <a:pt x="562" y="1420"/>
                  </a:lnTo>
                  <a:lnTo>
                    <a:pt x="562" y="1419"/>
                  </a:lnTo>
                  <a:lnTo>
                    <a:pt x="560" y="1419"/>
                  </a:lnTo>
                  <a:lnTo>
                    <a:pt x="562" y="1419"/>
                  </a:lnTo>
                  <a:lnTo>
                    <a:pt x="560" y="1419"/>
                  </a:lnTo>
                  <a:lnTo>
                    <a:pt x="562" y="1417"/>
                  </a:lnTo>
                  <a:lnTo>
                    <a:pt x="563" y="1419"/>
                  </a:lnTo>
                  <a:lnTo>
                    <a:pt x="565" y="1419"/>
                  </a:lnTo>
                  <a:lnTo>
                    <a:pt x="566" y="1419"/>
                  </a:lnTo>
                  <a:lnTo>
                    <a:pt x="566" y="1420"/>
                  </a:lnTo>
                  <a:lnTo>
                    <a:pt x="568" y="1420"/>
                  </a:lnTo>
                  <a:lnTo>
                    <a:pt x="568" y="1422"/>
                  </a:lnTo>
                  <a:lnTo>
                    <a:pt x="566" y="1422"/>
                  </a:lnTo>
                  <a:close/>
                  <a:moveTo>
                    <a:pt x="594" y="1404"/>
                  </a:moveTo>
                  <a:lnTo>
                    <a:pt x="596" y="1404"/>
                  </a:lnTo>
                  <a:lnTo>
                    <a:pt x="594" y="1404"/>
                  </a:lnTo>
                  <a:close/>
                  <a:moveTo>
                    <a:pt x="575" y="1404"/>
                  </a:moveTo>
                  <a:lnTo>
                    <a:pt x="575" y="1406"/>
                  </a:lnTo>
                  <a:lnTo>
                    <a:pt x="573" y="1406"/>
                  </a:lnTo>
                  <a:lnTo>
                    <a:pt x="573" y="1404"/>
                  </a:lnTo>
                  <a:lnTo>
                    <a:pt x="575" y="1404"/>
                  </a:lnTo>
                  <a:close/>
                  <a:moveTo>
                    <a:pt x="581" y="1407"/>
                  </a:moveTo>
                  <a:lnTo>
                    <a:pt x="579" y="1407"/>
                  </a:lnTo>
                  <a:lnTo>
                    <a:pt x="578" y="1407"/>
                  </a:lnTo>
                  <a:lnTo>
                    <a:pt x="578" y="1406"/>
                  </a:lnTo>
                  <a:lnTo>
                    <a:pt x="579" y="1404"/>
                  </a:lnTo>
                  <a:lnTo>
                    <a:pt x="581" y="1404"/>
                  </a:lnTo>
                  <a:lnTo>
                    <a:pt x="583" y="1404"/>
                  </a:lnTo>
                  <a:lnTo>
                    <a:pt x="583" y="1406"/>
                  </a:lnTo>
                  <a:lnTo>
                    <a:pt x="581" y="1407"/>
                  </a:lnTo>
                  <a:close/>
                  <a:moveTo>
                    <a:pt x="594" y="1402"/>
                  </a:moveTo>
                  <a:lnTo>
                    <a:pt x="594" y="1401"/>
                  </a:lnTo>
                  <a:lnTo>
                    <a:pt x="594" y="1402"/>
                  </a:lnTo>
                  <a:close/>
                  <a:moveTo>
                    <a:pt x="560" y="1401"/>
                  </a:moveTo>
                  <a:lnTo>
                    <a:pt x="562" y="1401"/>
                  </a:lnTo>
                  <a:lnTo>
                    <a:pt x="562" y="1402"/>
                  </a:lnTo>
                  <a:lnTo>
                    <a:pt x="563" y="1402"/>
                  </a:lnTo>
                  <a:lnTo>
                    <a:pt x="565" y="1402"/>
                  </a:lnTo>
                  <a:lnTo>
                    <a:pt x="565" y="1404"/>
                  </a:lnTo>
                  <a:lnTo>
                    <a:pt x="566" y="1406"/>
                  </a:lnTo>
                  <a:lnTo>
                    <a:pt x="568" y="1406"/>
                  </a:lnTo>
                  <a:lnTo>
                    <a:pt x="566" y="1404"/>
                  </a:lnTo>
                  <a:lnTo>
                    <a:pt x="568" y="1404"/>
                  </a:lnTo>
                  <a:lnTo>
                    <a:pt x="568" y="1402"/>
                  </a:lnTo>
                  <a:lnTo>
                    <a:pt x="570" y="1402"/>
                  </a:lnTo>
                  <a:lnTo>
                    <a:pt x="570" y="1404"/>
                  </a:lnTo>
                  <a:lnTo>
                    <a:pt x="570" y="1406"/>
                  </a:lnTo>
                  <a:lnTo>
                    <a:pt x="571" y="1406"/>
                  </a:lnTo>
                  <a:lnTo>
                    <a:pt x="571" y="1407"/>
                  </a:lnTo>
                  <a:lnTo>
                    <a:pt x="571" y="1409"/>
                  </a:lnTo>
                  <a:lnTo>
                    <a:pt x="570" y="1409"/>
                  </a:lnTo>
                  <a:lnTo>
                    <a:pt x="570" y="1410"/>
                  </a:lnTo>
                  <a:lnTo>
                    <a:pt x="570" y="1412"/>
                  </a:lnTo>
                  <a:lnTo>
                    <a:pt x="570" y="1414"/>
                  </a:lnTo>
                  <a:lnTo>
                    <a:pt x="568" y="1415"/>
                  </a:lnTo>
                  <a:lnTo>
                    <a:pt x="568" y="1417"/>
                  </a:lnTo>
                  <a:lnTo>
                    <a:pt x="566" y="1417"/>
                  </a:lnTo>
                  <a:lnTo>
                    <a:pt x="565" y="1417"/>
                  </a:lnTo>
                  <a:lnTo>
                    <a:pt x="565" y="1415"/>
                  </a:lnTo>
                  <a:lnTo>
                    <a:pt x="563" y="1415"/>
                  </a:lnTo>
                  <a:lnTo>
                    <a:pt x="562" y="1415"/>
                  </a:lnTo>
                  <a:lnTo>
                    <a:pt x="562" y="1414"/>
                  </a:lnTo>
                  <a:lnTo>
                    <a:pt x="562" y="1412"/>
                  </a:lnTo>
                  <a:lnTo>
                    <a:pt x="563" y="1412"/>
                  </a:lnTo>
                  <a:lnTo>
                    <a:pt x="563" y="1410"/>
                  </a:lnTo>
                  <a:lnTo>
                    <a:pt x="563" y="1412"/>
                  </a:lnTo>
                  <a:lnTo>
                    <a:pt x="563" y="1414"/>
                  </a:lnTo>
                  <a:lnTo>
                    <a:pt x="565" y="1412"/>
                  </a:lnTo>
                  <a:lnTo>
                    <a:pt x="565" y="1410"/>
                  </a:lnTo>
                  <a:lnTo>
                    <a:pt x="565" y="1409"/>
                  </a:lnTo>
                  <a:lnTo>
                    <a:pt x="563" y="1409"/>
                  </a:lnTo>
                  <a:lnTo>
                    <a:pt x="562" y="1407"/>
                  </a:lnTo>
                  <a:lnTo>
                    <a:pt x="560" y="1407"/>
                  </a:lnTo>
                  <a:lnTo>
                    <a:pt x="560" y="1406"/>
                  </a:lnTo>
                  <a:lnTo>
                    <a:pt x="560" y="1404"/>
                  </a:lnTo>
                  <a:lnTo>
                    <a:pt x="560" y="1402"/>
                  </a:lnTo>
                  <a:lnTo>
                    <a:pt x="560" y="1401"/>
                  </a:lnTo>
                  <a:close/>
                  <a:moveTo>
                    <a:pt x="594" y="1401"/>
                  </a:moveTo>
                  <a:lnTo>
                    <a:pt x="596" y="1401"/>
                  </a:lnTo>
                  <a:lnTo>
                    <a:pt x="594" y="1401"/>
                  </a:lnTo>
                  <a:close/>
                  <a:moveTo>
                    <a:pt x="584" y="1401"/>
                  </a:moveTo>
                  <a:lnTo>
                    <a:pt x="583" y="1401"/>
                  </a:lnTo>
                  <a:lnTo>
                    <a:pt x="584" y="1401"/>
                  </a:lnTo>
                  <a:close/>
                  <a:moveTo>
                    <a:pt x="581" y="1399"/>
                  </a:moveTo>
                  <a:lnTo>
                    <a:pt x="581" y="1401"/>
                  </a:lnTo>
                  <a:lnTo>
                    <a:pt x="581" y="1399"/>
                  </a:lnTo>
                  <a:close/>
                  <a:moveTo>
                    <a:pt x="583" y="1402"/>
                  </a:moveTo>
                  <a:lnTo>
                    <a:pt x="583" y="1401"/>
                  </a:lnTo>
                  <a:lnTo>
                    <a:pt x="581" y="1401"/>
                  </a:lnTo>
                  <a:lnTo>
                    <a:pt x="581" y="1399"/>
                  </a:lnTo>
                  <a:lnTo>
                    <a:pt x="583" y="1399"/>
                  </a:lnTo>
                  <a:lnTo>
                    <a:pt x="583" y="1401"/>
                  </a:lnTo>
                  <a:lnTo>
                    <a:pt x="583" y="1402"/>
                  </a:lnTo>
                  <a:close/>
                  <a:moveTo>
                    <a:pt x="592" y="1397"/>
                  </a:moveTo>
                  <a:lnTo>
                    <a:pt x="592" y="1399"/>
                  </a:lnTo>
                  <a:lnTo>
                    <a:pt x="592" y="1397"/>
                  </a:lnTo>
                  <a:close/>
                  <a:moveTo>
                    <a:pt x="588" y="1389"/>
                  </a:moveTo>
                  <a:lnTo>
                    <a:pt x="589" y="1389"/>
                  </a:lnTo>
                  <a:lnTo>
                    <a:pt x="588" y="1389"/>
                  </a:lnTo>
                  <a:close/>
                  <a:moveTo>
                    <a:pt x="589" y="1384"/>
                  </a:moveTo>
                  <a:lnTo>
                    <a:pt x="589" y="1383"/>
                  </a:lnTo>
                  <a:lnTo>
                    <a:pt x="589" y="1384"/>
                  </a:lnTo>
                  <a:close/>
                  <a:moveTo>
                    <a:pt x="584" y="1383"/>
                  </a:moveTo>
                  <a:lnTo>
                    <a:pt x="586" y="1383"/>
                  </a:lnTo>
                  <a:lnTo>
                    <a:pt x="584" y="1383"/>
                  </a:lnTo>
                  <a:close/>
                  <a:moveTo>
                    <a:pt x="588" y="1381"/>
                  </a:moveTo>
                  <a:lnTo>
                    <a:pt x="589" y="1381"/>
                  </a:lnTo>
                  <a:lnTo>
                    <a:pt x="588" y="1381"/>
                  </a:lnTo>
                  <a:close/>
                  <a:moveTo>
                    <a:pt x="623" y="1378"/>
                  </a:moveTo>
                  <a:lnTo>
                    <a:pt x="622" y="1378"/>
                  </a:lnTo>
                  <a:lnTo>
                    <a:pt x="623" y="1378"/>
                  </a:lnTo>
                  <a:lnTo>
                    <a:pt x="622" y="1378"/>
                  </a:lnTo>
                  <a:lnTo>
                    <a:pt x="623" y="1376"/>
                  </a:lnTo>
                  <a:lnTo>
                    <a:pt x="622" y="1376"/>
                  </a:lnTo>
                  <a:lnTo>
                    <a:pt x="623" y="1376"/>
                  </a:lnTo>
                  <a:lnTo>
                    <a:pt x="623" y="1378"/>
                  </a:lnTo>
                  <a:close/>
                  <a:moveTo>
                    <a:pt x="620" y="1376"/>
                  </a:moveTo>
                  <a:lnTo>
                    <a:pt x="618" y="1376"/>
                  </a:lnTo>
                  <a:lnTo>
                    <a:pt x="620" y="1376"/>
                  </a:lnTo>
                  <a:close/>
                  <a:moveTo>
                    <a:pt x="589" y="1376"/>
                  </a:moveTo>
                  <a:lnTo>
                    <a:pt x="591" y="1376"/>
                  </a:lnTo>
                  <a:lnTo>
                    <a:pt x="591" y="1378"/>
                  </a:lnTo>
                  <a:lnTo>
                    <a:pt x="591" y="1379"/>
                  </a:lnTo>
                  <a:lnTo>
                    <a:pt x="589" y="1379"/>
                  </a:lnTo>
                  <a:lnTo>
                    <a:pt x="588" y="1378"/>
                  </a:lnTo>
                  <a:lnTo>
                    <a:pt x="586" y="1378"/>
                  </a:lnTo>
                  <a:lnTo>
                    <a:pt x="586" y="1376"/>
                  </a:lnTo>
                  <a:lnTo>
                    <a:pt x="588" y="1376"/>
                  </a:lnTo>
                  <a:lnTo>
                    <a:pt x="589" y="1376"/>
                  </a:lnTo>
                  <a:close/>
                  <a:moveTo>
                    <a:pt x="627" y="1376"/>
                  </a:moveTo>
                  <a:lnTo>
                    <a:pt x="628" y="1376"/>
                  </a:lnTo>
                  <a:lnTo>
                    <a:pt x="630" y="1376"/>
                  </a:lnTo>
                  <a:lnTo>
                    <a:pt x="628" y="1376"/>
                  </a:lnTo>
                  <a:lnTo>
                    <a:pt x="627" y="1376"/>
                  </a:lnTo>
                  <a:close/>
                  <a:moveTo>
                    <a:pt x="628" y="1376"/>
                  </a:moveTo>
                  <a:lnTo>
                    <a:pt x="630" y="1376"/>
                  </a:lnTo>
                  <a:lnTo>
                    <a:pt x="628" y="1376"/>
                  </a:lnTo>
                  <a:close/>
                  <a:moveTo>
                    <a:pt x="588" y="1376"/>
                  </a:moveTo>
                  <a:lnTo>
                    <a:pt x="589" y="1376"/>
                  </a:lnTo>
                  <a:lnTo>
                    <a:pt x="588" y="1376"/>
                  </a:lnTo>
                  <a:close/>
                  <a:moveTo>
                    <a:pt x="620" y="1375"/>
                  </a:moveTo>
                  <a:lnTo>
                    <a:pt x="620" y="1376"/>
                  </a:lnTo>
                  <a:lnTo>
                    <a:pt x="620" y="1375"/>
                  </a:lnTo>
                  <a:close/>
                  <a:moveTo>
                    <a:pt x="618" y="1375"/>
                  </a:moveTo>
                  <a:lnTo>
                    <a:pt x="618" y="1376"/>
                  </a:lnTo>
                  <a:lnTo>
                    <a:pt x="618" y="1375"/>
                  </a:lnTo>
                  <a:close/>
                  <a:moveTo>
                    <a:pt x="596" y="1376"/>
                  </a:moveTo>
                  <a:lnTo>
                    <a:pt x="596" y="1378"/>
                  </a:lnTo>
                  <a:lnTo>
                    <a:pt x="596" y="1376"/>
                  </a:lnTo>
                  <a:lnTo>
                    <a:pt x="596" y="1378"/>
                  </a:lnTo>
                  <a:lnTo>
                    <a:pt x="594" y="1378"/>
                  </a:lnTo>
                  <a:lnTo>
                    <a:pt x="594" y="1376"/>
                  </a:lnTo>
                  <a:lnTo>
                    <a:pt x="592" y="1376"/>
                  </a:lnTo>
                  <a:lnTo>
                    <a:pt x="594" y="1376"/>
                  </a:lnTo>
                  <a:lnTo>
                    <a:pt x="596" y="1376"/>
                  </a:lnTo>
                  <a:lnTo>
                    <a:pt x="594" y="1376"/>
                  </a:lnTo>
                  <a:lnTo>
                    <a:pt x="594" y="1375"/>
                  </a:lnTo>
                  <a:lnTo>
                    <a:pt x="596" y="1375"/>
                  </a:lnTo>
                  <a:lnTo>
                    <a:pt x="596" y="1376"/>
                  </a:lnTo>
                  <a:close/>
                  <a:moveTo>
                    <a:pt x="625" y="1375"/>
                  </a:moveTo>
                  <a:lnTo>
                    <a:pt x="623" y="1376"/>
                  </a:lnTo>
                  <a:lnTo>
                    <a:pt x="622" y="1376"/>
                  </a:lnTo>
                  <a:lnTo>
                    <a:pt x="620" y="1376"/>
                  </a:lnTo>
                  <a:lnTo>
                    <a:pt x="622" y="1376"/>
                  </a:lnTo>
                  <a:lnTo>
                    <a:pt x="622" y="1375"/>
                  </a:lnTo>
                  <a:lnTo>
                    <a:pt x="623" y="1375"/>
                  </a:lnTo>
                  <a:lnTo>
                    <a:pt x="625" y="1375"/>
                  </a:lnTo>
                  <a:close/>
                  <a:moveTo>
                    <a:pt x="586" y="1373"/>
                  </a:moveTo>
                  <a:lnTo>
                    <a:pt x="588" y="1373"/>
                  </a:lnTo>
                  <a:lnTo>
                    <a:pt x="586" y="1373"/>
                  </a:lnTo>
                  <a:close/>
                  <a:moveTo>
                    <a:pt x="586" y="1373"/>
                  </a:moveTo>
                  <a:lnTo>
                    <a:pt x="588" y="1373"/>
                  </a:lnTo>
                  <a:lnTo>
                    <a:pt x="588" y="1375"/>
                  </a:lnTo>
                  <a:lnTo>
                    <a:pt x="586" y="1375"/>
                  </a:lnTo>
                  <a:lnTo>
                    <a:pt x="586" y="1373"/>
                  </a:lnTo>
                  <a:close/>
                  <a:moveTo>
                    <a:pt x="617" y="1373"/>
                  </a:moveTo>
                  <a:lnTo>
                    <a:pt x="618" y="1373"/>
                  </a:lnTo>
                  <a:lnTo>
                    <a:pt x="617" y="1373"/>
                  </a:lnTo>
                  <a:close/>
                  <a:moveTo>
                    <a:pt x="620" y="1371"/>
                  </a:moveTo>
                  <a:lnTo>
                    <a:pt x="618" y="1371"/>
                  </a:lnTo>
                  <a:lnTo>
                    <a:pt x="620" y="1371"/>
                  </a:lnTo>
                  <a:close/>
                  <a:moveTo>
                    <a:pt x="620" y="1371"/>
                  </a:moveTo>
                  <a:lnTo>
                    <a:pt x="618" y="1370"/>
                  </a:lnTo>
                  <a:lnTo>
                    <a:pt x="620" y="1370"/>
                  </a:lnTo>
                  <a:lnTo>
                    <a:pt x="620" y="1371"/>
                  </a:lnTo>
                  <a:close/>
                  <a:moveTo>
                    <a:pt x="596" y="1373"/>
                  </a:moveTo>
                  <a:lnTo>
                    <a:pt x="597" y="1373"/>
                  </a:lnTo>
                  <a:lnTo>
                    <a:pt x="597" y="1375"/>
                  </a:lnTo>
                  <a:lnTo>
                    <a:pt x="596" y="1375"/>
                  </a:lnTo>
                  <a:lnTo>
                    <a:pt x="594" y="1375"/>
                  </a:lnTo>
                  <a:lnTo>
                    <a:pt x="594" y="1373"/>
                  </a:lnTo>
                  <a:lnTo>
                    <a:pt x="594" y="1375"/>
                  </a:lnTo>
                  <a:lnTo>
                    <a:pt x="594" y="1373"/>
                  </a:lnTo>
                  <a:lnTo>
                    <a:pt x="592" y="1375"/>
                  </a:lnTo>
                  <a:lnTo>
                    <a:pt x="592" y="1373"/>
                  </a:lnTo>
                  <a:lnTo>
                    <a:pt x="591" y="1373"/>
                  </a:lnTo>
                  <a:lnTo>
                    <a:pt x="591" y="1371"/>
                  </a:lnTo>
                  <a:lnTo>
                    <a:pt x="589" y="1371"/>
                  </a:lnTo>
                  <a:lnTo>
                    <a:pt x="589" y="1370"/>
                  </a:lnTo>
                  <a:lnTo>
                    <a:pt x="591" y="1371"/>
                  </a:lnTo>
                  <a:lnTo>
                    <a:pt x="591" y="1370"/>
                  </a:lnTo>
                  <a:lnTo>
                    <a:pt x="592" y="1370"/>
                  </a:lnTo>
                  <a:lnTo>
                    <a:pt x="594" y="1370"/>
                  </a:lnTo>
                  <a:lnTo>
                    <a:pt x="596" y="1370"/>
                  </a:lnTo>
                  <a:lnTo>
                    <a:pt x="596" y="1371"/>
                  </a:lnTo>
                  <a:lnTo>
                    <a:pt x="596" y="1373"/>
                  </a:lnTo>
                  <a:lnTo>
                    <a:pt x="594" y="1371"/>
                  </a:lnTo>
                  <a:lnTo>
                    <a:pt x="596" y="1373"/>
                  </a:lnTo>
                  <a:close/>
                  <a:moveTo>
                    <a:pt x="615" y="1368"/>
                  </a:moveTo>
                  <a:lnTo>
                    <a:pt x="617" y="1368"/>
                  </a:lnTo>
                  <a:lnTo>
                    <a:pt x="615" y="1368"/>
                  </a:lnTo>
                  <a:close/>
                  <a:moveTo>
                    <a:pt x="615" y="1366"/>
                  </a:moveTo>
                  <a:lnTo>
                    <a:pt x="615" y="1368"/>
                  </a:lnTo>
                  <a:lnTo>
                    <a:pt x="614" y="1368"/>
                  </a:lnTo>
                  <a:lnTo>
                    <a:pt x="614" y="1366"/>
                  </a:lnTo>
                  <a:lnTo>
                    <a:pt x="615" y="1366"/>
                  </a:lnTo>
                  <a:close/>
                  <a:moveTo>
                    <a:pt x="609" y="1365"/>
                  </a:moveTo>
                  <a:lnTo>
                    <a:pt x="609" y="1366"/>
                  </a:lnTo>
                  <a:lnTo>
                    <a:pt x="609" y="1365"/>
                  </a:lnTo>
                  <a:close/>
                  <a:moveTo>
                    <a:pt x="607" y="1365"/>
                  </a:moveTo>
                  <a:lnTo>
                    <a:pt x="607" y="1366"/>
                  </a:lnTo>
                  <a:lnTo>
                    <a:pt x="607" y="1365"/>
                  </a:lnTo>
                  <a:close/>
                  <a:moveTo>
                    <a:pt x="605" y="1365"/>
                  </a:moveTo>
                  <a:lnTo>
                    <a:pt x="605" y="1366"/>
                  </a:lnTo>
                  <a:lnTo>
                    <a:pt x="604" y="1365"/>
                  </a:lnTo>
                  <a:lnTo>
                    <a:pt x="605" y="1366"/>
                  </a:lnTo>
                  <a:lnTo>
                    <a:pt x="605" y="1365"/>
                  </a:lnTo>
                  <a:close/>
                  <a:moveTo>
                    <a:pt x="614" y="1365"/>
                  </a:moveTo>
                  <a:lnTo>
                    <a:pt x="614" y="1366"/>
                  </a:lnTo>
                  <a:lnTo>
                    <a:pt x="614" y="1368"/>
                  </a:lnTo>
                  <a:lnTo>
                    <a:pt x="615" y="1368"/>
                  </a:lnTo>
                  <a:lnTo>
                    <a:pt x="615" y="1370"/>
                  </a:lnTo>
                  <a:lnTo>
                    <a:pt x="617" y="1368"/>
                  </a:lnTo>
                  <a:lnTo>
                    <a:pt x="618" y="1368"/>
                  </a:lnTo>
                  <a:lnTo>
                    <a:pt x="617" y="1370"/>
                  </a:lnTo>
                  <a:lnTo>
                    <a:pt x="618" y="1368"/>
                  </a:lnTo>
                  <a:lnTo>
                    <a:pt x="620" y="1368"/>
                  </a:lnTo>
                  <a:lnTo>
                    <a:pt x="620" y="1370"/>
                  </a:lnTo>
                  <a:lnTo>
                    <a:pt x="618" y="1370"/>
                  </a:lnTo>
                  <a:lnTo>
                    <a:pt x="618" y="1371"/>
                  </a:lnTo>
                  <a:lnTo>
                    <a:pt x="618" y="1370"/>
                  </a:lnTo>
                  <a:lnTo>
                    <a:pt x="618" y="1371"/>
                  </a:lnTo>
                  <a:lnTo>
                    <a:pt x="617" y="1371"/>
                  </a:lnTo>
                  <a:lnTo>
                    <a:pt x="618" y="1371"/>
                  </a:lnTo>
                  <a:lnTo>
                    <a:pt x="617" y="1373"/>
                  </a:lnTo>
                  <a:lnTo>
                    <a:pt x="617" y="1375"/>
                  </a:lnTo>
                  <a:lnTo>
                    <a:pt x="618" y="1375"/>
                  </a:lnTo>
                  <a:lnTo>
                    <a:pt x="618" y="1376"/>
                  </a:lnTo>
                  <a:lnTo>
                    <a:pt x="617" y="1378"/>
                  </a:lnTo>
                  <a:lnTo>
                    <a:pt x="617" y="1379"/>
                  </a:lnTo>
                  <a:lnTo>
                    <a:pt x="615" y="1379"/>
                  </a:lnTo>
                  <a:lnTo>
                    <a:pt x="612" y="1379"/>
                  </a:lnTo>
                  <a:lnTo>
                    <a:pt x="610" y="1381"/>
                  </a:lnTo>
                  <a:lnTo>
                    <a:pt x="609" y="1381"/>
                  </a:lnTo>
                  <a:lnTo>
                    <a:pt x="607" y="1381"/>
                  </a:lnTo>
                  <a:lnTo>
                    <a:pt x="605" y="1381"/>
                  </a:lnTo>
                  <a:lnTo>
                    <a:pt x="604" y="1381"/>
                  </a:lnTo>
                  <a:lnTo>
                    <a:pt x="604" y="1383"/>
                  </a:lnTo>
                  <a:lnTo>
                    <a:pt x="604" y="1381"/>
                  </a:lnTo>
                  <a:lnTo>
                    <a:pt x="602" y="1381"/>
                  </a:lnTo>
                  <a:lnTo>
                    <a:pt x="604" y="1381"/>
                  </a:lnTo>
                  <a:lnTo>
                    <a:pt x="602" y="1381"/>
                  </a:lnTo>
                  <a:lnTo>
                    <a:pt x="602" y="1379"/>
                  </a:lnTo>
                  <a:lnTo>
                    <a:pt x="601" y="1379"/>
                  </a:lnTo>
                  <a:lnTo>
                    <a:pt x="602" y="1379"/>
                  </a:lnTo>
                  <a:lnTo>
                    <a:pt x="601" y="1379"/>
                  </a:lnTo>
                  <a:lnTo>
                    <a:pt x="601" y="1378"/>
                  </a:lnTo>
                  <a:lnTo>
                    <a:pt x="599" y="1376"/>
                  </a:lnTo>
                  <a:lnTo>
                    <a:pt x="599" y="1375"/>
                  </a:lnTo>
                  <a:lnTo>
                    <a:pt x="601" y="1376"/>
                  </a:lnTo>
                  <a:lnTo>
                    <a:pt x="602" y="1376"/>
                  </a:lnTo>
                  <a:lnTo>
                    <a:pt x="604" y="1376"/>
                  </a:lnTo>
                  <a:lnTo>
                    <a:pt x="607" y="1378"/>
                  </a:lnTo>
                  <a:lnTo>
                    <a:pt x="607" y="1376"/>
                  </a:lnTo>
                  <a:lnTo>
                    <a:pt x="605" y="1376"/>
                  </a:lnTo>
                  <a:lnTo>
                    <a:pt x="604" y="1375"/>
                  </a:lnTo>
                  <a:lnTo>
                    <a:pt x="602" y="1375"/>
                  </a:lnTo>
                  <a:lnTo>
                    <a:pt x="599" y="1373"/>
                  </a:lnTo>
                  <a:lnTo>
                    <a:pt x="599" y="1371"/>
                  </a:lnTo>
                  <a:lnTo>
                    <a:pt x="601" y="1371"/>
                  </a:lnTo>
                  <a:lnTo>
                    <a:pt x="602" y="1371"/>
                  </a:lnTo>
                  <a:lnTo>
                    <a:pt x="601" y="1370"/>
                  </a:lnTo>
                  <a:lnTo>
                    <a:pt x="601" y="1368"/>
                  </a:lnTo>
                  <a:lnTo>
                    <a:pt x="601" y="1366"/>
                  </a:lnTo>
                  <a:lnTo>
                    <a:pt x="602" y="1366"/>
                  </a:lnTo>
                  <a:lnTo>
                    <a:pt x="604" y="1366"/>
                  </a:lnTo>
                  <a:lnTo>
                    <a:pt x="605" y="1366"/>
                  </a:lnTo>
                  <a:lnTo>
                    <a:pt x="607" y="1366"/>
                  </a:lnTo>
                  <a:lnTo>
                    <a:pt x="609" y="1366"/>
                  </a:lnTo>
                  <a:lnTo>
                    <a:pt x="610" y="1366"/>
                  </a:lnTo>
                  <a:lnTo>
                    <a:pt x="610" y="1365"/>
                  </a:lnTo>
                  <a:lnTo>
                    <a:pt x="610" y="1366"/>
                  </a:lnTo>
                  <a:lnTo>
                    <a:pt x="612" y="1366"/>
                  </a:lnTo>
                  <a:lnTo>
                    <a:pt x="612" y="1365"/>
                  </a:lnTo>
                  <a:lnTo>
                    <a:pt x="614" y="1365"/>
                  </a:lnTo>
                  <a:lnTo>
                    <a:pt x="612" y="1365"/>
                  </a:lnTo>
                  <a:lnTo>
                    <a:pt x="614" y="1365"/>
                  </a:lnTo>
                  <a:close/>
                  <a:moveTo>
                    <a:pt x="612" y="1365"/>
                  </a:moveTo>
                  <a:lnTo>
                    <a:pt x="610" y="1365"/>
                  </a:lnTo>
                  <a:lnTo>
                    <a:pt x="609" y="1365"/>
                  </a:lnTo>
                  <a:lnTo>
                    <a:pt x="610" y="1365"/>
                  </a:lnTo>
                  <a:lnTo>
                    <a:pt x="612" y="1365"/>
                  </a:lnTo>
                  <a:lnTo>
                    <a:pt x="612" y="1363"/>
                  </a:lnTo>
                  <a:lnTo>
                    <a:pt x="612" y="1365"/>
                  </a:lnTo>
                  <a:close/>
                  <a:moveTo>
                    <a:pt x="610" y="1363"/>
                  </a:moveTo>
                  <a:lnTo>
                    <a:pt x="610" y="1365"/>
                  </a:lnTo>
                  <a:lnTo>
                    <a:pt x="610" y="1363"/>
                  </a:lnTo>
                  <a:close/>
                  <a:moveTo>
                    <a:pt x="610" y="1365"/>
                  </a:moveTo>
                  <a:lnTo>
                    <a:pt x="609" y="1365"/>
                  </a:lnTo>
                  <a:lnTo>
                    <a:pt x="609" y="1363"/>
                  </a:lnTo>
                  <a:lnTo>
                    <a:pt x="610" y="1363"/>
                  </a:lnTo>
                  <a:lnTo>
                    <a:pt x="610" y="1365"/>
                  </a:lnTo>
                  <a:close/>
                  <a:moveTo>
                    <a:pt x="612" y="1363"/>
                  </a:moveTo>
                  <a:lnTo>
                    <a:pt x="614" y="1363"/>
                  </a:lnTo>
                  <a:lnTo>
                    <a:pt x="612" y="1365"/>
                  </a:lnTo>
                  <a:lnTo>
                    <a:pt x="612" y="1363"/>
                  </a:lnTo>
                  <a:close/>
                  <a:moveTo>
                    <a:pt x="604" y="1363"/>
                  </a:moveTo>
                  <a:lnTo>
                    <a:pt x="605" y="1363"/>
                  </a:lnTo>
                  <a:lnTo>
                    <a:pt x="604" y="1365"/>
                  </a:lnTo>
                  <a:lnTo>
                    <a:pt x="604" y="1363"/>
                  </a:lnTo>
                  <a:close/>
                  <a:moveTo>
                    <a:pt x="615" y="1362"/>
                  </a:moveTo>
                  <a:lnTo>
                    <a:pt x="617" y="1362"/>
                  </a:lnTo>
                  <a:lnTo>
                    <a:pt x="615" y="1362"/>
                  </a:lnTo>
                  <a:close/>
                  <a:moveTo>
                    <a:pt x="614" y="1362"/>
                  </a:moveTo>
                  <a:lnTo>
                    <a:pt x="614" y="1360"/>
                  </a:lnTo>
                  <a:lnTo>
                    <a:pt x="615" y="1362"/>
                  </a:lnTo>
                  <a:lnTo>
                    <a:pt x="614" y="1362"/>
                  </a:lnTo>
                  <a:close/>
                  <a:moveTo>
                    <a:pt x="617" y="1362"/>
                  </a:moveTo>
                  <a:lnTo>
                    <a:pt x="615" y="1362"/>
                  </a:lnTo>
                  <a:lnTo>
                    <a:pt x="617" y="1362"/>
                  </a:lnTo>
                  <a:lnTo>
                    <a:pt x="617" y="1360"/>
                  </a:lnTo>
                  <a:lnTo>
                    <a:pt x="617" y="1362"/>
                  </a:lnTo>
                  <a:close/>
                  <a:moveTo>
                    <a:pt x="618" y="1360"/>
                  </a:moveTo>
                  <a:lnTo>
                    <a:pt x="618" y="1362"/>
                  </a:lnTo>
                  <a:lnTo>
                    <a:pt x="618" y="1360"/>
                  </a:lnTo>
                  <a:close/>
                  <a:moveTo>
                    <a:pt x="581" y="1360"/>
                  </a:moveTo>
                  <a:lnTo>
                    <a:pt x="583" y="1360"/>
                  </a:lnTo>
                  <a:lnTo>
                    <a:pt x="581" y="1360"/>
                  </a:lnTo>
                  <a:close/>
                  <a:moveTo>
                    <a:pt x="597" y="1362"/>
                  </a:moveTo>
                  <a:lnTo>
                    <a:pt x="597" y="1363"/>
                  </a:lnTo>
                  <a:lnTo>
                    <a:pt x="597" y="1362"/>
                  </a:lnTo>
                  <a:lnTo>
                    <a:pt x="596" y="1362"/>
                  </a:lnTo>
                  <a:lnTo>
                    <a:pt x="597" y="1362"/>
                  </a:lnTo>
                  <a:lnTo>
                    <a:pt x="596" y="1362"/>
                  </a:lnTo>
                  <a:lnTo>
                    <a:pt x="597" y="1362"/>
                  </a:lnTo>
                  <a:lnTo>
                    <a:pt x="596" y="1360"/>
                  </a:lnTo>
                  <a:lnTo>
                    <a:pt x="597" y="1360"/>
                  </a:lnTo>
                  <a:lnTo>
                    <a:pt x="599" y="1360"/>
                  </a:lnTo>
                  <a:lnTo>
                    <a:pt x="599" y="1362"/>
                  </a:lnTo>
                  <a:lnTo>
                    <a:pt x="597" y="1362"/>
                  </a:lnTo>
                  <a:close/>
                  <a:moveTo>
                    <a:pt x="617" y="1360"/>
                  </a:moveTo>
                  <a:lnTo>
                    <a:pt x="617" y="1358"/>
                  </a:lnTo>
                  <a:lnTo>
                    <a:pt x="617" y="1360"/>
                  </a:lnTo>
                  <a:lnTo>
                    <a:pt x="618" y="1360"/>
                  </a:lnTo>
                  <a:lnTo>
                    <a:pt x="617" y="1360"/>
                  </a:lnTo>
                  <a:lnTo>
                    <a:pt x="615" y="1360"/>
                  </a:lnTo>
                  <a:lnTo>
                    <a:pt x="617" y="1360"/>
                  </a:lnTo>
                  <a:close/>
                  <a:moveTo>
                    <a:pt x="615" y="1358"/>
                  </a:moveTo>
                  <a:lnTo>
                    <a:pt x="614" y="1358"/>
                  </a:lnTo>
                  <a:lnTo>
                    <a:pt x="614" y="1360"/>
                  </a:lnTo>
                  <a:lnTo>
                    <a:pt x="614" y="1362"/>
                  </a:lnTo>
                  <a:lnTo>
                    <a:pt x="614" y="1363"/>
                  </a:lnTo>
                  <a:lnTo>
                    <a:pt x="612" y="1363"/>
                  </a:lnTo>
                  <a:lnTo>
                    <a:pt x="610" y="1363"/>
                  </a:lnTo>
                  <a:lnTo>
                    <a:pt x="610" y="1362"/>
                  </a:lnTo>
                  <a:lnTo>
                    <a:pt x="609" y="1363"/>
                  </a:lnTo>
                  <a:lnTo>
                    <a:pt x="609" y="1362"/>
                  </a:lnTo>
                  <a:lnTo>
                    <a:pt x="610" y="1362"/>
                  </a:lnTo>
                  <a:lnTo>
                    <a:pt x="609" y="1362"/>
                  </a:lnTo>
                  <a:lnTo>
                    <a:pt x="609" y="1363"/>
                  </a:lnTo>
                  <a:lnTo>
                    <a:pt x="607" y="1363"/>
                  </a:lnTo>
                  <a:lnTo>
                    <a:pt x="609" y="1363"/>
                  </a:lnTo>
                  <a:lnTo>
                    <a:pt x="607" y="1363"/>
                  </a:lnTo>
                  <a:lnTo>
                    <a:pt x="605" y="1363"/>
                  </a:lnTo>
                  <a:lnTo>
                    <a:pt x="605" y="1362"/>
                  </a:lnTo>
                  <a:lnTo>
                    <a:pt x="604" y="1362"/>
                  </a:lnTo>
                  <a:lnTo>
                    <a:pt x="604" y="1360"/>
                  </a:lnTo>
                  <a:lnTo>
                    <a:pt x="605" y="1360"/>
                  </a:lnTo>
                  <a:lnTo>
                    <a:pt x="607" y="1360"/>
                  </a:lnTo>
                  <a:lnTo>
                    <a:pt x="609" y="1360"/>
                  </a:lnTo>
                  <a:lnTo>
                    <a:pt x="610" y="1360"/>
                  </a:lnTo>
                  <a:lnTo>
                    <a:pt x="609" y="1360"/>
                  </a:lnTo>
                  <a:lnTo>
                    <a:pt x="610" y="1362"/>
                  </a:lnTo>
                  <a:lnTo>
                    <a:pt x="610" y="1360"/>
                  </a:lnTo>
                  <a:lnTo>
                    <a:pt x="610" y="1358"/>
                  </a:lnTo>
                  <a:lnTo>
                    <a:pt x="609" y="1358"/>
                  </a:lnTo>
                  <a:lnTo>
                    <a:pt x="610" y="1357"/>
                  </a:lnTo>
                  <a:lnTo>
                    <a:pt x="612" y="1357"/>
                  </a:lnTo>
                  <a:lnTo>
                    <a:pt x="612" y="1358"/>
                  </a:lnTo>
                  <a:lnTo>
                    <a:pt x="614" y="1358"/>
                  </a:lnTo>
                  <a:lnTo>
                    <a:pt x="614" y="1357"/>
                  </a:lnTo>
                  <a:lnTo>
                    <a:pt x="615" y="1357"/>
                  </a:lnTo>
                  <a:lnTo>
                    <a:pt x="615" y="1358"/>
                  </a:lnTo>
                  <a:close/>
                  <a:moveTo>
                    <a:pt x="612" y="1357"/>
                  </a:moveTo>
                  <a:lnTo>
                    <a:pt x="612" y="1355"/>
                  </a:lnTo>
                  <a:lnTo>
                    <a:pt x="612" y="1357"/>
                  </a:lnTo>
                  <a:close/>
                  <a:moveTo>
                    <a:pt x="617" y="1357"/>
                  </a:moveTo>
                  <a:lnTo>
                    <a:pt x="617" y="1355"/>
                  </a:lnTo>
                  <a:lnTo>
                    <a:pt x="617" y="1357"/>
                  </a:lnTo>
                  <a:close/>
                  <a:moveTo>
                    <a:pt x="601" y="1355"/>
                  </a:moveTo>
                  <a:lnTo>
                    <a:pt x="602" y="1355"/>
                  </a:lnTo>
                  <a:lnTo>
                    <a:pt x="602" y="1357"/>
                  </a:lnTo>
                  <a:lnTo>
                    <a:pt x="604" y="1358"/>
                  </a:lnTo>
                  <a:lnTo>
                    <a:pt x="604" y="1357"/>
                  </a:lnTo>
                  <a:lnTo>
                    <a:pt x="604" y="1358"/>
                  </a:lnTo>
                  <a:lnTo>
                    <a:pt x="605" y="1358"/>
                  </a:lnTo>
                  <a:lnTo>
                    <a:pt x="605" y="1360"/>
                  </a:lnTo>
                  <a:lnTo>
                    <a:pt x="604" y="1360"/>
                  </a:lnTo>
                  <a:lnTo>
                    <a:pt x="602" y="1360"/>
                  </a:lnTo>
                  <a:lnTo>
                    <a:pt x="601" y="1362"/>
                  </a:lnTo>
                  <a:lnTo>
                    <a:pt x="599" y="1362"/>
                  </a:lnTo>
                  <a:lnTo>
                    <a:pt x="599" y="1360"/>
                  </a:lnTo>
                  <a:lnTo>
                    <a:pt x="599" y="1358"/>
                  </a:lnTo>
                  <a:lnTo>
                    <a:pt x="599" y="1357"/>
                  </a:lnTo>
                  <a:lnTo>
                    <a:pt x="597" y="1357"/>
                  </a:lnTo>
                  <a:lnTo>
                    <a:pt x="597" y="1355"/>
                  </a:lnTo>
                  <a:lnTo>
                    <a:pt x="599" y="1355"/>
                  </a:lnTo>
                  <a:lnTo>
                    <a:pt x="601" y="1355"/>
                  </a:lnTo>
                  <a:close/>
                  <a:moveTo>
                    <a:pt x="605" y="1355"/>
                  </a:moveTo>
                  <a:lnTo>
                    <a:pt x="607" y="1355"/>
                  </a:lnTo>
                  <a:lnTo>
                    <a:pt x="609" y="1355"/>
                  </a:lnTo>
                  <a:lnTo>
                    <a:pt x="610" y="1355"/>
                  </a:lnTo>
                  <a:lnTo>
                    <a:pt x="610" y="1357"/>
                  </a:lnTo>
                  <a:lnTo>
                    <a:pt x="609" y="1357"/>
                  </a:lnTo>
                  <a:lnTo>
                    <a:pt x="607" y="1357"/>
                  </a:lnTo>
                  <a:lnTo>
                    <a:pt x="605" y="1357"/>
                  </a:lnTo>
                  <a:lnTo>
                    <a:pt x="605" y="1355"/>
                  </a:lnTo>
                  <a:close/>
                  <a:moveTo>
                    <a:pt x="618" y="1353"/>
                  </a:moveTo>
                  <a:lnTo>
                    <a:pt x="618" y="1355"/>
                  </a:lnTo>
                  <a:lnTo>
                    <a:pt x="618" y="1353"/>
                  </a:lnTo>
                  <a:close/>
                  <a:moveTo>
                    <a:pt x="618" y="1350"/>
                  </a:moveTo>
                  <a:lnTo>
                    <a:pt x="618" y="1352"/>
                  </a:lnTo>
                  <a:lnTo>
                    <a:pt x="618" y="1350"/>
                  </a:lnTo>
                  <a:close/>
                  <a:moveTo>
                    <a:pt x="627" y="1350"/>
                  </a:moveTo>
                  <a:lnTo>
                    <a:pt x="628" y="1349"/>
                  </a:lnTo>
                  <a:lnTo>
                    <a:pt x="630" y="1349"/>
                  </a:lnTo>
                  <a:lnTo>
                    <a:pt x="631" y="1350"/>
                  </a:lnTo>
                  <a:lnTo>
                    <a:pt x="633" y="1350"/>
                  </a:lnTo>
                  <a:lnTo>
                    <a:pt x="633" y="1352"/>
                  </a:lnTo>
                  <a:lnTo>
                    <a:pt x="633" y="1355"/>
                  </a:lnTo>
                  <a:lnTo>
                    <a:pt x="635" y="1355"/>
                  </a:lnTo>
                  <a:lnTo>
                    <a:pt x="635" y="1357"/>
                  </a:lnTo>
                  <a:lnTo>
                    <a:pt x="633" y="1357"/>
                  </a:lnTo>
                  <a:lnTo>
                    <a:pt x="633" y="1358"/>
                  </a:lnTo>
                  <a:lnTo>
                    <a:pt x="635" y="1358"/>
                  </a:lnTo>
                  <a:lnTo>
                    <a:pt x="636" y="1358"/>
                  </a:lnTo>
                  <a:lnTo>
                    <a:pt x="636" y="1360"/>
                  </a:lnTo>
                  <a:lnTo>
                    <a:pt x="638" y="1360"/>
                  </a:lnTo>
                  <a:lnTo>
                    <a:pt x="636" y="1360"/>
                  </a:lnTo>
                  <a:lnTo>
                    <a:pt x="636" y="1362"/>
                  </a:lnTo>
                  <a:lnTo>
                    <a:pt x="638" y="1360"/>
                  </a:lnTo>
                  <a:lnTo>
                    <a:pt x="640" y="1360"/>
                  </a:lnTo>
                  <a:lnTo>
                    <a:pt x="638" y="1362"/>
                  </a:lnTo>
                  <a:lnTo>
                    <a:pt x="636" y="1362"/>
                  </a:lnTo>
                  <a:lnTo>
                    <a:pt x="636" y="1363"/>
                  </a:lnTo>
                  <a:lnTo>
                    <a:pt x="635" y="1363"/>
                  </a:lnTo>
                  <a:lnTo>
                    <a:pt x="635" y="1365"/>
                  </a:lnTo>
                  <a:lnTo>
                    <a:pt x="633" y="1365"/>
                  </a:lnTo>
                  <a:lnTo>
                    <a:pt x="631" y="1366"/>
                  </a:lnTo>
                  <a:lnTo>
                    <a:pt x="628" y="1368"/>
                  </a:lnTo>
                  <a:lnTo>
                    <a:pt x="628" y="1370"/>
                  </a:lnTo>
                  <a:lnTo>
                    <a:pt x="627" y="1371"/>
                  </a:lnTo>
                  <a:lnTo>
                    <a:pt x="625" y="1373"/>
                  </a:lnTo>
                  <a:lnTo>
                    <a:pt x="625" y="1375"/>
                  </a:lnTo>
                  <a:lnTo>
                    <a:pt x="623" y="1375"/>
                  </a:lnTo>
                  <a:lnTo>
                    <a:pt x="623" y="1373"/>
                  </a:lnTo>
                  <a:lnTo>
                    <a:pt x="622" y="1375"/>
                  </a:lnTo>
                  <a:lnTo>
                    <a:pt x="622" y="1373"/>
                  </a:lnTo>
                  <a:lnTo>
                    <a:pt x="620" y="1375"/>
                  </a:lnTo>
                  <a:lnTo>
                    <a:pt x="618" y="1373"/>
                  </a:lnTo>
                  <a:lnTo>
                    <a:pt x="620" y="1373"/>
                  </a:lnTo>
                  <a:lnTo>
                    <a:pt x="620" y="1371"/>
                  </a:lnTo>
                  <a:lnTo>
                    <a:pt x="622" y="1371"/>
                  </a:lnTo>
                  <a:lnTo>
                    <a:pt x="622" y="1370"/>
                  </a:lnTo>
                  <a:lnTo>
                    <a:pt x="622" y="1368"/>
                  </a:lnTo>
                  <a:lnTo>
                    <a:pt x="620" y="1368"/>
                  </a:lnTo>
                  <a:lnTo>
                    <a:pt x="620" y="1370"/>
                  </a:lnTo>
                  <a:lnTo>
                    <a:pt x="620" y="1368"/>
                  </a:lnTo>
                  <a:lnTo>
                    <a:pt x="620" y="1366"/>
                  </a:lnTo>
                  <a:lnTo>
                    <a:pt x="622" y="1366"/>
                  </a:lnTo>
                  <a:lnTo>
                    <a:pt x="620" y="1365"/>
                  </a:lnTo>
                  <a:lnTo>
                    <a:pt x="618" y="1366"/>
                  </a:lnTo>
                  <a:lnTo>
                    <a:pt x="617" y="1366"/>
                  </a:lnTo>
                  <a:lnTo>
                    <a:pt x="615" y="1366"/>
                  </a:lnTo>
                  <a:lnTo>
                    <a:pt x="617" y="1366"/>
                  </a:lnTo>
                  <a:lnTo>
                    <a:pt x="615" y="1366"/>
                  </a:lnTo>
                  <a:lnTo>
                    <a:pt x="615" y="1365"/>
                  </a:lnTo>
                  <a:lnTo>
                    <a:pt x="617" y="1365"/>
                  </a:lnTo>
                  <a:lnTo>
                    <a:pt x="617" y="1366"/>
                  </a:lnTo>
                  <a:lnTo>
                    <a:pt x="617" y="1365"/>
                  </a:lnTo>
                  <a:lnTo>
                    <a:pt x="617" y="1363"/>
                  </a:lnTo>
                  <a:lnTo>
                    <a:pt x="615" y="1363"/>
                  </a:lnTo>
                  <a:lnTo>
                    <a:pt x="617" y="1363"/>
                  </a:lnTo>
                  <a:lnTo>
                    <a:pt x="617" y="1362"/>
                  </a:lnTo>
                  <a:lnTo>
                    <a:pt x="617" y="1363"/>
                  </a:lnTo>
                  <a:lnTo>
                    <a:pt x="617" y="1362"/>
                  </a:lnTo>
                  <a:lnTo>
                    <a:pt x="617" y="1363"/>
                  </a:lnTo>
                  <a:lnTo>
                    <a:pt x="617" y="1362"/>
                  </a:lnTo>
                  <a:lnTo>
                    <a:pt x="618" y="1362"/>
                  </a:lnTo>
                  <a:lnTo>
                    <a:pt x="617" y="1362"/>
                  </a:lnTo>
                  <a:lnTo>
                    <a:pt x="618" y="1362"/>
                  </a:lnTo>
                  <a:lnTo>
                    <a:pt x="618" y="1363"/>
                  </a:lnTo>
                  <a:lnTo>
                    <a:pt x="620" y="1363"/>
                  </a:lnTo>
                  <a:lnTo>
                    <a:pt x="620" y="1362"/>
                  </a:lnTo>
                  <a:lnTo>
                    <a:pt x="620" y="1363"/>
                  </a:lnTo>
                  <a:lnTo>
                    <a:pt x="622" y="1363"/>
                  </a:lnTo>
                  <a:lnTo>
                    <a:pt x="622" y="1365"/>
                  </a:lnTo>
                  <a:lnTo>
                    <a:pt x="622" y="1363"/>
                  </a:lnTo>
                  <a:lnTo>
                    <a:pt x="622" y="1362"/>
                  </a:lnTo>
                  <a:lnTo>
                    <a:pt x="622" y="1360"/>
                  </a:lnTo>
                  <a:lnTo>
                    <a:pt x="620" y="1360"/>
                  </a:lnTo>
                  <a:lnTo>
                    <a:pt x="620" y="1362"/>
                  </a:lnTo>
                  <a:lnTo>
                    <a:pt x="618" y="1360"/>
                  </a:lnTo>
                  <a:lnTo>
                    <a:pt x="620" y="1360"/>
                  </a:lnTo>
                  <a:lnTo>
                    <a:pt x="620" y="1358"/>
                  </a:lnTo>
                  <a:lnTo>
                    <a:pt x="620" y="1357"/>
                  </a:lnTo>
                  <a:lnTo>
                    <a:pt x="620" y="1355"/>
                  </a:lnTo>
                  <a:lnTo>
                    <a:pt x="620" y="1353"/>
                  </a:lnTo>
                  <a:lnTo>
                    <a:pt x="622" y="1353"/>
                  </a:lnTo>
                  <a:lnTo>
                    <a:pt x="622" y="1352"/>
                  </a:lnTo>
                  <a:lnTo>
                    <a:pt x="623" y="1350"/>
                  </a:lnTo>
                  <a:lnTo>
                    <a:pt x="625" y="1350"/>
                  </a:lnTo>
                  <a:lnTo>
                    <a:pt x="627" y="1350"/>
                  </a:lnTo>
                  <a:close/>
                  <a:moveTo>
                    <a:pt x="604" y="1349"/>
                  </a:moveTo>
                  <a:lnTo>
                    <a:pt x="605" y="1350"/>
                  </a:lnTo>
                  <a:lnTo>
                    <a:pt x="607" y="1350"/>
                  </a:lnTo>
                  <a:lnTo>
                    <a:pt x="607" y="1352"/>
                  </a:lnTo>
                  <a:lnTo>
                    <a:pt x="609" y="1352"/>
                  </a:lnTo>
                  <a:lnTo>
                    <a:pt x="609" y="1350"/>
                  </a:lnTo>
                  <a:lnTo>
                    <a:pt x="609" y="1352"/>
                  </a:lnTo>
                  <a:lnTo>
                    <a:pt x="609" y="1353"/>
                  </a:lnTo>
                  <a:lnTo>
                    <a:pt x="607" y="1353"/>
                  </a:lnTo>
                  <a:lnTo>
                    <a:pt x="605" y="1353"/>
                  </a:lnTo>
                  <a:lnTo>
                    <a:pt x="605" y="1352"/>
                  </a:lnTo>
                  <a:lnTo>
                    <a:pt x="604" y="1350"/>
                  </a:lnTo>
                  <a:lnTo>
                    <a:pt x="604" y="1349"/>
                  </a:lnTo>
                  <a:close/>
                  <a:moveTo>
                    <a:pt x="615" y="1347"/>
                  </a:moveTo>
                  <a:lnTo>
                    <a:pt x="617" y="1347"/>
                  </a:lnTo>
                  <a:lnTo>
                    <a:pt x="617" y="1349"/>
                  </a:lnTo>
                  <a:lnTo>
                    <a:pt x="615" y="1347"/>
                  </a:lnTo>
                  <a:close/>
                  <a:moveTo>
                    <a:pt x="653" y="1347"/>
                  </a:moveTo>
                  <a:lnTo>
                    <a:pt x="653" y="1349"/>
                  </a:lnTo>
                  <a:lnTo>
                    <a:pt x="654" y="1349"/>
                  </a:lnTo>
                  <a:lnTo>
                    <a:pt x="656" y="1349"/>
                  </a:lnTo>
                  <a:lnTo>
                    <a:pt x="654" y="1350"/>
                  </a:lnTo>
                  <a:lnTo>
                    <a:pt x="654" y="1349"/>
                  </a:lnTo>
                  <a:lnTo>
                    <a:pt x="653" y="1349"/>
                  </a:lnTo>
                  <a:lnTo>
                    <a:pt x="654" y="1349"/>
                  </a:lnTo>
                  <a:lnTo>
                    <a:pt x="653" y="1349"/>
                  </a:lnTo>
                  <a:lnTo>
                    <a:pt x="651" y="1349"/>
                  </a:lnTo>
                  <a:lnTo>
                    <a:pt x="651" y="1347"/>
                  </a:lnTo>
                  <a:lnTo>
                    <a:pt x="653" y="1347"/>
                  </a:lnTo>
                  <a:close/>
                  <a:moveTo>
                    <a:pt x="644" y="1347"/>
                  </a:moveTo>
                  <a:lnTo>
                    <a:pt x="646" y="1347"/>
                  </a:lnTo>
                  <a:lnTo>
                    <a:pt x="644" y="1347"/>
                  </a:lnTo>
                  <a:lnTo>
                    <a:pt x="646" y="1347"/>
                  </a:lnTo>
                  <a:lnTo>
                    <a:pt x="644" y="1347"/>
                  </a:lnTo>
                  <a:close/>
                  <a:moveTo>
                    <a:pt x="679" y="1344"/>
                  </a:moveTo>
                  <a:lnTo>
                    <a:pt x="680" y="1344"/>
                  </a:lnTo>
                  <a:lnTo>
                    <a:pt x="680" y="1345"/>
                  </a:lnTo>
                  <a:lnTo>
                    <a:pt x="679" y="1344"/>
                  </a:lnTo>
                  <a:close/>
                  <a:moveTo>
                    <a:pt x="646" y="1345"/>
                  </a:moveTo>
                  <a:lnTo>
                    <a:pt x="646" y="1344"/>
                  </a:lnTo>
                  <a:lnTo>
                    <a:pt x="646" y="1345"/>
                  </a:lnTo>
                  <a:close/>
                  <a:moveTo>
                    <a:pt x="651" y="1342"/>
                  </a:moveTo>
                  <a:lnTo>
                    <a:pt x="651" y="1344"/>
                  </a:lnTo>
                  <a:lnTo>
                    <a:pt x="651" y="1342"/>
                  </a:lnTo>
                  <a:lnTo>
                    <a:pt x="653" y="1342"/>
                  </a:lnTo>
                  <a:lnTo>
                    <a:pt x="651" y="1342"/>
                  </a:lnTo>
                  <a:close/>
                  <a:moveTo>
                    <a:pt x="653" y="1342"/>
                  </a:moveTo>
                  <a:lnTo>
                    <a:pt x="654" y="1342"/>
                  </a:lnTo>
                  <a:lnTo>
                    <a:pt x="653" y="1342"/>
                  </a:lnTo>
                  <a:close/>
                  <a:moveTo>
                    <a:pt x="656" y="1342"/>
                  </a:moveTo>
                  <a:lnTo>
                    <a:pt x="656" y="1340"/>
                  </a:lnTo>
                  <a:lnTo>
                    <a:pt x="657" y="1340"/>
                  </a:lnTo>
                  <a:lnTo>
                    <a:pt x="657" y="1342"/>
                  </a:lnTo>
                  <a:lnTo>
                    <a:pt x="656" y="1342"/>
                  </a:lnTo>
                  <a:close/>
                  <a:moveTo>
                    <a:pt x="636" y="1340"/>
                  </a:moveTo>
                  <a:lnTo>
                    <a:pt x="638" y="1340"/>
                  </a:lnTo>
                  <a:lnTo>
                    <a:pt x="636" y="1340"/>
                  </a:lnTo>
                  <a:close/>
                  <a:moveTo>
                    <a:pt x="631" y="1340"/>
                  </a:moveTo>
                  <a:lnTo>
                    <a:pt x="633" y="1340"/>
                  </a:lnTo>
                  <a:lnTo>
                    <a:pt x="635" y="1340"/>
                  </a:lnTo>
                  <a:lnTo>
                    <a:pt x="636" y="1340"/>
                  </a:lnTo>
                  <a:lnTo>
                    <a:pt x="636" y="1342"/>
                  </a:lnTo>
                  <a:lnTo>
                    <a:pt x="635" y="1342"/>
                  </a:lnTo>
                  <a:lnTo>
                    <a:pt x="635" y="1344"/>
                  </a:lnTo>
                  <a:lnTo>
                    <a:pt x="633" y="1344"/>
                  </a:lnTo>
                  <a:lnTo>
                    <a:pt x="631" y="1344"/>
                  </a:lnTo>
                  <a:lnTo>
                    <a:pt x="628" y="1344"/>
                  </a:lnTo>
                  <a:lnTo>
                    <a:pt x="628" y="1342"/>
                  </a:lnTo>
                  <a:lnTo>
                    <a:pt x="630" y="1342"/>
                  </a:lnTo>
                  <a:lnTo>
                    <a:pt x="630" y="1340"/>
                  </a:lnTo>
                  <a:lnTo>
                    <a:pt x="631" y="1340"/>
                  </a:lnTo>
                  <a:close/>
                  <a:moveTo>
                    <a:pt x="662" y="1340"/>
                  </a:moveTo>
                  <a:lnTo>
                    <a:pt x="662" y="1339"/>
                  </a:lnTo>
                  <a:lnTo>
                    <a:pt x="664" y="1339"/>
                  </a:lnTo>
                  <a:lnTo>
                    <a:pt x="664" y="1340"/>
                  </a:lnTo>
                  <a:lnTo>
                    <a:pt x="662" y="1340"/>
                  </a:lnTo>
                  <a:close/>
                  <a:moveTo>
                    <a:pt x="667" y="1340"/>
                  </a:moveTo>
                  <a:lnTo>
                    <a:pt x="666" y="1340"/>
                  </a:lnTo>
                  <a:lnTo>
                    <a:pt x="667" y="1339"/>
                  </a:lnTo>
                  <a:lnTo>
                    <a:pt x="667" y="1340"/>
                  </a:lnTo>
                  <a:close/>
                  <a:moveTo>
                    <a:pt x="671" y="1339"/>
                  </a:moveTo>
                  <a:lnTo>
                    <a:pt x="672" y="1339"/>
                  </a:lnTo>
                  <a:lnTo>
                    <a:pt x="671" y="1340"/>
                  </a:lnTo>
                  <a:lnTo>
                    <a:pt x="671" y="1339"/>
                  </a:lnTo>
                  <a:close/>
                  <a:moveTo>
                    <a:pt x="640" y="1339"/>
                  </a:moveTo>
                  <a:lnTo>
                    <a:pt x="638" y="1339"/>
                  </a:lnTo>
                  <a:lnTo>
                    <a:pt x="638" y="1337"/>
                  </a:lnTo>
                  <a:lnTo>
                    <a:pt x="640" y="1337"/>
                  </a:lnTo>
                  <a:lnTo>
                    <a:pt x="640" y="1339"/>
                  </a:lnTo>
                  <a:close/>
                  <a:moveTo>
                    <a:pt x="661" y="1339"/>
                  </a:moveTo>
                  <a:lnTo>
                    <a:pt x="662" y="1337"/>
                  </a:lnTo>
                  <a:lnTo>
                    <a:pt x="664" y="1337"/>
                  </a:lnTo>
                  <a:lnTo>
                    <a:pt x="664" y="1339"/>
                  </a:lnTo>
                  <a:lnTo>
                    <a:pt x="662" y="1339"/>
                  </a:lnTo>
                  <a:lnTo>
                    <a:pt x="659" y="1340"/>
                  </a:lnTo>
                  <a:lnTo>
                    <a:pt x="657" y="1342"/>
                  </a:lnTo>
                  <a:lnTo>
                    <a:pt x="657" y="1340"/>
                  </a:lnTo>
                  <a:lnTo>
                    <a:pt x="657" y="1342"/>
                  </a:lnTo>
                  <a:lnTo>
                    <a:pt x="657" y="1340"/>
                  </a:lnTo>
                  <a:lnTo>
                    <a:pt x="656" y="1340"/>
                  </a:lnTo>
                  <a:lnTo>
                    <a:pt x="654" y="1340"/>
                  </a:lnTo>
                  <a:lnTo>
                    <a:pt x="653" y="1342"/>
                  </a:lnTo>
                  <a:lnTo>
                    <a:pt x="651" y="1342"/>
                  </a:lnTo>
                  <a:lnTo>
                    <a:pt x="651" y="1340"/>
                  </a:lnTo>
                  <a:lnTo>
                    <a:pt x="649" y="1340"/>
                  </a:lnTo>
                  <a:lnTo>
                    <a:pt x="648" y="1340"/>
                  </a:lnTo>
                  <a:lnTo>
                    <a:pt x="646" y="1340"/>
                  </a:lnTo>
                  <a:lnTo>
                    <a:pt x="644" y="1340"/>
                  </a:lnTo>
                  <a:lnTo>
                    <a:pt x="644" y="1339"/>
                  </a:lnTo>
                  <a:lnTo>
                    <a:pt x="648" y="1339"/>
                  </a:lnTo>
                  <a:lnTo>
                    <a:pt x="649" y="1339"/>
                  </a:lnTo>
                  <a:lnTo>
                    <a:pt x="649" y="1337"/>
                  </a:lnTo>
                  <a:lnTo>
                    <a:pt x="651" y="1339"/>
                  </a:lnTo>
                  <a:lnTo>
                    <a:pt x="651" y="1337"/>
                  </a:lnTo>
                  <a:lnTo>
                    <a:pt x="653" y="1337"/>
                  </a:lnTo>
                  <a:lnTo>
                    <a:pt x="654" y="1337"/>
                  </a:lnTo>
                  <a:lnTo>
                    <a:pt x="654" y="1339"/>
                  </a:lnTo>
                  <a:lnTo>
                    <a:pt x="656" y="1339"/>
                  </a:lnTo>
                  <a:lnTo>
                    <a:pt x="657" y="1339"/>
                  </a:lnTo>
                  <a:lnTo>
                    <a:pt x="659" y="1339"/>
                  </a:lnTo>
                  <a:lnTo>
                    <a:pt x="661" y="1339"/>
                  </a:lnTo>
                  <a:close/>
                  <a:moveTo>
                    <a:pt x="644" y="1337"/>
                  </a:moveTo>
                  <a:lnTo>
                    <a:pt x="643" y="1337"/>
                  </a:lnTo>
                  <a:lnTo>
                    <a:pt x="643" y="1339"/>
                  </a:lnTo>
                  <a:lnTo>
                    <a:pt x="643" y="1337"/>
                  </a:lnTo>
                  <a:lnTo>
                    <a:pt x="644" y="1337"/>
                  </a:lnTo>
                  <a:close/>
                  <a:moveTo>
                    <a:pt x="638" y="1337"/>
                  </a:moveTo>
                  <a:lnTo>
                    <a:pt x="638" y="1339"/>
                  </a:lnTo>
                  <a:lnTo>
                    <a:pt x="636" y="1339"/>
                  </a:lnTo>
                  <a:lnTo>
                    <a:pt x="635" y="1339"/>
                  </a:lnTo>
                  <a:lnTo>
                    <a:pt x="635" y="1337"/>
                  </a:lnTo>
                  <a:lnTo>
                    <a:pt x="636" y="1337"/>
                  </a:lnTo>
                  <a:lnTo>
                    <a:pt x="638" y="1337"/>
                  </a:lnTo>
                  <a:close/>
                  <a:moveTo>
                    <a:pt x="646" y="1337"/>
                  </a:moveTo>
                  <a:lnTo>
                    <a:pt x="646" y="1336"/>
                  </a:lnTo>
                  <a:lnTo>
                    <a:pt x="646" y="1337"/>
                  </a:lnTo>
                  <a:close/>
                  <a:moveTo>
                    <a:pt x="627" y="1336"/>
                  </a:moveTo>
                  <a:lnTo>
                    <a:pt x="628" y="1336"/>
                  </a:lnTo>
                  <a:lnTo>
                    <a:pt x="627" y="1336"/>
                  </a:lnTo>
                  <a:close/>
                  <a:moveTo>
                    <a:pt x="649" y="1336"/>
                  </a:moveTo>
                  <a:lnTo>
                    <a:pt x="648" y="1336"/>
                  </a:lnTo>
                  <a:lnTo>
                    <a:pt x="649" y="1336"/>
                  </a:lnTo>
                  <a:close/>
                  <a:moveTo>
                    <a:pt x="640" y="1336"/>
                  </a:moveTo>
                  <a:lnTo>
                    <a:pt x="641" y="1336"/>
                  </a:lnTo>
                  <a:lnTo>
                    <a:pt x="643" y="1336"/>
                  </a:lnTo>
                  <a:lnTo>
                    <a:pt x="643" y="1337"/>
                  </a:lnTo>
                  <a:lnTo>
                    <a:pt x="641" y="1337"/>
                  </a:lnTo>
                  <a:lnTo>
                    <a:pt x="643" y="1339"/>
                  </a:lnTo>
                  <a:lnTo>
                    <a:pt x="641" y="1340"/>
                  </a:lnTo>
                  <a:lnTo>
                    <a:pt x="640" y="1339"/>
                  </a:lnTo>
                  <a:lnTo>
                    <a:pt x="640" y="1337"/>
                  </a:lnTo>
                  <a:lnTo>
                    <a:pt x="640" y="1336"/>
                  </a:lnTo>
                  <a:close/>
                  <a:moveTo>
                    <a:pt x="649" y="1336"/>
                  </a:moveTo>
                  <a:lnTo>
                    <a:pt x="648" y="1336"/>
                  </a:lnTo>
                  <a:lnTo>
                    <a:pt x="649" y="1334"/>
                  </a:lnTo>
                  <a:lnTo>
                    <a:pt x="649" y="1336"/>
                  </a:lnTo>
                  <a:close/>
                  <a:moveTo>
                    <a:pt x="646" y="1334"/>
                  </a:moveTo>
                  <a:lnTo>
                    <a:pt x="646" y="1336"/>
                  </a:lnTo>
                  <a:lnTo>
                    <a:pt x="646" y="1334"/>
                  </a:lnTo>
                  <a:close/>
                  <a:moveTo>
                    <a:pt x="649" y="1334"/>
                  </a:moveTo>
                  <a:lnTo>
                    <a:pt x="651" y="1334"/>
                  </a:lnTo>
                  <a:lnTo>
                    <a:pt x="649" y="1334"/>
                  </a:lnTo>
                  <a:close/>
                  <a:moveTo>
                    <a:pt x="648" y="1336"/>
                  </a:moveTo>
                  <a:lnTo>
                    <a:pt x="646" y="1336"/>
                  </a:lnTo>
                  <a:lnTo>
                    <a:pt x="648" y="1336"/>
                  </a:lnTo>
                  <a:lnTo>
                    <a:pt x="648" y="1334"/>
                  </a:lnTo>
                  <a:lnTo>
                    <a:pt x="648" y="1336"/>
                  </a:lnTo>
                  <a:close/>
                  <a:moveTo>
                    <a:pt x="646" y="1334"/>
                  </a:moveTo>
                  <a:lnTo>
                    <a:pt x="646" y="1332"/>
                  </a:lnTo>
                  <a:lnTo>
                    <a:pt x="646" y="1334"/>
                  </a:lnTo>
                  <a:close/>
                  <a:moveTo>
                    <a:pt x="633" y="1332"/>
                  </a:moveTo>
                  <a:lnTo>
                    <a:pt x="635" y="1332"/>
                  </a:lnTo>
                  <a:lnTo>
                    <a:pt x="633" y="1332"/>
                  </a:lnTo>
                  <a:close/>
                  <a:moveTo>
                    <a:pt x="651" y="1332"/>
                  </a:moveTo>
                  <a:lnTo>
                    <a:pt x="649" y="1332"/>
                  </a:lnTo>
                  <a:lnTo>
                    <a:pt x="651" y="1331"/>
                  </a:lnTo>
                  <a:lnTo>
                    <a:pt x="651" y="1332"/>
                  </a:lnTo>
                  <a:close/>
                  <a:moveTo>
                    <a:pt x="630" y="1332"/>
                  </a:moveTo>
                  <a:lnTo>
                    <a:pt x="628" y="1331"/>
                  </a:lnTo>
                  <a:lnTo>
                    <a:pt x="630" y="1331"/>
                  </a:lnTo>
                  <a:lnTo>
                    <a:pt x="630" y="1332"/>
                  </a:lnTo>
                  <a:close/>
                  <a:moveTo>
                    <a:pt x="734" y="1331"/>
                  </a:moveTo>
                  <a:lnTo>
                    <a:pt x="736" y="1329"/>
                  </a:lnTo>
                  <a:lnTo>
                    <a:pt x="734" y="1331"/>
                  </a:lnTo>
                  <a:close/>
                  <a:moveTo>
                    <a:pt x="636" y="1329"/>
                  </a:moveTo>
                  <a:lnTo>
                    <a:pt x="638" y="1329"/>
                  </a:lnTo>
                  <a:lnTo>
                    <a:pt x="636" y="1329"/>
                  </a:lnTo>
                  <a:close/>
                  <a:moveTo>
                    <a:pt x="651" y="1329"/>
                  </a:moveTo>
                  <a:lnTo>
                    <a:pt x="649" y="1331"/>
                  </a:lnTo>
                  <a:lnTo>
                    <a:pt x="649" y="1332"/>
                  </a:lnTo>
                  <a:lnTo>
                    <a:pt x="648" y="1332"/>
                  </a:lnTo>
                  <a:lnTo>
                    <a:pt x="649" y="1332"/>
                  </a:lnTo>
                  <a:lnTo>
                    <a:pt x="649" y="1331"/>
                  </a:lnTo>
                  <a:lnTo>
                    <a:pt x="649" y="1329"/>
                  </a:lnTo>
                  <a:lnTo>
                    <a:pt x="651" y="1329"/>
                  </a:lnTo>
                  <a:close/>
                  <a:moveTo>
                    <a:pt x="736" y="1329"/>
                  </a:moveTo>
                  <a:lnTo>
                    <a:pt x="736" y="1327"/>
                  </a:lnTo>
                  <a:lnTo>
                    <a:pt x="736" y="1329"/>
                  </a:lnTo>
                  <a:close/>
                  <a:moveTo>
                    <a:pt x="635" y="1327"/>
                  </a:moveTo>
                  <a:lnTo>
                    <a:pt x="636" y="1327"/>
                  </a:lnTo>
                  <a:lnTo>
                    <a:pt x="635" y="1327"/>
                  </a:lnTo>
                  <a:close/>
                  <a:moveTo>
                    <a:pt x="640" y="1326"/>
                  </a:moveTo>
                  <a:lnTo>
                    <a:pt x="641" y="1326"/>
                  </a:lnTo>
                  <a:lnTo>
                    <a:pt x="643" y="1326"/>
                  </a:lnTo>
                  <a:lnTo>
                    <a:pt x="643" y="1327"/>
                  </a:lnTo>
                  <a:lnTo>
                    <a:pt x="641" y="1327"/>
                  </a:lnTo>
                  <a:lnTo>
                    <a:pt x="641" y="1329"/>
                  </a:lnTo>
                  <a:lnTo>
                    <a:pt x="643" y="1329"/>
                  </a:lnTo>
                  <a:lnTo>
                    <a:pt x="643" y="1331"/>
                  </a:lnTo>
                  <a:lnTo>
                    <a:pt x="641" y="1332"/>
                  </a:lnTo>
                  <a:lnTo>
                    <a:pt x="643" y="1334"/>
                  </a:lnTo>
                  <a:lnTo>
                    <a:pt x="643" y="1336"/>
                  </a:lnTo>
                  <a:lnTo>
                    <a:pt x="641" y="1336"/>
                  </a:lnTo>
                  <a:lnTo>
                    <a:pt x="641" y="1334"/>
                  </a:lnTo>
                  <a:lnTo>
                    <a:pt x="640" y="1332"/>
                  </a:lnTo>
                  <a:lnTo>
                    <a:pt x="640" y="1331"/>
                  </a:lnTo>
                  <a:lnTo>
                    <a:pt x="640" y="1332"/>
                  </a:lnTo>
                  <a:lnTo>
                    <a:pt x="638" y="1332"/>
                  </a:lnTo>
                  <a:lnTo>
                    <a:pt x="638" y="1334"/>
                  </a:lnTo>
                  <a:lnTo>
                    <a:pt x="636" y="1334"/>
                  </a:lnTo>
                  <a:lnTo>
                    <a:pt x="635" y="1334"/>
                  </a:lnTo>
                  <a:lnTo>
                    <a:pt x="635" y="1332"/>
                  </a:lnTo>
                  <a:lnTo>
                    <a:pt x="636" y="1332"/>
                  </a:lnTo>
                  <a:lnTo>
                    <a:pt x="635" y="1332"/>
                  </a:lnTo>
                  <a:lnTo>
                    <a:pt x="635" y="1331"/>
                  </a:lnTo>
                  <a:lnTo>
                    <a:pt x="636" y="1331"/>
                  </a:lnTo>
                  <a:lnTo>
                    <a:pt x="636" y="1329"/>
                  </a:lnTo>
                  <a:lnTo>
                    <a:pt x="638" y="1329"/>
                  </a:lnTo>
                  <a:lnTo>
                    <a:pt x="640" y="1329"/>
                  </a:lnTo>
                  <a:lnTo>
                    <a:pt x="640" y="1327"/>
                  </a:lnTo>
                  <a:lnTo>
                    <a:pt x="638" y="1327"/>
                  </a:lnTo>
                  <a:lnTo>
                    <a:pt x="640" y="1327"/>
                  </a:lnTo>
                  <a:lnTo>
                    <a:pt x="640" y="1326"/>
                  </a:lnTo>
                  <a:close/>
                  <a:moveTo>
                    <a:pt x="648" y="1326"/>
                  </a:moveTo>
                  <a:lnTo>
                    <a:pt x="649" y="1326"/>
                  </a:lnTo>
                  <a:lnTo>
                    <a:pt x="648" y="1326"/>
                  </a:lnTo>
                  <a:close/>
                  <a:moveTo>
                    <a:pt x="649" y="1326"/>
                  </a:moveTo>
                  <a:lnTo>
                    <a:pt x="649" y="1324"/>
                  </a:lnTo>
                  <a:lnTo>
                    <a:pt x="651" y="1326"/>
                  </a:lnTo>
                  <a:lnTo>
                    <a:pt x="649" y="1326"/>
                  </a:lnTo>
                  <a:close/>
                  <a:moveTo>
                    <a:pt x="674" y="1326"/>
                  </a:moveTo>
                  <a:lnTo>
                    <a:pt x="674" y="1324"/>
                  </a:lnTo>
                  <a:lnTo>
                    <a:pt x="674" y="1326"/>
                  </a:lnTo>
                  <a:close/>
                  <a:moveTo>
                    <a:pt x="674" y="1324"/>
                  </a:moveTo>
                  <a:lnTo>
                    <a:pt x="674" y="1323"/>
                  </a:lnTo>
                  <a:lnTo>
                    <a:pt x="674" y="1324"/>
                  </a:lnTo>
                  <a:close/>
                  <a:moveTo>
                    <a:pt x="711" y="1324"/>
                  </a:moveTo>
                  <a:lnTo>
                    <a:pt x="711" y="1323"/>
                  </a:lnTo>
                  <a:lnTo>
                    <a:pt x="711" y="1324"/>
                  </a:lnTo>
                  <a:close/>
                  <a:moveTo>
                    <a:pt x="708" y="1324"/>
                  </a:moveTo>
                  <a:lnTo>
                    <a:pt x="706" y="1324"/>
                  </a:lnTo>
                  <a:lnTo>
                    <a:pt x="708" y="1324"/>
                  </a:lnTo>
                  <a:lnTo>
                    <a:pt x="708" y="1323"/>
                  </a:lnTo>
                  <a:lnTo>
                    <a:pt x="708" y="1324"/>
                  </a:lnTo>
                  <a:close/>
                  <a:moveTo>
                    <a:pt x="675" y="1323"/>
                  </a:moveTo>
                  <a:lnTo>
                    <a:pt x="674" y="1323"/>
                  </a:lnTo>
                  <a:lnTo>
                    <a:pt x="675" y="1323"/>
                  </a:lnTo>
                  <a:close/>
                  <a:moveTo>
                    <a:pt x="641" y="1321"/>
                  </a:moveTo>
                  <a:lnTo>
                    <a:pt x="643" y="1321"/>
                  </a:lnTo>
                  <a:lnTo>
                    <a:pt x="641" y="1321"/>
                  </a:lnTo>
                  <a:close/>
                  <a:moveTo>
                    <a:pt x="643" y="1319"/>
                  </a:moveTo>
                  <a:lnTo>
                    <a:pt x="644" y="1319"/>
                  </a:lnTo>
                  <a:lnTo>
                    <a:pt x="646" y="1319"/>
                  </a:lnTo>
                  <a:lnTo>
                    <a:pt x="648" y="1321"/>
                  </a:lnTo>
                  <a:lnTo>
                    <a:pt x="648" y="1323"/>
                  </a:lnTo>
                  <a:lnTo>
                    <a:pt x="649" y="1323"/>
                  </a:lnTo>
                  <a:lnTo>
                    <a:pt x="649" y="1324"/>
                  </a:lnTo>
                  <a:lnTo>
                    <a:pt x="648" y="1326"/>
                  </a:lnTo>
                  <a:lnTo>
                    <a:pt x="648" y="1324"/>
                  </a:lnTo>
                  <a:lnTo>
                    <a:pt x="646" y="1324"/>
                  </a:lnTo>
                  <a:lnTo>
                    <a:pt x="644" y="1323"/>
                  </a:lnTo>
                  <a:lnTo>
                    <a:pt x="643" y="1321"/>
                  </a:lnTo>
                  <a:lnTo>
                    <a:pt x="643" y="1319"/>
                  </a:lnTo>
                  <a:close/>
                  <a:moveTo>
                    <a:pt x="690" y="1318"/>
                  </a:moveTo>
                  <a:lnTo>
                    <a:pt x="692" y="1318"/>
                  </a:lnTo>
                  <a:lnTo>
                    <a:pt x="690" y="1318"/>
                  </a:lnTo>
                  <a:close/>
                  <a:moveTo>
                    <a:pt x="729" y="1319"/>
                  </a:moveTo>
                  <a:lnTo>
                    <a:pt x="729" y="1318"/>
                  </a:lnTo>
                  <a:lnTo>
                    <a:pt x="731" y="1319"/>
                  </a:lnTo>
                  <a:lnTo>
                    <a:pt x="729" y="1319"/>
                  </a:lnTo>
                  <a:lnTo>
                    <a:pt x="727" y="1319"/>
                  </a:lnTo>
                  <a:lnTo>
                    <a:pt x="729" y="1319"/>
                  </a:lnTo>
                  <a:close/>
                  <a:moveTo>
                    <a:pt x="628" y="1318"/>
                  </a:moveTo>
                  <a:lnTo>
                    <a:pt x="630" y="1318"/>
                  </a:lnTo>
                  <a:lnTo>
                    <a:pt x="628" y="1318"/>
                  </a:lnTo>
                  <a:close/>
                  <a:moveTo>
                    <a:pt x="716" y="1318"/>
                  </a:moveTo>
                  <a:lnTo>
                    <a:pt x="718" y="1318"/>
                  </a:lnTo>
                  <a:lnTo>
                    <a:pt x="719" y="1318"/>
                  </a:lnTo>
                  <a:lnTo>
                    <a:pt x="721" y="1318"/>
                  </a:lnTo>
                  <a:lnTo>
                    <a:pt x="721" y="1319"/>
                  </a:lnTo>
                  <a:lnTo>
                    <a:pt x="723" y="1319"/>
                  </a:lnTo>
                  <a:lnTo>
                    <a:pt x="724" y="1319"/>
                  </a:lnTo>
                  <a:lnTo>
                    <a:pt x="726" y="1319"/>
                  </a:lnTo>
                  <a:lnTo>
                    <a:pt x="726" y="1321"/>
                  </a:lnTo>
                  <a:lnTo>
                    <a:pt x="723" y="1323"/>
                  </a:lnTo>
                  <a:lnTo>
                    <a:pt x="721" y="1323"/>
                  </a:lnTo>
                  <a:lnTo>
                    <a:pt x="721" y="1321"/>
                  </a:lnTo>
                  <a:lnTo>
                    <a:pt x="721" y="1323"/>
                  </a:lnTo>
                  <a:lnTo>
                    <a:pt x="719" y="1323"/>
                  </a:lnTo>
                  <a:lnTo>
                    <a:pt x="718" y="1321"/>
                  </a:lnTo>
                  <a:lnTo>
                    <a:pt x="716" y="1321"/>
                  </a:lnTo>
                  <a:lnTo>
                    <a:pt x="716" y="1319"/>
                  </a:lnTo>
                  <a:lnTo>
                    <a:pt x="716" y="1318"/>
                  </a:lnTo>
                  <a:close/>
                  <a:moveTo>
                    <a:pt x="695" y="1316"/>
                  </a:moveTo>
                  <a:lnTo>
                    <a:pt x="697" y="1316"/>
                  </a:lnTo>
                  <a:lnTo>
                    <a:pt x="695" y="1316"/>
                  </a:lnTo>
                  <a:lnTo>
                    <a:pt x="695" y="1318"/>
                  </a:lnTo>
                  <a:lnTo>
                    <a:pt x="693" y="1318"/>
                  </a:lnTo>
                  <a:lnTo>
                    <a:pt x="692" y="1318"/>
                  </a:lnTo>
                  <a:lnTo>
                    <a:pt x="693" y="1316"/>
                  </a:lnTo>
                  <a:lnTo>
                    <a:pt x="695" y="1316"/>
                  </a:lnTo>
                  <a:close/>
                  <a:moveTo>
                    <a:pt x="724" y="1314"/>
                  </a:moveTo>
                  <a:lnTo>
                    <a:pt x="723" y="1314"/>
                  </a:lnTo>
                  <a:lnTo>
                    <a:pt x="724" y="1314"/>
                  </a:lnTo>
                  <a:close/>
                  <a:moveTo>
                    <a:pt x="644" y="1316"/>
                  </a:moveTo>
                  <a:lnTo>
                    <a:pt x="646" y="1314"/>
                  </a:lnTo>
                  <a:lnTo>
                    <a:pt x="646" y="1313"/>
                  </a:lnTo>
                  <a:lnTo>
                    <a:pt x="648" y="1313"/>
                  </a:lnTo>
                  <a:lnTo>
                    <a:pt x="648" y="1314"/>
                  </a:lnTo>
                  <a:lnTo>
                    <a:pt x="649" y="1314"/>
                  </a:lnTo>
                  <a:lnTo>
                    <a:pt x="649" y="1316"/>
                  </a:lnTo>
                  <a:lnTo>
                    <a:pt x="651" y="1316"/>
                  </a:lnTo>
                  <a:lnTo>
                    <a:pt x="651" y="1318"/>
                  </a:lnTo>
                  <a:lnTo>
                    <a:pt x="653" y="1319"/>
                  </a:lnTo>
                  <a:lnTo>
                    <a:pt x="653" y="1321"/>
                  </a:lnTo>
                  <a:lnTo>
                    <a:pt x="651" y="1321"/>
                  </a:lnTo>
                  <a:lnTo>
                    <a:pt x="649" y="1319"/>
                  </a:lnTo>
                  <a:lnTo>
                    <a:pt x="648" y="1318"/>
                  </a:lnTo>
                  <a:lnTo>
                    <a:pt x="646" y="1318"/>
                  </a:lnTo>
                  <a:lnTo>
                    <a:pt x="646" y="1316"/>
                  </a:lnTo>
                  <a:lnTo>
                    <a:pt x="644" y="1316"/>
                  </a:lnTo>
                  <a:close/>
                  <a:moveTo>
                    <a:pt x="649" y="1313"/>
                  </a:moveTo>
                  <a:lnTo>
                    <a:pt x="651" y="1311"/>
                  </a:lnTo>
                  <a:lnTo>
                    <a:pt x="651" y="1313"/>
                  </a:lnTo>
                  <a:lnTo>
                    <a:pt x="653" y="1313"/>
                  </a:lnTo>
                  <a:lnTo>
                    <a:pt x="654" y="1313"/>
                  </a:lnTo>
                  <a:lnTo>
                    <a:pt x="656" y="1314"/>
                  </a:lnTo>
                  <a:lnTo>
                    <a:pt x="657" y="1314"/>
                  </a:lnTo>
                  <a:lnTo>
                    <a:pt x="657" y="1316"/>
                  </a:lnTo>
                  <a:lnTo>
                    <a:pt x="657" y="1318"/>
                  </a:lnTo>
                  <a:lnTo>
                    <a:pt x="656" y="1319"/>
                  </a:lnTo>
                  <a:lnTo>
                    <a:pt x="656" y="1318"/>
                  </a:lnTo>
                  <a:lnTo>
                    <a:pt x="654" y="1318"/>
                  </a:lnTo>
                  <a:lnTo>
                    <a:pt x="653" y="1316"/>
                  </a:lnTo>
                  <a:lnTo>
                    <a:pt x="653" y="1314"/>
                  </a:lnTo>
                  <a:lnTo>
                    <a:pt x="651" y="1314"/>
                  </a:lnTo>
                  <a:lnTo>
                    <a:pt x="653" y="1314"/>
                  </a:lnTo>
                  <a:lnTo>
                    <a:pt x="651" y="1314"/>
                  </a:lnTo>
                  <a:lnTo>
                    <a:pt x="651" y="1313"/>
                  </a:lnTo>
                  <a:lnTo>
                    <a:pt x="649" y="1313"/>
                  </a:lnTo>
                  <a:close/>
                  <a:moveTo>
                    <a:pt x="651" y="1313"/>
                  </a:moveTo>
                  <a:lnTo>
                    <a:pt x="651" y="1311"/>
                  </a:lnTo>
                  <a:lnTo>
                    <a:pt x="651" y="1313"/>
                  </a:lnTo>
                  <a:close/>
                  <a:moveTo>
                    <a:pt x="648" y="1313"/>
                  </a:moveTo>
                  <a:lnTo>
                    <a:pt x="648" y="1311"/>
                  </a:lnTo>
                  <a:lnTo>
                    <a:pt x="648" y="1313"/>
                  </a:lnTo>
                  <a:close/>
                  <a:moveTo>
                    <a:pt x="677" y="1314"/>
                  </a:moveTo>
                  <a:lnTo>
                    <a:pt x="677" y="1316"/>
                  </a:lnTo>
                  <a:lnTo>
                    <a:pt x="679" y="1316"/>
                  </a:lnTo>
                  <a:lnTo>
                    <a:pt x="679" y="1318"/>
                  </a:lnTo>
                  <a:lnTo>
                    <a:pt x="679" y="1319"/>
                  </a:lnTo>
                  <a:lnTo>
                    <a:pt x="677" y="1319"/>
                  </a:lnTo>
                  <a:lnTo>
                    <a:pt x="675" y="1319"/>
                  </a:lnTo>
                  <a:lnTo>
                    <a:pt x="672" y="1319"/>
                  </a:lnTo>
                  <a:lnTo>
                    <a:pt x="669" y="1321"/>
                  </a:lnTo>
                  <a:lnTo>
                    <a:pt x="669" y="1319"/>
                  </a:lnTo>
                  <a:lnTo>
                    <a:pt x="671" y="1319"/>
                  </a:lnTo>
                  <a:lnTo>
                    <a:pt x="672" y="1319"/>
                  </a:lnTo>
                  <a:lnTo>
                    <a:pt x="672" y="1318"/>
                  </a:lnTo>
                  <a:lnTo>
                    <a:pt x="674" y="1318"/>
                  </a:lnTo>
                  <a:lnTo>
                    <a:pt x="672" y="1318"/>
                  </a:lnTo>
                  <a:lnTo>
                    <a:pt x="674" y="1318"/>
                  </a:lnTo>
                  <a:lnTo>
                    <a:pt x="674" y="1316"/>
                  </a:lnTo>
                  <a:lnTo>
                    <a:pt x="675" y="1314"/>
                  </a:lnTo>
                  <a:lnTo>
                    <a:pt x="674" y="1314"/>
                  </a:lnTo>
                  <a:lnTo>
                    <a:pt x="675" y="1314"/>
                  </a:lnTo>
                  <a:lnTo>
                    <a:pt x="675" y="1313"/>
                  </a:lnTo>
                  <a:lnTo>
                    <a:pt x="677" y="1313"/>
                  </a:lnTo>
                  <a:lnTo>
                    <a:pt x="677" y="1311"/>
                  </a:lnTo>
                  <a:lnTo>
                    <a:pt x="679" y="1313"/>
                  </a:lnTo>
                  <a:lnTo>
                    <a:pt x="677" y="1313"/>
                  </a:lnTo>
                  <a:lnTo>
                    <a:pt x="677" y="1314"/>
                  </a:lnTo>
                  <a:close/>
                  <a:moveTo>
                    <a:pt x="710" y="1311"/>
                  </a:moveTo>
                  <a:lnTo>
                    <a:pt x="708" y="1311"/>
                  </a:lnTo>
                  <a:lnTo>
                    <a:pt x="710" y="1311"/>
                  </a:lnTo>
                  <a:close/>
                  <a:moveTo>
                    <a:pt x="710" y="1311"/>
                  </a:moveTo>
                  <a:lnTo>
                    <a:pt x="711" y="1311"/>
                  </a:lnTo>
                  <a:lnTo>
                    <a:pt x="710" y="1311"/>
                  </a:lnTo>
                  <a:close/>
                  <a:moveTo>
                    <a:pt x="711" y="1311"/>
                  </a:moveTo>
                  <a:lnTo>
                    <a:pt x="713" y="1311"/>
                  </a:lnTo>
                  <a:lnTo>
                    <a:pt x="711" y="1311"/>
                  </a:lnTo>
                  <a:lnTo>
                    <a:pt x="711" y="1313"/>
                  </a:lnTo>
                  <a:lnTo>
                    <a:pt x="711" y="1311"/>
                  </a:lnTo>
                  <a:lnTo>
                    <a:pt x="711" y="1313"/>
                  </a:lnTo>
                  <a:lnTo>
                    <a:pt x="711" y="1311"/>
                  </a:lnTo>
                  <a:lnTo>
                    <a:pt x="710" y="1313"/>
                  </a:lnTo>
                  <a:lnTo>
                    <a:pt x="708" y="1313"/>
                  </a:lnTo>
                  <a:lnTo>
                    <a:pt x="711" y="1311"/>
                  </a:lnTo>
                  <a:close/>
                  <a:moveTo>
                    <a:pt x="763" y="1311"/>
                  </a:moveTo>
                  <a:lnTo>
                    <a:pt x="762" y="1311"/>
                  </a:lnTo>
                  <a:lnTo>
                    <a:pt x="763" y="1311"/>
                  </a:lnTo>
                  <a:lnTo>
                    <a:pt x="763" y="1310"/>
                  </a:lnTo>
                  <a:lnTo>
                    <a:pt x="763" y="1311"/>
                  </a:lnTo>
                  <a:close/>
                  <a:moveTo>
                    <a:pt x="711" y="1310"/>
                  </a:moveTo>
                  <a:lnTo>
                    <a:pt x="711" y="1311"/>
                  </a:lnTo>
                  <a:lnTo>
                    <a:pt x="711" y="1310"/>
                  </a:lnTo>
                  <a:close/>
                  <a:moveTo>
                    <a:pt x="716" y="1311"/>
                  </a:moveTo>
                  <a:lnTo>
                    <a:pt x="713" y="1311"/>
                  </a:lnTo>
                  <a:lnTo>
                    <a:pt x="714" y="1311"/>
                  </a:lnTo>
                  <a:lnTo>
                    <a:pt x="716" y="1311"/>
                  </a:lnTo>
                  <a:lnTo>
                    <a:pt x="716" y="1310"/>
                  </a:lnTo>
                  <a:lnTo>
                    <a:pt x="718" y="1310"/>
                  </a:lnTo>
                  <a:lnTo>
                    <a:pt x="718" y="1311"/>
                  </a:lnTo>
                  <a:lnTo>
                    <a:pt x="716" y="1311"/>
                  </a:lnTo>
                  <a:close/>
                  <a:moveTo>
                    <a:pt x="662" y="1310"/>
                  </a:moveTo>
                  <a:lnTo>
                    <a:pt x="664" y="1310"/>
                  </a:lnTo>
                  <a:lnTo>
                    <a:pt x="662" y="1310"/>
                  </a:lnTo>
                  <a:close/>
                  <a:moveTo>
                    <a:pt x="679" y="1310"/>
                  </a:moveTo>
                  <a:lnTo>
                    <a:pt x="679" y="1311"/>
                  </a:lnTo>
                  <a:lnTo>
                    <a:pt x="679" y="1310"/>
                  </a:lnTo>
                  <a:lnTo>
                    <a:pt x="679" y="1311"/>
                  </a:lnTo>
                  <a:lnTo>
                    <a:pt x="677" y="1311"/>
                  </a:lnTo>
                  <a:lnTo>
                    <a:pt x="677" y="1310"/>
                  </a:lnTo>
                  <a:lnTo>
                    <a:pt x="679" y="1310"/>
                  </a:lnTo>
                  <a:close/>
                  <a:moveTo>
                    <a:pt x="662" y="1310"/>
                  </a:moveTo>
                  <a:lnTo>
                    <a:pt x="662" y="1311"/>
                  </a:lnTo>
                  <a:lnTo>
                    <a:pt x="662" y="1310"/>
                  </a:lnTo>
                  <a:lnTo>
                    <a:pt x="662" y="1311"/>
                  </a:lnTo>
                  <a:lnTo>
                    <a:pt x="664" y="1311"/>
                  </a:lnTo>
                  <a:lnTo>
                    <a:pt x="662" y="1313"/>
                  </a:lnTo>
                  <a:lnTo>
                    <a:pt x="661" y="1313"/>
                  </a:lnTo>
                  <a:lnTo>
                    <a:pt x="659" y="1311"/>
                  </a:lnTo>
                  <a:lnTo>
                    <a:pt x="656" y="1311"/>
                  </a:lnTo>
                  <a:lnTo>
                    <a:pt x="657" y="1310"/>
                  </a:lnTo>
                  <a:lnTo>
                    <a:pt x="657" y="1311"/>
                  </a:lnTo>
                  <a:lnTo>
                    <a:pt x="659" y="1311"/>
                  </a:lnTo>
                  <a:lnTo>
                    <a:pt x="659" y="1310"/>
                  </a:lnTo>
                  <a:lnTo>
                    <a:pt x="661" y="1311"/>
                  </a:lnTo>
                  <a:lnTo>
                    <a:pt x="659" y="1310"/>
                  </a:lnTo>
                  <a:lnTo>
                    <a:pt x="661" y="1310"/>
                  </a:lnTo>
                  <a:lnTo>
                    <a:pt x="662" y="1310"/>
                  </a:lnTo>
                  <a:close/>
                  <a:moveTo>
                    <a:pt x="723" y="1310"/>
                  </a:moveTo>
                  <a:lnTo>
                    <a:pt x="724" y="1310"/>
                  </a:lnTo>
                  <a:lnTo>
                    <a:pt x="723" y="1311"/>
                  </a:lnTo>
                  <a:lnTo>
                    <a:pt x="721" y="1311"/>
                  </a:lnTo>
                  <a:lnTo>
                    <a:pt x="719" y="1311"/>
                  </a:lnTo>
                  <a:lnTo>
                    <a:pt x="719" y="1313"/>
                  </a:lnTo>
                  <a:lnTo>
                    <a:pt x="716" y="1313"/>
                  </a:lnTo>
                  <a:lnTo>
                    <a:pt x="714" y="1313"/>
                  </a:lnTo>
                  <a:lnTo>
                    <a:pt x="716" y="1313"/>
                  </a:lnTo>
                  <a:lnTo>
                    <a:pt x="716" y="1311"/>
                  </a:lnTo>
                  <a:lnTo>
                    <a:pt x="718" y="1311"/>
                  </a:lnTo>
                  <a:lnTo>
                    <a:pt x="721" y="1311"/>
                  </a:lnTo>
                  <a:lnTo>
                    <a:pt x="719" y="1311"/>
                  </a:lnTo>
                  <a:lnTo>
                    <a:pt x="719" y="1310"/>
                  </a:lnTo>
                  <a:lnTo>
                    <a:pt x="721" y="1310"/>
                  </a:lnTo>
                  <a:lnTo>
                    <a:pt x="723" y="1310"/>
                  </a:lnTo>
                  <a:close/>
                  <a:moveTo>
                    <a:pt x="697" y="1306"/>
                  </a:moveTo>
                  <a:lnTo>
                    <a:pt x="697" y="1308"/>
                  </a:lnTo>
                  <a:lnTo>
                    <a:pt x="697" y="1310"/>
                  </a:lnTo>
                  <a:lnTo>
                    <a:pt x="697" y="1311"/>
                  </a:lnTo>
                  <a:lnTo>
                    <a:pt x="697" y="1313"/>
                  </a:lnTo>
                  <a:lnTo>
                    <a:pt x="695" y="1313"/>
                  </a:lnTo>
                  <a:lnTo>
                    <a:pt x="693" y="1314"/>
                  </a:lnTo>
                  <a:lnTo>
                    <a:pt x="692" y="1314"/>
                  </a:lnTo>
                  <a:lnTo>
                    <a:pt x="690" y="1314"/>
                  </a:lnTo>
                  <a:lnTo>
                    <a:pt x="690" y="1316"/>
                  </a:lnTo>
                  <a:lnTo>
                    <a:pt x="688" y="1316"/>
                  </a:lnTo>
                  <a:lnTo>
                    <a:pt x="688" y="1314"/>
                  </a:lnTo>
                  <a:lnTo>
                    <a:pt x="688" y="1316"/>
                  </a:lnTo>
                  <a:lnTo>
                    <a:pt x="687" y="1314"/>
                  </a:lnTo>
                  <a:lnTo>
                    <a:pt x="687" y="1316"/>
                  </a:lnTo>
                  <a:lnTo>
                    <a:pt x="685" y="1316"/>
                  </a:lnTo>
                  <a:lnTo>
                    <a:pt x="684" y="1316"/>
                  </a:lnTo>
                  <a:lnTo>
                    <a:pt x="682" y="1318"/>
                  </a:lnTo>
                  <a:lnTo>
                    <a:pt x="680" y="1318"/>
                  </a:lnTo>
                  <a:lnTo>
                    <a:pt x="679" y="1318"/>
                  </a:lnTo>
                  <a:lnTo>
                    <a:pt x="680" y="1318"/>
                  </a:lnTo>
                  <a:lnTo>
                    <a:pt x="679" y="1318"/>
                  </a:lnTo>
                  <a:lnTo>
                    <a:pt x="680" y="1318"/>
                  </a:lnTo>
                  <a:lnTo>
                    <a:pt x="679" y="1316"/>
                  </a:lnTo>
                  <a:lnTo>
                    <a:pt x="679" y="1314"/>
                  </a:lnTo>
                  <a:lnTo>
                    <a:pt x="679" y="1313"/>
                  </a:lnTo>
                  <a:lnTo>
                    <a:pt x="680" y="1313"/>
                  </a:lnTo>
                  <a:lnTo>
                    <a:pt x="680" y="1311"/>
                  </a:lnTo>
                  <a:lnTo>
                    <a:pt x="680" y="1310"/>
                  </a:lnTo>
                  <a:lnTo>
                    <a:pt x="682" y="1310"/>
                  </a:lnTo>
                  <a:lnTo>
                    <a:pt x="680" y="1310"/>
                  </a:lnTo>
                  <a:lnTo>
                    <a:pt x="680" y="1308"/>
                  </a:lnTo>
                  <a:lnTo>
                    <a:pt x="682" y="1308"/>
                  </a:lnTo>
                  <a:lnTo>
                    <a:pt x="682" y="1306"/>
                  </a:lnTo>
                  <a:lnTo>
                    <a:pt x="684" y="1306"/>
                  </a:lnTo>
                  <a:lnTo>
                    <a:pt x="684" y="1308"/>
                  </a:lnTo>
                  <a:lnTo>
                    <a:pt x="684" y="1306"/>
                  </a:lnTo>
                  <a:lnTo>
                    <a:pt x="684" y="1308"/>
                  </a:lnTo>
                  <a:lnTo>
                    <a:pt x="684" y="1310"/>
                  </a:lnTo>
                  <a:lnTo>
                    <a:pt x="684" y="1311"/>
                  </a:lnTo>
                  <a:lnTo>
                    <a:pt x="684" y="1310"/>
                  </a:lnTo>
                  <a:lnTo>
                    <a:pt x="687" y="1308"/>
                  </a:lnTo>
                  <a:lnTo>
                    <a:pt x="688" y="1308"/>
                  </a:lnTo>
                  <a:lnTo>
                    <a:pt x="690" y="1308"/>
                  </a:lnTo>
                  <a:lnTo>
                    <a:pt x="692" y="1306"/>
                  </a:lnTo>
                  <a:lnTo>
                    <a:pt x="692" y="1308"/>
                  </a:lnTo>
                  <a:lnTo>
                    <a:pt x="693" y="1306"/>
                  </a:lnTo>
                  <a:lnTo>
                    <a:pt x="695" y="1306"/>
                  </a:lnTo>
                  <a:lnTo>
                    <a:pt x="697" y="1306"/>
                  </a:lnTo>
                  <a:close/>
                  <a:moveTo>
                    <a:pt x="695" y="1306"/>
                  </a:moveTo>
                  <a:lnTo>
                    <a:pt x="693" y="1306"/>
                  </a:lnTo>
                  <a:lnTo>
                    <a:pt x="695" y="1306"/>
                  </a:lnTo>
                  <a:close/>
                  <a:moveTo>
                    <a:pt x="693" y="1306"/>
                  </a:moveTo>
                  <a:lnTo>
                    <a:pt x="692" y="1306"/>
                  </a:lnTo>
                  <a:lnTo>
                    <a:pt x="693" y="1306"/>
                  </a:lnTo>
                  <a:close/>
                  <a:moveTo>
                    <a:pt x="697" y="1305"/>
                  </a:moveTo>
                  <a:lnTo>
                    <a:pt x="695" y="1305"/>
                  </a:lnTo>
                  <a:lnTo>
                    <a:pt x="697" y="1305"/>
                  </a:lnTo>
                  <a:close/>
                  <a:moveTo>
                    <a:pt x="662" y="1305"/>
                  </a:moveTo>
                  <a:lnTo>
                    <a:pt x="662" y="1303"/>
                  </a:lnTo>
                  <a:lnTo>
                    <a:pt x="662" y="1305"/>
                  </a:lnTo>
                  <a:close/>
                  <a:moveTo>
                    <a:pt x="697" y="1305"/>
                  </a:moveTo>
                  <a:lnTo>
                    <a:pt x="697" y="1303"/>
                  </a:lnTo>
                  <a:lnTo>
                    <a:pt x="697" y="1305"/>
                  </a:lnTo>
                  <a:close/>
                  <a:moveTo>
                    <a:pt x="661" y="1303"/>
                  </a:moveTo>
                  <a:lnTo>
                    <a:pt x="662" y="1303"/>
                  </a:lnTo>
                  <a:lnTo>
                    <a:pt x="661" y="1305"/>
                  </a:lnTo>
                  <a:lnTo>
                    <a:pt x="661" y="1303"/>
                  </a:lnTo>
                  <a:lnTo>
                    <a:pt x="661" y="1305"/>
                  </a:lnTo>
                  <a:lnTo>
                    <a:pt x="661" y="1303"/>
                  </a:lnTo>
                  <a:lnTo>
                    <a:pt x="661" y="1305"/>
                  </a:lnTo>
                  <a:lnTo>
                    <a:pt x="659" y="1305"/>
                  </a:lnTo>
                  <a:lnTo>
                    <a:pt x="659" y="1303"/>
                  </a:lnTo>
                  <a:lnTo>
                    <a:pt x="659" y="1305"/>
                  </a:lnTo>
                  <a:lnTo>
                    <a:pt x="659" y="1303"/>
                  </a:lnTo>
                  <a:lnTo>
                    <a:pt x="661" y="1303"/>
                  </a:lnTo>
                  <a:close/>
                  <a:moveTo>
                    <a:pt x="661" y="1303"/>
                  </a:moveTo>
                  <a:lnTo>
                    <a:pt x="661" y="1301"/>
                  </a:lnTo>
                  <a:lnTo>
                    <a:pt x="661" y="1303"/>
                  </a:lnTo>
                  <a:close/>
                  <a:moveTo>
                    <a:pt x="692" y="1303"/>
                  </a:moveTo>
                  <a:lnTo>
                    <a:pt x="690" y="1303"/>
                  </a:lnTo>
                  <a:lnTo>
                    <a:pt x="690" y="1301"/>
                  </a:lnTo>
                  <a:lnTo>
                    <a:pt x="692" y="1301"/>
                  </a:lnTo>
                  <a:lnTo>
                    <a:pt x="692" y="1303"/>
                  </a:lnTo>
                  <a:close/>
                  <a:moveTo>
                    <a:pt x="693" y="1301"/>
                  </a:moveTo>
                  <a:lnTo>
                    <a:pt x="692" y="1301"/>
                  </a:lnTo>
                  <a:lnTo>
                    <a:pt x="693" y="1301"/>
                  </a:lnTo>
                  <a:close/>
                  <a:moveTo>
                    <a:pt x="685" y="1300"/>
                  </a:moveTo>
                  <a:lnTo>
                    <a:pt x="685" y="1301"/>
                  </a:lnTo>
                  <a:lnTo>
                    <a:pt x="685" y="1300"/>
                  </a:lnTo>
                  <a:close/>
                  <a:moveTo>
                    <a:pt x="685" y="1301"/>
                  </a:moveTo>
                  <a:lnTo>
                    <a:pt x="685" y="1300"/>
                  </a:lnTo>
                  <a:lnTo>
                    <a:pt x="687" y="1300"/>
                  </a:lnTo>
                  <a:lnTo>
                    <a:pt x="685" y="1301"/>
                  </a:lnTo>
                  <a:close/>
                  <a:moveTo>
                    <a:pt x="680" y="1300"/>
                  </a:moveTo>
                  <a:lnTo>
                    <a:pt x="680" y="1301"/>
                  </a:lnTo>
                  <a:lnTo>
                    <a:pt x="680" y="1300"/>
                  </a:lnTo>
                  <a:close/>
                  <a:moveTo>
                    <a:pt x="677" y="1300"/>
                  </a:moveTo>
                  <a:lnTo>
                    <a:pt x="679" y="1300"/>
                  </a:lnTo>
                  <a:lnTo>
                    <a:pt x="679" y="1301"/>
                  </a:lnTo>
                  <a:lnTo>
                    <a:pt x="677" y="1301"/>
                  </a:lnTo>
                  <a:lnTo>
                    <a:pt x="677" y="1300"/>
                  </a:lnTo>
                  <a:close/>
                  <a:moveTo>
                    <a:pt x="690" y="1300"/>
                  </a:moveTo>
                  <a:lnTo>
                    <a:pt x="692" y="1300"/>
                  </a:lnTo>
                  <a:lnTo>
                    <a:pt x="690" y="1300"/>
                  </a:lnTo>
                  <a:close/>
                  <a:moveTo>
                    <a:pt x="662" y="1300"/>
                  </a:moveTo>
                  <a:lnTo>
                    <a:pt x="664" y="1300"/>
                  </a:lnTo>
                  <a:lnTo>
                    <a:pt x="662" y="1300"/>
                  </a:lnTo>
                  <a:close/>
                  <a:moveTo>
                    <a:pt x="666" y="1300"/>
                  </a:moveTo>
                  <a:lnTo>
                    <a:pt x="667" y="1300"/>
                  </a:lnTo>
                  <a:lnTo>
                    <a:pt x="667" y="1301"/>
                  </a:lnTo>
                  <a:lnTo>
                    <a:pt x="667" y="1303"/>
                  </a:lnTo>
                  <a:lnTo>
                    <a:pt x="667" y="1305"/>
                  </a:lnTo>
                  <a:lnTo>
                    <a:pt x="667" y="1306"/>
                  </a:lnTo>
                  <a:lnTo>
                    <a:pt x="666" y="1306"/>
                  </a:lnTo>
                  <a:lnTo>
                    <a:pt x="666" y="1308"/>
                  </a:lnTo>
                  <a:lnTo>
                    <a:pt x="664" y="1308"/>
                  </a:lnTo>
                  <a:lnTo>
                    <a:pt x="664" y="1306"/>
                  </a:lnTo>
                  <a:lnTo>
                    <a:pt x="662" y="1306"/>
                  </a:lnTo>
                  <a:lnTo>
                    <a:pt x="662" y="1305"/>
                  </a:lnTo>
                  <a:lnTo>
                    <a:pt x="664" y="1305"/>
                  </a:lnTo>
                  <a:lnTo>
                    <a:pt x="666" y="1305"/>
                  </a:lnTo>
                  <a:lnTo>
                    <a:pt x="666" y="1303"/>
                  </a:lnTo>
                  <a:lnTo>
                    <a:pt x="664" y="1303"/>
                  </a:lnTo>
                  <a:lnTo>
                    <a:pt x="662" y="1303"/>
                  </a:lnTo>
                  <a:lnTo>
                    <a:pt x="662" y="1301"/>
                  </a:lnTo>
                  <a:lnTo>
                    <a:pt x="662" y="1303"/>
                  </a:lnTo>
                  <a:lnTo>
                    <a:pt x="662" y="1301"/>
                  </a:lnTo>
                  <a:lnTo>
                    <a:pt x="664" y="1301"/>
                  </a:lnTo>
                  <a:lnTo>
                    <a:pt x="664" y="1300"/>
                  </a:lnTo>
                  <a:lnTo>
                    <a:pt x="664" y="1301"/>
                  </a:lnTo>
                  <a:lnTo>
                    <a:pt x="666" y="1301"/>
                  </a:lnTo>
                  <a:lnTo>
                    <a:pt x="664" y="1300"/>
                  </a:lnTo>
                  <a:lnTo>
                    <a:pt x="666" y="1300"/>
                  </a:lnTo>
                  <a:close/>
                  <a:moveTo>
                    <a:pt x="688" y="1300"/>
                  </a:moveTo>
                  <a:lnTo>
                    <a:pt x="687" y="1300"/>
                  </a:lnTo>
                  <a:lnTo>
                    <a:pt x="688" y="1300"/>
                  </a:lnTo>
                  <a:lnTo>
                    <a:pt x="687" y="1300"/>
                  </a:lnTo>
                  <a:lnTo>
                    <a:pt x="688" y="1300"/>
                  </a:lnTo>
                  <a:close/>
                  <a:moveTo>
                    <a:pt x="697" y="1300"/>
                  </a:moveTo>
                  <a:lnTo>
                    <a:pt x="698" y="1300"/>
                  </a:lnTo>
                  <a:lnTo>
                    <a:pt x="697" y="1300"/>
                  </a:lnTo>
                  <a:close/>
                  <a:moveTo>
                    <a:pt x="687" y="1300"/>
                  </a:moveTo>
                  <a:lnTo>
                    <a:pt x="685" y="1300"/>
                  </a:lnTo>
                  <a:lnTo>
                    <a:pt x="687" y="1300"/>
                  </a:lnTo>
                  <a:close/>
                  <a:moveTo>
                    <a:pt x="679" y="1298"/>
                  </a:moveTo>
                  <a:lnTo>
                    <a:pt x="679" y="1300"/>
                  </a:lnTo>
                  <a:lnTo>
                    <a:pt x="679" y="1298"/>
                  </a:lnTo>
                  <a:close/>
                  <a:moveTo>
                    <a:pt x="698" y="1300"/>
                  </a:moveTo>
                  <a:lnTo>
                    <a:pt x="698" y="1298"/>
                  </a:lnTo>
                  <a:lnTo>
                    <a:pt x="698" y="1300"/>
                  </a:lnTo>
                  <a:close/>
                  <a:moveTo>
                    <a:pt x="654" y="1298"/>
                  </a:moveTo>
                  <a:lnTo>
                    <a:pt x="654" y="1300"/>
                  </a:lnTo>
                  <a:lnTo>
                    <a:pt x="654" y="1298"/>
                  </a:lnTo>
                  <a:close/>
                  <a:moveTo>
                    <a:pt x="661" y="1298"/>
                  </a:moveTo>
                  <a:lnTo>
                    <a:pt x="662" y="1298"/>
                  </a:lnTo>
                  <a:lnTo>
                    <a:pt x="661" y="1298"/>
                  </a:lnTo>
                  <a:close/>
                  <a:moveTo>
                    <a:pt x="679" y="1298"/>
                  </a:moveTo>
                  <a:lnTo>
                    <a:pt x="680" y="1298"/>
                  </a:lnTo>
                  <a:lnTo>
                    <a:pt x="679" y="1298"/>
                  </a:lnTo>
                  <a:close/>
                  <a:moveTo>
                    <a:pt x="679" y="1298"/>
                  </a:moveTo>
                  <a:lnTo>
                    <a:pt x="679" y="1300"/>
                  </a:lnTo>
                  <a:lnTo>
                    <a:pt x="679" y="1298"/>
                  </a:lnTo>
                  <a:close/>
                  <a:moveTo>
                    <a:pt x="664" y="1298"/>
                  </a:moveTo>
                  <a:lnTo>
                    <a:pt x="666" y="1298"/>
                  </a:lnTo>
                  <a:lnTo>
                    <a:pt x="664" y="1298"/>
                  </a:lnTo>
                  <a:close/>
                  <a:moveTo>
                    <a:pt x="685" y="1297"/>
                  </a:moveTo>
                  <a:lnTo>
                    <a:pt x="685" y="1298"/>
                  </a:lnTo>
                  <a:lnTo>
                    <a:pt x="685" y="1297"/>
                  </a:lnTo>
                  <a:close/>
                  <a:moveTo>
                    <a:pt x="671" y="1298"/>
                  </a:moveTo>
                  <a:lnTo>
                    <a:pt x="671" y="1297"/>
                  </a:lnTo>
                  <a:lnTo>
                    <a:pt x="671" y="1298"/>
                  </a:lnTo>
                  <a:close/>
                  <a:moveTo>
                    <a:pt x="701" y="1298"/>
                  </a:moveTo>
                  <a:lnTo>
                    <a:pt x="701" y="1297"/>
                  </a:lnTo>
                  <a:lnTo>
                    <a:pt x="701" y="1298"/>
                  </a:lnTo>
                  <a:close/>
                  <a:moveTo>
                    <a:pt x="669" y="1297"/>
                  </a:moveTo>
                  <a:lnTo>
                    <a:pt x="669" y="1298"/>
                  </a:lnTo>
                  <a:lnTo>
                    <a:pt x="667" y="1298"/>
                  </a:lnTo>
                  <a:lnTo>
                    <a:pt x="667" y="1297"/>
                  </a:lnTo>
                  <a:lnTo>
                    <a:pt x="669" y="1297"/>
                  </a:lnTo>
                  <a:close/>
                  <a:moveTo>
                    <a:pt x="682" y="1297"/>
                  </a:moveTo>
                  <a:lnTo>
                    <a:pt x="684" y="1297"/>
                  </a:lnTo>
                  <a:lnTo>
                    <a:pt x="682" y="1297"/>
                  </a:lnTo>
                  <a:close/>
                  <a:moveTo>
                    <a:pt x="687" y="1297"/>
                  </a:moveTo>
                  <a:lnTo>
                    <a:pt x="685" y="1297"/>
                  </a:lnTo>
                  <a:lnTo>
                    <a:pt x="687" y="1297"/>
                  </a:lnTo>
                  <a:close/>
                  <a:moveTo>
                    <a:pt x="666" y="1297"/>
                  </a:moveTo>
                  <a:lnTo>
                    <a:pt x="667" y="1297"/>
                  </a:lnTo>
                  <a:lnTo>
                    <a:pt x="666" y="1297"/>
                  </a:lnTo>
                  <a:close/>
                  <a:moveTo>
                    <a:pt x="669" y="1297"/>
                  </a:moveTo>
                  <a:lnTo>
                    <a:pt x="671" y="1297"/>
                  </a:lnTo>
                  <a:lnTo>
                    <a:pt x="669" y="1297"/>
                  </a:lnTo>
                  <a:close/>
                  <a:moveTo>
                    <a:pt x="667" y="1297"/>
                  </a:moveTo>
                  <a:lnTo>
                    <a:pt x="669" y="1297"/>
                  </a:lnTo>
                  <a:lnTo>
                    <a:pt x="667" y="1297"/>
                  </a:lnTo>
                  <a:close/>
                  <a:moveTo>
                    <a:pt x="674" y="1297"/>
                  </a:moveTo>
                  <a:lnTo>
                    <a:pt x="674" y="1295"/>
                  </a:lnTo>
                  <a:lnTo>
                    <a:pt x="674" y="1297"/>
                  </a:lnTo>
                  <a:close/>
                  <a:moveTo>
                    <a:pt x="710" y="1297"/>
                  </a:moveTo>
                  <a:lnTo>
                    <a:pt x="711" y="1297"/>
                  </a:lnTo>
                  <a:lnTo>
                    <a:pt x="711" y="1295"/>
                  </a:lnTo>
                  <a:lnTo>
                    <a:pt x="711" y="1297"/>
                  </a:lnTo>
                  <a:lnTo>
                    <a:pt x="710" y="1297"/>
                  </a:lnTo>
                  <a:close/>
                  <a:moveTo>
                    <a:pt x="669" y="1295"/>
                  </a:moveTo>
                  <a:lnTo>
                    <a:pt x="669" y="1297"/>
                  </a:lnTo>
                  <a:lnTo>
                    <a:pt x="669" y="1295"/>
                  </a:lnTo>
                  <a:close/>
                  <a:moveTo>
                    <a:pt x="675" y="1295"/>
                  </a:moveTo>
                  <a:lnTo>
                    <a:pt x="675" y="1297"/>
                  </a:lnTo>
                  <a:lnTo>
                    <a:pt x="675" y="1295"/>
                  </a:lnTo>
                  <a:close/>
                  <a:moveTo>
                    <a:pt x="671" y="1295"/>
                  </a:moveTo>
                  <a:lnTo>
                    <a:pt x="672" y="1295"/>
                  </a:lnTo>
                  <a:lnTo>
                    <a:pt x="672" y="1297"/>
                  </a:lnTo>
                  <a:lnTo>
                    <a:pt x="671" y="1295"/>
                  </a:lnTo>
                  <a:lnTo>
                    <a:pt x="672" y="1297"/>
                  </a:lnTo>
                  <a:lnTo>
                    <a:pt x="671" y="1297"/>
                  </a:lnTo>
                  <a:lnTo>
                    <a:pt x="671" y="1295"/>
                  </a:lnTo>
                  <a:close/>
                  <a:moveTo>
                    <a:pt x="672" y="1295"/>
                  </a:moveTo>
                  <a:lnTo>
                    <a:pt x="674" y="1295"/>
                  </a:lnTo>
                  <a:lnTo>
                    <a:pt x="672" y="1295"/>
                  </a:lnTo>
                  <a:close/>
                  <a:moveTo>
                    <a:pt x="710" y="1295"/>
                  </a:moveTo>
                  <a:lnTo>
                    <a:pt x="711" y="1295"/>
                  </a:lnTo>
                  <a:lnTo>
                    <a:pt x="713" y="1295"/>
                  </a:lnTo>
                  <a:lnTo>
                    <a:pt x="711" y="1295"/>
                  </a:lnTo>
                  <a:lnTo>
                    <a:pt x="710" y="1295"/>
                  </a:lnTo>
                  <a:close/>
                  <a:moveTo>
                    <a:pt x="710" y="1295"/>
                  </a:moveTo>
                  <a:lnTo>
                    <a:pt x="711" y="1295"/>
                  </a:lnTo>
                  <a:lnTo>
                    <a:pt x="710" y="1295"/>
                  </a:lnTo>
                  <a:close/>
                  <a:moveTo>
                    <a:pt x="672" y="1295"/>
                  </a:moveTo>
                  <a:lnTo>
                    <a:pt x="674" y="1295"/>
                  </a:lnTo>
                  <a:lnTo>
                    <a:pt x="672" y="1295"/>
                  </a:lnTo>
                  <a:close/>
                  <a:moveTo>
                    <a:pt x="710" y="1295"/>
                  </a:moveTo>
                  <a:lnTo>
                    <a:pt x="711" y="1293"/>
                  </a:lnTo>
                  <a:lnTo>
                    <a:pt x="711" y="1295"/>
                  </a:lnTo>
                  <a:lnTo>
                    <a:pt x="710" y="1295"/>
                  </a:lnTo>
                  <a:close/>
                  <a:moveTo>
                    <a:pt x="674" y="1295"/>
                  </a:moveTo>
                  <a:lnTo>
                    <a:pt x="674" y="1293"/>
                  </a:lnTo>
                  <a:lnTo>
                    <a:pt x="675" y="1295"/>
                  </a:lnTo>
                  <a:lnTo>
                    <a:pt x="675" y="1297"/>
                  </a:lnTo>
                  <a:lnTo>
                    <a:pt x="674" y="1297"/>
                  </a:lnTo>
                  <a:lnTo>
                    <a:pt x="674" y="1295"/>
                  </a:lnTo>
                  <a:close/>
                  <a:moveTo>
                    <a:pt x="711" y="1293"/>
                  </a:moveTo>
                  <a:lnTo>
                    <a:pt x="711" y="1295"/>
                  </a:lnTo>
                  <a:lnTo>
                    <a:pt x="711" y="1293"/>
                  </a:lnTo>
                  <a:close/>
                  <a:moveTo>
                    <a:pt x="695" y="1292"/>
                  </a:moveTo>
                  <a:lnTo>
                    <a:pt x="695" y="1293"/>
                  </a:lnTo>
                  <a:lnTo>
                    <a:pt x="695" y="1292"/>
                  </a:lnTo>
                  <a:close/>
                  <a:moveTo>
                    <a:pt x="687" y="1292"/>
                  </a:moveTo>
                  <a:lnTo>
                    <a:pt x="687" y="1293"/>
                  </a:lnTo>
                  <a:lnTo>
                    <a:pt x="687" y="1292"/>
                  </a:lnTo>
                  <a:close/>
                  <a:moveTo>
                    <a:pt x="695" y="1292"/>
                  </a:moveTo>
                  <a:lnTo>
                    <a:pt x="697" y="1292"/>
                  </a:lnTo>
                  <a:lnTo>
                    <a:pt x="695" y="1292"/>
                  </a:lnTo>
                  <a:close/>
                  <a:moveTo>
                    <a:pt x="669" y="1290"/>
                  </a:moveTo>
                  <a:lnTo>
                    <a:pt x="669" y="1292"/>
                  </a:lnTo>
                  <a:lnTo>
                    <a:pt x="669" y="1290"/>
                  </a:lnTo>
                  <a:close/>
                  <a:moveTo>
                    <a:pt x="697" y="1292"/>
                  </a:moveTo>
                  <a:lnTo>
                    <a:pt x="697" y="1290"/>
                  </a:lnTo>
                  <a:lnTo>
                    <a:pt x="697" y="1292"/>
                  </a:lnTo>
                  <a:lnTo>
                    <a:pt x="698" y="1292"/>
                  </a:lnTo>
                  <a:lnTo>
                    <a:pt x="698" y="1290"/>
                  </a:lnTo>
                  <a:lnTo>
                    <a:pt x="698" y="1292"/>
                  </a:lnTo>
                  <a:lnTo>
                    <a:pt x="700" y="1292"/>
                  </a:lnTo>
                  <a:lnTo>
                    <a:pt x="698" y="1292"/>
                  </a:lnTo>
                  <a:lnTo>
                    <a:pt x="700" y="1292"/>
                  </a:lnTo>
                  <a:lnTo>
                    <a:pt x="700" y="1293"/>
                  </a:lnTo>
                  <a:lnTo>
                    <a:pt x="698" y="1293"/>
                  </a:lnTo>
                  <a:lnTo>
                    <a:pt x="698" y="1295"/>
                  </a:lnTo>
                  <a:lnTo>
                    <a:pt x="700" y="1295"/>
                  </a:lnTo>
                  <a:lnTo>
                    <a:pt x="698" y="1297"/>
                  </a:lnTo>
                  <a:lnTo>
                    <a:pt x="697" y="1297"/>
                  </a:lnTo>
                  <a:lnTo>
                    <a:pt x="695" y="1297"/>
                  </a:lnTo>
                  <a:lnTo>
                    <a:pt x="697" y="1297"/>
                  </a:lnTo>
                  <a:lnTo>
                    <a:pt x="697" y="1298"/>
                  </a:lnTo>
                  <a:lnTo>
                    <a:pt x="697" y="1297"/>
                  </a:lnTo>
                  <a:lnTo>
                    <a:pt x="697" y="1298"/>
                  </a:lnTo>
                  <a:lnTo>
                    <a:pt x="695" y="1298"/>
                  </a:lnTo>
                  <a:lnTo>
                    <a:pt x="695" y="1300"/>
                  </a:lnTo>
                  <a:lnTo>
                    <a:pt x="697" y="1300"/>
                  </a:lnTo>
                  <a:lnTo>
                    <a:pt x="697" y="1301"/>
                  </a:lnTo>
                  <a:lnTo>
                    <a:pt x="697" y="1303"/>
                  </a:lnTo>
                  <a:lnTo>
                    <a:pt x="695" y="1303"/>
                  </a:lnTo>
                  <a:lnTo>
                    <a:pt x="693" y="1301"/>
                  </a:lnTo>
                  <a:lnTo>
                    <a:pt x="693" y="1300"/>
                  </a:lnTo>
                  <a:lnTo>
                    <a:pt x="692" y="1300"/>
                  </a:lnTo>
                  <a:lnTo>
                    <a:pt x="692" y="1298"/>
                  </a:lnTo>
                  <a:lnTo>
                    <a:pt x="690" y="1300"/>
                  </a:lnTo>
                  <a:lnTo>
                    <a:pt x="690" y="1298"/>
                  </a:lnTo>
                  <a:lnTo>
                    <a:pt x="688" y="1300"/>
                  </a:lnTo>
                  <a:lnTo>
                    <a:pt x="690" y="1298"/>
                  </a:lnTo>
                  <a:lnTo>
                    <a:pt x="688" y="1298"/>
                  </a:lnTo>
                  <a:lnTo>
                    <a:pt x="690" y="1298"/>
                  </a:lnTo>
                  <a:lnTo>
                    <a:pt x="688" y="1298"/>
                  </a:lnTo>
                  <a:lnTo>
                    <a:pt x="687" y="1298"/>
                  </a:lnTo>
                  <a:lnTo>
                    <a:pt x="687" y="1297"/>
                  </a:lnTo>
                  <a:lnTo>
                    <a:pt x="688" y="1297"/>
                  </a:lnTo>
                  <a:lnTo>
                    <a:pt x="690" y="1297"/>
                  </a:lnTo>
                  <a:lnTo>
                    <a:pt x="690" y="1295"/>
                  </a:lnTo>
                  <a:lnTo>
                    <a:pt x="688" y="1295"/>
                  </a:lnTo>
                  <a:lnTo>
                    <a:pt x="688" y="1293"/>
                  </a:lnTo>
                  <a:lnTo>
                    <a:pt x="688" y="1295"/>
                  </a:lnTo>
                  <a:lnTo>
                    <a:pt x="688" y="1293"/>
                  </a:lnTo>
                  <a:lnTo>
                    <a:pt x="687" y="1293"/>
                  </a:lnTo>
                  <a:lnTo>
                    <a:pt x="688" y="1293"/>
                  </a:lnTo>
                  <a:lnTo>
                    <a:pt x="687" y="1293"/>
                  </a:lnTo>
                  <a:lnTo>
                    <a:pt x="688" y="1292"/>
                  </a:lnTo>
                  <a:lnTo>
                    <a:pt x="690" y="1292"/>
                  </a:lnTo>
                  <a:lnTo>
                    <a:pt x="690" y="1290"/>
                  </a:lnTo>
                  <a:lnTo>
                    <a:pt x="690" y="1292"/>
                  </a:lnTo>
                  <a:lnTo>
                    <a:pt x="692" y="1292"/>
                  </a:lnTo>
                  <a:lnTo>
                    <a:pt x="692" y="1293"/>
                  </a:lnTo>
                  <a:lnTo>
                    <a:pt x="693" y="1293"/>
                  </a:lnTo>
                  <a:lnTo>
                    <a:pt x="692" y="1293"/>
                  </a:lnTo>
                  <a:lnTo>
                    <a:pt x="693" y="1293"/>
                  </a:lnTo>
                  <a:lnTo>
                    <a:pt x="695" y="1293"/>
                  </a:lnTo>
                  <a:lnTo>
                    <a:pt x="695" y="1292"/>
                  </a:lnTo>
                  <a:lnTo>
                    <a:pt x="697" y="1292"/>
                  </a:lnTo>
                  <a:close/>
                  <a:moveTo>
                    <a:pt x="697" y="1290"/>
                  </a:moveTo>
                  <a:lnTo>
                    <a:pt x="695" y="1290"/>
                  </a:lnTo>
                  <a:lnTo>
                    <a:pt x="697" y="1290"/>
                  </a:lnTo>
                  <a:close/>
                  <a:moveTo>
                    <a:pt x="697" y="1290"/>
                  </a:moveTo>
                  <a:lnTo>
                    <a:pt x="695" y="1290"/>
                  </a:lnTo>
                  <a:lnTo>
                    <a:pt x="697" y="1290"/>
                  </a:lnTo>
                  <a:close/>
                  <a:moveTo>
                    <a:pt x="697" y="1290"/>
                  </a:moveTo>
                  <a:lnTo>
                    <a:pt x="698" y="1290"/>
                  </a:lnTo>
                  <a:lnTo>
                    <a:pt x="697" y="1290"/>
                  </a:lnTo>
                  <a:close/>
                  <a:moveTo>
                    <a:pt x="692" y="1290"/>
                  </a:moveTo>
                  <a:lnTo>
                    <a:pt x="693" y="1290"/>
                  </a:lnTo>
                  <a:lnTo>
                    <a:pt x="692" y="1290"/>
                  </a:lnTo>
                  <a:close/>
                  <a:moveTo>
                    <a:pt x="684" y="1290"/>
                  </a:moveTo>
                  <a:lnTo>
                    <a:pt x="684" y="1288"/>
                  </a:lnTo>
                  <a:lnTo>
                    <a:pt x="684" y="1290"/>
                  </a:lnTo>
                  <a:close/>
                  <a:moveTo>
                    <a:pt x="695" y="1288"/>
                  </a:moveTo>
                  <a:lnTo>
                    <a:pt x="695" y="1290"/>
                  </a:lnTo>
                  <a:lnTo>
                    <a:pt x="695" y="1288"/>
                  </a:lnTo>
                  <a:close/>
                  <a:moveTo>
                    <a:pt x="674" y="1288"/>
                  </a:moveTo>
                  <a:lnTo>
                    <a:pt x="674" y="1290"/>
                  </a:lnTo>
                  <a:lnTo>
                    <a:pt x="674" y="1288"/>
                  </a:lnTo>
                  <a:close/>
                  <a:moveTo>
                    <a:pt x="685" y="1288"/>
                  </a:moveTo>
                  <a:lnTo>
                    <a:pt x="687" y="1288"/>
                  </a:lnTo>
                  <a:lnTo>
                    <a:pt x="685" y="1288"/>
                  </a:lnTo>
                  <a:close/>
                  <a:moveTo>
                    <a:pt x="674" y="1288"/>
                  </a:moveTo>
                  <a:lnTo>
                    <a:pt x="675" y="1288"/>
                  </a:lnTo>
                  <a:lnTo>
                    <a:pt x="674" y="1288"/>
                  </a:lnTo>
                  <a:close/>
                  <a:moveTo>
                    <a:pt x="672" y="1288"/>
                  </a:moveTo>
                  <a:lnTo>
                    <a:pt x="672" y="1290"/>
                  </a:lnTo>
                  <a:lnTo>
                    <a:pt x="672" y="1288"/>
                  </a:lnTo>
                  <a:lnTo>
                    <a:pt x="672" y="1290"/>
                  </a:lnTo>
                  <a:lnTo>
                    <a:pt x="671" y="1290"/>
                  </a:lnTo>
                  <a:lnTo>
                    <a:pt x="672" y="1290"/>
                  </a:lnTo>
                  <a:lnTo>
                    <a:pt x="671" y="1290"/>
                  </a:lnTo>
                  <a:lnTo>
                    <a:pt x="672" y="1290"/>
                  </a:lnTo>
                  <a:lnTo>
                    <a:pt x="672" y="1288"/>
                  </a:lnTo>
                  <a:close/>
                  <a:moveTo>
                    <a:pt x="688" y="1288"/>
                  </a:moveTo>
                  <a:lnTo>
                    <a:pt x="688" y="1287"/>
                  </a:lnTo>
                  <a:lnTo>
                    <a:pt x="688" y="1288"/>
                  </a:lnTo>
                  <a:close/>
                  <a:moveTo>
                    <a:pt x="688" y="1287"/>
                  </a:moveTo>
                  <a:lnTo>
                    <a:pt x="690" y="1287"/>
                  </a:lnTo>
                  <a:lnTo>
                    <a:pt x="688" y="1288"/>
                  </a:lnTo>
                  <a:lnTo>
                    <a:pt x="688" y="1287"/>
                  </a:lnTo>
                  <a:close/>
                  <a:moveTo>
                    <a:pt x="700" y="1288"/>
                  </a:moveTo>
                  <a:lnTo>
                    <a:pt x="700" y="1287"/>
                  </a:lnTo>
                  <a:lnTo>
                    <a:pt x="700" y="1288"/>
                  </a:lnTo>
                  <a:close/>
                  <a:moveTo>
                    <a:pt x="695" y="1287"/>
                  </a:moveTo>
                  <a:lnTo>
                    <a:pt x="695" y="1288"/>
                  </a:lnTo>
                  <a:lnTo>
                    <a:pt x="695" y="1287"/>
                  </a:lnTo>
                  <a:close/>
                  <a:moveTo>
                    <a:pt x="700" y="1288"/>
                  </a:moveTo>
                  <a:lnTo>
                    <a:pt x="698" y="1288"/>
                  </a:lnTo>
                  <a:lnTo>
                    <a:pt x="698" y="1287"/>
                  </a:lnTo>
                  <a:lnTo>
                    <a:pt x="700" y="1287"/>
                  </a:lnTo>
                  <a:lnTo>
                    <a:pt x="700" y="1288"/>
                  </a:lnTo>
                  <a:close/>
                  <a:moveTo>
                    <a:pt x="675" y="1287"/>
                  </a:moveTo>
                  <a:lnTo>
                    <a:pt x="674" y="1287"/>
                  </a:lnTo>
                  <a:lnTo>
                    <a:pt x="675" y="1287"/>
                  </a:lnTo>
                  <a:close/>
                  <a:moveTo>
                    <a:pt x="690" y="1287"/>
                  </a:moveTo>
                  <a:lnTo>
                    <a:pt x="690" y="1285"/>
                  </a:lnTo>
                  <a:lnTo>
                    <a:pt x="690" y="1287"/>
                  </a:lnTo>
                  <a:close/>
                  <a:moveTo>
                    <a:pt x="698" y="1287"/>
                  </a:moveTo>
                  <a:lnTo>
                    <a:pt x="698" y="1285"/>
                  </a:lnTo>
                  <a:lnTo>
                    <a:pt x="698" y="1287"/>
                  </a:lnTo>
                  <a:close/>
                  <a:moveTo>
                    <a:pt x="692" y="1287"/>
                  </a:moveTo>
                  <a:lnTo>
                    <a:pt x="692" y="1285"/>
                  </a:lnTo>
                  <a:lnTo>
                    <a:pt x="692" y="1287"/>
                  </a:lnTo>
                  <a:close/>
                  <a:moveTo>
                    <a:pt x="693" y="1287"/>
                  </a:moveTo>
                  <a:lnTo>
                    <a:pt x="693" y="1285"/>
                  </a:lnTo>
                  <a:lnTo>
                    <a:pt x="693" y="1287"/>
                  </a:lnTo>
                  <a:close/>
                  <a:moveTo>
                    <a:pt x="690" y="1285"/>
                  </a:moveTo>
                  <a:lnTo>
                    <a:pt x="690" y="1287"/>
                  </a:lnTo>
                  <a:lnTo>
                    <a:pt x="690" y="1285"/>
                  </a:lnTo>
                  <a:close/>
                  <a:moveTo>
                    <a:pt x="796" y="1288"/>
                  </a:moveTo>
                  <a:lnTo>
                    <a:pt x="794" y="1288"/>
                  </a:lnTo>
                  <a:lnTo>
                    <a:pt x="794" y="1287"/>
                  </a:lnTo>
                  <a:lnTo>
                    <a:pt x="794" y="1285"/>
                  </a:lnTo>
                  <a:lnTo>
                    <a:pt x="794" y="1287"/>
                  </a:lnTo>
                  <a:lnTo>
                    <a:pt x="796" y="1287"/>
                  </a:lnTo>
                  <a:lnTo>
                    <a:pt x="796" y="1288"/>
                  </a:lnTo>
                  <a:close/>
                  <a:moveTo>
                    <a:pt x="690" y="1285"/>
                  </a:moveTo>
                  <a:lnTo>
                    <a:pt x="692" y="1285"/>
                  </a:lnTo>
                  <a:lnTo>
                    <a:pt x="690" y="1285"/>
                  </a:lnTo>
                  <a:close/>
                  <a:moveTo>
                    <a:pt x="698" y="1282"/>
                  </a:moveTo>
                  <a:lnTo>
                    <a:pt x="698" y="1280"/>
                  </a:lnTo>
                  <a:lnTo>
                    <a:pt x="698" y="1282"/>
                  </a:lnTo>
                  <a:close/>
                  <a:moveTo>
                    <a:pt x="695" y="1279"/>
                  </a:moveTo>
                  <a:lnTo>
                    <a:pt x="697" y="1279"/>
                  </a:lnTo>
                  <a:lnTo>
                    <a:pt x="695" y="1279"/>
                  </a:lnTo>
                  <a:close/>
                  <a:moveTo>
                    <a:pt x="697" y="1277"/>
                  </a:moveTo>
                  <a:lnTo>
                    <a:pt x="697" y="1279"/>
                  </a:lnTo>
                  <a:lnTo>
                    <a:pt x="697" y="1277"/>
                  </a:lnTo>
                  <a:close/>
                  <a:moveTo>
                    <a:pt x="799" y="1279"/>
                  </a:moveTo>
                  <a:lnTo>
                    <a:pt x="797" y="1279"/>
                  </a:lnTo>
                  <a:lnTo>
                    <a:pt x="799" y="1277"/>
                  </a:lnTo>
                  <a:lnTo>
                    <a:pt x="799" y="1279"/>
                  </a:lnTo>
                  <a:close/>
                  <a:moveTo>
                    <a:pt x="703" y="1277"/>
                  </a:moveTo>
                  <a:lnTo>
                    <a:pt x="705" y="1277"/>
                  </a:lnTo>
                  <a:lnTo>
                    <a:pt x="703" y="1277"/>
                  </a:lnTo>
                  <a:close/>
                  <a:moveTo>
                    <a:pt x="700" y="1277"/>
                  </a:moveTo>
                  <a:lnTo>
                    <a:pt x="701" y="1277"/>
                  </a:lnTo>
                  <a:lnTo>
                    <a:pt x="700" y="1277"/>
                  </a:lnTo>
                  <a:close/>
                  <a:moveTo>
                    <a:pt x="698" y="1277"/>
                  </a:moveTo>
                  <a:lnTo>
                    <a:pt x="697" y="1277"/>
                  </a:lnTo>
                  <a:lnTo>
                    <a:pt x="698" y="1275"/>
                  </a:lnTo>
                  <a:lnTo>
                    <a:pt x="698" y="1277"/>
                  </a:lnTo>
                  <a:close/>
                  <a:moveTo>
                    <a:pt x="703" y="1277"/>
                  </a:moveTo>
                  <a:lnTo>
                    <a:pt x="703" y="1275"/>
                  </a:lnTo>
                  <a:lnTo>
                    <a:pt x="703" y="1277"/>
                  </a:lnTo>
                  <a:close/>
                  <a:moveTo>
                    <a:pt x="698" y="1275"/>
                  </a:moveTo>
                  <a:lnTo>
                    <a:pt x="698" y="1277"/>
                  </a:lnTo>
                  <a:lnTo>
                    <a:pt x="698" y="1275"/>
                  </a:lnTo>
                  <a:close/>
                  <a:moveTo>
                    <a:pt x="710" y="1275"/>
                  </a:moveTo>
                  <a:lnTo>
                    <a:pt x="708" y="1275"/>
                  </a:lnTo>
                  <a:lnTo>
                    <a:pt x="710" y="1275"/>
                  </a:lnTo>
                  <a:close/>
                  <a:moveTo>
                    <a:pt x="711" y="1272"/>
                  </a:moveTo>
                  <a:lnTo>
                    <a:pt x="711" y="1274"/>
                  </a:lnTo>
                  <a:lnTo>
                    <a:pt x="711" y="1272"/>
                  </a:lnTo>
                  <a:close/>
                  <a:moveTo>
                    <a:pt x="766" y="1274"/>
                  </a:moveTo>
                  <a:lnTo>
                    <a:pt x="766" y="1272"/>
                  </a:lnTo>
                  <a:lnTo>
                    <a:pt x="768" y="1274"/>
                  </a:lnTo>
                  <a:lnTo>
                    <a:pt x="766" y="1274"/>
                  </a:lnTo>
                  <a:close/>
                  <a:moveTo>
                    <a:pt x="708" y="1274"/>
                  </a:moveTo>
                  <a:lnTo>
                    <a:pt x="708" y="1272"/>
                  </a:lnTo>
                  <a:lnTo>
                    <a:pt x="710" y="1272"/>
                  </a:lnTo>
                  <a:lnTo>
                    <a:pt x="710" y="1274"/>
                  </a:lnTo>
                  <a:lnTo>
                    <a:pt x="708" y="1274"/>
                  </a:lnTo>
                  <a:close/>
                  <a:moveTo>
                    <a:pt x="757" y="1274"/>
                  </a:moveTo>
                  <a:lnTo>
                    <a:pt x="758" y="1274"/>
                  </a:lnTo>
                  <a:lnTo>
                    <a:pt x="758" y="1272"/>
                  </a:lnTo>
                  <a:lnTo>
                    <a:pt x="758" y="1274"/>
                  </a:lnTo>
                  <a:lnTo>
                    <a:pt x="758" y="1272"/>
                  </a:lnTo>
                  <a:lnTo>
                    <a:pt x="758" y="1274"/>
                  </a:lnTo>
                  <a:lnTo>
                    <a:pt x="758" y="1275"/>
                  </a:lnTo>
                  <a:lnTo>
                    <a:pt x="760" y="1275"/>
                  </a:lnTo>
                  <a:lnTo>
                    <a:pt x="760" y="1277"/>
                  </a:lnTo>
                  <a:lnTo>
                    <a:pt x="760" y="1275"/>
                  </a:lnTo>
                  <a:lnTo>
                    <a:pt x="758" y="1277"/>
                  </a:lnTo>
                  <a:lnTo>
                    <a:pt x="757" y="1277"/>
                  </a:lnTo>
                  <a:lnTo>
                    <a:pt x="755" y="1277"/>
                  </a:lnTo>
                  <a:lnTo>
                    <a:pt x="753" y="1277"/>
                  </a:lnTo>
                  <a:lnTo>
                    <a:pt x="753" y="1275"/>
                  </a:lnTo>
                  <a:lnTo>
                    <a:pt x="755" y="1275"/>
                  </a:lnTo>
                  <a:lnTo>
                    <a:pt x="755" y="1274"/>
                  </a:lnTo>
                  <a:lnTo>
                    <a:pt x="757" y="1274"/>
                  </a:lnTo>
                  <a:close/>
                  <a:moveTo>
                    <a:pt x="768" y="1272"/>
                  </a:moveTo>
                  <a:lnTo>
                    <a:pt x="766" y="1272"/>
                  </a:lnTo>
                  <a:lnTo>
                    <a:pt x="768" y="1272"/>
                  </a:lnTo>
                  <a:close/>
                  <a:moveTo>
                    <a:pt x="716" y="1271"/>
                  </a:moveTo>
                  <a:lnTo>
                    <a:pt x="716" y="1272"/>
                  </a:lnTo>
                  <a:lnTo>
                    <a:pt x="716" y="1271"/>
                  </a:lnTo>
                  <a:close/>
                  <a:moveTo>
                    <a:pt x="714" y="1271"/>
                  </a:moveTo>
                  <a:lnTo>
                    <a:pt x="716" y="1271"/>
                  </a:lnTo>
                  <a:lnTo>
                    <a:pt x="714" y="1271"/>
                  </a:lnTo>
                  <a:close/>
                  <a:moveTo>
                    <a:pt x="714" y="1271"/>
                  </a:moveTo>
                  <a:lnTo>
                    <a:pt x="716" y="1271"/>
                  </a:lnTo>
                  <a:lnTo>
                    <a:pt x="714" y="1271"/>
                  </a:lnTo>
                  <a:close/>
                  <a:moveTo>
                    <a:pt x="716" y="1271"/>
                  </a:moveTo>
                  <a:lnTo>
                    <a:pt x="718" y="1271"/>
                  </a:lnTo>
                  <a:lnTo>
                    <a:pt x="716" y="1271"/>
                  </a:lnTo>
                  <a:close/>
                  <a:moveTo>
                    <a:pt x="718" y="1271"/>
                  </a:moveTo>
                  <a:lnTo>
                    <a:pt x="718" y="1269"/>
                  </a:lnTo>
                  <a:lnTo>
                    <a:pt x="718" y="1271"/>
                  </a:lnTo>
                  <a:close/>
                  <a:moveTo>
                    <a:pt x="719" y="1271"/>
                  </a:moveTo>
                  <a:lnTo>
                    <a:pt x="721" y="1269"/>
                  </a:lnTo>
                  <a:lnTo>
                    <a:pt x="719" y="1271"/>
                  </a:lnTo>
                  <a:close/>
                  <a:moveTo>
                    <a:pt x="719" y="1269"/>
                  </a:moveTo>
                  <a:lnTo>
                    <a:pt x="719" y="1271"/>
                  </a:lnTo>
                  <a:lnTo>
                    <a:pt x="719" y="1269"/>
                  </a:lnTo>
                  <a:close/>
                  <a:moveTo>
                    <a:pt x="731" y="1271"/>
                  </a:moveTo>
                  <a:lnTo>
                    <a:pt x="729" y="1271"/>
                  </a:lnTo>
                  <a:lnTo>
                    <a:pt x="729" y="1269"/>
                  </a:lnTo>
                  <a:lnTo>
                    <a:pt x="731" y="1269"/>
                  </a:lnTo>
                  <a:lnTo>
                    <a:pt x="731" y="1271"/>
                  </a:lnTo>
                  <a:close/>
                  <a:moveTo>
                    <a:pt x="721" y="1271"/>
                  </a:moveTo>
                  <a:lnTo>
                    <a:pt x="721" y="1269"/>
                  </a:lnTo>
                  <a:lnTo>
                    <a:pt x="723" y="1269"/>
                  </a:lnTo>
                  <a:lnTo>
                    <a:pt x="723" y="1271"/>
                  </a:lnTo>
                  <a:lnTo>
                    <a:pt x="721" y="1271"/>
                  </a:lnTo>
                  <a:close/>
                  <a:moveTo>
                    <a:pt x="731" y="1269"/>
                  </a:moveTo>
                  <a:lnTo>
                    <a:pt x="732" y="1269"/>
                  </a:lnTo>
                  <a:lnTo>
                    <a:pt x="731" y="1269"/>
                  </a:lnTo>
                  <a:close/>
                  <a:moveTo>
                    <a:pt x="729" y="1271"/>
                  </a:moveTo>
                  <a:lnTo>
                    <a:pt x="727" y="1271"/>
                  </a:lnTo>
                  <a:lnTo>
                    <a:pt x="727" y="1269"/>
                  </a:lnTo>
                  <a:lnTo>
                    <a:pt x="729" y="1269"/>
                  </a:lnTo>
                  <a:lnTo>
                    <a:pt x="729" y="1271"/>
                  </a:lnTo>
                  <a:close/>
                  <a:moveTo>
                    <a:pt x="713" y="1269"/>
                  </a:moveTo>
                  <a:lnTo>
                    <a:pt x="714" y="1269"/>
                  </a:lnTo>
                  <a:lnTo>
                    <a:pt x="713" y="1269"/>
                  </a:lnTo>
                  <a:close/>
                  <a:moveTo>
                    <a:pt x="714" y="1269"/>
                  </a:moveTo>
                  <a:lnTo>
                    <a:pt x="716" y="1269"/>
                  </a:lnTo>
                  <a:lnTo>
                    <a:pt x="714" y="1269"/>
                  </a:lnTo>
                  <a:close/>
                  <a:moveTo>
                    <a:pt x="731" y="1269"/>
                  </a:moveTo>
                  <a:lnTo>
                    <a:pt x="729" y="1269"/>
                  </a:lnTo>
                  <a:lnTo>
                    <a:pt x="731" y="1269"/>
                  </a:lnTo>
                  <a:close/>
                  <a:moveTo>
                    <a:pt x="727" y="1269"/>
                  </a:moveTo>
                  <a:lnTo>
                    <a:pt x="729" y="1269"/>
                  </a:lnTo>
                  <a:lnTo>
                    <a:pt x="727" y="1269"/>
                  </a:lnTo>
                  <a:lnTo>
                    <a:pt x="729" y="1269"/>
                  </a:lnTo>
                  <a:lnTo>
                    <a:pt x="727" y="1269"/>
                  </a:lnTo>
                  <a:lnTo>
                    <a:pt x="726" y="1269"/>
                  </a:lnTo>
                  <a:lnTo>
                    <a:pt x="727" y="1269"/>
                  </a:lnTo>
                  <a:close/>
                  <a:moveTo>
                    <a:pt x="719" y="1269"/>
                  </a:moveTo>
                  <a:lnTo>
                    <a:pt x="718" y="1269"/>
                  </a:lnTo>
                  <a:lnTo>
                    <a:pt x="718" y="1267"/>
                  </a:lnTo>
                  <a:lnTo>
                    <a:pt x="719" y="1267"/>
                  </a:lnTo>
                  <a:lnTo>
                    <a:pt x="719" y="1269"/>
                  </a:lnTo>
                  <a:close/>
                  <a:moveTo>
                    <a:pt x="731" y="1267"/>
                  </a:moveTo>
                  <a:lnTo>
                    <a:pt x="729" y="1267"/>
                  </a:lnTo>
                  <a:lnTo>
                    <a:pt x="731" y="1267"/>
                  </a:lnTo>
                  <a:close/>
                  <a:moveTo>
                    <a:pt x="727" y="1266"/>
                  </a:moveTo>
                  <a:lnTo>
                    <a:pt x="729" y="1266"/>
                  </a:lnTo>
                  <a:lnTo>
                    <a:pt x="727" y="1266"/>
                  </a:lnTo>
                  <a:close/>
                  <a:moveTo>
                    <a:pt x="765" y="1266"/>
                  </a:moveTo>
                  <a:lnTo>
                    <a:pt x="765" y="1264"/>
                  </a:lnTo>
                  <a:lnTo>
                    <a:pt x="765" y="1266"/>
                  </a:lnTo>
                  <a:close/>
                  <a:moveTo>
                    <a:pt x="729" y="1266"/>
                  </a:moveTo>
                  <a:lnTo>
                    <a:pt x="729" y="1264"/>
                  </a:lnTo>
                  <a:lnTo>
                    <a:pt x="729" y="1266"/>
                  </a:lnTo>
                  <a:close/>
                  <a:moveTo>
                    <a:pt x="740" y="1264"/>
                  </a:moveTo>
                  <a:lnTo>
                    <a:pt x="739" y="1264"/>
                  </a:lnTo>
                  <a:lnTo>
                    <a:pt x="740" y="1264"/>
                  </a:lnTo>
                  <a:close/>
                  <a:moveTo>
                    <a:pt x="731" y="1264"/>
                  </a:moveTo>
                  <a:lnTo>
                    <a:pt x="731" y="1262"/>
                  </a:lnTo>
                  <a:lnTo>
                    <a:pt x="731" y="1264"/>
                  </a:lnTo>
                  <a:close/>
                  <a:moveTo>
                    <a:pt x="749" y="1262"/>
                  </a:moveTo>
                  <a:lnTo>
                    <a:pt x="749" y="1264"/>
                  </a:lnTo>
                  <a:lnTo>
                    <a:pt x="749" y="1262"/>
                  </a:lnTo>
                  <a:close/>
                  <a:moveTo>
                    <a:pt x="737" y="1262"/>
                  </a:moveTo>
                  <a:lnTo>
                    <a:pt x="739" y="1262"/>
                  </a:lnTo>
                  <a:lnTo>
                    <a:pt x="737" y="1262"/>
                  </a:lnTo>
                  <a:close/>
                  <a:moveTo>
                    <a:pt x="736" y="1262"/>
                  </a:moveTo>
                  <a:lnTo>
                    <a:pt x="736" y="1261"/>
                  </a:lnTo>
                  <a:lnTo>
                    <a:pt x="736" y="1262"/>
                  </a:lnTo>
                  <a:close/>
                  <a:moveTo>
                    <a:pt x="737" y="1261"/>
                  </a:moveTo>
                  <a:lnTo>
                    <a:pt x="737" y="1262"/>
                  </a:lnTo>
                  <a:lnTo>
                    <a:pt x="736" y="1262"/>
                  </a:lnTo>
                  <a:lnTo>
                    <a:pt x="737" y="1262"/>
                  </a:lnTo>
                  <a:lnTo>
                    <a:pt x="737" y="1261"/>
                  </a:lnTo>
                  <a:close/>
                  <a:moveTo>
                    <a:pt x="737" y="1261"/>
                  </a:moveTo>
                  <a:lnTo>
                    <a:pt x="739" y="1261"/>
                  </a:lnTo>
                  <a:lnTo>
                    <a:pt x="737" y="1261"/>
                  </a:lnTo>
                  <a:close/>
                  <a:moveTo>
                    <a:pt x="739" y="1261"/>
                  </a:moveTo>
                  <a:lnTo>
                    <a:pt x="737" y="1261"/>
                  </a:lnTo>
                  <a:lnTo>
                    <a:pt x="739" y="1261"/>
                  </a:lnTo>
                  <a:close/>
                  <a:moveTo>
                    <a:pt x="736" y="1259"/>
                  </a:moveTo>
                  <a:lnTo>
                    <a:pt x="736" y="1261"/>
                  </a:lnTo>
                  <a:lnTo>
                    <a:pt x="736" y="1259"/>
                  </a:lnTo>
                  <a:close/>
                  <a:moveTo>
                    <a:pt x="737" y="1259"/>
                  </a:moveTo>
                  <a:lnTo>
                    <a:pt x="737" y="1261"/>
                  </a:lnTo>
                  <a:lnTo>
                    <a:pt x="737" y="1259"/>
                  </a:lnTo>
                  <a:close/>
                  <a:moveTo>
                    <a:pt x="739" y="1261"/>
                  </a:moveTo>
                  <a:lnTo>
                    <a:pt x="739" y="1259"/>
                  </a:lnTo>
                  <a:lnTo>
                    <a:pt x="739" y="1261"/>
                  </a:lnTo>
                  <a:close/>
                  <a:moveTo>
                    <a:pt x="742" y="1261"/>
                  </a:moveTo>
                  <a:lnTo>
                    <a:pt x="742" y="1262"/>
                  </a:lnTo>
                  <a:lnTo>
                    <a:pt x="742" y="1264"/>
                  </a:lnTo>
                  <a:lnTo>
                    <a:pt x="740" y="1264"/>
                  </a:lnTo>
                  <a:lnTo>
                    <a:pt x="742" y="1262"/>
                  </a:lnTo>
                  <a:lnTo>
                    <a:pt x="740" y="1262"/>
                  </a:lnTo>
                  <a:lnTo>
                    <a:pt x="740" y="1261"/>
                  </a:lnTo>
                  <a:lnTo>
                    <a:pt x="740" y="1259"/>
                  </a:lnTo>
                  <a:lnTo>
                    <a:pt x="742" y="1259"/>
                  </a:lnTo>
                  <a:lnTo>
                    <a:pt x="742" y="1261"/>
                  </a:lnTo>
                  <a:close/>
                  <a:moveTo>
                    <a:pt x="768" y="1259"/>
                  </a:moveTo>
                  <a:lnTo>
                    <a:pt x="766" y="1259"/>
                  </a:lnTo>
                  <a:lnTo>
                    <a:pt x="768" y="1259"/>
                  </a:lnTo>
                  <a:lnTo>
                    <a:pt x="766" y="1261"/>
                  </a:lnTo>
                  <a:lnTo>
                    <a:pt x="766" y="1259"/>
                  </a:lnTo>
                  <a:lnTo>
                    <a:pt x="768" y="1259"/>
                  </a:lnTo>
                  <a:close/>
                  <a:moveTo>
                    <a:pt x="742" y="1258"/>
                  </a:moveTo>
                  <a:lnTo>
                    <a:pt x="742" y="1259"/>
                  </a:lnTo>
                  <a:lnTo>
                    <a:pt x="742" y="1258"/>
                  </a:lnTo>
                  <a:close/>
                  <a:moveTo>
                    <a:pt x="768" y="1259"/>
                  </a:moveTo>
                  <a:lnTo>
                    <a:pt x="770" y="1259"/>
                  </a:lnTo>
                  <a:lnTo>
                    <a:pt x="770" y="1258"/>
                  </a:lnTo>
                  <a:lnTo>
                    <a:pt x="771" y="1258"/>
                  </a:lnTo>
                  <a:lnTo>
                    <a:pt x="770" y="1259"/>
                  </a:lnTo>
                  <a:lnTo>
                    <a:pt x="768" y="1259"/>
                  </a:lnTo>
                  <a:close/>
                  <a:moveTo>
                    <a:pt x="786" y="1259"/>
                  </a:moveTo>
                  <a:lnTo>
                    <a:pt x="786" y="1258"/>
                  </a:lnTo>
                  <a:lnTo>
                    <a:pt x="788" y="1258"/>
                  </a:lnTo>
                  <a:lnTo>
                    <a:pt x="786" y="1259"/>
                  </a:lnTo>
                  <a:close/>
                  <a:moveTo>
                    <a:pt x="750" y="1258"/>
                  </a:moveTo>
                  <a:lnTo>
                    <a:pt x="752" y="1258"/>
                  </a:lnTo>
                  <a:lnTo>
                    <a:pt x="750" y="1258"/>
                  </a:lnTo>
                  <a:close/>
                  <a:moveTo>
                    <a:pt x="775" y="1258"/>
                  </a:moveTo>
                  <a:lnTo>
                    <a:pt x="775" y="1256"/>
                  </a:lnTo>
                  <a:lnTo>
                    <a:pt x="775" y="1258"/>
                  </a:lnTo>
                  <a:close/>
                  <a:moveTo>
                    <a:pt x="721" y="1258"/>
                  </a:moveTo>
                  <a:lnTo>
                    <a:pt x="723" y="1256"/>
                  </a:lnTo>
                  <a:lnTo>
                    <a:pt x="721" y="1258"/>
                  </a:lnTo>
                  <a:close/>
                  <a:moveTo>
                    <a:pt x="745" y="1256"/>
                  </a:moveTo>
                  <a:lnTo>
                    <a:pt x="747" y="1256"/>
                  </a:lnTo>
                  <a:lnTo>
                    <a:pt x="747" y="1258"/>
                  </a:lnTo>
                  <a:lnTo>
                    <a:pt x="747" y="1259"/>
                  </a:lnTo>
                  <a:lnTo>
                    <a:pt x="747" y="1261"/>
                  </a:lnTo>
                  <a:lnTo>
                    <a:pt x="747" y="1262"/>
                  </a:lnTo>
                  <a:lnTo>
                    <a:pt x="749" y="1262"/>
                  </a:lnTo>
                  <a:lnTo>
                    <a:pt x="747" y="1264"/>
                  </a:lnTo>
                  <a:lnTo>
                    <a:pt x="747" y="1266"/>
                  </a:lnTo>
                  <a:lnTo>
                    <a:pt x="747" y="1267"/>
                  </a:lnTo>
                  <a:lnTo>
                    <a:pt x="747" y="1269"/>
                  </a:lnTo>
                  <a:lnTo>
                    <a:pt x="749" y="1269"/>
                  </a:lnTo>
                  <a:lnTo>
                    <a:pt x="749" y="1271"/>
                  </a:lnTo>
                  <a:lnTo>
                    <a:pt x="750" y="1271"/>
                  </a:lnTo>
                  <a:lnTo>
                    <a:pt x="750" y="1272"/>
                  </a:lnTo>
                  <a:lnTo>
                    <a:pt x="750" y="1274"/>
                  </a:lnTo>
                  <a:lnTo>
                    <a:pt x="749" y="1274"/>
                  </a:lnTo>
                  <a:lnTo>
                    <a:pt x="744" y="1277"/>
                  </a:lnTo>
                  <a:lnTo>
                    <a:pt x="742" y="1277"/>
                  </a:lnTo>
                  <a:lnTo>
                    <a:pt x="740" y="1279"/>
                  </a:lnTo>
                  <a:lnTo>
                    <a:pt x="739" y="1279"/>
                  </a:lnTo>
                  <a:lnTo>
                    <a:pt x="739" y="1280"/>
                  </a:lnTo>
                  <a:lnTo>
                    <a:pt x="737" y="1280"/>
                  </a:lnTo>
                  <a:lnTo>
                    <a:pt x="736" y="1280"/>
                  </a:lnTo>
                  <a:lnTo>
                    <a:pt x="736" y="1282"/>
                  </a:lnTo>
                  <a:lnTo>
                    <a:pt x="734" y="1282"/>
                  </a:lnTo>
                  <a:lnTo>
                    <a:pt x="736" y="1280"/>
                  </a:lnTo>
                  <a:lnTo>
                    <a:pt x="734" y="1280"/>
                  </a:lnTo>
                  <a:lnTo>
                    <a:pt x="736" y="1280"/>
                  </a:lnTo>
                  <a:lnTo>
                    <a:pt x="736" y="1279"/>
                  </a:lnTo>
                  <a:lnTo>
                    <a:pt x="734" y="1279"/>
                  </a:lnTo>
                  <a:lnTo>
                    <a:pt x="732" y="1277"/>
                  </a:lnTo>
                  <a:lnTo>
                    <a:pt x="731" y="1277"/>
                  </a:lnTo>
                  <a:lnTo>
                    <a:pt x="731" y="1275"/>
                  </a:lnTo>
                  <a:lnTo>
                    <a:pt x="729" y="1275"/>
                  </a:lnTo>
                  <a:lnTo>
                    <a:pt x="727" y="1275"/>
                  </a:lnTo>
                  <a:lnTo>
                    <a:pt x="726" y="1274"/>
                  </a:lnTo>
                  <a:lnTo>
                    <a:pt x="727" y="1272"/>
                  </a:lnTo>
                  <a:lnTo>
                    <a:pt x="729" y="1272"/>
                  </a:lnTo>
                  <a:lnTo>
                    <a:pt x="729" y="1271"/>
                  </a:lnTo>
                  <a:lnTo>
                    <a:pt x="729" y="1272"/>
                  </a:lnTo>
                  <a:lnTo>
                    <a:pt x="729" y="1271"/>
                  </a:lnTo>
                  <a:lnTo>
                    <a:pt x="731" y="1271"/>
                  </a:lnTo>
                  <a:lnTo>
                    <a:pt x="729" y="1271"/>
                  </a:lnTo>
                  <a:lnTo>
                    <a:pt x="731" y="1271"/>
                  </a:lnTo>
                  <a:lnTo>
                    <a:pt x="732" y="1269"/>
                  </a:lnTo>
                  <a:lnTo>
                    <a:pt x="734" y="1269"/>
                  </a:lnTo>
                  <a:lnTo>
                    <a:pt x="732" y="1269"/>
                  </a:lnTo>
                  <a:lnTo>
                    <a:pt x="731" y="1269"/>
                  </a:lnTo>
                  <a:lnTo>
                    <a:pt x="729" y="1269"/>
                  </a:lnTo>
                  <a:lnTo>
                    <a:pt x="731" y="1267"/>
                  </a:lnTo>
                  <a:lnTo>
                    <a:pt x="729" y="1267"/>
                  </a:lnTo>
                  <a:lnTo>
                    <a:pt x="729" y="1266"/>
                  </a:lnTo>
                  <a:lnTo>
                    <a:pt x="731" y="1266"/>
                  </a:lnTo>
                  <a:lnTo>
                    <a:pt x="729" y="1266"/>
                  </a:lnTo>
                  <a:lnTo>
                    <a:pt x="729" y="1264"/>
                  </a:lnTo>
                  <a:lnTo>
                    <a:pt x="731" y="1264"/>
                  </a:lnTo>
                  <a:lnTo>
                    <a:pt x="729" y="1266"/>
                  </a:lnTo>
                  <a:lnTo>
                    <a:pt x="731" y="1266"/>
                  </a:lnTo>
                  <a:lnTo>
                    <a:pt x="731" y="1264"/>
                  </a:lnTo>
                  <a:lnTo>
                    <a:pt x="731" y="1266"/>
                  </a:lnTo>
                  <a:lnTo>
                    <a:pt x="731" y="1264"/>
                  </a:lnTo>
                  <a:lnTo>
                    <a:pt x="731" y="1266"/>
                  </a:lnTo>
                  <a:lnTo>
                    <a:pt x="731" y="1264"/>
                  </a:lnTo>
                  <a:lnTo>
                    <a:pt x="732" y="1264"/>
                  </a:lnTo>
                  <a:lnTo>
                    <a:pt x="731" y="1264"/>
                  </a:lnTo>
                  <a:lnTo>
                    <a:pt x="731" y="1262"/>
                  </a:lnTo>
                  <a:lnTo>
                    <a:pt x="731" y="1264"/>
                  </a:lnTo>
                  <a:lnTo>
                    <a:pt x="732" y="1264"/>
                  </a:lnTo>
                  <a:lnTo>
                    <a:pt x="732" y="1262"/>
                  </a:lnTo>
                  <a:lnTo>
                    <a:pt x="732" y="1264"/>
                  </a:lnTo>
                  <a:lnTo>
                    <a:pt x="734" y="1262"/>
                  </a:lnTo>
                  <a:lnTo>
                    <a:pt x="732" y="1262"/>
                  </a:lnTo>
                  <a:lnTo>
                    <a:pt x="734" y="1262"/>
                  </a:lnTo>
                  <a:lnTo>
                    <a:pt x="736" y="1262"/>
                  </a:lnTo>
                  <a:lnTo>
                    <a:pt x="734" y="1262"/>
                  </a:lnTo>
                  <a:lnTo>
                    <a:pt x="736" y="1262"/>
                  </a:lnTo>
                  <a:lnTo>
                    <a:pt x="736" y="1264"/>
                  </a:lnTo>
                  <a:lnTo>
                    <a:pt x="734" y="1264"/>
                  </a:lnTo>
                  <a:lnTo>
                    <a:pt x="732" y="1264"/>
                  </a:lnTo>
                  <a:lnTo>
                    <a:pt x="734" y="1264"/>
                  </a:lnTo>
                  <a:lnTo>
                    <a:pt x="736" y="1264"/>
                  </a:lnTo>
                  <a:lnTo>
                    <a:pt x="737" y="1264"/>
                  </a:lnTo>
                  <a:lnTo>
                    <a:pt x="737" y="1266"/>
                  </a:lnTo>
                  <a:lnTo>
                    <a:pt x="736" y="1266"/>
                  </a:lnTo>
                  <a:lnTo>
                    <a:pt x="737" y="1266"/>
                  </a:lnTo>
                  <a:lnTo>
                    <a:pt x="739" y="1266"/>
                  </a:lnTo>
                  <a:lnTo>
                    <a:pt x="739" y="1267"/>
                  </a:lnTo>
                  <a:lnTo>
                    <a:pt x="739" y="1266"/>
                  </a:lnTo>
                  <a:lnTo>
                    <a:pt x="740" y="1266"/>
                  </a:lnTo>
                  <a:lnTo>
                    <a:pt x="739" y="1266"/>
                  </a:lnTo>
                  <a:lnTo>
                    <a:pt x="740" y="1266"/>
                  </a:lnTo>
                  <a:lnTo>
                    <a:pt x="740" y="1267"/>
                  </a:lnTo>
                  <a:lnTo>
                    <a:pt x="739" y="1267"/>
                  </a:lnTo>
                  <a:lnTo>
                    <a:pt x="740" y="1267"/>
                  </a:lnTo>
                  <a:lnTo>
                    <a:pt x="742" y="1267"/>
                  </a:lnTo>
                  <a:lnTo>
                    <a:pt x="742" y="1266"/>
                  </a:lnTo>
                  <a:lnTo>
                    <a:pt x="740" y="1266"/>
                  </a:lnTo>
                  <a:lnTo>
                    <a:pt x="742" y="1264"/>
                  </a:lnTo>
                  <a:lnTo>
                    <a:pt x="744" y="1264"/>
                  </a:lnTo>
                  <a:lnTo>
                    <a:pt x="745" y="1262"/>
                  </a:lnTo>
                  <a:lnTo>
                    <a:pt x="744" y="1262"/>
                  </a:lnTo>
                  <a:lnTo>
                    <a:pt x="745" y="1262"/>
                  </a:lnTo>
                  <a:lnTo>
                    <a:pt x="744" y="1262"/>
                  </a:lnTo>
                  <a:lnTo>
                    <a:pt x="744" y="1261"/>
                  </a:lnTo>
                  <a:lnTo>
                    <a:pt x="744" y="1262"/>
                  </a:lnTo>
                  <a:lnTo>
                    <a:pt x="742" y="1262"/>
                  </a:lnTo>
                  <a:lnTo>
                    <a:pt x="744" y="1261"/>
                  </a:lnTo>
                  <a:lnTo>
                    <a:pt x="745" y="1261"/>
                  </a:lnTo>
                  <a:lnTo>
                    <a:pt x="744" y="1259"/>
                  </a:lnTo>
                  <a:lnTo>
                    <a:pt x="745" y="1259"/>
                  </a:lnTo>
                  <a:lnTo>
                    <a:pt x="744" y="1259"/>
                  </a:lnTo>
                  <a:lnTo>
                    <a:pt x="744" y="1258"/>
                  </a:lnTo>
                  <a:lnTo>
                    <a:pt x="742" y="1258"/>
                  </a:lnTo>
                  <a:lnTo>
                    <a:pt x="740" y="1258"/>
                  </a:lnTo>
                  <a:lnTo>
                    <a:pt x="742" y="1258"/>
                  </a:lnTo>
                  <a:lnTo>
                    <a:pt x="742" y="1256"/>
                  </a:lnTo>
                  <a:lnTo>
                    <a:pt x="742" y="1258"/>
                  </a:lnTo>
                  <a:lnTo>
                    <a:pt x="742" y="1256"/>
                  </a:lnTo>
                  <a:lnTo>
                    <a:pt x="744" y="1256"/>
                  </a:lnTo>
                  <a:lnTo>
                    <a:pt x="745" y="1256"/>
                  </a:lnTo>
                  <a:close/>
                  <a:moveTo>
                    <a:pt x="779" y="1254"/>
                  </a:moveTo>
                  <a:lnTo>
                    <a:pt x="778" y="1256"/>
                  </a:lnTo>
                  <a:lnTo>
                    <a:pt x="779" y="1254"/>
                  </a:lnTo>
                  <a:close/>
                  <a:moveTo>
                    <a:pt x="804" y="1254"/>
                  </a:moveTo>
                  <a:lnTo>
                    <a:pt x="802" y="1254"/>
                  </a:lnTo>
                  <a:lnTo>
                    <a:pt x="804" y="1254"/>
                  </a:lnTo>
                  <a:close/>
                  <a:moveTo>
                    <a:pt x="766" y="1254"/>
                  </a:moveTo>
                  <a:lnTo>
                    <a:pt x="766" y="1253"/>
                  </a:lnTo>
                  <a:lnTo>
                    <a:pt x="766" y="1254"/>
                  </a:lnTo>
                  <a:close/>
                  <a:moveTo>
                    <a:pt x="768" y="1253"/>
                  </a:moveTo>
                  <a:lnTo>
                    <a:pt x="770" y="1253"/>
                  </a:lnTo>
                  <a:lnTo>
                    <a:pt x="768" y="1253"/>
                  </a:lnTo>
                  <a:close/>
                  <a:moveTo>
                    <a:pt x="758" y="1253"/>
                  </a:moveTo>
                  <a:lnTo>
                    <a:pt x="758" y="1254"/>
                  </a:lnTo>
                  <a:lnTo>
                    <a:pt x="760" y="1253"/>
                  </a:lnTo>
                  <a:lnTo>
                    <a:pt x="760" y="1254"/>
                  </a:lnTo>
                  <a:lnTo>
                    <a:pt x="760" y="1256"/>
                  </a:lnTo>
                  <a:lnTo>
                    <a:pt x="762" y="1256"/>
                  </a:lnTo>
                  <a:lnTo>
                    <a:pt x="760" y="1258"/>
                  </a:lnTo>
                  <a:lnTo>
                    <a:pt x="757" y="1258"/>
                  </a:lnTo>
                  <a:lnTo>
                    <a:pt x="758" y="1258"/>
                  </a:lnTo>
                  <a:lnTo>
                    <a:pt x="757" y="1258"/>
                  </a:lnTo>
                  <a:lnTo>
                    <a:pt x="758" y="1258"/>
                  </a:lnTo>
                  <a:lnTo>
                    <a:pt x="760" y="1258"/>
                  </a:lnTo>
                  <a:lnTo>
                    <a:pt x="762" y="1258"/>
                  </a:lnTo>
                  <a:lnTo>
                    <a:pt x="760" y="1258"/>
                  </a:lnTo>
                  <a:lnTo>
                    <a:pt x="762" y="1258"/>
                  </a:lnTo>
                  <a:lnTo>
                    <a:pt x="762" y="1259"/>
                  </a:lnTo>
                  <a:lnTo>
                    <a:pt x="763" y="1259"/>
                  </a:lnTo>
                  <a:lnTo>
                    <a:pt x="762" y="1259"/>
                  </a:lnTo>
                  <a:lnTo>
                    <a:pt x="763" y="1259"/>
                  </a:lnTo>
                  <a:lnTo>
                    <a:pt x="762" y="1259"/>
                  </a:lnTo>
                  <a:lnTo>
                    <a:pt x="763" y="1259"/>
                  </a:lnTo>
                  <a:lnTo>
                    <a:pt x="762" y="1261"/>
                  </a:lnTo>
                  <a:lnTo>
                    <a:pt x="762" y="1262"/>
                  </a:lnTo>
                  <a:lnTo>
                    <a:pt x="762" y="1264"/>
                  </a:lnTo>
                  <a:lnTo>
                    <a:pt x="760" y="1266"/>
                  </a:lnTo>
                  <a:lnTo>
                    <a:pt x="758" y="1267"/>
                  </a:lnTo>
                  <a:lnTo>
                    <a:pt x="757" y="1267"/>
                  </a:lnTo>
                  <a:lnTo>
                    <a:pt x="757" y="1269"/>
                  </a:lnTo>
                  <a:lnTo>
                    <a:pt x="755" y="1269"/>
                  </a:lnTo>
                  <a:lnTo>
                    <a:pt x="753" y="1269"/>
                  </a:lnTo>
                  <a:lnTo>
                    <a:pt x="755" y="1269"/>
                  </a:lnTo>
                  <a:lnTo>
                    <a:pt x="755" y="1271"/>
                  </a:lnTo>
                  <a:lnTo>
                    <a:pt x="753" y="1271"/>
                  </a:lnTo>
                  <a:lnTo>
                    <a:pt x="752" y="1271"/>
                  </a:lnTo>
                  <a:lnTo>
                    <a:pt x="753" y="1269"/>
                  </a:lnTo>
                  <a:lnTo>
                    <a:pt x="752" y="1271"/>
                  </a:lnTo>
                  <a:lnTo>
                    <a:pt x="752" y="1269"/>
                  </a:lnTo>
                  <a:lnTo>
                    <a:pt x="753" y="1269"/>
                  </a:lnTo>
                  <a:lnTo>
                    <a:pt x="752" y="1269"/>
                  </a:lnTo>
                  <a:lnTo>
                    <a:pt x="752" y="1267"/>
                  </a:lnTo>
                  <a:lnTo>
                    <a:pt x="749" y="1267"/>
                  </a:lnTo>
                  <a:lnTo>
                    <a:pt x="750" y="1266"/>
                  </a:lnTo>
                  <a:lnTo>
                    <a:pt x="749" y="1266"/>
                  </a:lnTo>
                  <a:lnTo>
                    <a:pt x="750" y="1266"/>
                  </a:lnTo>
                  <a:lnTo>
                    <a:pt x="749" y="1266"/>
                  </a:lnTo>
                  <a:lnTo>
                    <a:pt x="749" y="1264"/>
                  </a:lnTo>
                  <a:lnTo>
                    <a:pt x="750" y="1266"/>
                  </a:lnTo>
                  <a:lnTo>
                    <a:pt x="750" y="1264"/>
                  </a:lnTo>
                  <a:lnTo>
                    <a:pt x="749" y="1264"/>
                  </a:lnTo>
                  <a:lnTo>
                    <a:pt x="750" y="1264"/>
                  </a:lnTo>
                  <a:lnTo>
                    <a:pt x="750" y="1266"/>
                  </a:lnTo>
                  <a:lnTo>
                    <a:pt x="750" y="1264"/>
                  </a:lnTo>
                  <a:lnTo>
                    <a:pt x="750" y="1262"/>
                  </a:lnTo>
                  <a:lnTo>
                    <a:pt x="750" y="1261"/>
                  </a:lnTo>
                  <a:lnTo>
                    <a:pt x="752" y="1259"/>
                  </a:lnTo>
                  <a:lnTo>
                    <a:pt x="753" y="1259"/>
                  </a:lnTo>
                  <a:lnTo>
                    <a:pt x="753" y="1261"/>
                  </a:lnTo>
                  <a:lnTo>
                    <a:pt x="753" y="1259"/>
                  </a:lnTo>
                  <a:lnTo>
                    <a:pt x="755" y="1259"/>
                  </a:lnTo>
                  <a:lnTo>
                    <a:pt x="753" y="1261"/>
                  </a:lnTo>
                  <a:lnTo>
                    <a:pt x="755" y="1261"/>
                  </a:lnTo>
                  <a:lnTo>
                    <a:pt x="755" y="1259"/>
                  </a:lnTo>
                  <a:lnTo>
                    <a:pt x="757" y="1259"/>
                  </a:lnTo>
                  <a:lnTo>
                    <a:pt x="757" y="1258"/>
                  </a:lnTo>
                  <a:lnTo>
                    <a:pt x="755" y="1258"/>
                  </a:lnTo>
                  <a:lnTo>
                    <a:pt x="757" y="1258"/>
                  </a:lnTo>
                  <a:lnTo>
                    <a:pt x="755" y="1258"/>
                  </a:lnTo>
                  <a:lnTo>
                    <a:pt x="753" y="1258"/>
                  </a:lnTo>
                  <a:lnTo>
                    <a:pt x="752" y="1258"/>
                  </a:lnTo>
                  <a:lnTo>
                    <a:pt x="752" y="1256"/>
                  </a:lnTo>
                  <a:lnTo>
                    <a:pt x="753" y="1256"/>
                  </a:lnTo>
                  <a:lnTo>
                    <a:pt x="752" y="1256"/>
                  </a:lnTo>
                  <a:lnTo>
                    <a:pt x="752" y="1258"/>
                  </a:lnTo>
                  <a:lnTo>
                    <a:pt x="750" y="1258"/>
                  </a:lnTo>
                  <a:lnTo>
                    <a:pt x="750" y="1256"/>
                  </a:lnTo>
                  <a:lnTo>
                    <a:pt x="749" y="1256"/>
                  </a:lnTo>
                  <a:lnTo>
                    <a:pt x="750" y="1254"/>
                  </a:lnTo>
                  <a:lnTo>
                    <a:pt x="749" y="1254"/>
                  </a:lnTo>
                  <a:lnTo>
                    <a:pt x="749" y="1256"/>
                  </a:lnTo>
                  <a:lnTo>
                    <a:pt x="749" y="1254"/>
                  </a:lnTo>
                  <a:lnTo>
                    <a:pt x="750" y="1254"/>
                  </a:lnTo>
                  <a:lnTo>
                    <a:pt x="752" y="1254"/>
                  </a:lnTo>
                  <a:lnTo>
                    <a:pt x="752" y="1253"/>
                  </a:lnTo>
                  <a:lnTo>
                    <a:pt x="752" y="1254"/>
                  </a:lnTo>
                  <a:lnTo>
                    <a:pt x="753" y="1254"/>
                  </a:lnTo>
                  <a:lnTo>
                    <a:pt x="755" y="1254"/>
                  </a:lnTo>
                  <a:lnTo>
                    <a:pt x="753" y="1254"/>
                  </a:lnTo>
                  <a:lnTo>
                    <a:pt x="753" y="1256"/>
                  </a:lnTo>
                  <a:lnTo>
                    <a:pt x="755" y="1256"/>
                  </a:lnTo>
                  <a:lnTo>
                    <a:pt x="755" y="1254"/>
                  </a:lnTo>
                  <a:lnTo>
                    <a:pt x="757" y="1254"/>
                  </a:lnTo>
                  <a:lnTo>
                    <a:pt x="757" y="1253"/>
                  </a:lnTo>
                  <a:lnTo>
                    <a:pt x="757" y="1254"/>
                  </a:lnTo>
                  <a:lnTo>
                    <a:pt x="758" y="1254"/>
                  </a:lnTo>
                  <a:lnTo>
                    <a:pt x="758" y="1253"/>
                  </a:lnTo>
                  <a:close/>
                  <a:moveTo>
                    <a:pt x="766" y="1253"/>
                  </a:moveTo>
                  <a:lnTo>
                    <a:pt x="765" y="1253"/>
                  </a:lnTo>
                  <a:lnTo>
                    <a:pt x="766" y="1253"/>
                  </a:lnTo>
                  <a:close/>
                  <a:moveTo>
                    <a:pt x="804" y="1253"/>
                  </a:moveTo>
                  <a:lnTo>
                    <a:pt x="804" y="1251"/>
                  </a:lnTo>
                  <a:lnTo>
                    <a:pt x="805" y="1251"/>
                  </a:lnTo>
                  <a:lnTo>
                    <a:pt x="805" y="1253"/>
                  </a:lnTo>
                  <a:lnTo>
                    <a:pt x="804" y="1253"/>
                  </a:lnTo>
                  <a:lnTo>
                    <a:pt x="805" y="1253"/>
                  </a:lnTo>
                  <a:lnTo>
                    <a:pt x="804" y="1254"/>
                  </a:lnTo>
                  <a:lnTo>
                    <a:pt x="804" y="1253"/>
                  </a:lnTo>
                  <a:lnTo>
                    <a:pt x="802" y="1254"/>
                  </a:lnTo>
                  <a:lnTo>
                    <a:pt x="802" y="1253"/>
                  </a:lnTo>
                  <a:lnTo>
                    <a:pt x="804" y="1253"/>
                  </a:lnTo>
                  <a:lnTo>
                    <a:pt x="804" y="1251"/>
                  </a:lnTo>
                  <a:lnTo>
                    <a:pt x="804" y="1253"/>
                  </a:lnTo>
                  <a:close/>
                  <a:moveTo>
                    <a:pt x="765" y="1253"/>
                  </a:moveTo>
                  <a:lnTo>
                    <a:pt x="765" y="1251"/>
                  </a:lnTo>
                  <a:lnTo>
                    <a:pt x="765" y="1253"/>
                  </a:lnTo>
                  <a:close/>
                  <a:moveTo>
                    <a:pt x="758" y="1249"/>
                  </a:moveTo>
                  <a:lnTo>
                    <a:pt x="758" y="1248"/>
                  </a:lnTo>
                  <a:lnTo>
                    <a:pt x="758" y="1249"/>
                  </a:lnTo>
                  <a:close/>
                  <a:moveTo>
                    <a:pt x="762" y="1248"/>
                  </a:moveTo>
                  <a:lnTo>
                    <a:pt x="762" y="1249"/>
                  </a:lnTo>
                  <a:lnTo>
                    <a:pt x="762" y="1248"/>
                  </a:lnTo>
                  <a:lnTo>
                    <a:pt x="763" y="1248"/>
                  </a:lnTo>
                  <a:lnTo>
                    <a:pt x="762" y="1249"/>
                  </a:lnTo>
                  <a:lnTo>
                    <a:pt x="760" y="1249"/>
                  </a:lnTo>
                  <a:lnTo>
                    <a:pt x="762" y="1249"/>
                  </a:lnTo>
                  <a:lnTo>
                    <a:pt x="760" y="1249"/>
                  </a:lnTo>
                  <a:lnTo>
                    <a:pt x="762" y="1249"/>
                  </a:lnTo>
                  <a:lnTo>
                    <a:pt x="762" y="1248"/>
                  </a:lnTo>
                  <a:close/>
                  <a:moveTo>
                    <a:pt x="758" y="1248"/>
                  </a:moveTo>
                  <a:lnTo>
                    <a:pt x="758" y="1249"/>
                  </a:lnTo>
                  <a:lnTo>
                    <a:pt x="758" y="1248"/>
                  </a:lnTo>
                  <a:close/>
                  <a:moveTo>
                    <a:pt x="807" y="1248"/>
                  </a:moveTo>
                  <a:lnTo>
                    <a:pt x="809" y="1248"/>
                  </a:lnTo>
                  <a:lnTo>
                    <a:pt x="807" y="1248"/>
                  </a:lnTo>
                  <a:close/>
                  <a:moveTo>
                    <a:pt x="757" y="1248"/>
                  </a:moveTo>
                  <a:lnTo>
                    <a:pt x="758" y="1248"/>
                  </a:lnTo>
                  <a:lnTo>
                    <a:pt x="757" y="1248"/>
                  </a:lnTo>
                  <a:close/>
                  <a:moveTo>
                    <a:pt x="760" y="1248"/>
                  </a:moveTo>
                  <a:lnTo>
                    <a:pt x="762" y="1248"/>
                  </a:lnTo>
                  <a:lnTo>
                    <a:pt x="760" y="1249"/>
                  </a:lnTo>
                  <a:lnTo>
                    <a:pt x="758" y="1249"/>
                  </a:lnTo>
                  <a:lnTo>
                    <a:pt x="758" y="1248"/>
                  </a:lnTo>
                  <a:lnTo>
                    <a:pt x="760" y="1248"/>
                  </a:lnTo>
                  <a:close/>
                  <a:moveTo>
                    <a:pt x="757" y="1248"/>
                  </a:moveTo>
                  <a:lnTo>
                    <a:pt x="758" y="1248"/>
                  </a:lnTo>
                  <a:lnTo>
                    <a:pt x="757" y="1248"/>
                  </a:lnTo>
                  <a:close/>
                  <a:moveTo>
                    <a:pt x="763" y="1248"/>
                  </a:moveTo>
                  <a:lnTo>
                    <a:pt x="762" y="1248"/>
                  </a:lnTo>
                  <a:lnTo>
                    <a:pt x="763" y="1248"/>
                  </a:lnTo>
                  <a:close/>
                  <a:moveTo>
                    <a:pt x="758" y="1248"/>
                  </a:moveTo>
                  <a:lnTo>
                    <a:pt x="760" y="1248"/>
                  </a:lnTo>
                  <a:lnTo>
                    <a:pt x="758" y="1248"/>
                  </a:lnTo>
                  <a:close/>
                  <a:moveTo>
                    <a:pt x="763" y="1246"/>
                  </a:moveTo>
                  <a:lnTo>
                    <a:pt x="763" y="1248"/>
                  </a:lnTo>
                  <a:lnTo>
                    <a:pt x="763" y="1246"/>
                  </a:lnTo>
                  <a:close/>
                  <a:moveTo>
                    <a:pt x="763" y="1246"/>
                  </a:moveTo>
                  <a:lnTo>
                    <a:pt x="763" y="1248"/>
                  </a:lnTo>
                  <a:lnTo>
                    <a:pt x="763" y="1246"/>
                  </a:lnTo>
                  <a:close/>
                  <a:moveTo>
                    <a:pt x="763" y="1246"/>
                  </a:moveTo>
                  <a:lnTo>
                    <a:pt x="765" y="1246"/>
                  </a:lnTo>
                  <a:lnTo>
                    <a:pt x="763" y="1248"/>
                  </a:lnTo>
                  <a:lnTo>
                    <a:pt x="763" y="1246"/>
                  </a:lnTo>
                  <a:close/>
                  <a:moveTo>
                    <a:pt x="763" y="1246"/>
                  </a:moveTo>
                  <a:lnTo>
                    <a:pt x="765" y="1246"/>
                  </a:lnTo>
                  <a:lnTo>
                    <a:pt x="763" y="1246"/>
                  </a:lnTo>
                  <a:close/>
                  <a:moveTo>
                    <a:pt x="745" y="1246"/>
                  </a:moveTo>
                  <a:lnTo>
                    <a:pt x="745" y="1245"/>
                  </a:lnTo>
                  <a:lnTo>
                    <a:pt x="745" y="1246"/>
                  </a:lnTo>
                  <a:close/>
                  <a:moveTo>
                    <a:pt x="765" y="1245"/>
                  </a:moveTo>
                  <a:lnTo>
                    <a:pt x="765" y="1246"/>
                  </a:lnTo>
                  <a:lnTo>
                    <a:pt x="765" y="1245"/>
                  </a:lnTo>
                  <a:close/>
                  <a:moveTo>
                    <a:pt x="763" y="1246"/>
                  </a:moveTo>
                  <a:lnTo>
                    <a:pt x="763" y="1245"/>
                  </a:lnTo>
                  <a:lnTo>
                    <a:pt x="763" y="1246"/>
                  </a:lnTo>
                  <a:close/>
                  <a:moveTo>
                    <a:pt x="765" y="1246"/>
                  </a:moveTo>
                  <a:lnTo>
                    <a:pt x="765" y="1245"/>
                  </a:lnTo>
                  <a:lnTo>
                    <a:pt x="766" y="1245"/>
                  </a:lnTo>
                  <a:lnTo>
                    <a:pt x="765" y="1246"/>
                  </a:lnTo>
                  <a:close/>
                  <a:moveTo>
                    <a:pt x="766" y="1246"/>
                  </a:moveTo>
                  <a:lnTo>
                    <a:pt x="765" y="1246"/>
                  </a:lnTo>
                  <a:lnTo>
                    <a:pt x="766" y="1245"/>
                  </a:lnTo>
                  <a:lnTo>
                    <a:pt x="766" y="1246"/>
                  </a:lnTo>
                  <a:close/>
                  <a:moveTo>
                    <a:pt x="745" y="1245"/>
                  </a:moveTo>
                  <a:lnTo>
                    <a:pt x="747" y="1245"/>
                  </a:lnTo>
                  <a:lnTo>
                    <a:pt x="747" y="1246"/>
                  </a:lnTo>
                  <a:lnTo>
                    <a:pt x="745" y="1245"/>
                  </a:lnTo>
                  <a:close/>
                  <a:moveTo>
                    <a:pt x="765" y="1245"/>
                  </a:moveTo>
                  <a:lnTo>
                    <a:pt x="763" y="1245"/>
                  </a:lnTo>
                  <a:lnTo>
                    <a:pt x="765" y="1245"/>
                  </a:lnTo>
                  <a:close/>
                  <a:moveTo>
                    <a:pt x="766" y="1245"/>
                  </a:moveTo>
                  <a:lnTo>
                    <a:pt x="766" y="1243"/>
                  </a:lnTo>
                  <a:lnTo>
                    <a:pt x="766" y="1245"/>
                  </a:lnTo>
                  <a:close/>
                  <a:moveTo>
                    <a:pt x="770" y="1243"/>
                  </a:moveTo>
                  <a:lnTo>
                    <a:pt x="768" y="1243"/>
                  </a:lnTo>
                  <a:lnTo>
                    <a:pt x="770" y="1243"/>
                  </a:lnTo>
                  <a:close/>
                  <a:moveTo>
                    <a:pt x="742" y="1241"/>
                  </a:moveTo>
                  <a:lnTo>
                    <a:pt x="744" y="1241"/>
                  </a:lnTo>
                  <a:lnTo>
                    <a:pt x="742" y="1241"/>
                  </a:lnTo>
                  <a:close/>
                  <a:moveTo>
                    <a:pt x="744" y="1241"/>
                  </a:moveTo>
                  <a:lnTo>
                    <a:pt x="742" y="1241"/>
                  </a:lnTo>
                  <a:lnTo>
                    <a:pt x="744" y="1241"/>
                  </a:lnTo>
                  <a:close/>
                  <a:moveTo>
                    <a:pt x="781" y="1241"/>
                  </a:moveTo>
                  <a:lnTo>
                    <a:pt x="783" y="1241"/>
                  </a:lnTo>
                  <a:lnTo>
                    <a:pt x="784" y="1241"/>
                  </a:lnTo>
                  <a:lnTo>
                    <a:pt x="784" y="1243"/>
                  </a:lnTo>
                  <a:lnTo>
                    <a:pt x="786" y="1245"/>
                  </a:lnTo>
                  <a:lnTo>
                    <a:pt x="788" y="1245"/>
                  </a:lnTo>
                  <a:lnTo>
                    <a:pt x="789" y="1246"/>
                  </a:lnTo>
                  <a:lnTo>
                    <a:pt x="789" y="1248"/>
                  </a:lnTo>
                  <a:lnTo>
                    <a:pt x="791" y="1248"/>
                  </a:lnTo>
                  <a:lnTo>
                    <a:pt x="789" y="1249"/>
                  </a:lnTo>
                  <a:lnTo>
                    <a:pt x="791" y="1249"/>
                  </a:lnTo>
                  <a:lnTo>
                    <a:pt x="789" y="1251"/>
                  </a:lnTo>
                  <a:lnTo>
                    <a:pt x="788" y="1251"/>
                  </a:lnTo>
                  <a:lnTo>
                    <a:pt x="786" y="1251"/>
                  </a:lnTo>
                  <a:lnTo>
                    <a:pt x="784" y="1251"/>
                  </a:lnTo>
                  <a:lnTo>
                    <a:pt x="783" y="1251"/>
                  </a:lnTo>
                  <a:lnTo>
                    <a:pt x="781" y="1249"/>
                  </a:lnTo>
                  <a:lnTo>
                    <a:pt x="781" y="1248"/>
                  </a:lnTo>
                  <a:lnTo>
                    <a:pt x="781" y="1246"/>
                  </a:lnTo>
                  <a:lnTo>
                    <a:pt x="781" y="1245"/>
                  </a:lnTo>
                  <a:lnTo>
                    <a:pt x="779" y="1243"/>
                  </a:lnTo>
                  <a:lnTo>
                    <a:pt x="781" y="1241"/>
                  </a:lnTo>
                  <a:close/>
                  <a:moveTo>
                    <a:pt x="744" y="1240"/>
                  </a:moveTo>
                  <a:lnTo>
                    <a:pt x="744" y="1241"/>
                  </a:lnTo>
                  <a:lnTo>
                    <a:pt x="744" y="1240"/>
                  </a:lnTo>
                  <a:close/>
                  <a:moveTo>
                    <a:pt x="786" y="1240"/>
                  </a:moveTo>
                  <a:lnTo>
                    <a:pt x="786" y="1241"/>
                  </a:lnTo>
                  <a:lnTo>
                    <a:pt x="786" y="1240"/>
                  </a:lnTo>
                  <a:close/>
                  <a:moveTo>
                    <a:pt x="766" y="1253"/>
                  </a:moveTo>
                  <a:lnTo>
                    <a:pt x="766" y="1251"/>
                  </a:lnTo>
                  <a:lnTo>
                    <a:pt x="768" y="1251"/>
                  </a:lnTo>
                  <a:lnTo>
                    <a:pt x="766" y="1251"/>
                  </a:lnTo>
                  <a:lnTo>
                    <a:pt x="768" y="1251"/>
                  </a:lnTo>
                  <a:lnTo>
                    <a:pt x="766" y="1251"/>
                  </a:lnTo>
                  <a:lnTo>
                    <a:pt x="765" y="1251"/>
                  </a:lnTo>
                  <a:lnTo>
                    <a:pt x="763" y="1251"/>
                  </a:lnTo>
                  <a:lnTo>
                    <a:pt x="762" y="1251"/>
                  </a:lnTo>
                  <a:lnTo>
                    <a:pt x="763" y="1251"/>
                  </a:lnTo>
                  <a:lnTo>
                    <a:pt x="762" y="1251"/>
                  </a:lnTo>
                  <a:lnTo>
                    <a:pt x="760" y="1251"/>
                  </a:lnTo>
                  <a:lnTo>
                    <a:pt x="762" y="1249"/>
                  </a:lnTo>
                  <a:lnTo>
                    <a:pt x="763" y="1249"/>
                  </a:lnTo>
                  <a:lnTo>
                    <a:pt x="762" y="1249"/>
                  </a:lnTo>
                  <a:lnTo>
                    <a:pt x="763" y="1249"/>
                  </a:lnTo>
                  <a:lnTo>
                    <a:pt x="765" y="1249"/>
                  </a:lnTo>
                  <a:lnTo>
                    <a:pt x="765" y="1251"/>
                  </a:lnTo>
                  <a:lnTo>
                    <a:pt x="765" y="1249"/>
                  </a:lnTo>
                  <a:lnTo>
                    <a:pt x="763" y="1248"/>
                  </a:lnTo>
                  <a:lnTo>
                    <a:pt x="765" y="1248"/>
                  </a:lnTo>
                  <a:lnTo>
                    <a:pt x="763" y="1248"/>
                  </a:lnTo>
                  <a:lnTo>
                    <a:pt x="765" y="1246"/>
                  </a:lnTo>
                  <a:lnTo>
                    <a:pt x="766" y="1246"/>
                  </a:lnTo>
                  <a:lnTo>
                    <a:pt x="766" y="1245"/>
                  </a:lnTo>
                  <a:lnTo>
                    <a:pt x="766" y="1246"/>
                  </a:lnTo>
                  <a:lnTo>
                    <a:pt x="768" y="1246"/>
                  </a:lnTo>
                  <a:lnTo>
                    <a:pt x="768" y="1245"/>
                  </a:lnTo>
                  <a:lnTo>
                    <a:pt x="770" y="1245"/>
                  </a:lnTo>
                  <a:lnTo>
                    <a:pt x="771" y="1245"/>
                  </a:lnTo>
                  <a:lnTo>
                    <a:pt x="770" y="1245"/>
                  </a:lnTo>
                  <a:lnTo>
                    <a:pt x="766" y="1245"/>
                  </a:lnTo>
                  <a:lnTo>
                    <a:pt x="768" y="1245"/>
                  </a:lnTo>
                  <a:lnTo>
                    <a:pt x="768" y="1243"/>
                  </a:lnTo>
                  <a:lnTo>
                    <a:pt x="768" y="1245"/>
                  </a:lnTo>
                  <a:lnTo>
                    <a:pt x="768" y="1243"/>
                  </a:lnTo>
                  <a:lnTo>
                    <a:pt x="770" y="1243"/>
                  </a:lnTo>
                  <a:lnTo>
                    <a:pt x="771" y="1243"/>
                  </a:lnTo>
                  <a:lnTo>
                    <a:pt x="770" y="1243"/>
                  </a:lnTo>
                  <a:lnTo>
                    <a:pt x="771" y="1243"/>
                  </a:lnTo>
                  <a:lnTo>
                    <a:pt x="771" y="1245"/>
                  </a:lnTo>
                  <a:lnTo>
                    <a:pt x="771" y="1243"/>
                  </a:lnTo>
                  <a:lnTo>
                    <a:pt x="773" y="1241"/>
                  </a:lnTo>
                  <a:lnTo>
                    <a:pt x="775" y="1241"/>
                  </a:lnTo>
                  <a:lnTo>
                    <a:pt x="776" y="1240"/>
                  </a:lnTo>
                  <a:lnTo>
                    <a:pt x="778" y="1240"/>
                  </a:lnTo>
                  <a:lnTo>
                    <a:pt x="778" y="1241"/>
                  </a:lnTo>
                  <a:lnTo>
                    <a:pt x="779" y="1241"/>
                  </a:lnTo>
                  <a:lnTo>
                    <a:pt x="779" y="1243"/>
                  </a:lnTo>
                  <a:lnTo>
                    <a:pt x="779" y="1245"/>
                  </a:lnTo>
                  <a:lnTo>
                    <a:pt x="781" y="1246"/>
                  </a:lnTo>
                  <a:lnTo>
                    <a:pt x="779" y="1246"/>
                  </a:lnTo>
                  <a:lnTo>
                    <a:pt x="781" y="1246"/>
                  </a:lnTo>
                  <a:lnTo>
                    <a:pt x="781" y="1248"/>
                  </a:lnTo>
                  <a:lnTo>
                    <a:pt x="781" y="1249"/>
                  </a:lnTo>
                  <a:lnTo>
                    <a:pt x="781" y="1251"/>
                  </a:lnTo>
                  <a:lnTo>
                    <a:pt x="779" y="1251"/>
                  </a:lnTo>
                  <a:lnTo>
                    <a:pt x="778" y="1251"/>
                  </a:lnTo>
                  <a:lnTo>
                    <a:pt x="776" y="1253"/>
                  </a:lnTo>
                  <a:lnTo>
                    <a:pt x="775" y="1253"/>
                  </a:lnTo>
                  <a:lnTo>
                    <a:pt x="773" y="1253"/>
                  </a:lnTo>
                  <a:lnTo>
                    <a:pt x="771" y="1253"/>
                  </a:lnTo>
                  <a:lnTo>
                    <a:pt x="770" y="1253"/>
                  </a:lnTo>
                  <a:lnTo>
                    <a:pt x="768" y="1253"/>
                  </a:lnTo>
                  <a:lnTo>
                    <a:pt x="766" y="1253"/>
                  </a:lnTo>
                  <a:close/>
                  <a:moveTo>
                    <a:pt x="776" y="1240"/>
                  </a:moveTo>
                  <a:lnTo>
                    <a:pt x="778" y="1240"/>
                  </a:lnTo>
                  <a:lnTo>
                    <a:pt x="776" y="1240"/>
                  </a:lnTo>
                  <a:close/>
                  <a:moveTo>
                    <a:pt x="744" y="1240"/>
                  </a:moveTo>
                  <a:lnTo>
                    <a:pt x="744" y="1238"/>
                  </a:lnTo>
                  <a:lnTo>
                    <a:pt x="744" y="1240"/>
                  </a:lnTo>
                  <a:close/>
                  <a:moveTo>
                    <a:pt x="784" y="1240"/>
                  </a:moveTo>
                  <a:lnTo>
                    <a:pt x="786" y="1238"/>
                  </a:lnTo>
                  <a:lnTo>
                    <a:pt x="784" y="1240"/>
                  </a:lnTo>
                  <a:close/>
                  <a:moveTo>
                    <a:pt x="779" y="1238"/>
                  </a:moveTo>
                  <a:lnTo>
                    <a:pt x="779" y="1240"/>
                  </a:lnTo>
                  <a:lnTo>
                    <a:pt x="779" y="1238"/>
                  </a:lnTo>
                  <a:close/>
                  <a:moveTo>
                    <a:pt x="757" y="1238"/>
                  </a:moveTo>
                  <a:lnTo>
                    <a:pt x="755" y="1238"/>
                  </a:lnTo>
                  <a:lnTo>
                    <a:pt x="757" y="1238"/>
                  </a:lnTo>
                  <a:close/>
                  <a:moveTo>
                    <a:pt x="779" y="1238"/>
                  </a:moveTo>
                  <a:lnTo>
                    <a:pt x="781" y="1238"/>
                  </a:lnTo>
                  <a:lnTo>
                    <a:pt x="783" y="1238"/>
                  </a:lnTo>
                  <a:lnTo>
                    <a:pt x="781" y="1238"/>
                  </a:lnTo>
                  <a:lnTo>
                    <a:pt x="783" y="1240"/>
                  </a:lnTo>
                  <a:lnTo>
                    <a:pt x="784" y="1240"/>
                  </a:lnTo>
                  <a:lnTo>
                    <a:pt x="783" y="1240"/>
                  </a:lnTo>
                  <a:lnTo>
                    <a:pt x="784" y="1240"/>
                  </a:lnTo>
                  <a:lnTo>
                    <a:pt x="783" y="1240"/>
                  </a:lnTo>
                  <a:lnTo>
                    <a:pt x="783" y="1241"/>
                  </a:lnTo>
                  <a:lnTo>
                    <a:pt x="781" y="1241"/>
                  </a:lnTo>
                  <a:lnTo>
                    <a:pt x="781" y="1240"/>
                  </a:lnTo>
                  <a:lnTo>
                    <a:pt x="781" y="1241"/>
                  </a:lnTo>
                  <a:lnTo>
                    <a:pt x="779" y="1240"/>
                  </a:lnTo>
                  <a:lnTo>
                    <a:pt x="781" y="1238"/>
                  </a:lnTo>
                  <a:lnTo>
                    <a:pt x="779" y="1238"/>
                  </a:lnTo>
                  <a:close/>
                  <a:moveTo>
                    <a:pt x="779" y="1238"/>
                  </a:moveTo>
                  <a:lnTo>
                    <a:pt x="781" y="1238"/>
                  </a:lnTo>
                  <a:lnTo>
                    <a:pt x="779" y="1238"/>
                  </a:lnTo>
                  <a:close/>
                  <a:moveTo>
                    <a:pt x="757" y="1236"/>
                  </a:moveTo>
                  <a:lnTo>
                    <a:pt x="757" y="1238"/>
                  </a:lnTo>
                  <a:lnTo>
                    <a:pt x="757" y="1236"/>
                  </a:lnTo>
                  <a:close/>
                  <a:moveTo>
                    <a:pt x="781" y="1238"/>
                  </a:moveTo>
                  <a:lnTo>
                    <a:pt x="781" y="1236"/>
                  </a:lnTo>
                  <a:lnTo>
                    <a:pt x="781" y="1238"/>
                  </a:lnTo>
                  <a:close/>
                  <a:moveTo>
                    <a:pt x="758" y="1238"/>
                  </a:moveTo>
                  <a:lnTo>
                    <a:pt x="758" y="1236"/>
                  </a:lnTo>
                  <a:lnTo>
                    <a:pt x="758" y="1238"/>
                  </a:lnTo>
                  <a:close/>
                  <a:moveTo>
                    <a:pt x="786" y="1238"/>
                  </a:moveTo>
                  <a:lnTo>
                    <a:pt x="784" y="1238"/>
                  </a:lnTo>
                  <a:lnTo>
                    <a:pt x="784" y="1236"/>
                  </a:lnTo>
                  <a:lnTo>
                    <a:pt x="786" y="1236"/>
                  </a:lnTo>
                  <a:lnTo>
                    <a:pt x="786" y="1238"/>
                  </a:lnTo>
                  <a:close/>
                  <a:moveTo>
                    <a:pt x="783" y="1236"/>
                  </a:moveTo>
                  <a:lnTo>
                    <a:pt x="784" y="1236"/>
                  </a:lnTo>
                  <a:lnTo>
                    <a:pt x="783" y="1236"/>
                  </a:lnTo>
                  <a:close/>
                  <a:moveTo>
                    <a:pt x="801" y="1236"/>
                  </a:moveTo>
                  <a:lnTo>
                    <a:pt x="801" y="1235"/>
                  </a:lnTo>
                  <a:lnTo>
                    <a:pt x="801" y="1236"/>
                  </a:lnTo>
                  <a:close/>
                  <a:moveTo>
                    <a:pt x="750" y="1235"/>
                  </a:moveTo>
                  <a:lnTo>
                    <a:pt x="752" y="1235"/>
                  </a:lnTo>
                  <a:lnTo>
                    <a:pt x="750" y="1235"/>
                  </a:lnTo>
                  <a:close/>
                  <a:moveTo>
                    <a:pt x="801" y="1235"/>
                  </a:moveTo>
                  <a:lnTo>
                    <a:pt x="802" y="1235"/>
                  </a:lnTo>
                  <a:lnTo>
                    <a:pt x="802" y="1236"/>
                  </a:lnTo>
                  <a:lnTo>
                    <a:pt x="801" y="1236"/>
                  </a:lnTo>
                  <a:lnTo>
                    <a:pt x="802" y="1236"/>
                  </a:lnTo>
                  <a:lnTo>
                    <a:pt x="802" y="1235"/>
                  </a:lnTo>
                  <a:lnTo>
                    <a:pt x="801" y="1236"/>
                  </a:lnTo>
                  <a:lnTo>
                    <a:pt x="801" y="1235"/>
                  </a:lnTo>
                  <a:close/>
                  <a:moveTo>
                    <a:pt x="760" y="1236"/>
                  </a:moveTo>
                  <a:lnTo>
                    <a:pt x="760" y="1235"/>
                  </a:lnTo>
                  <a:lnTo>
                    <a:pt x="762" y="1235"/>
                  </a:lnTo>
                  <a:lnTo>
                    <a:pt x="760" y="1235"/>
                  </a:lnTo>
                  <a:lnTo>
                    <a:pt x="760" y="1236"/>
                  </a:lnTo>
                  <a:close/>
                  <a:moveTo>
                    <a:pt x="801" y="1235"/>
                  </a:moveTo>
                  <a:lnTo>
                    <a:pt x="802" y="1235"/>
                  </a:lnTo>
                  <a:lnTo>
                    <a:pt x="801" y="1235"/>
                  </a:lnTo>
                  <a:close/>
                  <a:moveTo>
                    <a:pt x="792" y="1235"/>
                  </a:moveTo>
                  <a:lnTo>
                    <a:pt x="794" y="1235"/>
                  </a:lnTo>
                  <a:lnTo>
                    <a:pt x="792" y="1235"/>
                  </a:lnTo>
                  <a:close/>
                  <a:moveTo>
                    <a:pt x="760" y="1235"/>
                  </a:moveTo>
                  <a:lnTo>
                    <a:pt x="762" y="1235"/>
                  </a:lnTo>
                  <a:lnTo>
                    <a:pt x="760" y="1235"/>
                  </a:lnTo>
                  <a:close/>
                  <a:moveTo>
                    <a:pt x="758" y="1235"/>
                  </a:moveTo>
                  <a:lnTo>
                    <a:pt x="760" y="1235"/>
                  </a:lnTo>
                  <a:lnTo>
                    <a:pt x="758" y="1235"/>
                  </a:lnTo>
                  <a:close/>
                  <a:moveTo>
                    <a:pt x="786" y="1235"/>
                  </a:moveTo>
                  <a:lnTo>
                    <a:pt x="788" y="1233"/>
                  </a:lnTo>
                  <a:lnTo>
                    <a:pt x="786" y="1235"/>
                  </a:lnTo>
                  <a:close/>
                  <a:moveTo>
                    <a:pt x="757" y="1233"/>
                  </a:moveTo>
                  <a:lnTo>
                    <a:pt x="757" y="1235"/>
                  </a:lnTo>
                  <a:lnTo>
                    <a:pt x="757" y="1233"/>
                  </a:lnTo>
                  <a:close/>
                  <a:moveTo>
                    <a:pt x="757" y="1235"/>
                  </a:moveTo>
                  <a:lnTo>
                    <a:pt x="757" y="1233"/>
                  </a:lnTo>
                  <a:lnTo>
                    <a:pt x="757" y="1235"/>
                  </a:lnTo>
                  <a:close/>
                  <a:moveTo>
                    <a:pt x="755" y="1235"/>
                  </a:moveTo>
                  <a:lnTo>
                    <a:pt x="753" y="1235"/>
                  </a:lnTo>
                  <a:lnTo>
                    <a:pt x="753" y="1233"/>
                  </a:lnTo>
                  <a:lnTo>
                    <a:pt x="755" y="1233"/>
                  </a:lnTo>
                  <a:lnTo>
                    <a:pt x="755" y="1235"/>
                  </a:lnTo>
                  <a:close/>
                  <a:moveTo>
                    <a:pt x="788" y="1235"/>
                  </a:moveTo>
                  <a:lnTo>
                    <a:pt x="788" y="1233"/>
                  </a:lnTo>
                  <a:lnTo>
                    <a:pt x="788" y="1235"/>
                  </a:lnTo>
                  <a:close/>
                  <a:moveTo>
                    <a:pt x="753" y="1235"/>
                  </a:moveTo>
                  <a:lnTo>
                    <a:pt x="753" y="1233"/>
                  </a:lnTo>
                  <a:lnTo>
                    <a:pt x="753" y="1235"/>
                  </a:lnTo>
                  <a:close/>
                  <a:moveTo>
                    <a:pt x="755" y="1235"/>
                  </a:moveTo>
                  <a:lnTo>
                    <a:pt x="755" y="1233"/>
                  </a:lnTo>
                  <a:lnTo>
                    <a:pt x="755" y="1235"/>
                  </a:lnTo>
                  <a:close/>
                  <a:moveTo>
                    <a:pt x="791" y="1235"/>
                  </a:moveTo>
                  <a:lnTo>
                    <a:pt x="789" y="1235"/>
                  </a:lnTo>
                  <a:lnTo>
                    <a:pt x="789" y="1233"/>
                  </a:lnTo>
                  <a:lnTo>
                    <a:pt x="791" y="1233"/>
                  </a:lnTo>
                  <a:lnTo>
                    <a:pt x="791" y="1235"/>
                  </a:lnTo>
                  <a:close/>
                  <a:moveTo>
                    <a:pt x="765" y="1235"/>
                  </a:moveTo>
                  <a:lnTo>
                    <a:pt x="765" y="1233"/>
                  </a:lnTo>
                  <a:lnTo>
                    <a:pt x="766" y="1233"/>
                  </a:lnTo>
                  <a:lnTo>
                    <a:pt x="766" y="1235"/>
                  </a:lnTo>
                  <a:lnTo>
                    <a:pt x="766" y="1233"/>
                  </a:lnTo>
                  <a:lnTo>
                    <a:pt x="766" y="1235"/>
                  </a:lnTo>
                  <a:lnTo>
                    <a:pt x="765" y="1235"/>
                  </a:lnTo>
                  <a:close/>
                  <a:moveTo>
                    <a:pt x="792" y="1235"/>
                  </a:moveTo>
                  <a:lnTo>
                    <a:pt x="791" y="1235"/>
                  </a:lnTo>
                  <a:lnTo>
                    <a:pt x="792" y="1233"/>
                  </a:lnTo>
                  <a:lnTo>
                    <a:pt x="792" y="1235"/>
                  </a:lnTo>
                  <a:close/>
                  <a:moveTo>
                    <a:pt x="801" y="1233"/>
                  </a:moveTo>
                  <a:lnTo>
                    <a:pt x="802" y="1233"/>
                  </a:lnTo>
                  <a:lnTo>
                    <a:pt x="801" y="1233"/>
                  </a:lnTo>
                  <a:close/>
                  <a:moveTo>
                    <a:pt x="755" y="1233"/>
                  </a:moveTo>
                  <a:lnTo>
                    <a:pt x="757" y="1233"/>
                  </a:lnTo>
                  <a:lnTo>
                    <a:pt x="755" y="1233"/>
                  </a:lnTo>
                  <a:close/>
                  <a:moveTo>
                    <a:pt x="792" y="1233"/>
                  </a:moveTo>
                  <a:lnTo>
                    <a:pt x="792" y="1235"/>
                  </a:lnTo>
                  <a:lnTo>
                    <a:pt x="792" y="1233"/>
                  </a:lnTo>
                  <a:close/>
                  <a:moveTo>
                    <a:pt x="799" y="1233"/>
                  </a:moveTo>
                  <a:lnTo>
                    <a:pt x="799" y="1235"/>
                  </a:lnTo>
                  <a:lnTo>
                    <a:pt x="799" y="1233"/>
                  </a:lnTo>
                  <a:lnTo>
                    <a:pt x="801" y="1235"/>
                  </a:lnTo>
                  <a:lnTo>
                    <a:pt x="801" y="1236"/>
                  </a:lnTo>
                  <a:lnTo>
                    <a:pt x="801" y="1238"/>
                  </a:lnTo>
                  <a:lnTo>
                    <a:pt x="801" y="1240"/>
                  </a:lnTo>
                  <a:lnTo>
                    <a:pt x="802" y="1240"/>
                  </a:lnTo>
                  <a:lnTo>
                    <a:pt x="802" y="1241"/>
                  </a:lnTo>
                  <a:lnTo>
                    <a:pt x="804" y="1241"/>
                  </a:lnTo>
                  <a:lnTo>
                    <a:pt x="802" y="1241"/>
                  </a:lnTo>
                  <a:lnTo>
                    <a:pt x="802" y="1240"/>
                  </a:lnTo>
                  <a:lnTo>
                    <a:pt x="801" y="1238"/>
                  </a:lnTo>
                  <a:lnTo>
                    <a:pt x="802" y="1238"/>
                  </a:lnTo>
                  <a:lnTo>
                    <a:pt x="802" y="1236"/>
                  </a:lnTo>
                  <a:lnTo>
                    <a:pt x="804" y="1236"/>
                  </a:lnTo>
                  <a:lnTo>
                    <a:pt x="804" y="1238"/>
                  </a:lnTo>
                  <a:lnTo>
                    <a:pt x="802" y="1240"/>
                  </a:lnTo>
                  <a:lnTo>
                    <a:pt x="804" y="1240"/>
                  </a:lnTo>
                  <a:lnTo>
                    <a:pt x="804" y="1241"/>
                  </a:lnTo>
                  <a:lnTo>
                    <a:pt x="805" y="1241"/>
                  </a:lnTo>
                  <a:lnTo>
                    <a:pt x="805" y="1243"/>
                  </a:lnTo>
                  <a:lnTo>
                    <a:pt x="805" y="1245"/>
                  </a:lnTo>
                  <a:lnTo>
                    <a:pt x="807" y="1245"/>
                  </a:lnTo>
                  <a:lnTo>
                    <a:pt x="807" y="1246"/>
                  </a:lnTo>
                  <a:lnTo>
                    <a:pt x="805" y="1246"/>
                  </a:lnTo>
                  <a:lnTo>
                    <a:pt x="807" y="1246"/>
                  </a:lnTo>
                  <a:lnTo>
                    <a:pt x="807" y="1248"/>
                  </a:lnTo>
                  <a:lnTo>
                    <a:pt x="807" y="1249"/>
                  </a:lnTo>
                  <a:lnTo>
                    <a:pt x="804" y="1249"/>
                  </a:lnTo>
                  <a:lnTo>
                    <a:pt x="802" y="1251"/>
                  </a:lnTo>
                  <a:lnTo>
                    <a:pt x="801" y="1251"/>
                  </a:lnTo>
                  <a:lnTo>
                    <a:pt x="799" y="1251"/>
                  </a:lnTo>
                  <a:lnTo>
                    <a:pt x="797" y="1249"/>
                  </a:lnTo>
                  <a:lnTo>
                    <a:pt x="797" y="1251"/>
                  </a:lnTo>
                  <a:lnTo>
                    <a:pt x="796" y="1251"/>
                  </a:lnTo>
                  <a:lnTo>
                    <a:pt x="794" y="1251"/>
                  </a:lnTo>
                  <a:lnTo>
                    <a:pt x="792" y="1251"/>
                  </a:lnTo>
                  <a:lnTo>
                    <a:pt x="791" y="1248"/>
                  </a:lnTo>
                  <a:lnTo>
                    <a:pt x="789" y="1246"/>
                  </a:lnTo>
                  <a:lnTo>
                    <a:pt x="789" y="1245"/>
                  </a:lnTo>
                  <a:lnTo>
                    <a:pt x="788" y="1245"/>
                  </a:lnTo>
                  <a:lnTo>
                    <a:pt x="788" y="1243"/>
                  </a:lnTo>
                  <a:lnTo>
                    <a:pt x="786" y="1243"/>
                  </a:lnTo>
                  <a:lnTo>
                    <a:pt x="786" y="1241"/>
                  </a:lnTo>
                  <a:lnTo>
                    <a:pt x="788" y="1241"/>
                  </a:lnTo>
                  <a:lnTo>
                    <a:pt x="786" y="1241"/>
                  </a:lnTo>
                  <a:lnTo>
                    <a:pt x="788" y="1241"/>
                  </a:lnTo>
                  <a:lnTo>
                    <a:pt x="786" y="1241"/>
                  </a:lnTo>
                  <a:lnTo>
                    <a:pt x="786" y="1240"/>
                  </a:lnTo>
                  <a:lnTo>
                    <a:pt x="788" y="1240"/>
                  </a:lnTo>
                  <a:lnTo>
                    <a:pt x="788" y="1238"/>
                  </a:lnTo>
                  <a:lnTo>
                    <a:pt x="788" y="1236"/>
                  </a:lnTo>
                  <a:lnTo>
                    <a:pt x="786" y="1236"/>
                  </a:lnTo>
                  <a:lnTo>
                    <a:pt x="786" y="1235"/>
                  </a:lnTo>
                  <a:lnTo>
                    <a:pt x="788" y="1235"/>
                  </a:lnTo>
                  <a:lnTo>
                    <a:pt x="789" y="1235"/>
                  </a:lnTo>
                  <a:lnTo>
                    <a:pt x="789" y="1236"/>
                  </a:lnTo>
                  <a:lnTo>
                    <a:pt x="791" y="1236"/>
                  </a:lnTo>
                  <a:lnTo>
                    <a:pt x="791" y="1238"/>
                  </a:lnTo>
                  <a:lnTo>
                    <a:pt x="791" y="1236"/>
                  </a:lnTo>
                  <a:lnTo>
                    <a:pt x="792" y="1236"/>
                  </a:lnTo>
                  <a:lnTo>
                    <a:pt x="791" y="1236"/>
                  </a:lnTo>
                  <a:lnTo>
                    <a:pt x="792" y="1236"/>
                  </a:lnTo>
                  <a:lnTo>
                    <a:pt x="792" y="1235"/>
                  </a:lnTo>
                  <a:lnTo>
                    <a:pt x="794" y="1235"/>
                  </a:lnTo>
                  <a:lnTo>
                    <a:pt x="794" y="1236"/>
                  </a:lnTo>
                  <a:lnTo>
                    <a:pt x="796" y="1236"/>
                  </a:lnTo>
                  <a:lnTo>
                    <a:pt x="794" y="1236"/>
                  </a:lnTo>
                  <a:lnTo>
                    <a:pt x="794" y="1235"/>
                  </a:lnTo>
                  <a:lnTo>
                    <a:pt x="796" y="1235"/>
                  </a:lnTo>
                  <a:lnTo>
                    <a:pt x="797" y="1233"/>
                  </a:lnTo>
                  <a:lnTo>
                    <a:pt x="797" y="1235"/>
                  </a:lnTo>
                  <a:lnTo>
                    <a:pt x="797" y="1233"/>
                  </a:lnTo>
                  <a:lnTo>
                    <a:pt x="799" y="1233"/>
                  </a:lnTo>
                  <a:close/>
                  <a:moveTo>
                    <a:pt x="770" y="1233"/>
                  </a:moveTo>
                  <a:lnTo>
                    <a:pt x="771" y="1233"/>
                  </a:lnTo>
                  <a:lnTo>
                    <a:pt x="770" y="1233"/>
                  </a:lnTo>
                  <a:close/>
                  <a:moveTo>
                    <a:pt x="766" y="1233"/>
                  </a:moveTo>
                  <a:lnTo>
                    <a:pt x="768" y="1233"/>
                  </a:lnTo>
                  <a:lnTo>
                    <a:pt x="770" y="1233"/>
                  </a:lnTo>
                  <a:lnTo>
                    <a:pt x="770" y="1235"/>
                  </a:lnTo>
                  <a:lnTo>
                    <a:pt x="768" y="1235"/>
                  </a:lnTo>
                  <a:lnTo>
                    <a:pt x="768" y="1233"/>
                  </a:lnTo>
                  <a:lnTo>
                    <a:pt x="768" y="1235"/>
                  </a:lnTo>
                  <a:lnTo>
                    <a:pt x="766" y="1233"/>
                  </a:lnTo>
                  <a:close/>
                  <a:moveTo>
                    <a:pt x="753" y="1233"/>
                  </a:moveTo>
                  <a:lnTo>
                    <a:pt x="755" y="1233"/>
                  </a:lnTo>
                  <a:lnTo>
                    <a:pt x="753" y="1233"/>
                  </a:lnTo>
                  <a:close/>
                  <a:moveTo>
                    <a:pt x="775" y="1233"/>
                  </a:moveTo>
                  <a:lnTo>
                    <a:pt x="776" y="1233"/>
                  </a:lnTo>
                  <a:lnTo>
                    <a:pt x="775" y="1233"/>
                  </a:lnTo>
                  <a:close/>
                  <a:moveTo>
                    <a:pt x="760" y="1233"/>
                  </a:moveTo>
                  <a:lnTo>
                    <a:pt x="758" y="1233"/>
                  </a:lnTo>
                  <a:lnTo>
                    <a:pt x="760" y="1233"/>
                  </a:lnTo>
                  <a:close/>
                  <a:moveTo>
                    <a:pt x="766" y="1233"/>
                  </a:moveTo>
                  <a:lnTo>
                    <a:pt x="768" y="1233"/>
                  </a:lnTo>
                  <a:lnTo>
                    <a:pt x="766" y="1233"/>
                  </a:lnTo>
                  <a:close/>
                  <a:moveTo>
                    <a:pt x="757" y="1233"/>
                  </a:moveTo>
                  <a:lnTo>
                    <a:pt x="757" y="1231"/>
                  </a:lnTo>
                  <a:lnTo>
                    <a:pt x="757" y="1233"/>
                  </a:lnTo>
                  <a:close/>
                  <a:moveTo>
                    <a:pt x="802" y="1231"/>
                  </a:moveTo>
                  <a:lnTo>
                    <a:pt x="802" y="1233"/>
                  </a:lnTo>
                  <a:lnTo>
                    <a:pt x="802" y="1231"/>
                  </a:lnTo>
                  <a:close/>
                  <a:moveTo>
                    <a:pt x="757" y="1233"/>
                  </a:moveTo>
                  <a:lnTo>
                    <a:pt x="757" y="1231"/>
                  </a:lnTo>
                  <a:lnTo>
                    <a:pt x="757" y="1233"/>
                  </a:lnTo>
                  <a:close/>
                  <a:moveTo>
                    <a:pt x="762" y="1233"/>
                  </a:moveTo>
                  <a:lnTo>
                    <a:pt x="762" y="1231"/>
                  </a:lnTo>
                  <a:lnTo>
                    <a:pt x="762" y="1233"/>
                  </a:lnTo>
                  <a:close/>
                  <a:moveTo>
                    <a:pt x="758" y="1233"/>
                  </a:moveTo>
                  <a:lnTo>
                    <a:pt x="760" y="1233"/>
                  </a:lnTo>
                  <a:lnTo>
                    <a:pt x="760" y="1231"/>
                  </a:lnTo>
                  <a:lnTo>
                    <a:pt x="760" y="1233"/>
                  </a:lnTo>
                  <a:lnTo>
                    <a:pt x="758" y="1233"/>
                  </a:lnTo>
                  <a:close/>
                  <a:moveTo>
                    <a:pt x="762" y="1231"/>
                  </a:moveTo>
                  <a:lnTo>
                    <a:pt x="762" y="1233"/>
                  </a:lnTo>
                  <a:lnTo>
                    <a:pt x="760" y="1233"/>
                  </a:lnTo>
                  <a:lnTo>
                    <a:pt x="760" y="1231"/>
                  </a:lnTo>
                  <a:lnTo>
                    <a:pt x="762" y="1233"/>
                  </a:lnTo>
                  <a:lnTo>
                    <a:pt x="762" y="1231"/>
                  </a:lnTo>
                  <a:close/>
                  <a:moveTo>
                    <a:pt x="758" y="1231"/>
                  </a:moveTo>
                  <a:lnTo>
                    <a:pt x="760" y="1231"/>
                  </a:lnTo>
                  <a:lnTo>
                    <a:pt x="758" y="1231"/>
                  </a:lnTo>
                  <a:close/>
                  <a:moveTo>
                    <a:pt x="755" y="1231"/>
                  </a:moveTo>
                  <a:lnTo>
                    <a:pt x="757" y="1231"/>
                  </a:lnTo>
                  <a:lnTo>
                    <a:pt x="755" y="1231"/>
                  </a:lnTo>
                  <a:close/>
                  <a:moveTo>
                    <a:pt x="758" y="1231"/>
                  </a:moveTo>
                  <a:lnTo>
                    <a:pt x="757" y="1231"/>
                  </a:lnTo>
                  <a:lnTo>
                    <a:pt x="758" y="1231"/>
                  </a:lnTo>
                  <a:close/>
                  <a:moveTo>
                    <a:pt x="755" y="1231"/>
                  </a:moveTo>
                  <a:lnTo>
                    <a:pt x="757" y="1231"/>
                  </a:lnTo>
                  <a:lnTo>
                    <a:pt x="755" y="1231"/>
                  </a:lnTo>
                  <a:close/>
                  <a:moveTo>
                    <a:pt x="763" y="1230"/>
                  </a:moveTo>
                  <a:lnTo>
                    <a:pt x="763" y="1231"/>
                  </a:lnTo>
                  <a:lnTo>
                    <a:pt x="763" y="1230"/>
                  </a:lnTo>
                  <a:close/>
                  <a:moveTo>
                    <a:pt x="771" y="1231"/>
                  </a:moveTo>
                  <a:lnTo>
                    <a:pt x="771" y="1233"/>
                  </a:lnTo>
                  <a:lnTo>
                    <a:pt x="770" y="1231"/>
                  </a:lnTo>
                  <a:lnTo>
                    <a:pt x="770" y="1233"/>
                  </a:lnTo>
                  <a:lnTo>
                    <a:pt x="770" y="1231"/>
                  </a:lnTo>
                  <a:lnTo>
                    <a:pt x="770" y="1233"/>
                  </a:lnTo>
                  <a:lnTo>
                    <a:pt x="770" y="1231"/>
                  </a:lnTo>
                  <a:lnTo>
                    <a:pt x="768" y="1231"/>
                  </a:lnTo>
                  <a:lnTo>
                    <a:pt x="770" y="1230"/>
                  </a:lnTo>
                  <a:lnTo>
                    <a:pt x="770" y="1231"/>
                  </a:lnTo>
                  <a:lnTo>
                    <a:pt x="771" y="1231"/>
                  </a:lnTo>
                  <a:close/>
                  <a:moveTo>
                    <a:pt x="760" y="1231"/>
                  </a:moveTo>
                  <a:lnTo>
                    <a:pt x="760" y="1230"/>
                  </a:lnTo>
                  <a:lnTo>
                    <a:pt x="760" y="1231"/>
                  </a:lnTo>
                  <a:close/>
                  <a:moveTo>
                    <a:pt x="755" y="1231"/>
                  </a:moveTo>
                  <a:lnTo>
                    <a:pt x="755" y="1230"/>
                  </a:lnTo>
                  <a:lnTo>
                    <a:pt x="755" y="1231"/>
                  </a:lnTo>
                  <a:close/>
                  <a:moveTo>
                    <a:pt x="766" y="1231"/>
                  </a:moveTo>
                  <a:lnTo>
                    <a:pt x="766" y="1230"/>
                  </a:lnTo>
                  <a:lnTo>
                    <a:pt x="766" y="1231"/>
                  </a:lnTo>
                  <a:close/>
                  <a:moveTo>
                    <a:pt x="757" y="1231"/>
                  </a:moveTo>
                  <a:lnTo>
                    <a:pt x="757" y="1230"/>
                  </a:lnTo>
                  <a:lnTo>
                    <a:pt x="757" y="1231"/>
                  </a:lnTo>
                  <a:close/>
                  <a:moveTo>
                    <a:pt x="770" y="1230"/>
                  </a:moveTo>
                  <a:lnTo>
                    <a:pt x="770" y="1231"/>
                  </a:lnTo>
                  <a:lnTo>
                    <a:pt x="770" y="1230"/>
                  </a:lnTo>
                  <a:close/>
                  <a:moveTo>
                    <a:pt x="771" y="1231"/>
                  </a:moveTo>
                  <a:lnTo>
                    <a:pt x="771" y="1230"/>
                  </a:lnTo>
                  <a:lnTo>
                    <a:pt x="771" y="1231"/>
                  </a:lnTo>
                  <a:close/>
                  <a:moveTo>
                    <a:pt x="766" y="1231"/>
                  </a:moveTo>
                  <a:lnTo>
                    <a:pt x="766" y="1230"/>
                  </a:lnTo>
                  <a:lnTo>
                    <a:pt x="766" y="1231"/>
                  </a:lnTo>
                  <a:close/>
                  <a:moveTo>
                    <a:pt x="766" y="1230"/>
                  </a:moveTo>
                  <a:lnTo>
                    <a:pt x="768" y="1230"/>
                  </a:lnTo>
                  <a:lnTo>
                    <a:pt x="766" y="1230"/>
                  </a:lnTo>
                  <a:close/>
                  <a:moveTo>
                    <a:pt x="757" y="1230"/>
                  </a:moveTo>
                  <a:lnTo>
                    <a:pt x="757" y="1231"/>
                  </a:lnTo>
                  <a:lnTo>
                    <a:pt x="757" y="1230"/>
                  </a:lnTo>
                  <a:close/>
                  <a:moveTo>
                    <a:pt x="768" y="1230"/>
                  </a:moveTo>
                  <a:lnTo>
                    <a:pt x="768" y="1231"/>
                  </a:lnTo>
                  <a:lnTo>
                    <a:pt x="768" y="1230"/>
                  </a:lnTo>
                  <a:close/>
                  <a:moveTo>
                    <a:pt x="789" y="1230"/>
                  </a:moveTo>
                  <a:lnTo>
                    <a:pt x="791" y="1230"/>
                  </a:lnTo>
                  <a:lnTo>
                    <a:pt x="791" y="1231"/>
                  </a:lnTo>
                  <a:lnTo>
                    <a:pt x="789" y="1230"/>
                  </a:lnTo>
                  <a:close/>
                  <a:moveTo>
                    <a:pt x="757" y="1230"/>
                  </a:moveTo>
                  <a:lnTo>
                    <a:pt x="757" y="1231"/>
                  </a:lnTo>
                  <a:lnTo>
                    <a:pt x="757" y="1230"/>
                  </a:lnTo>
                  <a:close/>
                  <a:moveTo>
                    <a:pt x="771" y="1230"/>
                  </a:moveTo>
                  <a:lnTo>
                    <a:pt x="773" y="1230"/>
                  </a:lnTo>
                  <a:lnTo>
                    <a:pt x="773" y="1231"/>
                  </a:lnTo>
                  <a:lnTo>
                    <a:pt x="773" y="1230"/>
                  </a:lnTo>
                  <a:lnTo>
                    <a:pt x="773" y="1231"/>
                  </a:lnTo>
                  <a:lnTo>
                    <a:pt x="771" y="1230"/>
                  </a:lnTo>
                  <a:close/>
                  <a:moveTo>
                    <a:pt x="770" y="1230"/>
                  </a:moveTo>
                  <a:lnTo>
                    <a:pt x="771" y="1230"/>
                  </a:lnTo>
                  <a:lnTo>
                    <a:pt x="770" y="1230"/>
                  </a:lnTo>
                  <a:close/>
                  <a:moveTo>
                    <a:pt x="755" y="1230"/>
                  </a:moveTo>
                  <a:lnTo>
                    <a:pt x="757" y="1230"/>
                  </a:lnTo>
                  <a:lnTo>
                    <a:pt x="755" y="1230"/>
                  </a:lnTo>
                  <a:lnTo>
                    <a:pt x="757" y="1230"/>
                  </a:lnTo>
                  <a:lnTo>
                    <a:pt x="755" y="1230"/>
                  </a:lnTo>
                  <a:close/>
                  <a:moveTo>
                    <a:pt x="802" y="1230"/>
                  </a:moveTo>
                  <a:lnTo>
                    <a:pt x="801" y="1230"/>
                  </a:lnTo>
                  <a:lnTo>
                    <a:pt x="802" y="1230"/>
                  </a:lnTo>
                  <a:close/>
                  <a:moveTo>
                    <a:pt x="765" y="1230"/>
                  </a:moveTo>
                  <a:lnTo>
                    <a:pt x="763" y="1230"/>
                  </a:lnTo>
                  <a:lnTo>
                    <a:pt x="765" y="1230"/>
                  </a:lnTo>
                  <a:close/>
                  <a:moveTo>
                    <a:pt x="792" y="1230"/>
                  </a:moveTo>
                  <a:lnTo>
                    <a:pt x="791" y="1231"/>
                  </a:lnTo>
                  <a:lnTo>
                    <a:pt x="791" y="1230"/>
                  </a:lnTo>
                  <a:lnTo>
                    <a:pt x="792" y="1230"/>
                  </a:lnTo>
                  <a:close/>
                  <a:moveTo>
                    <a:pt x="776" y="1231"/>
                  </a:moveTo>
                  <a:lnTo>
                    <a:pt x="775" y="1231"/>
                  </a:lnTo>
                  <a:lnTo>
                    <a:pt x="773" y="1231"/>
                  </a:lnTo>
                  <a:lnTo>
                    <a:pt x="773" y="1233"/>
                  </a:lnTo>
                  <a:lnTo>
                    <a:pt x="771" y="1233"/>
                  </a:lnTo>
                  <a:lnTo>
                    <a:pt x="773" y="1231"/>
                  </a:lnTo>
                  <a:lnTo>
                    <a:pt x="773" y="1230"/>
                  </a:lnTo>
                  <a:lnTo>
                    <a:pt x="775" y="1230"/>
                  </a:lnTo>
                  <a:lnTo>
                    <a:pt x="776" y="1230"/>
                  </a:lnTo>
                  <a:lnTo>
                    <a:pt x="778" y="1230"/>
                  </a:lnTo>
                  <a:lnTo>
                    <a:pt x="776" y="1230"/>
                  </a:lnTo>
                  <a:lnTo>
                    <a:pt x="776" y="1231"/>
                  </a:lnTo>
                  <a:close/>
                  <a:moveTo>
                    <a:pt x="757" y="1230"/>
                  </a:moveTo>
                  <a:lnTo>
                    <a:pt x="758" y="1230"/>
                  </a:lnTo>
                  <a:lnTo>
                    <a:pt x="757" y="1230"/>
                  </a:lnTo>
                  <a:close/>
                  <a:moveTo>
                    <a:pt x="778" y="1230"/>
                  </a:moveTo>
                  <a:lnTo>
                    <a:pt x="776" y="1230"/>
                  </a:lnTo>
                  <a:lnTo>
                    <a:pt x="778" y="1230"/>
                  </a:lnTo>
                  <a:close/>
                  <a:moveTo>
                    <a:pt x="775" y="1230"/>
                  </a:moveTo>
                  <a:lnTo>
                    <a:pt x="773" y="1230"/>
                  </a:lnTo>
                  <a:lnTo>
                    <a:pt x="773" y="1228"/>
                  </a:lnTo>
                  <a:lnTo>
                    <a:pt x="775" y="1230"/>
                  </a:lnTo>
                  <a:close/>
                  <a:moveTo>
                    <a:pt x="765" y="1230"/>
                  </a:moveTo>
                  <a:lnTo>
                    <a:pt x="765" y="1228"/>
                  </a:lnTo>
                  <a:lnTo>
                    <a:pt x="765" y="1230"/>
                  </a:lnTo>
                  <a:close/>
                  <a:moveTo>
                    <a:pt x="784" y="1230"/>
                  </a:moveTo>
                  <a:lnTo>
                    <a:pt x="784" y="1228"/>
                  </a:lnTo>
                  <a:lnTo>
                    <a:pt x="784" y="1230"/>
                  </a:lnTo>
                  <a:close/>
                  <a:moveTo>
                    <a:pt x="763" y="1230"/>
                  </a:moveTo>
                  <a:lnTo>
                    <a:pt x="763" y="1228"/>
                  </a:lnTo>
                  <a:lnTo>
                    <a:pt x="763" y="1230"/>
                  </a:lnTo>
                  <a:lnTo>
                    <a:pt x="765" y="1230"/>
                  </a:lnTo>
                  <a:lnTo>
                    <a:pt x="763" y="1230"/>
                  </a:lnTo>
                  <a:close/>
                  <a:moveTo>
                    <a:pt x="763" y="1230"/>
                  </a:moveTo>
                  <a:lnTo>
                    <a:pt x="763" y="1228"/>
                  </a:lnTo>
                  <a:lnTo>
                    <a:pt x="763" y="1230"/>
                  </a:lnTo>
                  <a:close/>
                  <a:moveTo>
                    <a:pt x="779" y="1230"/>
                  </a:moveTo>
                  <a:lnTo>
                    <a:pt x="778" y="1230"/>
                  </a:lnTo>
                  <a:lnTo>
                    <a:pt x="778" y="1228"/>
                  </a:lnTo>
                  <a:lnTo>
                    <a:pt x="779" y="1228"/>
                  </a:lnTo>
                  <a:lnTo>
                    <a:pt x="779" y="1230"/>
                  </a:lnTo>
                  <a:close/>
                  <a:moveTo>
                    <a:pt x="766" y="1228"/>
                  </a:moveTo>
                  <a:lnTo>
                    <a:pt x="766" y="1230"/>
                  </a:lnTo>
                  <a:lnTo>
                    <a:pt x="766" y="1228"/>
                  </a:lnTo>
                  <a:close/>
                  <a:moveTo>
                    <a:pt x="802" y="1230"/>
                  </a:moveTo>
                  <a:lnTo>
                    <a:pt x="802" y="1228"/>
                  </a:lnTo>
                  <a:lnTo>
                    <a:pt x="802" y="1230"/>
                  </a:lnTo>
                  <a:close/>
                  <a:moveTo>
                    <a:pt x="773" y="1230"/>
                  </a:moveTo>
                  <a:lnTo>
                    <a:pt x="771" y="1230"/>
                  </a:lnTo>
                  <a:lnTo>
                    <a:pt x="773" y="1228"/>
                  </a:lnTo>
                  <a:lnTo>
                    <a:pt x="773" y="1230"/>
                  </a:lnTo>
                  <a:close/>
                  <a:moveTo>
                    <a:pt x="775" y="1230"/>
                  </a:moveTo>
                  <a:lnTo>
                    <a:pt x="775" y="1228"/>
                  </a:lnTo>
                  <a:lnTo>
                    <a:pt x="775" y="1230"/>
                  </a:lnTo>
                  <a:lnTo>
                    <a:pt x="775" y="1228"/>
                  </a:lnTo>
                  <a:lnTo>
                    <a:pt x="775" y="1230"/>
                  </a:lnTo>
                  <a:lnTo>
                    <a:pt x="775" y="1228"/>
                  </a:lnTo>
                  <a:lnTo>
                    <a:pt x="776" y="1228"/>
                  </a:lnTo>
                  <a:lnTo>
                    <a:pt x="776" y="1230"/>
                  </a:lnTo>
                  <a:lnTo>
                    <a:pt x="775" y="1230"/>
                  </a:lnTo>
                  <a:lnTo>
                    <a:pt x="776" y="1230"/>
                  </a:lnTo>
                  <a:lnTo>
                    <a:pt x="775" y="1230"/>
                  </a:lnTo>
                  <a:close/>
                  <a:moveTo>
                    <a:pt x="845" y="1228"/>
                  </a:moveTo>
                  <a:lnTo>
                    <a:pt x="843" y="1228"/>
                  </a:lnTo>
                  <a:lnTo>
                    <a:pt x="845" y="1228"/>
                  </a:lnTo>
                  <a:close/>
                  <a:moveTo>
                    <a:pt x="757" y="1228"/>
                  </a:moveTo>
                  <a:lnTo>
                    <a:pt x="758" y="1228"/>
                  </a:lnTo>
                  <a:lnTo>
                    <a:pt x="757" y="1228"/>
                  </a:lnTo>
                  <a:close/>
                  <a:moveTo>
                    <a:pt x="794" y="1228"/>
                  </a:moveTo>
                  <a:lnTo>
                    <a:pt x="792" y="1228"/>
                  </a:lnTo>
                  <a:lnTo>
                    <a:pt x="794" y="1228"/>
                  </a:lnTo>
                  <a:close/>
                  <a:moveTo>
                    <a:pt x="760" y="1228"/>
                  </a:moveTo>
                  <a:lnTo>
                    <a:pt x="762" y="1228"/>
                  </a:lnTo>
                  <a:lnTo>
                    <a:pt x="760" y="1228"/>
                  </a:lnTo>
                  <a:close/>
                  <a:moveTo>
                    <a:pt x="749" y="1228"/>
                  </a:moveTo>
                  <a:lnTo>
                    <a:pt x="749" y="1227"/>
                  </a:lnTo>
                  <a:lnTo>
                    <a:pt x="749" y="1228"/>
                  </a:lnTo>
                  <a:close/>
                  <a:moveTo>
                    <a:pt x="778" y="1228"/>
                  </a:moveTo>
                  <a:lnTo>
                    <a:pt x="778" y="1227"/>
                  </a:lnTo>
                  <a:lnTo>
                    <a:pt x="779" y="1228"/>
                  </a:lnTo>
                  <a:lnTo>
                    <a:pt x="778" y="1228"/>
                  </a:lnTo>
                  <a:close/>
                  <a:moveTo>
                    <a:pt x="757" y="1228"/>
                  </a:moveTo>
                  <a:lnTo>
                    <a:pt x="755" y="1228"/>
                  </a:lnTo>
                  <a:lnTo>
                    <a:pt x="757" y="1228"/>
                  </a:lnTo>
                  <a:lnTo>
                    <a:pt x="757" y="1227"/>
                  </a:lnTo>
                  <a:lnTo>
                    <a:pt x="757" y="1228"/>
                  </a:lnTo>
                  <a:close/>
                  <a:moveTo>
                    <a:pt x="781" y="1227"/>
                  </a:moveTo>
                  <a:lnTo>
                    <a:pt x="781" y="1228"/>
                  </a:lnTo>
                  <a:lnTo>
                    <a:pt x="781" y="1227"/>
                  </a:lnTo>
                  <a:close/>
                  <a:moveTo>
                    <a:pt x="755" y="1228"/>
                  </a:moveTo>
                  <a:lnTo>
                    <a:pt x="755" y="1227"/>
                  </a:lnTo>
                  <a:lnTo>
                    <a:pt x="755" y="1228"/>
                  </a:lnTo>
                  <a:close/>
                  <a:moveTo>
                    <a:pt x="776" y="1227"/>
                  </a:moveTo>
                  <a:lnTo>
                    <a:pt x="778" y="1227"/>
                  </a:lnTo>
                  <a:lnTo>
                    <a:pt x="778" y="1228"/>
                  </a:lnTo>
                  <a:lnTo>
                    <a:pt x="778" y="1227"/>
                  </a:lnTo>
                  <a:lnTo>
                    <a:pt x="776" y="1228"/>
                  </a:lnTo>
                  <a:lnTo>
                    <a:pt x="776" y="1227"/>
                  </a:lnTo>
                  <a:close/>
                  <a:moveTo>
                    <a:pt x="784" y="1227"/>
                  </a:moveTo>
                  <a:lnTo>
                    <a:pt x="784" y="1228"/>
                  </a:lnTo>
                  <a:lnTo>
                    <a:pt x="784" y="1227"/>
                  </a:lnTo>
                  <a:close/>
                  <a:moveTo>
                    <a:pt x="758" y="1227"/>
                  </a:moveTo>
                  <a:lnTo>
                    <a:pt x="760" y="1227"/>
                  </a:lnTo>
                  <a:lnTo>
                    <a:pt x="758" y="1228"/>
                  </a:lnTo>
                  <a:lnTo>
                    <a:pt x="758" y="1227"/>
                  </a:lnTo>
                  <a:close/>
                  <a:moveTo>
                    <a:pt x="783" y="1228"/>
                  </a:moveTo>
                  <a:lnTo>
                    <a:pt x="784" y="1228"/>
                  </a:lnTo>
                  <a:lnTo>
                    <a:pt x="784" y="1227"/>
                  </a:lnTo>
                  <a:lnTo>
                    <a:pt x="784" y="1228"/>
                  </a:lnTo>
                  <a:lnTo>
                    <a:pt x="784" y="1230"/>
                  </a:lnTo>
                  <a:lnTo>
                    <a:pt x="783" y="1230"/>
                  </a:lnTo>
                  <a:lnTo>
                    <a:pt x="781" y="1231"/>
                  </a:lnTo>
                  <a:lnTo>
                    <a:pt x="779" y="1231"/>
                  </a:lnTo>
                  <a:lnTo>
                    <a:pt x="778" y="1231"/>
                  </a:lnTo>
                  <a:lnTo>
                    <a:pt x="779" y="1233"/>
                  </a:lnTo>
                  <a:lnTo>
                    <a:pt x="778" y="1233"/>
                  </a:lnTo>
                  <a:lnTo>
                    <a:pt x="776" y="1233"/>
                  </a:lnTo>
                  <a:lnTo>
                    <a:pt x="778" y="1231"/>
                  </a:lnTo>
                  <a:lnTo>
                    <a:pt x="779" y="1230"/>
                  </a:lnTo>
                  <a:lnTo>
                    <a:pt x="781" y="1230"/>
                  </a:lnTo>
                  <a:lnTo>
                    <a:pt x="783" y="1230"/>
                  </a:lnTo>
                  <a:lnTo>
                    <a:pt x="781" y="1228"/>
                  </a:lnTo>
                  <a:lnTo>
                    <a:pt x="783" y="1227"/>
                  </a:lnTo>
                  <a:lnTo>
                    <a:pt x="784" y="1227"/>
                  </a:lnTo>
                  <a:lnTo>
                    <a:pt x="783" y="1228"/>
                  </a:lnTo>
                  <a:close/>
                  <a:moveTo>
                    <a:pt x="758" y="1227"/>
                  </a:moveTo>
                  <a:lnTo>
                    <a:pt x="758" y="1228"/>
                  </a:lnTo>
                  <a:lnTo>
                    <a:pt x="758" y="1227"/>
                  </a:lnTo>
                  <a:lnTo>
                    <a:pt x="758" y="1228"/>
                  </a:lnTo>
                  <a:lnTo>
                    <a:pt x="757" y="1228"/>
                  </a:lnTo>
                  <a:lnTo>
                    <a:pt x="757" y="1227"/>
                  </a:lnTo>
                  <a:lnTo>
                    <a:pt x="757" y="1228"/>
                  </a:lnTo>
                  <a:lnTo>
                    <a:pt x="758" y="1227"/>
                  </a:lnTo>
                  <a:lnTo>
                    <a:pt x="757" y="1227"/>
                  </a:lnTo>
                  <a:lnTo>
                    <a:pt x="758" y="1227"/>
                  </a:lnTo>
                  <a:close/>
                  <a:moveTo>
                    <a:pt x="781" y="1228"/>
                  </a:moveTo>
                  <a:lnTo>
                    <a:pt x="779" y="1228"/>
                  </a:lnTo>
                  <a:lnTo>
                    <a:pt x="781" y="1227"/>
                  </a:lnTo>
                  <a:lnTo>
                    <a:pt x="781" y="1228"/>
                  </a:lnTo>
                  <a:close/>
                  <a:moveTo>
                    <a:pt x="765" y="1227"/>
                  </a:moveTo>
                  <a:lnTo>
                    <a:pt x="766" y="1227"/>
                  </a:lnTo>
                  <a:lnTo>
                    <a:pt x="765" y="1227"/>
                  </a:lnTo>
                  <a:close/>
                  <a:moveTo>
                    <a:pt x="799" y="1227"/>
                  </a:moveTo>
                  <a:lnTo>
                    <a:pt x="801" y="1228"/>
                  </a:lnTo>
                  <a:lnTo>
                    <a:pt x="801" y="1227"/>
                  </a:lnTo>
                  <a:lnTo>
                    <a:pt x="801" y="1228"/>
                  </a:lnTo>
                  <a:lnTo>
                    <a:pt x="801" y="1230"/>
                  </a:lnTo>
                  <a:lnTo>
                    <a:pt x="799" y="1230"/>
                  </a:lnTo>
                  <a:lnTo>
                    <a:pt x="797" y="1230"/>
                  </a:lnTo>
                  <a:lnTo>
                    <a:pt x="796" y="1230"/>
                  </a:lnTo>
                  <a:lnTo>
                    <a:pt x="794" y="1230"/>
                  </a:lnTo>
                  <a:lnTo>
                    <a:pt x="792" y="1230"/>
                  </a:lnTo>
                  <a:lnTo>
                    <a:pt x="794" y="1228"/>
                  </a:lnTo>
                  <a:lnTo>
                    <a:pt x="796" y="1227"/>
                  </a:lnTo>
                  <a:lnTo>
                    <a:pt x="796" y="1228"/>
                  </a:lnTo>
                  <a:lnTo>
                    <a:pt x="796" y="1227"/>
                  </a:lnTo>
                  <a:lnTo>
                    <a:pt x="797" y="1227"/>
                  </a:lnTo>
                  <a:lnTo>
                    <a:pt x="799" y="1227"/>
                  </a:lnTo>
                  <a:close/>
                  <a:moveTo>
                    <a:pt x="760" y="1227"/>
                  </a:moveTo>
                  <a:lnTo>
                    <a:pt x="762" y="1227"/>
                  </a:lnTo>
                  <a:lnTo>
                    <a:pt x="760" y="1227"/>
                  </a:lnTo>
                  <a:lnTo>
                    <a:pt x="758" y="1227"/>
                  </a:lnTo>
                  <a:lnTo>
                    <a:pt x="760" y="1227"/>
                  </a:lnTo>
                  <a:lnTo>
                    <a:pt x="758" y="1227"/>
                  </a:lnTo>
                  <a:lnTo>
                    <a:pt x="760" y="1227"/>
                  </a:lnTo>
                  <a:close/>
                  <a:moveTo>
                    <a:pt x="763" y="1227"/>
                  </a:moveTo>
                  <a:lnTo>
                    <a:pt x="765" y="1227"/>
                  </a:lnTo>
                  <a:lnTo>
                    <a:pt x="763" y="1227"/>
                  </a:lnTo>
                  <a:close/>
                  <a:moveTo>
                    <a:pt x="758" y="1227"/>
                  </a:moveTo>
                  <a:lnTo>
                    <a:pt x="757" y="1227"/>
                  </a:lnTo>
                  <a:lnTo>
                    <a:pt x="755" y="1227"/>
                  </a:lnTo>
                  <a:lnTo>
                    <a:pt x="757" y="1227"/>
                  </a:lnTo>
                  <a:lnTo>
                    <a:pt x="758" y="1227"/>
                  </a:lnTo>
                  <a:close/>
                  <a:moveTo>
                    <a:pt x="778" y="1227"/>
                  </a:moveTo>
                  <a:lnTo>
                    <a:pt x="779" y="1227"/>
                  </a:lnTo>
                  <a:lnTo>
                    <a:pt x="778" y="1227"/>
                  </a:lnTo>
                  <a:close/>
                  <a:moveTo>
                    <a:pt x="758" y="1227"/>
                  </a:moveTo>
                  <a:lnTo>
                    <a:pt x="758" y="1225"/>
                  </a:lnTo>
                  <a:lnTo>
                    <a:pt x="758" y="1227"/>
                  </a:lnTo>
                  <a:close/>
                  <a:moveTo>
                    <a:pt x="784" y="1227"/>
                  </a:moveTo>
                  <a:lnTo>
                    <a:pt x="784" y="1225"/>
                  </a:lnTo>
                  <a:lnTo>
                    <a:pt x="784" y="1227"/>
                  </a:lnTo>
                  <a:close/>
                  <a:moveTo>
                    <a:pt x="762" y="1227"/>
                  </a:moveTo>
                  <a:lnTo>
                    <a:pt x="762" y="1225"/>
                  </a:lnTo>
                  <a:lnTo>
                    <a:pt x="763" y="1225"/>
                  </a:lnTo>
                  <a:lnTo>
                    <a:pt x="762" y="1227"/>
                  </a:lnTo>
                  <a:close/>
                  <a:moveTo>
                    <a:pt x="757" y="1225"/>
                  </a:moveTo>
                  <a:lnTo>
                    <a:pt x="757" y="1227"/>
                  </a:lnTo>
                  <a:lnTo>
                    <a:pt x="757" y="1225"/>
                  </a:lnTo>
                  <a:close/>
                  <a:moveTo>
                    <a:pt x="797" y="1227"/>
                  </a:moveTo>
                  <a:lnTo>
                    <a:pt x="797" y="1225"/>
                  </a:lnTo>
                  <a:lnTo>
                    <a:pt x="797" y="1227"/>
                  </a:lnTo>
                  <a:close/>
                  <a:moveTo>
                    <a:pt x="784" y="1225"/>
                  </a:moveTo>
                  <a:lnTo>
                    <a:pt x="786" y="1225"/>
                  </a:lnTo>
                  <a:lnTo>
                    <a:pt x="786" y="1227"/>
                  </a:lnTo>
                  <a:lnTo>
                    <a:pt x="784" y="1225"/>
                  </a:lnTo>
                  <a:close/>
                  <a:moveTo>
                    <a:pt x="783" y="1225"/>
                  </a:moveTo>
                  <a:lnTo>
                    <a:pt x="783" y="1227"/>
                  </a:lnTo>
                  <a:lnTo>
                    <a:pt x="783" y="1225"/>
                  </a:lnTo>
                  <a:close/>
                  <a:moveTo>
                    <a:pt x="760" y="1227"/>
                  </a:moveTo>
                  <a:lnTo>
                    <a:pt x="760" y="1225"/>
                  </a:lnTo>
                  <a:lnTo>
                    <a:pt x="760" y="1227"/>
                  </a:lnTo>
                  <a:close/>
                  <a:moveTo>
                    <a:pt x="763" y="1225"/>
                  </a:moveTo>
                  <a:lnTo>
                    <a:pt x="765" y="1225"/>
                  </a:lnTo>
                  <a:lnTo>
                    <a:pt x="765" y="1227"/>
                  </a:lnTo>
                  <a:lnTo>
                    <a:pt x="765" y="1225"/>
                  </a:lnTo>
                  <a:lnTo>
                    <a:pt x="763" y="1225"/>
                  </a:lnTo>
                  <a:close/>
                  <a:moveTo>
                    <a:pt x="755" y="1225"/>
                  </a:moveTo>
                  <a:lnTo>
                    <a:pt x="757" y="1225"/>
                  </a:lnTo>
                  <a:lnTo>
                    <a:pt x="755" y="1225"/>
                  </a:lnTo>
                  <a:close/>
                  <a:moveTo>
                    <a:pt x="784" y="1225"/>
                  </a:moveTo>
                  <a:lnTo>
                    <a:pt x="783" y="1227"/>
                  </a:lnTo>
                  <a:lnTo>
                    <a:pt x="783" y="1225"/>
                  </a:lnTo>
                  <a:lnTo>
                    <a:pt x="784" y="1225"/>
                  </a:lnTo>
                  <a:close/>
                  <a:moveTo>
                    <a:pt x="784" y="1225"/>
                  </a:moveTo>
                  <a:lnTo>
                    <a:pt x="786" y="1225"/>
                  </a:lnTo>
                  <a:lnTo>
                    <a:pt x="784" y="1225"/>
                  </a:lnTo>
                  <a:close/>
                  <a:moveTo>
                    <a:pt x="750" y="1225"/>
                  </a:moveTo>
                  <a:lnTo>
                    <a:pt x="752" y="1225"/>
                  </a:lnTo>
                  <a:lnTo>
                    <a:pt x="750" y="1225"/>
                  </a:lnTo>
                  <a:close/>
                  <a:moveTo>
                    <a:pt x="784" y="1225"/>
                  </a:moveTo>
                  <a:lnTo>
                    <a:pt x="783" y="1225"/>
                  </a:lnTo>
                  <a:lnTo>
                    <a:pt x="784" y="1225"/>
                  </a:lnTo>
                  <a:close/>
                  <a:moveTo>
                    <a:pt x="786" y="1225"/>
                  </a:moveTo>
                  <a:lnTo>
                    <a:pt x="786" y="1223"/>
                  </a:lnTo>
                  <a:lnTo>
                    <a:pt x="786" y="1225"/>
                  </a:lnTo>
                  <a:close/>
                  <a:moveTo>
                    <a:pt x="786" y="1225"/>
                  </a:moveTo>
                  <a:lnTo>
                    <a:pt x="786" y="1223"/>
                  </a:lnTo>
                  <a:lnTo>
                    <a:pt x="786" y="1225"/>
                  </a:lnTo>
                  <a:close/>
                  <a:moveTo>
                    <a:pt x="755" y="1223"/>
                  </a:moveTo>
                  <a:lnTo>
                    <a:pt x="755" y="1225"/>
                  </a:lnTo>
                  <a:lnTo>
                    <a:pt x="755" y="1223"/>
                  </a:lnTo>
                  <a:close/>
                  <a:moveTo>
                    <a:pt x="755" y="1225"/>
                  </a:moveTo>
                  <a:lnTo>
                    <a:pt x="755" y="1223"/>
                  </a:lnTo>
                  <a:lnTo>
                    <a:pt x="755" y="1225"/>
                  </a:lnTo>
                  <a:lnTo>
                    <a:pt x="757" y="1225"/>
                  </a:lnTo>
                  <a:lnTo>
                    <a:pt x="755" y="1223"/>
                  </a:lnTo>
                  <a:lnTo>
                    <a:pt x="757" y="1223"/>
                  </a:lnTo>
                  <a:lnTo>
                    <a:pt x="757" y="1225"/>
                  </a:lnTo>
                  <a:lnTo>
                    <a:pt x="755" y="1225"/>
                  </a:lnTo>
                  <a:close/>
                  <a:moveTo>
                    <a:pt x="788" y="1223"/>
                  </a:moveTo>
                  <a:lnTo>
                    <a:pt x="786" y="1223"/>
                  </a:lnTo>
                  <a:lnTo>
                    <a:pt x="788" y="1223"/>
                  </a:lnTo>
                  <a:close/>
                  <a:moveTo>
                    <a:pt x="784" y="1225"/>
                  </a:moveTo>
                  <a:lnTo>
                    <a:pt x="784" y="1223"/>
                  </a:lnTo>
                  <a:lnTo>
                    <a:pt x="786" y="1223"/>
                  </a:lnTo>
                  <a:lnTo>
                    <a:pt x="784" y="1225"/>
                  </a:lnTo>
                  <a:close/>
                  <a:moveTo>
                    <a:pt x="758" y="1223"/>
                  </a:moveTo>
                  <a:lnTo>
                    <a:pt x="760" y="1223"/>
                  </a:lnTo>
                  <a:lnTo>
                    <a:pt x="758" y="1223"/>
                  </a:lnTo>
                  <a:close/>
                  <a:moveTo>
                    <a:pt x="783" y="1223"/>
                  </a:moveTo>
                  <a:lnTo>
                    <a:pt x="784" y="1223"/>
                  </a:lnTo>
                  <a:lnTo>
                    <a:pt x="783" y="1223"/>
                  </a:lnTo>
                  <a:close/>
                  <a:moveTo>
                    <a:pt x="786" y="1223"/>
                  </a:moveTo>
                  <a:lnTo>
                    <a:pt x="788" y="1223"/>
                  </a:lnTo>
                  <a:lnTo>
                    <a:pt x="786" y="1223"/>
                  </a:lnTo>
                  <a:close/>
                  <a:moveTo>
                    <a:pt x="783" y="1223"/>
                  </a:moveTo>
                  <a:lnTo>
                    <a:pt x="783" y="1222"/>
                  </a:lnTo>
                  <a:lnTo>
                    <a:pt x="783" y="1223"/>
                  </a:lnTo>
                  <a:close/>
                  <a:moveTo>
                    <a:pt x="763" y="1222"/>
                  </a:moveTo>
                  <a:lnTo>
                    <a:pt x="763" y="1223"/>
                  </a:lnTo>
                  <a:lnTo>
                    <a:pt x="763" y="1222"/>
                  </a:lnTo>
                  <a:close/>
                  <a:moveTo>
                    <a:pt x="783" y="1222"/>
                  </a:moveTo>
                  <a:lnTo>
                    <a:pt x="783" y="1223"/>
                  </a:lnTo>
                  <a:lnTo>
                    <a:pt x="783" y="1222"/>
                  </a:lnTo>
                  <a:close/>
                  <a:moveTo>
                    <a:pt x="750" y="1222"/>
                  </a:moveTo>
                  <a:lnTo>
                    <a:pt x="752" y="1222"/>
                  </a:lnTo>
                  <a:lnTo>
                    <a:pt x="750" y="1222"/>
                  </a:lnTo>
                  <a:close/>
                  <a:moveTo>
                    <a:pt x="755" y="1222"/>
                  </a:moveTo>
                  <a:lnTo>
                    <a:pt x="753" y="1222"/>
                  </a:lnTo>
                  <a:lnTo>
                    <a:pt x="755" y="1222"/>
                  </a:lnTo>
                  <a:close/>
                  <a:moveTo>
                    <a:pt x="753" y="1220"/>
                  </a:moveTo>
                  <a:lnTo>
                    <a:pt x="753" y="1222"/>
                  </a:lnTo>
                  <a:lnTo>
                    <a:pt x="753" y="1220"/>
                  </a:lnTo>
                  <a:close/>
                  <a:moveTo>
                    <a:pt x="755" y="1220"/>
                  </a:moveTo>
                  <a:lnTo>
                    <a:pt x="755" y="1222"/>
                  </a:lnTo>
                  <a:lnTo>
                    <a:pt x="755" y="1220"/>
                  </a:lnTo>
                  <a:close/>
                  <a:moveTo>
                    <a:pt x="753" y="1220"/>
                  </a:moveTo>
                  <a:lnTo>
                    <a:pt x="753" y="1218"/>
                  </a:lnTo>
                  <a:lnTo>
                    <a:pt x="753" y="1220"/>
                  </a:lnTo>
                  <a:close/>
                  <a:moveTo>
                    <a:pt x="753" y="1220"/>
                  </a:moveTo>
                  <a:lnTo>
                    <a:pt x="753" y="1218"/>
                  </a:lnTo>
                  <a:lnTo>
                    <a:pt x="753" y="1220"/>
                  </a:lnTo>
                  <a:close/>
                  <a:moveTo>
                    <a:pt x="846" y="1218"/>
                  </a:moveTo>
                  <a:lnTo>
                    <a:pt x="846" y="1220"/>
                  </a:lnTo>
                  <a:lnTo>
                    <a:pt x="845" y="1218"/>
                  </a:lnTo>
                  <a:lnTo>
                    <a:pt x="846" y="1218"/>
                  </a:lnTo>
                  <a:close/>
                  <a:moveTo>
                    <a:pt x="784" y="1218"/>
                  </a:moveTo>
                  <a:lnTo>
                    <a:pt x="786" y="1218"/>
                  </a:lnTo>
                  <a:lnTo>
                    <a:pt x="784" y="1218"/>
                  </a:lnTo>
                  <a:close/>
                  <a:moveTo>
                    <a:pt x="807" y="1218"/>
                  </a:moveTo>
                  <a:lnTo>
                    <a:pt x="809" y="1218"/>
                  </a:lnTo>
                  <a:lnTo>
                    <a:pt x="809" y="1220"/>
                  </a:lnTo>
                  <a:lnTo>
                    <a:pt x="810" y="1220"/>
                  </a:lnTo>
                  <a:lnTo>
                    <a:pt x="810" y="1218"/>
                  </a:lnTo>
                  <a:lnTo>
                    <a:pt x="810" y="1220"/>
                  </a:lnTo>
                  <a:lnTo>
                    <a:pt x="812" y="1220"/>
                  </a:lnTo>
                  <a:lnTo>
                    <a:pt x="812" y="1222"/>
                  </a:lnTo>
                  <a:lnTo>
                    <a:pt x="814" y="1222"/>
                  </a:lnTo>
                  <a:lnTo>
                    <a:pt x="814" y="1223"/>
                  </a:lnTo>
                  <a:lnTo>
                    <a:pt x="814" y="1222"/>
                  </a:lnTo>
                  <a:lnTo>
                    <a:pt x="814" y="1223"/>
                  </a:lnTo>
                  <a:lnTo>
                    <a:pt x="814" y="1222"/>
                  </a:lnTo>
                  <a:lnTo>
                    <a:pt x="815" y="1223"/>
                  </a:lnTo>
                  <a:lnTo>
                    <a:pt x="815" y="1225"/>
                  </a:lnTo>
                  <a:lnTo>
                    <a:pt x="815" y="1227"/>
                  </a:lnTo>
                  <a:lnTo>
                    <a:pt x="814" y="1227"/>
                  </a:lnTo>
                  <a:lnTo>
                    <a:pt x="812" y="1227"/>
                  </a:lnTo>
                  <a:lnTo>
                    <a:pt x="810" y="1228"/>
                  </a:lnTo>
                  <a:lnTo>
                    <a:pt x="809" y="1228"/>
                  </a:lnTo>
                  <a:lnTo>
                    <a:pt x="807" y="1228"/>
                  </a:lnTo>
                  <a:lnTo>
                    <a:pt x="807" y="1230"/>
                  </a:lnTo>
                  <a:lnTo>
                    <a:pt x="805" y="1228"/>
                  </a:lnTo>
                  <a:lnTo>
                    <a:pt x="807" y="1228"/>
                  </a:lnTo>
                  <a:lnTo>
                    <a:pt x="805" y="1228"/>
                  </a:lnTo>
                  <a:lnTo>
                    <a:pt x="807" y="1228"/>
                  </a:lnTo>
                  <a:lnTo>
                    <a:pt x="807" y="1227"/>
                  </a:lnTo>
                  <a:lnTo>
                    <a:pt x="807" y="1228"/>
                  </a:lnTo>
                  <a:lnTo>
                    <a:pt x="807" y="1227"/>
                  </a:lnTo>
                  <a:lnTo>
                    <a:pt x="805" y="1225"/>
                  </a:lnTo>
                  <a:lnTo>
                    <a:pt x="804" y="1225"/>
                  </a:lnTo>
                  <a:lnTo>
                    <a:pt x="805" y="1225"/>
                  </a:lnTo>
                  <a:lnTo>
                    <a:pt x="805" y="1227"/>
                  </a:lnTo>
                  <a:lnTo>
                    <a:pt x="805" y="1228"/>
                  </a:lnTo>
                  <a:lnTo>
                    <a:pt x="804" y="1228"/>
                  </a:lnTo>
                  <a:lnTo>
                    <a:pt x="802" y="1228"/>
                  </a:lnTo>
                  <a:lnTo>
                    <a:pt x="802" y="1227"/>
                  </a:lnTo>
                  <a:lnTo>
                    <a:pt x="801" y="1227"/>
                  </a:lnTo>
                  <a:lnTo>
                    <a:pt x="799" y="1227"/>
                  </a:lnTo>
                  <a:lnTo>
                    <a:pt x="799" y="1225"/>
                  </a:lnTo>
                  <a:lnTo>
                    <a:pt x="801" y="1225"/>
                  </a:lnTo>
                  <a:lnTo>
                    <a:pt x="802" y="1223"/>
                  </a:lnTo>
                  <a:lnTo>
                    <a:pt x="804" y="1225"/>
                  </a:lnTo>
                  <a:lnTo>
                    <a:pt x="804" y="1223"/>
                  </a:lnTo>
                  <a:lnTo>
                    <a:pt x="802" y="1223"/>
                  </a:lnTo>
                  <a:lnTo>
                    <a:pt x="802" y="1222"/>
                  </a:lnTo>
                  <a:lnTo>
                    <a:pt x="804" y="1222"/>
                  </a:lnTo>
                  <a:lnTo>
                    <a:pt x="802" y="1222"/>
                  </a:lnTo>
                  <a:lnTo>
                    <a:pt x="802" y="1220"/>
                  </a:lnTo>
                  <a:lnTo>
                    <a:pt x="804" y="1218"/>
                  </a:lnTo>
                  <a:lnTo>
                    <a:pt x="805" y="1218"/>
                  </a:lnTo>
                  <a:lnTo>
                    <a:pt x="807" y="1218"/>
                  </a:lnTo>
                  <a:close/>
                  <a:moveTo>
                    <a:pt x="755" y="1218"/>
                  </a:moveTo>
                  <a:lnTo>
                    <a:pt x="755" y="1217"/>
                  </a:lnTo>
                  <a:lnTo>
                    <a:pt x="755" y="1218"/>
                  </a:lnTo>
                  <a:close/>
                  <a:moveTo>
                    <a:pt x="757" y="1217"/>
                  </a:moveTo>
                  <a:lnTo>
                    <a:pt x="755" y="1217"/>
                  </a:lnTo>
                  <a:lnTo>
                    <a:pt x="757" y="1217"/>
                  </a:lnTo>
                  <a:close/>
                  <a:moveTo>
                    <a:pt x="753" y="1217"/>
                  </a:moveTo>
                  <a:lnTo>
                    <a:pt x="755" y="1217"/>
                  </a:lnTo>
                  <a:lnTo>
                    <a:pt x="753" y="1218"/>
                  </a:lnTo>
                  <a:lnTo>
                    <a:pt x="753" y="1217"/>
                  </a:lnTo>
                  <a:lnTo>
                    <a:pt x="755" y="1217"/>
                  </a:lnTo>
                  <a:lnTo>
                    <a:pt x="753" y="1217"/>
                  </a:lnTo>
                  <a:close/>
                  <a:moveTo>
                    <a:pt x="783" y="1215"/>
                  </a:moveTo>
                  <a:lnTo>
                    <a:pt x="783" y="1217"/>
                  </a:lnTo>
                  <a:lnTo>
                    <a:pt x="783" y="1215"/>
                  </a:lnTo>
                  <a:close/>
                  <a:moveTo>
                    <a:pt x="755" y="1215"/>
                  </a:moveTo>
                  <a:lnTo>
                    <a:pt x="755" y="1217"/>
                  </a:lnTo>
                  <a:lnTo>
                    <a:pt x="755" y="1215"/>
                  </a:lnTo>
                  <a:close/>
                  <a:moveTo>
                    <a:pt x="755" y="1215"/>
                  </a:moveTo>
                  <a:lnTo>
                    <a:pt x="755" y="1217"/>
                  </a:lnTo>
                  <a:lnTo>
                    <a:pt x="755" y="1215"/>
                  </a:lnTo>
                  <a:lnTo>
                    <a:pt x="755" y="1217"/>
                  </a:lnTo>
                  <a:lnTo>
                    <a:pt x="755" y="1215"/>
                  </a:lnTo>
                  <a:close/>
                  <a:moveTo>
                    <a:pt x="799" y="1215"/>
                  </a:moveTo>
                  <a:lnTo>
                    <a:pt x="801" y="1215"/>
                  </a:lnTo>
                  <a:lnTo>
                    <a:pt x="799" y="1215"/>
                  </a:lnTo>
                  <a:close/>
                  <a:moveTo>
                    <a:pt x="755" y="1215"/>
                  </a:moveTo>
                  <a:lnTo>
                    <a:pt x="755" y="1214"/>
                  </a:lnTo>
                  <a:lnTo>
                    <a:pt x="755" y="1215"/>
                  </a:lnTo>
                  <a:close/>
                  <a:moveTo>
                    <a:pt x="801" y="1214"/>
                  </a:moveTo>
                  <a:lnTo>
                    <a:pt x="801" y="1215"/>
                  </a:lnTo>
                  <a:lnTo>
                    <a:pt x="801" y="1214"/>
                  </a:lnTo>
                  <a:close/>
                  <a:moveTo>
                    <a:pt x="799" y="1214"/>
                  </a:moveTo>
                  <a:lnTo>
                    <a:pt x="799" y="1215"/>
                  </a:lnTo>
                  <a:lnTo>
                    <a:pt x="799" y="1214"/>
                  </a:lnTo>
                  <a:close/>
                  <a:moveTo>
                    <a:pt x="755" y="1214"/>
                  </a:moveTo>
                  <a:lnTo>
                    <a:pt x="757" y="1214"/>
                  </a:lnTo>
                  <a:lnTo>
                    <a:pt x="755" y="1214"/>
                  </a:lnTo>
                  <a:close/>
                  <a:moveTo>
                    <a:pt x="781" y="1214"/>
                  </a:moveTo>
                  <a:lnTo>
                    <a:pt x="783" y="1214"/>
                  </a:lnTo>
                  <a:lnTo>
                    <a:pt x="781" y="1214"/>
                  </a:lnTo>
                  <a:close/>
                  <a:moveTo>
                    <a:pt x="828" y="1214"/>
                  </a:moveTo>
                  <a:lnTo>
                    <a:pt x="830" y="1214"/>
                  </a:lnTo>
                  <a:lnTo>
                    <a:pt x="828" y="1214"/>
                  </a:lnTo>
                  <a:close/>
                  <a:moveTo>
                    <a:pt x="833" y="1214"/>
                  </a:moveTo>
                  <a:lnTo>
                    <a:pt x="832" y="1214"/>
                  </a:lnTo>
                  <a:lnTo>
                    <a:pt x="833" y="1214"/>
                  </a:lnTo>
                  <a:lnTo>
                    <a:pt x="835" y="1214"/>
                  </a:lnTo>
                  <a:lnTo>
                    <a:pt x="833" y="1214"/>
                  </a:lnTo>
                  <a:close/>
                  <a:moveTo>
                    <a:pt x="797" y="1214"/>
                  </a:moveTo>
                  <a:lnTo>
                    <a:pt x="797" y="1212"/>
                  </a:lnTo>
                  <a:lnTo>
                    <a:pt x="797" y="1214"/>
                  </a:lnTo>
                  <a:close/>
                  <a:moveTo>
                    <a:pt x="822" y="1214"/>
                  </a:moveTo>
                  <a:lnTo>
                    <a:pt x="822" y="1212"/>
                  </a:lnTo>
                  <a:lnTo>
                    <a:pt x="822" y="1214"/>
                  </a:lnTo>
                  <a:close/>
                  <a:moveTo>
                    <a:pt x="796" y="1212"/>
                  </a:moveTo>
                  <a:lnTo>
                    <a:pt x="797" y="1212"/>
                  </a:lnTo>
                  <a:lnTo>
                    <a:pt x="797" y="1214"/>
                  </a:lnTo>
                  <a:lnTo>
                    <a:pt x="796" y="1212"/>
                  </a:lnTo>
                  <a:close/>
                  <a:moveTo>
                    <a:pt x="823" y="1214"/>
                  </a:moveTo>
                  <a:lnTo>
                    <a:pt x="822" y="1214"/>
                  </a:lnTo>
                  <a:lnTo>
                    <a:pt x="823" y="1212"/>
                  </a:lnTo>
                  <a:lnTo>
                    <a:pt x="823" y="1214"/>
                  </a:lnTo>
                  <a:close/>
                  <a:moveTo>
                    <a:pt x="830" y="1212"/>
                  </a:moveTo>
                  <a:lnTo>
                    <a:pt x="830" y="1214"/>
                  </a:lnTo>
                  <a:lnTo>
                    <a:pt x="830" y="1212"/>
                  </a:lnTo>
                  <a:lnTo>
                    <a:pt x="832" y="1212"/>
                  </a:lnTo>
                  <a:lnTo>
                    <a:pt x="830" y="1212"/>
                  </a:lnTo>
                  <a:close/>
                  <a:moveTo>
                    <a:pt x="822" y="1214"/>
                  </a:moveTo>
                  <a:lnTo>
                    <a:pt x="823" y="1212"/>
                  </a:lnTo>
                  <a:lnTo>
                    <a:pt x="822" y="1214"/>
                  </a:lnTo>
                  <a:close/>
                  <a:moveTo>
                    <a:pt x="783" y="1212"/>
                  </a:moveTo>
                  <a:lnTo>
                    <a:pt x="781" y="1212"/>
                  </a:lnTo>
                  <a:lnTo>
                    <a:pt x="783" y="1212"/>
                  </a:lnTo>
                  <a:close/>
                  <a:moveTo>
                    <a:pt x="758" y="1212"/>
                  </a:moveTo>
                  <a:lnTo>
                    <a:pt x="760" y="1212"/>
                  </a:lnTo>
                  <a:lnTo>
                    <a:pt x="758" y="1212"/>
                  </a:lnTo>
                  <a:close/>
                  <a:moveTo>
                    <a:pt x="846" y="1212"/>
                  </a:moveTo>
                  <a:lnTo>
                    <a:pt x="845" y="1212"/>
                  </a:lnTo>
                  <a:lnTo>
                    <a:pt x="846" y="1212"/>
                  </a:lnTo>
                  <a:close/>
                  <a:moveTo>
                    <a:pt x="758" y="1212"/>
                  </a:moveTo>
                  <a:lnTo>
                    <a:pt x="760" y="1212"/>
                  </a:lnTo>
                  <a:lnTo>
                    <a:pt x="758" y="1212"/>
                  </a:lnTo>
                  <a:close/>
                  <a:moveTo>
                    <a:pt x="789" y="1212"/>
                  </a:moveTo>
                  <a:lnTo>
                    <a:pt x="791" y="1212"/>
                  </a:lnTo>
                  <a:lnTo>
                    <a:pt x="792" y="1212"/>
                  </a:lnTo>
                  <a:lnTo>
                    <a:pt x="791" y="1212"/>
                  </a:lnTo>
                  <a:lnTo>
                    <a:pt x="792" y="1212"/>
                  </a:lnTo>
                  <a:lnTo>
                    <a:pt x="792" y="1214"/>
                  </a:lnTo>
                  <a:lnTo>
                    <a:pt x="791" y="1214"/>
                  </a:lnTo>
                  <a:lnTo>
                    <a:pt x="791" y="1212"/>
                  </a:lnTo>
                  <a:lnTo>
                    <a:pt x="791" y="1214"/>
                  </a:lnTo>
                  <a:lnTo>
                    <a:pt x="791" y="1212"/>
                  </a:lnTo>
                  <a:lnTo>
                    <a:pt x="789" y="1212"/>
                  </a:lnTo>
                  <a:close/>
                  <a:moveTo>
                    <a:pt x="846" y="1212"/>
                  </a:moveTo>
                  <a:lnTo>
                    <a:pt x="846" y="1210"/>
                  </a:lnTo>
                  <a:lnTo>
                    <a:pt x="846" y="1212"/>
                  </a:lnTo>
                  <a:close/>
                  <a:moveTo>
                    <a:pt x="832" y="1212"/>
                  </a:moveTo>
                  <a:lnTo>
                    <a:pt x="832" y="1210"/>
                  </a:lnTo>
                  <a:lnTo>
                    <a:pt x="832" y="1212"/>
                  </a:lnTo>
                  <a:close/>
                  <a:moveTo>
                    <a:pt x="757" y="1212"/>
                  </a:moveTo>
                  <a:lnTo>
                    <a:pt x="757" y="1210"/>
                  </a:lnTo>
                  <a:lnTo>
                    <a:pt x="758" y="1212"/>
                  </a:lnTo>
                  <a:lnTo>
                    <a:pt x="757" y="1212"/>
                  </a:lnTo>
                  <a:close/>
                  <a:moveTo>
                    <a:pt x="781" y="1210"/>
                  </a:moveTo>
                  <a:lnTo>
                    <a:pt x="781" y="1212"/>
                  </a:lnTo>
                  <a:lnTo>
                    <a:pt x="781" y="1210"/>
                  </a:lnTo>
                  <a:close/>
                  <a:moveTo>
                    <a:pt x="843" y="1212"/>
                  </a:moveTo>
                  <a:lnTo>
                    <a:pt x="843" y="1210"/>
                  </a:lnTo>
                  <a:lnTo>
                    <a:pt x="843" y="1212"/>
                  </a:lnTo>
                  <a:close/>
                  <a:moveTo>
                    <a:pt x="832" y="1212"/>
                  </a:moveTo>
                  <a:lnTo>
                    <a:pt x="832" y="1210"/>
                  </a:lnTo>
                  <a:lnTo>
                    <a:pt x="832" y="1212"/>
                  </a:lnTo>
                  <a:close/>
                  <a:moveTo>
                    <a:pt x="788" y="1210"/>
                  </a:moveTo>
                  <a:lnTo>
                    <a:pt x="789" y="1212"/>
                  </a:lnTo>
                  <a:lnTo>
                    <a:pt x="789" y="1210"/>
                  </a:lnTo>
                  <a:lnTo>
                    <a:pt x="789" y="1212"/>
                  </a:lnTo>
                  <a:lnTo>
                    <a:pt x="788" y="1210"/>
                  </a:lnTo>
                  <a:close/>
                  <a:moveTo>
                    <a:pt x="781" y="1212"/>
                  </a:moveTo>
                  <a:lnTo>
                    <a:pt x="781" y="1210"/>
                  </a:lnTo>
                  <a:lnTo>
                    <a:pt x="781" y="1212"/>
                  </a:lnTo>
                  <a:close/>
                  <a:moveTo>
                    <a:pt x="758" y="1210"/>
                  </a:moveTo>
                  <a:lnTo>
                    <a:pt x="758" y="1212"/>
                  </a:lnTo>
                  <a:lnTo>
                    <a:pt x="757" y="1212"/>
                  </a:lnTo>
                  <a:lnTo>
                    <a:pt x="758" y="1212"/>
                  </a:lnTo>
                  <a:lnTo>
                    <a:pt x="758" y="1210"/>
                  </a:lnTo>
                  <a:close/>
                  <a:moveTo>
                    <a:pt x="758" y="1210"/>
                  </a:moveTo>
                  <a:lnTo>
                    <a:pt x="760" y="1210"/>
                  </a:lnTo>
                  <a:lnTo>
                    <a:pt x="758" y="1210"/>
                  </a:lnTo>
                  <a:close/>
                  <a:moveTo>
                    <a:pt x="849" y="1210"/>
                  </a:moveTo>
                  <a:lnTo>
                    <a:pt x="848" y="1210"/>
                  </a:lnTo>
                  <a:lnTo>
                    <a:pt x="849" y="1210"/>
                  </a:lnTo>
                  <a:close/>
                  <a:moveTo>
                    <a:pt x="758" y="1210"/>
                  </a:moveTo>
                  <a:lnTo>
                    <a:pt x="758" y="1209"/>
                  </a:lnTo>
                  <a:lnTo>
                    <a:pt x="758" y="1210"/>
                  </a:lnTo>
                  <a:close/>
                  <a:moveTo>
                    <a:pt x="757" y="1209"/>
                  </a:moveTo>
                  <a:lnTo>
                    <a:pt x="757" y="1210"/>
                  </a:lnTo>
                  <a:lnTo>
                    <a:pt x="757" y="1209"/>
                  </a:lnTo>
                  <a:close/>
                  <a:moveTo>
                    <a:pt x="781" y="1209"/>
                  </a:moveTo>
                  <a:lnTo>
                    <a:pt x="781" y="1210"/>
                  </a:lnTo>
                  <a:lnTo>
                    <a:pt x="781" y="1209"/>
                  </a:lnTo>
                  <a:close/>
                  <a:moveTo>
                    <a:pt x="845" y="1210"/>
                  </a:moveTo>
                  <a:lnTo>
                    <a:pt x="845" y="1209"/>
                  </a:lnTo>
                  <a:lnTo>
                    <a:pt x="845" y="1210"/>
                  </a:lnTo>
                  <a:lnTo>
                    <a:pt x="843" y="1210"/>
                  </a:lnTo>
                  <a:lnTo>
                    <a:pt x="845" y="1210"/>
                  </a:lnTo>
                  <a:close/>
                  <a:moveTo>
                    <a:pt x="846" y="1210"/>
                  </a:moveTo>
                  <a:lnTo>
                    <a:pt x="846" y="1209"/>
                  </a:lnTo>
                  <a:lnTo>
                    <a:pt x="846" y="1210"/>
                  </a:lnTo>
                  <a:close/>
                  <a:moveTo>
                    <a:pt x="835" y="1210"/>
                  </a:moveTo>
                  <a:lnTo>
                    <a:pt x="833" y="1210"/>
                  </a:lnTo>
                  <a:lnTo>
                    <a:pt x="833" y="1209"/>
                  </a:lnTo>
                  <a:lnTo>
                    <a:pt x="835" y="1210"/>
                  </a:lnTo>
                  <a:close/>
                  <a:moveTo>
                    <a:pt x="830" y="1210"/>
                  </a:moveTo>
                  <a:lnTo>
                    <a:pt x="832" y="1209"/>
                  </a:lnTo>
                  <a:lnTo>
                    <a:pt x="832" y="1210"/>
                  </a:lnTo>
                  <a:lnTo>
                    <a:pt x="830" y="1210"/>
                  </a:lnTo>
                  <a:lnTo>
                    <a:pt x="830" y="1212"/>
                  </a:lnTo>
                  <a:lnTo>
                    <a:pt x="830" y="1210"/>
                  </a:lnTo>
                  <a:lnTo>
                    <a:pt x="830" y="1212"/>
                  </a:lnTo>
                  <a:lnTo>
                    <a:pt x="832" y="1212"/>
                  </a:lnTo>
                  <a:lnTo>
                    <a:pt x="830" y="1212"/>
                  </a:lnTo>
                  <a:lnTo>
                    <a:pt x="830" y="1214"/>
                  </a:lnTo>
                  <a:lnTo>
                    <a:pt x="830" y="1212"/>
                  </a:lnTo>
                  <a:lnTo>
                    <a:pt x="828" y="1212"/>
                  </a:lnTo>
                  <a:lnTo>
                    <a:pt x="827" y="1212"/>
                  </a:lnTo>
                  <a:lnTo>
                    <a:pt x="828" y="1210"/>
                  </a:lnTo>
                  <a:lnTo>
                    <a:pt x="827" y="1210"/>
                  </a:lnTo>
                  <a:lnTo>
                    <a:pt x="828" y="1210"/>
                  </a:lnTo>
                  <a:lnTo>
                    <a:pt x="827" y="1210"/>
                  </a:lnTo>
                  <a:lnTo>
                    <a:pt x="828" y="1210"/>
                  </a:lnTo>
                  <a:lnTo>
                    <a:pt x="830" y="1210"/>
                  </a:lnTo>
                  <a:close/>
                  <a:moveTo>
                    <a:pt x="757" y="1209"/>
                  </a:moveTo>
                  <a:lnTo>
                    <a:pt x="758" y="1209"/>
                  </a:lnTo>
                  <a:lnTo>
                    <a:pt x="757" y="1209"/>
                  </a:lnTo>
                  <a:close/>
                  <a:moveTo>
                    <a:pt x="838" y="1209"/>
                  </a:moveTo>
                  <a:lnTo>
                    <a:pt x="840" y="1209"/>
                  </a:lnTo>
                  <a:lnTo>
                    <a:pt x="838" y="1210"/>
                  </a:lnTo>
                  <a:lnTo>
                    <a:pt x="838" y="1209"/>
                  </a:lnTo>
                  <a:close/>
                  <a:moveTo>
                    <a:pt x="757" y="1209"/>
                  </a:moveTo>
                  <a:lnTo>
                    <a:pt x="757" y="1207"/>
                  </a:lnTo>
                  <a:lnTo>
                    <a:pt x="757" y="1209"/>
                  </a:lnTo>
                  <a:close/>
                  <a:moveTo>
                    <a:pt x="757" y="1209"/>
                  </a:moveTo>
                  <a:lnTo>
                    <a:pt x="757" y="1207"/>
                  </a:lnTo>
                  <a:lnTo>
                    <a:pt x="758" y="1209"/>
                  </a:lnTo>
                  <a:lnTo>
                    <a:pt x="757" y="1209"/>
                  </a:lnTo>
                  <a:close/>
                  <a:moveTo>
                    <a:pt x="814" y="1207"/>
                  </a:moveTo>
                  <a:lnTo>
                    <a:pt x="814" y="1209"/>
                  </a:lnTo>
                  <a:lnTo>
                    <a:pt x="814" y="1207"/>
                  </a:lnTo>
                  <a:close/>
                  <a:moveTo>
                    <a:pt x="763" y="1209"/>
                  </a:moveTo>
                  <a:lnTo>
                    <a:pt x="763" y="1207"/>
                  </a:lnTo>
                  <a:lnTo>
                    <a:pt x="763" y="1209"/>
                  </a:lnTo>
                  <a:lnTo>
                    <a:pt x="765" y="1209"/>
                  </a:lnTo>
                  <a:lnTo>
                    <a:pt x="763" y="1209"/>
                  </a:lnTo>
                  <a:close/>
                  <a:moveTo>
                    <a:pt x="757" y="1209"/>
                  </a:moveTo>
                  <a:lnTo>
                    <a:pt x="757" y="1207"/>
                  </a:lnTo>
                  <a:lnTo>
                    <a:pt x="757" y="1209"/>
                  </a:lnTo>
                  <a:close/>
                  <a:moveTo>
                    <a:pt x="763" y="1207"/>
                  </a:moveTo>
                  <a:lnTo>
                    <a:pt x="765" y="1207"/>
                  </a:lnTo>
                  <a:lnTo>
                    <a:pt x="765" y="1209"/>
                  </a:lnTo>
                  <a:lnTo>
                    <a:pt x="763" y="1207"/>
                  </a:lnTo>
                  <a:close/>
                  <a:moveTo>
                    <a:pt x="812" y="1209"/>
                  </a:moveTo>
                  <a:lnTo>
                    <a:pt x="814" y="1207"/>
                  </a:lnTo>
                  <a:lnTo>
                    <a:pt x="812" y="1209"/>
                  </a:lnTo>
                  <a:close/>
                  <a:moveTo>
                    <a:pt x="758" y="1209"/>
                  </a:moveTo>
                  <a:lnTo>
                    <a:pt x="758" y="1207"/>
                  </a:lnTo>
                  <a:lnTo>
                    <a:pt x="758" y="1209"/>
                  </a:lnTo>
                  <a:close/>
                  <a:moveTo>
                    <a:pt x="786" y="1207"/>
                  </a:moveTo>
                  <a:lnTo>
                    <a:pt x="788" y="1207"/>
                  </a:lnTo>
                  <a:lnTo>
                    <a:pt x="786" y="1207"/>
                  </a:lnTo>
                  <a:close/>
                  <a:moveTo>
                    <a:pt x="838" y="1209"/>
                  </a:moveTo>
                  <a:lnTo>
                    <a:pt x="836" y="1209"/>
                  </a:lnTo>
                  <a:lnTo>
                    <a:pt x="836" y="1207"/>
                  </a:lnTo>
                  <a:lnTo>
                    <a:pt x="838" y="1207"/>
                  </a:lnTo>
                  <a:lnTo>
                    <a:pt x="838" y="1209"/>
                  </a:lnTo>
                  <a:close/>
                  <a:moveTo>
                    <a:pt x="779" y="1207"/>
                  </a:moveTo>
                  <a:lnTo>
                    <a:pt x="779" y="1209"/>
                  </a:lnTo>
                  <a:lnTo>
                    <a:pt x="779" y="1207"/>
                  </a:lnTo>
                  <a:close/>
                  <a:moveTo>
                    <a:pt x="814" y="1207"/>
                  </a:moveTo>
                  <a:lnTo>
                    <a:pt x="815" y="1207"/>
                  </a:lnTo>
                  <a:lnTo>
                    <a:pt x="814" y="1207"/>
                  </a:lnTo>
                  <a:close/>
                  <a:moveTo>
                    <a:pt x="845" y="1207"/>
                  </a:moveTo>
                  <a:lnTo>
                    <a:pt x="845" y="1209"/>
                  </a:lnTo>
                  <a:lnTo>
                    <a:pt x="843" y="1209"/>
                  </a:lnTo>
                  <a:lnTo>
                    <a:pt x="845" y="1209"/>
                  </a:lnTo>
                  <a:lnTo>
                    <a:pt x="843" y="1207"/>
                  </a:lnTo>
                  <a:lnTo>
                    <a:pt x="845" y="1207"/>
                  </a:lnTo>
                  <a:close/>
                  <a:moveTo>
                    <a:pt x="758" y="1207"/>
                  </a:moveTo>
                  <a:lnTo>
                    <a:pt x="760" y="1207"/>
                  </a:lnTo>
                  <a:lnTo>
                    <a:pt x="758" y="1207"/>
                  </a:lnTo>
                  <a:lnTo>
                    <a:pt x="760" y="1207"/>
                  </a:lnTo>
                  <a:lnTo>
                    <a:pt x="758" y="1207"/>
                  </a:lnTo>
                  <a:close/>
                  <a:moveTo>
                    <a:pt x="791" y="1207"/>
                  </a:moveTo>
                  <a:lnTo>
                    <a:pt x="789" y="1207"/>
                  </a:lnTo>
                  <a:lnTo>
                    <a:pt x="791" y="1207"/>
                  </a:lnTo>
                  <a:close/>
                  <a:moveTo>
                    <a:pt x="866" y="1209"/>
                  </a:moveTo>
                  <a:lnTo>
                    <a:pt x="866" y="1207"/>
                  </a:lnTo>
                  <a:lnTo>
                    <a:pt x="866" y="1209"/>
                  </a:lnTo>
                  <a:close/>
                  <a:moveTo>
                    <a:pt x="823" y="1207"/>
                  </a:moveTo>
                  <a:lnTo>
                    <a:pt x="825" y="1207"/>
                  </a:lnTo>
                  <a:lnTo>
                    <a:pt x="823" y="1207"/>
                  </a:lnTo>
                  <a:close/>
                  <a:moveTo>
                    <a:pt x="770" y="1207"/>
                  </a:moveTo>
                  <a:lnTo>
                    <a:pt x="771" y="1207"/>
                  </a:lnTo>
                  <a:lnTo>
                    <a:pt x="770" y="1207"/>
                  </a:lnTo>
                  <a:close/>
                  <a:moveTo>
                    <a:pt x="773" y="1207"/>
                  </a:moveTo>
                  <a:lnTo>
                    <a:pt x="775" y="1207"/>
                  </a:lnTo>
                  <a:lnTo>
                    <a:pt x="773" y="1207"/>
                  </a:lnTo>
                  <a:close/>
                  <a:moveTo>
                    <a:pt x="775" y="1205"/>
                  </a:moveTo>
                  <a:lnTo>
                    <a:pt x="775" y="1207"/>
                  </a:lnTo>
                  <a:lnTo>
                    <a:pt x="775" y="1205"/>
                  </a:lnTo>
                  <a:close/>
                  <a:moveTo>
                    <a:pt x="823" y="1205"/>
                  </a:moveTo>
                  <a:lnTo>
                    <a:pt x="823" y="1207"/>
                  </a:lnTo>
                  <a:lnTo>
                    <a:pt x="823" y="1205"/>
                  </a:lnTo>
                  <a:close/>
                  <a:moveTo>
                    <a:pt x="757" y="1207"/>
                  </a:moveTo>
                  <a:lnTo>
                    <a:pt x="757" y="1205"/>
                  </a:lnTo>
                  <a:lnTo>
                    <a:pt x="757" y="1207"/>
                  </a:lnTo>
                  <a:close/>
                  <a:moveTo>
                    <a:pt x="776" y="1207"/>
                  </a:moveTo>
                  <a:lnTo>
                    <a:pt x="776" y="1205"/>
                  </a:lnTo>
                  <a:lnTo>
                    <a:pt x="776" y="1207"/>
                  </a:lnTo>
                  <a:close/>
                  <a:moveTo>
                    <a:pt x="757" y="1207"/>
                  </a:moveTo>
                  <a:lnTo>
                    <a:pt x="757" y="1205"/>
                  </a:lnTo>
                  <a:lnTo>
                    <a:pt x="757" y="1207"/>
                  </a:lnTo>
                  <a:close/>
                  <a:moveTo>
                    <a:pt x="825" y="1207"/>
                  </a:moveTo>
                  <a:lnTo>
                    <a:pt x="825" y="1205"/>
                  </a:lnTo>
                  <a:lnTo>
                    <a:pt x="825" y="1207"/>
                  </a:lnTo>
                  <a:close/>
                  <a:moveTo>
                    <a:pt x="789" y="1205"/>
                  </a:moveTo>
                  <a:lnTo>
                    <a:pt x="789" y="1207"/>
                  </a:lnTo>
                  <a:lnTo>
                    <a:pt x="789" y="1205"/>
                  </a:lnTo>
                  <a:close/>
                  <a:moveTo>
                    <a:pt x="758" y="1207"/>
                  </a:moveTo>
                  <a:lnTo>
                    <a:pt x="758" y="1205"/>
                  </a:lnTo>
                  <a:lnTo>
                    <a:pt x="758" y="1207"/>
                  </a:lnTo>
                  <a:close/>
                  <a:moveTo>
                    <a:pt x="758" y="1207"/>
                  </a:moveTo>
                  <a:lnTo>
                    <a:pt x="760" y="1205"/>
                  </a:lnTo>
                  <a:lnTo>
                    <a:pt x="760" y="1207"/>
                  </a:lnTo>
                  <a:lnTo>
                    <a:pt x="758" y="1207"/>
                  </a:lnTo>
                  <a:close/>
                  <a:moveTo>
                    <a:pt x="758" y="1207"/>
                  </a:moveTo>
                  <a:lnTo>
                    <a:pt x="758" y="1205"/>
                  </a:lnTo>
                  <a:lnTo>
                    <a:pt x="758" y="1207"/>
                  </a:lnTo>
                  <a:close/>
                  <a:moveTo>
                    <a:pt x="788" y="1207"/>
                  </a:moveTo>
                  <a:lnTo>
                    <a:pt x="788" y="1205"/>
                  </a:lnTo>
                  <a:lnTo>
                    <a:pt x="788" y="1207"/>
                  </a:lnTo>
                  <a:close/>
                  <a:moveTo>
                    <a:pt x="763" y="1205"/>
                  </a:moveTo>
                  <a:lnTo>
                    <a:pt x="763" y="1207"/>
                  </a:lnTo>
                  <a:lnTo>
                    <a:pt x="763" y="1205"/>
                  </a:lnTo>
                  <a:close/>
                  <a:moveTo>
                    <a:pt x="760" y="1205"/>
                  </a:moveTo>
                  <a:lnTo>
                    <a:pt x="760" y="1207"/>
                  </a:lnTo>
                  <a:lnTo>
                    <a:pt x="760" y="1205"/>
                  </a:lnTo>
                  <a:lnTo>
                    <a:pt x="760" y="1207"/>
                  </a:lnTo>
                  <a:lnTo>
                    <a:pt x="760" y="1205"/>
                  </a:lnTo>
                  <a:close/>
                  <a:moveTo>
                    <a:pt x="840" y="1205"/>
                  </a:moveTo>
                  <a:lnTo>
                    <a:pt x="841" y="1205"/>
                  </a:lnTo>
                  <a:lnTo>
                    <a:pt x="840" y="1205"/>
                  </a:lnTo>
                  <a:close/>
                  <a:moveTo>
                    <a:pt x="770" y="1205"/>
                  </a:moveTo>
                  <a:lnTo>
                    <a:pt x="771" y="1205"/>
                  </a:lnTo>
                  <a:lnTo>
                    <a:pt x="770" y="1205"/>
                  </a:lnTo>
                  <a:close/>
                  <a:moveTo>
                    <a:pt x="789" y="1205"/>
                  </a:moveTo>
                  <a:lnTo>
                    <a:pt x="791" y="1205"/>
                  </a:lnTo>
                  <a:lnTo>
                    <a:pt x="789" y="1205"/>
                  </a:lnTo>
                  <a:lnTo>
                    <a:pt x="789" y="1207"/>
                  </a:lnTo>
                  <a:lnTo>
                    <a:pt x="788" y="1207"/>
                  </a:lnTo>
                  <a:lnTo>
                    <a:pt x="789" y="1207"/>
                  </a:lnTo>
                  <a:lnTo>
                    <a:pt x="788" y="1207"/>
                  </a:lnTo>
                  <a:lnTo>
                    <a:pt x="789" y="1205"/>
                  </a:lnTo>
                  <a:close/>
                  <a:moveTo>
                    <a:pt x="762" y="1205"/>
                  </a:moveTo>
                  <a:lnTo>
                    <a:pt x="763" y="1205"/>
                  </a:lnTo>
                  <a:lnTo>
                    <a:pt x="762" y="1205"/>
                  </a:lnTo>
                  <a:close/>
                  <a:moveTo>
                    <a:pt x="757" y="1205"/>
                  </a:moveTo>
                  <a:lnTo>
                    <a:pt x="758" y="1205"/>
                  </a:lnTo>
                  <a:lnTo>
                    <a:pt x="757" y="1205"/>
                  </a:lnTo>
                  <a:close/>
                  <a:moveTo>
                    <a:pt x="758" y="1205"/>
                  </a:moveTo>
                  <a:lnTo>
                    <a:pt x="760" y="1205"/>
                  </a:lnTo>
                  <a:lnTo>
                    <a:pt x="758" y="1205"/>
                  </a:lnTo>
                  <a:close/>
                  <a:moveTo>
                    <a:pt x="762" y="1205"/>
                  </a:moveTo>
                  <a:lnTo>
                    <a:pt x="763" y="1205"/>
                  </a:lnTo>
                  <a:lnTo>
                    <a:pt x="762" y="1205"/>
                  </a:lnTo>
                  <a:close/>
                  <a:moveTo>
                    <a:pt x="770" y="1205"/>
                  </a:moveTo>
                  <a:lnTo>
                    <a:pt x="770" y="1207"/>
                  </a:lnTo>
                  <a:lnTo>
                    <a:pt x="771" y="1207"/>
                  </a:lnTo>
                  <a:lnTo>
                    <a:pt x="771" y="1205"/>
                  </a:lnTo>
                  <a:lnTo>
                    <a:pt x="771" y="1207"/>
                  </a:lnTo>
                  <a:lnTo>
                    <a:pt x="771" y="1205"/>
                  </a:lnTo>
                  <a:lnTo>
                    <a:pt x="771" y="1207"/>
                  </a:lnTo>
                  <a:lnTo>
                    <a:pt x="773" y="1207"/>
                  </a:lnTo>
                  <a:lnTo>
                    <a:pt x="775" y="1207"/>
                  </a:lnTo>
                  <a:lnTo>
                    <a:pt x="773" y="1207"/>
                  </a:lnTo>
                  <a:lnTo>
                    <a:pt x="775" y="1207"/>
                  </a:lnTo>
                  <a:lnTo>
                    <a:pt x="776" y="1207"/>
                  </a:lnTo>
                  <a:lnTo>
                    <a:pt x="775" y="1207"/>
                  </a:lnTo>
                  <a:lnTo>
                    <a:pt x="776" y="1207"/>
                  </a:lnTo>
                  <a:lnTo>
                    <a:pt x="778" y="1205"/>
                  </a:lnTo>
                  <a:lnTo>
                    <a:pt x="776" y="1205"/>
                  </a:lnTo>
                  <a:lnTo>
                    <a:pt x="778" y="1205"/>
                  </a:lnTo>
                  <a:lnTo>
                    <a:pt x="779" y="1205"/>
                  </a:lnTo>
                  <a:lnTo>
                    <a:pt x="779" y="1207"/>
                  </a:lnTo>
                  <a:lnTo>
                    <a:pt x="779" y="1205"/>
                  </a:lnTo>
                  <a:lnTo>
                    <a:pt x="778" y="1207"/>
                  </a:lnTo>
                  <a:lnTo>
                    <a:pt x="779" y="1207"/>
                  </a:lnTo>
                  <a:lnTo>
                    <a:pt x="778" y="1207"/>
                  </a:lnTo>
                  <a:lnTo>
                    <a:pt x="779" y="1209"/>
                  </a:lnTo>
                  <a:lnTo>
                    <a:pt x="779" y="1212"/>
                  </a:lnTo>
                  <a:lnTo>
                    <a:pt x="781" y="1212"/>
                  </a:lnTo>
                  <a:lnTo>
                    <a:pt x="781" y="1214"/>
                  </a:lnTo>
                  <a:lnTo>
                    <a:pt x="781" y="1215"/>
                  </a:lnTo>
                  <a:lnTo>
                    <a:pt x="781" y="1217"/>
                  </a:lnTo>
                  <a:lnTo>
                    <a:pt x="783" y="1217"/>
                  </a:lnTo>
                  <a:lnTo>
                    <a:pt x="783" y="1218"/>
                  </a:lnTo>
                  <a:lnTo>
                    <a:pt x="784" y="1218"/>
                  </a:lnTo>
                  <a:lnTo>
                    <a:pt x="783" y="1218"/>
                  </a:lnTo>
                  <a:lnTo>
                    <a:pt x="783" y="1220"/>
                  </a:lnTo>
                  <a:lnTo>
                    <a:pt x="784" y="1220"/>
                  </a:lnTo>
                  <a:lnTo>
                    <a:pt x="783" y="1220"/>
                  </a:lnTo>
                  <a:lnTo>
                    <a:pt x="784" y="1220"/>
                  </a:lnTo>
                  <a:lnTo>
                    <a:pt x="783" y="1220"/>
                  </a:lnTo>
                  <a:lnTo>
                    <a:pt x="783" y="1222"/>
                  </a:lnTo>
                  <a:lnTo>
                    <a:pt x="783" y="1223"/>
                  </a:lnTo>
                  <a:lnTo>
                    <a:pt x="781" y="1223"/>
                  </a:lnTo>
                  <a:lnTo>
                    <a:pt x="779" y="1223"/>
                  </a:lnTo>
                  <a:lnTo>
                    <a:pt x="781" y="1223"/>
                  </a:lnTo>
                  <a:lnTo>
                    <a:pt x="781" y="1225"/>
                  </a:lnTo>
                  <a:lnTo>
                    <a:pt x="779" y="1225"/>
                  </a:lnTo>
                  <a:lnTo>
                    <a:pt x="779" y="1227"/>
                  </a:lnTo>
                  <a:lnTo>
                    <a:pt x="779" y="1225"/>
                  </a:lnTo>
                  <a:lnTo>
                    <a:pt x="779" y="1227"/>
                  </a:lnTo>
                  <a:lnTo>
                    <a:pt x="779" y="1225"/>
                  </a:lnTo>
                  <a:lnTo>
                    <a:pt x="778" y="1227"/>
                  </a:lnTo>
                  <a:lnTo>
                    <a:pt x="778" y="1225"/>
                  </a:lnTo>
                  <a:lnTo>
                    <a:pt x="778" y="1227"/>
                  </a:lnTo>
                  <a:lnTo>
                    <a:pt x="776" y="1227"/>
                  </a:lnTo>
                  <a:lnTo>
                    <a:pt x="775" y="1227"/>
                  </a:lnTo>
                  <a:lnTo>
                    <a:pt x="773" y="1227"/>
                  </a:lnTo>
                  <a:lnTo>
                    <a:pt x="773" y="1228"/>
                  </a:lnTo>
                  <a:lnTo>
                    <a:pt x="773" y="1227"/>
                  </a:lnTo>
                  <a:lnTo>
                    <a:pt x="773" y="1228"/>
                  </a:lnTo>
                  <a:lnTo>
                    <a:pt x="775" y="1228"/>
                  </a:lnTo>
                  <a:lnTo>
                    <a:pt x="775" y="1227"/>
                  </a:lnTo>
                  <a:lnTo>
                    <a:pt x="776" y="1227"/>
                  </a:lnTo>
                  <a:lnTo>
                    <a:pt x="775" y="1227"/>
                  </a:lnTo>
                  <a:lnTo>
                    <a:pt x="776" y="1227"/>
                  </a:lnTo>
                  <a:lnTo>
                    <a:pt x="776" y="1228"/>
                  </a:lnTo>
                  <a:lnTo>
                    <a:pt x="775" y="1228"/>
                  </a:lnTo>
                  <a:lnTo>
                    <a:pt x="773" y="1228"/>
                  </a:lnTo>
                  <a:lnTo>
                    <a:pt x="771" y="1228"/>
                  </a:lnTo>
                  <a:lnTo>
                    <a:pt x="771" y="1230"/>
                  </a:lnTo>
                  <a:lnTo>
                    <a:pt x="770" y="1230"/>
                  </a:lnTo>
                  <a:lnTo>
                    <a:pt x="770" y="1228"/>
                  </a:lnTo>
                  <a:lnTo>
                    <a:pt x="768" y="1228"/>
                  </a:lnTo>
                  <a:lnTo>
                    <a:pt x="770" y="1228"/>
                  </a:lnTo>
                  <a:lnTo>
                    <a:pt x="768" y="1228"/>
                  </a:lnTo>
                  <a:lnTo>
                    <a:pt x="770" y="1228"/>
                  </a:lnTo>
                  <a:lnTo>
                    <a:pt x="770" y="1227"/>
                  </a:lnTo>
                  <a:lnTo>
                    <a:pt x="771" y="1227"/>
                  </a:lnTo>
                  <a:lnTo>
                    <a:pt x="770" y="1227"/>
                  </a:lnTo>
                  <a:lnTo>
                    <a:pt x="768" y="1227"/>
                  </a:lnTo>
                  <a:lnTo>
                    <a:pt x="768" y="1225"/>
                  </a:lnTo>
                  <a:lnTo>
                    <a:pt x="766" y="1225"/>
                  </a:lnTo>
                  <a:lnTo>
                    <a:pt x="766" y="1227"/>
                  </a:lnTo>
                  <a:lnTo>
                    <a:pt x="766" y="1225"/>
                  </a:lnTo>
                  <a:lnTo>
                    <a:pt x="765" y="1225"/>
                  </a:lnTo>
                  <a:lnTo>
                    <a:pt x="766" y="1225"/>
                  </a:lnTo>
                  <a:lnTo>
                    <a:pt x="765" y="1225"/>
                  </a:lnTo>
                  <a:lnTo>
                    <a:pt x="763" y="1225"/>
                  </a:lnTo>
                  <a:lnTo>
                    <a:pt x="765" y="1225"/>
                  </a:lnTo>
                  <a:lnTo>
                    <a:pt x="763" y="1225"/>
                  </a:lnTo>
                  <a:lnTo>
                    <a:pt x="762" y="1225"/>
                  </a:lnTo>
                  <a:lnTo>
                    <a:pt x="763" y="1225"/>
                  </a:lnTo>
                  <a:lnTo>
                    <a:pt x="762" y="1225"/>
                  </a:lnTo>
                  <a:lnTo>
                    <a:pt x="762" y="1227"/>
                  </a:lnTo>
                  <a:lnTo>
                    <a:pt x="760" y="1225"/>
                  </a:lnTo>
                  <a:lnTo>
                    <a:pt x="758" y="1225"/>
                  </a:lnTo>
                  <a:lnTo>
                    <a:pt x="757" y="1225"/>
                  </a:lnTo>
                  <a:lnTo>
                    <a:pt x="758" y="1225"/>
                  </a:lnTo>
                  <a:lnTo>
                    <a:pt x="760" y="1225"/>
                  </a:lnTo>
                  <a:lnTo>
                    <a:pt x="758" y="1225"/>
                  </a:lnTo>
                  <a:lnTo>
                    <a:pt x="760" y="1225"/>
                  </a:lnTo>
                  <a:lnTo>
                    <a:pt x="758" y="1225"/>
                  </a:lnTo>
                  <a:lnTo>
                    <a:pt x="758" y="1223"/>
                  </a:lnTo>
                  <a:lnTo>
                    <a:pt x="758" y="1225"/>
                  </a:lnTo>
                  <a:lnTo>
                    <a:pt x="757" y="1225"/>
                  </a:lnTo>
                  <a:lnTo>
                    <a:pt x="757" y="1223"/>
                  </a:lnTo>
                  <a:lnTo>
                    <a:pt x="758" y="1223"/>
                  </a:lnTo>
                  <a:lnTo>
                    <a:pt x="757" y="1223"/>
                  </a:lnTo>
                  <a:lnTo>
                    <a:pt x="758" y="1223"/>
                  </a:lnTo>
                  <a:lnTo>
                    <a:pt x="757" y="1223"/>
                  </a:lnTo>
                  <a:lnTo>
                    <a:pt x="758" y="1223"/>
                  </a:lnTo>
                  <a:lnTo>
                    <a:pt x="760" y="1223"/>
                  </a:lnTo>
                  <a:lnTo>
                    <a:pt x="762" y="1223"/>
                  </a:lnTo>
                  <a:lnTo>
                    <a:pt x="762" y="1222"/>
                  </a:lnTo>
                  <a:lnTo>
                    <a:pt x="763" y="1222"/>
                  </a:lnTo>
                  <a:lnTo>
                    <a:pt x="763" y="1223"/>
                  </a:lnTo>
                  <a:lnTo>
                    <a:pt x="763" y="1222"/>
                  </a:lnTo>
                  <a:lnTo>
                    <a:pt x="763" y="1223"/>
                  </a:lnTo>
                  <a:lnTo>
                    <a:pt x="763" y="1222"/>
                  </a:lnTo>
                  <a:lnTo>
                    <a:pt x="762" y="1222"/>
                  </a:lnTo>
                  <a:lnTo>
                    <a:pt x="760" y="1222"/>
                  </a:lnTo>
                  <a:lnTo>
                    <a:pt x="762" y="1222"/>
                  </a:lnTo>
                  <a:lnTo>
                    <a:pt x="762" y="1220"/>
                  </a:lnTo>
                  <a:lnTo>
                    <a:pt x="763" y="1220"/>
                  </a:lnTo>
                  <a:lnTo>
                    <a:pt x="765" y="1220"/>
                  </a:lnTo>
                  <a:lnTo>
                    <a:pt x="763" y="1220"/>
                  </a:lnTo>
                  <a:lnTo>
                    <a:pt x="762" y="1220"/>
                  </a:lnTo>
                  <a:lnTo>
                    <a:pt x="762" y="1222"/>
                  </a:lnTo>
                  <a:lnTo>
                    <a:pt x="762" y="1220"/>
                  </a:lnTo>
                  <a:lnTo>
                    <a:pt x="762" y="1222"/>
                  </a:lnTo>
                  <a:lnTo>
                    <a:pt x="760" y="1222"/>
                  </a:lnTo>
                  <a:lnTo>
                    <a:pt x="758" y="1222"/>
                  </a:lnTo>
                  <a:lnTo>
                    <a:pt x="760" y="1222"/>
                  </a:lnTo>
                  <a:lnTo>
                    <a:pt x="758" y="1222"/>
                  </a:lnTo>
                  <a:lnTo>
                    <a:pt x="757" y="1222"/>
                  </a:lnTo>
                  <a:lnTo>
                    <a:pt x="758" y="1222"/>
                  </a:lnTo>
                  <a:lnTo>
                    <a:pt x="757" y="1222"/>
                  </a:lnTo>
                  <a:lnTo>
                    <a:pt x="758" y="1222"/>
                  </a:lnTo>
                  <a:lnTo>
                    <a:pt x="758" y="1220"/>
                  </a:lnTo>
                  <a:lnTo>
                    <a:pt x="757" y="1220"/>
                  </a:lnTo>
                  <a:lnTo>
                    <a:pt x="757" y="1222"/>
                  </a:lnTo>
                  <a:lnTo>
                    <a:pt x="757" y="1220"/>
                  </a:lnTo>
                  <a:lnTo>
                    <a:pt x="757" y="1222"/>
                  </a:lnTo>
                  <a:lnTo>
                    <a:pt x="755" y="1222"/>
                  </a:lnTo>
                  <a:lnTo>
                    <a:pt x="755" y="1220"/>
                  </a:lnTo>
                  <a:lnTo>
                    <a:pt x="757" y="1220"/>
                  </a:lnTo>
                  <a:lnTo>
                    <a:pt x="755" y="1220"/>
                  </a:lnTo>
                  <a:lnTo>
                    <a:pt x="757" y="1220"/>
                  </a:lnTo>
                  <a:lnTo>
                    <a:pt x="755" y="1220"/>
                  </a:lnTo>
                  <a:lnTo>
                    <a:pt x="755" y="1218"/>
                  </a:lnTo>
                  <a:lnTo>
                    <a:pt x="757" y="1220"/>
                  </a:lnTo>
                  <a:lnTo>
                    <a:pt x="757" y="1218"/>
                  </a:lnTo>
                  <a:lnTo>
                    <a:pt x="755" y="1218"/>
                  </a:lnTo>
                  <a:lnTo>
                    <a:pt x="757" y="1218"/>
                  </a:lnTo>
                  <a:lnTo>
                    <a:pt x="757" y="1217"/>
                  </a:lnTo>
                  <a:lnTo>
                    <a:pt x="758" y="1217"/>
                  </a:lnTo>
                  <a:lnTo>
                    <a:pt x="757" y="1217"/>
                  </a:lnTo>
                  <a:lnTo>
                    <a:pt x="757" y="1215"/>
                  </a:lnTo>
                  <a:lnTo>
                    <a:pt x="757" y="1217"/>
                  </a:lnTo>
                  <a:lnTo>
                    <a:pt x="757" y="1215"/>
                  </a:lnTo>
                  <a:lnTo>
                    <a:pt x="757" y="1217"/>
                  </a:lnTo>
                  <a:lnTo>
                    <a:pt x="757" y="1215"/>
                  </a:lnTo>
                  <a:lnTo>
                    <a:pt x="758" y="1215"/>
                  </a:lnTo>
                  <a:lnTo>
                    <a:pt x="757" y="1215"/>
                  </a:lnTo>
                  <a:lnTo>
                    <a:pt x="755" y="1215"/>
                  </a:lnTo>
                  <a:lnTo>
                    <a:pt x="757" y="1215"/>
                  </a:lnTo>
                  <a:lnTo>
                    <a:pt x="757" y="1214"/>
                  </a:lnTo>
                  <a:lnTo>
                    <a:pt x="758" y="1214"/>
                  </a:lnTo>
                  <a:lnTo>
                    <a:pt x="758" y="1212"/>
                  </a:lnTo>
                  <a:lnTo>
                    <a:pt x="760" y="1212"/>
                  </a:lnTo>
                  <a:lnTo>
                    <a:pt x="762" y="1212"/>
                  </a:lnTo>
                  <a:lnTo>
                    <a:pt x="760" y="1212"/>
                  </a:lnTo>
                  <a:lnTo>
                    <a:pt x="760" y="1210"/>
                  </a:lnTo>
                  <a:lnTo>
                    <a:pt x="762" y="1210"/>
                  </a:lnTo>
                  <a:lnTo>
                    <a:pt x="760" y="1210"/>
                  </a:lnTo>
                  <a:lnTo>
                    <a:pt x="762" y="1210"/>
                  </a:lnTo>
                  <a:lnTo>
                    <a:pt x="762" y="1212"/>
                  </a:lnTo>
                  <a:lnTo>
                    <a:pt x="762" y="1210"/>
                  </a:lnTo>
                  <a:lnTo>
                    <a:pt x="763" y="1210"/>
                  </a:lnTo>
                  <a:lnTo>
                    <a:pt x="763" y="1212"/>
                  </a:lnTo>
                  <a:lnTo>
                    <a:pt x="765" y="1212"/>
                  </a:lnTo>
                  <a:lnTo>
                    <a:pt x="763" y="1212"/>
                  </a:lnTo>
                  <a:lnTo>
                    <a:pt x="763" y="1210"/>
                  </a:lnTo>
                  <a:lnTo>
                    <a:pt x="765" y="1212"/>
                  </a:lnTo>
                  <a:lnTo>
                    <a:pt x="765" y="1210"/>
                  </a:lnTo>
                  <a:lnTo>
                    <a:pt x="763" y="1210"/>
                  </a:lnTo>
                  <a:lnTo>
                    <a:pt x="765" y="1210"/>
                  </a:lnTo>
                  <a:lnTo>
                    <a:pt x="765" y="1209"/>
                  </a:lnTo>
                  <a:lnTo>
                    <a:pt x="765" y="1210"/>
                  </a:lnTo>
                  <a:lnTo>
                    <a:pt x="765" y="1209"/>
                  </a:lnTo>
                  <a:lnTo>
                    <a:pt x="766" y="1209"/>
                  </a:lnTo>
                  <a:lnTo>
                    <a:pt x="766" y="1210"/>
                  </a:lnTo>
                  <a:lnTo>
                    <a:pt x="765" y="1210"/>
                  </a:lnTo>
                  <a:lnTo>
                    <a:pt x="766" y="1210"/>
                  </a:lnTo>
                  <a:lnTo>
                    <a:pt x="766" y="1209"/>
                  </a:lnTo>
                  <a:lnTo>
                    <a:pt x="768" y="1209"/>
                  </a:lnTo>
                  <a:lnTo>
                    <a:pt x="766" y="1209"/>
                  </a:lnTo>
                  <a:lnTo>
                    <a:pt x="768" y="1209"/>
                  </a:lnTo>
                  <a:lnTo>
                    <a:pt x="766" y="1209"/>
                  </a:lnTo>
                  <a:lnTo>
                    <a:pt x="768" y="1209"/>
                  </a:lnTo>
                  <a:lnTo>
                    <a:pt x="768" y="1207"/>
                  </a:lnTo>
                  <a:lnTo>
                    <a:pt x="766" y="1207"/>
                  </a:lnTo>
                  <a:lnTo>
                    <a:pt x="768" y="1207"/>
                  </a:lnTo>
                  <a:lnTo>
                    <a:pt x="768" y="1205"/>
                  </a:lnTo>
                  <a:lnTo>
                    <a:pt x="770" y="1205"/>
                  </a:lnTo>
                  <a:lnTo>
                    <a:pt x="768" y="1205"/>
                  </a:lnTo>
                  <a:lnTo>
                    <a:pt x="770" y="1205"/>
                  </a:lnTo>
                  <a:lnTo>
                    <a:pt x="768" y="1205"/>
                  </a:lnTo>
                  <a:lnTo>
                    <a:pt x="770" y="1205"/>
                  </a:lnTo>
                  <a:close/>
                  <a:moveTo>
                    <a:pt x="775" y="1204"/>
                  </a:moveTo>
                  <a:lnTo>
                    <a:pt x="775" y="1205"/>
                  </a:lnTo>
                  <a:lnTo>
                    <a:pt x="775" y="1204"/>
                  </a:lnTo>
                  <a:close/>
                  <a:moveTo>
                    <a:pt x="765" y="1205"/>
                  </a:moveTo>
                  <a:lnTo>
                    <a:pt x="765" y="1204"/>
                  </a:lnTo>
                  <a:lnTo>
                    <a:pt x="765" y="1205"/>
                  </a:lnTo>
                  <a:close/>
                  <a:moveTo>
                    <a:pt x="760" y="1205"/>
                  </a:moveTo>
                  <a:lnTo>
                    <a:pt x="760" y="1204"/>
                  </a:lnTo>
                  <a:lnTo>
                    <a:pt x="760" y="1205"/>
                  </a:lnTo>
                  <a:close/>
                  <a:moveTo>
                    <a:pt x="786" y="1205"/>
                  </a:moveTo>
                  <a:lnTo>
                    <a:pt x="786" y="1204"/>
                  </a:lnTo>
                  <a:lnTo>
                    <a:pt x="786" y="1205"/>
                  </a:lnTo>
                  <a:close/>
                  <a:moveTo>
                    <a:pt x="786" y="1204"/>
                  </a:moveTo>
                  <a:lnTo>
                    <a:pt x="786" y="1205"/>
                  </a:lnTo>
                  <a:lnTo>
                    <a:pt x="786" y="1204"/>
                  </a:lnTo>
                  <a:close/>
                  <a:moveTo>
                    <a:pt x="775" y="1204"/>
                  </a:moveTo>
                  <a:lnTo>
                    <a:pt x="775" y="1205"/>
                  </a:lnTo>
                  <a:lnTo>
                    <a:pt x="775" y="1204"/>
                  </a:lnTo>
                  <a:close/>
                  <a:moveTo>
                    <a:pt x="845" y="1204"/>
                  </a:moveTo>
                  <a:lnTo>
                    <a:pt x="846" y="1204"/>
                  </a:lnTo>
                  <a:lnTo>
                    <a:pt x="845" y="1204"/>
                  </a:lnTo>
                  <a:close/>
                  <a:moveTo>
                    <a:pt x="773" y="1204"/>
                  </a:moveTo>
                  <a:lnTo>
                    <a:pt x="775" y="1204"/>
                  </a:lnTo>
                  <a:lnTo>
                    <a:pt x="773" y="1204"/>
                  </a:lnTo>
                  <a:close/>
                  <a:moveTo>
                    <a:pt x="771" y="1204"/>
                  </a:moveTo>
                  <a:lnTo>
                    <a:pt x="773" y="1204"/>
                  </a:lnTo>
                  <a:lnTo>
                    <a:pt x="771" y="1204"/>
                  </a:lnTo>
                  <a:close/>
                  <a:moveTo>
                    <a:pt x="765" y="1204"/>
                  </a:moveTo>
                  <a:lnTo>
                    <a:pt x="766" y="1204"/>
                  </a:lnTo>
                  <a:lnTo>
                    <a:pt x="765" y="1204"/>
                  </a:lnTo>
                  <a:close/>
                  <a:moveTo>
                    <a:pt x="836" y="1204"/>
                  </a:moveTo>
                  <a:lnTo>
                    <a:pt x="838" y="1204"/>
                  </a:lnTo>
                  <a:lnTo>
                    <a:pt x="836" y="1204"/>
                  </a:lnTo>
                  <a:close/>
                  <a:moveTo>
                    <a:pt x="765" y="1204"/>
                  </a:moveTo>
                  <a:lnTo>
                    <a:pt x="766" y="1204"/>
                  </a:lnTo>
                  <a:lnTo>
                    <a:pt x="765" y="1204"/>
                  </a:lnTo>
                  <a:close/>
                  <a:moveTo>
                    <a:pt x="771" y="1204"/>
                  </a:moveTo>
                  <a:lnTo>
                    <a:pt x="770" y="1204"/>
                  </a:lnTo>
                  <a:lnTo>
                    <a:pt x="771" y="1204"/>
                  </a:lnTo>
                  <a:lnTo>
                    <a:pt x="770" y="1204"/>
                  </a:lnTo>
                  <a:lnTo>
                    <a:pt x="770" y="1202"/>
                  </a:lnTo>
                  <a:lnTo>
                    <a:pt x="771" y="1204"/>
                  </a:lnTo>
                  <a:close/>
                  <a:moveTo>
                    <a:pt x="838" y="1202"/>
                  </a:moveTo>
                  <a:lnTo>
                    <a:pt x="838" y="1204"/>
                  </a:lnTo>
                  <a:lnTo>
                    <a:pt x="838" y="1202"/>
                  </a:lnTo>
                  <a:close/>
                  <a:moveTo>
                    <a:pt x="789" y="1202"/>
                  </a:moveTo>
                  <a:lnTo>
                    <a:pt x="789" y="1204"/>
                  </a:lnTo>
                  <a:lnTo>
                    <a:pt x="789" y="1202"/>
                  </a:lnTo>
                  <a:close/>
                  <a:moveTo>
                    <a:pt x="843" y="1204"/>
                  </a:moveTo>
                  <a:lnTo>
                    <a:pt x="845" y="1202"/>
                  </a:lnTo>
                  <a:lnTo>
                    <a:pt x="846" y="1202"/>
                  </a:lnTo>
                  <a:lnTo>
                    <a:pt x="845" y="1204"/>
                  </a:lnTo>
                  <a:lnTo>
                    <a:pt x="845" y="1205"/>
                  </a:lnTo>
                  <a:lnTo>
                    <a:pt x="845" y="1204"/>
                  </a:lnTo>
                  <a:lnTo>
                    <a:pt x="845" y="1205"/>
                  </a:lnTo>
                  <a:lnTo>
                    <a:pt x="843" y="1205"/>
                  </a:lnTo>
                  <a:lnTo>
                    <a:pt x="841" y="1205"/>
                  </a:lnTo>
                  <a:lnTo>
                    <a:pt x="841" y="1204"/>
                  </a:lnTo>
                  <a:lnTo>
                    <a:pt x="841" y="1205"/>
                  </a:lnTo>
                  <a:lnTo>
                    <a:pt x="841" y="1204"/>
                  </a:lnTo>
                  <a:lnTo>
                    <a:pt x="843" y="1204"/>
                  </a:lnTo>
                  <a:close/>
                  <a:moveTo>
                    <a:pt x="771" y="1202"/>
                  </a:moveTo>
                  <a:lnTo>
                    <a:pt x="770" y="1202"/>
                  </a:lnTo>
                  <a:lnTo>
                    <a:pt x="771" y="1202"/>
                  </a:lnTo>
                  <a:close/>
                  <a:moveTo>
                    <a:pt x="851" y="1202"/>
                  </a:moveTo>
                  <a:lnTo>
                    <a:pt x="853" y="1202"/>
                  </a:lnTo>
                  <a:lnTo>
                    <a:pt x="851" y="1202"/>
                  </a:lnTo>
                  <a:close/>
                  <a:moveTo>
                    <a:pt x="789" y="1202"/>
                  </a:moveTo>
                  <a:lnTo>
                    <a:pt x="791" y="1202"/>
                  </a:lnTo>
                  <a:lnTo>
                    <a:pt x="789" y="1202"/>
                  </a:lnTo>
                  <a:close/>
                  <a:moveTo>
                    <a:pt x="768" y="1202"/>
                  </a:moveTo>
                  <a:lnTo>
                    <a:pt x="768" y="1204"/>
                  </a:lnTo>
                  <a:lnTo>
                    <a:pt x="768" y="1202"/>
                  </a:lnTo>
                  <a:lnTo>
                    <a:pt x="770" y="1202"/>
                  </a:lnTo>
                  <a:lnTo>
                    <a:pt x="770" y="1204"/>
                  </a:lnTo>
                  <a:lnTo>
                    <a:pt x="768" y="1204"/>
                  </a:lnTo>
                  <a:lnTo>
                    <a:pt x="770" y="1202"/>
                  </a:lnTo>
                  <a:lnTo>
                    <a:pt x="768" y="1202"/>
                  </a:lnTo>
                  <a:close/>
                  <a:moveTo>
                    <a:pt x="789" y="1202"/>
                  </a:moveTo>
                  <a:lnTo>
                    <a:pt x="791" y="1202"/>
                  </a:lnTo>
                  <a:lnTo>
                    <a:pt x="789" y="1202"/>
                  </a:lnTo>
                  <a:close/>
                  <a:moveTo>
                    <a:pt x="789" y="1201"/>
                  </a:moveTo>
                  <a:lnTo>
                    <a:pt x="789" y="1202"/>
                  </a:lnTo>
                  <a:lnTo>
                    <a:pt x="789" y="1201"/>
                  </a:lnTo>
                  <a:close/>
                  <a:moveTo>
                    <a:pt x="848" y="1201"/>
                  </a:moveTo>
                  <a:lnTo>
                    <a:pt x="846" y="1202"/>
                  </a:lnTo>
                  <a:lnTo>
                    <a:pt x="846" y="1201"/>
                  </a:lnTo>
                  <a:lnTo>
                    <a:pt x="848" y="1201"/>
                  </a:lnTo>
                  <a:close/>
                  <a:moveTo>
                    <a:pt x="791" y="1201"/>
                  </a:moveTo>
                  <a:lnTo>
                    <a:pt x="789" y="1201"/>
                  </a:lnTo>
                  <a:lnTo>
                    <a:pt x="791" y="1201"/>
                  </a:lnTo>
                  <a:close/>
                  <a:moveTo>
                    <a:pt x="770" y="1201"/>
                  </a:moveTo>
                  <a:lnTo>
                    <a:pt x="770" y="1202"/>
                  </a:lnTo>
                  <a:lnTo>
                    <a:pt x="770" y="1201"/>
                  </a:lnTo>
                  <a:close/>
                  <a:moveTo>
                    <a:pt x="788" y="1201"/>
                  </a:moveTo>
                  <a:lnTo>
                    <a:pt x="788" y="1202"/>
                  </a:lnTo>
                  <a:lnTo>
                    <a:pt x="788" y="1201"/>
                  </a:lnTo>
                  <a:lnTo>
                    <a:pt x="789" y="1201"/>
                  </a:lnTo>
                  <a:lnTo>
                    <a:pt x="788" y="1201"/>
                  </a:lnTo>
                  <a:close/>
                  <a:moveTo>
                    <a:pt x="786" y="1199"/>
                  </a:moveTo>
                  <a:lnTo>
                    <a:pt x="786" y="1201"/>
                  </a:lnTo>
                  <a:lnTo>
                    <a:pt x="786" y="1199"/>
                  </a:lnTo>
                  <a:close/>
                  <a:moveTo>
                    <a:pt x="845" y="1201"/>
                  </a:moveTo>
                  <a:lnTo>
                    <a:pt x="845" y="1199"/>
                  </a:lnTo>
                  <a:lnTo>
                    <a:pt x="845" y="1201"/>
                  </a:lnTo>
                  <a:close/>
                  <a:moveTo>
                    <a:pt x="856" y="1201"/>
                  </a:moveTo>
                  <a:lnTo>
                    <a:pt x="854" y="1199"/>
                  </a:lnTo>
                  <a:lnTo>
                    <a:pt x="856" y="1199"/>
                  </a:lnTo>
                  <a:lnTo>
                    <a:pt x="856" y="1201"/>
                  </a:lnTo>
                  <a:close/>
                  <a:moveTo>
                    <a:pt x="794" y="1201"/>
                  </a:moveTo>
                  <a:lnTo>
                    <a:pt x="794" y="1199"/>
                  </a:lnTo>
                  <a:lnTo>
                    <a:pt x="794" y="1201"/>
                  </a:lnTo>
                  <a:close/>
                  <a:moveTo>
                    <a:pt x="861" y="1199"/>
                  </a:moveTo>
                  <a:lnTo>
                    <a:pt x="862" y="1199"/>
                  </a:lnTo>
                  <a:lnTo>
                    <a:pt x="861" y="1201"/>
                  </a:lnTo>
                  <a:lnTo>
                    <a:pt x="861" y="1199"/>
                  </a:lnTo>
                  <a:close/>
                  <a:moveTo>
                    <a:pt x="762" y="1199"/>
                  </a:moveTo>
                  <a:lnTo>
                    <a:pt x="762" y="1201"/>
                  </a:lnTo>
                  <a:lnTo>
                    <a:pt x="762" y="1199"/>
                  </a:lnTo>
                  <a:close/>
                  <a:moveTo>
                    <a:pt x="768" y="1199"/>
                  </a:moveTo>
                  <a:lnTo>
                    <a:pt x="770" y="1201"/>
                  </a:lnTo>
                  <a:lnTo>
                    <a:pt x="768" y="1201"/>
                  </a:lnTo>
                  <a:lnTo>
                    <a:pt x="768" y="1199"/>
                  </a:lnTo>
                  <a:close/>
                  <a:moveTo>
                    <a:pt x="843" y="1199"/>
                  </a:moveTo>
                  <a:lnTo>
                    <a:pt x="845" y="1199"/>
                  </a:lnTo>
                  <a:lnTo>
                    <a:pt x="845" y="1201"/>
                  </a:lnTo>
                  <a:lnTo>
                    <a:pt x="843" y="1201"/>
                  </a:lnTo>
                  <a:lnTo>
                    <a:pt x="843" y="1199"/>
                  </a:lnTo>
                  <a:close/>
                  <a:moveTo>
                    <a:pt x="791" y="1199"/>
                  </a:moveTo>
                  <a:lnTo>
                    <a:pt x="792" y="1199"/>
                  </a:lnTo>
                  <a:lnTo>
                    <a:pt x="791" y="1199"/>
                  </a:lnTo>
                  <a:close/>
                  <a:moveTo>
                    <a:pt x="768" y="1199"/>
                  </a:moveTo>
                  <a:lnTo>
                    <a:pt x="770" y="1199"/>
                  </a:lnTo>
                  <a:lnTo>
                    <a:pt x="768" y="1199"/>
                  </a:lnTo>
                  <a:close/>
                  <a:moveTo>
                    <a:pt x="861" y="1199"/>
                  </a:moveTo>
                  <a:lnTo>
                    <a:pt x="862" y="1199"/>
                  </a:lnTo>
                  <a:lnTo>
                    <a:pt x="861" y="1199"/>
                  </a:lnTo>
                  <a:close/>
                  <a:moveTo>
                    <a:pt x="766" y="1199"/>
                  </a:moveTo>
                  <a:lnTo>
                    <a:pt x="768" y="1199"/>
                  </a:lnTo>
                  <a:lnTo>
                    <a:pt x="766" y="1199"/>
                  </a:lnTo>
                  <a:close/>
                  <a:moveTo>
                    <a:pt x="791" y="1199"/>
                  </a:moveTo>
                  <a:lnTo>
                    <a:pt x="789" y="1199"/>
                  </a:lnTo>
                  <a:lnTo>
                    <a:pt x="791" y="1199"/>
                  </a:lnTo>
                  <a:lnTo>
                    <a:pt x="791" y="1197"/>
                  </a:lnTo>
                  <a:lnTo>
                    <a:pt x="791" y="1199"/>
                  </a:lnTo>
                  <a:close/>
                  <a:moveTo>
                    <a:pt x="789" y="1199"/>
                  </a:moveTo>
                  <a:lnTo>
                    <a:pt x="788" y="1199"/>
                  </a:lnTo>
                  <a:lnTo>
                    <a:pt x="789" y="1199"/>
                  </a:lnTo>
                  <a:lnTo>
                    <a:pt x="789" y="1197"/>
                  </a:lnTo>
                  <a:lnTo>
                    <a:pt x="789" y="1199"/>
                  </a:lnTo>
                  <a:close/>
                  <a:moveTo>
                    <a:pt x="788" y="1197"/>
                  </a:moveTo>
                  <a:lnTo>
                    <a:pt x="789" y="1197"/>
                  </a:lnTo>
                  <a:lnTo>
                    <a:pt x="788" y="1199"/>
                  </a:lnTo>
                  <a:lnTo>
                    <a:pt x="788" y="1197"/>
                  </a:lnTo>
                  <a:close/>
                  <a:moveTo>
                    <a:pt x="789" y="1202"/>
                  </a:moveTo>
                  <a:lnTo>
                    <a:pt x="788" y="1202"/>
                  </a:lnTo>
                  <a:lnTo>
                    <a:pt x="788" y="1204"/>
                  </a:lnTo>
                  <a:lnTo>
                    <a:pt x="788" y="1202"/>
                  </a:lnTo>
                  <a:lnTo>
                    <a:pt x="788" y="1204"/>
                  </a:lnTo>
                  <a:lnTo>
                    <a:pt x="786" y="1204"/>
                  </a:lnTo>
                  <a:lnTo>
                    <a:pt x="786" y="1202"/>
                  </a:lnTo>
                  <a:lnTo>
                    <a:pt x="788" y="1202"/>
                  </a:lnTo>
                  <a:lnTo>
                    <a:pt x="788" y="1201"/>
                  </a:lnTo>
                  <a:lnTo>
                    <a:pt x="789" y="1201"/>
                  </a:lnTo>
                  <a:lnTo>
                    <a:pt x="789" y="1199"/>
                  </a:lnTo>
                  <a:lnTo>
                    <a:pt x="791" y="1199"/>
                  </a:lnTo>
                  <a:lnTo>
                    <a:pt x="791" y="1197"/>
                  </a:lnTo>
                  <a:lnTo>
                    <a:pt x="792" y="1199"/>
                  </a:lnTo>
                  <a:lnTo>
                    <a:pt x="791" y="1199"/>
                  </a:lnTo>
                  <a:lnTo>
                    <a:pt x="792" y="1199"/>
                  </a:lnTo>
                  <a:lnTo>
                    <a:pt x="792" y="1197"/>
                  </a:lnTo>
                  <a:lnTo>
                    <a:pt x="792" y="1199"/>
                  </a:lnTo>
                  <a:lnTo>
                    <a:pt x="792" y="1201"/>
                  </a:lnTo>
                  <a:lnTo>
                    <a:pt x="791" y="1201"/>
                  </a:lnTo>
                  <a:lnTo>
                    <a:pt x="791" y="1202"/>
                  </a:lnTo>
                  <a:lnTo>
                    <a:pt x="789" y="1201"/>
                  </a:lnTo>
                  <a:lnTo>
                    <a:pt x="791" y="1201"/>
                  </a:lnTo>
                  <a:lnTo>
                    <a:pt x="789" y="1201"/>
                  </a:lnTo>
                  <a:lnTo>
                    <a:pt x="789" y="1202"/>
                  </a:lnTo>
                  <a:close/>
                  <a:moveTo>
                    <a:pt x="791" y="1197"/>
                  </a:moveTo>
                  <a:lnTo>
                    <a:pt x="792" y="1197"/>
                  </a:lnTo>
                  <a:lnTo>
                    <a:pt x="792" y="1199"/>
                  </a:lnTo>
                  <a:lnTo>
                    <a:pt x="791" y="1197"/>
                  </a:lnTo>
                  <a:close/>
                  <a:moveTo>
                    <a:pt x="768" y="1199"/>
                  </a:moveTo>
                  <a:lnTo>
                    <a:pt x="766" y="1199"/>
                  </a:lnTo>
                  <a:lnTo>
                    <a:pt x="768" y="1199"/>
                  </a:lnTo>
                  <a:lnTo>
                    <a:pt x="768" y="1197"/>
                  </a:lnTo>
                  <a:lnTo>
                    <a:pt x="768" y="1199"/>
                  </a:lnTo>
                  <a:lnTo>
                    <a:pt x="768" y="1197"/>
                  </a:lnTo>
                  <a:lnTo>
                    <a:pt x="768" y="1199"/>
                  </a:lnTo>
                  <a:lnTo>
                    <a:pt x="768" y="1197"/>
                  </a:lnTo>
                  <a:lnTo>
                    <a:pt x="768" y="1199"/>
                  </a:lnTo>
                  <a:close/>
                  <a:moveTo>
                    <a:pt x="770" y="1197"/>
                  </a:moveTo>
                  <a:lnTo>
                    <a:pt x="770" y="1199"/>
                  </a:lnTo>
                  <a:lnTo>
                    <a:pt x="770" y="1197"/>
                  </a:lnTo>
                  <a:close/>
                  <a:moveTo>
                    <a:pt x="789" y="1197"/>
                  </a:moveTo>
                  <a:lnTo>
                    <a:pt x="791" y="1197"/>
                  </a:lnTo>
                  <a:lnTo>
                    <a:pt x="789" y="1197"/>
                  </a:lnTo>
                  <a:close/>
                  <a:moveTo>
                    <a:pt x="791" y="1197"/>
                  </a:moveTo>
                  <a:lnTo>
                    <a:pt x="792" y="1197"/>
                  </a:lnTo>
                  <a:lnTo>
                    <a:pt x="791" y="1197"/>
                  </a:lnTo>
                  <a:close/>
                  <a:moveTo>
                    <a:pt x="856" y="1197"/>
                  </a:moveTo>
                  <a:lnTo>
                    <a:pt x="858" y="1197"/>
                  </a:lnTo>
                  <a:lnTo>
                    <a:pt x="856" y="1197"/>
                  </a:lnTo>
                  <a:close/>
                  <a:moveTo>
                    <a:pt x="792" y="1196"/>
                  </a:moveTo>
                  <a:lnTo>
                    <a:pt x="792" y="1197"/>
                  </a:lnTo>
                  <a:lnTo>
                    <a:pt x="792" y="1196"/>
                  </a:lnTo>
                  <a:close/>
                  <a:moveTo>
                    <a:pt x="848" y="1196"/>
                  </a:moveTo>
                  <a:lnTo>
                    <a:pt x="848" y="1197"/>
                  </a:lnTo>
                  <a:lnTo>
                    <a:pt x="848" y="1196"/>
                  </a:lnTo>
                  <a:close/>
                  <a:moveTo>
                    <a:pt x="794" y="1197"/>
                  </a:moveTo>
                  <a:lnTo>
                    <a:pt x="796" y="1197"/>
                  </a:lnTo>
                  <a:lnTo>
                    <a:pt x="796" y="1196"/>
                  </a:lnTo>
                  <a:lnTo>
                    <a:pt x="796" y="1197"/>
                  </a:lnTo>
                  <a:lnTo>
                    <a:pt x="794" y="1197"/>
                  </a:lnTo>
                  <a:lnTo>
                    <a:pt x="794" y="1199"/>
                  </a:lnTo>
                  <a:lnTo>
                    <a:pt x="794" y="1197"/>
                  </a:lnTo>
                  <a:lnTo>
                    <a:pt x="792" y="1197"/>
                  </a:lnTo>
                  <a:lnTo>
                    <a:pt x="794" y="1197"/>
                  </a:lnTo>
                  <a:lnTo>
                    <a:pt x="796" y="1196"/>
                  </a:lnTo>
                  <a:lnTo>
                    <a:pt x="794" y="1197"/>
                  </a:lnTo>
                  <a:close/>
                  <a:moveTo>
                    <a:pt x="862" y="1196"/>
                  </a:moveTo>
                  <a:lnTo>
                    <a:pt x="864" y="1196"/>
                  </a:lnTo>
                  <a:lnTo>
                    <a:pt x="862" y="1197"/>
                  </a:lnTo>
                  <a:lnTo>
                    <a:pt x="861" y="1197"/>
                  </a:lnTo>
                  <a:lnTo>
                    <a:pt x="861" y="1196"/>
                  </a:lnTo>
                  <a:lnTo>
                    <a:pt x="862" y="1196"/>
                  </a:lnTo>
                  <a:lnTo>
                    <a:pt x="864" y="1196"/>
                  </a:lnTo>
                  <a:lnTo>
                    <a:pt x="862" y="1196"/>
                  </a:lnTo>
                  <a:close/>
                  <a:moveTo>
                    <a:pt x="792" y="1196"/>
                  </a:moveTo>
                  <a:lnTo>
                    <a:pt x="794" y="1196"/>
                  </a:lnTo>
                  <a:lnTo>
                    <a:pt x="792" y="1196"/>
                  </a:lnTo>
                  <a:close/>
                  <a:moveTo>
                    <a:pt x="849" y="1196"/>
                  </a:moveTo>
                  <a:lnTo>
                    <a:pt x="849" y="1197"/>
                  </a:lnTo>
                  <a:lnTo>
                    <a:pt x="849" y="1196"/>
                  </a:lnTo>
                  <a:lnTo>
                    <a:pt x="848" y="1197"/>
                  </a:lnTo>
                  <a:lnTo>
                    <a:pt x="848" y="1196"/>
                  </a:lnTo>
                  <a:lnTo>
                    <a:pt x="849" y="1196"/>
                  </a:lnTo>
                  <a:close/>
                  <a:moveTo>
                    <a:pt x="849" y="1196"/>
                  </a:moveTo>
                  <a:lnTo>
                    <a:pt x="849" y="1194"/>
                  </a:lnTo>
                  <a:lnTo>
                    <a:pt x="849" y="1196"/>
                  </a:lnTo>
                  <a:close/>
                  <a:moveTo>
                    <a:pt x="849" y="1194"/>
                  </a:moveTo>
                  <a:lnTo>
                    <a:pt x="851" y="1194"/>
                  </a:lnTo>
                  <a:lnTo>
                    <a:pt x="851" y="1196"/>
                  </a:lnTo>
                  <a:lnTo>
                    <a:pt x="849" y="1196"/>
                  </a:lnTo>
                  <a:lnTo>
                    <a:pt x="849" y="1194"/>
                  </a:lnTo>
                  <a:close/>
                  <a:moveTo>
                    <a:pt x="794" y="1194"/>
                  </a:moveTo>
                  <a:lnTo>
                    <a:pt x="792" y="1194"/>
                  </a:lnTo>
                  <a:lnTo>
                    <a:pt x="794" y="1194"/>
                  </a:lnTo>
                  <a:close/>
                  <a:moveTo>
                    <a:pt x="789" y="1194"/>
                  </a:moveTo>
                  <a:lnTo>
                    <a:pt x="791" y="1194"/>
                  </a:lnTo>
                  <a:lnTo>
                    <a:pt x="789" y="1194"/>
                  </a:lnTo>
                  <a:close/>
                  <a:moveTo>
                    <a:pt x="796" y="1194"/>
                  </a:moveTo>
                  <a:lnTo>
                    <a:pt x="797" y="1194"/>
                  </a:lnTo>
                  <a:lnTo>
                    <a:pt x="796" y="1194"/>
                  </a:lnTo>
                  <a:close/>
                  <a:moveTo>
                    <a:pt x="849" y="1194"/>
                  </a:moveTo>
                  <a:lnTo>
                    <a:pt x="851" y="1194"/>
                  </a:lnTo>
                  <a:lnTo>
                    <a:pt x="849" y="1194"/>
                  </a:lnTo>
                  <a:close/>
                  <a:moveTo>
                    <a:pt x="792" y="1194"/>
                  </a:moveTo>
                  <a:lnTo>
                    <a:pt x="794" y="1194"/>
                  </a:lnTo>
                  <a:lnTo>
                    <a:pt x="792" y="1194"/>
                  </a:lnTo>
                  <a:close/>
                  <a:moveTo>
                    <a:pt x="796" y="1194"/>
                  </a:moveTo>
                  <a:lnTo>
                    <a:pt x="797" y="1194"/>
                  </a:lnTo>
                  <a:lnTo>
                    <a:pt x="796" y="1194"/>
                  </a:lnTo>
                  <a:close/>
                  <a:moveTo>
                    <a:pt x="791" y="1194"/>
                  </a:moveTo>
                  <a:lnTo>
                    <a:pt x="792" y="1194"/>
                  </a:lnTo>
                  <a:lnTo>
                    <a:pt x="791" y="1194"/>
                  </a:lnTo>
                  <a:close/>
                  <a:moveTo>
                    <a:pt x="797" y="1194"/>
                  </a:moveTo>
                  <a:lnTo>
                    <a:pt x="797" y="1192"/>
                  </a:lnTo>
                  <a:lnTo>
                    <a:pt x="797" y="1194"/>
                  </a:lnTo>
                  <a:close/>
                  <a:moveTo>
                    <a:pt x="791" y="1192"/>
                  </a:moveTo>
                  <a:lnTo>
                    <a:pt x="792" y="1192"/>
                  </a:lnTo>
                  <a:lnTo>
                    <a:pt x="791" y="1192"/>
                  </a:lnTo>
                  <a:close/>
                  <a:moveTo>
                    <a:pt x="864" y="1194"/>
                  </a:moveTo>
                  <a:lnTo>
                    <a:pt x="864" y="1192"/>
                  </a:lnTo>
                  <a:lnTo>
                    <a:pt x="866" y="1192"/>
                  </a:lnTo>
                  <a:lnTo>
                    <a:pt x="866" y="1194"/>
                  </a:lnTo>
                  <a:lnTo>
                    <a:pt x="864" y="1194"/>
                  </a:lnTo>
                  <a:close/>
                  <a:moveTo>
                    <a:pt x="799" y="1194"/>
                  </a:moveTo>
                  <a:lnTo>
                    <a:pt x="797" y="1194"/>
                  </a:lnTo>
                  <a:lnTo>
                    <a:pt x="799" y="1192"/>
                  </a:lnTo>
                  <a:lnTo>
                    <a:pt x="799" y="1194"/>
                  </a:lnTo>
                  <a:close/>
                  <a:moveTo>
                    <a:pt x="864" y="1192"/>
                  </a:moveTo>
                  <a:lnTo>
                    <a:pt x="866" y="1192"/>
                  </a:lnTo>
                  <a:lnTo>
                    <a:pt x="864" y="1192"/>
                  </a:lnTo>
                  <a:lnTo>
                    <a:pt x="866" y="1192"/>
                  </a:lnTo>
                  <a:lnTo>
                    <a:pt x="864" y="1192"/>
                  </a:lnTo>
                  <a:close/>
                  <a:moveTo>
                    <a:pt x="810" y="1192"/>
                  </a:moveTo>
                  <a:lnTo>
                    <a:pt x="812" y="1192"/>
                  </a:lnTo>
                  <a:lnTo>
                    <a:pt x="810" y="1192"/>
                  </a:lnTo>
                  <a:close/>
                  <a:moveTo>
                    <a:pt x="791" y="1192"/>
                  </a:moveTo>
                  <a:lnTo>
                    <a:pt x="792" y="1192"/>
                  </a:lnTo>
                  <a:lnTo>
                    <a:pt x="791" y="1192"/>
                  </a:lnTo>
                  <a:lnTo>
                    <a:pt x="791" y="1194"/>
                  </a:lnTo>
                  <a:lnTo>
                    <a:pt x="789" y="1194"/>
                  </a:lnTo>
                  <a:lnTo>
                    <a:pt x="789" y="1192"/>
                  </a:lnTo>
                  <a:lnTo>
                    <a:pt x="791" y="1192"/>
                  </a:lnTo>
                  <a:close/>
                  <a:moveTo>
                    <a:pt x="794" y="1192"/>
                  </a:moveTo>
                  <a:lnTo>
                    <a:pt x="792" y="1192"/>
                  </a:lnTo>
                  <a:lnTo>
                    <a:pt x="794" y="1192"/>
                  </a:lnTo>
                  <a:close/>
                  <a:moveTo>
                    <a:pt x="849" y="1192"/>
                  </a:moveTo>
                  <a:lnTo>
                    <a:pt x="849" y="1194"/>
                  </a:lnTo>
                  <a:lnTo>
                    <a:pt x="849" y="1192"/>
                  </a:lnTo>
                  <a:lnTo>
                    <a:pt x="849" y="1194"/>
                  </a:lnTo>
                  <a:lnTo>
                    <a:pt x="848" y="1194"/>
                  </a:lnTo>
                  <a:lnTo>
                    <a:pt x="848" y="1192"/>
                  </a:lnTo>
                  <a:lnTo>
                    <a:pt x="849" y="1192"/>
                  </a:lnTo>
                  <a:close/>
                  <a:moveTo>
                    <a:pt x="794" y="1192"/>
                  </a:moveTo>
                  <a:lnTo>
                    <a:pt x="796" y="1192"/>
                  </a:lnTo>
                  <a:lnTo>
                    <a:pt x="794" y="1194"/>
                  </a:lnTo>
                  <a:lnTo>
                    <a:pt x="794" y="1192"/>
                  </a:lnTo>
                  <a:lnTo>
                    <a:pt x="792" y="1192"/>
                  </a:lnTo>
                  <a:lnTo>
                    <a:pt x="794" y="1192"/>
                  </a:lnTo>
                  <a:close/>
                  <a:moveTo>
                    <a:pt x="796" y="1191"/>
                  </a:moveTo>
                  <a:lnTo>
                    <a:pt x="796" y="1192"/>
                  </a:lnTo>
                  <a:lnTo>
                    <a:pt x="796" y="1191"/>
                  </a:lnTo>
                  <a:close/>
                  <a:moveTo>
                    <a:pt x="794" y="1192"/>
                  </a:moveTo>
                  <a:lnTo>
                    <a:pt x="792" y="1192"/>
                  </a:lnTo>
                  <a:lnTo>
                    <a:pt x="794" y="1191"/>
                  </a:lnTo>
                  <a:lnTo>
                    <a:pt x="794" y="1192"/>
                  </a:lnTo>
                  <a:close/>
                  <a:moveTo>
                    <a:pt x="792" y="1191"/>
                  </a:moveTo>
                  <a:lnTo>
                    <a:pt x="794" y="1191"/>
                  </a:lnTo>
                  <a:lnTo>
                    <a:pt x="792" y="1191"/>
                  </a:lnTo>
                  <a:close/>
                  <a:moveTo>
                    <a:pt x="940" y="1192"/>
                  </a:moveTo>
                  <a:lnTo>
                    <a:pt x="939" y="1192"/>
                  </a:lnTo>
                  <a:lnTo>
                    <a:pt x="939" y="1194"/>
                  </a:lnTo>
                  <a:lnTo>
                    <a:pt x="939" y="1192"/>
                  </a:lnTo>
                  <a:lnTo>
                    <a:pt x="939" y="1194"/>
                  </a:lnTo>
                  <a:lnTo>
                    <a:pt x="939" y="1192"/>
                  </a:lnTo>
                  <a:lnTo>
                    <a:pt x="937" y="1194"/>
                  </a:lnTo>
                  <a:lnTo>
                    <a:pt x="939" y="1192"/>
                  </a:lnTo>
                  <a:lnTo>
                    <a:pt x="940" y="1192"/>
                  </a:lnTo>
                  <a:lnTo>
                    <a:pt x="939" y="1191"/>
                  </a:lnTo>
                  <a:lnTo>
                    <a:pt x="940" y="1191"/>
                  </a:lnTo>
                  <a:lnTo>
                    <a:pt x="940" y="1192"/>
                  </a:lnTo>
                  <a:close/>
                  <a:moveTo>
                    <a:pt x="858" y="1191"/>
                  </a:moveTo>
                  <a:lnTo>
                    <a:pt x="859" y="1191"/>
                  </a:lnTo>
                  <a:lnTo>
                    <a:pt x="859" y="1192"/>
                  </a:lnTo>
                  <a:lnTo>
                    <a:pt x="858" y="1192"/>
                  </a:lnTo>
                  <a:lnTo>
                    <a:pt x="856" y="1192"/>
                  </a:lnTo>
                  <a:lnTo>
                    <a:pt x="856" y="1194"/>
                  </a:lnTo>
                  <a:lnTo>
                    <a:pt x="854" y="1194"/>
                  </a:lnTo>
                  <a:lnTo>
                    <a:pt x="854" y="1192"/>
                  </a:lnTo>
                  <a:lnTo>
                    <a:pt x="856" y="1192"/>
                  </a:lnTo>
                  <a:lnTo>
                    <a:pt x="856" y="1191"/>
                  </a:lnTo>
                  <a:lnTo>
                    <a:pt x="858" y="1191"/>
                  </a:lnTo>
                  <a:close/>
                  <a:moveTo>
                    <a:pt x="794" y="1191"/>
                  </a:moveTo>
                  <a:lnTo>
                    <a:pt x="792" y="1191"/>
                  </a:lnTo>
                  <a:lnTo>
                    <a:pt x="794" y="1191"/>
                  </a:lnTo>
                  <a:close/>
                  <a:moveTo>
                    <a:pt x="846" y="1192"/>
                  </a:moveTo>
                  <a:lnTo>
                    <a:pt x="846" y="1191"/>
                  </a:lnTo>
                  <a:lnTo>
                    <a:pt x="848" y="1191"/>
                  </a:lnTo>
                  <a:lnTo>
                    <a:pt x="846" y="1191"/>
                  </a:lnTo>
                  <a:lnTo>
                    <a:pt x="848" y="1191"/>
                  </a:lnTo>
                  <a:lnTo>
                    <a:pt x="846" y="1192"/>
                  </a:lnTo>
                  <a:lnTo>
                    <a:pt x="848" y="1192"/>
                  </a:lnTo>
                  <a:lnTo>
                    <a:pt x="846" y="1192"/>
                  </a:lnTo>
                  <a:close/>
                  <a:moveTo>
                    <a:pt x="805" y="1191"/>
                  </a:moveTo>
                  <a:lnTo>
                    <a:pt x="805" y="1189"/>
                  </a:lnTo>
                  <a:lnTo>
                    <a:pt x="807" y="1191"/>
                  </a:lnTo>
                  <a:lnTo>
                    <a:pt x="807" y="1189"/>
                  </a:lnTo>
                  <a:lnTo>
                    <a:pt x="807" y="1191"/>
                  </a:lnTo>
                  <a:lnTo>
                    <a:pt x="809" y="1191"/>
                  </a:lnTo>
                  <a:lnTo>
                    <a:pt x="809" y="1189"/>
                  </a:lnTo>
                  <a:lnTo>
                    <a:pt x="809" y="1191"/>
                  </a:lnTo>
                  <a:lnTo>
                    <a:pt x="810" y="1191"/>
                  </a:lnTo>
                  <a:lnTo>
                    <a:pt x="809" y="1191"/>
                  </a:lnTo>
                  <a:lnTo>
                    <a:pt x="810" y="1191"/>
                  </a:lnTo>
                  <a:lnTo>
                    <a:pt x="810" y="1192"/>
                  </a:lnTo>
                  <a:lnTo>
                    <a:pt x="810" y="1191"/>
                  </a:lnTo>
                  <a:lnTo>
                    <a:pt x="812" y="1191"/>
                  </a:lnTo>
                  <a:lnTo>
                    <a:pt x="810" y="1192"/>
                  </a:lnTo>
                  <a:lnTo>
                    <a:pt x="809" y="1194"/>
                  </a:lnTo>
                  <a:lnTo>
                    <a:pt x="807" y="1194"/>
                  </a:lnTo>
                  <a:lnTo>
                    <a:pt x="805" y="1194"/>
                  </a:lnTo>
                  <a:lnTo>
                    <a:pt x="804" y="1194"/>
                  </a:lnTo>
                  <a:lnTo>
                    <a:pt x="804" y="1192"/>
                  </a:lnTo>
                  <a:lnTo>
                    <a:pt x="804" y="1191"/>
                  </a:lnTo>
                  <a:lnTo>
                    <a:pt x="805" y="1191"/>
                  </a:lnTo>
                  <a:close/>
                  <a:moveTo>
                    <a:pt x="802" y="1191"/>
                  </a:moveTo>
                  <a:lnTo>
                    <a:pt x="802" y="1189"/>
                  </a:lnTo>
                  <a:lnTo>
                    <a:pt x="802" y="1191"/>
                  </a:lnTo>
                  <a:close/>
                  <a:moveTo>
                    <a:pt x="804" y="1191"/>
                  </a:moveTo>
                  <a:lnTo>
                    <a:pt x="802" y="1191"/>
                  </a:lnTo>
                  <a:lnTo>
                    <a:pt x="804" y="1189"/>
                  </a:lnTo>
                  <a:lnTo>
                    <a:pt x="804" y="1191"/>
                  </a:lnTo>
                  <a:close/>
                  <a:moveTo>
                    <a:pt x="801" y="1189"/>
                  </a:moveTo>
                  <a:lnTo>
                    <a:pt x="801" y="1191"/>
                  </a:lnTo>
                  <a:lnTo>
                    <a:pt x="802" y="1191"/>
                  </a:lnTo>
                  <a:lnTo>
                    <a:pt x="804" y="1191"/>
                  </a:lnTo>
                  <a:lnTo>
                    <a:pt x="802" y="1191"/>
                  </a:lnTo>
                  <a:lnTo>
                    <a:pt x="802" y="1192"/>
                  </a:lnTo>
                  <a:lnTo>
                    <a:pt x="801" y="1192"/>
                  </a:lnTo>
                  <a:lnTo>
                    <a:pt x="801" y="1191"/>
                  </a:lnTo>
                  <a:lnTo>
                    <a:pt x="801" y="1189"/>
                  </a:lnTo>
                  <a:close/>
                  <a:moveTo>
                    <a:pt x="845" y="1189"/>
                  </a:moveTo>
                  <a:lnTo>
                    <a:pt x="845" y="1191"/>
                  </a:lnTo>
                  <a:lnTo>
                    <a:pt x="845" y="1189"/>
                  </a:lnTo>
                  <a:close/>
                  <a:moveTo>
                    <a:pt x="801" y="1191"/>
                  </a:moveTo>
                  <a:lnTo>
                    <a:pt x="801" y="1192"/>
                  </a:lnTo>
                  <a:lnTo>
                    <a:pt x="801" y="1191"/>
                  </a:lnTo>
                  <a:lnTo>
                    <a:pt x="799" y="1191"/>
                  </a:lnTo>
                  <a:lnTo>
                    <a:pt x="799" y="1189"/>
                  </a:lnTo>
                  <a:lnTo>
                    <a:pt x="801" y="1189"/>
                  </a:lnTo>
                  <a:lnTo>
                    <a:pt x="801" y="1191"/>
                  </a:lnTo>
                  <a:close/>
                  <a:moveTo>
                    <a:pt x="799" y="1191"/>
                  </a:moveTo>
                  <a:lnTo>
                    <a:pt x="799" y="1189"/>
                  </a:lnTo>
                  <a:lnTo>
                    <a:pt x="799" y="1191"/>
                  </a:lnTo>
                  <a:close/>
                  <a:moveTo>
                    <a:pt x="861" y="1191"/>
                  </a:moveTo>
                  <a:lnTo>
                    <a:pt x="859" y="1191"/>
                  </a:lnTo>
                  <a:lnTo>
                    <a:pt x="861" y="1189"/>
                  </a:lnTo>
                  <a:lnTo>
                    <a:pt x="861" y="1191"/>
                  </a:lnTo>
                  <a:close/>
                  <a:moveTo>
                    <a:pt x="796" y="1189"/>
                  </a:moveTo>
                  <a:lnTo>
                    <a:pt x="797" y="1189"/>
                  </a:lnTo>
                  <a:lnTo>
                    <a:pt x="797" y="1191"/>
                  </a:lnTo>
                  <a:lnTo>
                    <a:pt x="799" y="1191"/>
                  </a:lnTo>
                  <a:lnTo>
                    <a:pt x="797" y="1191"/>
                  </a:lnTo>
                  <a:lnTo>
                    <a:pt x="799" y="1191"/>
                  </a:lnTo>
                  <a:lnTo>
                    <a:pt x="799" y="1192"/>
                  </a:lnTo>
                  <a:lnTo>
                    <a:pt x="797" y="1192"/>
                  </a:lnTo>
                  <a:lnTo>
                    <a:pt x="797" y="1191"/>
                  </a:lnTo>
                  <a:lnTo>
                    <a:pt x="797" y="1192"/>
                  </a:lnTo>
                  <a:lnTo>
                    <a:pt x="796" y="1192"/>
                  </a:lnTo>
                  <a:lnTo>
                    <a:pt x="796" y="1191"/>
                  </a:lnTo>
                  <a:lnTo>
                    <a:pt x="794" y="1191"/>
                  </a:lnTo>
                  <a:lnTo>
                    <a:pt x="796" y="1191"/>
                  </a:lnTo>
                  <a:lnTo>
                    <a:pt x="794" y="1191"/>
                  </a:lnTo>
                  <a:lnTo>
                    <a:pt x="794" y="1189"/>
                  </a:lnTo>
                  <a:lnTo>
                    <a:pt x="796" y="1189"/>
                  </a:lnTo>
                  <a:lnTo>
                    <a:pt x="797" y="1191"/>
                  </a:lnTo>
                  <a:lnTo>
                    <a:pt x="797" y="1189"/>
                  </a:lnTo>
                  <a:lnTo>
                    <a:pt x="796" y="1189"/>
                  </a:lnTo>
                  <a:close/>
                  <a:moveTo>
                    <a:pt x="802" y="1189"/>
                  </a:moveTo>
                  <a:lnTo>
                    <a:pt x="804" y="1189"/>
                  </a:lnTo>
                  <a:lnTo>
                    <a:pt x="802" y="1189"/>
                  </a:lnTo>
                  <a:close/>
                  <a:moveTo>
                    <a:pt x="797" y="1189"/>
                  </a:moveTo>
                  <a:lnTo>
                    <a:pt x="799" y="1189"/>
                  </a:lnTo>
                  <a:lnTo>
                    <a:pt x="797" y="1189"/>
                  </a:lnTo>
                  <a:close/>
                  <a:moveTo>
                    <a:pt x="799" y="1189"/>
                  </a:moveTo>
                  <a:lnTo>
                    <a:pt x="797" y="1189"/>
                  </a:lnTo>
                  <a:lnTo>
                    <a:pt x="799" y="1189"/>
                  </a:lnTo>
                  <a:lnTo>
                    <a:pt x="797" y="1189"/>
                  </a:lnTo>
                  <a:lnTo>
                    <a:pt x="799" y="1189"/>
                  </a:lnTo>
                  <a:close/>
                  <a:moveTo>
                    <a:pt x="792" y="1189"/>
                  </a:moveTo>
                  <a:lnTo>
                    <a:pt x="794" y="1189"/>
                  </a:lnTo>
                  <a:lnTo>
                    <a:pt x="792" y="1189"/>
                  </a:lnTo>
                  <a:close/>
                  <a:moveTo>
                    <a:pt x="799" y="1189"/>
                  </a:moveTo>
                  <a:lnTo>
                    <a:pt x="799" y="1188"/>
                  </a:lnTo>
                  <a:lnTo>
                    <a:pt x="799" y="1189"/>
                  </a:lnTo>
                  <a:close/>
                  <a:moveTo>
                    <a:pt x="799" y="1189"/>
                  </a:moveTo>
                  <a:lnTo>
                    <a:pt x="799" y="1188"/>
                  </a:lnTo>
                  <a:lnTo>
                    <a:pt x="799" y="1189"/>
                  </a:lnTo>
                  <a:close/>
                  <a:moveTo>
                    <a:pt x="796" y="1189"/>
                  </a:moveTo>
                  <a:lnTo>
                    <a:pt x="796" y="1188"/>
                  </a:lnTo>
                  <a:lnTo>
                    <a:pt x="797" y="1188"/>
                  </a:lnTo>
                  <a:lnTo>
                    <a:pt x="797" y="1189"/>
                  </a:lnTo>
                  <a:lnTo>
                    <a:pt x="796" y="1189"/>
                  </a:lnTo>
                  <a:close/>
                  <a:moveTo>
                    <a:pt x="801" y="1188"/>
                  </a:moveTo>
                  <a:lnTo>
                    <a:pt x="801" y="1189"/>
                  </a:lnTo>
                  <a:lnTo>
                    <a:pt x="801" y="1188"/>
                  </a:lnTo>
                  <a:close/>
                  <a:moveTo>
                    <a:pt x="804" y="1188"/>
                  </a:moveTo>
                  <a:lnTo>
                    <a:pt x="802" y="1188"/>
                  </a:lnTo>
                  <a:lnTo>
                    <a:pt x="804" y="1188"/>
                  </a:lnTo>
                  <a:close/>
                  <a:moveTo>
                    <a:pt x="797" y="1188"/>
                  </a:moveTo>
                  <a:lnTo>
                    <a:pt x="799" y="1188"/>
                  </a:lnTo>
                  <a:lnTo>
                    <a:pt x="797" y="1188"/>
                  </a:lnTo>
                  <a:close/>
                  <a:moveTo>
                    <a:pt x="796" y="1188"/>
                  </a:moveTo>
                  <a:lnTo>
                    <a:pt x="797" y="1188"/>
                  </a:lnTo>
                  <a:lnTo>
                    <a:pt x="796" y="1188"/>
                  </a:lnTo>
                  <a:close/>
                  <a:moveTo>
                    <a:pt x="805" y="1188"/>
                  </a:moveTo>
                  <a:lnTo>
                    <a:pt x="807" y="1188"/>
                  </a:lnTo>
                  <a:lnTo>
                    <a:pt x="805" y="1188"/>
                  </a:lnTo>
                  <a:close/>
                  <a:moveTo>
                    <a:pt x="792" y="1188"/>
                  </a:moveTo>
                  <a:lnTo>
                    <a:pt x="794" y="1188"/>
                  </a:lnTo>
                  <a:lnTo>
                    <a:pt x="792" y="1188"/>
                  </a:lnTo>
                  <a:close/>
                  <a:moveTo>
                    <a:pt x="799" y="1188"/>
                  </a:moveTo>
                  <a:lnTo>
                    <a:pt x="799" y="1186"/>
                  </a:lnTo>
                  <a:lnTo>
                    <a:pt x="799" y="1188"/>
                  </a:lnTo>
                  <a:close/>
                  <a:moveTo>
                    <a:pt x="796" y="1186"/>
                  </a:moveTo>
                  <a:lnTo>
                    <a:pt x="796" y="1188"/>
                  </a:lnTo>
                  <a:lnTo>
                    <a:pt x="796" y="1186"/>
                  </a:lnTo>
                  <a:close/>
                  <a:moveTo>
                    <a:pt x="801" y="1186"/>
                  </a:moveTo>
                  <a:lnTo>
                    <a:pt x="801" y="1188"/>
                  </a:lnTo>
                  <a:lnTo>
                    <a:pt x="801" y="1186"/>
                  </a:lnTo>
                  <a:close/>
                  <a:moveTo>
                    <a:pt x="799" y="1186"/>
                  </a:moveTo>
                  <a:lnTo>
                    <a:pt x="799" y="1188"/>
                  </a:lnTo>
                  <a:lnTo>
                    <a:pt x="799" y="1186"/>
                  </a:lnTo>
                  <a:close/>
                  <a:moveTo>
                    <a:pt x="799" y="1188"/>
                  </a:moveTo>
                  <a:lnTo>
                    <a:pt x="799" y="1186"/>
                  </a:lnTo>
                  <a:lnTo>
                    <a:pt x="799" y="1188"/>
                  </a:lnTo>
                  <a:close/>
                  <a:moveTo>
                    <a:pt x="799" y="1188"/>
                  </a:moveTo>
                  <a:lnTo>
                    <a:pt x="799" y="1186"/>
                  </a:lnTo>
                  <a:lnTo>
                    <a:pt x="799" y="1188"/>
                  </a:lnTo>
                  <a:close/>
                  <a:moveTo>
                    <a:pt x="801" y="1188"/>
                  </a:moveTo>
                  <a:lnTo>
                    <a:pt x="802" y="1186"/>
                  </a:lnTo>
                  <a:lnTo>
                    <a:pt x="802" y="1188"/>
                  </a:lnTo>
                  <a:lnTo>
                    <a:pt x="801" y="1188"/>
                  </a:lnTo>
                  <a:close/>
                  <a:moveTo>
                    <a:pt x="794" y="1188"/>
                  </a:moveTo>
                  <a:lnTo>
                    <a:pt x="794" y="1186"/>
                  </a:lnTo>
                  <a:lnTo>
                    <a:pt x="794" y="1188"/>
                  </a:lnTo>
                  <a:close/>
                  <a:moveTo>
                    <a:pt x="843" y="1186"/>
                  </a:moveTo>
                  <a:lnTo>
                    <a:pt x="843" y="1188"/>
                  </a:lnTo>
                  <a:lnTo>
                    <a:pt x="843" y="1186"/>
                  </a:lnTo>
                  <a:close/>
                  <a:moveTo>
                    <a:pt x="807" y="1186"/>
                  </a:moveTo>
                  <a:lnTo>
                    <a:pt x="809" y="1186"/>
                  </a:lnTo>
                  <a:lnTo>
                    <a:pt x="807" y="1186"/>
                  </a:lnTo>
                  <a:close/>
                  <a:moveTo>
                    <a:pt x="797" y="1186"/>
                  </a:moveTo>
                  <a:lnTo>
                    <a:pt x="799" y="1186"/>
                  </a:lnTo>
                  <a:lnTo>
                    <a:pt x="797" y="1186"/>
                  </a:lnTo>
                  <a:close/>
                  <a:moveTo>
                    <a:pt x="804" y="1186"/>
                  </a:moveTo>
                  <a:lnTo>
                    <a:pt x="805" y="1186"/>
                  </a:lnTo>
                  <a:lnTo>
                    <a:pt x="804" y="1186"/>
                  </a:lnTo>
                  <a:close/>
                  <a:moveTo>
                    <a:pt x="799" y="1186"/>
                  </a:moveTo>
                  <a:lnTo>
                    <a:pt x="801" y="1186"/>
                  </a:lnTo>
                  <a:lnTo>
                    <a:pt x="802" y="1186"/>
                  </a:lnTo>
                  <a:lnTo>
                    <a:pt x="801" y="1186"/>
                  </a:lnTo>
                  <a:lnTo>
                    <a:pt x="801" y="1188"/>
                  </a:lnTo>
                  <a:lnTo>
                    <a:pt x="799" y="1186"/>
                  </a:lnTo>
                  <a:lnTo>
                    <a:pt x="801" y="1186"/>
                  </a:lnTo>
                  <a:lnTo>
                    <a:pt x="799" y="1186"/>
                  </a:lnTo>
                  <a:close/>
                  <a:moveTo>
                    <a:pt x="796" y="1186"/>
                  </a:moveTo>
                  <a:lnTo>
                    <a:pt x="797" y="1186"/>
                  </a:lnTo>
                  <a:lnTo>
                    <a:pt x="796" y="1186"/>
                  </a:lnTo>
                  <a:close/>
                  <a:moveTo>
                    <a:pt x="797" y="1186"/>
                  </a:moveTo>
                  <a:lnTo>
                    <a:pt x="799" y="1186"/>
                  </a:lnTo>
                  <a:lnTo>
                    <a:pt x="797" y="1186"/>
                  </a:lnTo>
                  <a:close/>
                  <a:moveTo>
                    <a:pt x="805" y="1186"/>
                  </a:moveTo>
                  <a:lnTo>
                    <a:pt x="805" y="1184"/>
                  </a:lnTo>
                  <a:lnTo>
                    <a:pt x="805" y="1186"/>
                  </a:lnTo>
                  <a:close/>
                  <a:moveTo>
                    <a:pt x="845" y="1184"/>
                  </a:moveTo>
                  <a:lnTo>
                    <a:pt x="845" y="1186"/>
                  </a:lnTo>
                  <a:lnTo>
                    <a:pt x="845" y="1184"/>
                  </a:lnTo>
                  <a:close/>
                  <a:moveTo>
                    <a:pt x="836" y="1186"/>
                  </a:moveTo>
                  <a:lnTo>
                    <a:pt x="836" y="1184"/>
                  </a:lnTo>
                  <a:lnTo>
                    <a:pt x="836" y="1186"/>
                  </a:lnTo>
                  <a:close/>
                  <a:moveTo>
                    <a:pt x="809" y="1184"/>
                  </a:moveTo>
                  <a:lnTo>
                    <a:pt x="810" y="1184"/>
                  </a:lnTo>
                  <a:lnTo>
                    <a:pt x="810" y="1186"/>
                  </a:lnTo>
                  <a:lnTo>
                    <a:pt x="809" y="1184"/>
                  </a:lnTo>
                  <a:close/>
                  <a:moveTo>
                    <a:pt x="809" y="1184"/>
                  </a:moveTo>
                  <a:lnTo>
                    <a:pt x="809" y="1186"/>
                  </a:lnTo>
                  <a:lnTo>
                    <a:pt x="809" y="1184"/>
                  </a:lnTo>
                  <a:close/>
                  <a:moveTo>
                    <a:pt x="809" y="1184"/>
                  </a:moveTo>
                  <a:lnTo>
                    <a:pt x="809" y="1186"/>
                  </a:lnTo>
                  <a:lnTo>
                    <a:pt x="810" y="1186"/>
                  </a:lnTo>
                  <a:lnTo>
                    <a:pt x="809" y="1186"/>
                  </a:lnTo>
                  <a:lnTo>
                    <a:pt x="807" y="1186"/>
                  </a:lnTo>
                  <a:lnTo>
                    <a:pt x="805" y="1186"/>
                  </a:lnTo>
                  <a:lnTo>
                    <a:pt x="807" y="1186"/>
                  </a:lnTo>
                  <a:lnTo>
                    <a:pt x="809" y="1186"/>
                  </a:lnTo>
                  <a:lnTo>
                    <a:pt x="809" y="1184"/>
                  </a:lnTo>
                  <a:close/>
                  <a:moveTo>
                    <a:pt x="809" y="1184"/>
                  </a:moveTo>
                  <a:lnTo>
                    <a:pt x="810" y="1184"/>
                  </a:lnTo>
                  <a:lnTo>
                    <a:pt x="809" y="1184"/>
                  </a:lnTo>
                  <a:close/>
                  <a:moveTo>
                    <a:pt x="867" y="1184"/>
                  </a:moveTo>
                  <a:lnTo>
                    <a:pt x="869" y="1184"/>
                  </a:lnTo>
                  <a:lnTo>
                    <a:pt x="867" y="1184"/>
                  </a:lnTo>
                  <a:close/>
                  <a:moveTo>
                    <a:pt x="817" y="1184"/>
                  </a:moveTo>
                  <a:lnTo>
                    <a:pt x="819" y="1184"/>
                  </a:lnTo>
                  <a:lnTo>
                    <a:pt x="817" y="1184"/>
                  </a:lnTo>
                  <a:close/>
                  <a:moveTo>
                    <a:pt x="819" y="1184"/>
                  </a:moveTo>
                  <a:lnTo>
                    <a:pt x="819" y="1183"/>
                  </a:lnTo>
                  <a:lnTo>
                    <a:pt x="819" y="1184"/>
                  </a:lnTo>
                  <a:close/>
                  <a:moveTo>
                    <a:pt x="810" y="1184"/>
                  </a:moveTo>
                  <a:lnTo>
                    <a:pt x="810" y="1183"/>
                  </a:lnTo>
                  <a:lnTo>
                    <a:pt x="810" y="1184"/>
                  </a:lnTo>
                  <a:close/>
                  <a:moveTo>
                    <a:pt x="819" y="1184"/>
                  </a:moveTo>
                  <a:lnTo>
                    <a:pt x="819" y="1183"/>
                  </a:lnTo>
                  <a:lnTo>
                    <a:pt x="819" y="1184"/>
                  </a:lnTo>
                  <a:close/>
                  <a:moveTo>
                    <a:pt x="810" y="1184"/>
                  </a:moveTo>
                  <a:lnTo>
                    <a:pt x="810" y="1183"/>
                  </a:lnTo>
                  <a:lnTo>
                    <a:pt x="812" y="1183"/>
                  </a:lnTo>
                  <a:lnTo>
                    <a:pt x="810" y="1184"/>
                  </a:lnTo>
                  <a:close/>
                  <a:moveTo>
                    <a:pt x="814" y="1183"/>
                  </a:moveTo>
                  <a:lnTo>
                    <a:pt x="814" y="1184"/>
                  </a:lnTo>
                  <a:lnTo>
                    <a:pt x="812" y="1184"/>
                  </a:lnTo>
                  <a:lnTo>
                    <a:pt x="814" y="1184"/>
                  </a:lnTo>
                  <a:lnTo>
                    <a:pt x="812" y="1186"/>
                  </a:lnTo>
                  <a:lnTo>
                    <a:pt x="812" y="1184"/>
                  </a:lnTo>
                  <a:lnTo>
                    <a:pt x="812" y="1186"/>
                  </a:lnTo>
                  <a:lnTo>
                    <a:pt x="812" y="1184"/>
                  </a:lnTo>
                  <a:lnTo>
                    <a:pt x="810" y="1186"/>
                  </a:lnTo>
                  <a:lnTo>
                    <a:pt x="812" y="1186"/>
                  </a:lnTo>
                  <a:lnTo>
                    <a:pt x="810" y="1186"/>
                  </a:lnTo>
                  <a:lnTo>
                    <a:pt x="810" y="1184"/>
                  </a:lnTo>
                  <a:lnTo>
                    <a:pt x="810" y="1186"/>
                  </a:lnTo>
                  <a:lnTo>
                    <a:pt x="810" y="1184"/>
                  </a:lnTo>
                  <a:lnTo>
                    <a:pt x="812" y="1184"/>
                  </a:lnTo>
                  <a:lnTo>
                    <a:pt x="814" y="1184"/>
                  </a:lnTo>
                  <a:lnTo>
                    <a:pt x="814" y="1183"/>
                  </a:lnTo>
                  <a:close/>
                  <a:moveTo>
                    <a:pt x="805" y="1183"/>
                  </a:moveTo>
                  <a:lnTo>
                    <a:pt x="807" y="1183"/>
                  </a:lnTo>
                  <a:lnTo>
                    <a:pt x="805" y="1183"/>
                  </a:lnTo>
                  <a:close/>
                  <a:moveTo>
                    <a:pt x="812" y="1183"/>
                  </a:moveTo>
                  <a:lnTo>
                    <a:pt x="814" y="1183"/>
                  </a:lnTo>
                  <a:lnTo>
                    <a:pt x="812" y="1183"/>
                  </a:lnTo>
                  <a:close/>
                  <a:moveTo>
                    <a:pt x="804" y="1183"/>
                  </a:moveTo>
                  <a:lnTo>
                    <a:pt x="805" y="1183"/>
                  </a:lnTo>
                  <a:lnTo>
                    <a:pt x="804" y="1183"/>
                  </a:lnTo>
                  <a:close/>
                  <a:moveTo>
                    <a:pt x="809" y="1183"/>
                  </a:moveTo>
                  <a:lnTo>
                    <a:pt x="810" y="1183"/>
                  </a:lnTo>
                  <a:lnTo>
                    <a:pt x="809" y="1183"/>
                  </a:lnTo>
                  <a:close/>
                  <a:moveTo>
                    <a:pt x="871" y="1183"/>
                  </a:moveTo>
                  <a:lnTo>
                    <a:pt x="869" y="1183"/>
                  </a:lnTo>
                  <a:lnTo>
                    <a:pt x="869" y="1184"/>
                  </a:lnTo>
                  <a:lnTo>
                    <a:pt x="869" y="1183"/>
                  </a:lnTo>
                  <a:lnTo>
                    <a:pt x="867" y="1183"/>
                  </a:lnTo>
                  <a:lnTo>
                    <a:pt x="869" y="1183"/>
                  </a:lnTo>
                  <a:lnTo>
                    <a:pt x="871" y="1183"/>
                  </a:lnTo>
                  <a:close/>
                  <a:moveTo>
                    <a:pt x="812" y="1183"/>
                  </a:moveTo>
                  <a:lnTo>
                    <a:pt x="814" y="1183"/>
                  </a:lnTo>
                  <a:lnTo>
                    <a:pt x="812" y="1183"/>
                  </a:lnTo>
                  <a:close/>
                  <a:moveTo>
                    <a:pt x="836" y="1181"/>
                  </a:moveTo>
                  <a:lnTo>
                    <a:pt x="836" y="1183"/>
                  </a:lnTo>
                  <a:lnTo>
                    <a:pt x="836" y="1181"/>
                  </a:lnTo>
                  <a:close/>
                  <a:moveTo>
                    <a:pt x="814" y="1181"/>
                  </a:moveTo>
                  <a:lnTo>
                    <a:pt x="814" y="1183"/>
                  </a:lnTo>
                  <a:lnTo>
                    <a:pt x="814" y="1181"/>
                  </a:lnTo>
                  <a:close/>
                  <a:moveTo>
                    <a:pt x="809" y="1183"/>
                  </a:moveTo>
                  <a:lnTo>
                    <a:pt x="809" y="1181"/>
                  </a:lnTo>
                  <a:lnTo>
                    <a:pt x="810" y="1181"/>
                  </a:lnTo>
                  <a:lnTo>
                    <a:pt x="810" y="1183"/>
                  </a:lnTo>
                  <a:lnTo>
                    <a:pt x="809" y="1183"/>
                  </a:lnTo>
                  <a:close/>
                  <a:moveTo>
                    <a:pt x="815" y="1181"/>
                  </a:moveTo>
                  <a:lnTo>
                    <a:pt x="817" y="1181"/>
                  </a:lnTo>
                  <a:lnTo>
                    <a:pt x="815" y="1181"/>
                  </a:lnTo>
                  <a:close/>
                  <a:moveTo>
                    <a:pt x="812" y="1181"/>
                  </a:moveTo>
                  <a:lnTo>
                    <a:pt x="814" y="1181"/>
                  </a:lnTo>
                  <a:lnTo>
                    <a:pt x="812" y="1181"/>
                  </a:lnTo>
                  <a:lnTo>
                    <a:pt x="812" y="1183"/>
                  </a:lnTo>
                  <a:lnTo>
                    <a:pt x="812" y="1181"/>
                  </a:lnTo>
                  <a:close/>
                  <a:moveTo>
                    <a:pt x="836" y="1181"/>
                  </a:moveTo>
                  <a:lnTo>
                    <a:pt x="836" y="1183"/>
                  </a:lnTo>
                  <a:lnTo>
                    <a:pt x="836" y="1181"/>
                  </a:lnTo>
                  <a:lnTo>
                    <a:pt x="838" y="1181"/>
                  </a:lnTo>
                  <a:lnTo>
                    <a:pt x="836" y="1181"/>
                  </a:lnTo>
                  <a:close/>
                  <a:moveTo>
                    <a:pt x="812" y="1181"/>
                  </a:moveTo>
                  <a:lnTo>
                    <a:pt x="814" y="1181"/>
                  </a:lnTo>
                  <a:lnTo>
                    <a:pt x="812" y="1181"/>
                  </a:lnTo>
                  <a:close/>
                  <a:moveTo>
                    <a:pt x="815" y="1181"/>
                  </a:moveTo>
                  <a:lnTo>
                    <a:pt x="817" y="1181"/>
                  </a:lnTo>
                  <a:lnTo>
                    <a:pt x="815" y="1181"/>
                  </a:lnTo>
                  <a:close/>
                  <a:moveTo>
                    <a:pt x="846" y="1181"/>
                  </a:moveTo>
                  <a:lnTo>
                    <a:pt x="846" y="1179"/>
                  </a:lnTo>
                  <a:lnTo>
                    <a:pt x="846" y="1181"/>
                  </a:lnTo>
                  <a:close/>
                  <a:moveTo>
                    <a:pt x="828" y="1181"/>
                  </a:moveTo>
                  <a:lnTo>
                    <a:pt x="828" y="1179"/>
                  </a:lnTo>
                  <a:lnTo>
                    <a:pt x="828" y="1181"/>
                  </a:lnTo>
                  <a:close/>
                  <a:moveTo>
                    <a:pt x="815" y="1181"/>
                  </a:moveTo>
                  <a:lnTo>
                    <a:pt x="814" y="1181"/>
                  </a:lnTo>
                  <a:lnTo>
                    <a:pt x="815" y="1179"/>
                  </a:lnTo>
                  <a:lnTo>
                    <a:pt x="815" y="1181"/>
                  </a:lnTo>
                  <a:close/>
                  <a:moveTo>
                    <a:pt x="841" y="1179"/>
                  </a:moveTo>
                  <a:lnTo>
                    <a:pt x="843" y="1179"/>
                  </a:lnTo>
                  <a:lnTo>
                    <a:pt x="843" y="1181"/>
                  </a:lnTo>
                  <a:lnTo>
                    <a:pt x="845" y="1181"/>
                  </a:lnTo>
                  <a:lnTo>
                    <a:pt x="843" y="1181"/>
                  </a:lnTo>
                  <a:lnTo>
                    <a:pt x="845" y="1183"/>
                  </a:lnTo>
                  <a:lnTo>
                    <a:pt x="845" y="1181"/>
                  </a:lnTo>
                  <a:lnTo>
                    <a:pt x="846" y="1181"/>
                  </a:lnTo>
                  <a:lnTo>
                    <a:pt x="846" y="1183"/>
                  </a:lnTo>
                  <a:lnTo>
                    <a:pt x="846" y="1181"/>
                  </a:lnTo>
                  <a:lnTo>
                    <a:pt x="846" y="1183"/>
                  </a:lnTo>
                  <a:lnTo>
                    <a:pt x="848" y="1181"/>
                  </a:lnTo>
                  <a:lnTo>
                    <a:pt x="848" y="1183"/>
                  </a:lnTo>
                  <a:lnTo>
                    <a:pt x="846" y="1183"/>
                  </a:lnTo>
                  <a:lnTo>
                    <a:pt x="846" y="1184"/>
                  </a:lnTo>
                  <a:lnTo>
                    <a:pt x="845" y="1184"/>
                  </a:lnTo>
                  <a:lnTo>
                    <a:pt x="843" y="1184"/>
                  </a:lnTo>
                  <a:lnTo>
                    <a:pt x="845" y="1184"/>
                  </a:lnTo>
                  <a:lnTo>
                    <a:pt x="843" y="1186"/>
                  </a:lnTo>
                  <a:lnTo>
                    <a:pt x="843" y="1184"/>
                  </a:lnTo>
                  <a:lnTo>
                    <a:pt x="843" y="1186"/>
                  </a:lnTo>
                  <a:lnTo>
                    <a:pt x="841" y="1186"/>
                  </a:lnTo>
                  <a:lnTo>
                    <a:pt x="841" y="1188"/>
                  </a:lnTo>
                  <a:lnTo>
                    <a:pt x="840" y="1188"/>
                  </a:lnTo>
                  <a:lnTo>
                    <a:pt x="838" y="1188"/>
                  </a:lnTo>
                  <a:lnTo>
                    <a:pt x="836" y="1186"/>
                  </a:lnTo>
                  <a:lnTo>
                    <a:pt x="838" y="1186"/>
                  </a:lnTo>
                  <a:lnTo>
                    <a:pt x="836" y="1186"/>
                  </a:lnTo>
                  <a:lnTo>
                    <a:pt x="836" y="1184"/>
                  </a:lnTo>
                  <a:lnTo>
                    <a:pt x="838" y="1184"/>
                  </a:lnTo>
                  <a:lnTo>
                    <a:pt x="838" y="1183"/>
                  </a:lnTo>
                  <a:lnTo>
                    <a:pt x="838" y="1181"/>
                  </a:lnTo>
                  <a:lnTo>
                    <a:pt x="838" y="1179"/>
                  </a:lnTo>
                  <a:lnTo>
                    <a:pt x="840" y="1179"/>
                  </a:lnTo>
                  <a:lnTo>
                    <a:pt x="841" y="1179"/>
                  </a:lnTo>
                  <a:close/>
                  <a:moveTo>
                    <a:pt x="856" y="1181"/>
                  </a:moveTo>
                  <a:lnTo>
                    <a:pt x="856" y="1179"/>
                  </a:lnTo>
                  <a:lnTo>
                    <a:pt x="858" y="1179"/>
                  </a:lnTo>
                  <a:lnTo>
                    <a:pt x="858" y="1181"/>
                  </a:lnTo>
                  <a:lnTo>
                    <a:pt x="856" y="1181"/>
                  </a:lnTo>
                  <a:lnTo>
                    <a:pt x="858" y="1181"/>
                  </a:lnTo>
                  <a:lnTo>
                    <a:pt x="858" y="1183"/>
                  </a:lnTo>
                  <a:lnTo>
                    <a:pt x="858" y="1184"/>
                  </a:lnTo>
                  <a:lnTo>
                    <a:pt x="858" y="1183"/>
                  </a:lnTo>
                  <a:lnTo>
                    <a:pt x="858" y="1184"/>
                  </a:lnTo>
                  <a:lnTo>
                    <a:pt x="856" y="1184"/>
                  </a:lnTo>
                  <a:lnTo>
                    <a:pt x="856" y="1183"/>
                  </a:lnTo>
                  <a:lnTo>
                    <a:pt x="856" y="1184"/>
                  </a:lnTo>
                  <a:lnTo>
                    <a:pt x="856" y="1183"/>
                  </a:lnTo>
                  <a:lnTo>
                    <a:pt x="856" y="1181"/>
                  </a:lnTo>
                  <a:lnTo>
                    <a:pt x="856" y="1183"/>
                  </a:lnTo>
                  <a:lnTo>
                    <a:pt x="858" y="1181"/>
                  </a:lnTo>
                  <a:lnTo>
                    <a:pt x="856" y="1181"/>
                  </a:lnTo>
                  <a:close/>
                  <a:moveTo>
                    <a:pt x="812" y="1191"/>
                  </a:moveTo>
                  <a:lnTo>
                    <a:pt x="810" y="1191"/>
                  </a:lnTo>
                  <a:lnTo>
                    <a:pt x="809" y="1189"/>
                  </a:lnTo>
                  <a:lnTo>
                    <a:pt x="807" y="1189"/>
                  </a:lnTo>
                  <a:lnTo>
                    <a:pt x="805" y="1189"/>
                  </a:lnTo>
                  <a:lnTo>
                    <a:pt x="807" y="1189"/>
                  </a:lnTo>
                  <a:lnTo>
                    <a:pt x="807" y="1188"/>
                  </a:lnTo>
                  <a:lnTo>
                    <a:pt x="809" y="1188"/>
                  </a:lnTo>
                  <a:lnTo>
                    <a:pt x="809" y="1186"/>
                  </a:lnTo>
                  <a:lnTo>
                    <a:pt x="810" y="1186"/>
                  </a:lnTo>
                  <a:lnTo>
                    <a:pt x="812" y="1186"/>
                  </a:lnTo>
                  <a:lnTo>
                    <a:pt x="814" y="1186"/>
                  </a:lnTo>
                  <a:lnTo>
                    <a:pt x="814" y="1184"/>
                  </a:lnTo>
                  <a:lnTo>
                    <a:pt x="815" y="1186"/>
                  </a:lnTo>
                  <a:lnTo>
                    <a:pt x="817" y="1184"/>
                  </a:lnTo>
                  <a:lnTo>
                    <a:pt x="815" y="1184"/>
                  </a:lnTo>
                  <a:lnTo>
                    <a:pt x="817" y="1184"/>
                  </a:lnTo>
                  <a:lnTo>
                    <a:pt x="819" y="1184"/>
                  </a:lnTo>
                  <a:lnTo>
                    <a:pt x="820" y="1183"/>
                  </a:lnTo>
                  <a:lnTo>
                    <a:pt x="820" y="1184"/>
                  </a:lnTo>
                  <a:lnTo>
                    <a:pt x="820" y="1183"/>
                  </a:lnTo>
                  <a:lnTo>
                    <a:pt x="822" y="1183"/>
                  </a:lnTo>
                  <a:lnTo>
                    <a:pt x="820" y="1183"/>
                  </a:lnTo>
                  <a:lnTo>
                    <a:pt x="819" y="1183"/>
                  </a:lnTo>
                  <a:lnTo>
                    <a:pt x="819" y="1184"/>
                  </a:lnTo>
                  <a:lnTo>
                    <a:pt x="817" y="1183"/>
                  </a:lnTo>
                  <a:lnTo>
                    <a:pt x="817" y="1184"/>
                  </a:lnTo>
                  <a:lnTo>
                    <a:pt x="815" y="1184"/>
                  </a:lnTo>
                  <a:lnTo>
                    <a:pt x="815" y="1183"/>
                  </a:lnTo>
                  <a:lnTo>
                    <a:pt x="814" y="1183"/>
                  </a:lnTo>
                  <a:lnTo>
                    <a:pt x="815" y="1183"/>
                  </a:lnTo>
                  <a:lnTo>
                    <a:pt x="815" y="1181"/>
                  </a:lnTo>
                  <a:lnTo>
                    <a:pt x="815" y="1183"/>
                  </a:lnTo>
                  <a:lnTo>
                    <a:pt x="817" y="1181"/>
                  </a:lnTo>
                  <a:lnTo>
                    <a:pt x="819" y="1181"/>
                  </a:lnTo>
                  <a:lnTo>
                    <a:pt x="819" y="1183"/>
                  </a:lnTo>
                  <a:lnTo>
                    <a:pt x="819" y="1181"/>
                  </a:lnTo>
                  <a:lnTo>
                    <a:pt x="820" y="1181"/>
                  </a:lnTo>
                  <a:lnTo>
                    <a:pt x="822" y="1181"/>
                  </a:lnTo>
                  <a:lnTo>
                    <a:pt x="820" y="1181"/>
                  </a:lnTo>
                  <a:lnTo>
                    <a:pt x="822" y="1181"/>
                  </a:lnTo>
                  <a:lnTo>
                    <a:pt x="822" y="1179"/>
                  </a:lnTo>
                  <a:lnTo>
                    <a:pt x="823" y="1179"/>
                  </a:lnTo>
                  <a:lnTo>
                    <a:pt x="825" y="1179"/>
                  </a:lnTo>
                  <a:lnTo>
                    <a:pt x="825" y="1181"/>
                  </a:lnTo>
                  <a:lnTo>
                    <a:pt x="825" y="1179"/>
                  </a:lnTo>
                  <a:lnTo>
                    <a:pt x="827" y="1179"/>
                  </a:lnTo>
                  <a:lnTo>
                    <a:pt x="827" y="1181"/>
                  </a:lnTo>
                  <a:lnTo>
                    <a:pt x="828" y="1181"/>
                  </a:lnTo>
                  <a:lnTo>
                    <a:pt x="827" y="1181"/>
                  </a:lnTo>
                  <a:lnTo>
                    <a:pt x="825" y="1183"/>
                  </a:lnTo>
                  <a:lnTo>
                    <a:pt x="823" y="1183"/>
                  </a:lnTo>
                  <a:lnTo>
                    <a:pt x="822" y="1183"/>
                  </a:lnTo>
                  <a:lnTo>
                    <a:pt x="823" y="1183"/>
                  </a:lnTo>
                  <a:lnTo>
                    <a:pt x="825" y="1183"/>
                  </a:lnTo>
                  <a:lnTo>
                    <a:pt x="827" y="1183"/>
                  </a:lnTo>
                  <a:lnTo>
                    <a:pt x="828" y="1183"/>
                  </a:lnTo>
                  <a:lnTo>
                    <a:pt x="830" y="1181"/>
                  </a:lnTo>
                  <a:lnTo>
                    <a:pt x="830" y="1183"/>
                  </a:lnTo>
                  <a:lnTo>
                    <a:pt x="830" y="1181"/>
                  </a:lnTo>
                  <a:lnTo>
                    <a:pt x="830" y="1183"/>
                  </a:lnTo>
                  <a:lnTo>
                    <a:pt x="832" y="1183"/>
                  </a:lnTo>
                  <a:lnTo>
                    <a:pt x="832" y="1181"/>
                  </a:lnTo>
                  <a:lnTo>
                    <a:pt x="833" y="1181"/>
                  </a:lnTo>
                  <a:lnTo>
                    <a:pt x="835" y="1181"/>
                  </a:lnTo>
                  <a:lnTo>
                    <a:pt x="836" y="1181"/>
                  </a:lnTo>
                  <a:lnTo>
                    <a:pt x="835" y="1183"/>
                  </a:lnTo>
                  <a:lnTo>
                    <a:pt x="836" y="1183"/>
                  </a:lnTo>
                  <a:lnTo>
                    <a:pt x="835" y="1183"/>
                  </a:lnTo>
                  <a:lnTo>
                    <a:pt x="835" y="1184"/>
                  </a:lnTo>
                  <a:lnTo>
                    <a:pt x="833" y="1186"/>
                  </a:lnTo>
                  <a:lnTo>
                    <a:pt x="833" y="1184"/>
                  </a:lnTo>
                  <a:lnTo>
                    <a:pt x="833" y="1186"/>
                  </a:lnTo>
                  <a:lnTo>
                    <a:pt x="832" y="1186"/>
                  </a:lnTo>
                  <a:lnTo>
                    <a:pt x="833" y="1186"/>
                  </a:lnTo>
                  <a:lnTo>
                    <a:pt x="835" y="1186"/>
                  </a:lnTo>
                  <a:lnTo>
                    <a:pt x="835" y="1188"/>
                  </a:lnTo>
                  <a:lnTo>
                    <a:pt x="835" y="1189"/>
                  </a:lnTo>
                  <a:lnTo>
                    <a:pt x="833" y="1189"/>
                  </a:lnTo>
                  <a:lnTo>
                    <a:pt x="835" y="1189"/>
                  </a:lnTo>
                  <a:lnTo>
                    <a:pt x="835" y="1191"/>
                  </a:lnTo>
                  <a:lnTo>
                    <a:pt x="833" y="1191"/>
                  </a:lnTo>
                  <a:lnTo>
                    <a:pt x="835" y="1191"/>
                  </a:lnTo>
                  <a:lnTo>
                    <a:pt x="836" y="1191"/>
                  </a:lnTo>
                  <a:lnTo>
                    <a:pt x="836" y="1189"/>
                  </a:lnTo>
                  <a:lnTo>
                    <a:pt x="838" y="1189"/>
                  </a:lnTo>
                  <a:lnTo>
                    <a:pt x="838" y="1188"/>
                  </a:lnTo>
                  <a:lnTo>
                    <a:pt x="838" y="1189"/>
                  </a:lnTo>
                  <a:lnTo>
                    <a:pt x="840" y="1189"/>
                  </a:lnTo>
                  <a:lnTo>
                    <a:pt x="841" y="1189"/>
                  </a:lnTo>
                  <a:lnTo>
                    <a:pt x="843" y="1189"/>
                  </a:lnTo>
                  <a:lnTo>
                    <a:pt x="841" y="1189"/>
                  </a:lnTo>
                  <a:lnTo>
                    <a:pt x="843" y="1189"/>
                  </a:lnTo>
                  <a:lnTo>
                    <a:pt x="843" y="1191"/>
                  </a:lnTo>
                  <a:lnTo>
                    <a:pt x="845" y="1191"/>
                  </a:lnTo>
                  <a:lnTo>
                    <a:pt x="845" y="1192"/>
                  </a:lnTo>
                  <a:lnTo>
                    <a:pt x="845" y="1194"/>
                  </a:lnTo>
                  <a:lnTo>
                    <a:pt x="843" y="1194"/>
                  </a:lnTo>
                  <a:lnTo>
                    <a:pt x="845" y="1194"/>
                  </a:lnTo>
                  <a:lnTo>
                    <a:pt x="845" y="1196"/>
                  </a:lnTo>
                  <a:lnTo>
                    <a:pt x="845" y="1194"/>
                  </a:lnTo>
                  <a:lnTo>
                    <a:pt x="845" y="1196"/>
                  </a:lnTo>
                  <a:lnTo>
                    <a:pt x="845" y="1194"/>
                  </a:lnTo>
                  <a:lnTo>
                    <a:pt x="846" y="1194"/>
                  </a:lnTo>
                  <a:lnTo>
                    <a:pt x="846" y="1192"/>
                  </a:lnTo>
                  <a:lnTo>
                    <a:pt x="848" y="1192"/>
                  </a:lnTo>
                  <a:lnTo>
                    <a:pt x="848" y="1194"/>
                  </a:lnTo>
                  <a:lnTo>
                    <a:pt x="848" y="1196"/>
                  </a:lnTo>
                  <a:lnTo>
                    <a:pt x="846" y="1196"/>
                  </a:lnTo>
                  <a:lnTo>
                    <a:pt x="846" y="1197"/>
                  </a:lnTo>
                  <a:lnTo>
                    <a:pt x="845" y="1197"/>
                  </a:lnTo>
                  <a:lnTo>
                    <a:pt x="845" y="1199"/>
                  </a:lnTo>
                  <a:lnTo>
                    <a:pt x="843" y="1199"/>
                  </a:lnTo>
                  <a:lnTo>
                    <a:pt x="841" y="1201"/>
                  </a:lnTo>
                  <a:lnTo>
                    <a:pt x="843" y="1201"/>
                  </a:lnTo>
                  <a:lnTo>
                    <a:pt x="843" y="1199"/>
                  </a:lnTo>
                  <a:lnTo>
                    <a:pt x="843" y="1201"/>
                  </a:lnTo>
                  <a:lnTo>
                    <a:pt x="841" y="1202"/>
                  </a:lnTo>
                  <a:lnTo>
                    <a:pt x="840" y="1202"/>
                  </a:lnTo>
                  <a:lnTo>
                    <a:pt x="843" y="1201"/>
                  </a:lnTo>
                  <a:lnTo>
                    <a:pt x="841" y="1201"/>
                  </a:lnTo>
                  <a:lnTo>
                    <a:pt x="840" y="1201"/>
                  </a:lnTo>
                  <a:lnTo>
                    <a:pt x="838" y="1202"/>
                  </a:lnTo>
                  <a:lnTo>
                    <a:pt x="836" y="1202"/>
                  </a:lnTo>
                  <a:lnTo>
                    <a:pt x="835" y="1202"/>
                  </a:lnTo>
                  <a:lnTo>
                    <a:pt x="833" y="1202"/>
                  </a:lnTo>
                  <a:lnTo>
                    <a:pt x="833" y="1204"/>
                  </a:lnTo>
                  <a:lnTo>
                    <a:pt x="832" y="1204"/>
                  </a:lnTo>
                  <a:lnTo>
                    <a:pt x="830" y="1204"/>
                  </a:lnTo>
                  <a:lnTo>
                    <a:pt x="830" y="1205"/>
                  </a:lnTo>
                  <a:lnTo>
                    <a:pt x="828" y="1205"/>
                  </a:lnTo>
                  <a:lnTo>
                    <a:pt x="827" y="1205"/>
                  </a:lnTo>
                  <a:lnTo>
                    <a:pt x="825" y="1205"/>
                  </a:lnTo>
                  <a:lnTo>
                    <a:pt x="825" y="1207"/>
                  </a:lnTo>
                  <a:lnTo>
                    <a:pt x="825" y="1205"/>
                  </a:lnTo>
                  <a:lnTo>
                    <a:pt x="825" y="1207"/>
                  </a:lnTo>
                  <a:lnTo>
                    <a:pt x="825" y="1205"/>
                  </a:lnTo>
                  <a:lnTo>
                    <a:pt x="823" y="1205"/>
                  </a:lnTo>
                  <a:lnTo>
                    <a:pt x="822" y="1205"/>
                  </a:lnTo>
                  <a:lnTo>
                    <a:pt x="823" y="1205"/>
                  </a:lnTo>
                  <a:lnTo>
                    <a:pt x="822" y="1205"/>
                  </a:lnTo>
                  <a:lnTo>
                    <a:pt x="820" y="1207"/>
                  </a:lnTo>
                  <a:lnTo>
                    <a:pt x="819" y="1207"/>
                  </a:lnTo>
                  <a:lnTo>
                    <a:pt x="820" y="1205"/>
                  </a:lnTo>
                  <a:lnTo>
                    <a:pt x="819" y="1205"/>
                  </a:lnTo>
                  <a:lnTo>
                    <a:pt x="819" y="1207"/>
                  </a:lnTo>
                  <a:lnTo>
                    <a:pt x="817" y="1207"/>
                  </a:lnTo>
                  <a:lnTo>
                    <a:pt x="815" y="1207"/>
                  </a:lnTo>
                  <a:lnTo>
                    <a:pt x="814" y="1207"/>
                  </a:lnTo>
                  <a:lnTo>
                    <a:pt x="812" y="1207"/>
                  </a:lnTo>
                  <a:lnTo>
                    <a:pt x="812" y="1209"/>
                  </a:lnTo>
                  <a:lnTo>
                    <a:pt x="810" y="1209"/>
                  </a:lnTo>
                  <a:lnTo>
                    <a:pt x="809" y="1209"/>
                  </a:lnTo>
                  <a:lnTo>
                    <a:pt x="809" y="1210"/>
                  </a:lnTo>
                  <a:lnTo>
                    <a:pt x="807" y="1210"/>
                  </a:lnTo>
                  <a:lnTo>
                    <a:pt x="809" y="1210"/>
                  </a:lnTo>
                  <a:lnTo>
                    <a:pt x="807" y="1210"/>
                  </a:lnTo>
                  <a:lnTo>
                    <a:pt x="807" y="1212"/>
                  </a:lnTo>
                  <a:lnTo>
                    <a:pt x="805" y="1212"/>
                  </a:lnTo>
                  <a:lnTo>
                    <a:pt x="804" y="1214"/>
                  </a:lnTo>
                  <a:lnTo>
                    <a:pt x="802" y="1212"/>
                  </a:lnTo>
                  <a:lnTo>
                    <a:pt x="801" y="1214"/>
                  </a:lnTo>
                  <a:lnTo>
                    <a:pt x="799" y="1214"/>
                  </a:lnTo>
                  <a:lnTo>
                    <a:pt x="797" y="1212"/>
                  </a:lnTo>
                  <a:lnTo>
                    <a:pt x="797" y="1214"/>
                  </a:lnTo>
                  <a:lnTo>
                    <a:pt x="797" y="1212"/>
                  </a:lnTo>
                  <a:lnTo>
                    <a:pt x="797" y="1214"/>
                  </a:lnTo>
                  <a:lnTo>
                    <a:pt x="797" y="1212"/>
                  </a:lnTo>
                  <a:lnTo>
                    <a:pt x="796" y="1212"/>
                  </a:lnTo>
                  <a:lnTo>
                    <a:pt x="796" y="1214"/>
                  </a:lnTo>
                  <a:lnTo>
                    <a:pt x="796" y="1212"/>
                  </a:lnTo>
                  <a:lnTo>
                    <a:pt x="794" y="1212"/>
                  </a:lnTo>
                  <a:lnTo>
                    <a:pt x="796" y="1212"/>
                  </a:lnTo>
                  <a:lnTo>
                    <a:pt x="794" y="1212"/>
                  </a:lnTo>
                  <a:lnTo>
                    <a:pt x="794" y="1210"/>
                  </a:lnTo>
                  <a:lnTo>
                    <a:pt x="792" y="1210"/>
                  </a:lnTo>
                  <a:lnTo>
                    <a:pt x="792" y="1209"/>
                  </a:lnTo>
                  <a:lnTo>
                    <a:pt x="792" y="1210"/>
                  </a:lnTo>
                  <a:lnTo>
                    <a:pt x="794" y="1210"/>
                  </a:lnTo>
                  <a:lnTo>
                    <a:pt x="792" y="1210"/>
                  </a:lnTo>
                  <a:lnTo>
                    <a:pt x="791" y="1210"/>
                  </a:lnTo>
                  <a:lnTo>
                    <a:pt x="792" y="1212"/>
                  </a:lnTo>
                  <a:lnTo>
                    <a:pt x="791" y="1210"/>
                  </a:lnTo>
                  <a:lnTo>
                    <a:pt x="789" y="1210"/>
                  </a:lnTo>
                  <a:lnTo>
                    <a:pt x="789" y="1209"/>
                  </a:lnTo>
                  <a:lnTo>
                    <a:pt x="791" y="1209"/>
                  </a:lnTo>
                  <a:lnTo>
                    <a:pt x="791" y="1207"/>
                  </a:lnTo>
                  <a:lnTo>
                    <a:pt x="792" y="1207"/>
                  </a:lnTo>
                  <a:lnTo>
                    <a:pt x="792" y="1205"/>
                  </a:lnTo>
                  <a:lnTo>
                    <a:pt x="791" y="1207"/>
                  </a:lnTo>
                  <a:lnTo>
                    <a:pt x="791" y="1205"/>
                  </a:lnTo>
                  <a:lnTo>
                    <a:pt x="791" y="1204"/>
                  </a:lnTo>
                  <a:lnTo>
                    <a:pt x="792" y="1204"/>
                  </a:lnTo>
                  <a:lnTo>
                    <a:pt x="794" y="1202"/>
                  </a:lnTo>
                  <a:lnTo>
                    <a:pt x="792" y="1202"/>
                  </a:lnTo>
                  <a:lnTo>
                    <a:pt x="792" y="1204"/>
                  </a:lnTo>
                  <a:lnTo>
                    <a:pt x="791" y="1204"/>
                  </a:lnTo>
                  <a:lnTo>
                    <a:pt x="791" y="1205"/>
                  </a:lnTo>
                  <a:lnTo>
                    <a:pt x="789" y="1205"/>
                  </a:lnTo>
                  <a:lnTo>
                    <a:pt x="791" y="1204"/>
                  </a:lnTo>
                  <a:lnTo>
                    <a:pt x="789" y="1204"/>
                  </a:lnTo>
                  <a:lnTo>
                    <a:pt x="789" y="1205"/>
                  </a:lnTo>
                  <a:lnTo>
                    <a:pt x="788" y="1205"/>
                  </a:lnTo>
                  <a:lnTo>
                    <a:pt x="789" y="1205"/>
                  </a:lnTo>
                  <a:lnTo>
                    <a:pt x="789" y="1204"/>
                  </a:lnTo>
                  <a:lnTo>
                    <a:pt x="791" y="1204"/>
                  </a:lnTo>
                  <a:lnTo>
                    <a:pt x="791" y="1202"/>
                  </a:lnTo>
                  <a:lnTo>
                    <a:pt x="792" y="1202"/>
                  </a:lnTo>
                  <a:lnTo>
                    <a:pt x="792" y="1201"/>
                  </a:lnTo>
                  <a:lnTo>
                    <a:pt x="794" y="1201"/>
                  </a:lnTo>
                  <a:lnTo>
                    <a:pt x="794" y="1199"/>
                  </a:lnTo>
                  <a:lnTo>
                    <a:pt x="796" y="1199"/>
                  </a:lnTo>
                  <a:lnTo>
                    <a:pt x="796" y="1197"/>
                  </a:lnTo>
                  <a:lnTo>
                    <a:pt x="797" y="1197"/>
                  </a:lnTo>
                  <a:lnTo>
                    <a:pt x="797" y="1196"/>
                  </a:lnTo>
                  <a:lnTo>
                    <a:pt x="799" y="1196"/>
                  </a:lnTo>
                  <a:lnTo>
                    <a:pt x="801" y="1194"/>
                  </a:lnTo>
                  <a:lnTo>
                    <a:pt x="801" y="1196"/>
                  </a:lnTo>
                  <a:lnTo>
                    <a:pt x="801" y="1194"/>
                  </a:lnTo>
                  <a:lnTo>
                    <a:pt x="801" y="1196"/>
                  </a:lnTo>
                  <a:lnTo>
                    <a:pt x="801" y="1194"/>
                  </a:lnTo>
                  <a:lnTo>
                    <a:pt x="802" y="1194"/>
                  </a:lnTo>
                  <a:lnTo>
                    <a:pt x="801" y="1194"/>
                  </a:lnTo>
                  <a:lnTo>
                    <a:pt x="802" y="1194"/>
                  </a:lnTo>
                  <a:lnTo>
                    <a:pt x="804" y="1194"/>
                  </a:lnTo>
                  <a:lnTo>
                    <a:pt x="805" y="1194"/>
                  </a:lnTo>
                  <a:lnTo>
                    <a:pt x="805" y="1196"/>
                  </a:lnTo>
                  <a:lnTo>
                    <a:pt x="807" y="1194"/>
                  </a:lnTo>
                  <a:lnTo>
                    <a:pt x="807" y="1196"/>
                  </a:lnTo>
                  <a:lnTo>
                    <a:pt x="809" y="1194"/>
                  </a:lnTo>
                  <a:lnTo>
                    <a:pt x="810" y="1194"/>
                  </a:lnTo>
                  <a:lnTo>
                    <a:pt x="810" y="1192"/>
                  </a:lnTo>
                  <a:lnTo>
                    <a:pt x="812" y="1192"/>
                  </a:lnTo>
                  <a:lnTo>
                    <a:pt x="814" y="1192"/>
                  </a:lnTo>
                  <a:lnTo>
                    <a:pt x="815" y="1194"/>
                  </a:lnTo>
                  <a:lnTo>
                    <a:pt x="817" y="1194"/>
                  </a:lnTo>
                  <a:lnTo>
                    <a:pt x="819" y="1194"/>
                  </a:lnTo>
                  <a:lnTo>
                    <a:pt x="817" y="1194"/>
                  </a:lnTo>
                  <a:lnTo>
                    <a:pt x="817" y="1192"/>
                  </a:lnTo>
                  <a:lnTo>
                    <a:pt x="817" y="1194"/>
                  </a:lnTo>
                  <a:lnTo>
                    <a:pt x="815" y="1192"/>
                  </a:lnTo>
                  <a:lnTo>
                    <a:pt x="814" y="1192"/>
                  </a:lnTo>
                  <a:lnTo>
                    <a:pt x="812" y="1192"/>
                  </a:lnTo>
                  <a:lnTo>
                    <a:pt x="812" y="1191"/>
                  </a:lnTo>
                  <a:close/>
                  <a:moveTo>
                    <a:pt x="827" y="1179"/>
                  </a:moveTo>
                  <a:lnTo>
                    <a:pt x="828" y="1179"/>
                  </a:lnTo>
                  <a:lnTo>
                    <a:pt x="827" y="1179"/>
                  </a:lnTo>
                  <a:close/>
                  <a:moveTo>
                    <a:pt x="856" y="1179"/>
                  </a:moveTo>
                  <a:lnTo>
                    <a:pt x="858" y="1179"/>
                  </a:lnTo>
                  <a:lnTo>
                    <a:pt x="856" y="1179"/>
                  </a:lnTo>
                  <a:close/>
                  <a:moveTo>
                    <a:pt x="804" y="1179"/>
                  </a:moveTo>
                  <a:lnTo>
                    <a:pt x="805" y="1179"/>
                  </a:lnTo>
                  <a:lnTo>
                    <a:pt x="804" y="1179"/>
                  </a:lnTo>
                  <a:close/>
                  <a:moveTo>
                    <a:pt x="823" y="1179"/>
                  </a:moveTo>
                  <a:lnTo>
                    <a:pt x="825" y="1179"/>
                  </a:lnTo>
                  <a:lnTo>
                    <a:pt x="823" y="1179"/>
                  </a:lnTo>
                  <a:close/>
                  <a:moveTo>
                    <a:pt x="805" y="1179"/>
                  </a:moveTo>
                  <a:lnTo>
                    <a:pt x="807" y="1179"/>
                  </a:lnTo>
                  <a:lnTo>
                    <a:pt x="805" y="1179"/>
                  </a:lnTo>
                  <a:close/>
                  <a:moveTo>
                    <a:pt x="799" y="1179"/>
                  </a:moveTo>
                  <a:lnTo>
                    <a:pt x="801" y="1179"/>
                  </a:lnTo>
                  <a:lnTo>
                    <a:pt x="799" y="1179"/>
                  </a:lnTo>
                  <a:close/>
                  <a:moveTo>
                    <a:pt x="799" y="1179"/>
                  </a:moveTo>
                  <a:lnTo>
                    <a:pt x="797" y="1179"/>
                  </a:lnTo>
                  <a:lnTo>
                    <a:pt x="799" y="1179"/>
                  </a:lnTo>
                  <a:lnTo>
                    <a:pt x="797" y="1179"/>
                  </a:lnTo>
                  <a:lnTo>
                    <a:pt x="799" y="1179"/>
                  </a:lnTo>
                  <a:close/>
                  <a:moveTo>
                    <a:pt x="805" y="1179"/>
                  </a:moveTo>
                  <a:lnTo>
                    <a:pt x="807" y="1179"/>
                  </a:lnTo>
                  <a:lnTo>
                    <a:pt x="805" y="1179"/>
                  </a:lnTo>
                  <a:close/>
                  <a:moveTo>
                    <a:pt x="810" y="1179"/>
                  </a:moveTo>
                  <a:lnTo>
                    <a:pt x="810" y="1178"/>
                  </a:lnTo>
                  <a:lnTo>
                    <a:pt x="810" y="1179"/>
                  </a:lnTo>
                  <a:close/>
                  <a:moveTo>
                    <a:pt x="827" y="1179"/>
                  </a:moveTo>
                  <a:lnTo>
                    <a:pt x="827" y="1178"/>
                  </a:lnTo>
                  <a:lnTo>
                    <a:pt x="827" y="1179"/>
                  </a:lnTo>
                  <a:close/>
                  <a:moveTo>
                    <a:pt x="810" y="1178"/>
                  </a:moveTo>
                  <a:lnTo>
                    <a:pt x="810" y="1179"/>
                  </a:lnTo>
                  <a:lnTo>
                    <a:pt x="810" y="1178"/>
                  </a:lnTo>
                  <a:close/>
                  <a:moveTo>
                    <a:pt x="836" y="1179"/>
                  </a:moveTo>
                  <a:lnTo>
                    <a:pt x="838" y="1178"/>
                  </a:lnTo>
                  <a:lnTo>
                    <a:pt x="838" y="1179"/>
                  </a:lnTo>
                  <a:lnTo>
                    <a:pt x="836" y="1179"/>
                  </a:lnTo>
                  <a:close/>
                  <a:moveTo>
                    <a:pt x="789" y="1178"/>
                  </a:moveTo>
                  <a:lnTo>
                    <a:pt x="789" y="1179"/>
                  </a:lnTo>
                  <a:lnTo>
                    <a:pt x="789" y="1178"/>
                  </a:lnTo>
                  <a:close/>
                  <a:moveTo>
                    <a:pt x="799" y="1178"/>
                  </a:moveTo>
                  <a:lnTo>
                    <a:pt x="799" y="1179"/>
                  </a:lnTo>
                  <a:lnTo>
                    <a:pt x="799" y="1178"/>
                  </a:lnTo>
                  <a:close/>
                  <a:moveTo>
                    <a:pt x="845" y="1178"/>
                  </a:moveTo>
                  <a:lnTo>
                    <a:pt x="846" y="1178"/>
                  </a:lnTo>
                  <a:lnTo>
                    <a:pt x="846" y="1179"/>
                  </a:lnTo>
                  <a:lnTo>
                    <a:pt x="845" y="1179"/>
                  </a:lnTo>
                  <a:lnTo>
                    <a:pt x="845" y="1178"/>
                  </a:lnTo>
                  <a:close/>
                  <a:moveTo>
                    <a:pt x="788" y="1178"/>
                  </a:moveTo>
                  <a:lnTo>
                    <a:pt x="789" y="1178"/>
                  </a:lnTo>
                  <a:lnTo>
                    <a:pt x="788" y="1178"/>
                  </a:lnTo>
                  <a:close/>
                  <a:moveTo>
                    <a:pt x="789" y="1179"/>
                  </a:moveTo>
                  <a:lnTo>
                    <a:pt x="789" y="1178"/>
                  </a:lnTo>
                  <a:lnTo>
                    <a:pt x="789" y="1179"/>
                  </a:lnTo>
                  <a:close/>
                  <a:moveTo>
                    <a:pt x="797" y="1178"/>
                  </a:moveTo>
                  <a:lnTo>
                    <a:pt x="797" y="1179"/>
                  </a:lnTo>
                  <a:lnTo>
                    <a:pt x="797" y="1178"/>
                  </a:lnTo>
                  <a:close/>
                  <a:moveTo>
                    <a:pt x="812" y="1178"/>
                  </a:moveTo>
                  <a:lnTo>
                    <a:pt x="810" y="1178"/>
                  </a:lnTo>
                  <a:lnTo>
                    <a:pt x="812" y="1178"/>
                  </a:lnTo>
                  <a:close/>
                  <a:moveTo>
                    <a:pt x="836" y="1178"/>
                  </a:moveTo>
                  <a:lnTo>
                    <a:pt x="838" y="1178"/>
                  </a:lnTo>
                  <a:lnTo>
                    <a:pt x="836" y="1179"/>
                  </a:lnTo>
                  <a:lnTo>
                    <a:pt x="836" y="1178"/>
                  </a:lnTo>
                  <a:close/>
                  <a:moveTo>
                    <a:pt x="871" y="1178"/>
                  </a:moveTo>
                  <a:lnTo>
                    <a:pt x="872" y="1178"/>
                  </a:lnTo>
                  <a:lnTo>
                    <a:pt x="871" y="1178"/>
                  </a:lnTo>
                  <a:close/>
                  <a:moveTo>
                    <a:pt x="796" y="1178"/>
                  </a:moveTo>
                  <a:lnTo>
                    <a:pt x="796" y="1179"/>
                  </a:lnTo>
                  <a:lnTo>
                    <a:pt x="796" y="1178"/>
                  </a:lnTo>
                  <a:lnTo>
                    <a:pt x="797" y="1178"/>
                  </a:lnTo>
                  <a:lnTo>
                    <a:pt x="796" y="1178"/>
                  </a:lnTo>
                  <a:close/>
                  <a:moveTo>
                    <a:pt x="820" y="1178"/>
                  </a:moveTo>
                  <a:lnTo>
                    <a:pt x="819" y="1178"/>
                  </a:lnTo>
                  <a:lnTo>
                    <a:pt x="820" y="1178"/>
                  </a:lnTo>
                  <a:close/>
                  <a:moveTo>
                    <a:pt x="841" y="1178"/>
                  </a:moveTo>
                  <a:lnTo>
                    <a:pt x="843" y="1178"/>
                  </a:lnTo>
                  <a:lnTo>
                    <a:pt x="841" y="1178"/>
                  </a:lnTo>
                  <a:close/>
                  <a:moveTo>
                    <a:pt x="822" y="1178"/>
                  </a:moveTo>
                  <a:lnTo>
                    <a:pt x="823" y="1178"/>
                  </a:lnTo>
                  <a:lnTo>
                    <a:pt x="822" y="1178"/>
                  </a:lnTo>
                  <a:close/>
                  <a:moveTo>
                    <a:pt x="823" y="1176"/>
                  </a:moveTo>
                  <a:lnTo>
                    <a:pt x="823" y="1178"/>
                  </a:lnTo>
                  <a:lnTo>
                    <a:pt x="823" y="1176"/>
                  </a:lnTo>
                  <a:close/>
                  <a:moveTo>
                    <a:pt x="820" y="1178"/>
                  </a:moveTo>
                  <a:lnTo>
                    <a:pt x="820" y="1176"/>
                  </a:lnTo>
                  <a:lnTo>
                    <a:pt x="820" y="1178"/>
                  </a:lnTo>
                  <a:close/>
                  <a:moveTo>
                    <a:pt x="804" y="1178"/>
                  </a:moveTo>
                  <a:lnTo>
                    <a:pt x="805" y="1176"/>
                  </a:lnTo>
                  <a:lnTo>
                    <a:pt x="805" y="1178"/>
                  </a:lnTo>
                  <a:lnTo>
                    <a:pt x="804" y="1178"/>
                  </a:lnTo>
                  <a:close/>
                  <a:moveTo>
                    <a:pt x="843" y="1176"/>
                  </a:moveTo>
                  <a:lnTo>
                    <a:pt x="845" y="1176"/>
                  </a:lnTo>
                  <a:lnTo>
                    <a:pt x="843" y="1176"/>
                  </a:lnTo>
                  <a:close/>
                  <a:moveTo>
                    <a:pt x="841" y="1179"/>
                  </a:moveTo>
                  <a:lnTo>
                    <a:pt x="840" y="1179"/>
                  </a:lnTo>
                  <a:lnTo>
                    <a:pt x="838" y="1179"/>
                  </a:lnTo>
                  <a:lnTo>
                    <a:pt x="838" y="1178"/>
                  </a:lnTo>
                  <a:lnTo>
                    <a:pt x="838" y="1176"/>
                  </a:lnTo>
                  <a:lnTo>
                    <a:pt x="840" y="1176"/>
                  </a:lnTo>
                  <a:lnTo>
                    <a:pt x="840" y="1178"/>
                  </a:lnTo>
                  <a:lnTo>
                    <a:pt x="840" y="1176"/>
                  </a:lnTo>
                  <a:lnTo>
                    <a:pt x="841" y="1176"/>
                  </a:lnTo>
                  <a:lnTo>
                    <a:pt x="840" y="1176"/>
                  </a:lnTo>
                  <a:lnTo>
                    <a:pt x="841" y="1176"/>
                  </a:lnTo>
                  <a:lnTo>
                    <a:pt x="841" y="1178"/>
                  </a:lnTo>
                  <a:lnTo>
                    <a:pt x="843" y="1178"/>
                  </a:lnTo>
                  <a:lnTo>
                    <a:pt x="845" y="1178"/>
                  </a:lnTo>
                  <a:lnTo>
                    <a:pt x="843" y="1178"/>
                  </a:lnTo>
                  <a:lnTo>
                    <a:pt x="843" y="1179"/>
                  </a:lnTo>
                  <a:lnTo>
                    <a:pt x="841" y="1179"/>
                  </a:lnTo>
                  <a:close/>
                  <a:moveTo>
                    <a:pt x="820" y="1176"/>
                  </a:moveTo>
                  <a:lnTo>
                    <a:pt x="819" y="1176"/>
                  </a:lnTo>
                  <a:lnTo>
                    <a:pt x="819" y="1178"/>
                  </a:lnTo>
                  <a:lnTo>
                    <a:pt x="819" y="1176"/>
                  </a:lnTo>
                  <a:lnTo>
                    <a:pt x="820" y="1176"/>
                  </a:lnTo>
                  <a:close/>
                  <a:moveTo>
                    <a:pt x="817" y="1176"/>
                  </a:moveTo>
                  <a:lnTo>
                    <a:pt x="819" y="1176"/>
                  </a:lnTo>
                  <a:lnTo>
                    <a:pt x="817" y="1176"/>
                  </a:lnTo>
                  <a:close/>
                  <a:moveTo>
                    <a:pt x="862" y="1176"/>
                  </a:moveTo>
                  <a:lnTo>
                    <a:pt x="862" y="1178"/>
                  </a:lnTo>
                  <a:lnTo>
                    <a:pt x="864" y="1178"/>
                  </a:lnTo>
                  <a:lnTo>
                    <a:pt x="864" y="1179"/>
                  </a:lnTo>
                  <a:lnTo>
                    <a:pt x="862" y="1179"/>
                  </a:lnTo>
                  <a:lnTo>
                    <a:pt x="864" y="1179"/>
                  </a:lnTo>
                  <a:lnTo>
                    <a:pt x="864" y="1181"/>
                  </a:lnTo>
                  <a:lnTo>
                    <a:pt x="862" y="1181"/>
                  </a:lnTo>
                  <a:lnTo>
                    <a:pt x="864" y="1181"/>
                  </a:lnTo>
                  <a:lnTo>
                    <a:pt x="866" y="1183"/>
                  </a:lnTo>
                  <a:lnTo>
                    <a:pt x="864" y="1184"/>
                  </a:lnTo>
                  <a:lnTo>
                    <a:pt x="862" y="1183"/>
                  </a:lnTo>
                  <a:lnTo>
                    <a:pt x="862" y="1181"/>
                  </a:lnTo>
                  <a:lnTo>
                    <a:pt x="862" y="1179"/>
                  </a:lnTo>
                  <a:lnTo>
                    <a:pt x="861" y="1181"/>
                  </a:lnTo>
                  <a:lnTo>
                    <a:pt x="861" y="1179"/>
                  </a:lnTo>
                  <a:lnTo>
                    <a:pt x="861" y="1181"/>
                  </a:lnTo>
                  <a:lnTo>
                    <a:pt x="862" y="1183"/>
                  </a:lnTo>
                  <a:lnTo>
                    <a:pt x="861" y="1183"/>
                  </a:lnTo>
                  <a:lnTo>
                    <a:pt x="861" y="1181"/>
                  </a:lnTo>
                  <a:lnTo>
                    <a:pt x="861" y="1183"/>
                  </a:lnTo>
                  <a:lnTo>
                    <a:pt x="861" y="1181"/>
                  </a:lnTo>
                  <a:lnTo>
                    <a:pt x="859" y="1181"/>
                  </a:lnTo>
                  <a:lnTo>
                    <a:pt x="861" y="1181"/>
                  </a:lnTo>
                  <a:lnTo>
                    <a:pt x="859" y="1181"/>
                  </a:lnTo>
                  <a:lnTo>
                    <a:pt x="859" y="1179"/>
                  </a:lnTo>
                  <a:lnTo>
                    <a:pt x="859" y="1181"/>
                  </a:lnTo>
                  <a:lnTo>
                    <a:pt x="859" y="1179"/>
                  </a:lnTo>
                  <a:lnTo>
                    <a:pt x="859" y="1178"/>
                  </a:lnTo>
                  <a:lnTo>
                    <a:pt x="861" y="1178"/>
                  </a:lnTo>
                  <a:lnTo>
                    <a:pt x="861" y="1176"/>
                  </a:lnTo>
                  <a:lnTo>
                    <a:pt x="862" y="1176"/>
                  </a:lnTo>
                  <a:close/>
                  <a:moveTo>
                    <a:pt x="823" y="1176"/>
                  </a:moveTo>
                  <a:lnTo>
                    <a:pt x="825" y="1176"/>
                  </a:lnTo>
                  <a:lnTo>
                    <a:pt x="823" y="1176"/>
                  </a:lnTo>
                  <a:close/>
                  <a:moveTo>
                    <a:pt x="858" y="1175"/>
                  </a:moveTo>
                  <a:lnTo>
                    <a:pt x="858" y="1173"/>
                  </a:lnTo>
                  <a:lnTo>
                    <a:pt x="858" y="1175"/>
                  </a:lnTo>
                  <a:close/>
                  <a:moveTo>
                    <a:pt x="888" y="1171"/>
                  </a:moveTo>
                  <a:lnTo>
                    <a:pt x="890" y="1171"/>
                  </a:lnTo>
                  <a:lnTo>
                    <a:pt x="890" y="1173"/>
                  </a:lnTo>
                  <a:lnTo>
                    <a:pt x="888" y="1173"/>
                  </a:lnTo>
                  <a:lnTo>
                    <a:pt x="888" y="1171"/>
                  </a:lnTo>
                  <a:close/>
                  <a:moveTo>
                    <a:pt x="828" y="1173"/>
                  </a:moveTo>
                  <a:lnTo>
                    <a:pt x="828" y="1171"/>
                  </a:lnTo>
                  <a:lnTo>
                    <a:pt x="828" y="1173"/>
                  </a:lnTo>
                  <a:close/>
                  <a:moveTo>
                    <a:pt x="802" y="1173"/>
                  </a:moveTo>
                  <a:lnTo>
                    <a:pt x="802" y="1171"/>
                  </a:lnTo>
                  <a:lnTo>
                    <a:pt x="802" y="1173"/>
                  </a:lnTo>
                  <a:close/>
                  <a:moveTo>
                    <a:pt x="804" y="1171"/>
                  </a:moveTo>
                  <a:lnTo>
                    <a:pt x="804" y="1173"/>
                  </a:lnTo>
                  <a:lnTo>
                    <a:pt x="804" y="1171"/>
                  </a:lnTo>
                  <a:close/>
                  <a:moveTo>
                    <a:pt x="804" y="1171"/>
                  </a:moveTo>
                  <a:lnTo>
                    <a:pt x="804" y="1173"/>
                  </a:lnTo>
                  <a:lnTo>
                    <a:pt x="804" y="1171"/>
                  </a:lnTo>
                  <a:close/>
                  <a:moveTo>
                    <a:pt x="866" y="1171"/>
                  </a:moveTo>
                  <a:lnTo>
                    <a:pt x="867" y="1171"/>
                  </a:lnTo>
                  <a:lnTo>
                    <a:pt x="866" y="1173"/>
                  </a:lnTo>
                  <a:lnTo>
                    <a:pt x="866" y="1171"/>
                  </a:lnTo>
                  <a:close/>
                  <a:moveTo>
                    <a:pt x="867" y="1171"/>
                  </a:moveTo>
                  <a:lnTo>
                    <a:pt x="869" y="1171"/>
                  </a:lnTo>
                  <a:lnTo>
                    <a:pt x="867" y="1171"/>
                  </a:lnTo>
                  <a:close/>
                  <a:moveTo>
                    <a:pt x="898" y="1171"/>
                  </a:moveTo>
                  <a:lnTo>
                    <a:pt x="900" y="1171"/>
                  </a:lnTo>
                  <a:lnTo>
                    <a:pt x="898" y="1171"/>
                  </a:lnTo>
                  <a:close/>
                  <a:moveTo>
                    <a:pt x="901" y="1171"/>
                  </a:moveTo>
                  <a:lnTo>
                    <a:pt x="903" y="1171"/>
                  </a:lnTo>
                  <a:lnTo>
                    <a:pt x="901" y="1171"/>
                  </a:lnTo>
                  <a:close/>
                  <a:moveTo>
                    <a:pt x="866" y="1171"/>
                  </a:moveTo>
                  <a:lnTo>
                    <a:pt x="867" y="1171"/>
                  </a:lnTo>
                  <a:lnTo>
                    <a:pt x="866" y="1171"/>
                  </a:lnTo>
                  <a:close/>
                  <a:moveTo>
                    <a:pt x="867" y="1171"/>
                  </a:moveTo>
                  <a:lnTo>
                    <a:pt x="869" y="1171"/>
                  </a:lnTo>
                  <a:lnTo>
                    <a:pt x="867" y="1171"/>
                  </a:lnTo>
                  <a:close/>
                  <a:moveTo>
                    <a:pt x="903" y="1171"/>
                  </a:moveTo>
                  <a:lnTo>
                    <a:pt x="901" y="1171"/>
                  </a:lnTo>
                  <a:lnTo>
                    <a:pt x="903" y="1171"/>
                  </a:lnTo>
                  <a:close/>
                  <a:moveTo>
                    <a:pt x="872" y="1171"/>
                  </a:moveTo>
                  <a:lnTo>
                    <a:pt x="874" y="1171"/>
                  </a:lnTo>
                  <a:lnTo>
                    <a:pt x="872" y="1171"/>
                  </a:lnTo>
                  <a:close/>
                  <a:moveTo>
                    <a:pt x="809" y="1170"/>
                  </a:moveTo>
                  <a:lnTo>
                    <a:pt x="809" y="1171"/>
                  </a:lnTo>
                  <a:lnTo>
                    <a:pt x="809" y="1170"/>
                  </a:lnTo>
                  <a:close/>
                  <a:moveTo>
                    <a:pt x="900" y="1171"/>
                  </a:moveTo>
                  <a:lnTo>
                    <a:pt x="898" y="1171"/>
                  </a:lnTo>
                  <a:lnTo>
                    <a:pt x="898" y="1170"/>
                  </a:lnTo>
                  <a:lnTo>
                    <a:pt x="900" y="1170"/>
                  </a:lnTo>
                  <a:lnTo>
                    <a:pt x="900" y="1171"/>
                  </a:lnTo>
                  <a:close/>
                  <a:moveTo>
                    <a:pt x="810" y="1170"/>
                  </a:moveTo>
                  <a:lnTo>
                    <a:pt x="809" y="1170"/>
                  </a:lnTo>
                  <a:lnTo>
                    <a:pt x="810" y="1170"/>
                  </a:lnTo>
                  <a:close/>
                  <a:moveTo>
                    <a:pt x="809" y="1171"/>
                  </a:moveTo>
                  <a:lnTo>
                    <a:pt x="807" y="1171"/>
                  </a:lnTo>
                  <a:lnTo>
                    <a:pt x="809" y="1170"/>
                  </a:lnTo>
                  <a:lnTo>
                    <a:pt x="809" y="1171"/>
                  </a:lnTo>
                  <a:close/>
                  <a:moveTo>
                    <a:pt x="869" y="1170"/>
                  </a:moveTo>
                  <a:lnTo>
                    <a:pt x="867" y="1170"/>
                  </a:lnTo>
                  <a:lnTo>
                    <a:pt x="869" y="1170"/>
                  </a:lnTo>
                  <a:close/>
                  <a:moveTo>
                    <a:pt x="810" y="1170"/>
                  </a:moveTo>
                  <a:lnTo>
                    <a:pt x="809" y="1170"/>
                  </a:lnTo>
                  <a:lnTo>
                    <a:pt x="810" y="1170"/>
                  </a:lnTo>
                  <a:close/>
                  <a:moveTo>
                    <a:pt x="901" y="1170"/>
                  </a:moveTo>
                  <a:lnTo>
                    <a:pt x="900" y="1170"/>
                  </a:lnTo>
                  <a:lnTo>
                    <a:pt x="901" y="1170"/>
                  </a:lnTo>
                  <a:close/>
                  <a:moveTo>
                    <a:pt x="971" y="1170"/>
                  </a:moveTo>
                  <a:lnTo>
                    <a:pt x="973" y="1168"/>
                  </a:lnTo>
                  <a:lnTo>
                    <a:pt x="973" y="1170"/>
                  </a:lnTo>
                  <a:lnTo>
                    <a:pt x="971" y="1170"/>
                  </a:lnTo>
                  <a:close/>
                  <a:moveTo>
                    <a:pt x="828" y="1168"/>
                  </a:moveTo>
                  <a:lnTo>
                    <a:pt x="830" y="1168"/>
                  </a:lnTo>
                  <a:lnTo>
                    <a:pt x="830" y="1170"/>
                  </a:lnTo>
                  <a:lnTo>
                    <a:pt x="832" y="1168"/>
                  </a:lnTo>
                  <a:lnTo>
                    <a:pt x="832" y="1170"/>
                  </a:lnTo>
                  <a:lnTo>
                    <a:pt x="830" y="1170"/>
                  </a:lnTo>
                  <a:lnTo>
                    <a:pt x="830" y="1171"/>
                  </a:lnTo>
                  <a:lnTo>
                    <a:pt x="828" y="1171"/>
                  </a:lnTo>
                  <a:lnTo>
                    <a:pt x="828" y="1170"/>
                  </a:lnTo>
                  <a:lnTo>
                    <a:pt x="827" y="1170"/>
                  </a:lnTo>
                  <a:lnTo>
                    <a:pt x="828" y="1170"/>
                  </a:lnTo>
                  <a:lnTo>
                    <a:pt x="828" y="1168"/>
                  </a:lnTo>
                  <a:close/>
                  <a:moveTo>
                    <a:pt x="828" y="1168"/>
                  </a:moveTo>
                  <a:lnTo>
                    <a:pt x="830" y="1168"/>
                  </a:lnTo>
                  <a:lnTo>
                    <a:pt x="828" y="1168"/>
                  </a:lnTo>
                  <a:close/>
                  <a:moveTo>
                    <a:pt x="830" y="1168"/>
                  </a:moveTo>
                  <a:lnTo>
                    <a:pt x="828" y="1168"/>
                  </a:lnTo>
                  <a:lnTo>
                    <a:pt x="830" y="1168"/>
                  </a:lnTo>
                  <a:close/>
                  <a:moveTo>
                    <a:pt x="807" y="1168"/>
                  </a:moveTo>
                  <a:lnTo>
                    <a:pt x="809" y="1168"/>
                  </a:lnTo>
                  <a:lnTo>
                    <a:pt x="807" y="1168"/>
                  </a:lnTo>
                  <a:close/>
                  <a:moveTo>
                    <a:pt x="807" y="1168"/>
                  </a:moveTo>
                  <a:lnTo>
                    <a:pt x="807" y="1166"/>
                  </a:lnTo>
                  <a:lnTo>
                    <a:pt x="807" y="1168"/>
                  </a:lnTo>
                  <a:close/>
                  <a:moveTo>
                    <a:pt x="807" y="1168"/>
                  </a:moveTo>
                  <a:lnTo>
                    <a:pt x="807" y="1166"/>
                  </a:lnTo>
                  <a:lnTo>
                    <a:pt x="807" y="1168"/>
                  </a:lnTo>
                  <a:close/>
                  <a:moveTo>
                    <a:pt x="810" y="1168"/>
                  </a:moveTo>
                  <a:lnTo>
                    <a:pt x="810" y="1166"/>
                  </a:lnTo>
                  <a:lnTo>
                    <a:pt x="810" y="1168"/>
                  </a:lnTo>
                  <a:close/>
                  <a:moveTo>
                    <a:pt x="809" y="1166"/>
                  </a:moveTo>
                  <a:lnTo>
                    <a:pt x="810" y="1166"/>
                  </a:lnTo>
                  <a:lnTo>
                    <a:pt x="810" y="1168"/>
                  </a:lnTo>
                  <a:lnTo>
                    <a:pt x="809" y="1168"/>
                  </a:lnTo>
                  <a:lnTo>
                    <a:pt x="810" y="1166"/>
                  </a:lnTo>
                  <a:lnTo>
                    <a:pt x="809" y="1166"/>
                  </a:lnTo>
                  <a:close/>
                  <a:moveTo>
                    <a:pt x="879" y="1166"/>
                  </a:moveTo>
                  <a:lnTo>
                    <a:pt x="879" y="1168"/>
                  </a:lnTo>
                  <a:lnTo>
                    <a:pt x="879" y="1166"/>
                  </a:lnTo>
                  <a:lnTo>
                    <a:pt x="877" y="1168"/>
                  </a:lnTo>
                  <a:lnTo>
                    <a:pt x="877" y="1166"/>
                  </a:lnTo>
                  <a:lnTo>
                    <a:pt x="879" y="1166"/>
                  </a:lnTo>
                  <a:close/>
                  <a:moveTo>
                    <a:pt x="797" y="1166"/>
                  </a:moveTo>
                  <a:lnTo>
                    <a:pt x="796" y="1166"/>
                  </a:lnTo>
                  <a:lnTo>
                    <a:pt x="797" y="1166"/>
                  </a:lnTo>
                  <a:close/>
                  <a:moveTo>
                    <a:pt x="809" y="1166"/>
                  </a:moveTo>
                  <a:lnTo>
                    <a:pt x="807" y="1166"/>
                  </a:lnTo>
                  <a:lnTo>
                    <a:pt x="809" y="1166"/>
                  </a:lnTo>
                  <a:close/>
                  <a:moveTo>
                    <a:pt x="812" y="1166"/>
                  </a:moveTo>
                  <a:lnTo>
                    <a:pt x="812" y="1168"/>
                  </a:lnTo>
                  <a:lnTo>
                    <a:pt x="812" y="1166"/>
                  </a:lnTo>
                  <a:close/>
                  <a:moveTo>
                    <a:pt x="805" y="1166"/>
                  </a:moveTo>
                  <a:lnTo>
                    <a:pt x="807" y="1166"/>
                  </a:lnTo>
                  <a:lnTo>
                    <a:pt x="805" y="1166"/>
                  </a:lnTo>
                  <a:close/>
                  <a:moveTo>
                    <a:pt x="804" y="1166"/>
                  </a:moveTo>
                  <a:lnTo>
                    <a:pt x="805" y="1166"/>
                  </a:lnTo>
                  <a:lnTo>
                    <a:pt x="804" y="1166"/>
                  </a:lnTo>
                  <a:close/>
                  <a:moveTo>
                    <a:pt x="799" y="1166"/>
                  </a:moveTo>
                  <a:lnTo>
                    <a:pt x="801" y="1166"/>
                  </a:lnTo>
                  <a:lnTo>
                    <a:pt x="799" y="1166"/>
                  </a:lnTo>
                  <a:close/>
                  <a:moveTo>
                    <a:pt x="812" y="1166"/>
                  </a:moveTo>
                  <a:lnTo>
                    <a:pt x="810" y="1166"/>
                  </a:lnTo>
                  <a:lnTo>
                    <a:pt x="812" y="1166"/>
                  </a:lnTo>
                  <a:close/>
                  <a:moveTo>
                    <a:pt x="814" y="1166"/>
                  </a:moveTo>
                  <a:lnTo>
                    <a:pt x="815" y="1165"/>
                  </a:lnTo>
                  <a:lnTo>
                    <a:pt x="815" y="1166"/>
                  </a:lnTo>
                  <a:lnTo>
                    <a:pt x="814" y="1166"/>
                  </a:lnTo>
                  <a:close/>
                  <a:moveTo>
                    <a:pt x="828" y="1166"/>
                  </a:moveTo>
                  <a:lnTo>
                    <a:pt x="828" y="1165"/>
                  </a:lnTo>
                  <a:lnTo>
                    <a:pt x="828" y="1166"/>
                  </a:lnTo>
                  <a:close/>
                  <a:moveTo>
                    <a:pt x="796" y="1166"/>
                  </a:moveTo>
                  <a:lnTo>
                    <a:pt x="796" y="1165"/>
                  </a:lnTo>
                  <a:lnTo>
                    <a:pt x="796" y="1166"/>
                  </a:lnTo>
                  <a:close/>
                  <a:moveTo>
                    <a:pt x="814" y="1165"/>
                  </a:moveTo>
                  <a:lnTo>
                    <a:pt x="814" y="1166"/>
                  </a:lnTo>
                  <a:lnTo>
                    <a:pt x="814" y="1165"/>
                  </a:lnTo>
                  <a:close/>
                  <a:moveTo>
                    <a:pt x="810" y="1166"/>
                  </a:moveTo>
                  <a:lnTo>
                    <a:pt x="810" y="1165"/>
                  </a:lnTo>
                  <a:lnTo>
                    <a:pt x="810" y="1166"/>
                  </a:lnTo>
                  <a:close/>
                  <a:moveTo>
                    <a:pt x="809" y="1166"/>
                  </a:moveTo>
                  <a:lnTo>
                    <a:pt x="809" y="1165"/>
                  </a:lnTo>
                  <a:lnTo>
                    <a:pt x="810" y="1165"/>
                  </a:lnTo>
                  <a:lnTo>
                    <a:pt x="810" y="1166"/>
                  </a:lnTo>
                  <a:lnTo>
                    <a:pt x="809" y="1166"/>
                  </a:lnTo>
                  <a:lnTo>
                    <a:pt x="809" y="1168"/>
                  </a:lnTo>
                  <a:lnTo>
                    <a:pt x="809" y="1166"/>
                  </a:lnTo>
                  <a:close/>
                  <a:moveTo>
                    <a:pt x="812" y="1166"/>
                  </a:moveTo>
                  <a:lnTo>
                    <a:pt x="812" y="1165"/>
                  </a:lnTo>
                  <a:lnTo>
                    <a:pt x="812" y="1166"/>
                  </a:lnTo>
                  <a:close/>
                  <a:moveTo>
                    <a:pt x="827" y="1166"/>
                  </a:moveTo>
                  <a:lnTo>
                    <a:pt x="827" y="1165"/>
                  </a:lnTo>
                  <a:lnTo>
                    <a:pt x="827" y="1166"/>
                  </a:lnTo>
                  <a:close/>
                  <a:moveTo>
                    <a:pt x="797" y="1166"/>
                  </a:moveTo>
                  <a:lnTo>
                    <a:pt x="799" y="1165"/>
                  </a:lnTo>
                  <a:lnTo>
                    <a:pt x="799" y="1166"/>
                  </a:lnTo>
                  <a:lnTo>
                    <a:pt x="799" y="1165"/>
                  </a:lnTo>
                  <a:lnTo>
                    <a:pt x="799" y="1166"/>
                  </a:lnTo>
                  <a:lnTo>
                    <a:pt x="797" y="1166"/>
                  </a:lnTo>
                  <a:close/>
                  <a:moveTo>
                    <a:pt x="797" y="1166"/>
                  </a:moveTo>
                  <a:lnTo>
                    <a:pt x="797" y="1165"/>
                  </a:lnTo>
                  <a:lnTo>
                    <a:pt x="797" y="1166"/>
                  </a:lnTo>
                  <a:close/>
                  <a:moveTo>
                    <a:pt x="809" y="1166"/>
                  </a:moveTo>
                  <a:lnTo>
                    <a:pt x="809" y="1165"/>
                  </a:lnTo>
                  <a:lnTo>
                    <a:pt x="809" y="1166"/>
                  </a:lnTo>
                  <a:close/>
                  <a:moveTo>
                    <a:pt x="810" y="1165"/>
                  </a:moveTo>
                  <a:lnTo>
                    <a:pt x="810" y="1166"/>
                  </a:lnTo>
                  <a:lnTo>
                    <a:pt x="810" y="1165"/>
                  </a:lnTo>
                  <a:close/>
                  <a:moveTo>
                    <a:pt x="814" y="1165"/>
                  </a:moveTo>
                  <a:lnTo>
                    <a:pt x="815" y="1165"/>
                  </a:lnTo>
                  <a:lnTo>
                    <a:pt x="814" y="1165"/>
                  </a:lnTo>
                  <a:close/>
                  <a:moveTo>
                    <a:pt x="814" y="1166"/>
                  </a:moveTo>
                  <a:lnTo>
                    <a:pt x="812" y="1166"/>
                  </a:lnTo>
                  <a:lnTo>
                    <a:pt x="814" y="1165"/>
                  </a:lnTo>
                  <a:lnTo>
                    <a:pt x="814" y="1166"/>
                  </a:lnTo>
                  <a:close/>
                  <a:moveTo>
                    <a:pt x="801" y="1166"/>
                  </a:moveTo>
                  <a:lnTo>
                    <a:pt x="801" y="1165"/>
                  </a:lnTo>
                  <a:lnTo>
                    <a:pt x="801" y="1166"/>
                  </a:lnTo>
                  <a:close/>
                  <a:moveTo>
                    <a:pt x="799" y="1165"/>
                  </a:moveTo>
                  <a:lnTo>
                    <a:pt x="799" y="1166"/>
                  </a:lnTo>
                  <a:lnTo>
                    <a:pt x="799" y="1165"/>
                  </a:lnTo>
                  <a:lnTo>
                    <a:pt x="801" y="1165"/>
                  </a:lnTo>
                  <a:lnTo>
                    <a:pt x="799" y="1165"/>
                  </a:lnTo>
                  <a:close/>
                  <a:moveTo>
                    <a:pt x="812" y="1165"/>
                  </a:moveTo>
                  <a:lnTo>
                    <a:pt x="814" y="1165"/>
                  </a:lnTo>
                  <a:lnTo>
                    <a:pt x="812" y="1165"/>
                  </a:lnTo>
                  <a:close/>
                  <a:moveTo>
                    <a:pt x="810" y="1165"/>
                  </a:moveTo>
                  <a:lnTo>
                    <a:pt x="812" y="1165"/>
                  </a:lnTo>
                  <a:lnTo>
                    <a:pt x="810" y="1165"/>
                  </a:lnTo>
                  <a:close/>
                  <a:moveTo>
                    <a:pt x="859" y="1163"/>
                  </a:moveTo>
                  <a:lnTo>
                    <a:pt x="859" y="1165"/>
                  </a:lnTo>
                  <a:lnTo>
                    <a:pt x="859" y="1163"/>
                  </a:lnTo>
                  <a:close/>
                  <a:moveTo>
                    <a:pt x="859" y="1165"/>
                  </a:moveTo>
                  <a:lnTo>
                    <a:pt x="859" y="1163"/>
                  </a:lnTo>
                  <a:lnTo>
                    <a:pt x="859" y="1165"/>
                  </a:lnTo>
                  <a:close/>
                  <a:moveTo>
                    <a:pt x="810" y="1165"/>
                  </a:moveTo>
                  <a:lnTo>
                    <a:pt x="809" y="1165"/>
                  </a:lnTo>
                  <a:lnTo>
                    <a:pt x="809" y="1163"/>
                  </a:lnTo>
                  <a:lnTo>
                    <a:pt x="810" y="1163"/>
                  </a:lnTo>
                  <a:lnTo>
                    <a:pt x="810" y="1165"/>
                  </a:lnTo>
                  <a:close/>
                  <a:moveTo>
                    <a:pt x="814" y="1163"/>
                  </a:moveTo>
                  <a:lnTo>
                    <a:pt x="814" y="1165"/>
                  </a:lnTo>
                  <a:lnTo>
                    <a:pt x="814" y="1163"/>
                  </a:lnTo>
                  <a:close/>
                  <a:moveTo>
                    <a:pt x="825" y="1163"/>
                  </a:moveTo>
                  <a:lnTo>
                    <a:pt x="825" y="1165"/>
                  </a:lnTo>
                  <a:lnTo>
                    <a:pt x="825" y="1163"/>
                  </a:lnTo>
                  <a:close/>
                  <a:moveTo>
                    <a:pt x="809" y="1165"/>
                  </a:moveTo>
                  <a:lnTo>
                    <a:pt x="809" y="1163"/>
                  </a:lnTo>
                  <a:lnTo>
                    <a:pt x="809" y="1165"/>
                  </a:lnTo>
                  <a:close/>
                  <a:moveTo>
                    <a:pt x="810" y="1165"/>
                  </a:moveTo>
                  <a:lnTo>
                    <a:pt x="810" y="1163"/>
                  </a:lnTo>
                  <a:lnTo>
                    <a:pt x="810" y="1165"/>
                  </a:lnTo>
                  <a:close/>
                  <a:moveTo>
                    <a:pt x="812" y="1165"/>
                  </a:moveTo>
                  <a:lnTo>
                    <a:pt x="812" y="1163"/>
                  </a:lnTo>
                  <a:lnTo>
                    <a:pt x="814" y="1163"/>
                  </a:lnTo>
                  <a:lnTo>
                    <a:pt x="812" y="1165"/>
                  </a:lnTo>
                  <a:close/>
                  <a:moveTo>
                    <a:pt x="825" y="1163"/>
                  </a:moveTo>
                  <a:lnTo>
                    <a:pt x="825" y="1165"/>
                  </a:lnTo>
                  <a:lnTo>
                    <a:pt x="825" y="1163"/>
                  </a:lnTo>
                  <a:close/>
                  <a:moveTo>
                    <a:pt x="804" y="1163"/>
                  </a:moveTo>
                  <a:lnTo>
                    <a:pt x="804" y="1165"/>
                  </a:lnTo>
                  <a:lnTo>
                    <a:pt x="804" y="1163"/>
                  </a:lnTo>
                  <a:close/>
                  <a:moveTo>
                    <a:pt x="830" y="1163"/>
                  </a:moveTo>
                  <a:lnTo>
                    <a:pt x="832" y="1163"/>
                  </a:lnTo>
                  <a:lnTo>
                    <a:pt x="830" y="1163"/>
                  </a:lnTo>
                  <a:close/>
                  <a:moveTo>
                    <a:pt x="859" y="1163"/>
                  </a:moveTo>
                  <a:lnTo>
                    <a:pt x="859" y="1165"/>
                  </a:lnTo>
                  <a:lnTo>
                    <a:pt x="859" y="1163"/>
                  </a:lnTo>
                  <a:close/>
                  <a:moveTo>
                    <a:pt x="810" y="1163"/>
                  </a:moveTo>
                  <a:lnTo>
                    <a:pt x="812" y="1163"/>
                  </a:lnTo>
                  <a:lnTo>
                    <a:pt x="810" y="1163"/>
                  </a:lnTo>
                  <a:close/>
                  <a:moveTo>
                    <a:pt x="792" y="1163"/>
                  </a:moveTo>
                  <a:lnTo>
                    <a:pt x="791" y="1163"/>
                  </a:lnTo>
                  <a:lnTo>
                    <a:pt x="792" y="1163"/>
                  </a:lnTo>
                  <a:close/>
                  <a:moveTo>
                    <a:pt x="794" y="1163"/>
                  </a:moveTo>
                  <a:lnTo>
                    <a:pt x="796" y="1163"/>
                  </a:lnTo>
                  <a:lnTo>
                    <a:pt x="794" y="1163"/>
                  </a:lnTo>
                  <a:close/>
                  <a:moveTo>
                    <a:pt x="861" y="1163"/>
                  </a:moveTo>
                  <a:lnTo>
                    <a:pt x="861" y="1162"/>
                  </a:lnTo>
                  <a:lnTo>
                    <a:pt x="861" y="1163"/>
                  </a:lnTo>
                  <a:close/>
                  <a:moveTo>
                    <a:pt x="827" y="1162"/>
                  </a:moveTo>
                  <a:lnTo>
                    <a:pt x="828" y="1163"/>
                  </a:lnTo>
                  <a:lnTo>
                    <a:pt x="827" y="1163"/>
                  </a:lnTo>
                  <a:lnTo>
                    <a:pt x="827" y="1162"/>
                  </a:lnTo>
                  <a:close/>
                  <a:moveTo>
                    <a:pt x="810" y="1163"/>
                  </a:moveTo>
                  <a:lnTo>
                    <a:pt x="810" y="1162"/>
                  </a:lnTo>
                  <a:lnTo>
                    <a:pt x="810" y="1163"/>
                  </a:lnTo>
                  <a:close/>
                  <a:moveTo>
                    <a:pt x="809" y="1163"/>
                  </a:moveTo>
                  <a:lnTo>
                    <a:pt x="809" y="1162"/>
                  </a:lnTo>
                  <a:lnTo>
                    <a:pt x="810" y="1163"/>
                  </a:lnTo>
                  <a:lnTo>
                    <a:pt x="809" y="1163"/>
                  </a:lnTo>
                  <a:close/>
                  <a:moveTo>
                    <a:pt x="862" y="1163"/>
                  </a:moveTo>
                  <a:lnTo>
                    <a:pt x="862" y="1162"/>
                  </a:lnTo>
                  <a:lnTo>
                    <a:pt x="862" y="1163"/>
                  </a:lnTo>
                  <a:close/>
                  <a:moveTo>
                    <a:pt x="825" y="1162"/>
                  </a:moveTo>
                  <a:lnTo>
                    <a:pt x="827" y="1162"/>
                  </a:lnTo>
                  <a:lnTo>
                    <a:pt x="825" y="1162"/>
                  </a:lnTo>
                  <a:close/>
                  <a:moveTo>
                    <a:pt x="807" y="1163"/>
                  </a:moveTo>
                  <a:lnTo>
                    <a:pt x="807" y="1162"/>
                  </a:lnTo>
                  <a:lnTo>
                    <a:pt x="807" y="1163"/>
                  </a:lnTo>
                  <a:close/>
                  <a:moveTo>
                    <a:pt x="828" y="1162"/>
                  </a:moveTo>
                  <a:lnTo>
                    <a:pt x="827" y="1162"/>
                  </a:lnTo>
                  <a:lnTo>
                    <a:pt x="828" y="1162"/>
                  </a:lnTo>
                  <a:close/>
                  <a:moveTo>
                    <a:pt x="815" y="1162"/>
                  </a:moveTo>
                  <a:lnTo>
                    <a:pt x="817" y="1162"/>
                  </a:lnTo>
                  <a:lnTo>
                    <a:pt x="815" y="1162"/>
                  </a:lnTo>
                  <a:close/>
                  <a:moveTo>
                    <a:pt x="830" y="1162"/>
                  </a:moveTo>
                  <a:lnTo>
                    <a:pt x="830" y="1163"/>
                  </a:lnTo>
                  <a:lnTo>
                    <a:pt x="830" y="1162"/>
                  </a:lnTo>
                  <a:close/>
                  <a:moveTo>
                    <a:pt x="794" y="1163"/>
                  </a:moveTo>
                  <a:lnTo>
                    <a:pt x="794" y="1162"/>
                  </a:lnTo>
                  <a:lnTo>
                    <a:pt x="794" y="1163"/>
                  </a:lnTo>
                  <a:close/>
                  <a:moveTo>
                    <a:pt x="828" y="1162"/>
                  </a:moveTo>
                  <a:lnTo>
                    <a:pt x="828" y="1163"/>
                  </a:lnTo>
                  <a:lnTo>
                    <a:pt x="830" y="1163"/>
                  </a:lnTo>
                  <a:lnTo>
                    <a:pt x="830" y="1165"/>
                  </a:lnTo>
                  <a:lnTo>
                    <a:pt x="828" y="1163"/>
                  </a:lnTo>
                  <a:lnTo>
                    <a:pt x="828" y="1165"/>
                  </a:lnTo>
                  <a:lnTo>
                    <a:pt x="828" y="1166"/>
                  </a:lnTo>
                  <a:lnTo>
                    <a:pt x="827" y="1165"/>
                  </a:lnTo>
                  <a:lnTo>
                    <a:pt x="827" y="1163"/>
                  </a:lnTo>
                  <a:lnTo>
                    <a:pt x="827" y="1165"/>
                  </a:lnTo>
                  <a:lnTo>
                    <a:pt x="825" y="1165"/>
                  </a:lnTo>
                  <a:lnTo>
                    <a:pt x="825" y="1163"/>
                  </a:lnTo>
                  <a:lnTo>
                    <a:pt x="827" y="1163"/>
                  </a:lnTo>
                  <a:lnTo>
                    <a:pt x="828" y="1163"/>
                  </a:lnTo>
                  <a:lnTo>
                    <a:pt x="828" y="1162"/>
                  </a:lnTo>
                  <a:close/>
                  <a:moveTo>
                    <a:pt x="799" y="1162"/>
                  </a:moveTo>
                  <a:lnTo>
                    <a:pt x="801" y="1162"/>
                  </a:lnTo>
                  <a:lnTo>
                    <a:pt x="799" y="1162"/>
                  </a:lnTo>
                  <a:close/>
                  <a:moveTo>
                    <a:pt x="825" y="1162"/>
                  </a:moveTo>
                  <a:lnTo>
                    <a:pt x="827" y="1162"/>
                  </a:lnTo>
                  <a:lnTo>
                    <a:pt x="825" y="1162"/>
                  </a:lnTo>
                  <a:lnTo>
                    <a:pt x="825" y="1163"/>
                  </a:lnTo>
                  <a:lnTo>
                    <a:pt x="825" y="1162"/>
                  </a:lnTo>
                  <a:close/>
                  <a:moveTo>
                    <a:pt x="827" y="1162"/>
                  </a:moveTo>
                  <a:lnTo>
                    <a:pt x="828" y="1162"/>
                  </a:lnTo>
                  <a:lnTo>
                    <a:pt x="827" y="1162"/>
                  </a:lnTo>
                  <a:close/>
                  <a:moveTo>
                    <a:pt x="812" y="1162"/>
                  </a:moveTo>
                  <a:lnTo>
                    <a:pt x="810" y="1162"/>
                  </a:lnTo>
                  <a:lnTo>
                    <a:pt x="812" y="1162"/>
                  </a:lnTo>
                  <a:lnTo>
                    <a:pt x="810" y="1162"/>
                  </a:lnTo>
                  <a:lnTo>
                    <a:pt x="810" y="1163"/>
                  </a:lnTo>
                  <a:lnTo>
                    <a:pt x="810" y="1162"/>
                  </a:lnTo>
                  <a:lnTo>
                    <a:pt x="812" y="1162"/>
                  </a:lnTo>
                  <a:close/>
                  <a:moveTo>
                    <a:pt x="832" y="1162"/>
                  </a:moveTo>
                  <a:lnTo>
                    <a:pt x="833" y="1162"/>
                  </a:lnTo>
                  <a:lnTo>
                    <a:pt x="832" y="1162"/>
                  </a:lnTo>
                  <a:close/>
                  <a:moveTo>
                    <a:pt x="801" y="1162"/>
                  </a:moveTo>
                  <a:lnTo>
                    <a:pt x="802" y="1162"/>
                  </a:lnTo>
                  <a:lnTo>
                    <a:pt x="801" y="1162"/>
                  </a:lnTo>
                  <a:close/>
                  <a:moveTo>
                    <a:pt x="801" y="1160"/>
                  </a:moveTo>
                  <a:lnTo>
                    <a:pt x="801" y="1162"/>
                  </a:lnTo>
                  <a:lnTo>
                    <a:pt x="801" y="1160"/>
                  </a:lnTo>
                  <a:close/>
                  <a:moveTo>
                    <a:pt x="830" y="1162"/>
                  </a:moveTo>
                  <a:lnTo>
                    <a:pt x="830" y="1160"/>
                  </a:lnTo>
                  <a:lnTo>
                    <a:pt x="830" y="1162"/>
                  </a:lnTo>
                  <a:close/>
                  <a:moveTo>
                    <a:pt x="828" y="1162"/>
                  </a:moveTo>
                  <a:lnTo>
                    <a:pt x="828" y="1160"/>
                  </a:lnTo>
                  <a:lnTo>
                    <a:pt x="830" y="1162"/>
                  </a:lnTo>
                  <a:lnTo>
                    <a:pt x="828" y="1162"/>
                  </a:lnTo>
                  <a:lnTo>
                    <a:pt x="830" y="1162"/>
                  </a:lnTo>
                  <a:lnTo>
                    <a:pt x="828" y="1162"/>
                  </a:lnTo>
                  <a:close/>
                  <a:moveTo>
                    <a:pt x="832" y="1160"/>
                  </a:moveTo>
                  <a:lnTo>
                    <a:pt x="832" y="1162"/>
                  </a:lnTo>
                  <a:lnTo>
                    <a:pt x="832" y="1160"/>
                  </a:lnTo>
                  <a:close/>
                  <a:moveTo>
                    <a:pt x="802" y="1160"/>
                  </a:moveTo>
                  <a:lnTo>
                    <a:pt x="802" y="1162"/>
                  </a:lnTo>
                  <a:lnTo>
                    <a:pt x="802" y="1160"/>
                  </a:lnTo>
                  <a:close/>
                  <a:moveTo>
                    <a:pt x="830" y="1160"/>
                  </a:moveTo>
                  <a:lnTo>
                    <a:pt x="830" y="1162"/>
                  </a:lnTo>
                  <a:lnTo>
                    <a:pt x="830" y="1160"/>
                  </a:lnTo>
                  <a:close/>
                  <a:moveTo>
                    <a:pt x="866" y="1162"/>
                  </a:moveTo>
                  <a:lnTo>
                    <a:pt x="864" y="1162"/>
                  </a:lnTo>
                  <a:lnTo>
                    <a:pt x="864" y="1160"/>
                  </a:lnTo>
                  <a:lnTo>
                    <a:pt x="866" y="1160"/>
                  </a:lnTo>
                  <a:lnTo>
                    <a:pt x="866" y="1162"/>
                  </a:lnTo>
                  <a:close/>
                  <a:moveTo>
                    <a:pt x="799" y="1160"/>
                  </a:moveTo>
                  <a:lnTo>
                    <a:pt x="797" y="1160"/>
                  </a:lnTo>
                  <a:lnTo>
                    <a:pt x="799" y="1160"/>
                  </a:lnTo>
                  <a:close/>
                  <a:moveTo>
                    <a:pt x="812" y="1160"/>
                  </a:moveTo>
                  <a:lnTo>
                    <a:pt x="814" y="1160"/>
                  </a:lnTo>
                  <a:lnTo>
                    <a:pt x="812" y="1162"/>
                  </a:lnTo>
                  <a:lnTo>
                    <a:pt x="812" y="1160"/>
                  </a:lnTo>
                  <a:lnTo>
                    <a:pt x="812" y="1162"/>
                  </a:lnTo>
                  <a:lnTo>
                    <a:pt x="812" y="1160"/>
                  </a:lnTo>
                  <a:lnTo>
                    <a:pt x="812" y="1162"/>
                  </a:lnTo>
                  <a:lnTo>
                    <a:pt x="812" y="1160"/>
                  </a:lnTo>
                  <a:close/>
                  <a:moveTo>
                    <a:pt x="830" y="1160"/>
                  </a:moveTo>
                  <a:lnTo>
                    <a:pt x="832" y="1160"/>
                  </a:lnTo>
                  <a:lnTo>
                    <a:pt x="830" y="1160"/>
                  </a:lnTo>
                  <a:close/>
                  <a:moveTo>
                    <a:pt x="817" y="1160"/>
                  </a:moveTo>
                  <a:lnTo>
                    <a:pt x="819" y="1160"/>
                  </a:lnTo>
                  <a:lnTo>
                    <a:pt x="817" y="1160"/>
                  </a:lnTo>
                  <a:close/>
                  <a:moveTo>
                    <a:pt x="867" y="1160"/>
                  </a:moveTo>
                  <a:lnTo>
                    <a:pt x="866" y="1160"/>
                  </a:lnTo>
                  <a:lnTo>
                    <a:pt x="867" y="1160"/>
                  </a:lnTo>
                  <a:close/>
                  <a:moveTo>
                    <a:pt x="866" y="1160"/>
                  </a:moveTo>
                  <a:lnTo>
                    <a:pt x="864" y="1160"/>
                  </a:lnTo>
                  <a:lnTo>
                    <a:pt x="866" y="1160"/>
                  </a:lnTo>
                  <a:close/>
                  <a:moveTo>
                    <a:pt x="859" y="1160"/>
                  </a:moveTo>
                  <a:lnTo>
                    <a:pt x="861" y="1160"/>
                  </a:lnTo>
                  <a:lnTo>
                    <a:pt x="859" y="1160"/>
                  </a:lnTo>
                  <a:close/>
                  <a:moveTo>
                    <a:pt x="797" y="1160"/>
                  </a:moveTo>
                  <a:lnTo>
                    <a:pt x="799" y="1160"/>
                  </a:lnTo>
                  <a:lnTo>
                    <a:pt x="797" y="1160"/>
                  </a:lnTo>
                  <a:close/>
                  <a:moveTo>
                    <a:pt x="867" y="1160"/>
                  </a:moveTo>
                  <a:lnTo>
                    <a:pt x="866" y="1160"/>
                  </a:lnTo>
                  <a:lnTo>
                    <a:pt x="867" y="1160"/>
                  </a:lnTo>
                  <a:close/>
                  <a:moveTo>
                    <a:pt x="991" y="1160"/>
                  </a:moveTo>
                  <a:lnTo>
                    <a:pt x="991" y="1158"/>
                  </a:lnTo>
                  <a:lnTo>
                    <a:pt x="991" y="1160"/>
                  </a:lnTo>
                  <a:close/>
                  <a:moveTo>
                    <a:pt x="801" y="1160"/>
                  </a:moveTo>
                  <a:lnTo>
                    <a:pt x="801" y="1158"/>
                  </a:lnTo>
                  <a:lnTo>
                    <a:pt x="801" y="1160"/>
                  </a:lnTo>
                  <a:close/>
                  <a:moveTo>
                    <a:pt x="809" y="1160"/>
                  </a:moveTo>
                  <a:lnTo>
                    <a:pt x="809" y="1158"/>
                  </a:lnTo>
                  <a:lnTo>
                    <a:pt x="809" y="1160"/>
                  </a:lnTo>
                  <a:close/>
                  <a:moveTo>
                    <a:pt x="874" y="1160"/>
                  </a:moveTo>
                  <a:lnTo>
                    <a:pt x="874" y="1158"/>
                  </a:lnTo>
                  <a:lnTo>
                    <a:pt x="874" y="1160"/>
                  </a:lnTo>
                  <a:close/>
                  <a:moveTo>
                    <a:pt x="817" y="1158"/>
                  </a:moveTo>
                  <a:lnTo>
                    <a:pt x="817" y="1160"/>
                  </a:lnTo>
                  <a:lnTo>
                    <a:pt x="817" y="1158"/>
                  </a:lnTo>
                  <a:close/>
                  <a:moveTo>
                    <a:pt x="799" y="1158"/>
                  </a:moveTo>
                  <a:lnTo>
                    <a:pt x="799" y="1160"/>
                  </a:lnTo>
                  <a:lnTo>
                    <a:pt x="799" y="1158"/>
                  </a:lnTo>
                  <a:lnTo>
                    <a:pt x="799" y="1160"/>
                  </a:lnTo>
                  <a:lnTo>
                    <a:pt x="799" y="1158"/>
                  </a:lnTo>
                  <a:close/>
                  <a:moveTo>
                    <a:pt x="814" y="1158"/>
                  </a:moveTo>
                  <a:lnTo>
                    <a:pt x="814" y="1160"/>
                  </a:lnTo>
                  <a:lnTo>
                    <a:pt x="814" y="1158"/>
                  </a:lnTo>
                  <a:close/>
                  <a:moveTo>
                    <a:pt x="864" y="1160"/>
                  </a:moveTo>
                  <a:lnTo>
                    <a:pt x="866" y="1160"/>
                  </a:lnTo>
                  <a:lnTo>
                    <a:pt x="866" y="1158"/>
                  </a:lnTo>
                  <a:lnTo>
                    <a:pt x="866" y="1160"/>
                  </a:lnTo>
                  <a:lnTo>
                    <a:pt x="864" y="1160"/>
                  </a:lnTo>
                  <a:lnTo>
                    <a:pt x="864" y="1158"/>
                  </a:lnTo>
                  <a:lnTo>
                    <a:pt x="866" y="1158"/>
                  </a:lnTo>
                  <a:lnTo>
                    <a:pt x="864" y="1160"/>
                  </a:lnTo>
                  <a:close/>
                  <a:moveTo>
                    <a:pt x="874" y="1160"/>
                  </a:moveTo>
                  <a:lnTo>
                    <a:pt x="874" y="1158"/>
                  </a:lnTo>
                  <a:lnTo>
                    <a:pt x="874" y="1160"/>
                  </a:lnTo>
                  <a:close/>
                  <a:moveTo>
                    <a:pt x="814" y="1158"/>
                  </a:moveTo>
                  <a:lnTo>
                    <a:pt x="815" y="1158"/>
                  </a:lnTo>
                  <a:lnTo>
                    <a:pt x="815" y="1160"/>
                  </a:lnTo>
                  <a:lnTo>
                    <a:pt x="814" y="1158"/>
                  </a:lnTo>
                  <a:close/>
                  <a:moveTo>
                    <a:pt x="825" y="1160"/>
                  </a:moveTo>
                  <a:lnTo>
                    <a:pt x="823" y="1160"/>
                  </a:lnTo>
                  <a:lnTo>
                    <a:pt x="825" y="1158"/>
                  </a:lnTo>
                  <a:lnTo>
                    <a:pt x="825" y="1160"/>
                  </a:lnTo>
                  <a:close/>
                  <a:moveTo>
                    <a:pt x="866" y="1158"/>
                  </a:moveTo>
                  <a:lnTo>
                    <a:pt x="866" y="1160"/>
                  </a:lnTo>
                  <a:lnTo>
                    <a:pt x="866" y="1158"/>
                  </a:lnTo>
                  <a:close/>
                  <a:moveTo>
                    <a:pt x="817" y="1158"/>
                  </a:moveTo>
                  <a:lnTo>
                    <a:pt x="817" y="1160"/>
                  </a:lnTo>
                  <a:lnTo>
                    <a:pt x="817" y="1158"/>
                  </a:lnTo>
                  <a:close/>
                  <a:moveTo>
                    <a:pt x="807" y="1158"/>
                  </a:moveTo>
                  <a:lnTo>
                    <a:pt x="807" y="1160"/>
                  </a:lnTo>
                  <a:lnTo>
                    <a:pt x="807" y="1158"/>
                  </a:lnTo>
                  <a:close/>
                  <a:moveTo>
                    <a:pt x="807" y="1158"/>
                  </a:moveTo>
                  <a:lnTo>
                    <a:pt x="809" y="1158"/>
                  </a:lnTo>
                  <a:lnTo>
                    <a:pt x="807" y="1160"/>
                  </a:lnTo>
                  <a:lnTo>
                    <a:pt x="809" y="1160"/>
                  </a:lnTo>
                  <a:lnTo>
                    <a:pt x="807" y="1160"/>
                  </a:lnTo>
                  <a:lnTo>
                    <a:pt x="805" y="1160"/>
                  </a:lnTo>
                  <a:lnTo>
                    <a:pt x="807" y="1160"/>
                  </a:lnTo>
                  <a:lnTo>
                    <a:pt x="807" y="1158"/>
                  </a:lnTo>
                  <a:close/>
                  <a:moveTo>
                    <a:pt x="796" y="1158"/>
                  </a:moveTo>
                  <a:lnTo>
                    <a:pt x="797" y="1158"/>
                  </a:lnTo>
                  <a:lnTo>
                    <a:pt x="796" y="1158"/>
                  </a:lnTo>
                  <a:close/>
                  <a:moveTo>
                    <a:pt x="817" y="1158"/>
                  </a:moveTo>
                  <a:lnTo>
                    <a:pt x="817" y="1160"/>
                  </a:lnTo>
                  <a:lnTo>
                    <a:pt x="817" y="1158"/>
                  </a:lnTo>
                  <a:close/>
                  <a:moveTo>
                    <a:pt x="819" y="1158"/>
                  </a:moveTo>
                  <a:lnTo>
                    <a:pt x="817" y="1158"/>
                  </a:lnTo>
                  <a:lnTo>
                    <a:pt x="819" y="1158"/>
                  </a:lnTo>
                  <a:close/>
                  <a:moveTo>
                    <a:pt x="814" y="1158"/>
                  </a:moveTo>
                  <a:lnTo>
                    <a:pt x="815" y="1158"/>
                  </a:lnTo>
                  <a:lnTo>
                    <a:pt x="814" y="1158"/>
                  </a:lnTo>
                  <a:close/>
                  <a:moveTo>
                    <a:pt x="801" y="1158"/>
                  </a:moveTo>
                  <a:lnTo>
                    <a:pt x="802" y="1158"/>
                  </a:lnTo>
                  <a:lnTo>
                    <a:pt x="801" y="1158"/>
                  </a:lnTo>
                  <a:close/>
                  <a:moveTo>
                    <a:pt x="879" y="1158"/>
                  </a:moveTo>
                  <a:lnTo>
                    <a:pt x="877" y="1158"/>
                  </a:lnTo>
                  <a:lnTo>
                    <a:pt x="879" y="1158"/>
                  </a:lnTo>
                  <a:close/>
                  <a:moveTo>
                    <a:pt x="810" y="1158"/>
                  </a:moveTo>
                  <a:lnTo>
                    <a:pt x="812" y="1158"/>
                  </a:lnTo>
                  <a:lnTo>
                    <a:pt x="810" y="1158"/>
                  </a:lnTo>
                  <a:close/>
                  <a:moveTo>
                    <a:pt x="817" y="1158"/>
                  </a:moveTo>
                  <a:lnTo>
                    <a:pt x="817" y="1157"/>
                  </a:lnTo>
                  <a:lnTo>
                    <a:pt x="819" y="1157"/>
                  </a:lnTo>
                  <a:lnTo>
                    <a:pt x="819" y="1158"/>
                  </a:lnTo>
                  <a:lnTo>
                    <a:pt x="817" y="1158"/>
                  </a:lnTo>
                  <a:close/>
                  <a:moveTo>
                    <a:pt x="823" y="1158"/>
                  </a:moveTo>
                  <a:lnTo>
                    <a:pt x="823" y="1157"/>
                  </a:lnTo>
                  <a:lnTo>
                    <a:pt x="823" y="1158"/>
                  </a:lnTo>
                  <a:lnTo>
                    <a:pt x="823" y="1157"/>
                  </a:lnTo>
                  <a:lnTo>
                    <a:pt x="823" y="1158"/>
                  </a:lnTo>
                  <a:lnTo>
                    <a:pt x="823" y="1160"/>
                  </a:lnTo>
                  <a:lnTo>
                    <a:pt x="823" y="1158"/>
                  </a:lnTo>
                  <a:lnTo>
                    <a:pt x="823" y="1160"/>
                  </a:lnTo>
                  <a:lnTo>
                    <a:pt x="822" y="1160"/>
                  </a:lnTo>
                  <a:lnTo>
                    <a:pt x="823" y="1160"/>
                  </a:lnTo>
                  <a:lnTo>
                    <a:pt x="822" y="1160"/>
                  </a:lnTo>
                  <a:lnTo>
                    <a:pt x="822" y="1162"/>
                  </a:lnTo>
                  <a:lnTo>
                    <a:pt x="822" y="1160"/>
                  </a:lnTo>
                  <a:lnTo>
                    <a:pt x="823" y="1160"/>
                  </a:lnTo>
                  <a:lnTo>
                    <a:pt x="825" y="1160"/>
                  </a:lnTo>
                  <a:lnTo>
                    <a:pt x="825" y="1162"/>
                  </a:lnTo>
                  <a:lnTo>
                    <a:pt x="823" y="1162"/>
                  </a:lnTo>
                  <a:lnTo>
                    <a:pt x="823" y="1163"/>
                  </a:lnTo>
                  <a:lnTo>
                    <a:pt x="825" y="1163"/>
                  </a:lnTo>
                  <a:lnTo>
                    <a:pt x="825" y="1165"/>
                  </a:lnTo>
                  <a:lnTo>
                    <a:pt x="825" y="1166"/>
                  </a:lnTo>
                  <a:lnTo>
                    <a:pt x="825" y="1168"/>
                  </a:lnTo>
                  <a:lnTo>
                    <a:pt x="825" y="1170"/>
                  </a:lnTo>
                  <a:lnTo>
                    <a:pt x="825" y="1171"/>
                  </a:lnTo>
                  <a:lnTo>
                    <a:pt x="825" y="1173"/>
                  </a:lnTo>
                  <a:lnTo>
                    <a:pt x="825" y="1175"/>
                  </a:lnTo>
                  <a:lnTo>
                    <a:pt x="823" y="1175"/>
                  </a:lnTo>
                  <a:lnTo>
                    <a:pt x="825" y="1175"/>
                  </a:lnTo>
                  <a:lnTo>
                    <a:pt x="823" y="1175"/>
                  </a:lnTo>
                  <a:lnTo>
                    <a:pt x="823" y="1176"/>
                  </a:lnTo>
                  <a:lnTo>
                    <a:pt x="822" y="1176"/>
                  </a:lnTo>
                  <a:lnTo>
                    <a:pt x="820" y="1176"/>
                  </a:lnTo>
                  <a:lnTo>
                    <a:pt x="819" y="1176"/>
                  </a:lnTo>
                  <a:lnTo>
                    <a:pt x="817" y="1176"/>
                  </a:lnTo>
                  <a:lnTo>
                    <a:pt x="815" y="1176"/>
                  </a:lnTo>
                  <a:lnTo>
                    <a:pt x="814" y="1178"/>
                  </a:lnTo>
                  <a:lnTo>
                    <a:pt x="812" y="1178"/>
                  </a:lnTo>
                  <a:lnTo>
                    <a:pt x="810" y="1178"/>
                  </a:lnTo>
                  <a:lnTo>
                    <a:pt x="809" y="1178"/>
                  </a:lnTo>
                  <a:lnTo>
                    <a:pt x="809" y="1179"/>
                  </a:lnTo>
                  <a:lnTo>
                    <a:pt x="807" y="1179"/>
                  </a:lnTo>
                  <a:lnTo>
                    <a:pt x="807" y="1178"/>
                  </a:lnTo>
                  <a:lnTo>
                    <a:pt x="807" y="1179"/>
                  </a:lnTo>
                  <a:lnTo>
                    <a:pt x="809" y="1178"/>
                  </a:lnTo>
                  <a:lnTo>
                    <a:pt x="807" y="1179"/>
                  </a:lnTo>
                  <a:lnTo>
                    <a:pt x="809" y="1179"/>
                  </a:lnTo>
                  <a:lnTo>
                    <a:pt x="809" y="1178"/>
                  </a:lnTo>
                  <a:lnTo>
                    <a:pt x="809" y="1179"/>
                  </a:lnTo>
                  <a:lnTo>
                    <a:pt x="809" y="1178"/>
                  </a:lnTo>
                  <a:lnTo>
                    <a:pt x="807" y="1178"/>
                  </a:lnTo>
                  <a:lnTo>
                    <a:pt x="805" y="1179"/>
                  </a:lnTo>
                  <a:lnTo>
                    <a:pt x="804" y="1179"/>
                  </a:lnTo>
                  <a:lnTo>
                    <a:pt x="802" y="1179"/>
                  </a:lnTo>
                  <a:lnTo>
                    <a:pt x="801" y="1179"/>
                  </a:lnTo>
                  <a:lnTo>
                    <a:pt x="801" y="1178"/>
                  </a:lnTo>
                  <a:lnTo>
                    <a:pt x="802" y="1178"/>
                  </a:lnTo>
                  <a:lnTo>
                    <a:pt x="805" y="1178"/>
                  </a:lnTo>
                  <a:lnTo>
                    <a:pt x="805" y="1176"/>
                  </a:lnTo>
                  <a:lnTo>
                    <a:pt x="807" y="1176"/>
                  </a:lnTo>
                  <a:lnTo>
                    <a:pt x="809" y="1176"/>
                  </a:lnTo>
                  <a:lnTo>
                    <a:pt x="807" y="1176"/>
                  </a:lnTo>
                  <a:lnTo>
                    <a:pt x="804" y="1176"/>
                  </a:lnTo>
                  <a:lnTo>
                    <a:pt x="804" y="1178"/>
                  </a:lnTo>
                  <a:lnTo>
                    <a:pt x="802" y="1178"/>
                  </a:lnTo>
                  <a:lnTo>
                    <a:pt x="801" y="1178"/>
                  </a:lnTo>
                  <a:lnTo>
                    <a:pt x="799" y="1178"/>
                  </a:lnTo>
                  <a:lnTo>
                    <a:pt x="801" y="1178"/>
                  </a:lnTo>
                  <a:lnTo>
                    <a:pt x="801" y="1176"/>
                  </a:lnTo>
                  <a:lnTo>
                    <a:pt x="802" y="1176"/>
                  </a:lnTo>
                  <a:lnTo>
                    <a:pt x="801" y="1176"/>
                  </a:lnTo>
                  <a:lnTo>
                    <a:pt x="801" y="1178"/>
                  </a:lnTo>
                  <a:lnTo>
                    <a:pt x="799" y="1178"/>
                  </a:lnTo>
                  <a:lnTo>
                    <a:pt x="799" y="1176"/>
                  </a:lnTo>
                  <a:lnTo>
                    <a:pt x="797" y="1176"/>
                  </a:lnTo>
                  <a:lnTo>
                    <a:pt x="799" y="1178"/>
                  </a:lnTo>
                  <a:lnTo>
                    <a:pt x="797" y="1178"/>
                  </a:lnTo>
                  <a:lnTo>
                    <a:pt x="796" y="1178"/>
                  </a:lnTo>
                  <a:lnTo>
                    <a:pt x="797" y="1178"/>
                  </a:lnTo>
                  <a:lnTo>
                    <a:pt x="797" y="1176"/>
                  </a:lnTo>
                  <a:lnTo>
                    <a:pt x="797" y="1178"/>
                  </a:lnTo>
                  <a:lnTo>
                    <a:pt x="796" y="1176"/>
                  </a:lnTo>
                  <a:lnTo>
                    <a:pt x="796" y="1178"/>
                  </a:lnTo>
                  <a:lnTo>
                    <a:pt x="794" y="1178"/>
                  </a:lnTo>
                  <a:lnTo>
                    <a:pt x="794" y="1179"/>
                  </a:lnTo>
                  <a:lnTo>
                    <a:pt x="792" y="1179"/>
                  </a:lnTo>
                  <a:lnTo>
                    <a:pt x="791" y="1179"/>
                  </a:lnTo>
                  <a:lnTo>
                    <a:pt x="791" y="1178"/>
                  </a:lnTo>
                  <a:lnTo>
                    <a:pt x="791" y="1179"/>
                  </a:lnTo>
                  <a:lnTo>
                    <a:pt x="791" y="1178"/>
                  </a:lnTo>
                  <a:lnTo>
                    <a:pt x="791" y="1179"/>
                  </a:lnTo>
                  <a:lnTo>
                    <a:pt x="791" y="1178"/>
                  </a:lnTo>
                  <a:lnTo>
                    <a:pt x="789" y="1178"/>
                  </a:lnTo>
                  <a:lnTo>
                    <a:pt x="789" y="1176"/>
                  </a:lnTo>
                  <a:lnTo>
                    <a:pt x="789" y="1178"/>
                  </a:lnTo>
                  <a:lnTo>
                    <a:pt x="789" y="1176"/>
                  </a:lnTo>
                  <a:lnTo>
                    <a:pt x="791" y="1176"/>
                  </a:lnTo>
                  <a:lnTo>
                    <a:pt x="792" y="1175"/>
                  </a:lnTo>
                  <a:lnTo>
                    <a:pt x="794" y="1175"/>
                  </a:lnTo>
                  <a:lnTo>
                    <a:pt x="796" y="1175"/>
                  </a:lnTo>
                  <a:lnTo>
                    <a:pt x="797" y="1175"/>
                  </a:lnTo>
                  <a:lnTo>
                    <a:pt x="799" y="1175"/>
                  </a:lnTo>
                  <a:lnTo>
                    <a:pt x="799" y="1173"/>
                  </a:lnTo>
                  <a:lnTo>
                    <a:pt x="799" y="1175"/>
                  </a:lnTo>
                  <a:lnTo>
                    <a:pt x="801" y="1175"/>
                  </a:lnTo>
                  <a:lnTo>
                    <a:pt x="801" y="1173"/>
                  </a:lnTo>
                  <a:lnTo>
                    <a:pt x="801" y="1175"/>
                  </a:lnTo>
                  <a:lnTo>
                    <a:pt x="799" y="1173"/>
                  </a:lnTo>
                  <a:lnTo>
                    <a:pt x="801" y="1173"/>
                  </a:lnTo>
                  <a:lnTo>
                    <a:pt x="802" y="1173"/>
                  </a:lnTo>
                  <a:lnTo>
                    <a:pt x="801" y="1173"/>
                  </a:lnTo>
                  <a:lnTo>
                    <a:pt x="802" y="1173"/>
                  </a:lnTo>
                  <a:lnTo>
                    <a:pt x="804" y="1173"/>
                  </a:lnTo>
                  <a:lnTo>
                    <a:pt x="805" y="1171"/>
                  </a:lnTo>
                  <a:lnTo>
                    <a:pt x="805" y="1173"/>
                  </a:lnTo>
                  <a:lnTo>
                    <a:pt x="805" y="1171"/>
                  </a:lnTo>
                  <a:lnTo>
                    <a:pt x="807" y="1171"/>
                  </a:lnTo>
                  <a:lnTo>
                    <a:pt x="805" y="1173"/>
                  </a:lnTo>
                  <a:lnTo>
                    <a:pt x="807" y="1173"/>
                  </a:lnTo>
                  <a:lnTo>
                    <a:pt x="809" y="1173"/>
                  </a:lnTo>
                  <a:lnTo>
                    <a:pt x="809" y="1171"/>
                  </a:lnTo>
                  <a:lnTo>
                    <a:pt x="810" y="1171"/>
                  </a:lnTo>
                  <a:lnTo>
                    <a:pt x="809" y="1171"/>
                  </a:lnTo>
                  <a:lnTo>
                    <a:pt x="807" y="1171"/>
                  </a:lnTo>
                  <a:lnTo>
                    <a:pt x="809" y="1171"/>
                  </a:lnTo>
                  <a:lnTo>
                    <a:pt x="810" y="1171"/>
                  </a:lnTo>
                  <a:lnTo>
                    <a:pt x="810" y="1170"/>
                  </a:lnTo>
                  <a:lnTo>
                    <a:pt x="812" y="1170"/>
                  </a:lnTo>
                  <a:lnTo>
                    <a:pt x="812" y="1168"/>
                  </a:lnTo>
                  <a:lnTo>
                    <a:pt x="814" y="1168"/>
                  </a:lnTo>
                  <a:lnTo>
                    <a:pt x="812" y="1170"/>
                  </a:lnTo>
                  <a:lnTo>
                    <a:pt x="812" y="1168"/>
                  </a:lnTo>
                  <a:lnTo>
                    <a:pt x="814" y="1166"/>
                  </a:lnTo>
                  <a:lnTo>
                    <a:pt x="815" y="1166"/>
                  </a:lnTo>
                  <a:lnTo>
                    <a:pt x="817" y="1165"/>
                  </a:lnTo>
                  <a:lnTo>
                    <a:pt x="819" y="1165"/>
                  </a:lnTo>
                  <a:lnTo>
                    <a:pt x="820" y="1165"/>
                  </a:lnTo>
                  <a:lnTo>
                    <a:pt x="822" y="1163"/>
                  </a:lnTo>
                  <a:lnTo>
                    <a:pt x="820" y="1163"/>
                  </a:lnTo>
                  <a:lnTo>
                    <a:pt x="819" y="1165"/>
                  </a:lnTo>
                  <a:lnTo>
                    <a:pt x="817" y="1165"/>
                  </a:lnTo>
                  <a:lnTo>
                    <a:pt x="819" y="1163"/>
                  </a:lnTo>
                  <a:lnTo>
                    <a:pt x="817" y="1163"/>
                  </a:lnTo>
                  <a:lnTo>
                    <a:pt x="817" y="1165"/>
                  </a:lnTo>
                  <a:lnTo>
                    <a:pt x="817" y="1163"/>
                  </a:lnTo>
                  <a:lnTo>
                    <a:pt x="817" y="1165"/>
                  </a:lnTo>
                  <a:lnTo>
                    <a:pt x="815" y="1165"/>
                  </a:lnTo>
                  <a:lnTo>
                    <a:pt x="814" y="1165"/>
                  </a:lnTo>
                  <a:lnTo>
                    <a:pt x="815" y="1163"/>
                  </a:lnTo>
                  <a:lnTo>
                    <a:pt x="814" y="1163"/>
                  </a:lnTo>
                  <a:lnTo>
                    <a:pt x="815" y="1163"/>
                  </a:lnTo>
                  <a:lnTo>
                    <a:pt x="815" y="1162"/>
                  </a:lnTo>
                  <a:lnTo>
                    <a:pt x="814" y="1163"/>
                  </a:lnTo>
                  <a:lnTo>
                    <a:pt x="814" y="1162"/>
                  </a:lnTo>
                  <a:lnTo>
                    <a:pt x="815" y="1162"/>
                  </a:lnTo>
                  <a:lnTo>
                    <a:pt x="814" y="1162"/>
                  </a:lnTo>
                  <a:lnTo>
                    <a:pt x="814" y="1163"/>
                  </a:lnTo>
                  <a:lnTo>
                    <a:pt x="814" y="1162"/>
                  </a:lnTo>
                  <a:lnTo>
                    <a:pt x="814" y="1163"/>
                  </a:lnTo>
                  <a:lnTo>
                    <a:pt x="812" y="1163"/>
                  </a:lnTo>
                  <a:lnTo>
                    <a:pt x="812" y="1162"/>
                  </a:lnTo>
                  <a:lnTo>
                    <a:pt x="812" y="1163"/>
                  </a:lnTo>
                  <a:lnTo>
                    <a:pt x="812" y="1162"/>
                  </a:lnTo>
                  <a:lnTo>
                    <a:pt x="814" y="1162"/>
                  </a:lnTo>
                  <a:lnTo>
                    <a:pt x="815" y="1160"/>
                  </a:lnTo>
                  <a:lnTo>
                    <a:pt x="814" y="1160"/>
                  </a:lnTo>
                  <a:lnTo>
                    <a:pt x="815" y="1160"/>
                  </a:lnTo>
                  <a:lnTo>
                    <a:pt x="814" y="1160"/>
                  </a:lnTo>
                  <a:lnTo>
                    <a:pt x="815" y="1160"/>
                  </a:lnTo>
                  <a:lnTo>
                    <a:pt x="817" y="1160"/>
                  </a:lnTo>
                  <a:lnTo>
                    <a:pt x="819" y="1160"/>
                  </a:lnTo>
                  <a:lnTo>
                    <a:pt x="817" y="1160"/>
                  </a:lnTo>
                  <a:lnTo>
                    <a:pt x="817" y="1162"/>
                  </a:lnTo>
                  <a:lnTo>
                    <a:pt x="815" y="1162"/>
                  </a:lnTo>
                  <a:lnTo>
                    <a:pt x="815" y="1163"/>
                  </a:lnTo>
                  <a:lnTo>
                    <a:pt x="817" y="1162"/>
                  </a:lnTo>
                  <a:lnTo>
                    <a:pt x="819" y="1160"/>
                  </a:lnTo>
                  <a:lnTo>
                    <a:pt x="820" y="1160"/>
                  </a:lnTo>
                  <a:lnTo>
                    <a:pt x="820" y="1158"/>
                  </a:lnTo>
                  <a:lnTo>
                    <a:pt x="820" y="1160"/>
                  </a:lnTo>
                  <a:lnTo>
                    <a:pt x="820" y="1162"/>
                  </a:lnTo>
                  <a:lnTo>
                    <a:pt x="820" y="1160"/>
                  </a:lnTo>
                  <a:lnTo>
                    <a:pt x="820" y="1162"/>
                  </a:lnTo>
                  <a:lnTo>
                    <a:pt x="822" y="1162"/>
                  </a:lnTo>
                  <a:lnTo>
                    <a:pt x="820" y="1162"/>
                  </a:lnTo>
                  <a:lnTo>
                    <a:pt x="820" y="1163"/>
                  </a:lnTo>
                  <a:lnTo>
                    <a:pt x="822" y="1162"/>
                  </a:lnTo>
                  <a:lnTo>
                    <a:pt x="820" y="1162"/>
                  </a:lnTo>
                  <a:lnTo>
                    <a:pt x="822" y="1160"/>
                  </a:lnTo>
                  <a:lnTo>
                    <a:pt x="822" y="1158"/>
                  </a:lnTo>
                  <a:lnTo>
                    <a:pt x="823" y="1158"/>
                  </a:lnTo>
                  <a:close/>
                  <a:moveTo>
                    <a:pt x="819" y="1158"/>
                  </a:moveTo>
                  <a:lnTo>
                    <a:pt x="819" y="1157"/>
                  </a:lnTo>
                  <a:lnTo>
                    <a:pt x="819" y="1158"/>
                  </a:lnTo>
                  <a:close/>
                  <a:moveTo>
                    <a:pt x="976" y="1158"/>
                  </a:moveTo>
                  <a:lnTo>
                    <a:pt x="978" y="1157"/>
                  </a:lnTo>
                  <a:lnTo>
                    <a:pt x="978" y="1158"/>
                  </a:lnTo>
                  <a:lnTo>
                    <a:pt x="978" y="1160"/>
                  </a:lnTo>
                  <a:lnTo>
                    <a:pt x="976" y="1162"/>
                  </a:lnTo>
                  <a:lnTo>
                    <a:pt x="975" y="1160"/>
                  </a:lnTo>
                  <a:lnTo>
                    <a:pt x="973" y="1160"/>
                  </a:lnTo>
                  <a:lnTo>
                    <a:pt x="973" y="1162"/>
                  </a:lnTo>
                  <a:lnTo>
                    <a:pt x="971" y="1163"/>
                  </a:lnTo>
                  <a:lnTo>
                    <a:pt x="970" y="1163"/>
                  </a:lnTo>
                  <a:lnTo>
                    <a:pt x="970" y="1165"/>
                  </a:lnTo>
                  <a:lnTo>
                    <a:pt x="968" y="1165"/>
                  </a:lnTo>
                  <a:lnTo>
                    <a:pt x="968" y="1166"/>
                  </a:lnTo>
                  <a:lnTo>
                    <a:pt x="967" y="1166"/>
                  </a:lnTo>
                  <a:lnTo>
                    <a:pt x="967" y="1168"/>
                  </a:lnTo>
                  <a:lnTo>
                    <a:pt x="965" y="1168"/>
                  </a:lnTo>
                  <a:lnTo>
                    <a:pt x="963" y="1168"/>
                  </a:lnTo>
                  <a:lnTo>
                    <a:pt x="963" y="1166"/>
                  </a:lnTo>
                  <a:lnTo>
                    <a:pt x="965" y="1165"/>
                  </a:lnTo>
                  <a:lnTo>
                    <a:pt x="967" y="1163"/>
                  </a:lnTo>
                  <a:lnTo>
                    <a:pt x="967" y="1162"/>
                  </a:lnTo>
                  <a:lnTo>
                    <a:pt x="967" y="1160"/>
                  </a:lnTo>
                  <a:lnTo>
                    <a:pt x="968" y="1160"/>
                  </a:lnTo>
                  <a:lnTo>
                    <a:pt x="968" y="1162"/>
                  </a:lnTo>
                  <a:lnTo>
                    <a:pt x="970" y="1160"/>
                  </a:lnTo>
                  <a:lnTo>
                    <a:pt x="971" y="1160"/>
                  </a:lnTo>
                  <a:lnTo>
                    <a:pt x="973" y="1160"/>
                  </a:lnTo>
                  <a:lnTo>
                    <a:pt x="973" y="1158"/>
                  </a:lnTo>
                  <a:lnTo>
                    <a:pt x="975" y="1158"/>
                  </a:lnTo>
                  <a:lnTo>
                    <a:pt x="976" y="1158"/>
                  </a:lnTo>
                  <a:lnTo>
                    <a:pt x="976" y="1157"/>
                  </a:lnTo>
                  <a:lnTo>
                    <a:pt x="976" y="1158"/>
                  </a:lnTo>
                  <a:close/>
                  <a:moveTo>
                    <a:pt x="823" y="1158"/>
                  </a:moveTo>
                  <a:lnTo>
                    <a:pt x="822" y="1158"/>
                  </a:lnTo>
                  <a:lnTo>
                    <a:pt x="822" y="1157"/>
                  </a:lnTo>
                  <a:lnTo>
                    <a:pt x="823" y="1157"/>
                  </a:lnTo>
                  <a:lnTo>
                    <a:pt x="823" y="1158"/>
                  </a:lnTo>
                  <a:close/>
                  <a:moveTo>
                    <a:pt x="830" y="1157"/>
                  </a:moveTo>
                  <a:lnTo>
                    <a:pt x="830" y="1158"/>
                  </a:lnTo>
                  <a:lnTo>
                    <a:pt x="830" y="1157"/>
                  </a:lnTo>
                  <a:close/>
                  <a:moveTo>
                    <a:pt x="815" y="1158"/>
                  </a:moveTo>
                  <a:lnTo>
                    <a:pt x="814" y="1158"/>
                  </a:lnTo>
                  <a:lnTo>
                    <a:pt x="814" y="1157"/>
                  </a:lnTo>
                  <a:lnTo>
                    <a:pt x="815" y="1157"/>
                  </a:lnTo>
                  <a:lnTo>
                    <a:pt x="815" y="1158"/>
                  </a:lnTo>
                  <a:close/>
                  <a:moveTo>
                    <a:pt x="815" y="1158"/>
                  </a:moveTo>
                  <a:lnTo>
                    <a:pt x="817" y="1157"/>
                  </a:lnTo>
                  <a:lnTo>
                    <a:pt x="817" y="1158"/>
                  </a:lnTo>
                  <a:lnTo>
                    <a:pt x="815" y="1158"/>
                  </a:lnTo>
                  <a:close/>
                  <a:moveTo>
                    <a:pt x="802" y="1157"/>
                  </a:moveTo>
                  <a:lnTo>
                    <a:pt x="804" y="1157"/>
                  </a:lnTo>
                  <a:lnTo>
                    <a:pt x="802" y="1157"/>
                  </a:lnTo>
                  <a:close/>
                  <a:moveTo>
                    <a:pt x="861" y="1157"/>
                  </a:moveTo>
                  <a:lnTo>
                    <a:pt x="862" y="1157"/>
                  </a:lnTo>
                  <a:lnTo>
                    <a:pt x="861" y="1157"/>
                  </a:lnTo>
                  <a:lnTo>
                    <a:pt x="861" y="1158"/>
                  </a:lnTo>
                  <a:lnTo>
                    <a:pt x="861" y="1157"/>
                  </a:lnTo>
                  <a:close/>
                  <a:moveTo>
                    <a:pt x="817" y="1157"/>
                  </a:moveTo>
                  <a:lnTo>
                    <a:pt x="819" y="1157"/>
                  </a:lnTo>
                  <a:lnTo>
                    <a:pt x="817" y="1157"/>
                  </a:lnTo>
                  <a:lnTo>
                    <a:pt x="819" y="1157"/>
                  </a:lnTo>
                  <a:lnTo>
                    <a:pt x="817" y="1157"/>
                  </a:lnTo>
                  <a:lnTo>
                    <a:pt x="817" y="1158"/>
                  </a:lnTo>
                  <a:lnTo>
                    <a:pt x="817" y="1160"/>
                  </a:lnTo>
                  <a:lnTo>
                    <a:pt x="815" y="1160"/>
                  </a:lnTo>
                  <a:lnTo>
                    <a:pt x="815" y="1158"/>
                  </a:lnTo>
                  <a:lnTo>
                    <a:pt x="817" y="1158"/>
                  </a:lnTo>
                  <a:lnTo>
                    <a:pt x="815" y="1158"/>
                  </a:lnTo>
                  <a:lnTo>
                    <a:pt x="817" y="1158"/>
                  </a:lnTo>
                  <a:lnTo>
                    <a:pt x="817" y="1157"/>
                  </a:lnTo>
                  <a:close/>
                  <a:moveTo>
                    <a:pt x="817" y="1157"/>
                  </a:moveTo>
                  <a:lnTo>
                    <a:pt x="815" y="1157"/>
                  </a:lnTo>
                  <a:lnTo>
                    <a:pt x="817" y="1157"/>
                  </a:lnTo>
                  <a:close/>
                  <a:moveTo>
                    <a:pt x="810" y="1157"/>
                  </a:moveTo>
                  <a:lnTo>
                    <a:pt x="812" y="1157"/>
                  </a:lnTo>
                  <a:lnTo>
                    <a:pt x="810" y="1157"/>
                  </a:lnTo>
                  <a:close/>
                  <a:moveTo>
                    <a:pt x="822" y="1157"/>
                  </a:moveTo>
                  <a:lnTo>
                    <a:pt x="823" y="1155"/>
                  </a:lnTo>
                  <a:lnTo>
                    <a:pt x="823" y="1157"/>
                  </a:lnTo>
                  <a:lnTo>
                    <a:pt x="822" y="1157"/>
                  </a:lnTo>
                  <a:close/>
                  <a:moveTo>
                    <a:pt x="877" y="1155"/>
                  </a:moveTo>
                  <a:lnTo>
                    <a:pt x="877" y="1157"/>
                  </a:lnTo>
                  <a:lnTo>
                    <a:pt x="877" y="1155"/>
                  </a:lnTo>
                  <a:close/>
                  <a:moveTo>
                    <a:pt x="861" y="1163"/>
                  </a:moveTo>
                  <a:lnTo>
                    <a:pt x="861" y="1162"/>
                  </a:lnTo>
                  <a:lnTo>
                    <a:pt x="859" y="1162"/>
                  </a:lnTo>
                  <a:lnTo>
                    <a:pt x="859" y="1163"/>
                  </a:lnTo>
                  <a:lnTo>
                    <a:pt x="859" y="1162"/>
                  </a:lnTo>
                  <a:lnTo>
                    <a:pt x="859" y="1163"/>
                  </a:lnTo>
                  <a:lnTo>
                    <a:pt x="859" y="1162"/>
                  </a:lnTo>
                  <a:lnTo>
                    <a:pt x="859" y="1160"/>
                  </a:lnTo>
                  <a:lnTo>
                    <a:pt x="861" y="1160"/>
                  </a:lnTo>
                  <a:lnTo>
                    <a:pt x="861" y="1162"/>
                  </a:lnTo>
                  <a:lnTo>
                    <a:pt x="861" y="1160"/>
                  </a:lnTo>
                  <a:lnTo>
                    <a:pt x="861" y="1158"/>
                  </a:lnTo>
                  <a:lnTo>
                    <a:pt x="861" y="1160"/>
                  </a:lnTo>
                  <a:lnTo>
                    <a:pt x="861" y="1158"/>
                  </a:lnTo>
                  <a:lnTo>
                    <a:pt x="859" y="1158"/>
                  </a:lnTo>
                  <a:lnTo>
                    <a:pt x="861" y="1158"/>
                  </a:lnTo>
                  <a:lnTo>
                    <a:pt x="862" y="1158"/>
                  </a:lnTo>
                  <a:lnTo>
                    <a:pt x="862" y="1157"/>
                  </a:lnTo>
                  <a:lnTo>
                    <a:pt x="862" y="1155"/>
                  </a:lnTo>
                  <a:lnTo>
                    <a:pt x="862" y="1157"/>
                  </a:lnTo>
                  <a:lnTo>
                    <a:pt x="864" y="1157"/>
                  </a:lnTo>
                  <a:lnTo>
                    <a:pt x="862" y="1157"/>
                  </a:lnTo>
                  <a:lnTo>
                    <a:pt x="864" y="1157"/>
                  </a:lnTo>
                  <a:lnTo>
                    <a:pt x="862" y="1157"/>
                  </a:lnTo>
                  <a:lnTo>
                    <a:pt x="862" y="1158"/>
                  </a:lnTo>
                  <a:lnTo>
                    <a:pt x="864" y="1158"/>
                  </a:lnTo>
                  <a:lnTo>
                    <a:pt x="864" y="1157"/>
                  </a:lnTo>
                  <a:lnTo>
                    <a:pt x="864" y="1158"/>
                  </a:lnTo>
                  <a:lnTo>
                    <a:pt x="864" y="1160"/>
                  </a:lnTo>
                  <a:lnTo>
                    <a:pt x="864" y="1162"/>
                  </a:lnTo>
                  <a:lnTo>
                    <a:pt x="862" y="1162"/>
                  </a:lnTo>
                  <a:lnTo>
                    <a:pt x="864" y="1162"/>
                  </a:lnTo>
                  <a:lnTo>
                    <a:pt x="862" y="1162"/>
                  </a:lnTo>
                  <a:lnTo>
                    <a:pt x="861" y="1162"/>
                  </a:lnTo>
                  <a:lnTo>
                    <a:pt x="861" y="1163"/>
                  </a:lnTo>
                  <a:close/>
                  <a:moveTo>
                    <a:pt x="797" y="1155"/>
                  </a:moveTo>
                  <a:lnTo>
                    <a:pt x="799" y="1155"/>
                  </a:lnTo>
                  <a:lnTo>
                    <a:pt x="797" y="1155"/>
                  </a:lnTo>
                  <a:close/>
                  <a:moveTo>
                    <a:pt x="804" y="1155"/>
                  </a:moveTo>
                  <a:lnTo>
                    <a:pt x="805" y="1155"/>
                  </a:lnTo>
                  <a:lnTo>
                    <a:pt x="804" y="1155"/>
                  </a:lnTo>
                  <a:close/>
                  <a:moveTo>
                    <a:pt x="867" y="1157"/>
                  </a:moveTo>
                  <a:lnTo>
                    <a:pt x="869" y="1157"/>
                  </a:lnTo>
                  <a:lnTo>
                    <a:pt x="869" y="1158"/>
                  </a:lnTo>
                  <a:lnTo>
                    <a:pt x="867" y="1158"/>
                  </a:lnTo>
                  <a:lnTo>
                    <a:pt x="869" y="1157"/>
                  </a:lnTo>
                  <a:lnTo>
                    <a:pt x="867" y="1158"/>
                  </a:lnTo>
                  <a:lnTo>
                    <a:pt x="866" y="1158"/>
                  </a:lnTo>
                  <a:lnTo>
                    <a:pt x="867" y="1158"/>
                  </a:lnTo>
                  <a:lnTo>
                    <a:pt x="866" y="1158"/>
                  </a:lnTo>
                  <a:lnTo>
                    <a:pt x="866" y="1157"/>
                  </a:lnTo>
                  <a:lnTo>
                    <a:pt x="866" y="1158"/>
                  </a:lnTo>
                  <a:lnTo>
                    <a:pt x="866" y="1157"/>
                  </a:lnTo>
                  <a:lnTo>
                    <a:pt x="866" y="1155"/>
                  </a:lnTo>
                  <a:lnTo>
                    <a:pt x="867" y="1157"/>
                  </a:lnTo>
                  <a:lnTo>
                    <a:pt x="867" y="1155"/>
                  </a:lnTo>
                  <a:lnTo>
                    <a:pt x="867" y="1157"/>
                  </a:lnTo>
                  <a:close/>
                  <a:moveTo>
                    <a:pt x="820" y="1155"/>
                  </a:moveTo>
                  <a:lnTo>
                    <a:pt x="822" y="1155"/>
                  </a:lnTo>
                  <a:lnTo>
                    <a:pt x="820" y="1155"/>
                  </a:lnTo>
                  <a:close/>
                  <a:moveTo>
                    <a:pt x="866" y="1155"/>
                  </a:moveTo>
                  <a:lnTo>
                    <a:pt x="867" y="1155"/>
                  </a:lnTo>
                  <a:lnTo>
                    <a:pt x="866" y="1155"/>
                  </a:lnTo>
                  <a:close/>
                  <a:moveTo>
                    <a:pt x="867" y="1155"/>
                  </a:moveTo>
                  <a:lnTo>
                    <a:pt x="869" y="1155"/>
                  </a:lnTo>
                  <a:lnTo>
                    <a:pt x="867" y="1155"/>
                  </a:lnTo>
                  <a:close/>
                  <a:moveTo>
                    <a:pt x="799" y="1155"/>
                  </a:moveTo>
                  <a:lnTo>
                    <a:pt x="799" y="1153"/>
                  </a:lnTo>
                  <a:lnTo>
                    <a:pt x="799" y="1155"/>
                  </a:lnTo>
                  <a:close/>
                  <a:moveTo>
                    <a:pt x="869" y="1153"/>
                  </a:moveTo>
                  <a:lnTo>
                    <a:pt x="869" y="1155"/>
                  </a:lnTo>
                  <a:lnTo>
                    <a:pt x="869" y="1153"/>
                  </a:lnTo>
                  <a:close/>
                  <a:moveTo>
                    <a:pt x="879" y="1153"/>
                  </a:moveTo>
                  <a:lnTo>
                    <a:pt x="879" y="1155"/>
                  </a:lnTo>
                  <a:lnTo>
                    <a:pt x="879" y="1153"/>
                  </a:lnTo>
                  <a:close/>
                  <a:moveTo>
                    <a:pt x="799" y="1153"/>
                  </a:moveTo>
                  <a:lnTo>
                    <a:pt x="799" y="1155"/>
                  </a:lnTo>
                  <a:lnTo>
                    <a:pt x="799" y="1153"/>
                  </a:lnTo>
                  <a:close/>
                  <a:moveTo>
                    <a:pt x="819" y="1153"/>
                  </a:moveTo>
                  <a:lnTo>
                    <a:pt x="819" y="1155"/>
                  </a:lnTo>
                  <a:lnTo>
                    <a:pt x="819" y="1153"/>
                  </a:lnTo>
                  <a:close/>
                  <a:moveTo>
                    <a:pt x="867" y="1153"/>
                  </a:moveTo>
                  <a:lnTo>
                    <a:pt x="867" y="1155"/>
                  </a:lnTo>
                  <a:lnTo>
                    <a:pt x="867" y="1153"/>
                  </a:lnTo>
                  <a:close/>
                  <a:moveTo>
                    <a:pt x="869" y="1155"/>
                  </a:moveTo>
                  <a:lnTo>
                    <a:pt x="869" y="1153"/>
                  </a:lnTo>
                  <a:lnTo>
                    <a:pt x="869" y="1155"/>
                  </a:lnTo>
                  <a:close/>
                  <a:moveTo>
                    <a:pt x="871" y="1153"/>
                  </a:moveTo>
                  <a:lnTo>
                    <a:pt x="871" y="1155"/>
                  </a:lnTo>
                  <a:lnTo>
                    <a:pt x="871" y="1153"/>
                  </a:lnTo>
                  <a:close/>
                  <a:moveTo>
                    <a:pt x="801" y="1155"/>
                  </a:moveTo>
                  <a:lnTo>
                    <a:pt x="801" y="1153"/>
                  </a:lnTo>
                  <a:lnTo>
                    <a:pt x="801" y="1155"/>
                  </a:lnTo>
                  <a:close/>
                  <a:moveTo>
                    <a:pt x="801" y="1153"/>
                  </a:moveTo>
                  <a:lnTo>
                    <a:pt x="799" y="1155"/>
                  </a:lnTo>
                  <a:lnTo>
                    <a:pt x="799" y="1153"/>
                  </a:lnTo>
                  <a:lnTo>
                    <a:pt x="801" y="1153"/>
                  </a:lnTo>
                  <a:close/>
                  <a:moveTo>
                    <a:pt x="805" y="1153"/>
                  </a:moveTo>
                  <a:lnTo>
                    <a:pt x="807" y="1153"/>
                  </a:lnTo>
                  <a:lnTo>
                    <a:pt x="805" y="1153"/>
                  </a:lnTo>
                  <a:close/>
                  <a:moveTo>
                    <a:pt x="804" y="1155"/>
                  </a:moveTo>
                  <a:lnTo>
                    <a:pt x="802" y="1155"/>
                  </a:lnTo>
                  <a:lnTo>
                    <a:pt x="802" y="1153"/>
                  </a:lnTo>
                  <a:lnTo>
                    <a:pt x="804" y="1153"/>
                  </a:lnTo>
                  <a:lnTo>
                    <a:pt x="804" y="1155"/>
                  </a:lnTo>
                  <a:close/>
                  <a:moveTo>
                    <a:pt x="869" y="1153"/>
                  </a:moveTo>
                  <a:lnTo>
                    <a:pt x="871" y="1153"/>
                  </a:lnTo>
                  <a:lnTo>
                    <a:pt x="869" y="1153"/>
                  </a:lnTo>
                  <a:close/>
                  <a:moveTo>
                    <a:pt x="799" y="1153"/>
                  </a:moveTo>
                  <a:lnTo>
                    <a:pt x="801" y="1153"/>
                  </a:lnTo>
                  <a:lnTo>
                    <a:pt x="799" y="1153"/>
                  </a:lnTo>
                  <a:close/>
                  <a:moveTo>
                    <a:pt x="804" y="1153"/>
                  </a:moveTo>
                  <a:lnTo>
                    <a:pt x="804" y="1152"/>
                  </a:lnTo>
                  <a:lnTo>
                    <a:pt x="804" y="1153"/>
                  </a:lnTo>
                  <a:close/>
                  <a:moveTo>
                    <a:pt x="810" y="1152"/>
                  </a:moveTo>
                  <a:lnTo>
                    <a:pt x="812" y="1153"/>
                  </a:lnTo>
                  <a:lnTo>
                    <a:pt x="810" y="1153"/>
                  </a:lnTo>
                  <a:lnTo>
                    <a:pt x="810" y="1152"/>
                  </a:lnTo>
                  <a:close/>
                  <a:moveTo>
                    <a:pt x="799" y="1152"/>
                  </a:moveTo>
                  <a:lnTo>
                    <a:pt x="799" y="1153"/>
                  </a:lnTo>
                  <a:lnTo>
                    <a:pt x="799" y="1152"/>
                  </a:lnTo>
                  <a:close/>
                  <a:moveTo>
                    <a:pt x="976" y="1152"/>
                  </a:moveTo>
                  <a:lnTo>
                    <a:pt x="978" y="1152"/>
                  </a:lnTo>
                  <a:lnTo>
                    <a:pt x="976" y="1152"/>
                  </a:lnTo>
                  <a:close/>
                  <a:moveTo>
                    <a:pt x="880" y="1152"/>
                  </a:moveTo>
                  <a:lnTo>
                    <a:pt x="879" y="1153"/>
                  </a:lnTo>
                  <a:lnTo>
                    <a:pt x="879" y="1152"/>
                  </a:lnTo>
                  <a:lnTo>
                    <a:pt x="880" y="1152"/>
                  </a:lnTo>
                  <a:close/>
                  <a:moveTo>
                    <a:pt x="888" y="1153"/>
                  </a:moveTo>
                  <a:lnTo>
                    <a:pt x="888" y="1152"/>
                  </a:lnTo>
                  <a:lnTo>
                    <a:pt x="890" y="1152"/>
                  </a:lnTo>
                  <a:lnTo>
                    <a:pt x="888" y="1153"/>
                  </a:lnTo>
                  <a:close/>
                  <a:moveTo>
                    <a:pt x="801" y="1153"/>
                  </a:moveTo>
                  <a:lnTo>
                    <a:pt x="801" y="1152"/>
                  </a:lnTo>
                  <a:lnTo>
                    <a:pt x="801" y="1153"/>
                  </a:lnTo>
                  <a:lnTo>
                    <a:pt x="801" y="1152"/>
                  </a:lnTo>
                  <a:lnTo>
                    <a:pt x="802" y="1153"/>
                  </a:lnTo>
                  <a:lnTo>
                    <a:pt x="802" y="1152"/>
                  </a:lnTo>
                  <a:lnTo>
                    <a:pt x="802" y="1153"/>
                  </a:lnTo>
                  <a:lnTo>
                    <a:pt x="802" y="1152"/>
                  </a:lnTo>
                  <a:lnTo>
                    <a:pt x="802" y="1153"/>
                  </a:lnTo>
                  <a:lnTo>
                    <a:pt x="802" y="1155"/>
                  </a:lnTo>
                  <a:lnTo>
                    <a:pt x="802" y="1153"/>
                  </a:lnTo>
                  <a:lnTo>
                    <a:pt x="802" y="1155"/>
                  </a:lnTo>
                  <a:lnTo>
                    <a:pt x="802" y="1153"/>
                  </a:lnTo>
                  <a:lnTo>
                    <a:pt x="802" y="1155"/>
                  </a:lnTo>
                  <a:lnTo>
                    <a:pt x="802" y="1153"/>
                  </a:lnTo>
                  <a:lnTo>
                    <a:pt x="801" y="1155"/>
                  </a:lnTo>
                  <a:lnTo>
                    <a:pt x="801" y="1153"/>
                  </a:lnTo>
                  <a:close/>
                  <a:moveTo>
                    <a:pt x="807" y="1152"/>
                  </a:moveTo>
                  <a:lnTo>
                    <a:pt x="805" y="1152"/>
                  </a:lnTo>
                  <a:lnTo>
                    <a:pt x="807" y="1152"/>
                  </a:lnTo>
                  <a:close/>
                  <a:moveTo>
                    <a:pt x="890" y="1152"/>
                  </a:moveTo>
                  <a:lnTo>
                    <a:pt x="888" y="1152"/>
                  </a:lnTo>
                  <a:lnTo>
                    <a:pt x="890" y="1152"/>
                  </a:lnTo>
                  <a:close/>
                  <a:moveTo>
                    <a:pt x="802" y="1152"/>
                  </a:moveTo>
                  <a:lnTo>
                    <a:pt x="804" y="1152"/>
                  </a:lnTo>
                  <a:lnTo>
                    <a:pt x="804" y="1153"/>
                  </a:lnTo>
                  <a:lnTo>
                    <a:pt x="804" y="1152"/>
                  </a:lnTo>
                  <a:lnTo>
                    <a:pt x="802" y="1152"/>
                  </a:lnTo>
                  <a:close/>
                  <a:moveTo>
                    <a:pt x="810" y="1152"/>
                  </a:moveTo>
                  <a:lnTo>
                    <a:pt x="812" y="1152"/>
                  </a:lnTo>
                  <a:lnTo>
                    <a:pt x="810" y="1152"/>
                  </a:lnTo>
                  <a:close/>
                  <a:moveTo>
                    <a:pt x="812" y="1152"/>
                  </a:moveTo>
                  <a:lnTo>
                    <a:pt x="814" y="1152"/>
                  </a:lnTo>
                  <a:lnTo>
                    <a:pt x="814" y="1153"/>
                  </a:lnTo>
                  <a:lnTo>
                    <a:pt x="812" y="1153"/>
                  </a:lnTo>
                  <a:lnTo>
                    <a:pt x="812" y="1152"/>
                  </a:lnTo>
                  <a:lnTo>
                    <a:pt x="812" y="1153"/>
                  </a:lnTo>
                  <a:lnTo>
                    <a:pt x="814" y="1152"/>
                  </a:lnTo>
                  <a:lnTo>
                    <a:pt x="812" y="1152"/>
                  </a:lnTo>
                  <a:close/>
                  <a:moveTo>
                    <a:pt x="802" y="1152"/>
                  </a:moveTo>
                  <a:lnTo>
                    <a:pt x="802" y="1150"/>
                  </a:lnTo>
                  <a:lnTo>
                    <a:pt x="802" y="1152"/>
                  </a:lnTo>
                  <a:close/>
                  <a:moveTo>
                    <a:pt x="885" y="1152"/>
                  </a:moveTo>
                  <a:lnTo>
                    <a:pt x="885" y="1150"/>
                  </a:lnTo>
                  <a:lnTo>
                    <a:pt x="885" y="1152"/>
                  </a:lnTo>
                  <a:close/>
                  <a:moveTo>
                    <a:pt x="888" y="1150"/>
                  </a:moveTo>
                  <a:lnTo>
                    <a:pt x="888" y="1152"/>
                  </a:lnTo>
                  <a:lnTo>
                    <a:pt x="888" y="1150"/>
                  </a:lnTo>
                  <a:close/>
                  <a:moveTo>
                    <a:pt x="810" y="1150"/>
                  </a:moveTo>
                  <a:lnTo>
                    <a:pt x="812" y="1150"/>
                  </a:lnTo>
                  <a:lnTo>
                    <a:pt x="812" y="1152"/>
                  </a:lnTo>
                  <a:lnTo>
                    <a:pt x="810" y="1152"/>
                  </a:lnTo>
                  <a:lnTo>
                    <a:pt x="810" y="1150"/>
                  </a:lnTo>
                  <a:close/>
                  <a:moveTo>
                    <a:pt x="809" y="1152"/>
                  </a:moveTo>
                  <a:lnTo>
                    <a:pt x="809" y="1150"/>
                  </a:lnTo>
                  <a:lnTo>
                    <a:pt x="809" y="1152"/>
                  </a:lnTo>
                  <a:lnTo>
                    <a:pt x="809" y="1150"/>
                  </a:lnTo>
                  <a:lnTo>
                    <a:pt x="810" y="1152"/>
                  </a:lnTo>
                  <a:lnTo>
                    <a:pt x="809" y="1152"/>
                  </a:lnTo>
                  <a:close/>
                  <a:moveTo>
                    <a:pt x="801" y="1150"/>
                  </a:moveTo>
                  <a:lnTo>
                    <a:pt x="801" y="1152"/>
                  </a:lnTo>
                  <a:lnTo>
                    <a:pt x="801" y="1150"/>
                  </a:lnTo>
                  <a:close/>
                  <a:moveTo>
                    <a:pt x="809" y="1150"/>
                  </a:moveTo>
                  <a:lnTo>
                    <a:pt x="809" y="1152"/>
                  </a:lnTo>
                  <a:lnTo>
                    <a:pt x="809" y="1150"/>
                  </a:lnTo>
                  <a:close/>
                  <a:moveTo>
                    <a:pt x="805" y="1152"/>
                  </a:moveTo>
                  <a:lnTo>
                    <a:pt x="805" y="1150"/>
                  </a:lnTo>
                  <a:lnTo>
                    <a:pt x="805" y="1152"/>
                  </a:lnTo>
                  <a:close/>
                  <a:moveTo>
                    <a:pt x="817" y="1152"/>
                  </a:moveTo>
                  <a:lnTo>
                    <a:pt x="817" y="1150"/>
                  </a:lnTo>
                  <a:lnTo>
                    <a:pt x="817" y="1152"/>
                  </a:lnTo>
                  <a:close/>
                  <a:moveTo>
                    <a:pt x="801" y="1150"/>
                  </a:moveTo>
                  <a:lnTo>
                    <a:pt x="801" y="1152"/>
                  </a:lnTo>
                  <a:lnTo>
                    <a:pt x="801" y="1150"/>
                  </a:lnTo>
                  <a:close/>
                  <a:moveTo>
                    <a:pt x="882" y="1150"/>
                  </a:moveTo>
                  <a:lnTo>
                    <a:pt x="880" y="1152"/>
                  </a:lnTo>
                  <a:lnTo>
                    <a:pt x="880" y="1150"/>
                  </a:lnTo>
                  <a:lnTo>
                    <a:pt x="882" y="1150"/>
                  </a:lnTo>
                  <a:close/>
                  <a:moveTo>
                    <a:pt x="875" y="1152"/>
                  </a:moveTo>
                  <a:lnTo>
                    <a:pt x="875" y="1150"/>
                  </a:lnTo>
                  <a:lnTo>
                    <a:pt x="875" y="1152"/>
                  </a:lnTo>
                  <a:close/>
                  <a:moveTo>
                    <a:pt x="887" y="1150"/>
                  </a:moveTo>
                  <a:lnTo>
                    <a:pt x="885" y="1150"/>
                  </a:lnTo>
                  <a:lnTo>
                    <a:pt x="887" y="1150"/>
                  </a:lnTo>
                  <a:close/>
                  <a:moveTo>
                    <a:pt x="804" y="1150"/>
                  </a:moveTo>
                  <a:lnTo>
                    <a:pt x="805" y="1150"/>
                  </a:lnTo>
                  <a:lnTo>
                    <a:pt x="804" y="1150"/>
                  </a:lnTo>
                  <a:close/>
                  <a:moveTo>
                    <a:pt x="805" y="1150"/>
                  </a:moveTo>
                  <a:lnTo>
                    <a:pt x="807" y="1150"/>
                  </a:lnTo>
                  <a:lnTo>
                    <a:pt x="805" y="1150"/>
                  </a:lnTo>
                  <a:close/>
                  <a:moveTo>
                    <a:pt x="804" y="1150"/>
                  </a:moveTo>
                  <a:lnTo>
                    <a:pt x="802" y="1150"/>
                  </a:lnTo>
                  <a:lnTo>
                    <a:pt x="804" y="1150"/>
                  </a:lnTo>
                  <a:close/>
                  <a:moveTo>
                    <a:pt x="817" y="1150"/>
                  </a:moveTo>
                  <a:lnTo>
                    <a:pt x="815" y="1150"/>
                  </a:lnTo>
                  <a:lnTo>
                    <a:pt x="817" y="1150"/>
                  </a:lnTo>
                  <a:close/>
                  <a:moveTo>
                    <a:pt x="882" y="1150"/>
                  </a:moveTo>
                  <a:lnTo>
                    <a:pt x="884" y="1150"/>
                  </a:lnTo>
                  <a:lnTo>
                    <a:pt x="885" y="1150"/>
                  </a:lnTo>
                  <a:lnTo>
                    <a:pt x="884" y="1150"/>
                  </a:lnTo>
                  <a:lnTo>
                    <a:pt x="884" y="1152"/>
                  </a:lnTo>
                  <a:lnTo>
                    <a:pt x="882" y="1152"/>
                  </a:lnTo>
                  <a:lnTo>
                    <a:pt x="880" y="1153"/>
                  </a:lnTo>
                  <a:lnTo>
                    <a:pt x="880" y="1152"/>
                  </a:lnTo>
                  <a:lnTo>
                    <a:pt x="882" y="1152"/>
                  </a:lnTo>
                  <a:lnTo>
                    <a:pt x="882" y="1150"/>
                  </a:lnTo>
                  <a:lnTo>
                    <a:pt x="882" y="1152"/>
                  </a:lnTo>
                  <a:lnTo>
                    <a:pt x="882" y="1150"/>
                  </a:lnTo>
                  <a:lnTo>
                    <a:pt x="882" y="1152"/>
                  </a:lnTo>
                  <a:lnTo>
                    <a:pt x="882" y="1150"/>
                  </a:lnTo>
                  <a:close/>
                  <a:moveTo>
                    <a:pt x="807" y="1150"/>
                  </a:moveTo>
                  <a:lnTo>
                    <a:pt x="807" y="1152"/>
                  </a:lnTo>
                  <a:lnTo>
                    <a:pt x="805" y="1152"/>
                  </a:lnTo>
                  <a:lnTo>
                    <a:pt x="807" y="1152"/>
                  </a:lnTo>
                  <a:lnTo>
                    <a:pt x="807" y="1150"/>
                  </a:lnTo>
                  <a:lnTo>
                    <a:pt x="809" y="1150"/>
                  </a:lnTo>
                  <a:lnTo>
                    <a:pt x="807" y="1150"/>
                  </a:lnTo>
                  <a:close/>
                  <a:moveTo>
                    <a:pt x="809" y="1150"/>
                  </a:moveTo>
                  <a:lnTo>
                    <a:pt x="810" y="1150"/>
                  </a:lnTo>
                  <a:lnTo>
                    <a:pt x="812" y="1150"/>
                  </a:lnTo>
                  <a:lnTo>
                    <a:pt x="810" y="1150"/>
                  </a:lnTo>
                  <a:lnTo>
                    <a:pt x="809" y="1150"/>
                  </a:lnTo>
                  <a:close/>
                  <a:moveTo>
                    <a:pt x="815" y="1150"/>
                  </a:moveTo>
                  <a:lnTo>
                    <a:pt x="817" y="1150"/>
                  </a:lnTo>
                  <a:lnTo>
                    <a:pt x="815" y="1150"/>
                  </a:lnTo>
                  <a:close/>
                  <a:moveTo>
                    <a:pt x="812" y="1150"/>
                  </a:moveTo>
                  <a:lnTo>
                    <a:pt x="814" y="1150"/>
                  </a:lnTo>
                  <a:lnTo>
                    <a:pt x="812" y="1150"/>
                  </a:lnTo>
                  <a:close/>
                  <a:moveTo>
                    <a:pt x="815" y="1152"/>
                  </a:moveTo>
                  <a:lnTo>
                    <a:pt x="814" y="1152"/>
                  </a:lnTo>
                  <a:lnTo>
                    <a:pt x="814" y="1150"/>
                  </a:lnTo>
                  <a:lnTo>
                    <a:pt x="815" y="1150"/>
                  </a:lnTo>
                  <a:lnTo>
                    <a:pt x="815" y="1152"/>
                  </a:lnTo>
                  <a:close/>
                  <a:moveTo>
                    <a:pt x="810" y="1150"/>
                  </a:moveTo>
                  <a:lnTo>
                    <a:pt x="812" y="1149"/>
                  </a:lnTo>
                  <a:lnTo>
                    <a:pt x="810" y="1150"/>
                  </a:lnTo>
                  <a:close/>
                  <a:moveTo>
                    <a:pt x="804" y="1149"/>
                  </a:moveTo>
                  <a:lnTo>
                    <a:pt x="804" y="1150"/>
                  </a:lnTo>
                  <a:lnTo>
                    <a:pt x="804" y="1149"/>
                  </a:lnTo>
                  <a:close/>
                  <a:moveTo>
                    <a:pt x="805" y="1149"/>
                  </a:moveTo>
                  <a:lnTo>
                    <a:pt x="805" y="1150"/>
                  </a:lnTo>
                  <a:lnTo>
                    <a:pt x="805" y="1149"/>
                  </a:lnTo>
                  <a:close/>
                  <a:moveTo>
                    <a:pt x="809" y="1149"/>
                  </a:moveTo>
                  <a:lnTo>
                    <a:pt x="809" y="1150"/>
                  </a:lnTo>
                  <a:lnTo>
                    <a:pt x="809" y="1149"/>
                  </a:lnTo>
                  <a:close/>
                  <a:moveTo>
                    <a:pt x="804" y="1150"/>
                  </a:moveTo>
                  <a:lnTo>
                    <a:pt x="804" y="1149"/>
                  </a:lnTo>
                  <a:lnTo>
                    <a:pt x="804" y="1150"/>
                  </a:lnTo>
                  <a:close/>
                  <a:moveTo>
                    <a:pt x="874" y="1150"/>
                  </a:moveTo>
                  <a:lnTo>
                    <a:pt x="874" y="1149"/>
                  </a:lnTo>
                  <a:lnTo>
                    <a:pt x="875" y="1150"/>
                  </a:lnTo>
                  <a:lnTo>
                    <a:pt x="874" y="1150"/>
                  </a:lnTo>
                  <a:close/>
                  <a:moveTo>
                    <a:pt x="885" y="1150"/>
                  </a:moveTo>
                  <a:lnTo>
                    <a:pt x="885" y="1149"/>
                  </a:lnTo>
                  <a:lnTo>
                    <a:pt x="885" y="1150"/>
                  </a:lnTo>
                  <a:close/>
                  <a:moveTo>
                    <a:pt x="814" y="1149"/>
                  </a:moveTo>
                  <a:lnTo>
                    <a:pt x="814" y="1150"/>
                  </a:lnTo>
                  <a:lnTo>
                    <a:pt x="814" y="1149"/>
                  </a:lnTo>
                  <a:close/>
                  <a:moveTo>
                    <a:pt x="810" y="1149"/>
                  </a:moveTo>
                  <a:lnTo>
                    <a:pt x="810" y="1150"/>
                  </a:lnTo>
                  <a:lnTo>
                    <a:pt x="810" y="1149"/>
                  </a:lnTo>
                  <a:close/>
                  <a:moveTo>
                    <a:pt x="887" y="1149"/>
                  </a:moveTo>
                  <a:lnTo>
                    <a:pt x="888" y="1149"/>
                  </a:lnTo>
                  <a:lnTo>
                    <a:pt x="888" y="1150"/>
                  </a:lnTo>
                  <a:lnTo>
                    <a:pt x="887" y="1150"/>
                  </a:lnTo>
                  <a:lnTo>
                    <a:pt x="887" y="1149"/>
                  </a:lnTo>
                  <a:lnTo>
                    <a:pt x="887" y="1150"/>
                  </a:lnTo>
                  <a:lnTo>
                    <a:pt x="887" y="1149"/>
                  </a:lnTo>
                  <a:close/>
                  <a:moveTo>
                    <a:pt x="807" y="1149"/>
                  </a:moveTo>
                  <a:lnTo>
                    <a:pt x="807" y="1150"/>
                  </a:lnTo>
                  <a:lnTo>
                    <a:pt x="807" y="1149"/>
                  </a:lnTo>
                  <a:lnTo>
                    <a:pt x="809" y="1149"/>
                  </a:lnTo>
                  <a:lnTo>
                    <a:pt x="809" y="1150"/>
                  </a:lnTo>
                  <a:lnTo>
                    <a:pt x="807" y="1150"/>
                  </a:lnTo>
                  <a:lnTo>
                    <a:pt x="807" y="1149"/>
                  </a:lnTo>
                  <a:close/>
                  <a:moveTo>
                    <a:pt x="874" y="1149"/>
                  </a:moveTo>
                  <a:lnTo>
                    <a:pt x="875" y="1149"/>
                  </a:lnTo>
                  <a:lnTo>
                    <a:pt x="874" y="1149"/>
                  </a:lnTo>
                  <a:close/>
                  <a:moveTo>
                    <a:pt x="875" y="1149"/>
                  </a:moveTo>
                  <a:lnTo>
                    <a:pt x="875" y="1150"/>
                  </a:lnTo>
                  <a:lnTo>
                    <a:pt x="875" y="1149"/>
                  </a:lnTo>
                  <a:close/>
                  <a:moveTo>
                    <a:pt x="822" y="1149"/>
                  </a:moveTo>
                  <a:lnTo>
                    <a:pt x="820" y="1149"/>
                  </a:lnTo>
                  <a:lnTo>
                    <a:pt x="822" y="1149"/>
                  </a:lnTo>
                  <a:close/>
                  <a:moveTo>
                    <a:pt x="874" y="1149"/>
                  </a:moveTo>
                  <a:lnTo>
                    <a:pt x="875" y="1149"/>
                  </a:lnTo>
                  <a:lnTo>
                    <a:pt x="874" y="1149"/>
                  </a:lnTo>
                  <a:close/>
                  <a:moveTo>
                    <a:pt x="812" y="1149"/>
                  </a:moveTo>
                  <a:lnTo>
                    <a:pt x="814" y="1149"/>
                  </a:lnTo>
                  <a:lnTo>
                    <a:pt x="812" y="1150"/>
                  </a:lnTo>
                  <a:lnTo>
                    <a:pt x="812" y="1149"/>
                  </a:lnTo>
                  <a:close/>
                  <a:moveTo>
                    <a:pt x="897" y="1149"/>
                  </a:moveTo>
                  <a:lnTo>
                    <a:pt x="895" y="1149"/>
                  </a:lnTo>
                  <a:lnTo>
                    <a:pt x="897" y="1149"/>
                  </a:lnTo>
                  <a:close/>
                  <a:moveTo>
                    <a:pt x="885" y="1149"/>
                  </a:moveTo>
                  <a:lnTo>
                    <a:pt x="885" y="1147"/>
                  </a:lnTo>
                  <a:lnTo>
                    <a:pt x="885" y="1149"/>
                  </a:lnTo>
                  <a:close/>
                  <a:moveTo>
                    <a:pt x="820" y="1147"/>
                  </a:moveTo>
                  <a:lnTo>
                    <a:pt x="820" y="1149"/>
                  </a:lnTo>
                  <a:lnTo>
                    <a:pt x="820" y="1147"/>
                  </a:lnTo>
                  <a:close/>
                  <a:moveTo>
                    <a:pt x="807" y="1149"/>
                  </a:moveTo>
                  <a:lnTo>
                    <a:pt x="807" y="1147"/>
                  </a:lnTo>
                  <a:lnTo>
                    <a:pt x="807" y="1149"/>
                  </a:lnTo>
                  <a:close/>
                  <a:moveTo>
                    <a:pt x="879" y="1147"/>
                  </a:moveTo>
                  <a:lnTo>
                    <a:pt x="879" y="1149"/>
                  </a:lnTo>
                  <a:lnTo>
                    <a:pt x="879" y="1147"/>
                  </a:lnTo>
                  <a:close/>
                  <a:moveTo>
                    <a:pt x="809" y="1147"/>
                  </a:moveTo>
                  <a:lnTo>
                    <a:pt x="809" y="1149"/>
                  </a:lnTo>
                  <a:lnTo>
                    <a:pt x="809" y="1147"/>
                  </a:lnTo>
                  <a:close/>
                  <a:moveTo>
                    <a:pt x="805" y="1147"/>
                  </a:moveTo>
                  <a:lnTo>
                    <a:pt x="807" y="1147"/>
                  </a:lnTo>
                  <a:lnTo>
                    <a:pt x="805" y="1147"/>
                  </a:lnTo>
                  <a:close/>
                  <a:moveTo>
                    <a:pt x="805" y="1147"/>
                  </a:moveTo>
                  <a:lnTo>
                    <a:pt x="805" y="1149"/>
                  </a:lnTo>
                  <a:lnTo>
                    <a:pt x="805" y="1147"/>
                  </a:lnTo>
                  <a:close/>
                  <a:moveTo>
                    <a:pt x="885" y="1147"/>
                  </a:moveTo>
                  <a:lnTo>
                    <a:pt x="887" y="1147"/>
                  </a:lnTo>
                  <a:lnTo>
                    <a:pt x="885" y="1147"/>
                  </a:lnTo>
                  <a:close/>
                  <a:moveTo>
                    <a:pt x="810" y="1147"/>
                  </a:moveTo>
                  <a:lnTo>
                    <a:pt x="812" y="1147"/>
                  </a:lnTo>
                  <a:lnTo>
                    <a:pt x="810" y="1147"/>
                  </a:lnTo>
                  <a:close/>
                  <a:moveTo>
                    <a:pt x="822" y="1147"/>
                  </a:moveTo>
                  <a:lnTo>
                    <a:pt x="823" y="1147"/>
                  </a:lnTo>
                  <a:lnTo>
                    <a:pt x="822" y="1147"/>
                  </a:lnTo>
                  <a:close/>
                  <a:moveTo>
                    <a:pt x="888" y="1147"/>
                  </a:moveTo>
                  <a:lnTo>
                    <a:pt x="888" y="1149"/>
                  </a:lnTo>
                  <a:lnTo>
                    <a:pt x="885" y="1149"/>
                  </a:lnTo>
                  <a:lnTo>
                    <a:pt x="885" y="1147"/>
                  </a:lnTo>
                  <a:lnTo>
                    <a:pt x="887" y="1147"/>
                  </a:lnTo>
                  <a:lnTo>
                    <a:pt x="885" y="1149"/>
                  </a:lnTo>
                  <a:lnTo>
                    <a:pt x="887" y="1147"/>
                  </a:lnTo>
                  <a:lnTo>
                    <a:pt x="888" y="1147"/>
                  </a:lnTo>
                  <a:close/>
                  <a:moveTo>
                    <a:pt x="807" y="1147"/>
                  </a:moveTo>
                  <a:lnTo>
                    <a:pt x="809" y="1147"/>
                  </a:lnTo>
                  <a:lnTo>
                    <a:pt x="807" y="1147"/>
                  </a:lnTo>
                  <a:close/>
                  <a:moveTo>
                    <a:pt x="892" y="1149"/>
                  </a:moveTo>
                  <a:lnTo>
                    <a:pt x="890" y="1149"/>
                  </a:lnTo>
                  <a:lnTo>
                    <a:pt x="888" y="1149"/>
                  </a:lnTo>
                  <a:lnTo>
                    <a:pt x="890" y="1149"/>
                  </a:lnTo>
                  <a:lnTo>
                    <a:pt x="888" y="1149"/>
                  </a:lnTo>
                  <a:lnTo>
                    <a:pt x="888" y="1147"/>
                  </a:lnTo>
                  <a:lnTo>
                    <a:pt x="890" y="1147"/>
                  </a:lnTo>
                  <a:lnTo>
                    <a:pt x="892" y="1145"/>
                  </a:lnTo>
                  <a:lnTo>
                    <a:pt x="892" y="1147"/>
                  </a:lnTo>
                  <a:lnTo>
                    <a:pt x="892" y="1149"/>
                  </a:lnTo>
                  <a:close/>
                  <a:moveTo>
                    <a:pt x="895" y="1147"/>
                  </a:moveTo>
                  <a:lnTo>
                    <a:pt x="895" y="1145"/>
                  </a:lnTo>
                  <a:lnTo>
                    <a:pt x="895" y="1147"/>
                  </a:lnTo>
                  <a:close/>
                  <a:moveTo>
                    <a:pt x="884" y="1147"/>
                  </a:moveTo>
                  <a:lnTo>
                    <a:pt x="882" y="1147"/>
                  </a:lnTo>
                  <a:lnTo>
                    <a:pt x="884" y="1145"/>
                  </a:lnTo>
                  <a:lnTo>
                    <a:pt x="884" y="1147"/>
                  </a:lnTo>
                  <a:close/>
                  <a:moveTo>
                    <a:pt x="830" y="1145"/>
                  </a:moveTo>
                  <a:lnTo>
                    <a:pt x="832" y="1145"/>
                  </a:lnTo>
                  <a:lnTo>
                    <a:pt x="830" y="1145"/>
                  </a:lnTo>
                  <a:close/>
                  <a:moveTo>
                    <a:pt x="827" y="1144"/>
                  </a:moveTo>
                  <a:lnTo>
                    <a:pt x="828" y="1144"/>
                  </a:lnTo>
                  <a:lnTo>
                    <a:pt x="827" y="1144"/>
                  </a:lnTo>
                  <a:close/>
                  <a:moveTo>
                    <a:pt x="823" y="1144"/>
                  </a:moveTo>
                  <a:lnTo>
                    <a:pt x="825" y="1144"/>
                  </a:lnTo>
                  <a:lnTo>
                    <a:pt x="823" y="1144"/>
                  </a:lnTo>
                  <a:close/>
                  <a:moveTo>
                    <a:pt x="828" y="1144"/>
                  </a:moveTo>
                  <a:lnTo>
                    <a:pt x="827" y="1144"/>
                  </a:lnTo>
                  <a:lnTo>
                    <a:pt x="828" y="1144"/>
                  </a:lnTo>
                  <a:close/>
                  <a:moveTo>
                    <a:pt x="828" y="1144"/>
                  </a:moveTo>
                  <a:lnTo>
                    <a:pt x="830" y="1144"/>
                  </a:lnTo>
                  <a:lnTo>
                    <a:pt x="828" y="1144"/>
                  </a:lnTo>
                  <a:close/>
                  <a:moveTo>
                    <a:pt x="892" y="1144"/>
                  </a:moveTo>
                  <a:lnTo>
                    <a:pt x="893" y="1144"/>
                  </a:lnTo>
                  <a:lnTo>
                    <a:pt x="892" y="1144"/>
                  </a:lnTo>
                  <a:close/>
                  <a:moveTo>
                    <a:pt x="887" y="1144"/>
                  </a:moveTo>
                  <a:lnTo>
                    <a:pt x="888" y="1144"/>
                  </a:lnTo>
                  <a:lnTo>
                    <a:pt x="887" y="1144"/>
                  </a:lnTo>
                  <a:close/>
                  <a:moveTo>
                    <a:pt x="901" y="1144"/>
                  </a:moveTo>
                  <a:lnTo>
                    <a:pt x="903" y="1144"/>
                  </a:lnTo>
                  <a:lnTo>
                    <a:pt x="901" y="1144"/>
                  </a:lnTo>
                  <a:lnTo>
                    <a:pt x="903" y="1144"/>
                  </a:lnTo>
                  <a:lnTo>
                    <a:pt x="901" y="1144"/>
                  </a:lnTo>
                  <a:close/>
                  <a:moveTo>
                    <a:pt x="888" y="1144"/>
                  </a:moveTo>
                  <a:lnTo>
                    <a:pt x="888" y="1142"/>
                  </a:lnTo>
                  <a:lnTo>
                    <a:pt x="888" y="1144"/>
                  </a:lnTo>
                  <a:close/>
                  <a:moveTo>
                    <a:pt x="832" y="1142"/>
                  </a:moveTo>
                  <a:lnTo>
                    <a:pt x="833" y="1144"/>
                  </a:lnTo>
                  <a:lnTo>
                    <a:pt x="832" y="1144"/>
                  </a:lnTo>
                  <a:lnTo>
                    <a:pt x="832" y="1142"/>
                  </a:lnTo>
                  <a:close/>
                  <a:moveTo>
                    <a:pt x="892" y="1144"/>
                  </a:moveTo>
                  <a:lnTo>
                    <a:pt x="893" y="1142"/>
                  </a:lnTo>
                  <a:lnTo>
                    <a:pt x="893" y="1144"/>
                  </a:lnTo>
                  <a:lnTo>
                    <a:pt x="892" y="1144"/>
                  </a:lnTo>
                  <a:close/>
                  <a:moveTo>
                    <a:pt x="892" y="1144"/>
                  </a:moveTo>
                  <a:lnTo>
                    <a:pt x="892" y="1142"/>
                  </a:lnTo>
                  <a:lnTo>
                    <a:pt x="892" y="1144"/>
                  </a:lnTo>
                  <a:close/>
                  <a:moveTo>
                    <a:pt x="890" y="1144"/>
                  </a:moveTo>
                  <a:lnTo>
                    <a:pt x="892" y="1142"/>
                  </a:lnTo>
                  <a:lnTo>
                    <a:pt x="892" y="1144"/>
                  </a:lnTo>
                  <a:lnTo>
                    <a:pt x="890" y="1144"/>
                  </a:lnTo>
                  <a:close/>
                  <a:moveTo>
                    <a:pt x="898" y="1144"/>
                  </a:moveTo>
                  <a:lnTo>
                    <a:pt x="897" y="1142"/>
                  </a:lnTo>
                  <a:lnTo>
                    <a:pt x="898" y="1142"/>
                  </a:lnTo>
                  <a:lnTo>
                    <a:pt x="898" y="1144"/>
                  </a:lnTo>
                  <a:close/>
                  <a:moveTo>
                    <a:pt x="830" y="1144"/>
                  </a:moveTo>
                  <a:lnTo>
                    <a:pt x="832" y="1144"/>
                  </a:lnTo>
                  <a:lnTo>
                    <a:pt x="832" y="1142"/>
                  </a:lnTo>
                  <a:lnTo>
                    <a:pt x="832" y="1144"/>
                  </a:lnTo>
                  <a:lnTo>
                    <a:pt x="830" y="1144"/>
                  </a:lnTo>
                  <a:close/>
                  <a:moveTo>
                    <a:pt x="888" y="1144"/>
                  </a:moveTo>
                  <a:lnTo>
                    <a:pt x="888" y="1142"/>
                  </a:lnTo>
                  <a:lnTo>
                    <a:pt x="888" y="1144"/>
                  </a:lnTo>
                  <a:close/>
                  <a:moveTo>
                    <a:pt x="898" y="1144"/>
                  </a:moveTo>
                  <a:lnTo>
                    <a:pt x="898" y="1142"/>
                  </a:lnTo>
                  <a:lnTo>
                    <a:pt x="898" y="1144"/>
                  </a:lnTo>
                  <a:close/>
                  <a:moveTo>
                    <a:pt x="828" y="1142"/>
                  </a:moveTo>
                  <a:lnTo>
                    <a:pt x="828" y="1144"/>
                  </a:lnTo>
                  <a:lnTo>
                    <a:pt x="828" y="1142"/>
                  </a:lnTo>
                  <a:lnTo>
                    <a:pt x="828" y="1144"/>
                  </a:lnTo>
                  <a:lnTo>
                    <a:pt x="827" y="1144"/>
                  </a:lnTo>
                  <a:lnTo>
                    <a:pt x="827" y="1142"/>
                  </a:lnTo>
                  <a:lnTo>
                    <a:pt x="828" y="1142"/>
                  </a:lnTo>
                  <a:close/>
                  <a:moveTo>
                    <a:pt x="906" y="1142"/>
                  </a:moveTo>
                  <a:lnTo>
                    <a:pt x="908" y="1142"/>
                  </a:lnTo>
                  <a:lnTo>
                    <a:pt x="906" y="1142"/>
                  </a:lnTo>
                  <a:close/>
                  <a:moveTo>
                    <a:pt x="830" y="1142"/>
                  </a:moveTo>
                  <a:lnTo>
                    <a:pt x="830" y="1140"/>
                  </a:lnTo>
                  <a:lnTo>
                    <a:pt x="832" y="1142"/>
                  </a:lnTo>
                  <a:lnTo>
                    <a:pt x="830" y="1142"/>
                  </a:lnTo>
                  <a:close/>
                  <a:moveTo>
                    <a:pt x="884" y="1142"/>
                  </a:moveTo>
                  <a:lnTo>
                    <a:pt x="884" y="1140"/>
                  </a:lnTo>
                  <a:lnTo>
                    <a:pt x="885" y="1142"/>
                  </a:lnTo>
                  <a:lnTo>
                    <a:pt x="885" y="1144"/>
                  </a:lnTo>
                  <a:lnTo>
                    <a:pt x="885" y="1142"/>
                  </a:lnTo>
                  <a:lnTo>
                    <a:pt x="885" y="1144"/>
                  </a:lnTo>
                  <a:lnTo>
                    <a:pt x="885" y="1145"/>
                  </a:lnTo>
                  <a:lnTo>
                    <a:pt x="885" y="1144"/>
                  </a:lnTo>
                  <a:lnTo>
                    <a:pt x="884" y="1144"/>
                  </a:lnTo>
                  <a:lnTo>
                    <a:pt x="885" y="1144"/>
                  </a:lnTo>
                  <a:lnTo>
                    <a:pt x="884" y="1144"/>
                  </a:lnTo>
                  <a:lnTo>
                    <a:pt x="884" y="1142"/>
                  </a:lnTo>
                  <a:close/>
                  <a:moveTo>
                    <a:pt x="908" y="1142"/>
                  </a:moveTo>
                  <a:lnTo>
                    <a:pt x="908" y="1140"/>
                  </a:lnTo>
                  <a:lnTo>
                    <a:pt x="908" y="1142"/>
                  </a:lnTo>
                  <a:close/>
                  <a:moveTo>
                    <a:pt x="895" y="1142"/>
                  </a:moveTo>
                  <a:lnTo>
                    <a:pt x="895" y="1140"/>
                  </a:lnTo>
                  <a:lnTo>
                    <a:pt x="897" y="1140"/>
                  </a:lnTo>
                  <a:lnTo>
                    <a:pt x="897" y="1142"/>
                  </a:lnTo>
                  <a:lnTo>
                    <a:pt x="897" y="1144"/>
                  </a:lnTo>
                  <a:lnTo>
                    <a:pt x="895" y="1144"/>
                  </a:lnTo>
                  <a:lnTo>
                    <a:pt x="893" y="1144"/>
                  </a:lnTo>
                  <a:lnTo>
                    <a:pt x="895" y="1144"/>
                  </a:lnTo>
                  <a:lnTo>
                    <a:pt x="893" y="1142"/>
                  </a:lnTo>
                  <a:lnTo>
                    <a:pt x="895" y="1142"/>
                  </a:lnTo>
                  <a:close/>
                  <a:moveTo>
                    <a:pt x="830" y="1140"/>
                  </a:moveTo>
                  <a:lnTo>
                    <a:pt x="830" y="1142"/>
                  </a:lnTo>
                  <a:lnTo>
                    <a:pt x="828" y="1142"/>
                  </a:lnTo>
                  <a:lnTo>
                    <a:pt x="830" y="1142"/>
                  </a:lnTo>
                  <a:lnTo>
                    <a:pt x="830" y="1140"/>
                  </a:lnTo>
                  <a:close/>
                  <a:moveTo>
                    <a:pt x="897" y="1140"/>
                  </a:moveTo>
                  <a:lnTo>
                    <a:pt x="898" y="1140"/>
                  </a:lnTo>
                  <a:lnTo>
                    <a:pt x="897" y="1140"/>
                  </a:lnTo>
                  <a:lnTo>
                    <a:pt x="898" y="1140"/>
                  </a:lnTo>
                  <a:lnTo>
                    <a:pt x="897" y="1140"/>
                  </a:lnTo>
                  <a:close/>
                  <a:moveTo>
                    <a:pt x="885" y="1140"/>
                  </a:moveTo>
                  <a:lnTo>
                    <a:pt x="885" y="1142"/>
                  </a:lnTo>
                  <a:lnTo>
                    <a:pt x="885" y="1140"/>
                  </a:lnTo>
                  <a:close/>
                  <a:moveTo>
                    <a:pt x="830" y="1140"/>
                  </a:moveTo>
                  <a:lnTo>
                    <a:pt x="828" y="1140"/>
                  </a:lnTo>
                  <a:lnTo>
                    <a:pt x="830" y="1140"/>
                  </a:lnTo>
                  <a:close/>
                  <a:moveTo>
                    <a:pt x="820" y="1140"/>
                  </a:moveTo>
                  <a:lnTo>
                    <a:pt x="822" y="1140"/>
                  </a:lnTo>
                  <a:lnTo>
                    <a:pt x="820" y="1140"/>
                  </a:lnTo>
                  <a:close/>
                  <a:moveTo>
                    <a:pt x="836" y="1140"/>
                  </a:moveTo>
                  <a:lnTo>
                    <a:pt x="836" y="1139"/>
                  </a:lnTo>
                  <a:lnTo>
                    <a:pt x="836" y="1140"/>
                  </a:lnTo>
                  <a:close/>
                  <a:moveTo>
                    <a:pt x="822" y="1139"/>
                  </a:moveTo>
                  <a:lnTo>
                    <a:pt x="822" y="1140"/>
                  </a:lnTo>
                  <a:lnTo>
                    <a:pt x="822" y="1139"/>
                  </a:lnTo>
                  <a:close/>
                  <a:moveTo>
                    <a:pt x="825" y="1140"/>
                  </a:moveTo>
                  <a:lnTo>
                    <a:pt x="825" y="1139"/>
                  </a:lnTo>
                  <a:lnTo>
                    <a:pt x="825" y="1140"/>
                  </a:lnTo>
                  <a:close/>
                  <a:moveTo>
                    <a:pt x="822" y="1139"/>
                  </a:moveTo>
                  <a:lnTo>
                    <a:pt x="822" y="1140"/>
                  </a:lnTo>
                  <a:lnTo>
                    <a:pt x="822" y="1139"/>
                  </a:lnTo>
                  <a:close/>
                  <a:moveTo>
                    <a:pt x="836" y="1140"/>
                  </a:moveTo>
                  <a:lnTo>
                    <a:pt x="836" y="1139"/>
                  </a:lnTo>
                  <a:lnTo>
                    <a:pt x="836" y="1140"/>
                  </a:lnTo>
                  <a:close/>
                  <a:moveTo>
                    <a:pt x="903" y="1140"/>
                  </a:moveTo>
                  <a:lnTo>
                    <a:pt x="901" y="1140"/>
                  </a:lnTo>
                  <a:lnTo>
                    <a:pt x="901" y="1139"/>
                  </a:lnTo>
                  <a:lnTo>
                    <a:pt x="903" y="1139"/>
                  </a:lnTo>
                  <a:lnTo>
                    <a:pt x="903" y="1140"/>
                  </a:lnTo>
                  <a:close/>
                  <a:moveTo>
                    <a:pt x="890" y="1140"/>
                  </a:moveTo>
                  <a:lnTo>
                    <a:pt x="890" y="1139"/>
                  </a:lnTo>
                  <a:lnTo>
                    <a:pt x="890" y="1140"/>
                  </a:lnTo>
                  <a:close/>
                  <a:moveTo>
                    <a:pt x="836" y="1139"/>
                  </a:moveTo>
                  <a:lnTo>
                    <a:pt x="836" y="1140"/>
                  </a:lnTo>
                  <a:lnTo>
                    <a:pt x="836" y="1139"/>
                  </a:lnTo>
                  <a:lnTo>
                    <a:pt x="836" y="1140"/>
                  </a:lnTo>
                  <a:lnTo>
                    <a:pt x="836" y="1139"/>
                  </a:lnTo>
                  <a:close/>
                  <a:moveTo>
                    <a:pt x="820" y="1139"/>
                  </a:moveTo>
                  <a:lnTo>
                    <a:pt x="822" y="1139"/>
                  </a:lnTo>
                  <a:lnTo>
                    <a:pt x="820" y="1139"/>
                  </a:lnTo>
                  <a:close/>
                  <a:moveTo>
                    <a:pt x="830" y="1140"/>
                  </a:moveTo>
                  <a:lnTo>
                    <a:pt x="830" y="1139"/>
                  </a:lnTo>
                  <a:lnTo>
                    <a:pt x="828" y="1139"/>
                  </a:lnTo>
                  <a:lnTo>
                    <a:pt x="830" y="1139"/>
                  </a:lnTo>
                  <a:lnTo>
                    <a:pt x="830" y="1140"/>
                  </a:lnTo>
                  <a:close/>
                  <a:moveTo>
                    <a:pt x="900" y="1139"/>
                  </a:moveTo>
                  <a:lnTo>
                    <a:pt x="901" y="1139"/>
                  </a:lnTo>
                  <a:lnTo>
                    <a:pt x="900" y="1139"/>
                  </a:lnTo>
                  <a:close/>
                  <a:moveTo>
                    <a:pt x="840" y="1137"/>
                  </a:moveTo>
                  <a:lnTo>
                    <a:pt x="840" y="1139"/>
                  </a:lnTo>
                  <a:lnTo>
                    <a:pt x="840" y="1137"/>
                  </a:lnTo>
                  <a:close/>
                  <a:moveTo>
                    <a:pt x="825" y="1139"/>
                  </a:moveTo>
                  <a:lnTo>
                    <a:pt x="825" y="1137"/>
                  </a:lnTo>
                  <a:lnTo>
                    <a:pt x="825" y="1139"/>
                  </a:lnTo>
                  <a:close/>
                  <a:moveTo>
                    <a:pt x="827" y="1137"/>
                  </a:moveTo>
                  <a:lnTo>
                    <a:pt x="827" y="1139"/>
                  </a:lnTo>
                  <a:lnTo>
                    <a:pt x="827" y="1137"/>
                  </a:lnTo>
                  <a:close/>
                  <a:moveTo>
                    <a:pt x="840" y="1137"/>
                  </a:moveTo>
                  <a:lnTo>
                    <a:pt x="840" y="1139"/>
                  </a:lnTo>
                  <a:lnTo>
                    <a:pt x="840" y="1137"/>
                  </a:lnTo>
                  <a:close/>
                  <a:moveTo>
                    <a:pt x="901" y="1139"/>
                  </a:moveTo>
                  <a:lnTo>
                    <a:pt x="901" y="1137"/>
                  </a:lnTo>
                  <a:lnTo>
                    <a:pt x="901" y="1139"/>
                  </a:lnTo>
                  <a:lnTo>
                    <a:pt x="903" y="1139"/>
                  </a:lnTo>
                  <a:lnTo>
                    <a:pt x="901" y="1139"/>
                  </a:lnTo>
                  <a:close/>
                  <a:moveTo>
                    <a:pt x="822" y="1137"/>
                  </a:moveTo>
                  <a:lnTo>
                    <a:pt x="822" y="1139"/>
                  </a:lnTo>
                  <a:lnTo>
                    <a:pt x="822" y="1137"/>
                  </a:lnTo>
                  <a:close/>
                  <a:moveTo>
                    <a:pt x="823" y="1137"/>
                  </a:moveTo>
                  <a:lnTo>
                    <a:pt x="823" y="1139"/>
                  </a:lnTo>
                  <a:lnTo>
                    <a:pt x="823" y="1137"/>
                  </a:lnTo>
                  <a:close/>
                  <a:moveTo>
                    <a:pt x="903" y="1137"/>
                  </a:moveTo>
                  <a:lnTo>
                    <a:pt x="905" y="1137"/>
                  </a:lnTo>
                  <a:lnTo>
                    <a:pt x="903" y="1137"/>
                  </a:lnTo>
                  <a:close/>
                  <a:moveTo>
                    <a:pt x="871" y="1139"/>
                  </a:moveTo>
                  <a:lnTo>
                    <a:pt x="871" y="1137"/>
                  </a:lnTo>
                  <a:lnTo>
                    <a:pt x="871" y="1139"/>
                  </a:lnTo>
                  <a:close/>
                  <a:moveTo>
                    <a:pt x="838" y="1137"/>
                  </a:moveTo>
                  <a:lnTo>
                    <a:pt x="838" y="1139"/>
                  </a:lnTo>
                  <a:lnTo>
                    <a:pt x="838" y="1137"/>
                  </a:lnTo>
                  <a:close/>
                  <a:moveTo>
                    <a:pt x="825" y="1137"/>
                  </a:moveTo>
                  <a:lnTo>
                    <a:pt x="827" y="1137"/>
                  </a:lnTo>
                  <a:lnTo>
                    <a:pt x="825" y="1137"/>
                  </a:lnTo>
                  <a:close/>
                  <a:moveTo>
                    <a:pt x="838" y="1137"/>
                  </a:moveTo>
                  <a:lnTo>
                    <a:pt x="838" y="1139"/>
                  </a:lnTo>
                  <a:lnTo>
                    <a:pt x="838" y="1137"/>
                  </a:lnTo>
                  <a:close/>
                  <a:moveTo>
                    <a:pt x="871" y="1137"/>
                  </a:moveTo>
                  <a:lnTo>
                    <a:pt x="872" y="1137"/>
                  </a:lnTo>
                  <a:lnTo>
                    <a:pt x="871" y="1137"/>
                  </a:lnTo>
                  <a:close/>
                  <a:moveTo>
                    <a:pt x="872" y="1137"/>
                  </a:moveTo>
                  <a:lnTo>
                    <a:pt x="874" y="1137"/>
                  </a:lnTo>
                  <a:lnTo>
                    <a:pt x="872" y="1137"/>
                  </a:lnTo>
                  <a:close/>
                  <a:moveTo>
                    <a:pt x="822" y="1137"/>
                  </a:moveTo>
                  <a:lnTo>
                    <a:pt x="823" y="1137"/>
                  </a:lnTo>
                  <a:lnTo>
                    <a:pt x="822" y="1137"/>
                  </a:lnTo>
                  <a:close/>
                  <a:moveTo>
                    <a:pt x="823" y="1136"/>
                  </a:moveTo>
                  <a:lnTo>
                    <a:pt x="823" y="1137"/>
                  </a:lnTo>
                  <a:lnTo>
                    <a:pt x="823" y="1136"/>
                  </a:lnTo>
                  <a:close/>
                  <a:moveTo>
                    <a:pt x="827" y="1137"/>
                  </a:moveTo>
                  <a:lnTo>
                    <a:pt x="827" y="1136"/>
                  </a:lnTo>
                  <a:lnTo>
                    <a:pt x="827" y="1137"/>
                  </a:lnTo>
                  <a:close/>
                  <a:moveTo>
                    <a:pt x="823" y="1136"/>
                  </a:moveTo>
                  <a:lnTo>
                    <a:pt x="823" y="1137"/>
                  </a:lnTo>
                  <a:lnTo>
                    <a:pt x="823" y="1136"/>
                  </a:lnTo>
                  <a:close/>
                  <a:moveTo>
                    <a:pt x="841" y="1137"/>
                  </a:moveTo>
                  <a:lnTo>
                    <a:pt x="840" y="1137"/>
                  </a:lnTo>
                  <a:lnTo>
                    <a:pt x="841" y="1137"/>
                  </a:lnTo>
                  <a:lnTo>
                    <a:pt x="841" y="1136"/>
                  </a:lnTo>
                  <a:lnTo>
                    <a:pt x="841" y="1137"/>
                  </a:lnTo>
                  <a:close/>
                  <a:moveTo>
                    <a:pt x="980" y="1136"/>
                  </a:moveTo>
                  <a:lnTo>
                    <a:pt x="980" y="1137"/>
                  </a:lnTo>
                  <a:lnTo>
                    <a:pt x="980" y="1136"/>
                  </a:lnTo>
                  <a:close/>
                  <a:moveTo>
                    <a:pt x="841" y="1136"/>
                  </a:moveTo>
                  <a:lnTo>
                    <a:pt x="843" y="1136"/>
                  </a:lnTo>
                  <a:lnTo>
                    <a:pt x="841" y="1136"/>
                  </a:lnTo>
                  <a:close/>
                  <a:moveTo>
                    <a:pt x="874" y="1136"/>
                  </a:moveTo>
                  <a:lnTo>
                    <a:pt x="874" y="1137"/>
                  </a:lnTo>
                  <a:lnTo>
                    <a:pt x="874" y="1136"/>
                  </a:lnTo>
                  <a:close/>
                  <a:moveTo>
                    <a:pt x="840" y="1136"/>
                  </a:moveTo>
                  <a:lnTo>
                    <a:pt x="840" y="1137"/>
                  </a:lnTo>
                  <a:lnTo>
                    <a:pt x="838" y="1137"/>
                  </a:lnTo>
                  <a:lnTo>
                    <a:pt x="838" y="1136"/>
                  </a:lnTo>
                  <a:lnTo>
                    <a:pt x="840" y="1136"/>
                  </a:lnTo>
                  <a:close/>
                  <a:moveTo>
                    <a:pt x="841" y="1136"/>
                  </a:moveTo>
                  <a:lnTo>
                    <a:pt x="843" y="1136"/>
                  </a:lnTo>
                  <a:lnTo>
                    <a:pt x="841" y="1136"/>
                  </a:lnTo>
                  <a:close/>
                  <a:moveTo>
                    <a:pt x="973" y="1136"/>
                  </a:moveTo>
                  <a:lnTo>
                    <a:pt x="971" y="1136"/>
                  </a:lnTo>
                  <a:lnTo>
                    <a:pt x="973" y="1136"/>
                  </a:lnTo>
                  <a:close/>
                  <a:moveTo>
                    <a:pt x="825" y="1136"/>
                  </a:moveTo>
                  <a:lnTo>
                    <a:pt x="825" y="1134"/>
                  </a:lnTo>
                  <a:lnTo>
                    <a:pt x="825" y="1136"/>
                  </a:lnTo>
                  <a:close/>
                  <a:moveTo>
                    <a:pt x="836" y="1136"/>
                  </a:moveTo>
                  <a:lnTo>
                    <a:pt x="835" y="1136"/>
                  </a:lnTo>
                  <a:lnTo>
                    <a:pt x="836" y="1134"/>
                  </a:lnTo>
                  <a:lnTo>
                    <a:pt x="836" y="1136"/>
                  </a:lnTo>
                  <a:close/>
                  <a:moveTo>
                    <a:pt x="843" y="1136"/>
                  </a:moveTo>
                  <a:lnTo>
                    <a:pt x="843" y="1134"/>
                  </a:lnTo>
                  <a:lnTo>
                    <a:pt x="843" y="1136"/>
                  </a:lnTo>
                  <a:close/>
                  <a:moveTo>
                    <a:pt x="971" y="1134"/>
                  </a:moveTo>
                  <a:lnTo>
                    <a:pt x="971" y="1136"/>
                  </a:lnTo>
                  <a:lnTo>
                    <a:pt x="971" y="1134"/>
                  </a:lnTo>
                  <a:lnTo>
                    <a:pt x="973" y="1134"/>
                  </a:lnTo>
                  <a:lnTo>
                    <a:pt x="971" y="1134"/>
                  </a:lnTo>
                  <a:close/>
                  <a:moveTo>
                    <a:pt x="845" y="1134"/>
                  </a:moveTo>
                  <a:lnTo>
                    <a:pt x="846" y="1134"/>
                  </a:lnTo>
                  <a:lnTo>
                    <a:pt x="845" y="1134"/>
                  </a:lnTo>
                  <a:close/>
                  <a:moveTo>
                    <a:pt x="845" y="1134"/>
                  </a:moveTo>
                  <a:lnTo>
                    <a:pt x="845" y="1136"/>
                  </a:lnTo>
                  <a:lnTo>
                    <a:pt x="845" y="1134"/>
                  </a:lnTo>
                  <a:close/>
                  <a:moveTo>
                    <a:pt x="843" y="1134"/>
                  </a:moveTo>
                  <a:lnTo>
                    <a:pt x="845" y="1134"/>
                  </a:lnTo>
                  <a:lnTo>
                    <a:pt x="845" y="1136"/>
                  </a:lnTo>
                  <a:lnTo>
                    <a:pt x="843" y="1136"/>
                  </a:lnTo>
                  <a:lnTo>
                    <a:pt x="843" y="1137"/>
                  </a:lnTo>
                  <a:lnTo>
                    <a:pt x="843" y="1136"/>
                  </a:lnTo>
                  <a:lnTo>
                    <a:pt x="843" y="1137"/>
                  </a:lnTo>
                  <a:lnTo>
                    <a:pt x="843" y="1136"/>
                  </a:lnTo>
                  <a:lnTo>
                    <a:pt x="843" y="1134"/>
                  </a:lnTo>
                  <a:close/>
                  <a:moveTo>
                    <a:pt x="893" y="1134"/>
                  </a:moveTo>
                  <a:lnTo>
                    <a:pt x="895" y="1134"/>
                  </a:lnTo>
                  <a:lnTo>
                    <a:pt x="893" y="1134"/>
                  </a:lnTo>
                  <a:close/>
                  <a:moveTo>
                    <a:pt x="840" y="1134"/>
                  </a:moveTo>
                  <a:lnTo>
                    <a:pt x="840" y="1132"/>
                  </a:lnTo>
                  <a:lnTo>
                    <a:pt x="840" y="1134"/>
                  </a:lnTo>
                  <a:close/>
                  <a:moveTo>
                    <a:pt x="973" y="1132"/>
                  </a:moveTo>
                  <a:lnTo>
                    <a:pt x="973" y="1134"/>
                  </a:lnTo>
                  <a:lnTo>
                    <a:pt x="973" y="1132"/>
                  </a:lnTo>
                  <a:close/>
                  <a:moveTo>
                    <a:pt x="841" y="1132"/>
                  </a:moveTo>
                  <a:lnTo>
                    <a:pt x="841" y="1134"/>
                  </a:lnTo>
                  <a:lnTo>
                    <a:pt x="841" y="1132"/>
                  </a:lnTo>
                  <a:close/>
                  <a:moveTo>
                    <a:pt x="898" y="1134"/>
                  </a:moveTo>
                  <a:lnTo>
                    <a:pt x="898" y="1132"/>
                  </a:lnTo>
                  <a:lnTo>
                    <a:pt x="898" y="1134"/>
                  </a:lnTo>
                  <a:close/>
                  <a:moveTo>
                    <a:pt x="840" y="1132"/>
                  </a:moveTo>
                  <a:lnTo>
                    <a:pt x="840" y="1134"/>
                  </a:lnTo>
                  <a:lnTo>
                    <a:pt x="840" y="1132"/>
                  </a:lnTo>
                  <a:lnTo>
                    <a:pt x="840" y="1134"/>
                  </a:lnTo>
                  <a:lnTo>
                    <a:pt x="840" y="1132"/>
                  </a:lnTo>
                  <a:close/>
                  <a:moveTo>
                    <a:pt x="841" y="1134"/>
                  </a:moveTo>
                  <a:lnTo>
                    <a:pt x="843" y="1134"/>
                  </a:lnTo>
                  <a:lnTo>
                    <a:pt x="841" y="1136"/>
                  </a:lnTo>
                  <a:lnTo>
                    <a:pt x="840" y="1137"/>
                  </a:lnTo>
                  <a:lnTo>
                    <a:pt x="840" y="1136"/>
                  </a:lnTo>
                  <a:lnTo>
                    <a:pt x="840" y="1134"/>
                  </a:lnTo>
                  <a:lnTo>
                    <a:pt x="841" y="1134"/>
                  </a:lnTo>
                  <a:lnTo>
                    <a:pt x="841" y="1132"/>
                  </a:lnTo>
                  <a:lnTo>
                    <a:pt x="841" y="1134"/>
                  </a:lnTo>
                  <a:close/>
                  <a:moveTo>
                    <a:pt x="888" y="1134"/>
                  </a:moveTo>
                  <a:lnTo>
                    <a:pt x="890" y="1132"/>
                  </a:lnTo>
                  <a:lnTo>
                    <a:pt x="888" y="1134"/>
                  </a:lnTo>
                  <a:close/>
                  <a:moveTo>
                    <a:pt x="843" y="1134"/>
                  </a:moveTo>
                  <a:lnTo>
                    <a:pt x="843" y="1132"/>
                  </a:lnTo>
                  <a:lnTo>
                    <a:pt x="845" y="1132"/>
                  </a:lnTo>
                  <a:lnTo>
                    <a:pt x="845" y="1134"/>
                  </a:lnTo>
                  <a:lnTo>
                    <a:pt x="843" y="1134"/>
                  </a:lnTo>
                  <a:close/>
                  <a:moveTo>
                    <a:pt x="841" y="1132"/>
                  </a:moveTo>
                  <a:lnTo>
                    <a:pt x="843" y="1132"/>
                  </a:lnTo>
                  <a:lnTo>
                    <a:pt x="841" y="1134"/>
                  </a:lnTo>
                  <a:lnTo>
                    <a:pt x="841" y="1132"/>
                  </a:lnTo>
                  <a:close/>
                  <a:moveTo>
                    <a:pt x="845" y="1132"/>
                  </a:moveTo>
                  <a:lnTo>
                    <a:pt x="846" y="1134"/>
                  </a:lnTo>
                  <a:lnTo>
                    <a:pt x="845" y="1134"/>
                  </a:lnTo>
                  <a:lnTo>
                    <a:pt x="845" y="1132"/>
                  </a:lnTo>
                  <a:close/>
                  <a:moveTo>
                    <a:pt x="840" y="1132"/>
                  </a:moveTo>
                  <a:lnTo>
                    <a:pt x="841" y="1132"/>
                  </a:lnTo>
                  <a:lnTo>
                    <a:pt x="840" y="1132"/>
                  </a:lnTo>
                  <a:close/>
                  <a:moveTo>
                    <a:pt x="893" y="1132"/>
                  </a:moveTo>
                  <a:lnTo>
                    <a:pt x="895" y="1132"/>
                  </a:lnTo>
                  <a:lnTo>
                    <a:pt x="893" y="1132"/>
                  </a:lnTo>
                  <a:close/>
                  <a:moveTo>
                    <a:pt x="890" y="1132"/>
                  </a:moveTo>
                  <a:lnTo>
                    <a:pt x="892" y="1132"/>
                  </a:lnTo>
                  <a:lnTo>
                    <a:pt x="892" y="1134"/>
                  </a:lnTo>
                  <a:lnTo>
                    <a:pt x="892" y="1132"/>
                  </a:lnTo>
                  <a:lnTo>
                    <a:pt x="890" y="1134"/>
                  </a:lnTo>
                  <a:lnTo>
                    <a:pt x="892" y="1134"/>
                  </a:lnTo>
                  <a:lnTo>
                    <a:pt x="890" y="1134"/>
                  </a:lnTo>
                  <a:lnTo>
                    <a:pt x="890" y="1132"/>
                  </a:lnTo>
                  <a:close/>
                  <a:moveTo>
                    <a:pt x="846" y="1132"/>
                  </a:moveTo>
                  <a:lnTo>
                    <a:pt x="846" y="1134"/>
                  </a:lnTo>
                  <a:lnTo>
                    <a:pt x="845" y="1132"/>
                  </a:lnTo>
                  <a:lnTo>
                    <a:pt x="846" y="1132"/>
                  </a:lnTo>
                  <a:close/>
                  <a:moveTo>
                    <a:pt x="843" y="1132"/>
                  </a:moveTo>
                  <a:lnTo>
                    <a:pt x="843" y="1131"/>
                  </a:lnTo>
                  <a:lnTo>
                    <a:pt x="843" y="1132"/>
                  </a:lnTo>
                  <a:close/>
                  <a:moveTo>
                    <a:pt x="843" y="1131"/>
                  </a:moveTo>
                  <a:lnTo>
                    <a:pt x="843" y="1132"/>
                  </a:lnTo>
                  <a:lnTo>
                    <a:pt x="843" y="1131"/>
                  </a:lnTo>
                  <a:lnTo>
                    <a:pt x="843" y="1132"/>
                  </a:lnTo>
                  <a:lnTo>
                    <a:pt x="843" y="1131"/>
                  </a:lnTo>
                  <a:close/>
                  <a:moveTo>
                    <a:pt x="841" y="1131"/>
                  </a:moveTo>
                  <a:lnTo>
                    <a:pt x="843" y="1131"/>
                  </a:lnTo>
                  <a:lnTo>
                    <a:pt x="841" y="1131"/>
                  </a:lnTo>
                  <a:close/>
                  <a:moveTo>
                    <a:pt x="846" y="1131"/>
                  </a:moveTo>
                  <a:lnTo>
                    <a:pt x="846" y="1132"/>
                  </a:lnTo>
                  <a:lnTo>
                    <a:pt x="846" y="1131"/>
                  </a:lnTo>
                  <a:lnTo>
                    <a:pt x="848" y="1131"/>
                  </a:lnTo>
                  <a:lnTo>
                    <a:pt x="849" y="1131"/>
                  </a:lnTo>
                  <a:lnTo>
                    <a:pt x="848" y="1131"/>
                  </a:lnTo>
                  <a:lnTo>
                    <a:pt x="849" y="1132"/>
                  </a:lnTo>
                  <a:lnTo>
                    <a:pt x="848" y="1132"/>
                  </a:lnTo>
                  <a:lnTo>
                    <a:pt x="846" y="1132"/>
                  </a:lnTo>
                  <a:lnTo>
                    <a:pt x="846" y="1131"/>
                  </a:lnTo>
                  <a:close/>
                  <a:moveTo>
                    <a:pt x="848" y="1131"/>
                  </a:moveTo>
                  <a:lnTo>
                    <a:pt x="849" y="1131"/>
                  </a:lnTo>
                  <a:lnTo>
                    <a:pt x="848" y="1131"/>
                  </a:lnTo>
                  <a:close/>
                  <a:moveTo>
                    <a:pt x="843" y="1131"/>
                  </a:moveTo>
                  <a:lnTo>
                    <a:pt x="845" y="1131"/>
                  </a:lnTo>
                  <a:lnTo>
                    <a:pt x="843" y="1131"/>
                  </a:lnTo>
                  <a:lnTo>
                    <a:pt x="843" y="1132"/>
                  </a:lnTo>
                  <a:lnTo>
                    <a:pt x="843" y="1131"/>
                  </a:lnTo>
                  <a:lnTo>
                    <a:pt x="845" y="1131"/>
                  </a:lnTo>
                  <a:lnTo>
                    <a:pt x="845" y="1132"/>
                  </a:lnTo>
                  <a:lnTo>
                    <a:pt x="843" y="1132"/>
                  </a:lnTo>
                  <a:lnTo>
                    <a:pt x="843" y="1134"/>
                  </a:lnTo>
                  <a:lnTo>
                    <a:pt x="843" y="1132"/>
                  </a:lnTo>
                  <a:lnTo>
                    <a:pt x="841" y="1132"/>
                  </a:lnTo>
                  <a:lnTo>
                    <a:pt x="841" y="1131"/>
                  </a:lnTo>
                  <a:lnTo>
                    <a:pt x="843" y="1132"/>
                  </a:lnTo>
                  <a:lnTo>
                    <a:pt x="843" y="1131"/>
                  </a:lnTo>
                  <a:close/>
                  <a:moveTo>
                    <a:pt x="846" y="1131"/>
                  </a:moveTo>
                  <a:lnTo>
                    <a:pt x="845" y="1131"/>
                  </a:lnTo>
                  <a:lnTo>
                    <a:pt x="846" y="1131"/>
                  </a:lnTo>
                  <a:close/>
                  <a:moveTo>
                    <a:pt x="845" y="1129"/>
                  </a:moveTo>
                  <a:lnTo>
                    <a:pt x="845" y="1131"/>
                  </a:lnTo>
                  <a:lnTo>
                    <a:pt x="845" y="1129"/>
                  </a:lnTo>
                  <a:close/>
                  <a:moveTo>
                    <a:pt x="988" y="1129"/>
                  </a:moveTo>
                  <a:lnTo>
                    <a:pt x="988" y="1127"/>
                  </a:lnTo>
                  <a:lnTo>
                    <a:pt x="989" y="1127"/>
                  </a:lnTo>
                  <a:lnTo>
                    <a:pt x="989" y="1129"/>
                  </a:lnTo>
                  <a:lnTo>
                    <a:pt x="988" y="1129"/>
                  </a:lnTo>
                  <a:close/>
                  <a:moveTo>
                    <a:pt x="848" y="1127"/>
                  </a:moveTo>
                  <a:lnTo>
                    <a:pt x="849" y="1127"/>
                  </a:lnTo>
                  <a:lnTo>
                    <a:pt x="848" y="1127"/>
                  </a:lnTo>
                  <a:close/>
                  <a:moveTo>
                    <a:pt x="900" y="1127"/>
                  </a:moveTo>
                  <a:lnTo>
                    <a:pt x="898" y="1127"/>
                  </a:lnTo>
                  <a:lnTo>
                    <a:pt x="900" y="1127"/>
                  </a:lnTo>
                  <a:close/>
                  <a:moveTo>
                    <a:pt x="848" y="1127"/>
                  </a:moveTo>
                  <a:lnTo>
                    <a:pt x="848" y="1126"/>
                  </a:lnTo>
                  <a:lnTo>
                    <a:pt x="848" y="1127"/>
                  </a:lnTo>
                  <a:close/>
                  <a:moveTo>
                    <a:pt x="981" y="1127"/>
                  </a:moveTo>
                  <a:lnTo>
                    <a:pt x="983" y="1126"/>
                  </a:lnTo>
                  <a:lnTo>
                    <a:pt x="983" y="1127"/>
                  </a:lnTo>
                  <a:lnTo>
                    <a:pt x="981" y="1127"/>
                  </a:lnTo>
                  <a:close/>
                  <a:moveTo>
                    <a:pt x="849" y="1126"/>
                  </a:moveTo>
                  <a:lnTo>
                    <a:pt x="849" y="1127"/>
                  </a:lnTo>
                  <a:lnTo>
                    <a:pt x="849" y="1126"/>
                  </a:lnTo>
                  <a:close/>
                  <a:moveTo>
                    <a:pt x="900" y="1127"/>
                  </a:moveTo>
                  <a:lnTo>
                    <a:pt x="900" y="1126"/>
                  </a:lnTo>
                  <a:lnTo>
                    <a:pt x="900" y="1127"/>
                  </a:lnTo>
                  <a:close/>
                  <a:moveTo>
                    <a:pt x="845" y="1127"/>
                  </a:moveTo>
                  <a:lnTo>
                    <a:pt x="845" y="1126"/>
                  </a:lnTo>
                  <a:lnTo>
                    <a:pt x="845" y="1127"/>
                  </a:lnTo>
                  <a:close/>
                  <a:moveTo>
                    <a:pt x="895" y="1126"/>
                  </a:moveTo>
                  <a:lnTo>
                    <a:pt x="895" y="1127"/>
                  </a:lnTo>
                  <a:lnTo>
                    <a:pt x="895" y="1126"/>
                  </a:lnTo>
                  <a:close/>
                  <a:moveTo>
                    <a:pt x="845" y="1126"/>
                  </a:moveTo>
                  <a:lnTo>
                    <a:pt x="846" y="1126"/>
                  </a:lnTo>
                  <a:lnTo>
                    <a:pt x="846" y="1127"/>
                  </a:lnTo>
                  <a:lnTo>
                    <a:pt x="845" y="1127"/>
                  </a:lnTo>
                  <a:lnTo>
                    <a:pt x="845" y="1126"/>
                  </a:lnTo>
                  <a:close/>
                  <a:moveTo>
                    <a:pt x="903" y="1126"/>
                  </a:moveTo>
                  <a:lnTo>
                    <a:pt x="901" y="1126"/>
                  </a:lnTo>
                  <a:lnTo>
                    <a:pt x="903" y="1126"/>
                  </a:lnTo>
                  <a:close/>
                  <a:moveTo>
                    <a:pt x="848" y="1126"/>
                  </a:moveTo>
                  <a:lnTo>
                    <a:pt x="846" y="1127"/>
                  </a:lnTo>
                  <a:lnTo>
                    <a:pt x="846" y="1126"/>
                  </a:lnTo>
                  <a:lnTo>
                    <a:pt x="848" y="1126"/>
                  </a:lnTo>
                  <a:close/>
                  <a:moveTo>
                    <a:pt x="903" y="1126"/>
                  </a:moveTo>
                  <a:lnTo>
                    <a:pt x="905" y="1126"/>
                  </a:lnTo>
                  <a:lnTo>
                    <a:pt x="903" y="1126"/>
                  </a:lnTo>
                  <a:close/>
                  <a:moveTo>
                    <a:pt x="890" y="1124"/>
                  </a:moveTo>
                  <a:lnTo>
                    <a:pt x="892" y="1126"/>
                  </a:lnTo>
                  <a:lnTo>
                    <a:pt x="890" y="1126"/>
                  </a:lnTo>
                  <a:lnTo>
                    <a:pt x="890" y="1124"/>
                  </a:lnTo>
                  <a:close/>
                  <a:moveTo>
                    <a:pt x="849" y="1126"/>
                  </a:moveTo>
                  <a:lnTo>
                    <a:pt x="849" y="1124"/>
                  </a:lnTo>
                  <a:lnTo>
                    <a:pt x="849" y="1126"/>
                  </a:lnTo>
                  <a:close/>
                  <a:moveTo>
                    <a:pt x="892" y="1126"/>
                  </a:moveTo>
                  <a:lnTo>
                    <a:pt x="892" y="1124"/>
                  </a:lnTo>
                  <a:lnTo>
                    <a:pt x="892" y="1126"/>
                  </a:lnTo>
                  <a:close/>
                  <a:moveTo>
                    <a:pt x="843" y="1124"/>
                  </a:moveTo>
                  <a:lnTo>
                    <a:pt x="845" y="1124"/>
                  </a:lnTo>
                  <a:lnTo>
                    <a:pt x="843" y="1126"/>
                  </a:lnTo>
                  <a:lnTo>
                    <a:pt x="843" y="1124"/>
                  </a:lnTo>
                  <a:close/>
                  <a:moveTo>
                    <a:pt x="890" y="1124"/>
                  </a:moveTo>
                  <a:lnTo>
                    <a:pt x="890" y="1126"/>
                  </a:lnTo>
                  <a:lnTo>
                    <a:pt x="890" y="1124"/>
                  </a:lnTo>
                  <a:close/>
                  <a:moveTo>
                    <a:pt x="892" y="1126"/>
                  </a:moveTo>
                  <a:lnTo>
                    <a:pt x="892" y="1124"/>
                  </a:lnTo>
                  <a:lnTo>
                    <a:pt x="892" y="1126"/>
                  </a:lnTo>
                  <a:close/>
                  <a:moveTo>
                    <a:pt x="892" y="1124"/>
                  </a:moveTo>
                  <a:lnTo>
                    <a:pt x="893" y="1124"/>
                  </a:lnTo>
                  <a:lnTo>
                    <a:pt x="893" y="1126"/>
                  </a:lnTo>
                  <a:lnTo>
                    <a:pt x="893" y="1127"/>
                  </a:lnTo>
                  <a:lnTo>
                    <a:pt x="895" y="1127"/>
                  </a:lnTo>
                  <a:lnTo>
                    <a:pt x="897" y="1129"/>
                  </a:lnTo>
                  <a:lnTo>
                    <a:pt x="897" y="1131"/>
                  </a:lnTo>
                  <a:lnTo>
                    <a:pt x="895" y="1132"/>
                  </a:lnTo>
                  <a:lnTo>
                    <a:pt x="893" y="1132"/>
                  </a:lnTo>
                  <a:lnTo>
                    <a:pt x="892" y="1132"/>
                  </a:lnTo>
                  <a:lnTo>
                    <a:pt x="893" y="1132"/>
                  </a:lnTo>
                  <a:lnTo>
                    <a:pt x="892" y="1132"/>
                  </a:lnTo>
                  <a:lnTo>
                    <a:pt x="892" y="1131"/>
                  </a:lnTo>
                  <a:lnTo>
                    <a:pt x="892" y="1132"/>
                  </a:lnTo>
                  <a:lnTo>
                    <a:pt x="890" y="1132"/>
                  </a:lnTo>
                  <a:lnTo>
                    <a:pt x="890" y="1131"/>
                  </a:lnTo>
                  <a:lnTo>
                    <a:pt x="892" y="1131"/>
                  </a:lnTo>
                  <a:lnTo>
                    <a:pt x="892" y="1129"/>
                  </a:lnTo>
                  <a:lnTo>
                    <a:pt x="893" y="1129"/>
                  </a:lnTo>
                  <a:lnTo>
                    <a:pt x="892" y="1129"/>
                  </a:lnTo>
                  <a:lnTo>
                    <a:pt x="890" y="1129"/>
                  </a:lnTo>
                  <a:lnTo>
                    <a:pt x="890" y="1127"/>
                  </a:lnTo>
                  <a:lnTo>
                    <a:pt x="890" y="1126"/>
                  </a:lnTo>
                  <a:lnTo>
                    <a:pt x="890" y="1127"/>
                  </a:lnTo>
                  <a:lnTo>
                    <a:pt x="890" y="1126"/>
                  </a:lnTo>
                  <a:lnTo>
                    <a:pt x="892" y="1126"/>
                  </a:lnTo>
                  <a:lnTo>
                    <a:pt x="892" y="1127"/>
                  </a:lnTo>
                  <a:lnTo>
                    <a:pt x="892" y="1126"/>
                  </a:lnTo>
                  <a:lnTo>
                    <a:pt x="893" y="1126"/>
                  </a:lnTo>
                  <a:lnTo>
                    <a:pt x="892" y="1126"/>
                  </a:lnTo>
                  <a:lnTo>
                    <a:pt x="892" y="1124"/>
                  </a:lnTo>
                  <a:close/>
                  <a:moveTo>
                    <a:pt x="849" y="1126"/>
                  </a:moveTo>
                  <a:lnTo>
                    <a:pt x="848" y="1126"/>
                  </a:lnTo>
                  <a:lnTo>
                    <a:pt x="849" y="1124"/>
                  </a:lnTo>
                  <a:lnTo>
                    <a:pt x="849" y="1126"/>
                  </a:lnTo>
                  <a:close/>
                  <a:moveTo>
                    <a:pt x="903" y="1124"/>
                  </a:moveTo>
                  <a:lnTo>
                    <a:pt x="905" y="1124"/>
                  </a:lnTo>
                  <a:lnTo>
                    <a:pt x="903" y="1124"/>
                  </a:lnTo>
                  <a:lnTo>
                    <a:pt x="905" y="1124"/>
                  </a:lnTo>
                  <a:lnTo>
                    <a:pt x="903" y="1124"/>
                  </a:lnTo>
                  <a:close/>
                  <a:moveTo>
                    <a:pt x="843" y="1124"/>
                  </a:moveTo>
                  <a:lnTo>
                    <a:pt x="845" y="1124"/>
                  </a:lnTo>
                  <a:lnTo>
                    <a:pt x="843" y="1124"/>
                  </a:lnTo>
                  <a:close/>
                  <a:moveTo>
                    <a:pt x="851" y="1124"/>
                  </a:moveTo>
                  <a:lnTo>
                    <a:pt x="849" y="1124"/>
                  </a:lnTo>
                  <a:lnTo>
                    <a:pt x="851" y="1124"/>
                  </a:lnTo>
                  <a:close/>
                  <a:moveTo>
                    <a:pt x="848" y="1123"/>
                  </a:moveTo>
                  <a:lnTo>
                    <a:pt x="848" y="1124"/>
                  </a:lnTo>
                  <a:lnTo>
                    <a:pt x="848" y="1123"/>
                  </a:lnTo>
                  <a:close/>
                  <a:moveTo>
                    <a:pt x="848" y="1124"/>
                  </a:moveTo>
                  <a:lnTo>
                    <a:pt x="849" y="1123"/>
                  </a:lnTo>
                  <a:lnTo>
                    <a:pt x="849" y="1124"/>
                  </a:lnTo>
                  <a:lnTo>
                    <a:pt x="848" y="1124"/>
                  </a:lnTo>
                  <a:close/>
                  <a:moveTo>
                    <a:pt x="851" y="1124"/>
                  </a:moveTo>
                  <a:lnTo>
                    <a:pt x="851" y="1123"/>
                  </a:lnTo>
                  <a:lnTo>
                    <a:pt x="851" y="1124"/>
                  </a:lnTo>
                  <a:close/>
                  <a:moveTo>
                    <a:pt x="895" y="1124"/>
                  </a:moveTo>
                  <a:lnTo>
                    <a:pt x="895" y="1123"/>
                  </a:lnTo>
                  <a:lnTo>
                    <a:pt x="895" y="1124"/>
                  </a:lnTo>
                  <a:close/>
                  <a:moveTo>
                    <a:pt x="851" y="1124"/>
                  </a:moveTo>
                  <a:lnTo>
                    <a:pt x="851" y="1123"/>
                  </a:lnTo>
                  <a:lnTo>
                    <a:pt x="851" y="1124"/>
                  </a:lnTo>
                  <a:close/>
                  <a:moveTo>
                    <a:pt x="846" y="1121"/>
                  </a:moveTo>
                  <a:lnTo>
                    <a:pt x="846" y="1123"/>
                  </a:lnTo>
                  <a:lnTo>
                    <a:pt x="846" y="1121"/>
                  </a:lnTo>
                  <a:close/>
                  <a:moveTo>
                    <a:pt x="849" y="1121"/>
                  </a:moveTo>
                  <a:lnTo>
                    <a:pt x="849" y="1123"/>
                  </a:lnTo>
                  <a:lnTo>
                    <a:pt x="849" y="1121"/>
                  </a:lnTo>
                  <a:close/>
                  <a:moveTo>
                    <a:pt x="853" y="1121"/>
                  </a:moveTo>
                  <a:lnTo>
                    <a:pt x="853" y="1123"/>
                  </a:lnTo>
                  <a:lnTo>
                    <a:pt x="853" y="1121"/>
                  </a:lnTo>
                  <a:close/>
                  <a:moveTo>
                    <a:pt x="845" y="1123"/>
                  </a:moveTo>
                  <a:lnTo>
                    <a:pt x="843" y="1123"/>
                  </a:lnTo>
                  <a:lnTo>
                    <a:pt x="843" y="1121"/>
                  </a:lnTo>
                  <a:lnTo>
                    <a:pt x="845" y="1121"/>
                  </a:lnTo>
                  <a:lnTo>
                    <a:pt x="845" y="1123"/>
                  </a:lnTo>
                  <a:lnTo>
                    <a:pt x="845" y="1121"/>
                  </a:lnTo>
                  <a:lnTo>
                    <a:pt x="845" y="1123"/>
                  </a:lnTo>
                  <a:close/>
                  <a:moveTo>
                    <a:pt x="846" y="1121"/>
                  </a:moveTo>
                  <a:lnTo>
                    <a:pt x="846" y="1123"/>
                  </a:lnTo>
                  <a:lnTo>
                    <a:pt x="846" y="1121"/>
                  </a:lnTo>
                  <a:close/>
                  <a:moveTo>
                    <a:pt x="897" y="1121"/>
                  </a:moveTo>
                  <a:lnTo>
                    <a:pt x="898" y="1121"/>
                  </a:lnTo>
                  <a:lnTo>
                    <a:pt x="901" y="1123"/>
                  </a:lnTo>
                  <a:lnTo>
                    <a:pt x="903" y="1124"/>
                  </a:lnTo>
                  <a:lnTo>
                    <a:pt x="903" y="1126"/>
                  </a:lnTo>
                  <a:lnTo>
                    <a:pt x="901" y="1124"/>
                  </a:lnTo>
                  <a:lnTo>
                    <a:pt x="900" y="1126"/>
                  </a:lnTo>
                  <a:lnTo>
                    <a:pt x="898" y="1127"/>
                  </a:lnTo>
                  <a:lnTo>
                    <a:pt x="898" y="1126"/>
                  </a:lnTo>
                  <a:lnTo>
                    <a:pt x="897" y="1126"/>
                  </a:lnTo>
                  <a:lnTo>
                    <a:pt x="897" y="1124"/>
                  </a:lnTo>
                  <a:lnTo>
                    <a:pt x="895" y="1124"/>
                  </a:lnTo>
                  <a:lnTo>
                    <a:pt x="895" y="1123"/>
                  </a:lnTo>
                  <a:lnTo>
                    <a:pt x="897" y="1123"/>
                  </a:lnTo>
                  <a:lnTo>
                    <a:pt x="895" y="1123"/>
                  </a:lnTo>
                  <a:lnTo>
                    <a:pt x="897" y="1123"/>
                  </a:lnTo>
                  <a:lnTo>
                    <a:pt x="897" y="1121"/>
                  </a:lnTo>
                  <a:close/>
                  <a:moveTo>
                    <a:pt x="908" y="1121"/>
                  </a:moveTo>
                  <a:lnTo>
                    <a:pt x="910" y="1121"/>
                  </a:lnTo>
                  <a:lnTo>
                    <a:pt x="908" y="1121"/>
                  </a:lnTo>
                  <a:close/>
                  <a:moveTo>
                    <a:pt x="854" y="1121"/>
                  </a:moveTo>
                  <a:lnTo>
                    <a:pt x="853" y="1121"/>
                  </a:lnTo>
                  <a:lnTo>
                    <a:pt x="854" y="1121"/>
                  </a:lnTo>
                  <a:lnTo>
                    <a:pt x="853" y="1121"/>
                  </a:lnTo>
                  <a:lnTo>
                    <a:pt x="854" y="1119"/>
                  </a:lnTo>
                  <a:lnTo>
                    <a:pt x="854" y="1121"/>
                  </a:lnTo>
                  <a:close/>
                  <a:moveTo>
                    <a:pt x="854" y="1119"/>
                  </a:moveTo>
                  <a:lnTo>
                    <a:pt x="854" y="1121"/>
                  </a:lnTo>
                  <a:lnTo>
                    <a:pt x="854" y="1119"/>
                  </a:lnTo>
                  <a:close/>
                  <a:moveTo>
                    <a:pt x="849" y="1119"/>
                  </a:moveTo>
                  <a:lnTo>
                    <a:pt x="851" y="1119"/>
                  </a:lnTo>
                  <a:lnTo>
                    <a:pt x="849" y="1121"/>
                  </a:lnTo>
                  <a:lnTo>
                    <a:pt x="849" y="1119"/>
                  </a:lnTo>
                  <a:close/>
                  <a:moveTo>
                    <a:pt x="851" y="1119"/>
                  </a:moveTo>
                  <a:lnTo>
                    <a:pt x="851" y="1121"/>
                  </a:lnTo>
                  <a:lnTo>
                    <a:pt x="851" y="1119"/>
                  </a:lnTo>
                  <a:close/>
                  <a:moveTo>
                    <a:pt x="892" y="1119"/>
                  </a:moveTo>
                  <a:lnTo>
                    <a:pt x="892" y="1118"/>
                  </a:lnTo>
                  <a:lnTo>
                    <a:pt x="892" y="1119"/>
                  </a:lnTo>
                  <a:close/>
                  <a:moveTo>
                    <a:pt x="892" y="1118"/>
                  </a:moveTo>
                  <a:lnTo>
                    <a:pt x="893" y="1116"/>
                  </a:lnTo>
                  <a:lnTo>
                    <a:pt x="893" y="1118"/>
                  </a:lnTo>
                  <a:lnTo>
                    <a:pt x="892" y="1118"/>
                  </a:lnTo>
                  <a:close/>
                  <a:moveTo>
                    <a:pt x="848" y="1116"/>
                  </a:moveTo>
                  <a:lnTo>
                    <a:pt x="849" y="1116"/>
                  </a:lnTo>
                  <a:lnTo>
                    <a:pt x="848" y="1116"/>
                  </a:lnTo>
                  <a:close/>
                  <a:moveTo>
                    <a:pt x="897" y="1116"/>
                  </a:moveTo>
                  <a:lnTo>
                    <a:pt x="898" y="1116"/>
                  </a:lnTo>
                  <a:lnTo>
                    <a:pt x="898" y="1114"/>
                  </a:lnTo>
                  <a:lnTo>
                    <a:pt x="898" y="1116"/>
                  </a:lnTo>
                  <a:lnTo>
                    <a:pt x="897" y="1116"/>
                  </a:lnTo>
                  <a:close/>
                  <a:moveTo>
                    <a:pt x="862" y="1114"/>
                  </a:moveTo>
                  <a:lnTo>
                    <a:pt x="862" y="1116"/>
                  </a:lnTo>
                  <a:lnTo>
                    <a:pt x="862" y="1114"/>
                  </a:lnTo>
                  <a:close/>
                  <a:moveTo>
                    <a:pt x="862" y="1114"/>
                  </a:moveTo>
                  <a:lnTo>
                    <a:pt x="862" y="1116"/>
                  </a:lnTo>
                  <a:lnTo>
                    <a:pt x="862" y="1114"/>
                  </a:lnTo>
                  <a:close/>
                  <a:moveTo>
                    <a:pt x="856" y="1114"/>
                  </a:moveTo>
                  <a:lnTo>
                    <a:pt x="858" y="1114"/>
                  </a:lnTo>
                  <a:lnTo>
                    <a:pt x="856" y="1114"/>
                  </a:lnTo>
                  <a:close/>
                  <a:moveTo>
                    <a:pt x="858" y="1114"/>
                  </a:moveTo>
                  <a:lnTo>
                    <a:pt x="858" y="1113"/>
                  </a:lnTo>
                  <a:lnTo>
                    <a:pt x="858" y="1114"/>
                  </a:lnTo>
                  <a:close/>
                  <a:moveTo>
                    <a:pt x="901" y="1113"/>
                  </a:moveTo>
                  <a:lnTo>
                    <a:pt x="903" y="1113"/>
                  </a:lnTo>
                  <a:lnTo>
                    <a:pt x="901" y="1113"/>
                  </a:lnTo>
                  <a:close/>
                  <a:moveTo>
                    <a:pt x="903" y="1113"/>
                  </a:moveTo>
                  <a:lnTo>
                    <a:pt x="905" y="1113"/>
                  </a:lnTo>
                  <a:lnTo>
                    <a:pt x="903" y="1113"/>
                  </a:lnTo>
                  <a:close/>
                  <a:moveTo>
                    <a:pt x="908" y="1113"/>
                  </a:moveTo>
                  <a:lnTo>
                    <a:pt x="908" y="1111"/>
                  </a:lnTo>
                  <a:lnTo>
                    <a:pt x="908" y="1113"/>
                  </a:lnTo>
                  <a:close/>
                  <a:moveTo>
                    <a:pt x="905" y="1113"/>
                  </a:moveTo>
                  <a:lnTo>
                    <a:pt x="905" y="1111"/>
                  </a:lnTo>
                  <a:lnTo>
                    <a:pt x="905" y="1113"/>
                  </a:lnTo>
                  <a:lnTo>
                    <a:pt x="905" y="1111"/>
                  </a:lnTo>
                  <a:lnTo>
                    <a:pt x="905" y="1113"/>
                  </a:lnTo>
                  <a:close/>
                  <a:moveTo>
                    <a:pt x="908" y="1111"/>
                  </a:moveTo>
                  <a:lnTo>
                    <a:pt x="910" y="1111"/>
                  </a:lnTo>
                  <a:lnTo>
                    <a:pt x="908" y="1111"/>
                  </a:lnTo>
                  <a:close/>
                  <a:moveTo>
                    <a:pt x="906" y="1111"/>
                  </a:moveTo>
                  <a:lnTo>
                    <a:pt x="905" y="1111"/>
                  </a:lnTo>
                  <a:lnTo>
                    <a:pt x="906" y="1111"/>
                  </a:lnTo>
                  <a:close/>
                  <a:moveTo>
                    <a:pt x="903" y="1111"/>
                  </a:moveTo>
                  <a:lnTo>
                    <a:pt x="905" y="1111"/>
                  </a:lnTo>
                  <a:lnTo>
                    <a:pt x="903" y="1113"/>
                  </a:lnTo>
                  <a:lnTo>
                    <a:pt x="903" y="1111"/>
                  </a:lnTo>
                  <a:close/>
                  <a:moveTo>
                    <a:pt x="901" y="1111"/>
                  </a:moveTo>
                  <a:lnTo>
                    <a:pt x="901" y="1110"/>
                  </a:lnTo>
                  <a:lnTo>
                    <a:pt x="901" y="1111"/>
                  </a:lnTo>
                  <a:close/>
                  <a:moveTo>
                    <a:pt x="903" y="1110"/>
                  </a:moveTo>
                  <a:lnTo>
                    <a:pt x="903" y="1111"/>
                  </a:lnTo>
                  <a:lnTo>
                    <a:pt x="903" y="1110"/>
                  </a:lnTo>
                  <a:lnTo>
                    <a:pt x="903" y="1111"/>
                  </a:lnTo>
                  <a:lnTo>
                    <a:pt x="903" y="1110"/>
                  </a:lnTo>
                  <a:close/>
                  <a:moveTo>
                    <a:pt x="903" y="1110"/>
                  </a:moveTo>
                  <a:lnTo>
                    <a:pt x="905" y="1110"/>
                  </a:lnTo>
                  <a:lnTo>
                    <a:pt x="903" y="1110"/>
                  </a:lnTo>
                  <a:close/>
                  <a:moveTo>
                    <a:pt x="910" y="1111"/>
                  </a:moveTo>
                  <a:lnTo>
                    <a:pt x="910" y="1110"/>
                  </a:lnTo>
                  <a:lnTo>
                    <a:pt x="910" y="1111"/>
                  </a:lnTo>
                  <a:close/>
                  <a:moveTo>
                    <a:pt x="900" y="1110"/>
                  </a:moveTo>
                  <a:lnTo>
                    <a:pt x="900" y="1108"/>
                  </a:lnTo>
                  <a:lnTo>
                    <a:pt x="900" y="1110"/>
                  </a:lnTo>
                  <a:close/>
                  <a:moveTo>
                    <a:pt x="861" y="1108"/>
                  </a:moveTo>
                  <a:lnTo>
                    <a:pt x="861" y="1106"/>
                  </a:lnTo>
                  <a:lnTo>
                    <a:pt x="861" y="1108"/>
                  </a:lnTo>
                  <a:close/>
                  <a:moveTo>
                    <a:pt x="861" y="1106"/>
                  </a:moveTo>
                  <a:lnTo>
                    <a:pt x="862" y="1108"/>
                  </a:lnTo>
                  <a:lnTo>
                    <a:pt x="861" y="1108"/>
                  </a:lnTo>
                  <a:lnTo>
                    <a:pt x="861" y="1106"/>
                  </a:lnTo>
                  <a:close/>
                  <a:moveTo>
                    <a:pt x="913" y="1106"/>
                  </a:moveTo>
                  <a:lnTo>
                    <a:pt x="913" y="1108"/>
                  </a:lnTo>
                  <a:lnTo>
                    <a:pt x="913" y="1106"/>
                  </a:lnTo>
                  <a:close/>
                  <a:moveTo>
                    <a:pt x="861" y="1106"/>
                  </a:moveTo>
                  <a:lnTo>
                    <a:pt x="862" y="1106"/>
                  </a:lnTo>
                  <a:lnTo>
                    <a:pt x="861" y="1106"/>
                  </a:lnTo>
                  <a:close/>
                  <a:moveTo>
                    <a:pt x="862" y="1108"/>
                  </a:moveTo>
                  <a:lnTo>
                    <a:pt x="862" y="1106"/>
                  </a:lnTo>
                  <a:lnTo>
                    <a:pt x="862" y="1108"/>
                  </a:lnTo>
                  <a:close/>
                  <a:moveTo>
                    <a:pt x="862" y="1106"/>
                  </a:moveTo>
                  <a:lnTo>
                    <a:pt x="864" y="1106"/>
                  </a:lnTo>
                  <a:lnTo>
                    <a:pt x="862" y="1106"/>
                  </a:lnTo>
                  <a:close/>
                  <a:moveTo>
                    <a:pt x="906" y="1105"/>
                  </a:moveTo>
                  <a:lnTo>
                    <a:pt x="908" y="1105"/>
                  </a:lnTo>
                  <a:lnTo>
                    <a:pt x="906" y="1105"/>
                  </a:lnTo>
                  <a:close/>
                  <a:moveTo>
                    <a:pt x="900" y="1105"/>
                  </a:moveTo>
                  <a:lnTo>
                    <a:pt x="900" y="1103"/>
                  </a:lnTo>
                  <a:lnTo>
                    <a:pt x="900" y="1105"/>
                  </a:lnTo>
                  <a:close/>
                  <a:moveTo>
                    <a:pt x="901" y="1105"/>
                  </a:moveTo>
                  <a:lnTo>
                    <a:pt x="901" y="1103"/>
                  </a:lnTo>
                  <a:lnTo>
                    <a:pt x="903" y="1105"/>
                  </a:lnTo>
                  <a:lnTo>
                    <a:pt x="903" y="1106"/>
                  </a:lnTo>
                  <a:lnTo>
                    <a:pt x="901" y="1106"/>
                  </a:lnTo>
                  <a:lnTo>
                    <a:pt x="901" y="1108"/>
                  </a:lnTo>
                  <a:lnTo>
                    <a:pt x="900" y="1108"/>
                  </a:lnTo>
                  <a:lnTo>
                    <a:pt x="900" y="1106"/>
                  </a:lnTo>
                  <a:lnTo>
                    <a:pt x="901" y="1106"/>
                  </a:lnTo>
                  <a:lnTo>
                    <a:pt x="900" y="1106"/>
                  </a:lnTo>
                  <a:lnTo>
                    <a:pt x="901" y="1106"/>
                  </a:lnTo>
                  <a:lnTo>
                    <a:pt x="900" y="1106"/>
                  </a:lnTo>
                  <a:lnTo>
                    <a:pt x="901" y="1105"/>
                  </a:lnTo>
                  <a:lnTo>
                    <a:pt x="900" y="1105"/>
                  </a:lnTo>
                  <a:lnTo>
                    <a:pt x="901" y="1105"/>
                  </a:lnTo>
                  <a:close/>
                  <a:moveTo>
                    <a:pt x="903" y="1105"/>
                  </a:moveTo>
                  <a:lnTo>
                    <a:pt x="903" y="1103"/>
                  </a:lnTo>
                  <a:lnTo>
                    <a:pt x="905" y="1103"/>
                  </a:lnTo>
                  <a:lnTo>
                    <a:pt x="905" y="1105"/>
                  </a:lnTo>
                  <a:lnTo>
                    <a:pt x="903" y="1105"/>
                  </a:lnTo>
                  <a:close/>
                  <a:moveTo>
                    <a:pt x="910" y="1103"/>
                  </a:moveTo>
                  <a:lnTo>
                    <a:pt x="910" y="1105"/>
                  </a:lnTo>
                  <a:lnTo>
                    <a:pt x="910" y="1103"/>
                  </a:lnTo>
                  <a:close/>
                  <a:moveTo>
                    <a:pt x="911" y="1103"/>
                  </a:moveTo>
                  <a:lnTo>
                    <a:pt x="913" y="1103"/>
                  </a:lnTo>
                  <a:lnTo>
                    <a:pt x="911" y="1103"/>
                  </a:lnTo>
                  <a:close/>
                  <a:moveTo>
                    <a:pt x="905" y="1105"/>
                  </a:moveTo>
                  <a:lnTo>
                    <a:pt x="905" y="1103"/>
                  </a:lnTo>
                  <a:lnTo>
                    <a:pt x="906" y="1103"/>
                  </a:lnTo>
                  <a:lnTo>
                    <a:pt x="906" y="1105"/>
                  </a:lnTo>
                  <a:lnTo>
                    <a:pt x="905" y="1105"/>
                  </a:lnTo>
                  <a:close/>
                  <a:moveTo>
                    <a:pt x="905" y="1103"/>
                  </a:moveTo>
                  <a:lnTo>
                    <a:pt x="903" y="1103"/>
                  </a:lnTo>
                  <a:lnTo>
                    <a:pt x="905" y="1103"/>
                  </a:lnTo>
                  <a:close/>
                  <a:moveTo>
                    <a:pt x="905" y="1103"/>
                  </a:moveTo>
                  <a:lnTo>
                    <a:pt x="905" y="1101"/>
                  </a:lnTo>
                  <a:lnTo>
                    <a:pt x="905" y="1103"/>
                  </a:lnTo>
                  <a:close/>
                  <a:moveTo>
                    <a:pt x="914" y="1100"/>
                  </a:moveTo>
                  <a:lnTo>
                    <a:pt x="916" y="1100"/>
                  </a:lnTo>
                  <a:lnTo>
                    <a:pt x="918" y="1101"/>
                  </a:lnTo>
                  <a:lnTo>
                    <a:pt x="916" y="1101"/>
                  </a:lnTo>
                  <a:lnTo>
                    <a:pt x="914" y="1101"/>
                  </a:lnTo>
                  <a:lnTo>
                    <a:pt x="914" y="1100"/>
                  </a:lnTo>
                  <a:close/>
                  <a:moveTo>
                    <a:pt x="914" y="1098"/>
                  </a:moveTo>
                  <a:lnTo>
                    <a:pt x="914" y="1097"/>
                  </a:lnTo>
                  <a:lnTo>
                    <a:pt x="914" y="1098"/>
                  </a:lnTo>
                  <a:close/>
                  <a:moveTo>
                    <a:pt x="913" y="1097"/>
                  </a:moveTo>
                  <a:lnTo>
                    <a:pt x="914" y="1097"/>
                  </a:lnTo>
                  <a:lnTo>
                    <a:pt x="913" y="1098"/>
                  </a:lnTo>
                  <a:lnTo>
                    <a:pt x="913" y="1097"/>
                  </a:lnTo>
                  <a:close/>
                  <a:moveTo>
                    <a:pt x="919" y="1097"/>
                  </a:moveTo>
                  <a:lnTo>
                    <a:pt x="919" y="1095"/>
                  </a:lnTo>
                  <a:lnTo>
                    <a:pt x="919" y="1097"/>
                  </a:lnTo>
                  <a:close/>
                  <a:moveTo>
                    <a:pt x="919" y="1095"/>
                  </a:moveTo>
                  <a:lnTo>
                    <a:pt x="919" y="1097"/>
                  </a:lnTo>
                  <a:lnTo>
                    <a:pt x="918" y="1097"/>
                  </a:lnTo>
                  <a:lnTo>
                    <a:pt x="916" y="1097"/>
                  </a:lnTo>
                  <a:lnTo>
                    <a:pt x="916" y="1098"/>
                  </a:lnTo>
                  <a:lnTo>
                    <a:pt x="914" y="1098"/>
                  </a:lnTo>
                  <a:lnTo>
                    <a:pt x="916" y="1097"/>
                  </a:lnTo>
                  <a:lnTo>
                    <a:pt x="914" y="1097"/>
                  </a:lnTo>
                  <a:lnTo>
                    <a:pt x="916" y="1097"/>
                  </a:lnTo>
                  <a:lnTo>
                    <a:pt x="914" y="1097"/>
                  </a:lnTo>
                  <a:lnTo>
                    <a:pt x="914" y="1095"/>
                  </a:lnTo>
                  <a:lnTo>
                    <a:pt x="916" y="1095"/>
                  </a:lnTo>
                  <a:lnTo>
                    <a:pt x="916" y="1097"/>
                  </a:lnTo>
                  <a:lnTo>
                    <a:pt x="916" y="1095"/>
                  </a:lnTo>
                  <a:lnTo>
                    <a:pt x="918" y="1095"/>
                  </a:lnTo>
                  <a:lnTo>
                    <a:pt x="918" y="1093"/>
                  </a:lnTo>
                  <a:lnTo>
                    <a:pt x="919" y="1093"/>
                  </a:lnTo>
                  <a:lnTo>
                    <a:pt x="919" y="1095"/>
                  </a:lnTo>
                  <a:close/>
                  <a:moveTo>
                    <a:pt x="913" y="1093"/>
                  </a:moveTo>
                  <a:lnTo>
                    <a:pt x="914" y="1093"/>
                  </a:lnTo>
                  <a:lnTo>
                    <a:pt x="914" y="1092"/>
                  </a:lnTo>
                  <a:lnTo>
                    <a:pt x="914" y="1093"/>
                  </a:lnTo>
                  <a:lnTo>
                    <a:pt x="913" y="1093"/>
                  </a:lnTo>
                  <a:close/>
                  <a:moveTo>
                    <a:pt x="916" y="1092"/>
                  </a:moveTo>
                  <a:lnTo>
                    <a:pt x="918" y="1092"/>
                  </a:lnTo>
                  <a:lnTo>
                    <a:pt x="916" y="1092"/>
                  </a:lnTo>
                  <a:close/>
                  <a:moveTo>
                    <a:pt x="921" y="1090"/>
                  </a:moveTo>
                  <a:lnTo>
                    <a:pt x="921" y="1088"/>
                  </a:lnTo>
                  <a:lnTo>
                    <a:pt x="921" y="1090"/>
                  </a:lnTo>
                  <a:close/>
                  <a:moveTo>
                    <a:pt x="918" y="1088"/>
                  </a:moveTo>
                  <a:lnTo>
                    <a:pt x="919" y="1090"/>
                  </a:lnTo>
                  <a:lnTo>
                    <a:pt x="919" y="1092"/>
                  </a:lnTo>
                  <a:lnTo>
                    <a:pt x="918" y="1092"/>
                  </a:lnTo>
                  <a:lnTo>
                    <a:pt x="916" y="1092"/>
                  </a:lnTo>
                  <a:lnTo>
                    <a:pt x="918" y="1090"/>
                  </a:lnTo>
                  <a:lnTo>
                    <a:pt x="916" y="1090"/>
                  </a:lnTo>
                  <a:lnTo>
                    <a:pt x="918" y="1088"/>
                  </a:lnTo>
                  <a:lnTo>
                    <a:pt x="919" y="1088"/>
                  </a:lnTo>
                  <a:lnTo>
                    <a:pt x="918" y="1088"/>
                  </a:lnTo>
                  <a:close/>
                  <a:moveTo>
                    <a:pt x="924" y="1087"/>
                  </a:moveTo>
                  <a:lnTo>
                    <a:pt x="924" y="1085"/>
                  </a:lnTo>
                  <a:lnTo>
                    <a:pt x="924" y="1087"/>
                  </a:lnTo>
                  <a:close/>
                  <a:moveTo>
                    <a:pt x="916" y="1087"/>
                  </a:moveTo>
                  <a:lnTo>
                    <a:pt x="916" y="1085"/>
                  </a:lnTo>
                  <a:lnTo>
                    <a:pt x="918" y="1085"/>
                  </a:lnTo>
                  <a:lnTo>
                    <a:pt x="918" y="1087"/>
                  </a:lnTo>
                  <a:lnTo>
                    <a:pt x="916" y="1087"/>
                  </a:lnTo>
                  <a:close/>
                  <a:moveTo>
                    <a:pt x="921" y="1085"/>
                  </a:moveTo>
                  <a:lnTo>
                    <a:pt x="921" y="1083"/>
                  </a:lnTo>
                  <a:lnTo>
                    <a:pt x="921" y="1085"/>
                  </a:lnTo>
                  <a:close/>
                  <a:moveTo>
                    <a:pt x="916" y="1083"/>
                  </a:moveTo>
                  <a:lnTo>
                    <a:pt x="916" y="1085"/>
                  </a:lnTo>
                  <a:lnTo>
                    <a:pt x="916" y="1083"/>
                  </a:lnTo>
                  <a:close/>
                  <a:moveTo>
                    <a:pt x="924" y="1087"/>
                  </a:moveTo>
                  <a:lnTo>
                    <a:pt x="923" y="1087"/>
                  </a:lnTo>
                  <a:lnTo>
                    <a:pt x="921" y="1085"/>
                  </a:lnTo>
                  <a:lnTo>
                    <a:pt x="923" y="1085"/>
                  </a:lnTo>
                  <a:lnTo>
                    <a:pt x="923" y="1083"/>
                  </a:lnTo>
                  <a:lnTo>
                    <a:pt x="923" y="1085"/>
                  </a:lnTo>
                  <a:lnTo>
                    <a:pt x="924" y="1085"/>
                  </a:lnTo>
                  <a:lnTo>
                    <a:pt x="924" y="1087"/>
                  </a:lnTo>
                  <a:close/>
                  <a:moveTo>
                    <a:pt x="919" y="1083"/>
                  </a:moveTo>
                  <a:lnTo>
                    <a:pt x="919" y="1085"/>
                  </a:lnTo>
                  <a:lnTo>
                    <a:pt x="918" y="1085"/>
                  </a:lnTo>
                  <a:lnTo>
                    <a:pt x="919" y="1083"/>
                  </a:lnTo>
                  <a:close/>
                  <a:moveTo>
                    <a:pt x="924" y="1083"/>
                  </a:moveTo>
                  <a:lnTo>
                    <a:pt x="923" y="1083"/>
                  </a:lnTo>
                  <a:lnTo>
                    <a:pt x="924" y="1083"/>
                  </a:lnTo>
                  <a:close/>
                  <a:moveTo>
                    <a:pt x="926" y="1083"/>
                  </a:moveTo>
                  <a:lnTo>
                    <a:pt x="927" y="1085"/>
                  </a:lnTo>
                  <a:lnTo>
                    <a:pt x="927" y="1083"/>
                  </a:lnTo>
                  <a:lnTo>
                    <a:pt x="927" y="1085"/>
                  </a:lnTo>
                  <a:lnTo>
                    <a:pt x="926" y="1085"/>
                  </a:lnTo>
                  <a:lnTo>
                    <a:pt x="924" y="1085"/>
                  </a:lnTo>
                  <a:lnTo>
                    <a:pt x="924" y="1083"/>
                  </a:lnTo>
                  <a:lnTo>
                    <a:pt x="926" y="1083"/>
                  </a:lnTo>
                  <a:close/>
                  <a:moveTo>
                    <a:pt x="924" y="1082"/>
                  </a:moveTo>
                  <a:lnTo>
                    <a:pt x="924" y="1083"/>
                  </a:lnTo>
                  <a:lnTo>
                    <a:pt x="924" y="1082"/>
                  </a:lnTo>
                  <a:close/>
                  <a:moveTo>
                    <a:pt x="926" y="1082"/>
                  </a:moveTo>
                  <a:lnTo>
                    <a:pt x="926" y="1083"/>
                  </a:lnTo>
                  <a:lnTo>
                    <a:pt x="926" y="1082"/>
                  </a:lnTo>
                  <a:lnTo>
                    <a:pt x="924" y="1082"/>
                  </a:lnTo>
                  <a:lnTo>
                    <a:pt x="926" y="1082"/>
                  </a:lnTo>
                  <a:close/>
                  <a:moveTo>
                    <a:pt x="927" y="1082"/>
                  </a:moveTo>
                  <a:lnTo>
                    <a:pt x="926" y="1082"/>
                  </a:lnTo>
                  <a:lnTo>
                    <a:pt x="927" y="1082"/>
                  </a:lnTo>
                  <a:close/>
                  <a:moveTo>
                    <a:pt x="929" y="1082"/>
                  </a:moveTo>
                  <a:lnTo>
                    <a:pt x="929" y="1080"/>
                  </a:lnTo>
                  <a:lnTo>
                    <a:pt x="929" y="1082"/>
                  </a:lnTo>
                  <a:close/>
                  <a:moveTo>
                    <a:pt x="929" y="1080"/>
                  </a:moveTo>
                  <a:lnTo>
                    <a:pt x="931" y="1080"/>
                  </a:lnTo>
                  <a:lnTo>
                    <a:pt x="929" y="1080"/>
                  </a:lnTo>
                  <a:close/>
                  <a:moveTo>
                    <a:pt x="931" y="1080"/>
                  </a:moveTo>
                  <a:lnTo>
                    <a:pt x="931" y="1079"/>
                  </a:lnTo>
                  <a:lnTo>
                    <a:pt x="931" y="1080"/>
                  </a:lnTo>
                  <a:close/>
                  <a:moveTo>
                    <a:pt x="926" y="1080"/>
                  </a:moveTo>
                  <a:lnTo>
                    <a:pt x="924" y="1080"/>
                  </a:lnTo>
                  <a:lnTo>
                    <a:pt x="926" y="1079"/>
                  </a:lnTo>
                  <a:lnTo>
                    <a:pt x="926" y="1080"/>
                  </a:lnTo>
                  <a:close/>
                  <a:moveTo>
                    <a:pt x="927" y="1079"/>
                  </a:moveTo>
                  <a:lnTo>
                    <a:pt x="929" y="1079"/>
                  </a:lnTo>
                  <a:lnTo>
                    <a:pt x="927" y="1079"/>
                  </a:lnTo>
                  <a:lnTo>
                    <a:pt x="927" y="1080"/>
                  </a:lnTo>
                  <a:lnTo>
                    <a:pt x="926" y="1079"/>
                  </a:lnTo>
                  <a:lnTo>
                    <a:pt x="927" y="1079"/>
                  </a:lnTo>
                  <a:close/>
                  <a:moveTo>
                    <a:pt x="947" y="1075"/>
                  </a:moveTo>
                  <a:lnTo>
                    <a:pt x="947" y="1077"/>
                  </a:lnTo>
                  <a:lnTo>
                    <a:pt x="947" y="1075"/>
                  </a:lnTo>
                  <a:close/>
                  <a:moveTo>
                    <a:pt x="949" y="1077"/>
                  </a:moveTo>
                  <a:lnTo>
                    <a:pt x="949" y="1075"/>
                  </a:lnTo>
                  <a:lnTo>
                    <a:pt x="949" y="1077"/>
                  </a:lnTo>
                  <a:close/>
                  <a:moveTo>
                    <a:pt x="949" y="1075"/>
                  </a:moveTo>
                  <a:lnTo>
                    <a:pt x="949" y="1074"/>
                  </a:lnTo>
                  <a:lnTo>
                    <a:pt x="949" y="1075"/>
                  </a:lnTo>
                  <a:close/>
                  <a:moveTo>
                    <a:pt x="984" y="1074"/>
                  </a:moveTo>
                  <a:lnTo>
                    <a:pt x="986" y="1074"/>
                  </a:lnTo>
                  <a:lnTo>
                    <a:pt x="984" y="1074"/>
                  </a:lnTo>
                  <a:close/>
                  <a:moveTo>
                    <a:pt x="984" y="1074"/>
                  </a:moveTo>
                  <a:lnTo>
                    <a:pt x="984" y="1072"/>
                  </a:lnTo>
                  <a:lnTo>
                    <a:pt x="984" y="1074"/>
                  </a:lnTo>
                  <a:lnTo>
                    <a:pt x="984" y="1072"/>
                  </a:lnTo>
                  <a:lnTo>
                    <a:pt x="986" y="1074"/>
                  </a:lnTo>
                  <a:lnTo>
                    <a:pt x="984" y="1074"/>
                  </a:lnTo>
                  <a:lnTo>
                    <a:pt x="984" y="1075"/>
                  </a:lnTo>
                  <a:lnTo>
                    <a:pt x="984" y="1074"/>
                  </a:lnTo>
                  <a:lnTo>
                    <a:pt x="983" y="1074"/>
                  </a:lnTo>
                  <a:lnTo>
                    <a:pt x="984" y="1074"/>
                  </a:lnTo>
                  <a:close/>
                  <a:moveTo>
                    <a:pt x="924" y="1074"/>
                  </a:moveTo>
                  <a:lnTo>
                    <a:pt x="924" y="1072"/>
                  </a:lnTo>
                  <a:lnTo>
                    <a:pt x="924" y="1074"/>
                  </a:lnTo>
                  <a:close/>
                  <a:moveTo>
                    <a:pt x="926" y="1072"/>
                  </a:moveTo>
                  <a:lnTo>
                    <a:pt x="926" y="1074"/>
                  </a:lnTo>
                  <a:lnTo>
                    <a:pt x="926" y="1072"/>
                  </a:lnTo>
                  <a:close/>
                  <a:moveTo>
                    <a:pt x="931" y="1072"/>
                  </a:moveTo>
                  <a:lnTo>
                    <a:pt x="931" y="1070"/>
                  </a:lnTo>
                  <a:lnTo>
                    <a:pt x="931" y="1072"/>
                  </a:lnTo>
                  <a:close/>
                  <a:moveTo>
                    <a:pt x="950" y="1072"/>
                  </a:moveTo>
                  <a:lnTo>
                    <a:pt x="949" y="1072"/>
                  </a:lnTo>
                  <a:lnTo>
                    <a:pt x="949" y="1070"/>
                  </a:lnTo>
                  <a:lnTo>
                    <a:pt x="950" y="1070"/>
                  </a:lnTo>
                  <a:lnTo>
                    <a:pt x="950" y="1072"/>
                  </a:lnTo>
                  <a:close/>
                  <a:moveTo>
                    <a:pt x="986" y="1070"/>
                  </a:moveTo>
                  <a:lnTo>
                    <a:pt x="986" y="1069"/>
                  </a:lnTo>
                  <a:lnTo>
                    <a:pt x="986" y="1070"/>
                  </a:lnTo>
                  <a:close/>
                  <a:moveTo>
                    <a:pt x="991" y="1069"/>
                  </a:moveTo>
                  <a:lnTo>
                    <a:pt x="991" y="1067"/>
                  </a:lnTo>
                  <a:lnTo>
                    <a:pt x="991" y="1069"/>
                  </a:lnTo>
                  <a:close/>
                  <a:moveTo>
                    <a:pt x="986" y="1067"/>
                  </a:moveTo>
                  <a:lnTo>
                    <a:pt x="988" y="1067"/>
                  </a:lnTo>
                  <a:lnTo>
                    <a:pt x="986" y="1067"/>
                  </a:lnTo>
                  <a:close/>
                  <a:moveTo>
                    <a:pt x="986" y="1067"/>
                  </a:moveTo>
                  <a:lnTo>
                    <a:pt x="986" y="1066"/>
                  </a:lnTo>
                  <a:lnTo>
                    <a:pt x="986" y="1067"/>
                  </a:lnTo>
                  <a:close/>
                  <a:moveTo>
                    <a:pt x="975" y="1067"/>
                  </a:moveTo>
                  <a:lnTo>
                    <a:pt x="975" y="1066"/>
                  </a:lnTo>
                  <a:lnTo>
                    <a:pt x="975" y="1067"/>
                  </a:lnTo>
                  <a:close/>
                  <a:moveTo>
                    <a:pt x="984" y="1066"/>
                  </a:moveTo>
                  <a:lnTo>
                    <a:pt x="984" y="1064"/>
                  </a:lnTo>
                  <a:lnTo>
                    <a:pt x="986" y="1066"/>
                  </a:lnTo>
                  <a:lnTo>
                    <a:pt x="984" y="1066"/>
                  </a:lnTo>
                  <a:close/>
                  <a:moveTo>
                    <a:pt x="942" y="1062"/>
                  </a:moveTo>
                  <a:lnTo>
                    <a:pt x="940" y="1062"/>
                  </a:lnTo>
                  <a:lnTo>
                    <a:pt x="942" y="1062"/>
                  </a:lnTo>
                  <a:close/>
                  <a:moveTo>
                    <a:pt x="976" y="1062"/>
                  </a:moveTo>
                  <a:lnTo>
                    <a:pt x="978" y="1062"/>
                  </a:lnTo>
                  <a:lnTo>
                    <a:pt x="978" y="1061"/>
                  </a:lnTo>
                  <a:lnTo>
                    <a:pt x="978" y="1062"/>
                  </a:lnTo>
                  <a:lnTo>
                    <a:pt x="980" y="1061"/>
                  </a:lnTo>
                  <a:lnTo>
                    <a:pt x="980" y="1062"/>
                  </a:lnTo>
                  <a:lnTo>
                    <a:pt x="978" y="1062"/>
                  </a:lnTo>
                  <a:lnTo>
                    <a:pt x="978" y="1064"/>
                  </a:lnTo>
                  <a:lnTo>
                    <a:pt x="980" y="1062"/>
                  </a:lnTo>
                  <a:lnTo>
                    <a:pt x="980" y="1064"/>
                  </a:lnTo>
                  <a:lnTo>
                    <a:pt x="978" y="1066"/>
                  </a:lnTo>
                  <a:lnTo>
                    <a:pt x="976" y="1066"/>
                  </a:lnTo>
                  <a:lnTo>
                    <a:pt x="975" y="1066"/>
                  </a:lnTo>
                  <a:lnTo>
                    <a:pt x="975" y="1067"/>
                  </a:lnTo>
                  <a:lnTo>
                    <a:pt x="975" y="1066"/>
                  </a:lnTo>
                  <a:lnTo>
                    <a:pt x="975" y="1064"/>
                  </a:lnTo>
                  <a:lnTo>
                    <a:pt x="975" y="1066"/>
                  </a:lnTo>
                  <a:lnTo>
                    <a:pt x="976" y="1066"/>
                  </a:lnTo>
                  <a:lnTo>
                    <a:pt x="976" y="1064"/>
                  </a:lnTo>
                  <a:lnTo>
                    <a:pt x="975" y="1064"/>
                  </a:lnTo>
                  <a:lnTo>
                    <a:pt x="975" y="1062"/>
                  </a:lnTo>
                  <a:lnTo>
                    <a:pt x="976" y="1061"/>
                  </a:lnTo>
                  <a:lnTo>
                    <a:pt x="976" y="1062"/>
                  </a:lnTo>
                  <a:close/>
                  <a:moveTo>
                    <a:pt x="944" y="1061"/>
                  </a:moveTo>
                  <a:lnTo>
                    <a:pt x="945" y="1061"/>
                  </a:lnTo>
                  <a:lnTo>
                    <a:pt x="945" y="1062"/>
                  </a:lnTo>
                  <a:lnTo>
                    <a:pt x="944" y="1061"/>
                  </a:lnTo>
                  <a:close/>
                  <a:moveTo>
                    <a:pt x="940" y="1061"/>
                  </a:moveTo>
                  <a:lnTo>
                    <a:pt x="942" y="1061"/>
                  </a:lnTo>
                  <a:lnTo>
                    <a:pt x="940" y="1061"/>
                  </a:lnTo>
                  <a:close/>
                  <a:moveTo>
                    <a:pt x="947" y="1059"/>
                  </a:moveTo>
                  <a:lnTo>
                    <a:pt x="947" y="1061"/>
                  </a:lnTo>
                  <a:lnTo>
                    <a:pt x="947" y="1059"/>
                  </a:lnTo>
                  <a:close/>
                  <a:moveTo>
                    <a:pt x="945" y="1059"/>
                  </a:moveTo>
                  <a:lnTo>
                    <a:pt x="945" y="1061"/>
                  </a:lnTo>
                  <a:lnTo>
                    <a:pt x="947" y="1061"/>
                  </a:lnTo>
                  <a:lnTo>
                    <a:pt x="945" y="1061"/>
                  </a:lnTo>
                  <a:lnTo>
                    <a:pt x="944" y="1061"/>
                  </a:lnTo>
                  <a:lnTo>
                    <a:pt x="944" y="1059"/>
                  </a:lnTo>
                  <a:lnTo>
                    <a:pt x="945" y="1059"/>
                  </a:lnTo>
                  <a:close/>
                  <a:moveTo>
                    <a:pt x="952" y="1059"/>
                  </a:moveTo>
                  <a:lnTo>
                    <a:pt x="950" y="1059"/>
                  </a:lnTo>
                  <a:lnTo>
                    <a:pt x="952" y="1059"/>
                  </a:lnTo>
                  <a:close/>
                  <a:moveTo>
                    <a:pt x="942" y="1059"/>
                  </a:moveTo>
                  <a:lnTo>
                    <a:pt x="944" y="1059"/>
                  </a:lnTo>
                  <a:lnTo>
                    <a:pt x="942" y="1059"/>
                  </a:lnTo>
                  <a:close/>
                  <a:moveTo>
                    <a:pt x="940" y="1059"/>
                  </a:moveTo>
                  <a:lnTo>
                    <a:pt x="940" y="1057"/>
                  </a:lnTo>
                  <a:lnTo>
                    <a:pt x="940" y="1059"/>
                  </a:lnTo>
                  <a:close/>
                  <a:moveTo>
                    <a:pt x="942" y="1059"/>
                  </a:moveTo>
                  <a:lnTo>
                    <a:pt x="942" y="1057"/>
                  </a:lnTo>
                  <a:lnTo>
                    <a:pt x="944" y="1059"/>
                  </a:lnTo>
                  <a:lnTo>
                    <a:pt x="942" y="1059"/>
                  </a:lnTo>
                  <a:close/>
                  <a:moveTo>
                    <a:pt x="955" y="1057"/>
                  </a:moveTo>
                  <a:lnTo>
                    <a:pt x="957" y="1057"/>
                  </a:lnTo>
                  <a:lnTo>
                    <a:pt x="955" y="1057"/>
                  </a:lnTo>
                  <a:close/>
                  <a:moveTo>
                    <a:pt x="939" y="1057"/>
                  </a:moveTo>
                  <a:lnTo>
                    <a:pt x="940" y="1057"/>
                  </a:lnTo>
                  <a:lnTo>
                    <a:pt x="939" y="1057"/>
                  </a:lnTo>
                  <a:close/>
                  <a:moveTo>
                    <a:pt x="940" y="1057"/>
                  </a:moveTo>
                  <a:lnTo>
                    <a:pt x="940" y="1056"/>
                  </a:lnTo>
                  <a:lnTo>
                    <a:pt x="940" y="1057"/>
                  </a:lnTo>
                  <a:close/>
                  <a:moveTo>
                    <a:pt x="940" y="1057"/>
                  </a:moveTo>
                  <a:lnTo>
                    <a:pt x="942" y="1056"/>
                  </a:lnTo>
                  <a:lnTo>
                    <a:pt x="942" y="1057"/>
                  </a:lnTo>
                  <a:lnTo>
                    <a:pt x="940" y="1057"/>
                  </a:lnTo>
                  <a:close/>
                  <a:moveTo>
                    <a:pt x="993" y="1056"/>
                  </a:moveTo>
                  <a:lnTo>
                    <a:pt x="994" y="1056"/>
                  </a:lnTo>
                  <a:lnTo>
                    <a:pt x="994" y="1057"/>
                  </a:lnTo>
                  <a:lnTo>
                    <a:pt x="993" y="1056"/>
                  </a:lnTo>
                  <a:close/>
                  <a:moveTo>
                    <a:pt x="940" y="1057"/>
                  </a:moveTo>
                  <a:lnTo>
                    <a:pt x="940" y="1056"/>
                  </a:lnTo>
                  <a:lnTo>
                    <a:pt x="940" y="1057"/>
                  </a:lnTo>
                  <a:close/>
                  <a:moveTo>
                    <a:pt x="953" y="1056"/>
                  </a:moveTo>
                  <a:lnTo>
                    <a:pt x="955" y="1057"/>
                  </a:lnTo>
                  <a:lnTo>
                    <a:pt x="955" y="1059"/>
                  </a:lnTo>
                  <a:lnTo>
                    <a:pt x="953" y="1059"/>
                  </a:lnTo>
                  <a:lnTo>
                    <a:pt x="953" y="1057"/>
                  </a:lnTo>
                  <a:lnTo>
                    <a:pt x="953" y="1056"/>
                  </a:lnTo>
                  <a:close/>
                  <a:moveTo>
                    <a:pt x="991" y="1056"/>
                  </a:moveTo>
                  <a:lnTo>
                    <a:pt x="993" y="1056"/>
                  </a:lnTo>
                  <a:lnTo>
                    <a:pt x="991" y="1056"/>
                  </a:lnTo>
                  <a:close/>
                  <a:moveTo>
                    <a:pt x="940" y="1056"/>
                  </a:moveTo>
                  <a:lnTo>
                    <a:pt x="942" y="1056"/>
                  </a:lnTo>
                  <a:lnTo>
                    <a:pt x="940" y="1056"/>
                  </a:lnTo>
                  <a:close/>
                  <a:moveTo>
                    <a:pt x="952" y="1056"/>
                  </a:moveTo>
                  <a:lnTo>
                    <a:pt x="950" y="1056"/>
                  </a:lnTo>
                  <a:lnTo>
                    <a:pt x="952" y="1056"/>
                  </a:lnTo>
                  <a:close/>
                  <a:moveTo>
                    <a:pt x="940" y="1056"/>
                  </a:moveTo>
                  <a:lnTo>
                    <a:pt x="940" y="1054"/>
                  </a:lnTo>
                  <a:lnTo>
                    <a:pt x="940" y="1056"/>
                  </a:lnTo>
                  <a:close/>
                  <a:moveTo>
                    <a:pt x="944" y="1056"/>
                  </a:moveTo>
                  <a:lnTo>
                    <a:pt x="944" y="1054"/>
                  </a:lnTo>
                  <a:lnTo>
                    <a:pt x="945" y="1054"/>
                  </a:lnTo>
                  <a:lnTo>
                    <a:pt x="945" y="1056"/>
                  </a:lnTo>
                  <a:lnTo>
                    <a:pt x="945" y="1057"/>
                  </a:lnTo>
                  <a:lnTo>
                    <a:pt x="947" y="1057"/>
                  </a:lnTo>
                  <a:lnTo>
                    <a:pt x="945" y="1059"/>
                  </a:lnTo>
                  <a:lnTo>
                    <a:pt x="944" y="1059"/>
                  </a:lnTo>
                  <a:lnTo>
                    <a:pt x="944" y="1057"/>
                  </a:lnTo>
                  <a:lnTo>
                    <a:pt x="944" y="1059"/>
                  </a:lnTo>
                  <a:lnTo>
                    <a:pt x="944" y="1057"/>
                  </a:lnTo>
                  <a:lnTo>
                    <a:pt x="942" y="1057"/>
                  </a:lnTo>
                  <a:lnTo>
                    <a:pt x="942" y="1056"/>
                  </a:lnTo>
                  <a:lnTo>
                    <a:pt x="944" y="1056"/>
                  </a:lnTo>
                  <a:lnTo>
                    <a:pt x="944" y="1057"/>
                  </a:lnTo>
                  <a:lnTo>
                    <a:pt x="944" y="1056"/>
                  </a:lnTo>
                  <a:lnTo>
                    <a:pt x="945" y="1056"/>
                  </a:lnTo>
                  <a:lnTo>
                    <a:pt x="944" y="1056"/>
                  </a:lnTo>
                  <a:close/>
                  <a:moveTo>
                    <a:pt x="944" y="1056"/>
                  </a:moveTo>
                  <a:lnTo>
                    <a:pt x="944" y="1054"/>
                  </a:lnTo>
                  <a:lnTo>
                    <a:pt x="944" y="1056"/>
                  </a:lnTo>
                  <a:close/>
                  <a:moveTo>
                    <a:pt x="989" y="1054"/>
                  </a:moveTo>
                  <a:lnTo>
                    <a:pt x="991" y="1054"/>
                  </a:lnTo>
                  <a:lnTo>
                    <a:pt x="991" y="1056"/>
                  </a:lnTo>
                  <a:lnTo>
                    <a:pt x="989" y="1054"/>
                  </a:lnTo>
                  <a:close/>
                  <a:moveTo>
                    <a:pt x="944" y="1054"/>
                  </a:moveTo>
                  <a:lnTo>
                    <a:pt x="945" y="1054"/>
                  </a:lnTo>
                  <a:lnTo>
                    <a:pt x="944" y="1054"/>
                  </a:lnTo>
                  <a:close/>
                  <a:moveTo>
                    <a:pt x="944" y="1056"/>
                  </a:moveTo>
                  <a:lnTo>
                    <a:pt x="944" y="1054"/>
                  </a:lnTo>
                  <a:lnTo>
                    <a:pt x="944" y="1056"/>
                  </a:lnTo>
                  <a:close/>
                  <a:moveTo>
                    <a:pt x="950" y="1054"/>
                  </a:moveTo>
                  <a:lnTo>
                    <a:pt x="950" y="1056"/>
                  </a:lnTo>
                  <a:lnTo>
                    <a:pt x="952" y="1057"/>
                  </a:lnTo>
                  <a:lnTo>
                    <a:pt x="950" y="1057"/>
                  </a:lnTo>
                  <a:lnTo>
                    <a:pt x="950" y="1059"/>
                  </a:lnTo>
                  <a:lnTo>
                    <a:pt x="950" y="1057"/>
                  </a:lnTo>
                  <a:lnTo>
                    <a:pt x="949" y="1057"/>
                  </a:lnTo>
                  <a:lnTo>
                    <a:pt x="949" y="1056"/>
                  </a:lnTo>
                  <a:lnTo>
                    <a:pt x="949" y="1054"/>
                  </a:lnTo>
                  <a:lnTo>
                    <a:pt x="950" y="1054"/>
                  </a:lnTo>
                  <a:close/>
                  <a:moveTo>
                    <a:pt x="993" y="1054"/>
                  </a:moveTo>
                  <a:lnTo>
                    <a:pt x="993" y="1056"/>
                  </a:lnTo>
                  <a:lnTo>
                    <a:pt x="991" y="1054"/>
                  </a:lnTo>
                  <a:lnTo>
                    <a:pt x="993" y="1054"/>
                  </a:lnTo>
                  <a:lnTo>
                    <a:pt x="991" y="1054"/>
                  </a:lnTo>
                  <a:lnTo>
                    <a:pt x="993" y="1054"/>
                  </a:lnTo>
                  <a:close/>
                  <a:moveTo>
                    <a:pt x="944" y="1054"/>
                  </a:moveTo>
                  <a:lnTo>
                    <a:pt x="945" y="1054"/>
                  </a:lnTo>
                  <a:lnTo>
                    <a:pt x="944" y="1054"/>
                  </a:lnTo>
                  <a:close/>
                  <a:moveTo>
                    <a:pt x="950" y="1053"/>
                  </a:moveTo>
                  <a:lnTo>
                    <a:pt x="950" y="1054"/>
                  </a:lnTo>
                  <a:lnTo>
                    <a:pt x="950" y="1053"/>
                  </a:lnTo>
                  <a:close/>
                  <a:moveTo>
                    <a:pt x="952" y="1053"/>
                  </a:moveTo>
                  <a:lnTo>
                    <a:pt x="952" y="1054"/>
                  </a:lnTo>
                  <a:lnTo>
                    <a:pt x="952" y="1053"/>
                  </a:lnTo>
                  <a:close/>
                  <a:moveTo>
                    <a:pt x="991" y="1053"/>
                  </a:moveTo>
                  <a:lnTo>
                    <a:pt x="993" y="1053"/>
                  </a:lnTo>
                  <a:lnTo>
                    <a:pt x="993" y="1054"/>
                  </a:lnTo>
                  <a:lnTo>
                    <a:pt x="991" y="1053"/>
                  </a:lnTo>
                  <a:close/>
                  <a:moveTo>
                    <a:pt x="950" y="1054"/>
                  </a:moveTo>
                  <a:lnTo>
                    <a:pt x="950" y="1053"/>
                  </a:lnTo>
                  <a:lnTo>
                    <a:pt x="950" y="1054"/>
                  </a:lnTo>
                  <a:close/>
                  <a:moveTo>
                    <a:pt x="942" y="1054"/>
                  </a:moveTo>
                  <a:lnTo>
                    <a:pt x="942" y="1053"/>
                  </a:lnTo>
                  <a:lnTo>
                    <a:pt x="944" y="1053"/>
                  </a:lnTo>
                  <a:lnTo>
                    <a:pt x="944" y="1054"/>
                  </a:lnTo>
                  <a:lnTo>
                    <a:pt x="944" y="1056"/>
                  </a:lnTo>
                  <a:lnTo>
                    <a:pt x="944" y="1054"/>
                  </a:lnTo>
                  <a:lnTo>
                    <a:pt x="942" y="1056"/>
                  </a:lnTo>
                  <a:lnTo>
                    <a:pt x="942" y="1054"/>
                  </a:lnTo>
                  <a:lnTo>
                    <a:pt x="940" y="1054"/>
                  </a:lnTo>
                  <a:lnTo>
                    <a:pt x="942" y="1053"/>
                  </a:lnTo>
                  <a:lnTo>
                    <a:pt x="942" y="1054"/>
                  </a:lnTo>
                  <a:close/>
                  <a:moveTo>
                    <a:pt x="953" y="1053"/>
                  </a:moveTo>
                  <a:lnTo>
                    <a:pt x="955" y="1053"/>
                  </a:lnTo>
                  <a:lnTo>
                    <a:pt x="955" y="1054"/>
                  </a:lnTo>
                  <a:lnTo>
                    <a:pt x="953" y="1054"/>
                  </a:lnTo>
                  <a:lnTo>
                    <a:pt x="953" y="1053"/>
                  </a:lnTo>
                  <a:close/>
                  <a:moveTo>
                    <a:pt x="955" y="1053"/>
                  </a:moveTo>
                  <a:lnTo>
                    <a:pt x="955" y="1051"/>
                  </a:lnTo>
                  <a:lnTo>
                    <a:pt x="957" y="1051"/>
                  </a:lnTo>
                  <a:lnTo>
                    <a:pt x="957" y="1053"/>
                  </a:lnTo>
                  <a:lnTo>
                    <a:pt x="958" y="1054"/>
                  </a:lnTo>
                  <a:lnTo>
                    <a:pt x="957" y="1054"/>
                  </a:lnTo>
                  <a:lnTo>
                    <a:pt x="955" y="1054"/>
                  </a:lnTo>
                  <a:lnTo>
                    <a:pt x="955" y="1053"/>
                  </a:lnTo>
                  <a:close/>
                  <a:moveTo>
                    <a:pt x="997" y="1051"/>
                  </a:moveTo>
                  <a:lnTo>
                    <a:pt x="999" y="1051"/>
                  </a:lnTo>
                  <a:lnTo>
                    <a:pt x="999" y="1053"/>
                  </a:lnTo>
                  <a:lnTo>
                    <a:pt x="997" y="1051"/>
                  </a:lnTo>
                  <a:close/>
                  <a:moveTo>
                    <a:pt x="993" y="1053"/>
                  </a:moveTo>
                  <a:lnTo>
                    <a:pt x="994" y="1053"/>
                  </a:lnTo>
                  <a:lnTo>
                    <a:pt x="993" y="1053"/>
                  </a:lnTo>
                  <a:lnTo>
                    <a:pt x="993" y="1051"/>
                  </a:lnTo>
                  <a:lnTo>
                    <a:pt x="994" y="1051"/>
                  </a:lnTo>
                  <a:lnTo>
                    <a:pt x="993" y="1053"/>
                  </a:lnTo>
                  <a:close/>
                  <a:moveTo>
                    <a:pt x="953" y="1051"/>
                  </a:moveTo>
                  <a:lnTo>
                    <a:pt x="955" y="1051"/>
                  </a:lnTo>
                  <a:lnTo>
                    <a:pt x="953" y="1053"/>
                  </a:lnTo>
                  <a:lnTo>
                    <a:pt x="953" y="1051"/>
                  </a:lnTo>
                  <a:close/>
                  <a:moveTo>
                    <a:pt x="949" y="1053"/>
                  </a:moveTo>
                  <a:lnTo>
                    <a:pt x="947" y="1053"/>
                  </a:lnTo>
                  <a:lnTo>
                    <a:pt x="947" y="1051"/>
                  </a:lnTo>
                  <a:lnTo>
                    <a:pt x="947" y="1053"/>
                  </a:lnTo>
                  <a:lnTo>
                    <a:pt x="949" y="1053"/>
                  </a:lnTo>
                  <a:close/>
                  <a:moveTo>
                    <a:pt x="981" y="1051"/>
                  </a:moveTo>
                  <a:lnTo>
                    <a:pt x="983" y="1051"/>
                  </a:lnTo>
                  <a:lnTo>
                    <a:pt x="981" y="1051"/>
                  </a:lnTo>
                  <a:close/>
                  <a:moveTo>
                    <a:pt x="955" y="1049"/>
                  </a:moveTo>
                  <a:lnTo>
                    <a:pt x="955" y="1051"/>
                  </a:lnTo>
                  <a:lnTo>
                    <a:pt x="955" y="1049"/>
                  </a:lnTo>
                  <a:close/>
                  <a:moveTo>
                    <a:pt x="999" y="1049"/>
                  </a:moveTo>
                  <a:lnTo>
                    <a:pt x="997" y="1049"/>
                  </a:lnTo>
                  <a:lnTo>
                    <a:pt x="999" y="1049"/>
                  </a:lnTo>
                  <a:close/>
                  <a:moveTo>
                    <a:pt x="953" y="1049"/>
                  </a:moveTo>
                  <a:lnTo>
                    <a:pt x="952" y="1049"/>
                  </a:lnTo>
                  <a:lnTo>
                    <a:pt x="953" y="1049"/>
                  </a:lnTo>
                  <a:close/>
                  <a:moveTo>
                    <a:pt x="950" y="1049"/>
                  </a:moveTo>
                  <a:lnTo>
                    <a:pt x="952" y="1048"/>
                  </a:lnTo>
                  <a:lnTo>
                    <a:pt x="952" y="1049"/>
                  </a:lnTo>
                  <a:lnTo>
                    <a:pt x="952" y="1051"/>
                  </a:lnTo>
                  <a:lnTo>
                    <a:pt x="953" y="1051"/>
                  </a:lnTo>
                  <a:lnTo>
                    <a:pt x="952" y="1051"/>
                  </a:lnTo>
                  <a:lnTo>
                    <a:pt x="953" y="1049"/>
                  </a:lnTo>
                  <a:lnTo>
                    <a:pt x="953" y="1051"/>
                  </a:lnTo>
                  <a:lnTo>
                    <a:pt x="953" y="1053"/>
                  </a:lnTo>
                  <a:lnTo>
                    <a:pt x="952" y="1053"/>
                  </a:lnTo>
                  <a:lnTo>
                    <a:pt x="952" y="1051"/>
                  </a:lnTo>
                  <a:lnTo>
                    <a:pt x="950" y="1051"/>
                  </a:lnTo>
                  <a:lnTo>
                    <a:pt x="949" y="1051"/>
                  </a:lnTo>
                  <a:lnTo>
                    <a:pt x="949" y="1049"/>
                  </a:lnTo>
                  <a:lnTo>
                    <a:pt x="950" y="1049"/>
                  </a:lnTo>
                  <a:close/>
                  <a:moveTo>
                    <a:pt x="970" y="1049"/>
                  </a:moveTo>
                  <a:lnTo>
                    <a:pt x="970" y="1048"/>
                  </a:lnTo>
                  <a:lnTo>
                    <a:pt x="970" y="1049"/>
                  </a:lnTo>
                  <a:close/>
                  <a:moveTo>
                    <a:pt x="981" y="1048"/>
                  </a:moveTo>
                  <a:lnTo>
                    <a:pt x="983" y="1048"/>
                  </a:lnTo>
                  <a:lnTo>
                    <a:pt x="983" y="1049"/>
                  </a:lnTo>
                  <a:lnTo>
                    <a:pt x="981" y="1049"/>
                  </a:lnTo>
                  <a:lnTo>
                    <a:pt x="981" y="1048"/>
                  </a:lnTo>
                  <a:close/>
                  <a:moveTo>
                    <a:pt x="950" y="1049"/>
                  </a:moveTo>
                  <a:lnTo>
                    <a:pt x="950" y="1048"/>
                  </a:lnTo>
                  <a:lnTo>
                    <a:pt x="950" y="1049"/>
                  </a:lnTo>
                  <a:close/>
                  <a:moveTo>
                    <a:pt x="957" y="1048"/>
                  </a:moveTo>
                  <a:lnTo>
                    <a:pt x="955" y="1048"/>
                  </a:lnTo>
                  <a:lnTo>
                    <a:pt x="957" y="1048"/>
                  </a:lnTo>
                  <a:close/>
                  <a:moveTo>
                    <a:pt x="949" y="1048"/>
                  </a:moveTo>
                  <a:lnTo>
                    <a:pt x="950" y="1048"/>
                  </a:lnTo>
                  <a:lnTo>
                    <a:pt x="950" y="1049"/>
                  </a:lnTo>
                  <a:lnTo>
                    <a:pt x="949" y="1049"/>
                  </a:lnTo>
                  <a:lnTo>
                    <a:pt x="949" y="1048"/>
                  </a:lnTo>
                  <a:close/>
                  <a:moveTo>
                    <a:pt x="952" y="1048"/>
                  </a:moveTo>
                  <a:lnTo>
                    <a:pt x="950" y="1049"/>
                  </a:lnTo>
                  <a:lnTo>
                    <a:pt x="950" y="1048"/>
                  </a:lnTo>
                  <a:lnTo>
                    <a:pt x="952" y="1048"/>
                  </a:lnTo>
                  <a:close/>
                  <a:moveTo>
                    <a:pt x="952" y="1048"/>
                  </a:moveTo>
                  <a:lnTo>
                    <a:pt x="950" y="1048"/>
                  </a:lnTo>
                  <a:lnTo>
                    <a:pt x="952" y="1046"/>
                  </a:lnTo>
                  <a:lnTo>
                    <a:pt x="952" y="1048"/>
                  </a:lnTo>
                  <a:close/>
                  <a:moveTo>
                    <a:pt x="955" y="1046"/>
                  </a:moveTo>
                  <a:lnTo>
                    <a:pt x="957" y="1046"/>
                  </a:lnTo>
                  <a:lnTo>
                    <a:pt x="955" y="1046"/>
                  </a:lnTo>
                  <a:close/>
                  <a:moveTo>
                    <a:pt x="984" y="1046"/>
                  </a:moveTo>
                  <a:lnTo>
                    <a:pt x="984" y="1044"/>
                  </a:lnTo>
                  <a:lnTo>
                    <a:pt x="984" y="1046"/>
                  </a:lnTo>
                  <a:close/>
                  <a:moveTo>
                    <a:pt x="958" y="1044"/>
                  </a:moveTo>
                  <a:lnTo>
                    <a:pt x="958" y="1046"/>
                  </a:lnTo>
                  <a:lnTo>
                    <a:pt x="958" y="1044"/>
                  </a:lnTo>
                  <a:close/>
                  <a:moveTo>
                    <a:pt x="952" y="1044"/>
                  </a:moveTo>
                  <a:lnTo>
                    <a:pt x="952" y="1046"/>
                  </a:lnTo>
                  <a:lnTo>
                    <a:pt x="952" y="1044"/>
                  </a:lnTo>
                  <a:close/>
                  <a:moveTo>
                    <a:pt x="952" y="1046"/>
                  </a:moveTo>
                  <a:lnTo>
                    <a:pt x="952" y="1044"/>
                  </a:lnTo>
                  <a:lnTo>
                    <a:pt x="952" y="1046"/>
                  </a:lnTo>
                  <a:close/>
                  <a:moveTo>
                    <a:pt x="955" y="1044"/>
                  </a:moveTo>
                  <a:lnTo>
                    <a:pt x="957" y="1044"/>
                  </a:lnTo>
                  <a:lnTo>
                    <a:pt x="957" y="1046"/>
                  </a:lnTo>
                  <a:lnTo>
                    <a:pt x="955" y="1046"/>
                  </a:lnTo>
                  <a:lnTo>
                    <a:pt x="955" y="1044"/>
                  </a:lnTo>
                  <a:close/>
                  <a:moveTo>
                    <a:pt x="952" y="1044"/>
                  </a:moveTo>
                  <a:lnTo>
                    <a:pt x="952" y="1046"/>
                  </a:lnTo>
                  <a:lnTo>
                    <a:pt x="950" y="1046"/>
                  </a:lnTo>
                  <a:lnTo>
                    <a:pt x="949" y="1046"/>
                  </a:lnTo>
                  <a:lnTo>
                    <a:pt x="949" y="1048"/>
                  </a:lnTo>
                  <a:lnTo>
                    <a:pt x="949" y="1046"/>
                  </a:lnTo>
                  <a:lnTo>
                    <a:pt x="950" y="1046"/>
                  </a:lnTo>
                  <a:lnTo>
                    <a:pt x="950" y="1044"/>
                  </a:lnTo>
                  <a:lnTo>
                    <a:pt x="950" y="1046"/>
                  </a:lnTo>
                  <a:lnTo>
                    <a:pt x="950" y="1044"/>
                  </a:lnTo>
                  <a:lnTo>
                    <a:pt x="952" y="1044"/>
                  </a:lnTo>
                  <a:close/>
                  <a:moveTo>
                    <a:pt x="997" y="1044"/>
                  </a:moveTo>
                  <a:lnTo>
                    <a:pt x="999" y="1044"/>
                  </a:lnTo>
                  <a:lnTo>
                    <a:pt x="997" y="1044"/>
                  </a:lnTo>
                  <a:close/>
                  <a:moveTo>
                    <a:pt x="953" y="1044"/>
                  </a:moveTo>
                  <a:lnTo>
                    <a:pt x="955" y="1044"/>
                  </a:lnTo>
                  <a:lnTo>
                    <a:pt x="955" y="1046"/>
                  </a:lnTo>
                  <a:lnTo>
                    <a:pt x="953" y="1046"/>
                  </a:lnTo>
                  <a:lnTo>
                    <a:pt x="953" y="1044"/>
                  </a:lnTo>
                  <a:close/>
                  <a:moveTo>
                    <a:pt x="957" y="1044"/>
                  </a:moveTo>
                  <a:lnTo>
                    <a:pt x="958" y="1044"/>
                  </a:lnTo>
                  <a:lnTo>
                    <a:pt x="958" y="1046"/>
                  </a:lnTo>
                  <a:lnTo>
                    <a:pt x="957" y="1046"/>
                  </a:lnTo>
                  <a:lnTo>
                    <a:pt x="957" y="1044"/>
                  </a:lnTo>
                  <a:close/>
                  <a:moveTo>
                    <a:pt x="999" y="1044"/>
                  </a:moveTo>
                  <a:lnTo>
                    <a:pt x="997" y="1044"/>
                  </a:lnTo>
                  <a:lnTo>
                    <a:pt x="999" y="1044"/>
                  </a:lnTo>
                  <a:close/>
                  <a:moveTo>
                    <a:pt x="973" y="1043"/>
                  </a:moveTo>
                  <a:lnTo>
                    <a:pt x="971" y="1043"/>
                  </a:lnTo>
                  <a:lnTo>
                    <a:pt x="973" y="1043"/>
                  </a:lnTo>
                  <a:close/>
                  <a:moveTo>
                    <a:pt x="976" y="1041"/>
                  </a:moveTo>
                  <a:lnTo>
                    <a:pt x="978" y="1041"/>
                  </a:lnTo>
                  <a:lnTo>
                    <a:pt x="976" y="1041"/>
                  </a:lnTo>
                  <a:close/>
                  <a:moveTo>
                    <a:pt x="965" y="1040"/>
                  </a:moveTo>
                  <a:lnTo>
                    <a:pt x="967" y="1040"/>
                  </a:lnTo>
                  <a:lnTo>
                    <a:pt x="965" y="1040"/>
                  </a:lnTo>
                  <a:close/>
                  <a:moveTo>
                    <a:pt x="988" y="1041"/>
                  </a:moveTo>
                  <a:lnTo>
                    <a:pt x="986" y="1041"/>
                  </a:lnTo>
                  <a:lnTo>
                    <a:pt x="986" y="1040"/>
                  </a:lnTo>
                  <a:lnTo>
                    <a:pt x="988" y="1040"/>
                  </a:lnTo>
                  <a:lnTo>
                    <a:pt x="988" y="1041"/>
                  </a:lnTo>
                  <a:close/>
                  <a:moveTo>
                    <a:pt x="967" y="1038"/>
                  </a:moveTo>
                  <a:lnTo>
                    <a:pt x="968" y="1038"/>
                  </a:lnTo>
                  <a:lnTo>
                    <a:pt x="968" y="1040"/>
                  </a:lnTo>
                  <a:lnTo>
                    <a:pt x="970" y="1040"/>
                  </a:lnTo>
                  <a:lnTo>
                    <a:pt x="971" y="1041"/>
                  </a:lnTo>
                  <a:lnTo>
                    <a:pt x="970" y="1041"/>
                  </a:lnTo>
                  <a:lnTo>
                    <a:pt x="971" y="1041"/>
                  </a:lnTo>
                  <a:lnTo>
                    <a:pt x="971" y="1043"/>
                  </a:lnTo>
                  <a:lnTo>
                    <a:pt x="975" y="1044"/>
                  </a:lnTo>
                  <a:lnTo>
                    <a:pt x="975" y="1043"/>
                  </a:lnTo>
                  <a:lnTo>
                    <a:pt x="976" y="1044"/>
                  </a:lnTo>
                  <a:lnTo>
                    <a:pt x="976" y="1043"/>
                  </a:lnTo>
                  <a:lnTo>
                    <a:pt x="975" y="1043"/>
                  </a:lnTo>
                  <a:lnTo>
                    <a:pt x="973" y="1043"/>
                  </a:lnTo>
                  <a:lnTo>
                    <a:pt x="975" y="1043"/>
                  </a:lnTo>
                  <a:lnTo>
                    <a:pt x="976" y="1043"/>
                  </a:lnTo>
                  <a:lnTo>
                    <a:pt x="978" y="1044"/>
                  </a:lnTo>
                  <a:lnTo>
                    <a:pt x="976" y="1044"/>
                  </a:lnTo>
                  <a:lnTo>
                    <a:pt x="978" y="1044"/>
                  </a:lnTo>
                  <a:lnTo>
                    <a:pt x="978" y="1046"/>
                  </a:lnTo>
                  <a:lnTo>
                    <a:pt x="980" y="1048"/>
                  </a:lnTo>
                  <a:lnTo>
                    <a:pt x="980" y="1049"/>
                  </a:lnTo>
                  <a:lnTo>
                    <a:pt x="980" y="1051"/>
                  </a:lnTo>
                  <a:lnTo>
                    <a:pt x="980" y="1053"/>
                  </a:lnTo>
                  <a:lnTo>
                    <a:pt x="978" y="1054"/>
                  </a:lnTo>
                  <a:lnTo>
                    <a:pt x="980" y="1054"/>
                  </a:lnTo>
                  <a:lnTo>
                    <a:pt x="980" y="1053"/>
                  </a:lnTo>
                  <a:lnTo>
                    <a:pt x="980" y="1054"/>
                  </a:lnTo>
                  <a:lnTo>
                    <a:pt x="981" y="1054"/>
                  </a:lnTo>
                  <a:lnTo>
                    <a:pt x="983" y="1054"/>
                  </a:lnTo>
                  <a:lnTo>
                    <a:pt x="983" y="1053"/>
                  </a:lnTo>
                  <a:lnTo>
                    <a:pt x="984" y="1053"/>
                  </a:lnTo>
                  <a:lnTo>
                    <a:pt x="984" y="1054"/>
                  </a:lnTo>
                  <a:lnTo>
                    <a:pt x="984" y="1053"/>
                  </a:lnTo>
                  <a:lnTo>
                    <a:pt x="986" y="1053"/>
                  </a:lnTo>
                  <a:lnTo>
                    <a:pt x="988" y="1054"/>
                  </a:lnTo>
                  <a:lnTo>
                    <a:pt x="989" y="1054"/>
                  </a:lnTo>
                  <a:lnTo>
                    <a:pt x="989" y="1056"/>
                  </a:lnTo>
                  <a:lnTo>
                    <a:pt x="991" y="1056"/>
                  </a:lnTo>
                  <a:lnTo>
                    <a:pt x="991" y="1057"/>
                  </a:lnTo>
                  <a:lnTo>
                    <a:pt x="989" y="1057"/>
                  </a:lnTo>
                  <a:lnTo>
                    <a:pt x="989" y="1059"/>
                  </a:lnTo>
                  <a:lnTo>
                    <a:pt x="988" y="1062"/>
                  </a:lnTo>
                  <a:lnTo>
                    <a:pt x="988" y="1064"/>
                  </a:lnTo>
                  <a:lnTo>
                    <a:pt x="986" y="1064"/>
                  </a:lnTo>
                  <a:lnTo>
                    <a:pt x="986" y="1062"/>
                  </a:lnTo>
                  <a:lnTo>
                    <a:pt x="984" y="1062"/>
                  </a:lnTo>
                  <a:lnTo>
                    <a:pt x="983" y="1062"/>
                  </a:lnTo>
                  <a:lnTo>
                    <a:pt x="981" y="1062"/>
                  </a:lnTo>
                  <a:lnTo>
                    <a:pt x="981" y="1061"/>
                  </a:lnTo>
                  <a:lnTo>
                    <a:pt x="980" y="1061"/>
                  </a:lnTo>
                  <a:lnTo>
                    <a:pt x="980" y="1059"/>
                  </a:lnTo>
                  <a:lnTo>
                    <a:pt x="980" y="1057"/>
                  </a:lnTo>
                  <a:lnTo>
                    <a:pt x="978" y="1057"/>
                  </a:lnTo>
                  <a:lnTo>
                    <a:pt x="976" y="1057"/>
                  </a:lnTo>
                  <a:lnTo>
                    <a:pt x="976" y="1059"/>
                  </a:lnTo>
                  <a:lnTo>
                    <a:pt x="975" y="1059"/>
                  </a:lnTo>
                  <a:lnTo>
                    <a:pt x="973" y="1059"/>
                  </a:lnTo>
                  <a:lnTo>
                    <a:pt x="973" y="1057"/>
                  </a:lnTo>
                  <a:lnTo>
                    <a:pt x="971" y="1056"/>
                  </a:lnTo>
                  <a:lnTo>
                    <a:pt x="971" y="1054"/>
                  </a:lnTo>
                  <a:lnTo>
                    <a:pt x="970" y="1054"/>
                  </a:lnTo>
                  <a:lnTo>
                    <a:pt x="971" y="1053"/>
                  </a:lnTo>
                  <a:lnTo>
                    <a:pt x="970" y="1053"/>
                  </a:lnTo>
                  <a:lnTo>
                    <a:pt x="970" y="1051"/>
                  </a:lnTo>
                  <a:lnTo>
                    <a:pt x="971" y="1049"/>
                  </a:lnTo>
                  <a:lnTo>
                    <a:pt x="973" y="1049"/>
                  </a:lnTo>
                  <a:lnTo>
                    <a:pt x="973" y="1048"/>
                  </a:lnTo>
                  <a:lnTo>
                    <a:pt x="975" y="1048"/>
                  </a:lnTo>
                  <a:lnTo>
                    <a:pt x="975" y="1049"/>
                  </a:lnTo>
                  <a:lnTo>
                    <a:pt x="975" y="1051"/>
                  </a:lnTo>
                  <a:lnTo>
                    <a:pt x="976" y="1051"/>
                  </a:lnTo>
                  <a:lnTo>
                    <a:pt x="976" y="1049"/>
                  </a:lnTo>
                  <a:lnTo>
                    <a:pt x="976" y="1048"/>
                  </a:lnTo>
                  <a:lnTo>
                    <a:pt x="975" y="1048"/>
                  </a:lnTo>
                  <a:lnTo>
                    <a:pt x="973" y="1048"/>
                  </a:lnTo>
                  <a:lnTo>
                    <a:pt x="970" y="1048"/>
                  </a:lnTo>
                  <a:lnTo>
                    <a:pt x="968" y="1048"/>
                  </a:lnTo>
                  <a:lnTo>
                    <a:pt x="967" y="1048"/>
                  </a:lnTo>
                  <a:lnTo>
                    <a:pt x="965" y="1046"/>
                  </a:lnTo>
                  <a:lnTo>
                    <a:pt x="963" y="1046"/>
                  </a:lnTo>
                  <a:lnTo>
                    <a:pt x="963" y="1044"/>
                  </a:lnTo>
                  <a:lnTo>
                    <a:pt x="963" y="1043"/>
                  </a:lnTo>
                  <a:lnTo>
                    <a:pt x="965" y="1043"/>
                  </a:lnTo>
                  <a:lnTo>
                    <a:pt x="963" y="1041"/>
                  </a:lnTo>
                  <a:lnTo>
                    <a:pt x="965" y="1041"/>
                  </a:lnTo>
                  <a:lnTo>
                    <a:pt x="963" y="1041"/>
                  </a:lnTo>
                  <a:lnTo>
                    <a:pt x="965" y="1041"/>
                  </a:lnTo>
                  <a:lnTo>
                    <a:pt x="967" y="1040"/>
                  </a:lnTo>
                  <a:lnTo>
                    <a:pt x="965" y="1040"/>
                  </a:lnTo>
                  <a:lnTo>
                    <a:pt x="967" y="1040"/>
                  </a:lnTo>
                  <a:lnTo>
                    <a:pt x="967" y="1038"/>
                  </a:lnTo>
                  <a:close/>
                  <a:moveTo>
                    <a:pt x="965" y="1036"/>
                  </a:moveTo>
                  <a:lnTo>
                    <a:pt x="965" y="1035"/>
                  </a:lnTo>
                  <a:lnTo>
                    <a:pt x="965" y="1036"/>
                  </a:lnTo>
                  <a:close/>
                  <a:moveTo>
                    <a:pt x="971" y="1035"/>
                  </a:moveTo>
                  <a:lnTo>
                    <a:pt x="973" y="1035"/>
                  </a:lnTo>
                  <a:lnTo>
                    <a:pt x="971" y="1035"/>
                  </a:lnTo>
                  <a:close/>
                  <a:moveTo>
                    <a:pt x="973" y="1035"/>
                  </a:moveTo>
                  <a:lnTo>
                    <a:pt x="971" y="1035"/>
                  </a:lnTo>
                  <a:lnTo>
                    <a:pt x="973" y="1035"/>
                  </a:lnTo>
                  <a:close/>
                  <a:moveTo>
                    <a:pt x="976" y="1033"/>
                  </a:moveTo>
                  <a:lnTo>
                    <a:pt x="975" y="1033"/>
                  </a:lnTo>
                  <a:lnTo>
                    <a:pt x="975" y="1035"/>
                  </a:lnTo>
                  <a:lnTo>
                    <a:pt x="975" y="1033"/>
                  </a:lnTo>
                  <a:lnTo>
                    <a:pt x="976" y="1033"/>
                  </a:lnTo>
                  <a:lnTo>
                    <a:pt x="975" y="1033"/>
                  </a:lnTo>
                  <a:lnTo>
                    <a:pt x="976" y="1033"/>
                  </a:lnTo>
                  <a:close/>
                  <a:moveTo>
                    <a:pt x="965" y="1033"/>
                  </a:moveTo>
                  <a:lnTo>
                    <a:pt x="967" y="1033"/>
                  </a:lnTo>
                  <a:lnTo>
                    <a:pt x="965" y="1033"/>
                  </a:lnTo>
                  <a:close/>
                  <a:moveTo>
                    <a:pt x="976" y="1033"/>
                  </a:moveTo>
                  <a:lnTo>
                    <a:pt x="978" y="1033"/>
                  </a:lnTo>
                  <a:lnTo>
                    <a:pt x="976" y="1033"/>
                  </a:lnTo>
                  <a:close/>
                  <a:moveTo>
                    <a:pt x="967" y="1033"/>
                  </a:moveTo>
                  <a:lnTo>
                    <a:pt x="965" y="1033"/>
                  </a:lnTo>
                  <a:lnTo>
                    <a:pt x="967" y="1033"/>
                  </a:lnTo>
                  <a:close/>
                  <a:moveTo>
                    <a:pt x="981" y="1033"/>
                  </a:moveTo>
                  <a:lnTo>
                    <a:pt x="983" y="1033"/>
                  </a:lnTo>
                  <a:lnTo>
                    <a:pt x="981" y="1033"/>
                  </a:lnTo>
                  <a:lnTo>
                    <a:pt x="983" y="1033"/>
                  </a:lnTo>
                  <a:lnTo>
                    <a:pt x="981" y="1033"/>
                  </a:lnTo>
                  <a:lnTo>
                    <a:pt x="980" y="1035"/>
                  </a:lnTo>
                  <a:lnTo>
                    <a:pt x="981" y="1035"/>
                  </a:lnTo>
                  <a:lnTo>
                    <a:pt x="983" y="1035"/>
                  </a:lnTo>
                  <a:lnTo>
                    <a:pt x="984" y="1035"/>
                  </a:lnTo>
                  <a:lnTo>
                    <a:pt x="984" y="1036"/>
                  </a:lnTo>
                  <a:lnTo>
                    <a:pt x="983" y="1041"/>
                  </a:lnTo>
                  <a:lnTo>
                    <a:pt x="983" y="1043"/>
                  </a:lnTo>
                  <a:lnTo>
                    <a:pt x="983" y="1044"/>
                  </a:lnTo>
                  <a:lnTo>
                    <a:pt x="983" y="1043"/>
                  </a:lnTo>
                  <a:lnTo>
                    <a:pt x="983" y="1044"/>
                  </a:lnTo>
                  <a:lnTo>
                    <a:pt x="981" y="1044"/>
                  </a:lnTo>
                  <a:lnTo>
                    <a:pt x="981" y="1046"/>
                  </a:lnTo>
                  <a:lnTo>
                    <a:pt x="981" y="1044"/>
                  </a:lnTo>
                  <a:lnTo>
                    <a:pt x="980" y="1044"/>
                  </a:lnTo>
                  <a:lnTo>
                    <a:pt x="978" y="1043"/>
                  </a:lnTo>
                  <a:lnTo>
                    <a:pt x="978" y="1041"/>
                  </a:lnTo>
                  <a:lnTo>
                    <a:pt x="978" y="1040"/>
                  </a:lnTo>
                  <a:lnTo>
                    <a:pt x="978" y="1041"/>
                  </a:lnTo>
                  <a:lnTo>
                    <a:pt x="978" y="1040"/>
                  </a:lnTo>
                  <a:lnTo>
                    <a:pt x="976" y="1040"/>
                  </a:lnTo>
                  <a:lnTo>
                    <a:pt x="976" y="1041"/>
                  </a:lnTo>
                  <a:lnTo>
                    <a:pt x="975" y="1041"/>
                  </a:lnTo>
                  <a:lnTo>
                    <a:pt x="973" y="1041"/>
                  </a:lnTo>
                  <a:lnTo>
                    <a:pt x="973" y="1040"/>
                  </a:lnTo>
                  <a:lnTo>
                    <a:pt x="971" y="1041"/>
                  </a:lnTo>
                  <a:lnTo>
                    <a:pt x="971" y="1040"/>
                  </a:lnTo>
                  <a:lnTo>
                    <a:pt x="973" y="1040"/>
                  </a:lnTo>
                  <a:lnTo>
                    <a:pt x="971" y="1040"/>
                  </a:lnTo>
                  <a:lnTo>
                    <a:pt x="971" y="1038"/>
                  </a:lnTo>
                  <a:lnTo>
                    <a:pt x="973" y="1038"/>
                  </a:lnTo>
                  <a:lnTo>
                    <a:pt x="975" y="1038"/>
                  </a:lnTo>
                  <a:lnTo>
                    <a:pt x="973" y="1038"/>
                  </a:lnTo>
                  <a:lnTo>
                    <a:pt x="971" y="1038"/>
                  </a:lnTo>
                  <a:lnTo>
                    <a:pt x="971" y="1036"/>
                  </a:lnTo>
                  <a:lnTo>
                    <a:pt x="973" y="1036"/>
                  </a:lnTo>
                  <a:lnTo>
                    <a:pt x="975" y="1036"/>
                  </a:lnTo>
                  <a:lnTo>
                    <a:pt x="973" y="1036"/>
                  </a:lnTo>
                  <a:lnTo>
                    <a:pt x="971" y="1036"/>
                  </a:lnTo>
                  <a:lnTo>
                    <a:pt x="973" y="1036"/>
                  </a:lnTo>
                  <a:lnTo>
                    <a:pt x="973" y="1035"/>
                  </a:lnTo>
                  <a:lnTo>
                    <a:pt x="973" y="1036"/>
                  </a:lnTo>
                  <a:lnTo>
                    <a:pt x="973" y="1035"/>
                  </a:lnTo>
                  <a:lnTo>
                    <a:pt x="975" y="1035"/>
                  </a:lnTo>
                  <a:lnTo>
                    <a:pt x="976" y="1033"/>
                  </a:lnTo>
                  <a:lnTo>
                    <a:pt x="978" y="1033"/>
                  </a:lnTo>
                  <a:lnTo>
                    <a:pt x="980" y="1033"/>
                  </a:lnTo>
                  <a:lnTo>
                    <a:pt x="981" y="1033"/>
                  </a:lnTo>
                  <a:close/>
                  <a:moveTo>
                    <a:pt x="978" y="1033"/>
                  </a:moveTo>
                  <a:lnTo>
                    <a:pt x="978" y="1031"/>
                  </a:lnTo>
                  <a:lnTo>
                    <a:pt x="978" y="1033"/>
                  </a:lnTo>
                  <a:close/>
                  <a:moveTo>
                    <a:pt x="983" y="1030"/>
                  </a:moveTo>
                  <a:lnTo>
                    <a:pt x="983" y="1031"/>
                  </a:lnTo>
                  <a:lnTo>
                    <a:pt x="983" y="1030"/>
                  </a:lnTo>
                  <a:close/>
                  <a:moveTo>
                    <a:pt x="983" y="1028"/>
                  </a:moveTo>
                  <a:lnTo>
                    <a:pt x="984" y="1028"/>
                  </a:lnTo>
                  <a:lnTo>
                    <a:pt x="983" y="1028"/>
                  </a:lnTo>
                  <a:close/>
                  <a:moveTo>
                    <a:pt x="970" y="1028"/>
                  </a:moveTo>
                  <a:lnTo>
                    <a:pt x="971" y="1028"/>
                  </a:lnTo>
                  <a:lnTo>
                    <a:pt x="970" y="1028"/>
                  </a:lnTo>
                  <a:close/>
                  <a:moveTo>
                    <a:pt x="970" y="1028"/>
                  </a:moveTo>
                  <a:lnTo>
                    <a:pt x="971" y="1028"/>
                  </a:lnTo>
                  <a:lnTo>
                    <a:pt x="970" y="1028"/>
                  </a:lnTo>
                  <a:close/>
                  <a:moveTo>
                    <a:pt x="949" y="1028"/>
                  </a:moveTo>
                  <a:lnTo>
                    <a:pt x="947" y="1028"/>
                  </a:lnTo>
                  <a:lnTo>
                    <a:pt x="949" y="1028"/>
                  </a:lnTo>
                  <a:close/>
                  <a:moveTo>
                    <a:pt x="967" y="1028"/>
                  </a:moveTo>
                  <a:lnTo>
                    <a:pt x="965" y="1028"/>
                  </a:lnTo>
                  <a:lnTo>
                    <a:pt x="967" y="1028"/>
                  </a:lnTo>
                  <a:close/>
                  <a:moveTo>
                    <a:pt x="947" y="1027"/>
                  </a:moveTo>
                  <a:lnTo>
                    <a:pt x="947" y="1028"/>
                  </a:lnTo>
                  <a:lnTo>
                    <a:pt x="947" y="1027"/>
                  </a:lnTo>
                  <a:close/>
                  <a:moveTo>
                    <a:pt x="973" y="1027"/>
                  </a:moveTo>
                  <a:lnTo>
                    <a:pt x="973" y="1028"/>
                  </a:lnTo>
                  <a:lnTo>
                    <a:pt x="973" y="1027"/>
                  </a:lnTo>
                  <a:close/>
                  <a:moveTo>
                    <a:pt x="967" y="1028"/>
                  </a:moveTo>
                  <a:lnTo>
                    <a:pt x="967" y="1027"/>
                  </a:lnTo>
                  <a:lnTo>
                    <a:pt x="967" y="1028"/>
                  </a:lnTo>
                  <a:close/>
                  <a:moveTo>
                    <a:pt x="971" y="1028"/>
                  </a:moveTo>
                  <a:lnTo>
                    <a:pt x="971" y="1027"/>
                  </a:lnTo>
                  <a:lnTo>
                    <a:pt x="973" y="1027"/>
                  </a:lnTo>
                  <a:lnTo>
                    <a:pt x="971" y="1027"/>
                  </a:lnTo>
                  <a:lnTo>
                    <a:pt x="971" y="1028"/>
                  </a:lnTo>
                  <a:close/>
                  <a:moveTo>
                    <a:pt x="973" y="1028"/>
                  </a:moveTo>
                  <a:lnTo>
                    <a:pt x="971" y="1028"/>
                  </a:lnTo>
                  <a:lnTo>
                    <a:pt x="973" y="1027"/>
                  </a:lnTo>
                  <a:lnTo>
                    <a:pt x="973" y="1028"/>
                  </a:lnTo>
                  <a:close/>
                  <a:moveTo>
                    <a:pt x="973" y="1027"/>
                  </a:moveTo>
                  <a:lnTo>
                    <a:pt x="975" y="1027"/>
                  </a:lnTo>
                  <a:lnTo>
                    <a:pt x="973" y="1027"/>
                  </a:lnTo>
                  <a:close/>
                  <a:moveTo>
                    <a:pt x="947" y="1027"/>
                  </a:moveTo>
                  <a:lnTo>
                    <a:pt x="947" y="1025"/>
                  </a:lnTo>
                  <a:lnTo>
                    <a:pt x="947" y="1027"/>
                  </a:lnTo>
                  <a:close/>
                  <a:moveTo>
                    <a:pt x="947" y="1027"/>
                  </a:moveTo>
                  <a:lnTo>
                    <a:pt x="949" y="1025"/>
                  </a:lnTo>
                  <a:lnTo>
                    <a:pt x="949" y="1027"/>
                  </a:lnTo>
                  <a:lnTo>
                    <a:pt x="947" y="1027"/>
                  </a:lnTo>
                  <a:close/>
                  <a:moveTo>
                    <a:pt x="971" y="1025"/>
                  </a:moveTo>
                  <a:lnTo>
                    <a:pt x="973" y="1025"/>
                  </a:lnTo>
                  <a:lnTo>
                    <a:pt x="973" y="1027"/>
                  </a:lnTo>
                  <a:lnTo>
                    <a:pt x="971" y="1027"/>
                  </a:lnTo>
                  <a:lnTo>
                    <a:pt x="970" y="1028"/>
                  </a:lnTo>
                  <a:lnTo>
                    <a:pt x="970" y="1027"/>
                  </a:lnTo>
                  <a:lnTo>
                    <a:pt x="971" y="1027"/>
                  </a:lnTo>
                  <a:lnTo>
                    <a:pt x="971" y="1025"/>
                  </a:lnTo>
                  <a:lnTo>
                    <a:pt x="971" y="1027"/>
                  </a:lnTo>
                  <a:lnTo>
                    <a:pt x="971" y="1025"/>
                  </a:lnTo>
                  <a:lnTo>
                    <a:pt x="973" y="1025"/>
                  </a:lnTo>
                  <a:lnTo>
                    <a:pt x="971" y="1025"/>
                  </a:lnTo>
                  <a:close/>
                  <a:moveTo>
                    <a:pt x="947" y="1027"/>
                  </a:moveTo>
                  <a:lnTo>
                    <a:pt x="947" y="1025"/>
                  </a:lnTo>
                  <a:lnTo>
                    <a:pt x="947" y="1027"/>
                  </a:lnTo>
                  <a:lnTo>
                    <a:pt x="947" y="1025"/>
                  </a:lnTo>
                  <a:lnTo>
                    <a:pt x="947" y="1027"/>
                  </a:lnTo>
                  <a:close/>
                  <a:moveTo>
                    <a:pt x="937" y="1025"/>
                  </a:moveTo>
                  <a:lnTo>
                    <a:pt x="939" y="1025"/>
                  </a:lnTo>
                  <a:lnTo>
                    <a:pt x="937" y="1025"/>
                  </a:lnTo>
                  <a:close/>
                  <a:moveTo>
                    <a:pt x="953" y="1025"/>
                  </a:moveTo>
                  <a:lnTo>
                    <a:pt x="952" y="1025"/>
                  </a:lnTo>
                  <a:lnTo>
                    <a:pt x="953" y="1025"/>
                  </a:lnTo>
                  <a:close/>
                  <a:moveTo>
                    <a:pt x="981" y="1025"/>
                  </a:moveTo>
                  <a:lnTo>
                    <a:pt x="983" y="1025"/>
                  </a:lnTo>
                  <a:lnTo>
                    <a:pt x="984" y="1025"/>
                  </a:lnTo>
                  <a:lnTo>
                    <a:pt x="983" y="1025"/>
                  </a:lnTo>
                  <a:lnTo>
                    <a:pt x="981" y="1025"/>
                  </a:lnTo>
                  <a:close/>
                  <a:moveTo>
                    <a:pt x="950" y="1025"/>
                  </a:moveTo>
                  <a:lnTo>
                    <a:pt x="949" y="1025"/>
                  </a:lnTo>
                  <a:lnTo>
                    <a:pt x="950" y="1025"/>
                  </a:lnTo>
                  <a:close/>
                  <a:moveTo>
                    <a:pt x="997" y="1023"/>
                  </a:moveTo>
                  <a:lnTo>
                    <a:pt x="997" y="1025"/>
                  </a:lnTo>
                  <a:lnTo>
                    <a:pt x="997" y="1023"/>
                  </a:lnTo>
                  <a:close/>
                  <a:moveTo>
                    <a:pt x="971" y="1025"/>
                  </a:moveTo>
                  <a:lnTo>
                    <a:pt x="971" y="1023"/>
                  </a:lnTo>
                  <a:lnTo>
                    <a:pt x="971" y="1025"/>
                  </a:lnTo>
                  <a:lnTo>
                    <a:pt x="971" y="1027"/>
                  </a:lnTo>
                  <a:lnTo>
                    <a:pt x="970" y="1025"/>
                  </a:lnTo>
                  <a:lnTo>
                    <a:pt x="970" y="1027"/>
                  </a:lnTo>
                  <a:lnTo>
                    <a:pt x="970" y="1025"/>
                  </a:lnTo>
                  <a:lnTo>
                    <a:pt x="970" y="1027"/>
                  </a:lnTo>
                  <a:lnTo>
                    <a:pt x="968" y="1027"/>
                  </a:lnTo>
                  <a:lnTo>
                    <a:pt x="968" y="1025"/>
                  </a:lnTo>
                  <a:lnTo>
                    <a:pt x="970" y="1025"/>
                  </a:lnTo>
                  <a:lnTo>
                    <a:pt x="968" y="1025"/>
                  </a:lnTo>
                  <a:lnTo>
                    <a:pt x="970" y="1025"/>
                  </a:lnTo>
                  <a:lnTo>
                    <a:pt x="971" y="1025"/>
                  </a:lnTo>
                  <a:close/>
                  <a:moveTo>
                    <a:pt x="976" y="1025"/>
                  </a:moveTo>
                  <a:lnTo>
                    <a:pt x="975" y="1025"/>
                  </a:lnTo>
                  <a:lnTo>
                    <a:pt x="976" y="1023"/>
                  </a:lnTo>
                  <a:lnTo>
                    <a:pt x="976" y="1025"/>
                  </a:lnTo>
                  <a:close/>
                  <a:moveTo>
                    <a:pt x="999" y="1023"/>
                  </a:moveTo>
                  <a:lnTo>
                    <a:pt x="999" y="1025"/>
                  </a:lnTo>
                  <a:lnTo>
                    <a:pt x="999" y="1023"/>
                  </a:lnTo>
                  <a:close/>
                  <a:moveTo>
                    <a:pt x="950" y="1025"/>
                  </a:moveTo>
                  <a:lnTo>
                    <a:pt x="950" y="1023"/>
                  </a:lnTo>
                  <a:lnTo>
                    <a:pt x="950" y="1025"/>
                  </a:lnTo>
                  <a:close/>
                  <a:moveTo>
                    <a:pt x="997" y="1023"/>
                  </a:moveTo>
                  <a:lnTo>
                    <a:pt x="999" y="1023"/>
                  </a:lnTo>
                  <a:lnTo>
                    <a:pt x="999" y="1025"/>
                  </a:lnTo>
                  <a:lnTo>
                    <a:pt x="997" y="1023"/>
                  </a:lnTo>
                  <a:close/>
                  <a:moveTo>
                    <a:pt x="950" y="1025"/>
                  </a:moveTo>
                  <a:lnTo>
                    <a:pt x="949" y="1023"/>
                  </a:lnTo>
                  <a:lnTo>
                    <a:pt x="950" y="1023"/>
                  </a:lnTo>
                  <a:lnTo>
                    <a:pt x="950" y="1025"/>
                  </a:lnTo>
                  <a:close/>
                  <a:moveTo>
                    <a:pt x="996" y="1023"/>
                  </a:moveTo>
                  <a:lnTo>
                    <a:pt x="997" y="1023"/>
                  </a:lnTo>
                  <a:lnTo>
                    <a:pt x="996" y="1023"/>
                  </a:lnTo>
                  <a:close/>
                  <a:moveTo>
                    <a:pt x="955" y="1023"/>
                  </a:moveTo>
                  <a:lnTo>
                    <a:pt x="953" y="1023"/>
                  </a:lnTo>
                  <a:lnTo>
                    <a:pt x="955" y="1023"/>
                  </a:lnTo>
                  <a:close/>
                  <a:moveTo>
                    <a:pt x="947" y="1023"/>
                  </a:moveTo>
                  <a:lnTo>
                    <a:pt x="949" y="1023"/>
                  </a:lnTo>
                  <a:lnTo>
                    <a:pt x="947" y="1023"/>
                  </a:lnTo>
                  <a:close/>
                  <a:moveTo>
                    <a:pt x="955" y="1023"/>
                  </a:moveTo>
                  <a:lnTo>
                    <a:pt x="953" y="1023"/>
                  </a:lnTo>
                  <a:lnTo>
                    <a:pt x="953" y="1022"/>
                  </a:lnTo>
                  <a:lnTo>
                    <a:pt x="955" y="1022"/>
                  </a:lnTo>
                  <a:lnTo>
                    <a:pt x="955" y="1023"/>
                  </a:lnTo>
                  <a:close/>
                  <a:moveTo>
                    <a:pt x="973" y="1023"/>
                  </a:moveTo>
                  <a:lnTo>
                    <a:pt x="971" y="1023"/>
                  </a:lnTo>
                  <a:lnTo>
                    <a:pt x="973" y="1023"/>
                  </a:lnTo>
                  <a:lnTo>
                    <a:pt x="973" y="1022"/>
                  </a:lnTo>
                  <a:lnTo>
                    <a:pt x="973" y="1023"/>
                  </a:lnTo>
                  <a:close/>
                  <a:moveTo>
                    <a:pt x="971" y="1023"/>
                  </a:moveTo>
                  <a:lnTo>
                    <a:pt x="971" y="1022"/>
                  </a:lnTo>
                  <a:lnTo>
                    <a:pt x="971" y="1023"/>
                  </a:lnTo>
                  <a:close/>
                  <a:moveTo>
                    <a:pt x="936" y="1022"/>
                  </a:moveTo>
                  <a:lnTo>
                    <a:pt x="937" y="1022"/>
                  </a:lnTo>
                  <a:lnTo>
                    <a:pt x="937" y="1023"/>
                  </a:lnTo>
                  <a:lnTo>
                    <a:pt x="936" y="1023"/>
                  </a:lnTo>
                  <a:lnTo>
                    <a:pt x="936" y="1022"/>
                  </a:lnTo>
                  <a:close/>
                  <a:moveTo>
                    <a:pt x="981" y="1022"/>
                  </a:moveTo>
                  <a:lnTo>
                    <a:pt x="983" y="1022"/>
                  </a:lnTo>
                  <a:lnTo>
                    <a:pt x="981" y="1022"/>
                  </a:lnTo>
                  <a:close/>
                  <a:moveTo>
                    <a:pt x="975" y="1022"/>
                  </a:moveTo>
                  <a:lnTo>
                    <a:pt x="976" y="1022"/>
                  </a:lnTo>
                  <a:lnTo>
                    <a:pt x="975" y="1022"/>
                  </a:lnTo>
                  <a:close/>
                  <a:moveTo>
                    <a:pt x="971" y="1022"/>
                  </a:moveTo>
                  <a:lnTo>
                    <a:pt x="973" y="1022"/>
                  </a:lnTo>
                  <a:lnTo>
                    <a:pt x="975" y="1022"/>
                  </a:lnTo>
                  <a:lnTo>
                    <a:pt x="973" y="1022"/>
                  </a:lnTo>
                  <a:lnTo>
                    <a:pt x="973" y="1023"/>
                  </a:lnTo>
                  <a:lnTo>
                    <a:pt x="973" y="1022"/>
                  </a:lnTo>
                  <a:lnTo>
                    <a:pt x="971" y="1022"/>
                  </a:lnTo>
                  <a:close/>
                  <a:moveTo>
                    <a:pt x="955" y="1022"/>
                  </a:moveTo>
                  <a:lnTo>
                    <a:pt x="957" y="1022"/>
                  </a:lnTo>
                  <a:lnTo>
                    <a:pt x="955" y="1022"/>
                  </a:lnTo>
                  <a:close/>
                  <a:moveTo>
                    <a:pt x="937" y="1023"/>
                  </a:moveTo>
                  <a:lnTo>
                    <a:pt x="937" y="1022"/>
                  </a:lnTo>
                  <a:lnTo>
                    <a:pt x="937" y="1023"/>
                  </a:lnTo>
                  <a:close/>
                  <a:moveTo>
                    <a:pt x="983" y="1022"/>
                  </a:moveTo>
                  <a:lnTo>
                    <a:pt x="981" y="1022"/>
                  </a:lnTo>
                  <a:lnTo>
                    <a:pt x="983" y="1022"/>
                  </a:lnTo>
                  <a:close/>
                  <a:moveTo>
                    <a:pt x="975" y="1022"/>
                  </a:moveTo>
                  <a:lnTo>
                    <a:pt x="973" y="1022"/>
                  </a:lnTo>
                  <a:lnTo>
                    <a:pt x="975" y="1022"/>
                  </a:lnTo>
                  <a:close/>
                  <a:moveTo>
                    <a:pt x="949" y="1022"/>
                  </a:moveTo>
                  <a:lnTo>
                    <a:pt x="950" y="1022"/>
                  </a:lnTo>
                  <a:lnTo>
                    <a:pt x="949" y="1022"/>
                  </a:lnTo>
                  <a:close/>
                  <a:moveTo>
                    <a:pt x="980" y="1022"/>
                  </a:moveTo>
                  <a:lnTo>
                    <a:pt x="978" y="1022"/>
                  </a:lnTo>
                  <a:lnTo>
                    <a:pt x="980" y="1022"/>
                  </a:lnTo>
                  <a:close/>
                  <a:moveTo>
                    <a:pt x="953" y="1022"/>
                  </a:moveTo>
                  <a:lnTo>
                    <a:pt x="955" y="1022"/>
                  </a:lnTo>
                  <a:lnTo>
                    <a:pt x="955" y="1023"/>
                  </a:lnTo>
                  <a:lnTo>
                    <a:pt x="955" y="1022"/>
                  </a:lnTo>
                  <a:lnTo>
                    <a:pt x="953" y="1022"/>
                  </a:lnTo>
                  <a:lnTo>
                    <a:pt x="953" y="1023"/>
                  </a:lnTo>
                  <a:lnTo>
                    <a:pt x="953" y="1022"/>
                  </a:lnTo>
                  <a:close/>
                  <a:moveTo>
                    <a:pt x="983" y="1022"/>
                  </a:moveTo>
                  <a:lnTo>
                    <a:pt x="983" y="1020"/>
                  </a:lnTo>
                  <a:lnTo>
                    <a:pt x="983" y="1022"/>
                  </a:lnTo>
                  <a:close/>
                  <a:moveTo>
                    <a:pt x="989" y="1022"/>
                  </a:moveTo>
                  <a:lnTo>
                    <a:pt x="989" y="1020"/>
                  </a:lnTo>
                  <a:lnTo>
                    <a:pt x="989" y="1022"/>
                  </a:lnTo>
                  <a:close/>
                  <a:moveTo>
                    <a:pt x="975" y="1022"/>
                  </a:moveTo>
                  <a:lnTo>
                    <a:pt x="976" y="1020"/>
                  </a:lnTo>
                  <a:lnTo>
                    <a:pt x="976" y="1022"/>
                  </a:lnTo>
                  <a:lnTo>
                    <a:pt x="975" y="1022"/>
                  </a:lnTo>
                  <a:close/>
                  <a:moveTo>
                    <a:pt x="957" y="1020"/>
                  </a:moveTo>
                  <a:lnTo>
                    <a:pt x="957" y="1022"/>
                  </a:lnTo>
                  <a:lnTo>
                    <a:pt x="957" y="1020"/>
                  </a:lnTo>
                  <a:close/>
                  <a:moveTo>
                    <a:pt x="976" y="1020"/>
                  </a:moveTo>
                  <a:lnTo>
                    <a:pt x="975" y="1020"/>
                  </a:lnTo>
                  <a:lnTo>
                    <a:pt x="976" y="1020"/>
                  </a:lnTo>
                  <a:close/>
                  <a:moveTo>
                    <a:pt x="976" y="1020"/>
                  </a:moveTo>
                  <a:lnTo>
                    <a:pt x="978" y="1020"/>
                  </a:lnTo>
                  <a:lnTo>
                    <a:pt x="976" y="1020"/>
                  </a:lnTo>
                  <a:close/>
                  <a:moveTo>
                    <a:pt x="980" y="1020"/>
                  </a:moveTo>
                  <a:lnTo>
                    <a:pt x="978" y="1020"/>
                  </a:lnTo>
                  <a:lnTo>
                    <a:pt x="980" y="1020"/>
                  </a:lnTo>
                  <a:close/>
                  <a:moveTo>
                    <a:pt x="981" y="1020"/>
                  </a:moveTo>
                  <a:lnTo>
                    <a:pt x="980" y="1020"/>
                  </a:lnTo>
                  <a:lnTo>
                    <a:pt x="981" y="1020"/>
                  </a:lnTo>
                  <a:close/>
                  <a:moveTo>
                    <a:pt x="963" y="1018"/>
                  </a:moveTo>
                  <a:lnTo>
                    <a:pt x="963" y="1020"/>
                  </a:lnTo>
                  <a:lnTo>
                    <a:pt x="963" y="1018"/>
                  </a:lnTo>
                  <a:close/>
                  <a:moveTo>
                    <a:pt x="960" y="1020"/>
                  </a:moveTo>
                  <a:lnTo>
                    <a:pt x="960" y="1018"/>
                  </a:lnTo>
                  <a:lnTo>
                    <a:pt x="960" y="1020"/>
                  </a:lnTo>
                  <a:close/>
                  <a:moveTo>
                    <a:pt x="973" y="1020"/>
                  </a:moveTo>
                  <a:lnTo>
                    <a:pt x="973" y="1018"/>
                  </a:lnTo>
                  <a:lnTo>
                    <a:pt x="973" y="1020"/>
                  </a:lnTo>
                  <a:close/>
                  <a:moveTo>
                    <a:pt x="960" y="1018"/>
                  </a:moveTo>
                  <a:lnTo>
                    <a:pt x="960" y="1020"/>
                  </a:lnTo>
                  <a:lnTo>
                    <a:pt x="960" y="1018"/>
                  </a:lnTo>
                  <a:close/>
                  <a:moveTo>
                    <a:pt x="932" y="1020"/>
                  </a:moveTo>
                  <a:lnTo>
                    <a:pt x="932" y="1018"/>
                  </a:lnTo>
                  <a:lnTo>
                    <a:pt x="932" y="1020"/>
                  </a:lnTo>
                  <a:close/>
                  <a:moveTo>
                    <a:pt x="983" y="1018"/>
                  </a:moveTo>
                  <a:lnTo>
                    <a:pt x="984" y="1018"/>
                  </a:lnTo>
                  <a:lnTo>
                    <a:pt x="983" y="1020"/>
                  </a:lnTo>
                  <a:lnTo>
                    <a:pt x="981" y="1020"/>
                  </a:lnTo>
                  <a:lnTo>
                    <a:pt x="981" y="1018"/>
                  </a:lnTo>
                  <a:lnTo>
                    <a:pt x="983" y="1018"/>
                  </a:lnTo>
                  <a:close/>
                  <a:moveTo>
                    <a:pt x="975" y="1018"/>
                  </a:moveTo>
                  <a:lnTo>
                    <a:pt x="976" y="1018"/>
                  </a:lnTo>
                  <a:lnTo>
                    <a:pt x="976" y="1020"/>
                  </a:lnTo>
                  <a:lnTo>
                    <a:pt x="975" y="1020"/>
                  </a:lnTo>
                  <a:lnTo>
                    <a:pt x="975" y="1018"/>
                  </a:lnTo>
                  <a:lnTo>
                    <a:pt x="975" y="1020"/>
                  </a:lnTo>
                  <a:lnTo>
                    <a:pt x="975" y="1018"/>
                  </a:lnTo>
                  <a:close/>
                  <a:moveTo>
                    <a:pt x="968" y="1018"/>
                  </a:moveTo>
                  <a:lnTo>
                    <a:pt x="970" y="1018"/>
                  </a:lnTo>
                  <a:lnTo>
                    <a:pt x="968" y="1018"/>
                  </a:lnTo>
                  <a:close/>
                  <a:moveTo>
                    <a:pt x="975" y="1018"/>
                  </a:moveTo>
                  <a:lnTo>
                    <a:pt x="976" y="1018"/>
                  </a:lnTo>
                  <a:lnTo>
                    <a:pt x="975" y="1018"/>
                  </a:lnTo>
                  <a:close/>
                  <a:moveTo>
                    <a:pt x="1009" y="1018"/>
                  </a:moveTo>
                  <a:lnTo>
                    <a:pt x="1010" y="1018"/>
                  </a:lnTo>
                  <a:lnTo>
                    <a:pt x="1009" y="1018"/>
                  </a:lnTo>
                  <a:close/>
                  <a:moveTo>
                    <a:pt x="945" y="1018"/>
                  </a:moveTo>
                  <a:lnTo>
                    <a:pt x="947" y="1018"/>
                  </a:lnTo>
                  <a:lnTo>
                    <a:pt x="945" y="1018"/>
                  </a:lnTo>
                  <a:close/>
                  <a:moveTo>
                    <a:pt x="1009" y="1018"/>
                  </a:moveTo>
                  <a:lnTo>
                    <a:pt x="1010" y="1018"/>
                  </a:lnTo>
                  <a:lnTo>
                    <a:pt x="1010" y="1020"/>
                  </a:lnTo>
                  <a:lnTo>
                    <a:pt x="1009" y="1020"/>
                  </a:lnTo>
                  <a:lnTo>
                    <a:pt x="1009" y="1018"/>
                  </a:lnTo>
                  <a:lnTo>
                    <a:pt x="1007" y="1018"/>
                  </a:lnTo>
                  <a:lnTo>
                    <a:pt x="1009" y="1018"/>
                  </a:lnTo>
                  <a:close/>
                  <a:moveTo>
                    <a:pt x="960" y="1018"/>
                  </a:moveTo>
                  <a:lnTo>
                    <a:pt x="960" y="1017"/>
                  </a:lnTo>
                  <a:lnTo>
                    <a:pt x="960" y="1018"/>
                  </a:lnTo>
                  <a:close/>
                  <a:moveTo>
                    <a:pt x="968" y="1018"/>
                  </a:moveTo>
                  <a:lnTo>
                    <a:pt x="970" y="1017"/>
                  </a:lnTo>
                  <a:lnTo>
                    <a:pt x="968" y="1018"/>
                  </a:lnTo>
                  <a:close/>
                  <a:moveTo>
                    <a:pt x="1009" y="1018"/>
                  </a:moveTo>
                  <a:lnTo>
                    <a:pt x="1009" y="1017"/>
                  </a:lnTo>
                  <a:lnTo>
                    <a:pt x="1009" y="1018"/>
                  </a:lnTo>
                  <a:close/>
                  <a:moveTo>
                    <a:pt x="942" y="1018"/>
                  </a:moveTo>
                  <a:lnTo>
                    <a:pt x="942" y="1017"/>
                  </a:lnTo>
                  <a:lnTo>
                    <a:pt x="942" y="1018"/>
                  </a:lnTo>
                  <a:close/>
                  <a:moveTo>
                    <a:pt x="991" y="1017"/>
                  </a:moveTo>
                  <a:lnTo>
                    <a:pt x="991" y="1018"/>
                  </a:lnTo>
                  <a:lnTo>
                    <a:pt x="991" y="1017"/>
                  </a:lnTo>
                  <a:close/>
                  <a:moveTo>
                    <a:pt x="1004" y="1018"/>
                  </a:moveTo>
                  <a:lnTo>
                    <a:pt x="1002" y="1018"/>
                  </a:lnTo>
                  <a:lnTo>
                    <a:pt x="1002" y="1017"/>
                  </a:lnTo>
                  <a:lnTo>
                    <a:pt x="1004" y="1017"/>
                  </a:lnTo>
                  <a:lnTo>
                    <a:pt x="1004" y="1018"/>
                  </a:lnTo>
                  <a:close/>
                  <a:moveTo>
                    <a:pt x="983" y="1017"/>
                  </a:moveTo>
                  <a:lnTo>
                    <a:pt x="983" y="1018"/>
                  </a:lnTo>
                  <a:lnTo>
                    <a:pt x="981" y="1018"/>
                  </a:lnTo>
                  <a:lnTo>
                    <a:pt x="983" y="1018"/>
                  </a:lnTo>
                  <a:lnTo>
                    <a:pt x="981" y="1018"/>
                  </a:lnTo>
                  <a:lnTo>
                    <a:pt x="981" y="1017"/>
                  </a:lnTo>
                  <a:lnTo>
                    <a:pt x="983" y="1017"/>
                  </a:lnTo>
                  <a:close/>
                  <a:moveTo>
                    <a:pt x="960" y="1018"/>
                  </a:moveTo>
                  <a:lnTo>
                    <a:pt x="960" y="1017"/>
                  </a:lnTo>
                  <a:lnTo>
                    <a:pt x="960" y="1018"/>
                  </a:lnTo>
                  <a:close/>
                  <a:moveTo>
                    <a:pt x="976" y="1018"/>
                  </a:moveTo>
                  <a:lnTo>
                    <a:pt x="976" y="1017"/>
                  </a:lnTo>
                  <a:lnTo>
                    <a:pt x="978" y="1017"/>
                  </a:lnTo>
                  <a:lnTo>
                    <a:pt x="978" y="1018"/>
                  </a:lnTo>
                  <a:lnTo>
                    <a:pt x="976" y="1018"/>
                  </a:lnTo>
                  <a:close/>
                  <a:moveTo>
                    <a:pt x="940" y="1018"/>
                  </a:moveTo>
                  <a:lnTo>
                    <a:pt x="940" y="1017"/>
                  </a:lnTo>
                  <a:lnTo>
                    <a:pt x="940" y="1018"/>
                  </a:lnTo>
                  <a:close/>
                  <a:moveTo>
                    <a:pt x="983" y="1017"/>
                  </a:moveTo>
                  <a:lnTo>
                    <a:pt x="984" y="1017"/>
                  </a:lnTo>
                  <a:lnTo>
                    <a:pt x="984" y="1018"/>
                  </a:lnTo>
                  <a:lnTo>
                    <a:pt x="983" y="1017"/>
                  </a:lnTo>
                  <a:close/>
                  <a:moveTo>
                    <a:pt x="937" y="1017"/>
                  </a:moveTo>
                  <a:lnTo>
                    <a:pt x="937" y="1018"/>
                  </a:lnTo>
                  <a:lnTo>
                    <a:pt x="937" y="1017"/>
                  </a:lnTo>
                  <a:close/>
                  <a:moveTo>
                    <a:pt x="952" y="1017"/>
                  </a:moveTo>
                  <a:lnTo>
                    <a:pt x="952" y="1018"/>
                  </a:lnTo>
                  <a:lnTo>
                    <a:pt x="952" y="1017"/>
                  </a:lnTo>
                  <a:close/>
                  <a:moveTo>
                    <a:pt x="1012" y="1017"/>
                  </a:moveTo>
                  <a:lnTo>
                    <a:pt x="1014" y="1017"/>
                  </a:lnTo>
                  <a:lnTo>
                    <a:pt x="1012" y="1017"/>
                  </a:lnTo>
                  <a:close/>
                  <a:moveTo>
                    <a:pt x="931" y="1017"/>
                  </a:moveTo>
                  <a:lnTo>
                    <a:pt x="932" y="1017"/>
                  </a:lnTo>
                  <a:lnTo>
                    <a:pt x="931" y="1017"/>
                  </a:lnTo>
                  <a:close/>
                  <a:moveTo>
                    <a:pt x="980" y="1017"/>
                  </a:moveTo>
                  <a:lnTo>
                    <a:pt x="981" y="1017"/>
                  </a:lnTo>
                  <a:lnTo>
                    <a:pt x="981" y="1018"/>
                  </a:lnTo>
                  <a:lnTo>
                    <a:pt x="980" y="1018"/>
                  </a:lnTo>
                  <a:lnTo>
                    <a:pt x="980" y="1020"/>
                  </a:lnTo>
                  <a:lnTo>
                    <a:pt x="980" y="1018"/>
                  </a:lnTo>
                  <a:lnTo>
                    <a:pt x="980" y="1020"/>
                  </a:lnTo>
                  <a:lnTo>
                    <a:pt x="978" y="1020"/>
                  </a:lnTo>
                  <a:lnTo>
                    <a:pt x="978" y="1018"/>
                  </a:lnTo>
                  <a:lnTo>
                    <a:pt x="978" y="1020"/>
                  </a:lnTo>
                  <a:lnTo>
                    <a:pt x="976" y="1020"/>
                  </a:lnTo>
                  <a:lnTo>
                    <a:pt x="976" y="1018"/>
                  </a:lnTo>
                  <a:lnTo>
                    <a:pt x="978" y="1018"/>
                  </a:lnTo>
                  <a:lnTo>
                    <a:pt x="980" y="1018"/>
                  </a:lnTo>
                  <a:lnTo>
                    <a:pt x="978" y="1018"/>
                  </a:lnTo>
                  <a:lnTo>
                    <a:pt x="978" y="1017"/>
                  </a:lnTo>
                  <a:lnTo>
                    <a:pt x="980" y="1017"/>
                  </a:lnTo>
                  <a:close/>
                  <a:moveTo>
                    <a:pt x="981" y="1017"/>
                  </a:moveTo>
                  <a:lnTo>
                    <a:pt x="983" y="1017"/>
                  </a:lnTo>
                  <a:lnTo>
                    <a:pt x="981" y="1017"/>
                  </a:lnTo>
                  <a:close/>
                  <a:moveTo>
                    <a:pt x="981" y="1017"/>
                  </a:moveTo>
                  <a:lnTo>
                    <a:pt x="983" y="1017"/>
                  </a:lnTo>
                  <a:lnTo>
                    <a:pt x="981" y="1017"/>
                  </a:lnTo>
                  <a:close/>
                  <a:moveTo>
                    <a:pt x="932" y="1017"/>
                  </a:moveTo>
                  <a:lnTo>
                    <a:pt x="934" y="1017"/>
                  </a:lnTo>
                  <a:lnTo>
                    <a:pt x="934" y="1018"/>
                  </a:lnTo>
                  <a:lnTo>
                    <a:pt x="932" y="1018"/>
                  </a:lnTo>
                  <a:lnTo>
                    <a:pt x="934" y="1017"/>
                  </a:lnTo>
                  <a:lnTo>
                    <a:pt x="932" y="1017"/>
                  </a:lnTo>
                  <a:close/>
                  <a:moveTo>
                    <a:pt x="940" y="1017"/>
                  </a:moveTo>
                  <a:lnTo>
                    <a:pt x="940" y="1015"/>
                  </a:lnTo>
                  <a:lnTo>
                    <a:pt x="940" y="1017"/>
                  </a:lnTo>
                  <a:close/>
                  <a:moveTo>
                    <a:pt x="936" y="1017"/>
                  </a:moveTo>
                  <a:lnTo>
                    <a:pt x="936" y="1015"/>
                  </a:lnTo>
                  <a:lnTo>
                    <a:pt x="936" y="1017"/>
                  </a:lnTo>
                  <a:close/>
                  <a:moveTo>
                    <a:pt x="967" y="1015"/>
                  </a:moveTo>
                  <a:lnTo>
                    <a:pt x="968" y="1015"/>
                  </a:lnTo>
                  <a:lnTo>
                    <a:pt x="967" y="1015"/>
                  </a:lnTo>
                  <a:close/>
                  <a:moveTo>
                    <a:pt x="942" y="1017"/>
                  </a:moveTo>
                  <a:lnTo>
                    <a:pt x="942" y="1015"/>
                  </a:lnTo>
                  <a:lnTo>
                    <a:pt x="942" y="1017"/>
                  </a:lnTo>
                  <a:close/>
                  <a:moveTo>
                    <a:pt x="971" y="1017"/>
                  </a:moveTo>
                  <a:lnTo>
                    <a:pt x="970" y="1017"/>
                  </a:lnTo>
                  <a:lnTo>
                    <a:pt x="971" y="1017"/>
                  </a:lnTo>
                  <a:lnTo>
                    <a:pt x="971" y="1015"/>
                  </a:lnTo>
                  <a:lnTo>
                    <a:pt x="971" y="1017"/>
                  </a:lnTo>
                  <a:close/>
                  <a:moveTo>
                    <a:pt x="993" y="1017"/>
                  </a:moveTo>
                  <a:lnTo>
                    <a:pt x="991" y="1017"/>
                  </a:lnTo>
                  <a:lnTo>
                    <a:pt x="993" y="1017"/>
                  </a:lnTo>
                  <a:lnTo>
                    <a:pt x="993" y="1015"/>
                  </a:lnTo>
                  <a:lnTo>
                    <a:pt x="994" y="1015"/>
                  </a:lnTo>
                  <a:lnTo>
                    <a:pt x="994" y="1017"/>
                  </a:lnTo>
                  <a:lnTo>
                    <a:pt x="993" y="1017"/>
                  </a:lnTo>
                  <a:close/>
                  <a:moveTo>
                    <a:pt x="1001" y="1015"/>
                  </a:moveTo>
                  <a:lnTo>
                    <a:pt x="1002" y="1015"/>
                  </a:lnTo>
                  <a:lnTo>
                    <a:pt x="1004" y="1015"/>
                  </a:lnTo>
                  <a:lnTo>
                    <a:pt x="1004" y="1017"/>
                  </a:lnTo>
                  <a:lnTo>
                    <a:pt x="1002" y="1017"/>
                  </a:lnTo>
                  <a:lnTo>
                    <a:pt x="1001" y="1017"/>
                  </a:lnTo>
                  <a:lnTo>
                    <a:pt x="1001" y="1015"/>
                  </a:lnTo>
                  <a:close/>
                  <a:moveTo>
                    <a:pt x="975" y="1015"/>
                  </a:moveTo>
                  <a:lnTo>
                    <a:pt x="975" y="1017"/>
                  </a:lnTo>
                  <a:lnTo>
                    <a:pt x="975" y="1015"/>
                  </a:lnTo>
                  <a:close/>
                  <a:moveTo>
                    <a:pt x="997" y="1015"/>
                  </a:moveTo>
                  <a:lnTo>
                    <a:pt x="997" y="1017"/>
                  </a:lnTo>
                  <a:lnTo>
                    <a:pt x="997" y="1015"/>
                  </a:lnTo>
                  <a:lnTo>
                    <a:pt x="999" y="1015"/>
                  </a:lnTo>
                  <a:lnTo>
                    <a:pt x="997" y="1015"/>
                  </a:lnTo>
                  <a:close/>
                  <a:moveTo>
                    <a:pt x="976" y="1015"/>
                  </a:moveTo>
                  <a:lnTo>
                    <a:pt x="975" y="1015"/>
                  </a:lnTo>
                  <a:lnTo>
                    <a:pt x="976" y="1015"/>
                  </a:lnTo>
                  <a:close/>
                  <a:moveTo>
                    <a:pt x="945" y="1015"/>
                  </a:moveTo>
                  <a:lnTo>
                    <a:pt x="947" y="1015"/>
                  </a:lnTo>
                  <a:lnTo>
                    <a:pt x="945" y="1015"/>
                  </a:lnTo>
                  <a:close/>
                  <a:moveTo>
                    <a:pt x="1002" y="1015"/>
                  </a:moveTo>
                  <a:lnTo>
                    <a:pt x="1001" y="1015"/>
                  </a:lnTo>
                  <a:lnTo>
                    <a:pt x="1002" y="1015"/>
                  </a:lnTo>
                  <a:close/>
                  <a:moveTo>
                    <a:pt x="939" y="1015"/>
                  </a:moveTo>
                  <a:lnTo>
                    <a:pt x="937" y="1015"/>
                  </a:lnTo>
                  <a:lnTo>
                    <a:pt x="939" y="1015"/>
                  </a:lnTo>
                  <a:close/>
                  <a:moveTo>
                    <a:pt x="999" y="1015"/>
                  </a:moveTo>
                  <a:lnTo>
                    <a:pt x="1001" y="1015"/>
                  </a:lnTo>
                  <a:lnTo>
                    <a:pt x="999" y="1015"/>
                  </a:lnTo>
                  <a:lnTo>
                    <a:pt x="999" y="1014"/>
                  </a:lnTo>
                  <a:lnTo>
                    <a:pt x="999" y="1015"/>
                  </a:lnTo>
                  <a:close/>
                  <a:moveTo>
                    <a:pt x="947" y="1015"/>
                  </a:moveTo>
                  <a:lnTo>
                    <a:pt x="947" y="1014"/>
                  </a:lnTo>
                  <a:lnTo>
                    <a:pt x="947" y="1015"/>
                  </a:lnTo>
                  <a:close/>
                  <a:moveTo>
                    <a:pt x="947" y="1015"/>
                  </a:moveTo>
                  <a:lnTo>
                    <a:pt x="947" y="1014"/>
                  </a:lnTo>
                  <a:lnTo>
                    <a:pt x="947" y="1015"/>
                  </a:lnTo>
                  <a:close/>
                  <a:moveTo>
                    <a:pt x="965" y="1014"/>
                  </a:moveTo>
                  <a:lnTo>
                    <a:pt x="965" y="1015"/>
                  </a:lnTo>
                  <a:lnTo>
                    <a:pt x="965" y="1014"/>
                  </a:lnTo>
                  <a:close/>
                  <a:moveTo>
                    <a:pt x="953" y="1015"/>
                  </a:moveTo>
                  <a:lnTo>
                    <a:pt x="953" y="1014"/>
                  </a:lnTo>
                  <a:lnTo>
                    <a:pt x="953" y="1015"/>
                  </a:lnTo>
                  <a:close/>
                  <a:moveTo>
                    <a:pt x="942" y="1015"/>
                  </a:moveTo>
                  <a:lnTo>
                    <a:pt x="944" y="1014"/>
                  </a:lnTo>
                  <a:lnTo>
                    <a:pt x="944" y="1015"/>
                  </a:lnTo>
                  <a:lnTo>
                    <a:pt x="944" y="1014"/>
                  </a:lnTo>
                  <a:lnTo>
                    <a:pt x="945" y="1015"/>
                  </a:lnTo>
                  <a:lnTo>
                    <a:pt x="944" y="1015"/>
                  </a:lnTo>
                  <a:lnTo>
                    <a:pt x="942" y="1015"/>
                  </a:lnTo>
                  <a:close/>
                  <a:moveTo>
                    <a:pt x="937" y="1014"/>
                  </a:moveTo>
                  <a:lnTo>
                    <a:pt x="937" y="1015"/>
                  </a:lnTo>
                  <a:lnTo>
                    <a:pt x="937" y="1014"/>
                  </a:lnTo>
                  <a:close/>
                  <a:moveTo>
                    <a:pt x="971" y="1015"/>
                  </a:moveTo>
                  <a:lnTo>
                    <a:pt x="971" y="1014"/>
                  </a:lnTo>
                  <a:lnTo>
                    <a:pt x="971" y="1015"/>
                  </a:lnTo>
                  <a:close/>
                  <a:moveTo>
                    <a:pt x="937" y="1014"/>
                  </a:moveTo>
                  <a:lnTo>
                    <a:pt x="937" y="1015"/>
                  </a:lnTo>
                  <a:lnTo>
                    <a:pt x="936" y="1014"/>
                  </a:lnTo>
                  <a:lnTo>
                    <a:pt x="937" y="1014"/>
                  </a:lnTo>
                  <a:close/>
                  <a:moveTo>
                    <a:pt x="963" y="1014"/>
                  </a:moveTo>
                  <a:lnTo>
                    <a:pt x="963" y="1015"/>
                  </a:lnTo>
                  <a:lnTo>
                    <a:pt x="963" y="1014"/>
                  </a:lnTo>
                  <a:close/>
                  <a:moveTo>
                    <a:pt x="958" y="1015"/>
                  </a:moveTo>
                  <a:lnTo>
                    <a:pt x="958" y="1014"/>
                  </a:lnTo>
                  <a:lnTo>
                    <a:pt x="960" y="1014"/>
                  </a:lnTo>
                  <a:lnTo>
                    <a:pt x="960" y="1015"/>
                  </a:lnTo>
                  <a:lnTo>
                    <a:pt x="958" y="1015"/>
                  </a:lnTo>
                  <a:close/>
                  <a:moveTo>
                    <a:pt x="963" y="1014"/>
                  </a:moveTo>
                  <a:lnTo>
                    <a:pt x="965" y="1014"/>
                  </a:lnTo>
                  <a:lnTo>
                    <a:pt x="963" y="1014"/>
                  </a:lnTo>
                  <a:close/>
                  <a:moveTo>
                    <a:pt x="965" y="1014"/>
                  </a:moveTo>
                  <a:lnTo>
                    <a:pt x="965" y="1015"/>
                  </a:lnTo>
                  <a:lnTo>
                    <a:pt x="965" y="1014"/>
                  </a:lnTo>
                  <a:close/>
                  <a:moveTo>
                    <a:pt x="940" y="1014"/>
                  </a:moveTo>
                  <a:lnTo>
                    <a:pt x="942" y="1014"/>
                  </a:lnTo>
                  <a:lnTo>
                    <a:pt x="940" y="1014"/>
                  </a:lnTo>
                  <a:close/>
                  <a:moveTo>
                    <a:pt x="940" y="1015"/>
                  </a:moveTo>
                  <a:lnTo>
                    <a:pt x="939" y="1015"/>
                  </a:lnTo>
                  <a:lnTo>
                    <a:pt x="939" y="1014"/>
                  </a:lnTo>
                  <a:lnTo>
                    <a:pt x="940" y="1014"/>
                  </a:lnTo>
                  <a:lnTo>
                    <a:pt x="940" y="1015"/>
                  </a:lnTo>
                  <a:close/>
                  <a:moveTo>
                    <a:pt x="970" y="1014"/>
                  </a:moveTo>
                  <a:lnTo>
                    <a:pt x="968" y="1014"/>
                  </a:lnTo>
                  <a:lnTo>
                    <a:pt x="970" y="1014"/>
                  </a:lnTo>
                  <a:close/>
                  <a:moveTo>
                    <a:pt x="937" y="1014"/>
                  </a:moveTo>
                  <a:lnTo>
                    <a:pt x="936" y="1014"/>
                  </a:lnTo>
                  <a:lnTo>
                    <a:pt x="937" y="1014"/>
                  </a:lnTo>
                  <a:close/>
                  <a:moveTo>
                    <a:pt x="963" y="1014"/>
                  </a:moveTo>
                  <a:lnTo>
                    <a:pt x="965" y="1014"/>
                  </a:lnTo>
                  <a:lnTo>
                    <a:pt x="963" y="1014"/>
                  </a:lnTo>
                  <a:close/>
                  <a:moveTo>
                    <a:pt x="962" y="1014"/>
                  </a:moveTo>
                  <a:lnTo>
                    <a:pt x="960" y="1014"/>
                  </a:lnTo>
                  <a:lnTo>
                    <a:pt x="962" y="1014"/>
                  </a:lnTo>
                  <a:close/>
                  <a:moveTo>
                    <a:pt x="937" y="1014"/>
                  </a:moveTo>
                  <a:lnTo>
                    <a:pt x="939" y="1014"/>
                  </a:lnTo>
                  <a:lnTo>
                    <a:pt x="937" y="1014"/>
                  </a:lnTo>
                  <a:close/>
                  <a:moveTo>
                    <a:pt x="970" y="1014"/>
                  </a:moveTo>
                  <a:lnTo>
                    <a:pt x="970" y="1012"/>
                  </a:lnTo>
                  <a:lnTo>
                    <a:pt x="970" y="1014"/>
                  </a:lnTo>
                  <a:close/>
                  <a:moveTo>
                    <a:pt x="976" y="1012"/>
                  </a:moveTo>
                  <a:lnTo>
                    <a:pt x="976" y="1014"/>
                  </a:lnTo>
                  <a:lnTo>
                    <a:pt x="976" y="1012"/>
                  </a:lnTo>
                  <a:close/>
                  <a:moveTo>
                    <a:pt x="939" y="1014"/>
                  </a:moveTo>
                  <a:lnTo>
                    <a:pt x="939" y="1012"/>
                  </a:lnTo>
                  <a:lnTo>
                    <a:pt x="939" y="1014"/>
                  </a:lnTo>
                  <a:close/>
                  <a:moveTo>
                    <a:pt x="960" y="1014"/>
                  </a:moveTo>
                  <a:lnTo>
                    <a:pt x="960" y="1012"/>
                  </a:lnTo>
                  <a:lnTo>
                    <a:pt x="960" y="1014"/>
                  </a:lnTo>
                  <a:close/>
                  <a:moveTo>
                    <a:pt x="942" y="1012"/>
                  </a:moveTo>
                  <a:lnTo>
                    <a:pt x="942" y="1014"/>
                  </a:lnTo>
                  <a:lnTo>
                    <a:pt x="942" y="1012"/>
                  </a:lnTo>
                  <a:close/>
                  <a:moveTo>
                    <a:pt x="936" y="1014"/>
                  </a:moveTo>
                  <a:lnTo>
                    <a:pt x="936" y="1012"/>
                  </a:lnTo>
                  <a:lnTo>
                    <a:pt x="936" y="1014"/>
                  </a:lnTo>
                  <a:close/>
                  <a:moveTo>
                    <a:pt x="945" y="1012"/>
                  </a:moveTo>
                  <a:lnTo>
                    <a:pt x="947" y="1012"/>
                  </a:lnTo>
                  <a:lnTo>
                    <a:pt x="947" y="1014"/>
                  </a:lnTo>
                  <a:lnTo>
                    <a:pt x="945" y="1014"/>
                  </a:lnTo>
                  <a:lnTo>
                    <a:pt x="945" y="1012"/>
                  </a:lnTo>
                  <a:close/>
                  <a:moveTo>
                    <a:pt x="955" y="1012"/>
                  </a:moveTo>
                  <a:lnTo>
                    <a:pt x="957" y="1012"/>
                  </a:lnTo>
                  <a:lnTo>
                    <a:pt x="957" y="1014"/>
                  </a:lnTo>
                  <a:lnTo>
                    <a:pt x="955" y="1014"/>
                  </a:lnTo>
                  <a:lnTo>
                    <a:pt x="955" y="1012"/>
                  </a:lnTo>
                  <a:close/>
                  <a:moveTo>
                    <a:pt x="957" y="1014"/>
                  </a:moveTo>
                  <a:lnTo>
                    <a:pt x="957" y="1012"/>
                  </a:lnTo>
                  <a:lnTo>
                    <a:pt x="957" y="1014"/>
                  </a:lnTo>
                  <a:close/>
                  <a:moveTo>
                    <a:pt x="960" y="1014"/>
                  </a:moveTo>
                  <a:lnTo>
                    <a:pt x="960" y="1012"/>
                  </a:lnTo>
                  <a:lnTo>
                    <a:pt x="960" y="1014"/>
                  </a:lnTo>
                  <a:close/>
                  <a:moveTo>
                    <a:pt x="973" y="1012"/>
                  </a:moveTo>
                  <a:lnTo>
                    <a:pt x="975" y="1012"/>
                  </a:lnTo>
                  <a:lnTo>
                    <a:pt x="973" y="1012"/>
                  </a:lnTo>
                  <a:close/>
                  <a:moveTo>
                    <a:pt x="973" y="1015"/>
                  </a:moveTo>
                  <a:lnTo>
                    <a:pt x="971" y="1015"/>
                  </a:lnTo>
                  <a:lnTo>
                    <a:pt x="971" y="1014"/>
                  </a:lnTo>
                  <a:lnTo>
                    <a:pt x="973" y="1014"/>
                  </a:lnTo>
                  <a:lnTo>
                    <a:pt x="973" y="1012"/>
                  </a:lnTo>
                  <a:lnTo>
                    <a:pt x="975" y="1012"/>
                  </a:lnTo>
                  <a:lnTo>
                    <a:pt x="976" y="1012"/>
                  </a:lnTo>
                  <a:lnTo>
                    <a:pt x="975" y="1014"/>
                  </a:lnTo>
                  <a:lnTo>
                    <a:pt x="975" y="1015"/>
                  </a:lnTo>
                  <a:lnTo>
                    <a:pt x="973" y="1015"/>
                  </a:lnTo>
                  <a:close/>
                  <a:moveTo>
                    <a:pt x="937" y="1012"/>
                  </a:moveTo>
                  <a:lnTo>
                    <a:pt x="939" y="1012"/>
                  </a:lnTo>
                  <a:lnTo>
                    <a:pt x="937" y="1012"/>
                  </a:lnTo>
                  <a:close/>
                  <a:moveTo>
                    <a:pt x="963" y="1014"/>
                  </a:moveTo>
                  <a:lnTo>
                    <a:pt x="962" y="1014"/>
                  </a:lnTo>
                  <a:lnTo>
                    <a:pt x="963" y="1014"/>
                  </a:lnTo>
                  <a:lnTo>
                    <a:pt x="963" y="1012"/>
                  </a:lnTo>
                  <a:lnTo>
                    <a:pt x="963" y="1014"/>
                  </a:lnTo>
                  <a:close/>
                  <a:moveTo>
                    <a:pt x="955" y="1012"/>
                  </a:moveTo>
                  <a:lnTo>
                    <a:pt x="953" y="1012"/>
                  </a:lnTo>
                  <a:lnTo>
                    <a:pt x="955" y="1012"/>
                  </a:lnTo>
                  <a:close/>
                  <a:moveTo>
                    <a:pt x="955" y="1012"/>
                  </a:moveTo>
                  <a:lnTo>
                    <a:pt x="957" y="1012"/>
                  </a:lnTo>
                  <a:lnTo>
                    <a:pt x="955" y="1012"/>
                  </a:lnTo>
                  <a:lnTo>
                    <a:pt x="957" y="1012"/>
                  </a:lnTo>
                  <a:lnTo>
                    <a:pt x="955" y="1012"/>
                  </a:lnTo>
                  <a:close/>
                  <a:moveTo>
                    <a:pt x="965" y="1014"/>
                  </a:moveTo>
                  <a:lnTo>
                    <a:pt x="965" y="1012"/>
                  </a:lnTo>
                  <a:lnTo>
                    <a:pt x="967" y="1012"/>
                  </a:lnTo>
                  <a:lnTo>
                    <a:pt x="965" y="1012"/>
                  </a:lnTo>
                  <a:lnTo>
                    <a:pt x="965" y="1014"/>
                  </a:lnTo>
                  <a:close/>
                  <a:moveTo>
                    <a:pt x="962" y="1012"/>
                  </a:moveTo>
                  <a:lnTo>
                    <a:pt x="960" y="1012"/>
                  </a:lnTo>
                  <a:lnTo>
                    <a:pt x="962" y="1012"/>
                  </a:lnTo>
                  <a:close/>
                  <a:moveTo>
                    <a:pt x="962" y="1012"/>
                  </a:moveTo>
                  <a:lnTo>
                    <a:pt x="962" y="1010"/>
                  </a:lnTo>
                  <a:lnTo>
                    <a:pt x="962" y="1012"/>
                  </a:lnTo>
                  <a:close/>
                  <a:moveTo>
                    <a:pt x="950" y="1010"/>
                  </a:moveTo>
                  <a:lnTo>
                    <a:pt x="950" y="1012"/>
                  </a:lnTo>
                  <a:lnTo>
                    <a:pt x="950" y="1010"/>
                  </a:lnTo>
                  <a:close/>
                  <a:moveTo>
                    <a:pt x="957" y="1010"/>
                  </a:moveTo>
                  <a:lnTo>
                    <a:pt x="957" y="1012"/>
                  </a:lnTo>
                  <a:lnTo>
                    <a:pt x="957" y="1010"/>
                  </a:lnTo>
                  <a:close/>
                  <a:moveTo>
                    <a:pt x="955" y="1010"/>
                  </a:moveTo>
                  <a:lnTo>
                    <a:pt x="955" y="1012"/>
                  </a:lnTo>
                  <a:lnTo>
                    <a:pt x="955" y="1010"/>
                  </a:lnTo>
                  <a:close/>
                  <a:moveTo>
                    <a:pt x="960" y="1010"/>
                  </a:moveTo>
                  <a:lnTo>
                    <a:pt x="960" y="1012"/>
                  </a:lnTo>
                  <a:lnTo>
                    <a:pt x="960" y="1010"/>
                  </a:lnTo>
                  <a:close/>
                  <a:moveTo>
                    <a:pt x="960" y="1010"/>
                  </a:moveTo>
                  <a:lnTo>
                    <a:pt x="960" y="1012"/>
                  </a:lnTo>
                  <a:lnTo>
                    <a:pt x="960" y="1010"/>
                  </a:lnTo>
                  <a:close/>
                  <a:moveTo>
                    <a:pt x="955" y="1010"/>
                  </a:moveTo>
                  <a:lnTo>
                    <a:pt x="955" y="1012"/>
                  </a:lnTo>
                  <a:lnTo>
                    <a:pt x="955" y="1010"/>
                  </a:lnTo>
                  <a:close/>
                  <a:moveTo>
                    <a:pt x="936" y="1012"/>
                  </a:moveTo>
                  <a:lnTo>
                    <a:pt x="937" y="1010"/>
                  </a:lnTo>
                  <a:lnTo>
                    <a:pt x="937" y="1012"/>
                  </a:lnTo>
                  <a:lnTo>
                    <a:pt x="936" y="1012"/>
                  </a:lnTo>
                  <a:close/>
                  <a:moveTo>
                    <a:pt x="967" y="1010"/>
                  </a:moveTo>
                  <a:lnTo>
                    <a:pt x="967" y="1012"/>
                  </a:lnTo>
                  <a:lnTo>
                    <a:pt x="967" y="1010"/>
                  </a:lnTo>
                  <a:close/>
                  <a:moveTo>
                    <a:pt x="937" y="1010"/>
                  </a:moveTo>
                  <a:lnTo>
                    <a:pt x="937" y="1012"/>
                  </a:lnTo>
                  <a:lnTo>
                    <a:pt x="937" y="1010"/>
                  </a:lnTo>
                  <a:close/>
                  <a:moveTo>
                    <a:pt x="965" y="1012"/>
                  </a:moveTo>
                  <a:lnTo>
                    <a:pt x="965" y="1010"/>
                  </a:lnTo>
                  <a:lnTo>
                    <a:pt x="965" y="1012"/>
                  </a:lnTo>
                  <a:close/>
                  <a:moveTo>
                    <a:pt x="937" y="1010"/>
                  </a:moveTo>
                  <a:lnTo>
                    <a:pt x="937" y="1012"/>
                  </a:lnTo>
                  <a:lnTo>
                    <a:pt x="937" y="1010"/>
                  </a:lnTo>
                  <a:close/>
                  <a:moveTo>
                    <a:pt x="936" y="1012"/>
                  </a:moveTo>
                  <a:lnTo>
                    <a:pt x="934" y="1012"/>
                  </a:lnTo>
                  <a:lnTo>
                    <a:pt x="936" y="1010"/>
                  </a:lnTo>
                  <a:lnTo>
                    <a:pt x="936" y="1012"/>
                  </a:lnTo>
                  <a:close/>
                  <a:moveTo>
                    <a:pt x="939" y="1010"/>
                  </a:moveTo>
                  <a:lnTo>
                    <a:pt x="939" y="1012"/>
                  </a:lnTo>
                  <a:lnTo>
                    <a:pt x="939" y="1010"/>
                  </a:lnTo>
                  <a:close/>
                  <a:moveTo>
                    <a:pt x="934" y="1010"/>
                  </a:moveTo>
                  <a:lnTo>
                    <a:pt x="936" y="1010"/>
                  </a:lnTo>
                  <a:lnTo>
                    <a:pt x="934" y="1010"/>
                  </a:lnTo>
                  <a:close/>
                  <a:moveTo>
                    <a:pt x="958" y="1010"/>
                  </a:moveTo>
                  <a:lnTo>
                    <a:pt x="957" y="1012"/>
                  </a:lnTo>
                  <a:lnTo>
                    <a:pt x="957" y="1010"/>
                  </a:lnTo>
                  <a:lnTo>
                    <a:pt x="958" y="1010"/>
                  </a:lnTo>
                  <a:close/>
                  <a:moveTo>
                    <a:pt x="963" y="1010"/>
                  </a:moveTo>
                  <a:lnTo>
                    <a:pt x="965" y="1010"/>
                  </a:lnTo>
                  <a:lnTo>
                    <a:pt x="963" y="1010"/>
                  </a:lnTo>
                  <a:close/>
                  <a:moveTo>
                    <a:pt x="963" y="1010"/>
                  </a:moveTo>
                  <a:lnTo>
                    <a:pt x="962" y="1010"/>
                  </a:lnTo>
                  <a:lnTo>
                    <a:pt x="963" y="1010"/>
                  </a:lnTo>
                  <a:close/>
                  <a:moveTo>
                    <a:pt x="967" y="1010"/>
                  </a:moveTo>
                  <a:lnTo>
                    <a:pt x="965" y="1010"/>
                  </a:lnTo>
                  <a:lnTo>
                    <a:pt x="965" y="1012"/>
                  </a:lnTo>
                  <a:lnTo>
                    <a:pt x="965" y="1010"/>
                  </a:lnTo>
                  <a:lnTo>
                    <a:pt x="967" y="1010"/>
                  </a:lnTo>
                  <a:close/>
                  <a:moveTo>
                    <a:pt x="936" y="1012"/>
                  </a:moveTo>
                  <a:lnTo>
                    <a:pt x="936" y="1010"/>
                  </a:lnTo>
                  <a:lnTo>
                    <a:pt x="937" y="1010"/>
                  </a:lnTo>
                  <a:lnTo>
                    <a:pt x="937" y="1012"/>
                  </a:lnTo>
                  <a:lnTo>
                    <a:pt x="936" y="1012"/>
                  </a:lnTo>
                  <a:lnTo>
                    <a:pt x="936" y="1010"/>
                  </a:lnTo>
                  <a:lnTo>
                    <a:pt x="936" y="1012"/>
                  </a:lnTo>
                  <a:close/>
                  <a:moveTo>
                    <a:pt x="937" y="1010"/>
                  </a:moveTo>
                  <a:lnTo>
                    <a:pt x="939" y="1010"/>
                  </a:lnTo>
                  <a:lnTo>
                    <a:pt x="937" y="1010"/>
                  </a:lnTo>
                  <a:lnTo>
                    <a:pt x="939" y="1010"/>
                  </a:lnTo>
                  <a:lnTo>
                    <a:pt x="937" y="1010"/>
                  </a:lnTo>
                  <a:close/>
                  <a:moveTo>
                    <a:pt x="937" y="1010"/>
                  </a:moveTo>
                  <a:lnTo>
                    <a:pt x="937" y="1009"/>
                  </a:lnTo>
                  <a:lnTo>
                    <a:pt x="937" y="1010"/>
                  </a:lnTo>
                  <a:close/>
                  <a:moveTo>
                    <a:pt x="962" y="1009"/>
                  </a:moveTo>
                  <a:lnTo>
                    <a:pt x="962" y="1010"/>
                  </a:lnTo>
                  <a:lnTo>
                    <a:pt x="962" y="1009"/>
                  </a:lnTo>
                  <a:close/>
                  <a:moveTo>
                    <a:pt x="976" y="1010"/>
                  </a:moveTo>
                  <a:lnTo>
                    <a:pt x="976" y="1009"/>
                  </a:lnTo>
                  <a:lnTo>
                    <a:pt x="978" y="1010"/>
                  </a:lnTo>
                  <a:lnTo>
                    <a:pt x="976" y="1010"/>
                  </a:lnTo>
                  <a:lnTo>
                    <a:pt x="978" y="1010"/>
                  </a:lnTo>
                  <a:lnTo>
                    <a:pt x="976" y="1010"/>
                  </a:lnTo>
                  <a:lnTo>
                    <a:pt x="976" y="1012"/>
                  </a:lnTo>
                  <a:lnTo>
                    <a:pt x="975" y="1012"/>
                  </a:lnTo>
                  <a:lnTo>
                    <a:pt x="973" y="1012"/>
                  </a:lnTo>
                  <a:lnTo>
                    <a:pt x="975" y="1010"/>
                  </a:lnTo>
                  <a:lnTo>
                    <a:pt x="976" y="1010"/>
                  </a:lnTo>
                  <a:lnTo>
                    <a:pt x="976" y="1009"/>
                  </a:lnTo>
                  <a:lnTo>
                    <a:pt x="976" y="1010"/>
                  </a:lnTo>
                  <a:close/>
                  <a:moveTo>
                    <a:pt x="958" y="1010"/>
                  </a:moveTo>
                  <a:lnTo>
                    <a:pt x="958" y="1009"/>
                  </a:lnTo>
                  <a:lnTo>
                    <a:pt x="958" y="1010"/>
                  </a:lnTo>
                  <a:close/>
                  <a:moveTo>
                    <a:pt x="939" y="1010"/>
                  </a:moveTo>
                  <a:lnTo>
                    <a:pt x="939" y="1009"/>
                  </a:lnTo>
                  <a:lnTo>
                    <a:pt x="939" y="1010"/>
                  </a:lnTo>
                  <a:close/>
                  <a:moveTo>
                    <a:pt x="939" y="1009"/>
                  </a:moveTo>
                  <a:lnTo>
                    <a:pt x="937" y="1009"/>
                  </a:lnTo>
                  <a:lnTo>
                    <a:pt x="939" y="1009"/>
                  </a:lnTo>
                  <a:close/>
                  <a:moveTo>
                    <a:pt x="958" y="1009"/>
                  </a:moveTo>
                  <a:lnTo>
                    <a:pt x="960" y="1009"/>
                  </a:lnTo>
                  <a:lnTo>
                    <a:pt x="958" y="1009"/>
                  </a:lnTo>
                  <a:close/>
                  <a:moveTo>
                    <a:pt x="937" y="1009"/>
                  </a:moveTo>
                  <a:lnTo>
                    <a:pt x="937" y="1010"/>
                  </a:lnTo>
                  <a:lnTo>
                    <a:pt x="937" y="1009"/>
                  </a:lnTo>
                  <a:close/>
                  <a:moveTo>
                    <a:pt x="942" y="1009"/>
                  </a:moveTo>
                  <a:lnTo>
                    <a:pt x="940" y="1010"/>
                  </a:lnTo>
                  <a:lnTo>
                    <a:pt x="940" y="1009"/>
                  </a:lnTo>
                  <a:lnTo>
                    <a:pt x="942" y="1009"/>
                  </a:lnTo>
                  <a:close/>
                  <a:moveTo>
                    <a:pt x="965" y="1010"/>
                  </a:moveTo>
                  <a:lnTo>
                    <a:pt x="963" y="1010"/>
                  </a:lnTo>
                  <a:lnTo>
                    <a:pt x="965" y="1009"/>
                  </a:lnTo>
                  <a:lnTo>
                    <a:pt x="965" y="1010"/>
                  </a:lnTo>
                  <a:close/>
                  <a:moveTo>
                    <a:pt x="942" y="1009"/>
                  </a:moveTo>
                  <a:lnTo>
                    <a:pt x="944" y="1009"/>
                  </a:lnTo>
                  <a:lnTo>
                    <a:pt x="942" y="1009"/>
                  </a:lnTo>
                  <a:close/>
                  <a:moveTo>
                    <a:pt x="958" y="1009"/>
                  </a:moveTo>
                  <a:lnTo>
                    <a:pt x="958" y="1010"/>
                  </a:lnTo>
                  <a:lnTo>
                    <a:pt x="957" y="1010"/>
                  </a:lnTo>
                  <a:lnTo>
                    <a:pt x="957" y="1012"/>
                  </a:lnTo>
                  <a:lnTo>
                    <a:pt x="957" y="1010"/>
                  </a:lnTo>
                  <a:lnTo>
                    <a:pt x="955" y="1010"/>
                  </a:lnTo>
                  <a:lnTo>
                    <a:pt x="957" y="1010"/>
                  </a:lnTo>
                  <a:lnTo>
                    <a:pt x="955" y="1010"/>
                  </a:lnTo>
                  <a:lnTo>
                    <a:pt x="957" y="1010"/>
                  </a:lnTo>
                  <a:lnTo>
                    <a:pt x="957" y="1009"/>
                  </a:lnTo>
                  <a:lnTo>
                    <a:pt x="957" y="1010"/>
                  </a:lnTo>
                  <a:lnTo>
                    <a:pt x="957" y="1009"/>
                  </a:lnTo>
                  <a:lnTo>
                    <a:pt x="958" y="1009"/>
                  </a:lnTo>
                  <a:close/>
                  <a:moveTo>
                    <a:pt x="1010" y="1009"/>
                  </a:moveTo>
                  <a:lnTo>
                    <a:pt x="1010" y="1007"/>
                  </a:lnTo>
                  <a:lnTo>
                    <a:pt x="1010" y="1009"/>
                  </a:lnTo>
                  <a:close/>
                  <a:moveTo>
                    <a:pt x="944" y="1007"/>
                  </a:moveTo>
                  <a:lnTo>
                    <a:pt x="944" y="1009"/>
                  </a:lnTo>
                  <a:lnTo>
                    <a:pt x="944" y="1007"/>
                  </a:lnTo>
                  <a:close/>
                  <a:moveTo>
                    <a:pt x="937" y="1009"/>
                  </a:moveTo>
                  <a:lnTo>
                    <a:pt x="939" y="1007"/>
                  </a:lnTo>
                  <a:lnTo>
                    <a:pt x="939" y="1009"/>
                  </a:lnTo>
                  <a:lnTo>
                    <a:pt x="937" y="1009"/>
                  </a:lnTo>
                  <a:close/>
                  <a:moveTo>
                    <a:pt x="976" y="1009"/>
                  </a:moveTo>
                  <a:lnTo>
                    <a:pt x="978" y="1007"/>
                  </a:lnTo>
                  <a:lnTo>
                    <a:pt x="978" y="1009"/>
                  </a:lnTo>
                  <a:lnTo>
                    <a:pt x="976" y="1009"/>
                  </a:lnTo>
                  <a:close/>
                  <a:moveTo>
                    <a:pt x="962" y="1007"/>
                  </a:moveTo>
                  <a:lnTo>
                    <a:pt x="963" y="1007"/>
                  </a:lnTo>
                  <a:lnTo>
                    <a:pt x="962" y="1007"/>
                  </a:lnTo>
                  <a:close/>
                  <a:moveTo>
                    <a:pt x="940" y="1007"/>
                  </a:moveTo>
                  <a:lnTo>
                    <a:pt x="940" y="1009"/>
                  </a:lnTo>
                  <a:lnTo>
                    <a:pt x="939" y="1009"/>
                  </a:lnTo>
                  <a:lnTo>
                    <a:pt x="939" y="1010"/>
                  </a:lnTo>
                  <a:lnTo>
                    <a:pt x="939" y="1009"/>
                  </a:lnTo>
                  <a:lnTo>
                    <a:pt x="939" y="1007"/>
                  </a:lnTo>
                  <a:lnTo>
                    <a:pt x="939" y="1009"/>
                  </a:lnTo>
                  <a:lnTo>
                    <a:pt x="939" y="1007"/>
                  </a:lnTo>
                  <a:lnTo>
                    <a:pt x="939" y="1009"/>
                  </a:lnTo>
                  <a:lnTo>
                    <a:pt x="940" y="1007"/>
                  </a:lnTo>
                  <a:lnTo>
                    <a:pt x="939" y="1007"/>
                  </a:lnTo>
                  <a:lnTo>
                    <a:pt x="940" y="1007"/>
                  </a:lnTo>
                  <a:close/>
                  <a:moveTo>
                    <a:pt x="940" y="1007"/>
                  </a:moveTo>
                  <a:lnTo>
                    <a:pt x="942" y="1007"/>
                  </a:lnTo>
                  <a:lnTo>
                    <a:pt x="940" y="1007"/>
                  </a:lnTo>
                  <a:close/>
                  <a:moveTo>
                    <a:pt x="934" y="1005"/>
                  </a:moveTo>
                  <a:lnTo>
                    <a:pt x="934" y="1007"/>
                  </a:lnTo>
                  <a:lnTo>
                    <a:pt x="934" y="1005"/>
                  </a:lnTo>
                  <a:close/>
                  <a:moveTo>
                    <a:pt x="962" y="1007"/>
                  </a:moveTo>
                  <a:lnTo>
                    <a:pt x="962" y="1005"/>
                  </a:lnTo>
                  <a:lnTo>
                    <a:pt x="962" y="1007"/>
                  </a:lnTo>
                  <a:lnTo>
                    <a:pt x="962" y="1009"/>
                  </a:lnTo>
                  <a:lnTo>
                    <a:pt x="962" y="1007"/>
                  </a:lnTo>
                  <a:lnTo>
                    <a:pt x="962" y="1009"/>
                  </a:lnTo>
                  <a:lnTo>
                    <a:pt x="960" y="1010"/>
                  </a:lnTo>
                  <a:lnTo>
                    <a:pt x="960" y="1009"/>
                  </a:lnTo>
                  <a:lnTo>
                    <a:pt x="960" y="1007"/>
                  </a:lnTo>
                  <a:lnTo>
                    <a:pt x="962" y="1007"/>
                  </a:lnTo>
                  <a:close/>
                  <a:moveTo>
                    <a:pt x="934" y="1007"/>
                  </a:moveTo>
                  <a:lnTo>
                    <a:pt x="934" y="1005"/>
                  </a:lnTo>
                  <a:lnTo>
                    <a:pt x="934" y="1007"/>
                  </a:lnTo>
                  <a:close/>
                  <a:moveTo>
                    <a:pt x="940" y="1007"/>
                  </a:moveTo>
                  <a:lnTo>
                    <a:pt x="940" y="1005"/>
                  </a:lnTo>
                  <a:lnTo>
                    <a:pt x="940" y="1007"/>
                  </a:lnTo>
                  <a:lnTo>
                    <a:pt x="940" y="1005"/>
                  </a:lnTo>
                  <a:lnTo>
                    <a:pt x="940" y="1007"/>
                  </a:lnTo>
                  <a:close/>
                  <a:moveTo>
                    <a:pt x="937" y="1007"/>
                  </a:moveTo>
                  <a:lnTo>
                    <a:pt x="937" y="1005"/>
                  </a:lnTo>
                  <a:lnTo>
                    <a:pt x="939" y="1005"/>
                  </a:lnTo>
                  <a:lnTo>
                    <a:pt x="937" y="1007"/>
                  </a:lnTo>
                  <a:close/>
                  <a:moveTo>
                    <a:pt x="978" y="1007"/>
                  </a:moveTo>
                  <a:lnTo>
                    <a:pt x="978" y="1005"/>
                  </a:lnTo>
                  <a:lnTo>
                    <a:pt x="978" y="1007"/>
                  </a:lnTo>
                  <a:close/>
                  <a:moveTo>
                    <a:pt x="939" y="1005"/>
                  </a:moveTo>
                  <a:lnTo>
                    <a:pt x="939" y="1007"/>
                  </a:lnTo>
                  <a:lnTo>
                    <a:pt x="939" y="1005"/>
                  </a:lnTo>
                  <a:close/>
                  <a:moveTo>
                    <a:pt x="939" y="1007"/>
                  </a:moveTo>
                  <a:lnTo>
                    <a:pt x="937" y="1007"/>
                  </a:lnTo>
                  <a:lnTo>
                    <a:pt x="939" y="1005"/>
                  </a:lnTo>
                  <a:lnTo>
                    <a:pt x="939" y="1007"/>
                  </a:lnTo>
                  <a:close/>
                  <a:moveTo>
                    <a:pt x="937" y="1007"/>
                  </a:moveTo>
                  <a:lnTo>
                    <a:pt x="937" y="1005"/>
                  </a:lnTo>
                  <a:lnTo>
                    <a:pt x="937" y="1007"/>
                  </a:lnTo>
                  <a:close/>
                  <a:moveTo>
                    <a:pt x="978" y="1007"/>
                  </a:moveTo>
                  <a:lnTo>
                    <a:pt x="978" y="1005"/>
                  </a:lnTo>
                  <a:lnTo>
                    <a:pt x="978" y="1007"/>
                  </a:lnTo>
                  <a:close/>
                  <a:moveTo>
                    <a:pt x="936" y="1005"/>
                  </a:moveTo>
                  <a:lnTo>
                    <a:pt x="934" y="1005"/>
                  </a:lnTo>
                  <a:lnTo>
                    <a:pt x="936" y="1005"/>
                  </a:lnTo>
                  <a:close/>
                  <a:moveTo>
                    <a:pt x="965" y="1007"/>
                  </a:moveTo>
                  <a:lnTo>
                    <a:pt x="965" y="1009"/>
                  </a:lnTo>
                  <a:lnTo>
                    <a:pt x="963" y="1009"/>
                  </a:lnTo>
                  <a:lnTo>
                    <a:pt x="963" y="1007"/>
                  </a:lnTo>
                  <a:lnTo>
                    <a:pt x="965" y="1007"/>
                  </a:lnTo>
                  <a:lnTo>
                    <a:pt x="963" y="1007"/>
                  </a:lnTo>
                  <a:lnTo>
                    <a:pt x="963" y="1005"/>
                  </a:lnTo>
                  <a:lnTo>
                    <a:pt x="965" y="1005"/>
                  </a:lnTo>
                  <a:lnTo>
                    <a:pt x="965" y="1007"/>
                  </a:lnTo>
                  <a:close/>
                  <a:moveTo>
                    <a:pt x="939" y="1005"/>
                  </a:moveTo>
                  <a:lnTo>
                    <a:pt x="940" y="1005"/>
                  </a:lnTo>
                  <a:lnTo>
                    <a:pt x="939" y="1005"/>
                  </a:lnTo>
                  <a:close/>
                  <a:moveTo>
                    <a:pt x="965" y="1005"/>
                  </a:moveTo>
                  <a:lnTo>
                    <a:pt x="967" y="1005"/>
                  </a:lnTo>
                  <a:lnTo>
                    <a:pt x="965" y="1005"/>
                  </a:lnTo>
                  <a:close/>
                  <a:moveTo>
                    <a:pt x="942" y="1005"/>
                  </a:moveTo>
                  <a:lnTo>
                    <a:pt x="942" y="1007"/>
                  </a:lnTo>
                  <a:lnTo>
                    <a:pt x="940" y="1007"/>
                  </a:lnTo>
                  <a:lnTo>
                    <a:pt x="940" y="1005"/>
                  </a:lnTo>
                  <a:lnTo>
                    <a:pt x="942" y="1005"/>
                  </a:lnTo>
                  <a:close/>
                  <a:moveTo>
                    <a:pt x="940" y="1005"/>
                  </a:moveTo>
                  <a:lnTo>
                    <a:pt x="940" y="1004"/>
                  </a:lnTo>
                  <a:lnTo>
                    <a:pt x="940" y="1005"/>
                  </a:lnTo>
                  <a:close/>
                  <a:moveTo>
                    <a:pt x="942" y="1005"/>
                  </a:moveTo>
                  <a:lnTo>
                    <a:pt x="942" y="1004"/>
                  </a:lnTo>
                  <a:lnTo>
                    <a:pt x="942" y="1005"/>
                  </a:lnTo>
                  <a:close/>
                  <a:moveTo>
                    <a:pt x="940" y="1005"/>
                  </a:moveTo>
                  <a:lnTo>
                    <a:pt x="939" y="1005"/>
                  </a:lnTo>
                  <a:lnTo>
                    <a:pt x="940" y="1004"/>
                  </a:lnTo>
                  <a:lnTo>
                    <a:pt x="940" y="1005"/>
                  </a:lnTo>
                  <a:close/>
                  <a:moveTo>
                    <a:pt x="936" y="1005"/>
                  </a:moveTo>
                  <a:lnTo>
                    <a:pt x="936" y="1004"/>
                  </a:lnTo>
                  <a:lnTo>
                    <a:pt x="936" y="1005"/>
                  </a:lnTo>
                  <a:close/>
                  <a:moveTo>
                    <a:pt x="939" y="1004"/>
                  </a:moveTo>
                  <a:lnTo>
                    <a:pt x="939" y="1005"/>
                  </a:lnTo>
                  <a:lnTo>
                    <a:pt x="939" y="1004"/>
                  </a:lnTo>
                  <a:close/>
                  <a:moveTo>
                    <a:pt x="963" y="1005"/>
                  </a:moveTo>
                  <a:lnTo>
                    <a:pt x="963" y="1004"/>
                  </a:lnTo>
                  <a:lnTo>
                    <a:pt x="963" y="1005"/>
                  </a:lnTo>
                  <a:close/>
                  <a:moveTo>
                    <a:pt x="940" y="1004"/>
                  </a:moveTo>
                  <a:lnTo>
                    <a:pt x="939" y="1004"/>
                  </a:lnTo>
                  <a:lnTo>
                    <a:pt x="940" y="1004"/>
                  </a:lnTo>
                  <a:close/>
                  <a:moveTo>
                    <a:pt x="940" y="1004"/>
                  </a:moveTo>
                  <a:lnTo>
                    <a:pt x="940" y="1005"/>
                  </a:lnTo>
                  <a:lnTo>
                    <a:pt x="940" y="1004"/>
                  </a:lnTo>
                  <a:close/>
                  <a:moveTo>
                    <a:pt x="944" y="1004"/>
                  </a:moveTo>
                  <a:lnTo>
                    <a:pt x="942" y="1004"/>
                  </a:lnTo>
                  <a:lnTo>
                    <a:pt x="944" y="1004"/>
                  </a:lnTo>
                  <a:close/>
                  <a:moveTo>
                    <a:pt x="932" y="1004"/>
                  </a:moveTo>
                  <a:lnTo>
                    <a:pt x="934" y="1004"/>
                  </a:lnTo>
                  <a:lnTo>
                    <a:pt x="932" y="1004"/>
                  </a:lnTo>
                  <a:close/>
                  <a:moveTo>
                    <a:pt x="934" y="1004"/>
                  </a:moveTo>
                  <a:lnTo>
                    <a:pt x="934" y="1002"/>
                  </a:lnTo>
                  <a:lnTo>
                    <a:pt x="934" y="1004"/>
                  </a:lnTo>
                  <a:close/>
                  <a:moveTo>
                    <a:pt x="980" y="1004"/>
                  </a:moveTo>
                  <a:lnTo>
                    <a:pt x="981" y="1002"/>
                  </a:lnTo>
                  <a:lnTo>
                    <a:pt x="981" y="1004"/>
                  </a:lnTo>
                  <a:lnTo>
                    <a:pt x="981" y="1002"/>
                  </a:lnTo>
                  <a:lnTo>
                    <a:pt x="981" y="1004"/>
                  </a:lnTo>
                  <a:lnTo>
                    <a:pt x="980" y="1005"/>
                  </a:lnTo>
                  <a:lnTo>
                    <a:pt x="980" y="1004"/>
                  </a:lnTo>
                  <a:lnTo>
                    <a:pt x="980" y="1002"/>
                  </a:lnTo>
                  <a:lnTo>
                    <a:pt x="980" y="1004"/>
                  </a:lnTo>
                  <a:close/>
                  <a:moveTo>
                    <a:pt x="944" y="1004"/>
                  </a:moveTo>
                  <a:lnTo>
                    <a:pt x="944" y="1002"/>
                  </a:lnTo>
                  <a:lnTo>
                    <a:pt x="944" y="1004"/>
                  </a:lnTo>
                  <a:close/>
                  <a:moveTo>
                    <a:pt x="939" y="1002"/>
                  </a:moveTo>
                  <a:lnTo>
                    <a:pt x="937" y="1002"/>
                  </a:lnTo>
                  <a:lnTo>
                    <a:pt x="939" y="1002"/>
                  </a:lnTo>
                  <a:close/>
                  <a:moveTo>
                    <a:pt x="942" y="1002"/>
                  </a:moveTo>
                  <a:lnTo>
                    <a:pt x="940" y="1002"/>
                  </a:lnTo>
                  <a:lnTo>
                    <a:pt x="942" y="1002"/>
                  </a:lnTo>
                  <a:close/>
                  <a:moveTo>
                    <a:pt x="978" y="1001"/>
                  </a:moveTo>
                  <a:lnTo>
                    <a:pt x="978" y="1002"/>
                  </a:lnTo>
                  <a:lnTo>
                    <a:pt x="978" y="1001"/>
                  </a:lnTo>
                  <a:close/>
                  <a:moveTo>
                    <a:pt x="981" y="1001"/>
                  </a:moveTo>
                  <a:lnTo>
                    <a:pt x="981" y="1002"/>
                  </a:lnTo>
                  <a:lnTo>
                    <a:pt x="981" y="1001"/>
                  </a:lnTo>
                  <a:close/>
                  <a:moveTo>
                    <a:pt x="981" y="1001"/>
                  </a:moveTo>
                  <a:lnTo>
                    <a:pt x="983" y="1001"/>
                  </a:lnTo>
                  <a:lnTo>
                    <a:pt x="981" y="1001"/>
                  </a:lnTo>
                  <a:close/>
                  <a:moveTo>
                    <a:pt x="978" y="1001"/>
                  </a:moveTo>
                  <a:lnTo>
                    <a:pt x="976" y="1001"/>
                  </a:lnTo>
                  <a:lnTo>
                    <a:pt x="978" y="1001"/>
                  </a:lnTo>
                  <a:close/>
                  <a:moveTo>
                    <a:pt x="984" y="1001"/>
                  </a:moveTo>
                  <a:lnTo>
                    <a:pt x="986" y="999"/>
                  </a:lnTo>
                  <a:lnTo>
                    <a:pt x="984" y="1001"/>
                  </a:lnTo>
                  <a:close/>
                  <a:moveTo>
                    <a:pt x="945" y="999"/>
                  </a:moveTo>
                  <a:lnTo>
                    <a:pt x="947" y="999"/>
                  </a:lnTo>
                  <a:lnTo>
                    <a:pt x="945" y="999"/>
                  </a:lnTo>
                  <a:close/>
                  <a:moveTo>
                    <a:pt x="976" y="1001"/>
                  </a:moveTo>
                  <a:lnTo>
                    <a:pt x="976" y="999"/>
                  </a:lnTo>
                  <a:lnTo>
                    <a:pt x="976" y="1001"/>
                  </a:lnTo>
                  <a:close/>
                  <a:moveTo>
                    <a:pt x="944" y="999"/>
                  </a:moveTo>
                  <a:lnTo>
                    <a:pt x="944" y="1001"/>
                  </a:lnTo>
                  <a:lnTo>
                    <a:pt x="944" y="999"/>
                  </a:lnTo>
                  <a:close/>
                  <a:moveTo>
                    <a:pt x="947" y="999"/>
                  </a:moveTo>
                  <a:lnTo>
                    <a:pt x="947" y="1001"/>
                  </a:lnTo>
                  <a:lnTo>
                    <a:pt x="947" y="999"/>
                  </a:lnTo>
                  <a:close/>
                  <a:moveTo>
                    <a:pt x="978" y="1001"/>
                  </a:moveTo>
                  <a:lnTo>
                    <a:pt x="978" y="999"/>
                  </a:lnTo>
                  <a:lnTo>
                    <a:pt x="978" y="1001"/>
                  </a:lnTo>
                  <a:close/>
                  <a:moveTo>
                    <a:pt x="945" y="1001"/>
                  </a:moveTo>
                  <a:lnTo>
                    <a:pt x="945" y="999"/>
                  </a:lnTo>
                  <a:lnTo>
                    <a:pt x="945" y="1001"/>
                  </a:lnTo>
                  <a:close/>
                  <a:moveTo>
                    <a:pt x="939" y="999"/>
                  </a:moveTo>
                  <a:lnTo>
                    <a:pt x="939" y="1001"/>
                  </a:lnTo>
                  <a:lnTo>
                    <a:pt x="939" y="999"/>
                  </a:lnTo>
                  <a:close/>
                  <a:moveTo>
                    <a:pt x="947" y="999"/>
                  </a:moveTo>
                  <a:lnTo>
                    <a:pt x="945" y="999"/>
                  </a:lnTo>
                  <a:lnTo>
                    <a:pt x="947" y="999"/>
                  </a:lnTo>
                  <a:close/>
                  <a:moveTo>
                    <a:pt x="947" y="999"/>
                  </a:moveTo>
                  <a:lnTo>
                    <a:pt x="949" y="999"/>
                  </a:lnTo>
                  <a:lnTo>
                    <a:pt x="947" y="999"/>
                  </a:lnTo>
                  <a:close/>
                  <a:moveTo>
                    <a:pt x="975" y="999"/>
                  </a:moveTo>
                  <a:lnTo>
                    <a:pt x="976" y="999"/>
                  </a:lnTo>
                  <a:lnTo>
                    <a:pt x="975" y="999"/>
                  </a:lnTo>
                  <a:close/>
                  <a:moveTo>
                    <a:pt x="978" y="999"/>
                  </a:moveTo>
                  <a:lnTo>
                    <a:pt x="976" y="999"/>
                  </a:lnTo>
                  <a:lnTo>
                    <a:pt x="978" y="999"/>
                  </a:lnTo>
                  <a:close/>
                  <a:moveTo>
                    <a:pt x="944" y="999"/>
                  </a:moveTo>
                  <a:lnTo>
                    <a:pt x="945" y="999"/>
                  </a:lnTo>
                  <a:lnTo>
                    <a:pt x="944" y="999"/>
                  </a:lnTo>
                  <a:lnTo>
                    <a:pt x="945" y="999"/>
                  </a:lnTo>
                  <a:lnTo>
                    <a:pt x="944" y="999"/>
                  </a:lnTo>
                  <a:close/>
                  <a:moveTo>
                    <a:pt x="947" y="999"/>
                  </a:moveTo>
                  <a:lnTo>
                    <a:pt x="945" y="999"/>
                  </a:lnTo>
                  <a:lnTo>
                    <a:pt x="945" y="997"/>
                  </a:lnTo>
                  <a:lnTo>
                    <a:pt x="947" y="999"/>
                  </a:lnTo>
                  <a:close/>
                  <a:moveTo>
                    <a:pt x="976" y="997"/>
                  </a:moveTo>
                  <a:lnTo>
                    <a:pt x="976" y="999"/>
                  </a:lnTo>
                  <a:lnTo>
                    <a:pt x="976" y="997"/>
                  </a:lnTo>
                  <a:close/>
                  <a:moveTo>
                    <a:pt x="949" y="999"/>
                  </a:moveTo>
                  <a:lnTo>
                    <a:pt x="949" y="997"/>
                  </a:lnTo>
                  <a:lnTo>
                    <a:pt x="949" y="999"/>
                  </a:lnTo>
                  <a:close/>
                  <a:moveTo>
                    <a:pt x="944" y="997"/>
                  </a:moveTo>
                  <a:lnTo>
                    <a:pt x="944" y="999"/>
                  </a:lnTo>
                  <a:lnTo>
                    <a:pt x="944" y="997"/>
                  </a:lnTo>
                  <a:close/>
                  <a:moveTo>
                    <a:pt x="989" y="997"/>
                  </a:moveTo>
                  <a:lnTo>
                    <a:pt x="989" y="999"/>
                  </a:lnTo>
                  <a:lnTo>
                    <a:pt x="989" y="997"/>
                  </a:lnTo>
                  <a:close/>
                  <a:moveTo>
                    <a:pt x="965" y="999"/>
                  </a:moveTo>
                  <a:lnTo>
                    <a:pt x="965" y="997"/>
                  </a:lnTo>
                  <a:lnTo>
                    <a:pt x="965" y="999"/>
                  </a:lnTo>
                  <a:close/>
                  <a:moveTo>
                    <a:pt x="952" y="997"/>
                  </a:moveTo>
                  <a:lnTo>
                    <a:pt x="953" y="997"/>
                  </a:lnTo>
                  <a:lnTo>
                    <a:pt x="952" y="997"/>
                  </a:lnTo>
                  <a:close/>
                  <a:moveTo>
                    <a:pt x="950" y="997"/>
                  </a:moveTo>
                  <a:lnTo>
                    <a:pt x="952" y="997"/>
                  </a:lnTo>
                  <a:lnTo>
                    <a:pt x="950" y="997"/>
                  </a:lnTo>
                  <a:close/>
                  <a:moveTo>
                    <a:pt x="980" y="997"/>
                  </a:moveTo>
                  <a:lnTo>
                    <a:pt x="978" y="997"/>
                  </a:lnTo>
                  <a:lnTo>
                    <a:pt x="980" y="997"/>
                  </a:lnTo>
                  <a:close/>
                  <a:moveTo>
                    <a:pt x="947" y="997"/>
                  </a:moveTo>
                  <a:lnTo>
                    <a:pt x="949" y="997"/>
                  </a:lnTo>
                  <a:lnTo>
                    <a:pt x="947" y="997"/>
                  </a:lnTo>
                  <a:close/>
                  <a:moveTo>
                    <a:pt x="955" y="996"/>
                  </a:moveTo>
                  <a:lnTo>
                    <a:pt x="955" y="997"/>
                  </a:lnTo>
                  <a:lnTo>
                    <a:pt x="955" y="996"/>
                  </a:lnTo>
                  <a:close/>
                  <a:moveTo>
                    <a:pt x="953" y="997"/>
                  </a:moveTo>
                  <a:lnTo>
                    <a:pt x="953" y="996"/>
                  </a:lnTo>
                  <a:lnTo>
                    <a:pt x="953" y="997"/>
                  </a:lnTo>
                  <a:close/>
                  <a:moveTo>
                    <a:pt x="984" y="997"/>
                  </a:moveTo>
                  <a:lnTo>
                    <a:pt x="986" y="996"/>
                  </a:lnTo>
                  <a:lnTo>
                    <a:pt x="986" y="997"/>
                  </a:lnTo>
                  <a:lnTo>
                    <a:pt x="984" y="997"/>
                  </a:lnTo>
                  <a:close/>
                  <a:moveTo>
                    <a:pt x="967" y="997"/>
                  </a:moveTo>
                  <a:lnTo>
                    <a:pt x="967" y="996"/>
                  </a:lnTo>
                  <a:lnTo>
                    <a:pt x="967" y="997"/>
                  </a:lnTo>
                  <a:close/>
                  <a:moveTo>
                    <a:pt x="967" y="996"/>
                  </a:moveTo>
                  <a:lnTo>
                    <a:pt x="967" y="997"/>
                  </a:lnTo>
                  <a:lnTo>
                    <a:pt x="967" y="996"/>
                  </a:lnTo>
                  <a:close/>
                  <a:moveTo>
                    <a:pt x="955" y="996"/>
                  </a:moveTo>
                  <a:lnTo>
                    <a:pt x="955" y="997"/>
                  </a:lnTo>
                  <a:lnTo>
                    <a:pt x="955" y="996"/>
                  </a:lnTo>
                  <a:close/>
                  <a:moveTo>
                    <a:pt x="955" y="996"/>
                  </a:moveTo>
                  <a:lnTo>
                    <a:pt x="957" y="996"/>
                  </a:lnTo>
                  <a:lnTo>
                    <a:pt x="955" y="996"/>
                  </a:lnTo>
                  <a:close/>
                  <a:moveTo>
                    <a:pt x="947" y="997"/>
                  </a:moveTo>
                  <a:lnTo>
                    <a:pt x="947" y="996"/>
                  </a:lnTo>
                  <a:lnTo>
                    <a:pt x="947" y="997"/>
                  </a:lnTo>
                  <a:close/>
                  <a:moveTo>
                    <a:pt x="983" y="996"/>
                  </a:moveTo>
                  <a:lnTo>
                    <a:pt x="981" y="996"/>
                  </a:lnTo>
                  <a:lnTo>
                    <a:pt x="983" y="996"/>
                  </a:lnTo>
                  <a:close/>
                  <a:moveTo>
                    <a:pt x="983" y="996"/>
                  </a:moveTo>
                  <a:lnTo>
                    <a:pt x="984" y="997"/>
                  </a:lnTo>
                  <a:lnTo>
                    <a:pt x="983" y="997"/>
                  </a:lnTo>
                  <a:lnTo>
                    <a:pt x="983" y="999"/>
                  </a:lnTo>
                  <a:lnTo>
                    <a:pt x="981" y="999"/>
                  </a:lnTo>
                  <a:lnTo>
                    <a:pt x="981" y="1001"/>
                  </a:lnTo>
                  <a:lnTo>
                    <a:pt x="981" y="999"/>
                  </a:lnTo>
                  <a:lnTo>
                    <a:pt x="981" y="1001"/>
                  </a:lnTo>
                  <a:lnTo>
                    <a:pt x="980" y="1001"/>
                  </a:lnTo>
                  <a:lnTo>
                    <a:pt x="980" y="1002"/>
                  </a:lnTo>
                  <a:lnTo>
                    <a:pt x="978" y="1002"/>
                  </a:lnTo>
                  <a:lnTo>
                    <a:pt x="978" y="1001"/>
                  </a:lnTo>
                  <a:lnTo>
                    <a:pt x="980" y="1001"/>
                  </a:lnTo>
                  <a:lnTo>
                    <a:pt x="978" y="1001"/>
                  </a:lnTo>
                  <a:lnTo>
                    <a:pt x="978" y="999"/>
                  </a:lnTo>
                  <a:lnTo>
                    <a:pt x="980" y="999"/>
                  </a:lnTo>
                  <a:lnTo>
                    <a:pt x="978" y="999"/>
                  </a:lnTo>
                  <a:lnTo>
                    <a:pt x="980" y="999"/>
                  </a:lnTo>
                  <a:lnTo>
                    <a:pt x="980" y="997"/>
                  </a:lnTo>
                  <a:lnTo>
                    <a:pt x="981" y="997"/>
                  </a:lnTo>
                  <a:lnTo>
                    <a:pt x="983" y="996"/>
                  </a:lnTo>
                  <a:close/>
                  <a:moveTo>
                    <a:pt x="981" y="996"/>
                  </a:moveTo>
                  <a:lnTo>
                    <a:pt x="983" y="996"/>
                  </a:lnTo>
                  <a:lnTo>
                    <a:pt x="981" y="996"/>
                  </a:lnTo>
                  <a:close/>
                  <a:moveTo>
                    <a:pt x="944" y="997"/>
                  </a:moveTo>
                  <a:lnTo>
                    <a:pt x="945" y="997"/>
                  </a:lnTo>
                  <a:lnTo>
                    <a:pt x="945" y="996"/>
                  </a:lnTo>
                  <a:lnTo>
                    <a:pt x="947" y="996"/>
                  </a:lnTo>
                  <a:lnTo>
                    <a:pt x="947" y="997"/>
                  </a:lnTo>
                  <a:lnTo>
                    <a:pt x="945" y="997"/>
                  </a:lnTo>
                  <a:lnTo>
                    <a:pt x="944" y="999"/>
                  </a:lnTo>
                  <a:lnTo>
                    <a:pt x="944" y="997"/>
                  </a:lnTo>
                  <a:lnTo>
                    <a:pt x="944" y="999"/>
                  </a:lnTo>
                  <a:lnTo>
                    <a:pt x="944" y="997"/>
                  </a:lnTo>
                  <a:lnTo>
                    <a:pt x="944" y="999"/>
                  </a:lnTo>
                  <a:lnTo>
                    <a:pt x="944" y="997"/>
                  </a:lnTo>
                  <a:close/>
                  <a:moveTo>
                    <a:pt x="983" y="996"/>
                  </a:moveTo>
                  <a:lnTo>
                    <a:pt x="981" y="996"/>
                  </a:lnTo>
                  <a:lnTo>
                    <a:pt x="983" y="996"/>
                  </a:lnTo>
                  <a:lnTo>
                    <a:pt x="983" y="994"/>
                  </a:lnTo>
                  <a:lnTo>
                    <a:pt x="983" y="996"/>
                  </a:lnTo>
                  <a:close/>
                  <a:moveTo>
                    <a:pt x="967" y="996"/>
                  </a:moveTo>
                  <a:lnTo>
                    <a:pt x="968" y="994"/>
                  </a:lnTo>
                  <a:lnTo>
                    <a:pt x="967" y="996"/>
                  </a:lnTo>
                  <a:close/>
                  <a:moveTo>
                    <a:pt x="1038" y="994"/>
                  </a:moveTo>
                  <a:lnTo>
                    <a:pt x="1038" y="996"/>
                  </a:lnTo>
                  <a:lnTo>
                    <a:pt x="1038" y="994"/>
                  </a:lnTo>
                  <a:close/>
                  <a:moveTo>
                    <a:pt x="939" y="996"/>
                  </a:moveTo>
                  <a:lnTo>
                    <a:pt x="939" y="994"/>
                  </a:lnTo>
                  <a:lnTo>
                    <a:pt x="939" y="996"/>
                  </a:lnTo>
                  <a:close/>
                  <a:moveTo>
                    <a:pt x="945" y="994"/>
                  </a:moveTo>
                  <a:lnTo>
                    <a:pt x="945" y="996"/>
                  </a:lnTo>
                  <a:lnTo>
                    <a:pt x="945" y="994"/>
                  </a:lnTo>
                  <a:close/>
                  <a:moveTo>
                    <a:pt x="955" y="994"/>
                  </a:moveTo>
                  <a:lnTo>
                    <a:pt x="957" y="994"/>
                  </a:lnTo>
                  <a:lnTo>
                    <a:pt x="955" y="994"/>
                  </a:lnTo>
                  <a:close/>
                  <a:moveTo>
                    <a:pt x="940" y="994"/>
                  </a:moveTo>
                  <a:lnTo>
                    <a:pt x="939" y="994"/>
                  </a:lnTo>
                  <a:lnTo>
                    <a:pt x="940" y="994"/>
                  </a:lnTo>
                  <a:close/>
                  <a:moveTo>
                    <a:pt x="986" y="994"/>
                  </a:moveTo>
                  <a:lnTo>
                    <a:pt x="986" y="996"/>
                  </a:lnTo>
                  <a:lnTo>
                    <a:pt x="984" y="994"/>
                  </a:lnTo>
                  <a:lnTo>
                    <a:pt x="986" y="994"/>
                  </a:lnTo>
                  <a:close/>
                  <a:moveTo>
                    <a:pt x="939" y="994"/>
                  </a:moveTo>
                  <a:lnTo>
                    <a:pt x="940" y="994"/>
                  </a:lnTo>
                  <a:lnTo>
                    <a:pt x="939" y="994"/>
                  </a:lnTo>
                  <a:close/>
                  <a:moveTo>
                    <a:pt x="955" y="994"/>
                  </a:moveTo>
                  <a:lnTo>
                    <a:pt x="957" y="994"/>
                  </a:lnTo>
                  <a:lnTo>
                    <a:pt x="955" y="994"/>
                  </a:lnTo>
                  <a:close/>
                  <a:moveTo>
                    <a:pt x="947" y="994"/>
                  </a:moveTo>
                  <a:lnTo>
                    <a:pt x="949" y="996"/>
                  </a:lnTo>
                  <a:lnTo>
                    <a:pt x="947" y="996"/>
                  </a:lnTo>
                  <a:lnTo>
                    <a:pt x="947" y="994"/>
                  </a:lnTo>
                  <a:lnTo>
                    <a:pt x="947" y="996"/>
                  </a:lnTo>
                  <a:lnTo>
                    <a:pt x="947" y="994"/>
                  </a:lnTo>
                  <a:close/>
                  <a:moveTo>
                    <a:pt x="989" y="996"/>
                  </a:moveTo>
                  <a:lnTo>
                    <a:pt x="988" y="997"/>
                  </a:lnTo>
                  <a:lnTo>
                    <a:pt x="986" y="997"/>
                  </a:lnTo>
                  <a:lnTo>
                    <a:pt x="986" y="996"/>
                  </a:lnTo>
                  <a:lnTo>
                    <a:pt x="986" y="994"/>
                  </a:lnTo>
                  <a:lnTo>
                    <a:pt x="986" y="996"/>
                  </a:lnTo>
                  <a:lnTo>
                    <a:pt x="988" y="996"/>
                  </a:lnTo>
                  <a:lnTo>
                    <a:pt x="988" y="994"/>
                  </a:lnTo>
                  <a:lnTo>
                    <a:pt x="989" y="994"/>
                  </a:lnTo>
                  <a:lnTo>
                    <a:pt x="989" y="996"/>
                  </a:lnTo>
                  <a:close/>
                  <a:moveTo>
                    <a:pt x="955" y="994"/>
                  </a:moveTo>
                  <a:lnTo>
                    <a:pt x="957" y="994"/>
                  </a:lnTo>
                  <a:lnTo>
                    <a:pt x="955" y="994"/>
                  </a:lnTo>
                  <a:close/>
                  <a:moveTo>
                    <a:pt x="945" y="994"/>
                  </a:moveTo>
                  <a:lnTo>
                    <a:pt x="947" y="994"/>
                  </a:lnTo>
                  <a:lnTo>
                    <a:pt x="945" y="994"/>
                  </a:lnTo>
                  <a:close/>
                  <a:moveTo>
                    <a:pt x="993" y="994"/>
                  </a:moveTo>
                  <a:lnTo>
                    <a:pt x="994" y="994"/>
                  </a:lnTo>
                  <a:lnTo>
                    <a:pt x="993" y="994"/>
                  </a:lnTo>
                  <a:close/>
                  <a:moveTo>
                    <a:pt x="978" y="1007"/>
                  </a:moveTo>
                  <a:lnTo>
                    <a:pt x="976" y="1007"/>
                  </a:lnTo>
                  <a:lnTo>
                    <a:pt x="976" y="1009"/>
                  </a:lnTo>
                  <a:lnTo>
                    <a:pt x="975" y="1009"/>
                  </a:lnTo>
                  <a:lnTo>
                    <a:pt x="975" y="1010"/>
                  </a:lnTo>
                  <a:lnTo>
                    <a:pt x="973" y="1010"/>
                  </a:lnTo>
                  <a:lnTo>
                    <a:pt x="973" y="1012"/>
                  </a:lnTo>
                  <a:lnTo>
                    <a:pt x="971" y="1012"/>
                  </a:lnTo>
                  <a:lnTo>
                    <a:pt x="971" y="1014"/>
                  </a:lnTo>
                  <a:lnTo>
                    <a:pt x="970" y="1014"/>
                  </a:lnTo>
                  <a:lnTo>
                    <a:pt x="970" y="1012"/>
                  </a:lnTo>
                  <a:lnTo>
                    <a:pt x="970" y="1014"/>
                  </a:lnTo>
                  <a:lnTo>
                    <a:pt x="968" y="1014"/>
                  </a:lnTo>
                  <a:lnTo>
                    <a:pt x="970" y="1012"/>
                  </a:lnTo>
                  <a:lnTo>
                    <a:pt x="968" y="1012"/>
                  </a:lnTo>
                  <a:lnTo>
                    <a:pt x="970" y="1012"/>
                  </a:lnTo>
                  <a:lnTo>
                    <a:pt x="968" y="1012"/>
                  </a:lnTo>
                  <a:lnTo>
                    <a:pt x="968" y="1014"/>
                  </a:lnTo>
                  <a:lnTo>
                    <a:pt x="967" y="1014"/>
                  </a:lnTo>
                  <a:lnTo>
                    <a:pt x="967" y="1012"/>
                  </a:lnTo>
                  <a:lnTo>
                    <a:pt x="968" y="1012"/>
                  </a:lnTo>
                  <a:lnTo>
                    <a:pt x="967" y="1010"/>
                  </a:lnTo>
                  <a:lnTo>
                    <a:pt x="967" y="1012"/>
                  </a:lnTo>
                  <a:lnTo>
                    <a:pt x="967" y="1014"/>
                  </a:lnTo>
                  <a:lnTo>
                    <a:pt x="967" y="1012"/>
                  </a:lnTo>
                  <a:lnTo>
                    <a:pt x="965" y="1014"/>
                  </a:lnTo>
                  <a:lnTo>
                    <a:pt x="967" y="1014"/>
                  </a:lnTo>
                  <a:lnTo>
                    <a:pt x="967" y="1012"/>
                  </a:lnTo>
                  <a:lnTo>
                    <a:pt x="967" y="1014"/>
                  </a:lnTo>
                  <a:lnTo>
                    <a:pt x="965" y="1014"/>
                  </a:lnTo>
                  <a:lnTo>
                    <a:pt x="965" y="1012"/>
                  </a:lnTo>
                  <a:lnTo>
                    <a:pt x="965" y="1014"/>
                  </a:lnTo>
                  <a:lnTo>
                    <a:pt x="965" y="1012"/>
                  </a:lnTo>
                  <a:lnTo>
                    <a:pt x="967" y="1012"/>
                  </a:lnTo>
                  <a:lnTo>
                    <a:pt x="967" y="1010"/>
                  </a:lnTo>
                  <a:lnTo>
                    <a:pt x="968" y="1009"/>
                  </a:lnTo>
                  <a:lnTo>
                    <a:pt x="967" y="1009"/>
                  </a:lnTo>
                  <a:lnTo>
                    <a:pt x="967" y="1010"/>
                  </a:lnTo>
                  <a:lnTo>
                    <a:pt x="965" y="1010"/>
                  </a:lnTo>
                  <a:lnTo>
                    <a:pt x="965" y="1009"/>
                  </a:lnTo>
                  <a:lnTo>
                    <a:pt x="965" y="1010"/>
                  </a:lnTo>
                  <a:lnTo>
                    <a:pt x="965" y="1009"/>
                  </a:lnTo>
                  <a:lnTo>
                    <a:pt x="967" y="1007"/>
                  </a:lnTo>
                  <a:lnTo>
                    <a:pt x="965" y="1009"/>
                  </a:lnTo>
                  <a:lnTo>
                    <a:pt x="965" y="1007"/>
                  </a:lnTo>
                  <a:lnTo>
                    <a:pt x="967" y="1007"/>
                  </a:lnTo>
                  <a:lnTo>
                    <a:pt x="967" y="1005"/>
                  </a:lnTo>
                  <a:lnTo>
                    <a:pt x="968" y="1005"/>
                  </a:lnTo>
                  <a:lnTo>
                    <a:pt x="970" y="1004"/>
                  </a:lnTo>
                  <a:lnTo>
                    <a:pt x="968" y="1004"/>
                  </a:lnTo>
                  <a:lnTo>
                    <a:pt x="968" y="1005"/>
                  </a:lnTo>
                  <a:lnTo>
                    <a:pt x="968" y="1004"/>
                  </a:lnTo>
                  <a:lnTo>
                    <a:pt x="967" y="1004"/>
                  </a:lnTo>
                  <a:lnTo>
                    <a:pt x="968" y="1004"/>
                  </a:lnTo>
                  <a:lnTo>
                    <a:pt x="967" y="1004"/>
                  </a:lnTo>
                  <a:lnTo>
                    <a:pt x="968" y="1004"/>
                  </a:lnTo>
                  <a:lnTo>
                    <a:pt x="968" y="1002"/>
                  </a:lnTo>
                  <a:lnTo>
                    <a:pt x="968" y="1001"/>
                  </a:lnTo>
                  <a:lnTo>
                    <a:pt x="968" y="1002"/>
                  </a:lnTo>
                  <a:lnTo>
                    <a:pt x="967" y="1004"/>
                  </a:lnTo>
                  <a:lnTo>
                    <a:pt x="965" y="1004"/>
                  </a:lnTo>
                  <a:lnTo>
                    <a:pt x="965" y="1005"/>
                  </a:lnTo>
                  <a:lnTo>
                    <a:pt x="965" y="1004"/>
                  </a:lnTo>
                  <a:lnTo>
                    <a:pt x="963" y="1004"/>
                  </a:lnTo>
                  <a:lnTo>
                    <a:pt x="962" y="1004"/>
                  </a:lnTo>
                  <a:lnTo>
                    <a:pt x="962" y="1005"/>
                  </a:lnTo>
                  <a:lnTo>
                    <a:pt x="960" y="1005"/>
                  </a:lnTo>
                  <a:lnTo>
                    <a:pt x="960" y="1007"/>
                  </a:lnTo>
                  <a:lnTo>
                    <a:pt x="960" y="1005"/>
                  </a:lnTo>
                  <a:lnTo>
                    <a:pt x="958" y="1005"/>
                  </a:lnTo>
                  <a:lnTo>
                    <a:pt x="958" y="1007"/>
                  </a:lnTo>
                  <a:lnTo>
                    <a:pt x="960" y="1007"/>
                  </a:lnTo>
                  <a:lnTo>
                    <a:pt x="958" y="1007"/>
                  </a:lnTo>
                  <a:lnTo>
                    <a:pt x="958" y="1009"/>
                  </a:lnTo>
                  <a:lnTo>
                    <a:pt x="957" y="1009"/>
                  </a:lnTo>
                  <a:lnTo>
                    <a:pt x="958" y="1007"/>
                  </a:lnTo>
                  <a:lnTo>
                    <a:pt x="957" y="1007"/>
                  </a:lnTo>
                  <a:lnTo>
                    <a:pt x="957" y="1009"/>
                  </a:lnTo>
                  <a:lnTo>
                    <a:pt x="955" y="1009"/>
                  </a:lnTo>
                  <a:lnTo>
                    <a:pt x="955" y="1010"/>
                  </a:lnTo>
                  <a:lnTo>
                    <a:pt x="953" y="1010"/>
                  </a:lnTo>
                  <a:lnTo>
                    <a:pt x="953" y="1012"/>
                  </a:lnTo>
                  <a:lnTo>
                    <a:pt x="952" y="1012"/>
                  </a:lnTo>
                  <a:lnTo>
                    <a:pt x="950" y="1012"/>
                  </a:lnTo>
                  <a:lnTo>
                    <a:pt x="950" y="1010"/>
                  </a:lnTo>
                  <a:lnTo>
                    <a:pt x="952" y="1010"/>
                  </a:lnTo>
                  <a:lnTo>
                    <a:pt x="952" y="1009"/>
                  </a:lnTo>
                  <a:lnTo>
                    <a:pt x="953" y="1009"/>
                  </a:lnTo>
                  <a:lnTo>
                    <a:pt x="953" y="1007"/>
                  </a:lnTo>
                  <a:lnTo>
                    <a:pt x="955" y="1007"/>
                  </a:lnTo>
                  <a:lnTo>
                    <a:pt x="955" y="1005"/>
                  </a:lnTo>
                  <a:lnTo>
                    <a:pt x="957" y="1005"/>
                  </a:lnTo>
                  <a:lnTo>
                    <a:pt x="957" y="1004"/>
                  </a:lnTo>
                  <a:lnTo>
                    <a:pt x="957" y="1005"/>
                  </a:lnTo>
                  <a:lnTo>
                    <a:pt x="957" y="1004"/>
                  </a:lnTo>
                  <a:lnTo>
                    <a:pt x="957" y="1002"/>
                  </a:lnTo>
                  <a:lnTo>
                    <a:pt x="958" y="1002"/>
                  </a:lnTo>
                  <a:lnTo>
                    <a:pt x="960" y="1001"/>
                  </a:lnTo>
                  <a:lnTo>
                    <a:pt x="962" y="1001"/>
                  </a:lnTo>
                  <a:lnTo>
                    <a:pt x="962" y="999"/>
                  </a:lnTo>
                  <a:lnTo>
                    <a:pt x="963" y="999"/>
                  </a:lnTo>
                  <a:lnTo>
                    <a:pt x="965" y="999"/>
                  </a:lnTo>
                  <a:lnTo>
                    <a:pt x="967" y="999"/>
                  </a:lnTo>
                  <a:lnTo>
                    <a:pt x="965" y="999"/>
                  </a:lnTo>
                  <a:lnTo>
                    <a:pt x="967" y="997"/>
                  </a:lnTo>
                  <a:lnTo>
                    <a:pt x="967" y="996"/>
                  </a:lnTo>
                  <a:lnTo>
                    <a:pt x="968" y="996"/>
                  </a:lnTo>
                  <a:lnTo>
                    <a:pt x="968" y="994"/>
                  </a:lnTo>
                  <a:lnTo>
                    <a:pt x="970" y="994"/>
                  </a:lnTo>
                  <a:lnTo>
                    <a:pt x="971" y="994"/>
                  </a:lnTo>
                  <a:lnTo>
                    <a:pt x="970" y="994"/>
                  </a:lnTo>
                  <a:lnTo>
                    <a:pt x="970" y="996"/>
                  </a:lnTo>
                  <a:lnTo>
                    <a:pt x="971" y="996"/>
                  </a:lnTo>
                  <a:lnTo>
                    <a:pt x="971" y="997"/>
                  </a:lnTo>
                  <a:lnTo>
                    <a:pt x="973" y="997"/>
                  </a:lnTo>
                  <a:lnTo>
                    <a:pt x="975" y="997"/>
                  </a:lnTo>
                  <a:lnTo>
                    <a:pt x="976" y="997"/>
                  </a:lnTo>
                  <a:lnTo>
                    <a:pt x="975" y="997"/>
                  </a:lnTo>
                  <a:lnTo>
                    <a:pt x="975" y="999"/>
                  </a:lnTo>
                  <a:lnTo>
                    <a:pt x="975" y="997"/>
                  </a:lnTo>
                  <a:lnTo>
                    <a:pt x="975" y="999"/>
                  </a:lnTo>
                  <a:lnTo>
                    <a:pt x="973" y="999"/>
                  </a:lnTo>
                  <a:lnTo>
                    <a:pt x="971" y="999"/>
                  </a:lnTo>
                  <a:lnTo>
                    <a:pt x="973" y="999"/>
                  </a:lnTo>
                  <a:lnTo>
                    <a:pt x="975" y="999"/>
                  </a:lnTo>
                  <a:lnTo>
                    <a:pt x="976" y="999"/>
                  </a:lnTo>
                  <a:lnTo>
                    <a:pt x="975" y="999"/>
                  </a:lnTo>
                  <a:lnTo>
                    <a:pt x="976" y="1001"/>
                  </a:lnTo>
                  <a:lnTo>
                    <a:pt x="978" y="1002"/>
                  </a:lnTo>
                  <a:lnTo>
                    <a:pt x="976" y="1002"/>
                  </a:lnTo>
                  <a:lnTo>
                    <a:pt x="978" y="1002"/>
                  </a:lnTo>
                  <a:lnTo>
                    <a:pt x="980" y="1002"/>
                  </a:lnTo>
                  <a:lnTo>
                    <a:pt x="980" y="1004"/>
                  </a:lnTo>
                  <a:lnTo>
                    <a:pt x="978" y="1005"/>
                  </a:lnTo>
                  <a:lnTo>
                    <a:pt x="980" y="1005"/>
                  </a:lnTo>
                  <a:lnTo>
                    <a:pt x="978" y="1005"/>
                  </a:lnTo>
                  <a:lnTo>
                    <a:pt x="978" y="1007"/>
                  </a:lnTo>
                  <a:close/>
                  <a:moveTo>
                    <a:pt x="945" y="994"/>
                  </a:moveTo>
                  <a:lnTo>
                    <a:pt x="947" y="994"/>
                  </a:lnTo>
                  <a:lnTo>
                    <a:pt x="945" y="994"/>
                  </a:lnTo>
                  <a:close/>
                  <a:moveTo>
                    <a:pt x="960" y="994"/>
                  </a:moveTo>
                  <a:lnTo>
                    <a:pt x="960" y="992"/>
                  </a:lnTo>
                  <a:lnTo>
                    <a:pt x="960" y="994"/>
                  </a:lnTo>
                  <a:lnTo>
                    <a:pt x="962" y="994"/>
                  </a:lnTo>
                  <a:lnTo>
                    <a:pt x="960" y="994"/>
                  </a:lnTo>
                  <a:close/>
                  <a:moveTo>
                    <a:pt x="940" y="994"/>
                  </a:moveTo>
                  <a:lnTo>
                    <a:pt x="940" y="992"/>
                  </a:lnTo>
                  <a:lnTo>
                    <a:pt x="940" y="994"/>
                  </a:lnTo>
                  <a:close/>
                  <a:moveTo>
                    <a:pt x="993" y="994"/>
                  </a:moveTo>
                  <a:lnTo>
                    <a:pt x="993" y="992"/>
                  </a:lnTo>
                  <a:lnTo>
                    <a:pt x="993" y="994"/>
                  </a:lnTo>
                  <a:close/>
                  <a:moveTo>
                    <a:pt x="971" y="992"/>
                  </a:moveTo>
                  <a:lnTo>
                    <a:pt x="971" y="994"/>
                  </a:lnTo>
                  <a:lnTo>
                    <a:pt x="971" y="992"/>
                  </a:lnTo>
                  <a:close/>
                  <a:moveTo>
                    <a:pt x="993" y="994"/>
                  </a:moveTo>
                  <a:lnTo>
                    <a:pt x="991" y="994"/>
                  </a:lnTo>
                  <a:lnTo>
                    <a:pt x="991" y="992"/>
                  </a:lnTo>
                  <a:lnTo>
                    <a:pt x="993" y="992"/>
                  </a:lnTo>
                  <a:lnTo>
                    <a:pt x="993" y="994"/>
                  </a:lnTo>
                  <a:close/>
                  <a:moveTo>
                    <a:pt x="940" y="992"/>
                  </a:moveTo>
                  <a:lnTo>
                    <a:pt x="939" y="992"/>
                  </a:lnTo>
                  <a:lnTo>
                    <a:pt x="940" y="992"/>
                  </a:lnTo>
                  <a:close/>
                  <a:moveTo>
                    <a:pt x="958" y="992"/>
                  </a:moveTo>
                  <a:lnTo>
                    <a:pt x="960" y="992"/>
                  </a:lnTo>
                  <a:lnTo>
                    <a:pt x="958" y="992"/>
                  </a:lnTo>
                  <a:close/>
                  <a:moveTo>
                    <a:pt x="947" y="992"/>
                  </a:moveTo>
                  <a:lnTo>
                    <a:pt x="945" y="992"/>
                  </a:lnTo>
                  <a:lnTo>
                    <a:pt x="947" y="992"/>
                  </a:lnTo>
                  <a:close/>
                  <a:moveTo>
                    <a:pt x="960" y="992"/>
                  </a:moveTo>
                  <a:lnTo>
                    <a:pt x="960" y="991"/>
                  </a:lnTo>
                  <a:lnTo>
                    <a:pt x="960" y="992"/>
                  </a:lnTo>
                  <a:close/>
                  <a:moveTo>
                    <a:pt x="945" y="992"/>
                  </a:moveTo>
                  <a:lnTo>
                    <a:pt x="945" y="991"/>
                  </a:lnTo>
                  <a:lnTo>
                    <a:pt x="945" y="992"/>
                  </a:lnTo>
                  <a:close/>
                  <a:moveTo>
                    <a:pt x="993" y="992"/>
                  </a:moveTo>
                  <a:lnTo>
                    <a:pt x="993" y="991"/>
                  </a:lnTo>
                  <a:lnTo>
                    <a:pt x="993" y="992"/>
                  </a:lnTo>
                  <a:close/>
                  <a:moveTo>
                    <a:pt x="960" y="992"/>
                  </a:moveTo>
                  <a:lnTo>
                    <a:pt x="962" y="991"/>
                  </a:lnTo>
                  <a:lnTo>
                    <a:pt x="962" y="992"/>
                  </a:lnTo>
                  <a:lnTo>
                    <a:pt x="960" y="992"/>
                  </a:lnTo>
                  <a:close/>
                  <a:moveTo>
                    <a:pt x="993" y="991"/>
                  </a:moveTo>
                  <a:lnTo>
                    <a:pt x="993" y="992"/>
                  </a:lnTo>
                  <a:lnTo>
                    <a:pt x="993" y="991"/>
                  </a:lnTo>
                  <a:close/>
                  <a:moveTo>
                    <a:pt x="962" y="991"/>
                  </a:moveTo>
                  <a:lnTo>
                    <a:pt x="962" y="992"/>
                  </a:lnTo>
                  <a:lnTo>
                    <a:pt x="962" y="991"/>
                  </a:lnTo>
                  <a:close/>
                  <a:moveTo>
                    <a:pt x="991" y="992"/>
                  </a:moveTo>
                  <a:lnTo>
                    <a:pt x="991" y="991"/>
                  </a:lnTo>
                  <a:lnTo>
                    <a:pt x="991" y="992"/>
                  </a:lnTo>
                  <a:close/>
                  <a:moveTo>
                    <a:pt x="945" y="991"/>
                  </a:moveTo>
                  <a:lnTo>
                    <a:pt x="945" y="992"/>
                  </a:lnTo>
                  <a:lnTo>
                    <a:pt x="945" y="991"/>
                  </a:lnTo>
                  <a:close/>
                  <a:moveTo>
                    <a:pt x="993" y="991"/>
                  </a:moveTo>
                  <a:lnTo>
                    <a:pt x="994" y="991"/>
                  </a:lnTo>
                  <a:lnTo>
                    <a:pt x="993" y="991"/>
                  </a:lnTo>
                  <a:close/>
                  <a:moveTo>
                    <a:pt x="994" y="991"/>
                  </a:moveTo>
                  <a:lnTo>
                    <a:pt x="994" y="992"/>
                  </a:lnTo>
                  <a:lnTo>
                    <a:pt x="993" y="992"/>
                  </a:lnTo>
                  <a:lnTo>
                    <a:pt x="994" y="992"/>
                  </a:lnTo>
                  <a:lnTo>
                    <a:pt x="994" y="991"/>
                  </a:lnTo>
                  <a:close/>
                  <a:moveTo>
                    <a:pt x="944" y="992"/>
                  </a:moveTo>
                  <a:lnTo>
                    <a:pt x="944" y="991"/>
                  </a:lnTo>
                  <a:lnTo>
                    <a:pt x="945" y="991"/>
                  </a:lnTo>
                  <a:lnTo>
                    <a:pt x="944" y="991"/>
                  </a:lnTo>
                  <a:lnTo>
                    <a:pt x="944" y="992"/>
                  </a:lnTo>
                  <a:close/>
                  <a:moveTo>
                    <a:pt x="993" y="991"/>
                  </a:moveTo>
                  <a:lnTo>
                    <a:pt x="991" y="991"/>
                  </a:lnTo>
                  <a:lnTo>
                    <a:pt x="993" y="991"/>
                  </a:lnTo>
                  <a:close/>
                  <a:moveTo>
                    <a:pt x="958" y="991"/>
                  </a:moveTo>
                  <a:lnTo>
                    <a:pt x="960" y="991"/>
                  </a:lnTo>
                  <a:lnTo>
                    <a:pt x="958" y="991"/>
                  </a:lnTo>
                  <a:lnTo>
                    <a:pt x="958" y="992"/>
                  </a:lnTo>
                  <a:lnTo>
                    <a:pt x="958" y="991"/>
                  </a:lnTo>
                  <a:close/>
                  <a:moveTo>
                    <a:pt x="993" y="991"/>
                  </a:moveTo>
                  <a:lnTo>
                    <a:pt x="994" y="991"/>
                  </a:lnTo>
                  <a:lnTo>
                    <a:pt x="993" y="991"/>
                  </a:lnTo>
                  <a:close/>
                  <a:moveTo>
                    <a:pt x="962" y="991"/>
                  </a:moveTo>
                  <a:lnTo>
                    <a:pt x="963" y="991"/>
                  </a:lnTo>
                  <a:lnTo>
                    <a:pt x="962" y="991"/>
                  </a:lnTo>
                  <a:close/>
                  <a:moveTo>
                    <a:pt x="993" y="991"/>
                  </a:moveTo>
                  <a:lnTo>
                    <a:pt x="994" y="991"/>
                  </a:lnTo>
                  <a:lnTo>
                    <a:pt x="993" y="991"/>
                  </a:lnTo>
                  <a:close/>
                  <a:moveTo>
                    <a:pt x="960" y="991"/>
                  </a:moveTo>
                  <a:lnTo>
                    <a:pt x="962" y="991"/>
                  </a:lnTo>
                  <a:lnTo>
                    <a:pt x="960" y="991"/>
                  </a:lnTo>
                  <a:close/>
                  <a:moveTo>
                    <a:pt x="942" y="1009"/>
                  </a:moveTo>
                  <a:lnTo>
                    <a:pt x="940" y="1009"/>
                  </a:lnTo>
                  <a:lnTo>
                    <a:pt x="940" y="1007"/>
                  </a:lnTo>
                  <a:lnTo>
                    <a:pt x="942" y="1007"/>
                  </a:lnTo>
                  <a:lnTo>
                    <a:pt x="942" y="1005"/>
                  </a:lnTo>
                  <a:lnTo>
                    <a:pt x="942" y="1007"/>
                  </a:lnTo>
                  <a:lnTo>
                    <a:pt x="942" y="1005"/>
                  </a:lnTo>
                  <a:lnTo>
                    <a:pt x="942" y="1004"/>
                  </a:lnTo>
                  <a:lnTo>
                    <a:pt x="942" y="1005"/>
                  </a:lnTo>
                  <a:lnTo>
                    <a:pt x="942" y="1004"/>
                  </a:lnTo>
                  <a:lnTo>
                    <a:pt x="942" y="1005"/>
                  </a:lnTo>
                  <a:lnTo>
                    <a:pt x="942" y="1004"/>
                  </a:lnTo>
                  <a:lnTo>
                    <a:pt x="944" y="1005"/>
                  </a:lnTo>
                  <a:lnTo>
                    <a:pt x="944" y="1004"/>
                  </a:lnTo>
                  <a:lnTo>
                    <a:pt x="945" y="1004"/>
                  </a:lnTo>
                  <a:lnTo>
                    <a:pt x="944" y="1002"/>
                  </a:lnTo>
                  <a:lnTo>
                    <a:pt x="945" y="1002"/>
                  </a:lnTo>
                  <a:lnTo>
                    <a:pt x="945" y="1004"/>
                  </a:lnTo>
                  <a:lnTo>
                    <a:pt x="945" y="1002"/>
                  </a:lnTo>
                  <a:lnTo>
                    <a:pt x="945" y="1004"/>
                  </a:lnTo>
                  <a:lnTo>
                    <a:pt x="947" y="1004"/>
                  </a:lnTo>
                  <a:lnTo>
                    <a:pt x="947" y="1002"/>
                  </a:lnTo>
                  <a:lnTo>
                    <a:pt x="945" y="1002"/>
                  </a:lnTo>
                  <a:lnTo>
                    <a:pt x="947" y="1002"/>
                  </a:lnTo>
                  <a:lnTo>
                    <a:pt x="945" y="1002"/>
                  </a:lnTo>
                  <a:lnTo>
                    <a:pt x="947" y="1002"/>
                  </a:lnTo>
                  <a:lnTo>
                    <a:pt x="947" y="1001"/>
                  </a:lnTo>
                  <a:lnTo>
                    <a:pt x="947" y="1002"/>
                  </a:lnTo>
                  <a:lnTo>
                    <a:pt x="949" y="1002"/>
                  </a:lnTo>
                  <a:lnTo>
                    <a:pt x="949" y="1001"/>
                  </a:lnTo>
                  <a:lnTo>
                    <a:pt x="949" y="999"/>
                  </a:lnTo>
                  <a:lnTo>
                    <a:pt x="950" y="999"/>
                  </a:lnTo>
                  <a:lnTo>
                    <a:pt x="952" y="999"/>
                  </a:lnTo>
                  <a:lnTo>
                    <a:pt x="952" y="997"/>
                  </a:lnTo>
                  <a:lnTo>
                    <a:pt x="953" y="997"/>
                  </a:lnTo>
                  <a:lnTo>
                    <a:pt x="953" y="999"/>
                  </a:lnTo>
                  <a:lnTo>
                    <a:pt x="952" y="999"/>
                  </a:lnTo>
                  <a:lnTo>
                    <a:pt x="953" y="999"/>
                  </a:lnTo>
                  <a:lnTo>
                    <a:pt x="955" y="999"/>
                  </a:lnTo>
                  <a:lnTo>
                    <a:pt x="955" y="997"/>
                  </a:lnTo>
                  <a:lnTo>
                    <a:pt x="957" y="997"/>
                  </a:lnTo>
                  <a:lnTo>
                    <a:pt x="957" y="996"/>
                  </a:lnTo>
                  <a:lnTo>
                    <a:pt x="958" y="996"/>
                  </a:lnTo>
                  <a:lnTo>
                    <a:pt x="957" y="996"/>
                  </a:lnTo>
                  <a:lnTo>
                    <a:pt x="958" y="996"/>
                  </a:lnTo>
                  <a:lnTo>
                    <a:pt x="958" y="994"/>
                  </a:lnTo>
                  <a:lnTo>
                    <a:pt x="958" y="996"/>
                  </a:lnTo>
                  <a:lnTo>
                    <a:pt x="960" y="996"/>
                  </a:lnTo>
                  <a:lnTo>
                    <a:pt x="960" y="994"/>
                  </a:lnTo>
                  <a:lnTo>
                    <a:pt x="960" y="996"/>
                  </a:lnTo>
                  <a:lnTo>
                    <a:pt x="962" y="994"/>
                  </a:lnTo>
                  <a:lnTo>
                    <a:pt x="963" y="994"/>
                  </a:lnTo>
                  <a:lnTo>
                    <a:pt x="965" y="992"/>
                  </a:lnTo>
                  <a:lnTo>
                    <a:pt x="963" y="992"/>
                  </a:lnTo>
                  <a:lnTo>
                    <a:pt x="963" y="994"/>
                  </a:lnTo>
                  <a:lnTo>
                    <a:pt x="962" y="992"/>
                  </a:lnTo>
                  <a:lnTo>
                    <a:pt x="962" y="994"/>
                  </a:lnTo>
                  <a:lnTo>
                    <a:pt x="962" y="992"/>
                  </a:lnTo>
                  <a:lnTo>
                    <a:pt x="963" y="992"/>
                  </a:lnTo>
                  <a:lnTo>
                    <a:pt x="965" y="992"/>
                  </a:lnTo>
                  <a:lnTo>
                    <a:pt x="965" y="991"/>
                  </a:lnTo>
                  <a:lnTo>
                    <a:pt x="965" y="992"/>
                  </a:lnTo>
                  <a:lnTo>
                    <a:pt x="967" y="991"/>
                  </a:lnTo>
                  <a:lnTo>
                    <a:pt x="965" y="991"/>
                  </a:lnTo>
                  <a:lnTo>
                    <a:pt x="963" y="991"/>
                  </a:lnTo>
                  <a:lnTo>
                    <a:pt x="963" y="992"/>
                  </a:lnTo>
                  <a:lnTo>
                    <a:pt x="962" y="992"/>
                  </a:lnTo>
                  <a:lnTo>
                    <a:pt x="962" y="991"/>
                  </a:lnTo>
                  <a:lnTo>
                    <a:pt x="963" y="991"/>
                  </a:lnTo>
                  <a:lnTo>
                    <a:pt x="965" y="991"/>
                  </a:lnTo>
                  <a:lnTo>
                    <a:pt x="967" y="991"/>
                  </a:lnTo>
                  <a:lnTo>
                    <a:pt x="968" y="991"/>
                  </a:lnTo>
                  <a:lnTo>
                    <a:pt x="967" y="992"/>
                  </a:lnTo>
                  <a:lnTo>
                    <a:pt x="968" y="991"/>
                  </a:lnTo>
                  <a:lnTo>
                    <a:pt x="968" y="992"/>
                  </a:lnTo>
                  <a:lnTo>
                    <a:pt x="967" y="992"/>
                  </a:lnTo>
                  <a:lnTo>
                    <a:pt x="968" y="992"/>
                  </a:lnTo>
                  <a:lnTo>
                    <a:pt x="970" y="992"/>
                  </a:lnTo>
                  <a:lnTo>
                    <a:pt x="970" y="991"/>
                  </a:lnTo>
                  <a:lnTo>
                    <a:pt x="970" y="992"/>
                  </a:lnTo>
                  <a:lnTo>
                    <a:pt x="970" y="991"/>
                  </a:lnTo>
                  <a:lnTo>
                    <a:pt x="971" y="992"/>
                  </a:lnTo>
                  <a:lnTo>
                    <a:pt x="970" y="992"/>
                  </a:lnTo>
                  <a:lnTo>
                    <a:pt x="971" y="992"/>
                  </a:lnTo>
                  <a:lnTo>
                    <a:pt x="970" y="992"/>
                  </a:lnTo>
                  <a:lnTo>
                    <a:pt x="967" y="994"/>
                  </a:lnTo>
                  <a:lnTo>
                    <a:pt x="965" y="994"/>
                  </a:lnTo>
                  <a:lnTo>
                    <a:pt x="965" y="996"/>
                  </a:lnTo>
                  <a:lnTo>
                    <a:pt x="965" y="997"/>
                  </a:lnTo>
                  <a:lnTo>
                    <a:pt x="965" y="999"/>
                  </a:lnTo>
                  <a:lnTo>
                    <a:pt x="963" y="999"/>
                  </a:lnTo>
                  <a:lnTo>
                    <a:pt x="960" y="1001"/>
                  </a:lnTo>
                  <a:lnTo>
                    <a:pt x="958" y="1002"/>
                  </a:lnTo>
                  <a:lnTo>
                    <a:pt x="958" y="1001"/>
                  </a:lnTo>
                  <a:lnTo>
                    <a:pt x="957" y="1001"/>
                  </a:lnTo>
                  <a:lnTo>
                    <a:pt x="958" y="1001"/>
                  </a:lnTo>
                  <a:lnTo>
                    <a:pt x="957" y="1002"/>
                  </a:lnTo>
                  <a:lnTo>
                    <a:pt x="957" y="1004"/>
                  </a:lnTo>
                  <a:lnTo>
                    <a:pt x="955" y="1005"/>
                  </a:lnTo>
                  <a:lnTo>
                    <a:pt x="953" y="1007"/>
                  </a:lnTo>
                  <a:lnTo>
                    <a:pt x="952" y="1009"/>
                  </a:lnTo>
                  <a:lnTo>
                    <a:pt x="952" y="1007"/>
                  </a:lnTo>
                  <a:lnTo>
                    <a:pt x="952" y="1009"/>
                  </a:lnTo>
                  <a:lnTo>
                    <a:pt x="950" y="1009"/>
                  </a:lnTo>
                  <a:lnTo>
                    <a:pt x="949" y="1010"/>
                  </a:lnTo>
                  <a:lnTo>
                    <a:pt x="950" y="1010"/>
                  </a:lnTo>
                  <a:lnTo>
                    <a:pt x="949" y="1010"/>
                  </a:lnTo>
                  <a:lnTo>
                    <a:pt x="947" y="1010"/>
                  </a:lnTo>
                  <a:lnTo>
                    <a:pt x="945" y="1010"/>
                  </a:lnTo>
                  <a:lnTo>
                    <a:pt x="945" y="1012"/>
                  </a:lnTo>
                  <a:lnTo>
                    <a:pt x="947" y="1010"/>
                  </a:lnTo>
                  <a:lnTo>
                    <a:pt x="949" y="1010"/>
                  </a:lnTo>
                  <a:lnTo>
                    <a:pt x="949" y="1012"/>
                  </a:lnTo>
                  <a:lnTo>
                    <a:pt x="949" y="1010"/>
                  </a:lnTo>
                  <a:lnTo>
                    <a:pt x="949" y="1012"/>
                  </a:lnTo>
                  <a:lnTo>
                    <a:pt x="947" y="1010"/>
                  </a:lnTo>
                  <a:lnTo>
                    <a:pt x="949" y="1012"/>
                  </a:lnTo>
                  <a:lnTo>
                    <a:pt x="947" y="1012"/>
                  </a:lnTo>
                  <a:lnTo>
                    <a:pt x="945" y="1012"/>
                  </a:lnTo>
                  <a:lnTo>
                    <a:pt x="944" y="1012"/>
                  </a:lnTo>
                  <a:lnTo>
                    <a:pt x="945" y="1012"/>
                  </a:lnTo>
                  <a:lnTo>
                    <a:pt x="944" y="1012"/>
                  </a:lnTo>
                  <a:lnTo>
                    <a:pt x="944" y="1010"/>
                  </a:lnTo>
                  <a:lnTo>
                    <a:pt x="944" y="1012"/>
                  </a:lnTo>
                  <a:lnTo>
                    <a:pt x="944" y="1010"/>
                  </a:lnTo>
                  <a:lnTo>
                    <a:pt x="945" y="1010"/>
                  </a:lnTo>
                  <a:lnTo>
                    <a:pt x="945" y="1009"/>
                  </a:lnTo>
                  <a:lnTo>
                    <a:pt x="944" y="1009"/>
                  </a:lnTo>
                  <a:lnTo>
                    <a:pt x="944" y="1010"/>
                  </a:lnTo>
                  <a:lnTo>
                    <a:pt x="945" y="1009"/>
                  </a:lnTo>
                  <a:lnTo>
                    <a:pt x="944" y="1009"/>
                  </a:lnTo>
                  <a:lnTo>
                    <a:pt x="945" y="1007"/>
                  </a:lnTo>
                  <a:lnTo>
                    <a:pt x="947" y="1005"/>
                  </a:lnTo>
                  <a:lnTo>
                    <a:pt x="945" y="1007"/>
                  </a:lnTo>
                  <a:lnTo>
                    <a:pt x="944" y="1007"/>
                  </a:lnTo>
                  <a:lnTo>
                    <a:pt x="944" y="1009"/>
                  </a:lnTo>
                  <a:lnTo>
                    <a:pt x="944" y="1007"/>
                  </a:lnTo>
                  <a:lnTo>
                    <a:pt x="942" y="1007"/>
                  </a:lnTo>
                  <a:lnTo>
                    <a:pt x="944" y="1007"/>
                  </a:lnTo>
                  <a:lnTo>
                    <a:pt x="942" y="1009"/>
                  </a:lnTo>
                  <a:close/>
                  <a:moveTo>
                    <a:pt x="950" y="991"/>
                  </a:moveTo>
                  <a:lnTo>
                    <a:pt x="950" y="989"/>
                  </a:lnTo>
                  <a:lnTo>
                    <a:pt x="950" y="991"/>
                  </a:lnTo>
                  <a:close/>
                  <a:moveTo>
                    <a:pt x="958" y="991"/>
                  </a:moveTo>
                  <a:lnTo>
                    <a:pt x="958" y="989"/>
                  </a:lnTo>
                  <a:lnTo>
                    <a:pt x="958" y="991"/>
                  </a:lnTo>
                  <a:close/>
                  <a:moveTo>
                    <a:pt x="960" y="989"/>
                  </a:moveTo>
                  <a:lnTo>
                    <a:pt x="962" y="989"/>
                  </a:lnTo>
                  <a:lnTo>
                    <a:pt x="960" y="989"/>
                  </a:lnTo>
                  <a:close/>
                  <a:moveTo>
                    <a:pt x="958" y="989"/>
                  </a:moveTo>
                  <a:lnTo>
                    <a:pt x="960" y="989"/>
                  </a:lnTo>
                  <a:lnTo>
                    <a:pt x="958" y="989"/>
                  </a:lnTo>
                  <a:close/>
                  <a:moveTo>
                    <a:pt x="963" y="989"/>
                  </a:moveTo>
                  <a:lnTo>
                    <a:pt x="965" y="989"/>
                  </a:lnTo>
                  <a:lnTo>
                    <a:pt x="963" y="989"/>
                  </a:lnTo>
                  <a:close/>
                  <a:moveTo>
                    <a:pt x="957" y="989"/>
                  </a:moveTo>
                  <a:lnTo>
                    <a:pt x="958" y="989"/>
                  </a:lnTo>
                  <a:lnTo>
                    <a:pt x="957" y="989"/>
                  </a:lnTo>
                  <a:lnTo>
                    <a:pt x="957" y="991"/>
                  </a:lnTo>
                  <a:lnTo>
                    <a:pt x="955" y="991"/>
                  </a:lnTo>
                  <a:lnTo>
                    <a:pt x="955" y="989"/>
                  </a:lnTo>
                  <a:lnTo>
                    <a:pt x="957" y="989"/>
                  </a:lnTo>
                  <a:close/>
                  <a:moveTo>
                    <a:pt x="949" y="991"/>
                  </a:moveTo>
                  <a:lnTo>
                    <a:pt x="949" y="989"/>
                  </a:lnTo>
                  <a:lnTo>
                    <a:pt x="950" y="989"/>
                  </a:lnTo>
                  <a:lnTo>
                    <a:pt x="949" y="991"/>
                  </a:lnTo>
                  <a:lnTo>
                    <a:pt x="950" y="991"/>
                  </a:lnTo>
                  <a:lnTo>
                    <a:pt x="949" y="991"/>
                  </a:lnTo>
                  <a:lnTo>
                    <a:pt x="950" y="991"/>
                  </a:lnTo>
                  <a:lnTo>
                    <a:pt x="952" y="991"/>
                  </a:lnTo>
                  <a:lnTo>
                    <a:pt x="953" y="989"/>
                  </a:lnTo>
                  <a:lnTo>
                    <a:pt x="955" y="989"/>
                  </a:lnTo>
                  <a:lnTo>
                    <a:pt x="957" y="989"/>
                  </a:lnTo>
                  <a:lnTo>
                    <a:pt x="955" y="989"/>
                  </a:lnTo>
                  <a:lnTo>
                    <a:pt x="957" y="989"/>
                  </a:lnTo>
                  <a:lnTo>
                    <a:pt x="955" y="989"/>
                  </a:lnTo>
                  <a:lnTo>
                    <a:pt x="955" y="991"/>
                  </a:lnTo>
                  <a:lnTo>
                    <a:pt x="957" y="991"/>
                  </a:lnTo>
                  <a:lnTo>
                    <a:pt x="955" y="991"/>
                  </a:lnTo>
                  <a:lnTo>
                    <a:pt x="957" y="991"/>
                  </a:lnTo>
                  <a:lnTo>
                    <a:pt x="958" y="991"/>
                  </a:lnTo>
                  <a:lnTo>
                    <a:pt x="957" y="991"/>
                  </a:lnTo>
                  <a:lnTo>
                    <a:pt x="957" y="992"/>
                  </a:lnTo>
                  <a:lnTo>
                    <a:pt x="958" y="991"/>
                  </a:lnTo>
                  <a:lnTo>
                    <a:pt x="958" y="992"/>
                  </a:lnTo>
                  <a:lnTo>
                    <a:pt x="960" y="992"/>
                  </a:lnTo>
                  <a:lnTo>
                    <a:pt x="958" y="992"/>
                  </a:lnTo>
                  <a:lnTo>
                    <a:pt x="958" y="994"/>
                  </a:lnTo>
                  <a:lnTo>
                    <a:pt x="957" y="994"/>
                  </a:lnTo>
                  <a:lnTo>
                    <a:pt x="957" y="992"/>
                  </a:lnTo>
                  <a:lnTo>
                    <a:pt x="957" y="994"/>
                  </a:lnTo>
                  <a:lnTo>
                    <a:pt x="955" y="994"/>
                  </a:lnTo>
                  <a:lnTo>
                    <a:pt x="953" y="994"/>
                  </a:lnTo>
                  <a:lnTo>
                    <a:pt x="953" y="996"/>
                  </a:lnTo>
                  <a:lnTo>
                    <a:pt x="952" y="996"/>
                  </a:lnTo>
                  <a:lnTo>
                    <a:pt x="953" y="996"/>
                  </a:lnTo>
                  <a:lnTo>
                    <a:pt x="953" y="994"/>
                  </a:lnTo>
                  <a:lnTo>
                    <a:pt x="953" y="996"/>
                  </a:lnTo>
                  <a:lnTo>
                    <a:pt x="952" y="996"/>
                  </a:lnTo>
                  <a:lnTo>
                    <a:pt x="952" y="994"/>
                  </a:lnTo>
                  <a:lnTo>
                    <a:pt x="952" y="996"/>
                  </a:lnTo>
                  <a:lnTo>
                    <a:pt x="950" y="996"/>
                  </a:lnTo>
                  <a:lnTo>
                    <a:pt x="950" y="997"/>
                  </a:lnTo>
                  <a:lnTo>
                    <a:pt x="950" y="996"/>
                  </a:lnTo>
                  <a:lnTo>
                    <a:pt x="949" y="997"/>
                  </a:lnTo>
                  <a:lnTo>
                    <a:pt x="949" y="996"/>
                  </a:lnTo>
                  <a:lnTo>
                    <a:pt x="950" y="996"/>
                  </a:lnTo>
                  <a:lnTo>
                    <a:pt x="949" y="996"/>
                  </a:lnTo>
                  <a:lnTo>
                    <a:pt x="950" y="996"/>
                  </a:lnTo>
                  <a:lnTo>
                    <a:pt x="949" y="996"/>
                  </a:lnTo>
                  <a:lnTo>
                    <a:pt x="949" y="994"/>
                  </a:lnTo>
                  <a:lnTo>
                    <a:pt x="949" y="992"/>
                  </a:lnTo>
                  <a:lnTo>
                    <a:pt x="947" y="994"/>
                  </a:lnTo>
                  <a:lnTo>
                    <a:pt x="947" y="992"/>
                  </a:lnTo>
                  <a:lnTo>
                    <a:pt x="945" y="992"/>
                  </a:lnTo>
                  <a:lnTo>
                    <a:pt x="947" y="992"/>
                  </a:lnTo>
                  <a:lnTo>
                    <a:pt x="949" y="992"/>
                  </a:lnTo>
                  <a:lnTo>
                    <a:pt x="950" y="992"/>
                  </a:lnTo>
                  <a:lnTo>
                    <a:pt x="949" y="992"/>
                  </a:lnTo>
                  <a:lnTo>
                    <a:pt x="949" y="991"/>
                  </a:lnTo>
                  <a:lnTo>
                    <a:pt x="949" y="992"/>
                  </a:lnTo>
                  <a:lnTo>
                    <a:pt x="947" y="992"/>
                  </a:lnTo>
                  <a:lnTo>
                    <a:pt x="947" y="991"/>
                  </a:lnTo>
                  <a:lnTo>
                    <a:pt x="945" y="991"/>
                  </a:lnTo>
                  <a:lnTo>
                    <a:pt x="947" y="991"/>
                  </a:lnTo>
                  <a:lnTo>
                    <a:pt x="949" y="991"/>
                  </a:lnTo>
                  <a:close/>
                  <a:moveTo>
                    <a:pt x="950" y="989"/>
                  </a:moveTo>
                  <a:lnTo>
                    <a:pt x="950" y="988"/>
                  </a:lnTo>
                  <a:lnTo>
                    <a:pt x="952" y="988"/>
                  </a:lnTo>
                  <a:lnTo>
                    <a:pt x="953" y="988"/>
                  </a:lnTo>
                  <a:lnTo>
                    <a:pt x="952" y="989"/>
                  </a:lnTo>
                  <a:lnTo>
                    <a:pt x="953" y="989"/>
                  </a:lnTo>
                  <a:lnTo>
                    <a:pt x="953" y="988"/>
                  </a:lnTo>
                  <a:lnTo>
                    <a:pt x="953" y="989"/>
                  </a:lnTo>
                  <a:lnTo>
                    <a:pt x="953" y="988"/>
                  </a:lnTo>
                  <a:lnTo>
                    <a:pt x="953" y="989"/>
                  </a:lnTo>
                  <a:lnTo>
                    <a:pt x="952" y="989"/>
                  </a:lnTo>
                  <a:lnTo>
                    <a:pt x="952" y="988"/>
                  </a:lnTo>
                  <a:lnTo>
                    <a:pt x="952" y="989"/>
                  </a:lnTo>
                  <a:lnTo>
                    <a:pt x="950" y="989"/>
                  </a:lnTo>
                  <a:close/>
                  <a:moveTo>
                    <a:pt x="965" y="988"/>
                  </a:moveTo>
                  <a:lnTo>
                    <a:pt x="967" y="988"/>
                  </a:lnTo>
                  <a:lnTo>
                    <a:pt x="965" y="988"/>
                  </a:lnTo>
                  <a:close/>
                  <a:moveTo>
                    <a:pt x="997" y="988"/>
                  </a:moveTo>
                  <a:lnTo>
                    <a:pt x="999" y="988"/>
                  </a:lnTo>
                  <a:lnTo>
                    <a:pt x="997" y="988"/>
                  </a:lnTo>
                  <a:close/>
                  <a:moveTo>
                    <a:pt x="957" y="988"/>
                  </a:moveTo>
                  <a:lnTo>
                    <a:pt x="958" y="988"/>
                  </a:lnTo>
                  <a:lnTo>
                    <a:pt x="960" y="988"/>
                  </a:lnTo>
                  <a:lnTo>
                    <a:pt x="958" y="988"/>
                  </a:lnTo>
                  <a:lnTo>
                    <a:pt x="957" y="988"/>
                  </a:lnTo>
                  <a:close/>
                  <a:moveTo>
                    <a:pt x="965" y="988"/>
                  </a:moveTo>
                  <a:lnTo>
                    <a:pt x="967" y="988"/>
                  </a:lnTo>
                  <a:lnTo>
                    <a:pt x="965" y="988"/>
                  </a:lnTo>
                  <a:close/>
                  <a:moveTo>
                    <a:pt x="967" y="986"/>
                  </a:moveTo>
                  <a:lnTo>
                    <a:pt x="967" y="988"/>
                  </a:lnTo>
                  <a:lnTo>
                    <a:pt x="967" y="986"/>
                  </a:lnTo>
                  <a:close/>
                  <a:moveTo>
                    <a:pt x="962" y="988"/>
                  </a:moveTo>
                  <a:lnTo>
                    <a:pt x="962" y="986"/>
                  </a:lnTo>
                  <a:lnTo>
                    <a:pt x="962" y="988"/>
                  </a:lnTo>
                  <a:close/>
                  <a:moveTo>
                    <a:pt x="963" y="986"/>
                  </a:moveTo>
                  <a:lnTo>
                    <a:pt x="962" y="988"/>
                  </a:lnTo>
                  <a:lnTo>
                    <a:pt x="962" y="986"/>
                  </a:lnTo>
                  <a:lnTo>
                    <a:pt x="963" y="986"/>
                  </a:lnTo>
                  <a:close/>
                  <a:moveTo>
                    <a:pt x="997" y="986"/>
                  </a:moveTo>
                  <a:lnTo>
                    <a:pt x="999" y="986"/>
                  </a:lnTo>
                  <a:lnTo>
                    <a:pt x="997" y="986"/>
                  </a:lnTo>
                  <a:close/>
                  <a:moveTo>
                    <a:pt x="967" y="986"/>
                  </a:moveTo>
                  <a:lnTo>
                    <a:pt x="967" y="984"/>
                  </a:lnTo>
                  <a:lnTo>
                    <a:pt x="968" y="984"/>
                  </a:lnTo>
                  <a:lnTo>
                    <a:pt x="968" y="986"/>
                  </a:lnTo>
                  <a:lnTo>
                    <a:pt x="970" y="986"/>
                  </a:lnTo>
                  <a:lnTo>
                    <a:pt x="970" y="988"/>
                  </a:lnTo>
                  <a:lnTo>
                    <a:pt x="970" y="989"/>
                  </a:lnTo>
                  <a:lnTo>
                    <a:pt x="970" y="988"/>
                  </a:lnTo>
                  <a:lnTo>
                    <a:pt x="970" y="989"/>
                  </a:lnTo>
                  <a:lnTo>
                    <a:pt x="968" y="989"/>
                  </a:lnTo>
                  <a:lnTo>
                    <a:pt x="967" y="989"/>
                  </a:lnTo>
                  <a:lnTo>
                    <a:pt x="967" y="988"/>
                  </a:lnTo>
                  <a:lnTo>
                    <a:pt x="967" y="989"/>
                  </a:lnTo>
                  <a:lnTo>
                    <a:pt x="967" y="988"/>
                  </a:lnTo>
                  <a:lnTo>
                    <a:pt x="967" y="986"/>
                  </a:lnTo>
                  <a:close/>
                  <a:moveTo>
                    <a:pt x="960" y="986"/>
                  </a:moveTo>
                  <a:lnTo>
                    <a:pt x="960" y="984"/>
                  </a:lnTo>
                  <a:lnTo>
                    <a:pt x="960" y="986"/>
                  </a:lnTo>
                  <a:close/>
                  <a:moveTo>
                    <a:pt x="960" y="984"/>
                  </a:moveTo>
                  <a:lnTo>
                    <a:pt x="962" y="984"/>
                  </a:lnTo>
                  <a:lnTo>
                    <a:pt x="960" y="984"/>
                  </a:lnTo>
                  <a:close/>
                  <a:moveTo>
                    <a:pt x="962" y="988"/>
                  </a:moveTo>
                  <a:lnTo>
                    <a:pt x="962" y="986"/>
                  </a:lnTo>
                  <a:lnTo>
                    <a:pt x="963" y="984"/>
                  </a:lnTo>
                  <a:lnTo>
                    <a:pt x="962" y="986"/>
                  </a:lnTo>
                  <a:lnTo>
                    <a:pt x="963" y="986"/>
                  </a:lnTo>
                  <a:lnTo>
                    <a:pt x="963" y="984"/>
                  </a:lnTo>
                  <a:lnTo>
                    <a:pt x="965" y="986"/>
                  </a:lnTo>
                  <a:lnTo>
                    <a:pt x="965" y="984"/>
                  </a:lnTo>
                  <a:lnTo>
                    <a:pt x="965" y="986"/>
                  </a:lnTo>
                  <a:lnTo>
                    <a:pt x="965" y="984"/>
                  </a:lnTo>
                  <a:lnTo>
                    <a:pt x="967" y="986"/>
                  </a:lnTo>
                  <a:lnTo>
                    <a:pt x="965" y="986"/>
                  </a:lnTo>
                  <a:lnTo>
                    <a:pt x="965" y="988"/>
                  </a:lnTo>
                  <a:lnTo>
                    <a:pt x="963" y="988"/>
                  </a:lnTo>
                  <a:lnTo>
                    <a:pt x="963" y="989"/>
                  </a:lnTo>
                  <a:lnTo>
                    <a:pt x="962" y="988"/>
                  </a:lnTo>
                  <a:lnTo>
                    <a:pt x="963" y="986"/>
                  </a:lnTo>
                  <a:lnTo>
                    <a:pt x="963" y="988"/>
                  </a:lnTo>
                  <a:lnTo>
                    <a:pt x="963" y="986"/>
                  </a:lnTo>
                  <a:lnTo>
                    <a:pt x="962" y="986"/>
                  </a:lnTo>
                  <a:lnTo>
                    <a:pt x="962" y="988"/>
                  </a:lnTo>
                  <a:lnTo>
                    <a:pt x="960" y="988"/>
                  </a:lnTo>
                  <a:lnTo>
                    <a:pt x="962" y="988"/>
                  </a:lnTo>
                  <a:close/>
                  <a:moveTo>
                    <a:pt x="1001" y="984"/>
                  </a:moveTo>
                  <a:lnTo>
                    <a:pt x="1002" y="984"/>
                  </a:lnTo>
                  <a:lnTo>
                    <a:pt x="1002" y="986"/>
                  </a:lnTo>
                  <a:lnTo>
                    <a:pt x="1001" y="986"/>
                  </a:lnTo>
                  <a:lnTo>
                    <a:pt x="999" y="988"/>
                  </a:lnTo>
                  <a:lnTo>
                    <a:pt x="999" y="986"/>
                  </a:lnTo>
                  <a:lnTo>
                    <a:pt x="1001" y="986"/>
                  </a:lnTo>
                  <a:lnTo>
                    <a:pt x="1001" y="984"/>
                  </a:lnTo>
                  <a:close/>
                  <a:moveTo>
                    <a:pt x="1004" y="984"/>
                  </a:moveTo>
                  <a:lnTo>
                    <a:pt x="1006" y="984"/>
                  </a:lnTo>
                  <a:lnTo>
                    <a:pt x="1004" y="986"/>
                  </a:lnTo>
                  <a:lnTo>
                    <a:pt x="1004" y="984"/>
                  </a:lnTo>
                  <a:close/>
                  <a:moveTo>
                    <a:pt x="963" y="984"/>
                  </a:moveTo>
                  <a:lnTo>
                    <a:pt x="963" y="986"/>
                  </a:lnTo>
                  <a:lnTo>
                    <a:pt x="963" y="984"/>
                  </a:lnTo>
                  <a:lnTo>
                    <a:pt x="963" y="986"/>
                  </a:lnTo>
                  <a:lnTo>
                    <a:pt x="963" y="984"/>
                  </a:lnTo>
                  <a:close/>
                  <a:moveTo>
                    <a:pt x="962" y="986"/>
                  </a:moveTo>
                  <a:lnTo>
                    <a:pt x="962" y="984"/>
                  </a:lnTo>
                  <a:lnTo>
                    <a:pt x="962" y="986"/>
                  </a:lnTo>
                  <a:close/>
                  <a:moveTo>
                    <a:pt x="962" y="984"/>
                  </a:moveTo>
                  <a:lnTo>
                    <a:pt x="963" y="984"/>
                  </a:lnTo>
                  <a:lnTo>
                    <a:pt x="962" y="984"/>
                  </a:lnTo>
                  <a:close/>
                  <a:moveTo>
                    <a:pt x="963" y="984"/>
                  </a:moveTo>
                  <a:lnTo>
                    <a:pt x="963" y="983"/>
                  </a:lnTo>
                  <a:lnTo>
                    <a:pt x="963" y="984"/>
                  </a:lnTo>
                  <a:close/>
                  <a:moveTo>
                    <a:pt x="963" y="983"/>
                  </a:moveTo>
                  <a:lnTo>
                    <a:pt x="965" y="983"/>
                  </a:lnTo>
                  <a:lnTo>
                    <a:pt x="963" y="983"/>
                  </a:lnTo>
                  <a:close/>
                  <a:moveTo>
                    <a:pt x="965" y="983"/>
                  </a:moveTo>
                  <a:lnTo>
                    <a:pt x="967" y="983"/>
                  </a:lnTo>
                  <a:lnTo>
                    <a:pt x="967" y="984"/>
                  </a:lnTo>
                  <a:lnTo>
                    <a:pt x="965" y="984"/>
                  </a:lnTo>
                  <a:lnTo>
                    <a:pt x="965" y="983"/>
                  </a:lnTo>
                  <a:close/>
                  <a:moveTo>
                    <a:pt x="991" y="983"/>
                  </a:moveTo>
                  <a:lnTo>
                    <a:pt x="993" y="983"/>
                  </a:lnTo>
                  <a:lnTo>
                    <a:pt x="991" y="983"/>
                  </a:lnTo>
                  <a:close/>
                  <a:moveTo>
                    <a:pt x="988" y="983"/>
                  </a:moveTo>
                  <a:lnTo>
                    <a:pt x="989" y="983"/>
                  </a:lnTo>
                  <a:lnTo>
                    <a:pt x="988" y="983"/>
                  </a:lnTo>
                  <a:close/>
                  <a:moveTo>
                    <a:pt x="986" y="983"/>
                  </a:moveTo>
                  <a:lnTo>
                    <a:pt x="988" y="983"/>
                  </a:lnTo>
                  <a:lnTo>
                    <a:pt x="986" y="983"/>
                  </a:lnTo>
                  <a:lnTo>
                    <a:pt x="988" y="983"/>
                  </a:lnTo>
                  <a:lnTo>
                    <a:pt x="986" y="983"/>
                  </a:lnTo>
                  <a:lnTo>
                    <a:pt x="988" y="983"/>
                  </a:lnTo>
                  <a:lnTo>
                    <a:pt x="986" y="983"/>
                  </a:lnTo>
                  <a:close/>
                  <a:moveTo>
                    <a:pt x="984" y="983"/>
                  </a:moveTo>
                  <a:lnTo>
                    <a:pt x="984" y="981"/>
                  </a:lnTo>
                  <a:lnTo>
                    <a:pt x="984" y="983"/>
                  </a:lnTo>
                  <a:close/>
                  <a:moveTo>
                    <a:pt x="991" y="983"/>
                  </a:moveTo>
                  <a:lnTo>
                    <a:pt x="989" y="983"/>
                  </a:lnTo>
                  <a:lnTo>
                    <a:pt x="991" y="981"/>
                  </a:lnTo>
                  <a:lnTo>
                    <a:pt x="991" y="983"/>
                  </a:lnTo>
                  <a:close/>
                  <a:moveTo>
                    <a:pt x="981" y="983"/>
                  </a:moveTo>
                  <a:lnTo>
                    <a:pt x="981" y="981"/>
                  </a:lnTo>
                  <a:lnTo>
                    <a:pt x="981" y="983"/>
                  </a:lnTo>
                  <a:close/>
                  <a:moveTo>
                    <a:pt x="984" y="983"/>
                  </a:moveTo>
                  <a:lnTo>
                    <a:pt x="984" y="981"/>
                  </a:lnTo>
                  <a:lnTo>
                    <a:pt x="984" y="983"/>
                  </a:lnTo>
                  <a:close/>
                  <a:moveTo>
                    <a:pt x="994" y="981"/>
                  </a:moveTo>
                  <a:lnTo>
                    <a:pt x="994" y="983"/>
                  </a:lnTo>
                  <a:lnTo>
                    <a:pt x="994" y="981"/>
                  </a:lnTo>
                  <a:close/>
                  <a:moveTo>
                    <a:pt x="988" y="981"/>
                  </a:moveTo>
                  <a:lnTo>
                    <a:pt x="986" y="981"/>
                  </a:lnTo>
                  <a:lnTo>
                    <a:pt x="988" y="981"/>
                  </a:lnTo>
                  <a:close/>
                  <a:moveTo>
                    <a:pt x="989" y="981"/>
                  </a:moveTo>
                  <a:lnTo>
                    <a:pt x="989" y="979"/>
                  </a:lnTo>
                  <a:lnTo>
                    <a:pt x="989" y="981"/>
                  </a:lnTo>
                  <a:close/>
                  <a:moveTo>
                    <a:pt x="989" y="981"/>
                  </a:moveTo>
                  <a:lnTo>
                    <a:pt x="988" y="981"/>
                  </a:lnTo>
                  <a:lnTo>
                    <a:pt x="989" y="979"/>
                  </a:lnTo>
                  <a:lnTo>
                    <a:pt x="989" y="981"/>
                  </a:lnTo>
                  <a:close/>
                  <a:moveTo>
                    <a:pt x="1032" y="979"/>
                  </a:moveTo>
                  <a:lnTo>
                    <a:pt x="1033" y="979"/>
                  </a:lnTo>
                  <a:lnTo>
                    <a:pt x="1032" y="979"/>
                  </a:lnTo>
                  <a:close/>
                  <a:moveTo>
                    <a:pt x="991" y="979"/>
                  </a:moveTo>
                  <a:lnTo>
                    <a:pt x="989" y="979"/>
                  </a:lnTo>
                  <a:lnTo>
                    <a:pt x="989" y="981"/>
                  </a:lnTo>
                  <a:lnTo>
                    <a:pt x="991" y="979"/>
                  </a:lnTo>
                  <a:close/>
                  <a:moveTo>
                    <a:pt x="1017" y="979"/>
                  </a:moveTo>
                  <a:lnTo>
                    <a:pt x="1019" y="978"/>
                  </a:lnTo>
                  <a:lnTo>
                    <a:pt x="1019" y="979"/>
                  </a:lnTo>
                  <a:lnTo>
                    <a:pt x="1017" y="979"/>
                  </a:lnTo>
                  <a:close/>
                  <a:moveTo>
                    <a:pt x="993" y="978"/>
                  </a:moveTo>
                  <a:lnTo>
                    <a:pt x="994" y="978"/>
                  </a:lnTo>
                  <a:lnTo>
                    <a:pt x="993" y="978"/>
                  </a:lnTo>
                  <a:close/>
                  <a:moveTo>
                    <a:pt x="993" y="976"/>
                  </a:moveTo>
                  <a:lnTo>
                    <a:pt x="993" y="975"/>
                  </a:lnTo>
                  <a:lnTo>
                    <a:pt x="993" y="976"/>
                  </a:lnTo>
                  <a:close/>
                  <a:moveTo>
                    <a:pt x="1041" y="975"/>
                  </a:moveTo>
                  <a:lnTo>
                    <a:pt x="1041" y="973"/>
                  </a:lnTo>
                  <a:lnTo>
                    <a:pt x="1043" y="973"/>
                  </a:lnTo>
                  <a:lnTo>
                    <a:pt x="1043" y="975"/>
                  </a:lnTo>
                  <a:lnTo>
                    <a:pt x="1041" y="975"/>
                  </a:lnTo>
                  <a:close/>
                  <a:moveTo>
                    <a:pt x="997" y="973"/>
                  </a:moveTo>
                  <a:lnTo>
                    <a:pt x="997" y="971"/>
                  </a:lnTo>
                  <a:lnTo>
                    <a:pt x="997" y="973"/>
                  </a:lnTo>
                  <a:close/>
                  <a:moveTo>
                    <a:pt x="999" y="971"/>
                  </a:moveTo>
                  <a:lnTo>
                    <a:pt x="999" y="973"/>
                  </a:lnTo>
                  <a:lnTo>
                    <a:pt x="999" y="971"/>
                  </a:lnTo>
                  <a:close/>
                  <a:moveTo>
                    <a:pt x="1014" y="971"/>
                  </a:moveTo>
                  <a:lnTo>
                    <a:pt x="1014" y="970"/>
                  </a:lnTo>
                  <a:lnTo>
                    <a:pt x="1014" y="971"/>
                  </a:lnTo>
                  <a:close/>
                  <a:moveTo>
                    <a:pt x="1004" y="971"/>
                  </a:moveTo>
                  <a:lnTo>
                    <a:pt x="1004" y="970"/>
                  </a:lnTo>
                  <a:lnTo>
                    <a:pt x="1004" y="971"/>
                  </a:lnTo>
                  <a:close/>
                  <a:moveTo>
                    <a:pt x="1007" y="971"/>
                  </a:moveTo>
                  <a:lnTo>
                    <a:pt x="1007" y="970"/>
                  </a:lnTo>
                  <a:lnTo>
                    <a:pt x="1007" y="971"/>
                  </a:lnTo>
                  <a:close/>
                  <a:moveTo>
                    <a:pt x="1004" y="970"/>
                  </a:moveTo>
                  <a:lnTo>
                    <a:pt x="1004" y="971"/>
                  </a:lnTo>
                  <a:lnTo>
                    <a:pt x="1004" y="970"/>
                  </a:lnTo>
                  <a:lnTo>
                    <a:pt x="1004" y="971"/>
                  </a:lnTo>
                  <a:lnTo>
                    <a:pt x="1004" y="973"/>
                  </a:lnTo>
                  <a:lnTo>
                    <a:pt x="1004" y="971"/>
                  </a:lnTo>
                  <a:lnTo>
                    <a:pt x="1004" y="973"/>
                  </a:lnTo>
                  <a:lnTo>
                    <a:pt x="1006" y="973"/>
                  </a:lnTo>
                  <a:lnTo>
                    <a:pt x="1006" y="971"/>
                  </a:lnTo>
                  <a:lnTo>
                    <a:pt x="1007" y="971"/>
                  </a:lnTo>
                  <a:lnTo>
                    <a:pt x="1009" y="970"/>
                  </a:lnTo>
                  <a:lnTo>
                    <a:pt x="1009" y="971"/>
                  </a:lnTo>
                  <a:lnTo>
                    <a:pt x="1009" y="973"/>
                  </a:lnTo>
                  <a:lnTo>
                    <a:pt x="1007" y="975"/>
                  </a:lnTo>
                  <a:lnTo>
                    <a:pt x="1006" y="975"/>
                  </a:lnTo>
                  <a:lnTo>
                    <a:pt x="1006" y="976"/>
                  </a:lnTo>
                  <a:lnTo>
                    <a:pt x="1006" y="975"/>
                  </a:lnTo>
                  <a:lnTo>
                    <a:pt x="1004" y="976"/>
                  </a:lnTo>
                  <a:lnTo>
                    <a:pt x="1006" y="976"/>
                  </a:lnTo>
                  <a:lnTo>
                    <a:pt x="1004" y="976"/>
                  </a:lnTo>
                  <a:lnTo>
                    <a:pt x="1002" y="976"/>
                  </a:lnTo>
                  <a:lnTo>
                    <a:pt x="1002" y="978"/>
                  </a:lnTo>
                  <a:lnTo>
                    <a:pt x="1002" y="979"/>
                  </a:lnTo>
                  <a:lnTo>
                    <a:pt x="1004" y="978"/>
                  </a:lnTo>
                  <a:lnTo>
                    <a:pt x="1004" y="979"/>
                  </a:lnTo>
                  <a:lnTo>
                    <a:pt x="1004" y="978"/>
                  </a:lnTo>
                  <a:lnTo>
                    <a:pt x="1004" y="979"/>
                  </a:lnTo>
                  <a:lnTo>
                    <a:pt x="1004" y="981"/>
                  </a:lnTo>
                  <a:lnTo>
                    <a:pt x="1002" y="981"/>
                  </a:lnTo>
                  <a:lnTo>
                    <a:pt x="1002" y="983"/>
                  </a:lnTo>
                  <a:lnTo>
                    <a:pt x="1001" y="983"/>
                  </a:lnTo>
                  <a:lnTo>
                    <a:pt x="1001" y="981"/>
                  </a:lnTo>
                  <a:lnTo>
                    <a:pt x="1002" y="979"/>
                  </a:lnTo>
                  <a:lnTo>
                    <a:pt x="1001" y="979"/>
                  </a:lnTo>
                  <a:lnTo>
                    <a:pt x="1002" y="979"/>
                  </a:lnTo>
                  <a:lnTo>
                    <a:pt x="1001" y="979"/>
                  </a:lnTo>
                  <a:lnTo>
                    <a:pt x="1001" y="981"/>
                  </a:lnTo>
                  <a:lnTo>
                    <a:pt x="1001" y="979"/>
                  </a:lnTo>
                  <a:lnTo>
                    <a:pt x="1002" y="978"/>
                  </a:lnTo>
                  <a:lnTo>
                    <a:pt x="1002" y="979"/>
                  </a:lnTo>
                  <a:lnTo>
                    <a:pt x="1002" y="978"/>
                  </a:lnTo>
                  <a:lnTo>
                    <a:pt x="1002" y="979"/>
                  </a:lnTo>
                  <a:lnTo>
                    <a:pt x="1002" y="978"/>
                  </a:lnTo>
                  <a:lnTo>
                    <a:pt x="1001" y="979"/>
                  </a:lnTo>
                  <a:lnTo>
                    <a:pt x="1001" y="978"/>
                  </a:lnTo>
                  <a:lnTo>
                    <a:pt x="1001" y="979"/>
                  </a:lnTo>
                  <a:lnTo>
                    <a:pt x="999" y="981"/>
                  </a:lnTo>
                  <a:lnTo>
                    <a:pt x="997" y="983"/>
                  </a:lnTo>
                  <a:lnTo>
                    <a:pt x="996" y="983"/>
                  </a:lnTo>
                  <a:lnTo>
                    <a:pt x="994" y="983"/>
                  </a:lnTo>
                  <a:lnTo>
                    <a:pt x="994" y="981"/>
                  </a:lnTo>
                  <a:lnTo>
                    <a:pt x="993" y="981"/>
                  </a:lnTo>
                  <a:lnTo>
                    <a:pt x="993" y="979"/>
                  </a:lnTo>
                  <a:lnTo>
                    <a:pt x="994" y="979"/>
                  </a:lnTo>
                  <a:lnTo>
                    <a:pt x="993" y="979"/>
                  </a:lnTo>
                  <a:lnTo>
                    <a:pt x="993" y="978"/>
                  </a:lnTo>
                  <a:lnTo>
                    <a:pt x="994" y="978"/>
                  </a:lnTo>
                  <a:lnTo>
                    <a:pt x="993" y="978"/>
                  </a:lnTo>
                  <a:lnTo>
                    <a:pt x="994" y="978"/>
                  </a:lnTo>
                  <a:lnTo>
                    <a:pt x="993" y="976"/>
                  </a:lnTo>
                  <a:lnTo>
                    <a:pt x="994" y="976"/>
                  </a:lnTo>
                  <a:lnTo>
                    <a:pt x="993" y="976"/>
                  </a:lnTo>
                  <a:lnTo>
                    <a:pt x="993" y="978"/>
                  </a:lnTo>
                  <a:lnTo>
                    <a:pt x="993" y="979"/>
                  </a:lnTo>
                  <a:lnTo>
                    <a:pt x="993" y="978"/>
                  </a:lnTo>
                  <a:lnTo>
                    <a:pt x="993" y="976"/>
                  </a:lnTo>
                  <a:lnTo>
                    <a:pt x="994" y="975"/>
                  </a:lnTo>
                  <a:lnTo>
                    <a:pt x="996" y="975"/>
                  </a:lnTo>
                  <a:lnTo>
                    <a:pt x="996" y="973"/>
                  </a:lnTo>
                  <a:lnTo>
                    <a:pt x="997" y="973"/>
                  </a:lnTo>
                  <a:lnTo>
                    <a:pt x="997" y="971"/>
                  </a:lnTo>
                  <a:lnTo>
                    <a:pt x="997" y="973"/>
                  </a:lnTo>
                  <a:lnTo>
                    <a:pt x="999" y="973"/>
                  </a:lnTo>
                  <a:lnTo>
                    <a:pt x="999" y="971"/>
                  </a:lnTo>
                  <a:lnTo>
                    <a:pt x="1001" y="971"/>
                  </a:lnTo>
                  <a:lnTo>
                    <a:pt x="999" y="971"/>
                  </a:lnTo>
                  <a:lnTo>
                    <a:pt x="1001" y="971"/>
                  </a:lnTo>
                  <a:lnTo>
                    <a:pt x="1002" y="971"/>
                  </a:lnTo>
                  <a:lnTo>
                    <a:pt x="1004" y="971"/>
                  </a:lnTo>
                  <a:lnTo>
                    <a:pt x="1004" y="970"/>
                  </a:lnTo>
                  <a:close/>
                  <a:moveTo>
                    <a:pt x="1004" y="970"/>
                  </a:moveTo>
                  <a:lnTo>
                    <a:pt x="1006" y="970"/>
                  </a:lnTo>
                  <a:lnTo>
                    <a:pt x="1004" y="970"/>
                  </a:lnTo>
                  <a:close/>
                  <a:moveTo>
                    <a:pt x="1053" y="968"/>
                  </a:moveTo>
                  <a:lnTo>
                    <a:pt x="1054" y="968"/>
                  </a:lnTo>
                  <a:lnTo>
                    <a:pt x="1053" y="968"/>
                  </a:lnTo>
                  <a:close/>
                  <a:moveTo>
                    <a:pt x="1004" y="968"/>
                  </a:moveTo>
                  <a:lnTo>
                    <a:pt x="1006" y="968"/>
                  </a:lnTo>
                  <a:lnTo>
                    <a:pt x="1006" y="970"/>
                  </a:lnTo>
                  <a:lnTo>
                    <a:pt x="1004" y="970"/>
                  </a:lnTo>
                  <a:lnTo>
                    <a:pt x="1002" y="971"/>
                  </a:lnTo>
                  <a:lnTo>
                    <a:pt x="1002" y="970"/>
                  </a:lnTo>
                  <a:lnTo>
                    <a:pt x="1004" y="970"/>
                  </a:lnTo>
                  <a:lnTo>
                    <a:pt x="1002" y="970"/>
                  </a:lnTo>
                  <a:lnTo>
                    <a:pt x="1004" y="968"/>
                  </a:lnTo>
                  <a:close/>
                  <a:moveTo>
                    <a:pt x="1040" y="968"/>
                  </a:moveTo>
                  <a:lnTo>
                    <a:pt x="1041" y="966"/>
                  </a:lnTo>
                  <a:lnTo>
                    <a:pt x="1043" y="966"/>
                  </a:lnTo>
                  <a:lnTo>
                    <a:pt x="1043" y="968"/>
                  </a:lnTo>
                  <a:lnTo>
                    <a:pt x="1045" y="968"/>
                  </a:lnTo>
                  <a:lnTo>
                    <a:pt x="1046" y="968"/>
                  </a:lnTo>
                  <a:lnTo>
                    <a:pt x="1048" y="968"/>
                  </a:lnTo>
                  <a:lnTo>
                    <a:pt x="1049" y="968"/>
                  </a:lnTo>
                  <a:lnTo>
                    <a:pt x="1048" y="970"/>
                  </a:lnTo>
                  <a:lnTo>
                    <a:pt x="1046" y="970"/>
                  </a:lnTo>
                  <a:lnTo>
                    <a:pt x="1046" y="971"/>
                  </a:lnTo>
                  <a:lnTo>
                    <a:pt x="1046" y="970"/>
                  </a:lnTo>
                  <a:lnTo>
                    <a:pt x="1045" y="970"/>
                  </a:lnTo>
                  <a:lnTo>
                    <a:pt x="1043" y="970"/>
                  </a:lnTo>
                  <a:lnTo>
                    <a:pt x="1041" y="968"/>
                  </a:lnTo>
                  <a:lnTo>
                    <a:pt x="1040" y="968"/>
                  </a:lnTo>
                  <a:close/>
                  <a:moveTo>
                    <a:pt x="958" y="962"/>
                  </a:moveTo>
                  <a:lnTo>
                    <a:pt x="958" y="960"/>
                  </a:lnTo>
                  <a:lnTo>
                    <a:pt x="958" y="962"/>
                  </a:lnTo>
                  <a:close/>
                  <a:moveTo>
                    <a:pt x="960" y="960"/>
                  </a:moveTo>
                  <a:lnTo>
                    <a:pt x="960" y="962"/>
                  </a:lnTo>
                  <a:lnTo>
                    <a:pt x="958" y="960"/>
                  </a:lnTo>
                  <a:lnTo>
                    <a:pt x="960" y="960"/>
                  </a:lnTo>
                  <a:close/>
                  <a:moveTo>
                    <a:pt x="1020" y="960"/>
                  </a:moveTo>
                  <a:lnTo>
                    <a:pt x="1020" y="958"/>
                  </a:lnTo>
                  <a:lnTo>
                    <a:pt x="1020" y="960"/>
                  </a:lnTo>
                  <a:close/>
                  <a:moveTo>
                    <a:pt x="988" y="960"/>
                  </a:moveTo>
                  <a:lnTo>
                    <a:pt x="988" y="958"/>
                  </a:lnTo>
                  <a:lnTo>
                    <a:pt x="988" y="960"/>
                  </a:lnTo>
                  <a:close/>
                  <a:moveTo>
                    <a:pt x="958" y="960"/>
                  </a:moveTo>
                  <a:lnTo>
                    <a:pt x="960" y="958"/>
                  </a:lnTo>
                  <a:lnTo>
                    <a:pt x="958" y="960"/>
                  </a:lnTo>
                  <a:close/>
                  <a:moveTo>
                    <a:pt x="994" y="960"/>
                  </a:moveTo>
                  <a:lnTo>
                    <a:pt x="994" y="958"/>
                  </a:lnTo>
                  <a:lnTo>
                    <a:pt x="994" y="960"/>
                  </a:lnTo>
                  <a:close/>
                  <a:moveTo>
                    <a:pt x="986" y="958"/>
                  </a:moveTo>
                  <a:lnTo>
                    <a:pt x="988" y="958"/>
                  </a:lnTo>
                  <a:lnTo>
                    <a:pt x="986" y="958"/>
                  </a:lnTo>
                  <a:close/>
                  <a:moveTo>
                    <a:pt x="958" y="960"/>
                  </a:moveTo>
                  <a:lnTo>
                    <a:pt x="958" y="958"/>
                  </a:lnTo>
                  <a:lnTo>
                    <a:pt x="958" y="960"/>
                  </a:lnTo>
                  <a:close/>
                  <a:moveTo>
                    <a:pt x="989" y="960"/>
                  </a:moveTo>
                  <a:lnTo>
                    <a:pt x="989" y="958"/>
                  </a:lnTo>
                  <a:lnTo>
                    <a:pt x="989" y="960"/>
                  </a:lnTo>
                  <a:close/>
                  <a:moveTo>
                    <a:pt x="958" y="958"/>
                  </a:moveTo>
                  <a:lnTo>
                    <a:pt x="960" y="958"/>
                  </a:lnTo>
                  <a:lnTo>
                    <a:pt x="958" y="958"/>
                  </a:lnTo>
                  <a:close/>
                  <a:moveTo>
                    <a:pt x="989" y="960"/>
                  </a:moveTo>
                  <a:lnTo>
                    <a:pt x="988" y="960"/>
                  </a:lnTo>
                  <a:lnTo>
                    <a:pt x="989" y="958"/>
                  </a:lnTo>
                  <a:lnTo>
                    <a:pt x="988" y="958"/>
                  </a:lnTo>
                  <a:lnTo>
                    <a:pt x="989" y="958"/>
                  </a:lnTo>
                  <a:lnTo>
                    <a:pt x="989" y="960"/>
                  </a:lnTo>
                  <a:close/>
                  <a:moveTo>
                    <a:pt x="957" y="958"/>
                  </a:moveTo>
                  <a:lnTo>
                    <a:pt x="958" y="958"/>
                  </a:lnTo>
                  <a:lnTo>
                    <a:pt x="957" y="958"/>
                  </a:lnTo>
                  <a:close/>
                  <a:moveTo>
                    <a:pt x="1041" y="958"/>
                  </a:moveTo>
                  <a:lnTo>
                    <a:pt x="1043" y="958"/>
                  </a:lnTo>
                  <a:lnTo>
                    <a:pt x="1043" y="960"/>
                  </a:lnTo>
                  <a:lnTo>
                    <a:pt x="1045" y="960"/>
                  </a:lnTo>
                  <a:lnTo>
                    <a:pt x="1043" y="960"/>
                  </a:lnTo>
                  <a:lnTo>
                    <a:pt x="1045" y="960"/>
                  </a:lnTo>
                  <a:lnTo>
                    <a:pt x="1043" y="962"/>
                  </a:lnTo>
                  <a:lnTo>
                    <a:pt x="1041" y="962"/>
                  </a:lnTo>
                  <a:lnTo>
                    <a:pt x="1041" y="960"/>
                  </a:lnTo>
                  <a:lnTo>
                    <a:pt x="1041" y="958"/>
                  </a:lnTo>
                  <a:close/>
                  <a:moveTo>
                    <a:pt x="1019" y="958"/>
                  </a:moveTo>
                  <a:lnTo>
                    <a:pt x="1019" y="960"/>
                  </a:lnTo>
                  <a:lnTo>
                    <a:pt x="1019" y="958"/>
                  </a:lnTo>
                  <a:close/>
                  <a:moveTo>
                    <a:pt x="989" y="958"/>
                  </a:moveTo>
                  <a:lnTo>
                    <a:pt x="991" y="958"/>
                  </a:lnTo>
                  <a:lnTo>
                    <a:pt x="989" y="958"/>
                  </a:lnTo>
                  <a:close/>
                  <a:moveTo>
                    <a:pt x="958" y="958"/>
                  </a:moveTo>
                  <a:lnTo>
                    <a:pt x="957" y="958"/>
                  </a:lnTo>
                  <a:lnTo>
                    <a:pt x="958" y="958"/>
                  </a:lnTo>
                  <a:close/>
                  <a:moveTo>
                    <a:pt x="1017" y="957"/>
                  </a:moveTo>
                  <a:lnTo>
                    <a:pt x="1019" y="957"/>
                  </a:lnTo>
                  <a:lnTo>
                    <a:pt x="1017" y="957"/>
                  </a:lnTo>
                  <a:close/>
                  <a:moveTo>
                    <a:pt x="1041" y="958"/>
                  </a:moveTo>
                  <a:lnTo>
                    <a:pt x="1040" y="958"/>
                  </a:lnTo>
                  <a:lnTo>
                    <a:pt x="1040" y="957"/>
                  </a:lnTo>
                  <a:lnTo>
                    <a:pt x="1040" y="955"/>
                  </a:lnTo>
                  <a:lnTo>
                    <a:pt x="1041" y="955"/>
                  </a:lnTo>
                  <a:lnTo>
                    <a:pt x="1041" y="957"/>
                  </a:lnTo>
                  <a:lnTo>
                    <a:pt x="1041" y="958"/>
                  </a:lnTo>
                  <a:close/>
                  <a:moveTo>
                    <a:pt x="1019" y="957"/>
                  </a:moveTo>
                  <a:lnTo>
                    <a:pt x="1019" y="955"/>
                  </a:lnTo>
                  <a:lnTo>
                    <a:pt x="1019" y="957"/>
                  </a:lnTo>
                  <a:close/>
                  <a:moveTo>
                    <a:pt x="1025" y="955"/>
                  </a:moveTo>
                  <a:lnTo>
                    <a:pt x="1025" y="953"/>
                  </a:lnTo>
                  <a:lnTo>
                    <a:pt x="1025" y="955"/>
                  </a:lnTo>
                  <a:close/>
                  <a:moveTo>
                    <a:pt x="1025" y="953"/>
                  </a:moveTo>
                  <a:lnTo>
                    <a:pt x="1025" y="955"/>
                  </a:lnTo>
                  <a:lnTo>
                    <a:pt x="1025" y="953"/>
                  </a:lnTo>
                  <a:close/>
                  <a:moveTo>
                    <a:pt x="1019" y="955"/>
                  </a:moveTo>
                  <a:lnTo>
                    <a:pt x="1019" y="953"/>
                  </a:lnTo>
                  <a:lnTo>
                    <a:pt x="1020" y="953"/>
                  </a:lnTo>
                  <a:lnTo>
                    <a:pt x="1019" y="955"/>
                  </a:lnTo>
                  <a:close/>
                  <a:moveTo>
                    <a:pt x="1040" y="955"/>
                  </a:moveTo>
                  <a:lnTo>
                    <a:pt x="1038" y="955"/>
                  </a:lnTo>
                  <a:lnTo>
                    <a:pt x="1038" y="953"/>
                  </a:lnTo>
                  <a:lnTo>
                    <a:pt x="1040" y="953"/>
                  </a:lnTo>
                  <a:lnTo>
                    <a:pt x="1040" y="955"/>
                  </a:lnTo>
                  <a:close/>
                  <a:moveTo>
                    <a:pt x="1019" y="953"/>
                  </a:moveTo>
                  <a:lnTo>
                    <a:pt x="1020" y="953"/>
                  </a:lnTo>
                  <a:lnTo>
                    <a:pt x="1019" y="953"/>
                  </a:lnTo>
                  <a:close/>
                  <a:moveTo>
                    <a:pt x="1020" y="953"/>
                  </a:moveTo>
                  <a:lnTo>
                    <a:pt x="1022" y="953"/>
                  </a:lnTo>
                  <a:lnTo>
                    <a:pt x="1022" y="955"/>
                  </a:lnTo>
                  <a:lnTo>
                    <a:pt x="1023" y="955"/>
                  </a:lnTo>
                  <a:lnTo>
                    <a:pt x="1023" y="957"/>
                  </a:lnTo>
                  <a:lnTo>
                    <a:pt x="1023" y="958"/>
                  </a:lnTo>
                  <a:lnTo>
                    <a:pt x="1022" y="958"/>
                  </a:lnTo>
                  <a:lnTo>
                    <a:pt x="1020" y="957"/>
                  </a:lnTo>
                  <a:lnTo>
                    <a:pt x="1019" y="957"/>
                  </a:lnTo>
                  <a:lnTo>
                    <a:pt x="1019" y="955"/>
                  </a:lnTo>
                  <a:lnTo>
                    <a:pt x="1020" y="955"/>
                  </a:lnTo>
                  <a:lnTo>
                    <a:pt x="1020" y="953"/>
                  </a:lnTo>
                  <a:close/>
                  <a:moveTo>
                    <a:pt x="1019" y="952"/>
                  </a:moveTo>
                  <a:lnTo>
                    <a:pt x="1020" y="953"/>
                  </a:lnTo>
                  <a:lnTo>
                    <a:pt x="1019" y="952"/>
                  </a:lnTo>
                  <a:close/>
                  <a:moveTo>
                    <a:pt x="1002" y="952"/>
                  </a:moveTo>
                  <a:lnTo>
                    <a:pt x="1004" y="952"/>
                  </a:lnTo>
                  <a:lnTo>
                    <a:pt x="1002" y="952"/>
                  </a:lnTo>
                  <a:close/>
                  <a:moveTo>
                    <a:pt x="1043" y="952"/>
                  </a:moveTo>
                  <a:lnTo>
                    <a:pt x="1041" y="953"/>
                  </a:lnTo>
                  <a:lnTo>
                    <a:pt x="1040" y="953"/>
                  </a:lnTo>
                  <a:lnTo>
                    <a:pt x="1041" y="953"/>
                  </a:lnTo>
                  <a:lnTo>
                    <a:pt x="1041" y="952"/>
                  </a:lnTo>
                  <a:lnTo>
                    <a:pt x="1043" y="952"/>
                  </a:lnTo>
                  <a:close/>
                  <a:moveTo>
                    <a:pt x="1020" y="952"/>
                  </a:moveTo>
                  <a:lnTo>
                    <a:pt x="1020" y="950"/>
                  </a:lnTo>
                  <a:lnTo>
                    <a:pt x="1020" y="952"/>
                  </a:lnTo>
                  <a:close/>
                  <a:moveTo>
                    <a:pt x="1020" y="952"/>
                  </a:moveTo>
                  <a:lnTo>
                    <a:pt x="1020" y="950"/>
                  </a:lnTo>
                  <a:lnTo>
                    <a:pt x="1020" y="952"/>
                  </a:lnTo>
                  <a:close/>
                  <a:moveTo>
                    <a:pt x="1020" y="950"/>
                  </a:moveTo>
                  <a:lnTo>
                    <a:pt x="1019" y="950"/>
                  </a:lnTo>
                  <a:lnTo>
                    <a:pt x="1020" y="950"/>
                  </a:lnTo>
                  <a:close/>
                  <a:moveTo>
                    <a:pt x="1043" y="950"/>
                  </a:moveTo>
                  <a:lnTo>
                    <a:pt x="1043" y="948"/>
                  </a:lnTo>
                  <a:lnTo>
                    <a:pt x="1045" y="948"/>
                  </a:lnTo>
                  <a:lnTo>
                    <a:pt x="1043" y="950"/>
                  </a:lnTo>
                  <a:close/>
                  <a:moveTo>
                    <a:pt x="997" y="948"/>
                  </a:moveTo>
                  <a:lnTo>
                    <a:pt x="999" y="948"/>
                  </a:lnTo>
                  <a:lnTo>
                    <a:pt x="999" y="950"/>
                  </a:lnTo>
                  <a:lnTo>
                    <a:pt x="997" y="948"/>
                  </a:lnTo>
                  <a:close/>
                  <a:moveTo>
                    <a:pt x="1023" y="950"/>
                  </a:moveTo>
                  <a:lnTo>
                    <a:pt x="1022" y="950"/>
                  </a:lnTo>
                  <a:lnTo>
                    <a:pt x="1022" y="948"/>
                  </a:lnTo>
                  <a:lnTo>
                    <a:pt x="1023" y="948"/>
                  </a:lnTo>
                  <a:lnTo>
                    <a:pt x="1022" y="948"/>
                  </a:lnTo>
                  <a:lnTo>
                    <a:pt x="1023" y="948"/>
                  </a:lnTo>
                  <a:lnTo>
                    <a:pt x="1023" y="950"/>
                  </a:lnTo>
                  <a:close/>
                  <a:moveTo>
                    <a:pt x="1022" y="948"/>
                  </a:moveTo>
                  <a:lnTo>
                    <a:pt x="1023" y="948"/>
                  </a:lnTo>
                  <a:lnTo>
                    <a:pt x="1022" y="948"/>
                  </a:lnTo>
                  <a:lnTo>
                    <a:pt x="1022" y="950"/>
                  </a:lnTo>
                  <a:lnTo>
                    <a:pt x="1022" y="948"/>
                  </a:lnTo>
                  <a:lnTo>
                    <a:pt x="1022" y="950"/>
                  </a:lnTo>
                  <a:lnTo>
                    <a:pt x="1022" y="948"/>
                  </a:lnTo>
                  <a:close/>
                  <a:moveTo>
                    <a:pt x="1023" y="945"/>
                  </a:moveTo>
                  <a:lnTo>
                    <a:pt x="1025" y="945"/>
                  </a:lnTo>
                  <a:lnTo>
                    <a:pt x="1023" y="945"/>
                  </a:lnTo>
                  <a:close/>
                  <a:moveTo>
                    <a:pt x="1025" y="945"/>
                  </a:moveTo>
                  <a:lnTo>
                    <a:pt x="1023" y="945"/>
                  </a:lnTo>
                  <a:lnTo>
                    <a:pt x="1025" y="944"/>
                  </a:lnTo>
                  <a:lnTo>
                    <a:pt x="1025" y="945"/>
                  </a:lnTo>
                  <a:close/>
                  <a:moveTo>
                    <a:pt x="997" y="944"/>
                  </a:moveTo>
                  <a:lnTo>
                    <a:pt x="999" y="944"/>
                  </a:lnTo>
                  <a:lnTo>
                    <a:pt x="997" y="944"/>
                  </a:lnTo>
                  <a:lnTo>
                    <a:pt x="999" y="944"/>
                  </a:lnTo>
                  <a:lnTo>
                    <a:pt x="997" y="944"/>
                  </a:lnTo>
                  <a:close/>
                  <a:moveTo>
                    <a:pt x="1027" y="944"/>
                  </a:moveTo>
                  <a:lnTo>
                    <a:pt x="1025" y="944"/>
                  </a:lnTo>
                  <a:lnTo>
                    <a:pt x="1027" y="944"/>
                  </a:lnTo>
                  <a:close/>
                  <a:moveTo>
                    <a:pt x="1038" y="942"/>
                  </a:moveTo>
                  <a:lnTo>
                    <a:pt x="1040" y="942"/>
                  </a:lnTo>
                  <a:lnTo>
                    <a:pt x="1038" y="942"/>
                  </a:lnTo>
                  <a:close/>
                  <a:moveTo>
                    <a:pt x="1025" y="942"/>
                  </a:moveTo>
                  <a:lnTo>
                    <a:pt x="1027" y="942"/>
                  </a:lnTo>
                  <a:lnTo>
                    <a:pt x="1025" y="942"/>
                  </a:lnTo>
                  <a:close/>
                  <a:moveTo>
                    <a:pt x="999" y="942"/>
                  </a:moveTo>
                  <a:lnTo>
                    <a:pt x="997" y="944"/>
                  </a:lnTo>
                  <a:lnTo>
                    <a:pt x="997" y="942"/>
                  </a:lnTo>
                  <a:lnTo>
                    <a:pt x="999" y="942"/>
                  </a:lnTo>
                  <a:close/>
                  <a:moveTo>
                    <a:pt x="997" y="942"/>
                  </a:moveTo>
                  <a:lnTo>
                    <a:pt x="997" y="940"/>
                  </a:lnTo>
                  <a:lnTo>
                    <a:pt x="999" y="940"/>
                  </a:lnTo>
                  <a:lnTo>
                    <a:pt x="999" y="942"/>
                  </a:lnTo>
                  <a:lnTo>
                    <a:pt x="997" y="942"/>
                  </a:lnTo>
                  <a:close/>
                  <a:moveTo>
                    <a:pt x="1077" y="939"/>
                  </a:moveTo>
                  <a:lnTo>
                    <a:pt x="1077" y="940"/>
                  </a:lnTo>
                  <a:lnTo>
                    <a:pt x="1079" y="940"/>
                  </a:lnTo>
                  <a:lnTo>
                    <a:pt x="1077" y="940"/>
                  </a:lnTo>
                  <a:lnTo>
                    <a:pt x="1077" y="942"/>
                  </a:lnTo>
                  <a:lnTo>
                    <a:pt x="1077" y="940"/>
                  </a:lnTo>
                  <a:lnTo>
                    <a:pt x="1077" y="939"/>
                  </a:lnTo>
                  <a:close/>
                  <a:moveTo>
                    <a:pt x="1004" y="940"/>
                  </a:moveTo>
                  <a:lnTo>
                    <a:pt x="1004" y="939"/>
                  </a:lnTo>
                  <a:lnTo>
                    <a:pt x="1004" y="940"/>
                  </a:lnTo>
                  <a:close/>
                  <a:moveTo>
                    <a:pt x="1077" y="939"/>
                  </a:moveTo>
                  <a:lnTo>
                    <a:pt x="1079" y="939"/>
                  </a:lnTo>
                  <a:lnTo>
                    <a:pt x="1077" y="939"/>
                  </a:lnTo>
                  <a:close/>
                  <a:moveTo>
                    <a:pt x="1019" y="939"/>
                  </a:moveTo>
                  <a:lnTo>
                    <a:pt x="1017" y="939"/>
                  </a:lnTo>
                  <a:lnTo>
                    <a:pt x="1019" y="939"/>
                  </a:lnTo>
                  <a:close/>
                  <a:moveTo>
                    <a:pt x="1025" y="939"/>
                  </a:moveTo>
                  <a:lnTo>
                    <a:pt x="1025" y="937"/>
                  </a:lnTo>
                  <a:lnTo>
                    <a:pt x="1025" y="939"/>
                  </a:lnTo>
                  <a:close/>
                  <a:moveTo>
                    <a:pt x="1020" y="939"/>
                  </a:moveTo>
                  <a:lnTo>
                    <a:pt x="1019" y="940"/>
                  </a:lnTo>
                  <a:lnTo>
                    <a:pt x="1019" y="939"/>
                  </a:lnTo>
                  <a:lnTo>
                    <a:pt x="1020" y="939"/>
                  </a:lnTo>
                  <a:lnTo>
                    <a:pt x="1020" y="937"/>
                  </a:lnTo>
                  <a:lnTo>
                    <a:pt x="1020" y="939"/>
                  </a:lnTo>
                  <a:close/>
                  <a:moveTo>
                    <a:pt x="1022" y="939"/>
                  </a:moveTo>
                  <a:lnTo>
                    <a:pt x="1022" y="940"/>
                  </a:lnTo>
                  <a:lnTo>
                    <a:pt x="1022" y="939"/>
                  </a:lnTo>
                  <a:lnTo>
                    <a:pt x="1022" y="937"/>
                  </a:lnTo>
                  <a:lnTo>
                    <a:pt x="1022" y="939"/>
                  </a:lnTo>
                  <a:close/>
                  <a:moveTo>
                    <a:pt x="1020" y="939"/>
                  </a:moveTo>
                  <a:lnTo>
                    <a:pt x="1020" y="937"/>
                  </a:lnTo>
                  <a:lnTo>
                    <a:pt x="1020" y="939"/>
                  </a:lnTo>
                  <a:close/>
                  <a:moveTo>
                    <a:pt x="1023" y="937"/>
                  </a:moveTo>
                  <a:lnTo>
                    <a:pt x="1022" y="937"/>
                  </a:lnTo>
                  <a:lnTo>
                    <a:pt x="1023" y="937"/>
                  </a:lnTo>
                  <a:close/>
                  <a:moveTo>
                    <a:pt x="1028" y="935"/>
                  </a:moveTo>
                  <a:lnTo>
                    <a:pt x="1028" y="937"/>
                  </a:lnTo>
                  <a:lnTo>
                    <a:pt x="1028" y="935"/>
                  </a:lnTo>
                  <a:close/>
                  <a:moveTo>
                    <a:pt x="1027" y="937"/>
                  </a:moveTo>
                  <a:lnTo>
                    <a:pt x="1027" y="935"/>
                  </a:lnTo>
                  <a:lnTo>
                    <a:pt x="1027" y="937"/>
                  </a:lnTo>
                  <a:close/>
                  <a:moveTo>
                    <a:pt x="1028" y="935"/>
                  </a:moveTo>
                  <a:lnTo>
                    <a:pt x="1027" y="937"/>
                  </a:lnTo>
                  <a:lnTo>
                    <a:pt x="1027" y="935"/>
                  </a:lnTo>
                  <a:lnTo>
                    <a:pt x="1028" y="935"/>
                  </a:lnTo>
                  <a:close/>
                  <a:moveTo>
                    <a:pt x="1017" y="935"/>
                  </a:moveTo>
                  <a:lnTo>
                    <a:pt x="1019" y="935"/>
                  </a:lnTo>
                  <a:lnTo>
                    <a:pt x="1017" y="935"/>
                  </a:lnTo>
                  <a:close/>
                  <a:moveTo>
                    <a:pt x="1048" y="935"/>
                  </a:moveTo>
                  <a:lnTo>
                    <a:pt x="1046" y="935"/>
                  </a:lnTo>
                  <a:lnTo>
                    <a:pt x="1048" y="935"/>
                  </a:lnTo>
                  <a:close/>
                  <a:moveTo>
                    <a:pt x="1017" y="935"/>
                  </a:moveTo>
                  <a:lnTo>
                    <a:pt x="1019" y="935"/>
                  </a:lnTo>
                  <a:lnTo>
                    <a:pt x="1017" y="935"/>
                  </a:lnTo>
                  <a:close/>
                  <a:moveTo>
                    <a:pt x="1028" y="935"/>
                  </a:moveTo>
                  <a:lnTo>
                    <a:pt x="1028" y="934"/>
                  </a:lnTo>
                  <a:lnTo>
                    <a:pt x="1028" y="935"/>
                  </a:lnTo>
                  <a:close/>
                  <a:moveTo>
                    <a:pt x="1022" y="934"/>
                  </a:moveTo>
                  <a:lnTo>
                    <a:pt x="1023" y="934"/>
                  </a:lnTo>
                  <a:lnTo>
                    <a:pt x="1022" y="934"/>
                  </a:lnTo>
                  <a:close/>
                  <a:moveTo>
                    <a:pt x="1004" y="934"/>
                  </a:moveTo>
                  <a:lnTo>
                    <a:pt x="1002" y="934"/>
                  </a:lnTo>
                  <a:lnTo>
                    <a:pt x="1004" y="934"/>
                  </a:lnTo>
                  <a:close/>
                  <a:moveTo>
                    <a:pt x="1030" y="934"/>
                  </a:moveTo>
                  <a:lnTo>
                    <a:pt x="1032" y="934"/>
                  </a:lnTo>
                  <a:lnTo>
                    <a:pt x="1030" y="934"/>
                  </a:lnTo>
                  <a:close/>
                  <a:moveTo>
                    <a:pt x="1028" y="935"/>
                  </a:moveTo>
                  <a:lnTo>
                    <a:pt x="1028" y="934"/>
                  </a:lnTo>
                  <a:lnTo>
                    <a:pt x="1028" y="935"/>
                  </a:lnTo>
                  <a:close/>
                  <a:moveTo>
                    <a:pt x="1020" y="934"/>
                  </a:moveTo>
                  <a:lnTo>
                    <a:pt x="1022" y="934"/>
                  </a:lnTo>
                  <a:lnTo>
                    <a:pt x="1022" y="932"/>
                  </a:lnTo>
                  <a:lnTo>
                    <a:pt x="1022" y="934"/>
                  </a:lnTo>
                  <a:lnTo>
                    <a:pt x="1020" y="934"/>
                  </a:lnTo>
                  <a:close/>
                  <a:moveTo>
                    <a:pt x="1023" y="934"/>
                  </a:moveTo>
                  <a:lnTo>
                    <a:pt x="1023" y="932"/>
                  </a:lnTo>
                  <a:lnTo>
                    <a:pt x="1023" y="934"/>
                  </a:lnTo>
                  <a:close/>
                  <a:moveTo>
                    <a:pt x="1025" y="932"/>
                  </a:moveTo>
                  <a:lnTo>
                    <a:pt x="1025" y="934"/>
                  </a:lnTo>
                  <a:lnTo>
                    <a:pt x="1025" y="932"/>
                  </a:lnTo>
                  <a:close/>
                  <a:moveTo>
                    <a:pt x="1022" y="934"/>
                  </a:moveTo>
                  <a:lnTo>
                    <a:pt x="1022" y="932"/>
                  </a:lnTo>
                  <a:lnTo>
                    <a:pt x="1023" y="932"/>
                  </a:lnTo>
                  <a:lnTo>
                    <a:pt x="1022" y="934"/>
                  </a:lnTo>
                  <a:close/>
                  <a:moveTo>
                    <a:pt x="1023" y="932"/>
                  </a:moveTo>
                  <a:lnTo>
                    <a:pt x="1025" y="932"/>
                  </a:lnTo>
                  <a:lnTo>
                    <a:pt x="1023" y="932"/>
                  </a:lnTo>
                  <a:close/>
                  <a:moveTo>
                    <a:pt x="1022" y="931"/>
                  </a:moveTo>
                  <a:lnTo>
                    <a:pt x="1023" y="931"/>
                  </a:lnTo>
                  <a:lnTo>
                    <a:pt x="1023" y="932"/>
                  </a:lnTo>
                  <a:lnTo>
                    <a:pt x="1022" y="932"/>
                  </a:lnTo>
                  <a:lnTo>
                    <a:pt x="1022" y="934"/>
                  </a:lnTo>
                  <a:lnTo>
                    <a:pt x="1022" y="932"/>
                  </a:lnTo>
                  <a:lnTo>
                    <a:pt x="1023" y="932"/>
                  </a:lnTo>
                  <a:lnTo>
                    <a:pt x="1022" y="931"/>
                  </a:lnTo>
                  <a:close/>
                  <a:moveTo>
                    <a:pt x="1023" y="932"/>
                  </a:moveTo>
                  <a:lnTo>
                    <a:pt x="1023" y="931"/>
                  </a:lnTo>
                  <a:lnTo>
                    <a:pt x="1023" y="932"/>
                  </a:lnTo>
                  <a:close/>
                  <a:moveTo>
                    <a:pt x="1020" y="931"/>
                  </a:moveTo>
                  <a:lnTo>
                    <a:pt x="1022" y="931"/>
                  </a:lnTo>
                  <a:lnTo>
                    <a:pt x="1022" y="929"/>
                  </a:lnTo>
                  <a:lnTo>
                    <a:pt x="1022" y="931"/>
                  </a:lnTo>
                  <a:lnTo>
                    <a:pt x="1023" y="931"/>
                  </a:lnTo>
                  <a:lnTo>
                    <a:pt x="1022" y="931"/>
                  </a:lnTo>
                  <a:lnTo>
                    <a:pt x="1023" y="931"/>
                  </a:lnTo>
                  <a:lnTo>
                    <a:pt x="1022" y="931"/>
                  </a:lnTo>
                  <a:lnTo>
                    <a:pt x="1022" y="932"/>
                  </a:lnTo>
                  <a:lnTo>
                    <a:pt x="1020" y="932"/>
                  </a:lnTo>
                  <a:lnTo>
                    <a:pt x="1020" y="931"/>
                  </a:lnTo>
                  <a:close/>
                  <a:moveTo>
                    <a:pt x="1020" y="931"/>
                  </a:moveTo>
                  <a:lnTo>
                    <a:pt x="1020" y="929"/>
                  </a:lnTo>
                  <a:lnTo>
                    <a:pt x="1020" y="931"/>
                  </a:lnTo>
                  <a:close/>
                  <a:moveTo>
                    <a:pt x="1027" y="929"/>
                  </a:moveTo>
                  <a:lnTo>
                    <a:pt x="1028" y="929"/>
                  </a:lnTo>
                  <a:lnTo>
                    <a:pt x="1027" y="929"/>
                  </a:lnTo>
                  <a:close/>
                  <a:moveTo>
                    <a:pt x="1022" y="929"/>
                  </a:moveTo>
                  <a:lnTo>
                    <a:pt x="1020" y="929"/>
                  </a:lnTo>
                  <a:lnTo>
                    <a:pt x="1022" y="929"/>
                  </a:lnTo>
                  <a:lnTo>
                    <a:pt x="1022" y="927"/>
                  </a:lnTo>
                  <a:lnTo>
                    <a:pt x="1022" y="929"/>
                  </a:lnTo>
                  <a:close/>
                  <a:moveTo>
                    <a:pt x="1028" y="927"/>
                  </a:moveTo>
                  <a:lnTo>
                    <a:pt x="1028" y="929"/>
                  </a:lnTo>
                  <a:lnTo>
                    <a:pt x="1027" y="929"/>
                  </a:lnTo>
                  <a:lnTo>
                    <a:pt x="1027" y="927"/>
                  </a:lnTo>
                  <a:lnTo>
                    <a:pt x="1028" y="927"/>
                  </a:lnTo>
                  <a:close/>
                  <a:moveTo>
                    <a:pt x="1048" y="927"/>
                  </a:moveTo>
                  <a:lnTo>
                    <a:pt x="1049" y="927"/>
                  </a:lnTo>
                  <a:lnTo>
                    <a:pt x="1048" y="927"/>
                  </a:lnTo>
                  <a:close/>
                  <a:moveTo>
                    <a:pt x="1020" y="927"/>
                  </a:moveTo>
                  <a:lnTo>
                    <a:pt x="1020" y="926"/>
                  </a:lnTo>
                  <a:lnTo>
                    <a:pt x="1020" y="927"/>
                  </a:lnTo>
                  <a:close/>
                  <a:moveTo>
                    <a:pt x="1030" y="926"/>
                  </a:moveTo>
                  <a:lnTo>
                    <a:pt x="1032" y="924"/>
                  </a:lnTo>
                  <a:lnTo>
                    <a:pt x="1032" y="926"/>
                  </a:lnTo>
                  <a:lnTo>
                    <a:pt x="1030" y="926"/>
                  </a:lnTo>
                  <a:close/>
                  <a:moveTo>
                    <a:pt x="1022" y="926"/>
                  </a:moveTo>
                  <a:lnTo>
                    <a:pt x="1022" y="924"/>
                  </a:lnTo>
                  <a:lnTo>
                    <a:pt x="1022" y="926"/>
                  </a:lnTo>
                  <a:close/>
                  <a:moveTo>
                    <a:pt x="1028" y="927"/>
                  </a:moveTo>
                  <a:lnTo>
                    <a:pt x="1028" y="926"/>
                  </a:lnTo>
                  <a:lnTo>
                    <a:pt x="1030" y="926"/>
                  </a:lnTo>
                  <a:lnTo>
                    <a:pt x="1030" y="924"/>
                  </a:lnTo>
                  <a:lnTo>
                    <a:pt x="1030" y="926"/>
                  </a:lnTo>
                  <a:lnTo>
                    <a:pt x="1028" y="927"/>
                  </a:lnTo>
                  <a:close/>
                  <a:moveTo>
                    <a:pt x="1030" y="926"/>
                  </a:moveTo>
                  <a:lnTo>
                    <a:pt x="1030" y="924"/>
                  </a:lnTo>
                  <a:lnTo>
                    <a:pt x="1030" y="926"/>
                  </a:lnTo>
                  <a:close/>
                  <a:moveTo>
                    <a:pt x="1022" y="924"/>
                  </a:moveTo>
                  <a:lnTo>
                    <a:pt x="1023" y="924"/>
                  </a:lnTo>
                  <a:lnTo>
                    <a:pt x="1022" y="924"/>
                  </a:lnTo>
                  <a:lnTo>
                    <a:pt x="1023" y="924"/>
                  </a:lnTo>
                  <a:lnTo>
                    <a:pt x="1022" y="924"/>
                  </a:lnTo>
                  <a:close/>
                  <a:moveTo>
                    <a:pt x="1033" y="924"/>
                  </a:moveTo>
                  <a:lnTo>
                    <a:pt x="1032" y="924"/>
                  </a:lnTo>
                  <a:lnTo>
                    <a:pt x="1033" y="924"/>
                  </a:lnTo>
                  <a:close/>
                  <a:moveTo>
                    <a:pt x="1032" y="926"/>
                  </a:moveTo>
                  <a:lnTo>
                    <a:pt x="1033" y="924"/>
                  </a:lnTo>
                  <a:lnTo>
                    <a:pt x="1035" y="924"/>
                  </a:lnTo>
                  <a:lnTo>
                    <a:pt x="1033" y="926"/>
                  </a:lnTo>
                  <a:lnTo>
                    <a:pt x="1032" y="926"/>
                  </a:lnTo>
                  <a:lnTo>
                    <a:pt x="1033" y="924"/>
                  </a:lnTo>
                  <a:lnTo>
                    <a:pt x="1032" y="926"/>
                  </a:lnTo>
                  <a:close/>
                  <a:moveTo>
                    <a:pt x="1020" y="924"/>
                  </a:moveTo>
                  <a:lnTo>
                    <a:pt x="1020" y="922"/>
                  </a:lnTo>
                  <a:lnTo>
                    <a:pt x="1020" y="924"/>
                  </a:lnTo>
                  <a:close/>
                  <a:moveTo>
                    <a:pt x="1023" y="924"/>
                  </a:moveTo>
                  <a:lnTo>
                    <a:pt x="1023" y="922"/>
                  </a:lnTo>
                  <a:lnTo>
                    <a:pt x="1023" y="924"/>
                  </a:lnTo>
                  <a:close/>
                  <a:moveTo>
                    <a:pt x="1022" y="922"/>
                  </a:moveTo>
                  <a:lnTo>
                    <a:pt x="1022" y="924"/>
                  </a:lnTo>
                  <a:lnTo>
                    <a:pt x="1020" y="924"/>
                  </a:lnTo>
                  <a:lnTo>
                    <a:pt x="1022" y="922"/>
                  </a:lnTo>
                  <a:close/>
                  <a:moveTo>
                    <a:pt x="1036" y="922"/>
                  </a:moveTo>
                  <a:lnTo>
                    <a:pt x="1035" y="922"/>
                  </a:lnTo>
                  <a:lnTo>
                    <a:pt x="1036" y="922"/>
                  </a:lnTo>
                  <a:close/>
                  <a:moveTo>
                    <a:pt x="1020" y="922"/>
                  </a:moveTo>
                  <a:lnTo>
                    <a:pt x="1020" y="924"/>
                  </a:lnTo>
                  <a:lnTo>
                    <a:pt x="1020" y="922"/>
                  </a:lnTo>
                  <a:close/>
                  <a:moveTo>
                    <a:pt x="1023" y="922"/>
                  </a:moveTo>
                  <a:lnTo>
                    <a:pt x="1022" y="922"/>
                  </a:lnTo>
                  <a:lnTo>
                    <a:pt x="1023" y="922"/>
                  </a:lnTo>
                  <a:close/>
                  <a:moveTo>
                    <a:pt x="1023" y="922"/>
                  </a:moveTo>
                  <a:lnTo>
                    <a:pt x="1023" y="921"/>
                  </a:lnTo>
                  <a:lnTo>
                    <a:pt x="1023" y="922"/>
                  </a:lnTo>
                  <a:close/>
                  <a:moveTo>
                    <a:pt x="1022" y="921"/>
                  </a:moveTo>
                  <a:lnTo>
                    <a:pt x="1020" y="922"/>
                  </a:lnTo>
                  <a:lnTo>
                    <a:pt x="1022" y="921"/>
                  </a:lnTo>
                  <a:close/>
                  <a:moveTo>
                    <a:pt x="1036" y="922"/>
                  </a:moveTo>
                  <a:lnTo>
                    <a:pt x="1038" y="921"/>
                  </a:lnTo>
                  <a:lnTo>
                    <a:pt x="1036" y="922"/>
                  </a:lnTo>
                  <a:close/>
                  <a:moveTo>
                    <a:pt x="1023" y="922"/>
                  </a:moveTo>
                  <a:lnTo>
                    <a:pt x="1022" y="922"/>
                  </a:lnTo>
                  <a:lnTo>
                    <a:pt x="1022" y="924"/>
                  </a:lnTo>
                  <a:lnTo>
                    <a:pt x="1022" y="922"/>
                  </a:lnTo>
                  <a:lnTo>
                    <a:pt x="1023" y="922"/>
                  </a:lnTo>
                  <a:lnTo>
                    <a:pt x="1023" y="921"/>
                  </a:lnTo>
                  <a:lnTo>
                    <a:pt x="1023" y="922"/>
                  </a:lnTo>
                  <a:close/>
                  <a:moveTo>
                    <a:pt x="1022" y="921"/>
                  </a:moveTo>
                  <a:lnTo>
                    <a:pt x="1023" y="921"/>
                  </a:lnTo>
                  <a:lnTo>
                    <a:pt x="1022" y="921"/>
                  </a:lnTo>
                  <a:lnTo>
                    <a:pt x="1022" y="922"/>
                  </a:lnTo>
                  <a:lnTo>
                    <a:pt x="1020" y="922"/>
                  </a:lnTo>
                  <a:lnTo>
                    <a:pt x="1022" y="922"/>
                  </a:lnTo>
                  <a:lnTo>
                    <a:pt x="1020" y="922"/>
                  </a:lnTo>
                  <a:lnTo>
                    <a:pt x="1022" y="921"/>
                  </a:lnTo>
                  <a:close/>
                  <a:moveTo>
                    <a:pt x="1053" y="921"/>
                  </a:moveTo>
                  <a:lnTo>
                    <a:pt x="1054" y="921"/>
                  </a:lnTo>
                  <a:lnTo>
                    <a:pt x="1053" y="921"/>
                  </a:lnTo>
                  <a:close/>
                  <a:moveTo>
                    <a:pt x="1048" y="921"/>
                  </a:moveTo>
                  <a:lnTo>
                    <a:pt x="1048" y="919"/>
                  </a:lnTo>
                  <a:lnTo>
                    <a:pt x="1048" y="921"/>
                  </a:lnTo>
                  <a:close/>
                  <a:moveTo>
                    <a:pt x="1035" y="919"/>
                  </a:moveTo>
                  <a:lnTo>
                    <a:pt x="1033" y="921"/>
                  </a:lnTo>
                  <a:lnTo>
                    <a:pt x="1035" y="919"/>
                  </a:lnTo>
                  <a:close/>
                  <a:moveTo>
                    <a:pt x="1023" y="921"/>
                  </a:moveTo>
                  <a:lnTo>
                    <a:pt x="1025" y="919"/>
                  </a:lnTo>
                  <a:lnTo>
                    <a:pt x="1023" y="921"/>
                  </a:lnTo>
                  <a:close/>
                  <a:moveTo>
                    <a:pt x="1032" y="919"/>
                  </a:moveTo>
                  <a:lnTo>
                    <a:pt x="1033" y="919"/>
                  </a:lnTo>
                  <a:lnTo>
                    <a:pt x="1032" y="919"/>
                  </a:lnTo>
                  <a:close/>
                  <a:moveTo>
                    <a:pt x="1032" y="921"/>
                  </a:moveTo>
                  <a:lnTo>
                    <a:pt x="1032" y="919"/>
                  </a:lnTo>
                  <a:lnTo>
                    <a:pt x="1032" y="921"/>
                  </a:lnTo>
                  <a:close/>
                  <a:moveTo>
                    <a:pt x="1028" y="919"/>
                  </a:moveTo>
                  <a:lnTo>
                    <a:pt x="1030" y="919"/>
                  </a:lnTo>
                  <a:lnTo>
                    <a:pt x="1032" y="919"/>
                  </a:lnTo>
                  <a:lnTo>
                    <a:pt x="1030" y="919"/>
                  </a:lnTo>
                  <a:lnTo>
                    <a:pt x="1032" y="921"/>
                  </a:lnTo>
                  <a:lnTo>
                    <a:pt x="1032" y="919"/>
                  </a:lnTo>
                  <a:lnTo>
                    <a:pt x="1032" y="921"/>
                  </a:lnTo>
                  <a:lnTo>
                    <a:pt x="1032" y="919"/>
                  </a:lnTo>
                  <a:lnTo>
                    <a:pt x="1032" y="922"/>
                  </a:lnTo>
                  <a:lnTo>
                    <a:pt x="1032" y="921"/>
                  </a:lnTo>
                  <a:lnTo>
                    <a:pt x="1030" y="921"/>
                  </a:lnTo>
                  <a:lnTo>
                    <a:pt x="1030" y="922"/>
                  </a:lnTo>
                  <a:lnTo>
                    <a:pt x="1030" y="921"/>
                  </a:lnTo>
                  <a:lnTo>
                    <a:pt x="1030" y="922"/>
                  </a:lnTo>
                  <a:lnTo>
                    <a:pt x="1030" y="921"/>
                  </a:lnTo>
                  <a:lnTo>
                    <a:pt x="1030" y="919"/>
                  </a:lnTo>
                  <a:lnTo>
                    <a:pt x="1030" y="921"/>
                  </a:lnTo>
                  <a:lnTo>
                    <a:pt x="1030" y="922"/>
                  </a:lnTo>
                  <a:lnTo>
                    <a:pt x="1028" y="922"/>
                  </a:lnTo>
                  <a:lnTo>
                    <a:pt x="1028" y="924"/>
                  </a:lnTo>
                  <a:lnTo>
                    <a:pt x="1028" y="922"/>
                  </a:lnTo>
                  <a:lnTo>
                    <a:pt x="1028" y="924"/>
                  </a:lnTo>
                  <a:lnTo>
                    <a:pt x="1028" y="926"/>
                  </a:lnTo>
                  <a:lnTo>
                    <a:pt x="1027" y="927"/>
                  </a:lnTo>
                  <a:lnTo>
                    <a:pt x="1028" y="927"/>
                  </a:lnTo>
                  <a:lnTo>
                    <a:pt x="1027" y="927"/>
                  </a:lnTo>
                  <a:lnTo>
                    <a:pt x="1027" y="929"/>
                  </a:lnTo>
                  <a:lnTo>
                    <a:pt x="1028" y="929"/>
                  </a:lnTo>
                  <a:lnTo>
                    <a:pt x="1027" y="929"/>
                  </a:lnTo>
                  <a:lnTo>
                    <a:pt x="1027" y="927"/>
                  </a:lnTo>
                  <a:lnTo>
                    <a:pt x="1027" y="929"/>
                  </a:lnTo>
                  <a:lnTo>
                    <a:pt x="1027" y="931"/>
                  </a:lnTo>
                  <a:lnTo>
                    <a:pt x="1027" y="932"/>
                  </a:lnTo>
                  <a:lnTo>
                    <a:pt x="1025" y="932"/>
                  </a:lnTo>
                  <a:lnTo>
                    <a:pt x="1025" y="931"/>
                  </a:lnTo>
                  <a:lnTo>
                    <a:pt x="1025" y="929"/>
                  </a:lnTo>
                  <a:lnTo>
                    <a:pt x="1025" y="927"/>
                  </a:lnTo>
                  <a:lnTo>
                    <a:pt x="1025" y="929"/>
                  </a:lnTo>
                  <a:lnTo>
                    <a:pt x="1023" y="931"/>
                  </a:lnTo>
                  <a:lnTo>
                    <a:pt x="1023" y="929"/>
                  </a:lnTo>
                  <a:lnTo>
                    <a:pt x="1023" y="927"/>
                  </a:lnTo>
                  <a:lnTo>
                    <a:pt x="1022" y="927"/>
                  </a:lnTo>
                  <a:lnTo>
                    <a:pt x="1023" y="927"/>
                  </a:lnTo>
                  <a:lnTo>
                    <a:pt x="1025" y="926"/>
                  </a:lnTo>
                  <a:lnTo>
                    <a:pt x="1023" y="926"/>
                  </a:lnTo>
                  <a:lnTo>
                    <a:pt x="1025" y="926"/>
                  </a:lnTo>
                  <a:lnTo>
                    <a:pt x="1025" y="924"/>
                  </a:lnTo>
                  <a:lnTo>
                    <a:pt x="1027" y="924"/>
                  </a:lnTo>
                  <a:lnTo>
                    <a:pt x="1025" y="926"/>
                  </a:lnTo>
                  <a:lnTo>
                    <a:pt x="1025" y="927"/>
                  </a:lnTo>
                  <a:lnTo>
                    <a:pt x="1027" y="926"/>
                  </a:lnTo>
                  <a:lnTo>
                    <a:pt x="1027" y="924"/>
                  </a:lnTo>
                  <a:lnTo>
                    <a:pt x="1027" y="922"/>
                  </a:lnTo>
                  <a:lnTo>
                    <a:pt x="1028" y="922"/>
                  </a:lnTo>
                  <a:lnTo>
                    <a:pt x="1028" y="921"/>
                  </a:lnTo>
                  <a:lnTo>
                    <a:pt x="1028" y="922"/>
                  </a:lnTo>
                  <a:lnTo>
                    <a:pt x="1027" y="922"/>
                  </a:lnTo>
                  <a:lnTo>
                    <a:pt x="1027" y="924"/>
                  </a:lnTo>
                  <a:lnTo>
                    <a:pt x="1027" y="922"/>
                  </a:lnTo>
                  <a:lnTo>
                    <a:pt x="1028" y="921"/>
                  </a:lnTo>
                  <a:lnTo>
                    <a:pt x="1028" y="919"/>
                  </a:lnTo>
                  <a:close/>
                  <a:moveTo>
                    <a:pt x="1025" y="919"/>
                  </a:moveTo>
                  <a:lnTo>
                    <a:pt x="1023" y="919"/>
                  </a:lnTo>
                  <a:lnTo>
                    <a:pt x="1025" y="919"/>
                  </a:lnTo>
                  <a:close/>
                  <a:moveTo>
                    <a:pt x="1025" y="919"/>
                  </a:moveTo>
                  <a:lnTo>
                    <a:pt x="1025" y="918"/>
                  </a:lnTo>
                  <a:lnTo>
                    <a:pt x="1025" y="919"/>
                  </a:lnTo>
                  <a:close/>
                  <a:moveTo>
                    <a:pt x="1025" y="918"/>
                  </a:moveTo>
                  <a:lnTo>
                    <a:pt x="1027" y="918"/>
                  </a:lnTo>
                  <a:lnTo>
                    <a:pt x="1025" y="918"/>
                  </a:lnTo>
                  <a:close/>
                  <a:moveTo>
                    <a:pt x="1033" y="918"/>
                  </a:moveTo>
                  <a:lnTo>
                    <a:pt x="1033" y="919"/>
                  </a:lnTo>
                  <a:lnTo>
                    <a:pt x="1033" y="918"/>
                  </a:lnTo>
                  <a:close/>
                  <a:moveTo>
                    <a:pt x="1030" y="918"/>
                  </a:moveTo>
                  <a:lnTo>
                    <a:pt x="1032" y="918"/>
                  </a:lnTo>
                  <a:lnTo>
                    <a:pt x="1030" y="918"/>
                  </a:lnTo>
                  <a:close/>
                  <a:moveTo>
                    <a:pt x="1023" y="918"/>
                  </a:moveTo>
                  <a:lnTo>
                    <a:pt x="1025" y="918"/>
                  </a:lnTo>
                  <a:lnTo>
                    <a:pt x="1023" y="918"/>
                  </a:lnTo>
                  <a:close/>
                  <a:moveTo>
                    <a:pt x="1025" y="918"/>
                  </a:moveTo>
                  <a:lnTo>
                    <a:pt x="1023" y="918"/>
                  </a:lnTo>
                  <a:lnTo>
                    <a:pt x="1025" y="918"/>
                  </a:lnTo>
                  <a:lnTo>
                    <a:pt x="1023" y="918"/>
                  </a:lnTo>
                  <a:lnTo>
                    <a:pt x="1025" y="918"/>
                  </a:lnTo>
                  <a:lnTo>
                    <a:pt x="1025" y="916"/>
                  </a:lnTo>
                  <a:lnTo>
                    <a:pt x="1025" y="918"/>
                  </a:lnTo>
                  <a:close/>
                  <a:moveTo>
                    <a:pt x="1033" y="918"/>
                  </a:moveTo>
                  <a:lnTo>
                    <a:pt x="1033" y="916"/>
                  </a:lnTo>
                  <a:lnTo>
                    <a:pt x="1033" y="918"/>
                  </a:lnTo>
                  <a:close/>
                  <a:moveTo>
                    <a:pt x="1027" y="916"/>
                  </a:moveTo>
                  <a:lnTo>
                    <a:pt x="1028" y="916"/>
                  </a:lnTo>
                  <a:lnTo>
                    <a:pt x="1027" y="916"/>
                  </a:lnTo>
                  <a:close/>
                  <a:moveTo>
                    <a:pt x="1028" y="916"/>
                  </a:moveTo>
                  <a:lnTo>
                    <a:pt x="1028" y="918"/>
                  </a:lnTo>
                  <a:lnTo>
                    <a:pt x="1028" y="916"/>
                  </a:lnTo>
                  <a:lnTo>
                    <a:pt x="1030" y="916"/>
                  </a:lnTo>
                  <a:lnTo>
                    <a:pt x="1030" y="918"/>
                  </a:lnTo>
                  <a:lnTo>
                    <a:pt x="1028" y="918"/>
                  </a:lnTo>
                  <a:lnTo>
                    <a:pt x="1030" y="918"/>
                  </a:lnTo>
                  <a:lnTo>
                    <a:pt x="1028" y="919"/>
                  </a:lnTo>
                  <a:lnTo>
                    <a:pt x="1027" y="921"/>
                  </a:lnTo>
                  <a:lnTo>
                    <a:pt x="1027" y="919"/>
                  </a:lnTo>
                  <a:lnTo>
                    <a:pt x="1027" y="921"/>
                  </a:lnTo>
                  <a:lnTo>
                    <a:pt x="1025" y="922"/>
                  </a:lnTo>
                  <a:lnTo>
                    <a:pt x="1027" y="921"/>
                  </a:lnTo>
                  <a:lnTo>
                    <a:pt x="1025" y="921"/>
                  </a:lnTo>
                  <a:lnTo>
                    <a:pt x="1025" y="922"/>
                  </a:lnTo>
                  <a:lnTo>
                    <a:pt x="1025" y="921"/>
                  </a:lnTo>
                  <a:lnTo>
                    <a:pt x="1027" y="919"/>
                  </a:lnTo>
                  <a:lnTo>
                    <a:pt x="1025" y="921"/>
                  </a:lnTo>
                  <a:lnTo>
                    <a:pt x="1025" y="919"/>
                  </a:lnTo>
                  <a:lnTo>
                    <a:pt x="1027" y="918"/>
                  </a:lnTo>
                  <a:lnTo>
                    <a:pt x="1028" y="916"/>
                  </a:lnTo>
                  <a:close/>
                  <a:moveTo>
                    <a:pt x="1030" y="914"/>
                  </a:moveTo>
                  <a:lnTo>
                    <a:pt x="1028" y="916"/>
                  </a:lnTo>
                  <a:lnTo>
                    <a:pt x="1028" y="914"/>
                  </a:lnTo>
                  <a:lnTo>
                    <a:pt x="1028" y="916"/>
                  </a:lnTo>
                  <a:lnTo>
                    <a:pt x="1028" y="914"/>
                  </a:lnTo>
                  <a:lnTo>
                    <a:pt x="1030" y="914"/>
                  </a:lnTo>
                  <a:close/>
                  <a:moveTo>
                    <a:pt x="1030" y="913"/>
                  </a:moveTo>
                  <a:lnTo>
                    <a:pt x="1030" y="911"/>
                  </a:lnTo>
                  <a:lnTo>
                    <a:pt x="1030" y="913"/>
                  </a:lnTo>
                  <a:close/>
                  <a:moveTo>
                    <a:pt x="1028" y="911"/>
                  </a:moveTo>
                  <a:lnTo>
                    <a:pt x="1030" y="911"/>
                  </a:lnTo>
                  <a:lnTo>
                    <a:pt x="1028" y="913"/>
                  </a:lnTo>
                  <a:lnTo>
                    <a:pt x="1027" y="916"/>
                  </a:lnTo>
                  <a:lnTo>
                    <a:pt x="1027" y="918"/>
                  </a:lnTo>
                  <a:lnTo>
                    <a:pt x="1025" y="918"/>
                  </a:lnTo>
                  <a:lnTo>
                    <a:pt x="1025" y="916"/>
                  </a:lnTo>
                  <a:lnTo>
                    <a:pt x="1027" y="916"/>
                  </a:lnTo>
                  <a:lnTo>
                    <a:pt x="1027" y="914"/>
                  </a:lnTo>
                  <a:lnTo>
                    <a:pt x="1028" y="914"/>
                  </a:lnTo>
                  <a:lnTo>
                    <a:pt x="1028" y="913"/>
                  </a:lnTo>
                  <a:lnTo>
                    <a:pt x="1028" y="911"/>
                  </a:lnTo>
                  <a:close/>
                  <a:moveTo>
                    <a:pt x="1025" y="913"/>
                  </a:moveTo>
                  <a:lnTo>
                    <a:pt x="1025" y="911"/>
                  </a:lnTo>
                  <a:lnTo>
                    <a:pt x="1025" y="913"/>
                  </a:lnTo>
                  <a:close/>
                  <a:moveTo>
                    <a:pt x="1025" y="911"/>
                  </a:moveTo>
                  <a:lnTo>
                    <a:pt x="1027" y="911"/>
                  </a:lnTo>
                  <a:lnTo>
                    <a:pt x="1025" y="911"/>
                  </a:lnTo>
                  <a:close/>
                  <a:moveTo>
                    <a:pt x="1001" y="908"/>
                  </a:moveTo>
                  <a:lnTo>
                    <a:pt x="1002" y="908"/>
                  </a:lnTo>
                  <a:lnTo>
                    <a:pt x="1001" y="908"/>
                  </a:lnTo>
                  <a:close/>
                  <a:moveTo>
                    <a:pt x="1001" y="908"/>
                  </a:moveTo>
                  <a:lnTo>
                    <a:pt x="1001" y="906"/>
                  </a:lnTo>
                  <a:lnTo>
                    <a:pt x="1001" y="908"/>
                  </a:lnTo>
                  <a:close/>
                  <a:moveTo>
                    <a:pt x="1001" y="908"/>
                  </a:moveTo>
                  <a:lnTo>
                    <a:pt x="1001" y="906"/>
                  </a:lnTo>
                  <a:lnTo>
                    <a:pt x="1001" y="908"/>
                  </a:lnTo>
                  <a:close/>
                  <a:moveTo>
                    <a:pt x="1002" y="906"/>
                  </a:moveTo>
                  <a:lnTo>
                    <a:pt x="1002" y="908"/>
                  </a:lnTo>
                  <a:lnTo>
                    <a:pt x="1002" y="906"/>
                  </a:lnTo>
                  <a:close/>
                  <a:moveTo>
                    <a:pt x="1001" y="908"/>
                  </a:moveTo>
                  <a:lnTo>
                    <a:pt x="1001" y="906"/>
                  </a:lnTo>
                  <a:lnTo>
                    <a:pt x="1001" y="908"/>
                  </a:lnTo>
                  <a:close/>
                  <a:moveTo>
                    <a:pt x="1002" y="906"/>
                  </a:moveTo>
                  <a:lnTo>
                    <a:pt x="1001" y="906"/>
                  </a:lnTo>
                  <a:lnTo>
                    <a:pt x="1002" y="906"/>
                  </a:lnTo>
                  <a:close/>
                  <a:moveTo>
                    <a:pt x="1001" y="905"/>
                  </a:moveTo>
                  <a:lnTo>
                    <a:pt x="1002" y="905"/>
                  </a:lnTo>
                  <a:lnTo>
                    <a:pt x="1002" y="906"/>
                  </a:lnTo>
                  <a:lnTo>
                    <a:pt x="1001" y="906"/>
                  </a:lnTo>
                  <a:lnTo>
                    <a:pt x="1001" y="905"/>
                  </a:lnTo>
                  <a:close/>
                  <a:moveTo>
                    <a:pt x="1001" y="905"/>
                  </a:moveTo>
                  <a:lnTo>
                    <a:pt x="1001" y="906"/>
                  </a:lnTo>
                  <a:lnTo>
                    <a:pt x="1001" y="905"/>
                  </a:lnTo>
                  <a:close/>
                  <a:moveTo>
                    <a:pt x="1014" y="903"/>
                  </a:moveTo>
                  <a:lnTo>
                    <a:pt x="1014" y="905"/>
                  </a:lnTo>
                  <a:lnTo>
                    <a:pt x="1014" y="903"/>
                  </a:lnTo>
                  <a:close/>
                  <a:moveTo>
                    <a:pt x="1020" y="903"/>
                  </a:moveTo>
                  <a:lnTo>
                    <a:pt x="1020" y="905"/>
                  </a:lnTo>
                  <a:lnTo>
                    <a:pt x="1020" y="903"/>
                  </a:lnTo>
                  <a:close/>
                  <a:moveTo>
                    <a:pt x="1015" y="905"/>
                  </a:moveTo>
                  <a:lnTo>
                    <a:pt x="1015" y="903"/>
                  </a:lnTo>
                  <a:lnTo>
                    <a:pt x="1017" y="905"/>
                  </a:lnTo>
                  <a:lnTo>
                    <a:pt x="1017" y="903"/>
                  </a:lnTo>
                  <a:lnTo>
                    <a:pt x="1017" y="905"/>
                  </a:lnTo>
                  <a:lnTo>
                    <a:pt x="1015" y="905"/>
                  </a:lnTo>
                  <a:close/>
                  <a:moveTo>
                    <a:pt x="1022" y="903"/>
                  </a:moveTo>
                  <a:lnTo>
                    <a:pt x="1022" y="905"/>
                  </a:lnTo>
                  <a:lnTo>
                    <a:pt x="1022" y="903"/>
                  </a:lnTo>
                  <a:close/>
                  <a:moveTo>
                    <a:pt x="1014" y="903"/>
                  </a:moveTo>
                  <a:lnTo>
                    <a:pt x="1012" y="903"/>
                  </a:lnTo>
                  <a:lnTo>
                    <a:pt x="1014" y="903"/>
                  </a:lnTo>
                  <a:close/>
                  <a:moveTo>
                    <a:pt x="1004" y="901"/>
                  </a:moveTo>
                  <a:lnTo>
                    <a:pt x="1006" y="901"/>
                  </a:lnTo>
                  <a:lnTo>
                    <a:pt x="1004" y="901"/>
                  </a:lnTo>
                  <a:close/>
                  <a:moveTo>
                    <a:pt x="997" y="901"/>
                  </a:moveTo>
                  <a:lnTo>
                    <a:pt x="996" y="901"/>
                  </a:lnTo>
                  <a:lnTo>
                    <a:pt x="997" y="900"/>
                  </a:lnTo>
                  <a:lnTo>
                    <a:pt x="997" y="901"/>
                  </a:lnTo>
                  <a:close/>
                  <a:moveTo>
                    <a:pt x="1004" y="901"/>
                  </a:moveTo>
                  <a:lnTo>
                    <a:pt x="1004" y="900"/>
                  </a:lnTo>
                  <a:lnTo>
                    <a:pt x="1004" y="901"/>
                  </a:lnTo>
                  <a:close/>
                  <a:moveTo>
                    <a:pt x="983" y="901"/>
                  </a:moveTo>
                  <a:lnTo>
                    <a:pt x="983" y="900"/>
                  </a:lnTo>
                  <a:lnTo>
                    <a:pt x="983" y="901"/>
                  </a:lnTo>
                  <a:close/>
                  <a:moveTo>
                    <a:pt x="997" y="900"/>
                  </a:moveTo>
                  <a:lnTo>
                    <a:pt x="996" y="900"/>
                  </a:lnTo>
                  <a:lnTo>
                    <a:pt x="997" y="900"/>
                  </a:lnTo>
                  <a:close/>
                  <a:moveTo>
                    <a:pt x="996" y="900"/>
                  </a:moveTo>
                  <a:lnTo>
                    <a:pt x="996" y="898"/>
                  </a:lnTo>
                  <a:lnTo>
                    <a:pt x="996" y="900"/>
                  </a:lnTo>
                  <a:close/>
                  <a:moveTo>
                    <a:pt x="983" y="900"/>
                  </a:moveTo>
                  <a:lnTo>
                    <a:pt x="983" y="898"/>
                  </a:lnTo>
                  <a:lnTo>
                    <a:pt x="983" y="900"/>
                  </a:lnTo>
                  <a:close/>
                  <a:moveTo>
                    <a:pt x="1004" y="900"/>
                  </a:moveTo>
                  <a:lnTo>
                    <a:pt x="1004" y="898"/>
                  </a:lnTo>
                  <a:lnTo>
                    <a:pt x="1004" y="900"/>
                  </a:lnTo>
                  <a:close/>
                  <a:moveTo>
                    <a:pt x="1036" y="898"/>
                  </a:moveTo>
                  <a:lnTo>
                    <a:pt x="1038" y="898"/>
                  </a:lnTo>
                  <a:lnTo>
                    <a:pt x="1038" y="900"/>
                  </a:lnTo>
                  <a:lnTo>
                    <a:pt x="1036" y="900"/>
                  </a:lnTo>
                  <a:lnTo>
                    <a:pt x="1038" y="900"/>
                  </a:lnTo>
                  <a:lnTo>
                    <a:pt x="1036" y="900"/>
                  </a:lnTo>
                  <a:lnTo>
                    <a:pt x="1036" y="898"/>
                  </a:lnTo>
                  <a:close/>
                  <a:moveTo>
                    <a:pt x="997" y="898"/>
                  </a:moveTo>
                  <a:lnTo>
                    <a:pt x="996" y="898"/>
                  </a:lnTo>
                  <a:lnTo>
                    <a:pt x="997" y="898"/>
                  </a:lnTo>
                  <a:close/>
                  <a:moveTo>
                    <a:pt x="1036" y="898"/>
                  </a:moveTo>
                  <a:lnTo>
                    <a:pt x="1038" y="898"/>
                  </a:lnTo>
                  <a:lnTo>
                    <a:pt x="1036" y="898"/>
                  </a:lnTo>
                  <a:close/>
                  <a:moveTo>
                    <a:pt x="1040" y="898"/>
                  </a:moveTo>
                  <a:lnTo>
                    <a:pt x="1041" y="898"/>
                  </a:lnTo>
                  <a:lnTo>
                    <a:pt x="1040" y="898"/>
                  </a:lnTo>
                  <a:close/>
                  <a:moveTo>
                    <a:pt x="1028" y="896"/>
                  </a:moveTo>
                  <a:lnTo>
                    <a:pt x="1028" y="898"/>
                  </a:lnTo>
                  <a:lnTo>
                    <a:pt x="1027" y="898"/>
                  </a:lnTo>
                  <a:lnTo>
                    <a:pt x="1028" y="896"/>
                  </a:lnTo>
                  <a:close/>
                  <a:moveTo>
                    <a:pt x="994" y="898"/>
                  </a:moveTo>
                  <a:lnTo>
                    <a:pt x="994" y="896"/>
                  </a:lnTo>
                  <a:lnTo>
                    <a:pt x="994" y="898"/>
                  </a:lnTo>
                  <a:close/>
                  <a:moveTo>
                    <a:pt x="994" y="896"/>
                  </a:moveTo>
                  <a:lnTo>
                    <a:pt x="996" y="898"/>
                  </a:lnTo>
                  <a:lnTo>
                    <a:pt x="994" y="898"/>
                  </a:lnTo>
                  <a:lnTo>
                    <a:pt x="994" y="896"/>
                  </a:lnTo>
                  <a:close/>
                  <a:moveTo>
                    <a:pt x="1019" y="896"/>
                  </a:moveTo>
                  <a:lnTo>
                    <a:pt x="1020" y="896"/>
                  </a:lnTo>
                  <a:lnTo>
                    <a:pt x="1019" y="896"/>
                  </a:lnTo>
                  <a:close/>
                  <a:moveTo>
                    <a:pt x="1020" y="896"/>
                  </a:moveTo>
                  <a:lnTo>
                    <a:pt x="1020" y="895"/>
                  </a:lnTo>
                  <a:lnTo>
                    <a:pt x="1020" y="896"/>
                  </a:lnTo>
                  <a:close/>
                  <a:moveTo>
                    <a:pt x="996" y="896"/>
                  </a:moveTo>
                  <a:lnTo>
                    <a:pt x="996" y="895"/>
                  </a:lnTo>
                  <a:lnTo>
                    <a:pt x="996" y="896"/>
                  </a:lnTo>
                  <a:close/>
                  <a:moveTo>
                    <a:pt x="996" y="895"/>
                  </a:moveTo>
                  <a:lnTo>
                    <a:pt x="997" y="895"/>
                  </a:lnTo>
                  <a:lnTo>
                    <a:pt x="997" y="896"/>
                  </a:lnTo>
                  <a:lnTo>
                    <a:pt x="996" y="896"/>
                  </a:lnTo>
                  <a:lnTo>
                    <a:pt x="996" y="895"/>
                  </a:lnTo>
                  <a:lnTo>
                    <a:pt x="997" y="895"/>
                  </a:lnTo>
                  <a:lnTo>
                    <a:pt x="996" y="895"/>
                  </a:lnTo>
                  <a:close/>
                  <a:moveTo>
                    <a:pt x="1028" y="895"/>
                  </a:moveTo>
                  <a:lnTo>
                    <a:pt x="1030" y="895"/>
                  </a:lnTo>
                  <a:lnTo>
                    <a:pt x="1030" y="896"/>
                  </a:lnTo>
                  <a:lnTo>
                    <a:pt x="1030" y="895"/>
                  </a:lnTo>
                  <a:lnTo>
                    <a:pt x="1030" y="896"/>
                  </a:lnTo>
                  <a:lnTo>
                    <a:pt x="1030" y="898"/>
                  </a:lnTo>
                  <a:lnTo>
                    <a:pt x="1028" y="901"/>
                  </a:lnTo>
                  <a:lnTo>
                    <a:pt x="1027" y="903"/>
                  </a:lnTo>
                  <a:lnTo>
                    <a:pt x="1027" y="901"/>
                  </a:lnTo>
                  <a:lnTo>
                    <a:pt x="1027" y="900"/>
                  </a:lnTo>
                  <a:lnTo>
                    <a:pt x="1027" y="898"/>
                  </a:lnTo>
                  <a:lnTo>
                    <a:pt x="1028" y="898"/>
                  </a:lnTo>
                  <a:lnTo>
                    <a:pt x="1028" y="896"/>
                  </a:lnTo>
                  <a:lnTo>
                    <a:pt x="1028" y="895"/>
                  </a:lnTo>
                  <a:lnTo>
                    <a:pt x="1028" y="896"/>
                  </a:lnTo>
                  <a:lnTo>
                    <a:pt x="1028" y="895"/>
                  </a:lnTo>
                  <a:close/>
                  <a:moveTo>
                    <a:pt x="1022" y="893"/>
                  </a:moveTo>
                  <a:lnTo>
                    <a:pt x="1023" y="893"/>
                  </a:lnTo>
                  <a:lnTo>
                    <a:pt x="1023" y="895"/>
                  </a:lnTo>
                  <a:lnTo>
                    <a:pt x="1023" y="893"/>
                  </a:lnTo>
                  <a:lnTo>
                    <a:pt x="1023" y="895"/>
                  </a:lnTo>
                  <a:lnTo>
                    <a:pt x="1022" y="895"/>
                  </a:lnTo>
                  <a:lnTo>
                    <a:pt x="1022" y="893"/>
                  </a:lnTo>
                  <a:close/>
                  <a:moveTo>
                    <a:pt x="1022" y="893"/>
                  </a:moveTo>
                  <a:lnTo>
                    <a:pt x="1022" y="892"/>
                  </a:lnTo>
                  <a:lnTo>
                    <a:pt x="1022" y="893"/>
                  </a:lnTo>
                  <a:close/>
                  <a:moveTo>
                    <a:pt x="1036" y="893"/>
                  </a:moveTo>
                  <a:lnTo>
                    <a:pt x="1036" y="895"/>
                  </a:lnTo>
                  <a:lnTo>
                    <a:pt x="1036" y="893"/>
                  </a:lnTo>
                  <a:lnTo>
                    <a:pt x="1036" y="892"/>
                  </a:lnTo>
                  <a:lnTo>
                    <a:pt x="1036" y="893"/>
                  </a:lnTo>
                  <a:close/>
                  <a:moveTo>
                    <a:pt x="1028" y="893"/>
                  </a:moveTo>
                  <a:lnTo>
                    <a:pt x="1030" y="892"/>
                  </a:lnTo>
                  <a:lnTo>
                    <a:pt x="1028" y="893"/>
                  </a:lnTo>
                  <a:close/>
                  <a:moveTo>
                    <a:pt x="1001" y="892"/>
                  </a:moveTo>
                  <a:lnTo>
                    <a:pt x="1002" y="892"/>
                  </a:lnTo>
                  <a:lnTo>
                    <a:pt x="1001" y="892"/>
                  </a:lnTo>
                  <a:close/>
                  <a:moveTo>
                    <a:pt x="1002" y="893"/>
                  </a:moveTo>
                  <a:lnTo>
                    <a:pt x="1002" y="892"/>
                  </a:lnTo>
                  <a:lnTo>
                    <a:pt x="1004" y="892"/>
                  </a:lnTo>
                  <a:lnTo>
                    <a:pt x="1004" y="893"/>
                  </a:lnTo>
                  <a:lnTo>
                    <a:pt x="1002" y="893"/>
                  </a:lnTo>
                  <a:close/>
                  <a:moveTo>
                    <a:pt x="1001" y="892"/>
                  </a:moveTo>
                  <a:lnTo>
                    <a:pt x="1001" y="890"/>
                  </a:lnTo>
                  <a:lnTo>
                    <a:pt x="1001" y="892"/>
                  </a:lnTo>
                  <a:close/>
                  <a:moveTo>
                    <a:pt x="1002" y="892"/>
                  </a:moveTo>
                  <a:lnTo>
                    <a:pt x="1002" y="890"/>
                  </a:lnTo>
                  <a:lnTo>
                    <a:pt x="1002" y="892"/>
                  </a:lnTo>
                  <a:close/>
                  <a:moveTo>
                    <a:pt x="1036" y="890"/>
                  </a:moveTo>
                  <a:lnTo>
                    <a:pt x="1038" y="890"/>
                  </a:lnTo>
                  <a:lnTo>
                    <a:pt x="1036" y="890"/>
                  </a:lnTo>
                  <a:close/>
                  <a:moveTo>
                    <a:pt x="1007" y="890"/>
                  </a:moveTo>
                  <a:lnTo>
                    <a:pt x="1007" y="892"/>
                  </a:lnTo>
                  <a:lnTo>
                    <a:pt x="1007" y="890"/>
                  </a:lnTo>
                  <a:close/>
                  <a:moveTo>
                    <a:pt x="1002" y="890"/>
                  </a:moveTo>
                  <a:lnTo>
                    <a:pt x="1002" y="892"/>
                  </a:lnTo>
                  <a:lnTo>
                    <a:pt x="1002" y="890"/>
                  </a:lnTo>
                  <a:lnTo>
                    <a:pt x="1001" y="892"/>
                  </a:lnTo>
                  <a:lnTo>
                    <a:pt x="1002" y="890"/>
                  </a:lnTo>
                  <a:close/>
                  <a:moveTo>
                    <a:pt x="1002" y="890"/>
                  </a:moveTo>
                  <a:lnTo>
                    <a:pt x="1004" y="890"/>
                  </a:lnTo>
                  <a:lnTo>
                    <a:pt x="1002" y="890"/>
                  </a:lnTo>
                  <a:close/>
                  <a:moveTo>
                    <a:pt x="1007" y="890"/>
                  </a:moveTo>
                  <a:lnTo>
                    <a:pt x="1006" y="890"/>
                  </a:lnTo>
                  <a:lnTo>
                    <a:pt x="1007" y="888"/>
                  </a:lnTo>
                  <a:lnTo>
                    <a:pt x="1007" y="890"/>
                  </a:lnTo>
                  <a:close/>
                  <a:moveTo>
                    <a:pt x="1007" y="890"/>
                  </a:moveTo>
                  <a:lnTo>
                    <a:pt x="1007" y="888"/>
                  </a:lnTo>
                  <a:lnTo>
                    <a:pt x="1007" y="890"/>
                  </a:lnTo>
                  <a:close/>
                  <a:moveTo>
                    <a:pt x="1038" y="890"/>
                  </a:moveTo>
                  <a:lnTo>
                    <a:pt x="1040" y="888"/>
                  </a:lnTo>
                  <a:lnTo>
                    <a:pt x="1040" y="890"/>
                  </a:lnTo>
                  <a:lnTo>
                    <a:pt x="1038" y="890"/>
                  </a:lnTo>
                  <a:close/>
                  <a:moveTo>
                    <a:pt x="1022" y="890"/>
                  </a:moveTo>
                  <a:lnTo>
                    <a:pt x="1023" y="890"/>
                  </a:lnTo>
                  <a:lnTo>
                    <a:pt x="1023" y="888"/>
                  </a:lnTo>
                  <a:lnTo>
                    <a:pt x="1025" y="888"/>
                  </a:lnTo>
                  <a:lnTo>
                    <a:pt x="1027" y="888"/>
                  </a:lnTo>
                  <a:lnTo>
                    <a:pt x="1027" y="890"/>
                  </a:lnTo>
                  <a:lnTo>
                    <a:pt x="1027" y="892"/>
                  </a:lnTo>
                  <a:lnTo>
                    <a:pt x="1027" y="890"/>
                  </a:lnTo>
                  <a:lnTo>
                    <a:pt x="1027" y="892"/>
                  </a:lnTo>
                  <a:lnTo>
                    <a:pt x="1027" y="890"/>
                  </a:lnTo>
                  <a:lnTo>
                    <a:pt x="1027" y="892"/>
                  </a:lnTo>
                  <a:lnTo>
                    <a:pt x="1025" y="892"/>
                  </a:lnTo>
                  <a:lnTo>
                    <a:pt x="1023" y="892"/>
                  </a:lnTo>
                  <a:lnTo>
                    <a:pt x="1023" y="893"/>
                  </a:lnTo>
                  <a:lnTo>
                    <a:pt x="1023" y="892"/>
                  </a:lnTo>
                  <a:lnTo>
                    <a:pt x="1023" y="893"/>
                  </a:lnTo>
                  <a:lnTo>
                    <a:pt x="1022" y="892"/>
                  </a:lnTo>
                  <a:lnTo>
                    <a:pt x="1022" y="893"/>
                  </a:lnTo>
                  <a:lnTo>
                    <a:pt x="1023" y="893"/>
                  </a:lnTo>
                  <a:lnTo>
                    <a:pt x="1022" y="893"/>
                  </a:lnTo>
                  <a:lnTo>
                    <a:pt x="1022" y="892"/>
                  </a:lnTo>
                  <a:lnTo>
                    <a:pt x="1022" y="890"/>
                  </a:lnTo>
                  <a:lnTo>
                    <a:pt x="1023" y="890"/>
                  </a:lnTo>
                  <a:lnTo>
                    <a:pt x="1022" y="890"/>
                  </a:lnTo>
                  <a:close/>
                  <a:moveTo>
                    <a:pt x="1040" y="888"/>
                  </a:moveTo>
                  <a:lnTo>
                    <a:pt x="1041" y="887"/>
                  </a:lnTo>
                  <a:lnTo>
                    <a:pt x="1041" y="888"/>
                  </a:lnTo>
                  <a:lnTo>
                    <a:pt x="1040" y="888"/>
                  </a:lnTo>
                  <a:close/>
                  <a:moveTo>
                    <a:pt x="1040" y="888"/>
                  </a:moveTo>
                  <a:lnTo>
                    <a:pt x="1041" y="887"/>
                  </a:lnTo>
                  <a:lnTo>
                    <a:pt x="1040" y="888"/>
                  </a:lnTo>
                  <a:close/>
                  <a:moveTo>
                    <a:pt x="1009" y="887"/>
                  </a:moveTo>
                  <a:lnTo>
                    <a:pt x="1010" y="887"/>
                  </a:lnTo>
                  <a:lnTo>
                    <a:pt x="1009" y="887"/>
                  </a:lnTo>
                  <a:lnTo>
                    <a:pt x="1010" y="887"/>
                  </a:lnTo>
                  <a:lnTo>
                    <a:pt x="1009" y="887"/>
                  </a:lnTo>
                  <a:close/>
                  <a:moveTo>
                    <a:pt x="1020" y="887"/>
                  </a:moveTo>
                  <a:lnTo>
                    <a:pt x="1022" y="887"/>
                  </a:lnTo>
                  <a:lnTo>
                    <a:pt x="1020" y="887"/>
                  </a:lnTo>
                  <a:close/>
                  <a:moveTo>
                    <a:pt x="1022" y="887"/>
                  </a:moveTo>
                  <a:lnTo>
                    <a:pt x="1023" y="887"/>
                  </a:lnTo>
                  <a:lnTo>
                    <a:pt x="1022" y="887"/>
                  </a:lnTo>
                  <a:close/>
                  <a:moveTo>
                    <a:pt x="1014" y="887"/>
                  </a:moveTo>
                  <a:lnTo>
                    <a:pt x="1015" y="887"/>
                  </a:lnTo>
                  <a:lnTo>
                    <a:pt x="1014" y="887"/>
                  </a:lnTo>
                  <a:close/>
                  <a:moveTo>
                    <a:pt x="1023" y="885"/>
                  </a:moveTo>
                  <a:lnTo>
                    <a:pt x="1023" y="887"/>
                  </a:lnTo>
                  <a:lnTo>
                    <a:pt x="1023" y="885"/>
                  </a:lnTo>
                  <a:close/>
                  <a:moveTo>
                    <a:pt x="1010" y="885"/>
                  </a:moveTo>
                  <a:lnTo>
                    <a:pt x="1012" y="885"/>
                  </a:lnTo>
                  <a:lnTo>
                    <a:pt x="1010" y="885"/>
                  </a:lnTo>
                  <a:close/>
                  <a:moveTo>
                    <a:pt x="1010" y="887"/>
                  </a:moveTo>
                  <a:lnTo>
                    <a:pt x="1010" y="885"/>
                  </a:lnTo>
                  <a:lnTo>
                    <a:pt x="1010" y="887"/>
                  </a:lnTo>
                  <a:close/>
                  <a:moveTo>
                    <a:pt x="1054" y="885"/>
                  </a:moveTo>
                  <a:lnTo>
                    <a:pt x="1054" y="887"/>
                  </a:lnTo>
                  <a:lnTo>
                    <a:pt x="1054" y="885"/>
                  </a:lnTo>
                  <a:close/>
                  <a:moveTo>
                    <a:pt x="1012" y="887"/>
                  </a:moveTo>
                  <a:lnTo>
                    <a:pt x="1014" y="887"/>
                  </a:lnTo>
                  <a:lnTo>
                    <a:pt x="1014" y="885"/>
                  </a:lnTo>
                  <a:lnTo>
                    <a:pt x="1014" y="887"/>
                  </a:lnTo>
                  <a:lnTo>
                    <a:pt x="1015" y="887"/>
                  </a:lnTo>
                  <a:lnTo>
                    <a:pt x="1015" y="885"/>
                  </a:lnTo>
                  <a:lnTo>
                    <a:pt x="1015" y="887"/>
                  </a:lnTo>
                  <a:lnTo>
                    <a:pt x="1015" y="885"/>
                  </a:lnTo>
                  <a:lnTo>
                    <a:pt x="1017" y="885"/>
                  </a:lnTo>
                  <a:lnTo>
                    <a:pt x="1017" y="887"/>
                  </a:lnTo>
                  <a:lnTo>
                    <a:pt x="1019" y="887"/>
                  </a:lnTo>
                  <a:lnTo>
                    <a:pt x="1020" y="887"/>
                  </a:lnTo>
                  <a:lnTo>
                    <a:pt x="1022" y="887"/>
                  </a:lnTo>
                  <a:lnTo>
                    <a:pt x="1022" y="888"/>
                  </a:lnTo>
                  <a:lnTo>
                    <a:pt x="1022" y="887"/>
                  </a:lnTo>
                  <a:lnTo>
                    <a:pt x="1022" y="888"/>
                  </a:lnTo>
                  <a:lnTo>
                    <a:pt x="1020" y="888"/>
                  </a:lnTo>
                  <a:lnTo>
                    <a:pt x="1022" y="888"/>
                  </a:lnTo>
                  <a:lnTo>
                    <a:pt x="1020" y="888"/>
                  </a:lnTo>
                  <a:lnTo>
                    <a:pt x="1020" y="887"/>
                  </a:lnTo>
                  <a:lnTo>
                    <a:pt x="1020" y="888"/>
                  </a:lnTo>
                  <a:lnTo>
                    <a:pt x="1020" y="890"/>
                  </a:lnTo>
                  <a:lnTo>
                    <a:pt x="1020" y="888"/>
                  </a:lnTo>
                  <a:lnTo>
                    <a:pt x="1020" y="890"/>
                  </a:lnTo>
                  <a:lnTo>
                    <a:pt x="1022" y="890"/>
                  </a:lnTo>
                  <a:lnTo>
                    <a:pt x="1022" y="888"/>
                  </a:lnTo>
                  <a:lnTo>
                    <a:pt x="1023" y="888"/>
                  </a:lnTo>
                  <a:lnTo>
                    <a:pt x="1023" y="890"/>
                  </a:lnTo>
                  <a:lnTo>
                    <a:pt x="1022" y="890"/>
                  </a:lnTo>
                  <a:lnTo>
                    <a:pt x="1020" y="890"/>
                  </a:lnTo>
                  <a:lnTo>
                    <a:pt x="1022" y="892"/>
                  </a:lnTo>
                  <a:lnTo>
                    <a:pt x="1020" y="892"/>
                  </a:lnTo>
                  <a:lnTo>
                    <a:pt x="1022" y="892"/>
                  </a:lnTo>
                  <a:lnTo>
                    <a:pt x="1020" y="892"/>
                  </a:lnTo>
                  <a:lnTo>
                    <a:pt x="1022" y="892"/>
                  </a:lnTo>
                  <a:lnTo>
                    <a:pt x="1022" y="893"/>
                  </a:lnTo>
                  <a:lnTo>
                    <a:pt x="1020" y="893"/>
                  </a:lnTo>
                  <a:lnTo>
                    <a:pt x="1020" y="895"/>
                  </a:lnTo>
                  <a:lnTo>
                    <a:pt x="1019" y="895"/>
                  </a:lnTo>
                  <a:lnTo>
                    <a:pt x="1019" y="896"/>
                  </a:lnTo>
                  <a:lnTo>
                    <a:pt x="1019" y="898"/>
                  </a:lnTo>
                  <a:lnTo>
                    <a:pt x="1017" y="900"/>
                  </a:lnTo>
                  <a:lnTo>
                    <a:pt x="1017" y="901"/>
                  </a:lnTo>
                  <a:lnTo>
                    <a:pt x="1015" y="901"/>
                  </a:lnTo>
                  <a:lnTo>
                    <a:pt x="1015" y="903"/>
                  </a:lnTo>
                  <a:lnTo>
                    <a:pt x="1014" y="903"/>
                  </a:lnTo>
                  <a:lnTo>
                    <a:pt x="1014" y="905"/>
                  </a:lnTo>
                  <a:lnTo>
                    <a:pt x="1014" y="903"/>
                  </a:lnTo>
                  <a:lnTo>
                    <a:pt x="1014" y="901"/>
                  </a:lnTo>
                  <a:lnTo>
                    <a:pt x="1012" y="903"/>
                  </a:lnTo>
                  <a:lnTo>
                    <a:pt x="1010" y="903"/>
                  </a:lnTo>
                  <a:lnTo>
                    <a:pt x="1010" y="901"/>
                  </a:lnTo>
                  <a:lnTo>
                    <a:pt x="1012" y="901"/>
                  </a:lnTo>
                  <a:lnTo>
                    <a:pt x="1010" y="901"/>
                  </a:lnTo>
                  <a:lnTo>
                    <a:pt x="1009" y="901"/>
                  </a:lnTo>
                  <a:lnTo>
                    <a:pt x="1010" y="901"/>
                  </a:lnTo>
                  <a:lnTo>
                    <a:pt x="1009" y="900"/>
                  </a:lnTo>
                  <a:lnTo>
                    <a:pt x="1009" y="901"/>
                  </a:lnTo>
                  <a:lnTo>
                    <a:pt x="1009" y="900"/>
                  </a:lnTo>
                  <a:lnTo>
                    <a:pt x="1007" y="900"/>
                  </a:lnTo>
                  <a:lnTo>
                    <a:pt x="1007" y="901"/>
                  </a:lnTo>
                  <a:lnTo>
                    <a:pt x="1006" y="901"/>
                  </a:lnTo>
                  <a:lnTo>
                    <a:pt x="1004" y="900"/>
                  </a:lnTo>
                  <a:lnTo>
                    <a:pt x="1004" y="901"/>
                  </a:lnTo>
                  <a:lnTo>
                    <a:pt x="1004" y="900"/>
                  </a:lnTo>
                  <a:lnTo>
                    <a:pt x="1006" y="900"/>
                  </a:lnTo>
                  <a:lnTo>
                    <a:pt x="1004" y="900"/>
                  </a:lnTo>
                  <a:lnTo>
                    <a:pt x="1006" y="900"/>
                  </a:lnTo>
                  <a:lnTo>
                    <a:pt x="1006" y="898"/>
                  </a:lnTo>
                  <a:lnTo>
                    <a:pt x="1007" y="896"/>
                  </a:lnTo>
                  <a:lnTo>
                    <a:pt x="1006" y="896"/>
                  </a:lnTo>
                  <a:lnTo>
                    <a:pt x="1007" y="895"/>
                  </a:lnTo>
                  <a:lnTo>
                    <a:pt x="1007" y="893"/>
                  </a:lnTo>
                  <a:lnTo>
                    <a:pt x="1007" y="892"/>
                  </a:lnTo>
                  <a:lnTo>
                    <a:pt x="1007" y="890"/>
                  </a:lnTo>
                  <a:lnTo>
                    <a:pt x="1009" y="890"/>
                  </a:lnTo>
                  <a:lnTo>
                    <a:pt x="1009" y="888"/>
                  </a:lnTo>
                  <a:lnTo>
                    <a:pt x="1010" y="888"/>
                  </a:lnTo>
                  <a:lnTo>
                    <a:pt x="1009" y="888"/>
                  </a:lnTo>
                  <a:lnTo>
                    <a:pt x="1010" y="888"/>
                  </a:lnTo>
                  <a:lnTo>
                    <a:pt x="1010" y="887"/>
                  </a:lnTo>
                  <a:lnTo>
                    <a:pt x="1012" y="887"/>
                  </a:lnTo>
                  <a:lnTo>
                    <a:pt x="1012" y="885"/>
                  </a:lnTo>
                  <a:lnTo>
                    <a:pt x="1012" y="887"/>
                  </a:lnTo>
                  <a:close/>
                  <a:moveTo>
                    <a:pt x="1010" y="885"/>
                  </a:moveTo>
                  <a:lnTo>
                    <a:pt x="1010" y="887"/>
                  </a:lnTo>
                  <a:lnTo>
                    <a:pt x="1010" y="885"/>
                  </a:lnTo>
                  <a:close/>
                  <a:moveTo>
                    <a:pt x="1019" y="885"/>
                  </a:moveTo>
                  <a:lnTo>
                    <a:pt x="1020" y="885"/>
                  </a:lnTo>
                  <a:lnTo>
                    <a:pt x="1020" y="887"/>
                  </a:lnTo>
                  <a:lnTo>
                    <a:pt x="1019" y="887"/>
                  </a:lnTo>
                  <a:lnTo>
                    <a:pt x="1020" y="885"/>
                  </a:lnTo>
                  <a:lnTo>
                    <a:pt x="1019" y="885"/>
                  </a:lnTo>
                  <a:close/>
                  <a:moveTo>
                    <a:pt x="1010" y="885"/>
                  </a:moveTo>
                  <a:lnTo>
                    <a:pt x="1012" y="885"/>
                  </a:lnTo>
                  <a:lnTo>
                    <a:pt x="1010" y="885"/>
                  </a:lnTo>
                  <a:close/>
                  <a:moveTo>
                    <a:pt x="1020" y="885"/>
                  </a:moveTo>
                  <a:lnTo>
                    <a:pt x="1022" y="885"/>
                  </a:lnTo>
                  <a:lnTo>
                    <a:pt x="1020" y="885"/>
                  </a:lnTo>
                  <a:lnTo>
                    <a:pt x="1022" y="887"/>
                  </a:lnTo>
                  <a:lnTo>
                    <a:pt x="1020" y="887"/>
                  </a:lnTo>
                  <a:lnTo>
                    <a:pt x="1020" y="885"/>
                  </a:lnTo>
                  <a:close/>
                  <a:moveTo>
                    <a:pt x="1017" y="885"/>
                  </a:moveTo>
                  <a:lnTo>
                    <a:pt x="1019" y="885"/>
                  </a:lnTo>
                  <a:lnTo>
                    <a:pt x="1019" y="887"/>
                  </a:lnTo>
                  <a:lnTo>
                    <a:pt x="1019" y="885"/>
                  </a:lnTo>
                  <a:lnTo>
                    <a:pt x="1017" y="887"/>
                  </a:lnTo>
                  <a:lnTo>
                    <a:pt x="1017" y="885"/>
                  </a:lnTo>
                  <a:close/>
                  <a:moveTo>
                    <a:pt x="1012" y="885"/>
                  </a:moveTo>
                  <a:lnTo>
                    <a:pt x="1014" y="885"/>
                  </a:lnTo>
                  <a:lnTo>
                    <a:pt x="1012" y="885"/>
                  </a:lnTo>
                  <a:close/>
                  <a:moveTo>
                    <a:pt x="1015" y="885"/>
                  </a:moveTo>
                  <a:lnTo>
                    <a:pt x="1017" y="885"/>
                  </a:lnTo>
                  <a:lnTo>
                    <a:pt x="1015" y="885"/>
                  </a:lnTo>
                  <a:close/>
                  <a:moveTo>
                    <a:pt x="1022" y="883"/>
                  </a:moveTo>
                  <a:lnTo>
                    <a:pt x="1023" y="883"/>
                  </a:lnTo>
                  <a:lnTo>
                    <a:pt x="1022" y="883"/>
                  </a:lnTo>
                  <a:close/>
                  <a:moveTo>
                    <a:pt x="1045" y="885"/>
                  </a:moveTo>
                  <a:lnTo>
                    <a:pt x="1045" y="887"/>
                  </a:lnTo>
                  <a:lnTo>
                    <a:pt x="1043" y="888"/>
                  </a:lnTo>
                  <a:lnTo>
                    <a:pt x="1041" y="890"/>
                  </a:lnTo>
                  <a:lnTo>
                    <a:pt x="1041" y="892"/>
                  </a:lnTo>
                  <a:lnTo>
                    <a:pt x="1040" y="893"/>
                  </a:lnTo>
                  <a:lnTo>
                    <a:pt x="1040" y="895"/>
                  </a:lnTo>
                  <a:lnTo>
                    <a:pt x="1038" y="895"/>
                  </a:lnTo>
                  <a:lnTo>
                    <a:pt x="1038" y="893"/>
                  </a:lnTo>
                  <a:lnTo>
                    <a:pt x="1038" y="892"/>
                  </a:lnTo>
                  <a:lnTo>
                    <a:pt x="1038" y="890"/>
                  </a:lnTo>
                  <a:lnTo>
                    <a:pt x="1040" y="888"/>
                  </a:lnTo>
                  <a:lnTo>
                    <a:pt x="1041" y="888"/>
                  </a:lnTo>
                  <a:lnTo>
                    <a:pt x="1043" y="888"/>
                  </a:lnTo>
                  <a:lnTo>
                    <a:pt x="1043" y="887"/>
                  </a:lnTo>
                  <a:lnTo>
                    <a:pt x="1043" y="885"/>
                  </a:lnTo>
                  <a:lnTo>
                    <a:pt x="1046" y="883"/>
                  </a:lnTo>
                  <a:lnTo>
                    <a:pt x="1046" y="885"/>
                  </a:lnTo>
                  <a:lnTo>
                    <a:pt x="1045" y="885"/>
                  </a:lnTo>
                  <a:close/>
                  <a:moveTo>
                    <a:pt x="1019" y="883"/>
                  </a:moveTo>
                  <a:lnTo>
                    <a:pt x="1017" y="883"/>
                  </a:lnTo>
                  <a:lnTo>
                    <a:pt x="1017" y="882"/>
                  </a:lnTo>
                  <a:lnTo>
                    <a:pt x="1017" y="883"/>
                  </a:lnTo>
                  <a:lnTo>
                    <a:pt x="1017" y="882"/>
                  </a:lnTo>
                  <a:lnTo>
                    <a:pt x="1019" y="882"/>
                  </a:lnTo>
                  <a:lnTo>
                    <a:pt x="1019" y="883"/>
                  </a:lnTo>
                  <a:close/>
                  <a:moveTo>
                    <a:pt x="1033" y="883"/>
                  </a:moveTo>
                  <a:lnTo>
                    <a:pt x="1033" y="882"/>
                  </a:lnTo>
                  <a:lnTo>
                    <a:pt x="1033" y="883"/>
                  </a:lnTo>
                  <a:close/>
                  <a:moveTo>
                    <a:pt x="1002" y="882"/>
                  </a:moveTo>
                  <a:lnTo>
                    <a:pt x="1004" y="882"/>
                  </a:lnTo>
                  <a:lnTo>
                    <a:pt x="1002" y="882"/>
                  </a:lnTo>
                  <a:close/>
                  <a:moveTo>
                    <a:pt x="1040" y="883"/>
                  </a:moveTo>
                  <a:lnTo>
                    <a:pt x="1038" y="883"/>
                  </a:lnTo>
                  <a:lnTo>
                    <a:pt x="1038" y="882"/>
                  </a:lnTo>
                  <a:lnTo>
                    <a:pt x="1040" y="882"/>
                  </a:lnTo>
                  <a:lnTo>
                    <a:pt x="1040" y="883"/>
                  </a:lnTo>
                  <a:close/>
                  <a:moveTo>
                    <a:pt x="1025" y="882"/>
                  </a:moveTo>
                  <a:lnTo>
                    <a:pt x="1023" y="882"/>
                  </a:lnTo>
                  <a:lnTo>
                    <a:pt x="1025" y="882"/>
                  </a:lnTo>
                  <a:close/>
                  <a:moveTo>
                    <a:pt x="1041" y="882"/>
                  </a:moveTo>
                  <a:lnTo>
                    <a:pt x="1040" y="882"/>
                  </a:lnTo>
                  <a:lnTo>
                    <a:pt x="1041" y="882"/>
                  </a:lnTo>
                  <a:close/>
                  <a:moveTo>
                    <a:pt x="1025" y="882"/>
                  </a:moveTo>
                  <a:lnTo>
                    <a:pt x="1025" y="883"/>
                  </a:lnTo>
                  <a:lnTo>
                    <a:pt x="1025" y="882"/>
                  </a:lnTo>
                  <a:close/>
                  <a:moveTo>
                    <a:pt x="1002" y="882"/>
                  </a:moveTo>
                  <a:lnTo>
                    <a:pt x="1001" y="882"/>
                  </a:lnTo>
                  <a:lnTo>
                    <a:pt x="1002" y="882"/>
                  </a:lnTo>
                  <a:close/>
                  <a:moveTo>
                    <a:pt x="1022" y="882"/>
                  </a:moveTo>
                  <a:lnTo>
                    <a:pt x="1022" y="880"/>
                  </a:lnTo>
                  <a:lnTo>
                    <a:pt x="1022" y="882"/>
                  </a:lnTo>
                  <a:close/>
                  <a:moveTo>
                    <a:pt x="1001" y="882"/>
                  </a:moveTo>
                  <a:lnTo>
                    <a:pt x="1001" y="880"/>
                  </a:lnTo>
                  <a:lnTo>
                    <a:pt x="1001" y="882"/>
                  </a:lnTo>
                  <a:close/>
                  <a:moveTo>
                    <a:pt x="999" y="882"/>
                  </a:moveTo>
                  <a:lnTo>
                    <a:pt x="999" y="880"/>
                  </a:lnTo>
                  <a:lnTo>
                    <a:pt x="999" y="882"/>
                  </a:lnTo>
                  <a:close/>
                  <a:moveTo>
                    <a:pt x="1017" y="880"/>
                  </a:moveTo>
                  <a:lnTo>
                    <a:pt x="1017" y="882"/>
                  </a:lnTo>
                  <a:lnTo>
                    <a:pt x="1017" y="880"/>
                  </a:lnTo>
                  <a:close/>
                  <a:moveTo>
                    <a:pt x="1001" y="880"/>
                  </a:moveTo>
                  <a:lnTo>
                    <a:pt x="1002" y="880"/>
                  </a:lnTo>
                  <a:lnTo>
                    <a:pt x="1001" y="882"/>
                  </a:lnTo>
                  <a:lnTo>
                    <a:pt x="1001" y="880"/>
                  </a:lnTo>
                  <a:close/>
                  <a:moveTo>
                    <a:pt x="1040" y="882"/>
                  </a:moveTo>
                  <a:lnTo>
                    <a:pt x="1040" y="880"/>
                  </a:lnTo>
                  <a:lnTo>
                    <a:pt x="1040" y="882"/>
                  </a:lnTo>
                  <a:close/>
                  <a:moveTo>
                    <a:pt x="1027" y="880"/>
                  </a:moveTo>
                  <a:lnTo>
                    <a:pt x="1027" y="882"/>
                  </a:lnTo>
                  <a:lnTo>
                    <a:pt x="1027" y="880"/>
                  </a:lnTo>
                  <a:close/>
                  <a:moveTo>
                    <a:pt x="1004" y="880"/>
                  </a:moveTo>
                  <a:lnTo>
                    <a:pt x="1002" y="880"/>
                  </a:lnTo>
                  <a:lnTo>
                    <a:pt x="1004" y="880"/>
                  </a:lnTo>
                  <a:close/>
                  <a:moveTo>
                    <a:pt x="999" y="880"/>
                  </a:moveTo>
                  <a:lnTo>
                    <a:pt x="1001" y="880"/>
                  </a:lnTo>
                  <a:lnTo>
                    <a:pt x="999" y="880"/>
                  </a:lnTo>
                  <a:close/>
                  <a:moveTo>
                    <a:pt x="1023" y="880"/>
                  </a:moveTo>
                  <a:lnTo>
                    <a:pt x="1025" y="880"/>
                  </a:lnTo>
                  <a:lnTo>
                    <a:pt x="1023" y="880"/>
                  </a:lnTo>
                  <a:close/>
                  <a:moveTo>
                    <a:pt x="1022" y="880"/>
                  </a:moveTo>
                  <a:lnTo>
                    <a:pt x="1023" y="880"/>
                  </a:lnTo>
                  <a:lnTo>
                    <a:pt x="1022" y="880"/>
                  </a:lnTo>
                  <a:close/>
                  <a:moveTo>
                    <a:pt x="1049" y="880"/>
                  </a:moveTo>
                  <a:lnTo>
                    <a:pt x="1051" y="880"/>
                  </a:lnTo>
                  <a:lnTo>
                    <a:pt x="1049" y="880"/>
                  </a:lnTo>
                  <a:close/>
                  <a:moveTo>
                    <a:pt x="1001" y="880"/>
                  </a:moveTo>
                  <a:lnTo>
                    <a:pt x="1002" y="880"/>
                  </a:lnTo>
                  <a:lnTo>
                    <a:pt x="1001" y="880"/>
                  </a:lnTo>
                  <a:close/>
                  <a:moveTo>
                    <a:pt x="1022" y="880"/>
                  </a:moveTo>
                  <a:lnTo>
                    <a:pt x="1022" y="879"/>
                  </a:lnTo>
                  <a:lnTo>
                    <a:pt x="1022" y="880"/>
                  </a:lnTo>
                  <a:close/>
                  <a:moveTo>
                    <a:pt x="1027" y="879"/>
                  </a:moveTo>
                  <a:lnTo>
                    <a:pt x="1027" y="880"/>
                  </a:lnTo>
                  <a:lnTo>
                    <a:pt x="1027" y="879"/>
                  </a:lnTo>
                  <a:close/>
                  <a:moveTo>
                    <a:pt x="1002" y="879"/>
                  </a:moveTo>
                  <a:lnTo>
                    <a:pt x="1002" y="880"/>
                  </a:lnTo>
                  <a:lnTo>
                    <a:pt x="1002" y="879"/>
                  </a:lnTo>
                  <a:close/>
                  <a:moveTo>
                    <a:pt x="1001" y="879"/>
                  </a:moveTo>
                  <a:lnTo>
                    <a:pt x="1001" y="880"/>
                  </a:lnTo>
                  <a:lnTo>
                    <a:pt x="1001" y="879"/>
                  </a:lnTo>
                  <a:close/>
                  <a:moveTo>
                    <a:pt x="1022" y="880"/>
                  </a:moveTo>
                  <a:lnTo>
                    <a:pt x="1022" y="882"/>
                  </a:lnTo>
                  <a:lnTo>
                    <a:pt x="1022" y="880"/>
                  </a:lnTo>
                  <a:lnTo>
                    <a:pt x="1022" y="882"/>
                  </a:lnTo>
                  <a:lnTo>
                    <a:pt x="1022" y="880"/>
                  </a:lnTo>
                  <a:lnTo>
                    <a:pt x="1022" y="879"/>
                  </a:lnTo>
                  <a:lnTo>
                    <a:pt x="1023" y="880"/>
                  </a:lnTo>
                  <a:lnTo>
                    <a:pt x="1022" y="880"/>
                  </a:lnTo>
                  <a:close/>
                  <a:moveTo>
                    <a:pt x="999" y="879"/>
                  </a:moveTo>
                  <a:lnTo>
                    <a:pt x="1001" y="879"/>
                  </a:lnTo>
                  <a:lnTo>
                    <a:pt x="999" y="879"/>
                  </a:lnTo>
                  <a:close/>
                  <a:moveTo>
                    <a:pt x="1035" y="879"/>
                  </a:moveTo>
                  <a:lnTo>
                    <a:pt x="1035" y="880"/>
                  </a:lnTo>
                  <a:lnTo>
                    <a:pt x="1035" y="879"/>
                  </a:lnTo>
                  <a:close/>
                  <a:moveTo>
                    <a:pt x="1004" y="879"/>
                  </a:moveTo>
                  <a:lnTo>
                    <a:pt x="1004" y="880"/>
                  </a:lnTo>
                  <a:lnTo>
                    <a:pt x="1004" y="879"/>
                  </a:lnTo>
                  <a:lnTo>
                    <a:pt x="1004" y="880"/>
                  </a:lnTo>
                  <a:lnTo>
                    <a:pt x="1002" y="879"/>
                  </a:lnTo>
                  <a:lnTo>
                    <a:pt x="1004" y="879"/>
                  </a:lnTo>
                  <a:close/>
                  <a:moveTo>
                    <a:pt x="1033" y="879"/>
                  </a:moveTo>
                  <a:lnTo>
                    <a:pt x="1033" y="880"/>
                  </a:lnTo>
                  <a:lnTo>
                    <a:pt x="1033" y="879"/>
                  </a:lnTo>
                  <a:close/>
                  <a:moveTo>
                    <a:pt x="1019" y="879"/>
                  </a:moveTo>
                  <a:lnTo>
                    <a:pt x="1019" y="880"/>
                  </a:lnTo>
                  <a:lnTo>
                    <a:pt x="1019" y="879"/>
                  </a:lnTo>
                  <a:close/>
                  <a:moveTo>
                    <a:pt x="1017" y="879"/>
                  </a:moveTo>
                  <a:lnTo>
                    <a:pt x="1019" y="879"/>
                  </a:lnTo>
                  <a:lnTo>
                    <a:pt x="1017" y="879"/>
                  </a:lnTo>
                  <a:close/>
                  <a:moveTo>
                    <a:pt x="1035" y="879"/>
                  </a:moveTo>
                  <a:lnTo>
                    <a:pt x="1035" y="877"/>
                  </a:lnTo>
                  <a:lnTo>
                    <a:pt x="1035" y="879"/>
                  </a:lnTo>
                  <a:close/>
                  <a:moveTo>
                    <a:pt x="1019" y="877"/>
                  </a:moveTo>
                  <a:lnTo>
                    <a:pt x="1019" y="879"/>
                  </a:lnTo>
                  <a:lnTo>
                    <a:pt x="1019" y="877"/>
                  </a:lnTo>
                  <a:close/>
                  <a:moveTo>
                    <a:pt x="1022" y="879"/>
                  </a:moveTo>
                  <a:lnTo>
                    <a:pt x="1022" y="877"/>
                  </a:lnTo>
                  <a:lnTo>
                    <a:pt x="1022" y="879"/>
                  </a:lnTo>
                  <a:close/>
                  <a:moveTo>
                    <a:pt x="1035" y="877"/>
                  </a:moveTo>
                  <a:lnTo>
                    <a:pt x="1035" y="879"/>
                  </a:lnTo>
                  <a:lnTo>
                    <a:pt x="1035" y="877"/>
                  </a:lnTo>
                  <a:close/>
                  <a:moveTo>
                    <a:pt x="1004" y="877"/>
                  </a:moveTo>
                  <a:lnTo>
                    <a:pt x="1006" y="877"/>
                  </a:lnTo>
                  <a:lnTo>
                    <a:pt x="1004" y="877"/>
                  </a:lnTo>
                  <a:close/>
                  <a:moveTo>
                    <a:pt x="1015" y="877"/>
                  </a:moveTo>
                  <a:lnTo>
                    <a:pt x="1015" y="879"/>
                  </a:lnTo>
                  <a:lnTo>
                    <a:pt x="1015" y="877"/>
                  </a:lnTo>
                  <a:close/>
                  <a:moveTo>
                    <a:pt x="1022" y="877"/>
                  </a:moveTo>
                  <a:lnTo>
                    <a:pt x="1022" y="879"/>
                  </a:lnTo>
                  <a:lnTo>
                    <a:pt x="1022" y="877"/>
                  </a:lnTo>
                  <a:close/>
                  <a:moveTo>
                    <a:pt x="1032" y="877"/>
                  </a:moveTo>
                  <a:lnTo>
                    <a:pt x="1032" y="879"/>
                  </a:lnTo>
                  <a:lnTo>
                    <a:pt x="1030" y="877"/>
                  </a:lnTo>
                  <a:lnTo>
                    <a:pt x="1032" y="877"/>
                  </a:lnTo>
                  <a:close/>
                  <a:moveTo>
                    <a:pt x="1002" y="877"/>
                  </a:moveTo>
                  <a:lnTo>
                    <a:pt x="1004" y="877"/>
                  </a:lnTo>
                  <a:lnTo>
                    <a:pt x="1002" y="877"/>
                  </a:lnTo>
                  <a:close/>
                  <a:moveTo>
                    <a:pt x="1022" y="877"/>
                  </a:moveTo>
                  <a:lnTo>
                    <a:pt x="1022" y="879"/>
                  </a:lnTo>
                  <a:lnTo>
                    <a:pt x="1022" y="877"/>
                  </a:lnTo>
                  <a:close/>
                  <a:moveTo>
                    <a:pt x="1004" y="877"/>
                  </a:moveTo>
                  <a:lnTo>
                    <a:pt x="1006" y="877"/>
                  </a:lnTo>
                  <a:lnTo>
                    <a:pt x="1004" y="877"/>
                  </a:lnTo>
                  <a:close/>
                  <a:moveTo>
                    <a:pt x="1020" y="877"/>
                  </a:moveTo>
                  <a:lnTo>
                    <a:pt x="1020" y="879"/>
                  </a:lnTo>
                  <a:lnTo>
                    <a:pt x="1020" y="877"/>
                  </a:lnTo>
                  <a:close/>
                  <a:moveTo>
                    <a:pt x="1032" y="877"/>
                  </a:moveTo>
                  <a:lnTo>
                    <a:pt x="1033" y="877"/>
                  </a:lnTo>
                  <a:lnTo>
                    <a:pt x="1032" y="877"/>
                  </a:lnTo>
                  <a:close/>
                  <a:moveTo>
                    <a:pt x="1027" y="877"/>
                  </a:moveTo>
                  <a:lnTo>
                    <a:pt x="1027" y="875"/>
                  </a:lnTo>
                  <a:lnTo>
                    <a:pt x="1027" y="877"/>
                  </a:lnTo>
                  <a:close/>
                  <a:moveTo>
                    <a:pt x="1023" y="877"/>
                  </a:moveTo>
                  <a:lnTo>
                    <a:pt x="1023" y="875"/>
                  </a:lnTo>
                  <a:lnTo>
                    <a:pt x="1023" y="877"/>
                  </a:lnTo>
                  <a:close/>
                  <a:moveTo>
                    <a:pt x="1023" y="877"/>
                  </a:moveTo>
                  <a:lnTo>
                    <a:pt x="1023" y="875"/>
                  </a:lnTo>
                  <a:lnTo>
                    <a:pt x="1023" y="877"/>
                  </a:lnTo>
                  <a:close/>
                  <a:moveTo>
                    <a:pt x="1025" y="875"/>
                  </a:moveTo>
                  <a:lnTo>
                    <a:pt x="1025" y="877"/>
                  </a:lnTo>
                  <a:lnTo>
                    <a:pt x="1025" y="875"/>
                  </a:lnTo>
                  <a:close/>
                  <a:moveTo>
                    <a:pt x="1033" y="877"/>
                  </a:moveTo>
                  <a:lnTo>
                    <a:pt x="1033" y="875"/>
                  </a:lnTo>
                  <a:lnTo>
                    <a:pt x="1033" y="877"/>
                  </a:lnTo>
                  <a:close/>
                  <a:moveTo>
                    <a:pt x="1035" y="875"/>
                  </a:moveTo>
                  <a:lnTo>
                    <a:pt x="1035" y="877"/>
                  </a:lnTo>
                  <a:lnTo>
                    <a:pt x="1035" y="875"/>
                  </a:lnTo>
                  <a:close/>
                  <a:moveTo>
                    <a:pt x="1035" y="875"/>
                  </a:moveTo>
                  <a:lnTo>
                    <a:pt x="1035" y="877"/>
                  </a:lnTo>
                  <a:lnTo>
                    <a:pt x="1035" y="875"/>
                  </a:lnTo>
                  <a:close/>
                  <a:moveTo>
                    <a:pt x="1022" y="875"/>
                  </a:moveTo>
                  <a:lnTo>
                    <a:pt x="1022" y="877"/>
                  </a:lnTo>
                  <a:lnTo>
                    <a:pt x="1022" y="875"/>
                  </a:lnTo>
                  <a:close/>
                  <a:moveTo>
                    <a:pt x="1019" y="875"/>
                  </a:moveTo>
                  <a:lnTo>
                    <a:pt x="1019" y="877"/>
                  </a:lnTo>
                  <a:lnTo>
                    <a:pt x="1019" y="875"/>
                  </a:lnTo>
                  <a:close/>
                  <a:moveTo>
                    <a:pt x="1025" y="875"/>
                  </a:moveTo>
                  <a:lnTo>
                    <a:pt x="1025" y="877"/>
                  </a:lnTo>
                  <a:lnTo>
                    <a:pt x="1025" y="875"/>
                  </a:lnTo>
                  <a:close/>
                  <a:moveTo>
                    <a:pt x="1032" y="877"/>
                  </a:moveTo>
                  <a:lnTo>
                    <a:pt x="1032" y="875"/>
                  </a:lnTo>
                  <a:lnTo>
                    <a:pt x="1032" y="877"/>
                  </a:lnTo>
                  <a:close/>
                  <a:moveTo>
                    <a:pt x="1030" y="875"/>
                  </a:moveTo>
                  <a:lnTo>
                    <a:pt x="1032" y="875"/>
                  </a:lnTo>
                  <a:lnTo>
                    <a:pt x="1030" y="875"/>
                  </a:lnTo>
                  <a:close/>
                  <a:moveTo>
                    <a:pt x="1025" y="874"/>
                  </a:moveTo>
                  <a:lnTo>
                    <a:pt x="1025" y="875"/>
                  </a:lnTo>
                  <a:lnTo>
                    <a:pt x="1025" y="874"/>
                  </a:lnTo>
                  <a:close/>
                  <a:moveTo>
                    <a:pt x="1027" y="874"/>
                  </a:moveTo>
                  <a:lnTo>
                    <a:pt x="1027" y="875"/>
                  </a:lnTo>
                  <a:lnTo>
                    <a:pt x="1027" y="874"/>
                  </a:lnTo>
                  <a:close/>
                  <a:moveTo>
                    <a:pt x="1033" y="875"/>
                  </a:moveTo>
                  <a:lnTo>
                    <a:pt x="1033" y="874"/>
                  </a:lnTo>
                  <a:lnTo>
                    <a:pt x="1033" y="875"/>
                  </a:lnTo>
                  <a:close/>
                  <a:moveTo>
                    <a:pt x="1022" y="875"/>
                  </a:moveTo>
                  <a:lnTo>
                    <a:pt x="1022" y="874"/>
                  </a:lnTo>
                  <a:lnTo>
                    <a:pt x="1022" y="875"/>
                  </a:lnTo>
                  <a:close/>
                  <a:moveTo>
                    <a:pt x="1033" y="875"/>
                  </a:moveTo>
                  <a:lnTo>
                    <a:pt x="1033" y="874"/>
                  </a:lnTo>
                  <a:lnTo>
                    <a:pt x="1033" y="875"/>
                  </a:lnTo>
                  <a:close/>
                  <a:moveTo>
                    <a:pt x="1053" y="875"/>
                  </a:moveTo>
                  <a:lnTo>
                    <a:pt x="1051" y="875"/>
                  </a:lnTo>
                  <a:lnTo>
                    <a:pt x="1053" y="874"/>
                  </a:lnTo>
                  <a:lnTo>
                    <a:pt x="1053" y="875"/>
                  </a:lnTo>
                  <a:close/>
                  <a:moveTo>
                    <a:pt x="1017" y="874"/>
                  </a:moveTo>
                  <a:lnTo>
                    <a:pt x="1019" y="874"/>
                  </a:lnTo>
                  <a:lnTo>
                    <a:pt x="1017" y="875"/>
                  </a:lnTo>
                  <a:lnTo>
                    <a:pt x="1017" y="874"/>
                  </a:lnTo>
                  <a:lnTo>
                    <a:pt x="1019" y="874"/>
                  </a:lnTo>
                  <a:lnTo>
                    <a:pt x="1017" y="874"/>
                  </a:lnTo>
                  <a:close/>
                  <a:moveTo>
                    <a:pt x="1025" y="874"/>
                  </a:moveTo>
                  <a:lnTo>
                    <a:pt x="1027" y="874"/>
                  </a:lnTo>
                  <a:lnTo>
                    <a:pt x="1025" y="874"/>
                  </a:lnTo>
                  <a:close/>
                  <a:moveTo>
                    <a:pt x="1022" y="874"/>
                  </a:moveTo>
                  <a:lnTo>
                    <a:pt x="1023" y="874"/>
                  </a:lnTo>
                  <a:lnTo>
                    <a:pt x="1022" y="874"/>
                  </a:lnTo>
                  <a:close/>
                  <a:moveTo>
                    <a:pt x="1015" y="874"/>
                  </a:moveTo>
                  <a:lnTo>
                    <a:pt x="1017" y="874"/>
                  </a:lnTo>
                  <a:lnTo>
                    <a:pt x="1015" y="874"/>
                  </a:lnTo>
                  <a:close/>
                  <a:moveTo>
                    <a:pt x="1015" y="872"/>
                  </a:moveTo>
                  <a:lnTo>
                    <a:pt x="1017" y="874"/>
                  </a:lnTo>
                  <a:lnTo>
                    <a:pt x="1015" y="874"/>
                  </a:lnTo>
                  <a:lnTo>
                    <a:pt x="1015" y="872"/>
                  </a:lnTo>
                  <a:close/>
                  <a:moveTo>
                    <a:pt x="1025" y="874"/>
                  </a:moveTo>
                  <a:lnTo>
                    <a:pt x="1025" y="872"/>
                  </a:lnTo>
                  <a:lnTo>
                    <a:pt x="1025" y="874"/>
                  </a:lnTo>
                  <a:close/>
                  <a:moveTo>
                    <a:pt x="1033" y="872"/>
                  </a:moveTo>
                  <a:lnTo>
                    <a:pt x="1033" y="874"/>
                  </a:lnTo>
                  <a:lnTo>
                    <a:pt x="1033" y="872"/>
                  </a:lnTo>
                  <a:close/>
                  <a:moveTo>
                    <a:pt x="1015" y="872"/>
                  </a:moveTo>
                  <a:lnTo>
                    <a:pt x="1015" y="874"/>
                  </a:lnTo>
                  <a:lnTo>
                    <a:pt x="1015" y="872"/>
                  </a:lnTo>
                  <a:close/>
                  <a:moveTo>
                    <a:pt x="1025" y="872"/>
                  </a:moveTo>
                  <a:lnTo>
                    <a:pt x="1025" y="874"/>
                  </a:lnTo>
                  <a:lnTo>
                    <a:pt x="1025" y="872"/>
                  </a:lnTo>
                  <a:close/>
                  <a:moveTo>
                    <a:pt x="1025" y="872"/>
                  </a:moveTo>
                  <a:lnTo>
                    <a:pt x="1025" y="874"/>
                  </a:lnTo>
                  <a:lnTo>
                    <a:pt x="1025" y="872"/>
                  </a:lnTo>
                  <a:close/>
                  <a:moveTo>
                    <a:pt x="1027" y="872"/>
                  </a:moveTo>
                  <a:lnTo>
                    <a:pt x="1027" y="874"/>
                  </a:lnTo>
                  <a:lnTo>
                    <a:pt x="1027" y="872"/>
                  </a:lnTo>
                  <a:close/>
                  <a:moveTo>
                    <a:pt x="1017" y="872"/>
                  </a:moveTo>
                  <a:lnTo>
                    <a:pt x="1017" y="874"/>
                  </a:lnTo>
                  <a:lnTo>
                    <a:pt x="1017" y="872"/>
                  </a:lnTo>
                  <a:close/>
                  <a:moveTo>
                    <a:pt x="1017" y="872"/>
                  </a:moveTo>
                  <a:lnTo>
                    <a:pt x="1017" y="874"/>
                  </a:lnTo>
                  <a:lnTo>
                    <a:pt x="1017" y="872"/>
                  </a:lnTo>
                  <a:close/>
                  <a:moveTo>
                    <a:pt x="1027" y="874"/>
                  </a:moveTo>
                  <a:lnTo>
                    <a:pt x="1027" y="872"/>
                  </a:lnTo>
                  <a:lnTo>
                    <a:pt x="1027" y="874"/>
                  </a:lnTo>
                  <a:close/>
                  <a:moveTo>
                    <a:pt x="1049" y="872"/>
                  </a:moveTo>
                  <a:lnTo>
                    <a:pt x="1049" y="874"/>
                  </a:lnTo>
                  <a:lnTo>
                    <a:pt x="1049" y="872"/>
                  </a:lnTo>
                  <a:close/>
                  <a:moveTo>
                    <a:pt x="1022" y="874"/>
                  </a:moveTo>
                  <a:lnTo>
                    <a:pt x="1022" y="872"/>
                  </a:lnTo>
                  <a:lnTo>
                    <a:pt x="1022" y="874"/>
                  </a:lnTo>
                  <a:close/>
                  <a:moveTo>
                    <a:pt x="1035" y="872"/>
                  </a:moveTo>
                  <a:lnTo>
                    <a:pt x="1035" y="874"/>
                  </a:lnTo>
                  <a:lnTo>
                    <a:pt x="1035" y="872"/>
                  </a:lnTo>
                  <a:close/>
                  <a:moveTo>
                    <a:pt x="1033" y="874"/>
                  </a:moveTo>
                  <a:lnTo>
                    <a:pt x="1033" y="872"/>
                  </a:lnTo>
                  <a:lnTo>
                    <a:pt x="1033" y="874"/>
                  </a:lnTo>
                  <a:close/>
                  <a:moveTo>
                    <a:pt x="1017" y="872"/>
                  </a:moveTo>
                  <a:lnTo>
                    <a:pt x="1019" y="872"/>
                  </a:lnTo>
                  <a:lnTo>
                    <a:pt x="1019" y="874"/>
                  </a:lnTo>
                  <a:lnTo>
                    <a:pt x="1017" y="874"/>
                  </a:lnTo>
                  <a:lnTo>
                    <a:pt x="1017" y="872"/>
                  </a:lnTo>
                  <a:close/>
                  <a:moveTo>
                    <a:pt x="1043" y="872"/>
                  </a:moveTo>
                  <a:lnTo>
                    <a:pt x="1045" y="872"/>
                  </a:lnTo>
                  <a:lnTo>
                    <a:pt x="1043" y="872"/>
                  </a:lnTo>
                  <a:close/>
                  <a:moveTo>
                    <a:pt x="1025" y="872"/>
                  </a:moveTo>
                  <a:lnTo>
                    <a:pt x="1023" y="872"/>
                  </a:lnTo>
                  <a:lnTo>
                    <a:pt x="1025" y="872"/>
                  </a:lnTo>
                  <a:close/>
                  <a:moveTo>
                    <a:pt x="1048" y="872"/>
                  </a:moveTo>
                  <a:lnTo>
                    <a:pt x="1048" y="874"/>
                  </a:lnTo>
                  <a:lnTo>
                    <a:pt x="1048" y="872"/>
                  </a:lnTo>
                  <a:lnTo>
                    <a:pt x="1048" y="874"/>
                  </a:lnTo>
                  <a:lnTo>
                    <a:pt x="1048" y="875"/>
                  </a:lnTo>
                  <a:lnTo>
                    <a:pt x="1046" y="877"/>
                  </a:lnTo>
                  <a:lnTo>
                    <a:pt x="1048" y="877"/>
                  </a:lnTo>
                  <a:lnTo>
                    <a:pt x="1046" y="877"/>
                  </a:lnTo>
                  <a:lnTo>
                    <a:pt x="1045" y="879"/>
                  </a:lnTo>
                  <a:lnTo>
                    <a:pt x="1045" y="877"/>
                  </a:lnTo>
                  <a:lnTo>
                    <a:pt x="1045" y="879"/>
                  </a:lnTo>
                  <a:lnTo>
                    <a:pt x="1043" y="879"/>
                  </a:lnTo>
                  <a:lnTo>
                    <a:pt x="1043" y="880"/>
                  </a:lnTo>
                  <a:lnTo>
                    <a:pt x="1041" y="880"/>
                  </a:lnTo>
                  <a:lnTo>
                    <a:pt x="1041" y="882"/>
                  </a:lnTo>
                  <a:lnTo>
                    <a:pt x="1041" y="880"/>
                  </a:lnTo>
                  <a:lnTo>
                    <a:pt x="1041" y="879"/>
                  </a:lnTo>
                  <a:lnTo>
                    <a:pt x="1043" y="879"/>
                  </a:lnTo>
                  <a:lnTo>
                    <a:pt x="1043" y="877"/>
                  </a:lnTo>
                  <a:lnTo>
                    <a:pt x="1043" y="875"/>
                  </a:lnTo>
                  <a:lnTo>
                    <a:pt x="1045" y="874"/>
                  </a:lnTo>
                  <a:lnTo>
                    <a:pt x="1046" y="874"/>
                  </a:lnTo>
                  <a:lnTo>
                    <a:pt x="1046" y="872"/>
                  </a:lnTo>
                  <a:lnTo>
                    <a:pt x="1048" y="872"/>
                  </a:lnTo>
                  <a:close/>
                  <a:moveTo>
                    <a:pt x="1033" y="872"/>
                  </a:moveTo>
                  <a:lnTo>
                    <a:pt x="1033" y="870"/>
                  </a:lnTo>
                  <a:lnTo>
                    <a:pt x="1033" y="872"/>
                  </a:lnTo>
                  <a:close/>
                  <a:moveTo>
                    <a:pt x="1023" y="872"/>
                  </a:moveTo>
                  <a:lnTo>
                    <a:pt x="1023" y="870"/>
                  </a:lnTo>
                  <a:lnTo>
                    <a:pt x="1023" y="872"/>
                  </a:lnTo>
                  <a:close/>
                  <a:moveTo>
                    <a:pt x="1020" y="872"/>
                  </a:moveTo>
                  <a:lnTo>
                    <a:pt x="1020" y="870"/>
                  </a:lnTo>
                  <a:lnTo>
                    <a:pt x="1020" y="872"/>
                  </a:lnTo>
                  <a:close/>
                  <a:moveTo>
                    <a:pt x="1030" y="872"/>
                  </a:moveTo>
                  <a:lnTo>
                    <a:pt x="1030" y="870"/>
                  </a:lnTo>
                  <a:lnTo>
                    <a:pt x="1030" y="872"/>
                  </a:lnTo>
                  <a:close/>
                  <a:moveTo>
                    <a:pt x="1020" y="872"/>
                  </a:moveTo>
                  <a:lnTo>
                    <a:pt x="1020" y="870"/>
                  </a:lnTo>
                  <a:lnTo>
                    <a:pt x="1020" y="872"/>
                  </a:lnTo>
                  <a:close/>
                  <a:moveTo>
                    <a:pt x="1023" y="872"/>
                  </a:moveTo>
                  <a:lnTo>
                    <a:pt x="1023" y="870"/>
                  </a:lnTo>
                  <a:lnTo>
                    <a:pt x="1023" y="872"/>
                  </a:lnTo>
                  <a:close/>
                  <a:moveTo>
                    <a:pt x="1025" y="872"/>
                  </a:moveTo>
                  <a:lnTo>
                    <a:pt x="1025" y="870"/>
                  </a:lnTo>
                  <a:lnTo>
                    <a:pt x="1025" y="872"/>
                  </a:lnTo>
                  <a:close/>
                  <a:moveTo>
                    <a:pt x="1022" y="872"/>
                  </a:moveTo>
                  <a:lnTo>
                    <a:pt x="1022" y="870"/>
                  </a:lnTo>
                  <a:lnTo>
                    <a:pt x="1022" y="872"/>
                  </a:lnTo>
                  <a:close/>
                  <a:moveTo>
                    <a:pt x="1025" y="872"/>
                  </a:moveTo>
                  <a:lnTo>
                    <a:pt x="1025" y="870"/>
                  </a:lnTo>
                  <a:lnTo>
                    <a:pt x="1025" y="872"/>
                  </a:lnTo>
                  <a:close/>
                  <a:moveTo>
                    <a:pt x="1035" y="872"/>
                  </a:moveTo>
                  <a:lnTo>
                    <a:pt x="1035" y="870"/>
                  </a:lnTo>
                  <a:lnTo>
                    <a:pt x="1035" y="872"/>
                  </a:lnTo>
                  <a:close/>
                  <a:moveTo>
                    <a:pt x="1033" y="870"/>
                  </a:moveTo>
                  <a:lnTo>
                    <a:pt x="1033" y="872"/>
                  </a:lnTo>
                  <a:lnTo>
                    <a:pt x="1033" y="870"/>
                  </a:lnTo>
                  <a:close/>
                  <a:moveTo>
                    <a:pt x="1022" y="870"/>
                  </a:moveTo>
                  <a:lnTo>
                    <a:pt x="1022" y="872"/>
                  </a:lnTo>
                  <a:lnTo>
                    <a:pt x="1022" y="870"/>
                  </a:lnTo>
                  <a:close/>
                  <a:moveTo>
                    <a:pt x="1023" y="870"/>
                  </a:moveTo>
                  <a:lnTo>
                    <a:pt x="1023" y="872"/>
                  </a:lnTo>
                  <a:lnTo>
                    <a:pt x="1023" y="870"/>
                  </a:lnTo>
                  <a:close/>
                  <a:moveTo>
                    <a:pt x="1032" y="872"/>
                  </a:moveTo>
                  <a:lnTo>
                    <a:pt x="1032" y="870"/>
                  </a:lnTo>
                  <a:lnTo>
                    <a:pt x="1032" y="872"/>
                  </a:lnTo>
                  <a:lnTo>
                    <a:pt x="1032" y="870"/>
                  </a:lnTo>
                  <a:lnTo>
                    <a:pt x="1032" y="872"/>
                  </a:lnTo>
                  <a:lnTo>
                    <a:pt x="1032" y="874"/>
                  </a:lnTo>
                  <a:lnTo>
                    <a:pt x="1032" y="875"/>
                  </a:lnTo>
                  <a:lnTo>
                    <a:pt x="1032" y="874"/>
                  </a:lnTo>
                  <a:lnTo>
                    <a:pt x="1032" y="875"/>
                  </a:lnTo>
                  <a:lnTo>
                    <a:pt x="1032" y="874"/>
                  </a:lnTo>
                  <a:lnTo>
                    <a:pt x="1032" y="872"/>
                  </a:lnTo>
                  <a:close/>
                  <a:moveTo>
                    <a:pt x="1025" y="872"/>
                  </a:moveTo>
                  <a:lnTo>
                    <a:pt x="1025" y="870"/>
                  </a:lnTo>
                  <a:lnTo>
                    <a:pt x="1025" y="872"/>
                  </a:lnTo>
                  <a:close/>
                  <a:moveTo>
                    <a:pt x="1032" y="872"/>
                  </a:moveTo>
                  <a:lnTo>
                    <a:pt x="1032" y="870"/>
                  </a:lnTo>
                  <a:lnTo>
                    <a:pt x="1032" y="872"/>
                  </a:lnTo>
                  <a:close/>
                  <a:moveTo>
                    <a:pt x="1025" y="870"/>
                  </a:moveTo>
                  <a:lnTo>
                    <a:pt x="1027" y="870"/>
                  </a:lnTo>
                  <a:lnTo>
                    <a:pt x="1025" y="870"/>
                  </a:lnTo>
                  <a:close/>
                  <a:moveTo>
                    <a:pt x="1045" y="870"/>
                  </a:moveTo>
                  <a:lnTo>
                    <a:pt x="1046" y="870"/>
                  </a:lnTo>
                  <a:lnTo>
                    <a:pt x="1045" y="870"/>
                  </a:lnTo>
                  <a:close/>
                  <a:moveTo>
                    <a:pt x="1020" y="870"/>
                  </a:moveTo>
                  <a:lnTo>
                    <a:pt x="1022" y="870"/>
                  </a:lnTo>
                  <a:lnTo>
                    <a:pt x="1020" y="872"/>
                  </a:lnTo>
                  <a:lnTo>
                    <a:pt x="1020" y="870"/>
                  </a:lnTo>
                  <a:lnTo>
                    <a:pt x="1022" y="870"/>
                  </a:lnTo>
                  <a:lnTo>
                    <a:pt x="1020" y="870"/>
                  </a:lnTo>
                  <a:close/>
                  <a:moveTo>
                    <a:pt x="1025" y="870"/>
                  </a:moveTo>
                  <a:lnTo>
                    <a:pt x="1027" y="870"/>
                  </a:lnTo>
                  <a:lnTo>
                    <a:pt x="1025" y="870"/>
                  </a:lnTo>
                  <a:close/>
                  <a:moveTo>
                    <a:pt x="1045" y="870"/>
                  </a:moveTo>
                  <a:lnTo>
                    <a:pt x="1045" y="869"/>
                  </a:lnTo>
                  <a:lnTo>
                    <a:pt x="1045" y="870"/>
                  </a:lnTo>
                  <a:close/>
                  <a:moveTo>
                    <a:pt x="1027" y="870"/>
                  </a:moveTo>
                  <a:lnTo>
                    <a:pt x="1027" y="869"/>
                  </a:lnTo>
                  <a:lnTo>
                    <a:pt x="1027" y="870"/>
                  </a:lnTo>
                  <a:close/>
                  <a:moveTo>
                    <a:pt x="1045" y="870"/>
                  </a:moveTo>
                  <a:lnTo>
                    <a:pt x="1045" y="869"/>
                  </a:lnTo>
                  <a:lnTo>
                    <a:pt x="1045" y="870"/>
                  </a:lnTo>
                  <a:close/>
                  <a:moveTo>
                    <a:pt x="1032" y="870"/>
                  </a:moveTo>
                  <a:lnTo>
                    <a:pt x="1032" y="869"/>
                  </a:lnTo>
                  <a:lnTo>
                    <a:pt x="1032" y="870"/>
                  </a:lnTo>
                  <a:close/>
                  <a:moveTo>
                    <a:pt x="1032" y="870"/>
                  </a:moveTo>
                  <a:lnTo>
                    <a:pt x="1032" y="869"/>
                  </a:lnTo>
                  <a:lnTo>
                    <a:pt x="1032" y="870"/>
                  </a:lnTo>
                  <a:close/>
                  <a:moveTo>
                    <a:pt x="1023" y="869"/>
                  </a:moveTo>
                  <a:lnTo>
                    <a:pt x="1023" y="870"/>
                  </a:lnTo>
                  <a:lnTo>
                    <a:pt x="1023" y="869"/>
                  </a:lnTo>
                  <a:close/>
                  <a:moveTo>
                    <a:pt x="1030" y="870"/>
                  </a:moveTo>
                  <a:lnTo>
                    <a:pt x="1030" y="869"/>
                  </a:lnTo>
                  <a:lnTo>
                    <a:pt x="1030" y="870"/>
                  </a:lnTo>
                  <a:close/>
                  <a:moveTo>
                    <a:pt x="1020" y="870"/>
                  </a:moveTo>
                  <a:lnTo>
                    <a:pt x="1020" y="869"/>
                  </a:lnTo>
                  <a:lnTo>
                    <a:pt x="1020" y="870"/>
                  </a:lnTo>
                  <a:close/>
                  <a:moveTo>
                    <a:pt x="1090" y="870"/>
                  </a:moveTo>
                  <a:lnTo>
                    <a:pt x="1090" y="869"/>
                  </a:lnTo>
                  <a:lnTo>
                    <a:pt x="1090" y="870"/>
                  </a:lnTo>
                  <a:close/>
                  <a:moveTo>
                    <a:pt x="1032" y="870"/>
                  </a:moveTo>
                  <a:lnTo>
                    <a:pt x="1032" y="869"/>
                  </a:lnTo>
                  <a:lnTo>
                    <a:pt x="1032" y="870"/>
                  </a:lnTo>
                  <a:close/>
                  <a:moveTo>
                    <a:pt x="1035" y="869"/>
                  </a:moveTo>
                  <a:lnTo>
                    <a:pt x="1036" y="869"/>
                  </a:lnTo>
                  <a:lnTo>
                    <a:pt x="1035" y="869"/>
                  </a:lnTo>
                  <a:close/>
                  <a:moveTo>
                    <a:pt x="1046" y="869"/>
                  </a:moveTo>
                  <a:lnTo>
                    <a:pt x="1046" y="870"/>
                  </a:lnTo>
                  <a:lnTo>
                    <a:pt x="1046" y="869"/>
                  </a:lnTo>
                  <a:close/>
                  <a:moveTo>
                    <a:pt x="1030" y="869"/>
                  </a:moveTo>
                  <a:lnTo>
                    <a:pt x="1030" y="870"/>
                  </a:lnTo>
                  <a:lnTo>
                    <a:pt x="1030" y="869"/>
                  </a:lnTo>
                  <a:close/>
                  <a:moveTo>
                    <a:pt x="1032" y="869"/>
                  </a:moveTo>
                  <a:lnTo>
                    <a:pt x="1033" y="869"/>
                  </a:lnTo>
                  <a:lnTo>
                    <a:pt x="1032" y="869"/>
                  </a:lnTo>
                  <a:close/>
                  <a:moveTo>
                    <a:pt x="1035" y="869"/>
                  </a:moveTo>
                  <a:lnTo>
                    <a:pt x="1033" y="869"/>
                  </a:lnTo>
                  <a:lnTo>
                    <a:pt x="1035" y="869"/>
                  </a:lnTo>
                  <a:close/>
                  <a:moveTo>
                    <a:pt x="1025" y="869"/>
                  </a:moveTo>
                  <a:lnTo>
                    <a:pt x="1027" y="869"/>
                  </a:lnTo>
                  <a:lnTo>
                    <a:pt x="1025" y="869"/>
                  </a:lnTo>
                  <a:close/>
                  <a:moveTo>
                    <a:pt x="1023" y="870"/>
                  </a:moveTo>
                  <a:lnTo>
                    <a:pt x="1023" y="869"/>
                  </a:lnTo>
                  <a:lnTo>
                    <a:pt x="1023" y="870"/>
                  </a:lnTo>
                  <a:lnTo>
                    <a:pt x="1023" y="869"/>
                  </a:lnTo>
                  <a:lnTo>
                    <a:pt x="1023" y="870"/>
                  </a:lnTo>
                  <a:close/>
                  <a:moveTo>
                    <a:pt x="1027" y="869"/>
                  </a:moveTo>
                  <a:lnTo>
                    <a:pt x="1028" y="869"/>
                  </a:lnTo>
                  <a:lnTo>
                    <a:pt x="1027" y="869"/>
                  </a:lnTo>
                  <a:close/>
                  <a:moveTo>
                    <a:pt x="1025" y="870"/>
                  </a:moveTo>
                  <a:lnTo>
                    <a:pt x="1025" y="869"/>
                  </a:lnTo>
                  <a:lnTo>
                    <a:pt x="1025" y="870"/>
                  </a:lnTo>
                  <a:close/>
                  <a:moveTo>
                    <a:pt x="1036" y="869"/>
                  </a:moveTo>
                  <a:lnTo>
                    <a:pt x="1035" y="870"/>
                  </a:lnTo>
                  <a:lnTo>
                    <a:pt x="1035" y="869"/>
                  </a:lnTo>
                  <a:lnTo>
                    <a:pt x="1035" y="870"/>
                  </a:lnTo>
                  <a:lnTo>
                    <a:pt x="1036" y="869"/>
                  </a:lnTo>
                  <a:close/>
                  <a:moveTo>
                    <a:pt x="1036" y="869"/>
                  </a:moveTo>
                  <a:lnTo>
                    <a:pt x="1036" y="867"/>
                  </a:lnTo>
                  <a:lnTo>
                    <a:pt x="1036" y="869"/>
                  </a:lnTo>
                  <a:close/>
                  <a:moveTo>
                    <a:pt x="1006" y="867"/>
                  </a:moveTo>
                  <a:lnTo>
                    <a:pt x="1006" y="869"/>
                  </a:lnTo>
                  <a:lnTo>
                    <a:pt x="1006" y="867"/>
                  </a:lnTo>
                  <a:close/>
                  <a:moveTo>
                    <a:pt x="1027" y="869"/>
                  </a:moveTo>
                  <a:lnTo>
                    <a:pt x="1027" y="867"/>
                  </a:lnTo>
                  <a:lnTo>
                    <a:pt x="1027" y="869"/>
                  </a:lnTo>
                  <a:close/>
                  <a:moveTo>
                    <a:pt x="1030" y="869"/>
                  </a:moveTo>
                  <a:lnTo>
                    <a:pt x="1030" y="867"/>
                  </a:lnTo>
                  <a:lnTo>
                    <a:pt x="1030" y="869"/>
                  </a:lnTo>
                  <a:close/>
                  <a:moveTo>
                    <a:pt x="1032" y="869"/>
                  </a:moveTo>
                  <a:lnTo>
                    <a:pt x="1032" y="867"/>
                  </a:lnTo>
                  <a:lnTo>
                    <a:pt x="1032" y="869"/>
                  </a:lnTo>
                  <a:close/>
                  <a:moveTo>
                    <a:pt x="1027" y="869"/>
                  </a:moveTo>
                  <a:lnTo>
                    <a:pt x="1027" y="867"/>
                  </a:lnTo>
                  <a:lnTo>
                    <a:pt x="1027" y="869"/>
                  </a:lnTo>
                  <a:close/>
                  <a:moveTo>
                    <a:pt x="1025" y="869"/>
                  </a:moveTo>
                  <a:lnTo>
                    <a:pt x="1025" y="867"/>
                  </a:lnTo>
                  <a:lnTo>
                    <a:pt x="1025" y="869"/>
                  </a:lnTo>
                  <a:close/>
                  <a:moveTo>
                    <a:pt x="1033" y="869"/>
                  </a:moveTo>
                  <a:lnTo>
                    <a:pt x="1033" y="867"/>
                  </a:lnTo>
                  <a:lnTo>
                    <a:pt x="1033" y="869"/>
                  </a:lnTo>
                  <a:close/>
                  <a:moveTo>
                    <a:pt x="1038" y="867"/>
                  </a:moveTo>
                  <a:lnTo>
                    <a:pt x="1040" y="867"/>
                  </a:lnTo>
                  <a:lnTo>
                    <a:pt x="1040" y="869"/>
                  </a:lnTo>
                  <a:lnTo>
                    <a:pt x="1038" y="870"/>
                  </a:lnTo>
                  <a:lnTo>
                    <a:pt x="1038" y="872"/>
                  </a:lnTo>
                  <a:lnTo>
                    <a:pt x="1038" y="870"/>
                  </a:lnTo>
                  <a:lnTo>
                    <a:pt x="1038" y="872"/>
                  </a:lnTo>
                  <a:lnTo>
                    <a:pt x="1038" y="870"/>
                  </a:lnTo>
                  <a:lnTo>
                    <a:pt x="1036" y="870"/>
                  </a:lnTo>
                  <a:lnTo>
                    <a:pt x="1038" y="869"/>
                  </a:lnTo>
                  <a:lnTo>
                    <a:pt x="1038" y="867"/>
                  </a:lnTo>
                  <a:close/>
                  <a:moveTo>
                    <a:pt x="1023" y="869"/>
                  </a:moveTo>
                  <a:lnTo>
                    <a:pt x="1023" y="867"/>
                  </a:lnTo>
                  <a:lnTo>
                    <a:pt x="1023" y="869"/>
                  </a:lnTo>
                  <a:lnTo>
                    <a:pt x="1023" y="867"/>
                  </a:lnTo>
                  <a:lnTo>
                    <a:pt x="1023" y="869"/>
                  </a:lnTo>
                  <a:close/>
                  <a:moveTo>
                    <a:pt x="1006" y="867"/>
                  </a:moveTo>
                  <a:lnTo>
                    <a:pt x="1004" y="867"/>
                  </a:lnTo>
                  <a:lnTo>
                    <a:pt x="1006" y="867"/>
                  </a:lnTo>
                  <a:close/>
                  <a:moveTo>
                    <a:pt x="1028" y="867"/>
                  </a:moveTo>
                  <a:lnTo>
                    <a:pt x="1028" y="869"/>
                  </a:lnTo>
                  <a:lnTo>
                    <a:pt x="1028" y="867"/>
                  </a:lnTo>
                  <a:close/>
                  <a:moveTo>
                    <a:pt x="1025" y="867"/>
                  </a:moveTo>
                  <a:lnTo>
                    <a:pt x="1025" y="869"/>
                  </a:lnTo>
                  <a:lnTo>
                    <a:pt x="1025" y="867"/>
                  </a:lnTo>
                  <a:close/>
                  <a:moveTo>
                    <a:pt x="1027" y="867"/>
                  </a:moveTo>
                  <a:lnTo>
                    <a:pt x="1028" y="867"/>
                  </a:lnTo>
                  <a:lnTo>
                    <a:pt x="1027" y="867"/>
                  </a:lnTo>
                  <a:close/>
                  <a:moveTo>
                    <a:pt x="1035" y="867"/>
                  </a:moveTo>
                  <a:lnTo>
                    <a:pt x="1036" y="867"/>
                  </a:lnTo>
                  <a:lnTo>
                    <a:pt x="1035" y="867"/>
                  </a:lnTo>
                  <a:close/>
                  <a:moveTo>
                    <a:pt x="1025" y="867"/>
                  </a:moveTo>
                  <a:lnTo>
                    <a:pt x="1025" y="869"/>
                  </a:lnTo>
                  <a:lnTo>
                    <a:pt x="1025" y="867"/>
                  </a:lnTo>
                  <a:close/>
                  <a:moveTo>
                    <a:pt x="1045" y="867"/>
                  </a:moveTo>
                  <a:lnTo>
                    <a:pt x="1043" y="867"/>
                  </a:lnTo>
                  <a:lnTo>
                    <a:pt x="1045" y="867"/>
                  </a:lnTo>
                  <a:close/>
                  <a:moveTo>
                    <a:pt x="1053" y="867"/>
                  </a:moveTo>
                  <a:lnTo>
                    <a:pt x="1053" y="869"/>
                  </a:lnTo>
                  <a:lnTo>
                    <a:pt x="1053" y="870"/>
                  </a:lnTo>
                  <a:lnTo>
                    <a:pt x="1053" y="874"/>
                  </a:lnTo>
                  <a:lnTo>
                    <a:pt x="1053" y="872"/>
                  </a:lnTo>
                  <a:lnTo>
                    <a:pt x="1053" y="874"/>
                  </a:lnTo>
                  <a:lnTo>
                    <a:pt x="1051" y="874"/>
                  </a:lnTo>
                  <a:lnTo>
                    <a:pt x="1051" y="872"/>
                  </a:lnTo>
                  <a:lnTo>
                    <a:pt x="1053" y="870"/>
                  </a:lnTo>
                  <a:lnTo>
                    <a:pt x="1053" y="869"/>
                  </a:lnTo>
                  <a:lnTo>
                    <a:pt x="1051" y="870"/>
                  </a:lnTo>
                  <a:lnTo>
                    <a:pt x="1051" y="872"/>
                  </a:lnTo>
                  <a:lnTo>
                    <a:pt x="1051" y="874"/>
                  </a:lnTo>
                  <a:lnTo>
                    <a:pt x="1051" y="875"/>
                  </a:lnTo>
                  <a:lnTo>
                    <a:pt x="1049" y="875"/>
                  </a:lnTo>
                  <a:lnTo>
                    <a:pt x="1049" y="874"/>
                  </a:lnTo>
                  <a:lnTo>
                    <a:pt x="1049" y="875"/>
                  </a:lnTo>
                  <a:lnTo>
                    <a:pt x="1049" y="874"/>
                  </a:lnTo>
                  <a:lnTo>
                    <a:pt x="1049" y="872"/>
                  </a:lnTo>
                  <a:lnTo>
                    <a:pt x="1051" y="872"/>
                  </a:lnTo>
                  <a:lnTo>
                    <a:pt x="1051" y="870"/>
                  </a:lnTo>
                  <a:lnTo>
                    <a:pt x="1049" y="870"/>
                  </a:lnTo>
                  <a:lnTo>
                    <a:pt x="1051" y="869"/>
                  </a:lnTo>
                  <a:lnTo>
                    <a:pt x="1051" y="867"/>
                  </a:lnTo>
                  <a:lnTo>
                    <a:pt x="1053" y="867"/>
                  </a:lnTo>
                  <a:close/>
                  <a:moveTo>
                    <a:pt x="1027" y="867"/>
                  </a:moveTo>
                  <a:lnTo>
                    <a:pt x="1028" y="867"/>
                  </a:lnTo>
                  <a:lnTo>
                    <a:pt x="1027" y="867"/>
                  </a:lnTo>
                  <a:close/>
                  <a:moveTo>
                    <a:pt x="1032" y="867"/>
                  </a:moveTo>
                  <a:lnTo>
                    <a:pt x="1032" y="869"/>
                  </a:lnTo>
                  <a:lnTo>
                    <a:pt x="1032" y="867"/>
                  </a:lnTo>
                  <a:lnTo>
                    <a:pt x="1032" y="869"/>
                  </a:lnTo>
                  <a:lnTo>
                    <a:pt x="1032" y="867"/>
                  </a:lnTo>
                  <a:close/>
                  <a:moveTo>
                    <a:pt x="1007" y="867"/>
                  </a:moveTo>
                  <a:lnTo>
                    <a:pt x="1006" y="867"/>
                  </a:lnTo>
                  <a:lnTo>
                    <a:pt x="1007" y="867"/>
                  </a:lnTo>
                  <a:close/>
                  <a:moveTo>
                    <a:pt x="1028" y="867"/>
                  </a:moveTo>
                  <a:lnTo>
                    <a:pt x="1028" y="866"/>
                  </a:lnTo>
                  <a:lnTo>
                    <a:pt x="1028" y="867"/>
                  </a:lnTo>
                  <a:close/>
                  <a:moveTo>
                    <a:pt x="1030" y="866"/>
                  </a:moveTo>
                  <a:lnTo>
                    <a:pt x="1030" y="867"/>
                  </a:lnTo>
                  <a:lnTo>
                    <a:pt x="1030" y="866"/>
                  </a:lnTo>
                  <a:close/>
                  <a:moveTo>
                    <a:pt x="1036" y="867"/>
                  </a:moveTo>
                  <a:lnTo>
                    <a:pt x="1036" y="866"/>
                  </a:lnTo>
                  <a:lnTo>
                    <a:pt x="1036" y="867"/>
                  </a:lnTo>
                  <a:close/>
                  <a:moveTo>
                    <a:pt x="1033" y="867"/>
                  </a:moveTo>
                  <a:lnTo>
                    <a:pt x="1035" y="867"/>
                  </a:lnTo>
                  <a:lnTo>
                    <a:pt x="1035" y="869"/>
                  </a:lnTo>
                  <a:lnTo>
                    <a:pt x="1033" y="869"/>
                  </a:lnTo>
                  <a:lnTo>
                    <a:pt x="1035" y="869"/>
                  </a:lnTo>
                  <a:lnTo>
                    <a:pt x="1033" y="869"/>
                  </a:lnTo>
                  <a:lnTo>
                    <a:pt x="1033" y="870"/>
                  </a:lnTo>
                  <a:lnTo>
                    <a:pt x="1033" y="869"/>
                  </a:lnTo>
                  <a:lnTo>
                    <a:pt x="1033" y="870"/>
                  </a:lnTo>
                  <a:lnTo>
                    <a:pt x="1033" y="869"/>
                  </a:lnTo>
                  <a:lnTo>
                    <a:pt x="1033" y="867"/>
                  </a:lnTo>
                  <a:lnTo>
                    <a:pt x="1035" y="866"/>
                  </a:lnTo>
                  <a:lnTo>
                    <a:pt x="1035" y="867"/>
                  </a:lnTo>
                  <a:lnTo>
                    <a:pt x="1033" y="867"/>
                  </a:lnTo>
                  <a:close/>
                  <a:moveTo>
                    <a:pt x="1007" y="867"/>
                  </a:moveTo>
                  <a:lnTo>
                    <a:pt x="1007" y="866"/>
                  </a:lnTo>
                  <a:lnTo>
                    <a:pt x="1007" y="867"/>
                  </a:lnTo>
                  <a:close/>
                  <a:moveTo>
                    <a:pt x="1043" y="866"/>
                  </a:moveTo>
                  <a:lnTo>
                    <a:pt x="1043" y="867"/>
                  </a:lnTo>
                  <a:lnTo>
                    <a:pt x="1043" y="866"/>
                  </a:lnTo>
                  <a:lnTo>
                    <a:pt x="1045" y="866"/>
                  </a:lnTo>
                  <a:lnTo>
                    <a:pt x="1043" y="866"/>
                  </a:lnTo>
                  <a:close/>
                  <a:moveTo>
                    <a:pt x="1036" y="867"/>
                  </a:moveTo>
                  <a:lnTo>
                    <a:pt x="1038" y="866"/>
                  </a:lnTo>
                  <a:lnTo>
                    <a:pt x="1038" y="867"/>
                  </a:lnTo>
                  <a:lnTo>
                    <a:pt x="1036" y="867"/>
                  </a:lnTo>
                  <a:close/>
                  <a:moveTo>
                    <a:pt x="1027" y="867"/>
                  </a:moveTo>
                  <a:lnTo>
                    <a:pt x="1027" y="866"/>
                  </a:lnTo>
                  <a:lnTo>
                    <a:pt x="1027" y="867"/>
                  </a:lnTo>
                  <a:close/>
                  <a:moveTo>
                    <a:pt x="1028" y="866"/>
                  </a:moveTo>
                  <a:lnTo>
                    <a:pt x="1028" y="867"/>
                  </a:lnTo>
                  <a:lnTo>
                    <a:pt x="1028" y="866"/>
                  </a:lnTo>
                  <a:close/>
                  <a:moveTo>
                    <a:pt x="1049" y="866"/>
                  </a:moveTo>
                  <a:lnTo>
                    <a:pt x="1048" y="866"/>
                  </a:lnTo>
                  <a:lnTo>
                    <a:pt x="1049" y="866"/>
                  </a:lnTo>
                  <a:close/>
                  <a:moveTo>
                    <a:pt x="1002" y="866"/>
                  </a:moveTo>
                  <a:lnTo>
                    <a:pt x="1004" y="866"/>
                  </a:lnTo>
                  <a:lnTo>
                    <a:pt x="1004" y="867"/>
                  </a:lnTo>
                  <a:lnTo>
                    <a:pt x="1004" y="866"/>
                  </a:lnTo>
                  <a:lnTo>
                    <a:pt x="1002" y="867"/>
                  </a:lnTo>
                  <a:lnTo>
                    <a:pt x="1004" y="866"/>
                  </a:lnTo>
                  <a:lnTo>
                    <a:pt x="1002" y="866"/>
                  </a:lnTo>
                  <a:close/>
                  <a:moveTo>
                    <a:pt x="1009" y="866"/>
                  </a:moveTo>
                  <a:lnTo>
                    <a:pt x="1007" y="866"/>
                  </a:lnTo>
                  <a:lnTo>
                    <a:pt x="1009" y="866"/>
                  </a:lnTo>
                  <a:close/>
                  <a:moveTo>
                    <a:pt x="1004" y="866"/>
                  </a:moveTo>
                  <a:lnTo>
                    <a:pt x="1006" y="866"/>
                  </a:lnTo>
                  <a:lnTo>
                    <a:pt x="1006" y="867"/>
                  </a:lnTo>
                  <a:lnTo>
                    <a:pt x="1006" y="866"/>
                  </a:lnTo>
                  <a:lnTo>
                    <a:pt x="1004" y="866"/>
                  </a:lnTo>
                  <a:lnTo>
                    <a:pt x="1006" y="866"/>
                  </a:lnTo>
                  <a:lnTo>
                    <a:pt x="1004" y="866"/>
                  </a:lnTo>
                  <a:close/>
                  <a:moveTo>
                    <a:pt x="1028" y="866"/>
                  </a:moveTo>
                  <a:lnTo>
                    <a:pt x="1028" y="864"/>
                  </a:lnTo>
                  <a:lnTo>
                    <a:pt x="1028" y="866"/>
                  </a:lnTo>
                  <a:close/>
                  <a:moveTo>
                    <a:pt x="1015" y="866"/>
                  </a:moveTo>
                  <a:lnTo>
                    <a:pt x="1015" y="864"/>
                  </a:lnTo>
                  <a:lnTo>
                    <a:pt x="1015" y="866"/>
                  </a:lnTo>
                  <a:close/>
                  <a:moveTo>
                    <a:pt x="1045" y="866"/>
                  </a:moveTo>
                  <a:lnTo>
                    <a:pt x="1045" y="864"/>
                  </a:lnTo>
                  <a:lnTo>
                    <a:pt x="1045" y="866"/>
                  </a:lnTo>
                  <a:close/>
                  <a:moveTo>
                    <a:pt x="1038" y="866"/>
                  </a:moveTo>
                  <a:lnTo>
                    <a:pt x="1038" y="864"/>
                  </a:lnTo>
                  <a:lnTo>
                    <a:pt x="1038" y="866"/>
                  </a:lnTo>
                  <a:close/>
                  <a:moveTo>
                    <a:pt x="1035" y="866"/>
                  </a:moveTo>
                  <a:lnTo>
                    <a:pt x="1035" y="864"/>
                  </a:lnTo>
                  <a:lnTo>
                    <a:pt x="1035" y="866"/>
                  </a:lnTo>
                  <a:close/>
                  <a:moveTo>
                    <a:pt x="1015" y="866"/>
                  </a:moveTo>
                  <a:lnTo>
                    <a:pt x="1017" y="864"/>
                  </a:lnTo>
                  <a:lnTo>
                    <a:pt x="1015" y="866"/>
                  </a:lnTo>
                  <a:close/>
                  <a:moveTo>
                    <a:pt x="1006" y="864"/>
                  </a:moveTo>
                  <a:lnTo>
                    <a:pt x="1007" y="864"/>
                  </a:lnTo>
                  <a:lnTo>
                    <a:pt x="1007" y="866"/>
                  </a:lnTo>
                  <a:lnTo>
                    <a:pt x="1006" y="866"/>
                  </a:lnTo>
                  <a:lnTo>
                    <a:pt x="1006" y="864"/>
                  </a:lnTo>
                  <a:close/>
                  <a:moveTo>
                    <a:pt x="1028" y="866"/>
                  </a:moveTo>
                  <a:lnTo>
                    <a:pt x="1028" y="864"/>
                  </a:lnTo>
                  <a:lnTo>
                    <a:pt x="1028" y="866"/>
                  </a:lnTo>
                  <a:close/>
                  <a:moveTo>
                    <a:pt x="1015" y="866"/>
                  </a:moveTo>
                  <a:lnTo>
                    <a:pt x="1015" y="864"/>
                  </a:lnTo>
                  <a:lnTo>
                    <a:pt x="1015" y="866"/>
                  </a:lnTo>
                  <a:close/>
                  <a:moveTo>
                    <a:pt x="1012" y="864"/>
                  </a:moveTo>
                  <a:lnTo>
                    <a:pt x="1014" y="864"/>
                  </a:lnTo>
                  <a:lnTo>
                    <a:pt x="1012" y="864"/>
                  </a:lnTo>
                  <a:close/>
                  <a:moveTo>
                    <a:pt x="1032" y="866"/>
                  </a:moveTo>
                  <a:lnTo>
                    <a:pt x="1032" y="864"/>
                  </a:lnTo>
                  <a:lnTo>
                    <a:pt x="1032" y="866"/>
                  </a:lnTo>
                  <a:close/>
                  <a:moveTo>
                    <a:pt x="1041" y="864"/>
                  </a:moveTo>
                  <a:lnTo>
                    <a:pt x="1041" y="866"/>
                  </a:lnTo>
                  <a:lnTo>
                    <a:pt x="1041" y="864"/>
                  </a:lnTo>
                  <a:close/>
                  <a:moveTo>
                    <a:pt x="1049" y="866"/>
                  </a:moveTo>
                  <a:lnTo>
                    <a:pt x="1049" y="864"/>
                  </a:lnTo>
                  <a:lnTo>
                    <a:pt x="1049" y="866"/>
                  </a:lnTo>
                  <a:close/>
                  <a:moveTo>
                    <a:pt x="1010" y="866"/>
                  </a:moveTo>
                  <a:lnTo>
                    <a:pt x="1010" y="864"/>
                  </a:lnTo>
                  <a:lnTo>
                    <a:pt x="1010" y="866"/>
                  </a:lnTo>
                  <a:close/>
                  <a:moveTo>
                    <a:pt x="1035" y="864"/>
                  </a:moveTo>
                  <a:lnTo>
                    <a:pt x="1035" y="866"/>
                  </a:lnTo>
                  <a:lnTo>
                    <a:pt x="1035" y="864"/>
                  </a:lnTo>
                  <a:close/>
                  <a:moveTo>
                    <a:pt x="1046" y="864"/>
                  </a:moveTo>
                  <a:lnTo>
                    <a:pt x="1048" y="864"/>
                  </a:lnTo>
                  <a:lnTo>
                    <a:pt x="1048" y="866"/>
                  </a:lnTo>
                  <a:lnTo>
                    <a:pt x="1048" y="867"/>
                  </a:lnTo>
                  <a:lnTo>
                    <a:pt x="1048" y="866"/>
                  </a:lnTo>
                  <a:lnTo>
                    <a:pt x="1048" y="867"/>
                  </a:lnTo>
                  <a:lnTo>
                    <a:pt x="1046" y="867"/>
                  </a:lnTo>
                  <a:lnTo>
                    <a:pt x="1046" y="869"/>
                  </a:lnTo>
                  <a:lnTo>
                    <a:pt x="1045" y="869"/>
                  </a:lnTo>
                  <a:lnTo>
                    <a:pt x="1046" y="869"/>
                  </a:lnTo>
                  <a:lnTo>
                    <a:pt x="1045" y="869"/>
                  </a:lnTo>
                  <a:lnTo>
                    <a:pt x="1046" y="867"/>
                  </a:lnTo>
                  <a:lnTo>
                    <a:pt x="1045" y="867"/>
                  </a:lnTo>
                  <a:lnTo>
                    <a:pt x="1045" y="869"/>
                  </a:lnTo>
                  <a:lnTo>
                    <a:pt x="1045" y="870"/>
                  </a:lnTo>
                  <a:lnTo>
                    <a:pt x="1043" y="870"/>
                  </a:lnTo>
                  <a:lnTo>
                    <a:pt x="1041" y="870"/>
                  </a:lnTo>
                  <a:lnTo>
                    <a:pt x="1041" y="869"/>
                  </a:lnTo>
                  <a:lnTo>
                    <a:pt x="1041" y="867"/>
                  </a:lnTo>
                  <a:lnTo>
                    <a:pt x="1041" y="866"/>
                  </a:lnTo>
                  <a:lnTo>
                    <a:pt x="1041" y="864"/>
                  </a:lnTo>
                  <a:lnTo>
                    <a:pt x="1043" y="866"/>
                  </a:lnTo>
                  <a:lnTo>
                    <a:pt x="1043" y="864"/>
                  </a:lnTo>
                  <a:lnTo>
                    <a:pt x="1043" y="866"/>
                  </a:lnTo>
                  <a:lnTo>
                    <a:pt x="1043" y="867"/>
                  </a:lnTo>
                  <a:lnTo>
                    <a:pt x="1041" y="867"/>
                  </a:lnTo>
                  <a:lnTo>
                    <a:pt x="1043" y="869"/>
                  </a:lnTo>
                  <a:lnTo>
                    <a:pt x="1043" y="867"/>
                  </a:lnTo>
                  <a:lnTo>
                    <a:pt x="1045" y="867"/>
                  </a:lnTo>
                  <a:lnTo>
                    <a:pt x="1045" y="866"/>
                  </a:lnTo>
                  <a:lnTo>
                    <a:pt x="1045" y="867"/>
                  </a:lnTo>
                  <a:lnTo>
                    <a:pt x="1045" y="866"/>
                  </a:lnTo>
                  <a:lnTo>
                    <a:pt x="1046" y="866"/>
                  </a:lnTo>
                  <a:lnTo>
                    <a:pt x="1048" y="866"/>
                  </a:lnTo>
                  <a:lnTo>
                    <a:pt x="1046" y="866"/>
                  </a:lnTo>
                  <a:lnTo>
                    <a:pt x="1046" y="864"/>
                  </a:lnTo>
                  <a:close/>
                  <a:moveTo>
                    <a:pt x="1017" y="864"/>
                  </a:moveTo>
                  <a:lnTo>
                    <a:pt x="1019" y="864"/>
                  </a:lnTo>
                  <a:lnTo>
                    <a:pt x="1017" y="864"/>
                  </a:lnTo>
                  <a:close/>
                  <a:moveTo>
                    <a:pt x="1006" y="864"/>
                  </a:moveTo>
                  <a:lnTo>
                    <a:pt x="1006" y="866"/>
                  </a:lnTo>
                  <a:lnTo>
                    <a:pt x="1006" y="864"/>
                  </a:lnTo>
                  <a:lnTo>
                    <a:pt x="1006" y="866"/>
                  </a:lnTo>
                  <a:lnTo>
                    <a:pt x="1006" y="864"/>
                  </a:lnTo>
                  <a:close/>
                  <a:moveTo>
                    <a:pt x="1030" y="866"/>
                  </a:moveTo>
                  <a:lnTo>
                    <a:pt x="1030" y="864"/>
                  </a:lnTo>
                  <a:lnTo>
                    <a:pt x="1028" y="864"/>
                  </a:lnTo>
                  <a:lnTo>
                    <a:pt x="1030" y="864"/>
                  </a:lnTo>
                  <a:lnTo>
                    <a:pt x="1030" y="866"/>
                  </a:lnTo>
                  <a:close/>
                  <a:moveTo>
                    <a:pt x="1028" y="864"/>
                  </a:moveTo>
                  <a:lnTo>
                    <a:pt x="1028" y="866"/>
                  </a:lnTo>
                  <a:lnTo>
                    <a:pt x="1028" y="864"/>
                  </a:lnTo>
                  <a:close/>
                  <a:moveTo>
                    <a:pt x="1028" y="864"/>
                  </a:moveTo>
                  <a:lnTo>
                    <a:pt x="1030" y="864"/>
                  </a:lnTo>
                  <a:lnTo>
                    <a:pt x="1028" y="864"/>
                  </a:lnTo>
                  <a:close/>
                  <a:moveTo>
                    <a:pt x="1033" y="864"/>
                  </a:moveTo>
                  <a:lnTo>
                    <a:pt x="1032" y="864"/>
                  </a:lnTo>
                  <a:lnTo>
                    <a:pt x="1033" y="864"/>
                  </a:lnTo>
                  <a:close/>
                  <a:moveTo>
                    <a:pt x="1038" y="867"/>
                  </a:moveTo>
                  <a:lnTo>
                    <a:pt x="1038" y="866"/>
                  </a:lnTo>
                  <a:lnTo>
                    <a:pt x="1038" y="864"/>
                  </a:lnTo>
                  <a:lnTo>
                    <a:pt x="1040" y="864"/>
                  </a:lnTo>
                  <a:lnTo>
                    <a:pt x="1040" y="866"/>
                  </a:lnTo>
                  <a:lnTo>
                    <a:pt x="1038" y="866"/>
                  </a:lnTo>
                  <a:lnTo>
                    <a:pt x="1040" y="866"/>
                  </a:lnTo>
                  <a:lnTo>
                    <a:pt x="1040" y="867"/>
                  </a:lnTo>
                  <a:lnTo>
                    <a:pt x="1038" y="867"/>
                  </a:lnTo>
                  <a:close/>
                  <a:moveTo>
                    <a:pt x="1036" y="866"/>
                  </a:moveTo>
                  <a:lnTo>
                    <a:pt x="1038" y="864"/>
                  </a:lnTo>
                  <a:lnTo>
                    <a:pt x="1038" y="862"/>
                  </a:lnTo>
                  <a:lnTo>
                    <a:pt x="1036" y="866"/>
                  </a:lnTo>
                  <a:close/>
                  <a:moveTo>
                    <a:pt x="1019" y="864"/>
                  </a:moveTo>
                  <a:lnTo>
                    <a:pt x="1019" y="862"/>
                  </a:lnTo>
                  <a:lnTo>
                    <a:pt x="1019" y="864"/>
                  </a:lnTo>
                  <a:close/>
                  <a:moveTo>
                    <a:pt x="1028" y="864"/>
                  </a:moveTo>
                  <a:lnTo>
                    <a:pt x="1028" y="862"/>
                  </a:lnTo>
                  <a:lnTo>
                    <a:pt x="1028" y="864"/>
                  </a:lnTo>
                  <a:close/>
                  <a:moveTo>
                    <a:pt x="1020" y="862"/>
                  </a:moveTo>
                  <a:lnTo>
                    <a:pt x="1020" y="864"/>
                  </a:lnTo>
                  <a:lnTo>
                    <a:pt x="1020" y="862"/>
                  </a:lnTo>
                  <a:close/>
                  <a:moveTo>
                    <a:pt x="1038" y="862"/>
                  </a:moveTo>
                  <a:lnTo>
                    <a:pt x="1038" y="864"/>
                  </a:lnTo>
                  <a:lnTo>
                    <a:pt x="1038" y="862"/>
                  </a:lnTo>
                  <a:close/>
                  <a:moveTo>
                    <a:pt x="1006" y="864"/>
                  </a:moveTo>
                  <a:lnTo>
                    <a:pt x="1004" y="864"/>
                  </a:lnTo>
                  <a:lnTo>
                    <a:pt x="1004" y="862"/>
                  </a:lnTo>
                  <a:lnTo>
                    <a:pt x="1006" y="862"/>
                  </a:lnTo>
                  <a:lnTo>
                    <a:pt x="1006" y="864"/>
                  </a:lnTo>
                  <a:close/>
                  <a:moveTo>
                    <a:pt x="1009" y="864"/>
                  </a:moveTo>
                  <a:lnTo>
                    <a:pt x="1009" y="862"/>
                  </a:lnTo>
                  <a:lnTo>
                    <a:pt x="1010" y="862"/>
                  </a:lnTo>
                  <a:lnTo>
                    <a:pt x="1009" y="864"/>
                  </a:lnTo>
                  <a:close/>
                  <a:moveTo>
                    <a:pt x="1006" y="862"/>
                  </a:moveTo>
                  <a:lnTo>
                    <a:pt x="1006" y="864"/>
                  </a:lnTo>
                  <a:lnTo>
                    <a:pt x="1006" y="862"/>
                  </a:lnTo>
                  <a:close/>
                  <a:moveTo>
                    <a:pt x="1007" y="862"/>
                  </a:moveTo>
                  <a:lnTo>
                    <a:pt x="1009" y="862"/>
                  </a:lnTo>
                  <a:lnTo>
                    <a:pt x="1009" y="864"/>
                  </a:lnTo>
                  <a:lnTo>
                    <a:pt x="1007" y="864"/>
                  </a:lnTo>
                  <a:lnTo>
                    <a:pt x="1007" y="862"/>
                  </a:lnTo>
                  <a:close/>
                  <a:moveTo>
                    <a:pt x="1028" y="862"/>
                  </a:moveTo>
                  <a:lnTo>
                    <a:pt x="1030" y="862"/>
                  </a:lnTo>
                  <a:lnTo>
                    <a:pt x="1028" y="862"/>
                  </a:lnTo>
                  <a:close/>
                  <a:moveTo>
                    <a:pt x="1035" y="864"/>
                  </a:moveTo>
                  <a:lnTo>
                    <a:pt x="1035" y="862"/>
                  </a:lnTo>
                  <a:lnTo>
                    <a:pt x="1035" y="864"/>
                  </a:lnTo>
                  <a:close/>
                  <a:moveTo>
                    <a:pt x="1006" y="864"/>
                  </a:moveTo>
                  <a:lnTo>
                    <a:pt x="1006" y="862"/>
                  </a:lnTo>
                  <a:lnTo>
                    <a:pt x="1007" y="862"/>
                  </a:lnTo>
                  <a:lnTo>
                    <a:pt x="1006" y="864"/>
                  </a:lnTo>
                  <a:close/>
                  <a:moveTo>
                    <a:pt x="1035" y="862"/>
                  </a:moveTo>
                  <a:lnTo>
                    <a:pt x="1035" y="864"/>
                  </a:lnTo>
                  <a:lnTo>
                    <a:pt x="1035" y="862"/>
                  </a:lnTo>
                  <a:close/>
                  <a:moveTo>
                    <a:pt x="1054" y="862"/>
                  </a:moveTo>
                  <a:lnTo>
                    <a:pt x="1054" y="864"/>
                  </a:lnTo>
                  <a:lnTo>
                    <a:pt x="1053" y="864"/>
                  </a:lnTo>
                  <a:lnTo>
                    <a:pt x="1054" y="862"/>
                  </a:lnTo>
                  <a:close/>
                  <a:moveTo>
                    <a:pt x="1030" y="861"/>
                  </a:moveTo>
                  <a:lnTo>
                    <a:pt x="1030" y="862"/>
                  </a:lnTo>
                  <a:lnTo>
                    <a:pt x="1030" y="861"/>
                  </a:lnTo>
                  <a:close/>
                  <a:moveTo>
                    <a:pt x="1028" y="862"/>
                  </a:moveTo>
                  <a:lnTo>
                    <a:pt x="1028" y="861"/>
                  </a:lnTo>
                  <a:lnTo>
                    <a:pt x="1028" y="862"/>
                  </a:lnTo>
                  <a:close/>
                  <a:moveTo>
                    <a:pt x="1036" y="861"/>
                  </a:moveTo>
                  <a:lnTo>
                    <a:pt x="1036" y="862"/>
                  </a:lnTo>
                  <a:lnTo>
                    <a:pt x="1036" y="861"/>
                  </a:lnTo>
                  <a:close/>
                  <a:moveTo>
                    <a:pt x="1007" y="862"/>
                  </a:moveTo>
                  <a:lnTo>
                    <a:pt x="1007" y="861"/>
                  </a:lnTo>
                  <a:lnTo>
                    <a:pt x="1007" y="862"/>
                  </a:lnTo>
                  <a:close/>
                  <a:moveTo>
                    <a:pt x="1006" y="862"/>
                  </a:moveTo>
                  <a:lnTo>
                    <a:pt x="1007" y="861"/>
                  </a:lnTo>
                  <a:lnTo>
                    <a:pt x="1007" y="862"/>
                  </a:lnTo>
                  <a:lnTo>
                    <a:pt x="1006" y="862"/>
                  </a:lnTo>
                  <a:close/>
                  <a:moveTo>
                    <a:pt x="1038" y="862"/>
                  </a:moveTo>
                  <a:lnTo>
                    <a:pt x="1038" y="861"/>
                  </a:lnTo>
                  <a:lnTo>
                    <a:pt x="1038" y="862"/>
                  </a:lnTo>
                  <a:close/>
                  <a:moveTo>
                    <a:pt x="1036" y="862"/>
                  </a:moveTo>
                  <a:lnTo>
                    <a:pt x="1036" y="861"/>
                  </a:lnTo>
                  <a:lnTo>
                    <a:pt x="1036" y="862"/>
                  </a:lnTo>
                  <a:close/>
                  <a:moveTo>
                    <a:pt x="1025" y="861"/>
                  </a:moveTo>
                  <a:lnTo>
                    <a:pt x="1027" y="861"/>
                  </a:lnTo>
                  <a:lnTo>
                    <a:pt x="1025" y="861"/>
                  </a:lnTo>
                  <a:close/>
                  <a:moveTo>
                    <a:pt x="1019" y="861"/>
                  </a:moveTo>
                  <a:lnTo>
                    <a:pt x="1017" y="861"/>
                  </a:lnTo>
                  <a:lnTo>
                    <a:pt x="1019" y="861"/>
                  </a:lnTo>
                  <a:close/>
                  <a:moveTo>
                    <a:pt x="1054" y="862"/>
                  </a:moveTo>
                  <a:lnTo>
                    <a:pt x="1054" y="864"/>
                  </a:lnTo>
                  <a:lnTo>
                    <a:pt x="1056" y="862"/>
                  </a:lnTo>
                  <a:lnTo>
                    <a:pt x="1054" y="864"/>
                  </a:lnTo>
                  <a:lnTo>
                    <a:pt x="1054" y="866"/>
                  </a:lnTo>
                  <a:lnTo>
                    <a:pt x="1054" y="864"/>
                  </a:lnTo>
                  <a:lnTo>
                    <a:pt x="1054" y="862"/>
                  </a:lnTo>
                  <a:lnTo>
                    <a:pt x="1054" y="861"/>
                  </a:lnTo>
                  <a:lnTo>
                    <a:pt x="1056" y="861"/>
                  </a:lnTo>
                  <a:lnTo>
                    <a:pt x="1054" y="862"/>
                  </a:lnTo>
                  <a:close/>
                  <a:moveTo>
                    <a:pt x="1019" y="861"/>
                  </a:moveTo>
                  <a:lnTo>
                    <a:pt x="1020" y="861"/>
                  </a:lnTo>
                  <a:lnTo>
                    <a:pt x="1019" y="861"/>
                  </a:lnTo>
                  <a:close/>
                  <a:moveTo>
                    <a:pt x="1017" y="861"/>
                  </a:moveTo>
                  <a:lnTo>
                    <a:pt x="1015" y="861"/>
                  </a:lnTo>
                  <a:lnTo>
                    <a:pt x="1017" y="861"/>
                  </a:lnTo>
                  <a:close/>
                  <a:moveTo>
                    <a:pt x="1023" y="861"/>
                  </a:moveTo>
                  <a:lnTo>
                    <a:pt x="1023" y="859"/>
                  </a:lnTo>
                  <a:lnTo>
                    <a:pt x="1023" y="861"/>
                  </a:lnTo>
                  <a:close/>
                  <a:moveTo>
                    <a:pt x="1017" y="859"/>
                  </a:moveTo>
                  <a:lnTo>
                    <a:pt x="1017" y="861"/>
                  </a:lnTo>
                  <a:lnTo>
                    <a:pt x="1017" y="859"/>
                  </a:lnTo>
                  <a:close/>
                  <a:moveTo>
                    <a:pt x="1027" y="861"/>
                  </a:moveTo>
                  <a:lnTo>
                    <a:pt x="1027" y="859"/>
                  </a:lnTo>
                  <a:lnTo>
                    <a:pt x="1027" y="861"/>
                  </a:lnTo>
                  <a:close/>
                  <a:moveTo>
                    <a:pt x="1036" y="861"/>
                  </a:moveTo>
                  <a:lnTo>
                    <a:pt x="1036" y="859"/>
                  </a:lnTo>
                  <a:lnTo>
                    <a:pt x="1036" y="861"/>
                  </a:lnTo>
                  <a:close/>
                  <a:moveTo>
                    <a:pt x="1023" y="861"/>
                  </a:moveTo>
                  <a:lnTo>
                    <a:pt x="1023" y="859"/>
                  </a:lnTo>
                  <a:lnTo>
                    <a:pt x="1023" y="861"/>
                  </a:lnTo>
                  <a:close/>
                  <a:moveTo>
                    <a:pt x="1020" y="861"/>
                  </a:moveTo>
                  <a:lnTo>
                    <a:pt x="1020" y="859"/>
                  </a:lnTo>
                  <a:lnTo>
                    <a:pt x="1020" y="861"/>
                  </a:lnTo>
                  <a:close/>
                  <a:moveTo>
                    <a:pt x="1032" y="861"/>
                  </a:moveTo>
                  <a:lnTo>
                    <a:pt x="1032" y="859"/>
                  </a:lnTo>
                  <a:lnTo>
                    <a:pt x="1032" y="861"/>
                  </a:lnTo>
                  <a:close/>
                  <a:moveTo>
                    <a:pt x="1017" y="859"/>
                  </a:moveTo>
                  <a:lnTo>
                    <a:pt x="1017" y="861"/>
                  </a:lnTo>
                  <a:lnTo>
                    <a:pt x="1017" y="859"/>
                  </a:lnTo>
                  <a:close/>
                  <a:moveTo>
                    <a:pt x="1019" y="861"/>
                  </a:moveTo>
                  <a:lnTo>
                    <a:pt x="1019" y="859"/>
                  </a:lnTo>
                  <a:lnTo>
                    <a:pt x="1019" y="861"/>
                  </a:lnTo>
                  <a:close/>
                  <a:moveTo>
                    <a:pt x="1025" y="859"/>
                  </a:moveTo>
                  <a:lnTo>
                    <a:pt x="1025" y="861"/>
                  </a:lnTo>
                  <a:lnTo>
                    <a:pt x="1025" y="859"/>
                  </a:lnTo>
                  <a:close/>
                  <a:moveTo>
                    <a:pt x="1017" y="859"/>
                  </a:moveTo>
                  <a:lnTo>
                    <a:pt x="1017" y="861"/>
                  </a:lnTo>
                  <a:lnTo>
                    <a:pt x="1017" y="859"/>
                  </a:lnTo>
                  <a:close/>
                  <a:moveTo>
                    <a:pt x="1030" y="861"/>
                  </a:moveTo>
                  <a:lnTo>
                    <a:pt x="1030" y="859"/>
                  </a:lnTo>
                  <a:lnTo>
                    <a:pt x="1030" y="861"/>
                  </a:lnTo>
                  <a:close/>
                  <a:moveTo>
                    <a:pt x="1054" y="861"/>
                  </a:moveTo>
                  <a:lnTo>
                    <a:pt x="1054" y="859"/>
                  </a:lnTo>
                  <a:lnTo>
                    <a:pt x="1056" y="861"/>
                  </a:lnTo>
                  <a:lnTo>
                    <a:pt x="1054" y="861"/>
                  </a:lnTo>
                  <a:close/>
                  <a:moveTo>
                    <a:pt x="1022" y="861"/>
                  </a:moveTo>
                  <a:lnTo>
                    <a:pt x="1022" y="859"/>
                  </a:lnTo>
                  <a:lnTo>
                    <a:pt x="1022" y="861"/>
                  </a:lnTo>
                  <a:close/>
                  <a:moveTo>
                    <a:pt x="1019" y="861"/>
                  </a:moveTo>
                  <a:lnTo>
                    <a:pt x="1019" y="859"/>
                  </a:lnTo>
                  <a:lnTo>
                    <a:pt x="1019" y="861"/>
                  </a:lnTo>
                  <a:close/>
                  <a:moveTo>
                    <a:pt x="1025" y="861"/>
                  </a:moveTo>
                  <a:lnTo>
                    <a:pt x="1025" y="859"/>
                  </a:lnTo>
                  <a:lnTo>
                    <a:pt x="1025" y="861"/>
                  </a:lnTo>
                  <a:close/>
                  <a:moveTo>
                    <a:pt x="1036" y="859"/>
                  </a:moveTo>
                  <a:lnTo>
                    <a:pt x="1036" y="861"/>
                  </a:lnTo>
                  <a:lnTo>
                    <a:pt x="1036" y="859"/>
                  </a:lnTo>
                  <a:close/>
                  <a:moveTo>
                    <a:pt x="1023" y="859"/>
                  </a:moveTo>
                  <a:lnTo>
                    <a:pt x="1023" y="861"/>
                  </a:lnTo>
                  <a:lnTo>
                    <a:pt x="1022" y="861"/>
                  </a:lnTo>
                  <a:lnTo>
                    <a:pt x="1022" y="859"/>
                  </a:lnTo>
                  <a:lnTo>
                    <a:pt x="1023" y="859"/>
                  </a:lnTo>
                  <a:close/>
                  <a:moveTo>
                    <a:pt x="1025" y="859"/>
                  </a:moveTo>
                  <a:lnTo>
                    <a:pt x="1025" y="861"/>
                  </a:lnTo>
                  <a:lnTo>
                    <a:pt x="1025" y="859"/>
                  </a:lnTo>
                  <a:close/>
                  <a:moveTo>
                    <a:pt x="1038" y="859"/>
                  </a:moveTo>
                  <a:lnTo>
                    <a:pt x="1038" y="861"/>
                  </a:lnTo>
                  <a:lnTo>
                    <a:pt x="1038" y="859"/>
                  </a:lnTo>
                  <a:close/>
                  <a:moveTo>
                    <a:pt x="1019" y="859"/>
                  </a:moveTo>
                  <a:lnTo>
                    <a:pt x="1017" y="859"/>
                  </a:lnTo>
                  <a:lnTo>
                    <a:pt x="1019" y="859"/>
                  </a:lnTo>
                  <a:close/>
                  <a:moveTo>
                    <a:pt x="1027" y="859"/>
                  </a:moveTo>
                  <a:lnTo>
                    <a:pt x="1028" y="859"/>
                  </a:lnTo>
                  <a:lnTo>
                    <a:pt x="1027" y="859"/>
                  </a:lnTo>
                  <a:close/>
                  <a:moveTo>
                    <a:pt x="1019" y="859"/>
                  </a:moveTo>
                  <a:lnTo>
                    <a:pt x="1020" y="859"/>
                  </a:lnTo>
                  <a:lnTo>
                    <a:pt x="1019" y="859"/>
                  </a:lnTo>
                  <a:lnTo>
                    <a:pt x="1020" y="859"/>
                  </a:lnTo>
                  <a:lnTo>
                    <a:pt x="1019" y="859"/>
                  </a:lnTo>
                  <a:close/>
                  <a:moveTo>
                    <a:pt x="1023" y="859"/>
                  </a:moveTo>
                  <a:lnTo>
                    <a:pt x="1025" y="859"/>
                  </a:lnTo>
                  <a:lnTo>
                    <a:pt x="1023" y="859"/>
                  </a:lnTo>
                  <a:close/>
                  <a:moveTo>
                    <a:pt x="1036" y="861"/>
                  </a:moveTo>
                  <a:lnTo>
                    <a:pt x="1036" y="859"/>
                  </a:lnTo>
                  <a:lnTo>
                    <a:pt x="1038" y="859"/>
                  </a:lnTo>
                  <a:lnTo>
                    <a:pt x="1036" y="861"/>
                  </a:lnTo>
                  <a:close/>
                  <a:moveTo>
                    <a:pt x="1049" y="859"/>
                  </a:moveTo>
                  <a:lnTo>
                    <a:pt x="1051" y="859"/>
                  </a:lnTo>
                  <a:lnTo>
                    <a:pt x="1049" y="859"/>
                  </a:lnTo>
                  <a:close/>
                  <a:moveTo>
                    <a:pt x="1038" y="859"/>
                  </a:moveTo>
                  <a:lnTo>
                    <a:pt x="1038" y="857"/>
                  </a:lnTo>
                  <a:lnTo>
                    <a:pt x="1038" y="859"/>
                  </a:lnTo>
                  <a:close/>
                  <a:moveTo>
                    <a:pt x="1027" y="857"/>
                  </a:moveTo>
                  <a:lnTo>
                    <a:pt x="1027" y="859"/>
                  </a:lnTo>
                  <a:lnTo>
                    <a:pt x="1027" y="857"/>
                  </a:lnTo>
                  <a:close/>
                  <a:moveTo>
                    <a:pt x="1020" y="859"/>
                  </a:moveTo>
                  <a:lnTo>
                    <a:pt x="1020" y="857"/>
                  </a:lnTo>
                  <a:lnTo>
                    <a:pt x="1020" y="859"/>
                  </a:lnTo>
                  <a:close/>
                  <a:moveTo>
                    <a:pt x="1030" y="859"/>
                  </a:moveTo>
                  <a:lnTo>
                    <a:pt x="1030" y="857"/>
                  </a:lnTo>
                  <a:lnTo>
                    <a:pt x="1030" y="859"/>
                  </a:lnTo>
                  <a:close/>
                  <a:moveTo>
                    <a:pt x="1019" y="857"/>
                  </a:moveTo>
                  <a:lnTo>
                    <a:pt x="1019" y="859"/>
                  </a:lnTo>
                  <a:lnTo>
                    <a:pt x="1019" y="857"/>
                  </a:lnTo>
                  <a:lnTo>
                    <a:pt x="1019" y="859"/>
                  </a:lnTo>
                  <a:lnTo>
                    <a:pt x="1017" y="859"/>
                  </a:lnTo>
                  <a:lnTo>
                    <a:pt x="1019" y="859"/>
                  </a:lnTo>
                  <a:lnTo>
                    <a:pt x="1019" y="857"/>
                  </a:lnTo>
                  <a:close/>
                  <a:moveTo>
                    <a:pt x="1025" y="859"/>
                  </a:moveTo>
                  <a:lnTo>
                    <a:pt x="1023" y="859"/>
                  </a:lnTo>
                  <a:lnTo>
                    <a:pt x="1025" y="857"/>
                  </a:lnTo>
                  <a:lnTo>
                    <a:pt x="1025" y="859"/>
                  </a:lnTo>
                  <a:close/>
                  <a:moveTo>
                    <a:pt x="1019" y="859"/>
                  </a:moveTo>
                  <a:lnTo>
                    <a:pt x="1019" y="857"/>
                  </a:lnTo>
                  <a:lnTo>
                    <a:pt x="1019" y="859"/>
                  </a:lnTo>
                  <a:close/>
                  <a:moveTo>
                    <a:pt x="1020" y="857"/>
                  </a:moveTo>
                  <a:lnTo>
                    <a:pt x="1020" y="859"/>
                  </a:lnTo>
                  <a:lnTo>
                    <a:pt x="1020" y="857"/>
                  </a:lnTo>
                  <a:close/>
                  <a:moveTo>
                    <a:pt x="1022" y="859"/>
                  </a:moveTo>
                  <a:lnTo>
                    <a:pt x="1022" y="857"/>
                  </a:lnTo>
                  <a:lnTo>
                    <a:pt x="1022" y="859"/>
                  </a:lnTo>
                  <a:close/>
                  <a:moveTo>
                    <a:pt x="1025" y="857"/>
                  </a:moveTo>
                  <a:lnTo>
                    <a:pt x="1025" y="859"/>
                  </a:lnTo>
                  <a:lnTo>
                    <a:pt x="1025" y="857"/>
                  </a:lnTo>
                  <a:close/>
                  <a:moveTo>
                    <a:pt x="1020" y="859"/>
                  </a:moveTo>
                  <a:lnTo>
                    <a:pt x="1020" y="857"/>
                  </a:lnTo>
                  <a:lnTo>
                    <a:pt x="1020" y="859"/>
                  </a:lnTo>
                  <a:close/>
                  <a:moveTo>
                    <a:pt x="1028" y="859"/>
                  </a:moveTo>
                  <a:lnTo>
                    <a:pt x="1028" y="857"/>
                  </a:lnTo>
                  <a:lnTo>
                    <a:pt x="1028" y="859"/>
                  </a:lnTo>
                  <a:close/>
                  <a:moveTo>
                    <a:pt x="1022" y="859"/>
                  </a:moveTo>
                  <a:lnTo>
                    <a:pt x="1022" y="857"/>
                  </a:lnTo>
                  <a:lnTo>
                    <a:pt x="1022" y="859"/>
                  </a:lnTo>
                  <a:close/>
                  <a:moveTo>
                    <a:pt x="1023" y="857"/>
                  </a:moveTo>
                  <a:lnTo>
                    <a:pt x="1023" y="859"/>
                  </a:lnTo>
                  <a:lnTo>
                    <a:pt x="1023" y="857"/>
                  </a:lnTo>
                  <a:close/>
                  <a:moveTo>
                    <a:pt x="1030" y="857"/>
                  </a:moveTo>
                  <a:lnTo>
                    <a:pt x="1030" y="859"/>
                  </a:lnTo>
                  <a:lnTo>
                    <a:pt x="1030" y="857"/>
                  </a:lnTo>
                  <a:close/>
                  <a:moveTo>
                    <a:pt x="1022" y="857"/>
                  </a:moveTo>
                  <a:lnTo>
                    <a:pt x="1023" y="857"/>
                  </a:lnTo>
                  <a:lnTo>
                    <a:pt x="1023" y="859"/>
                  </a:lnTo>
                  <a:lnTo>
                    <a:pt x="1022" y="859"/>
                  </a:lnTo>
                  <a:lnTo>
                    <a:pt x="1022" y="857"/>
                  </a:lnTo>
                  <a:close/>
                  <a:moveTo>
                    <a:pt x="1025" y="857"/>
                  </a:moveTo>
                  <a:lnTo>
                    <a:pt x="1023" y="857"/>
                  </a:lnTo>
                  <a:lnTo>
                    <a:pt x="1025" y="857"/>
                  </a:lnTo>
                  <a:close/>
                  <a:moveTo>
                    <a:pt x="1022" y="857"/>
                  </a:moveTo>
                  <a:lnTo>
                    <a:pt x="1022" y="859"/>
                  </a:lnTo>
                  <a:lnTo>
                    <a:pt x="1022" y="857"/>
                  </a:lnTo>
                  <a:lnTo>
                    <a:pt x="1023" y="857"/>
                  </a:lnTo>
                  <a:lnTo>
                    <a:pt x="1022" y="857"/>
                  </a:lnTo>
                  <a:close/>
                  <a:moveTo>
                    <a:pt x="1041" y="857"/>
                  </a:moveTo>
                  <a:lnTo>
                    <a:pt x="1041" y="856"/>
                  </a:lnTo>
                  <a:lnTo>
                    <a:pt x="1041" y="857"/>
                  </a:lnTo>
                  <a:close/>
                  <a:moveTo>
                    <a:pt x="1023" y="857"/>
                  </a:moveTo>
                  <a:lnTo>
                    <a:pt x="1023" y="856"/>
                  </a:lnTo>
                  <a:lnTo>
                    <a:pt x="1023" y="857"/>
                  </a:lnTo>
                  <a:close/>
                  <a:moveTo>
                    <a:pt x="1032" y="857"/>
                  </a:moveTo>
                  <a:lnTo>
                    <a:pt x="1032" y="856"/>
                  </a:lnTo>
                  <a:lnTo>
                    <a:pt x="1033" y="856"/>
                  </a:lnTo>
                  <a:lnTo>
                    <a:pt x="1032" y="857"/>
                  </a:lnTo>
                  <a:close/>
                  <a:moveTo>
                    <a:pt x="1023" y="857"/>
                  </a:moveTo>
                  <a:lnTo>
                    <a:pt x="1023" y="856"/>
                  </a:lnTo>
                  <a:lnTo>
                    <a:pt x="1023" y="857"/>
                  </a:lnTo>
                  <a:lnTo>
                    <a:pt x="1023" y="859"/>
                  </a:lnTo>
                  <a:lnTo>
                    <a:pt x="1023" y="857"/>
                  </a:lnTo>
                  <a:close/>
                  <a:moveTo>
                    <a:pt x="1025" y="856"/>
                  </a:moveTo>
                  <a:lnTo>
                    <a:pt x="1025" y="857"/>
                  </a:lnTo>
                  <a:lnTo>
                    <a:pt x="1025" y="856"/>
                  </a:lnTo>
                  <a:close/>
                  <a:moveTo>
                    <a:pt x="1025" y="856"/>
                  </a:moveTo>
                  <a:lnTo>
                    <a:pt x="1023" y="857"/>
                  </a:lnTo>
                  <a:lnTo>
                    <a:pt x="1023" y="856"/>
                  </a:lnTo>
                  <a:lnTo>
                    <a:pt x="1025" y="856"/>
                  </a:lnTo>
                  <a:close/>
                  <a:moveTo>
                    <a:pt x="1033" y="857"/>
                  </a:moveTo>
                  <a:lnTo>
                    <a:pt x="1033" y="856"/>
                  </a:lnTo>
                  <a:lnTo>
                    <a:pt x="1033" y="857"/>
                  </a:lnTo>
                  <a:close/>
                  <a:moveTo>
                    <a:pt x="1027" y="857"/>
                  </a:moveTo>
                  <a:lnTo>
                    <a:pt x="1027" y="856"/>
                  </a:lnTo>
                  <a:lnTo>
                    <a:pt x="1027" y="857"/>
                  </a:lnTo>
                  <a:close/>
                  <a:moveTo>
                    <a:pt x="1033" y="857"/>
                  </a:moveTo>
                  <a:lnTo>
                    <a:pt x="1033" y="856"/>
                  </a:lnTo>
                  <a:lnTo>
                    <a:pt x="1033" y="857"/>
                  </a:lnTo>
                  <a:close/>
                  <a:moveTo>
                    <a:pt x="1022" y="856"/>
                  </a:moveTo>
                  <a:lnTo>
                    <a:pt x="1023" y="856"/>
                  </a:lnTo>
                  <a:lnTo>
                    <a:pt x="1022" y="856"/>
                  </a:lnTo>
                  <a:close/>
                  <a:moveTo>
                    <a:pt x="1025" y="856"/>
                  </a:moveTo>
                  <a:lnTo>
                    <a:pt x="1025" y="857"/>
                  </a:lnTo>
                  <a:lnTo>
                    <a:pt x="1025" y="859"/>
                  </a:lnTo>
                  <a:lnTo>
                    <a:pt x="1025" y="857"/>
                  </a:lnTo>
                  <a:lnTo>
                    <a:pt x="1025" y="856"/>
                  </a:lnTo>
                  <a:close/>
                  <a:moveTo>
                    <a:pt x="1035" y="856"/>
                  </a:moveTo>
                  <a:lnTo>
                    <a:pt x="1035" y="857"/>
                  </a:lnTo>
                  <a:lnTo>
                    <a:pt x="1035" y="856"/>
                  </a:lnTo>
                  <a:lnTo>
                    <a:pt x="1035" y="857"/>
                  </a:lnTo>
                  <a:lnTo>
                    <a:pt x="1033" y="857"/>
                  </a:lnTo>
                  <a:lnTo>
                    <a:pt x="1033" y="859"/>
                  </a:lnTo>
                  <a:lnTo>
                    <a:pt x="1035" y="857"/>
                  </a:lnTo>
                  <a:lnTo>
                    <a:pt x="1035" y="856"/>
                  </a:lnTo>
                  <a:close/>
                  <a:moveTo>
                    <a:pt x="1027" y="857"/>
                  </a:moveTo>
                  <a:lnTo>
                    <a:pt x="1027" y="859"/>
                  </a:lnTo>
                  <a:lnTo>
                    <a:pt x="1027" y="857"/>
                  </a:lnTo>
                  <a:lnTo>
                    <a:pt x="1027" y="859"/>
                  </a:lnTo>
                  <a:lnTo>
                    <a:pt x="1027" y="857"/>
                  </a:lnTo>
                  <a:lnTo>
                    <a:pt x="1027" y="859"/>
                  </a:lnTo>
                  <a:lnTo>
                    <a:pt x="1027" y="857"/>
                  </a:lnTo>
                  <a:lnTo>
                    <a:pt x="1027" y="856"/>
                  </a:lnTo>
                  <a:lnTo>
                    <a:pt x="1028" y="856"/>
                  </a:lnTo>
                  <a:lnTo>
                    <a:pt x="1027" y="856"/>
                  </a:lnTo>
                  <a:lnTo>
                    <a:pt x="1028" y="856"/>
                  </a:lnTo>
                  <a:lnTo>
                    <a:pt x="1028" y="857"/>
                  </a:lnTo>
                  <a:lnTo>
                    <a:pt x="1028" y="859"/>
                  </a:lnTo>
                  <a:lnTo>
                    <a:pt x="1027" y="857"/>
                  </a:lnTo>
                  <a:close/>
                  <a:moveTo>
                    <a:pt x="1028" y="856"/>
                  </a:moveTo>
                  <a:lnTo>
                    <a:pt x="1028" y="857"/>
                  </a:lnTo>
                  <a:lnTo>
                    <a:pt x="1028" y="856"/>
                  </a:lnTo>
                  <a:close/>
                  <a:moveTo>
                    <a:pt x="1025" y="856"/>
                  </a:moveTo>
                  <a:lnTo>
                    <a:pt x="1027" y="856"/>
                  </a:lnTo>
                  <a:lnTo>
                    <a:pt x="1025" y="856"/>
                  </a:lnTo>
                  <a:close/>
                  <a:moveTo>
                    <a:pt x="1027" y="856"/>
                  </a:moveTo>
                  <a:lnTo>
                    <a:pt x="1027" y="854"/>
                  </a:lnTo>
                  <a:lnTo>
                    <a:pt x="1027" y="856"/>
                  </a:lnTo>
                  <a:close/>
                  <a:moveTo>
                    <a:pt x="1027" y="856"/>
                  </a:moveTo>
                  <a:lnTo>
                    <a:pt x="1027" y="854"/>
                  </a:lnTo>
                  <a:lnTo>
                    <a:pt x="1027" y="856"/>
                  </a:lnTo>
                  <a:close/>
                  <a:moveTo>
                    <a:pt x="1027" y="856"/>
                  </a:moveTo>
                  <a:lnTo>
                    <a:pt x="1027" y="854"/>
                  </a:lnTo>
                  <a:lnTo>
                    <a:pt x="1027" y="856"/>
                  </a:lnTo>
                  <a:lnTo>
                    <a:pt x="1027" y="854"/>
                  </a:lnTo>
                  <a:lnTo>
                    <a:pt x="1027" y="856"/>
                  </a:lnTo>
                  <a:close/>
                  <a:moveTo>
                    <a:pt x="1023" y="854"/>
                  </a:moveTo>
                  <a:lnTo>
                    <a:pt x="1023" y="856"/>
                  </a:lnTo>
                  <a:lnTo>
                    <a:pt x="1023" y="854"/>
                  </a:lnTo>
                  <a:close/>
                  <a:moveTo>
                    <a:pt x="1025" y="856"/>
                  </a:moveTo>
                  <a:lnTo>
                    <a:pt x="1025" y="854"/>
                  </a:lnTo>
                  <a:lnTo>
                    <a:pt x="1025" y="856"/>
                  </a:lnTo>
                  <a:lnTo>
                    <a:pt x="1023" y="856"/>
                  </a:lnTo>
                  <a:lnTo>
                    <a:pt x="1025" y="856"/>
                  </a:lnTo>
                  <a:lnTo>
                    <a:pt x="1025" y="854"/>
                  </a:lnTo>
                  <a:lnTo>
                    <a:pt x="1025" y="856"/>
                  </a:lnTo>
                  <a:close/>
                  <a:moveTo>
                    <a:pt x="1025" y="854"/>
                  </a:moveTo>
                  <a:lnTo>
                    <a:pt x="1027" y="854"/>
                  </a:lnTo>
                  <a:lnTo>
                    <a:pt x="1025" y="854"/>
                  </a:lnTo>
                  <a:close/>
                  <a:moveTo>
                    <a:pt x="1028" y="856"/>
                  </a:moveTo>
                  <a:lnTo>
                    <a:pt x="1028" y="854"/>
                  </a:lnTo>
                  <a:lnTo>
                    <a:pt x="1028" y="856"/>
                  </a:lnTo>
                  <a:close/>
                  <a:moveTo>
                    <a:pt x="1028" y="854"/>
                  </a:moveTo>
                  <a:lnTo>
                    <a:pt x="1027" y="854"/>
                  </a:lnTo>
                  <a:lnTo>
                    <a:pt x="1028" y="854"/>
                  </a:lnTo>
                  <a:close/>
                  <a:moveTo>
                    <a:pt x="1035" y="857"/>
                  </a:moveTo>
                  <a:lnTo>
                    <a:pt x="1033" y="857"/>
                  </a:lnTo>
                  <a:lnTo>
                    <a:pt x="1035" y="856"/>
                  </a:lnTo>
                  <a:lnTo>
                    <a:pt x="1035" y="854"/>
                  </a:lnTo>
                  <a:lnTo>
                    <a:pt x="1036" y="854"/>
                  </a:lnTo>
                  <a:lnTo>
                    <a:pt x="1035" y="856"/>
                  </a:lnTo>
                  <a:lnTo>
                    <a:pt x="1035" y="857"/>
                  </a:lnTo>
                  <a:close/>
                  <a:moveTo>
                    <a:pt x="1025" y="854"/>
                  </a:moveTo>
                  <a:lnTo>
                    <a:pt x="1023" y="854"/>
                  </a:lnTo>
                  <a:lnTo>
                    <a:pt x="1025" y="854"/>
                  </a:lnTo>
                  <a:close/>
                  <a:moveTo>
                    <a:pt x="1030" y="856"/>
                  </a:moveTo>
                  <a:lnTo>
                    <a:pt x="1030" y="854"/>
                  </a:lnTo>
                  <a:lnTo>
                    <a:pt x="1032" y="854"/>
                  </a:lnTo>
                  <a:lnTo>
                    <a:pt x="1030" y="856"/>
                  </a:lnTo>
                  <a:lnTo>
                    <a:pt x="1030" y="854"/>
                  </a:lnTo>
                  <a:lnTo>
                    <a:pt x="1030" y="856"/>
                  </a:lnTo>
                  <a:close/>
                  <a:moveTo>
                    <a:pt x="1030" y="854"/>
                  </a:moveTo>
                  <a:lnTo>
                    <a:pt x="1032" y="854"/>
                  </a:lnTo>
                  <a:lnTo>
                    <a:pt x="1030" y="854"/>
                  </a:lnTo>
                  <a:close/>
                  <a:moveTo>
                    <a:pt x="1023" y="854"/>
                  </a:moveTo>
                  <a:lnTo>
                    <a:pt x="1025" y="854"/>
                  </a:lnTo>
                  <a:lnTo>
                    <a:pt x="1023" y="854"/>
                  </a:lnTo>
                  <a:close/>
                  <a:moveTo>
                    <a:pt x="1035" y="862"/>
                  </a:moveTo>
                  <a:lnTo>
                    <a:pt x="1035" y="864"/>
                  </a:lnTo>
                  <a:lnTo>
                    <a:pt x="1033" y="864"/>
                  </a:lnTo>
                  <a:lnTo>
                    <a:pt x="1033" y="866"/>
                  </a:lnTo>
                  <a:lnTo>
                    <a:pt x="1033" y="864"/>
                  </a:lnTo>
                  <a:lnTo>
                    <a:pt x="1033" y="866"/>
                  </a:lnTo>
                  <a:lnTo>
                    <a:pt x="1033" y="867"/>
                  </a:lnTo>
                  <a:lnTo>
                    <a:pt x="1032" y="867"/>
                  </a:lnTo>
                  <a:lnTo>
                    <a:pt x="1033" y="866"/>
                  </a:lnTo>
                  <a:lnTo>
                    <a:pt x="1033" y="864"/>
                  </a:lnTo>
                  <a:lnTo>
                    <a:pt x="1033" y="862"/>
                  </a:lnTo>
                  <a:lnTo>
                    <a:pt x="1033" y="861"/>
                  </a:lnTo>
                  <a:lnTo>
                    <a:pt x="1033" y="862"/>
                  </a:lnTo>
                  <a:lnTo>
                    <a:pt x="1033" y="861"/>
                  </a:lnTo>
                  <a:lnTo>
                    <a:pt x="1035" y="861"/>
                  </a:lnTo>
                  <a:lnTo>
                    <a:pt x="1035" y="859"/>
                  </a:lnTo>
                  <a:lnTo>
                    <a:pt x="1036" y="859"/>
                  </a:lnTo>
                  <a:lnTo>
                    <a:pt x="1036" y="857"/>
                  </a:lnTo>
                  <a:lnTo>
                    <a:pt x="1038" y="857"/>
                  </a:lnTo>
                  <a:lnTo>
                    <a:pt x="1036" y="856"/>
                  </a:lnTo>
                  <a:lnTo>
                    <a:pt x="1038" y="856"/>
                  </a:lnTo>
                  <a:lnTo>
                    <a:pt x="1036" y="857"/>
                  </a:lnTo>
                  <a:lnTo>
                    <a:pt x="1036" y="856"/>
                  </a:lnTo>
                  <a:lnTo>
                    <a:pt x="1036" y="857"/>
                  </a:lnTo>
                  <a:lnTo>
                    <a:pt x="1036" y="856"/>
                  </a:lnTo>
                  <a:lnTo>
                    <a:pt x="1036" y="854"/>
                  </a:lnTo>
                  <a:lnTo>
                    <a:pt x="1036" y="856"/>
                  </a:lnTo>
                  <a:lnTo>
                    <a:pt x="1036" y="854"/>
                  </a:lnTo>
                  <a:lnTo>
                    <a:pt x="1038" y="854"/>
                  </a:lnTo>
                  <a:lnTo>
                    <a:pt x="1038" y="853"/>
                  </a:lnTo>
                  <a:lnTo>
                    <a:pt x="1040" y="853"/>
                  </a:lnTo>
                  <a:lnTo>
                    <a:pt x="1040" y="854"/>
                  </a:lnTo>
                  <a:lnTo>
                    <a:pt x="1040" y="856"/>
                  </a:lnTo>
                  <a:lnTo>
                    <a:pt x="1038" y="857"/>
                  </a:lnTo>
                  <a:lnTo>
                    <a:pt x="1038" y="856"/>
                  </a:lnTo>
                  <a:lnTo>
                    <a:pt x="1040" y="854"/>
                  </a:lnTo>
                  <a:lnTo>
                    <a:pt x="1038" y="856"/>
                  </a:lnTo>
                  <a:lnTo>
                    <a:pt x="1038" y="857"/>
                  </a:lnTo>
                  <a:lnTo>
                    <a:pt x="1036" y="857"/>
                  </a:lnTo>
                  <a:lnTo>
                    <a:pt x="1038" y="857"/>
                  </a:lnTo>
                  <a:lnTo>
                    <a:pt x="1036" y="859"/>
                  </a:lnTo>
                  <a:lnTo>
                    <a:pt x="1035" y="861"/>
                  </a:lnTo>
                  <a:lnTo>
                    <a:pt x="1036" y="861"/>
                  </a:lnTo>
                  <a:lnTo>
                    <a:pt x="1035" y="861"/>
                  </a:lnTo>
                  <a:lnTo>
                    <a:pt x="1036" y="861"/>
                  </a:lnTo>
                  <a:lnTo>
                    <a:pt x="1036" y="862"/>
                  </a:lnTo>
                  <a:lnTo>
                    <a:pt x="1035" y="862"/>
                  </a:lnTo>
                  <a:close/>
                  <a:moveTo>
                    <a:pt x="1033" y="854"/>
                  </a:moveTo>
                  <a:lnTo>
                    <a:pt x="1033" y="853"/>
                  </a:lnTo>
                  <a:lnTo>
                    <a:pt x="1035" y="853"/>
                  </a:lnTo>
                  <a:lnTo>
                    <a:pt x="1035" y="851"/>
                  </a:lnTo>
                  <a:lnTo>
                    <a:pt x="1036" y="853"/>
                  </a:lnTo>
                  <a:lnTo>
                    <a:pt x="1035" y="853"/>
                  </a:lnTo>
                  <a:lnTo>
                    <a:pt x="1033" y="854"/>
                  </a:lnTo>
                  <a:lnTo>
                    <a:pt x="1033" y="853"/>
                  </a:lnTo>
                  <a:lnTo>
                    <a:pt x="1033" y="854"/>
                  </a:lnTo>
                  <a:close/>
                  <a:moveTo>
                    <a:pt x="1035" y="853"/>
                  </a:moveTo>
                  <a:lnTo>
                    <a:pt x="1033" y="853"/>
                  </a:lnTo>
                  <a:lnTo>
                    <a:pt x="1035" y="851"/>
                  </a:lnTo>
                  <a:lnTo>
                    <a:pt x="1035" y="853"/>
                  </a:lnTo>
                  <a:close/>
                  <a:moveTo>
                    <a:pt x="1041" y="851"/>
                  </a:moveTo>
                  <a:lnTo>
                    <a:pt x="1041" y="849"/>
                  </a:lnTo>
                  <a:lnTo>
                    <a:pt x="1043" y="849"/>
                  </a:lnTo>
                  <a:lnTo>
                    <a:pt x="1041" y="851"/>
                  </a:lnTo>
                  <a:close/>
                  <a:moveTo>
                    <a:pt x="1035" y="851"/>
                  </a:moveTo>
                  <a:lnTo>
                    <a:pt x="1033" y="851"/>
                  </a:lnTo>
                  <a:lnTo>
                    <a:pt x="1033" y="853"/>
                  </a:lnTo>
                  <a:lnTo>
                    <a:pt x="1032" y="853"/>
                  </a:lnTo>
                  <a:lnTo>
                    <a:pt x="1032" y="854"/>
                  </a:lnTo>
                  <a:lnTo>
                    <a:pt x="1032" y="853"/>
                  </a:lnTo>
                  <a:lnTo>
                    <a:pt x="1032" y="854"/>
                  </a:lnTo>
                  <a:lnTo>
                    <a:pt x="1030" y="853"/>
                  </a:lnTo>
                  <a:lnTo>
                    <a:pt x="1030" y="854"/>
                  </a:lnTo>
                  <a:lnTo>
                    <a:pt x="1030" y="853"/>
                  </a:lnTo>
                  <a:lnTo>
                    <a:pt x="1032" y="853"/>
                  </a:lnTo>
                  <a:lnTo>
                    <a:pt x="1032" y="851"/>
                  </a:lnTo>
                  <a:lnTo>
                    <a:pt x="1033" y="851"/>
                  </a:lnTo>
                  <a:lnTo>
                    <a:pt x="1035" y="849"/>
                  </a:lnTo>
                  <a:lnTo>
                    <a:pt x="1035" y="851"/>
                  </a:lnTo>
                  <a:close/>
                  <a:moveTo>
                    <a:pt x="1030" y="849"/>
                  </a:moveTo>
                  <a:lnTo>
                    <a:pt x="1032" y="849"/>
                  </a:lnTo>
                  <a:lnTo>
                    <a:pt x="1030" y="849"/>
                  </a:lnTo>
                  <a:close/>
                  <a:moveTo>
                    <a:pt x="1041" y="851"/>
                  </a:moveTo>
                  <a:lnTo>
                    <a:pt x="1041" y="849"/>
                  </a:lnTo>
                  <a:lnTo>
                    <a:pt x="1043" y="849"/>
                  </a:lnTo>
                  <a:lnTo>
                    <a:pt x="1043" y="848"/>
                  </a:lnTo>
                  <a:lnTo>
                    <a:pt x="1043" y="849"/>
                  </a:lnTo>
                  <a:lnTo>
                    <a:pt x="1041" y="851"/>
                  </a:lnTo>
                  <a:close/>
                  <a:moveTo>
                    <a:pt x="1032" y="848"/>
                  </a:moveTo>
                  <a:lnTo>
                    <a:pt x="1032" y="849"/>
                  </a:lnTo>
                  <a:lnTo>
                    <a:pt x="1032" y="848"/>
                  </a:lnTo>
                  <a:close/>
                  <a:moveTo>
                    <a:pt x="1025" y="848"/>
                  </a:moveTo>
                  <a:lnTo>
                    <a:pt x="1025" y="849"/>
                  </a:lnTo>
                  <a:lnTo>
                    <a:pt x="1025" y="848"/>
                  </a:lnTo>
                  <a:close/>
                  <a:moveTo>
                    <a:pt x="1040" y="848"/>
                  </a:moveTo>
                  <a:lnTo>
                    <a:pt x="1038" y="848"/>
                  </a:lnTo>
                  <a:lnTo>
                    <a:pt x="1040" y="848"/>
                  </a:lnTo>
                  <a:close/>
                  <a:moveTo>
                    <a:pt x="1028" y="848"/>
                  </a:moveTo>
                  <a:lnTo>
                    <a:pt x="1030" y="848"/>
                  </a:lnTo>
                  <a:lnTo>
                    <a:pt x="1028" y="848"/>
                  </a:lnTo>
                  <a:close/>
                  <a:moveTo>
                    <a:pt x="1027" y="848"/>
                  </a:moveTo>
                  <a:lnTo>
                    <a:pt x="1027" y="846"/>
                  </a:lnTo>
                  <a:lnTo>
                    <a:pt x="1027" y="848"/>
                  </a:lnTo>
                  <a:close/>
                  <a:moveTo>
                    <a:pt x="1030" y="846"/>
                  </a:moveTo>
                  <a:lnTo>
                    <a:pt x="1032" y="846"/>
                  </a:lnTo>
                  <a:lnTo>
                    <a:pt x="1030" y="848"/>
                  </a:lnTo>
                  <a:lnTo>
                    <a:pt x="1030" y="846"/>
                  </a:lnTo>
                  <a:close/>
                  <a:moveTo>
                    <a:pt x="1028" y="848"/>
                  </a:moveTo>
                  <a:lnTo>
                    <a:pt x="1028" y="846"/>
                  </a:lnTo>
                  <a:lnTo>
                    <a:pt x="1028" y="848"/>
                  </a:lnTo>
                  <a:close/>
                  <a:moveTo>
                    <a:pt x="1025" y="848"/>
                  </a:moveTo>
                  <a:lnTo>
                    <a:pt x="1027" y="846"/>
                  </a:lnTo>
                  <a:lnTo>
                    <a:pt x="1025" y="846"/>
                  </a:lnTo>
                  <a:lnTo>
                    <a:pt x="1027" y="846"/>
                  </a:lnTo>
                  <a:lnTo>
                    <a:pt x="1027" y="848"/>
                  </a:lnTo>
                  <a:lnTo>
                    <a:pt x="1025" y="848"/>
                  </a:lnTo>
                  <a:close/>
                  <a:moveTo>
                    <a:pt x="1027" y="848"/>
                  </a:moveTo>
                  <a:lnTo>
                    <a:pt x="1027" y="846"/>
                  </a:lnTo>
                  <a:lnTo>
                    <a:pt x="1027" y="848"/>
                  </a:lnTo>
                  <a:close/>
                  <a:moveTo>
                    <a:pt x="1027" y="846"/>
                  </a:moveTo>
                  <a:lnTo>
                    <a:pt x="1027" y="848"/>
                  </a:lnTo>
                  <a:lnTo>
                    <a:pt x="1027" y="846"/>
                  </a:lnTo>
                  <a:close/>
                  <a:moveTo>
                    <a:pt x="1027" y="846"/>
                  </a:moveTo>
                  <a:lnTo>
                    <a:pt x="1027" y="844"/>
                  </a:lnTo>
                  <a:lnTo>
                    <a:pt x="1027" y="846"/>
                  </a:lnTo>
                  <a:close/>
                  <a:moveTo>
                    <a:pt x="1038" y="846"/>
                  </a:moveTo>
                  <a:lnTo>
                    <a:pt x="1040" y="844"/>
                  </a:lnTo>
                  <a:lnTo>
                    <a:pt x="1040" y="846"/>
                  </a:lnTo>
                  <a:lnTo>
                    <a:pt x="1038" y="846"/>
                  </a:lnTo>
                  <a:close/>
                  <a:moveTo>
                    <a:pt x="1033" y="844"/>
                  </a:moveTo>
                  <a:lnTo>
                    <a:pt x="1035" y="844"/>
                  </a:lnTo>
                  <a:lnTo>
                    <a:pt x="1035" y="846"/>
                  </a:lnTo>
                  <a:lnTo>
                    <a:pt x="1033" y="846"/>
                  </a:lnTo>
                  <a:lnTo>
                    <a:pt x="1035" y="846"/>
                  </a:lnTo>
                  <a:lnTo>
                    <a:pt x="1033" y="848"/>
                  </a:lnTo>
                  <a:lnTo>
                    <a:pt x="1035" y="848"/>
                  </a:lnTo>
                  <a:lnTo>
                    <a:pt x="1035" y="849"/>
                  </a:lnTo>
                  <a:lnTo>
                    <a:pt x="1033" y="849"/>
                  </a:lnTo>
                  <a:lnTo>
                    <a:pt x="1033" y="851"/>
                  </a:lnTo>
                  <a:lnTo>
                    <a:pt x="1032" y="851"/>
                  </a:lnTo>
                  <a:lnTo>
                    <a:pt x="1032" y="849"/>
                  </a:lnTo>
                  <a:lnTo>
                    <a:pt x="1032" y="851"/>
                  </a:lnTo>
                  <a:lnTo>
                    <a:pt x="1032" y="849"/>
                  </a:lnTo>
                  <a:lnTo>
                    <a:pt x="1030" y="851"/>
                  </a:lnTo>
                  <a:lnTo>
                    <a:pt x="1030" y="849"/>
                  </a:lnTo>
                  <a:lnTo>
                    <a:pt x="1032" y="848"/>
                  </a:lnTo>
                  <a:lnTo>
                    <a:pt x="1033" y="848"/>
                  </a:lnTo>
                  <a:lnTo>
                    <a:pt x="1032" y="848"/>
                  </a:lnTo>
                  <a:lnTo>
                    <a:pt x="1033" y="848"/>
                  </a:lnTo>
                  <a:lnTo>
                    <a:pt x="1033" y="846"/>
                  </a:lnTo>
                  <a:lnTo>
                    <a:pt x="1032" y="848"/>
                  </a:lnTo>
                  <a:lnTo>
                    <a:pt x="1032" y="846"/>
                  </a:lnTo>
                  <a:lnTo>
                    <a:pt x="1033" y="846"/>
                  </a:lnTo>
                  <a:lnTo>
                    <a:pt x="1033" y="844"/>
                  </a:lnTo>
                  <a:close/>
                  <a:moveTo>
                    <a:pt x="1019" y="846"/>
                  </a:moveTo>
                  <a:lnTo>
                    <a:pt x="1019" y="844"/>
                  </a:lnTo>
                  <a:lnTo>
                    <a:pt x="1019" y="846"/>
                  </a:lnTo>
                  <a:close/>
                  <a:moveTo>
                    <a:pt x="1028" y="844"/>
                  </a:moveTo>
                  <a:lnTo>
                    <a:pt x="1030" y="844"/>
                  </a:lnTo>
                  <a:lnTo>
                    <a:pt x="1030" y="846"/>
                  </a:lnTo>
                  <a:lnTo>
                    <a:pt x="1028" y="846"/>
                  </a:lnTo>
                  <a:lnTo>
                    <a:pt x="1028" y="844"/>
                  </a:lnTo>
                  <a:lnTo>
                    <a:pt x="1030" y="844"/>
                  </a:lnTo>
                  <a:lnTo>
                    <a:pt x="1028" y="844"/>
                  </a:lnTo>
                  <a:close/>
                  <a:moveTo>
                    <a:pt x="1043" y="844"/>
                  </a:moveTo>
                  <a:lnTo>
                    <a:pt x="1045" y="844"/>
                  </a:lnTo>
                  <a:lnTo>
                    <a:pt x="1043" y="844"/>
                  </a:lnTo>
                  <a:close/>
                  <a:moveTo>
                    <a:pt x="1033" y="844"/>
                  </a:moveTo>
                  <a:lnTo>
                    <a:pt x="1033" y="846"/>
                  </a:lnTo>
                  <a:lnTo>
                    <a:pt x="1033" y="844"/>
                  </a:lnTo>
                  <a:close/>
                  <a:moveTo>
                    <a:pt x="1033" y="844"/>
                  </a:moveTo>
                  <a:lnTo>
                    <a:pt x="1032" y="846"/>
                  </a:lnTo>
                  <a:lnTo>
                    <a:pt x="1033" y="844"/>
                  </a:lnTo>
                  <a:close/>
                  <a:moveTo>
                    <a:pt x="1028" y="844"/>
                  </a:moveTo>
                  <a:lnTo>
                    <a:pt x="1027" y="844"/>
                  </a:lnTo>
                  <a:lnTo>
                    <a:pt x="1028" y="844"/>
                  </a:lnTo>
                  <a:close/>
                  <a:moveTo>
                    <a:pt x="1022" y="844"/>
                  </a:moveTo>
                  <a:lnTo>
                    <a:pt x="1023" y="844"/>
                  </a:lnTo>
                  <a:lnTo>
                    <a:pt x="1022" y="844"/>
                  </a:lnTo>
                  <a:close/>
                  <a:moveTo>
                    <a:pt x="1054" y="844"/>
                  </a:moveTo>
                  <a:lnTo>
                    <a:pt x="1056" y="844"/>
                  </a:lnTo>
                  <a:lnTo>
                    <a:pt x="1054" y="844"/>
                  </a:lnTo>
                  <a:close/>
                  <a:moveTo>
                    <a:pt x="1022" y="844"/>
                  </a:moveTo>
                  <a:lnTo>
                    <a:pt x="1023" y="844"/>
                  </a:lnTo>
                  <a:lnTo>
                    <a:pt x="1022" y="844"/>
                  </a:lnTo>
                  <a:close/>
                  <a:moveTo>
                    <a:pt x="1020" y="844"/>
                  </a:moveTo>
                  <a:lnTo>
                    <a:pt x="1022" y="844"/>
                  </a:lnTo>
                  <a:lnTo>
                    <a:pt x="1020" y="844"/>
                  </a:lnTo>
                  <a:close/>
                  <a:moveTo>
                    <a:pt x="1033" y="844"/>
                  </a:moveTo>
                  <a:lnTo>
                    <a:pt x="1033" y="843"/>
                  </a:lnTo>
                  <a:lnTo>
                    <a:pt x="1033" y="844"/>
                  </a:lnTo>
                  <a:close/>
                  <a:moveTo>
                    <a:pt x="1027" y="844"/>
                  </a:moveTo>
                  <a:lnTo>
                    <a:pt x="1027" y="843"/>
                  </a:lnTo>
                  <a:lnTo>
                    <a:pt x="1027" y="844"/>
                  </a:lnTo>
                  <a:close/>
                  <a:moveTo>
                    <a:pt x="1022" y="844"/>
                  </a:moveTo>
                  <a:lnTo>
                    <a:pt x="1022" y="843"/>
                  </a:lnTo>
                  <a:lnTo>
                    <a:pt x="1022" y="844"/>
                  </a:lnTo>
                  <a:close/>
                  <a:moveTo>
                    <a:pt x="1035" y="844"/>
                  </a:moveTo>
                  <a:lnTo>
                    <a:pt x="1033" y="844"/>
                  </a:lnTo>
                  <a:lnTo>
                    <a:pt x="1035" y="843"/>
                  </a:lnTo>
                  <a:lnTo>
                    <a:pt x="1035" y="844"/>
                  </a:lnTo>
                  <a:close/>
                  <a:moveTo>
                    <a:pt x="1028" y="844"/>
                  </a:moveTo>
                  <a:lnTo>
                    <a:pt x="1027" y="844"/>
                  </a:lnTo>
                  <a:lnTo>
                    <a:pt x="1028" y="843"/>
                  </a:lnTo>
                  <a:lnTo>
                    <a:pt x="1028" y="844"/>
                  </a:lnTo>
                  <a:close/>
                  <a:moveTo>
                    <a:pt x="1022" y="844"/>
                  </a:moveTo>
                  <a:lnTo>
                    <a:pt x="1022" y="843"/>
                  </a:lnTo>
                  <a:lnTo>
                    <a:pt x="1022" y="844"/>
                  </a:lnTo>
                  <a:close/>
                  <a:moveTo>
                    <a:pt x="1033" y="843"/>
                  </a:moveTo>
                  <a:lnTo>
                    <a:pt x="1033" y="844"/>
                  </a:lnTo>
                  <a:lnTo>
                    <a:pt x="1033" y="843"/>
                  </a:lnTo>
                  <a:lnTo>
                    <a:pt x="1035" y="843"/>
                  </a:lnTo>
                  <a:lnTo>
                    <a:pt x="1033" y="843"/>
                  </a:lnTo>
                  <a:close/>
                  <a:moveTo>
                    <a:pt x="1028" y="843"/>
                  </a:moveTo>
                  <a:lnTo>
                    <a:pt x="1030" y="843"/>
                  </a:lnTo>
                  <a:lnTo>
                    <a:pt x="1032" y="843"/>
                  </a:lnTo>
                  <a:lnTo>
                    <a:pt x="1032" y="844"/>
                  </a:lnTo>
                  <a:lnTo>
                    <a:pt x="1033" y="844"/>
                  </a:lnTo>
                  <a:lnTo>
                    <a:pt x="1032" y="846"/>
                  </a:lnTo>
                  <a:lnTo>
                    <a:pt x="1030" y="846"/>
                  </a:lnTo>
                  <a:lnTo>
                    <a:pt x="1030" y="848"/>
                  </a:lnTo>
                  <a:lnTo>
                    <a:pt x="1030" y="846"/>
                  </a:lnTo>
                  <a:lnTo>
                    <a:pt x="1030" y="844"/>
                  </a:lnTo>
                  <a:lnTo>
                    <a:pt x="1032" y="844"/>
                  </a:lnTo>
                  <a:lnTo>
                    <a:pt x="1030" y="844"/>
                  </a:lnTo>
                  <a:lnTo>
                    <a:pt x="1028" y="844"/>
                  </a:lnTo>
                  <a:lnTo>
                    <a:pt x="1030" y="843"/>
                  </a:lnTo>
                  <a:lnTo>
                    <a:pt x="1028" y="843"/>
                  </a:lnTo>
                  <a:close/>
                  <a:moveTo>
                    <a:pt x="1045" y="843"/>
                  </a:moveTo>
                  <a:lnTo>
                    <a:pt x="1046" y="843"/>
                  </a:lnTo>
                  <a:lnTo>
                    <a:pt x="1045" y="843"/>
                  </a:lnTo>
                  <a:close/>
                  <a:moveTo>
                    <a:pt x="1041" y="843"/>
                  </a:moveTo>
                  <a:lnTo>
                    <a:pt x="1043" y="843"/>
                  </a:lnTo>
                  <a:lnTo>
                    <a:pt x="1043" y="844"/>
                  </a:lnTo>
                  <a:lnTo>
                    <a:pt x="1041" y="844"/>
                  </a:lnTo>
                  <a:lnTo>
                    <a:pt x="1040" y="844"/>
                  </a:lnTo>
                  <a:lnTo>
                    <a:pt x="1041" y="843"/>
                  </a:lnTo>
                  <a:close/>
                  <a:moveTo>
                    <a:pt x="1025" y="843"/>
                  </a:moveTo>
                  <a:lnTo>
                    <a:pt x="1027" y="843"/>
                  </a:lnTo>
                  <a:lnTo>
                    <a:pt x="1028" y="843"/>
                  </a:lnTo>
                  <a:lnTo>
                    <a:pt x="1027" y="843"/>
                  </a:lnTo>
                  <a:lnTo>
                    <a:pt x="1028" y="843"/>
                  </a:lnTo>
                  <a:lnTo>
                    <a:pt x="1027" y="843"/>
                  </a:lnTo>
                  <a:lnTo>
                    <a:pt x="1027" y="844"/>
                  </a:lnTo>
                  <a:lnTo>
                    <a:pt x="1027" y="843"/>
                  </a:lnTo>
                  <a:lnTo>
                    <a:pt x="1027" y="844"/>
                  </a:lnTo>
                  <a:lnTo>
                    <a:pt x="1027" y="843"/>
                  </a:lnTo>
                  <a:lnTo>
                    <a:pt x="1025" y="844"/>
                  </a:lnTo>
                  <a:lnTo>
                    <a:pt x="1025" y="843"/>
                  </a:lnTo>
                  <a:close/>
                  <a:moveTo>
                    <a:pt x="1046" y="843"/>
                  </a:moveTo>
                  <a:lnTo>
                    <a:pt x="1046" y="841"/>
                  </a:lnTo>
                  <a:lnTo>
                    <a:pt x="1046" y="843"/>
                  </a:lnTo>
                  <a:close/>
                  <a:moveTo>
                    <a:pt x="1035" y="843"/>
                  </a:moveTo>
                  <a:lnTo>
                    <a:pt x="1035" y="841"/>
                  </a:lnTo>
                  <a:lnTo>
                    <a:pt x="1035" y="843"/>
                  </a:lnTo>
                  <a:close/>
                  <a:moveTo>
                    <a:pt x="1025" y="843"/>
                  </a:moveTo>
                  <a:lnTo>
                    <a:pt x="1025" y="841"/>
                  </a:lnTo>
                  <a:lnTo>
                    <a:pt x="1025" y="843"/>
                  </a:lnTo>
                  <a:close/>
                  <a:moveTo>
                    <a:pt x="1059" y="843"/>
                  </a:moveTo>
                  <a:lnTo>
                    <a:pt x="1059" y="841"/>
                  </a:lnTo>
                  <a:lnTo>
                    <a:pt x="1059" y="843"/>
                  </a:lnTo>
                  <a:close/>
                  <a:moveTo>
                    <a:pt x="1033" y="843"/>
                  </a:moveTo>
                  <a:lnTo>
                    <a:pt x="1033" y="841"/>
                  </a:lnTo>
                  <a:lnTo>
                    <a:pt x="1033" y="843"/>
                  </a:lnTo>
                  <a:close/>
                  <a:moveTo>
                    <a:pt x="1038" y="846"/>
                  </a:moveTo>
                  <a:lnTo>
                    <a:pt x="1038" y="848"/>
                  </a:lnTo>
                  <a:lnTo>
                    <a:pt x="1038" y="846"/>
                  </a:lnTo>
                  <a:lnTo>
                    <a:pt x="1038" y="848"/>
                  </a:lnTo>
                  <a:lnTo>
                    <a:pt x="1036" y="848"/>
                  </a:lnTo>
                  <a:lnTo>
                    <a:pt x="1035" y="849"/>
                  </a:lnTo>
                  <a:lnTo>
                    <a:pt x="1035" y="848"/>
                  </a:lnTo>
                  <a:lnTo>
                    <a:pt x="1035" y="846"/>
                  </a:lnTo>
                  <a:lnTo>
                    <a:pt x="1035" y="844"/>
                  </a:lnTo>
                  <a:lnTo>
                    <a:pt x="1033" y="844"/>
                  </a:lnTo>
                  <a:lnTo>
                    <a:pt x="1035" y="844"/>
                  </a:lnTo>
                  <a:lnTo>
                    <a:pt x="1035" y="843"/>
                  </a:lnTo>
                  <a:lnTo>
                    <a:pt x="1035" y="844"/>
                  </a:lnTo>
                  <a:lnTo>
                    <a:pt x="1036" y="844"/>
                  </a:lnTo>
                  <a:lnTo>
                    <a:pt x="1036" y="843"/>
                  </a:lnTo>
                  <a:lnTo>
                    <a:pt x="1038" y="843"/>
                  </a:lnTo>
                  <a:lnTo>
                    <a:pt x="1040" y="843"/>
                  </a:lnTo>
                  <a:lnTo>
                    <a:pt x="1040" y="841"/>
                  </a:lnTo>
                  <a:lnTo>
                    <a:pt x="1040" y="843"/>
                  </a:lnTo>
                  <a:lnTo>
                    <a:pt x="1038" y="843"/>
                  </a:lnTo>
                  <a:lnTo>
                    <a:pt x="1038" y="844"/>
                  </a:lnTo>
                  <a:lnTo>
                    <a:pt x="1036" y="846"/>
                  </a:lnTo>
                  <a:lnTo>
                    <a:pt x="1038" y="846"/>
                  </a:lnTo>
                  <a:lnTo>
                    <a:pt x="1038" y="844"/>
                  </a:lnTo>
                  <a:lnTo>
                    <a:pt x="1038" y="846"/>
                  </a:lnTo>
                  <a:lnTo>
                    <a:pt x="1038" y="844"/>
                  </a:lnTo>
                  <a:lnTo>
                    <a:pt x="1038" y="846"/>
                  </a:lnTo>
                  <a:close/>
                  <a:moveTo>
                    <a:pt x="1035" y="841"/>
                  </a:moveTo>
                  <a:lnTo>
                    <a:pt x="1033" y="841"/>
                  </a:lnTo>
                  <a:lnTo>
                    <a:pt x="1035" y="841"/>
                  </a:lnTo>
                  <a:close/>
                  <a:moveTo>
                    <a:pt x="1027" y="841"/>
                  </a:moveTo>
                  <a:lnTo>
                    <a:pt x="1025" y="841"/>
                  </a:lnTo>
                  <a:lnTo>
                    <a:pt x="1027" y="841"/>
                  </a:lnTo>
                  <a:close/>
                  <a:moveTo>
                    <a:pt x="1025" y="841"/>
                  </a:moveTo>
                  <a:lnTo>
                    <a:pt x="1027" y="841"/>
                  </a:lnTo>
                  <a:lnTo>
                    <a:pt x="1025" y="841"/>
                  </a:lnTo>
                  <a:close/>
                  <a:moveTo>
                    <a:pt x="1041" y="841"/>
                  </a:moveTo>
                  <a:lnTo>
                    <a:pt x="1041" y="843"/>
                  </a:lnTo>
                  <a:lnTo>
                    <a:pt x="1041" y="841"/>
                  </a:lnTo>
                  <a:close/>
                  <a:moveTo>
                    <a:pt x="1046" y="841"/>
                  </a:moveTo>
                  <a:lnTo>
                    <a:pt x="1048" y="841"/>
                  </a:lnTo>
                  <a:lnTo>
                    <a:pt x="1046" y="841"/>
                  </a:lnTo>
                  <a:close/>
                  <a:moveTo>
                    <a:pt x="1015" y="841"/>
                  </a:moveTo>
                  <a:lnTo>
                    <a:pt x="1017" y="841"/>
                  </a:lnTo>
                  <a:lnTo>
                    <a:pt x="1015" y="841"/>
                  </a:lnTo>
                  <a:close/>
                  <a:moveTo>
                    <a:pt x="1006" y="841"/>
                  </a:moveTo>
                  <a:lnTo>
                    <a:pt x="1004" y="841"/>
                  </a:lnTo>
                  <a:lnTo>
                    <a:pt x="1006" y="841"/>
                  </a:lnTo>
                  <a:close/>
                  <a:moveTo>
                    <a:pt x="1032" y="841"/>
                  </a:moveTo>
                  <a:lnTo>
                    <a:pt x="1033" y="841"/>
                  </a:lnTo>
                  <a:lnTo>
                    <a:pt x="1033" y="843"/>
                  </a:lnTo>
                  <a:lnTo>
                    <a:pt x="1033" y="841"/>
                  </a:lnTo>
                  <a:lnTo>
                    <a:pt x="1032" y="843"/>
                  </a:lnTo>
                  <a:lnTo>
                    <a:pt x="1033" y="841"/>
                  </a:lnTo>
                  <a:lnTo>
                    <a:pt x="1032" y="841"/>
                  </a:lnTo>
                  <a:close/>
                  <a:moveTo>
                    <a:pt x="1046" y="841"/>
                  </a:moveTo>
                  <a:lnTo>
                    <a:pt x="1045" y="841"/>
                  </a:lnTo>
                  <a:lnTo>
                    <a:pt x="1046" y="841"/>
                  </a:lnTo>
                  <a:close/>
                  <a:moveTo>
                    <a:pt x="1001" y="841"/>
                  </a:moveTo>
                  <a:lnTo>
                    <a:pt x="1001" y="840"/>
                  </a:lnTo>
                  <a:lnTo>
                    <a:pt x="1001" y="841"/>
                  </a:lnTo>
                  <a:close/>
                  <a:moveTo>
                    <a:pt x="1045" y="841"/>
                  </a:moveTo>
                  <a:lnTo>
                    <a:pt x="1045" y="840"/>
                  </a:lnTo>
                  <a:lnTo>
                    <a:pt x="1045" y="841"/>
                  </a:lnTo>
                  <a:lnTo>
                    <a:pt x="1046" y="841"/>
                  </a:lnTo>
                  <a:lnTo>
                    <a:pt x="1045" y="841"/>
                  </a:lnTo>
                  <a:close/>
                  <a:moveTo>
                    <a:pt x="1001" y="841"/>
                  </a:moveTo>
                  <a:lnTo>
                    <a:pt x="1001" y="840"/>
                  </a:lnTo>
                  <a:lnTo>
                    <a:pt x="1001" y="841"/>
                  </a:lnTo>
                  <a:close/>
                  <a:moveTo>
                    <a:pt x="1006" y="841"/>
                  </a:moveTo>
                  <a:lnTo>
                    <a:pt x="1006" y="840"/>
                  </a:lnTo>
                  <a:lnTo>
                    <a:pt x="1006" y="841"/>
                  </a:lnTo>
                  <a:close/>
                  <a:moveTo>
                    <a:pt x="1032" y="841"/>
                  </a:moveTo>
                  <a:lnTo>
                    <a:pt x="1033" y="840"/>
                  </a:lnTo>
                  <a:lnTo>
                    <a:pt x="1033" y="841"/>
                  </a:lnTo>
                  <a:lnTo>
                    <a:pt x="1032" y="841"/>
                  </a:lnTo>
                  <a:close/>
                  <a:moveTo>
                    <a:pt x="1015" y="841"/>
                  </a:moveTo>
                  <a:lnTo>
                    <a:pt x="1015" y="840"/>
                  </a:lnTo>
                  <a:lnTo>
                    <a:pt x="1015" y="841"/>
                  </a:lnTo>
                  <a:close/>
                  <a:moveTo>
                    <a:pt x="1048" y="840"/>
                  </a:moveTo>
                  <a:lnTo>
                    <a:pt x="1046" y="841"/>
                  </a:lnTo>
                  <a:lnTo>
                    <a:pt x="1046" y="840"/>
                  </a:lnTo>
                  <a:lnTo>
                    <a:pt x="1048" y="840"/>
                  </a:lnTo>
                  <a:close/>
                  <a:moveTo>
                    <a:pt x="1032" y="840"/>
                  </a:moveTo>
                  <a:lnTo>
                    <a:pt x="1032" y="841"/>
                  </a:lnTo>
                  <a:lnTo>
                    <a:pt x="1030" y="841"/>
                  </a:lnTo>
                  <a:lnTo>
                    <a:pt x="1032" y="841"/>
                  </a:lnTo>
                  <a:lnTo>
                    <a:pt x="1032" y="840"/>
                  </a:lnTo>
                  <a:lnTo>
                    <a:pt x="1032" y="841"/>
                  </a:lnTo>
                  <a:lnTo>
                    <a:pt x="1032" y="840"/>
                  </a:lnTo>
                  <a:close/>
                  <a:moveTo>
                    <a:pt x="1007" y="840"/>
                  </a:moveTo>
                  <a:lnTo>
                    <a:pt x="1006" y="841"/>
                  </a:lnTo>
                  <a:lnTo>
                    <a:pt x="1007" y="840"/>
                  </a:lnTo>
                  <a:close/>
                  <a:moveTo>
                    <a:pt x="1017" y="840"/>
                  </a:moveTo>
                  <a:lnTo>
                    <a:pt x="1015" y="840"/>
                  </a:lnTo>
                  <a:lnTo>
                    <a:pt x="1017" y="840"/>
                  </a:lnTo>
                  <a:close/>
                  <a:moveTo>
                    <a:pt x="1048" y="840"/>
                  </a:moveTo>
                  <a:lnTo>
                    <a:pt x="1049" y="840"/>
                  </a:lnTo>
                  <a:lnTo>
                    <a:pt x="1049" y="841"/>
                  </a:lnTo>
                  <a:lnTo>
                    <a:pt x="1048" y="840"/>
                  </a:lnTo>
                  <a:close/>
                  <a:moveTo>
                    <a:pt x="1020" y="840"/>
                  </a:moveTo>
                  <a:lnTo>
                    <a:pt x="1020" y="838"/>
                  </a:lnTo>
                  <a:lnTo>
                    <a:pt x="1020" y="840"/>
                  </a:lnTo>
                  <a:close/>
                  <a:moveTo>
                    <a:pt x="1009" y="840"/>
                  </a:moveTo>
                  <a:lnTo>
                    <a:pt x="1009" y="838"/>
                  </a:lnTo>
                  <a:lnTo>
                    <a:pt x="1009" y="840"/>
                  </a:lnTo>
                  <a:close/>
                  <a:moveTo>
                    <a:pt x="1033" y="840"/>
                  </a:moveTo>
                  <a:lnTo>
                    <a:pt x="1033" y="838"/>
                  </a:lnTo>
                  <a:lnTo>
                    <a:pt x="1033" y="840"/>
                  </a:lnTo>
                  <a:close/>
                  <a:moveTo>
                    <a:pt x="1033" y="840"/>
                  </a:moveTo>
                  <a:lnTo>
                    <a:pt x="1033" y="838"/>
                  </a:lnTo>
                  <a:lnTo>
                    <a:pt x="1033" y="840"/>
                  </a:lnTo>
                  <a:close/>
                  <a:moveTo>
                    <a:pt x="1033" y="840"/>
                  </a:moveTo>
                  <a:lnTo>
                    <a:pt x="1032" y="840"/>
                  </a:lnTo>
                  <a:lnTo>
                    <a:pt x="1033" y="838"/>
                  </a:lnTo>
                  <a:lnTo>
                    <a:pt x="1033" y="840"/>
                  </a:lnTo>
                  <a:close/>
                  <a:moveTo>
                    <a:pt x="1033" y="838"/>
                  </a:moveTo>
                  <a:lnTo>
                    <a:pt x="1035" y="840"/>
                  </a:lnTo>
                  <a:lnTo>
                    <a:pt x="1035" y="838"/>
                  </a:lnTo>
                  <a:lnTo>
                    <a:pt x="1035" y="840"/>
                  </a:lnTo>
                  <a:lnTo>
                    <a:pt x="1035" y="841"/>
                  </a:lnTo>
                  <a:lnTo>
                    <a:pt x="1033" y="841"/>
                  </a:lnTo>
                  <a:lnTo>
                    <a:pt x="1035" y="841"/>
                  </a:lnTo>
                  <a:lnTo>
                    <a:pt x="1033" y="841"/>
                  </a:lnTo>
                  <a:lnTo>
                    <a:pt x="1033" y="840"/>
                  </a:lnTo>
                  <a:lnTo>
                    <a:pt x="1033" y="841"/>
                  </a:lnTo>
                  <a:lnTo>
                    <a:pt x="1033" y="840"/>
                  </a:lnTo>
                  <a:lnTo>
                    <a:pt x="1033" y="838"/>
                  </a:lnTo>
                  <a:close/>
                  <a:moveTo>
                    <a:pt x="1033" y="838"/>
                  </a:moveTo>
                  <a:lnTo>
                    <a:pt x="1035" y="838"/>
                  </a:lnTo>
                  <a:lnTo>
                    <a:pt x="1033" y="838"/>
                  </a:lnTo>
                  <a:close/>
                  <a:moveTo>
                    <a:pt x="1046" y="838"/>
                  </a:moveTo>
                  <a:lnTo>
                    <a:pt x="1048" y="838"/>
                  </a:lnTo>
                  <a:lnTo>
                    <a:pt x="1046" y="838"/>
                  </a:lnTo>
                  <a:close/>
                  <a:moveTo>
                    <a:pt x="1017" y="840"/>
                  </a:moveTo>
                  <a:lnTo>
                    <a:pt x="1015" y="840"/>
                  </a:lnTo>
                  <a:lnTo>
                    <a:pt x="1017" y="838"/>
                  </a:lnTo>
                  <a:lnTo>
                    <a:pt x="1017" y="840"/>
                  </a:lnTo>
                  <a:close/>
                  <a:moveTo>
                    <a:pt x="1054" y="844"/>
                  </a:moveTo>
                  <a:lnTo>
                    <a:pt x="1056" y="844"/>
                  </a:lnTo>
                  <a:lnTo>
                    <a:pt x="1054" y="846"/>
                  </a:lnTo>
                  <a:lnTo>
                    <a:pt x="1054" y="844"/>
                  </a:lnTo>
                  <a:lnTo>
                    <a:pt x="1054" y="846"/>
                  </a:lnTo>
                  <a:lnTo>
                    <a:pt x="1056" y="846"/>
                  </a:lnTo>
                  <a:lnTo>
                    <a:pt x="1056" y="844"/>
                  </a:lnTo>
                  <a:lnTo>
                    <a:pt x="1058" y="844"/>
                  </a:lnTo>
                  <a:lnTo>
                    <a:pt x="1059" y="843"/>
                  </a:lnTo>
                  <a:lnTo>
                    <a:pt x="1061" y="841"/>
                  </a:lnTo>
                  <a:lnTo>
                    <a:pt x="1064" y="841"/>
                  </a:lnTo>
                  <a:lnTo>
                    <a:pt x="1064" y="840"/>
                  </a:lnTo>
                  <a:lnTo>
                    <a:pt x="1066" y="840"/>
                  </a:lnTo>
                  <a:lnTo>
                    <a:pt x="1069" y="840"/>
                  </a:lnTo>
                  <a:lnTo>
                    <a:pt x="1069" y="838"/>
                  </a:lnTo>
                  <a:lnTo>
                    <a:pt x="1071" y="838"/>
                  </a:lnTo>
                  <a:lnTo>
                    <a:pt x="1072" y="838"/>
                  </a:lnTo>
                  <a:lnTo>
                    <a:pt x="1071" y="838"/>
                  </a:lnTo>
                  <a:lnTo>
                    <a:pt x="1071" y="840"/>
                  </a:lnTo>
                  <a:lnTo>
                    <a:pt x="1072" y="840"/>
                  </a:lnTo>
                  <a:lnTo>
                    <a:pt x="1072" y="841"/>
                  </a:lnTo>
                  <a:lnTo>
                    <a:pt x="1072" y="843"/>
                  </a:lnTo>
                  <a:lnTo>
                    <a:pt x="1071" y="844"/>
                  </a:lnTo>
                  <a:lnTo>
                    <a:pt x="1069" y="844"/>
                  </a:lnTo>
                  <a:lnTo>
                    <a:pt x="1069" y="846"/>
                  </a:lnTo>
                  <a:lnTo>
                    <a:pt x="1067" y="846"/>
                  </a:lnTo>
                  <a:lnTo>
                    <a:pt x="1067" y="844"/>
                  </a:lnTo>
                  <a:lnTo>
                    <a:pt x="1067" y="846"/>
                  </a:lnTo>
                  <a:lnTo>
                    <a:pt x="1067" y="844"/>
                  </a:lnTo>
                  <a:lnTo>
                    <a:pt x="1066" y="846"/>
                  </a:lnTo>
                  <a:lnTo>
                    <a:pt x="1064" y="846"/>
                  </a:lnTo>
                  <a:lnTo>
                    <a:pt x="1062" y="848"/>
                  </a:lnTo>
                  <a:lnTo>
                    <a:pt x="1064" y="846"/>
                  </a:lnTo>
                  <a:lnTo>
                    <a:pt x="1062" y="848"/>
                  </a:lnTo>
                  <a:lnTo>
                    <a:pt x="1061" y="848"/>
                  </a:lnTo>
                  <a:lnTo>
                    <a:pt x="1059" y="849"/>
                  </a:lnTo>
                  <a:lnTo>
                    <a:pt x="1058" y="849"/>
                  </a:lnTo>
                  <a:lnTo>
                    <a:pt x="1058" y="851"/>
                  </a:lnTo>
                  <a:lnTo>
                    <a:pt x="1056" y="851"/>
                  </a:lnTo>
                  <a:lnTo>
                    <a:pt x="1056" y="853"/>
                  </a:lnTo>
                  <a:lnTo>
                    <a:pt x="1053" y="854"/>
                  </a:lnTo>
                  <a:lnTo>
                    <a:pt x="1053" y="856"/>
                  </a:lnTo>
                  <a:lnTo>
                    <a:pt x="1051" y="856"/>
                  </a:lnTo>
                  <a:lnTo>
                    <a:pt x="1051" y="857"/>
                  </a:lnTo>
                  <a:lnTo>
                    <a:pt x="1049" y="857"/>
                  </a:lnTo>
                  <a:lnTo>
                    <a:pt x="1049" y="859"/>
                  </a:lnTo>
                  <a:lnTo>
                    <a:pt x="1049" y="861"/>
                  </a:lnTo>
                  <a:lnTo>
                    <a:pt x="1049" y="862"/>
                  </a:lnTo>
                  <a:lnTo>
                    <a:pt x="1048" y="862"/>
                  </a:lnTo>
                  <a:lnTo>
                    <a:pt x="1048" y="864"/>
                  </a:lnTo>
                  <a:lnTo>
                    <a:pt x="1046" y="864"/>
                  </a:lnTo>
                  <a:lnTo>
                    <a:pt x="1045" y="864"/>
                  </a:lnTo>
                  <a:lnTo>
                    <a:pt x="1046" y="864"/>
                  </a:lnTo>
                  <a:lnTo>
                    <a:pt x="1045" y="864"/>
                  </a:lnTo>
                  <a:lnTo>
                    <a:pt x="1043" y="864"/>
                  </a:lnTo>
                  <a:lnTo>
                    <a:pt x="1045" y="864"/>
                  </a:lnTo>
                  <a:lnTo>
                    <a:pt x="1043" y="864"/>
                  </a:lnTo>
                  <a:lnTo>
                    <a:pt x="1045" y="864"/>
                  </a:lnTo>
                  <a:lnTo>
                    <a:pt x="1045" y="862"/>
                  </a:lnTo>
                  <a:lnTo>
                    <a:pt x="1046" y="862"/>
                  </a:lnTo>
                  <a:lnTo>
                    <a:pt x="1048" y="861"/>
                  </a:lnTo>
                  <a:lnTo>
                    <a:pt x="1046" y="861"/>
                  </a:lnTo>
                  <a:lnTo>
                    <a:pt x="1048" y="861"/>
                  </a:lnTo>
                  <a:lnTo>
                    <a:pt x="1048" y="859"/>
                  </a:lnTo>
                  <a:lnTo>
                    <a:pt x="1049" y="859"/>
                  </a:lnTo>
                  <a:lnTo>
                    <a:pt x="1048" y="859"/>
                  </a:lnTo>
                  <a:lnTo>
                    <a:pt x="1048" y="857"/>
                  </a:lnTo>
                  <a:lnTo>
                    <a:pt x="1048" y="859"/>
                  </a:lnTo>
                  <a:lnTo>
                    <a:pt x="1046" y="859"/>
                  </a:lnTo>
                  <a:lnTo>
                    <a:pt x="1045" y="859"/>
                  </a:lnTo>
                  <a:lnTo>
                    <a:pt x="1043" y="859"/>
                  </a:lnTo>
                  <a:lnTo>
                    <a:pt x="1041" y="861"/>
                  </a:lnTo>
                  <a:lnTo>
                    <a:pt x="1041" y="859"/>
                  </a:lnTo>
                  <a:lnTo>
                    <a:pt x="1041" y="861"/>
                  </a:lnTo>
                  <a:lnTo>
                    <a:pt x="1041" y="859"/>
                  </a:lnTo>
                  <a:lnTo>
                    <a:pt x="1041" y="857"/>
                  </a:lnTo>
                  <a:lnTo>
                    <a:pt x="1043" y="856"/>
                  </a:lnTo>
                  <a:lnTo>
                    <a:pt x="1041" y="856"/>
                  </a:lnTo>
                  <a:lnTo>
                    <a:pt x="1043" y="854"/>
                  </a:lnTo>
                  <a:lnTo>
                    <a:pt x="1043" y="856"/>
                  </a:lnTo>
                  <a:lnTo>
                    <a:pt x="1043" y="854"/>
                  </a:lnTo>
                  <a:lnTo>
                    <a:pt x="1045" y="854"/>
                  </a:lnTo>
                  <a:lnTo>
                    <a:pt x="1045" y="853"/>
                  </a:lnTo>
                  <a:lnTo>
                    <a:pt x="1045" y="851"/>
                  </a:lnTo>
                  <a:lnTo>
                    <a:pt x="1045" y="849"/>
                  </a:lnTo>
                  <a:lnTo>
                    <a:pt x="1046" y="848"/>
                  </a:lnTo>
                  <a:lnTo>
                    <a:pt x="1048" y="844"/>
                  </a:lnTo>
                  <a:lnTo>
                    <a:pt x="1053" y="841"/>
                  </a:lnTo>
                  <a:lnTo>
                    <a:pt x="1054" y="841"/>
                  </a:lnTo>
                  <a:lnTo>
                    <a:pt x="1056" y="840"/>
                  </a:lnTo>
                  <a:lnTo>
                    <a:pt x="1054" y="841"/>
                  </a:lnTo>
                  <a:lnTo>
                    <a:pt x="1056" y="841"/>
                  </a:lnTo>
                  <a:lnTo>
                    <a:pt x="1056" y="840"/>
                  </a:lnTo>
                  <a:lnTo>
                    <a:pt x="1056" y="841"/>
                  </a:lnTo>
                  <a:lnTo>
                    <a:pt x="1058" y="840"/>
                  </a:lnTo>
                  <a:lnTo>
                    <a:pt x="1059" y="840"/>
                  </a:lnTo>
                  <a:lnTo>
                    <a:pt x="1058" y="840"/>
                  </a:lnTo>
                  <a:lnTo>
                    <a:pt x="1058" y="841"/>
                  </a:lnTo>
                  <a:lnTo>
                    <a:pt x="1056" y="841"/>
                  </a:lnTo>
                  <a:lnTo>
                    <a:pt x="1056" y="843"/>
                  </a:lnTo>
                  <a:lnTo>
                    <a:pt x="1054" y="844"/>
                  </a:lnTo>
                  <a:close/>
                  <a:moveTo>
                    <a:pt x="1009" y="838"/>
                  </a:moveTo>
                  <a:lnTo>
                    <a:pt x="1009" y="836"/>
                  </a:lnTo>
                  <a:lnTo>
                    <a:pt x="1009" y="838"/>
                  </a:lnTo>
                  <a:close/>
                  <a:moveTo>
                    <a:pt x="1028" y="836"/>
                  </a:moveTo>
                  <a:lnTo>
                    <a:pt x="1028" y="838"/>
                  </a:lnTo>
                  <a:lnTo>
                    <a:pt x="1028" y="836"/>
                  </a:lnTo>
                  <a:close/>
                  <a:moveTo>
                    <a:pt x="1012" y="838"/>
                  </a:moveTo>
                  <a:lnTo>
                    <a:pt x="1012" y="836"/>
                  </a:lnTo>
                  <a:lnTo>
                    <a:pt x="1012" y="838"/>
                  </a:lnTo>
                  <a:close/>
                  <a:moveTo>
                    <a:pt x="1027" y="838"/>
                  </a:moveTo>
                  <a:lnTo>
                    <a:pt x="1027" y="836"/>
                  </a:lnTo>
                  <a:lnTo>
                    <a:pt x="1027" y="838"/>
                  </a:lnTo>
                  <a:close/>
                  <a:moveTo>
                    <a:pt x="1022" y="838"/>
                  </a:moveTo>
                  <a:lnTo>
                    <a:pt x="1022" y="836"/>
                  </a:lnTo>
                  <a:lnTo>
                    <a:pt x="1022" y="838"/>
                  </a:lnTo>
                  <a:close/>
                  <a:moveTo>
                    <a:pt x="1020" y="838"/>
                  </a:moveTo>
                  <a:lnTo>
                    <a:pt x="1019" y="838"/>
                  </a:lnTo>
                  <a:lnTo>
                    <a:pt x="1020" y="838"/>
                  </a:lnTo>
                  <a:lnTo>
                    <a:pt x="1020" y="836"/>
                  </a:lnTo>
                  <a:lnTo>
                    <a:pt x="1020" y="838"/>
                  </a:lnTo>
                  <a:close/>
                  <a:moveTo>
                    <a:pt x="1012" y="838"/>
                  </a:moveTo>
                  <a:lnTo>
                    <a:pt x="1012" y="836"/>
                  </a:lnTo>
                  <a:lnTo>
                    <a:pt x="1012" y="838"/>
                  </a:lnTo>
                  <a:close/>
                  <a:moveTo>
                    <a:pt x="1014" y="838"/>
                  </a:moveTo>
                  <a:lnTo>
                    <a:pt x="1014" y="836"/>
                  </a:lnTo>
                  <a:lnTo>
                    <a:pt x="1014" y="838"/>
                  </a:lnTo>
                  <a:close/>
                  <a:moveTo>
                    <a:pt x="1020" y="838"/>
                  </a:moveTo>
                  <a:lnTo>
                    <a:pt x="1020" y="836"/>
                  </a:lnTo>
                  <a:lnTo>
                    <a:pt x="1020" y="838"/>
                  </a:lnTo>
                  <a:close/>
                  <a:moveTo>
                    <a:pt x="1020" y="836"/>
                  </a:moveTo>
                  <a:lnTo>
                    <a:pt x="1022" y="836"/>
                  </a:lnTo>
                  <a:lnTo>
                    <a:pt x="1020" y="836"/>
                  </a:lnTo>
                  <a:close/>
                  <a:moveTo>
                    <a:pt x="1010" y="836"/>
                  </a:moveTo>
                  <a:lnTo>
                    <a:pt x="1010" y="838"/>
                  </a:lnTo>
                  <a:lnTo>
                    <a:pt x="1010" y="836"/>
                  </a:lnTo>
                  <a:close/>
                  <a:moveTo>
                    <a:pt x="1028" y="836"/>
                  </a:moveTo>
                  <a:lnTo>
                    <a:pt x="1028" y="838"/>
                  </a:lnTo>
                  <a:lnTo>
                    <a:pt x="1027" y="838"/>
                  </a:lnTo>
                  <a:lnTo>
                    <a:pt x="1027" y="836"/>
                  </a:lnTo>
                  <a:lnTo>
                    <a:pt x="1028" y="836"/>
                  </a:lnTo>
                  <a:close/>
                  <a:moveTo>
                    <a:pt x="1051" y="836"/>
                  </a:moveTo>
                  <a:lnTo>
                    <a:pt x="1051" y="838"/>
                  </a:lnTo>
                  <a:lnTo>
                    <a:pt x="1049" y="840"/>
                  </a:lnTo>
                  <a:lnTo>
                    <a:pt x="1048" y="840"/>
                  </a:lnTo>
                  <a:lnTo>
                    <a:pt x="1048" y="838"/>
                  </a:lnTo>
                  <a:lnTo>
                    <a:pt x="1048" y="836"/>
                  </a:lnTo>
                  <a:lnTo>
                    <a:pt x="1049" y="836"/>
                  </a:lnTo>
                  <a:lnTo>
                    <a:pt x="1051" y="836"/>
                  </a:lnTo>
                  <a:close/>
                  <a:moveTo>
                    <a:pt x="1017" y="838"/>
                  </a:moveTo>
                  <a:lnTo>
                    <a:pt x="1019" y="836"/>
                  </a:lnTo>
                  <a:lnTo>
                    <a:pt x="1020" y="836"/>
                  </a:lnTo>
                  <a:lnTo>
                    <a:pt x="1020" y="838"/>
                  </a:lnTo>
                  <a:lnTo>
                    <a:pt x="1019" y="838"/>
                  </a:lnTo>
                  <a:lnTo>
                    <a:pt x="1017" y="840"/>
                  </a:lnTo>
                  <a:lnTo>
                    <a:pt x="1019" y="840"/>
                  </a:lnTo>
                  <a:lnTo>
                    <a:pt x="1017" y="840"/>
                  </a:lnTo>
                  <a:lnTo>
                    <a:pt x="1017" y="841"/>
                  </a:lnTo>
                  <a:lnTo>
                    <a:pt x="1017" y="840"/>
                  </a:lnTo>
                  <a:lnTo>
                    <a:pt x="1017" y="838"/>
                  </a:lnTo>
                  <a:close/>
                  <a:moveTo>
                    <a:pt x="1032" y="836"/>
                  </a:moveTo>
                  <a:lnTo>
                    <a:pt x="1030" y="836"/>
                  </a:lnTo>
                  <a:lnTo>
                    <a:pt x="1032" y="836"/>
                  </a:lnTo>
                  <a:close/>
                  <a:moveTo>
                    <a:pt x="1033" y="836"/>
                  </a:moveTo>
                  <a:lnTo>
                    <a:pt x="1032" y="836"/>
                  </a:lnTo>
                  <a:lnTo>
                    <a:pt x="1033" y="836"/>
                  </a:lnTo>
                  <a:close/>
                  <a:moveTo>
                    <a:pt x="1017" y="836"/>
                  </a:moveTo>
                  <a:lnTo>
                    <a:pt x="1019" y="836"/>
                  </a:lnTo>
                  <a:lnTo>
                    <a:pt x="1017" y="836"/>
                  </a:lnTo>
                  <a:close/>
                  <a:moveTo>
                    <a:pt x="1030" y="836"/>
                  </a:moveTo>
                  <a:lnTo>
                    <a:pt x="1030" y="835"/>
                  </a:lnTo>
                  <a:lnTo>
                    <a:pt x="1030" y="836"/>
                  </a:lnTo>
                  <a:close/>
                  <a:moveTo>
                    <a:pt x="1014" y="836"/>
                  </a:moveTo>
                  <a:lnTo>
                    <a:pt x="1014" y="835"/>
                  </a:lnTo>
                  <a:lnTo>
                    <a:pt x="1014" y="836"/>
                  </a:lnTo>
                  <a:lnTo>
                    <a:pt x="1014" y="835"/>
                  </a:lnTo>
                  <a:lnTo>
                    <a:pt x="1014" y="836"/>
                  </a:lnTo>
                  <a:close/>
                  <a:moveTo>
                    <a:pt x="1019" y="836"/>
                  </a:moveTo>
                  <a:lnTo>
                    <a:pt x="1019" y="835"/>
                  </a:lnTo>
                  <a:lnTo>
                    <a:pt x="1020" y="835"/>
                  </a:lnTo>
                  <a:lnTo>
                    <a:pt x="1020" y="836"/>
                  </a:lnTo>
                  <a:lnTo>
                    <a:pt x="1019" y="836"/>
                  </a:lnTo>
                  <a:lnTo>
                    <a:pt x="1019" y="838"/>
                  </a:lnTo>
                  <a:lnTo>
                    <a:pt x="1017" y="838"/>
                  </a:lnTo>
                  <a:lnTo>
                    <a:pt x="1019" y="836"/>
                  </a:lnTo>
                  <a:close/>
                  <a:moveTo>
                    <a:pt x="1027" y="835"/>
                  </a:moveTo>
                  <a:lnTo>
                    <a:pt x="1025" y="835"/>
                  </a:lnTo>
                  <a:lnTo>
                    <a:pt x="1027" y="835"/>
                  </a:lnTo>
                  <a:close/>
                  <a:moveTo>
                    <a:pt x="1032" y="835"/>
                  </a:moveTo>
                  <a:lnTo>
                    <a:pt x="1030" y="835"/>
                  </a:lnTo>
                  <a:lnTo>
                    <a:pt x="1032" y="835"/>
                  </a:lnTo>
                  <a:close/>
                  <a:moveTo>
                    <a:pt x="1020" y="835"/>
                  </a:moveTo>
                  <a:lnTo>
                    <a:pt x="1020" y="833"/>
                  </a:lnTo>
                  <a:lnTo>
                    <a:pt x="1020" y="835"/>
                  </a:lnTo>
                  <a:close/>
                  <a:moveTo>
                    <a:pt x="1019" y="835"/>
                  </a:moveTo>
                  <a:lnTo>
                    <a:pt x="1020" y="835"/>
                  </a:lnTo>
                  <a:lnTo>
                    <a:pt x="1020" y="833"/>
                  </a:lnTo>
                  <a:lnTo>
                    <a:pt x="1020" y="835"/>
                  </a:lnTo>
                  <a:lnTo>
                    <a:pt x="1019" y="835"/>
                  </a:lnTo>
                  <a:close/>
                  <a:moveTo>
                    <a:pt x="1036" y="835"/>
                  </a:moveTo>
                  <a:lnTo>
                    <a:pt x="1036" y="833"/>
                  </a:lnTo>
                  <a:lnTo>
                    <a:pt x="1036" y="835"/>
                  </a:lnTo>
                  <a:close/>
                  <a:moveTo>
                    <a:pt x="1025" y="835"/>
                  </a:moveTo>
                  <a:lnTo>
                    <a:pt x="1025" y="833"/>
                  </a:lnTo>
                  <a:lnTo>
                    <a:pt x="1027" y="833"/>
                  </a:lnTo>
                  <a:lnTo>
                    <a:pt x="1025" y="835"/>
                  </a:lnTo>
                  <a:close/>
                  <a:moveTo>
                    <a:pt x="1028" y="835"/>
                  </a:moveTo>
                  <a:lnTo>
                    <a:pt x="1027" y="835"/>
                  </a:lnTo>
                  <a:lnTo>
                    <a:pt x="1028" y="833"/>
                  </a:lnTo>
                  <a:lnTo>
                    <a:pt x="1028" y="835"/>
                  </a:lnTo>
                  <a:close/>
                  <a:moveTo>
                    <a:pt x="1020" y="833"/>
                  </a:moveTo>
                  <a:lnTo>
                    <a:pt x="1022" y="833"/>
                  </a:lnTo>
                  <a:lnTo>
                    <a:pt x="1020" y="833"/>
                  </a:lnTo>
                  <a:lnTo>
                    <a:pt x="1020" y="835"/>
                  </a:lnTo>
                  <a:lnTo>
                    <a:pt x="1020" y="833"/>
                  </a:lnTo>
                  <a:close/>
                  <a:moveTo>
                    <a:pt x="1030" y="833"/>
                  </a:moveTo>
                  <a:lnTo>
                    <a:pt x="1030" y="831"/>
                  </a:lnTo>
                  <a:lnTo>
                    <a:pt x="1030" y="833"/>
                  </a:lnTo>
                  <a:close/>
                  <a:moveTo>
                    <a:pt x="1041" y="831"/>
                  </a:moveTo>
                  <a:lnTo>
                    <a:pt x="1043" y="831"/>
                  </a:lnTo>
                  <a:lnTo>
                    <a:pt x="1041" y="831"/>
                  </a:lnTo>
                  <a:close/>
                  <a:moveTo>
                    <a:pt x="1030" y="831"/>
                  </a:moveTo>
                  <a:lnTo>
                    <a:pt x="1030" y="833"/>
                  </a:lnTo>
                  <a:lnTo>
                    <a:pt x="1030" y="831"/>
                  </a:lnTo>
                  <a:close/>
                  <a:moveTo>
                    <a:pt x="1028" y="833"/>
                  </a:moveTo>
                  <a:lnTo>
                    <a:pt x="1028" y="831"/>
                  </a:lnTo>
                  <a:lnTo>
                    <a:pt x="1028" y="833"/>
                  </a:lnTo>
                  <a:close/>
                  <a:moveTo>
                    <a:pt x="1019" y="831"/>
                  </a:moveTo>
                  <a:lnTo>
                    <a:pt x="1020" y="831"/>
                  </a:lnTo>
                  <a:lnTo>
                    <a:pt x="1019" y="831"/>
                  </a:lnTo>
                  <a:close/>
                  <a:moveTo>
                    <a:pt x="1020" y="831"/>
                  </a:moveTo>
                  <a:lnTo>
                    <a:pt x="1020" y="830"/>
                  </a:lnTo>
                  <a:lnTo>
                    <a:pt x="1020" y="831"/>
                  </a:lnTo>
                  <a:close/>
                  <a:moveTo>
                    <a:pt x="1027" y="831"/>
                  </a:moveTo>
                  <a:lnTo>
                    <a:pt x="1027" y="830"/>
                  </a:lnTo>
                  <a:lnTo>
                    <a:pt x="1027" y="831"/>
                  </a:lnTo>
                  <a:close/>
                  <a:moveTo>
                    <a:pt x="1019" y="831"/>
                  </a:moveTo>
                  <a:lnTo>
                    <a:pt x="1019" y="830"/>
                  </a:lnTo>
                  <a:lnTo>
                    <a:pt x="1019" y="831"/>
                  </a:lnTo>
                  <a:close/>
                  <a:moveTo>
                    <a:pt x="1020" y="830"/>
                  </a:moveTo>
                  <a:lnTo>
                    <a:pt x="1020" y="831"/>
                  </a:lnTo>
                  <a:lnTo>
                    <a:pt x="1020" y="830"/>
                  </a:lnTo>
                  <a:close/>
                  <a:moveTo>
                    <a:pt x="1027" y="830"/>
                  </a:moveTo>
                  <a:lnTo>
                    <a:pt x="1028" y="830"/>
                  </a:lnTo>
                  <a:lnTo>
                    <a:pt x="1027" y="830"/>
                  </a:lnTo>
                  <a:close/>
                  <a:moveTo>
                    <a:pt x="1019" y="830"/>
                  </a:moveTo>
                  <a:lnTo>
                    <a:pt x="1019" y="828"/>
                  </a:lnTo>
                  <a:lnTo>
                    <a:pt x="1019" y="830"/>
                  </a:lnTo>
                  <a:close/>
                  <a:moveTo>
                    <a:pt x="1027" y="830"/>
                  </a:moveTo>
                  <a:lnTo>
                    <a:pt x="1027" y="828"/>
                  </a:lnTo>
                  <a:lnTo>
                    <a:pt x="1028" y="828"/>
                  </a:lnTo>
                  <a:lnTo>
                    <a:pt x="1027" y="830"/>
                  </a:lnTo>
                  <a:close/>
                  <a:moveTo>
                    <a:pt x="1032" y="830"/>
                  </a:moveTo>
                  <a:lnTo>
                    <a:pt x="1032" y="828"/>
                  </a:lnTo>
                  <a:lnTo>
                    <a:pt x="1032" y="830"/>
                  </a:lnTo>
                  <a:close/>
                  <a:moveTo>
                    <a:pt x="1019" y="830"/>
                  </a:moveTo>
                  <a:lnTo>
                    <a:pt x="1019" y="828"/>
                  </a:lnTo>
                  <a:lnTo>
                    <a:pt x="1019" y="830"/>
                  </a:lnTo>
                  <a:close/>
                  <a:moveTo>
                    <a:pt x="1019" y="828"/>
                  </a:moveTo>
                  <a:lnTo>
                    <a:pt x="1019" y="830"/>
                  </a:lnTo>
                  <a:lnTo>
                    <a:pt x="1019" y="828"/>
                  </a:lnTo>
                  <a:close/>
                  <a:moveTo>
                    <a:pt x="1036" y="828"/>
                  </a:moveTo>
                  <a:lnTo>
                    <a:pt x="1036" y="830"/>
                  </a:lnTo>
                  <a:lnTo>
                    <a:pt x="1036" y="828"/>
                  </a:lnTo>
                  <a:close/>
                  <a:moveTo>
                    <a:pt x="1038" y="828"/>
                  </a:moveTo>
                  <a:lnTo>
                    <a:pt x="1038" y="830"/>
                  </a:lnTo>
                  <a:lnTo>
                    <a:pt x="1036" y="830"/>
                  </a:lnTo>
                  <a:lnTo>
                    <a:pt x="1038" y="828"/>
                  </a:lnTo>
                  <a:close/>
                  <a:moveTo>
                    <a:pt x="1019" y="828"/>
                  </a:moveTo>
                  <a:lnTo>
                    <a:pt x="1020" y="828"/>
                  </a:lnTo>
                  <a:lnTo>
                    <a:pt x="1019" y="828"/>
                  </a:lnTo>
                  <a:close/>
                  <a:moveTo>
                    <a:pt x="1038" y="828"/>
                  </a:moveTo>
                  <a:lnTo>
                    <a:pt x="1040" y="828"/>
                  </a:lnTo>
                  <a:lnTo>
                    <a:pt x="1038" y="828"/>
                  </a:lnTo>
                  <a:close/>
                  <a:moveTo>
                    <a:pt x="1033" y="828"/>
                  </a:moveTo>
                  <a:lnTo>
                    <a:pt x="1033" y="827"/>
                  </a:lnTo>
                  <a:lnTo>
                    <a:pt x="1033" y="828"/>
                  </a:lnTo>
                  <a:close/>
                  <a:moveTo>
                    <a:pt x="1020" y="828"/>
                  </a:moveTo>
                  <a:lnTo>
                    <a:pt x="1020" y="827"/>
                  </a:lnTo>
                  <a:lnTo>
                    <a:pt x="1020" y="828"/>
                  </a:lnTo>
                  <a:close/>
                  <a:moveTo>
                    <a:pt x="1020" y="828"/>
                  </a:moveTo>
                  <a:lnTo>
                    <a:pt x="1020" y="827"/>
                  </a:lnTo>
                  <a:lnTo>
                    <a:pt x="1020" y="828"/>
                  </a:lnTo>
                  <a:close/>
                  <a:moveTo>
                    <a:pt x="1043" y="828"/>
                  </a:moveTo>
                  <a:lnTo>
                    <a:pt x="1043" y="827"/>
                  </a:lnTo>
                  <a:lnTo>
                    <a:pt x="1045" y="828"/>
                  </a:lnTo>
                  <a:lnTo>
                    <a:pt x="1043" y="828"/>
                  </a:lnTo>
                  <a:close/>
                  <a:moveTo>
                    <a:pt x="1040" y="828"/>
                  </a:moveTo>
                  <a:lnTo>
                    <a:pt x="1040" y="827"/>
                  </a:lnTo>
                  <a:lnTo>
                    <a:pt x="1040" y="828"/>
                  </a:lnTo>
                  <a:close/>
                  <a:moveTo>
                    <a:pt x="1020" y="827"/>
                  </a:moveTo>
                  <a:lnTo>
                    <a:pt x="1020" y="828"/>
                  </a:lnTo>
                  <a:lnTo>
                    <a:pt x="1020" y="827"/>
                  </a:lnTo>
                  <a:close/>
                  <a:moveTo>
                    <a:pt x="1033" y="828"/>
                  </a:moveTo>
                  <a:lnTo>
                    <a:pt x="1033" y="827"/>
                  </a:lnTo>
                  <a:lnTo>
                    <a:pt x="1033" y="828"/>
                  </a:lnTo>
                  <a:close/>
                  <a:moveTo>
                    <a:pt x="1019" y="827"/>
                  </a:moveTo>
                  <a:lnTo>
                    <a:pt x="1019" y="828"/>
                  </a:lnTo>
                  <a:lnTo>
                    <a:pt x="1019" y="827"/>
                  </a:lnTo>
                  <a:close/>
                  <a:moveTo>
                    <a:pt x="1014" y="828"/>
                  </a:moveTo>
                  <a:lnTo>
                    <a:pt x="1014" y="827"/>
                  </a:lnTo>
                  <a:lnTo>
                    <a:pt x="1014" y="828"/>
                  </a:lnTo>
                  <a:close/>
                  <a:moveTo>
                    <a:pt x="1035" y="828"/>
                  </a:moveTo>
                  <a:lnTo>
                    <a:pt x="1033" y="828"/>
                  </a:lnTo>
                  <a:lnTo>
                    <a:pt x="1035" y="827"/>
                  </a:lnTo>
                  <a:lnTo>
                    <a:pt x="1035" y="828"/>
                  </a:lnTo>
                  <a:close/>
                  <a:moveTo>
                    <a:pt x="1020" y="827"/>
                  </a:moveTo>
                  <a:lnTo>
                    <a:pt x="1020" y="828"/>
                  </a:lnTo>
                  <a:lnTo>
                    <a:pt x="1020" y="827"/>
                  </a:lnTo>
                  <a:close/>
                  <a:moveTo>
                    <a:pt x="1036" y="827"/>
                  </a:moveTo>
                  <a:lnTo>
                    <a:pt x="1038" y="827"/>
                  </a:lnTo>
                  <a:lnTo>
                    <a:pt x="1036" y="827"/>
                  </a:lnTo>
                  <a:close/>
                  <a:moveTo>
                    <a:pt x="1014" y="827"/>
                  </a:moveTo>
                  <a:lnTo>
                    <a:pt x="1014" y="828"/>
                  </a:lnTo>
                  <a:lnTo>
                    <a:pt x="1014" y="827"/>
                  </a:lnTo>
                  <a:close/>
                  <a:moveTo>
                    <a:pt x="1045" y="827"/>
                  </a:moveTo>
                  <a:lnTo>
                    <a:pt x="1045" y="828"/>
                  </a:lnTo>
                  <a:lnTo>
                    <a:pt x="1045" y="827"/>
                  </a:lnTo>
                  <a:lnTo>
                    <a:pt x="1045" y="828"/>
                  </a:lnTo>
                  <a:lnTo>
                    <a:pt x="1045" y="827"/>
                  </a:lnTo>
                  <a:close/>
                  <a:moveTo>
                    <a:pt x="1017" y="827"/>
                  </a:moveTo>
                  <a:lnTo>
                    <a:pt x="1015" y="827"/>
                  </a:lnTo>
                  <a:lnTo>
                    <a:pt x="1017" y="827"/>
                  </a:lnTo>
                  <a:close/>
                  <a:moveTo>
                    <a:pt x="1014" y="827"/>
                  </a:moveTo>
                  <a:lnTo>
                    <a:pt x="1015" y="827"/>
                  </a:lnTo>
                  <a:lnTo>
                    <a:pt x="1014" y="827"/>
                  </a:lnTo>
                  <a:close/>
                  <a:moveTo>
                    <a:pt x="1059" y="827"/>
                  </a:moveTo>
                  <a:lnTo>
                    <a:pt x="1061" y="827"/>
                  </a:lnTo>
                  <a:lnTo>
                    <a:pt x="1059" y="827"/>
                  </a:lnTo>
                  <a:close/>
                  <a:moveTo>
                    <a:pt x="1036" y="827"/>
                  </a:moveTo>
                  <a:lnTo>
                    <a:pt x="1036" y="825"/>
                  </a:lnTo>
                  <a:lnTo>
                    <a:pt x="1036" y="827"/>
                  </a:lnTo>
                  <a:close/>
                  <a:moveTo>
                    <a:pt x="1019" y="825"/>
                  </a:moveTo>
                  <a:lnTo>
                    <a:pt x="1019" y="827"/>
                  </a:lnTo>
                  <a:lnTo>
                    <a:pt x="1019" y="825"/>
                  </a:lnTo>
                  <a:close/>
                  <a:moveTo>
                    <a:pt x="1017" y="827"/>
                  </a:moveTo>
                  <a:lnTo>
                    <a:pt x="1017" y="825"/>
                  </a:lnTo>
                  <a:lnTo>
                    <a:pt x="1017" y="827"/>
                  </a:lnTo>
                  <a:close/>
                  <a:moveTo>
                    <a:pt x="1020" y="827"/>
                  </a:moveTo>
                  <a:lnTo>
                    <a:pt x="1020" y="825"/>
                  </a:lnTo>
                  <a:lnTo>
                    <a:pt x="1020" y="827"/>
                  </a:lnTo>
                  <a:close/>
                  <a:moveTo>
                    <a:pt x="1033" y="827"/>
                  </a:moveTo>
                  <a:lnTo>
                    <a:pt x="1033" y="825"/>
                  </a:lnTo>
                  <a:lnTo>
                    <a:pt x="1033" y="827"/>
                  </a:lnTo>
                  <a:close/>
                  <a:moveTo>
                    <a:pt x="1032" y="827"/>
                  </a:moveTo>
                  <a:lnTo>
                    <a:pt x="1032" y="825"/>
                  </a:lnTo>
                  <a:lnTo>
                    <a:pt x="1032" y="827"/>
                  </a:lnTo>
                  <a:close/>
                  <a:moveTo>
                    <a:pt x="1036" y="825"/>
                  </a:moveTo>
                  <a:lnTo>
                    <a:pt x="1035" y="825"/>
                  </a:lnTo>
                  <a:lnTo>
                    <a:pt x="1036" y="825"/>
                  </a:lnTo>
                  <a:close/>
                  <a:moveTo>
                    <a:pt x="1051" y="825"/>
                  </a:moveTo>
                  <a:lnTo>
                    <a:pt x="1049" y="825"/>
                  </a:lnTo>
                  <a:lnTo>
                    <a:pt x="1051" y="825"/>
                  </a:lnTo>
                  <a:close/>
                  <a:moveTo>
                    <a:pt x="1045" y="825"/>
                  </a:moveTo>
                  <a:lnTo>
                    <a:pt x="1046" y="825"/>
                  </a:lnTo>
                  <a:lnTo>
                    <a:pt x="1045" y="825"/>
                  </a:lnTo>
                  <a:close/>
                  <a:moveTo>
                    <a:pt x="1046" y="825"/>
                  </a:moveTo>
                  <a:lnTo>
                    <a:pt x="1045" y="825"/>
                  </a:lnTo>
                  <a:lnTo>
                    <a:pt x="1045" y="827"/>
                  </a:lnTo>
                  <a:lnTo>
                    <a:pt x="1045" y="825"/>
                  </a:lnTo>
                  <a:lnTo>
                    <a:pt x="1046" y="825"/>
                  </a:lnTo>
                  <a:close/>
                  <a:moveTo>
                    <a:pt x="1036" y="827"/>
                  </a:moveTo>
                  <a:lnTo>
                    <a:pt x="1036" y="825"/>
                  </a:lnTo>
                  <a:lnTo>
                    <a:pt x="1036" y="827"/>
                  </a:lnTo>
                  <a:close/>
                  <a:moveTo>
                    <a:pt x="1045" y="825"/>
                  </a:moveTo>
                  <a:lnTo>
                    <a:pt x="1045" y="823"/>
                  </a:lnTo>
                  <a:lnTo>
                    <a:pt x="1045" y="825"/>
                  </a:lnTo>
                  <a:close/>
                  <a:moveTo>
                    <a:pt x="1036" y="825"/>
                  </a:moveTo>
                  <a:lnTo>
                    <a:pt x="1038" y="825"/>
                  </a:lnTo>
                  <a:lnTo>
                    <a:pt x="1038" y="823"/>
                  </a:lnTo>
                  <a:lnTo>
                    <a:pt x="1036" y="825"/>
                  </a:lnTo>
                  <a:close/>
                  <a:moveTo>
                    <a:pt x="1033" y="823"/>
                  </a:moveTo>
                  <a:lnTo>
                    <a:pt x="1032" y="825"/>
                  </a:lnTo>
                  <a:lnTo>
                    <a:pt x="1032" y="823"/>
                  </a:lnTo>
                  <a:lnTo>
                    <a:pt x="1033" y="823"/>
                  </a:lnTo>
                  <a:close/>
                  <a:moveTo>
                    <a:pt x="1043" y="823"/>
                  </a:moveTo>
                  <a:lnTo>
                    <a:pt x="1043" y="825"/>
                  </a:lnTo>
                  <a:lnTo>
                    <a:pt x="1043" y="823"/>
                  </a:lnTo>
                  <a:close/>
                  <a:moveTo>
                    <a:pt x="1036" y="825"/>
                  </a:moveTo>
                  <a:lnTo>
                    <a:pt x="1036" y="823"/>
                  </a:lnTo>
                  <a:lnTo>
                    <a:pt x="1036" y="825"/>
                  </a:lnTo>
                  <a:close/>
                  <a:moveTo>
                    <a:pt x="1036" y="825"/>
                  </a:moveTo>
                  <a:lnTo>
                    <a:pt x="1036" y="823"/>
                  </a:lnTo>
                  <a:lnTo>
                    <a:pt x="1036" y="825"/>
                  </a:lnTo>
                  <a:close/>
                  <a:moveTo>
                    <a:pt x="1043" y="823"/>
                  </a:moveTo>
                  <a:lnTo>
                    <a:pt x="1045" y="823"/>
                  </a:lnTo>
                  <a:lnTo>
                    <a:pt x="1043" y="823"/>
                  </a:lnTo>
                  <a:close/>
                  <a:moveTo>
                    <a:pt x="1032" y="823"/>
                  </a:moveTo>
                  <a:lnTo>
                    <a:pt x="1032" y="825"/>
                  </a:lnTo>
                  <a:lnTo>
                    <a:pt x="1032" y="823"/>
                  </a:lnTo>
                  <a:lnTo>
                    <a:pt x="1030" y="825"/>
                  </a:lnTo>
                  <a:lnTo>
                    <a:pt x="1032" y="823"/>
                  </a:lnTo>
                  <a:lnTo>
                    <a:pt x="1030" y="823"/>
                  </a:lnTo>
                  <a:lnTo>
                    <a:pt x="1032" y="823"/>
                  </a:lnTo>
                  <a:close/>
                  <a:moveTo>
                    <a:pt x="1045" y="823"/>
                  </a:moveTo>
                  <a:lnTo>
                    <a:pt x="1045" y="825"/>
                  </a:lnTo>
                  <a:lnTo>
                    <a:pt x="1046" y="823"/>
                  </a:lnTo>
                  <a:lnTo>
                    <a:pt x="1048" y="823"/>
                  </a:lnTo>
                  <a:lnTo>
                    <a:pt x="1046" y="823"/>
                  </a:lnTo>
                  <a:lnTo>
                    <a:pt x="1048" y="823"/>
                  </a:lnTo>
                  <a:lnTo>
                    <a:pt x="1046" y="825"/>
                  </a:lnTo>
                  <a:lnTo>
                    <a:pt x="1046" y="823"/>
                  </a:lnTo>
                  <a:lnTo>
                    <a:pt x="1046" y="825"/>
                  </a:lnTo>
                  <a:lnTo>
                    <a:pt x="1045" y="825"/>
                  </a:lnTo>
                  <a:lnTo>
                    <a:pt x="1045" y="823"/>
                  </a:lnTo>
                  <a:close/>
                  <a:moveTo>
                    <a:pt x="1014" y="823"/>
                  </a:moveTo>
                  <a:lnTo>
                    <a:pt x="1014" y="822"/>
                  </a:lnTo>
                  <a:lnTo>
                    <a:pt x="1014" y="823"/>
                  </a:lnTo>
                  <a:close/>
                  <a:moveTo>
                    <a:pt x="1032" y="823"/>
                  </a:moveTo>
                  <a:lnTo>
                    <a:pt x="1033" y="822"/>
                  </a:lnTo>
                  <a:lnTo>
                    <a:pt x="1033" y="823"/>
                  </a:lnTo>
                  <a:lnTo>
                    <a:pt x="1032" y="823"/>
                  </a:lnTo>
                  <a:close/>
                  <a:moveTo>
                    <a:pt x="1036" y="823"/>
                  </a:moveTo>
                  <a:lnTo>
                    <a:pt x="1036" y="822"/>
                  </a:lnTo>
                  <a:lnTo>
                    <a:pt x="1038" y="822"/>
                  </a:lnTo>
                  <a:lnTo>
                    <a:pt x="1036" y="823"/>
                  </a:lnTo>
                  <a:close/>
                  <a:moveTo>
                    <a:pt x="1036" y="825"/>
                  </a:moveTo>
                  <a:lnTo>
                    <a:pt x="1038" y="823"/>
                  </a:lnTo>
                  <a:lnTo>
                    <a:pt x="1040" y="822"/>
                  </a:lnTo>
                  <a:lnTo>
                    <a:pt x="1041" y="822"/>
                  </a:lnTo>
                  <a:lnTo>
                    <a:pt x="1040" y="823"/>
                  </a:lnTo>
                  <a:lnTo>
                    <a:pt x="1041" y="823"/>
                  </a:lnTo>
                  <a:lnTo>
                    <a:pt x="1040" y="823"/>
                  </a:lnTo>
                  <a:lnTo>
                    <a:pt x="1038" y="825"/>
                  </a:lnTo>
                  <a:lnTo>
                    <a:pt x="1036" y="827"/>
                  </a:lnTo>
                  <a:lnTo>
                    <a:pt x="1036" y="825"/>
                  </a:lnTo>
                  <a:lnTo>
                    <a:pt x="1038" y="825"/>
                  </a:lnTo>
                  <a:lnTo>
                    <a:pt x="1036" y="825"/>
                  </a:lnTo>
                  <a:close/>
                  <a:moveTo>
                    <a:pt x="997" y="822"/>
                  </a:moveTo>
                  <a:lnTo>
                    <a:pt x="999" y="822"/>
                  </a:lnTo>
                  <a:lnTo>
                    <a:pt x="997" y="822"/>
                  </a:lnTo>
                  <a:close/>
                  <a:moveTo>
                    <a:pt x="1035" y="822"/>
                  </a:moveTo>
                  <a:lnTo>
                    <a:pt x="1035" y="820"/>
                  </a:lnTo>
                  <a:lnTo>
                    <a:pt x="1035" y="822"/>
                  </a:lnTo>
                  <a:close/>
                  <a:moveTo>
                    <a:pt x="1046" y="820"/>
                  </a:moveTo>
                  <a:lnTo>
                    <a:pt x="1048" y="820"/>
                  </a:lnTo>
                  <a:lnTo>
                    <a:pt x="1046" y="820"/>
                  </a:lnTo>
                  <a:lnTo>
                    <a:pt x="1046" y="822"/>
                  </a:lnTo>
                  <a:lnTo>
                    <a:pt x="1045" y="822"/>
                  </a:lnTo>
                  <a:lnTo>
                    <a:pt x="1046" y="820"/>
                  </a:lnTo>
                  <a:close/>
                  <a:moveTo>
                    <a:pt x="1033" y="820"/>
                  </a:moveTo>
                  <a:lnTo>
                    <a:pt x="1035" y="820"/>
                  </a:lnTo>
                  <a:lnTo>
                    <a:pt x="1033" y="820"/>
                  </a:lnTo>
                  <a:close/>
                  <a:moveTo>
                    <a:pt x="1036" y="822"/>
                  </a:moveTo>
                  <a:lnTo>
                    <a:pt x="1036" y="823"/>
                  </a:lnTo>
                  <a:lnTo>
                    <a:pt x="1036" y="822"/>
                  </a:lnTo>
                  <a:lnTo>
                    <a:pt x="1036" y="823"/>
                  </a:lnTo>
                  <a:lnTo>
                    <a:pt x="1036" y="825"/>
                  </a:lnTo>
                  <a:lnTo>
                    <a:pt x="1035" y="825"/>
                  </a:lnTo>
                  <a:lnTo>
                    <a:pt x="1035" y="827"/>
                  </a:lnTo>
                  <a:lnTo>
                    <a:pt x="1033" y="827"/>
                  </a:lnTo>
                  <a:lnTo>
                    <a:pt x="1035" y="825"/>
                  </a:lnTo>
                  <a:lnTo>
                    <a:pt x="1033" y="825"/>
                  </a:lnTo>
                  <a:lnTo>
                    <a:pt x="1033" y="827"/>
                  </a:lnTo>
                  <a:lnTo>
                    <a:pt x="1033" y="828"/>
                  </a:lnTo>
                  <a:lnTo>
                    <a:pt x="1033" y="827"/>
                  </a:lnTo>
                  <a:lnTo>
                    <a:pt x="1033" y="828"/>
                  </a:lnTo>
                  <a:lnTo>
                    <a:pt x="1032" y="827"/>
                  </a:lnTo>
                  <a:lnTo>
                    <a:pt x="1033" y="827"/>
                  </a:lnTo>
                  <a:lnTo>
                    <a:pt x="1033" y="825"/>
                  </a:lnTo>
                  <a:lnTo>
                    <a:pt x="1033" y="823"/>
                  </a:lnTo>
                  <a:lnTo>
                    <a:pt x="1035" y="825"/>
                  </a:lnTo>
                  <a:lnTo>
                    <a:pt x="1035" y="823"/>
                  </a:lnTo>
                  <a:lnTo>
                    <a:pt x="1035" y="822"/>
                  </a:lnTo>
                  <a:lnTo>
                    <a:pt x="1036" y="820"/>
                  </a:lnTo>
                  <a:lnTo>
                    <a:pt x="1036" y="818"/>
                  </a:lnTo>
                  <a:lnTo>
                    <a:pt x="1038" y="820"/>
                  </a:lnTo>
                  <a:lnTo>
                    <a:pt x="1036" y="820"/>
                  </a:lnTo>
                  <a:lnTo>
                    <a:pt x="1038" y="820"/>
                  </a:lnTo>
                  <a:lnTo>
                    <a:pt x="1036" y="822"/>
                  </a:lnTo>
                  <a:close/>
                  <a:moveTo>
                    <a:pt x="1038" y="820"/>
                  </a:moveTo>
                  <a:lnTo>
                    <a:pt x="1040" y="818"/>
                  </a:lnTo>
                  <a:lnTo>
                    <a:pt x="1040" y="820"/>
                  </a:lnTo>
                  <a:lnTo>
                    <a:pt x="1040" y="822"/>
                  </a:lnTo>
                  <a:lnTo>
                    <a:pt x="1038" y="820"/>
                  </a:lnTo>
                  <a:lnTo>
                    <a:pt x="1038" y="822"/>
                  </a:lnTo>
                  <a:lnTo>
                    <a:pt x="1038" y="820"/>
                  </a:lnTo>
                  <a:close/>
                  <a:moveTo>
                    <a:pt x="1038" y="818"/>
                  </a:moveTo>
                  <a:lnTo>
                    <a:pt x="1040" y="818"/>
                  </a:lnTo>
                  <a:lnTo>
                    <a:pt x="1038" y="818"/>
                  </a:lnTo>
                  <a:close/>
                  <a:moveTo>
                    <a:pt x="1061" y="818"/>
                  </a:moveTo>
                  <a:lnTo>
                    <a:pt x="1062" y="818"/>
                  </a:lnTo>
                  <a:lnTo>
                    <a:pt x="1061" y="818"/>
                  </a:lnTo>
                  <a:close/>
                  <a:moveTo>
                    <a:pt x="1074" y="818"/>
                  </a:moveTo>
                  <a:lnTo>
                    <a:pt x="1074" y="820"/>
                  </a:lnTo>
                  <a:lnTo>
                    <a:pt x="1072" y="820"/>
                  </a:lnTo>
                  <a:lnTo>
                    <a:pt x="1074" y="818"/>
                  </a:lnTo>
                  <a:close/>
                  <a:moveTo>
                    <a:pt x="1036" y="818"/>
                  </a:moveTo>
                  <a:lnTo>
                    <a:pt x="1035" y="820"/>
                  </a:lnTo>
                  <a:lnTo>
                    <a:pt x="1035" y="818"/>
                  </a:lnTo>
                  <a:lnTo>
                    <a:pt x="1036" y="818"/>
                  </a:lnTo>
                  <a:close/>
                  <a:moveTo>
                    <a:pt x="1036" y="820"/>
                  </a:moveTo>
                  <a:lnTo>
                    <a:pt x="1036" y="818"/>
                  </a:lnTo>
                  <a:lnTo>
                    <a:pt x="1038" y="818"/>
                  </a:lnTo>
                  <a:lnTo>
                    <a:pt x="1036" y="818"/>
                  </a:lnTo>
                  <a:lnTo>
                    <a:pt x="1036" y="820"/>
                  </a:lnTo>
                  <a:close/>
                  <a:moveTo>
                    <a:pt x="1036" y="818"/>
                  </a:moveTo>
                  <a:lnTo>
                    <a:pt x="1038" y="817"/>
                  </a:lnTo>
                  <a:lnTo>
                    <a:pt x="1038" y="818"/>
                  </a:lnTo>
                  <a:lnTo>
                    <a:pt x="1036" y="818"/>
                  </a:lnTo>
                  <a:close/>
                  <a:moveTo>
                    <a:pt x="1043" y="818"/>
                  </a:moveTo>
                  <a:lnTo>
                    <a:pt x="1043" y="817"/>
                  </a:lnTo>
                  <a:lnTo>
                    <a:pt x="1045" y="817"/>
                  </a:lnTo>
                  <a:lnTo>
                    <a:pt x="1045" y="818"/>
                  </a:lnTo>
                  <a:lnTo>
                    <a:pt x="1043" y="818"/>
                  </a:lnTo>
                  <a:close/>
                  <a:moveTo>
                    <a:pt x="1036" y="817"/>
                  </a:moveTo>
                  <a:lnTo>
                    <a:pt x="1038" y="817"/>
                  </a:lnTo>
                  <a:lnTo>
                    <a:pt x="1036" y="817"/>
                  </a:lnTo>
                  <a:close/>
                  <a:moveTo>
                    <a:pt x="1036" y="818"/>
                  </a:moveTo>
                  <a:lnTo>
                    <a:pt x="1036" y="817"/>
                  </a:lnTo>
                  <a:lnTo>
                    <a:pt x="1036" y="818"/>
                  </a:lnTo>
                  <a:close/>
                  <a:moveTo>
                    <a:pt x="1056" y="817"/>
                  </a:moveTo>
                  <a:lnTo>
                    <a:pt x="1058" y="817"/>
                  </a:lnTo>
                  <a:lnTo>
                    <a:pt x="1059" y="817"/>
                  </a:lnTo>
                  <a:lnTo>
                    <a:pt x="1061" y="817"/>
                  </a:lnTo>
                  <a:lnTo>
                    <a:pt x="1061" y="818"/>
                  </a:lnTo>
                  <a:lnTo>
                    <a:pt x="1059" y="818"/>
                  </a:lnTo>
                  <a:lnTo>
                    <a:pt x="1061" y="818"/>
                  </a:lnTo>
                  <a:lnTo>
                    <a:pt x="1061" y="820"/>
                  </a:lnTo>
                  <a:lnTo>
                    <a:pt x="1062" y="820"/>
                  </a:lnTo>
                  <a:lnTo>
                    <a:pt x="1064" y="820"/>
                  </a:lnTo>
                  <a:lnTo>
                    <a:pt x="1064" y="822"/>
                  </a:lnTo>
                  <a:lnTo>
                    <a:pt x="1062" y="823"/>
                  </a:lnTo>
                  <a:lnTo>
                    <a:pt x="1061" y="823"/>
                  </a:lnTo>
                  <a:lnTo>
                    <a:pt x="1059" y="823"/>
                  </a:lnTo>
                  <a:lnTo>
                    <a:pt x="1058" y="823"/>
                  </a:lnTo>
                  <a:lnTo>
                    <a:pt x="1058" y="822"/>
                  </a:lnTo>
                  <a:lnTo>
                    <a:pt x="1058" y="820"/>
                  </a:lnTo>
                  <a:lnTo>
                    <a:pt x="1058" y="818"/>
                  </a:lnTo>
                  <a:lnTo>
                    <a:pt x="1056" y="820"/>
                  </a:lnTo>
                  <a:lnTo>
                    <a:pt x="1056" y="818"/>
                  </a:lnTo>
                  <a:lnTo>
                    <a:pt x="1058" y="818"/>
                  </a:lnTo>
                  <a:lnTo>
                    <a:pt x="1056" y="818"/>
                  </a:lnTo>
                  <a:lnTo>
                    <a:pt x="1056" y="817"/>
                  </a:lnTo>
                  <a:close/>
                  <a:moveTo>
                    <a:pt x="1040" y="817"/>
                  </a:moveTo>
                  <a:lnTo>
                    <a:pt x="1041" y="817"/>
                  </a:lnTo>
                  <a:lnTo>
                    <a:pt x="1040" y="817"/>
                  </a:lnTo>
                  <a:close/>
                  <a:moveTo>
                    <a:pt x="1061" y="817"/>
                  </a:moveTo>
                  <a:lnTo>
                    <a:pt x="1062" y="817"/>
                  </a:lnTo>
                  <a:lnTo>
                    <a:pt x="1061" y="817"/>
                  </a:lnTo>
                  <a:close/>
                  <a:moveTo>
                    <a:pt x="1041" y="817"/>
                  </a:moveTo>
                  <a:lnTo>
                    <a:pt x="1043" y="817"/>
                  </a:lnTo>
                  <a:lnTo>
                    <a:pt x="1041" y="817"/>
                  </a:lnTo>
                  <a:close/>
                  <a:moveTo>
                    <a:pt x="1043" y="817"/>
                  </a:moveTo>
                  <a:lnTo>
                    <a:pt x="1043" y="815"/>
                  </a:lnTo>
                  <a:lnTo>
                    <a:pt x="1043" y="817"/>
                  </a:lnTo>
                  <a:close/>
                  <a:moveTo>
                    <a:pt x="1041" y="817"/>
                  </a:moveTo>
                  <a:lnTo>
                    <a:pt x="1041" y="815"/>
                  </a:lnTo>
                  <a:lnTo>
                    <a:pt x="1041" y="817"/>
                  </a:lnTo>
                  <a:close/>
                  <a:moveTo>
                    <a:pt x="1022" y="815"/>
                  </a:moveTo>
                  <a:lnTo>
                    <a:pt x="1022" y="817"/>
                  </a:lnTo>
                  <a:lnTo>
                    <a:pt x="1022" y="815"/>
                  </a:lnTo>
                  <a:close/>
                  <a:moveTo>
                    <a:pt x="1022" y="815"/>
                  </a:moveTo>
                  <a:lnTo>
                    <a:pt x="1023" y="815"/>
                  </a:lnTo>
                  <a:lnTo>
                    <a:pt x="1022" y="815"/>
                  </a:lnTo>
                  <a:close/>
                  <a:moveTo>
                    <a:pt x="1041" y="815"/>
                  </a:moveTo>
                  <a:lnTo>
                    <a:pt x="1040" y="817"/>
                  </a:lnTo>
                  <a:lnTo>
                    <a:pt x="1041" y="815"/>
                  </a:lnTo>
                  <a:close/>
                  <a:moveTo>
                    <a:pt x="1028" y="815"/>
                  </a:moveTo>
                  <a:lnTo>
                    <a:pt x="1028" y="814"/>
                  </a:lnTo>
                  <a:lnTo>
                    <a:pt x="1028" y="815"/>
                  </a:lnTo>
                  <a:close/>
                  <a:moveTo>
                    <a:pt x="1027" y="815"/>
                  </a:moveTo>
                  <a:lnTo>
                    <a:pt x="1027" y="814"/>
                  </a:lnTo>
                  <a:lnTo>
                    <a:pt x="1027" y="815"/>
                  </a:lnTo>
                  <a:close/>
                  <a:moveTo>
                    <a:pt x="1027" y="814"/>
                  </a:moveTo>
                  <a:lnTo>
                    <a:pt x="1027" y="815"/>
                  </a:lnTo>
                  <a:lnTo>
                    <a:pt x="1027" y="814"/>
                  </a:lnTo>
                  <a:close/>
                  <a:moveTo>
                    <a:pt x="1066" y="814"/>
                  </a:moveTo>
                  <a:lnTo>
                    <a:pt x="1066" y="815"/>
                  </a:lnTo>
                  <a:lnTo>
                    <a:pt x="1066" y="814"/>
                  </a:lnTo>
                  <a:close/>
                  <a:moveTo>
                    <a:pt x="1064" y="815"/>
                  </a:moveTo>
                  <a:lnTo>
                    <a:pt x="1064" y="814"/>
                  </a:lnTo>
                  <a:lnTo>
                    <a:pt x="1064" y="815"/>
                  </a:lnTo>
                  <a:close/>
                  <a:moveTo>
                    <a:pt x="1028" y="815"/>
                  </a:moveTo>
                  <a:lnTo>
                    <a:pt x="1028" y="814"/>
                  </a:lnTo>
                  <a:lnTo>
                    <a:pt x="1028" y="815"/>
                  </a:lnTo>
                  <a:lnTo>
                    <a:pt x="1028" y="814"/>
                  </a:lnTo>
                  <a:lnTo>
                    <a:pt x="1028" y="815"/>
                  </a:lnTo>
                  <a:close/>
                  <a:moveTo>
                    <a:pt x="1030" y="814"/>
                  </a:moveTo>
                  <a:lnTo>
                    <a:pt x="1030" y="815"/>
                  </a:lnTo>
                  <a:lnTo>
                    <a:pt x="1030" y="814"/>
                  </a:lnTo>
                  <a:lnTo>
                    <a:pt x="1030" y="815"/>
                  </a:lnTo>
                  <a:lnTo>
                    <a:pt x="1028" y="815"/>
                  </a:lnTo>
                  <a:lnTo>
                    <a:pt x="1030" y="814"/>
                  </a:lnTo>
                  <a:lnTo>
                    <a:pt x="1028" y="814"/>
                  </a:lnTo>
                  <a:lnTo>
                    <a:pt x="1028" y="815"/>
                  </a:lnTo>
                  <a:lnTo>
                    <a:pt x="1028" y="814"/>
                  </a:lnTo>
                  <a:lnTo>
                    <a:pt x="1030" y="814"/>
                  </a:lnTo>
                  <a:close/>
                  <a:moveTo>
                    <a:pt x="1028" y="814"/>
                  </a:moveTo>
                  <a:lnTo>
                    <a:pt x="1027" y="814"/>
                  </a:lnTo>
                  <a:lnTo>
                    <a:pt x="1028" y="814"/>
                  </a:lnTo>
                  <a:close/>
                  <a:moveTo>
                    <a:pt x="1023" y="814"/>
                  </a:moveTo>
                  <a:lnTo>
                    <a:pt x="1025" y="814"/>
                  </a:lnTo>
                  <a:lnTo>
                    <a:pt x="1023" y="814"/>
                  </a:lnTo>
                  <a:close/>
                  <a:moveTo>
                    <a:pt x="1027" y="814"/>
                  </a:moveTo>
                  <a:lnTo>
                    <a:pt x="1028" y="814"/>
                  </a:lnTo>
                  <a:lnTo>
                    <a:pt x="1027" y="814"/>
                  </a:lnTo>
                  <a:close/>
                  <a:moveTo>
                    <a:pt x="1035" y="814"/>
                  </a:moveTo>
                  <a:lnTo>
                    <a:pt x="1035" y="812"/>
                  </a:lnTo>
                  <a:lnTo>
                    <a:pt x="1035" y="814"/>
                  </a:lnTo>
                  <a:close/>
                  <a:moveTo>
                    <a:pt x="1035" y="812"/>
                  </a:moveTo>
                  <a:lnTo>
                    <a:pt x="1035" y="814"/>
                  </a:lnTo>
                  <a:lnTo>
                    <a:pt x="1035" y="812"/>
                  </a:lnTo>
                  <a:close/>
                  <a:moveTo>
                    <a:pt x="1025" y="814"/>
                  </a:moveTo>
                  <a:lnTo>
                    <a:pt x="1027" y="812"/>
                  </a:lnTo>
                  <a:lnTo>
                    <a:pt x="1025" y="814"/>
                  </a:lnTo>
                  <a:close/>
                  <a:moveTo>
                    <a:pt x="1071" y="814"/>
                  </a:moveTo>
                  <a:lnTo>
                    <a:pt x="1072" y="812"/>
                  </a:lnTo>
                  <a:lnTo>
                    <a:pt x="1074" y="814"/>
                  </a:lnTo>
                  <a:lnTo>
                    <a:pt x="1074" y="815"/>
                  </a:lnTo>
                  <a:lnTo>
                    <a:pt x="1074" y="817"/>
                  </a:lnTo>
                  <a:lnTo>
                    <a:pt x="1074" y="818"/>
                  </a:lnTo>
                  <a:lnTo>
                    <a:pt x="1074" y="817"/>
                  </a:lnTo>
                  <a:lnTo>
                    <a:pt x="1072" y="818"/>
                  </a:lnTo>
                  <a:lnTo>
                    <a:pt x="1072" y="817"/>
                  </a:lnTo>
                  <a:lnTo>
                    <a:pt x="1072" y="818"/>
                  </a:lnTo>
                  <a:lnTo>
                    <a:pt x="1071" y="818"/>
                  </a:lnTo>
                  <a:lnTo>
                    <a:pt x="1069" y="818"/>
                  </a:lnTo>
                  <a:lnTo>
                    <a:pt x="1069" y="820"/>
                  </a:lnTo>
                  <a:lnTo>
                    <a:pt x="1067" y="820"/>
                  </a:lnTo>
                  <a:lnTo>
                    <a:pt x="1067" y="818"/>
                  </a:lnTo>
                  <a:lnTo>
                    <a:pt x="1067" y="817"/>
                  </a:lnTo>
                  <a:lnTo>
                    <a:pt x="1067" y="815"/>
                  </a:lnTo>
                  <a:lnTo>
                    <a:pt x="1069" y="814"/>
                  </a:lnTo>
                  <a:lnTo>
                    <a:pt x="1071" y="814"/>
                  </a:lnTo>
                  <a:close/>
                  <a:moveTo>
                    <a:pt x="1035" y="812"/>
                  </a:moveTo>
                  <a:lnTo>
                    <a:pt x="1036" y="812"/>
                  </a:lnTo>
                  <a:lnTo>
                    <a:pt x="1035" y="812"/>
                  </a:lnTo>
                  <a:close/>
                  <a:moveTo>
                    <a:pt x="1022" y="812"/>
                  </a:moveTo>
                  <a:lnTo>
                    <a:pt x="1023" y="812"/>
                  </a:lnTo>
                  <a:lnTo>
                    <a:pt x="1022" y="812"/>
                  </a:lnTo>
                  <a:close/>
                  <a:moveTo>
                    <a:pt x="1028" y="812"/>
                  </a:moveTo>
                  <a:lnTo>
                    <a:pt x="1030" y="812"/>
                  </a:lnTo>
                  <a:lnTo>
                    <a:pt x="1028" y="812"/>
                  </a:lnTo>
                  <a:close/>
                  <a:moveTo>
                    <a:pt x="1027" y="814"/>
                  </a:moveTo>
                  <a:lnTo>
                    <a:pt x="1027" y="812"/>
                  </a:lnTo>
                  <a:lnTo>
                    <a:pt x="1027" y="814"/>
                  </a:lnTo>
                  <a:close/>
                  <a:moveTo>
                    <a:pt x="1032" y="812"/>
                  </a:moveTo>
                  <a:lnTo>
                    <a:pt x="1030" y="814"/>
                  </a:lnTo>
                  <a:lnTo>
                    <a:pt x="1028" y="814"/>
                  </a:lnTo>
                  <a:lnTo>
                    <a:pt x="1030" y="814"/>
                  </a:lnTo>
                  <a:lnTo>
                    <a:pt x="1030" y="812"/>
                  </a:lnTo>
                  <a:lnTo>
                    <a:pt x="1032" y="812"/>
                  </a:lnTo>
                  <a:close/>
                  <a:moveTo>
                    <a:pt x="1074" y="812"/>
                  </a:moveTo>
                  <a:lnTo>
                    <a:pt x="1075" y="812"/>
                  </a:lnTo>
                  <a:lnTo>
                    <a:pt x="1074" y="812"/>
                  </a:lnTo>
                  <a:close/>
                  <a:moveTo>
                    <a:pt x="1027" y="812"/>
                  </a:moveTo>
                  <a:lnTo>
                    <a:pt x="1028" y="812"/>
                  </a:lnTo>
                  <a:lnTo>
                    <a:pt x="1027" y="812"/>
                  </a:lnTo>
                  <a:lnTo>
                    <a:pt x="1027" y="814"/>
                  </a:lnTo>
                  <a:lnTo>
                    <a:pt x="1027" y="812"/>
                  </a:lnTo>
                  <a:lnTo>
                    <a:pt x="1027" y="814"/>
                  </a:lnTo>
                  <a:lnTo>
                    <a:pt x="1027" y="812"/>
                  </a:lnTo>
                  <a:close/>
                  <a:moveTo>
                    <a:pt x="1036" y="812"/>
                  </a:moveTo>
                  <a:lnTo>
                    <a:pt x="1035" y="812"/>
                  </a:lnTo>
                  <a:lnTo>
                    <a:pt x="1036" y="812"/>
                  </a:lnTo>
                  <a:close/>
                  <a:moveTo>
                    <a:pt x="1032" y="812"/>
                  </a:moveTo>
                  <a:lnTo>
                    <a:pt x="1030" y="812"/>
                  </a:lnTo>
                  <a:lnTo>
                    <a:pt x="1032" y="812"/>
                  </a:lnTo>
                  <a:close/>
                  <a:moveTo>
                    <a:pt x="1051" y="812"/>
                  </a:moveTo>
                  <a:lnTo>
                    <a:pt x="1053" y="812"/>
                  </a:lnTo>
                  <a:lnTo>
                    <a:pt x="1053" y="814"/>
                  </a:lnTo>
                  <a:lnTo>
                    <a:pt x="1053" y="815"/>
                  </a:lnTo>
                  <a:lnTo>
                    <a:pt x="1053" y="817"/>
                  </a:lnTo>
                  <a:lnTo>
                    <a:pt x="1054" y="817"/>
                  </a:lnTo>
                  <a:lnTo>
                    <a:pt x="1053" y="818"/>
                  </a:lnTo>
                  <a:lnTo>
                    <a:pt x="1054" y="818"/>
                  </a:lnTo>
                  <a:lnTo>
                    <a:pt x="1053" y="818"/>
                  </a:lnTo>
                  <a:lnTo>
                    <a:pt x="1053" y="820"/>
                  </a:lnTo>
                  <a:lnTo>
                    <a:pt x="1053" y="822"/>
                  </a:lnTo>
                  <a:lnTo>
                    <a:pt x="1054" y="822"/>
                  </a:lnTo>
                  <a:lnTo>
                    <a:pt x="1053" y="822"/>
                  </a:lnTo>
                  <a:lnTo>
                    <a:pt x="1053" y="823"/>
                  </a:lnTo>
                  <a:lnTo>
                    <a:pt x="1051" y="823"/>
                  </a:lnTo>
                  <a:lnTo>
                    <a:pt x="1049" y="823"/>
                  </a:lnTo>
                  <a:lnTo>
                    <a:pt x="1051" y="823"/>
                  </a:lnTo>
                  <a:lnTo>
                    <a:pt x="1051" y="825"/>
                  </a:lnTo>
                  <a:lnTo>
                    <a:pt x="1049" y="825"/>
                  </a:lnTo>
                  <a:lnTo>
                    <a:pt x="1049" y="827"/>
                  </a:lnTo>
                  <a:lnTo>
                    <a:pt x="1051" y="827"/>
                  </a:lnTo>
                  <a:lnTo>
                    <a:pt x="1051" y="825"/>
                  </a:lnTo>
                  <a:lnTo>
                    <a:pt x="1053" y="825"/>
                  </a:lnTo>
                  <a:lnTo>
                    <a:pt x="1053" y="823"/>
                  </a:lnTo>
                  <a:lnTo>
                    <a:pt x="1053" y="825"/>
                  </a:lnTo>
                  <a:lnTo>
                    <a:pt x="1053" y="823"/>
                  </a:lnTo>
                  <a:lnTo>
                    <a:pt x="1054" y="823"/>
                  </a:lnTo>
                  <a:lnTo>
                    <a:pt x="1056" y="825"/>
                  </a:lnTo>
                  <a:lnTo>
                    <a:pt x="1054" y="825"/>
                  </a:lnTo>
                  <a:lnTo>
                    <a:pt x="1054" y="827"/>
                  </a:lnTo>
                  <a:lnTo>
                    <a:pt x="1053" y="827"/>
                  </a:lnTo>
                  <a:lnTo>
                    <a:pt x="1053" y="828"/>
                  </a:lnTo>
                  <a:lnTo>
                    <a:pt x="1053" y="827"/>
                  </a:lnTo>
                  <a:lnTo>
                    <a:pt x="1053" y="828"/>
                  </a:lnTo>
                  <a:lnTo>
                    <a:pt x="1053" y="827"/>
                  </a:lnTo>
                  <a:lnTo>
                    <a:pt x="1054" y="827"/>
                  </a:lnTo>
                  <a:lnTo>
                    <a:pt x="1056" y="827"/>
                  </a:lnTo>
                  <a:lnTo>
                    <a:pt x="1056" y="828"/>
                  </a:lnTo>
                  <a:lnTo>
                    <a:pt x="1056" y="830"/>
                  </a:lnTo>
                  <a:lnTo>
                    <a:pt x="1054" y="831"/>
                  </a:lnTo>
                  <a:lnTo>
                    <a:pt x="1053" y="831"/>
                  </a:lnTo>
                  <a:lnTo>
                    <a:pt x="1051" y="831"/>
                  </a:lnTo>
                  <a:lnTo>
                    <a:pt x="1053" y="831"/>
                  </a:lnTo>
                  <a:lnTo>
                    <a:pt x="1051" y="833"/>
                  </a:lnTo>
                  <a:lnTo>
                    <a:pt x="1051" y="835"/>
                  </a:lnTo>
                  <a:lnTo>
                    <a:pt x="1049" y="835"/>
                  </a:lnTo>
                  <a:lnTo>
                    <a:pt x="1049" y="836"/>
                  </a:lnTo>
                  <a:lnTo>
                    <a:pt x="1048" y="836"/>
                  </a:lnTo>
                  <a:lnTo>
                    <a:pt x="1046" y="836"/>
                  </a:lnTo>
                  <a:lnTo>
                    <a:pt x="1045" y="838"/>
                  </a:lnTo>
                  <a:lnTo>
                    <a:pt x="1043" y="840"/>
                  </a:lnTo>
                  <a:lnTo>
                    <a:pt x="1041" y="840"/>
                  </a:lnTo>
                  <a:lnTo>
                    <a:pt x="1040" y="841"/>
                  </a:lnTo>
                  <a:lnTo>
                    <a:pt x="1041" y="840"/>
                  </a:lnTo>
                  <a:lnTo>
                    <a:pt x="1040" y="841"/>
                  </a:lnTo>
                  <a:lnTo>
                    <a:pt x="1038" y="841"/>
                  </a:lnTo>
                  <a:lnTo>
                    <a:pt x="1036" y="841"/>
                  </a:lnTo>
                  <a:lnTo>
                    <a:pt x="1036" y="843"/>
                  </a:lnTo>
                  <a:lnTo>
                    <a:pt x="1035" y="843"/>
                  </a:lnTo>
                  <a:lnTo>
                    <a:pt x="1035" y="841"/>
                  </a:lnTo>
                  <a:lnTo>
                    <a:pt x="1035" y="840"/>
                  </a:lnTo>
                  <a:lnTo>
                    <a:pt x="1036" y="840"/>
                  </a:lnTo>
                  <a:lnTo>
                    <a:pt x="1036" y="838"/>
                  </a:lnTo>
                  <a:lnTo>
                    <a:pt x="1038" y="838"/>
                  </a:lnTo>
                  <a:lnTo>
                    <a:pt x="1040" y="836"/>
                  </a:lnTo>
                  <a:lnTo>
                    <a:pt x="1040" y="835"/>
                  </a:lnTo>
                  <a:lnTo>
                    <a:pt x="1041" y="833"/>
                  </a:lnTo>
                  <a:lnTo>
                    <a:pt x="1043" y="833"/>
                  </a:lnTo>
                  <a:lnTo>
                    <a:pt x="1043" y="831"/>
                  </a:lnTo>
                  <a:lnTo>
                    <a:pt x="1045" y="831"/>
                  </a:lnTo>
                  <a:lnTo>
                    <a:pt x="1043" y="831"/>
                  </a:lnTo>
                  <a:lnTo>
                    <a:pt x="1043" y="833"/>
                  </a:lnTo>
                  <a:lnTo>
                    <a:pt x="1043" y="831"/>
                  </a:lnTo>
                  <a:lnTo>
                    <a:pt x="1045" y="831"/>
                  </a:lnTo>
                  <a:lnTo>
                    <a:pt x="1043" y="831"/>
                  </a:lnTo>
                  <a:lnTo>
                    <a:pt x="1041" y="831"/>
                  </a:lnTo>
                  <a:lnTo>
                    <a:pt x="1041" y="833"/>
                  </a:lnTo>
                  <a:lnTo>
                    <a:pt x="1040" y="833"/>
                  </a:lnTo>
                  <a:lnTo>
                    <a:pt x="1038" y="833"/>
                  </a:lnTo>
                  <a:lnTo>
                    <a:pt x="1036" y="833"/>
                  </a:lnTo>
                  <a:lnTo>
                    <a:pt x="1038" y="833"/>
                  </a:lnTo>
                  <a:lnTo>
                    <a:pt x="1036" y="835"/>
                  </a:lnTo>
                  <a:lnTo>
                    <a:pt x="1036" y="833"/>
                  </a:lnTo>
                  <a:lnTo>
                    <a:pt x="1036" y="835"/>
                  </a:lnTo>
                  <a:lnTo>
                    <a:pt x="1036" y="833"/>
                  </a:lnTo>
                  <a:lnTo>
                    <a:pt x="1036" y="831"/>
                  </a:lnTo>
                  <a:lnTo>
                    <a:pt x="1038" y="831"/>
                  </a:lnTo>
                  <a:lnTo>
                    <a:pt x="1040" y="830"/>
                  </a:lnTo>
                  <a:lnTo>
                    <a:pt x="1041" y="830"/>
                  </a:lnTo>
                  <a:lnTo>
                    <a:pt x="1043" y="830"/>
                  </a:lnTo>
                  <a:lnTo>
                    <a:pt x="1045" y="828"/>
                  </a:lnTo>
                  <a:lnTo>
                    <a:pt x="1046" y="828"/>
                  </a:lnTo>
                  <a:lnTo>
                    <a:pt x="1046" y="827"/>
                  </a:lnTo>
                  <a:lnTo>
                    <a:pt x="1045" y="827"/>
                  </a:lnTo>
                  <a:lnTo>
                    <a:pt x="1046" y="827"/>
                  </a:lnTo>
                  <a:lnTo>
                    <a:pt x="1046" y="825"/>
                  </a:lnTo>
                  <a:lnTo>
                    <a:pt x="1046" y="823"/>
                  </a:lnTo>
                  <a:lnTo>
                    <a:pt x="1049" y="822"/>
                  </a:lnTo>
                  <a:lnTo>
                    <a:pt x="1048" y="822"/>
                  </a:lnTo>
                  <a:lnTo>
                    <a:pt x="1049" y="822"/>
                  </a:lnTo>
                  <a:lnTo>
                    <a:pt x="1051" y="820"/>
                  </a:lnTo>
                  <a:lnTo>
                    <a:pt x="1049" y="820"/>
                  </a:lnTo>
                  <a:lnTo>
                    <a:pt x="1049" y="822"/>
                  </a:lnTo>
                  <a:lnTo>
                    <a:pt x="1049" y="820"/>
                  </a:lnTo>
                  <a:lnTo>
                    <a:pt x="1051" y="820"/>
                  </a:lnTo>
                  <a:lnTo>
                    <a:pt x="1049" y="820"/>
                  </a:lnTo>
                  <a:lnTo>
                    <a:pt x="1048" y="820"/>
                  </a:lnTo>
                  <a:lnTo>
                    <a:pt x="1048" y="818"/>
                  </a:lnTo>
                  <a:lnTo>
                    <a:pt x="1046" y="818"/>
                  </a:lnTo>
                  <a:lnTo>
                    <a:pt x="1045" y="820"/>
                  </a:lnTo>
                  <a:lnTo>
                    <a:pt x="1043" y="822"/>
                  </a:lnTo>
                  <a:lnTo>
                    <a:pt x="1041" y="822"/>
                  </a:lnTo>
                  <a:lnTo>
                    <a:pt x="1043" y="822"/>
                  </a:lnTo>
                  <a:lnTo>
                    <a:pt x="1041" y="822"/>
                  </a:lnTo>
                  <a:lnTo>
                    <a:pt x="1043" y="820"/>
                  </a:lnTo>
                  <a:lnTo>
                    <a:pt x="1045" y="820"/>
                  </a:lnTo>
                  <a:lnTo>
                    <a:pt x="1043" y="820"/>
                  </a:lnTo>
                  <a:lnTo>
                    <a:pt x="1043" y="818"/>
                  </a:lnTo>
                  <a:lnTo>
                    <a:pt x="1045" y="818"/>
                  </a:lnTo>
                  <a:lnTo>
                    <a:pt x="1043" y="818"/>
                  </a:lnTo>
                  <a:lnTo>
                    <a:pt x="1045" y="818"/>
                  </a:lnTo>
                  <a:lnTo>
                    <a:pt x="1043" y="818"/>
                  </a:lnTo>
                  <a:lnTo>
                    <a:pt x="1045" y="818"/>
                  </a:lnTo>
                  <a:lnTo>
                    <a:pt x="1045" y="817"/>
                  </a:lnTo>
                  <a:lnTo>
                    <a:pt x="1046" y="817"/>
                  </a:lnTo>
                  <a:lnTo>
                    <a:pt x="1045" y="817"/>
                  </a:lnTo>
                  <a:lnTo>
                    <a:pt x="1043" y="817"/>
                  </a:lnTo>
                  <a:lnTo>
                    <a:pt x="1043" y="815"/>
                  </a:lnTo>
                  <a:lnTo>
                    <a:pt x="1045" y="815"/>
                  </a:lnTo>
                  <a:lnTo>
                    <a:pt x="1045" y="817"/>
                  </a:lnTo>
                  <a:lnTo>
                    <a:pt x="1045" y="815"/>
                  </a:lnTo>
                  <a:lnTo>
                    <a:pt x="1046" y="815"/>
                  </a:lnTo>
                  <a:lnTo>
                    <a:pt x="1048" y="815"/>
                  </a:lnTo>
                  <a:lnTo>
                    <a:pt x="1049" y="815"/>
                  </a:lnTo>
                  <a:lnTo>
                    <a:pt x="1049" y="814"/>
                  </a:lnTo>
                  <a:lnTo>
                    <a:pt x="1049" y="815"/>
                  </a:lnTo>
                  <a:lnTo>
                    <a:pt x="1049" y="814"/>
                  </a:lnTo>
                  <a:lnTo>
                    <a:pt x="1048" y="815"/>
                  </a:lnTo>
                  <a:lnTo>
                    <a:pt x="1049" y="814"/>
                  </a:lnTo>
                  <a:lnTo>
                    <a:pt x="1048" y="814"/>
                  </a:lnTo>
                  <a:lnTo>
                    <a:pt x="1049" y="814"/>
                  </a:lnTo>
                  <a:lnTo>
                    <a:pt x="1051" y="814"/>
                  </a:lnTo>
                  <a:lnTo>
                    <a:pt x="1049" y="814"/>
                  </a:lnTo>
                  <a:lnTo>
                    <a:pt x="1049" y="812"/>
                  </a:lnTo>
                  <a:lnTo>
                    <a:pt x="1049" y="814"/>
                  </a:lnTo>
                  <a:lnTo>
                    <a:pt x="1049" y="812"/>
                  </a:lnTo>
                  <a:lnTo>
                    <a:pt x="1049" y="814"/>
                  </a:lnTo>
                  <a:lnTo>
                    <a:pt x="1049" y="812"/>
                  </a:lnTo>
                  <a:lnTo>
                    <a:pt x="1051" y="812"/>
                  </a:lnTo>
                  <a:close/>
                  <a:moveTo>
                    <a:pt x="1027" y="812"/>
                  </a:moveTo>
                  <a:lnTo>
                    <a:pt x="1025" y="812"/>
                  </a:lnTo>
                  <a:lnTo>
                    <a:pt x="1027" y="812"/>
                  </a:lnTo>
                  <a:close/>
                  <a:moveTo>
                    <a:pt x="1027" y="812"/>
                  </a:moveTo>
                  <a:lnTo>
                    <a:pt x="1028" y="812"/>
                  </a:lnTo>
                  <a:lnTo>
                    <a:pt x="1027" y="812"/>
                  </a:lnTo>
                  <a:close/>
                  <a:moveTo>
                    <a:pt x="1028" y="812"/>
                  </a:moveTo>
                  <a:lnTo>
                    <a:pt x="1028" y="810"/>
                  </a:lnTo>
                  <a:lnTo>
                    <a:pt x="1028" y="812"/>
                  </a:lnTo>
                  <a:close/>
                  <a:moveTo>
                    <a:pt x="1048" y="812"/>
                  </a:moveTo>
                  <a:lnTo>
                    <a:pt x="1049" y="812"/>
                  </a:lnTo>
                  <a:lnTo>
                    <a:pt x="1049" y="810"/>
                  </a:lnTo>
                  <a:lnTo>
                    <a:pt x="1049" y="812"/>
                  </a:lnTo>
                  <a:lnTo>
                    <a:pt x="1051" y="810"/>
                  </a:lnTo>
                  <a:lnTo>
                    <a:pt x="1051" y="812"/>
                  </a:lnTo>
                  <a:lnTo>
                    <a:pt x="1049" y="812"/>
                  </a:lnTo>
                  <a:lnTo>
                    <a:pt x="1048" y="812"/>
                  </a:lnTo>
                  <a:close/>
                  <a:moveTo>
                    <a:pt x="1028" y="812"/>
                  </a:moveTo>
                  <a:lnTo>
                    <a:pt x="1030" y="810"/>
                  </a:lnTo>
                  <a:lnTo>
                    <a:pt x="1028" y="812"/>
                  </a:lnTo>
                  <a:close/>
                  <a:moveTo>
                    <a:pt x="1033" y="812"/>
                  </a:moveTo>
                  <a:lnTo>
                    <a:pt x="1032" y="812"/>
                  </a:lnTo>
                  <a:lnTo>
                    <a:pt x="1032" y="810"/>
                  </a:lnTo>
                  <a:lnTo>
                    <a:pt x="1033" y="810"/>
                  </a:lnTo>
                  <a:lnTo>
                    <a:pt x="1033" y="812"/>
                  </a:lnTo>
                  <a:close/>
                  <a:moveTo>
                    <a:pt x="1025" y="810"/>
                  </a:moveTo>
                  <a:lnTo>
                    <a:pt x="1025" y="812"/>
                  </a:lnTo>
                  <a:lnTo>
                    <a:pt x="1025" y="810"/>
                  </a:lnTo>
                  <a:close/>
                  <a:moveTo>
                    <a:pt x="1035" y="812"/>
                  </a:moveTo>
                  <a:lnTo>
                    <a:pt x="1035" y="810"/>
                  </a:lnTo>
                  <a:lnTo>
                    <a:pt x="1035" y="812"/>
                  </a:lnTo>
                  <a:close/>
                  <a:moveTo>
                    <a:pt x="1030" y="810"/>
                  </a:moveTo>
                  <a:lnTo>
                    <a:pt x="1030" y="812"/>
                  </a:lnTo>
                  <a:lnTo>
                    <a:pt x="1030" y="810"/>
                  </a:lnTo>
                  <a:close/>
                  <a:moveTo>
                    <a:pt x="1030" y="812"/>
                  </a:moveTo>
                  <a:lnTo>
                    <a:pt x="1030" y="810"/>
                  </a:lnTo>
                  <a:lnTo>
                    <a:pt x="1030" y="812"/>
                  </a:lnTo>
                  <a:close/>
                  <a:moveTo>
                    <a:pt x="1032" y="810"/>
                  </a:moveTo>
                  <a:lnTo>
                    <a:pt x="1032" y="812"/>
                  </a:lnTo>
                  <a:lnTo>
                    <a:pt x="1030" y="812"/>
                  </a:lnTo>
                  <a:lnTo>
                    <a:pt x="1032" y="810"/>
                  </a:lnTo>
                  <a:close/>
                  <a:moveTo>
                    <a:pt x="1027" y="812"/>
                  </a:moveTo>
                  <a:lnTo>
                    <a:pt x="1027" y="810"/>
                  </a:lnTo>
                  <a:lnTo>
                    <a:pt x="1028" y="810"/>
                  </a:lnTo>
                  <a:lnTo>
                    <a:pt x="1027" y="812"/>
                  </a:lnTo>
                  <a:close/>
                  <a:moveTo>
                    <a:pt x="1059" y="810"/>
                  </a:moveTo>
                  <a:lnTo>
                    <a:pt x="1061" y="810"/>
                  </a:lnTo>
                  <a:lnTo>
                    <a:pt x="1059" y="810"/>
                  </a:lnTo>
                  <a:close/>
                  <a:moveTo>
                    <a:pt x="1033" y="810"/>
                  </a:moveTo>
                  <a:lnTo>
                    <a:pt x="1033" y="812"/>
                  </a:lnTo>
                  <a:lnTo>
                    <a:pt x="1033" y="810"/>
                  </a:lnTo>
                  <a:close/>
                  <a:moveTo>
                    <a:pt x="1032" y="810"/>
                  </a:moveTo>
                  <a:lnTo>
                    <a:pt x="1033" y="810"/>
                  </a:lnTo>
                  <a:lnTo>
                    <a:pt x="1032" y="810"/>
                  </a:lnTo>
                  <a:close/>
                  <a:moveTo>
                    <a:pt x="1028" y="810"/>
                  </a:moveTo>
                  <a:lnTo>
                    <a:pt x="1028" y="812"/>
                  </a:lnTo>
                  <a:lnTo>
                    <a:pt x="1028" y="810"/>
                  </a:lnTo>
                  <a:close/>
                  <a:moveTo>
                    <a:pt x="1071" y="810"/>
                  </a:moveTo>
                  <a:lnTo>
                    <a:pt x="1069" y="810"/>
                  </a:lnTo>
                  <a:lnTo>
                    <a:pt x="1071" y="810"/>
                  </a:lnTo>
                  <a:close/>
                  <a:moveTo>
                    <a:pt x="1027" y="810"/>
                  </a:moveTo>
                  <a:lnTo>
                    <a:pt x="1028" y="810"/>
                  </a:lnTo>
                  <a:lnTo>
                    <a:pt x="1027" y="810"/>
                  </a:lnTo>
                  <a:close/>
                  <a:moveTo>
                    <a:pt x="1059" y="810"/>
                  </a:moveTo>
                  <a:lnTo>
                    <a:pt x="1058" y="810"/>
                  </a:lnTo>
                  <a:lnTo>
                    <a:pt x="1059" y="810"/>
                  </a:lnTo>
                  <a:close/>
                  <a:moveTo>
                    <a:pt x="1030" y="810"/>
                  </a:moveTo>
                  <a:lnTo>
                    <a:pt x="1028" y="810"/>
                  </a:lnTo>
                  <a:lnTo>
                    <a:pt x="1030" y="810"/>
                  </a:lnTo>
                  <a:lnTo>
                    <a:pt x="1028" y="810"/>
                  </a:lnTo>
                  <a:lnTo>
                    <a:pt x="1030" y="810"/>
                  </a:lnTo>
                  <a:close/>
                  <a:moveTo>
                    <a:pt x="1059" y="810"/>
                  </a:moveTo>
                  <a:lnTo>
                    <a:pt x="1058" y="810"/>
                  </a:lnTo>
                  <a:lnTo>
                    <a:pt x="1059" y="810"/>
                  </a:lnTo>
                  <a:close/>
                  <a:moveTo>
                    <a:pt x="1058" y="810"/>
                  </a:moveTo>
                  <a:lnTo>
                    <a:pt x="1058" y="809"/>
                  </a:lnTo>
                  <a:lnTo>
                    <a:pt x="1058" y="810"/>
                  </a:lnTo>
                  <a:close/>
                  <a:moveTo>
                    <a:pt x="1059" y="809"/>
                  </a:moveTo>
                  <a:lnTo>
                    <a:pt x="1059" y="810"/>
                  </a:lnTo>
                  <a:lnTo>
                    <a:pt x="1059" y="809"/>
                  </a:lnTo>
                  <a:close/>
                  <a:moveTo>
                    <a:pt x="1058" y="810"/>
                  </a:moveTo>
                  <a:lnTo>
                    <a:pt x="1058" y="809"/>
                  </a:lnTo>
                  <a:lnTo>
                    <a:pt x="1058" y="810"/>
                  </a:lnTo>
                  <a:close/>
                  <a:moveTo>
                    <a:pt x="1058" y="810"/>
                  </a:moveTo>
                  <a:lnTo>
                    <a:pt x="1058" y="809"/>
                  </a:lnTo>
                  <a:lnTo>
                    <a:pt x="1058" y="810"/>
                  </a:lnTo>
                  <a:close/>
                  <a:moveTo>
                    <a:pt x="1061" y="810"/>
                  </a:moveTo>
                  <a:lnTo>
                    <a:pt x="1059" y="810"/>
                  </a:lnTo>
                  <a:lnTo>
                    <a:pt x="1061" y="809"/>
                  </a:lnTo>
                  <a:lnTo>
                    <a:pt x="1061" y="810"/>
                  </a:lnTo>
                  <a:close/>
                  <a:moveTo>
                    <a:pt x="1032" y="809"/>
                  </a:moveTo>
                  <a:lnTo>
                    <a:pt x="1030" y="810"/>
                  </a:lnTo>
                  <a:lnTo>
                    <a:pt x="1030" y="809"/>
                  </a:lnTo>
                  <a:lnTo>
                    <a:pt x="1030" y="810"/>
                  </a:lnTo>
                  <a:lnTo>
                    <a:pt x="1030" y="809"/>
                  </a:lnTo>
                  <a:lnTo>
                    <a:pt x="1032" y="809"/>
                  </a:lnTo>
                  <a:close/>
                  <a:moveTo>
                    <a:pt x="1061" y="809"/>
                  </a:moveTo>
                  <a:lnTo>
                    <a:pt x="1059" y="809"/>
                  </a:lnTo>
                  <a:lnTo>
                    <a:pt x="1061" y="809"/>
                  </a:lnTo>
                  <a:close/>
                  <a:moveTo>
                    <a:pt x="1030" y="810"/>
                  </a:moveTo>
                  <a:lnTo>
                    <a:pt x="1030" y="809"/>
                  </a:lnTo>
                  <a:lnTo>
                    <a:pt x="1030" y="810"/>
                  </a:lnTo>
                  <a:close/>
                  <a:moveTo>
                    <a:pt x="1027" y="809"/>
                  </a:moveTo>
                  <a:lnTo>
                    <a:pt x="1027" y="810"/>
                  </a:lnTo>
                  <a:lnTo>
                    <a:pt x="1027" y="809"/>
                  </a:lnTo>
                  <a:lnTo>
                    <a:pt x="1027" y="810"/>
                  </a:lnTo>
                  <a:lnTo>
                    <a:pt x="1027" y="809"/>
                  </a:lnTo>
                  <a:lnTo>
                    <a:pt x="1025" y="810"/>
                  </a:lnTo>
                  <a:lnTo>
                    <a:pt x="1027" y="809"/>
                  </a:lnTo>
                  <a:close/>
                  <a:moveTo>
                    <a:pt x="1067" y="810"/>
                  </a:moveTo>
                  <a:lnTo>
                    <a:pt x="1067" y="809"/>
                  </a:lnTo>
                  <a:lnTo>
                    <a:pt x="1067" y="810"/>
                  </a:lnTo>
                  <a:close/>
                  <a:moveTo>
                    <a:pt x="1025" y="809"/>
                  </a:moveTo>
                  <a:lnTo>
                    <a:pt x="1025" y="810"/>
                  </a:lnTo>
                  <a:lnTo>
                    <a:pt x="1025" y="809"/>
                  </a:lnTo>
                  <a:close/>
                  <a:moveTo>
                    <a:pt x="1058" y="809"/>
                  </a:moveTo>
                  <a:lnTo>
                    <a:pt x="1056" y="809"/>
                  </a:lnTo>
                  <a:lnTo>
                    <a:pt x="1058" y="809"/>
                  </a:lnTo>
                  <a:close/>
                  <a:moveTo>
                    <a:pt x="1030" y="809"/>
                  </a:moveTo>
                  <a:lnTo>
                    <a:pt x="1032" y="809"/>
                  </a:lnTo>
                  <a:lnTo>
                    <a:pt x="1030" y="809"/>
                  </a:lnTo>
                  <a:close/>
                  <a:moveTo>
                    <a:pt x="1033" y="809"/>
                  </a:moveTo>
                  <a:lnTo>
                    <a:pt x="1033" y="810"/>
                  </a:lnTo>
                  <a:lnTo>
                    <a:pt x="1032" y="810"/>
                  </a:lnTo>
                  <a:lnTo>
                    <a:pt x="1033" y="809"/>
                  </a:lnTo>
                  <a:close/>
                  <a:moveTo>
                    <a:pt x="1030" y="809"/>
                  </a:moveTo>
                  <a:lnTo>
                    <a:pt x="1028" y="809"/>
                  </a:lnTo>
                  <a:lnTo>
                    <a:pt x="1030" y="809"/>
                  </a:lnTo>
                  <a:close/>
                  <a:moveTo>
                    <a:pt x="1035" y="809"/>
                  </a:moveTo>
                  <a:lnTo>
                    <a:pt x="1035" y="807"/>
                  </a:lnTo>
                  <a:lnTo>
                    <a:pt x="1035" y="809"/>
                  </a:lnTo>
                  <a:close/>
                  <a:moveTo>
                    <a:pt x="1033" y="809"/>
                  </a:moveTo>
                  <a:lnTo>
                    <a:pt x="1035" y="807"/>
                  </a:lnTo>
                  <a:lnTo>
                    <a:pt x="1035" y="809"/>
                  </a:lnTo>
                  <a:lnTo>
                    <a:pt x="1033" y="809"/>
                  </a:lnTo>
                  <a:close/>
                  <a:moveTo>
                    <a:pt x="1033" y="809"/>
                  </a:moveTo>
                  <a:lnTo>
                    <a:pt x="1033" y="807"/>
                  </a:lnTo>
                  <a:lnTo>
                    <a:pt x="1033" y="809"/>
                  </a:lnTo>
                  <a:close/>
                  <a:moveTo>
                    <a:pt x="1058" y="807"/>
                  </a:moveTo>
                  <a:lnTo>
                    <a:pt x="1058" y="809"/>
                  </a:lnTo>
                  <a:lnTo>
                    <a:pt x="1058" y="807"/>
                  </a:lnTo>
                  <a:close/>
                  <a:moveTo>
                    <a:pt x="1033" y="807"/>
                  </a:moveTo>
                  <a:lnTo>
                    <a:pt x="1035" y="807"/>
                  </a:lnTo>
                  <a:lnTo>
                    <a:pt x="1033" y="807"/>
                  </a:lnTo>
                  <a:close/>
                  <a:moveTo>
                    <a:pt x="1032" y="809"/>
                  </a:moveTo>
                  <a:lnTo>
                    <a:pt x="1032" y="807"/>
                  </a:lnTo>
                  <a:lnTo>
                    <a:pt x="1032" y="809"/>
                  </a:lnTo>
                  <a:lnTo>
                    <a:pt x="1032" y="810"/>
                  </a:lnTo>
                  <a:lnTo>
                    <a:pt x="1032" y="809"/>
                  </a:lnTo>
                  <a:close/>
                  <a:moveTo>
                    <a:pt x="1084" y="807"/>
                  </a:moveTo>
                  <a:lnTo>
                    <a:pt x="1082" y="807"/>
                  </a:lnTo>
                  <a:lnTo>
                    <a:pt x="1084" y="807"/>
                  </a:lnTo>
                  <a:close/>
                  <a:moveTo>
                    <a:pt x="1041" y="807"/>
                  </a:moveTo>
                  <a:lnTo>
                    <a:pt x="1041" y="805"/>
                  </a:lnTo>
                  <a:lnTo>
                    <a:pt x="1041" y="807"/>
                  </a:lnTo>
                  <a:close/>
                  <a:moveTo>
                    <a:pt x="1061" y="804"/>
                  </a:moveTo>
                  <a:lnTo>
                    <a:pt x="1059" y="804"/>
                  </a:lnTo>
                  <a:lnTo>
                    <a:pt x="1061" y="804"/>
                  </a:lnTo>
                  <a:close/>
                  <a:moveTo>
                    <a:pt x="1059" y="804"/>
                  </a:moveTo>
                  <a:lnTo>
                    <a:pt x="1061" y="804"/>
                  </a:lnTo>
                  <a:lnTo>
                    <a:pt x="1059" y="804"/>
                  </a:lnTo>
                  <a:close/>
                  <a:moveTo>
                    <a:pt x="1046" y="804"/>
                  </a:moveTo>
                  <a:lnTo>
                    <a:pt x="1046" y="802"/>
                  </a:lnTo>
                  <a:lnTo>
                    <a:pt x="1046" y="804"/>
                  </a:lnTo>
                  <a:close/>
                  <a:moveTo>
                    <a:pt x="1046" y="804"/>
                  </a:moveTo>
                  <a:lnTo>
                    <a:pt x="1046" y="802"/>
                  </a:lnTo>
                  <a:lnTo>
                    <a:pt x="1046" y="804"/>
                  </a:lnTo>
                  <a:close/>
                  <a:moveTo>
                    <a:pt x="1061" y="802"/>
                  </a:moveTo>
                  <a:lnTo>
                    <a:pt x="1062" y="802"/>
                  </a:lnTo>
                  <a:lnTo>
                    <a:pt x="1061" y="802"/>
                  </a:lnTo>
                  <a:close/>
                  <a:moveTo>
                    <a:pt x="1051" y="802"/>
                  </a:moveTo>
                  <a:lnTo>
                    <a:pt x="1049" y="802"/>
                  </a:lnTo>
                  <a:lnTo>
                    <a:pt x="1051" y="802"/>
                  </a:lnTo>
                  <a:close/>
                  <a:moveTo>
                    <a:pt x="1077" y="804"/>
                  </a:moveTo>
                  <a:lnTo>
                    <a:pt x="1077" y="802"/>
                  </a:lnTo>
                  <a:lnTo>
                    <a:pt x="1079" y="802"/>
                  </a:lnTo>
                  <a:lnTo>
                    <a:pt x="1080" y="802"/>
                  </a:lnTo>
                  <a:lnTo>
                    <a:pt x="1084" y="802"/>
                  </a:lnTo>
                  <a:lnTo>
                    <a:pt x="1085" y="802"/>
                  </a:lnTo>
                  <a:lnTo>
                    <a:pt x="1084" y="802"/>
                  </a:lnTo>
                  <a:lnTo>
                    <a:pt x="1085" y="802"/>
                  </a:lnTo>
                  <a:lnTo>
                    <a:pt x="1082" y="804"/>
                  </a:lnTo>
                  <a:lnTo>
                    <a:pt x="1080" y="805"/>
                  </a:lnTo>
                  <a:lnTo>
                    <a:pt x="1080" y="807"/>
                  </a:lnTo>
                  <a:lnTo>
                    <a:pt x="1079" y="807"/>
                  </a:lnTo>
                  <a:lnTo>
                    <a:pt x="1077" y="809"/>
                  </a:lnTo>
                  <a:lnTo>
                    <a:pt x="1075" y="810"/>
                  </a:lnTo>
                  <a:lnTo>
                    <a:pt x="1074" y="810"/>
                  </a:lnTo>
                  <a:lnTo>
                    <a:pt x="1072" y="810"/>
                  </a:lnTo>
                  <a:lnTo>
                    <a:pt x="1071" y="810"/>
                  </a:lnTo>
                  <a:lnTo>
                    <a:pt x="1071" y="809"/>
                  </a:lnTo>
                  <a:lnTo>
                    <a:pt x="1072" y="809"/>
                  </a:lnTo>
                  <a:lnTo>
                    <a:pt x="1072" y="807"/>
                  </a:lnTo>
                  <a:lnTo>
                    <a:pt x="1072" y="805"/>
                  </a:lnTo>
                  <a:lnTo>
                    <a:pt x="1074" y="804"/>
                  </a:lnTo>
                  <a:lnTo>
                    <a:pt x="1075" y="804"/>
                  </a:lnTo>
                  <a:lnTo>
                    <a:pt x="1075" y="802"/>
                  </a:lnTo>
                  <a:lnTo>
                    <a:pt x="1075" y="804"/>
                  </a:lnTo>
                  <a:lnTo>
                    <a:pt x="1077" y="804"/>
                  </a:lnTo>
                  <a:close/>
                  <a:moveTo>
                    <a:pt x="1051" y="802"/>
                  </a:moveTo>
                  <a:lnTo>
                    <a:pt x="1053" y="800"/>
                  </a:lnTo>
                  <a:lnTo>
                    <a:pt x="1053" y="802"/>
                  </a:lnTo>
                  <a:lnTo>
                    <a:pt x="1051" y="802"/>
                  </a:lnTo>
                  <a:close/>
                  <a:moveTo>
                    <a:pt x="1053" y="802"/>
                  </a:moveTo>
                  <a:lnTo>
                    <a:pt x="1053" y="800"/>
                  </a:lnTo>
                  <a:lnTo>
                    <a:pt x="1053" y="802"/>
                  </a:lnTo>
                  <a:close/>
                  <a:moveTo>
                    <a:pt x="1046" y="802"/>
                  </a:moveTo>
                  <a:lnTo>
                    <a:pt x="1046" y="800"/>
                  </a:lnTo>
                  <a:lnTo>
                    <a:pt x="1046" y="802"/>
                  </a:lnTo>
                  <a:close/>
                  <a:moveTo>
                    <a:pt x="1051" y="802"/>
                  </a:moveTo>
                  <a:lnTo>
                    <a:pt x="1051" y="800"/>
                  </a:lnTo>
                  <a:lnTo>
                    <a:pt x="1051" y="802"/>
                  </a:lnTo>
                  <a:close/>
                  <a:moveTo>
                    <a:pt x="1040" y="802"/>
                  </a:moveTo>
                  <a:lnTo>
                    <a:pt x="1041" y="800"/>
                  </a:lnTo>
                  <a:lnTo>
                    <a:pt x="1040" y="802"/>
                  </a:lnTo>
                  <a:close/>
                  <a:moveTo>
                    <a:pt x="1046" y="802"/>
                  </a:moveTo>
                  <a:lnTo>
                    <a:pt x="1046" y="800"/>
                  </a:lnTo>
                  <a:lnTo>
                    <a:pt x="1046" y="802"/>
                  </a:lnTo>
                  <a:close/>
                  <a:moveTo>
                    <a:pt x="1051" y="800"/>
                  </a:moveTo>
                  <a:lnTo>
                    <a:pt x="1051" y="802"/>
                  </a:lnTo>
                  <a:lnTo>
                    <a:pt x="1051" y="800"/>
                  </a:lnTo>
                  <a:close/>
                  <a:moveTo>
                    <a:pt x="1053" y="800"/>
                  </a:moveTo>
                  <a:lnTo>
                    <a:pt x="1053" y="802"/>
                  </a:lnTo>
                  <a:lnTo>
                    <a:pt x="1053" y="800"/>
                  </a:lnTo>
                  <a:close/>
                  <a:moveTo>
                    <a:pt x="1045" y="800"/>
                  </a:moveTo>
                  <a:lnTo>
                    <a:pt x="1046" y="800"/>
                  </a:lnTo>
                  <a:lnTo>
                    <a:pt x="1045" y="800"/>
                  </a:lnTo>
                  <a:close/>
                  <a:moveTo>
                    <a:pt x="1064" y="800"/>
                  </a:moveTo>
                  <a:lnTo>
                    <a:pt x="1066" y="800"/>
                  </a:lnTo>
                  <a:lnTo>
                    <a:pt x="1064" y="800"/>
                  </a:lnTo>
                  <a:close/>
                  <a:moveTo>
                    <a:pt x="1045" y="800"/>
                  </a:moveTo>
                  <a:lnTo>
                    <a:pt x="1046" y="800"/>
                  </a:lnTo>
                  <a:lnTo>
                    <a:pt x="1045" y="800"/>
                  </a:lnTo>
                  <a:lnTo>
                    <a:pt x="1045" y="802"/>
                  </a:lnTo>
                  <a:lnTo>
                    <a:pt x="1045" y="800"/>
                  </a:lnTo>
                  <a:close/>
                  <a:moveTo>
                    <a:pt x="1062" y="800"/>
                  </a:moveTo>
                  <a:lnTo>
                    <a:pt x="1064" y="800"/>
                  </a:lnTo>
                  <a:lnTo>
                    <a:pt x="1062" y="800"/>
                  </a:lnTo>
                  <a:close/>
                  <a:moveTo>
                    <a:pt x="1064" y="800"/>
                  </a:moveTo>
                  <a:lnTo>
                    <a:pt x="1064" y="802"/>
                  </a:lnTo>
                  <a:lnTo>
                    <a:pt x="1066" y="802"/>
                  </a:lnTo>
                  <a:lnTo>
                    <a:pt x="1066" y="800"/>
                  </a:lnTo>
                  <a:lnTo>
                    <a:pt x="1066" y="802"/>
                  </a:lnTo>
                  <a:lnTo>
                    <a:pt x="1067" y="802"/>
                  </a:lnTo>
                  <a:lnTo>
                    <a:pt x="1067" y="800"/>
                  </a:lnTo>
                  <a:lnTo>
                    <a:pt x="1067" y="802"/>
                  </a:lnTo>
                  <a:lnTo>
                    <a:pt x="1069" y="802"/>
                  </a:lnTo>
                  <a:lnTo>
                    <a:pt x="1069" y="804"/>
                  </a:lnTo>
                  <a:lnTo>
                    <a:pt x="1069" y="805"/>
                  </a:lnTo>
                  <a:lnTo>
                    <a:pt x="1069" y="807"/>
                  </a:lnTo>
                  <a:lnTo>
                    <a:pt x="1069" y="809"/>
                  </a:lnTo>
                  <a:lnTo>
                    <a:pt x="1067" y="809"/>
                  </a:lnTo>
                  <a:lnTo>
                    <a:pt x="1067" y="810"/>
                  </a:lnTo>
                  <a:lnTo>
                    <a:pt x="1066" y="812"/>
                  </a:lnTo>
                  <a:lnTo>
                    <a:pt x="1064" y="812"/>
                  </a:lnTo>
                  <a:lnTo>
                    <a:pt x="1064" y="814"/>
                  </a:lnTo>
                  <a:lnTo>
                    <a:pt x="1064" y="812"/>
                  </a:lnTo>
                  <a:lnTo>
                    <a:pt x="1064" y="814"/>
                  </a:lnTo>
                  <a:lnTo>
                    <a:pt x="1064" y="812"/>
                  </a:lnTo>
                  <a:lnTo>
                    <a:pt x="1064" y="810"/>
                  </a:lnTo>
                  <a:lnTo>
                    <a:pt x="1066" y="810"/>
                  </a:lnTo>
                  <a:lnTo>
                    <a:pt x="1064" y="810"/>
                  </a:lnTo>
                  <a:lnTo>
                    <a:pt x="1064" y="812"/>
                  </a:lnTo>
                  <a:lnTo>
                    <a:pt x="1062" y="812"/>
                  </a:lnTo>
                  <a:lnTo>
                    <a:pt x="1064" y="814"/>
                  </a:lnTo>
                  <a:lnTo>
                    <a:pt x="1062" y="814"/>
                  </a:lnTo>
                  <a:lnTo>
                    <a:pt x="1062" y="812"/>
                  </a:lnTo>
                  <a:lnTo>
                    <a:pt x="1062" y="814"/>
                  </a:lnTo>
                  <a:lnTo>
                    <a:pt x="1062" y="812"/>
                  </a:lnTo>
                  <a:lnTo>
                    <a:pt x="1061" y="812"/>
                  </a:lnTo>
                  <a:lnTo>
                    <a:pt x="1061" y="810"/>
                  </a:lnTo>
                  <a:lnTo>
                    <a:pt x="1061" y="812"/>
                  </a:lnTo>
                  <a:lnTo>
                    <a:pt x="1061" y="810"/>
                  </a:lnTo>
                  <a:lnTo>
                    <a:pt x="1059" y="810"/>
                  </a:lnTo>
                  <a:lnTo>
                    <a:pt x="1061" y="809"/>
                  </a:lnTo>
                  <a:lnTo>
                    <a:pt x="1059" y="809"/>
                  </a:lnTo>
                  <a:lnTo>
                    <a:pt x="1058" y="809"/>
                  </a:lnTo>
                  <a:lnTo>
                    <a:pt x="1058" y="807"/>
                  </a:lnTo>
                  <a:lnTo>
                    <a:pt x="1059" y="807"/>
                  </a:lnTo>
                  <a:lnTo>
                    <a:pt x="1059" y="805"/>
                  </a:lnTo>
                  <a:lnTo>
                    <a:pt x="1058" y="805"/>
                  </a:lnTo>
                  <a:lnTo>
                    <a:pt x="1059" y="805"/>
                  </a:lnTo>
                  <a:lnTo>
                    <a:pt x="1058" y="805"/>
                  </a:lnTo>
                  <a:lnTo>
                    <a:pt x="1059" y="805"/>
                  </a:lnTo>
                  <a:lnTo>
                    <a:pt x="1059" y="804"/>
                  </a:lnTo>
                  <a:lnTo>
                    <a:pt x="1061" y="804"/>
                  </a:lnTo>
                  <a:lnTo>
                    <a:pt x="1061" y="802"/>
                  </a:lnTo>
                  <a:lnTo>
                    <a:pt x="1062" y="802"/>
                  </a:lnTo>
                  <a:lnTo>
                    <a:pt x="1062" y="800"/>
                  </a:lnTo>
                  <a:lnTo>
                    <a:pt x="1064" y="800"/>
                  </a:lnTo>
                  <a:lnTo>
                    <a:pt x="1064" y="802"/>
                  </a:lnTo>
                  <a:lnTo>
                    <a:pt x="1064" y="800"/>
                  </a:lnTo>
                  <a:close/>
                  <a:moveTo>
                    <a:pt x="1053" y="800"/>
                  </a:moveTo>
                  <a:lnTo>
                    <a:pt x="1051" y="800"/>
                  </a:lnTo>
                  <a:lnTo>
                    <a:pt x="1053" y="800"/>
                  </a:lnTo>
                  <a:close/>
                  <a:moveTo>
                    <a:pt x="1041" y="800"/>
                  </a:moveTo>
                  <a:lnTo>
                    <a:pt x="1041" y="799"/>
                  </a:lnTo>
                  <a:lnTo>
                    <a:pt x="1041" y="800"/>
                  </a:lnTo>
                  <a:close/>
                  <a:moveTo>
                    <a:pt x="1046" y="799"/>
                  </a:moveTo>
                  <a:lnTo>
                    <a:pt x="1045" y="800"/>
                  </a:lnTo>
                  <a:lnTo>
                    <a:pt x="1046" y="799"/>
                  </a:lnTo>
                  <a:close/>
                  <a:moveTo>
                    <a:pt x="1046" y="799"/>
                  </a:moveTo>
                  <a:lnTo>
                    <a:pt x="1048" y="799"/>
                  </a:lnTo>
                  <a:lnTo>
                    <a:pt x="1046" y="800"/>
                  </a:lnTo>
                  <a:lnTo>
                    <a:pt x="1046" y="799"/>
                  </a:lnTo>
                  <a:close/>
                  <a:moveTo>
                    <a:pt x="1046" y="800"/>
                  </a:moveTo>
                  <a:lnTo>
                    <a:pt x="1046" y="799"/>
                  </a:lnTo>
                  <a:lnTo>
                    <a:pt x="1046" y="800"/>
                  </a:lnTo>
                  <a:close/>
                  <a:moveTo>
                    <a:pt x="1053" y="800"/>
                  </a:moveTo>
                  <a:lnTo>
                    <a:pt x="1051" y="800"/>
                  </a:lnTo>
                  <a:lnTo>
                    <a:pt x="1053" y="800"/>
                  </a:lnTo>
                  <a:lnTo>
                    <a:pt x="1053" y="799"/>
                  </a:lnTo>
                  <a:lnTo>
                    <a:pt x="1053" y="800"/>
                  </a:lnTo>
                  <a:close/>
                  <a:moveTo>
                    <a:pt x="1043" y="799"/>
                  </a:moveTo>
                  <a:lnTo>
                    <a:pt x="1045" y="799"/>
                  </a:lnTo>
                  <a:lnTo>
                    <a:pt x="1043" y="799"/>
                  </a:lnTo>
                  <a:close/>
                  <a:moveTo>
                    <a:pt x="1045" y="799"/>
                  </a:moveTo>
                  <a:lnTo>
                    <a:pt x="1046" y="799"/>
                  </a:lnTo>
                  <a:lnTo>
                    <a:pt x="1045" y="799"/>
                  </a:lnTo>
                  <a:close/>
                  <a:moveTo>
                    <a:pt x="1062" y="799"/>
                  </a:moveTo>
                  <a:lnTo>
                    <a:pt x="1064" y="799"/>
                  </a:lnTo>
                  <a:lnTo>
                    <a:pt x="1064" y="800"/>
                  </a:lnTo>
                  <a:lnTo>
                    <a:pt x="1062" y="800"/>
                  </a:lnTo>
                  <a:lnTo>
                    <a:pt x="1062" y="799"/>
                  </a:lnTo>
                  <a:close/>
                  <a:moveTo>
                    <a:pt x="1051" y="799"/>
                  </a:moveTo>
                  <a:lnTo>
                    <a:pt x="1051" y="797"/>
                  </a:lnTo>
                  <a:lnTo>
                    <a:pt x="1051" y="799"/>
                  </a:lnTo>
                  <a:close/>
                  <a:moveTo>
                    <a:pt x="1062" y="797"/>
                  </a:moveTo>
                  <a:lnTo>
                    <a:pt x="1064" y="797"/>
                  </a:lnTo>
                  <a:lnTo>
                    <a:pt x="1064" y="799"/>
                  </a:lnTo>
                  <a:lnTo>
                    <a:pt x="1062" y="797"/>
                  </a:lnTo>
                  <a:close/>
                  <a:moveTo>
                    <a:pt x="1059" y="799"/>
                  </a:moveTo>
                  <a:lnTo>
                    <a:pt x="1059" y="797"/>
                  </a:lnTo>
                  <a:lnTo>
                    <a:pt x="1059" y="799"/>
                  </a:lnTo>
                  <a:close/>
                  <a:moveTo>
                    <a:pt x="1043" y="797"/>
                  </a:moveTo>
                  <a:lnTo>
                    <a:pt x="1043" y="799"/>
                  </a:lnTo>
                  <a:lnTo>
                    <a:pt x="1043" y="797"/>
                  </a:lnTo>
                  <a:close/>
                  <a:moveTo>
                    <a:pt x="1043" y="799"/>
                  </a:moveTo>
                  <a:lnTo>
                    <a:pt x="1043" y="797"/>
                  </a:lnTo>
                  <a:lnTo>
                    <a:pt x="1043" y="799"/>
                  </a:lnTo>
                  <a:lnTo>
                    <a:pt x="1043" y="797"/>
                  </a:lnTo>
                  <a:lnTo>
                    <a:pt x="1043" y="799"/>
                  </a:lnTo>
                  <a:close/>
                  <a:moveTo>
                    <a:pt x="1045" y="799"/>
                  </a:moveTo>
                  <a:lnTo>
                    <a:pt x="1045" y="797"/>
                  </a:lnTo>
                  <a:lnTo>
                    <a:pt x="1046" y="797"/>
                  </a:lnTo>
                  <a:lnTo>
                    <a:pt x="1045" y="799"/>
                  </a:lnTo>
                  <a:close/>
                  <a:moveTo>
                    <a:pt x="1048" y="799"/>
                  </a:moveTo>
                  <a:lnTo>
                    <a:pt x="1048" y="797"/>
                  </a:lnTo>
                  <a:lnTo>
                    <a:pt x="1049" y="797"/>
                  </a:lnTo>
                  <a:lnTo>
                    <a:pt x="1048" y="799"/>
                  </a:lnTo>
                  <a:close/>
                  <a:moveTo>
                    <a:pt x="1043" y="797"/>
                  </a:moveTo>
                  <a:lnTo>
                    <a:pt x="1045" y="797"/>
                  </a:lnTo>
                  <a:lnTo>
                    <a:pt x="1043" y="797"/>
                  </a:lnTo>
                  <a:close/>
                  <a:moveTo>
                    <a:pt x="1045" y="797"/>
                  </a:moveTo>
                  <a:lnTo>
                    <a:pt x="1046" y="797"/>
                  </a:lnTo>
                  <a:lnTo>
                    <a:pt x="1045" y="797"/>
                  </a:lnTo>
                  <a:close/>
                  <a:moveTo>
                    <a:pt x="1056" y="797"/>
                  </a:moveTo>
                  <a:lnTo>
                    <a:pt x="1058" y="797"/>
                  </a:lnTo>
                  <a:lnTo>
                    <a:pt x="1056" y="797"/>
                  </a:lnTo>
                  <a:close/>
                  <a:moveTo>
                    <a:pt x="1049" y="797"/>
                  </a:moveTo>
                  <a:lnTo>
                    <a:pt x="1051" y="797"/>
                  </a:lnTo>
                  <a:lnTo>
                    <a:pt x="1049" y="797"/>
                  </a:lnTo>
                  <a:close/>
                  <a:moveTo>
                    <a:pt x="1056" y="797"/>
                  </a:moveTo>
                  <a:lnTo>
                    <a:pt x="1054" y="797"/>
                  </a:lnTo>
                  <a:lnTo>
                    <a:pt x="1056" y="797"/>
                  </a:lnTo>
                  <a:close/>
                  <a:moveTo>
                    <a:pt x="1048" y="797"/>
                  </a:moveTo>
                  <a:lnTo>
                    <a:pt x="1048" y="796"/>
                  </a:lnTo>
                  <a:lnTo>
                    <a:pt x="1048" y="797"/>
                  </a:lnTo>
                  <a:close/>
                  <a:moveTo>
                    <a:pt x="1053" y="797"/>
                  </a:moveTo>
                  <a:lnTo>
                    <a:pt x="1054" y="796"/>
                  </a:lnTo>
                  <a:lnTo>
                    <a:pt x="1053" y="797"/>
                  </a:lnTo>
                  <a:close/>
                  <a:moveTo>
                    <a:pt x="1046" y="797"/>
                  </a:moveTo>
                  <a:lnTo>
                    <a:pt x="1045" y="797"/>
                  </a:lnTo>
                  <a:lnTo>
                    <a:pt x="1046" y="796"/>
                  </a:lnTo>
                  <a:lnTo>
                    <a:pt x="1046" y="797"/>
                  </a:lnTo>
                  <a:close/>
                  <a:moveTo>
                    <a:pt x="1048" y="796"/>
                  </a:moveTo>
                  <a:lnTo>
                    <a:pt x="1048" y="797"/>
                  </a:lnTo>
                  <a:lnTo>
                    <a:pt x="1048" y="796"/>
                  </a:lnTo>
                  <a:close/>
                  <a:moveTo>
                    <a:pt x="1056" y="796"/>
                  </a:moveTo>
                  <a:lnTo>
                    <a:pt x="1056" y="797"/>
                  </a:lnTo>
                  <a:lnTo>
                    <a:pt x="1056" y="796"/>
                  </a:lnTo>
                  <a:close/>
                  <a:moveTo>
                    <a:pt x="1046" y="796"/>
                  </a:moveTo>
                  <a:lnTo>
                    <a:pt x="1046" y="797"/>
                  </a:lnTo>
                  <a:lnTo>
                    <a:pt x="1046" y="796"/>
                  </a:lnTo>
                  <a:close/>
                  <a:moveTo>
                    <a:pt x="1058" y="797"/>
                  </a:moveTo>
                  <a:lnTo>
                    <a:pt x="1058" y="796"/>
                  </a:lnTo>
                  <a:lnTo>
                    <a:pt x="1058" y="797"/>
                  </a:lnTo>
                  <a:lnTo>
                    <a:pt x="1058" y="796"/>
                  </a:lnTo>
                  <a:lnTo>
                    <a:pt x="1058" y="797"/>
                  </a:lnTo>
                  <a:close/>
                  <a:moveTo>
                    <a:pt x="1051" y="797"/>
                  </a:moveTo>
                  <a:lnTo>
                    <a:pt x="1053" y="796"/>
                  </a:lnTo>
                  <a:lnTo>
                    <a:pt x="1051" y="797"/>
                  </a:lnTo>
                  <a:close/>
                  <a:moveTo>
                    <a:pt x="1058" y="796"/>
                  </a:moveTo>
                  <a:lnTo>
                    <a:pt x="1059" y="796"/>
                  </a:lnTo>
                  <a:lnTo>
                    <a:pt x="1058" y="796"/>
                  </a:lnTo>
                  <a:close/>
                  <a:moveTo>
                    <a:pt x="1054" y="796"/>
                  </a:moveTo>
                  <a:lnTo>
                    <a:pt x="1054" y="797"/>
                  </a:lnTo>
                  <a:lnTo>
                    <a:pt x="1054" y="796"/>
                  </a:lnTo>
                  <a:close/>
                  <a:moveTo>
                    <a:pt x="1040" y="797"/>
                  </a:moveTo>
                  <a:lnTo>
                    <a:pt x="1040" y="796"/>
                  </a:lnTo>
                  <a:lnTo>
                    <a:pt x="1040" y="797"/>
                  </a:lnTo>
                  <a:close/>
                  <a:moveTo>
                    <a:pt x="1045" y="797"/>
                  </a:moveTo>
                  <a:lnTo>
                    <a:pt x="1045" y="796"/>
                  </a:lnTo>
                  <a:lnTo>
                    <a:pt x="1046" y="796"/>
                  </a:lnTo>
                  <a:lnTo>
                    <a:pt x="1045" y="797"/>
                  </a:lnTo>
                  <a:lnTo>
                    <a:pt x="1045" y="796"/>
                  </a:lnTo>
                  <a:lnTo>
                    <a:pt x="1045" y="797"/>
                  </a:lnTo>
                  <a:close/>
                  <a:moveTo>
                    <a:pt x="1051" y="796"/>
                  </a:moveTo>
                  <a:lnTo>
                    <a:pt x="1051" y="797"/>
                  </a:lnTo>
                  <a:lnTo>
                    <a:pt x="1051" y="796"/>
                  </a:lnTo>
                  <a:lnTo>
                    <a:pt x="1053" y="796"/>
                  </a:lnTo>
                  <a:lnTo>
                    <a:pt x="1051" y="796"/>
                  </a:lnTo>
                  <a:close/>
                  <a:moveTo>
                    <a:pt x="1041" y="796"/>
                  </a:moveTo>
                  <a:lnTo>
                    <a:pt x="1040" y="796"/>
                  </a:lnTo>
                  <a:lnTo>
                    <a:pt x="1041" y="796"/>
                  </a:lnTo>
                  <a:close/>
                  <a:moveTo>
                    <a:pt x="1038" y="796"/>
                  </a:moveTo>
                  <a:lnTo>
                    <a:pt x="1036" y="796"/>
                  </a:lnTo>
                  <a:lnTo>
                    <a:pt x="1038" y="796"/>
                  </a:lnTo>
                  <a:lnTo>
                    <a:pt x="1038" y="794"/>
                  </a:lnTo>
                  <a:lnTo>
                    <a:pt x="1038" y="796"/>
                  </a:lnTo>
                  <a:close/>
                  <a:moveTo>
                    <a:pt x="1049" y="796"/>
                  </a:moveTo>
                  <a:lnTo>
                    <a:pt x="1049" y="794"/>
                  </a:lnTo>
                  <a:lnTo>
                    <a:pt x="1049" y="796"/>
                  </a:lnTo>
                  <a:close/>
                  <a:moveTo>
                    <a:pt x="1049" y="796"/>
                  </a:moveTo>
                  <a:lnTo>
                    <a:pt x="1049" y="794"/>
                  </a:lnTo>
                  <a:lnTo>
                    <a:pt x="1049" y="796"/>
                  </a:lnTo>
                  <a:close/>
                  <a:moveTo>
                    <a:pt x="1035" y="794"/>
                  </a:moveTo>
                  <a:lnTo>
                    <a:pt x="1036" y="794"/>
                  </a:lnTo>
                  <a:lnTo>
                    <a:pt x="1035" y="796"/>
                  </a:lnTo>
                  <a:lnTo>
                    <a:pt x="1035" y="794"/>
                  </a:lnTo>
                  <a:close/>
                  <a:moveTo>
                    <a:pt x="1061" y="796"/>
                  </a:moveTo>
                  <a:lnTo>
                    <a:pt x="1061" y="794"/>
                  </a:lnTo>
                  <a:lnTo>
                    <a:pt x="1061" y="796"/>
                  </a:lnTo>
                  <a:close/>
                  <a:moveTo>
                    <a:pt x="1049" y="794"/>
                  </a:moveTo>
                  <a:lnTo>
                    <a:pt x="1051" y="794"/>
                  </a:lnTo>
                  <a:lnTo>
                    <a:pt x="1049" y="794"/>
                  </a:lnTo>
                  <a:close/>
                  <a:moveTo>
                    <a:pt x="1030" y="796"/>
                  </a:moveTo>
                  <a:lnTo>
                    <a:pt x="1030" y="794"/>
                  </a:lnTo>
                  <a:lnTo>
                    <a:pt x="1030" y="796"/>
                  </a:lnTo>
                  <a:close/>
                  <a:moveTo>
                    <a:pt x="1059" y="794"/>
                  </a:moveTo>
                  <a:lnTo>
                    <a:pt x="1059" y="796"/>
                  </a:lnTo>
                  <a:lnTo>
                    <a:pt x="1059" y="794"/>
                  </a:lnTo>
                  <a:close/>
                  <a:moveTo>
                    <a:pt x="1041" y="794"/>
                  </a:moveTo>
                  <a:lnTo>
                    <a:pt x="1043" y="794"/>
                  </a:lnTo>
                  <a:lnTo>
                    <a:pt x="1041" y="794"/>
                  </a:lnTo>
                  <a:lnTo>
                    <a:pt x="1041" y="796"/>
                  </a:lnTo>
                  <a:lnTo>
                    <a:pt x="1041" y="794"/>
                  </a:lnTo>
                  <a:lnTo>
                    <a:pt x="1041" y="796"/>
                  </a:lnTo>
                  <a:lnTo>
                    <a:pt x="1041" y="794"/>
                  </a:lnTo>
                  <a:close/>
                  <a:moveTo>
                    <a:pt x="1058" y="794"/>
                  </a:moveTo>
                  <a:lnTo>
                    <a:pt x="1059" y="794"/>
                  </a:lnTo>
                  <a:lnTo>
                    <a:pt x="1059" y="796"/>
                  </a:lnTo>
                  <a:lnTo>
                    <a:pt x="1059" y="794"/>
                  </a:lnTo>
                  <a:lnTo>
                    <a:pt x="1059" y="796"/>
                  </a:lnTo>
                  <a:lnTo>
                    <a:pt x="1058" y="794"/>
                  </a:lnTo>
                  <a:close/>
                  <a:moveTo>
                    <a:pt x="1046" y="794"/>
                  </a:moveTo>
                  <a:lnTo>
                    <a:pt x="1045" y="794"/>
                  </a:lnTo>
                  <a:lnTo>
                    <a:pt x="1046" y="794"/>
                  </a:lnTo>
                  <a:close/>
                  <a:moveTo>
                    <a:pt x="1043" y="794"/>
                  </a:moveTo>
                  <a:lnTo>
                    <a:pt x="1041" y="794"/>
                  </a:lnTo>
                  <a:lnTo>
                    <a:pt x="1043" y="794"/>
                  </a:lnTo>
                  <a:close/>
                  <a:moveTo>
                    <a:pt x="1041" y="794"/>
                  </a:moveTo>
                  <a:lnTo>
                    <a:pt x="1043" y="794"/>
                  </a:lnTo>
                  <a:lnTo>
                    <a:pt x="1041" y="794"/>
                  </a:lnTo>
                  <a:close/>
                  <a:moveTo>
                    <a:pt x="1045" y="794"/>
                  </a:moveTo>
                  <a:lnTo>
                    <a:pt x="1046" y="794"/>
                  </a:lnTo>
                  <a:lnTo>
                    <a:pt x="1045" y="794"/>
                  </a:lnTo>
                  <a:close/>
                  <a:moveTo>
                    <a:pt x="1043" y="794"/>
                  </a:moveTo>
                  <a:lnTo>
                    <a:pt x="1043" y="792"/>
                  </a:lnTo>
                  <a:lnTo>
                    <a:pt x="1043" y="794"/>
                  </a:lnTo>
                  <a:close/>
                  <a:moveTo>
                    <a:pt x="1038" y="794"/>
                  </a:moveTo>
                  <a:lnTo>
                    <a:pt x="1038" y="792"/>
                  </a:lnTo>
                  <a:lnTo>
                    <a:pt x="1038" y="794"/>
                  </a:lnTo>
                  <a:close/>
                  <a:moveTo>
                    <a:pt x="1043" y="794"/>
                  </a:moveTo>
                  <a:lnTo>
                    <a:pt x="1043" y="792"/>
                  </a:lnTo>
                  <a:lnTo>
                    <a:pt x="1043" y="794"/>
                  </a:lnTo>
                  <a:close/>
                  <a:moveTo>
                    <a:pt x="1062" y="794"/>
                  </a:moveTo>
                  <a:lnTo>
                    <a:pt x="1062" y="792"/>
                  </a:lnTo>
                  <a:lnTo>
                    <a:pt x="1062" y="794"/>
                  </a:lnTo>
                  <a:close/>
                  <a:moveTo>
                    <a:pt x="1033" y="794"/>
                  </a:moveTo>
                  <a:lnTo>
                    <a:pt x="1033" y="792"/>
                  </a:lnTo>
                  <a:lnTo>
                    <a:pt x="1033" y="794"/>
                  </a:lnTo>
                  <a:close/>
                  <a:moveTo>
                    <a:pt x="1045" y="794"/>
                  </a:moveTo>
                  <a:lnTo>
                    <a:pt x="1045" y="792"/>
                  </a:lnTo>
                  <a:lnTo>
                    <a:pt x="1045" y="794"/>
                  </a:lnTo>
                  <a:close/>
                  <a:moveTo>
                    <a:pt x="1069" y="794"/>
                  </a:moveTo>
                  <a:lnTo>
                    <a:pt x="1069" y="792"/>
                  </a:lnTo>
                  <a:lnTo>
                    <a:pt x="1069" y="794"/>
                  </a:lnTo>
                  <a:close/>
                  <a:moveTo>
                    <a:pt x="1062" y="794"/>
                  </a:moveTo>
                  <a:lnTo>
                    <a:pt x="1062" y="792"/>
                  </a:lnTo>
                  <a:lnTo>
                    <a:pt x="1062" y="794"/>
                  </a:lnTo>
                  <a:close/>
                  <a:moveTo>
                    <a:pt x="1046" y="792"/>
                  </a:moveTo>
                  <a:lnTo>
                    <a:pt x="1045" y="794"/>
                  </a:lnTo>
                  <a:lnTo>
                    <a:pt x="1046" y="792"/>
                  </a:lnTo>
                  <a:close/>
                  <a:moveTo>
                    <a:pt x="1053" y="794"/>
                  </a:moveTo>
                  <a:lnTo>
                    <a:pt x="1053" y="796"/>
                  </a:lnTo>
                  <a:lnTo>
                    <a:pt x="1051" y="796"/>
                  </a:lnTo>
                  <a:lnTo>
                    <a:pt x="1049" y="796"/>
                  </a:lnTo>
                  <a:lnTo>
                    <a:pt x="1049" y="797"/>
                  </a:lnTo>
                  <a:lnTo>
                    <a:pt x="1048" y="797"/>
                  </a:lnTo>
                  <a:lnTo>
                    <a:pt x="1048" y="799"/>
                  </a:lnTo>
                  <a:lnTo>
                    <a:pt x="1048" y="797"/>
                  </a:lnTo>
                  <a:lnTo>
                    <a:pt x="1048" y="799"/>
                  </a:lnTo>
                  <a:lnTo>
                    <a:pt x="1048" y="800"/>
                  </a:lnTo>
                  <a:lnTo>
                    <a:pt x="1048" y="799"/>
                  </a:lnTo>
                  <a:lnTo>
                    <a:pt x="1048" y="797"/>
                  </a:lnTo>
                  <a:lnTo>
                    <a:pt x="1049" y="796"/>
                  </a:lnTo>
                  <a:lnTo>
                    <a:pt x="1051" y="796"/>
                  </a:lnTo>
                  <a:lnTo>
                    <a:pt x="1051" y="794"/>
                  </a:lnTo>
                  <a:lnTo>
                    <a:pt x="1053" y="794"/>
                  </a:lnTo>
                  <a:lnTo>
                    <a:pt x="1051" y="794"/>
                  </a:lnTo>
                  <a:lnTo>
                    <a:pt x="1049" y="796"/>
                  </a:lnTo>
                  <a:lnTo>
                    <a:pt x="1048" y="796"/>
                  </a:lnTo>
                  <a:lnTo>
                    <a:pt x="1049" y="796"/>
                  </a:lnTo>
                  <a:lnTo>
                    <a:pt x="1048" y="796"/>
                  </a:lnTo>
                  <a:lnTo>
                    <a:pt x="1049" y="796"/>
                  </a:lnTo>
                  <a:lnTo>
                    <a:pt x="1049" y="794"/>
                  </a:lnTo>
                  <a:lnTo>
                    <a:pt x="1051" y="794"/>
                  </a:lnTo>
                  <a:lnTo>
                    <a:pt x="1051" y="792"/>
                  </a:lnTo>
                  <a:lnTo>
                    <a:pt x="1053" y="792"/>
                  </a:lnTo>
                  <a:lnTo>
                    <a:pt x="1053" y="794"/>
                  </a:lnTo>
                  <a:close/>
                  <a:moveTo>
                    <a:pt x="1056" y="792"/>
                  </a:moveTo>
                  <a:lnTo>
                    <a:pt x="1054" y="792"/>
                  </a:lnTo>
                  <a:lnTo>
                    <a:pt x="1056" y="792"/>
                  </a:lnTo>
                  <a:close/>
                  <a:moveTo>
                    <a:pt x="1046" y="792"/>
                  </a:moveTo>
                  <a:lnTo>
                    <a:pt x="1045" y="792"/>
                  </a:lnTo>
                  <a:lnTo>
                    <a:pt x="1046" y="792"/>
                  </a:lnTo>
                  <a:close/>
                  <a:moveTo>
                    <a:pt x="1067" y="792"/>
                  </a:moveTo>
                  <a:lnTo>
                    <a:pt x="1069" y="792"/>
                  </a:lnTo>
                  <a:lnTo>
                    <a:pt x="1067" y="792"/>
                  </a:lnTo>
                  <a:close/>
                  <a:moveTo>
                    <a:pt x="1045" y="792"/>
                  </a:moveTo>
                  <a:lnTo>
                    <a:pt x="1046" y="792"/>
                  </a:lnTo>
                  <a:lnTo>
                    <a:pt x="1045" y="792"/>
                  </a:lnTo>
                  <a:close/>
                  <a:moveTo>
                    <a:pt x="1051" y="792"/>
                  </a:moveTo>
                  <a:lnTo>
                    <a:pt x="1051" y="791"/>
                  </a:lnTo>
                  <a:lnTo>
                    <a:pt x="1053" y="792"/>
                  </a:lnTo>
                  <a:lnTo>
                    <a:pt x="1051" y="792"/>
                  </a:lnTo>
                  <a:close/>
                  <a:moveTo>
                    <a:pt x="1046" y="792"/>
                  </a:moveTo>
                  <a:lnTo>
                    <a:pt x="1046" y="791"/>
                  </a:lnTo>
                  <a:lnTo>
                    <a:pt x="1048" y="791"/>
                  </a:lnTo>
                  <a:lnTo>
                    <a:pt x="1046" y="792"/>
                  </a:lnTo>
                  <a:close/>
                  <a:moveTo>
                    <a:pt x="1038" y="792"/>
                  </a:moveTo>
                  <a:lnTo>
                    <a:pt x="1038" y="791"/>
                  </a:lnTo>
                  <a:lnTo>
                    <a:pt x="1038" y="792"/>
                  </a:lnTo>
                  <a:close/>
                  <a:moveTo>
                    <a:pt x="1046" y="792"/>
                  </a:moveTo>
                  <a:lnTo>
                    <a:pt x="1046" y="791"/>
                  </a:lnTo>
                  <a:lnTo>
                    <a:pt x="1046" y="792"/>
                  </a:lnTo>
                  <a:close/>
                  <a:moveTo>
                    <a:pt x="1061" y="791"/>
                  </a:moveTo>
                  <a:lnTo>
                    <a:pt x="1061" y="792"/>
                  </a:lnTo>
                  <a:lnTo>
                    <a:pt x="1061" y="791"/>
                  </a:lnTo>
                  <a:close/>
                  <a:moveTo>
                    <a:pt x="1040" y="791"/>
                  </a:moveTo>
                  <a:lnTo>
                    <a:pt x="1041" y="791"/>
                  </a:lnTo>
                  <a:lnTo>
                    <a:pt x="1040" y="791"/>
                  </a:lnTo>
                  <a:close/>
                  <a:moveTo>
                    <a:pt x="1046" y="791"/>
                  </a:moveTo>
                  <a:lnTo>
                    <a:pt x="1046" y="792"/>
                  </a:lnTo>
                  <a:lnTo>
                    <a:pt x="1046" y="791"/>
                  </a:lnTo>
                  <a:close/>
                  <a:moveTo>
                    <a:pt x="1046" y="792"/>
                  </a:moveTo>
                  <a:lnTo>
                    <a:pt x="1048" y="791"/>
                  </a:lnTo>
                  <a:lnTo>
                    <a:pt x="1048" y="792"/>
                  </a:lnTo>
                  <a:lnTo>
                    <a:pt x="1046" y="792"/>
                  </a:lnTo>
                  <a:close/>
                  <a:moveTo>
                    <a:pt x="1054" y="791"/>
                  </a:moveTo>
                  <a:lnTo>
                    <a:pt x="1056" y="791"/>
                  </a:lnTo>
                  <a:lnTo>
                    <a:pt x="1056" y="792"/>
                  </a:lnTo>
                  <a:lnTo>
                    <a:pt x="1054" y="792"/>
                  </a:lnTo>
                  <a:lnTo>
                    <a:pt x="1054" y="791"/>
                  </a:lnTo>
                  <a:lnTo>
                    <a:pt x="1054" y="792"/>
                  </a:lnTo>
                  <a:lnTo>
                    <a:pt x="1056" y="791"/>
                  </a:lnTo>
                  <a:lnTo>
                    <a:pt x="1054" y="791"/>
                  </a:lnTo>
                  <a:close/>
                  <a:moveTo>
                    <a:pt x="1040" y="791"/>
                  </a:moveTo>
                  <a:lnTo>
                    <a:pt x="1041" y="791"/>
                  </a:lnTo>
                  <a:lnTo>
                    <a:pt x="1040" y="791"/>
                  </a:lnTo>
                  <a:close/>
                  <a:moveTo>
                    <a:pt x="1035" y="791"/>
                  </a:moveTo>
                  <a:lnTo>
                    <a:pt x="1036" y="791"/>
                  </a:lnTo>
                  <a:lnTo>
                    <a:pt x="1035" y="791"/>
                  </a:lnTo>
                  <a:lnTo>
                    <a:pt x="1036" y="791"/>
                  </a:lnTo>
                  <a:lnTo>
                    <a:pt x="1038" y="792"/>
                  </a:lnTo>
                  <a:lnTo>
                    <a:pt x="1036" y="792"/>
                  </a:lnTo>
                  <a:lnTo>
                    <a:pt x="1038" y="792"/>
                  </a:lnTo>
                  <a:lnTo>
                    <a:pt x="1036" y="794"/>
                  </a:lnTo>
                  <a:lnTo>
                    <a:pt x="1035" y="794"/>
                  </a:lnTo>
                  <a:lnTo>
                    <a:pt x="1033" y="794"/>
                  </a:lnTo>
                  <a:lnTo>
                    <a:pt x="1033" y="792"/>
                  </a:lnTo>
                  <a:lnTo>
                    <a:pt x="1035" y="792"/>
                  </a:lnTo>
                  <a:lnTo>
                    <a:pt x="1035" y="791"/>
                  </a:lnTo>
                  <a:close/>
                  <a:moveTo>
                    <a:pt x="1046" y="796"/>
                  </a:moveTo>
                  <a:lnTo>
                    <a:pt x="1046" y="794"/>
                  </a:lnTo>
                  <a:lnTo>
                    <a:pt x="1046" y="796"/>
                  </a:lnTo>
                  <a:lnTo>
                    <a:pt x="1046" y="794"/>
                  </a:lnTo>
                  <a:lnTo>
                    <a:pt x="1048" y="794"/>
                  </a:lnTo>
                  <a:lnTo>
                    <a:pt x="1046" y="796"/>
                  </a:lnTo>
                  <a:lnTo>
                    <a:pt x="1046" y="794"/>
                  </a:lnTo>
                  <a:lnTo>
                    <a:pt x="1048" y="794"/>
                  </a:lnTo>
                  <a:lnTo>
                    <a:pt x="1048" y="792"/>
                  </a:lnTo>
                  <a:lnTo>
                    <a:pt x="1048" y="794"/>
                  </a:lnTo>
                  <a:lnTo>
                    <a:pt x="1048" y="792"/>
                  </a:lnTo>
                  <a:lnTo>
                    <a:pt x="1049" y="792"/>
                  </a:lnTo>
                  <a:lnTo>
                    <a:pt x="1049" y="791"/>
                  </a:lnTo>
                  <a:lnTo>
                    <a:pt x="1051" y="791"/>
                  </a:lnTo>
                  <a:lnTo>
                    <a:pt x="1053" y="791"/>
                  </a:lnTo>
                  <a:lnTo>
                    <a:pt x="1051" y="791"/>
                  </a:lnTo>
                  <a:lnTo>
                    <a:pt x="1051" y="792"/>
                  </a:lnTo>
                  <a:lnTo>
                    <a:pt x="1049" y="792"/>
                  </a:lnTo>
                  <a:lnTo>
                    <a:pt x="1051" y="792"/>
                  </a:lnTo>
                  <a:lnTo>
                    <a:pt x="1049" y="792"/>
                  </a:lnTo>
                  <a:lnTo>
                    <a:pt x="1049" y="794"/>
                  </a:lnTo>
                  <a:lnTo>
                    <a:pt x="1051" y="794"/>
                  </a:lnTo>
                  <a:lnTo>
                    <a:pt x="1049" y="794"/>
                  </a:lnTo>
                  <a:lnTo>
                    <a:pt x="1048" y="796"/>
                  </a:lnTo>
                  <a:lnTo>
                    <a:pt x="1046" y="796"/>
                  </a:lnTo>
                  <a:close/>
                  <a:moveTo>
                    <a:pt x="1066" y="791"/>
                  </a:moveTo>
                  <a:lnTo>
                    <a:pt x="1067" y="791"/>
                  </a:lnTo>
                  <a:lnTo>
                    <a:pt x="1069" y="792"/>
                  </a:lnTo>
                  <a:lnTo>
                    <a:pt x="1067" y="792"/>
                  </a:lnTo>
                  <a:lnTo>
                    <a:pt x="1069" y="792"/>
                  </a:lnTo>
                  <a:lnTo>
                    <a:pt x="1067" y="792"/>
                  </a:lnTo>
                  <a:lnTo>
                    <a:pt x="1066" y="792"/>
                  </a:lnTo>
                  <a:lnTo>
                    <a:pt x="1066" y="791"/>
                  </a:lnTo>
                  <a:close/>
                  <a:moveTo>
                    <a:pt x="1053" y="796"/>
                  </a:moveTo>
                  <a:lnTo>
                    <a:pt x="1053" y="794"/>
                  </a:lnTo>
                  <a:lnTo>
                    <a:pt x="1053" y="792"/>
                  </a:lnTo>
                  <a:lnTo>
                    <a:pt x="1053" y="791"/>
                  </a:lnTo>
                  <a:lnTo>
                    <a:pt x="1053" y="792"/>
                  </a:lnTo>
                  <a:lnTo>
                    <a:pt x="1054" y="792"/>
                  </a:lnTo>
                  <a:lnTo>
                    <a:pt x="1053" y="792"/>
                  </a:lnTo>
                  <a:lnTo>
                    <a:pt x="1053" y="794"/>
                  </a:lnTo>
                  <a:lnTo>
                    <a:pt x="1053" y="792"/>
                  </a:lnTo>
                  <a:lnTo>
                    <a:pt x="1053" y="794"/>
                  </a:lnTo>
                  <a:lnTo>
                    <a:pt x="1053" y="796"/>
                  </a:lnTo>
                  <a:close/>
                  <a:moveTo>
                    <a:pt x="1059" y="792"/>
                  </a:moveTo>
                  <a:lnTo>
                    <a:pt x="1059" y="791"/>
                  </a:lnTo>
                  <a:lnTo>
                    <a:pt x="1059" y="789"/>
                  </a:lnTo>
                  <a:lnTo>
                    <a:pt x="1059" y="791"/>
                  </a:lnTo>
                  <a:lnTo>
                    <a:pt x="1061" y="791"/>
                  </a:lnTo>
                  <a:lnTo>
                    <a:pt x="1059" y="792"/>
                  </a:lnTo>
                  <a:close/>
                  <a:moveTo>
                    <a:pt x="1038" y="789"/>
                  </a:moveTo>
                  <a:lnTo>
                    <a:pt x="1038" y="791"/>
                  </a:lnTo>
                  <a:lnTo>
                    <a:pt x="1038" y="789"/>
                  </a:lnTo>
                  <a:close/>
                  <a:moveTo>
                    <a:pt x="1066" y="791"/>
                  </a:moveTo>
                  <a:lnTo>
                    <a:pt x="1066" y="789"/>
                  </a:lnTo>
                  <a:lnTo>
                    <a:pt x="1066" y="791"/>
                  </a:lnTo>
                  <a:close/>
                  <a:moveTo>
                    <a:pt x="1045" y="791"/>
                  </a:moveTo>
                  <a:lnTo>
                    <a:pt x="1045" y="792"/>
                  </a:lnTo>
                  <a:lnTo>
                    <a:pt x="1045" y="791"/>
                  </a:lnTo>
                  <a:lnTo>
                    <a:pt x="1046" y="791"/>
                  </a:lnTo>
                  <a:lnTo>
                    <a:pt x="1046" y="789"/>
                  </a:lnTo>
                  <a:lnTo>
                    <a:pt x="1046" y="791"/>
                  </a:lnTo>
                  <a:lnTo>
                    <a:pt x="1045" y="791"/>
                  </a:lnTo>
                  <a:close/>
                  <a:moveTo>
                    <a:pt x="1067" y="791"/>
                  </a:moveTo>
                  <a:lnTo>
                    <a:pt x="1067" y="789"/>
                  </a:lnTo>
                  <a:lnTo>
                    <a:pt x="1067" y="791"/>
                  </a:lnTo>
                  <a:close/>
                  <a:moveTo>
                    <a:pt x="1038" y="789"/>
                  </a:moveTo>
                  <a:lnTo>
                    <a:pt x="1038" y="791"/>
                  </a:lnTo>
                  <a:lnTo>
                    <a:pt x="1038" y="789"/>
                  </a:lnTo>
                  <a:lnTo>
                    <a:pt x="1038" y="791"/>
                  </a:lnTo>
                  <a:lnTo>
                    <a:pt x="1038" y="789"/>
                  </a:lnTo>
                  <a:close/>
                  <a:moveTo>
                    <a:pt x="1049" y="789"/>
                  </a:moveTo>
                  <a:lnTo>
                    <a:pt x="1049" y="791"/>
                  </a:lnTo>
                  <a:lnTo>
                    <a:pt x="1049" y="789"/>
                  </a:lnTo>
                  <a:lnTo>
                    <a:pt x="1051" y="789"/>
                  </a:lnTo>
                  <a:lnTo>
                    <a:pt x="1051" y="791"/>
                  </a:lnTo>
                  <a:lnTo>
                    <a:pt x="1049" y="791"/>
                  </a:lnTo>
                  <a:lnTo>
                    <a:pt x="1049" y="792"/>
                  </a:lnTo>
                  <a:lnTo>
                    <a:pt x="1048" y="792"/>
                  </a:lnTo>
                  <a:lnTo>
                    <a:pt x="1048" y="791"/>
                  </a:lnTo>
                  <a:lnTo>
                    <a:pt x="1049" y="791"/>
                  </a:lnTo>
                  <a:lnTo>
                    <a:pt x="1049" y="789"/>
                  </a:lnTo>
                  <a:close/>
                  <a:moveTo>
                    <a:pt x="1053" y="791"/>
                  </a:moveTo>
                  <a:lnTo>
                    <a:pt x="1053" y="789"/>
                  </a:lnTo>
                  <a:lnTo>
                    <a:pt x="1053" y="791"/>
                  </a:lnTo>
                  <a:close/>
                  <a:moveTo>
                    <a:pt x="1038" y="789"/>
                  </a:moveTo>
                  <a:lnTo>
                    <a:pt x="1036" y="789"/>
                  </a:lnTo>
                  <a:lnTo>
                    <a:pt x="1038" y="789"/>
                  </a:lnTo>
                  <a:close/>
                  <a:moveTo>
                    <a:pt x="1045" y="789"/>
                  </a:moveTo>
                  <a:lnTo>
                    <a:pt x="1046" y="789"/>
                  </a:lnTo>
                  <a:lnTo>
                    <a:pt x="1045" y="791"/>
                  </a:lnTo>
                  <a:lnTo>
                    <a:pt x="1045" y="789"/>
                  </a:lnTo>
                  <a:close/>
                  <a:moveTo>
                    <a:pt x="1046" y="789"/>
                  </a:moveTo>
                  <a:lnTo>
                    <a:pt x="1046" y="791"/>
                  </a:lnTo>
                  <a:lnTo>
                    <a:pt x="1046" y="789"/>
                  </a:lnTo>
                  <a:close/>
                  <a:moveTo>
                    <a:pt x="1062" y="789"/>
                  </a:moveTo>
                  <a:lnTo>
                    <a:pt x="1062" y="787"/>
                  </a:lnTo>
                  <a:lnTo>
                    <a:pt x="1062" y="789"/>
                  </a:lnTo>
                  <a:close/>
                  <a:moveTo>
                    <a:pt x="1046" y="791"/>
                  </a:moveTo>
                  <a:lnTo>
                    <a:pt x="1048" y="791"/>
                  </a:lnTo>
                  <a:lnTo>
                    <a:pt x="1046" y="791"/>
                  </a:lnTo>
                  <a:lnTo>
                    <a:pt x="1048" y="789"/>
                  </a:lnTo>
                  <a:lnTo>
                    <a:pt x="1046" y="791"/>
                  </a:lnTo>
                  <a:lnTo>
                    <a:pt x="1046" y="789"/>
                  </a:lnTo>
                  <a:lnTo>
                    <a:pt x="1048" y="789"/>
                  </a:lnTo>
                  <a:lnTo>
                    <a:pt x="1048" y="787"/>
                  </a:lnTo>
                  <a:lnTo>
                    <a:pt x="1048" y="789"/>
                  </a:lnTo>
                  <a:lnTo>
                    <a:pt x="1049" y="789"/>
                  </a:lnTo>
                  <a:lnTo>
                    <a:pt x="1049" y="787"/>
                  </a:lnTo>
                  <a:lnTo>
                    <a:pt x="1049" y="789"/>
                  </a:lnTo>
                  <a:lnTo>
                    <a:pt x="1048" y="791"/>
                  </a:lnTo>
                  <a:lnTo>
                    <a:pt x="1046" y="791"/>
                  </a:lnTo>
                  <a:close/>
                  <a:moveTo>
                    <a:pt x="1040" y="789"/>
                  </a:moveTo>
                  <a:lnTo>
                    <a:pt x="1038" y="791"/>
                  </a:lnTo>
                  <a:lnTo>
                    <a:pt x="1038" y="789"/>
                  </a:lnTo>
                  <a:lnTo>
                    <a:pt x="1040" y="787"/>
                  </a:lnTo>
                  <a:lnTo>
                    <a:pt x="1041" y="787"/>
                  </a:lnTo>
                  <a:lnTo>
                    <a:pt x="1040" y="789"/>
                  </a:lnTo>
                  <a:close/>
                  <a:moveTo>
                    <a:pt x="1048" y="787"/>
                  </a:moveTo>
                  <a:lnTo>
                    <a:pt x="1049" y="787"/>
                  </a:lnTo>
                  <a:lnTo>
                    <a:pt x="1048" y="789"/>
                  </a:lnTo>
                  <a:lnTo>
                    <a:pt x="1048" y="787"/>
                  </a:lnTo>
                  <a:close/>
                  <a:moveTo>
                    <a:pt x="1040" y="787"/>
                  </a:moveTo>
                  <a:lnTo>
                    <a:pt x="1041" y="787"/>
                  </a:lnTo>
                  <a:lnTo>
                    <a:pt x="1040" y="787"/>
                  </a:lnTo>
                  <a:close/>
                  <a:moveTo>
                    <a:pt x="1048" y="787"/>
                  </a:moveTo>
                  <a:lnTo>
                    <a:pt x="1048" y="789"/>
                  </a:lnTo>
                  <a:lnTo>
                    <a:pt x="1048" y="787"/>
                  </a:lnTo>
                  <a:close/>
                  <a:moveTo>
                    <a:pt x="1046" y="787"/>
                  </a:moveTo>
                  <a:lnTo>
                    <a:pt x="1048" y="787"/>
                  </a:lnTo>
                  <a:lnTo>
                    <a:pt x="1046" y="787"/>
                  </a:lnTo>
                  <a:lnTo>
                    <a:pt x="1046" y="789"/>
                  </a:lnTo>
                  <a:lnTo>
                    <a:pt x="1046" y="787"/>
                  </a:lnTo>
                  <a:lnTo>
                    <a:pt x="1046" y="789"/>
                  </a:lnTo>
                  <a:lnTo>
                    <a:pt x="1046" y="787"/>
                  </a:lnTo>
                  <a:close/>
                  <a:moveTo>
                    <a:pt x="1035" y="787"/>
                  </a:moveTo>
                  <a:lnTo>
                    <a:pt x="1033" y="787"/>
                  </a:lnTo>
                  <a:lnTo>
                    <a:pt x="1035" y="787"/>
                  </a:lnTo>
                  <a:close/>
                  <a:moveTo>
                    <a:pt x="1062" y="787"/>
                  </a:moveTo>
                  <a:lnTo>
                    <a:pt x="1062" y="786"/>
                  </a:lnTo>
                  <a:lnTo>
                    <a:pt x="1062" y="787"/>
                  </a:lnTo>
                  <a:close/>
                  <a:moveTo>
                    <a:pt x="1040" y="787"/>
                  </a:moveTo>
                  <a:lnTo>
                    <a:pt x="1041" y="787"/>
                  </a:lnTo>
                  <a:lnTo>
                    <a:pt x="1041" y="786"/>
                  </a:lnTo>
                  <a:lnTo>
                    <a:pt x="1041" y="787"/>
                  </a:lnTo>
                  <a:lnTo>
                    <a:pt x="1040" y="787"/>
                  </a:lnTo>
                  <a:close/>
                  <a:moveTo>
                    <a:pt x="1062" y="786"/>
                  </a:moveTo>
                  <a:lnTo>
                    <a:pt x="1062" y="787"/>
                  </a:lnTo>
                  <a:lnTo>
                    <a:pt x="1062" y="786"/>
                  </a:lnTo>
                  <a:close/>
                  <a:moveTo>
                    <a:pt x="1038" y="786"/>
                  </a:moveTo>
                  <a:lnTo>
                    <a:pt x="1038" y="787"/>
                  </a:lnTo>
                  <a:lnTo>
                    <a:pt x="1038" y="786"/>
                  </a:lnTo>
                  <a:close/>
                  <a:moveTo>
                    <a:pt x="1064" y="786"/>
                  </a:moveTo>
                  <a:lnTo>
                    <a:pt x="1066" y="786"/>
                  </a:lnTo>
                  <a:lnTo>
                    <a:pt x="1064" y="786"/>
                  </a:lnTo>
                  <a:close/>
                  <a:moveTo>
                    <a:pt x="1041" y="786"/>
                  </a:moveTo>
                  <a:lnTo>
                    <a:pt x="1043" y="786"/>
                  </a:lnTo>
                  <a:lnTo>
                    <a:pt x="1041" y="786"/>
                  </a:lnTo>
                  <a:close/>
                  <a:moveTo>
                    <a:pt x="1041" y="786"/>
                  </a:moveTo>
                  <a:lnTo>
                    <a:pt x="1040" y="786"/>
                  </a:lnTo>
                  <a:lnTo>
                    <a:pt x="1041" y="786"/>
                  </a:lnTo>
                  <a:close/>
                  <a:moveTo>
                    <a:pt x="1062" y="786"/>
                  </a:moveTo>
                  <a:lnTo>
                    <a:pt x="1064" y="786"/>
                  </a:lnTo>
                  <a:lnTo>
                    <a:pt x="1062" y="786"/>
                  </a:lnTo>
                  <a:lnTo>
                    <a:pt x="1062" y="784"/>
                  </a:lnTo>
                  <a:lnTo>
                    <a:pt x="1064" y="786"/>
                  </a:lnTo>
                  <a:lnTo>
                    <a:pt x="1064" y="787"/>
                  </a:lnTo>
                  <a:lnTo>
                    <a:pt x="1064" y="786"/>
                  </a:lnTo>
                  <a:lnTo>
                    <a:pt x="1062" y="786"/>
                  </a:lnTo>
                  <a:close/>
                  <a:moveTo>
                    <a:pt x="1062" y="784"/>
                  </a:moveTo>
                  <a:lnTo>
                    <a:pt x="1062" y="786"/>
                  </a:lnTo>
                  <a:lnTo>
                    <a:pt x="1062" y="784"/>
                  </a:lnTo>
                  <a:close/>
                  <a:moveTo>
                    <a:pt x="1043" y="784"/>
                  </a:moveTo>
                  <a:lnTo>
                    <a:pt x="1041" y="786"/>
                  </a:lnTo>
                  <a:lnTo>
                    <a:pt x="1043" y="784"/>
                  </a:lnTo>
                  <a:close/>
                  <a:moveTo>
                    <a:pt x="1041" y="786"/>
                  </a:moveTo>
                  <a:lnTo>
                    <a:pt x="1043" y="786"/>
                  </a:lnTo>
                  <a:lnTo>
                    <a:pt x="1043" y="784"/>
                  </a:lnTo>
                  <a:lnTo>
                    <a:pt x="1043" y="786"/>
                  </a:lnTo>
                  <a:lnTo>
                    <a:pt x="1041" y="786"/>
                  </a:lnTo>
                  <a:close/>
                  <a:moveTo>
                    <a:pt x="1062" y="786"/>
                  </a:moveTo>
                  <a:lnTo>
                    <a:pt x="1062" y="784"/>
                  </a:lnTo>
                  <a:lnTo>
                    <a:pt x="1062" y="786"/>
                  </a:lnTo>
                  <a:close/>
                  <a:moveTo>
                    <a:pt x="1041" y="784"/>
                  </a:moveTo>
                  <a:lnTo>
                    <a:pt x="1040" y="786"/>
                  </a:lnTo>
                  <a:lnTo>
                    <a:pt x="1041" y="784"/>
                  </a:lnTo>
                  <a:lnTo>
                    <a:pt x="1043" y="784"/>
                  </a:lnTo>
                  <a:lnTo>
                    <a:pt x="1041" y="784"/>
                  </a:lnTo>
                  <a:close/>
                  <a:moveTo>
                    <a:pt x="1061" y="784"/>
                  </a:moveTo>
                  <a:lnTo>
                    <a:pt x="1061" y="783"/>
                  </a:lnTo>
                  <a:lnTo>
                    <a:pt x="1061" y="784"/>
                  </a:lnTo>
                  <a:lnTo>
                    <a:pt x="1061" y="783"/>
                  </a:lnTo>
                  <a:lnTo>
                    <a:pt x="1061" y="784"/>
                  </a:lnTo>
                  <a:close/>
                  <a:moveTo>
                    <a:pt x="1014" y="784"/>
                  </a:moveTo>
                  <a:lnTo>
                    <a:pt x="1014" y="783"/>
                  </a:lnTo>
                  <a:lnTo>
                    <a:pt x="1014" y="784"/>
                  </a:lnTo>
                  <a:close/>
                  <a:moveTo>
                    <a:pt x="1059" y="783"/>
                  </a:moveTo>
                  <a:lnTo>
                    <a:pt x="1061" y="783"/>
                  </a:lnTo>
                  <a:lnTo>
                    <a:pt x="1059" y="783"/>
                  </a:lnTo>
                  <a:close/>
                  <a:moveTo>
                    <a:pt x="1061" y="784"/>
                  </a:moveTo>
                  <a:lnTo>
                    <a:pt x="1061" y="783"/>
                  </a:lnTo>
                  <a:lnTo>
                    <a:pt x="1061" y="784"/>
                  </a:lnTo>
                  <a:close/>
                  <a:moveTo>
                    <a:pt x="1059" y="781"/>
                  </a:moveTo>
                  <a:lnTo>
                    <a:pt x="1061" y="781"/>
                  </a:lnTo>
                  <a:lnTo>
                    <a:pt x="1061" y="783"/>
                  </a:lnTo>
                  <a:lnTo>
                    <a:pt x="1061" y="781"/>
                  </a:lnTo>
                  <a:lnTo>
                    <a:pt x="1059" y="783"/>
                  </a:lnTo>
                  <a:lnTo>
                    <a:pt x="1061" y="781"/>
                  </a:lnTo>
                  <a:lnTo>
                    <a:pt x="1059" y="783"/>
                  </a:lnTo>
                  <a:lnTo>
                    <a:pt x="1059" y="781"/>
                  </a:lnTo>
                  <a:close/>
                  <a:moveTo>
                    <a:pt x="1075" y="789"/>
                  </a:moveTo>
                  <a:lnTo>
                    <a:pt x="1074" y="789"/>
                  </a:lnTo>
                  <a:lnTo>
                    <a:pt x="1074" y="787"/>
                  </a:lnTo>
                  <a:lnTo>
                    <a:pt x="1074" y="786"/>
                  </a:lnTo>
                  <a:lnTo>
                    <a:pt x="1074" y="784"/>
                  </a:lnTo>
                  <a:lnTo>
                    <a:pt x="1075" y="783"/>
                  </a:lnTo>
                  <a:lnTo>
                    <a:pt x="1077" y="781"/>
                  </a:lnTo>
                  <a:lnTo>
                    <a:pt x="1079" y="781"/>
                  </a:lnTo>
                  <a:lnTo>
                    <a:pt x="1080" y="781"/>
                  </a:lnTo>
                  <a:lnTo>
                    <a:pt x="1080" y="783"/>
                  </a:lnTo>
                  <a:lnTo>
                    <a:pt x="1080" y="784"/>
                  </a:lnTo>
                  <a:lnTo>
                    <a:pt x="1080" y="786"/>
                  </a:lnTo>
                  <a:lnTo>
                    <a:pt x="1079" y="787"/>
                  </a:lnTo>
                  <a:lnTo>
                    <a:pt x="1077" y="787"/>
                  </a:lnTo>
                  <a:lnTo>
                    <a:pt x="1075" y="789"/>
                  </a:lnTo>
                  <a:close/>
                  <a:moveTo>
                    <a:pt x="1062" y="781"/>
                  </a:moveTo>
                  <a:lnTo>
                    <a:pt x="1064" y="781"/>
                  </a:lnTo>
                  <a:lnTo>
                    <a:pt x="1064" y="779"/>
                  </a:lnTo>
                  <a:lnTo>
                    <a:pt x="1064" y="781"/>
                  </a:lnTo>
                  <a:lnTo>
                    <a:pt x="1062" y="781"/>
                  </a:lnTo>
                  <a:close/>
                  <a:moveTo>
                    <a:pt x="1064" y="781"/>
                  </a:moveTo>
                  <a:lnTo>
                    <a:pt x="1064" y="779"/>
                  </a:lnTo>
                  <a:lnTo>
                    <a:pt x="1064" y="781"/>
                  </a:lnTo>
                  <a:close/>
                  <a:moveTo>
                    <a:pt x="1014" y="779"/>
                  </a:moveTo>
                  <a:lnTo>
                    <a:pt x="1015" y="779"/>
                  </a:lnTo>
                  <a:lnTo>
                    <a:pt x="1014" y="779"/>
                  </a:lnTo>
                  <a:close/>
                  <a:moveTo>
                    <a:pt x="1062" y="779"/>
                  </a:moveTo>
                  <a:lnTo>
                    <a:pt x="1064" y="779"/>
                  </a:lnTo>
                  <a:lnTo>
                    <a:pt x="1062" y="779"/>
                  </a:lnTo>
                  <a:close/>
                  <a:moveTo>
                    <a:pt x="1071" y="779"/>
                  </a:moveTo>
                  <a:lnTo>
                    <a:pt x="1069" y="779"/>
                  </a:lnTo>
                  <a:lnTo>
                    <a:pt x="1071" y="779"/>
                  </a:lnTo>
                  <a:close/>
                  <a:moveTo>
                    <a:pt x="1061" y="779"/>
                  </a:moveTo>
                  <a:lnTo>
                    <a:pt x="1059" y="781"/>
                  </a:lnTo>
                  <a:lnTo>
                    <a:pt x="1059" y="779"/>
                  </a:lnTo>
                  <a:lnTo>
                    <a:pt x="1061" y="779"/>
                  </a:lnTo>
                  <a:close/>
                  <a:moveTo>
                    <a:pt x="1053" y="779"/>
                  </a:moveTo>
                  <a:lnTo>
                    <a:pt x="1054" y="779"/>
                  </a:lnTo>
                  <a:lnTo>
                    <a:pt x="1053" y="779"/>
                  </a:lnTo>
                  <a:close/>
                  <a:moveTo>
                    <a:pt x="1014" y="779"/>
                  </a:moveTo>
                  <a:lnTo>
                    <a:pt x="1014" y="778"/>
                  </a:lnTo>
                  <a:lnTo>
                    <a:pt x="1014" y="779"/>
                  </a:lnTo>
                  <a:close/>
                  <a:moveTo>
                    <a:pt x="1014" y="779"/>
                  </a:moveTo>
                  <a:lnTo>
                    <a:pt x="1012" y="779"/>
                  </a:lnTo>
                  <a:lnTo>
                    <a:pt x="1014" y="778"/>
                  </a:lnTo>
                  <a:lnTo>
                    <a:pt x="1014" y="779"/>
                  </a:lnTo>
                  <a:close/>
                  <a:moveTo>
                    <a:pt x="1075" y="779"/>
                  </a:moveTo>
                  <a:lnTo>
                    <a:pt x="1075" y="778"/>
                  </a:lnTo>
                  <a:lnTo>
                    <a:pt x="1075" y="779"/>
                  </a:lnTo>
                  <a:close/>
                  <a:moveTo>
                    <a:pt x="1064" y="783"/>
                  </a:moveTo>
                  <a:lnTo>
                    <a:pt x="1064" y="781"/>
                  </a:lnTo>
                  <a:lnTo>
                    <a:pt x="1064" y="779"/>
                  </a:lnTo>
                  <a:lnTo>
                    <a:pt x="1066" y="778"/>
                  </a:lnTo>
                  <a:lnTo>
                    <a:pt x="1067" y="778"/>
                  </a:lnTo>
                  <a:lnTo>
                    <a:pt x="1069" y="778"/>
                  </a:lnTo>
                  <a:lnTo>
                    <a:pt x="1067" y="779"/>
                  </a:lnTo>
                  <a:lnTo>
                    <a:pt x="1069" y="779"/>
                  </a:lnTo>
                  <a:lnTo>
                    <a:pt x="1069" y="781"/>
                  </a:lnTo>
                  <a:lnTo>
                    <a:pt x="1067" y="779"/>
                  </a:lnTo>
                  <a:lnTo>
                    <a:pt x="1067" y="781"/>
                  </a:lnTo>
                  <a:lnTo>
                    <a:pt x="1067" y="783"/>
                  </a:lnTo>
                  <a:lnTo>
                    <a:pt x="1067" y="784"/>
                  </a:lnTo>
                  <a:lnTo>
                    <a:pt x="1067" y="786"/>
                  </a:lnTo>
                  <a:lnTo>
                    <a:pt x="1067" y="787"/>
                  </a:lnTo>
                  <a:lnTo>
                    <a:pt x="1067" y="786"/>
                  </a:lnTo>
                  <a:lnTo>
                    <a:pt x="1066" y="786"/>
                  </a:lnTo>
                  <a:lnTo>
                    <a:pt x="1067" y="786"/>
                  </a:lnTo>
                  <a:lnTo>
                    <a:pt x="1067" y="787"/>
                  </a:lnTo>
                  <a:lnTo>
                    <a:pt x="1067" y="789"/>
                  </a:lnTo>
                  <a:lnTo>
                    <a:pt x="1066" y="789"/>
                  </a:lnTo>
                  <a:lnTo>
                    <a:pt x="1064" y="791"/>
                  </a:lnTo>
                  <a:lnTo>
                    <a:pt x="1064" y="789"/>
                  </a:lnTo>
                  <a:lnTo>
                    <a:pt x="1064" y="791"/>
                  </a:lnTo>
                  <a:lnTo>
                    <a:pt x="1064" y="789"/>
                  </a:lnTo>
                  <a:lnTo>
                    <a:pt x="1062" y="789"/>
                  </a:lnTo>
                  <a:lnTo>
                    <a:pt x="1064" y="787"/>
                  </a:lnTo>
                  <a:lnTo>
                    <a:pt x="1062" y="789"/>
                  </a:lnTo>
                  <a:lnTo>
                    <a:pt x="1062" y="787"/>
                  </a:lnTo>
                  <a:lnTo>
                    <a:pt x="1062" y="789"/>
                  </a:lnTo>
                  <a:lnTo>
                    <a:pt x="1062" y="787"/>
                  </a:lnTo>
                  <a:lnTo>
                    <a:pt x="1064" y="787"/>
                  </a:lnTo>
                  <a:lnTo>
                    <a:pt x="1064" y="786"/>
                  </a:lnTo>
                  <a:lnTo>
                    <a:pt x="1066" y="786"/>
                  </a:lnTo>
                  <a:lnTo>
                    <a:pt x="1066" y="784"/>
                  </a:lnTo>
                  <a:lnTo>
                    <a:pt x="1064" y="784"/>
                  </a:lnTo>
                  <a:lnTo>
                    <a:pt x="1064" y="783"/>
                  </a:lnTo>
                  <a:close/>
                  <a:moveTo>
                    <a:pt x="1056" y="778"/>
                  </a:moveTo>
                  <a:lnTo>
                    <a:pt x="1056" y="776"/>
                  </a:lnTo>
                  <a:lnTo>
                    <a:pt x="1056" y="778"/>
                  </a:lnTo>
                  <a:close/>
                  <a:moveTo>
                    <a:pt x="1015" y="778"/>
                  </a:moveTo>
                  <a:lnTo>
                    <a:pt x="1015" y="776"/>
                  </a:lnTo>
                  <a:lnTo>
                    <a:pt x="1015" y="778"/>
                  </a:lnTo>
                  <a:close/>
                  <a:moveTo>
                    <a:pt x="1075" y="776"/>
                  </a:moveTo>
                  <a:lnTo>
                    <a:pt x="1074" y="776"/>
                  </a:lnTo>
                  <a:lnTo>
                    <a:pt x="1075" y="776"/>
                  </a:lnTo>
                  <a:close/>
                  <a:moveTo>
                    <a:pt x="1058" y="776"/>
                  </a:moveTo>
                  <a:lnTo>
                    <a:pt x="1058" y="778"/>
                  </a:lnTo>
                  <a:lnTo>
                    <a:pt x="1058" y="776"/>
                  </a:lnTo>
                  <a:close/>
                  <a:moveTo>
                    <a:pt x="1072" y="778"/>
                  </a:moveTo>
                  <a:lnTo>
                    <a:pt x="1072" y="779"/>
                  </a:lnTo>
                  <a:lnTo>
                    <a:pt x="1071" y="781"/>
                  </a:lnTo>
                  <a:lnTo>
                    <a:pt x="1071" y="783"/>
                  </a:lnTo>
                  <a:lnTo>
                    <a:pt x="1071" y="784"/>
                  </a:lnTo>
                  <a:lnTo>
                    <a:pt x="1071" y="786"/>
                  </a:lnTo>
                  <a:lnTo>
                    <a:pt x="1071" y="787"/>
                  </a:lnTo>
                  <a:lnTo>
                    <a:pt x="1069" y="787"/>
                  </a:lnTo>
                  <a:lnTo>
                    <a:pt x="1069" y="786"/>
                  </a:lnTo>
                  <a:lnTo>
                    <a:pt x="1069" y="784"/>
                  </a:lnTo>
                  <a:lnTo>
                    <a:pt x="1067" y="784"/>
                  </a:lnTo>
                  <a:lnTo>
                    <a:pt x="1067" y="783"/>
                  </a:lnTo>
                  <a:lnTo>
                    <a:pt x="1069" y="783"/>
                  </a:lnTo>
                  <a:lnTo>
                    <a:pt x="1067" y="783"/>
                  </a:lnTo>
                  <a:lnTo>
                    <a:pt x="1067" y="781"/>
                  </a:lnTo>
                  <a:lnTo>
                    <a:pt x="1069" y="781"/>
                  </a:lnTo>
                  <a:lnTo>
                    <a:pt x="1069" y="783"/>
                  </a:lnTo>
                  <a:lnTo>
                    <a:pt x="1069" y="781"/>
                  </a:lnTo>
                  <a:lnTo>
                    <a:pt x="1069" y="783"/>
                  </a:lnTo>
                  <a:lnTo>
                    <a:pt x="1069" y="781"/>
                  </a:lnTo>
                  <a:lnTo>
                    <a:pt x="1071" y="779"/>
                  </a:lnTo>
                  <a:lnTo>
                    <a:pt x="1069" y="778"/>
                  </a:lnTo>
                  <a:lnTo>
                    <a:pt x="1071" y="778"/>
                  </a:lnTo>
                  <a:lnTo>
                    <a:pt x="1071" y="776"/>
                  </a:lnTo>
                  <a:lnTo>
                    <a:pt x="1072" y="776"/>
                  </a:lnTo>
                  <a:lnTo>
                    <a:pt x="1072" y="778"/>
                  </a:lnTo>
                  <a:close/>
                  <a:moveTo>
                    <a:pt x="1015" y="776"/>
                  </a:moveTo>
                  <a:lnTo>
                    <a:pt x="1014" y="776"/>
                  </a:lnTo>
                  <a:lnTo>
                    <a:pt x="1015" y="776"/>
                  </a:lnTo>
                  <a:close/>
                  <a:moveTo>
                    <a:pt x="1020" y="776"/>
                  </a:moveTo>
                  <a:lnTo>
                    <a:pt x="1019" y="776"/>
                  </a:lnTo>
                  <a:lnTo>
                    <a:pt x="1020" y="776"/>
                  </a:lnTo>
                  <a:close/>
                  <a:moveTo>
                    <a:pt x="1019" y="776"/>
                  </a:moveTo>
                  <a:lnTo>
                    <a:pt x="1020" y="776"/>
                  </a:lnTo>
                  <a:lnTo>
                    <a:pt x="1019" y="776"/>
                  </a:lnTo>
                  <a:close/>
                  <a:moveTo>
                    <a:pt x="1017" y="776"/>
                  </a:moveTo>
                  <a:lnTo>
                    <a:pt x="1019" y="776"/>
                  </a:lnTo>
                  <a:lnTo>
                    <a:pt x="1017" y="776"/>
                  </a:lnTo>
                  <a:close/>
                  <a:moveTo>
                    <a:pt x="1074" y="776"/>
                  </a:moveTo>
                  <a:lnTo>
                    <a:pt x="1075" y="776"/>
                  </a:lnTo>
                  <a:lnTo>
                    <a:pt x="1074" y="776"/>
                  </a:lnTo>
                  <a:close/>
                  <a:moveTo>
                    <a:pt x="1020" y="776"/>
                  </a:moveTo>
                  <a:lnTo>
                    <a:pt x="1020" y="774"/>
                  </a:lnTo>
                  <a:lnTo>
                    <a:pt x="1020" y="776"/>
                  </a:lnTo>
                  <a:close/>
                  <a:moveTo>
                    <a:pt x="1056" y="776"/>
                  </a:moveTo>
                  <a:lnTo>
                    <a:pt x="1056" y="774"/>
                  </a:lnTo>
                  <a:lnTo>
                    <a:pt x="1056" y="776"/>
                  </a:lnTo>
                  <a:close/>
                  <a:moveTo>
                    <a:pt x="1064" y="776"/>
                  </a:moveTo>
                  <a:lnTo>
                    <a:pt x="1064" y="774"/>
                  </a:lnTo>
                  <a:lnTo>
                    <a:pt x="1064" y="776"/>
                  </a:lnTo>
                  <a:close/>
                  <a:moveTo>
                    <a:pt x="1058" y="776"/>
                  </a:moveTo>
                  <a:lnTo>
                    <a:pt x="1058" y="774"/>
                  </a:lnTo>
                  <a:lnTo>
                    <a:pt x="1058" y="776"/>
                  </a:lnTo>
                  <a:close/>
                  <a:moveTo>
                    <a:pt x="1056" y="776"/>
                  </a:moveTo>
                  <a:lnTo>
                    <a:pt x="1056" y="774"/>
                  </a:lnTo>
                  <a:lnTo>
                    <a:pt x="1056" y="776"/>
                  </a:lnTo>
                  <a:close/>
                  <a:moveTo>
                    <a:pt x="1064" y="776"/>
                  </a:moveTo>
                  <a:lnTo>
                    <a:pt x="1066" y="774"/>
                  </a:lnTo>
                  <a:lnTo>
                    <a:pt x="1064" y="776"/>
                  </a:lnTo>
                  <a:close/>
                  <a:moveTo>
                    <a:pt x="1071" y="774"/>
                  </a:moveTo>
                  <a:lnTo>
                    <a:pt x="1071" y="776"/>
                  </a:lnTo>
                  <a:lnTo>
                    <a:pt x="1071" y="774"/>
                  </a:lnTo>
                  <a:close/>
                  <a:moveTo>
                    <a:pt x="1066" y="776"/>
                  </a:moveTo>
                  <a:lnTo>
                    <a:pt x="1066" y="774"/>
                  </a:lnTo>
                  <a:lnTo>
                    <a:pt x="1066" y="776"/>
                  </a:lnTo>
                  <a:close/>
                  <a:moveTo>
                    <a:pt x="1064" y="776"/>
                  </a:moveTo>
                  <a:lnTo>
                    <a:pt x="1064" y="774"/>
                  </a:lnTo>
                  <a:lnTo>
                    <a:pt x="1066" y="774"/>
                  </a:lnTo>
                  <a:lnTo>
                    <a:pt x="1064" y="776"/>
                  </a:lnTo>
                  <a:close/>
                  <a:moveTo>
                    <a:pt x="1056" y="774"/>
                  </a:moveTo>
                  <a:lnTo>
                    <a:pt x="1058" y="774"/>
                  </a:lnTo>
                  <a:lnTo>
                    <a:pt x="1056" y="774"/>
                  </a:lnTo>
                  <a:close/>
                  <a:moveTo>
                    <a:pt x="1067" y="774"/>
                  </a:moveTo>
                  <a:lnTo>
                    <a:pt x="1069" y="774"/>
                  </a:lnTo>
                  <a:lnTo>
                    <a:pt x="1067" y="774"/>
                  </a:lnTo>
                  <a:close/>
                  <a:moveTo>
                    <a:pt x="1058" y="774"/>
                  </a:moveTo>
                  <a:lnTo>
                    <a:pt x="1059" y="774"/>
                  </a:lnTo>
                  <a:lnTo>
                    <a:pt x="1058" y="774"/>
                  </a:lnTo>
                  <a:close/>
                  <a:moveTo>
                    <a:pt x="1022" y="774"/>
                  </a:moveTo>
                  <a:lnTo>
                    <a:pt x="1022" y="776"/>
                  </a:lnTo>
                  <a:lnTo>
                    <a:pt x="1022" y="774"/>
                  </a:lnTo>
                  <a:lnTo>
                    <a:pt x="1020" y="776"/>
                  </a:lnTo>
                  <a:lnTo>
                    <a:pt x="1020" y="774"/>
                  </a:lnTo>
                  <a:lnTo>
                    <a:pt x="1022" y="774"/>
                  </a:lnTo>
                  <a:close/>
                  <a:moveTo>
                    <a:pt x="1077" y="774"/>
                  </a:moveTo>
                  <a:lnTo>
                    <a:pt x="1079" y="774"/>
                  </a:lnTo>
                  <a:lnTo>
                    <a:pt x="1077" y="774"/>
                  </a:lnTo>
                  <a:close/>
                  <a:moveTo>
                    <a:pt x="1022" y="774"/>
                  </a:moveTo>
                  <a:lnTo>
                    <a:pt x="1023" y="774"/>
                  </a:lnTo>
                  <a:lnTo>
                    <a:pt x="1022" y="774"/>
                  </a:lnTo>
                  <a:close/>
                  <a:moveTo>
                    <a:pt x="1022" y="774"/>
                  </a:moveTo>
                  <a:lnTo>
                    <a:pt x="1022" y="773"/>
                  </a:lnTo>
                  <a:lnTo>
                    <a:pt x="1022" y="774"/>
                  </a:lnTo>
                  <a:close/>
                  <a:moveTo>
                    <a:pt x="1058" y="774"/>
                  </a:moveTo>
                  <a:lnTo>
                    <a:pt x="1059" y="773"/>
                  </a:lnTo>
                  <a:lnTo>
                    <a:pt x="1058" y="774"/>
                  </a:lnTo>
                  <a:close/>
                  <a:moveTo>
                    <a:pt x="1058" y="774"/>
                  </a:moveTo>
                  <a:lnTo>
                    <a:pt x="1058" y="773"/>
                  </a:lnTo>
                  <a:lnTo>
                    <a:pt x="1058" y="774"/>
                  </a:lnTo>
                  <a:close/>
                  <a:moveTo>
                    <a:pt x="1022" y="774"/>
                  </a:moveTo>
                  <a:lnTo>
                    <a:pt x="1022" y="773"/>
                  </a:lnTo>
                  <a:lnTo>
                    <a:pt x="1023" y="773"/>
                  </a:lnTo>
                  <a:lnTo>
                    <a:pt x="1022" y="774"/>
                  </a:lnTo>
                  <a:close/>
                  <a:moveTo>
                    <a:pt x="1066" y="774"/>
                  </a:moveTo>
                  <a:lnTo>
                    <a:pt x="1066" y="773"/>
                  </a:lnTo>
                  <a:lnTo>
                    <a:pt x="1066" y="774"/>
                  </a:lnTo>
                  <a:lnTo>
                    <a:pt x="1064" y="774"/>
                  </a:lnTo>
                  <a:lnTo>
                    <a:pt x="1066" y="774"/>
                  </a:lnTo>
                  <a:close/>
                  <a:moveTo>
                    <a:pt x="1022" y="774"/>
                  </a:moveTo>
                  <a:lnTo>
                    <a:pt x="1022" y="773"/>
                  </a:lnTo>
                  <a:lnTo>
                    <a:pt x="1022" y="774"/>
                  </a:lnTo>
                  <a:close/>
                  <a:moveTo>
                    <a:pt x="1069" y="773"/>
                  </a:moveTo>
                  <a:lnTo>
                    <a:pt x="1071" y="773"/>
                  </a:lnTo>
                  <a:lnTo>
                    <a:pt x="1071" y="774"/>
                  </a:lnTo>
                  <a:lnTo>
                    <a:pt x="1069" y="774"/>
                  </a:lnTo>
                  <a:lnTo>
                    <a:pt x="1069" y="773"/>
                  </a:lnTo>
                  <a:close/>
                  <a:moveTo>
                    <a:pt x="1067" y="774"/>
                  </a:moveTo>
                  <a:lnTo>
                    <a:pt x="1066" y="774"/>
                  </a:lnTo>
                  <a:lnTo>
                    <a:pt x="1067" y="774"/>
                  </a:lnTo>
                  <a:lnTo>
                    <a:pt x="1066" y="774"/>
                  </a:lnTo>
                  <a:lnTo>
                    <a:pt x="1066" y="776"/>
                  </a:lnTo>
                  <a:lnTo>
                    <a:pt x="1066" y="774"/>
                  </a:lnTo>
                  <a:lnTo>
                    <a:pt x="1066" y="773"/>
                  </a:lnTo>
                  <a:lnTo>
                    <a:pt x="1067" y="773"/>
                  </a:lnTo>
                  <a:lnTo>
                    <a:pt x="1069" y="773"/>
                  </a:lnTo>
                  <a:lnTo>
                    <a:pt x="1067" y="774"/>
                  </a:lnTo>
                  <a:close/>
                  <a:moveTo>
                    <a:pt x="1022" y="773"/>
                  </a:moveTo>
                  <a:lnTo>
                    <a:pt x="1023" y="773"/>
                  </a:lnTo>
                  <a:lnTo>
                    <a:pt x="1022" y="773"/>
                  </a:lnTo>
                  <a:close/>
                  <a:moveTo>
                    <a:pt x="1067" y="773"/>
                  </a:moveTo>
                  <a:lnTo>
                    <a:pt x="1066" y="773"/>
                  </a:lnTo>
                  <a:lnTo>
                    <a:pt x="1067" y="773"/>
                  </a:lnTo>
                  <a:close/>
                  <a:moveTo>
                    <a:pt x="1020" y="773"/>
                  </a:moveTo>
                  <a:lnTo>
                    <a:pt x="1022" y="773"/>
                  </a:lnTo>
                  <a:lnTo>
                    <a:pt x="1020" y="774"/>
                  </a:lnTo>
                  <a:lnTo>
                    <a:pt x="1020" y="776"/>
                  </a:lnTo>
                  <a:lnTo>
                    <a:pt x="1019" y="776"/>
                  </a:lnTo>
                  <a:lnTo>
                    <a:pt x="1019" y="774"/>
                  </a:lnTo>
                  <a:lnTo>
                    <a:pt x="1020" y="774"/>
                  </a:lnTo>
                  <a:lnTo>
                    <a:pt x="1020" y="773"/>
                  </a:lnTo>
                  <a:close/>
                  <a:moveTo>
                    <a:pt x="1066" y="773"/>
                  </a:moveTo>
                  <a:lnTo>
                    <a:pt x="1067" y="773"/>
                  </a:lnTo>
                  <a:lnTo>
                    <a:pt x="1066" y="773"/>
                  </a:lnTo>
                  <a:close/>
                  <a:moveTo>
                    <a:pt x="1022" y="773"/>
                  </a:moveTo>
                  <a:lnTo>
                    <a:pt x="1023" y="773"/>
                  </a:lnTo>
                  <a:lnTo>
                    <a:pt x="1022" y="773"/>
                  </a:lnTo>
                  <a:close/>
                  <a:moveTo>
                    <a:pt x="1023" y="771"/>
                  </a:moveTo>
                  <a:lnTo>
                    <a:pt x="1023" y="773"/>
                  </a:lnTo>
                  <a:lnTo>
                    <a:pt x="1023" y="771"/>
                  </a:lnTo>
                  <a:close/>
                  <a:moveTo>
                    <a:pt x="1017" y="771"/>
                  </a:moveTo>
                  <a:lnTo>
                    <a:pt x="1019" y="771"/>
                  </a:lnTo>
                  <a:lnTo>
                    <a:pt x="1019" y="773"/>
                  </a:lnTo>
                  <a:lnTo>
                    <a:pt x="1017" y="774"/>
                  </a:lnTo>
                  <a:lnTo>
                    <a:pt x="1017" y="773"/>
                  </a:lnTo>
                  <a:lnTo>
                    <a:pt x="1015" y="773"/>
                  </a:lnTo>
                  <a:lnTo>
                    <a:pt x="1017" y="773"/>
                  </a:lnTo>
                  <a:lnTo>
                    <a:pt x="1017" y="771"/>
                  </a:lnTo>
                  <a:close/>
                  <a:moveTo>
                    <a:pt x="1019" y="771"/>
                  </a:moveTo>
                  <a:lnTo>
                    <a:pt x="1019" y="770"/>
                  </a:lnTo>
                  <a:lnTo>
                    <a:pt x="1019" y="771"/>
                  </a:lnTo>
                  <a:lnTo>
                    <a:pt x="1019" y="770"/>
                  </a:lnTo>
                  <a:lnTo>
                    <a:pt x="1020" y="770"/>
                  </a:lnTo>
                  <a:lnTo>
                    <a:pt x="1019" y="771"/>
                  </a:lnTo>
                  <a:lnTo>
                    <a:pt x="1019" y="770"/>
                  </a:lnTo>
                  <a:lnTo>
                    <a:pt x="1019" y="771"/>
                  </a:lnTo>
                  <a:close/>
                  <a:moveTo>
                    <a:pt x="1067" y="771"/>
                  </a:moveTo>
                  <a:lnTo>
                    <a:pt x="1067" y="770"/>
                  </a:lnTo>
                  <a:lnTo>
                    <a:pt x="1067" y="771"/>
                  </a:lnTo>
                  <a:close/>
                  <a:moveTo>
                    <a:pt x="1019" y="770"/>
                  </a:moveTo>
                  <a:lnTo>
                    <a:pt x="1019" y="771"/>
                  </a:lnTo>
                  <a:lnTo>
                    <a:pt x="1019" y="770"/>
                  </a:lnTo>
                  <a:close/>
                  <a:moveTo>
                    <a:pt x="1023" y="770"/>
                  </a:moveTo>
                  <a:lnTo>
                    <a:pt x="1022" y="770"/>
                  </a:lnTo>
                  <a:lnTo>
                    <a:pt x="1023" y="770"/>
                  </a:lnTo>
                  <a:close/>
                  <a:moveTo>
                    <a:pt x="1023" y="771"/>
                  </a:moveTo>
                  <a:lnTo>
                    <a:pt x="1023" y="770"/>
                  </a:lnTo>
                  <a:lnTo>
                    <a:pt x="1023" y="771"/>
                  </a:lnTo>
                  <a:close/>
                  <a:moveTo>
                    <a:pt x="1019" y="770"/>
                  </a:moveTo>
                  <a:lnTo>
                    <a:pt x="1017" y="770"/>
                  </a:lnTo>
                  <a:lnTo>
                    <a:pt x="1019" y="770"/>
                  </a:lnTo>
                  <a:close/>
                  <a:moveTo>
                    <a:pt x="1064" y="771"/>
                  </a:moveTo>
                  <a:lnTo>
                    <a:pt x="1064" y="770"/>
                  </a:lnTo>
                  <a:lnTo>
                    <a:pt x="1064" y="771"/>
                  </a:lnTo>
                  <a:close/>
                  <a:moveTo>
                    <a:pt x="1015" y="770"/>
                  </a:moveTo>
                  <a:lnTo>
                    <a:pt x="1017" y="770"/>
                  </a:lnTo>
                  <a:lnTo>
                    <a:pt x="1015" y="770"/>
                  </a:lnTo>
                  <a:close/>
                  <a:moveTo>
                    <a:pt x="1023" y="770"/>
                  </a:moveTo>
                  <a:lnTo>
                    <a:pt x="1025" y="770"/>
                  </a:lnTo>
                  <a:lnTo>
                    <a:pt x="1025" y="771"/>
                  </a:lnTo>
                  <a:lnTo>
                    <a:pt x="1023" y="771"/>
                  </a:lnTo>
                  <a:lnTo>
                    <a:pt x="1023" y="770"/>
                  </a:lnTo>
                  <a:close/>
                  <a:moveTo>
                    <a:pt x="1064" y="770"/>
                  </a:moveTo>
                  <a:lnTo>
                    <a:pt x="1062" y="770"/>
                  </a:lnTo>
                  <a:lnTo>
                    <a:pt x="1064" y="770"/>
                  </a:lnTo>
                  <a:close/>
                  <a:moveTo>
                    <a:pt x="1019" y="770"/>
                  </a:moveTo>
                  <a:lnTo>
                    <a:pt x="1017" y="770"/>
                  </a:lnTo>
                  <a:lnTo>
                    <a:pt x="1015" y="770"/>
                  </a:lnTo>
                  <a:lnTo>
                    <a:pt x="1017" y="770"/>
                  </a:lnTo>
                  <a:lnTo>
                    <a:pt x="1019" y="770"/>
                  </a:lnTo>
                  <a:close/>
                  <a:moveTo>
                    <a:pt x="1017" y="770"/>
                  </a:moveTo>
                  <a:lnTo>
                    <a:pt x="1015" y="770"/>
                  </a:lnTo>
                  <a:lnTo>
                    <a:pt x="1017" y="770"/>
                  </a:lnTo>
                  <a:close/>
                  <a:moveTo>
                    <a:pt x="1054" y="770"/>
                  </a:moveTo>
                  <a:lnTo>
                    <a:pt x="1054" y="768"/>
                  </a:lnTo>
                  <a:lnTo>
                    <a:pt x="1054" y="770"/>
                  </a:lnTo>
                  <a:close/>
                  <a:moveTo>
                    <a:pt x="1025" y="768"/>
                  </a:moveTo>
                  <a:lnTo>
                    <a:pt x="1025" y="770"/>
                  </a:lnTo>
                  <a:lnTo>
                    <a:pt x="1025" y="768"/>
                  </a:lnTo>
                  <a:close/>
                  <a:moveTo>
                    <a:pt x="1025" y="770"/>
                  </a:moveTo>
                  <a:lnTo>
                    <a:pt x="1025" y="768"/>
                  </a:lnTo>
                  <a:lnTo>
                    <a:pt x="1025" y="770"/>
                  </a:lnTo>
                  <a:close/>
                  <a:moveTo>
                    <a:pt x="1019" y="768"/>
                  </a:moveTo>
                  <a:lnTo>
                    <a:pt x="1017" y="768"/>
                  </a:lnTo>
                  <a:lnTo>
                    <a:pt x="1019" y="768"/>
                  </a:lnTo>
                  <a:close/>
                  <a:moveTo>
                    <a:pt x="1054" y="770"/>
                  </a:moveTo>
                  <a:lnTo>
                    <a:pt x="1054" y="768"/>
                  </a:lnTo>
                  <a:lnTo>
                    <a:pt x="1054" y="770"/>
                  </a:lnTo>
                  <a:lnTo>
                    <a:pt x="1054" y="768"/>
                  </a:lnTo>
                  <a:lnTo>
                    <a:pt x="1054" y="770"/>
                  </a:lnTo>
                  <a:close/>
                  <a:moveTo>
                    <a:pt x="1053" y="768"/>
                  </a:moveTo>
                  <a:lnTo>
                    <a:pt x="1054" y="768"/>
                  </a:lnTo>
                  <a:lnTo>
                    <a:pt x="1053" y="768"/>
                  </a:lnTo>
                  <a:close/>
                  <a:moveTo>
                    <a:pt x="1023" y="768"/>
                  </a:moveTo>
                  <a:lnTo>
                    <a:pt x="1025" y="768"/>
                  </a:lnTo>
                  <a:lnTo>
                    <a:pt x="1023" y="768"/>
                  </a:lnTo>
                  <a:lnTo>
                    <a:pt x="1025" y="768"/>
                  </a:lnTo>
                  <a:lnTo>
                    <a:pt x="1023" y="768"/>
                  </a:lnTo>
                  <a:close/>
                  <a:moveTo>
                    <a:pt x="1023" y="768"/>
                  </a:moveTo>
                  <a:lnTo>
                    <a:pt x="1025" y="768"/>
                  </a:lnTo>
                  <a:lnTo>
                    <a:pt x="1023" y="768"/>
                  </a:lnTo>
                  <a:close/>
                  <a:moveTo>
                    <a:pt x="1023" y="766"/>
                  </a:moveTo>
                  <a:lnTo>
                    <a:pt x="1023" y="768"/>
                  </a:lnTo>
                  <a:lnTo>
                    <a:pt x="1023" y="766"/>
                  </a:lnTo>
                  <a:close/>
                  <a:moveTo>
                    <a:pt x="1030" y="768"/>
                  </a:moveTo>
                  <a:lnTo>
                    <a:pt x="1030" y="766"/>
                  </a:lnTo>
                  <a:lnTo>
                    <a:pt x="1030" y="768"/>
                  </a:lnTo>
                  <a:close/>
                  <a:moveTo>
                    <a:pt x="1054" y="768"/>
                  </a:moveTo>
                  <a:lnTo>
                    <a:pt x="1053" y="768"/>
                  </a:lnTo>
                  <a:lnTo>
                    <a:pt x="1053" y="766"/>
                  </a:lnTo>
                  <a:lnTo>
                    <a:pt x="1054" y="766"/>
                  </a:lnTo>
                  <a:lnTo>
                    <a:pt x="1054" y="768"/>
                  </a:lnTo>
                  <a:close/>
                  <a:moveTo>
                    <a:pt x="1072" y="766"/>
                  </a:moveTo>
                  <a:lnTo>
                    <a:pt x="1071" y="768"/>
                  </a:lnTo>
                  <a:lnTo>
                    <a:pt x="1071" y="766"/>
                  </a:lnTo>
                  <a:lnTo>
                    <a:pt x="1072" y="766"/>
                  </a:lnTo>
                  <a:close/>
                  <a:moveTo>
                    <a:pt x="1051" y="766"/>
                  </a:moveTo>
                  <a:lnTo>
                    <a:pt x="1049" y="766"/>
                  </a:lnTo>
                  <a:lnTo>
                    <a:pt x="1051" y="766"/>
                  </a:lnTo>
                  <a:close/>
                  <a:moveTo>
                    <a:pt x="1028" y="768"/>
                  </a:moveTo>
                  <a:lnTo>
                    <a:pt x="1028" y="766"/>
                  </a:lnTo>
                  <a:lnTo>
                    <a:pt x="1030" y="766"/>
                  </a:lnTo>
                  <a:lnTo>
                    <a:pt x="1030" y="768"/>
                  </a:lnTo>
                  <a:lnTo>
                    <a:pt x="1028" y="768"/>
                  </a:lnTo>
                  <a:close/>
                  <a:moveTo>
                    <a:pt x="1032" y="766"/>
                  </a:moveTo>
                  <a:lnTo>
                    <a:pt x="1030" y="766"/>
                  </a:lnTo>
                  <a:lnTo>
                    <a:pt x="1032" y="766"/>
                  </a:lnTo>
                  <a:close/>
                  <a:moveTo>
                    <a:pt x="1023" y="766"/>
                  </a:moveTo>
                  <a:lnTo>
                    <a:pt x="1025" y="766"/>
                  </a:lnTo>
                  <a:lnTo>
                    <a:pt x="1025" y="768"/>
                  </a:lnTo>
                  <a:lnTo>
                    <a:pt x="1025" y="766"/>
                  </a:lnTo>
                  <a:lnTo>
                    <a:pt x="1023" y="768"/>
                  </a:lnTo>
                  <a:lnTo>
                    <a:pt x="1023" y="766"/>
                  </a:lnTo>
                  <a:close/>
                  <a:moveTo>
                    <a:pt x="1051" y="766"/>
                  </a:moveTo>
                  <a:lnTo>
                    <a:pt x="1053" y="766"/>
                  </a:lnTo>
                  <a:lnTo>
                    <a:pt x="1051" y="766"/>
                  </a:lnTo>
                  <a:close/>
                  <a:moveTo>
                    <a:pt x="1022" y="766"/>
                  </a:moveTo>
                  <a:lnTo>
                    <a:pt x="1022" y="765"/>
                  </a:lnTo>
                  <a:lnTo>
                    <a:pt x="1022" y="766"/>
                  </a:lnTo>
                  <a:close/>
                  <a:moveTo>
                    <a:pt x="1056" y="765"/>
                  </a:moveTo>
                  <a:lnTo>
                    <a:pt x="1058" y="766"/>
                  </a:lnTo>
                  <a:lnTo>
                    <a:pt x="1056" y="765"/>
                  </a:lnTo>
                  <a:close/>
                  <a:moveTo>
                    <a:pt x="1053" y="766"/>
                  </a:moveTo>
                  <a:lnTo>
                    <a:pt x="1053" y="765"/>
                  </a:lnTo>
                  <a:lnTo>
                    <a:pt x="1053" y="766"/>
                  </a:lnTo>
                  <a:close/>
                  <a:moveTo>
                    <a:pt x="1030" y="766"/>
                  </a:moveTo>
                  <a:lnTo>
                    <a:pt x="1030" y="765"/>
                  </a:lnTo>
                  <a:lnTo>
                    <a:pt x="1030" y="766"/>
                  </a:lnTo>
                  <a:close/>
                  <a:moveTo>
                    <a:pt x="1030" y="766"/>
                  </a:moveTo>
                  <a:lnTo>
                    <a:pt x="1028" y="766"/>
                  </a:lnTo>
                  <a:lnTo>
                    <a:pt x="1028" y="765"/>
                  </a:lnTo>
                  <a:lnTo>
                    <a:pt x="1030" y="765"/>
                  </a:lnTo>
                  <a:lnTo>
                    <a:pt x="1030" y="766"/>
                  </a:lnTo>
                  <a:close/>
                  <a:moveTo>
                    <a:pt x="1022" y="765"/>
                  </a:moveTo>
                  <a:lnTo>
                    <a:pt x="1020" y="765"/>
                  </a:lnTo>
                  <a:lnTo>
                    <a:pt x="1022" y="765"/>
                  </a:lnTo>
                  <a:close/>
                  <a:moveTo>
                    <a:pt x="1048" y="765"/>
                  </a:moveTo>
                  <a:lnTo>
                    <a:pt x="1049" y="765"/>
                  </a:lnTo>
                  <a:lnTo>
                    <a:pt x="1048" y="765"/>
                  </a:lnTo>
                  <a:close/>
                  <a:moveTo>
                    <a:pt x="1048" y="765"/>
                  </a:moveTo>
                  <a:lnTo>
                    <a:pt x="1048" y="766"/>
                  </a:lnTo>
                  <a:lnTo>
                    <a:pt x="1048" y="765"/>
                  </a:lnTo>
                  <a:lnTo>
                    <a:pt x="1046" y="766"/>
                  </a:lnTo>
                  <a:lnTo>
                    <a:pt x="1046" y="765"/>
                  </a:lnTo>
                  <a:lnTo>
                    <a:pt x="1048" y="765"/>
                  </a:lnTo>
                  <a:close/>
                  <a:moveTo>
                    <a:pt x="1079" y="765"/>
                  </a:moveTo>
                  <a:lnTo>
                    <a:pt x="1080" y="763"/>
                  </a:lnTo>
                  <a:lnTo>
                    <a:pt x="1079" y="765"/>
                  </a:lnTo>
                  <a:close/>
                  <a:moveTo>
                    <a:pt x="1032" y="765"/>
                  </a:moveTo>
                  <a:lnTo>
                    <a:pt x="1032" y="763"/>
                  </a:lnTo>
                  <a:lnTo>
                    <a:pt x="1032" y="765"/>
                  </a:lnTo>
                  <a:close/>
                  <a:moveTo>
                    <a:pt x="1020" y="765"/>
                  </a:moveTo>
                  <a:lnTo>
                    <a:pt x="1022" y="763"/>
                  </a:lnTo>
                  <a:lnTo>
                    <a:pt x="1022" y="765"/>
                  </a:lnTo>
                  <a:lnTo>
                    <a:pt x="1020" y="765"/>
                  </a:lnTo>
                  <a:close/>
                  <a:moveTo>
                    <a:pt x="1054" y="765"/>
                  </a:moveTo>
                  <a:lnTo>
                    <a:pt x="1054" y="763"/>
                  </a:lnTo>
                  <a:lnTo>
                    <a:pt x="1054" y="765"/>
                  </a:lnTo>
                  <a:close/>
                  <a:moveTo>
                    <a:pt x="1020" y="763"/>
                  </a:moveTo>
                  <a:lnTo>
                    <a:pt x="1022" y="763"/>
                  </a:lnTo>
                  <a:lnTo>
                    <a:pt x="1020" y="763"/>
                  </a:lnTo>
                  <a:close/>
                  <a:moveTo>
                    <a:pt x="1022" y="763"/>
                  </a:moveTo>
                  <a:lnTo>
                    <a:pt x="1023" y="763"/>
                  </a:lnTo>
                  <a:lnTo>
                    <a:pt x="1023" y="765"/>
                  </a:lnTo>
                  <a:lnTo>
                    <a:pt x="1023" y="763"/>
                  </a:lnTo>
                  <a:lnTo>
                    <a:pt x="1022" y="765"/>
                  </a:lnTo>
                  <a:lnTo>
                    <a:pt x="1022" y="763"/>
                  </a:lnTo>
                  <a:close/>
                  <a:moveTo>
                    <a:pt x="1071" y="763"/>
                  </a:moveTo>
                  <a:lnTo>
                    <a:pt x="1071" y="765"/>
                  </a:lnTo>
                  <a:lnTo>
                    <a:pt x="1071" y="763"/>
                  </a:lnTo>
                  <a:lnTo>
                    <a:pt x="1072" y="763"/>
                  </a:lnTo>
                  <a:lnTo>
                    <a:pt x="1071" y="763"/>
                  </a:lnTo>
                  <a:close/>
                  <a:moveTo>
                    <a:pt x="1066" y="763"/>
                  </a:moveTo>
                  <a:lnTo>
                    <a:pt x="1066" y="765"/>
                  </a:lnTo>
                  <a:lnTo>
                    <a:pt x="1064" y="765"/>
                  </a:lnTo>
                  <a:lnTo>
                    <a:pt x="1066" y="766"/>
                  </a:lnTo>
                  <a:lnTo>
                    <a:pt x="1066" y="768"/>
                  </a:lnTo>
                  <a:lnTo>
                    <a:pt x="1062" y="770"/>
                  </a:lnTo>
                  <a:lnTo>
                    <a:pt x="1062" y="768"/>
                  </a:lnTo>
                  <a:lnTo>
                    <a:pt x="1061" y="768"/>
                  </a:lnTo>
                  <a:lnTo>
                    <a:pt x="1061" y="766"/>
                  </a:lnTo>
                  <a:lnTo>
                    <a:pt x="1061" y="765"/>
                  </a:lnTo>
                  <a:lnTo>
                    <a:pt x="1062" y="765"/>
                  </a:lnTo>
                  <a:lnTo>
                    <a:pt x="1061" y="765"/>
                  </a:lnTo>
                  <a:lnTo>
                    <a:pt x="1062" y="765"/>
                  </a:lnTo>
                  <a:lnTo>
                    <a:pt x="1062" y="763"/>
                  </a:lnTo>
                  <a:lnTo>
                    <a:pt x="1064" y="763"/>
                  </a:lnTo>
                  <a:lnTo>
                    <a:pt x="1064" y="765"/>
                  </a:lnTo>
                  <a:lnTo>
                    <a:pt x="1064" y="763"/>
                  </a:lnTo>
                  <a:lnTo>
                    <a:pt x="1064" y="761"/>
                  </a:lnTo>
                  <a:lnTo>
                    <a:pt x="1066" y="763"/>
                  </a:lnTo>
                  <a:close/>
                  <a:moveTo>
                    <a:pt x="1062" y="763"/>
                  </a:moveTo>
                  <a:lnTo>
                    <a:pt x="1062" y="761"/>
                  </a:lnTo>
                  <a:lnTo>
                    <a:pt x="1062" y="763"/>
                  </a:lnTo>
                  <a:close/>
                  <a:moveTo>
                    <a:pt x="1069" y="763"/>
                  </a:moveTo>
                  <a:lnTo>
                    <a:pt x="1069" y="761"/>
                  </a:lnTo>
                  <a:lnTo>
                    <a:pt x="1069" y="763"/>
                  </a:lnTo>
                  <a:close/>
                  <a:moveTo>
                    <a:pt x="1062" y="763"/>
                  </a:moveTo>
                  <a:lnTo>
                    <a:pt x="1064" y="761"/>
                  </a:lnTo>
                  <a:lnTo>
                    <a:pt x="1064" y="763"/>
                  </a:lnTo>
                  <a:lnTo>
                    <a:pt x="1062" y="763"/>
                  </a:lnTo>
                  <a:close/>
                  <a:moveTo>
                    <a:pt x="1062" y="763"/>
                  </a:moveTo>
                  <a:lnTo>
                    <a:pt x="1062" y="761"/>
                  </a:lnTo>
                  <a:lnTo>
                    <a:pt x="1062" y="763"/>
                  </a:lnTo>
                  <a:close/>
                  <a:moveTo>
                    <a:pt x="1054" y="763"/>
                  </a:moveTo>
                  <a:lnTo>
                    <a:pt x="1054" y="761"/>
                  </a:lnTo>
                  <a:lnTo>
                    <a:pt x="1054" y="763"/>
                  </a:lnTo>
                  <a:close/>
                  <a:moveTo>
                    <a:pt x="1072" y="763"/>
                  </a:moveTo>
                  <a:lnTo>
                    <a:pt x="1072" y="761"/>
                  </a:lnTo>
                  <a:lnTo>
                    <a:pt x="1072" y="763"/>
                  </a:lnTo>
                  <a:close/>
                  <a:moveTo>
                    <a:pt x="1062" y="761"/>
                  </a:moveTo>
                  <a:lnTo>
                    <a:pt x="1064" y="761"/>
                  </a:lnTo>
                  <a:lnTo>
                    <a:pt x="1062" y="761"/>
                  </a:lnTo>
                  <a:close/>
                  <a:moveTo>
                    <a:pt x="1025" y="761"/>
                  </a:moveTo>
                  <a:lnTo>
                    <a:pt x="1027" y="761"/>
                  </a:lnTo>
                  <a:lnTo>
                    <a:pt x="1025" y="761"/>
                  </a:lnTo>
                  <a:close/>
                  <a:moveTo>
                    <a:pt x="1067" y="761"/>
                  </a:moveTo>
                  <a:lnTo>
                    <a:pt x="1069" y="761"/>
                  </a:lnTo>
                  <a:lnTo>
                    <a:pt x="1067" y="761"/>
                  </a:lnTo>
                  <a:close/>
                  <a:moveTo>
                    <a:pt x="1071" y="761"/>
                  </a:moveTo>
                  <a:lnTo>
                    <a:pt x="1071" y="760"/>
                  </a:lnTo>
                  <a:lnTo>
                    <a:pt x="1071" y="761"/>
                  </a:lnTo>
                  <a:close/>
                  <a:moveTo>
                    <a:pt x="1071" y="761"/>
                  </a:moveTo>
                  <a:lnTo>
                    <a:pt x="1071" y="760"/>
                  </a:lnTo>
                  <a:lnTo>
                    <a:pt x="1071" y="761"/>
                  </a:lnTo>
                  <a:close/>
                  <a:moveTo>
                    <a:pt x="1028" y="761"/>
                  </a:moveTo>
                  <a:lnTo>
                    <a:pt x="1027" y="761"/>
                  </a:lnTo>
                  <a:lnTo>
                    <a:pt x="1028" y="760"/>
                  </a:lnTo>
                  <a:lnTo>
                    <a:pt x="1028" y="761"/>
                  </a:lnTo>
                  <a:close/>
                  <a:moveTo>
                    <a:pt x="1069" y="761"/>
                  </a:moveTo>
                  <a:lnTo>
                    <a:pt x="1069" y="760"/>
                  </a:lnTo>
                  <a:lnTo>
                    <a:pt x="1069" y="761"/>
                  </a:lnTo>
                  <a:close/>
                  <a:moveTo>
                    <a:pt x="1064" y="761"/>
                  </a:moveTo>
                  <a:lnTo>
                    <a:pt x="1062" y="761"/>
                  </a:lnTo>
                  <a:lnTo>
                    <a:pt x="1064" y="760"/>
                  </a:lnTo>
                  <a:lnTo>
                    <a:pt x="1064" y="761"/>
                  </a:lnTo>
                  <a:close/>
                  <a:moveTo>
                    <a:pt x="1027" y="760"/>
                  </a:moveTo>
                  <a:lnTo>
                    <a:pt x="1027" y="761"/>
                  </a:lnTo>
                  <a:lnTo>
                    <a:pt x="1027" y="760"/>
                  </a:lnTo>
                  <a:close/>
                  <a:moveTo>
                    <a:pt x="1069" y="761"/>
                  </a:moveTo>
                  <a:lnTo>
                    <a:pt x="1069" y="760"/>
                  </a:lnTo>
                  <a:lnTo>
                    <a:pt x="1069" y="761"/>
                  </a:lnTo>
                  <a:close/>
                  <a:moveTo>
                    <a:pt x="1027" y="760"/>
                  </a:moveTo>
                  <a:lnTo>
                    <a:pt x="1025" y="760"/>
                  </a:lnTo>
                  <a:lnTo>
                    <a:pt x="1027" y="760"/>
                  </a:lnTo>
                  <a:close/>
                  <a:moveTo>
                    <a:pt x="1071" y="761"/>
                  </a:moveTo>
                  <a:lnTo>
                    <a:pt x="1071" y="760"/>
                  </a:lnTo>
                  <a:lnTo>
                    <a:pt x="1071" y="761"/>
                  </a:lnTo>
                  <a:close/>
                  <a:moveTo>
                    <a:pt x="1049" y="761"/>
                  </a:moveTo>
                  <a:lnTo>
                    <a:pt x="1049" y="760"/>
                  </a:lnTo>
                  <a:lnTo>
                    <a:pt x="1049" y="761"/>
                  </a:lnTo>
                  <a:close/>
                  <a:moveTo>
                    <a:pt x="1028" y="761"/>
                  </a:moveTo>
                  <a:lnTo>
                    <a:pt x="1028" y="760"/>
                  </a:lnTo>
                  <a:lnTo>
                    <a:pt x="1030" y="760"/>
                  </a:lnTo>
                  <a:lnTo>
                    <a:pt x="1028" y="761"/>
                  </a:lnTo>
                  <a:close/>
                  <a:moveTo>
                    <a:pt x="1062" y="760"/>
                  </a:moveTo>
                  <a:lnTo>
                    <a:pt x="1064" y="760"/>
                  </a:lnTo>
                  <a:lnTo>
                    <a:pt x="1062" y="760"/>
                  </a:lnTo>
                  <a:close/>
                  <a:moveTo>
                    <a:pt x="1030" y="760"/>
                  </a:moveTo>
                  <a:lnTo>
                    <a:pt x="1028" y="760"/>
                  </a:lnTo>
                  <a:lnTo>
                    <a:pt x="1030" y="760"/>
                  </a:lnTo>
                  <a:close/>
                  <a:moveTo>
                    <a:pt x="1072" y="760"/>
                  </a:moveTo>
                  <a:lnTo>
                    <a:pt x="1074" y="760"/>
                  </a:lnTo>
                  <a:lnTo>
                    <a:pt x="1072" y="761"/>
                  </a:lnTo>
                  <a:lnTo>
                    <a:pt x="1072" y="760"/>
                  </a:lnTo>
                  <a:lnTo>
                    <a:pt x="1072" y="761"/>
                  </a:lnTo>
                  <a:lnTo>
                    <a:pt x="1072" y="760"/>
                  </a:lnTo>
                  <a:lnTo>
                    <a:pt x="1072" y="761"/>
                  </a:lnTo>
                  <a:lnTo>
                    <a:pt x="1072" y="760"/>
                  </a:lnTo>
                  <a:close/>
                  <a:moveTo>
                    <a:pt x="1028" y="760"/>
                  </a:moveTo>
                  <a:lnTo>
                    <a:pt x="1028" y="758"/>
                  </a:lnTo>
                  <a:lnTo>
                    <a:pt x="1028" y="760"/>
                  </a:lnTo>
                  <a:close/>
                  <a:moveTo>
                    <a:pt x="1080" y="760"/>
                  </a:moveTo>
                  <a:lnTo>
                    <a:pt x="1080" y="758"/>
                  </a:lnTo>
                  <a:lnTo>
                    <a:pt x="1080" y="760"/>
                  </a:lnTo>
                  <a:close/>
                  <a:moveTo>
                    <a:pt x="1062" y="760"/>
                  </a:moveTo>
                  <a:lnTo>
                    <a:pt x="1062" y="758"/>
                  </a:lnTo>
                  <a:lnTo>
                    <a:pt x="1062" y="760"/>
                  </a:lnTo>
                  <a:close/>
                  <a:moveTo>
                    <a:pt x="1071" y="758"/>
                  </a:moveTo>
                  <a:lnTo>
                    <a:pt x="1071" y="760"/>
                  </a:lnTo>
                  <a:lnTo>
                    <a:pt x="1071" y="758"/>
                  </a:lnTo>
                  <a:close/>
                  <a:moveTo>
                    <a:pt x="1049" y="760"/>
                  </a:moveTo>
                  <a:lnTo>
                    <a:pt x="1051" y="758"/>
                  </a:lnTo>
                  <a:lnTo>
                    <a:pt x="1051" y="760"/>
                  </a:lnTo>
                  <a:lnTo>
                    <a:pt x="1049" y="760"/>
                  </a:lnTo>
                  <a:close/>
                  <a:moveTo>
                    <a:pt x="1074" y="760"/>
                  </a:moveTo>
                  <a:lnTo>
                    <a:pt x="1075" y="758"/>
                  </a:lnTo>
                  <a:lnTo>
                    <a:pt x="1075" y="760"/>
                  </a:lnTo>
                  <a:lnTo>
                    <a:pt x="1075" y="758"/>
                  </a:lnTo>
                  <a:lnTo>
                    <a:pt x="1075" y="760"/>
                  </a:lnTo>
                  <a:lnTo>
                    <a:pt x="1077" y="760"/>
                  </a:lnTo>
                  <a:lnTo>
                    <a:pt x="1077" y="761"/>
                  </a:lnTo>
                  <a:lnTo>
                    <a:pt x="1075" y="763"/>
                  </a:lnTo>
                  <a:lnTo>
                    <a:pt x="1074" y="763"/>
                  </a:lnTo>
                  <a:lnTo>
                    <a:pt x="1072" y="763"/>
                  </a:lnTo>
                  <a:lnTo>
                    <a:pt x="1072" y="761"/>
                  </a:lnTo>
                  <a:lnTo>
                    <a:pt x="1074" y="760"/>
                  </a:lnTo>
                  <a:close/>
                  <a:moveTo>
                    <a:pt x="1049" y="760"/>
                  </a:moveTo>
                  <a:lnTo>
                    <a:pt x="1049" y="758"/>
                  </a:lnTo>
                  <a:lnTo>
                    <a:pt x="1049" y="760"/>
                  </a:lnTo>
                  <a:close/>
                  <a:moveTo>
                    <a:pt x="1062" y="758"/>
                  </a:moveTo>
                  <a:lnTo>
                    <a:pt x="1064" y="758"/>
                  </a:lnTo>
                  <a:lnTo>
                    <a:pt x="1062" y="758"/>
                  </a:lnTo>
                  <a:close/>
                  <a:moveTo>
                    <a:pt x="1061" y="758"/>
                  </a:moveTo>
                  <a:lnTo>
                    <a:pt x="1061" y="760"/>
                  </a:lnTo>
                  <a:lnTo>
                    <a:pt x="1061" y="758"/>
                  </a:lnTo>
                  <a:close/>
                  <a:moveTo>
                    <a:pt x="1059" y="760"/>
                  </a:moveTo>
                  <a:lnTo>
                    <a:pt x="1059" y="758"/>
                  </a:lnTo>
                  <a:lnTo>
                    <a:pt x="1061" y="758"/>
                  </a:lnTo>
                  <a:lnTo>
                    <a:pt x="1061" y="760"/>
                  </a:lnTo>
                  <a:lnTo>
                    <a:pt x="1059" y="760"/>
                  </a:lnTo>
                  <a:close/>
                  <a:moveTo>
                    <a:pt x="1069" y="758"/>
                  </a:moveTo>
                  <a:lnTo>
                    <a:pt x="1069" y="760"/>
                  </a:lnTo>
                  <a:lnTo>
                    <a:pt x="1069" y="761"/>
                  </a:lnTo>
                  <a:lnTo>
                    <a:pt x="1067" y="761"/>
                  </a:lnTo>
                  <a:lnTo>
                    <a:pt x="1067" y="760"/>
                  </a:lnTo>
                  <a:lnTo>
                    <a:pt x="1067" y="758"/>
                  </a:lnTo>
                  <a:lnTo>
                    <a:pt x="1069" y="758"/>
                  </a:lnTo>
                  <a:close/>
                  <a:moveTo>
                    <a:pt x="1059" y="758"/>
                  </a:moveTo>
                  <a:lnTo>
                    <a:pt x="1061" y="758"/>
                  </a:lnTo>
                  <a:lnTo>
                    <a:pt x="1059" y="758"/>
                  </a:lnTo>
                  <a:close/>
                  <a:moveTo>
                    <a:pt x="1041" y="758"/>
                  </a:moveTo>
                  <a:lnTo>
                    <a:pt x="1043" y="758"/>
                  </a:lnTo>
                  <a:lnTo>
                    <a:pt x="1041" y="758"/>
                  </a:lnTo>
                  <a:close/>
                  <a:moveTo>
                    <a:pt x="1061" y="758"/>
                  </a:moveTo>
                  <a:lnTo>
                    <a:pt x="1061" y="757"/>
                  </a:lnTo>
                  <a:lnTo>
                    <a:pt x="1061" y="758"/>
                  </a:lnTo>
                  <a:close/>
                  <a:moveTo>
                    <a:pt x="1058" y="758"/>
                  </a:moveTo>
                  <a:lnTo>
                    <a:pt x="1058" y="757"/>
                  </a:lnTo>
                  <a:lnTo>
                    <a:pt x="1058" y="758"/>
                  </a:lnTo>
                  <a:close/>
                  <a:moveTo>
                    <a:pt x="1071" y="758"/>
                  </a:moveTo>
                  <a:lnTo>
                    <a:pt x="1069" y="758"/>
                  </a:lnTo>
                  <a:lnTo>
                    <a:pt x="1069" y="757"/>
                  </a:lnTo>
                  <a:lnTo>
                    <a:pt x="1071" y="757"/>
                  </a:lnTo>
                  <a:lnTo>
                    <a:pt x="1071" y="758"/>
                  </a:lnTo>
                  <a:close/>
                  <a:moveTo>
                    <a:pt x="1058" y="758"/>
                  </a:moveTo>
                  <a:lnTo>
                    <a:pt x="1058" y="757"/>
                  </a:lnTo>
                  <a:lnTo>
                    <a:pt x="1058" y="758"/>
                  </a:lnTo>
                  <a:close/>
                  <a:moveTo>
                    <a:pt x="1062" y="758"/>
                  </a:moveTo>
                  <a:lnTo>
                    <a:pt x="1062" y="757"/>
                  </a:lnTo>
                  <a:lnTo>
                    <a:pt x="1062" y="758"/>
                  </a:lnTo>
                  <a:close/>
                  <a:moveTo>
                    <a:pt x="1082" y="758"/>
                  </a:moveTo>
                  <a:lnTo>
                    <a:pt x="1082" y="757"/>
                  </a:lnTo>
                  <a:lnTo>
                    <a:pt x="1082" y="758"/>
                  </a:lnTo>
                  <a:close/>
                  <a:moveTo>
                    <a:pt x="1062" y="758"/>
                  </a:moveTo>
                  <a:lnTo>
                    <a:pt x="1062" y="757"/>
                  </a:lnTo>
                  <a:lnTo>
                    <a:pt x="1064" y="757"/>
                  </a:lnTo>
                  <a:lnTo>
                    <a:pt x="1064" y="758"/>
                  </a:lnTo>
                  <a:lnTo>
                    <a:pt x="1062" y="758"/>
                  </a:lnTo>
                  <a:lnTo>
                    <a:pt x="1062" y="757"/>
                  </a:lnTo>
                  <a:lnTo>
                    <a:pt x="1062" y="758"/>
                  </a:lnTo>
                  <a:close/>
                  <a:moveTo>
                    <a:pt x="1051" y="757"/>
                  </a:moveTo>
                  <a:lnTo>
                    <a:pt x="1053" y="757"/>
                  </a:lnTo>
                  <a:lnTo>
                    <a:pt x="1053" y="758"/>
                  </a:lnTo>
                  <a:lnTo>
                    <a:pt x="1054" y="758"/>
                  </a:lnTo>
                  <a:lnTo>
                    <a:pt x="1053" y="758"/>
                  </a:lnTo>
                  <a:lnTo>
                    <a:pt x="1053" y="760"/>
                  </a:lnTo>
                  <a:lnTo>
                    <a:pt x="1054" y="758"/>
                  </a:lnTo>
                  <a:lnTo>
                    <a:pt x="1054" y="760"/>
                  </a:lnTo>
                  <a:lnTo>
                    <a:pt x="1054" y="761"/>
                  </a:lnTo>
                  <a:lnTo>
                    <a:pt x="1054" y="763"/>
                  </a:lnTo>
                  <a:lnTo>
                    <a:pt x="1054" y="765"/>
                  </a:lnTo>
                  <a:lnTo>
                    <a:pt x="1053" y="765"/>
                  </a:lnTo>
                  <a:lnTo>
                    <a:pt x="1054" y="765"/>
                  </a:lnTo>
                  <a:lnTo>
                    <a:pt x="1053" y="765"/>
                  </a:lnTo>
                  <a:lnTo>
                    <a:pt x="1053" y="763"/>
                  </a:lnTo>
                  <a:lnTo>
                    <a:pt x="1053" y="765"/>
                  </a:lnTo>
                  <a:lnTo>
                    <a:pt x="1051" y="765"/>
                  </a:lnTo>
                  <a:lnTo>
                    <a:pt x="1053" y="765"/>
                  </a:lnTo>
                  <a:lnTo>
                    <a:pt x="1051" y="765"/>
                  </a:lnTo>
                  <a:lnTo>
                    <a:pt x="1049" y="765"/>
                  </a:lnTo>
                  <a:lnTo>
                    <a:pt x="1051" y="765"/>
                  </a:lnTo>
                  <a:lnTo>
                    <a:pt x="1049" y="765"/>
                  </a:lnTo>
                  <a:lnTo>
                    <a:pt x="1051" y="763"/>
                  </a:lnTo>
                  <a:lnTo>
                    <a:pt x="1053" y="761"/>
                  </a:lnTo>
                  <a:lnTo>
                    <a:pt x="1051" y="761"/>
                  </a:lnTo>
                  <a:lnTo>
                    <a:pt x="1049" y="761"/>
                  </a:lnTo>
                  <a:lnTo>
                    <a:pt x="1049" y="760"/>
                  </a:lnTo>
                  <a:lnTo>
                    <a:pt x="1051" y="760"/>
                  </a:lnTo>
                  <a:lnTo>
                    <a:pt x="1051" y="758"/>
                  </a:lnTo>
                  <a:lnTo>
                    <a:pt x="1051" y="757"/>
                  </a:lnTo>
                  <a:close/>
                  <a:moveTo>
                    <a:pt x="1074" y="757"/>
                  </a:moveTo>
                  <a:lnTo>
                    <a:pt x="1074" y="758"/>
                  </a:lnTo>
                  <a:lnTo>
                    <a:pt x="1072" y="757"/>
                  </a:lnTo>
                  <a:lnTo>
                    <a:pt x="1074" y="757"/>
                  </a:lnTo>
                  <a:close/>
                  <a:moveTo>
                    <a:pt x="1054" y="757"/>
                  </a:moveTo>
                  <a:lnTo>
                    <a:pt x="1054" y="758"/>
                  </a:lnTo>
                  <a:lnTo>
                    <a:pt x="1054" y="757"/>
                  </a:lnTo>
                  <a:close/>
                  <a:moveTo>
                    <a:pt x="1067" y="757"/>
                  </a:moveTo>
                  <a:lnTo>
                    <a:pt x="1069" y="757"/>
                  </a:lnTo>
                  <a:lnTo>
                    <a:pt x="1067" y="757"/>
                  </a:lnTo>
                  <a:close/>
                  <a:moveTo>
                    <a:pt x="1062" y="757"/>
                  </a:moveTo>
                  <a:lnTo>
                    <a:pt x="1064" y="757"/>
                  </a:lnTo>
                  <a:lnTo>
                    <a:pt x="1062" y="757"/>
                  </a:lnTo>
                  <a:close/>
                  <a:moveTo>
                    <a:pt x="1053" y="757"/>
                  </a:moveTo>
                  <a:lnTo>
                    <a:pt x="1051" y="757"/>
                  </a:lnTo>
                  <a:lnTo>
                    <a:pt x="1053" y="757"/>
                  </a:lnTo>
                  <a:close/>
                  <a:moveTo>
                    <a:pt x="1054" y="757"/>
                  </a:moveTo>
                  <a:lnTo>
                    <a:pt x="1053" y="757"/>
                  </a:lnTo>
                  <a:lnTo>
                    <a:pt x="1054" y="757"/>
                  </a:lnTo>
                  <a:close/>
                  <a:moveTo>
                    <a:pt x="1061" y="757"/>
                  </a:moveTo>
                  <a:lnTo>
                    <a:pt x="1062" y="757"/>
                  </a:lnTo>
                  <a:lnTo>
                    <a:pt x="1061" y="757"/>
                  </a:lnTo>
                  <a:close/>
                  <a:moveTo>
                    <a:pt x="1053" y="757"/>
                  </a:moveTo>
                  <a:lnTo>
                    <a:pt x="1053" y="755"/>
                  </a:lnTo>
                  <a:lnTo>
                    <a:pt x="1053" y="757"/>
                  </a:lnTo>
                  <a:close/>
                  <a:moveTo>
                    <a:pt x="1058" y="757"/>
                  </a:moveTo>
                  <a:lnTo>
                    <a:pt x="1056" y="757"/>
                  </a:lnTo>
                  <a:lnTo>
                    <a:pt x="1058" y="757"/>
                  </a:lnTo>
                  <a:lnTo>
                    <a:pt x="1056" y="757"/>
                  </a:lnTo>
                  <a:lnTo>
                    <a:pt x="1058" y="757"/>
                  </a:lnTo>
                  <a:lnTo>
                    <a:pt x="1056" y="757"/>
                  </a:lnTo>
                  <a:lnTo>
                    <a:pt x="1058" y="757"/>
                  </a:lnTo>
                  <a:lnTo>
                    <a:pt x="1058" y="755"/>
                  </a:lnTo>
                  <a:lnTo>
                    <a:pt x="1058" y="757"/>
                  </a:lnTo>
                  <a:close/>
                  <a:moveTo>
                    <a:pt x="1056" y="755"/>
                  </a:moveTo>
                  <a:lnTo>
                    <a:pt x="1056" y="757"/>
                  </a:lnTo>
                  <a:lnTo>
                    <a:pt x="1056" y="755"/>
                  </a:lnTo>
                  <a:close/>
                  <a:moveTo>
                    <a:pt x="1027" y="755"/>
                  </a:moveTo>
                  <a:lnTo>
                    <a:pt x="1025" y="757"/>
                  </a:lnTo>
                  <a:lnTo>
                    <a:pt x="1025" y="755"/>
                  </a:lnTo>
                  <a:lnTo>
                    <a:pt x="1027" y="755"/>
                  </a:lnTo>
                  <a:close/>
                  <a:moveTo>
                    <a:pt x="1054" y="757"/>
                  </a:moveTo>
                  <a:lnTo>
                    <a:pt x="1054" y="755"/>
                  </a:lnTo>
                  <a:lnTo>
                    <a:pt x="1054" y="757"/>
                  </a:lnTo>
                  <a:close/>
                  <a:moveTo>
                    <a:pt x="1051" y="757"/>
                  </a:moveTo>
                  <a:lnTo>
                    <a:pt x="1051" y="755"/>
                  </a:lnTo>
                  <a:lnTo>
                    <a:pt x="1051" y="757"/>
                  </a:lnTo>
                  <a:close/>
                  <a:moveTo>
                    <a:pt x="1053" y="755"/>
                  </a:moveTo>
                  <a:lnTo>
                    <a:pt x="1053" y="757"/>
                  </a:lnTo>
                  <a:lnTo>
                    <a:pt x="1053" y="755"/>
                  </a:lnTo>
                  <a:close/>
                  <a:moveTo>
                    <a:pt x="1056" y="755"/>
                  </a:moveTo>
                  <a:lnTo>
                    <a:pt x="1058" y="755"/>
                  </a:lnTo>
                  <a:lnTo>
                    <a:pt x="1056" y="755"/>
                  </a:lnTo>
                  <a:close/>
                  <a:moveTo>
                    <a:pt x="1053" y="755"/>
                  </a:moveTo>
                  <a:lnTo>
                    <a:pt x="1054" y="755"/>
                  </a:lnTo>
                  <a:lnTo>
                    <a:pt x="1053" y="755"/>
                  </a:lnTo>
                  <a:close/>
                  <a:moveTo>
                    <a:pt x="1059" y="755"/>
                  </a:moveTo>
                  <a:lnTo>
                    <a:pt x="1058" y="755"/>
                  </a:lnTo>
                  <a:lnTo>
                    <a:pt x="1059" y="755"/>
                  </a:lnTo>
                  <a:close/>
                  <a:moveTo>
                    <a:pt x="1056" y="755"/>
                  </a:moveTo>
                  <a:lnTo>
                    <a:pt x="1058" y="755"/>
                  </a:lnTo>
                  <a:lnTo>
                    <a:pt x="1056" y="755"/>
                  </a:lnTo>
                  <a:close/>
                  <a:moveTo>
                    <a:pt x="1056" y="753"/>
                  </a:moveTo>
                  <a:lnTo>
                    <a:pt x="1058" y="753"/>
                  </a:lnTo>
                  <a:lnTo>
                    <a:pt x="1058" y="755"/>
                  </a:lnTo>
                  <a:lnTo>
                    <a:pt x="1058" y="753"/>
                  </a:lnTo>
                  <a:lnTo>
                    <a:pt x="1056" y="753"/>
                  </a:lnTo>
                  <a:close/>
                  <a:moveTo>
                    <a:pt x="1077" y="755"/>
                  </a:moveTo>
                  <a:lnTo>
                    <a:pt x="1079" y="753"/>
                  </a:lnTo>
                  <a:lnTo>
                    <a:pt x="1077" y="755"/>
                  </a:lnTo>
                  <a:close/>
                  <a:moveTo>
                    <a:pt x="1058" y="753"/>
                  </a:moveTo>
                  <a:lnTo>
                    <a:pt x="1059" y="753"/>
                  </a:lnTo>
                  <a:lnTo>
                    <a:pt x="1058" y="753"/>
                  </a:lnTo>
                  <a:close/>
                  <a:moveTo>
                    <a:pt x="1067" y="753"/>
                  </a:moveTo>
                  <a:lnTo>
                    <a:pt x="1069" y="753"/>
                  </a:lnTo>
                  <a:lnTo>
                    <a:pt x="1067" y="753"/>
                  </a:lnTo>
                  <a:lnTo>
                    <a:pt x="1069" y="753"/>
                  </a:lnTo>
                  <a:lnTo>
                    <a:pt x="1067" y="753"/>
                  </a:lnTo>
                  <a:close/>
                  <a:moveTo>
                    <a:pt x="1069" y="753"/>
                  </a:moveTo>
                  <a:lnTo>
                    <a:pt x="1069" y="755"/>
                  </a:lnTo>
                  <a:lnTo>
                    <a:pt x="1069" y="753"/>
                  </a:lnTo>
                  <a:close/>
                  <a:moveTo>
                    <a:pt x="1072" y="753"/>
                  </a:moveTo>
                  <a:lnTo>
                    <a:pt x="1071" y="753"/>
                  </a:lnTo>
                  <a:lnTo>
                    <a:pt x="1072" y="753"/>
                  </a:lnTo>
                  <a:close/>
                  <a:moveTo>
                    <a:pt x="1059" y="753"/>
                  </a:moveTo>
                  <a:lnTo>
                    <a:pt x="1058" y="753"/>
                  </a:lnTo>
                  <a:lnTo>
                    <a:pt x="1059" y="753"/>
                  </a:lnTo>
                  <a:close/>
                  <a:moveTo>
                    <a:pt x="1067" y="753"/>
                  </a:moveTo>
                  <a:lnTo>
                    <a:pt x="1069" y="753"/>
                  </a:lnTo>
                  <a:lnTo>
                    <a:pt x="1067" y="753"/>
                  </a:lnTo>
                  <a:close/>
                  <a:moveTo>
                    <a:pt x="1071" y="753"/>
                  </a:moveTo>
                  <a:lnTo>
                    <a:pt x="1071" y="752"/>
                  </a:lnTo>
                  <a:lnTo>
                    <a:pt x="1071" y="753"/>
                  </a:lnTo>
                  <a:close/>
                  <a:moveTo>
                    <a:pt x="1069" y="752"/>
                  </a:moveTo>
                  <a:lnTo>
                    <a:pt x="1069" y="753"/>
                  </a:lnTo>
                  <a:lnTo>
                    <a:pt x="1069" y="752"/>
                  </a:lnTo>
                  <a:close/>
                  <a:moveTo>
                    <a:pt x="1069" y="753"/>
                  </a:moveTo>
                  <a:lnTo>
                    <a:pt x="1071" y="753"/>
                  </a:lnTo>
                  <a:lnTo>
                    <a:pt x="1069" y="753"/>
                  </a:lnTo>
                  <a:lnTo>
                    <a:pt x="1069" y="752"/>
                  </a:lnTo>
                  <a:lnTo>
                    <a:pt x="1069" y="753"/>
                  </a:lnTo>
                  <a:close/>
                  <a:moveTo>
                    <a:pt x="1059" y="752"/>
                  </a:moveTo>
                  <a:lnTo>
                    <a:pt x="1059" y="753"/>
                  </a:lnTo>
                  <a:lnTo>
                    <a:pt x="1059" y="752"/>
                  </a:lnTo>
                  <a:close/>
                  <a:moveTo>
                    <a:pt x="1067" y="753"/>
                  </a:moveTo>
                  <a:lnTo>
                    <a:pt x="1067" y="752"/>
                  </a:lnTo>
                  <a:lnTo>
                    <a:pt x="1069" y="752"/>
                  </a:lnTo>
                  <a:lnTo>
                    <a:pt x="1069" y="753"/>
                  </a:lnTo>
                  <a:lnTo>
                    <a:pt x="1067" y="753"/>
                  </a:lnTo>
                  <a:close/>
                  <a:moveTo>
                    <a:pt x="1087" y="752"/>
                  </a:moveTo>
                  <a:lnTo>
                    <a:pt x="1088" y="752"/>
                  </a:lnTo>
                  <a:lnTo>
                    <a:pt x="1088" y="753"/>
                  </a:lnTo>
                  <a:lnTo>
                    <a:pt x="1087" y="752"/>
                  </a:lnTo>
                  <a:close/>
                  <a:moveTo>
                    <a:pt x="1079" y="752"/>
                  </a:moveTo>
                  <a:lnTo>
                    <a:pt x="1080" y="752"/>
                  </a:lnTo>
                  <a:lnTo>
                    <a:pt x="1080" y="753"/>
                  </a:lnTo>
                  <a:lnTo>
                    <a:pt x="1079" y="753"/>
                  </a:lnTo>
                  <a:lnTo>
                    <a:pt x="1080" y="753"/>
                  </a:lnTo>
                  <a:lnTo>
                    <a:pt x="1080" y="755"/>
                  </a:lnTo>
                  <a:lnTo>
                    <a:pt x="1080" y="757"/>
                  </a:lnTo>
                  <a:lnTo>
                    <a:pt x="1080" y="758"/>
                  </a:lnTo>
                  <a:lnTo>
                    <a:pt x="1080" y="757"/>
                  </a:lnTo>
                  <a:lnTo>
                    <a:pt x="1080" y="758"/>
                  </a:lnTo>
                  <a:lnTo>
                    <a:pt x="1079" y="760"/>
                  </a:lnTo>
                  <a:lnTo>
                    <a:pt x="1079" y="758"/>
                  </a:lnTo>
                  <a:lnTo>
                    <a:pt x="1079" y="757"/>
                  </a:lnTo>
                  <a:lnTo>
                    <a:pt x="1079" y="758"/>
                  </a:lnTo>
                  <a:lnTo>
                    <a:pt x="1079" y="757"/>
                  </a:lnTo>
                  <a:lnTo>
                    <a:pt x="1077" y="755"/>
                  </a:lnTo>
                  <a:lnTo>
                    <a:pt x="1079" y="755"/>
                  </a:lnTo>
                  <a:lnTo>
                    <a:pt x="1079" y="753"/>
                  </a:lnTo>
                  <a:lnTo>
                    <a:pt x="1079" y="752"/>
                  </a:lnTo>
                  <a:lnTo>
                    <a:pt x="1079" y="753"/>
                  </a:lnTo>
                  <a:lnTo>
                    <a:pt x="1079" y="752"/>
                  </a:lnTo>
                  <a:close/>
                  <a:moveTo>
                    <a:pt x="1069" y="752"/>
                  </a:moveTo>
                  <a:lnTo>
                    <a:pt x="1069" y="753"/>
                  </a:lnTo>
                  <a:lnTo>
                    <a:pt x="1069" y="752"/>
                  </a:lnTo>
                  <a:close/>
                  <a:moveTo>
                    <a:pt x="1085" y="752"/>
                  </a:moveTo>
                  <a:lnTo>
                    <a:pt x="1084" y="752"/>
                  </a:lnTo>
                  <a:lnTo>
                    <a:pt x="1085" y="752"/>
                  </a:lnTo>
                  <a:close/>
                  <a:moveTo>
                    <a:pt x="1088" y="752"/>
                  </a:moveTo>
                  <a:lnTo>
                    <a:pt x="1090" y="752"/>
                  </a:lnTo>
                  <a:lnTo>
                    <a:pt x="1088" y="752"/>
                  </a:lnTo>
                  <a:close/>
                  <a:moveTo>
                    <a:pt x="1072" y="752"/>
                  </a:moveTo>
                  <a:lnTo>
                    <a:pt x="1071" y="753"/>
                  </a:lnTo>
                  <a:lnTo>
                    <a:pt x="1072" y="752"/>
                  </a:lnTo>
                  <a:lnTo>
                    <a:pt x="1071" y="752"/>
                  </a:lnTo>
                  <a:lnTo>
                    <a:pt x="1072" y="752"/>
                  </a:lnTo>
                  <a:close/>
                  <a:moveTo>
                    <a:pt x="1051" y="752"/>
                  </a:moveTo>
                  <a:lnTo>
                    <a:pt x="1053" y="752"/>
                  </a:lnTo>
                  <a:lnTo>
                    <a:pt x="1051" y="752"/>
                  </a:lnTo>
                  <a:close/>
                  <a:moveTo>
                    <a:pt x="1074" y="757"/>
                  </a:moveTo>
                  <a:lnTo>
                    <a:pt x="1072" y="757"/>
                  </a:lnTo>
                  <a:lnTo>
                    <a:pt x="1072" y="755"/>
                  </a:lnTo>
                  <a:lnTo>
                    <a:pt x="1074" y="755"/>
                  </a:lnTo>
                  <a:lnTo>
                    <a:pt x="1072" y="755"/>
                  </a:lnTo>
                  <a:lnTo>
                    <a:pt x="1072" y="753"/>
                  </a:lnTo>
                  <a:lnTo>
                    <a:pt x="1072" y="752"/>
                  </a:lnTo>
                  <a:lnTo>
                    <a:pt x="1074" y="752"/>
                  </a:lnTo>
                  <a:lnTo>
                    <a:pt x="1075" y="752"/>
                  </a:lnTo>
                  <a:lnTo>
                    <a:pt x="1075" y="753"/>
                  </a:lnTo>
                  <a:lnTo>
                    <a:pt x="1075" y="755"/>
                  </a:lnTo>
                  <a:lnTo>
                    <a:pt x="1075" y="757"/>
                  </a:lnTo>
                  <a:lnTo>
                    <a:pt x="1075" y="758"/>
                  </a:lnTo>
                  <a:lnTo>
                    <a:pt x="1074" y="758"/>
                  </a:lnTo>
                  <a:lnTo>
                    <a:pt x="1074" y="757"/>
                  </a:lnTo>
                  <a:close/>
                  <a:moveTo>
                    <a:pt x="1053" y="752"/>
                  </a:moveTo>
                  <a:lnTo>
                    <a:pt x="1051" y="752"/>
                  </a:lnTo>
                  <a:lnTo>
                    <a:pt x="1053" y="752"/>
                  </a:lnTo>
                  <a:close/>
                  <a:moveTo>
                    <a:pt x="1051" y="752"/>
                  </a:moveTo>
                  <a:lnTo>
                    <a:pt x="1051" y="750"/>
                  </a:lnTo>
                  <a:lnTo>
                    <a:pt x="1053" y="750"/>
                  </a:lnTo>
                  <a:lnTo>
                    <a:pt x="1051" y="752"/>
                  </a:lnTo>
                  <a:close/>
                  <a:moveTo>
                    <a:pt x="1067" y="750"/>
                  </a:moveTo>
                  <a:lnTo>
                    <a:pt x="1069" y="750"/>
                  </a:lnTo>
                  <a:lnTo>
                    <a:pt x="1067" y="750"/>
                  </a:lnTo>
                  <a:close/>
                  <a:moveTo>
                    <a:pt x="1069" y="750"/>
                  </a:moveTo>
                  <a:lnTo>
                    <a:pt x="1067" y="750"/>
                  </a:lnTo>
                  <a:lnTo>
                    <a:pt x="1069" y="750"/>
                  </a:lnTo>
                  <a:close/>
                  <a:moveTo>
                    <a:pt x="1071" y="750"/>
                  </a:moveTo>
                  <a:lnTo>
                    <a:pt x="1072" y="750"/>
                  </a:lnTo>
                  <a:lnTo>
                    <a:pt x="1072" y="748"/>
                  </a:lnTo>
                  <a:lnTo>
                    <a:pt x="1072" y="750"/>
                  </a:lnTo>
                  <a:lnTo>
                    <a:pt x="1074" y="750"/>
                  </a:lnTo>
                  <a:lnTo>
                    <a:pt x="1072" y="750"/>
                  </a:lnTo>
                  <a:lnTo>
                    <a:pt x="1071" y="750"/>
                  </a:lnTo>
                  <a:close/>
                  <a:moveTo>
                    <a:pt x="1067" y="750"/>
                  </a:moveTo>
                  <a:lnTo>
                    <a:pt x="1067" y="748"/>
                  </a:lnTo>
                  <a:lnTo>
                    <a:pt x="1067" y="750"/>
                  </a:lnTo>
                  <a:close/>
                  <a:moveTo>
                    <a:pt x="1045" y="750"/>
                  </a:moveTo>
                  <a:lnTo>
                    <a:pt x="1045" y="748"/>
                  </a:lnTo>
                  <a:lnTo>
                    <a:pt x="1045" y="750"/>
                  </a:lnTo>
                  <a:close/>
                  <a:moveTo>
                    <a:pt x="1077" y="750"/>
                  </a:moveTo>
                  <a:lnTo>
                    <a:pt x="1077" y="748"/>
                  </a:lnTo>
                  <a:lnTo>
                    <a:pt x="1077" y="750"/>
                  </a:lnTo>
                  <a:close/>
                  <a:moveTo>
                    <a:pt x="1046" y="748"/>
                  </a:moveTo>
                  <a:lnTo>
                    <a:pt x="1046" y="750"/>
                  </a:lnTo>
                  <a:lnTo>
                    <a:pt x="1046" y="748"/>
                  </a:lnTo>
                  <a:close/>
                  <a:moveTo>
                    <a:pt x="1045" y="750"/>
                  </a:moveTo>
                  <a:lnTo>
                    <a:pt x="1046" y="748"/>
                  </a:lnTo>
                  <a:lnTo>
                    <a:pt x="1045" y="750"/>
                  </a:lnTo>
                  <a:close/>
                  <a:moveTo>
                    <a:pt x="1071" y="748"/>
                  </a:moveTo>
                  <a:lnTo>
                    <a:pt x="1072" y="748"/>
                  </a:lnTo>
                  <a:lnTo>
                    <a:pt x="1071" y="748"/>
                  </a:lnTo>
                  <a:close/>
                  <a:moveTo>
                    <a:pt x="1046" y="748"/>
                  </a:moveTo>
                  <a:lnTo>
                    <a:pt x="1048" y="748"/>
                  </a:lnTo>
                  <a:lnTo>
                    <a:pt x="1046" y="748"/>
                  </a:lnTo>
                  <a:lnTo>
                    <a:pt x="1048" y="750"/>
                  </a:lnTo>
                  <a:lnTo>
                    <a:pt x="1046" y="750"/>
                  </a:lnTo>
                  <a:lnTo>
                    <a:pt x="1046" y="748"/>
                  </a:lnTo>
                  <a:close/>
                  <a:moveTo>
                    <a:pt x="1045" y="748"/>
                  </a:moveTo>
                  <a:lnTo>
                    <a:pt x="1046" y="748"/>
                  </a:lnTo>
                  <a:lnTo>
                    <a:pt x="1045" y="748"/>
                  </a:lnTo>
                  <a:close/>
                  <a:moveTo>
                    <a:pt x="1071" y="748"/>
                  </a:moveTo>
                  <a:lnTo>
                    <a:pt x="1072" y="748"/>
                  </a:lnTo>
                  <a:lnTo>
                    <a:pt x="1071" y="748"/>
                  </a:lnTo>
                  <a:close/>
                  <a:moveTo>
                    <a:pt x="1069" y="748"/>
                  </a:moveTo>
                  <a:lnTo>
                    <a:pt x="1069" y="747"/>
                  </a:lnTo>
                  <a:lnTo>
                    <a:pt x="1069" y="748"/>
                  </a:lnTo>
                  <a:close/>
                  <a:moveTo>
                    <a:pt x="1069" y="748"/>
                  </a:moveTo>
                  <a:lnTo>
                    <a:pt x="1069" y="747"/>
                  </a:lnTo>
                  <a:lnTo>
                    <a:pt x="1069" y="748"/>
                  </a:lnTo>
                  <a:close/>
                  <a:moveTo>
                    <a:pt x="1071" y="747"/>
                  </a:moveTo>
                  <a:lnTo>
                    <a:pt x="1071" y="748"/>
                  </a:lnTo>
                  <a:lnTo>
                    <a:pt x="1071" y="747"/>
                  </a:lnTo>
                  <a:close/>
                  <a:moveTo>
                    <a:pt x="1067" y="747"/>
                  </a:moveTo>
                  <a:lnTo>
                    <a:pt x="1067" y="748"/>
                  </a:lnTo>
                  <a:lnTo>
                    <a:pt x="1067" y="747"/>
                  </a:lnTo>
                  <a:close/>
                  <a:moveTo>
                    <a:pt x="1067" y="747"/>
                  </a:moveTo>
                  <a:lnTo>
                    <a:pt x="1069" y="747"/>
                  </a:lnTo>
                  <a:lnTo>
                    <a:pt x="1067" y="748"/>
                  </a:lnTo>
                  <a:lnTo>
                    <a:pt x="1067" y="747"/>
                  </a:lnTo>
                  <a:close/>
                  <a:moveTo>
                    <a:pt x="1072" y="747"/>
                  </a:moveTo>
                  <a:lnTo>
                    <a:pt x="1072" y="748"/>
                  </a:lnTo>
                  <a:lnTo>
                    <a:pt x="1072" y="747"/>
                  </a:lnTo>
                  <a:close/>
                  <a:moveTo>
                    <a:pt x="1072" y="747"/>
                  </a:moveTo>
                  <a:lnTo>
                    <a:pt x="1071" y="747"/>
                  </a:lnTo>
                  <a:lnTo>
                    <a:pt x="1072" y="747"/>
                  </a:lnTo>
                  <a:close/>
                  <a:moveTo>
                    <a:pt x="1067" y="747"/>
                  </a:moveTo>
                  <a:lnTo>
                    <a:pt x="1069" y="747"/>
                  </a:lnTo>
                  <a:lnTo>
                    <a:pt x="1067" y="747"/>
                  </a:lnTo>
                  <a:close/>
                  <a:moveTo>
                    <a:pt x="1069" y="747"/>
                  </a:moveTo>
                  <a:lnTo>
                    <a:pt x="1069" y="745"/>
                  </a:lnTo>
                  <a:lnTo>
                    <a:pt x="1069" y="747"/>
                  </a:lnTo>
                  <a:close/>
                  <a:moveTo>
                    <a:pt x="1071" y="747"/>
                  </a:moveTo>
                  <a:lnTo>
                    <a:pt x="1071" y="745"/>
                  </a:lnTo>
                  <a:lnTo>
                    <a:pt x="1071" y="747"/>
                  </a:lnTo>
                  <a:close/>
                  <a:moveTo>
                    <a:pt x="1072" y="747"/>
                  </a:moveTo>
                  <a:lnTo>
                    <a:pt x="1072" y="745"/>
                  </a:lnTo>
                  <a:lnTo>
                    <a:pt x="1072" y="747"/>
                  </a:lnTo>
                  <a:close/>
                  <a:moveTo>
                    <a:pt x="1058" y="745"/>
                  </a:moveTo>
                  <a:lnTo>
                    <a:pt x="1056" y="745"/>
                  </a:lnTo>
                  <a:lnTo>
                    <a:pt x="1058" y="745"/>
                  </a:lnTo>
                  <a:close/>
                  <a:moveTo>
                    <a:pt x="1072" y="745"/>
                  </a:moveTo>
                  <a:lnTo>
                    <a:pt x="1074" y="745"/>
                  </a:lnTo>
                  <a:lnTo>
                    <a:pt x="1072" y="747"/>
                  </a:lnTo>
                  <a:lnTo>
                    <a:pt x="1072" y="745"/>
                  </a:lnTo>
                  <a:close/>
                  <a:moveTo>
                    <a:pt x="1071" y="745"/>
                  </a:moveTo>
                  <a:lnTo>
                    <a:pt x="1072" y="745"/>
                  </a:lnTo>
                  <a:lnTo>
                    <a:pt x="1071" y="745"/>
                  </a:lnTo>
                  <a:close/>
                  <a:moveTo>
                    <a:pt x="1084" y="745"/>
                  </a:moveTo>
                  <a:lnTo>
                    <a:pt x="1085" y="745"/>
                  </a:lnTo>
                  <a:lnTo>
                    <a:pt x="1084" y="745"/>
                  </a:lnTo>
                  <a:close/>
                  <a:moveTo>
                    <a:pt x="1058" y="745"/>
                  </a:moveTo>
                  <a:lnTo>
                    <a:pt x="1059" y="745"/>
                  </a:lnTo>
                  <a:lnTo>
                    <a:pt x="1058" y="745"/>
                  </a:lnTo>
                  <a:close/>
                  <a:moveTo>
                    <a:pt x="1069" y="745"/>
                  </a:moveTo>
                  <a:lnTo>
                    <a:pt x="1069" y="744"/>
                  </a:lnTo>
                  <a:lnTo>
                    <a:pt x="1069" y="745"/>
                  </a:lnTo>
                  <a:close/>
                  <a:moveTo>
                    <a:pt x="1069" y="745"/>
                  </a:moveTo>
                  <a:lnTo>
                    <a:pt x="1069" y="747"/>
                  </a:lnTo>
                  <a:lnTo>
                    <a:pt x="1069" y="745"/>
                  </a:lnTo>
                  <a:lnTo>
                    <a:pt x="1067" y="745"/>
                  </a:lnTo>
                  <a:lnTo>
                    <a:pt x="1067" y="747"/>
                  </a:lnTo>
                  <a:lnTo>
                    <a:pt x="1069" y="745"/>
                  </a:lnTo>
                  <a:lnTo>
                    <a:pt x="1067" y="745"/>
                  </a:lnTo>
                  <a:lnTo>
                    <a:pt x="1067" y="747"/>
                  </a:lnTo>
                  <a:lnTo>
                    <a:pt x="1067" y="745"/>
                  </a:lnTo>
                  <a:lnTo>
                    <a:pt x="1069" y="745"/>
                  </a:lnTo>
                  <a:lnTo>
                    <a:pt x="1071" y="744"/>
                  </a:lnTo>
                  <a:lnTo>
                    <a:pt x="1069" y="745"/>
                  </a:lnTo>
                  <a:lnTo>
                    <a:pt x="1069" y="744"/>
                  </a:lnTo>
                  <a:lnTo>
                    <a:pt x="1071" y="744"/>
                  </a:lnTo>
                  <a:lnTo>
                    <a:pt x="1069" y="744"/>
                  </a:lnTo>
                  <a:lnTo>
                    <a:pt x="1071" y="744"/>
                  </a:lnTo>
                  <a:lnTo>
                    <a:pt x="1071" y="745"/>
                  </a:lnTo>
                  <a:lnTo>
                    <a:pt x="1069" y="747"/>
                  </a:lnTo>
                  <a:lnTo>
                    <a:pt x="1069" y="745"/>
                  </a:lnTo>
                  <a:lnTo>
                    <a:pt x="1069" y="747"/>
                  </a:lnTo>
                  <a:lnTo>
                    <a:pt x="1069" y="745"/>
                  </a:lnTo>
                  <a:close/>
                  <a:moveTo>
                    <a:pt x="1079" y="744"/>
                  </a:moveTo>
                  <a:lnTo>
                    <a:pt x="1079" y="745"/>
                  </a:lnTo>
                  <a:lnTo>
                    <a:pt x="1079" y="744"/>
                  </a:lnTo>
                  <a:close/>
                  <a:moveTo>
                    <a:pt x="1075" y="744"/>
                  </a:moveTo>
                  <a:lnTo>
                    <a:pt x="1075" y="742"/>
                  </a:lnTo>
                  <a:lnTo>
                    <a:pt x="1075" y="744"/>
                  </a:lnTo>
                  <a:close/>
                  <a:moveTo>
                    <a:pt x="1077" y="742"/>
                  </a:moveTo>
                  <a:lnTo>
                    <a:pt x="1077" y="744"/>
                  </a:lnTo>
                  <a:lnTo>
                    <a:pt x="1077" y="742"/>
                  </a:lnTo>
                  <a:lnTo>
                    <a:pt x="1079" y="744"/>
                  </a:lnTo>
                  <a:lnTo>
                    <a:pt x="1077" y="744"/>
                  </a:lnTo>
                  <a:lnTo>
                    <a:pt x="1079" y="744"/>
                  </a:lnTo>
                  <a:lnTo>
                    <a:pt x="1077" y="744"/>
                  </a:lnTo>
                  <a:lnTo>
                    <a:pt x="1077" y="745"/>
                  </a:lnTo>
                  <a:lnTo>
                    <a:pt x="1077" y="747"/>
                  </a:lnTo>
                  <a:lnTo>
                    <a:pt x="1077" y="748"/>
                  </a:lnTo>
                  <a:lnTo>
                    <a:pt x="1077" y="750"/>
                  </a:lnTo>
                  <a:lnTo>
                    <a:pt x="1075" y="750"/>
                  </a:lnTo>
                  <a:lnTo>
                    <a:pt x="1075" y="748"/>
                  </a:lnTo>
                  <a:lnTo>
                    <a:pt x="1075" y="747"/>
                  </a:lnTo>
                  <a:lnTo>
                    <a:pt x="1074" y="748"/>
                  </a:lnTo>
                  <a:lnTo>
                    <a:pt x="1075" y="747"/>
                  </a:lnTo>
                  <a:lnTo>
                    <a:pt x="1074" y="747"/>
                  </a:lnTo>
                  <a:lnTo>
                    <a:pt x="1074" y="745"/>
                  </a:lnTo>
                  <a:lnTo>
                    <a:pt x="1075" y="745"/>
                  </a:lnTo>
                  <a:lnTo>
                    <a:pt x="1075" y="744"/>
                  </a:lnTo>
                  <a:lnTo>
                    <a:pt x="1075" y="745"/>
                  </a:lnTo>
                  <a:lnTo>
                    <a:pt x="1075" y="744"/>
                  </a:lnTo>
                  <a:lnTo>
                    <a:pt x="1077" y="744"/>
                  </a:lnTo>
                  <a:lnTo>
                    <a:pt x="1077" y="742"/>
                  </a:lnTo>
                  <a:close/>
                  <a:moveTo>
                    <a:pt x="1066" y="742"/>
                  </a:moveTo>
                  <a:lnTo>
                    <a:pt x="1067" y="742"/>
                  </a:lnTo>
                  <a:lnTo>
                    <a:pt x="1066" y="742"/>
                  </a:lnTo>
                  <a:close/>
                  <a:moveTo>
                    <a:pt x="1084" y="740"/>
                  </a:moveTo>
                  <a:lnTo>
                    <a:pt x="1085" y="740"/>
                  </a:lnTo>
                  <a:lnTo>
                    <a:pt x="1085" y="742"/>
                  </a:lnTo>
                  <a:lnTo>
                    <a:pt x="1084" y="740"/>
                  </a:lnTo>
                  <a:close/>
                  <a:moveTo>
                    <a:pt x="1085" y="740"/>
                  </a:moveTo>
                  <a:lnTo>
                    <a:pt x="1085" y="742"/>
                  </a:lnTo>
                  <a:lnTo>
                    <a:pt x="1085" y="740"/>
                  </a:lnTo>
                  <a:close/>
                  <a:moveTo>
                    <a:pt x="1043" y="742"/>
                  </a:moveTo>
                  <a:lnTo>
                    <a:pt x="1043" y="740"/>
                  </a:lnTo>
                  <a:lnTo>
                    <a:pt x="1043" y="742"/>
                  </a:lnTo>
                  <a:close/>
                  <a:moveTo>
                    <a:pt x="1046" y="742"/>
                  </a:moveTo>
                  <a:lnTo>
                    <a:pt x="1046" y="740"/>
                  </a:lnTo>
                  <a:lnTo>
                    <a:pt x="1046" y="742"/>
                  </a:lnTo>
                  <a:close/>
                  <a:moveTo>
                    <a:pt x="1046" y="742"/>
                  </a:moveTo>
                  <a:lnTo>
                    <a:pt x="1046" y="740"/>
                  </a:lnTo>
                  <a:lnTo>
                    <a:pt x="1046" y="742"/>
                  </a:lnTo>
                  <a:close/>
                  <a:moveTo>
                    <a:pt x="1085" y="740"/>
                  </a:moveTo>
                  <a:lnTo>
                    <a:pt x="1087" y="740"/>
                  </a:lnTo>
                  <a:lnTo>
                    <a:pt x="1085" y="740"/>
                  </a:lnTo>
                  <a:close/>
                  <a:moveTo>
                    <a:pt x="1046" y="740"/>
                  </a:moveTo>
                  <a:lnTo>
                    <a:pt x="1048" y="740"/>
                  </a:lnTo>
                  <a:lnTo>
                    <a:pt x="1046" y="740"/>
                  </a:lnTo>
                  <a:close/>
                  <a:moveTo>
                    <a:pt x="1041" y="740"/>
                  </a:moveTo>
                  <a:lnTo>
                    <a:pt x="1041" y="739"/>
                  </a:lnTo>
                  <a:lnTo>
                    <a:pt x="1041" y="740"/>
                  </a:lnTo>
                  <a:close/>
                  <a:moveTo>
                    <a:pt x="1084" y="740"/>
                  </a:moveTo>
                  <a:lnTo>
                    <a:pt x="1084" y="739"/>
                  </a:lnTo>
                  <a:lnTo>
                    <a:pt x="1084" y="740"/>
                  </a:lnTo>
                  <a:close/>
                  <a:moveTo>
                    <a:pt x="1043" y="740"/>
                  </a:moveTo>
                  <a:lnTo>
                    <a:pt x="1043" y="739"/>
                  </a:lnTo>
                  <a:lnTo>
                    <a:pt x="1043" y="740"/>
                  </a:lnTo>
                  <a:close/>
                  <a:moveTo>
                    <a:pt x="1072" y="739"/>
                  </a:moveTo>
                  <a:lnTo>
                    <a:pt x="1071" y="739"/>
                  </a:lnTo>
                  <a:lnTo>
                    <a:pt x="1072" y="739"/>
                  </a:lnTo>
                  <a:close/>
                  <a:moveTo>
                    <a:pt x="1077" y="739"/>
                  </a:moveTo>
                  <a:lnTo>
                    <a:pt x="1075" y="739"/>
                  </a:lnTo>
                  <a:lnTo>
                    <a:pt x="1077" y="737"/>
                  </a:lnTo>
                  <a:lnTo>
                    <a:pt x="1077" y="739"/>
                  </a:lnTo>
                  <a:close/>
                  <a:moveTo>
                    <a:pt x="1072" y="739"/>
                  </a:moveTo>
                  <a:lnTo>
                    <a:pt x="1072" y="737"/>
                  </a:lnTo>
                  <a:lnTo>
                    <a:pt x="1072" y="739"/>
                  </a:lnTo>
                  <a:close/>
                  <a:moveTo>
                    <a:pt x="1077" y="737"/>
                  </a:moveTo>
                  <a:lnTo>
                    <a:pt x="1077" y="739"/>
                  </a:lnTo>
                  <a:lnTo>
                    <a:pt x="1077" y="737"/>
                  </a:lnTo>
                  <a:close/>
                  <a:moveTo>
                    <a:pt x="1077" y="737"/>
                  </a:moveTo>
                  <a:lnTo>
                    <a:pt x="1075" y="737"/>
                  </a:lnTo>
                  <a:lnTo>
                    <a:pt x="1077" y="737"/>
                  </a:lnTo>
                  <a:close/>
                  <a:moveTo>
                    <a:pt x="1077" y="737"/>
                  </a:moveTo>
                  <a:lnTo>
                    <a:pt x="1077" y="735"/>
                  </a:lnTo>
                  <a:lnTo>
                    <a:pt x="1077" y="737"/>
                  </a:lnTo>
                  <a:close/>
                  <a:moveTo>
                    <a:pt x="1077" y="737"/>
                  </a:moveTo>
                  <a:lnTo>
                    <a:pt x="1077" y="735"/>
                  </a:lnTo>
                  <a:lnTo>
                    <a:pt x="1079" y="735"/>
                  </a:lnTo>
                  <a:lnTo>
                    <a:pt x="1077" y="737"/>
                  </a:lnTo>
                  <a:close/>
                  <a:moveTo>
                    <a:pt x="1043" y="737"/>
                  </a:moveTo>
                  <a:lnTo>
                    <a:pt x="1041" y="737"/>
                  </a:lnTo>
                  <a:lnTo>
                    <a:pt x="1043" y="735"/>
                  </a:lnTo>
                  <a:lnTo>
                    <a:pt x="1043" y="737"/>
                  </a:lnTo>
                  <a:close/>
                  <a:moveTo>
                    <a:pt x="1041" y="735"/>
                  </a:moveTo>
                  <a:lnTo>
                    <a:pt x="1043" y="735"/>
                  </a:lnTo>
                  <a:lnTo>
                    <a:pt x="1041" y="735"/>
                  </a:lnTo>
                  <a:close/>
                  <a:moveTo>
                    <a:pt x="1049" y="735"/>
                  </a:moveTo>
                  <a:lnTo>
                    <a:pt x="1051" y="735"/>
                  </a:lnTo>
                  <a:lnTo>
                    <a:pt x="1049" y="735"/>
                  </a:lnTo>
                  <a:close/>
                  <a:moveTo>
                    <a:pt x="1040" y="735"/>
                  </a:moveTo>
                  <a:lnTo>
                    <a:pt x="1040" y="737"/>
                  </a:lnTo>
                  <a:lnTo>
                    <a:pt x="1040" y="735"/>
                  </a:lnTo>
                  <a:lnTo>
                    <a:pt x="1041" y="735"/>
                  </a:lnTo>
                  <a:lnTo>
                    <a:pt x="1040" y="735"/>
                  </a:lnTo>
                  <a:close/>
                  <a:moveTo>
                    <a:pt x="1080" y="735"/>
                  </a:moveTo>
                  <a:lnTo>
                    <a:pt x="1079" y="735"/>
                  </a:lnTo>
                  <a:lnTo>
                    <a:pt x="1080" y="735"/>
                  </a:lnTo>
                  <a:close/>
                  <a:moveTo>
                    <a:pt x="1041" y="735"/>
                  </a:moveTo>
                  <a:lnTo>
                    <a:pt x="1041" y="737"/>
                  </a:lnTo>
                  <a:lnTo>
                    <a:pt x="1041" y="735"/>
                  </a:lnTo>
                  <a:lnTo>
                    <a:pt x="1041" y="737"/>
                  </a:lnTo>
                  <a:lnTo>
                    <a:pt x="1040" y="737"/>
                  </a:lnTo>
                  <a:lnTo>
                    <a:pt x="1040" y="735"/>
                  </a:lnTo>
                  <a:lnTo>
                    <a:pt x="1041" y="735"/>
                  </a:lnTo>
                  <a:lnTo>
                    <a:pt x="1041" y="737"/>
                  </a:lnTo>
                  <a:lnTo>
                    <a:pt x="1041" y="735"/>
                  </a:lnTo>
                  <a:lnTo>
                    <a:pt x="1043" y="735"/>
                  </a:lnTo>
                  <a:lnTo>
                    <a:pt x="1041" y="735"/>
                  </a:lnTo>
                  <a:close/>
                  <a:moveTo>
                    <a:pt x="1080" y="735"/>
                  </a:moveTo>
                  <a:lnTo>
                    <a:pt x="1080" y="737"/>
                  </a:lnTo>
                  <a:lnTo>
                    <a:pt x="1079" y="737"/>
                  </a:lnTo>
                  <a:lnTo>
                    <a:pt x="1080" y="735"/>
                  </a:lnTo>
                  <a:lnTo>
                    <a:pt x="1079" y="735"/>
                  </a:lnTo>
                  <a:lnTo>
                    <a:pt x="1080" y="735"/>
                  </a:lnTo>
                  <a:lnTo>
                    <a:pt x="1082" y="735"/>
                  </a:lnTo>
                  <a:lnTo>
                    <a:pt x="1080" y="735"/>
                  </a:lnTo>
                  <a:close/>
                  <a:moveTo>
                    <a:pt x="1064" y="735"/>
                  </a:moveTo>
                  <a:lnTo>
                    <a:pt x="1062" y="735"/>
                  </a:lnTo>
                  <a:lnTo>
                    <a:pt x="1062" y="734"/>
                  </a:lnTo>
                  <a:lnTo>
                    <a:pt x="1064" y="734"/>
                  </a:lnTo>
                  <a:lnTo>
                    <a:pt x="1064" y="735"/>
                  </a:lnTo>
                  <a:close/>
                  <a:moveTo>
                    <a:pt x="1085" y="735"/>
                  </a:moveTo>
                  <a:lnTo>
                    <a:pt x="1085" y="734"/>
                  </a:lnTo>
                  <a:lnTo>
                    <a:pt x="1087" y="734"/>
                  </a:lnTo>
                  <a:lnTo>
                    <a:pt x="1085" y="735"/>
                  </a:lnTo>
                  <a:close/>
                  <a:moveTo>
                    <a:pt x="1041" y="734"/>
                  </a:moveTo>
                  <a:lnTo>
                    <a:pt x="1041" y="735"/>
                  </a:lnTo>
                  <a:lnTo>
                    <a:pt x="1041" y="734"/>
                  </a:lnTo>
                  <a:lnTo>
                    <a:pt x="1043" y="735"/>
                  </a:lnTo>
                  <a:lnTo>
                    <a:pt x="1041" y="735"/>
                  </a:lnTo>
                  <a:lnTo>
                    <a:pt x="1041" y="734"/>
                  </a:lnTo>
                  <a:close/>
                  <a:moveTo>
                    <a:pt x="1051" y="735"/>
                  </a:moveTo>
                  <a:lnTo>
                    <a:pt x="1051" y="734"/>
                  </a:lnTo>
                  <a:lnTo>
                    <a:pt x="1051" y="735"/>
                  </a:lnTo>
                  <a:close/>
                  <a:moveTo>
                    <a:pt x="1082" y="734"/>
                  </a:moveTo>
                  <a:lnTo>
                    <a:pt x="1080" y="734"/>
                  </a:lnTo>
                  <a:lnTo>
                    <a:pt x="1082" y="734"/>
                  </a:lnTo>
                  <a:close/>
                  <a:moveTo>
                    <a:pt x="1048" y="734"/>
                  </a:moveTo>
                  <a:lnTo>
                    <a:pt x="1049" y="734"/>
                  </a:lnTo>
                  <a:lnTo>
                    <a:pt x="1048" y="734"/>
                  </a:lnTo>
                  <a:close/>
                  <a:moveTo>
                    <a:pt x="1048" y="735"/>
                  </a:moveTo>
                  <a:lnTo>
                    <a:pt x="1049" y="734"/>
                  </a:lnTo>
                  <a:lnTo>
                    <a:pt x="1049" y="735"/>
                  </a:lnTo>
                  <a:lnTo>
                    <a:pt x="1048" y="735"/>
                  </a:lnTo>
                  <a:close/>
                  <a:moveTo>
                    <a:pt x="1049" y="734"/>
                  </a:moveTo>
                  <a:lnTo>
                    <a:pt x="1049" y="735"/>
                  </a:lnTo>
                  <a:lnTo>
                    <a:pt x="1049" y="734"/>
                  </a:lnTo>
                  <a:close/>
                  <a:moveTo>
                    <a:pt x="1062" y="734"/>
                  </a:moveTo>
                  <a:lnTo>
                    <a:pt x="1064" y="734"/>
                  </a:lnTo>
                  <a:lnTo>
                    <a:pt x="1062" y="734"/>
                  </a:lnTo>
                  <a:lnTo>
                    <a:pt x="1064" y="734"/>
                  </a:lnTo>
                  <a:lnTo>
                    <a:pt x="1062" y="734"/>
                  </a:lnTo>
                  <a:close/>
                  <a:moveTo>
                    <a:pt x="1077" y="734"/>
                  </a:moveTo>
                  <a:lnTo>
                    <a:pt x="1079" y="734"/>
                  </a:lnTo>
                  <a:lnTo>
                    <a:pt x="1080" y="734"/>
                  </a:lnTo>
                  <a:lnTo>
                    <a:pt x="1079" y="734"/>
                  </a:lnTo>
                  <a:lnTo>
                    <a:pt x="1079" y="735"/>
                  </a:lnTo>
                  <a:lnTo>
                    <a:pt x="1079" y="734"/>
                  </a:lnTo>
                  <a:lnTo>
                    <a:pt x="1079" y="735"/>
                  </a:lnTo>
                  <a:lnTo>
                    <a:pt x="1079" y="734"/>
                  </a:lnTo>
                  <a:lnTo>
                    <a:pt x="1079" y="735"/>
                  </a:lnTo>
                  <a:lnTo>
                    <a:pt x="1077" y="735"/>
                  </a:lnTo>
                  <a:lnTo>
                    <a:pt x="1077" y="734"/>
                  </a:lnTo>
                  <a:lnTo>
                    <a:pt x="1077" y="735"/>
                  </a:lnTo>
                  <a:lnTo>
                    <a:pt x="1077" y="734"/>
                  </a:lnTo>
                  <a:close/>
                  <a:moveTo>
                    <a:pt x="1077" y="734"/>
                  </a:moveTo>
                  <a:lnTo>
                    <a:pt x="1075" y="734"/>
                  </a:lnTo>
                  <a:lnTo>
                    <a:pt x="1077" y="734"/>
                  </a:lnTo>
                  <a:close/>
                  <a:moveTo>
                    <a:pt x="1087" y="734"/>
                  </a:moveTo>
                  <a:lnTo>
                    <a:pt x="1085" y="734"/>
                  </a:lnTo>
                  <a:lnTo>
                    <a:pt x="1087" y="734"/>
                  </a:lnTo>
                  <a:close/>
                  <a:moveTo>
                    <a:pt x="1041" y="732"/>
                  </a:moveTo>
                  <a:lnTo>
                    <a:pt x="1041" y="734"/>
                  </a:lnTo>
                  <a:lnTo>
                    <a:pt x="1041" y="732"/>
                  </a:lnTo>
                  <a:close/>
                  <a:moveTo>
                    <a:pt x="1077" y="732"/>
                  </a:moveTo>
                  <a:lnTo>
                    <a:pt x="1077" y="734"/>
                  </a:lnTo>
                  <a:lnTo>
                    <a:pt x="1075" y="734"/>
                  </a:lnTo>
                  <a:lnTo>
                    <a:pt x="1075" y="732"/>
                  </a:lnTo>
                  <a:lnTo>
                    <a:pt x="1077" y="732"/>
                  </a:lnTo>
                  <a:close/>
                  <a:moveTo>
                    <a:pt x="1059" y="732"/>
                  </a:moveTo>
                  <a:lnTo>
                    <a:pt x="1058" y="734"/>
                  </a:lnTo>
                  <a:lnTo>
                    <a:pt x="1058" y="732"/>
                  </a:lnTo>
                  <a:lnTo>
                    <a:pt x="1059" y="732"/>
                  </a:lnTo>
                  <a:close/>
                  <a:moveTo>
                    <a:pt x="1082" y="732"/>
                  </a:moveTo>
                  <a:lnTo>
                    <a:pt x="1084" y="732"/>
                  </a:lnTo>
                  <a:lnTo>
                    <a:pt x="1082" y="732"/>
                  </a:lnTo>
                  <a:close/>
                  <a:moveTo>
                    <a:pt x="1077" y="732"/>
                  </a:moveTo>
                  <a:lnTo>
                    <a:pt x="1079" y="732"/>
                  </a:lnTo>
                  <a:lnTo>
                    <a:pt x="1077" y="732"/>
                  </a:lnTo>
                  <a:close/>
                  <a:moveTo>
                    <a:pt x="1075" y="732"/>
                  </a:moveTo>
                  <a:lnTo>
                    <a:pt x="1077" y="732"/>
                  </a:lnTo>
                  <a:lnTo>
                    <a:pt x="1075" y="732"/>
                  </a:lnTo>
                  <a:close/>
                  <a:moveTo>
                    <a:pt x="1077" y="732"/>
                  </a:moveTo>
                  <a:lnTo>
                    <a:pt x="1077" y="731"/>
                  </a:lnTo>
                  <a:lnTo>
                    <a:pt x="1077" y="732"/>
                  </a:lnTo>
                  <a:close/>
                  <a:moveTo>
                    <a:pt x="1079" y="732"/>
                  </a:moveTo>
                  <a:lnTo>
                    <a:pt x="1079" y="731"/>
                  </a:lnTo>
                  <a:lnTo>
                    <a:pt x="1080" y="732"/>
                  </a:lnTo>
                  <a:lnTo>
                    <a:pt x="1079" y="732"/>
                  </a:lnTo>
                  <a:close/>
                  <a:moveTo>
                    <a:pt x="1077" y="731"/>
                  </a:moveTo>
                  <a:lnTo>
                    <a:pt x="1079" y="731"/>
                  </a:lnTo>
                  <a:lnTo>
                    <a:pt x="1077" y="731"/>
                  </a:lnTo>
                  <a:close/>
                  <a:moveTo>
                    <a:pt x="1056" y="731"/>
                  </a:moveTo>
                  <a:lnTo>
                    <a:pt x="1058" y="731"/>
                  </a:lnTo>
                  <a:lnTo>
                    <a:pt x="1056" y="731"/>
                  </a:lnTo>
                  <a:close/>
                  <a:moveTo>
                    <a:pt x="1079" y="731"/>
                  </a:moveTo>
                  <a:lnTo>
                    <a:pt x="1080" y="731"/>
                  </a:lnTo>
                  <a:lnTo>
                    <a:pt x="1079" y="731"/>
                  </a:lnTo>
                  <a:close/>
                  <a:moveTo>
                    <a:pt x="1077" y="731"/>
                  </a:moveTo>
                  <a:lnTo>
                    <a:pt x="1079" y="731"/>
                  </a:lnTo>
                  <a:lnTo>
                    <a:pt x="1077" y="731"/>
                  </a:lnTo>
                  <a:close/>
                  <a:moveTo>
                    <a:pt x="1074" y="731"/>
                  </a:moveTo>
                  <a:lnTo>
                    <a:pt x="1074" y="729"/>
                  </a:lnTo>
                  <a:lnTo>
                    <a:pt x="1075" y="731"/>
                  </a:lnTo>
                  <a:lnTo>
                    <a:pt x="1074" y="731"/>
                  </a:lnTo>
                  <a:close/>
                  <a:moveTo>
                    <a:pt x="1077" y="729"/>
                  </a:moveTo>
                  <a:lnTo>
                    <a:pt x="1077" y="731"/>
                  </a:lnTo>
                  <a:lnTo>
                    <a:pt x="1077" y="729"/>
                  </a:lnTo>
                  <a:close/>
                  <a:moveTo>
                    <a:pt x="1079" y="731"/>
                  </a:moveTo>
                  <a:lnTo>
                    <a:pt x="1079" y="729"/>
                  </a:lnTo>
                  <a:lnTo>
                    <a:pt x="1079" y="731"/>
                  </a:lnTo>
                  <a:close/>
                  <a:moveTo>
                    <a:pt x="1080" y="729"/>
                  </a:moveTo>
                  <a:lnTo>
                    <a:pt x="1080" y="731"/>
                  </a:lnTo>
                  <a:lnTo>
                    <a:pt x="1080" y="729"/>
                  </a:lnTo>
                  <a:close/>
                  <a:moveTo>
                    <a:pt x="1080" y="731"/>
                  </a:moveTo>
                  <a:lnTo>
                    <a:pt x="1080" y="729"/>
                  </a:lnTo>
                  <a:lnTo>
                    <a:pt x="1080" y="731"/>
                  </a:lnTo>
                  <a:close/>
                  <a:moveTo>
                    <a:pt x="1075" y="731"/>
                  </a:moveTo>
                  <a:lnTo>
                    <a:pt x="1075" y="729"/>
                  </a:lnTo>
                  <a:lnTo>
                    <a:pt x="1075" y="731"/>
                  </a:lnTo>
                  <a:close/>
                  <a:moveTo>
                    <a:pt x="1077" y="731"/>
                  </a:moveTo>
                  <a:lnTo>
                    <a:pt x="1077" y="729"/>
                  </a:lnTo>
                  <a:lnTo>
                    <a:pt x="1079" y="729"/>
                  </a:lnTo>
                  <a:lnTo>
                    <a:pt x="1079" y="731"/>
                  </a:lnTo>
                  <a:lnTo>
                    <a:pt x="1077" y="731"/>
                  </a:lnTo>
                  <a:close/>
                  <a:moveTo>
                    <a:pt x="1090" y="731"/>
                  </a:moveTo>
                  <a:lnTo>
                    <a:pt x="1092" y="731"/>
                  </a:lnTo>
                  <a:lnTo>
                    <a:pt x="1092" y="729"/>
                  </a:lnTo>
                  <a:lnTo>
                    <a:pt x="1092" y="731"/>
                  </a:lnTo>
                  <a:lnTo>
                    <a:pt x="1092" y="729"/>
                  </a:lnTo>
                  <a:lnTo>
                    <a:pt x="1092" y="731"/>
                  </a:lnTo>
                  <a:lnTo>
                    <a:pt x="1092" y="729"/>
                  </a:lnTo>
                  <a:lnTo>
                    <a:pt x="1093" y="731"/>
                  </a:lnTo>
                  <a:lnTo>
                    <a:pt x="1095" y="731"/>
                  </a:lnTo>
                  <a:lnTo>
                    <a:pt x="1097" y="731"/>
                  </a:lnTo>
                  <a:lnTo>
                    <a:pt x="1098" y="731"/>
                  </a:lnTo>
                  <a:lnTo>
                    <a:pt x="1098" y="732"/>
                  </a:lnTo>
                  <a:lnTo>
                    <a:pt x="1098" y="734"/>
                  </a:lnTo>
                  <a:lnTo>
                    <a:pt x="1095" y="734"/>
                  </a:lnTo>
                  <a:lnTo>
                    <a:pt x="1093" y="734"/>
                  </a:lnTo>
                  <a:lnTo>
                    <a:pt x="1093" y="735"/>
                  </a:lnTo>
                  <a:lnTo>
                    <a:pt x="1092" y="735"/>
                  </a:lnTo>
                  <a:lnTo>
                    <a:pt x="1090" y="735"/>
                  </a:lnTo>
                  <a:lnTo>
                    <a:pt x="1088" y="734"/>
                  </a:lnTo>
                  <a:lnTo>
                    <a:pt x="1087" y="735"/>
                  </a:lnTo>
                  <a:lnTo>
                    <a:pt x="1087" y="734"/>
                  </a:lnTo>
                  <a:lnTo>
                    <a:pt x="1087" y="735"/>
                  </a:lnTo>
                  <a:lnTo>
                    <a:pt x="1087" y="734"/>
                  </a:lnTo>
                  <a:lnTo>
                    <a:pt x="1087" y="732"/>
                  </a:lnTo>
                  <a:lnTo>
                    <a:pt x="1088" y="732"/>
                  </a:lnTo>
                  <a:lnTo>
                    <a:pt x="1090" y="732"/>
                  </a:lnTo>
                  <a:lnTo>
                    <a:pt x="1092" y="731"/>
                  </a:lnTo>
                  <a:lnTo>
                    <a:pt x="1090" y="731"/>
                  </a:lnTo>
                  <a:close/>
                  <a:moveTo>
                    <a:pt x="1054" y="731"/>
                  </a:moveTo>
                  <a:lnTo>
                    <a:pt x="1054" y="729"/>
                  </a:lnTo>
                  <a:lnTo>
                    <a:pt x="1054" y="731"/>
                  </a:lnTo>
                  <a:close/>
                  <a:moveTo>
                    <a:pt x="1082" y="729"/>
                  </a:moveTo>
                  <a:lnTo>
                    <a:pt x="1080" y="731"/>
                  </a:lnTo>
                  <a:lnTo>
                    <a:pt x="1080" y="729"/>
                  </a:lnTo>
                  <a:lnTo>
                    <a:pt x="1082" y="729"/>
                  </a:lnTo>
                  <a:close/>
                  <a:moveTo>
                    <a:pt x="1058" y="729"/>
                  </a:moveTo>
                  <a:lnTo>
                    <a:pt x="1058" y="731"/>
                  </a:lnTo>
                  <a:lnTo>
                    <a:pt x="1056" y="731"/>
                  </a:lnTo>
                  <a:lnTo>
                    <a:pt x="1058" y="729"/>
                  </a:lnTo>
                  <a:close/>
                  <a:moveTo>
                    <a:pt x="1097" y="729"/>
                  </a:moveTo>
                  <a:lnTo>
                    <a:pt x="1098" y="729"/>
                  </a:lnTo>
                  <a:lnTo>
                    <a:pt x="1097" y="729"/>
                  </a:lnTo>
                  <a:close/>
                  <a:moveTo>
                    <a:pt x="1058" y="729"/>
                  </a:moveTo>
                  <a:lnTo>
                    <a:pt x="1056" y="729"/>
                  </a:lnTo>
                  <a:lnTo>
                    <a:pt x="1058" y="729"/>
                  </a:lnTo>
                  <a:close/>
                  <a:moveTo>
                    <a:pt x="1082" y="729"/>
                  </a:moveTo>
                  <a:lnTo>
                    <a:pt x="1080" y="729"/>
                  </a:lnTo>
                  <a:lnTo>
                    <a:pt x="1082" y="729"/>
                  </a:lnTo>
                  <a:close/>
                  <a:moveTo>
                    <a:pt x="1079" y="729"/>
                  </a:moveTo>
                  <a:lnTo>
                    <a:pt x="1080" y="729"/>
                  </a:lnTo>
                  <a:lnTo>
                    <a:pt x="1079" y="729"/>
                  </a:lnTo>
                  <a:close/>
                  <a:moveTo>
                    <a:pt x="1080" y="729"/>
                  </a:moveTo>
                  <a:lnTo>
                    <a:pt x="1080" y="727"/>
                  </a:lnTo>
                  <a:lnTo>
                    <a:pt x="1080" y="729"/>
                  </a:lnTo>
                  <a:close/>
                  <a:moveTo>
                    <a:pt x="1097" y="729"/>
                  </a:moveTo>
                  <a:lnTo>
                    <a:pt x="1098" y="729"/>
                  </a:lnTo>
                  <a:lnTo>
                    <a:pt x="1100" y="731"/>
                  </a:lnTo>
                  <a:lnTo>
                    <a:pt x="1100" y="729"/>
                  </a:lnTo>
                  <a:lnTo>
                    <a:pt x="1100" y="731"/>
                  </a:lnTo>
                  <a:lnTo>
                    <a:pt x="1098" y="731"/>
                  </a:lnTo>
                  <a:lnTo>
                    <a:pt x="1098" y="729"/>
                  </a:lnTo>
                  <a:lnTo>
                    <a:pt x="1097" y="729"/>
                  </a:lnTo>
                  <a:lnTo>
                    <a:pt x="1097" y="731"/>
                  </a:lnTo>
                  <a:lnTo>
                    <a:pt x="1095" y="731"/>
                  </a:lnTo>
                  <a:lnTo>
                    <a:pt x="1093" y="729"/>
                  </a:lnTo>
                  <a:lnTo>
                    <a:pt x="1095" y="729"/>
                  </a:lnTo>
                  <a:lnTo>
                    <a:pt x="1097" y="727"/>
                  </a:lnTo>
                  <a:lnTo>
                    <a:pt x="1097" y="729"/>
                  </a:lnTo>
                  <a:close/>
                  <a:moveTo>
                    <a:pt x="1079" y="727"/>
                  </a:moveTo>
                  <a:lnTo>
                    <a:pt x="1079" y="729"/>
                  </a:lnTo>
                  <a:lnTo>
                    <a:pt x="1079" y="727"/>
                  </a:lnTo>
                  <a:close/>
                  <a:moveTo>
                    <a:pt x="1058" y="729"/>
                  </a:moveTo>
                  <a:lnTo>
                    <a:pt x="1058" y="727"/>
                  </a:lnTo>
                  <a:lnTo>
                    <a:pt x="1058" y="729"/>
                  </a:lnTo>
                  <a:close/>
                  <a:moveTo>
                    <a:pt x="1080" y="727"/>
                  </a:moveTo>
                  <a:lnTo>
                    <a:pt x="1080" y="729"/>
                  </a:lnTo>
                  <a:lnTo>
                    <a:pt x="1080" y="727"/>
                  </a:lnTo>
                  <a:close/>
                  <a:moveTo>
                    <a:pt x="1079" y="727"/>
                  </a:moveTo>
                  <a:lnTo>
                    <a:pt x="1079" y="729"/>
                  </a:lnTo>
                  <a:lnTo>
                    <a:pt x="1079" y="727"/>
                  </a:lnTo>
                  <a:close/>
                  <a:moveTo>
                    <a:pt x="1082" y="727"/>
                  </a:moveTo>
                  <a:lnTo>
                    <a:pt x="1080" y="727"/>
                  </a:lnTo>
                  <a:lnTo>
                    <a:pt x="1082" y="727"/>
                  </a:lnTo>
                  <a:close/>
                  <a:moveTo>
                    <a:pt x="1077" y="727"/>
                  </a:moveTo>
                  <a:lnTo>
                    <a:pt x="1075" y="729"/>
                  </a:lnTo>
                  <a:lnTo>
                    <a:pt x="1077" y="729"/>
                  </a:lnTo>
                  <a:lnTo>
                    <a:pt x="1075" y="729"/>
                  </a:lnTo>
                  <a:lnTo>
                    <a:pt x="1075" y="727"/>
                  </a:lnTo>
                  <a:lnTo>
                    <a:pt x="1077" y="727"/>
                  </a:lnTo>
                  <a:close/>
                  <a:moveTo>
                    <a:pt x="1088" y="727"/>
                  </a:moveTo>
                  <a:lnTo>
                    <a:pt x="1090" y="727"/>
                  </a:lnTo>
                  <a:lnTo>
                    <a:pt x="1088" y="727"/>
                  </a:lnTo>
                  <a:close/>
                  <a:moveTo>
                    <a:pt x="1087" y="727"/>
                  </a:moveTo>
                  <a:lnTo>
                    <a:pt x="1088" y="727"/>
                  </a:lnTo>
                  <a:lnTo>
                    <a:pt x="1087" y="727"/>
                  </a:lnTo>
                  <a:close/>
                  <a:moveTo>
                    <a:pt x="1079" y="727"/>
                  </a:moveTo>
                  <a:lnTo>
                    <a:pt x="1080" y="727"/>
                  </a:lnTo>
                  <a:lnTo>
                    <a:pt x="1079" y="727"/>
                  </a:lnTo>
                  <a:close/>
                  <a:moveTo>
                    <a:pt x="1080" y="727"/>
                  </a:moveTo>
                  <a:lnTo>
                    <a:pt x="1079" y="727"/>
                  </a:lnTo>
                  <a:lnTo>
                    <a:pt x="1080" y="727"/>
                  </a:lnTo>
                  <a:close/>
                  <a:moveTo>
                    <a:pt x="1084" y="727"/>
                  </a:moveTo>
                  <a:lnTo>
                    <a:pt x="1085" y="727"/>
                  </a:lnTo>
                  <a:lnTo>
                    <a:pt x="1084" y="727"/>
                  </a:lnTo>
                  <a:lnTo>
                    <a:pt x="1085" y="727"/>
                  </a:lnTo>
                  <a:lnTo>
                    <a:pt x="1085" y="729"/>
                  </a:lnTo>
                  <a:lnTo>
                    <a:pt x="1084" y="729"/>
                  </a:lnTo>
                  <a:lnTo>
                    <a:pt x="1082" y="729"/>
                  </a:lnTo>
                  <a:lnTo>
                    <a:pt x="1082" y="727"/>
                  </a:lnTo>
                  <a:lnTo>
                    <a:pt x="1084" y="727"/>
                  </a:lnTo>
                  <a:close/>
                  <a:moveTo>
                    <a:pt x="1082" y="727"/>
                  </a:moveTo>
                  <a:lnTo>
                    <a:pt x="1082" y="726"/>
                  </a:lnTo>
                  <a:lnTo>
                    <a:pt x="1082" y="727"/>
                  </a:lnTo>
                  <a:close/>
                  <a:moveTo>
                    <a:pt x="1069" y="727"/>
                  </a:moveTo>
                  <a:lnTo>
                    <a:pt x="1071" y="726"/>
                  </a:lnTo>
                  <a:lnTo>
                    <a:pt x="1071" y="727"/>
                  </a:lnTo>
                  <a:lnTo>
                    <a:pt x="1069" y="727"/>
                  </a:lnTo>
                  <a:close/>
                  <a:moveTo>
                    <a:pt x="1058" y="726"/>
                  </a:moveTo>
                  <a:lnTo>
                    <a:pt x="1056" y="726"/>
                  </a:lnTo>
                  <a:lnTo>
                    <a:pt x="1058" y="726"/>
                  </a:lnTo>
                  <a:close/>
                  <a:moveTo>
                    <a:pt x="1077" y="727"/>
                  </a:moveTo>
                  <a:lnTo>
                    <a:pt x="1079" y="726"/>
                  </a:lnTo>
                  <a:lnTo>
                    <a:pt x="1077" y="727"/>
                  </a:lnTo>
                  <a:close/>
                  <a:moveTo>
                    <a:pt x="1075" y="726"/>
                  </a:moveTo>
                  <a:lnTo>
                    <a:pt x="1077" y="726"/>
                  </a:lnTo>
                  <a:lnTo>
                    <a:pt x="1075" y="726"/>
                  </a:lnTo>
                  <a:close/>
                  <a:moveTo>
                    <a:pt x="1077" y="726"/>
                  </a:moveTo>
                  <a:lnTo>
                    <a:pt x="1079" y="726"/>
                  </a:lnTo>
                  <a:lnTo>
                    <a:pt x="1077" y="726"/>
                  </a:lnTo>
                  <a:close/>
                  <a:moveTo>
                    <a:pt x="1088" y="726"/>
                  </a:moveTo>
                  <a:lnTo>
                    <a:pt x="1090" y="726"/>
                  </a:lnTo>
                  <a:lnTo>
                    <a:pt x="1088" y="726"/>
                  </a:lnTo>
                  <a:close/>
                  <a:moveTo>
                    <a:pt x="1087" y="726"/>
                  </a:moveTo>
                  <a:lnTo>
                    <a:pt x="1088" y="726"/>
                  </a:lnTo>
                  <a:lnTo>
                    <a:pt x="1087" y="726"/>
                  </a:lnTo>
                  <a:close/>
                  <a:moveTo>
                    <a:pt x="1072" y="726"/>
                  </a:moveTo>
                  <a:lnTo>
                    <a:pt x="1074" y="726"/>
                  </a:lnTo>
                  <a:lnTo>
                    <a:pt x="1072" y="726"/>
                  </a:lnTo>
                  <a:close/>
                  <a:moveTo>
                    <a:pt x="1072" y="726"/>
                  </a:moveTo>
                  <a:lnTo>
                    <a:pt x="1072" y="724"/>
                  </a:lnTo>
                  <a:lnTo>
                    <a:pt x="1072" y="726"/>
                  </a:lnTo>
                  <a:lnTo>
                    <a:pt x="1072" y="724"/>
                  </a:lnTo>
                  <a:lnTo>
                    <a:pt x="1072" y="726"/>
                  </a:lnTo>
                  <a:close/>
                  <a:moveTo>
                    <a:pt x="1080" y="726"/>
                  </a:moveTo>
                  <a:lnTo>
                    <a:pt x="1079" y="726"/>
                  </a:lnTo>
                  <a:lnTo>
                    <a:pt x="1080" y="724"/>
                  </a:lnTo>
                  <a:lnTo>
                    <a:pt x="1080" y="726"/>
                  </a:lnTo>
                  <a:close/>
                  <a:moveTo>
                    <a:pt x="1072" y="724"/>
                  </a:moveTo>
                  <a:lnTo>
                    <a:pt x="1074" y="724"/>
                  </a:lnTo>
                  <a:lnTo>
                    <a:pt x="1072" y="724"/>
                  </a:lnTo>
                  <a:close/>
                  <a:moveTo>
                    <a:pt x="1087" y="726"/>
                  </a:moveTo>
                  <a:lnTo>
                    <a:pt x="1087" y="724"/>
                  </a:lnTo>
                  <a:lnTo>
                    <a:pt x="1087" y="726"/>
                  </a:lnTo>
                  <a:close/>
                  <a:moveTo>
                    <a:pt x="1090" y="724"/>
                  </a:moveTo>
                  <a:lnTo>
                    <a:pt x="1088" y="724"/>
                  </a:lnTo>
                  <a:lnTo>
                    <a:pt x="1090" y="724"/>
                  </a:lnTo>
                  <a:close/>
                  <a:moveTo>
                    <a:pt x="1085" y="724"/>
                  </a:moveTo>
                  <a:lnTo>
                    <a:pt x="1084" y="724"/>
                  </a:lnTo>
                  <a:lnTo>
                    <a:pt x="1085" y="724"/>
                  </a:lnTo>
                  <a:close/>
                  <a:moveTo>
                    <a:pt x="1082" y="724"/>
                  </a:moveTo>
                  <a:lnTo>
                    <a:pt x="1084" y="724"/>
                  </a:lnTo>
                  <a:lnTo>
                    <a:pt x="1082" y="724"/>
                  </a:lnTo>
                  <a:close/>
                  <a:moveTo>
                    <a:pt x="1088" y="724"/>
                  </a:moveTo>
                  <a:lnTo>
                    <a:pt x="1090" y="722"/>
                  </a:lnTo>
                  <a:lnTo>
                    <a:pt x="1090" y="724"/>
                  </a:lnTo>
                  <a:lnTo>
                    <a:pt x="1088" y="724"/>
                  </a:lnTo>
                  <a:close/>
                  <a:moveTo>
                    <a:pt x="1090" y="724"/>
                  </a:moveTo>
                  <a:lnTo>
                    <a:pt x="1090" y="722"/>
                  </a:lnTo>
                  <a:lnTo>
                    <a:pt x="1090" y="724"/>
                  </a:lnTo>
                  <a:close/>
                  <a:moveTo>
                    <a:pt x="1087" y="722"/>
                  </a:moveTo>
                  <a:lnTo>
                    <a:pt x="1087" y="724"/>
                  </a:lnTo>
                  <a:lnTo>
                    <a:pt x="1087" y="722"/>
                  </a:lnTo>
                  <a:close/>
                  <a:moveTo>
                    <a:pt x="1090" y="724"/>
                  </a:moveTo>
                  <a:lnTo>
                    <a:pt x="1090" y="722"/>
                  </a:lnTo>
                  <a:lnTo>
                    <a:pt x="1090" y="724"/>
                  </a:lnTo>
                  <a:close/>
                  <a:moveTo>
                    <a:pt x="1071" y="722"/>
                  </a:moveTo>
                  <a:lnTo>
                    <a:pt x="1071" y="724"/>
                  </a:lnTo>
                  <a:lnTo>
                    <a:pt x="1071" y="722"/>
                  </a:lnTo>
                  <a:close/>
                  <a:moveTo>
                    <a:pt x="1084" y="722"/>
                  </a:moveTo>
                  <a:lnTo>
                    <a:pt x="1084" y="724"/>
                  </a:lnTo>
                  <a:lnTo>
                    <a:pt x="1084" y="722"/>
                  </a:lnTo>
                  <a:close/>
                  <a:moveTo>
                    <a:pt x="1084" y="722"/>
                  </a:moveTo>
                  <a:lnTo>
                    <a:pt x="1084" y="724"/>
                  </a:lnTo>
                  <a:lnTo>
                    <a:pt x="1082" y="722"/>
                  </a:lnTo>
                  <a:lnTo>
                    <a:pt x="1082" y="724"/>
                  </a:lnTo>
                  <a:lnTo>
                    <a:pt x="1082" y="722"/>
                  </a:lnTo>
                  <a:lnTo>
                    <a:pt x="1084" y="722"/>
                  </a:lnTo>
                  <a:close/>
                  <a:moveTo>
                    <a:pt x="1084" y="722"/>
                  </a:moveTo>
                  <a:lnTo>
                    <a:pt x="1084" y="724"/>
                  </a:lnTo>
                  <a:lnTo>
                    <a:pt x="1084" y="722"/>
                  </a:lnTo>
                  <a:close/>
                  <a:moveTo>
                    <a:pt x="1092" y="722"/>
                  </a:moveTo>
                  <a:lnTo>
                    <a:pt x="1093" y="722"/>
                  </a:lnTo>
                  <a:lnTo>
                    <a:pt x="1092" y="722"/>
                  </a:lnTo>
                  <a:close/>
                  <a:moveTo>
                    <a:pt x="1085" y="722"/>
                  </a:moveTo>
                  <a:lnTo>
                    <a:pt x="1085" y="724"/>
                  </a:lnTo>
                  <a:lnTo>
                    <a:pt x="1085" y="722"/>
                  </a:lnTo>
                  <a:lnTo>
                    <a:pt x="1085" y="724"/>
                  </a:lnTo>
                  <a:lnTo>
                    <a:pt x="1085" y="722"/>
                  </a:lnTo>
                  <a:lnTo>
                    <a:pt x="1085" y="724"/>
                  </a:lnTo>
                  <a:lnTo>
                    <a:pt x="1084" y="724"/>
                  </a:lnTo>
                  <a:lnTo>
                    <a:pt x="1085" y="724"/>
                  </a:lnTo>
                  <a:lnTo>
                    <a:pt x="1084" y="724"/>
                  </a:lnTo>
                  <a:lnTo>
                    <a:pt x="1084" y="722"/>
                  </a:lnTo>
                  <a:lnTo>
                    <a:pt x="1085" y="722"/>
                  </a:lnTo>
                  <a:close/>
                  <a:moveTo>
                    <a:pt x="1106" y="722"/>
                  </a:moveTo>
                  <a:lnTo>
                    <a:pt x="1105" y="724"/>
                  </a:lnTo>
                  <a:lnTo>
                    <a:pt x="1103" y="722"/>
                  </a:lnTo>
                  <a:lnTo>
                    <a:pt x="1105" y="722"/>
                  </a:lnTo>
                  <a:lnTo>
                    <a:pt x="1106" y="722"/>
                  </a:lnTo>
                  <a:close/>
                  <a:moveTo>
                    <a:pt x="1093" y="722"/>
                  </a:moveTo>
                  <a:lnTo>
                    <a:pt x="1095" y="721"/>
                  </a:lnTo>
                  <a:lnTo>
                    <a:pt x="1097" y="721"/>
                  </a:lnTo>
                  <a:lnTo>
                    <a:pt x="1098" y="721"/>
                  </a:lnTo>
                  <a:lnTo>
                    <a:pt x="1100" y="721"/>
                  </a:lnTo>
                  <a:lnTo>
                    <a:pt x="1101" y="721"/>
                  </a:lnTo>
                  <a:lnTo>
                    <a:pt x="1103" y="721"/>
                  </a:lnTo>
                  <a:lnTo>
                    <a:pt x="1103" y="722"/>
                  </a:lnTo>
                  <a:lnTo>
                    <a:pt x="1101" y="722"/>
                  </a:lnTo>
                  <a:lnTo>
                    <a:pt x="1103" y="722"/>
                  </a:lnTo>
                  <a:lnTo>
                    <a:pt x="1100" y="724"/>
                  </a:lnTo>
                  <a:lnTo>
                    <a:pt x="1098" y="724"/>
                  </a:lnTo>
                  <a:lnTo>
                    <a:pt x="1097" y="724"/>
                  </a:lnTo>
                  <a:lnTo>
                    <a:pt x="1095" y="726"/>
                  </a:lnTo>
                  <a:lnTo>
                    <a:pt x="1095" y="724"/>
                  </a:lnTo>
                  <a:lnTo>
                    <a:pt x="1095" y="726"/>
                  </a:lnTo>
                  <a:lnTo>
                    <a:pt x="1093" y="726"/>
                  </a:lnTo>
                  <a:lnTo>
                    <a:pt x="1092" y="726"/>
                  </a:lnTo>
                  <a:lnTo>
                    <a:pt x="1090" y="726"/>
                  </a:lnTo>
                  <a:lnTo>
                    <a:pt x="1090" y="724"/>
                  </a:lnTo>
                  <a:lnTo>
                    <a:pt x="1092" y="724"/>
                  </a:lnTo>
                  <a:lnTo>
                    <a:pt x="1090" y="724"/>
                  </a:lnTo>
                  <a:lnTo>
                    <a:pt x="1092" y="724"/>
                  </a:lnTo>
                  <a:lnTo>
                    <a:pt x="1092" y="722"/>
                  </a:lnTo>
                  <a:lnTo>
                    <a:pt x="1093" y="722"/>
                  </a:lnTo>
                  <a:close/>
                  <a:moveTo>
                    <a:pt x="1087" y="719"/>
                  </a:moveTo>
                  <a:lnTo>
                    <a:pt x="1087" y="721"/>
                  </a:lnTo>
                  <a:lnTo>
                    <a:pt x="1087" y="719"/>
                  </a:lnTo>
                  <a:close/>
                  <a:moveTo>
                    <a:pt x="1085" y="721"/>
                  </a:moveTo>
                  <a:lnTo>
                    <a:pt x="1085" y="719"/>
                  </a:lnTo>
                  <a:lnTo>
                    <a:pt x="1085" y="721"/>
                  </a:lnTo>
                  <a:close/>
                  <a:moveTo>
                    <a:pt x="1085" y="719"/>
                  </a:moveTo>
                  <a:lnTo>
                    <a:pt x="1087" y="719"/>
                  </a:lnTo>
                  <a:lnTo>
                    <a:pt x="1085" y="719"/>
                  </a:lnTo>
                  <a:close/>
                  <a:moveTo>
                    <a:pt x="1088" y="718"/>
                  </a:moveTo>
                  <a:lnTo>
                    <a:pt x="1090" y="718"/>
                  </a:lnTo>
                  <a:lnTo>
                    <a:pt x="1088" y="718"/>
                  </a:lnTo>
                  <a:close/>
                  <a:moveTo>
                    <a:pt x="1093" y="718"/>
                  </a:moveTo>
                  <a:lnTo>
                    <a:pt x="1095" y="718"/>
                  </a:lnTo>
                  <a:lnTo>
                    <a:pt x="1093" y="718"/>
                  </a:lnTo>
                  <a:close/>
                  <a:moveTo>
                    <a:pt x="1108" y="718"/>
                  </a:moveTo>
                  <a:lnTo>
                    <a:pt x="1110" y="718"/>
                  </a:lnTo>
                  <a:lnTo>
                    <a:pt x="1110" y="719"/>
                  </a:lnTo>
                  <a:lnTo>
                    <a:pt x="1108" y="719"/>
                  </a:lnTo>
                  <a:lnTo>
                    <a:pt x="1110" y="719"/>
                  </a:lnTo>
                  <a:lnTo>
                    <a:pt x="1110" y="721"/>
                  </a:lnTo>
                  <a:lnTo>
                    <a:pt x="1108" y="722"/>
                  </a:lnTo>
                  <a:lnTo>
                    <a:pt x="1106" y="722"/>
                  </a:lnTo>
                  <a:lnTo>
                    <a:pt x="1106" y="721"/>
                  </a:lnTo>
                  <a:lnTo>
                    <a:pt x="1106" y="719"/>
                  </a:lnTo>
                  <a:lnTo>
                    <a:pt x="1108" y="718"/>
                  </a:lnTo>
                  <a:close/>
                  <a:moveTo>
                    <a:pt x="1100" y="718"/>
                  </a:moveTo>
                  <a:lnTo>
                    <a:pt x="1100" y="716"/>
                  </a:lnTo>
                  <a:lnTo>
                    <a:pt x="1100" y="718"/>
                  </a:lnTo>
                  <a:close/>
                  <a:moveTo>
                    <a:pt x="1110" y="718"/>
                  </a:moveTo>
                  <a:lnTo>
                    <a:pt x="1108" y="718"/>
                  </a:lnTo>
                  <a:lnTo>
                    <a:pt x="1110" y="716"/>
                  </a:lnTo>
                  <a:lnTo>
                    <a:pt x="1110" y="718"/>
                  </a:lnTo>
                  <a:close/>
                  <a:moveTo>
                    <a:pt x="1098" y="716"/>
                  </a:moveTo>
                  <a:lnTo>
                    <a:pt x="1098" y="718"/>
                  </a:lnTo>
                  <a:lnTo>
                    <a:pt x="1098" y="716"/>
                  </a:lnTo>
                  <a:close/>
                  <a:moveTo>
                    <a:pt x="1108" y="716"/>
                  </a:moveTo>
                  <a:lnTo>
                    <a:pt x="1106" y="716"/>
                  </a:lnTo>
                  <a:lnTo>
                    <a:pt x="1108" y="716"/>
                  </a:lnTo>
                  <a:close/>
                  <a:moveTo>
                    <a:pt x="1097" y="716"/>
                  </a:moveTo>
                  <a:lnTo>
                    <a:pt x="1095" y="716"/>
                  </a:lnTo>
                  <a:lnTo>
                    <a:pt x="1097" y="716"/>
                  </a:lnTo>
                  <a:close/>
                  <a:moveTo>
                    <a:pt x="1095" y="716"/>
                  </a:moveTo>
                  <a:lnTo>
                    <a:pt x="1095" y="718"/>
                  </a:lnTo>
                  <a:lnTo>
                    <a:pt x="1095" y="716"/>
                  </a:lnTo>
                  <a:lnTo>
                    <a:pt x="1097" y="716"/>
                  </a:lnTo>
                  <a:lnTo>
                    <a:pt x="1095" y="716"/>
                  </a:lnTo>
                  <a:close/>
                  <a:moveTo>
                    <a:pt x="1095" y="718"/>
                  </a:moveTo>
                  <a:lnTo>
                    <a:pt x="1097" y="716"/>
                  </a:lnTo>
                  <a:lnTo>
                    <a:pt x="1098" y="716"/>
                  </a:lnTo>
                  <a:lnTo>
                    <a:pt x="1098" y="718"/>
                  </a:lnTo>
                  <a:lnTo>
                    <a:pt x="1098" y="716"/>
                  </a:lnTo>
                  <a:lnTo>
                    <a:pt x="1097" y="718"/>
                  </a:lnTo>
                  <a:lnTo>
                    <a:pt x="1095" y="718"/>
                  </a:lnTo>
                  <a:close/>
                  <a:moveTo>
                    <a:pt x="1095" y="716"/>
                  </a:moveTo>
                  <a:lnTo>
                    <a:pt x="1095" y="718"/>
                  </a:lnTo>
                  <a:lnTo>
                    <a:pt x="1093" y="718"/>
                  </a:lnTo>
                  <a:lnTo>
                    <a:pt x="1095" y="716"/>
                  </a:lnTo>
                  <a:close/>
                  <a:moveTo>
                    <a:pt x="1106" y="716"/>
                  </a:moveTo>
                  <a:lnTo>
                    <a:pt x="1105" y="716"/>
                  </a:lnTo>
                  <a:lnTo>
                    <a:pt x="1105" y="718"/>
                  </a:lnTo>
                  <a:lnTo>
                    <a:pt x="1103" y="718"/>
                  </a:lnTo>
                  <a:lnTo>
                    <a:pt x="1103" y="716"/>
                  </a:lnTo>
                  <a:lnTo>
                    <a:pt x="1103" y="714"/>
                  </a:lnTo>
                  <a:lnTo>
                    <a:pt x="1105" y="714"/>
                  </a:lnTo>
                  <a:lnTo>
                    <a:pt x="1106" y="714"/>
                  </a:lnTo>
                  <a:lnTo>
                    <a:pt x="1108" y="714"/>
                  </a:lnTo>
                  <a:lnTo>
                    <a:pt x="1106" y="714"/>
                  </a:lnTo>
                  <a:lnTo>
                    <a:pt x="1106" y="716"/>
                  </a:lnTo>
                  <a:close/>
                  <a:moveTo>
                    <a:pt x="1093" y="714"/>
                  </a:moveTo>
                  <a:lnTo>
                    <a:pt x="1093" y="713"/>
                  </a:lnTo>
                  <a:lnTo>
                    <a:pt x="1093" y="714"/>
                  </a:lnTo>
                  <a:close/>
                  <a:moveTo>
                    <a:pt x="1090" y="714"/>
                  </a:moveTo>
                  <a:lnTo>
                    <a:pt x="1090" y="713"/>
                  </a:lnTo>
                  <a:lnTo>
                    <a:pt x="1090" y="714"/>
                  </a:lnTo>
                  <a:close/>
                  <a:moveTo>
                    <a:pt x="1095" y="713"/>
                  </a:moveTo>
                  <a:lnTo>
                    <a:pt x="1093" y="714"/>
                  </a:lnTo>
                  <a:lnTo>
                    <a:pt x="1093" y="713"/>
                  </a:lnTo>
                  <a:lnTo>
                    <a:pt x="1095" y="713"/>
                  </a:lnTo>
                  <a:close/>
                  <a:moveTo>
                    <a:pt x="1092" y="714"/>
                  </a:moveTo>
                  <a:lnTo>
                    <a:pt x="1092" y="713"/>
                  </a:lnTo>
                  <a:lnTo>
                    <a:pt x="1092" y="714"/>
                  </a:lnTo>
                  <a:close/>
                  <a:moveTo>
                    <a:pt x="1090" y="713"/>
                  </a:moveTo>
                  <a:lnTo>
                    <a:pt x="1090" y="711"/>
                  </a:lnTo>
                  <a:lnTo>
                    <a:pt x="1090" y="713"/>
                  </a:lnTo>
                  <a:close/>
                  <a:moveTo>
                    <a:pt x="1093" y="713"/>
                  </a:moveTo>
                  <a:lnTo>
                    <a:pt x="1093" y="711"/>
                  </a:lnTo>
                  <a:lnTo>
                    <a:pt x="1093" y="713"/>
                  </a:lnTo>
                  <a:close/>
                  <a:moveTo>
                    <a:pt x="1092" y="711"/>
                  </a:moveTo>
                  <a:lnTo>
                    <a:pt x="1092" y="713"/>
                  </a:lnTo>
                  <a:lnTo>
                    <a:pt x="1090" y="713"/>
                  </a:lnTo>
                  <a:lnTo>
                    <a:pt x="1090" y="711"/>
                  </a:lnTo>
                  <a:lnTo>
                    <a:pt x="1092" y="711"/>
                  </a:lnTo>
                  <a:close/>
                  <a:moveTo>
                    <a:pt x="1093" y="713"/>
                  </a:moveTo>
                  <a:lnTo>
                    <a:pt x="1093" y="711"/>
                  </a:lnTo>
                  <a:lnTo>
                    <a:pt x="1095" y="711"/>
                  </a:lnTo>
                  <a:lnTo>
                    <a:pt x="1095" y="713"/>
                  </a:lnTo>
                  <a:lnTo>
                    <a:pt x="1093" y="713"/>
                  </a:lnTo>
                  <a:lnTo>
                    <a:pt x="1095" y="713"/>
                  </a:lnTo>
                  <a:lnTo>
                    <a:pt x="1093" y="714"/>
                  </a:lnTo>
                  <a:lnTo>
                    <a:pt x="1093" y="713"/>
                  </a:lnTo>
                  <a:lnTo>
                    <a:pt x="1093" y="714"/>
                  </a:lnTo>
                  <a:lnTo>
                    <a:pt x="1092" y="714"/>
                  </a:lnTo>
                  <a:lnTo>
                    <a:pt x="1092" y="713"/>
                  </a:lnTo>
                  <a:lnTo>
                    <a:pt x="1093" y="713"/>
                  </a:lnTo>
                  <a:close/>
                  <a:moveTo>
                    <a:pt x="1092" y="709"/>
                  </a:moveTo>
                  <a:lnTo>
                    <a:pt x="1092" y="711"/>
                  </a:lnTo>
                  <a:lnTo>
                    <a:pt x="1092" y="709"/>
                  </a:lnTo>
                  <a:close/>
                  <a:moveTo>
                    <a:pt x="1095" y="709"/>
                  </a:moveTo>
                  <a:lnTo>
                    <a:pt x="1097" y="709"/>
                  </a:lnTo>
                  <a:lnTo>
                    <a:pt x="1098" y="711"/>
                  </a:lnTo>
                  <a:lnTo>
                    <a:pt x="1097" y="711"/>
                  </a:lnTo>
                  <a:lnTo>
                    <a:pt x="1097" y="713"/>
                  </a:lnTo>
                  <a:lnTo>
                    <a:pt x="1095" y="713"/>
                  </a:lnTo>
                  <a:lnTo>
                    <a:pt x="1095" y="711"/>
                  </a:lnTo>
                  <a:lnTo>
                    <a:pt x="1095" y="709"/>
                  </a:lnTo>
                  <a:close/>
                  <a:moveTo>
                    <a:pt x="1095" y="709"/>
                  </a:moveTo>
                  <a:lnTo>
                    <a:pt x="1097" y="709"/>
                  </a:lnTo>
                  <a:lnTo>
                    <a:pt x="1095" y="709"/>
                  </a:lnTo>
                  <a:close/>
                  <a:moveTo>
                    <a:pt x="1095" y="709"/>
                  </a:moveTo>
                  <a:lnTo>
                    <a:pt x="1093" y="711"/>
                  </a:lnTo>
                  <a:lnTo>
                    <a:pt x="1093" y="709"/>
                  </a:lnTo>
                  <a:lnTo>
                    <a:pt x="1095" y="708"/>
                  </a:lnTo>
                  <a:lnTo>
                    <a:pt x="1097" y="708"/>
                  </a:lnTo>
                  <a:lnTo>
                    <a:pt x="1095" y="708"/>
                  </a:lnTo>
                  <a:lnTo>
                    <a:pt x="1095" y="709"/>
                  </a:lnTo>
                  <a:close/>
                  <a:moveTo>
                    <a:pt x="1106" y="696"/>
                  </a:moveTo>
                  <a:lnTo>
                    <a:pt x="1108" y="696"/>
                  </a:lnTo>
                  <a:lnTo>
                    <a:pt x="1106" y="696"/>
                  </a:lnTo>
                  <a:close/>
                  <a:moveTo>
                    <a:pt x="1106" y="695"/>
                  </a:moveTo>
                  <a:lnTo>
                    <a:pt x="1106" y="696"/>
                  </a:lnTo>
                  <a:lnTo>
                    <a:pt x="1106" y="695"/>
                  </a:lnTo>
                  <a:close/>
                  <a:moveTo>
                    <a:pt x="1105" y="692"/>
                  </a:moveTo>
                  <a:lnTo>
                    <a:pt x="1106" y="692"/>
                  </a:lnTo>
                  <a:lnTo>
                    <a:pt x="1105" y="692"/>
                  </a:lnTo>
                  <a:close/>
                  <a:moveTo>
                    <a:pt x="1106" y="692"/>
                  </a:moveTo>
                  <a:lnTo>
                    <a:pt x="1108" y="692"/>
                  </a:lnTo>
                  <a:lnTo>
                    <a:pt x="1106" y="692"/>
                  </a:lnTo>
                  <a:close/>
                  <a:moveTo>
                    <a:pt x="1105" y="693"/>
                  </a:moveTo>
                  <a:lnTo>
                    <a:pt x="1103" y="693"/>
                  </a:lnTo>
                  <a:lnTo>
                    <a:pt x="1103" y="695"/>
                  </a:lnTo>
                  <a:lnTo>
                    <a:pt x="1103" y="693"/>
                  </a:lnTo>
                  <a:lnTo>
                    <a:pt x="1105" y="693"/>
                  </a:lnTo>
                  <a:lnTo>
                    <a:pt x="1105" y="692"/>
                  </a:lnTo>
                  <a:lnTo>
                    <a:pt x="1105" y="693"/>
                  </a:lnTo>
                  <a:close/>
                  <a:moveTo>
                    <a:pt x="1106" y="692"/>
                  </a:moveTo>
                  <a:lnTo>
                    <a:pt x="1106" y="693"/>
                  </a:lnTo>
                  <a:lnTo>
                    <a:pt x="1106" y="692"/>
                  </a:lnTo>
                  <a:lnTo>
                    <a:pt x="1106" y="693"/>
                  </a:lnTo>
                  <a:lnTo>
                    <a:pt x="1105" y="693"/>
                  </a:lnTo>
                  <a:lnTo>
                    <a:pt x="1106" y="693"/>
                  </a:lnTo>
                  <a:lnTo>
                    <a:pt x="1106" y="692"/>
                  </a:lnTo>
                  <a:close/>
                  <a:moveTo>
                    <a:pt x="1103" y="690"/>
                  </a:moveTo>
                  <a:lnTo>
                    <a:pt x="1103" y="692"/>
                  </a:lnTo>
                  <a:lnTo>
                    <a:pt x="1103" y="690"/>
                  </a:lnTo>
                  <a:close/>
                  <a:moveTo>
                    <a:pt x="1106" y="692"/>
                  </a:moveTo>
                  <a:lnTo>
                    <a:pt x="1106" y="690"/>
                  </a:lnTo>
                  <a:lnTo>
                    <a:pt x="1106" y="692"/>
                  </a:lnTo>
                  <a:lnTo>
                    <a:pt x="1108" y="692"/>
                  </a:lnTo>
                  <a:lnTo>
                    <a:pt x="1106" y="692"/>
                  </a:lnTo>
                  <a:lnTo>
                    <a:pt x="1105" y="693"/>
                  </a:lnTo>
                  <a:lnTo>
                    <a:pt x="1106" y="692"/>
                  </a:lnTo>
                  <a:close/>
                  <a:moveTo>
                    <a:pt x="1108" y="692"/>
                  </a:moveTo>
                  <a:lnTo>
                    <a:pt x="1108" y="690"/>
                  </a:lnTo>
                  <a:lnTo>
                    <a:pt x="1108" y="692"/>
                  </a:lnTo>
                  <a:lnTo>
                    <a:pt x="1108" y="690"/>
                  </a:lnTo>
                  <a:lnTo>
                    <a:pt x="1108" y="692"/>
                  </a:lnTo>
                  <a:close/>
                  <a:moveTo>
                    <a:pt x="1103" y="690"/>
                  </a:moveTo>
                  <a:lnTo>
                    <a:pt x="1103" y="692"/>
                  </a:lnTo>
                  <a:lnTo>
                    <a:pt x="1103" y="690"/>
                  </a:lnTo>
                  <a:close/>
                  <a:moveTo>
                    <a:pt x="1105" y="692"/>
                  </a:moveTo>
                  <a:lnTo>
                    <a:pt x="1103" y="692"/>
                  </a:lnTo>
                  <a:lnTo>
                    <a:pt x="1105" y="690"/>
                  </a:lnTo>
                  <a:lnTo>
                    <a:pt x="1105" y="692"/>
                  </a:lnTo>
                  <a:close/>
                  <a:moveTo>
                    <a:pt x="1110" y="690"/>
                  </a:moveTo>
                  <a:lnTo>
                    <a:pt x="1110" y="692"/>
                  </a:lnTo>
                  <a:lnTo>
                    <a:pt x="1111" y="692"/>
                  </a:lnTo>
                  <a:lnTo>
                    <a:pt x="1110" y="692"/>
                  </a:lnTo>
                  <a:lnTo>
                    <a:pt x="1110" y="690"/>
                  </a:lnTo>
                  <a:lnTo>
                    <a:pt x="1108" y="692"/>
                  </a:lnTo>
                  <a:lnTo>
                    <a:pt x="1108" y="690"/>
                  </a:lnTo>
                  <a:lnTo>
                    <a:pt x="1110" y="690"/>
                  </a:lnTo>
                  <a:close/>
                  <a:moveTo>
                    <a:pt x="1123" y="690"/>
                  </a:moveTo>
                  <a:lnTo>
                    <a:pt x="1124" y="690"/>
                  </a:lnTo>
                  <a:lnTo>
                    <a:pt x="1124" y="688"/>
                  </a:lnTo>
                  <a:lnTo>
                    <a:pt x="1124" y="690"/>
                  </a:lnTo>
                  <a:lnTo>
                    <a:pt x="1124" y="692"/>
                  </a:lnTo>
                  <a:lnTo>
                    <a:pt x="1124" y="693"/>
                  </a:lnTo>
                  <a:lnTo>
                    <a:pt x="1124" y="695"/>
                  </a:lnTo>
                  <a:lnTo>
                    <a:pt x="1123" y="696"/>
                  </a:lnTo>
                  <a:lnTo>
                    <a:pt x="1123" y="695"/>
                  </a:lnTo>
                  <a:lnTo>
                    <a:pt x="1121" y="696"/>
                  </a:lnTo>
                  <a:lnTo>
                    <a:pt x="1121" y="695"/>
                  </a:lnTo>
                  <a:lnTo>
                    <a:pt x="1123" y="695"/>
                  </a:lnTo>
                  <a:lnTo>
                    <a:pt x="1123" y="693"/>
                  </a:lnTo>
                  <a:lnTo>
                    <a:pt x="1123" y="692"/>
                  </a:lnTo>
                  <a:lnTo>
                    <a:pt x="1123" y="693"/>
                  </a:lnTo>
                  <a:lnTo>
                    <a:pt x="1121" y="693"/>
                  </a:lnTo>
                  <a:lnTo>
                    <a:pt x="1123" y="692"/>
                  </a:lnTo>
                  <a:lnTo>
                    <a:pt x="1123" y="690"/>
                  </a:lnTo>
                  <a:close/>
                  <a:moveTo>
                    <a:pt x="1106" y="690"/>
                  </a:moveTo>
                  <a:lnTo>
                    <a:pt x="1106" y="688"/>
                  </a:lnTo>
                  <a:lnTo>
                    <a:pt x="1106" y="690"/>
                  </a:lnTo>
                  <a:close/>
                  <a:moveTo>
                    <a:pt x="1106" y="690"/>
                  </a:moveTo>
                  <a:lnTo>
                    <a:pt x="1106" y="688"/>
                  </a:lnTo>
                  <a:lnTo>
                    <a:pt x="1106" y="690"/>
                  </a:lnTo>
                  <a:close/>
                  <a:moveTo>
                    <a:pt x="1108" y="690"/>
                  </a:moveTo>
                  <a:lnTo>
                    <a:pt x="1106" y="690"/>
                  </a:lnTo>
                  <a:lnTo>
                    <a:pt x="1106" y="688"/>
                  </a:lnTo>
                  <a:lnTo>
                    <a:pt x="1108" y="688"/>
                  </a:lnTo>
                  <a:lnTo>
                    <a:pt x="1108" y="690"/>
                  </a:lnTo>
                  <a:close/>
                  <a:moveTo>
                    <a:pt x="1123" y="688"/>
                  </a:moveTo>
                  <a:lnTo>
                    <a:pt x="1124" y="688"/>
                  </a:lnTo>
                  <a:lnTo>
                    <a:pt x="1123" y="688"/>
                  </a:lnTo>
                  <a:lnTo>
                    <a:pt x="1124" y="688"/>
                  </a:lnTo>
                  <a:lnTo>
                    <a:pt x="1123" y="688"/>
                  </a:lnTo>
                  <a:close/>
                  <a:moveTo>
                    <a:pt x="1123" y="688"/>
                  </a:moveTo>
                  <a:lnTo>
                    <a:pt x="1123" y="687"/>
                  </a:lnTo>
                  <a:lnTo>
                    <a:pt x="1123" y="688"/>
                  </a:lnTo>
                  <a:lnTo>
                    <a:pt x="1123" y="690"/>
                  </a:lnTo>
                  <a:lnTo>
                    <a:pt x="1123" y="688"/>
                  </a:lnTo>
                  <a:lnTo>
                    <a:pt x="1123" y="690"/>
                  </a:lnTo>
                  <a:lnTo>
                    <a:pt x="1123" y="688"/>
                  </a:lnTo>
                  <a:close/>
                  <a:moveTo>
                    <a:pt x="1115" y="687"/>
                  </a:moveTo>
                  <a:lnTo>
                    <a:pt x="1116" y="687"/>
                  </a:lnTo>
                  <a:lnTo>
                    <a:pt x="1116" y="685"/>
                  </a:lnTo>
                  <a:lnTo>
                    <a:pt x="1116" y="687"/>
                  </a:lnTo>
                  <a:lnTo>
                    <a:pt x="1118" y="687"/>
                  </a:lnTo>
                  <a:lnTo>
                    <a:pt x="1118" y="688"/>
                  </a:lnTo>
                  <a:lnTo>
                    <a:pt x="1118" y="690"/>
                  </a:lnTo>
                  <a:lnTo>
                    <a:pt x="1118" y="688"/>
                  </a:lnTo>
                  <a:lnTo>
                    <a:pt x="1115" y="692"/>
                  </a:lnTo>
                  <a:lnTo>
                    <a:pt x="1113" y="692"/>
                  </a:lnTo>
                  <a:lnTo>
                    <a:pt x="1111" y="692"/>
                  </a:lnTo>
                  <a:lnTo>
                    <a:pt x="1113" y="690"/>
                  </a:lnTo>
                  <a:lnTo>
                    <a:pt x="1113" y="688"/>
                  </a:lnTo>
                  <a:lnTo>
                    <a:pt x="1111" y="688"/>
                  </a:lnTo>
                  <a:lnTo>
                    <a:pt x="1113" y="688"/>
                  </a:lnTo>
                  <a:lnTo>
                    <a:pt x="1113" y="687"/>
                  </a:lnTo>
                  <a:lnTo>
                    <a:pt x="1113" y="688"/>
                  </a:lnTo>
                  <a:lnTo>
                    <a:pt x="1113" y="687"/>
                  </a:lnTo>
                  <a:lnTo>
                    <a:pt x="1115" y="687"/>
                  </a:lnTo>
                  <a:close/>
                  <a:moveTo>
                    <a:pt x="1113" y="683"/>
                  </a:moveTo>
                  <a:lnTo>
                    <a:pt x="1113" y="685"/>
                  </a:lnTo>
                  <a:lnTo>
                    <a:pt x="1111" y="685"/>
                  </a:lnTo>
                  <a:lnTo>
                    <a:pt x="1113" y="683"/>
                  </a:lnTo>
                  <a:close/>
                  <a:moveTo>
                    <a:pt x="1113" y="683"/>
                  </a:moveTo>
                  <a:lnTo>
                    <a:pt x="1111" y="683"/>
                  </a:lnTo>
                  <a:lnTo>
                    <a:pt x="1113" y="683"/>
                  </a:lnTo>
                  <a:close/>
                  <a:moveTo>
                    <a:pt x="1113" y="683"/>
                  </a:moveTo>
                  <a:lnTo>
                    <a:pt x="1115" y="683"/>
                  </a:lnTo>
                  <a:lnTo>
                    <a:pt x="1113" y="683"/>
                  </a:lnTo>
                  <a:close/>
                  <a:moveTo>
                    <a:pt x="1115" y="682"/>
                  </a:moveTo>
                  <a:lnTo>
                    <a:pt x="1115" y="683"/>
                  </a:lnTo>
                  <a:lnTo>
                    <a:pt x="1115" y="682"/>
                  </a:lnTo>
                  <a:close/>
                  <a:moveTo>
                    <a:pt x="1115" y="683"/>
                  </a:moveTo>
                  <a:lnTo>
                    <a:pt x="1115" y="682"/>
                  </a:lnTo>
                  <a:lnTo>
                    <a:pt x="1115" y="683"/>
                  </a:lnTo>
                  <a:close/>
                  <a:moveTo>
                    <a:pt x="1116" y="683"/>
                  </a:moveTo>
                  <a:lnTo>
                    <a:pt x="1116" y="682"/>
                  </a:lnTo>
                  <a:lnTo>
                    <a:pt x="1116" y="683"/>
                  </a:lnTo>
                  <a:close/>
                  <a:moveTo>
                    <a:pt x="1115" y="682"/>
                  </a:moveTo>
                  <a:lnTo>
                    <a:pt x="1116" y="682"/>
                  </a:lnTo>
                  <a:lnTo>
                    <a:pt x="1116" y="683"/>
                  </a:lnTo>
                  <a:lnTo>
                    <a:pt x="1115" y="682"/>
                  </a:lnTo>
                  <a:close/>
                  <a:moveTo>
                    <a:pt x="1126" y="683"/>
                  </a:moveTo>
                  <a:lnTo>
                    <a:pt x="1124" y="683"/>
                  </a:lnTo>
                  <a:lnTo>
                    <a:pt x="1126" y="682"/>
                  </a:lnTo>
                  <a:lnTo>
                    <a:pt x="1126" y="683"/>
                  </a:lnTo>
                  <a:close/>
                  <a:moveTo>
                    <a:pt x="1115" y="682"/>
                  </a:moveTo>
                  <a:lnTo>
                    <a:pt x="1116" y="682"/>
                  </a:lnTo>
                  <a:lnTo>
                    <a:pt x="1115" y="682"/>
                  </a:lnTo>
                  <a:close/>
                  <a:moveTo>
                    <a:pt x="1123" y="682"/>
                  </a:moveTo>
                  <a:lnTo>
                    <a:pt x="1123" y="680"/>
                  </a:lnTo>
                  <a:lnTo>
                    <a:pt x="1123" y="682"/>
                  </a:lnTo>
                  <a:close/>
                  <a:moveTo>
                    <a:pt x="1121" y="680"/>
                  </a:moveTo>
                  <a:lnTo>
                    <a:pt x="1123" y="680"/>
                  </a:lnTo>
                  <a:lnTo>
                    <a:pt x="1121" y="680"/>
                  </a:lnTo>
                  <a:close/>
                  <a:moveTo>
                    <a:pt x="1124" y="680"/>
                  </a:moveTo>
                  <a:lnTo>
                    <a:pt x="1123" y="680"/>
                  </a:lnTo>
                  <a:lnTo>
                    <a:pt x="1124" y="680"/>
                  </a:lnTo>
                  <a:close/>
                  <a:moveTo>
                    <a:pt x="1116" y="680"/>
                  </a:moveTo>
                  <a:lnTo>
                    <a:pt x="1118" y="680"/>
                  </a:lnTo>
                  <a:lnTo>
                    <a:pt x="1119" y="680"/>
                  </a:lnTo>
                  <a:lnTo>
                    <a:pt x="1119" y="682"/>
                  </a:lnTo>
                  <a:lnTo>
                    <a:pt x="1121" y="682"/>
                  </a:lnTo>
                  <a:lnTo>
                    <a:pt x="1123" y="682"/>
                  </a:lnTo>
                  <a:lnTo>
                    <a:pt x="1121" y="683"/>
                  </a:lnTo>
                  <a:lnTo>
                    <a:pt x="1119" y="683"/>
                  </a:lnTo>
                  <a:lnTo>
                    <a:pt x="1118" y="683"/>
                  </a:lnTo>
                  <a:lnTo>
                    <a:pt x="1118" y="682"/>
                  </a:lnTo>
                  <a:lnTo>
                    <a:pt x="1116" y="682"/>
                  </a:lnTo>
                  <a:lnTo>
                    <a:pt x="1116" y="683"/>
                  </a:lnTo>
                  <a:lnTo>
                    <a:pt x="1116" y="682"/>
                  </a:lnTo>
                  <a:lnTo>
                    <a:pt x="1116" y="680"/>
                  </a:lnTo>
                  <a:lnTo>
                    <a:pt x="1116" y="682"/>
                  </a:lnTo>
                  <a:lnTo>
                    <a:pt x="1116" y="680"/>
                  </a:lnTo>
                  <a:close/>
                  <a:moveTo>
                    <a:pt x="1123" y="680"/>
                  </a:moveTo>
                  <a:lnTo>
                    <a:pt x="1123" y="679"/>
                  </a:lnTo>
                  <a:lnTo>
                    <a:pt x="1123" y="680"/>
                  </a:lnTo>
                  <a:close/>
                  <a:moveTo>
                    <a:pt x="1126" y="680"/>
                  </a:moveTo>
                  <a:lnTo>
                    <a:pt x="1124" y="680"/>
                  </a:lnTo>
                  <a:lnTo>
                    <a:pt x="1126" y="680"/>
                  </a:lnTo>
                  <a:lnTo>
                    <a:pt x="1126" y="679"/>
                  </a:lnTo>
                  <a:lnTo>
                    <a:pt x="1126" y="680"/>
                  </a:lnTo>
                  <a:close/>
                  <a:moveTo>
                    <a:pt x="1119" y="679"/>
                  </a:moveTo>
                  <a:lnTo>
                    <a:pt x="1121" y="679"/>
                  </a:lnTo>
                  <a:lnTo>
                    <a:pt x="1119" y="679"/>
                  </a:lnTo>
                  <a:close/>
                  <a:moveTo>
                    <a:pt x="1124" y="679"/>
                  </a:moveTo>
                  <a:lnTo>
                    <a:pt x="1126" y="679"/>
                  </a:lnTo>
                  <a:lnTo>
                    <a:pt x="1124" y="679"/>
                  </a:lnTo>
                  <a:close/>
                  <a:moveTo>
                    <a:pt x="1136" y="679"/>
                  </a:moveTo>
                  <a:lnTo>
                    <a:pt x="1136" y="677"/>
                  </a:lnTo>
                  <a:lnTo>
                    <a:pt x="1136" y="679"/>
                  </a:lnTo>
                  <a:close/>
                  <a:moveTo>
                    <a:pt x="1121" y="679"/>
                  </a:moveTo>
                  <a:lnTo>
                    <a:pt x="1121" y="677"/>
                  </a:lnTo>
                  <a:lnTo>
                    <a:pt x="1121" y="679"/>
                  </a:lnTo>
                  <a:close/>
                  <a:moveTo>
                    <a:pt x="1126" y="679"/>
                  </a:moveTo>
                  <a:lnTo>
                    <a:pt x="1126" y="677"/>
                  </a:lnTo>
                  <a:lnTo>
                    <a:pt x="1126" y="679"/>
                  </a:lnTo>
                  <a:close/>
                  <a:moveTo>
                    <a:pt x="1111" y="677"/>
                  </a:moveTo>
                  <a:lnTo>
                    <a:pt x="1113" y="677"/>
                  </a:lnTo>
                  <a:lnTo>
                    <a:pt x="1111" y="677"/>
                  </a:lnTo>
                  <a:close/>
                  <a:moveTo>
                    <a:pt x="1113" y="677"/>
                  </a:moveTo>
                  <a:lnTo>
                    <a:pt x="1113" y="675"/>
                  </a:lnTo>
                  <a:lnTo>
                    <a:pt x="1115" y="675"/>
                  </a:lnTo>
                  <a:lnTo>
                    <a:pt x="1113" y="677"/>
                  </a:lnTo>
                  <a:close/>
                  <a:moveTo>
                    <a:pt x="1110" y="677"/>
                  </a:moveTo>
                  <a:lnTo>
                    <a:pt x="1110" y="675"/>
                  </a:lnTo>
                  <a:lnTo>
                    <a:pt x="1110" y="677"/>
                  </a:lnTo>
                  <a:close/>
                  <a:moveTo>
                    <a:pt x="1111" y="677"/>
                  </a:moveTo>
                  <a:lnTo>
                    <a:pt x="1111" y="675"/>
                  </a:lnTo>
                  <a:lnTo>
                    <a:pt x="1111" y="677"/>
                  </a:lnTo>
                  <a:close/>
                  <a:moveTo>
                    <a:pt x="1128" y="675"/>
                  </a:moveTo>
                  <a:lnTo>
                    <a:pt x="1129" y="675"/>
                  </a:lnTo>
                  <a:lnTo>
                    <a:pt x="1128" y="675"/>
                  </a:lnTo>
                  <a:close/>
                  <a:moveTo>
                    <a:pt x="1110" y="677"/>
                  </a:moveTo>
                  <a:lnTo>
                    <a:pt x="1110" y="675"/>
                  </a:lnTo>
                  <a:lnTo>
                    <a:pt x="1110" y="677"/>
                  </a:lnTo>
                  <a:close/>
                  <a:moveTo>
                    <a:pt x="1108" y="675"/>
                  </a:moveTo>
                  <a:lnTo>
                    <a:pt x="1110" y="675"/>
                  </a:lnTo>
                  <a:lnTo>
                    <a:pt x="1108" y="677"/>
                  </a:lnTo>
                  <a:lnTo>
                    <a:pt x="1108" y="675"/>
                  </a:lnTo>
                  <a:close/>
                  <a:moveTo>
                    <a:pt x="1110" y="677"/>
                  </a:moveTo>
                  <a:lnTo>
                    <a:pt x="1111" y="677"/>
                  </a:lnTo>
                  <a:lnTo>
                    <a:pt x="1110" y="677"/>
                  </a:lnTo>
                  <a:lnTo>
                    <a:pt x="1111" y="675"/>
                  </a:lnTo>
                  <a:lnTo>
                    <a:pt x="1110" y="677"/>
                  </a:lnTo>
                  <a:lnTo>
                    <a:pt x="1111" y="677"/>
                  </a:lnTo>
                  <a:lnTo>
                    <a:pt x="1110" y="677"/>
                  </a:lnTo>
                  <a:close/>
                  <a:moveTo>
                    <a:pt x="1124" y="679"/>
                  </a:moveTo>
                  <a:lnTo>
                    <a:pt x="1124" y="677"/>
                  </a:lnTo>
                  <a:lnTo>
                    <a:pt x="1124" y="679"/>
                  </a:lnTo>
                  <a:lnTo>
                    <a:pt x="1123" y="679"/>
                  </a:lnTo>
                  <a:lnTo>
                    <a:pt x="1123" y="680"/>
                  </a:lnTo>
                  <a:lnTo>
                    <a:pt x="1121" y="680"/>
                  </a:lnTo>
                  <a:lnTo>
                    <a:pt x="1121" y="679"/>
                  </a:lnTo>
                  <a:lnTo>
                    <a:pt x="1123" y="679"/>
                  </a:lnTo>
                  <a:lnTo>
                    <a:pt x="1121" y="679"/>
                  </a:lnTo>
                  <a:lnTo>
                    <a:pt x="1123" y="679"/>
                  </a:lnTo>
                  <a:lnTo>
                    <a:pt x="1123" y="677"/>
                  </a:lnTo>
                  <a:lnTo>
                    <a:pt x="1123" y="675"/>
                  </a:lnTo>
                  <a:lnTo>
                    <a:pt x="1124" y="675"/>
                  </a:lnTo>
                  <a:lnTo>
                    <a:pt x="1124" y="677"/>
                  </a:lnTo>
                  <a:lnTo>
                    <a:pt x="1126" y="677"/>
                  </a:lnTo>
                  <a:lnTo>
                    <a:pt x="1124" y="679"/>
                  </a:lnTo>
                  <a:close/>
                  <a:moveTo>
                    <a:pt x="1111" y="677"/>
                  </a:moveTo>
                  <a:lnTo>
                    <a:pt x="1111" y="675"/>
                  </a:lnTo>
                  <a:lnTo>
                    <a:pt x="1111" y="677"/>
                  </a:lnTo>
                  <a:close/>
                  <a:moveTo>
                    <a:pt x="1123" y="677"/>
                  </a:moveTo>
                  <a:lnTo>
                    <a:pt x="1121" y="675"/>
                  </a:lnTo>
                  <a:lnTo>
                    <a:pt x="1123" y="675"/>
                  </a:lnTo>
                  <a:lnTo>
                    <a:pt x="1123" y="677"/>
                  </a:lnTo>
                  <a:close/>
                  <a:moveTo>
                    <a:pt x="1110" y="675"/>
                  </a:moveTo>
                  <a:lnTo>
                    <a:pt x="1111" y="675"/>
                  </a:lnTo>
                  <a:lnTo>
                    <a:pt x="1110" y="675"/>
                  </a:lnTo>
                  <a:close/>
                  <a:moveTo>
                    <a:pt x="1108" y="675"/>
                  </a:moveTo>
                  <a:lnTo>
                    <a:pt x="1110" y="675"/>
                  </a:lnTo>
                  <a:lnTo>
                    <a:pt x="1108" y="675"/>
                  </a:lnTo>
                  <a:close/>
                  <a:moveTo>
                    <a:pt x="1113" y="675"/>
                  </a:moveTo>
                  <a:lnTo>
                    <a:pt x="1111" y="675"/>
                  </a:lnTo>
                  <a:lnTo>
                    <a:pt x="1113" y="675"/>
                  </a:lnTo>
                  <a:close/>
                  <a:moveTo>
                    <a:pt x="1115" y="675"/>
                  </a:moveTo>
                  <a:lnTo>
                    <a:pt x="1113" y="677"/>
                  </a:lnTo>
                  <a:lnTo>
                    <a:pt x="1113" y="675"/>
                  </a:lnTo>
                  <a:lnTo>
                    <a:pt x="1115" y="675"/>
                  </a:lnTo>
                  <a:close/>
                  <a:moveTo>
                    <a:pt x="1111" y="675"/>
                  </a:moveTo>
                  <a:lnTo>
                    <a:pt x="1113" y="675"/>
                  </a:lnTo>
                  <a:lnTo>
                    <a:pt x="1111" y="675"/>
                  </a:lnTo>
                  <a:close/>
                  <a:moveTo>
                    <a:pt x="1113" y="675"/>
                  </a:moveTo>
                  <a:lnTo>
                    <a:pt x="1115" y="675"/>
                  </a:lnTo>
                  <a:lnTo>
                    <a:pt x="1113" y="675"/>
                  </a:lnTo>
                  <a:close/>
                  <a:moveTo>
                    <a:pt x="1115" y="674"/>
                  </a:moveTo>
                  <a:lnTo>
                    <a:pt x="1115" y="675"/>
                  </a:lnTo>
                  <a:lnTo>
                    <a:pt x="1115" y="674"/>
                  </a:lnTo>
                  <a:close/>
                  <a:moveTo>
                    <a:pt x="1123" y="675"/>
                  </a:moveTo>
                  <a:lnTo>
                    <a:pt x="1123" y="674"/>
                  </a:lnTo>
                  <a:lnTo>
                    <a:pt x="1123" y="675"/>
                  </a:lnTo>
                  <a:close/>
                  <a:moveTo>
                    <a:pt x="1111" y="675"/>
                  </a:moveTo>
                  <a:lnTo>
                    <a:pt x="1111" y="674"/>
                  </a:lnTo>
                  <a:lnTo>
                    <a:pt x="1111" y="675"/>
                  </a:lnTo>
                  <a:close/>
                  <a:moveTo>
                    <a:pt x="1113" y="675"/>
                  </a:moveTo>
                  <a:lnTo>
                    <a:pt x="1113" y="674"/>
                  </a:lnTo>
                  <a:lnTo>
                    <a:pt x="1113" y="675"/>
                  </a:lnTo>
                  <a:close/>
                  <a:moveTo>
                    <a:pt x="1110" y="675"/>
                  </a:moveTo>
                  <a:lnTo>
                    <a:pt x="1110" y="674"/>
                  </a:lnTo>
                  <a:lnTo>
                    <a:pt x="1110" y="675"/>
                  </a:lnTo>
                  <a:close/>
                  <a:moveTo>
                    <a:pt x="1110" y="675"/>
                  </a:moveTo>
                  <a:lnTo>
                    <a:pt x="1110" y="674"/>
                  </a:lnTo>
                  <a:lnTo>
                    <a:pt x="1110" y="675"/>
                  </a:lnTo>
                  <a:close/>
                  <a:moveTo>
                    <a:pt x="1111" y="675"/>
                  </a:moveTo>
                  <a:lnTo>
                    <a:pt x="1111" y="674"/>
                  </a:lnTo>
                  <a:lnTo>
                    <a:pt x="1111" y="675"/>
                  </a:lnTo>
                  <a:close/>
                  <a:moveTo>
                    <a:pt x="1111" y="674"/>
                  </a:moveTo>
                  <a:lnTo>
                    <a:pt x="1111" y="675"/>
                  </a:lnTo>
                  <a:lnTo>
                    <a:pt x="1110" y="675"/>
                  </a:lnTo>
                  <a:lnTo>
                    <a:pt x="1111" y="675"/>
                  </a:lnTo>
                  <a:lnTo>
                    <a:pt x="1111" y="674"/>
                  </a:lnTo>
                  <a:close/>
                  <a:moveTo>
                    <a:pt x="1110" y="675"/>
                  </a:moveTo>
                  <a:lnTo>
                    <a:pt x="1110" y="674"/>
                  </a:lnTo>
                  <a:lnTo>
                    <a:pt x="1110" y="675"/>
                  </a:lnTo>
                  <a:close/>
                  <a:moveTo>
                    <a:pt x="1111" y="674"/>
                  </a:moveTo>
                  <a:lnTo>
                    <a:pt x="1110" y="674"/>
                  </a:lnTo>
                  <a:lnTo>
                    <a:pt x="1111" y="674"/>
                  </a:lnTo>
                  <a:close/>
                  <a:moveTo>
                    <a:pt x="1111" y="674"/>
                  </a:moveTo>
                  <a:lnTo>
                    <a:pt x="1113" y="674"/>
                  </a:lnTo>
                  <a:lnTo>
                    <a:pt x="1111" y="674"/>
                  </a:lnTo>
                  <a:close/>
                  <a:moveTo>
                    <a:pt x="1126" y="675"/>
                  </a:moveTo>
                  <a:lnTo>
                    <a:pt x="1124" y="675"/>
                  </a:lnTo>
                  <a:lnTo>
                    <a:pt x="1123" y="675"/>
                  </a:lnTo>
                  <a:lnTo>
                    <a:pt x="1124" y="675"/>
                  </a:lnTo>
                  <a:lnTo>
                    <a:pt x="1124" y="674"/>
                  </a:lnTo>
                  <a:lnTo>
                    <a:pt x="1126" y="674"/>
                  </a:lnTo>
                  <a:lnTo>
                    <a:pt x="1126" y="675"/>
                  </a:lnTo>
                  <a:close/>
                  <a:moveTo>
                    <a:pt x="1111" y="674"/>
                  </a:moveTo>
                  <a:lnTo>
                    <a:pt x="1110" y="674"/>
                  </a:lnTo>
                  <a:lnTo>
                    <a:pt x="1111" y="674"/>
                  </a:lnTo>
                  <a:close/>
                  <a:moveTo>
                    <a:pt x="1111" y="674"/>
                  </a:moveTo>
                  <a:lnTo>
                    <a:pt x="1111" y="672"/>
                  </a:lnTo>
                  <a:lnTo>
                    <a:pt x="1111" y="674"/>
                  </a:lnTo>
                  <a:close/>
                  <a:moveTo>
                    <a:pt x="1110" y="672"/>
                  </a:moveTo>
                  <a:lnTo>
                    <a:pt x="1111" y="672"/>
                  </a:lnTo>
                  <a:lnTo>
                    <a:pt x="1110" y="672"/>
                  </a:lnTo>
                  <a:lnTo>
                    <a:pt x="1110" y="674"/>
                  </a:lnTo>
                  <a:lnTo>
                    <a:pt x="1110" y="672"/>
                  </a:lnTo>
                  <a:close/>
                  <a:moveTo>
                    <a:pt x="1134" y="672"/>
                  </a:moveTo>
                  <a:lnTo>
                    <a:pt x="1136" y="672"/>
                  </a:lnTo>
                  <a:lnTo>
                    <a:pt x="1136" y="674"/>
                  </a:lnTo>
                  <a:lnTo>
                    <a:pt x="1134" y="674"/>
                  </a:lnTo>
                  <a:lnTo>
                    <a:pt x="1136" y="674"/>
                  </a:lnTo>
                  <a:lnTo>
                    <a:pt x="1134" y="674"/>
                  </a:lnTo>
                  <a:lnTo>
                    <a:pt x="1134" y="672"/>
                  </a:lnTo>
                  <a:close/>
                  <a:moveTo>
                    <a:pt x="1113" y="674"/>
                  </a:moveTo>
                  <a:lnTo>
                    <a:pt x="1113" y="672"/>
                  </a:lnTo>
                  <a:lnTo>
                    <a:pt x="1113" y="674"/>
                  </a:lnTo>
                  <a:lnTo>
                    <a:pt x="1113" y="672"/>
                  </a:lnTo>
                  <a:lnTo>
                    <a:pt x="1113" y="674"/>
                  </a:lnTo>
                  <a:close/>
                  <a:moveTo>
                    <a:pt x="1110" y="672"/>
                  </a:moveTo>
                  <a:lnTo>
                    <a:pt x="1108" y="672"/>
                  </a:lnTo>
                  <a:lnTo>
                    <a:pt x="1110" y="672"/>
                  </a:lnTo>
                  <a:close/>
                  <a:moveTo>
                    <a:pt x="1134" y="672"/>
                  </a:moveTo>
                  <a:lnTo>
                    <a:pt x="1136" y="672"/>
                  </a:lnTo>
                  <a:lnTo>
                    <a:pt x="1134" y="672"/>
                  </a:lnTo>
                  <a:close/>
                  <a:moveTo>
                    <a:pt x="1108" y="672"/>
                  </a:moveTo>
                  <a:lnTo>
                    <a:pt x="1106" y="672"/>
                  </a:lnTo>
                  <a:lnTo>
                    <a:pt x="1108" y="672"/>
                  </a:lnTo>
                  <a:close/>
                  <a:moveTo>
                    <a:pt x="1111" y="672"/>
                  </a:moveTo>
                  <a:lnTo>
                    <a:pt x="1113" y="672"/>
                  </a:lnTo>
                  <a:lnTo>
                    <a:pt x="1111" y="672"/>
                  </a:lnTo>
                  <a:close/>
                  <a:moveTo>
                    <a:pt x="1136" y="670"/>
                  </a:moveTo>
                  <a:lnTo>
                    <a:pt x="1136" y="672"/>
                  </a:lnTo>
                  <a:lnTo>
                    <a:pt x="1136" y="670"/>
                  </a:lnTo>
                  <a:close/>
                  <a:moveTo>
                    <a:pt x="1113" y="672"/>
                  </a:moveTo>
                  <a:lnTo>
                    <a:pt x="1113" y="670"/>
                  </a:lnTo>
                  <a:lnTo>
                    <a:pt x="1113" y="672"/>
                  </a:lnTo>
                  <a:close/>
                  <a:moveTo>
                    <a:pt x="1113" y="672"/>
                  </a:moveTo>
                  <a:lnTo>
                    <a:pt x="1113" y="670"/>
                  </a:lnTo>
                  <a:lnTo>
                    <a:pt x="1113" y="672"/>
                  </a:lnTo>
                  <a:close/>
                  <a:moveTo>
                    <a:pt x="1111" y="672"/>
                  </a:moveTo>
                  <a:lnTo>
                    <a:pt x="1111" y="670"/>
                  </a:lnTo>
                  <a:lnTo>
                    <a:pt x="1111" y="672"/>
                  </a:lnTo>
                  <a:lnTo>
                    <a:pt x="1111" y="670"/>
                  </a:lnTo>
                  <a:lnTo>
                    <a:pt x="1111" y="672"/>
                  </a:lnTo>
                  <a:close/>
                  <a:moveTo>
                    <a:pt x="1145" y="670"/>
                  </a:moveTo>
                  <a:lnTo>
                    <a:pt x="1144" y="670"/>
                  </a:lnTo>
                  <a:lnTo>
                    <a:pt x="1145" y="670"/>
                  </a:lnTo>
                  <a:close/>
                  <a:moveTo>
                    <a:pt x="1136" y="670"/>
                  </a:moveTo>
                  <a:lnTo>
                    <a:pt x="1137" y="670"/>
                  </a:lnTo>
                  <a:lnTo>
                    <a:pt x="1136" y="670"/>
                  </a:lnTo>
                  <a:close/>
                  <a:moveTo>
                    <a:pt x="1137" y="670"/>
                  </a:moveTo>
                  <a:lnTo>
                    <a:pt x="1137" y="669"/>
                  </a:lnTo>
                  <a:lnTo>
                    <a:pt x="1137" y="670"/>
                  </a:lnTo>
                  <a:close/>
                  <a:moveTo>
                    <a:pt x="1141" y="669"/>
                  </a:moveTo>
                  <a:lnTo>
                    <a:pt x="1142" y="669"/>
                  </a:lnTo>
                  <a:lnTo>
                    <a:pt x="1142" y="670"/>
                  </a:lnTo>
                  <a:lnTo>
                    <a:pt x="1141" y="672"/>
                  </a:lnTo>
                  <a:lnTo>
                    <a:pt x="1141" y="674"/>
                  </a:lnTo>
                  <a:lnTo>
                    <a:pt x="1142" y="675"/>
                  </a:lnTo>
                  <a:lnTo>
                    <a:pt x="1141" y="675"/>
                  </a:lnTo>
                  <a:lnTo>
                    <a:pt x="1141" y="677"/>
                  </a:lnTo>
                  <a:lnTo>
                    <a:pt x="1139" y="677"/>
                  </a:lnTo>
                  <a:lnTo>
                    <a:pt x="1141" y="679"/>
                  </a:lnTo>
                  <a:lnTo>
                    <a:pt x="1139" y="679"/>
                  </a:lnTo>
                  <a:lnTo>
                    <a:pt x="1139" y="680"/>
                  </a:lnTo>
                  <a:lnTo>
                    <a:pt x="1137" y="682"/>
                  </a:lnTo>
                  <a:lnTo>
                    <a:pt x="1137" y="683"/>
                  </a:lnTo>
                  <a:lnTo>
                    <a:pt x="1137" y="685"/>
                  </a:lnTo>
                  <a:lnTo>
                    <a:pt x="1139" y="685"/>
                  </a:lnTo>
                  <a:lnTo>
                    <a:pt x="1137" y="687"/>
                  </a:lnTo>
                  <a:lnTo>
                    <a:pt x="1137" y="688"/>
                  </a:lnTo>
                  <a:lnTo>
                    <a:pt x="1139" y="687"/>
                  </a:lnTo>
                  <a:lnTo>
                    <a:pt x="1139" y="688"/>
                  </a:lnTo>
                  <a:lnTo>
                    <a:pt x="1139" y="690"/>
                  </a:lnTo>
                  <a:lnTo>
                    <a:pt x="1139" y="692"/>
                  </a:lnTo>
                  <a:lnTo>
                    <a:pt x="1139" y="693"/>
                  </a:lnTo>
                  <a:lnTo>
                    <a:pt x="1141" y="693"/>
                  </a:lnTo>
                  <a:lnTo>
                    <a:pt x="1139" y="693"/>
                  </a:lnTo>
                  <a:lnTo>
                    <a:pt x="1139" y="695"/>
                  </a:lnTo>
                  <a:lnTo>
                    <a:pt x="1137" y="696"/>
                  </a:lnTo>
                  <a:lnTo>
                    <a:pt x="1136" y="696"/>
                  </a:lnTo>
                  <a:lnTo>
                    <a:pt x="1137" y="696"/>
                  </a:lnTo>
                  <a:lnTo>
                    <a:pt x="1136" y="695"/>
                  </a:lnTo>
                  <a:lnTo>
                    <a:pt x="1136" y="693"/>
                  </a:lnTo>
                  <a:lnTo>
                    <a:pt x="1134" y="693"/>
                  </a:lnTo>
                  <a:lnTo>
                    <a:pt x="1134" y="692"/>
                  </a:lnTo>
                  <a:lnTo>
                    <a:pt x="1134" y="690"/>
                  </a:lnTo>
                  <a:lnTo>
                    <a:pt x="1134" y="688"/>
                  </a:lnTo>
                  <a:lnTo>
                    <a:pt x="1132" y="687"/>
                  </a:lnTo>
                  <a:lnTo>
                    <a:pt x="1131" y="687"/>
                  </a:lnTo>
                  <a:lnTo>
                    <a:pt x="1131" y="685"/>
                  </a:lnTo>
                  <a:lnTo>
                    <a:pt x="1129" y="685"/>
                  </a:lnTo>
                  <a:lnTo>
                    <a:pt x="1129" y="683"/>
                  </a:lnTo>
                  <a:lnTo>
                    <a:pt x="1128" y="685"/>
                  </a:lnTo>
                  <a:lnTo>
                    <a:pt x="1126" y="685"/>
                  </a:lnTo>
                  <a:lnTo>
                    <a:pt x="1126" y="682"/>
                  </a:lnTo>
                  <a:lnTo>
                    <a:pt x="1128" y="682"/>
                  </a:lnTo>
                  <a:lnTo>
                    <a:pt x="1128" y="680"/>
                  </a:lnTo>
                  <a:lnTo>
                    <a:pt x="1129" y="679"/>
                  </a:lnTo>
                  <a:lnTo>
                    <a:pt x="1128" y="679"/>
                  </a:lnTo>
                  <a:lnTo>
                    <a:pt x="1128" y="677"/>
                  </a:lnTo>
                  <a:lnTo>
                    <a:pt x="1129" y="675"/>
                  </a:lnTo>
                  <a:lnTo>
                    <a:pt x="1128" y="675"/>
                  </a:lnTo>
                  <a:lnTo>
                    <a:pt x="1129" y="675"/>
                  </a:lnTo>
                  <a:lnTo>
                    <a:pt x="1129" y="674"/>
                  </a:lnTo>
                  <a:lnTo>
                    <a:pt x="1129" y="675"/>
                  </a:lnTo>
                  <a:lnTo>
                    <a:pt x="1131" y="675"/>
                  </a:lnTo>
                  <a:lnTo>
                    <a:pt x="1132" y="677"/>
                  </a:lnTo>
                  <a:lnTo>
                    <a:pt x="1134" y="679"/>
                  </a:lnTo>
                  <a:lnTo>
                    <a:pt x="1134" y="680"/>
                  </a:lnTo>
                  <a:lnTo>
                    <a:pt x="1134" y="679"/>
                  </a:lnTo>
                  <a:lnTo>
                    <a:pt x="1136" y="679"/>
                  </a:lnTo>
                  <a:lnTo>
                    <a:pt x="1136" y="677"/>
                  </a:lnTo>
                  <a:lnTo>
                    <a:pt x="1137" y="675"/>
                  </a:lnTo>
                  <a:lnTo>
                    <a:pt x="1137" y="674"/>
                  </a:lnTo>
                  <a:lnTo>
                    <a:pt x="1137" y="672"/>
                  </a:lnTo>
                  <a:lnTo>
                    <a:pt x="1137" y="670"/>
                  </a:lnTo>
                  <a:lnTo>
                    <a:pt x="1139" y="670"/>
                  </a:lnTo>
                  <a:lnTo>
                    <a:pt x="1139" y="669"/>
                  </a:lnTo>
                  <a:lnTo>
                    <a:pt x="1139" y="670"/>
                  </a:lnTo>
                  <a:lnTo>
                    <a:pt x="1139" y="669"/>
                  </a:lnTo>
                  <a:lnTo>
                    <a:pt x="1141" y="669"/>
                  </a:lnTo>
                  <a:close/>
                  <a:moveTo>
                    <a:pt x="1154" y="669"/>
                  </a:moveTo>
                  <a:lnTo>
                    <a:pt x="1152" y="669"/>
                  </a:lnTo>
                  <a:lnTo>
                    <a:pt x="1152" y="667"/>
                  </a:lnTo>
                  <a:lnTo>
                    <a:pt x="1154" y="667"/>
                  </a:lnTo>
                  <a:lnTo>
                    <a:pt x="1154" y="669"/>
                  </a:lnTo>
                  <a:close/>
                  <a:moveTo>
                    <a:pt x="1121" y="665"/>
                  </a:moveTo>
                  <a:lnTo>
                    <a:pt x="1123" y="665"/>
                  </a:lnTo>
                  <a:lnTo>
                    <a:pt x="1121" y="665"/>
                  </a:lnTo>
                  <a:close/>
                  <a:moveTo>
                    <a:pt x="1121" y="665"/>
                  </a:moveTo>
                  <a:lnTo>
                    <a:pt x="1121" y="664"/>
                  </a:lnTo>
                  <a:lnTo>
                    <a:pt x="1121" y="665"/>
                  </a:lnTo>
                  <a:close/>
                  <a:moveTo>
                    <a:pt x="1121" y="664"/>
                  </a:moveTo>
                  <a:lnTo>
                    <a:pt x="1123" y="664"/>
                  </a:lnTo>
                  <a:lnTo>
                    <a:pt x="1121" y="664"/>
                  </a:lnTo>
                  <a:close/>
                  <a:moveTo>
                    <a:pt x="1178" y="664"/>
                  </a:moveTo>
                  <a:lnTo>
                    <a:pt x="1180" y="664"/>
                  </a:lnTo>
                  <a:lnTo>
                    <a:pt x="1178" y="664"/>
                  </a:lnTo>
                  <a:close/>
                  <a:moveTo>
                    <a:pt x="1121" y="664"/>
                  </a:moveTo>
                  <a:lnTo>
                    <a:pt x="1123" y="662"/>
                  </a:lnTo>
                  <a:lnTo>
                    <a:pt x="1123" y="664"/>
                  </a:lnTo>
                  <a:lnTo>
                    <a:pt x="1121" y="664"/>
                  </a:lnTo>
                  <a:close/>
                  <a:moveTo>
                    <a:pt x="1119" y="661"/>
                  </a:moveTo>
                  <a:lnTo>
                    <a:pt x="1119" y="659"/>
                  </a:lnTo>
                  <a:lnTo>
                    <a:pt x="1119" y="661"/>
                  </a:lnTo>
                  <a:close/>
                  <a:moveTo>
                    <a:pt x="1144" y="661"/>
                  </a:moveTo>
                  <a:lnTo>
                    <a:pt x="1144" y="659"/>
                  </a:lnTo>
                  <a:lnTo>
                    <a:pt x="1144" y="661"/>
                  </a:lnTo>
                  <a:close/>
                  <a:moveTo>
                    <a:pt x="1121" y="661"/>
                  </a:moveTo>
                  <a:lnTo>
                    <a:pt x="1123" y="661"/>
                  </a:lnTo>
                  <a:lnTo>
                    <a:pt x="1123" y="659"/>
                  </a:lnTo>
                  <a:lnTo>
                    <a:pt x="1123" y="661"/>
                  </a:lnTo>
                  <a:lnTo>
                    <a:pt x="1121" y="661"/>
                  </a:lnTo>
                  <a:close/>
                  <a:moveTo>
                    <a:pt x="1141" y="661"/>
                  </a:moveTo>
                  <a:lnTo>
                    <a:pt x="1141" y="659"/>
                  </a:lnTo>
                  <a:lnTo>
                    <a:pt x="1141" y="661"/>
                  </a:lnTo>
                  <a:close/>
                  <a:moveTo>
                    <a:pt x="1124" y="661"/>
                  </a:moveTo>
                  <a:lnTo>
                    <a:pt x="1124" y="659"/>
                  </a:lnTo>
                  <a:lnTo>
                    <a:pt x="1124" y="661"/>
                  </a:lnTo>
                  <a:close/>
                  <a:moveTo>
                    <a:pt x="1123" y="661"/>
                  </a:moveTo>
                  <a:lnTo>
                    <a:pt x="1123" y="659"/>
                  </a:lnTo>
                  <a:lnTo>
                    <a:pt x="1124" y="659"/>
                  </a:lnTo>
                  <a:lnTo>
                    <a:pt x="1123" y="661"/>
                  </a:lnTo>
                  <a:close/>
                  <a:moveTo>
                    <a:pt x="1126" y="659"/>
                  </a:moveTo>
                  <a:lnTo>
                    <a:pt x="1124" y="659"/>
                  </a:lnTo>
                  <a:lnTo>
                    <a:pt x="1126" y="659"/>
                  </a:lnTo>
                  <a:close/>
                  <a:moveTo>
                    <a:pt x="1126" y="659"/>
                  </a:moveTo>
                  <a:lnTo>
                    <a:pt x="1128" y="657"/>
                  </a:lnTo>
                  <a:lnTo>
                    <a:pt x="1128" y="659"/>
                  </a:lnTo>
                  <a:lnTo>
                    <a:pt x="1126" y="659"/>
                  </a:lnTo>
                  <a:close/>
                  <a:moveTo>
                    <a:pt x="1124" y="659"/>
                  </a:moveTo>
                  <a:lnTo>
                    <a:pt x="1124" y="657"/>
                  </a:lnTo>
                  <a:lnTo>
                    <a:pt x="1124" y="659"/>
                  </a:lnTo>
                  <a:close/>
                  <a:moveTo>
                    <a:pt x="1128" y="659"/>
                  </a:moveTo>
                  <a:lnTo>
                    <a:pt x="1126" y="659"/>
                  </a:lnTo>
                  <a:lnTo>
                    <a:pt x="1128" y="657"/>
                  </a:lnTo>
                  <a:lnTo>
                    <a:pt x="1128" y="659"/>
                  </a:lnTo>
                  <a:close/>
                  <a:moveTo>
                    <a:pt x="1175" y="659"/>
                  </a:moveTo>
                  <a:lnTo>
                    <a:pt x="1176" y="657"/>
                  </a:lnTo>
                  <a:lnTo>
                    <a:pt x="1178" y="659"/>
                  </a:lnTo>
                  <a:lnTo>
                    <a:pt x="1176" y="659"/>
                  </a:lnTo>
                  <a:lnTo>
                    <a:pt x="1176" y="657"/>
                  </a:lnTo>
                  <a:lnTo>
                    <a:pt x="1176" y="659"/>
                  </a:lnTo>
                  <a:lnTo>
                    <a:pt x="1176" y="661"/>
                  </a:lnTo>
                  <a:lnTo>
                    <a:pt x="1175" y="659"/>
                  </a:lnTo>
                  <a:lnTo>
                    <a:pt x="1176" y="659"/>
                  </a:lnTo>
                  <a:lnTo>
                    <a:pt x="1175" y="659"/>
                  </a:lnTo>
                  <a:lnTo>
                    <a:pt x="1176" y="659"/>
                  </a:lnTo>
                  <a:lnTo>
                    <a:pt x="1175" y="659"/>
                  </a:lnTo>
                  <a:lnTo>
                    <a:pt x="1175" y="661"/>
                  </a:lnTo>
                  <a:lnTo>
                    <a:pt x="1175" y="659"/>
                  </a:lnTo>
                  <a:close/>
                  <a:moveTo>
                    <a:pt x="1132" y="657"/>
                  </a:moveTo>
                  <a:lnTo>
                    <a:pt x="1132" y="659"/>
                  </a:lnTo>
                  <a:lnTo>
                    <a:pt x="1132" y="657"/>
                  </a:lnTo>
                  <a:close/>
                  <a:moveTo>
                    <a:pt x="1141" y="657"/>
                  </a:moveTo>
                  <a:lnTo>
                    <a:pt x="1141" y="659"/>
                  </a:lnTo>
                  <a:lnTo>
                    <a:pt x="1141" y="657"/>
                  </a:lnTo>
                  <a:close/>
                  <a:moveTo>
                    <a:pt x="1124" y="657"/>
                  </a:moveTo>
                  <a:lnTo>
                    <a:pt x="1126" y="657"/>
                  </a:lnTo>
                  <a:lnTo>
                    <a:pt x="1124" y="657"/>
                  </a:lnTo>
                  <a:close/>
                  <a:moveTo>
                    <a:pt x="1132" y="657"/>
                  </a:moveTo>
                  <a:lnTo>
                    <a:pt x="1134" y="657"/>
                  </a:lnTo>
                  <a:lnTo>
                    <a:pt x="1132" y="657"/>
                  </a:lnTo>
                  <a:close/>
                  <a:moveTo>
                    <a:pt x="1108" y="656"/>
                  </a:moveTo>
                  <a:lnTo>
                    <a:pt x="1108" y="657"/>
                  </a:lnTo>
                  <a:lnTo>
                    <a:pt x="1108" y="656"/>
                  </a:lnTo>
                  <a:close/>
                  <a:moveTo>
                    <a:pt x="1134" y="656"/>
                  </a:moveTo>
                  <a:lnTo>
                    <a:pt x="1134" y="657"/>
                  </a:lnTo>
                  <a:lnTo>
                    <a:pt x="1134" y="656"/>
                  </a:lnTo>
                  <a:close/>
                  <a:moveTo>
                    <a:pt x="1124" y="656"/>
                  </a:moveTo>
                  <a:lnTo>
                    <a:pt x="1124" y="657"/>
                  </a:lnTo>
                  <a:lnTo>
                    <a:pt x="1126" y="657"/>
                  </a:lnTo>
                  <a:lnTo>
                    <a:pt x="1124" y="657"/>
                  </a:lnTo>
                  <a:lnTo>
                    <a:pt x="1124" y="659"/>
                  </a:lnTo>
                  <a:lnTo>
                    <a:pt x="1123" y="659"/>
                  </a:lnTo>
                  <a:lnTo>
                    <a:pt x="1123" y="661"/>
                  </a:lnTo>
                  <a:lnTo>
                    <a:pt x="1123" y="659"/>
                  </a:lnTo>
                  <a:lnTo>
                    <a:pt x="1121" y="661"/>
                  </a:lnTo>
                  <a:lnTo>
                    <a:pt x="1119" y="661"/>
                  </a:lnTo>
                  <a:lnTo>
                    <a:pt x="1119" y="659"/>
                  </a:lnTo>
                  <a:lnTo>
                    <a:pt x="1121" y="659"/>
                  </a:lnTo>
                  <a:lnTo>
                    <a:pt x="1119" y="659"/>
                  </a:lnTo>
                  <a:lnTo>
                    <a:pt x="1121" y="657"/>
                  </a:lnTo>
                  <a:lnTo>
                    <a:pt x="1123" y="657"/>
                  </a:lnTo>
                  <a:lnTo>
                    <a:pt x="1123" y="656"/>
                  </a:lnTo>
                  <a:lnTo>
                    <a:pt x="1123" y="657"/>
                  </a:lnTo>
                  <a:lnTo>
                    <a:pt x="1123" y="656"/>
                  </a:lnTo>
                  <a:lnTo>
                    <a:pt x="1124" y="657"/>
                  </a:lnTo>
                  <a:lnTo>
                    <a:pt x="1124" y="656"/>
                  </a:lnTo>
                  <a:close/>
                  <a:moveTo>
                    <a:pt x="1097" y="656"/>
                  </a:moveTo>
                  <a:lnTo>
                    <a:pt x="1098" y="656"/>
                  </a:lnTo>
                  <a:lnTo>
                    <a:pt x="1097" y="656"/>
                  </a:lnTo>
                  <a:close/>
                  <a:moveTo>
                    <a:pt x="1108" y="654"/>
                  </a:moveTo>
                  <a:lnTo>
                    <a:pt x="1108" y="656"/>
                  </a:lnTo>
                  <a:lnTo>
                    <a:pt x="1108" y="654"/>
                  </a:lnTo>
                  <a:close/>
                  <a:moveTo>
                    <a:pt x="1108" y="654"/>
                  </a:moveTo>
                  <a:lnTo>
                    <a:pt x="1108" y="656"/>
                  </a:lnTo>
                  <a:lnTo>
                    <a:pt x="1108" y="654"/>
                  </a:lnTo>
                  <a:close/>
                  <a:moveTo>
                    <a:pt x="1108" y="654"/>
                  </a:moveTo>
                  <a:lnTo>
                    <a:pt x="1110" y="654"/>
                  </a:lnTo>
                  <a:lnTo>
                    <a:pt x="1108" y="654"/>
                  </a:lnTo>
                  <a:close/>
                  <a:moveTo>
                    <a:pt x="1142" y="656"/>
                  </a:moveTo>
                  <a:lnTo>
                    <a:pt x="1144" y="656"/>
                  </a:lnTo>
                  <a:lnTo>
                    <a:pt x="1144" y="654"/>
                  </a:lnTo>
                  <a:lnTo>
                    <a:pt x="1144" y="656"/>
                  </a:lnTo>
                  <a:lnTo>
                    <a:pt x="1142" y="656"/>
                  </a:lnTo>
                  <a:close/>
                  <a:moveTo>
                    <a:pt x="1126" y="654"/>
                  </a:moveTo>
                  <a:lnTo>
                    <a:pt x="1126" y="652"/>
                  </a:lnTo>
                  <a:lnTo>
                    <a:pt x="1128" y="652"/>
                  </a:lnTo>
                  <a:lnTo>
                    <a:pt x="1126" y="654"/>
                  </a:lnTo>
                  <a:lnTo>
                    <a:pt x="1128" y="654"/>
                  </a:lnTo>
                  <a:lnTo>
                    <a:pt x="1126" y="654"/>
                  </a:lnTo>
                  <a:close/>
                  <a:moveTo>
                    <a:pt x="1132" y="652"/>
                  </a:moveTo>
                  <a:lnTo>
                    <a:pt x="1134" y="652"/>
                  </a:lnTo>
                  <a:lnTo>
                    <a:pt x="1132" y="652"/>
                  </a:lnTo>
                  <a:close/>
                  <a:moveTo>
                    <a:pt x="1142" y="652"/>
                  </a:moveTo>
                  <a:lnTo>
                    <a:pt x="1142" y="654"/>
                  </a:lnTo>
                  <a:lnTo>
                    <a:pt x="1141" y="654"/>
                  </a:lnTo>
                  <a:lnTo>
                    <a:pt x="1142" y="652"/>
                  </a:lnTo>
                  <a:close/>
                  <a:moveTo>
                    <a:pt x="1144" y="652"/>
                  </a:moveTo>
                  <a:lnTo>
                    <a:pt x="1144" y="654"/>
                  </a:lnTo>
                  <a:lnTo>
                    <a:pt x="1142" y="654"/>
                  </a:lnTo>
                  <a:lnTo>
                    <a:pt x="1142" y="656"/>
                  </a:lnTo>
                  <a:lnTo>
                    <a:pt x="1141" y="656"/>
                  </a:lnTo>
                  <a:lnTo>
                    <a:pt x="1141" y="657"/>
                  </a:lnTo>
                  <a:lnTo>
                    <a:pt x="1141" y="656"/>
                  </a:lnTo>
                  <a:lnTo>
                    <a:pt x="1141" y="657"/>
                  </a:lnTo>
                  <a:lnTo>
                    <a:pt x="1141" y="656"/>
                  </a:lnTo>
                  <a:lnTo>
                    <a:pt x="1141" y="654"/>
                  </a:lnTo>
                  <a:lnTo>
                    <a:pt x="1142" y="654"/>
                  </a:lnTo>
                  <a:lnTo>
                    <a:pt x="1142" y="652"/>
                  </a:lnTo>
                  <a:lnTo>
                    <a:pt x="1144" y="652"/>
                  </a:lnTo>
                  <a:close/>
                  <a:moveTo>
                    <a:pt x="1132" y="652"/>
                  </a:moveTo>
                  <a:lnTo>
                    <a:pt x="1134" y="652"/>
                  </a:lnTo>
                  <a:lnTo>
                    <a:pt x="1132" y="652"/>
                  </a:lnTo>
                  <a:close/>
                  <a:moveTo>
                    <a:pt x="1126" y="652"/>
                  </a:moveTo>
                  <a:lnTo>
                    <a:pt x="1128" y="651"/>
                  </a:lnTo>
                  <a:lnTo>
                    <a:pt x="1126" y="652"/>
                  </a:lnTo>
                  <a:close/>
                  <a:moveTo>
                    <a:pt x="1131" y="652"/>
                  </a:moveTo>
                  <a:lnTo>
                    <a:pt x="1131" y="651"/>
                  </a:lnTo>
                  <a:lnTo>
                    <a:pt x="1131" y="652"/>
                  </a:lnTo>
                  <a:close/>
                  <a:moveTo>
                    <a:pt x="1126" y="652"/>
                  </a:moveTo>
                  <a:lnTo>
                    <a:pt x="1126" y="651"/>
                  </a:lnTo>
                  <a:lnTo>
                    <a:pt x="1126" y="652"/>
                  </a:lnTo>
                  <a:close/>
                  <a:moveTo>
                    <a:pt x="1124" y="652"/>
                  </a:moveTo>
                  <a:lnTo>
                    <a:pt x="1124" y="651"/>
                  </a:lnTo>
                  <a:lnTo>
                    <a:pt x="1124" y="652"/>
                  </a:lnTo>
                  <a:close/>
                  <a:moveTo>
                    <a:pt x="1132" y="652"/>
                  </a:moveTo>
                  <a:lnTo>
                    <a:pt x="1132" y="651"/>
                  </a:lnTo>
                  <a:lnTo>
                    <a:pt x="1134" y="651"/>
                  </a:lnTo>
                  <a:lnTo>
                    <a:pt x="1132" y="652"/>
                  </a:lnTo>
                  <a:close/>
                  <a:moveTo>
                    <a:pt x="1183" y="649"/>
                  </a:moveTo>
                  <a:lnTo>
                    <a:pt x="1184" y="648"/>
                  </a:lnTo>
                  <a:lnTo>
                    <a:pt x="1184" y="649"/>
                  </a:lnTo>
                  <a:lnTo>
                    <a:pt x="1183" y="649"/>
                  </a:lnTo>
                  <a:close/>
                  <a:moveTo>
                    <a:pt x="1150" y="648"/>
                  </a:moveTo>
                  <a:lnTo>
                    <a:pt x="1152" y="648"/>
                  </a:lnTo>
                  <a:lnTo>
                    <a:pt x="1150" y="648"/>
                  </a:lnTo>
                  <a:close/>
                  <a:moveTo>
                    <a:pt x="1132" y="648"/>
                  </a:moveTo>
                  <a:lnTo>
                    <a:pt x="1131" y="648"/>
                  </a:lnTo>
                  <a:lnTo>
                    <a:pt x="1132" y="648"/>
                  </a:lnTo>
                  <a:close/>
                  <a:moveTo>
                    <a:pt x="1150" y="648"/>
                  </a:moveTo>
                  <a:lnTo>
                    <a:pt x="1150" y="646"/>
                  </a:lnTo>
                  <a:lnTo>
                    <a:pt x="1150" y="648"/>
                  </a:lnTo>
                  <a:close/>
                  <a:moveTo>
                    <a:pt x="1139" y="646"/>
                  </a:moveTo>
                  <a:lnTo>
                    <a:pt x="1137" y="646"/>
                  </a:lnTo>
                  <a:lnTo>
                    <a:pt x="1139" y="646"/>
                  </a:lnTo>
                  <a:close/>
                  <a:moveTo>
                    <a:pt x="1154" y="644"/>
                  </a:moveTo>
                  <a:lnTo>
                    <a:pt x="1154" y="646"/>
                  </a:lnTo>
                  <a:lnTo>
                    <a:pt x="1154" y="644"/>
                  </a:lnTo>
                  <a:close/>
                  <a:moveTo>
                    <a:pt x="1154" y="644"/>
                  </a:moveTo>
                  <a:lnTo>
                    <a:pt x="1155" y="644"/>
                  </a:lnTo>
                  <a:lnTo>
                    <a:pt x="1154" y="644"/>
                  </a:lnTo>
                  <a:close/>
                  <a:moveTo>
                    <a:pt x="1154" y="644"/>
                  </a:moveTo>
                  <a:lnTo>
                    <a:pt x="1154" y="643"/>
                  </a:lnTo>
                  <a:lnTo>
                    <a:pt x="1154" y="644"/>
                  </a:lnTo>
                  <a:close/>
                  <a:moveTo>
                    <a:pt x="1154" y="643"/>
                  </a:moveTo>
                  <a:lnTo>
                    <a:pt x="1155" y="643"/>
                  </a:lnTo>
                  <a:lnTo>
                    <a:pt x="1154" y="643"/>
                  </a:lnTo>
                  <a:close/>
                  <a:moveTo>
                    <a:pt x="1134" y="644"/>
                  </a:moveTo>
                  <a:lnTo>
                    <a:pt x="1134" y="643"/>
                  </a:lnTo>
                  <a:lnTo>
                    <a:pt x="1134" y="644"/>
                  </a:lnTo>
                  <a:close/>
                  <a:moveTo>
                    <a:pt x="1116" y="643"/>
                  </a:moveTo>
                  <a:lnTo>
                    <a:pt x="1115" y="643"/>
                  </a:lnTo>
                  <a:lnTo>
                    <a:pt x="1116" y="643"/>
                  </a:lnTo>
                  <a:close/>
                  <a:moveTo>
                    <a:pt x="1152" y="643"/>
                  </a:moveTo>
                  <a:lnTo>
                    <a:pt x="1154" y="641"/>
                  </a:lnTo>
                  <a:lnTo>
                    <a:pt x="1152" y="643"/>
                  </a:lnTo>
                  <a:close/>
                  <a:moveTo>
                    <a:pt x="1152" y="643"/>
                  </a:moveTo>
                  <a:lnTo>
                    <a:pt x="1152" y="641"/>
                  </a:lnTo>
                  <a:lnTo>
                    <a:pt x="1152" y="643"/>
                  </a:lnTo>
                  <a:close/>
                  <a:moveTo>
                    <a:pt x="1116" y="643"/>
                  </a:moveTo>
                  <a:lnTo>
                    <a:pt x="1118" y="641"/>
                  </a:lnTo>
                  <a:lnTo>
                    <a:pt x="1116" y="643"/>
                  </a:lnTo>
                  <a:close/>
                  <a:moveTo>
                    <a:pt x="1152" y="643"/>
                  </a:moveTo>
                  <a:lnTo>
                    <a:pt x="1152" y="641"/>
                  </a:lnTo>
                  <a:lnTo>
                    <a:pt x="1152" y="643"/>
                  </a:lnTo>
                  <a:close/>
                  <a:moveTo>
                    <a:pt x="1141" y="643"/>
                  </a:moveTo>
                  <a:lnTo>
                    <a:pt x="1141" y="641"/>
                  </a:lnTo>
                  <a:lnTo>
                    <a:pt x="1141" y="643"/>
                  </a:lnTo>
                  <a:close/>
                  <a:moveTo>
                    <a:pt x="1144" y="641"/>
                  </a:moveTo>
                  <a:lnTo>
                    <a:pt x="1144" y="643"/>
                  </a:lnTo>
                  <a:lnTo>
                    <a:pt x="1144" y="641"/>
                  </a:lnTo>
                  <a:close/>
                  <a:moveTo>
                    <a:pt x="1136" y="643"/>
                  </a:moveTo>
                  <a:lnTo>
                    <a:pt x="1134" y="643"/>
                  </a:lnTo>
                  <a:lnTo>
                    <a:pt x="1134" y="644"/>
                  </a:lnTo>
                  <a:lnTo>
                    <a:pt x="1134" y="643"/>
                  </a:lnTo>
                  <a:lnTo>
                    <a:pt x="1136" y="643"/>
                  </a:lnTo>
                  <a:lnTo>
                    <a:pt x="1136" y="641"/>
                  </a:lnTo>
                  <a:lnTo>
                    <a:pt x="1136" y="643"/>
                  </a:lnTo>
                  <a:close/>
                  <a:moveTo>
                    <a:pt x="1115" y="643"/>
                  </a:moveTo>
                  <a:lnTo>
                    <a:pt x="1115" y="641"/>
                  </a:lnTo>
                  <a:lnTo>
                    <a:pt x="1115" y="643"/>
                  </a:lnTo>
                  <a:close/>
                  <a:moveTo>
                    <a:pt x="1113" y="643"/>
                  </a:moveTo>
                  <a:lnTo>
                    <a:pt x="1113" y="641"/>
                  </a:lnTo>
                  <a:lnTo>
                    <a:pt x="1115" y="641"/>
                  </a:lnTo>
                  <a:lnTo>
                    <a:pt x="1113" y="643"/>
                  </a:lnTo>
                  <a:close/>
                  <a:moveTo>
                    <a:pt x="1115" y="643"/>
                  </a:moveTo>
                  <a:lnTo>
                    <a:pt x="1115" y="641"/>
                  </a:lnTo>
                  <a:lnTo>
                    <a:pt x="1115" y="643"/>
                  </a:lnTo>
                  <a:close/>
                  <a:moveTo>
                    <a:pt x="1118" y="643"/>
                  </a:moveTo>
                  <a:lnTo>
                    <a:pt x="1118" y="641"/>
                  </a:lnTo>
                  <a:lnTo>
                    <a:pt x="1119" y="641"/>
                  </a:lnTo>
                  <a:lnTo>
                    <a:pt x="1118" y="643"/>
                  </a:lnTo>
                  <a:close/>
                  <a:moveTo>
                    <a:pt x="1154" y="641"/>
                  </a:moveTo>
                  <a:lnTo>
                    <a:pt x="1155" y="641"/>
                  </a:lnTo>
                  <a:lnTo>
                    <a:pt x="1155" y="643"/>
                  </a:lnTo>
                  <a:lnTo>
                    <a:pt x="1154" y="643"/>
                  </a:lnTo>
                  <a:lnTo>
                    <a:pt x="1154" y="644"/>
                  </a:lnTo>
                  <a:lnTo>
                    <a:pt x="1154" y="643"/>
                  </a:lnTo>
                  <a:lnTo>
                    <a:pt x="1152" y="644"/>
                  </a:lnTo>
                  <a:lnTo>
                    <a:pt x="1152" y="643"/>
                  </a:lnTo>
                  <a:lnTo>
                    <a:pt x="1154" y="643"/>
                  </a:lnTo>
                  <a:lnTo>
                    <a:pt x="1154" y="641"/>
                  </a:lnTo>
                  <a:close/>
                  <a:moveTo>
                    <a:pt x="1116" y="641"/>
                  </a:moveTo>
                  <a:lnTo>
                    <a:pt x="1115" y="641"/>
                  </a:lnTo>
                  <a:lnTo>
                    <a:pt x="1116" y="641"/>
                  </a:lnTo>
                  <a:close/>
                  <a:moveTo>
                    <a:pt x="1119" y="643"/>
                  </a:moveTo>
                  <a:lnTo>
                    <a:pt x="1119" y="641"/>
                  </a:lnTo>
                  <a:lnTo>
                    <a:pt x="1121" y="641"/>
                  </a:lnTo>
                  <a:lnTo>
                    <a:pt x="1119" y="641"/>
                  </a:lnTo>
                  <a:lnTo>
                    <a:pt x="1121" y="641"/>
                  </a:lnTo>
                  <a:lnTo>
                    <a:pt x="1119" y="643"/>
                  </a:lnTo>
                  <a:close/>
                  <a:moveTo>
                    <a:pt x="1113" y="641"/>
                  </a:moveTo>
                  <a:lnTo>
                    <a:pt x="1115" y="641"/>
                  </a:lnTo>
                  <a:lnTo>
                    <a:pt x="1113" y="641"/>
                  </a:lnTo>
                  <a:close/>
                  <a:moveTo>
                    <a:pt x="1119" y="641"/>
                  </a:moveTo>
                  <a:lnTo>
                    <a:pt x="1119" y="639"/>
                  </a:lnTo>
                  <a:lnTo>
                    <a:pt x="1119" y="641"/>
                  </a:lnTo>
                  <a:close/>
                  <a:moveTo>
                    <a:pt x="1116" y="641"/>
                  </a:moveTo>
                  <a:lnTo>
                    <a:pt x="1116" y="639"/>
                  </a:lnTo>
                  <a:lnTo>
                    <a:pt x="1116" y="641"/>
                  </a:lnTo>
                  <a:close/>
                  <a:moveTo>
                    <a:pt x="1131" y="641"/>
                  </a:moveTo>
                  <a:lnTo>
                    <a:pt x="1132" y="639"/>
                  </a:lnTo>
                  <a:lnTo>
                    <a:pt x="1132" y="641"/>
                  </a:lnTo>
                  <a:lnTo>
                    <a:pt x="1131" y="641"/>
                  </a:lnTo>
                  <a:close/>
                  <a:moveTo>
                    <a:pt x="1145" y="641"/>
                  </a:moveTo>
                  <a:lnTo>
                    <a:pt x="1145" y="639"/>
                  </a:lnTo>
                  <a:lnTo>
                    <a:pt x="1145" y="641"/>
                  </a:lnTo>
                  <a:close/>
                  <a:moveTo>
                    <a:pt x="1115" y="639"/>
                  </a:moveTo>
                  <a:lnTo>
                    <a:pt x="1116" y="639"/>
                  </a:lnTo>
                  <a:lnTo>
                    <a:pt x="1115" y="639"/>
                  </a:lnTo>
                  <a:close/>
                  <a:moveTo>
                    <a:pt x="1123" y="639"/>
                  </a:moveTo>
                  <a:lnTo>
                    <a:pt x="1124" y="639"/>
                  </a:lnTo>
                  <a:lnTo>
                    <a:pt x="1124" y="641"/>
                  </a:lnTo>
                  <a:lnTo>
                    <a:pt x="1123" y="639"/>
                  </a:lnTo>
                  <a:close/>
                  <a:moveTo>
                    <a:pt x="1119" y="639"/>
                  </a:moveTo>
                  <a:lnTo>
                    <a:pt x="1119" y="641"/>
                  </a:lnTo>
                  <a:lnTo>
                    <a:pt x="1119" y="639"/>
                  </a:lnTo>
                  <a:close/>
                  <a:moveTo>
                    <a:pt x="1115" y="639"/>
                  </a:moveTo>
                  <a:lnTo>
                    <a:pt x="1116" y="639"/>
                  </a:lnTo>
                  <a:lnTo>
                    <a:pt x="1115" y="639"/>
                  </a:lnTo>
                  <a:close/>
                  <a:moveTo>
                    <a:pt x="1157" y="639"/>
                  </a:moveTo>
                  <a:lnTo>
                    <a:pt x="1155" y="639"/>
                  </a:lnTo>
                  <a:lnTo>
                    <a:pt x="1157" y="639"/>
                  </a:lnTo>
                  <a:close/>
                  <a:moveTo>
                    <a:pt x="1116" y="639"/>
                  </a:moveTo>
                  <a:lnTo>
                    <a:pt x="1118" y="639"/>
                  </a:lnTo>
                  <a:lnTo>
                    <a:pt x="1116" y="639"/>
                  </a:lnTo>
                  <a:close/>
                  <a:moveTo>
                    <a:pt x="1121" y="639"/>
                  </a:moveTo>
                  <a:lnTo>
                    <a:pt x="1121" y="641"/>
                  </a:lnTo>
                  <a:lnTo>
                    <a:pt x="1121" y="639"/>
                  </a:lnTo>
                  <a:close/>
                  <a:moveTo>
                    <a:pt x="1119" y="639"/>
                  </a:moveTo>
                  <a:lnTo>
                    <a:pt x="1121" y="639"/>
                  </a:lnTo>
                  <a:lnTo>
                    <a:pt x="1119" y="639"/>
                  </a:lnTo>
                  <a:close/>
                  <a:moveTo>
                    <a:pt x="1118" y="639"/>
                  </a:moveTo>
                  <a:lnTo>
                    <a:pt x="1119" y="639"/>
                  </a:lnTo>
                  <a:lnTo>
                    <a:pt x="1118" y="639"/>
                  </a:lnTo>
                  <a:lnTo>
                    <a:pt x="1118" y="641"/>
                  </a:lnTo>
                  <a:lnTo>
                    <a:pt x="1116" y="641"/>
                  </a:lnTo>
                  <a:lnTo>
                    <a:pt x="1116" y="643"/>
                  </a:lnTo>
                  <a:lnTo>
                    <a:pt x="1116" y="641"/>
                  </a:lnTo>
                  <a:lnTo>
                    <a:pt x="1116" y="639"/>
                  </a:lnTo>
                  <a:lnTo>
                    <a:pt x="1118" y="639"/>
                  </a:lnTo>
                  <a:lnTo>
                    <a:pt x="1119" y="639"/>
                  </a:lnTo>
                  <a:lnTo>
                    <a:pt x="1118" y="639"/>
                  </a:lnTo>
                  <a:close/>
                  <a:moveTo>
                    <a:pt x="1115" y="639"/>
                  </a:moveTo>
                  <a:lnTo>
                    <a:pt x="1115" y="638"/>
                  </a:lnTo>
                  <a:lnTo>
                    <a:pt x="1115" y="639"/>
                  </a:lnTo>
                  <a:close/>
                  <a:moveTo>
                    <a:pt x="1121" y="639"/>
                  </a:moveTo>
                  <a:lnTo>
                    <a:pt x="1119" y="639"/>
                  </a:lnTo>
                  <a:lnTo>
                    <a:pt x="1121" y="639"/>
                  </a:lnTo>
                  <a:lnTo>
                    <a:pt x="1121" y="638"/>
                  </a:lnTo>
                  <a:lnTo>
                    <a:pt x="1121" y="639"/>
                  </a:lnTo>
                  <a:close/>
                  <a:moveTo>
                    <a:pt x="1119" y="639"/>
                  </a:moveTo>
                  <a:lnTo>
                    <a:pt x="1119" y="638"/>
                  </a:lnTo>
                  <a:lnTo>
                    <a:pt x="1119" y="639"/>
                  </a:lnTo>
                  <a:close/>
                  <a:moveTo>
                    <a:pt x="1116" y="639"/>
                  </a:moveTo>
                  <a:lnTo>
                    <a:pt x="1116" y="638"/>
                  </a:lnTo>
                  <a:lnTo>
                    <a:pt x="1116" y="639"/>
                  </a:lnTo>
                  <a:close/>
                  <a:moveTo>
                    <a:pt x="1137" y="638"/>
                  </a:moveTo>
                  <a:lnTo>
                    <a:pt x="1137" y="639"/>
                  </a:lnTo>
                  <a:lnTo>
                    <a:pt x="1137" y="638"/>
                  </a:lnTo>
                  <a:close/>
                  <a:moveTo>
                    <a:pt x="1123" y="638"/>
                  </a:moveTo>
                  <a:lnTo>
                    <a:pt x="1121" y="639"/>
                  </a:lnTo>
                  <a:lnTo>
                    <a:pt x="1121" y="638"/>
                  </a:lnTo>
                  <a:lnTo>
                    <a:pt x="1123" y="638"/>
                  </a:lnTo>
                  <a:close/>
                  <a:moveTo>
                    <a:pt x="1126" y="638"/>
                  </a:moveTo>
                  <a:lnTo>
                    <a:pt x="1124" y="638"/>
                  </a:lnTo>
                  <a:lnTo>
                    <a:pt x="1126" y="638"/>
                  </a:lnTo>
                  <a:close/>
                  <a:moveTo>
                    <a:pt x="1119" y="638"/>
                  </a:moveTo>
                  <a:lnTo>
                    <a:pt x="1118" y="638"/>
                  </a:lnTo>
                  <a:lnTo>
                    <a:pt x="1119" y="638"/>
                  </a:lnTo>
                  <a:close/>
                  <a:moveTo>
                    <a:pt x="1124" y="638"/>
                  </a:moveTo>
                  <a:lnTo>
                    <a:pt x="1126" y="638"/>
                  </a:lnTo>
                  <a:lnTo>
                    <a:pt x="1124" y="638"/>
                  </a:lnTo>
                  <a:close/>
                  <a:moveTo>
                    <a:pt x="1118" y="638"/>
                  </a:moveTo>
                  <a:lnTo>
                    <a:pt x="1119" y="636"/>
                  </a:lnTo>
                  <a:lnTo>
                    <a:pt x="1119" y="638"/>
                  </a:lnTo>
                  <a:lnTo>
                    <a:pt x="1118" y="638"/>
                  </a:lnTo>
                  <a:lnTo>
                    <a:pt x="1119" y="638"/>
                  </a:lnTo>
                  <a:lnTo>
                    <a:pt x="1118" y="638"/>
                  </a:lnTo>
                  <a:close/>
                  <a:moveTo>
                    <a:pt x="1154" y="636"/>
                  </a:moveTo>
                  <a:lnTo>
                    <a:pt x="1154" y="638"/>
                  </a:lnTo>
                  <a:lnTo>
                    <a:pt x="1154" y="636"/>
                  </a:lnTo>
                  <a:close/>
                  <a:moveTo>
                    <a:pt x="1155" y="638"/>
                  </a:moveTo>
                  <a:lnTo>
                    <a:pt x="1155" y="636"/>
                  </a:lnTo>
                  <a:lnTo>
                    <a:pt x="1155" y="638"/>
                  </a:lnTo>
                  <a:close/>
                  <a:moveTo>
                    <a:pt x="1118" y="638"/>
                  </a:moveTo>
                  <a:lnTo>
                    <a:pt x="1118" y="639"/>
                  </a:lnTo>
                  <a:lnTo>
                    <a:pt x="1116" y="639"/>
                  </a:lnTo>
                  <a:lnTo>
                    <a:pt x="1115" y="641"/>
                  </a:lnTo>
                  <a:lnTo>
                    <a:pt x="1116" y="639"/>
                  </a:lnTo>
                  <a:lnTo>
                    <a:pt x="1116" y="638"/>
                  </a:lnTo>
                  <a:lnTo>
                    <a:pt x="1118" y="638"/>
                  </a:lnTo>
                  <a:lnTo>
                    <a:pt x="1118" y="636"/>
                  </a:lnTo>
                  <a:lnTo>
                    <a:pt x="1118" y="638"/>
                  </a:lnTo>
                  <a:close/>
                  <a:moveTo>
                    <a:pt x="1155" y="638"/>
                  </a:moveTo>
                  <a:lnTo>
                    <a:pt x="1155" y="636"/>
                  </a:lnTo>
                  <a:lnTo>
                    <a:pt x="1155" y="638"/>
                  </a:lnTo>
                  <a:close/>
                  <a:moveTo>
                    <a:pt x="1115" y="638"/>
                  </a:moveTo>
                  <a:lnTo>
                    <a:pt x="1116" y="638"/>
                  </a:lnTo>
                  <a:lnTo>
                    <a:pt x="1115" y="638"/>
                  </a:lnTo>
                  <a:lnTo>
                    <a:pt x="1116" y="638"/>
                  </a:lnTo>
                  <a:lnTo>
                    <a:pt x="1116" y="636"/>
                  </a:lnTo>
                  <a:lnTo>
                    <a:pt x="1116" y="638"/>
                  </a:lnTo>
                  <a:lnTo>
                    <a:pt x="1115" y="638"/>
                  </a:lnTo>
                  <a:close/>
                  <a:moveTo>
                    <a:pt x="1123" y="636"/>
                  </a:moveTo>
                  <a:lnTo>
                    <a:pt x="1123" y="638"/>
                  </a:lnTo>
                  <a:lnTo>
                    <a:pt x="1123" y="636"/>
                  </a:lnTo>
                  <a:close/>
                  <a:moveTo>
                    <a:pt x="1119" y="638"/>
                  </a:moveTo>
                  <a:lnTo>
                    <a:pt x="1119" y="636"/>
                  </a:lnTo>
                  <a:lnTo>
                    <a:pt x="1119" y="638"/>
                  </a:lnTo>
                  <a:close/>
                  <a:moveTo>
                    <a:pt x="1118" y="638"/>
                  </a:moveTo>
                  <a:lnTo>
                    <a:pt x="1118" y="636"/>
                  </a:lnTo>
                  <a:lnTo>
                    <a:pt x="1119" y="636"/>
                  </a:lnTo>
                  <a:lnTo>
                    <a:pt x="1118" y="638"/>
                  </a:lnTo>
                  <a:close/>
                  <a:moveTo>
                    <a:pt x="1126" y="638"/>
                  </a:moveTo>
                  <a:lnTo>
                    <a:pt x="1126" y="636"/>
                  </a:lnTo>
                  <a:lnTo>
                    <a:pt x="1126" y="638"/>
                  </a:lnTo>
                  <a:close/>
                  <a:moveTo>
                    <a:pt x="1121" y="636"/>
                  </a:moveTo>
                  <a:lnTo>
                    <a:pt x="1123" y="636"/>
                  </a:lnTo>
                  <a:lnTo>
                    <a:pt x="1121" y="636"/>
                  </a:lnTo>
                  <a:close/>
                  <a:moveTo>
                    <a:pt x="1126" y="636"/>
                  </a:moveTo>
                  <a:lnTo>
                    <a:pt x="1124" y="636"/>
                  </a:lnTo>
                  <a:lnTo>
                    <a:pt x="1126" y="636"/>
                  </a:lnTo>
                  <a:close/>
                  <a:moveTo>
                    <a:pt x="1147" y="636"/>
                  </a:moveTo>
                  <a:lnTo>
                    <a:pt x="1145" y="636"/>
                  </a:lnTo>
                  <a:lnTo>
                    <a:pt x="1147" y="636"/>
                  </a:lnTo>
                  <a:close/>
                  <a:moveTo>
                    <a:pt x="1126" y="636"/>
                  </a:moveTo>
                  <a:lnTo>
                    <a:pt x="1126" y="635"/>
                  </a:lnTo>
                  <a:lnTo>
                    <a:pt x="1126" y="636"/>
                  </a:lnTo>
                  <a:close/>
                  <a:moveTo>
                    <a:pt x="1126" y="636"/>
                  </a:moveTo>
                  <a:lnTo>
                    <a:pt x="1126" y="635"/>
                  </a:lnTo>
                  <a:lnTo>
                    <a:pt x="1126" y="636"/>
                  </a:lnTo>
                  <a:close/>
                  <a:moveTo>
                    <a:pt x="1121" y="636"/>
                  </a:moveTo>
                  <a:lnTo>
                    <a:pt x="1121" y="638"/>
                  </a:lnTo>
                  <a:lnTo>
                    <a:pt x="1121" y="636"/>
                  </a:lnTo>
                  <a:lnTo>
                    <a:pt x="1121" y="638"/>
                  </a:lnTo>
                  <a:lnTo>
                    <a:pt x="1123" y="636"/>
                  </a:lnTo>
                  <a:lnTo>
                    <a:pt x="1123" y="638"/>
                  </a:lnTo>
                  <a:lnTo>
                    <a:pt x="1121" y="638"/>
                  </a:lnTo>
                  <a:lnTo>
                    <a:pt x="1121" y="639"/>
                  </a:lnTo>
                  <a:lnTo>
                    <a:pt x="1121" y="638"/>
                  </a:lnTo>
                  <a:lnTo>
                    <a:pt x="1119" y="638"/>
                  </a:lnTo>
                  <a:lnTo>
                    <a:pt x="1121" y="638"/>
                  </a:lnTo>
                  <a:lnTo>
                    <a:pt x="1119" y="636"/>
                  </a:lnTo>
                  <a:lnTo>
                    <a:pt x="1121" y="636"/>
                  </a:lnTo>
                  <a:lnTo>
                    <a:pt x="1121" y="635"/>
                  </a:lnTo>
                  <a:lnTo>
                    <a:pt x="1123" y="636"/>
                  </a:lnTo>
                  <a:lnTo>
                    <a:pt x="1121" y="636"/>
                  </a:lnTo>
                  <a:close/>
                  <a:moveTo>
                    <a:pt x="1116" y="635"/>
                  </a:moveTo>
                  <a:lnTo>
                    <a:pt x="1116" y="636"/>
                  </a:lnTo>
                  <a:lnTo>
                    <a:pt x="1116" y="635"/>
                  </a:lnTo>
                  <a:close/>
                  <a:moveTo>
                    <a:pt x="1145" y="636"/>
                  </a:moveTo>
                  <a:lnTo>
                    <a:pt x="1145" y="635"/>
                  </a:lnTo>
                  <a:lnTo>
                    <a:pt x="1145" y="636"/>
                  </a:lnTo>
                  <a:close/>
                  <a:moveTo>
                    <a:pt x="1124" y="635"/>
                  </a:moveTo>
                  <a:lnTo>
                    <a:pt x="1126" y="635"/>
                  </a:lnTo>
                  <a:lnTo>
                    <a:pt x="1124" y="635"/>
                  </a:lnTo>
                  <a:close/>
                  <a:moveTo>
                    <a:pt x="1118" y="635"/>
                  </a:moveTo>
                  <a:lnTo>
                    <a:pt x="1116" y="635"/>
                  </a:lnTo>
                  <a:lnTo>
                    <a:pt x="1118" y="635"/>
                  </a:lnTo>
                  <a:close/>
                  <a:moveTo>
                    <a:pt x="1126" y="635"/>
                  </a:moveTo>
                  <a:lnTo>
                    <a:pt x="1128" y="635"/>
                  </a:lnTo>
                  <a:lnTo>
                    <a:pt x="1126" y="635"/>
                  </a:lnTo>
                  <a:close/>
                  <a:moveTo>
                    <a:pt x="1144" y="633"/>
                  </a:moveTo>
                  <a:lnTo>
                    <a:pt x="1145" y="633"/>
                  </a:lnTo>
                  <a:lnTo>
                    <a:pt x="1144" y="633"/>
                  </a:lnTo>
                  <a:lnTo>
                    <a:pt x="1145" y="633"/>
                  </a:lnTo>
                  <a:lnTo>
                    <a:pt x="1145" y="635"/>
                  </a:lnTo>
                  <a:lnTo>
                    <a:pt x="1145" y="636"/>
                  </a:lnTo>
                  <a:lnTo>
                    <a:pt x="1144" y="636"/>
                  </a:lnTo>
                  <a:lnTo>
                    <a:pt x="1145" y="636"/>
                  </a:lnTo>
                  <a:lnTo>
                    <a:pt x="1145" y="635"/>
                  </a:lnTo>
                  <a:lnTo>
                    <a:pt x="1145" y="636"/>
                  </a:lnTo>
                  <a:lnTo>
                    <a:pt x="1147" y="636"/>
                  </a:lnTo>
                  <a:lnTo>
                    <a:pt x="1145" y="636"/>
                  </a:lnTo>
                  <a:lnTo>
                    <a:pt x="1145" y="638"/>
                  </a:lnTo>
                  <a:lnTo>
                    <a:pt x="1145" y="639"/>
                  </a:lnTo>
                  <a:lnTo>
                    <a:pt x="1144" y="639"/>
                  </a:lnTo>
                  <a:lnTo>
                    <a:pt x="1144" y="641"/>
                  </a:lnTo>
                  <a:lnTo>
                    <a:pt x="1144" y="639"/>
                  </a:lnTo>
                  <a:lnTo>
                    <a:pt x="1144" y="641"/>
                  </a:lnTo>
                  <a:lnTo>
                    <a:pt x="1142" y="641"/>
                  </a:lnTo>
                  <a:lnTo>
                    <a:pt x="1141" y="641"/>
                  </a:lnTo>
                  <a:lnTo>
                    <a:pt x="1139" y="643"/>
                  </a:lnTo>
                  <a:lnTo>
                    <a:pt x="1137" y="643"/>
                  </a:lnTo>
                  <a:lnTo>
                    <a:pt x="1137" y="644"/>
                  </a:lnTo>
                  <a:lnTo>
                    <a:pt x="1137" y="643"/>
                  </a:lnTo>
                  <a:lnTo>
                    <a:pt x="1136" y="643"/>
                  </a:lnTo>
                  <a:lnTo>
                    <a:pt x="1136" y="644"/>
                  </a:lnTo>
                  <a:lnTo>
                    <a:pt x="1136" y="643"/>
                  </a:lnTo>
                  <a:lnTo>
                    <a:pt x="1136" y="641"/>
                  </a:lnTo>
                  <a:lnTo>
                    <a:pt x="1137" y="641"/>
                  </a:lnTo>
                  <a:lnTo>
                    <a:pt x="1136" y="641"/>
                  </a:lnTo>
                  <a:lnTo>
                    <a:pt x="1137" y="641"/>
                  </a:lnTo>
                  <a:lnTo>
                    <a:pt x="1136" y="641"/>
                  </a:lnTo>
                  <a:lnTo>
                    <a:pt x="1137" y="639"/>
                  </a:lnTo>
                  <a:lnTo>
                    <a:pt x="1137" y="641"/>
                  </a:lnTo>
                  <a:lnTo>
                    <a:pt x="1137" y="639"/>
                  </a:lnTo>
                  <a:lnTo>
                    <a:pt x="1137" y="638"/>
                  </a:lnTo>
                  <a:lnTo>
                    <a:pt x="1139" y="638"/>
                  </a:lnTo>
                  <a:lnTo>
                    <a:pt x="1139" y="636"/>
                  </a:lnTo>
                  <a:lnTo>
                    <a:pt x="1141" y="636"/>
                  </a:lnTo>
                  <a:lnTo>
                    <a:pt x="1141" y="635"/>
                  </a:lnTo>
                  <a:lnTo>
                    <a:pt x="1142" y="635"/>
                  </a:lnTo>
                  <a:lnTo>
                    <a:pt x="1142" y="633"/>
                  </a:lnTo>
                  <a:lnTo>
                    <a:pt x="1144" y="633"/>
                  </a:lnTo>
                  <a:close/>
                  <a:moveTo>
                    <a:pt x="1124" y="631"/>
                  </a:moveTo>
                  <a:lnTo>
                    <a:pt x="1126" y="631"/>
                  </a:lnTo>
                  <a:lnTo>
                    <a:pt x="1124" y="631"/>
                  </a:lnTo>
                  <a:close/>
                  <a:moveTo>
                    <a:pt x="1126" y="631"/>
                  </a:moveTo>
                  <a:lnTo>
                    <a:pt x="1128" y="631"/>
                  </a:lnTo>
                  <a:lnTo>
                    <a:pt x="1126" y="631"/>
                  </a:lnTo>
                  <a:close/>
                  <a:moveTo>
                    <a:pt x="1126" y="631"/>
                  </a:moveTo>
                  <a:lnTo>
                    <a:pt x="1128" y="631"/>
                  </a:lnTo>
                  <a:lnTo>
                    <a:pt x="1126" y="631"/>
                  </a:lnTo>
                  <a:close/>
                  <a:moveTo>
                    <a:pt x="1019" y="630"/>
                  </a:moveTo>
                  <a:lnTo>
                    <a:pt x="1020" y="630"/>
                  </a:lnTo>
                  <a:lnTo>
                    <a:pt x="1019" y="630"/>
                  </a:lnTo>
                  <a:close/>
                  <a:moveTo>
                    <a:pt x="1160" y="630"/>
                  </a:moveTo>
                  <a:lnTo>
                    <a:pt x="1158" y="630"/>
                  </a:lnTo>
                  <a:lnTo>
                    <a:pt x="1160" y="630"/>
                  </a:lnTo>
                  <a:close/>
                  <a:moveTo>
                    <a:pt x="1020" y="630"/>
                  </a:moveTo>
                  <a:lnTo>
                    <a:pt x="1022" y="630"/>
                  </a:lnTo>
                  <a:lnTo>
                    <a:pt x="1020" y="630"/>
                  </a:lnTo>
                  <a:close/>
                  <a:moveTo>
                    <a:pt x="1020" y="630"/>
                  </a:moveTo>
                  <a:lnTo>
                    <a:pt x="1020" y="628"/>
                  </a:lnTo>
                  <a:lnTo>
                    <a:pt x="1020" y="630"/>
                  </a:lnTo>
                  <a:close/>
                  <a:moveTo>
                    <a:pt x="1157" y="628"/>
                  </a:moveTo>
                  <a:lnTo>
                    <a:pt x="1158" y="628"/>
                  </a:lnTo>
                  <a:lnTo>
                    <a:pt x="1157" y="628"/>
                  </a:lnTo>
                  <a:close/>
                  <a:moveTo>
                    <a:pt x="1020" y="628"/>
                  </a:moveTo>
                  <a:lnTo>
                    <a:pt x="1020" y="626"/>
                  </a:lnTo>
                  <a:lnTo>
                    <a:pt x="1020" y="628"/>
                  </a:lnTo>
                  <a:close/>
                  <a:moveTo>
                    <a:pt x="1019" y="628"/>
                  </a:moveTo>
                  <a:lnTo>
                    <a:pt x="1019" y="626"/>
                  </a:lnTo>
                  <a:lnTo>
                    <a:pt x="1019" y="628"/>
                  </a:lnTo>
                  <a:close/>
                  <a:moveTo>
                    <a:pt x="1019" y="626"/>
                  </a:moveTo>
                  <a:lnTo>
                    <a:pt x="1020" y="626"/>
                  </a:lnTo>
                  <a:lnTo>
                    <a:pt x="1020" y="628"/>
                  </a:lnTo>
                  <a:lnTo>
                    <a:pt x="1019" y="628"/>
                  </a:lnTo>
                  <a:lnTo>
                    <a:pt x="1019" y="626"/>
                  </a:lnTo>
                  <a:close/>
                  <a:moveTo>
                    <a:pt x="1158" y="626"/>
                  </a:moveTo>
                  <a:lnTo>
                    <a:pt x="1158" y="625"/>
                  </a:lnTo>
                  <a:lnTo>
                    <a:pt x="1158" y="626"/>
                  </a:lnTo>
                  <a:close/>
                  <a:moveTo>
                    <a:pt x="1147" y="620"/>
                  </a:moveTo>
                  <a:lnTo>
                    <a:pt x="1147" y="622"/>
                  </a:lnTo>
                  <a:lnTo>
                    <a:pt x="1147" y="620"/>
                  </a:lnTo>
                  <a:close/>
                  <a:moveTo>
                    <a:pt x="1163" y="622"/>
                  </a:moveTo>
                  <a:lnTo>
                    <a:pt x="1163" y="620"/>
                  </a:lnTo>
                  <a:lnTo>
                    <a:pt x="1163" y="622"/>
                  </a:lnTo>
                  <a:close/>
                  <a:moveTo>
                    <a:pt x="1163" y="622"/>
                  </a:moveTo>
                  <a:lnTo>
                    <a:pt x="1163" y="620"/>
                  </a:lnTo>
                  <a:lnTo>
                    <a:pt x="1163" y="622"/>
                  </a:lnTo>
                  <a:close/>
                  <a:moveTo>
                    <a:pt x="1155" y="620"/>
                  </a:moveTo>
                  <a:lnTo>
                    <a:pt x="1157" y="620"/>
                  </a:lnTo>
                  <a:lnTo>
                    <a:pt x="1155" y="620"/>
                  </a:lnTo>
                  <a:close/>
                  <a:moveTo>
                    <a:pt x="1154" y="622"/>
                  </a:moveTo>
                  <a:lnTo>
                    <a:pt x="1154" y="620"/>
                  </a:lnTo>
                  <a:lnTo>
                    <a:pt x="1155" y="620"/>
                  </a:lnTo>
                  <a:lnTo>
                    <a:pt x="1154" y="622"/>
                  </a:lnTo>
                  <a:close/>
                  <a:moveTo>
                    <a:pt x="1154" y="620"/>
                  </a:moveTo>
                  <a:lnTo>
                    <a:pt x="1152" y="620"/>
                  </a:lnTo>
                  <a:lnTo>
                    <a:pt x="1154" y="620"/>
                  </a:lnTo>
                  <a:close/>
                  <a:moveTo>
                    <a:pt x="1155" y="620"/>
                  </a:moveTo>
                  <a:lnTo>
                    <a:pt x="1154" y="620"/>
                  </a:lnTo>
                  <a:lnTo>
                    <a:pt x="1155" y="618"/>
                  </a:lnTo>
                  <a:lnTo>
                    <a:pt x="1155" y="620"/>
                  </a:lnTo>
                  <a:close/>
                  <a:moveTo>
                    <a:pt x="1154" y="620"/>
                  </a:moveTo>
                  <a:lnTo>
                    <a:pt x="1154" y="618"/>
                  </a:lnTo>
                  <a:lnTo>
                    <a:pt x="1154" y="620"/>
                  </a:lnTo>
                  <a:close/>
                  <a:moveTo>
                    <a:pt x="1157" y="618"/>
                  </a:moveTo>
                  <a:lnTo>
                    <a:pt x="1158" y="618"/>
                  </a:lnTo>
                  <a:lnTo>
                    <a:pt x="1157" y="618"/>
                  </a:lnTo>
                  <a:close/>
                  <a:moveTo>
                    <a:pt x="1155" y="618"/>
                  </a:moveTo>
                  <a:lnTo>
                    <a:pt x="1157" y="618"/>
                  </a:lnTo>
                  <a:lnTo>
                    <a:pt x="1155" y="618"/>
                  </a:lnTo>
                  <a:close/>
                  <a:moveTo>
                    <a:pt x="1157" y="618"/>
                  </a:moveTo>
                  <a:lnTo>
                    <a:pt x="1155" y="618"/>
                  </a:lnTo>
                  <a:lnTo>
                    <a:pt x="1157" y="618"/>
                  </a:lnTo>
                  <a:close/>
                  <a:moveTo>
                    <a:pt x="1157" y="617"/>
                  </a:moveTo>
                  <a:lnTo>
                    <a:pt x="1157" y="618"/>
                  </a:lnTo>
                  <a:lnTo>
                    <a:pt x="1157" y="617"/>
                  </a:lnTo>
                  <a:close/>
                  <a:moveTo>
                    <a:pt x="1158" y="617"/>
                  </a:moveTo>
                  <a:lnTo>
                    <a:pt x="1158" y="618"/>
                  </a:lnTo>
                  <a:lnTo>
                    <a:pt x="1157" y="618"/>
                  </a:lnTo>
                  <a:lnTo>
                    <a:pt x="1158" y="618"/>
                  </a:lnTo>
                  <a:lnTo>
                    <a:pt x="1157" y="617"/>
                  </a:lnTo>
                  <a:lnTo>
                    <a:pt x="1158" y="617"/>
                  </a:lnTo>
                  <a:lnTo>
                    <a:pt x="1157" y="617"/>
                  </a:lnTo>
                  <a:lnTo>
                    <a:pt x="1157" y="618"/>
                  </a:lnTo>
                  <a:lnTo>
                    <a:pt x="1155" y="617"/>
                  </a:lnTo>
                  <a:lnTo>
                    <a:pt x="1157" y="617"/>
                  </a:lnTo>
                  <a:lnTo>
                    <a:pt x="1158" y="617"/>
                  </a:lnTo>
                  <a:close/>
                  <a:moveTo>
                    <a:pt x="1155" y="617"/>
                  </a:moveTo>
                  <a:lnTo>
                    <a:pt x="1154" y="617"/>
                  </a:lnTo>
                  <a:lnTo>
                    <a:pt x="1155" y="617"/>
                  </a:lnTo>
                  <a:close/>
                  <a:moveTo>
                    <a:pt x="1157" y="615"/>
                  </a:moveTo>
                  <a:lnTo>
                    <a:pt x="1158" y="615"/>
                  </a:lnTo>
                  <a:lnTo>
                    <a:pt x="1160" y="615"/>
                  </a:lnTo>
                  <a:lnTo>
                    <a:pt x="1158" y="617"/>
                  </a:lnTo>
                  <a:lnTo>
                    <a:pt x="1157" y="617"/>
                  </a:lnTo>
                  <a:lnTo>
                    <a:pt x="1155" y="617"/>
                  </a:lnTo>
                  <a:lnTo>
                    <a:pt x="1157" y="617"/>
                  </a:lnTo>
                  <a:lnTo>
                    <a:pt x="1157" y="615"/>
                  </a:lnTo>
                  <a:lnTo>
                    <a:pt x="1158" y="615"/>
                  </a:lnTo>
                  <a:lnTo>
                    <a:pt x="1157" y="615"/>
                  </a:lnTo>
                  <a:lnTo>
                    <a:pt x="1158" y="615"/>
                  </a:lnTo>
                  <a:lnTo>
                    <a:pt x="1157" y="615"/>
                  </a:lnTo>
                  <a:lnTo>
                    <a:pt x="1158" y="615"/>
                  </a:lnTo>
                  <a:lnTo>
                    <a:pt x="1157" y="615"/>
                  </a:lnTo>
                  <a:close/>
                  <a:moveTo>
                    <a:pt x="1160" y="613"/>
                  </a:moveTo>
                  <a:lnTo>
                    <a:pt x="1158" y="613"/>
                  </a:lnTo>
                  <a:lnTo>
                    <a:pt x="1160" y="613"/>
                  </a:lnTo>
                  <a:close/>
                  <a:moveTo>
                    <a:pt x="1162" y="613"/>
                  </a:moveTo>
                  <a:lnTo>
                    <a:pt x="1160" y="613"/>
                  </a:lnTo>
                  <a:lnTo>
                    <a:pt x="1162" y="613"/>
                  </a:lnTo>
                  <a:close/>
                  <a:moveTo>
                    <a:pt x="1158" y="612"/>
                  </a:moveTo>
                  <a:lnTo>
                    <a:pt x="1158" y="613"/>
                  </a:lnTo>
                  <a:lnTo>
                    <a:pt x="1158" y="612"/>
                  </a:lnTo>
                  <a:close/>
                  <a:moveTo>
                    <a:pt x="1157" y="610"/>
                  </a:moveTo>
                  <a:lnTo>
                    <a:pt x="1158" y="610"/>
                  </a:lnTo>
                  <a:lnTo>
                    <a:pt x="1157" y="610"/>
                  </a:lnTo>
                  <a:close/>
                  <a:moveTo>
                    <a:pt x="1157" y="610"/>
                  </a:moveTo>
                  <a:lnTo>
                    <a:pt x="1158" y="609"/>
                  </a:lnTo>
                  <a:lnTo>
                    <a:pt x="1158" y="610"/>
                  </a:lnTo>
                  <a:lnTo>
                    <a:pt x="1157" y="610"/>
                  </a:lnTo>
                  <a:close/>
                  <a:moveTo>
                    <a:pt x="1158" y="610"/>
                  </a:moveTo>
                  <a:lnTo>
                    <a:pt x="1158" y="609"/>
                  </a:lnTo>
                  <a:lnTo>
                    <a:pt x="1158" y="610"/>
                  </a:lnTo>
                  <a:close/>
                  <a:moveTo>
                    <a:pt x="1162" y="610"/>
                  </a:moveTo>
                  <a:lnTo>
                    <a:pt x="1160" y="610"/>
                  </a:lnTo>
                  <a:lnTo>
                    <a:pt x="1162" y="609"/>
                  </a:lnTo>
                  <a:lnTo>
                    <a:pt x="1163" y="609"/>
                  </a:lnTo>
                  <a:lnTo>
                    <a:pt x="1162" y="610"/>
                  </a:lnTo>
                  <a:close/>
                  <a:moveTo>
                    <a:pt x="1162" y="609"/>
                  </a:moveTo>
                  <a:lnTo>
                    <a:pt x="1160" y="609"/>
                  </a:lnTo>
                  <a:lnTo>
                    <a:pt x="1162" y="609"/>
                  </a:lnTo>
                  <a:close/>
                  <a:moveTo>
                    <a:pt x="1160" y="609"/>
                  </a:moveTo>
                  <a:lnTo>
                    <a:pt x="1162" y="609"/>
                  </a:lnTo>
                  <a:lnTo>
                    <a:pt x="1160" y="609"/>
                  </a:lnTo>
                  <a:close/>
                  <a:moveTo>
                    <a:pt x="1163" y="609"/>
                  </a:moveTo>
                  <a:lnTo>
                    <a:pt x="1162" y="609"/>
                  </a:lnTo>
                  <a:lnTo>
                    <a:pt x="1163" y="609"/>
                  </a:lnTo>
                  <a:close/>
                  <a:moveTo>
                    <a:pt x="1158" y="609"/>
                  </a:moveTo>
                  <a:lnTo>
                    <a:pt x="1158" y="607"/>
                  </a:lnTo>
                  <a:lnTo>
                    <a:pt x="1158" y="609"/>
                  </a:lnTo>
                  <a:close/>
                  <a:moveTo>
                    <a:pt x="1048" y="607"/>
                  </a:moveTo>
                  <a:lnTo>
                    <a:pt x="1048" y="609"/>
                  </a:lnTo>
                  <a:lnTo>
                    <a:pt x="1048" y="607"/>
                  </a:lnTo>
                  <a:close/>
                  <a:moveTo>
                    <a:pt x="1188" y="607"/>
                  </a:moveTo>
                  <a:lnTo>
                    <a:pt x="1188" y="609"/>
                  </a:lnTo>
                  <a:lnTo>
                    <a:pt x="1188" y="607"/>
                  </a:lnTo>
                  <a:lnTo>
                    <a:pt x="1186" y="609"/>
                  </a:lnTo>
                  <a:lnTo>
                    <a:pt x="1186" y="607"/>
                  </a:lnTo>
                  <a:lnTo>
                    <a:pt x="1184" y="607"/>
                  </a:lnTo>
                  <a:lnTo>
                    <a:pt x="1183" y="607"/>
                  </a:lnTo>
                  <a:lnTo>
                    <a:pt x="1184" y="605"/>
                  </a:lnTo>
                  <a:lnTo>
                    <a:pt x="1186" y="605"/>
                  </a:lnTo>
                  <a:lnTo>
                    <a:pt x="1188" y="607"/>
                  </a:lnTo>
                  <a:close/>
                  <a:moveTo>
                    <a:pt x="1051" y="604"/>
                  </a:moveTo>
                  <a:lnTo>
                    <a:pt x="1051" y="605"/>
                  </a:lnTo>
                  <a:lnTo>
                    <a:pt x="1051" y="604"/>
                  </a:lnTo>
                  <a:close/>
                  <a:moveTo>
                    <a:pt x="1154" y="605"/>
                  </a:moveTo>
                  <a:lnTo>
                    <a:pt x="1154" y="604"/>
                  </a:lnTo>
                  <a:lnTo>
                    <a:pt x="1154" y="605"/>
                  </a:lnTo>
                  <a:close/>
                  <a:moveTo>
                    <a:pt x="1049" y="604"/>
                  </a:moveTo>
                  <a:lnTo>
                    <a:pt x="1051" y="604"/>
                  </a:lnTo>
                  <a:lnTo>
                    <a:pt x="1049" y="604"/>
                  </a:lnTo>
                  <a:close/>
                  <a:moveTo>
                    <a:pt x="1152" y="604"/>
                  </a:moveTo>
                  <a:lnTo>
                    <a:pt x="1154" y="604"/>
                  </a:lnTo>
                  <a:lnTo>
                    <a:pt x="1152" y="604"/>
                  </a:lnTo>
                  <a:close/>
                  <a:moveTo>
                    <a:pt x="1176" y="604"/>
                  </a:moveTo>
                  <a:lnTo>
                    <a:pt x="1175" y="604"/>
                  </a:lnTo>
                  <a:lnTo>
                    <a:pt x="1176" y="602"/>
                  </a:lnTo>
                  <a:lnTo>
                    <a:pt x="1176" y="604"/>
                  </a:lnTo>
                  <a:close/>
                  <a:moveTo>
                    <a:pt x="1152" y="602"/>
                  </a:moveTo>
                  <a:lnTo>
                    <a:pt x="1152" y="604"/>
                  </a:lnTo>
                  <a:lnTo>
                    <a:pt x="1152" y="602"/>
                  </a:lnTo>
                  <a:close/>
                  <a:moveTo>
                    <a:pt x="1046" y="604"/>
                  </a:moveTo>
                  <a:lnTo>
                    <a:pt x="1048" y="602"/>
                  </a:lnTo>
                  <a:lnTo>
                    <a:pt x="1049" y="602"/>
                  </a:lnTo>
                  <a:lnTo>
                    <a:pt x="1049" y="604"/>
                  </a:lnTo>
                  <a:lnTo>
                    <a:pt x="1049" y="605"/>
                  </a:lnTo>
                  <a:lnTo>
                    <a:pt x="1048" y="605"/>
                  </a:lnTo>
                  <a:lnTo>
                    <a:pt x="1049" y="605"/>
                  </a:lnTo>
                  <a:lnTo>
                    <a:pt x="1049" y="607"/>
                  </a:lnTo>
                  <a:lnTo>
                    <a:pt x="1051" y="607"/>
                  </a:lnTo>
                  <a:lnTo>
                    <a:pt x="1051" y="609"/>
                  </a:lnTo>
                  <a:lnTo>
                    <a:pt x="1049" y="609"/>
                  </a:lnTo>
                  <a:lnTo>
                    <a:pt x="1049" y="607"/>
                  </a:lnTo>
                  <a:lnTo>
                    <a:pt x="1049" y="609"/>
                  </a:lnTo>
                  <a:lnTo>
                    <a:pt x="1049" y="607"/>
                  </a:lnTo>
                  <a:lnTo>
                    <a:pt x="1048" y="607"/>
                  </a:lnTo>
                  <a:lnTo>
                    <a:pt x="1049" y="607"/>
                  </a:lnTo>
                  <a:lnTo>
                    <a:pt x="1049" y="609"/>
                  </a:lnTo>
                  <a:lnTo>
                    <a:pt x="1049" y="610"/>
                  </a:lnTo>
                  <a:lnTo>
                    <a:pt x="1048" y="610"/>
                  </a:lnTo>
                  <a:lnTo>
                    <a:pt x="1049" y="609"/>
                  </a:lnTo>
                  <a:lnTo>
                    <a:pt x="1048" y="609"/>
                  </a:lnTo>
                  <a:lnTo>
                    <a:pt x="1048" y="607"/>
                  </a:lnTo>
                  <a:lnTo>
                    <a:pt x="1048" y="605"/>
                  </a:lnTo>
                  <a:lnTo>
                    <a:pt x="1048" y="607"/>
                  </a:lnTo>
                  <a:lnTo>
                    <a:pt x="1048" y="605"/>
                  </a:lnTo>
                  <a:lnTo>
                    <a:pt x="1048" y="607"/>
                  </a:lnTo>
                  <a:lnTo>
                    <a:pt x="1046" y="607"/>
                  </a:lnTo>
                  <a:lnTo>
                    <a:pt x="1046" y="609"/>
                  </a:lnTo>
                  <a:lnTo>
                    <a:pt x="1046" y="607"/>
                  </a:lnTo>
                  <a:lnTo>
                    <a:pt x="1045" y="607"/>
                  </a:lnTo>
                  <a:lnTo>
                    <a:pt x="1043" y="609"/>
                  </a:lnTo>
                  <a:lnTo>
                    <a:pt x="1043" y="610"/>
                  </a:lnTo>
                  <a:lnTo>
                    <a:pt x="1043" y="612"/>
                  </a:lnTo>
                  <a:lnTo>
                    <a:pt x="1041" y="612"/>
                  </a:lnTo>
                  <a:lnTo>
                    <a:pt x="1041" y="610"/>
                  </a:lnTo>
                  <a:lnTo>
                    <a:pt x="1041" y="609"/>
                  </a:lnTo>
                  <a:lnTo>
                    <a:pt x="1043" y="607"/>
                  </a:lnTo>
                  <a:lnTo>
                    <a:pt x="1045" y="607"/>
                  </a:lnTo>
                  <a:lnTo>
                    <a:pt x="1045" y="605"/>
                  </a:lnTo>
                  <a:lnTo>
                    <a:pt x="1045" y="604"/>
                  </a:lnTo>
                  <a:lnTo>
                    <a:pt x="1046" y="604"/>
                  </a:lnTo>
                  <a:close/>
                  <a:moveTo>
                    <a:pt x="1170" y="600"/>
                  </a:moveTo>
                  <a:lnTo>
                    <a:pt x="1168" y="600"/>
                  </a:lnTo>
                  <a:lnTo>
                    <a:pt x="1170" y="600"/>
                  </a:lnTo>
                  <a:close/>
                  <a:moveTo>
                    <a:pt x="1160" y="600"/>
                  </a:moveTo>
                  <a:lnTo>
                    <a:pt x="1162" y="600"/>
                  </a:lnTo>
                  <a:lnTo>
                    <a:pt x="1160" y="600"/>
                  </a:lnTo>
                  <a:close/>
                  <a:moveTo>
                    <a:pt x="1160" y="600"/>
                  </a:moveTo>
                  <a:lnTo>
                    <a:pt x="1160" y="602"/>
                  </a:lnTo>
                  <a:lnTo>
                    <a:pt x="1160" y="600"/>
                  </a:lnTo>
                  <a:close/>
                  <a:moveTo>
                    <a:pt x="1157" y="600"/>
                  </a:moveTo>
                  <a:lnTo>
                    <a:pt x="1155" y="600"/>
                  </a:lnTo>
                  <a:lnTo>
                    <a:pt x="1157" y="600"/>
                  </a:lnTo>
                  <a:close/>
                  <a:moveTo>
                    <a:pt x="1178" y="600"/>
                  </a:moveTo>
                  <a:lnTo>
                    <a:pt x="1176" y="600"/>
                  </a:lnTo>
                  <a:lnTo>
                    <a:pt x="1178" y="600"/>
                  </a:lnTo>
                  <a:close/>
                  <a:moveTo>
                    <a:pt x="1160" y="600"/>
                  </a:moveTo>
                  <a:lnTo>
                    <a:pt x="1158" y="600"/>
                  </a:lnTo>
                  <a:lnTo>
                    <a:pt x="1160" y="599"/>
                  </a:lnTo>
                  <a:lnTo>
                    <a:pt x="1160" y="600"/>
                  </a:lnTo>
                  <a:close/>
                  <a:moveTo>
                    <a:pt x="1157" y="600"/>
                  </a:moveTo>
                  <a:lnTo>
                    <a:pt x="1157" y="599"/>
                  </a:lnTo>
                  <a:lnTo>
                    <a:pt x="1157" y="600"/>
                  </a:lnTo>
                  <a:close/>
                  <a:moveTo>
                    <a:pt x="1158" y="599"/>
                  </a:moveTo>
                  <a:lnTo>
                    <a:pt x="1158" y="600"/>
                  </a:lnTo>
                  <a:lnTo>
                    <a:pt x="1158" y="599"/>
                  </a:lnTo>
                  <a:close/>
                  <a:moveTo>
                    <a:pt x="1160" y="599"/>
                  </a:moveTo>
                  <a:lnTo>
                    <a:pt x="1160" y="600"/>
                  </a:lnTo>
                  <a:lnTo>
                    <a:pt x="1160" y="599"/>
                  </a:lnTo>
                  <a:close/>
                  <a:moveTo>
                    <a:pt x="1180" y="599"/>
                  </a:moveTo>
                  <a:lnTo>
                    <a:pt x="1181" y="599"/>
                  </a:lnTo>
                  <a:lnTo>
                    <a:pt x="1183" y="599"/>
                  </a:lnTo>
                  <a:lnTo>
                    <a:pt x="1183" y="600"/>
                  </a:lnTo>
                  <a:lnTo>
                    <a:pt x="1181" y="600"/>
                  </a:lnTo>
                  <a:lnTo>
                    <a:pt x="1181" y="602"/>
                  </a:lnTo>
                  <a:lnTo>
                    <a:pt x="1180" y="602"/>
                  </a:lnTo>
                  <a:lnTo>
                    <a:pt x="1178" y="604"/>
                  </a:lnTo>
                  <a:lnTo>
                    <a:pt x="1176" y="604"/>
                  </a:lnTo>
                  <a:lnTo>
                    <a:pt x="1176" y="602"/>
                  </a:lnTo>
                  <a:lnTo>
                    <a:pt x="1176" y="600"/>
                  </a:lnTo>
                  <a:lnTo>
                    <a:pt x="1178" y="600"/>
                  </a:lnTo>
                  <a:lnTo>
                    <a:pt x="1180" y="599"/>
                  </a:lnTo>
                  <a:close/>
                  <a:moveTo>
                    <a:pt x="1152" y="594"/>
                  </a:moveTo>
                  <a:lnTo>
                    <a:pt x="1150" y="594"/>
                  </a:lnTo>
                  <a:lnTo>
                    <a:pt x="1152" y="592"/>
                  </a:lnTo>
                  <a:lnTo>
                    <a:pt x="1152" y="594"/>
                  </a:lnTo>
                  <a:close/>
                  <a:moveTo>
                    <a:pt x="1051" y="594"/>
                  </a:moveTo>
                  <a:lnTo>
                    <a:pt x="1053" y="594"/>
                  </a:lnTo>
                  <a:lnTo>
                    <a:pt x="1051" y="594"/>
                  </a:lnTo>
                  <a:lnTo>
                    <a:pt x="1053" y="594"/>
                  </a:lnTo>
                  <a:lnTo>
                    <a:pt x="1053" y="596"/>
                  </a:lnTo>
                  <a:lnTo>
                    <a:pt x="1051" y="596"/>
                  </a:lnTo>
                  <a:lnTo>
                    <a:pt x="1051" y="594"/>
                  </a:lnTo>
                  <a:lnTo>
                    <a:pt x="1051" y="592"/>
                  </a:lnTo>
                  <a:lnTo>
                    <a:pt x="1053" y="594"/>
                  </a:lnTo>
                  <a:lnTo>
                    <a:pt x="1051" y="594"/>
                  </a:lnTo>
                  <a:close/>
                  <a:moveTo>
                    <a:pt x="1150" y="594"/>
                  </a:moveTo>
                  <a:lnTo>
                    <a:pt x="1150" y="592"/>
                  </a:lnTo>
                  <a:lnTo>
                    <a:pt x="1150" y="594"/>
                  </a:lnTo>
                  <a:lnTo>
                    <a:pt x="1150" y="592"/>
                  </a:lnTo>
                  <a:lnTo>
                    <a:pt x="1150" y="594"/>
                  </a:lnTo>
                  <a:close/>
                  <a:moveTo>
                    <a:pt x="1165" y="592"/>
                  </a:moveTo>
                  <a:lnTo>
                    <a:pt x="1167" y="592"/>
                  </a:lnTo>
                  <a:lnTo>
                    <a:pt x="1165" y="592"/>
                  </a:lnTo>
                  <a:close/>
                  <a:moveTo>
                    <a:pt x="1163" y="592"/>
                  </a:moveTo>
                  <a:lnTo>
                    <a:pt x="1162" y="592"/>
                  </a:lnTo>
                  <a:lnTo>
                    <a:pt x="1163" y="592"/>
                  </a:lnTo>
                  <a:close/>
                  <a:moveTo>
                    <a:pt x="1163" y="592"/>
                  </a:moveTo>
                  <a:lnTo>
                    <a:pt x="1162" y="592"/>
                  </a:lnTo>
                  <a:lnTo>
                    <a:pt x="1163" y="592"/>
                  </a:lnTo>
                  <a:close/>
                  <a:moveTo>
                    <a:pt x="1163" y="592"/>
                  </a:moveTo>
                  <a:lnTo>
                    <a:pt x="1165" y="592"/>
                  </a:lnTo>
                  <a:lnTo>
                    <a:pt x="1163" y="592"/>
                  </a:lnTo>
                  <a:close/>
                  <a:moveTo>
                    <a:pt x="1162" y="592"/>
                  </a:moveTo>
                  <a:lnTo>
                    <a:pt x="1162" y="594"/>
                  </a:lnTo>
                  <a:lnTo>
                    <a:pt x="1160" y="594"/>
                  </a:lnTo>
                  <a:lnTo>
                    <a:pt x="1162" y="592"/>
                  </a:lnTo>
                  <a:close/>
                  <a:moveTo>
                    <a:pt x="1160" y="592"/>
                  </a:moveTo>
                  <a:lnTo>
                    <a:pt x="1162" y="592"/>
                  </a:lnTo>
                  <a:lnTo>
                    <a:pt x="1160" y="592"/>
                  </a:lnTo>
                  <a:close/>
                  <a:moveTo>
                    <a:pt x="1189" y="592"/>
                  </a:moveTo>
                  <a:lnTo>
                    <a:pt x="1189" y="591"/>
                  </a:lnTo>
                  <a:lnTo>
                    <a:pt x="1189" y="592"/>
                  </a:lnTo>
                  <a:close/>
                  <a:moveTo>
                    <a:pt x="1155" y="591"/>
                  </a:moveTo>
                  <a:lnTo>
                    <a:pt x="1155" y="592"/>
                  </a:lnTo>
                  <a:lnTo>
                    <a:pt x="1155" y="591"/>
                  </a:lnTo>
                  <a:close/>
                  <a:moveTo>
                    <a:pt x="1158" y="592"/>
                  </a:moveTo>
                  <a:lnTo>
                    <a:pt x="1158" y="591"/>
                  </a:lnTo>
                  <a:lnTo>
                    <a:pt x="1158" y="592"/>
                  </a:lnTo>
                  <a:close/>
                  <a:moveTo>
                    <a:pt x="1154" y="592"/>
                  </a:moveTo>
                  <a:lnTo>
                    <a:pt x="1154" y="591"/>
                  </a:lnTo>
                  <a:lnTo>
                    <a:pt x="1155" y="591"/>
                  </a:lnTo>
                  <a:lnTo>
                    <a:pt x="1155" y="592"/>
                  </a:lnTo>
                  <a:lnTo>
                    <a:pt x="1154" y="592"/>
                  </a:lnTo>
                  <a:close/>
                  <a:moveTo>
                    <a:pt x="1152" y="592"/>
                  </a:moveTo>
                  <a:lnTo>
                    <a:pt x="1150" y="592"/>
                  </a:lnTo>
                  <a:lnTo>
                    <a:pt x="1152" y="591"/>
                  </a:lnTo>
                  <a:lnTo>
                    <a:pt x="1152" y="592"/>
                  </a:lnTo>
                  <a:close/>
                  <a:moveTo>
                    <a:pt x="1160" y="591"/>
                  </a:moveTo>
                  <a:lnTo>
                    <a:pt x="1160" y="592"/>
                  </a:lnTo>
                  <a:lnTo>
                    <a:pt x="1160" y="591"/>
                  </a:lnTo>
                  <a:close/>
                  <a:moveTo>
                    <a:pt x="1158" y="592"/>
                  </a:moveTo>
                  <a:lnTo>
                    <a:pt x="1157" y="592"/>
                  </a:lnTo>
                  <a:lnTo>
                    <a:pt x="1158" y="591"/>
                  </a:lnTo>
                  <a:lnTo>
                    <a:pt x="1158" y="592"/>
                  </a:lnTo>
                  <a:close/>
                  <a:moveTo>
                    <a:pt x="1150" y="591"/>
                  </a:moveTo>
                  <a:lnTo>
                    <a:pt x="1150" y="592"/>
                  </a:lnTo>
                  <a:lnTo>
                    <a:pt x="1150" y="591"/>
                  </a:lnTo>
                  <a:close/>
                  <a:moveTo>
                    <a:pt x="1160" y="592"/>
                  </a:moveTo>
                  <a:lnTo>
                    <a:pt x="1160" y="591"/>
                  </a:lnTo>
                  <a:lnTo>
                    <a:pt x="1160" y="592"/>
                  </a:lnTo>
                  <a:close/>
                  <a:moveTo>
                    <a:pt x="1162" y="591"/>
                  </a:moveTo>
                  <a:lnTo>
                    <a:pt x="1160" y="591"/>
                  </a:lnTo>
                  <a:lnTo>
                    <a:pt x="1162" y="591"/>
                  </a:lnTo>
                  <a:close/>
                  <a:moveTo>
                    <a:pt x="1158" y="591"/>
                  </a:moveTo>
                  <a:lnTo>
                    <a:pt x="1157" y="591"/>
                  </a:lnTo>
                  <a:lnTo>
                    <a:pt x="1158" y="591"/>
                  </a:lnTo>
                  <a:close/>
                  <a:moveTo>
                    <a:pt x="1162" y="591"/>
                  </a:moveTo>
                  <a:lnTo>
                    <a:pt x="1162" y="592"/>
                  </a:lnTo>
                  <a:lnTo>
                    <a:pt x="1162" y="591"/>
                  </a:lnTo>
                  <a:close/>
                  <a:moveTo>
                    <a:pt x="1152" y="592"/>
                  </a:moveTo>
                  <a:lnTo>
                    <a:pt x="1152" y="591"/>
                  </a:lnTo>
                  <a:lnTo>
                    <a:pt x="1154" y="591"/>
                  </a:lnTo>
                  <a:lnTo>
                    <a:pt x="1152" y="592"/>
                  </a:lnTo>
                  <a:close/>
                  <a:moveTo>
                    <a:pt x="1162" y="591"/>
                  </a:moveTo>
                  <a:lnTo>
                    <a:pt x="1160" y="591"/>
                  </a:lnTo>
                  <a:lnTo>
                    <a:pt x="1162" y="591"/>
                  </a:lnTo>
                  <a:close/>
                  <a:moveTo>
                    <a:pt x="1152" y="589"/>
                  </a:moveTo>
                  <a:lnTo>
                    <a:pt x="1152" y="591"/>
                  </a:lnTo>
                  <a:lnTo>
                    <a:pt x="1152" y="589"/>
                  </a:lnTo>
                  <a:close/>
                  <a:moveTo>
                    <a:pt x="1053" y="589"/>
                  </a:moveTo>
                  <a:lnTo>
                    <a:pt x="1054" y="589"/>
                  </a:lnTo>
                  <a:lnTo>
                    <a:pt x="1053" y="589"/>
                  </a:lnTo>
                  <a:close/>
                  <a:moveTo>
                    <a:pt x="1150" y="589"/>
                  </a:moveTo>
                  <a:lnTo>
                    <a:pt x="1152" y="589"/>
                  </a:lnTo>
                  <a:lnTo>
                    <a:pt x="1150" y="589"/>
                  </a:lnTo>
                  <a:close/>
                  <a:moveTo>
                    <a:pt x="1152" y="589"/>
                  </a:moveTo>
                  <a:lnTo>
                    <a:pt x="1152" y="587"/>
                  </a:lnTo>
                  <a:lnTo>
                    <a:pt x="1152" y="589"/>
                  </a:lnTo>
                  <a:close/>
                  <a:moveTo>
                    <a:pt x="1155" y="587"/>
                  </a:moveTo>
                  <a:lnTo>
                    <a:pt x="1155" y="589"/>
                  </a:lnTo>
                  <a:lnTo>
                    <a:pt x="1154" y="589"/>
                  </a:lnTo>
                  <a:lnTo>
                    <a:pt x="1155" y="587"/>
                  </a:lnTo>
                  <a:close/>
                  <a:moveTo>
                    <a:pt x="1167" y="587"/>
                  </a:moveTo>
                  <a:lnTo>
                    <a:pt x="1167" y="586"/>
                  </a:lnTo>
                  <a:lnTo>
                    <a:pt x="1167" y="587"/>
                  </a:lnTo>
                  <a:close/>
                  <a:moveTo>
                    <a:pt x="1149" y="586"/>
                  </a:moveTo>
                  <a:lnTo>
                    <a:pt x="1150" y="586"/>
                  </a:lnTo>
                  <a:lnTo>
                    <a:pt x="1149" y="586"/>
                  </a:lnTo>
                  <a:close/>
                  <a:moveTo>
                    <a:pt x="1152" y="586"/>
                  </a:moveTo>
                  <a:lnTo>
                    <a:pt x="1150" y="586"/>
                  </a:lnTo>
                  <a:lnTo>
                    <a:pt x="1152" y="586"/>
                  </a:lnTo>
                  <a:close/>
                  <a:moveTo>
                    <a:pt x="1173" y="584"/>
                  </a:moveTo>
                  <a:lnTo>
                    <a:pt x="1173" y="586"/>
                  </a:lnTo>
                  <a:lnTo>
                    <a:pt x="1171" y="584"/>
                  </a:lnTo>
                  <a:lnTo>
                    <a:pt x="1173" y="584"/>
                  </a:lnTo>
                  <a:close/>
                  <a:moveTo>
                    <a:pt x="1163" y="584"/>
                  </a:moveTo>
                  <a:lnTo>
                    <a:pt x="1165" y="584"/>
                  </a:lnTo>
                  <a:lnTo>
                    <a:pt x="1163" y="584"/>
                  </a:lnTo>
                  <a:close/>
                  <a:moveTo>
                    <a:pt x="1171" y="584"/>
                  </a:moveTo>
                  <a:lnTo>
                    <a:pt x="1173" y="584"/>
                  </a:lnTo>
                  <a:lnTo>
                    <a:pt x="1171" y="584"/>
                  </a:lnTo>
                  <a:close/>
                  <a:moveTo>
                    <a:pt x="1162" y="584"/>
                  </a:moveTo>
                  <a:lnTo>
                    <a:pt x="1162" y="586"/>
                  </a:lnTo>
                  <a:lnTo>
                    <a:pt x="1162" y="584"/>
                  </a:lnTo>
                  <a:lnTo>
                    <a:pt x="1162" y="586"/>
                  </a:lnTo>
                  <a:lnTo>
                    <a:pt x="1160" y="586"/>
                  </a:lnTo>
                  <a:lnTo>
                    <a:pt x="1160" y="584"/>
                  </a:lnTo>
                  <a:lnTo>
                    <a:pt x="1162" y="586"/>
                  </a:lnTo>
                  <a:lnTo>
                    <a:pt x="1162" y="584"/>
                  </a:lnTo>
                  <a:close/>
                  <a:moveTo>
                    <a:pt x="1163" y="584"/>
                  </a:moveTo>
                  <a:lnTo>
                    <a:pt x="1162" y="584"/>
                  </a:lnTo>
                  <a:lnTo>
                    <a:pt x="1163" y="584"/>
                  </a:lnTo>
                  <a:lnTo>
                    <a:pt x="1162" y="584"/>
                  </a:lnTo>
                  <a:lnTo>
                    <a:pt x="1163" y="584"/>
                  </a:lnTo>
                  <a:close/>
                  <a:moveTo>
                    <a:pt x="1152" y="584"/>
                  </a:moveTo>
                  <a:lnTo>
                    <a:pt x="1152" y="583"/>
                  </a:lnTo>
                  <a:lnTo>
                    <a:pt x="1152" y="584"/>
                  </a:lnTo>
                  <a:close/>
                  <a:moveTo>
                    <a:pt x="1155" y="584"/>
                  </a:moveTo>
                  <a:lnTo>
                    <a:pt x="1155" y="583"/>
                  </a:lnTo>
                  <a:lnTo>
                    <a:pt x="1155" y="584"/>
                  </a:lnTo>
                  <a:close/>
                  <a:moveTo>
                    <a:pt x="1054" y="583"/>
                  </a:moveTo>
                  <a:lnTo>
                    <a:pt x="1054" y="584"/>
                  </a:lnTo>
                  <a:lnTo>
                    <a:pt x="1054" y="583"/>
                  </a:lnTo>
                  <a:close/>
                  <a:moveTo>
                    <a:pt x="1144" y="584"/>
                  </a:moveTo>
                  <a:lnTo>
                    <a:pt x="1144" y="583"/>
                  </a:lnTo>
                  <a:lnTo>
                    <a:pt x="1144" y="584"/>
                  </a:lnTo>
                  <a:close/>
                  <a:moveTo>
                    <a:pt x="1170" y="583"/>
                  </a:moveTo>
                  <a:lnTo>
                    <a:pt x="1171" y="583"/>
                  </a:lnTo>
                  <a:lnTo>
                    <a:pt x="1170" y="583"/>
                  </a:lnTo>
                  <a:close/>
                  <a:moveTo>
                    <a:pt x="1157" y="584"/>
                  </a:moveTo>
                  <a:lnTo>
                    <a:pt x="1157" y="583"/>
                  </a:lnTo>
                  <a:lnTo>
                    <a:pt x="1158" y="583"/>
                  </a:lnTo>
                  <a:lnTo>
                    <a:pt x="1157" y="584"/>
                  </a:lnTo>
                  <a:close/>
                  <a:moveTo>
                    <a:pt x="1165" y="584"/>
                  </a:moveTo>
                  <a:lnTo>
                    <a:pt x="1165" y="583"/>
                  </a:lnTo>
                  <a:lnTo>
                    <a:pt x="1167" y="583"/>
                  </a:lnTo>
                  <a:lnTo>
                    <a:pt x="1165" y="583"/>
                  </a:lnTo>
                  <a:lnTo>
                    <a:pt x="1165" y="584"/>
                  </a:lnTo>
                  <a:close/>
                  <a:moveTo>
                    <a:pt x="1152" y="583"/>
                  </a:moveTo>
                  <a:lnTo>
                    <a:pt x="1152" y="581"/>
                  </a:lnTo>
                  <a:lnTo>
                    <a:pt x="1152" y="583"/>
                  </a:lnTo>
                  <a:close/>
                  <a:moveTo>
                    <a:pt x="1150" y="583"/>
                  </a:moveTo>
                  <a:lnTo>
                    <a:pt x="1150" y="581"/>
                  </a:lnTo>
                  <a:lnTo>
                    <a:pt x="1150" y="583"/>
                  </a:lnTo>
                  <a:lnTo>
                    <a:pt x="1150" y="581"/>
                  </a:lnTo>
                  <a:lnTo>
                    <a:pt x="1150" y="583"/>
                  </a:lnTo>
                  <a:close/>
                  <a:moveTo>
                    <a:pt x="1158" y="583"/>
                  </a:moveTo>
                  <a:lnTo>
                    <a:pt x="1158" y="581"/>
                  </a:lnTo>
                  <a:lnTo>
                    <a:pt x="1158" y="583"/>
                  </a:lnTo>
                  <a:close/>
                  <a:moveTo>
                    <a:pt x="1053" y="581"/>
                  </a:moveTo>
                  <a:lnTo>
                    <a:pt x="1053" y="583"/>
                  </a:lnTo>
                  <a:lnTo>
                    <a:pt x="1053" y="581"/>
                  </a:lnTo>
                  <a:close/>
                  <a:moveTo>
                    <a:pt x="1154" y="581"/>
                  </a:moveTo>
                  <a:lnTo>
                    <a:pt x="1152" y="583"/>
                  </a:lnTo>
                  <a:lnTo>
                    <a:pt x="1152" y="581"/>
                  </a:lnTo>
                  <a:lnTo>
                    <a:pt x="1154" y="581"/>
                  </a:lnTo>
                  <a:close/>
                  <a:moveTo>
                    <a:pt x="1158" y="581"/>
                  </a:moveTo>
                  <a:lnTo>
                    <a:pt x="1157" y="581"/>
                  </a:lnTo>
                  <a:lnTo>
                    <a:pt x="1158" y="581"/>
                  </a:lnTo>
                  <a:close/>
                  <a:moveTo>
                    <a:pt x="1162" y="581"/>
                  </a:moveTo>
                  <a:lnTo>
                    <a:pt x="1160" y="581"/>
                  </a:lnTo>
                  <a:lnTo>
                    <a:pt x="1162" y="581"/>
                  </a:lnTo>
                  <a:close/>
                  <a:moveTo>
                    <a:pt x="1051" y="581"/>
                  </a:moveTo>
                  <a:lnTo>
                    <a:pt x="1053" y="581"/>
                  </a:lnTo>
                  <a:lnTo>
                    <a:pt x="1051" y="581"/>
                  </a:lnTo>
                  <a:close/>
                  <a:moveTo>
                    <a:pt x="1160" y="581"/>
                  </a:moveTo>
                  <a:lnTo>
                    <a:pt x="1160" y="579"/>
                  </a:lnTo>
                  <a:lnTo>
                    <a:pt x="1160" y="581"/>
                  </a:lnTo>
                  <a:close/>
                  <a:moveTo>
                    <a:pt x="1160" y="581"/>
                  </a:moveTo>
                  <a:lnTo>
                    <a:pt x="1160" y="579"/>
                  </a:lnTo>
                  <a:lnTo>
                    <a:pt x="1160" y="581"/>
                  </a:lnTo>
                  <a:close/>
                  <a:moveTo>
                    <a:pt x="1160" y="581"/>
                  </a:moveTo>
                  <a:lnTo>
                    <a:pt x="1160" y="579"/>
                  </a:lnTo>
                  <a:lnTo>
                    <a:pt x="1160" y="581"/>
                  </a:lnTo>
                  <a:close/>
                  <a:moveTo>
                    <a:pt x="1158" y="579"/>
                  </a:moveTo>
                  <a:lnTo>
                    <a:pt x="1158" y="578"/>
                  </a:lnTo>
                  <a:lnTo>
                    <a:pt x="1158" y="579"/>
                  </a:lnTo>
                  <a:close/>
                  <a:moveTo>
                    <a:pt x="1157" y="578"/>
                  </a:moveTo>
                  <a:lnTo>
                    <a:pt x="1157" y="579"/>
                  </a:lnTo>
                  <a:lnTo>
                    <a:pt x="1157" y="578"/>
                  </a:lnTo>
                  <a:close/>
                  <a:moveTo>
                    <a:pt x="1158" y="579"/>
                  </a:moveTo>
                  <a:lnTo>
                    <a:pt x="1158" y="581"/>
                  </a:lnTo>
                  <a:lnTo>
                    <a:pt x="1157" y="579"/>
                  </a:lnTo>
                  <a:lnTo>
                    <a:pt x="1157" y="581"/>
                  </a:lnTo>
                  <a:lnTo>
                    <a:pt x="1155" y="581"/>
                  </a:lnTo>
                  <a:lnTo>
                    <a:pt x="1155" y="579"/>
                  </a:lnTo>
                  <a:lnTo>
                    <a:pt x="1157" y="579"/>
                  </a:lnTo>
                  <a:lnTo>
                    <a:pt x="1158" y="578"/>
                  </a:lnTo>
                  <a:lnTo>
                    <a:pt x="1158" y="579"/>
                  </a:lnTo>
                  <a:close/>
                  <a:moveTo>
                    <a:pt x="1160" y="579"/>
                  </a:moveTo>
                  <a:lnTo>
                    <a:pt x="1160" y="578"/>
                  </a:lnTo>
                  <a:lnTo>
                    <a:pt x="1160" y="579"/>
                  </a:lnTo>
                  <a:close/>
                  <a:moveTo>
                    <a:pt x="1160" y="578"/>
                  </a:moveTo>
                  <a:lnTo>
                    <a:pt x="1158" y="578"/>
                  </a:lnTo>
                  <a:lnTo>
                    <a:pt x="1160" y="578"/>
                  </a:lnTo>
                  <a:close/>
                  <a:moveTo>
                    <a:pt x="1157" y="576"/>
                  </a:moveTo>
                  <a:lnTo>
                    <a:pt x="1158" y="576"/>
                  </a:lnTo>
                  <a:lnTo>
                    <a:pt x="1157" y="576"/>
                  </a:lnTo>
                  <a:close/>
                  <a:moveTo>
                    <a:pt x="1054" y="576"/>
                  </a:moveTo>
                  <a:lnTo>
                    <a:pt x="1056" y="576"/>
                  </a:lnTo>
                  <a:lnTo>
                    <a:pt x="1054" y="576"/>
                  </a:lnTo>
                  <a:close/>
                  <a:moveTo>
                    <a:pt x="1150" y="576"/>
                  </a:moveTo>
                  <a:lnTo>
                    <a:pt x="1149" y="576"/>
                  </a:lnTo>
                  <a:lnTo>
                    <a:pt x="1150" y="576"/>
                  </a:lnTo>
                  <a:close/>
                  <a:moveTo>
                    <a:pt x="1152" y="576"/>
                  </a:moveTo>
                  <a:lnTo>
                    <a:pt x="1152" y="574"/>
                  </a:lnTo>
                  <a:lnTo>
                    <a:pt x="1152" y="576"/>
                  </a:lnTo>
                  <a:close/>
                  <a:moveTo>
                    <a:pt x="1157" y="576"/>
                  </a:moveTo>
                  <a:lnTo>
                    <a:pt x="1157" y="574"/>
                  </a:lnTo>
                  <a:lnTo>
                    <a:pt x="1157" y="576"/>
                  </a:lnTo>
                  <a:close/>
                  <a:moveTo>
                    <a:pt x="1157" y="576"/>
                  </a:moveTo>
                  <a:lnTo>
                    <a:pt x="1157" y="574"/>
                  </a:lnTo>
                  <a:lnTo>
                    <a:pt x="1158" y="574"/>
                  </a:lnTo>
                  <a:lnTo>
                    <a:pt x="1157" y="576"/>
                  </a:lnTo>
                  <a:close/>
                  <a:moveTo>
                    <a:pt x="1152" y="576"/>
                  </a:moveTo>
                  <a:lnTo>
                    <a:pt x="1152" y="574"/>
                  </a:lnTo>
                  <a:lnTo>
                    <a:pt x="1152" y="576"/>
                  </a:lnTo>
                  <a:close/>
                  <a:moveTo>
                    <a:pt x="1162" y="576"/>
                  </a:moveTo>
                  <a:lnTo>
                    <a:pt x="1160" y="576"/>
                  </a:lnTo>
                  <a:lnTo>
                    <a:pt x="1160" y="578"/>
                  </a:lnTo>
                  <a:lnTo>
                    <a:pt x="1158" y="578"/>
                  </a:lnTo>
                  <a:lnTo>
                    <a:pt x="1160" y="578"/>
                  </a:lnTo>
                  <a:lnTo>
                    <a:pt x="1160" y="576"/>
                  </a:lnTo>
                  <a:lnTo>
                    <a:pt x="1162" y="576"/>
                  </a:lnTo>
                  <a:lnTo>
                    <a:pt x="1162" y="574"/>
                  </a:lnTo>
                  <a:lnTo>
                    <a:pt x="1162" y="576"/>
                  </a:lnTo>
                  <a:close/>
                  <a:moveTo>
                    <a:pt x="1150" y="574"/>
                  </a:moveTo>
                  <a:lnTo>
                    <a:pt x="1152" y="574"/>
                  </a:lnTo>
                  <a:lnTo>
                    <a:pt x="1150" y="574"/>
                  </a:lnTo>
                  <a:close/>
                  <a:moveTo>
                    <a:pt x="1160" y="574"/>
                  </a:moveTo>
                  <a:lnTo>
                    <a:pt x="1162" y="574"/>
                  </a:lnTo>
                  <a:lnTo>
                    <a:pt x="1160" y="574"/>
                  </a:lnTo>
                  <a:close/>
                  <a:moveTo>
                    <a:pt x="1150" y="574"/>
                  </a:moveTo>
                  <a:lnTo>
                    <a:pt x="1149" y="574"/>
                  </a:lnTo>
                  <a:lnTo>
                    <a:pt x="1150" y="574"/>
                  </a:lnTo>
                  <a:close/>
                  <a:moveTo>
                    <a:pt x="1158" y="574"/>
                  </a:moveTo>
                  <a:lnTo>
                    <a:pt x="1158" y="576"/>
                  </a:lnTo>
                  <a:lnTo>
                    <a:pt x="1158" y="574"/>
                  </a:lnTo>
                  <a:close/>
                  <a:moveTo>
                    <a:pt x="1160" y="574"/>
                  </a:moveTo>
                  <a:lnTo>
                    <a:pt x="1160" y="576"/>
                  </a:lnTo>
                  <a:lnTo>
                    <a:pt x="1158" y="578"/>
                  </a:lnTo>
                  <a:lnTo>
                    <a:pt x="1158" y="576"/>
                  </a:lnTo>
                  <a:lnTo>
                    <a:pt x="1158" y="578"/>
                  </a:lnTo>
                  <a:lnTo>
                    <a:pt x="1157" y="579"/>
                  </a:lnTo>
                  <a:lnTo>
                    <a:pt x="1157" y="578"/>
                  </a:lnTo>
                  <a:lnTo>
                    <a:pt x="1157" y="576"/>
                  </a:lnTo>
                  <a:lnTo>
                    <a:pt x="1158" y="576"/>
                  </a:lnTo>
                  <a:lnTo>
                    <a:pt x="1157" y="578"/>
                  </a:lnTo>
                  <a:lnTo>
                    <a:pt x="1158" y="576"/>
                  </a:lnTo>
                  <a:lnTo>
                    <a:pt x="1160" y="576"/>
                  </a:lnTo>
                  <a:lnTo>
                    <a:pt x="1160" y="574"/>
                  </a:lnTo>
                  <a:lnTo>
                    <a:pt x="1162" y="574"/>
                  </a:lnTo>
                  <a:lnTo>
                    <a:pt x="1160" y="574"/>
                  </a:lnTo>
                  <a:close/>
                  <a:moveTo>
                    <a:pt x="1152" y="574"/>
                  </a:moveTo>
                  <a:lnTo>
                    <a:pt x="1154" y="574"/>
                  </a:lnTo>
                  <a:lnTo>
                    <a:pt x="1152" y="574"/>
                  </a:lnTo>
                  <a:close/>
                  <a:moveTo>
                    <a:pt x="1152" y="574"/>
                  </a:moveTo>
                  <a:lnTo>
                    <a:pt x="1152" y="573"/>
                  </a:lnTo>
                  <a:lnTo>
                    <a:pt x="1152" y="574"/>
                  </a:lnTo>
                  <a:close/>
                  <a:moveTo>
                    <a:pt x="1152" y="574"/>
                  </a:moveTo>
                  <a:lnTo>
                    <a:pt x="1152" y="573"/>
                  </a:lnTo>
                  <a:lnTo>
                    <a:pt x="1152" y="574"/>
                  </a:lnTo>
                  <a:close/>
                  <a:moveTo>
                    <a:pt x="1152" y="573"/>
                  </a:moveTo>
                  <a:lnTo>
                    <a:pt x="1152" y="574"/>
                  </a:lnTo>
                  <a:lnTo>
                    <a:pt x="1152" y="573"/>
                  </a:lnTo>
                  <a:close/>
                  <a:moveTo>
                    <a:pt x="1154" y="573"/>
                  </a:moveTo>
                  <a:lnTo>
                    <a:pt x="1152" y="574"/>
                  </a:lnTo>
                  <a:lnTo>
                    <a:pt x="1154" y="573"/>
                  </a:lnTo>
                  <a:close/>
                  <a:moveTo>
                    <a:pt x="1154" y="573"/>
                  </a:moveTo>
                  <a:lnTo>
                    <a:pt x="1152" y="573"/>
                  </a:lnTo>
                  <a:lnTo>
                    <a:pt x="1154" y="573"/>
                  </a:lnTo>
                  <a:close/>
                  <a:moveTo>
                    <a:pt x="1155" y="573"/>
                  </a:moveTo>
                  <a:lnTo>
                    <a:pt x="1155" y="571"/>
                  </a:lnTo>
                  <a:lnTo>
                    <a:pt x="1155" y="573"/>
                  </a:lnTo>
                  <a:close/>
                  <a:moveTo>
                    <a:pt x="1152" y="573"/>
                  </a:moveTo>
                  <a:lnTo>
                    <a:pt x="1152" y="571"/>
                  </a:lnTo>
                  <a:lnTo>
                    <a:pt x="1152" y="573"/>
                  </a:lnTo>
                  <a:close/>
                  <a:moveTo>
                    <a:pt x="1154" y="571"/>
                  </a:moveTo>
                  <a:lnTo>
                    <a:pt x="1154" y="573"/>
                  </a:lnTo>
                  <a:lnTo>
                    <a:pt x="1154" y="571"/>
                  </a:lnTo>
                  <a:close/>
                  <a:moveTo>
                    <a:pt x="1155" y="573"/>
                  </a:moveTo>
                  <a:lnTo>
                    <a:pt x="1155" y="571"/>
                  </a:lnTo>
                  <a:lnTo>
                    <a:pt x="1155" y="573"/>
                  </a:lnTo>
                  <a:close/>
                  <a:moveTo>
                    <a:pt x="1155" y="571"/>
                  </a:moveTo>
                  <a:lnTo>
                    <a:pt x="1154" y="571"/>
                  </a:lnTo>
                  <a:lnTo>
                    <a:pt x="1155" y="571"/>
                  </a:lnTo>
                  <a:close/>
                  <a:moveTo>
                    <a:pt x="1155" y="571"/>
                  </a:moveTo>
                  <a:lnTo>
                    <a:pt x="1157" y="571"/>
                  </a:lnTo>
                  <a:lnTo>
                    <a:pt x="1155" y="571"/>
                  </a:lnTo>
                  <a:close/>
                  <a:moveTo>
                    <a:pt x="1157" y="571"/>
                  </a:moveTo>
                  <a:lnTo>
                    <a:pt x="1157" y="570"/>
                  </a:lnTo>
                  <a:lnTo>
                    <a:pt x="1157" y="571"/>
                  </a:lnTo>
                  <a:close/>
                  <a:moveTo>
                    <a:pt x="1157" y="571"/>
                  </a:moveTo>
                  <a:lnTo>
                    <a:pt x="1157" y="570"/>
                  </a:lnTo>
                  <a:lnTo>
                    <a:pt x="1157" y="571"/>
                  </a:lnTo>
                  <a:close/>
                  <a:moveTo>
                    <a:pt x="1155" y="571"/>
                  </a:moveTo>
                  <a:lnTo>
                    <a:pt x="1155" y="570"/>
                  </a:lnTo>
                  <a:lnTo>
                    <a:pt x="1155" y="571"/>
                  </a:lnTo>
                  <a:close/>
                  <a:moveTo>
                    <a:pt x="1155" y="570"/>
                  </a:moveTo>
                  <a:lnTo>
                    <a:pt x="1155" y="571"/>
                  </a:lnTo>
                  <a:lnTo>
                    <a:pt x="1155" y="570"/>
                  </a:lnTo>
                  <a:lnTo>
                    <a:pt x="1157" y="570"/>
                  </a:lnTo>
                  <a:lnTo>
                    <a:pt x="1155" y="570"/>
                  </a:lnTo>
                  <a:close/>
                  <a:moveTo>
                    <a:pt x="1160" y="568"/>
                  </a:moveTo>
                  <a:lnTo>
                    <a:pt x="1158" y="568"/>
                  </a:lnTo>
                  <a:lnTo>
                    <a:pt x="1160" y="568"/>
                  </a:lnTo>
                  <a:close/>
                  <a:moveTo>
                    <a:pt x="1163" y="566"/>
                  </a:moveTo>
                  <a:lnTo>
                    <a:pt x="1163" y="568"/>
                  </a:lnTo>
                  <a:lnTo>
                    <a:pt x="1163" y="566"/>
                  </a:lnTo>
                  <a:close/>
                  <a:moveTo>
                    <a:pt x="1071" y="568"/>
                  </a:moveTo>
                  <a:lnTo>
                    <a:pt x="1071" y="566"/>
                  </a:lnTo>
                  <a:lnTo>
                    <a:pt x="1071" y="568"/>
                  </a:lnTo>
                  <a:close/>
                  <a:moveTo>
                    <a:pt x="1069" y="566"/>
                  </a:moveTo>
                  <a:lnTo>
                    <a:pt x="1071" y="566"/>
                  </a:lnTo>
                  <a:lnTo>
                    <a:pt x="1069" y="566"/>
                  </a:lnTo>
                  <a:close/>
                  <a:moveTo>
                    <a:pt x="1167" y="566"/>
                  </a:moveTo>
                  <a:lnTo>
                    <a:pt x="1165" y="566"/>
                  </a:lnTo>
                  <a:lnTo>
                    <a:pt x="1167" y="566"/>
                  </a:lnTo>
                  <a:close/>
                  <a:moveTo>
                    <a:pt x="1067" y="566"/>
                  </a:moveTo>
                  <a:lnTo>
                    <a:pt x="1069" y="566"/>
                  </a:lnTo>
                  <a:lnTo>
                    <a:pt x="1067" y="566"/>
                  </a:lnTo>
                  <a:close/>
                  <a:moveTo>
                    <a:pt x="1162" y="566"/>
                  </a:moveTo>
                  <a:lnTo>
                    <a:pt x="1162" y="565"/>
                  </a:lnTo>
                  <a:lnTo>
                    <a:pt x="1162" y="566"/>
                  </a:lnTo>
                  <a:close/>
                  <a:moveTo>
                    <a:pt x="1188" y="565"/>
                  </a:moveTo>
                  <a:lnTo>
                    <a:pt x="1188" y="566"/>
                  </a:lnTo>
                  <a:lnTo>
                    <a:pt x="1188" y="565"/>
                  </a:lnTo>
                  <a:close/>
                  <a:moveTo>
                    <a:pt x="1071" y="566"/>
                  </a:moveTo>
                  <a:lnTo>
                    <a:pt x="1071" y="565"/>
                  </a:lnTo>
                  <a:lnTo>
                    <a:pt x="1071" y="566"/>
                  </a:lnTo>
                  <a:close/>
                  <a:moveTo>
                    <a:pt x="1165" y="565"/>
                  </a:moveTo>
                  <a:lnTo>
                    <a:pt x="1165" y="566"/>
                  </a:lnTo>
                  <a:lnTo>
                    <a:pt x="1165" y="565"/>
                  </a:lnTo>
                  <a:close/>
                  <a:moveTo>
                    <a:pt x="1163" y="566"/>
                  </a:moveTo>
                  <a:lnTo>
                    <a:pt x="1163" y="565"/>
                  </a:lnTo>
                  <a:lnTo>
                    <a:pt x="1163" y="566"/>
                  </a:lnTo>
                  <a:close/>
                  <a:moveTo>
                    <a:pt x="1162" y="565"/>
                  </a:moveTo>
                  <a:lnTo>
                    <a:pt x="1162" y="566"/>
                  </a:lnTo>
                  <a:lnTo>
                    <a:pt x="1162" y="565"/>
                  </a:lnTo>
                  <a:lnTo>
                    <a:pt x="1163" y="565"/>
                  </a:lnTo>
                  <a:lnTo>
                    <a:pt x="1162" y="565"/>
                  </a:lnTo>
                  <a:close/>
                  <a:moveTo>
                    <a:pt x="1165" y="565"/>
                  </a:moveTo>
                  <a:lnTo>
                    <a:pt x="1163" y="565"/>
                  </a:lnTo>
                  <a:lnTo>
                    <a:pt x="1165" y="565"/>
                  </a:lnTo>
                  <a:close/>
                  <a:moveTo>
                    <a:pt x="1167" y="566"/>
                  </a:moveTo>
                  <a:lnTo>
                    <a:pt x="1167" y="565"/>
                  </a:lnTo>
                  <a:lnTo>
                    <a:pt x="1168" y="565"/>
                  </a:lnTo>
                  <a:lnTo>
                    <a:pt x="1167" y="565"/>
                  </a:lnTo>
                  <a:lnTo>
                    <a:pt x="1167" y="566"/>
                  </a:lnTo>
                  <a:close/>
                  <a:moveTo>
                    <a:pt x="1163" y="566"/>
                  </a:moveTo>
                  <a:lnTo>
                    <a:pt x="1162" y="566"/>
                  </a:lnTo>
                  <a:lnTo>
                    <a:pt x="1162" y="565"/>
                  </a:lnTo>
                  <a:lnTo>
                    <a:pt x="1163" y="565"/>
                  </a:lnTo>
                  <a:lnTo>
                    <a:pt x="1163" y="566"/>
                  </a:lnTo>
                  <a:close/>
                  <a:moveTo>
                    <a:pt x="1163" y="565"/>
                  </a:moveTo>
                  <a:lnTo>
                    <a:pt x="1163" y="563"/>
                  </a:lnTo>
                  <a:lnTo>
                    <a:pt x="1163" y="565"/>
                  </a:lnTo>
                  <a:close/>
                  <a:moveTo>
                    <a:pt x="1162" y="565"/>
                  </a:moveTo>
                  <a:lnTo>
                    <a:pt x="1163" y="563"/>
                  </a:lnTo>
                  <a:lnTo>
                    <a:pt x="1163" y="565"/>
                  </a:lnTo>
                  <a:lnTo>
                    <a:pt x="1162" y="565"/>
                  </a:lnTo>
                  <a:close/>
                  <a:moveTo>
                    <a:pt x="1173" y="563"/>
                  </a:moveTo>
                  <a:lnTo>
                    <a:pt x="1175" y="563"/>
                  </a:lnTo>
                  <a:lnTo>
                    <a:pt x="1175" y="565"/>
                  </a:lnTo>
                  <a:lnTo>
                    <a:pt x="1173" y="563"/>
                  </a:lnTo>
                  <a:close/>
                  <a:moveTo>
                    <a:pt x="1183" y="565"/>
                  </a:moveTo>
                  <a:lnTo>
                    <a:pt x="1183" y="563"/>
                  </a:lnTo>
                  <a:lnTo>
                    <a:pt x="1183" y="565"/>
                  </a:lnTo>
                  <a:close/>
                  <a:moveTo>
                    <a:pt x="1165" y="566"/>
                  </a:moveTo>
                  <a:lnTo>
                    <a:pt x="1165" y="565"/>
                  </a:lnTo>
                  <a:lnTo>
                    <a:pt x="1167" y="563"/>
                  </a:lnTo>
                  <a:lnTo>
                    <a:pt x="1167" y="565"/>
                  </a:lnTo>
                  <a:lnTo>
                    <a:pt x="1167" y="566"/>
                  </a:lnTo>
                  <a:lnTo>
                    <a:pt x="1165" y="566"/>
                  </a:lnTo>
                  <a:close/>
                  <a:moveTo>
                    <a:pt x="1160" y="565"/>
                  </a:moveTo>
                  <a:lnTo>
                    <a:pt x="1160" y="563"/>
                  </a:lnTo>
                  <a:lnTo>
                    <a:pt x="1162" y="563"/>
                  </a:lnTo>
                  <a:lnTo>
                    <a:pt x="1160" y="565"/>
                  </a:lnTo>
                  <a:close/>
                  <a:moveTo>
                    <a:pt x="1165" y="563"/>
                  </a:moveTo>
                  <a:lnTo>
                    <a:pt x="1165" y="561"/>
                  </a:lnTo>
                  <a:lnTo>
                    <a:pt x="1165" y="563"/>
                  </a:lnTo>
                  <a:close/>
                  <a:moveTo>
                    <a:pt x="1170" y="561"/>
                  </a:moveTo>
                  <a:lnTo>
                    <a:pt x="1170" y="563"/>
                  </a:lnTo>
                  <a:lnTo>
                    <a:pt x="1170" y="561"/>
                  </a:lnTo>
                  <a:close/>
                  <a:moveTo>
                    <a:pt x="1167" y="561"/>
                  </a:moveTo>
                  <a:lnTo>
                    <a:pt x="1168" y="561"/>
                  </a:lnTo>
                  <a:lnTo>
                    <a:pt x="1167" y="561"/>
                  </a:lnTo>
                  <a:close/>
                  <a:moveTo>
                    <a:pt x="1194" y="561"/>
                  </a:moveTo>
                  <a:lnTo>
                    <a:pt x="1193" y="561"/>
                  </a:lnTo>
                  <a:lnTo>
                    <a:pt x="1194" y="561"/>
                  </a:lnTo>
                  <a:close/>
                  <a:moveTo>
                    <a:pt x="1170" y="561"/>
                  </a:moveTo>
                  <a:lnTo>
                    <a:pt x="1170" y="563"/>
                  </a:lnTo>
                  <a:lnTo>
                    <a:pt x="1168" y="563"/>
                  </a:lnTo>
                  <a:lnTo>
                    <a:pt x="1170" y="561"/>
                  </a:lnTo>
                  <a:lnTo>
                    <a:pt x="1168" y="561"/>
                  </a:lnTo>
                  <a:lnTo>
                    <a:pt x="1170" y="561"/>
                  </a:lnTo>
                  <a:close/>
                  <a:moveTo>
                    <a:pt x="1165" y="561"/>
                  </a:moveTo>
                  <a:lnTo>
                    <a:pt x="1167" y="560"/>
                  </a:lnTo>
                  <a:lnTo>
                    <a:pt x="1165" y="561"/>
                  </a:lnTo>
                  <a:close/>
                  <a:moveTo>
                    <a:pt x="1167" y="561"/>
                  </a:moveTo>
                  <a:lnTo>
                    <a:pt x="1167" y="560"/>
                  </a:lnTo>
                  <a:lnTo>
                    <a:pt x="1167" y="561"/>
                  </a:lnTo>
                  <a:close/>
                  <a:moveTo>
                    <a:pt x="1194" y="560"/>
                  </a:moveTo>
                  <a:lnTo>
                    <a:pt x="1194" y="561"/>
                  </a:lnTo>
                  <a:lnTo>
                    <a:pt x="1194" y="560"/>
                  </a:lnTo>
                  <a:close/>
                  <a:moveTo>
                    <a:pt x="1168" y="560"/>
                  </a:moveTo>
                  <a:lnTo>
                    <a:pt x="1168" y="561"/>
                  </a:lnTo>
                  <a:lnTo>
                    <a:pt x="1168" y="560"/>
                  </a:lnTo>
                  <a:close/>
                  <a:moveTo>
                    <a:pt x="1165" y="561"/>
                  </a:moveTo>
                  <a:lnTo>
                    <a:pt x="1163" y="561"/>
                  </a:lnTo>
                  <a:lnTo>
                    <a:pt x="1165" y="560"/>
                  </a:lnTo>
                  <a:lnTo>
                    <a:pt x="1165" y="561"/>
                  </a:lnTo>
                  <a:close/>
                  <a:moveTo>
                    <a:pt x="1167" y="561"/>
                  </a:moveTo>
                  <a:lnTo>
                    <a:pt x="1167" y="560"/>
                  </a:lnTo>
                  <a:lnTo>
                    <a:pt x="1167" y="561"/>
                  </a:lnTo>
                  <a:close/>
                  <a:moveTo>
                    <a:pt x="1167" y="560"/>
                  </a:moveTo>
                  <a:lnTo>
                    <a:pt x="1168" y="560"/>
                  </a:lnTo>
                  <a:lnTo>
                    <a:pt x="1167" y="560"/>
                  </a:lnTo>
                  <a:close/>
                  <a:moveTo>
                    <a:pt x="1167" y="561"/>
                  </a:moveTo>
                  <a:lnTo>
                    <a:pt x="1167" y="560"/>
                  </a:lnTo>
                  <a:lnTo>
                    <a:pt x="1167" y="561"/>
                  </a:lnTo>
                  <a:close/>
                  <a:moveTo>
                    <a:pt x="1196" y="560"/>
                  </a:moveTo>
                  <a:lnTo>
                    <a:pt x="1194" y="560"/>
                  </a:lnTo>
                  <a:lnTo>
                    <a:pt x="1196" y="560"/>
                  </a:lnTo>
                  <a:close/>
                  <a:moveTo>
                    <a:pt x="1165" y="560"/>
                  </a:moveTo>
                  <a:lnTo>
                    <a:pt x="1167" y="560"/>
                  </a:lnTo>
                  <a:lnTo>
                    <a:pt x="1165" y="560"/>
                  </a:lnTo>
                  <a:close/>
                  <a:moveTo>
                    <a:pt x="1165" y="560"/>
                  </a:moveTo>
                  <a:lnTo>
                    <a:pt x="1165" y="561"/>
                  </a:lnTo>
                  <a:lnTo>
                    <a:pt x="1165" y="560"/>
                  </a:lnTo>
                  <a:close/>
                  <a:moveTo>
                    <a:pt x="1167" y="560"/>
                  </a:moveTo>
                  <a:lnTo>
                    <a:pt x="1167" y="561"/>
                  </a:lnTo>
                  <a:lnTo>
                    <a:pt x="1167" y="560"/>
                  </a:lnTo>
                  <a:close/>
                  <a:moveTo>
                    <a:pt x="1072" y="560"/>
                  </a:moveTo>
                  <a:lnTo>
                    <a:pt x="1072" y="558"/>
                  </a:lnTo>
                  <a:lnTo>
                    <a:pt x="1072" y="560"/>
                  </a:lnTo>
                  <a:close/>
                  <a:moveTo>
                    <a:pt x="1165" y="560"/>
                  </a:moveTo>
                  <a:lnTo>
                    <a:pt x="1167" y="558"/>
                  </a:lnTo>
                  <a:lnTo>
                    <a:pt x="1167" y="560"/>
                  </a:lnTo>
                  <a:lnTo>
                    <a:pt x="1165" y="560"/>
                  </a:lnTo>
                  <a:lnTo>
                    <a:pt x="1167" y="560"/>
                  </a:lnTo>
                  <a:lnTo>
                    <a:pt x="1165" y="560"/>
                  </a:lnTo>
                  <a:close/>
                  <a:moveTo>
                    <a:pt x="1168" y="560"/>
                  </a:moveTo>
                  <a:lnTo>
                    <a:pt x="1168" y="561"/>
                  </a:lnTo>
                  <a:lnTo>
                    <a:pt x="1168" y="560"/>
                  </a:lnTo>
                  <a:lnTo>
                    <a:pt x="1168" y="558"/>
                  </a:lnTo>
                  <a:lnTo>
                    <a:pt x="1168" y="560"/>
                  </a:lnTo>
                  <a:close/>
                  <a:moveTo>
                    <a:pt x="1168" y="560"/>
                  </a:moveTo>
                  <a:lnTo>
                    <a:pt x="1168" y="558"/>
                  </a:lnTo>
                  <a:lnTo>
                    <a:pt x="1168" y="560"/>
                  </a:lnTo>
                  <a:close/>
                  <a:moveTo>
                    <a:pt x="1168" y="558"/>
                  </a:moveTo>
                  <a:lnTo>
                    <a:pt x="1167" y="558"/>
                  </a:lnTo>
                  <a:lnTo>
                    <a:pt x="1168" y="558"/>
                  </a:lnTo>
                  <a:close/>
                  <a:moveTo>
                    <a:pt x="1168" y="558"/>
                  </a:moveTo>
                  <a:lnTo>
                    <a:pt x="1167" y="558"/>
                  </a:lnTo>
                  <a:lnTo>
                    <a:pt x="1168" y="558"/>
                  </a:lnTo>
                  <a:close/>
                  <a:moveTo>
                    <a:pt x="1167" y="558"/>
                  </a:moveTo>
                  <a:lnTo>
                    <a:pt x="1168" y="557"/>
                  </a:lnTo>
                  <a:lnTo>
                    <a:pt x="1168" y="558"/>
                  </a:lnTo>
                  <a:lnTo>
                    <a:pt x="1167" y="558"/>
                  </a:lnTo>
                  <a:close/>
                  <a:moveTo>
                    <a:pt x="1181" y="557"/>
                  </a:moveTo>
                  <a:lnTo>
                    <a:pt x="1181" y="558"/>
                  </a:lnTo>
                  <a:lnTo>
                    <a:pt x="1181" y="557"/>
                  </a:lnTo>
                  <a:close/>
                  <a:moveTo>
                    <a:pt x="1075" y="558"/>
                  </a:moveTo>
                  <a:lnTo>
                    <a:pt x="1075" y="557"/>
                  </a:lnTo>
                  <a:lnTo>
                    <a:pt x="1075" y="558"/>
                  </a:lnTo>
                  <a:close/>
                  <a:moveTo>
                    <a:pt x="1220" y="555"/>
                  </a:moveTo>
                  <a:lnTo>
                    <a:pt x="1220" y="557"/>
                  </a:lnTo>
                  <a:lnTo>
                    <a:pt x="1220" y="555"/>
                  </a:lnTo>
                  <a:lnTo>
                    <a:pt x="1219" y="555"/>
                  </a:lnTo>
                  <a:lnTo>
                    <a:pt x="1220" y="555"/>
                  </a:lnTo>
                  <a:close/>
                  <a:moveTo>
                    <a:pt x="1188" y="555"/>
                  </a:moveTo>
                  <a:lnTo>
                    <a:pt x="1189" y="555"/>
                  </a:lnTo>
                  <a:lnTo>
                    <a:pt x="1188" y="557"/>
                  </a:lnTo>
                  <a:lnTo>
                    <a:pt x="1188" y="555"/>
                  </a:lnTo>
                  <a:close/>
                  <a:moveTo>
                    <a:pt x="1194" y="555"/>
                  </a:moveTo>
                  <a:lnTo>
                    <a:pt x="1193" y="555"/>
                  </a:lnTo>
                  <a:lnTo>
                    <a:pt x="1194" y="555"/>
                  </a:lnTo>
                  <a:close/>
                  <a:moveTo>
                    <a:pt x="1194" y="555"/>
                  </a:moveTo>
                  <a:lnTo>
                    <a:pt x="1196" y="555"/>
                  </a:lnTo>
                  <a:lnTo>
                    <a:pt x="1194" y="555"/>
                  </a:lnTo>
                  <a:close/>
                  <a:moveTo>
                    <a:pt x="1196" y="555"/>
                  </a:moveTo>
                  <a:lnTo>
                    <a:pt x="1196" y="553"/>
                  </a:lnTo>
                  <a:lnTo>
                    <a:pt x="1196" y="555"/>
                  </a:lnTo>
                  <a:close/>
                  <a:moveTo>
                    <a:pt x="1194" y="553"/>
                  </a:moveTo>
                  <a:lnTo>
                    <a:pt x="1196" y="553"/>
                  </a:lnTo>
                  <a:lnTo>
                    <a:pt x="1194" y="553"/>
                  </a:lnTo>
                  <a:close/>
                  <a:moveTo>
                    <a:pt x="1189" y="555"/>
                  </a:moveTo>
                  <a:lnTo>
                    <a:pt x="1189" y="553"/>
                  </a:lnTo>
                  <a:lnTo>
                    <a:pt x="1189" y="555"/>
                  </a:lnTo>
                  <a:close/>
                  <a:moveTo>
                    <a:pt x="1196" y="553"/>
                  </a:moveTo>
                  <a:lnTo>
                    <a:pt x="1196" y="555"/>
                  </a:lnTo>
                  <a:lnTo>
                    <a:pt x="1196" y="553"/>
                  </a:lnTo>
                  <a:close/>
                  <a:moveTo>
                    <a:pt x="1194" y="553"/>
                  </a:moveTo>
                  <a:lnTo>
                    <a:pt x="1196" y="553"/>
                  </a:lnTo>
                  <a:lnTo>
                    <a:pt x="1194" y="553"/>
                  </a:lnTo>
                  <a:close/>
                  <a:moveTo>
                    <a:pt x="1194" y="553"/>
                  </a:moveTo>
                  <a:lnTo>
                    <a:pt x="1193" y="553"/>
                  </a:lnTo>
                  <a:lnTo>
                    <a:pt x="1194" y="555"/>
                  </a:lnTo>
                  <a:lnTo>
                    <a:pt x="1193" y="555"/>
                  </a:lnTo>
                  <a:lnTo>
                    <a:pt x="1193" y="553"/>
                  </a:lnTo>
                  <a:lnTo>
                    <a:pt x="1194" y="553"/>
                  </a:lnTo>
                  <a:close/>
                  <a:moveTo>
                    <a:pt x="1197" y="553"/>
                  </a:moveTo>
                  <a:lnTo>
                    <a:pt x="1199" y="553"/>
                  </a:lnTo>
                  <a:lnTo>
                    <a:pt x="1197" y="553"/>
                  </a:lnTo>
                  <a:close/>
                  <a:moveTo>
                    <a:pt x="1199" y="553"/>
                  </a:moveTo>
                  <a:lnTo>
                    <a:pt x="1201" y="553"/>
                  </a:lnTo>
                  <a:lnTo>
                    <a:pt x="1199" y="553"/>
                  </a:lnTo>
                  <a:close/>
                  <a:moveTo>
                    <a:pt x="1193" y="553"/>
                  </a:moveTo>
                  <a:lnTo>
                    <a:pt x="1193" y="552"/>
                  </a:lnTo>
                  <a:lnTo>
                    <a:pt x="1193" y="553"/>
                  </a:lnTo>
                  <a:close/>
                  <a:moveTo>
                    <a:pt x="1199" y="553"/>
                  </a:moveTo>
                  <a:lnTo>
                    <a:pt x="1199" y="552"/>
                  </a:lnTo>
                  <a:lnTo>
                    <a:pt x="1201" y="552"/>
                  </a:lnTo>
                  <a:lnTo>
                    <a:pt x="1199" y="553"/>
                  </a:lnTo>
                  <a:close/>
                  <a:moveTo>
                    <a:pt x="1176" y="552"/>
                  </a:moveTo>
                  <a:lnTo>
                    <a:pt x="1175" y="552"/>
                  </a:lnTo>
                  <a:lnTo>
                    <a:pt x="1176" y="552"/>
                  </a:lnTo>
                  <a:close/>
                  <a:moveTo>
                    <a:pt x="1176" y="552"/>
                  </a:moveTo>
                  <a:lnTo>
                    <a:pt x="1178" y="552"/>
                  </a:lnTo>
                  <a:lnTo>
                    <a:pt x="1178" y="553"/>
                  </a:lnTo>
                  <a:lnTo>
                    <a:pt x="1176" y="553"/>
                  </a:lnTo>
                  <a:lnTo>
                    <a:pt x="1178" y="555"/>
                  </a:lnTo>
                  <a:lnTo>
                    <a:pt x="1178" y="557"/>
                  </a:lnTo>
                  <a:lnTo>
                    <a:pt x="1180" y="557"/>
                  </a:lnTo>
                  <a:lnTo>
                    <a:pt x="1180" y="558"/>
                  </a:lnTo>
                  <a:lnTo>
                    <a:pt x="1180" y="557"/>
                  </a:lnTo>
                  <a:lnTo>
                    <a:pt x="1180" y="558"/>
                  </a:lnTo>
                  <a:lnTo>
                    <a:pt x="1181" y="558"/>
                  </a:lnTo>
                  <a:lnTo>
                    <a:pt x="1181" y="557"/>
                  </a:lnTo>
                  <a:lnTo>
                    <a:pt x="1183" y="557"/>
                  </a:lnTo>
                  <a:lnTo>
                    <a:pt x="1183" y="558"/>
                  </a:lnTo>
                  <a:lnTo>
                    <a:pt x="1184" y="558"/>
                  </a:lnTo>
                  <a:lnTo>
                    <a:pt x="1186" y="558"/>
                  </a:lnTo>
                  <a:lnTo>
                    <a:pt x="1184" y="558"/>
                  </a:lnTo>
                  <a:lnTo>
                    <a:pt x="1186" y="560"/>
                  </a:lnTo>
                  <a:lnTo>
                    <a:pt x="1184" y="560"/>
                  </a:lnTo>
                  <a:lnTo>
                    <a:pt x="1186" y="560"/>
                  </a:lnTo>
                  <a:lnTo>
                    <a:pt x="1186" y="558"/>
                  </a:lnTo>
                  <a:lnTo>
                    <a:pt x="1186" y="560"/>
                  </a:lnTo>
                  <a:lnTo>
                    <a:pt x="1186" y="561"/>
                  </a:lnTo>
                  <a:lnTo>
                    <a:pt x="1186" y="560"/>
                  </a:lnTo>
                  <a:lnTo>
                    <a:pt x="1188" y="560"/>
                  </a:lnTo>
                  <a:lnTo>
                    <a:pt x="1189" y="560"/>
                  </a:lnTo>
                  <a:lnTo>
                    <a:pt x="1189" y="558"/>
                  </a:lnTo>
                  <a:lnTo>
                    <a:pt x="1188" y="560"/>
                  </a:lnTo>
                  <a:lnTo>
                    <a:pt x="1188" y="558"/>
                  </a:lnTo>
                  <a:lnTo>
                    <a:pt x="1188" y="560"/>
                  </a:lnTo>
                  <a:lnTo>
                    <a:pt x="1188" y="558"/>
                  </a:lnTo>
                  <a:lnTo>
                    <a:pt x="1189" y="558"/>
                  </a:lnTo>
                  <a:lnTo>
                    <a:pt x="1189" y="560"/>
                  </a:lnTo>
                  <a:lnTo>
                    <a:pt x="1189" y="561"/>
                  </a:lnTo>
                  <a:lnTo>
                    <a:pt x="1188" y="561"/>
                  </a:lnTo>
                  <a:lnTo>
                    <a:pt x="1188" y="563"/>
                  </a:lnTo>
                  <a:lnTo>
                    <a:pt x="1186" y="563"/>
                  </a:lnTo>
                  <a:lnTo>
                    <a:pt x="1186" y="561"/>
                  </a:lnTo>
                  <a:lnTo>
                    <a:pt x="1186" y="563"/>
                  </a:lnTo>
                  <a:lnTo>
                    <a:pt x="1184" y="563"/>
                  </a:lnTo>
                  <a:lnTo>
                    <a:pt x="1183" y="563"/>
                  </a:lnTo>
                  <a:lnTo>
                    <a:pt x="1181" y="563"/>
                  </a:lnTo>
                  <a:lnTo>
                    <a:pt x="1181" y="565"/>
                  </a:lnTo>
                  <a:lnTo>
                    <a:pt x="1180" y="565"/>
                  </a:lnTo>
                  <a:lnTo>
                    <a:pt x="1180" y="563"/>
                  </a:lnTo>
                  <a:lnTo>
                    <a:pt x="1178" y="563"/>
                  </a:lnTo>
                  <a:lnTo>
                    <a:pt x="1176" y="563"/>
                  </a:lnTo>
                  <a:lnTo>
                    <a:pt x="1175" y="563"/>
                  </a:lnTo>
                  <a:lnTo>
                    <a:pt x="1176" y="563"/>
                  </a:lnTo>
                  <a:lnTo>
                    <a:pt x="1175" y="563"/>
                  </a:lnTo>
                  <a:lnTo>
                    <a:pt x="1171" y="565"/>
                  </a:lnTo>
                  <a:lnTo>
                    <a:pt x="1171" y="563"/>
                  </a:lnTo>
                  <a:lnTo>
                    <a:pt x="1170" y="565"/>
                  </a:lnTo>
                  <a:lnTo>
                    <a:pt x="1171" y="563"/>
                  </a:lnTo>
                  <a:lnTo>
                    <a:pt x="1170" y="563"/>
                  </a:lnTo>
                  <a:lnTo>
                    <a:pt x="1170" y="565"/>
                  </a:lnTo>
                  <a:lnTo>
                    <a:pt x="1168" y="565"/>
                  </a:lnTo>
                  <a:lnTo>
                    <a:pt x="1170" y="563"/>
                  </a:lnTo>
                  <a:lnTo>
                    <a:pt x="1170" y="561"/>
                  </a:lnTo>
                  <a:lnTo>
                    <a:pt x="1171" y="561"/>
                  </a:lnTo>
                  <a:lnTo>
                    <a:pt x="1170" y="561"/>
                  </a:lnTo>
                  <a:lnTo>
                    <a:pt x="1171" y="561"/>
                  </a:lnTo>
                  <a:lnTo>
                    <a:pt x="1170" y="560"/>
                  </a:lnTo>
                  <a:lnTo>
                    <a:pt x="1170" y="558"/>
                  </a:lnTo>
                  <a:lnTo>
                    <a:pt x="1171" y="558"/>
                  </a:lnTo>
                  <a:lnTo>
                    <a:pt x="1171" y="557"/>
                  </a:lnTo>
                  <a:lnTo>
                    <a:pt x="1170" y="557"/>
                  </a:lnTo>
                  <a:lnTo>
                    <a:pt x="1171" y="557"/>
                  </a:lnTo>
                  <a:lnTo>
                    <a:pt x="1171" y="555"/>
                  </a:lnTo>
                  <a:lnTo>
                    <a:pt x="1171" y="557"/>
                  </a:lnTo>
                  <a:lnTo>
                    <a:pt x="1173" y="555"/>
                  </a:lnTo>
                  <a:lnTo>
                    <a:pt x="1173" y="557"/>
                  </a:lnTo>
                  <a:lnTo>
                    <a:pt x="1173" y="555"/>
                  </a:lnTo>
                  <a:lnTo>
                    <a:pt x="1175" y="557"/>
                  </a:lnTo>
                  <a:lnTo>
                    <a:pt x="1176" y="555"/>
                  </a:lnTo>
                  <a:lnTo>
                    <a:pt x="1175" y="555"/>
                  </a:lnTo>
                  <a:lnTo>
                    <a:pt x="1175" y="553"/>
                  </a:lnTo>
                  <a:lnTo>
                    <a:pt x="1176" y="553"/>
                  </a:lnTo>
                  <a:lnTo>
                    <a:pt x="1176" y="552"/>
                  </a:lnTo>
                  <a:close/>
                  <a:moveTo>
                    <a:pt x="1196" y="552"/>
                  </a:moveTo>
                  <a:lnTo>
                    <a:pt x="1197" y="552"/>
                  </a:lnTo>
                  <a:lnTo>
                    <a:pt x="1197" y="550"/>
                  </a:lnTo>
                  <a:lnTo>
                    <a:pt x="1197" y="552"/>
                  </a:lnTo>
                  <a:lnTo>
                    <a:pt x="1197" y="550"/>
                  </a:lnTo>
                  <a:lnTo>
                    <a:pt x="1197" y="552"/>
                  </a:lnTo>
                  <a:lnTo>
                    <a:pt x="1199" y="552"/>
                  </a:lnTo>
                  <a:lnTo>
                    <a:pt x="1199" y="553"/>
                  </a:lnTo>
                  <a:lnTo>
                    <a:pt x="1199" y="552"/>
                  </a:lnTo>
                  <a:lnTo>
                    <a:pt x="1197" y="553"/>
                  </a:lnTo>
                  <a:lnTo>
                    <a:pt x="1196" y="553"/>
                  </a:lnTo>
                  <a:lnTo>
                    <a:pt x="1196" y="552"/>
                  </a:lnTo>
                  <a:close/>
                  <a:moveTo>
                    <a:pt x="1176" y="552"/>
                  </a:moveTo>
                  <a:lnTo>
                    <a:pt x="1176" y="550"/>
                  </a:lnTo>
                  <a:lnTo>
                    <a:pt x="1176" y="552"/>
                  </a:lnTo>
                  <a:close/>
                  <a:moveTo>
                    <a:pt x="1176" y="550"/>
                  </a:moveTo>
                  <a:lnTo>
                    <a:pt x="1176" y="552"/>
                  </a:lnTo>
                  <a:lnTo>
                    <a:pt x="1176" y="550"/>
                  </a:lnTo>
                  <a:close/>
                  <a:moveTo>
                    <a:pt x="1194" y="552"/>
                  </a:moveTo>
                  <a:lnTo>
                    <a:pt x="1196" y="552"/>
                  </a:lnTo>
                  <a:lnTo>
                    <a:pt x="1196" y="550"/>
                  </a:lnTo>
                  <a:lnTo>
                    <a:pt x="1196" y="552"/>
                  </a:lnTo>
                  <a:lnTo>
                    <a:pt x="1194" y="552"/>
                  </a:lnTo>
                  <a:close/>
                  <a:moveTo>
                    <a:pt x="1197" y="550"/>
                  </a:moveTo>
                  <a:lnTo>
                    <a:pt x="1199" y="550"/>
                  </a:lnTo>
                  <a:lnTo>
                    <a:pt x="1199" y="552"/>
                  </a:lnTo>
                  <a:lnTo>
                    <a:pt x="1197" y="552"/>
                  </a:lnTo>
                  <a:lnTo>
                    <a:pt x="1197" y="550"/>
                  </a:lnTo>
                  <a:close/>
                  <a:moveTo>
                    <a:pt x="1178" y="550"/>
                  </a:moveTo>
                  <a:lnTo>
                    <a:pt x="1176" y="550"/>
                  </a:lnTo>
                  <a:lnTo>
                    <a:pt x="1178" y="550"/>
                  </a:lnTo>
                  <a:close/>
                  <a:moveTo>
                    <a:pt x="1178" y="550"/>
                  </a:moveTo>
                  <a:lnTo>
                    <a:pt x="1176" y="550"/>
                  </a:lnTo>
                  <a:lnTo>
                    <a:pt x="1178" y="550"/>
                  </a:lnTo>
                  <a:close/>
                  <a:moveTo>
                    <a:pt x="1209" y="550"/>
                  </a:moveTo>
                  <a:lnTo>
                    <a:pt x="1210" y="550"/>
                  </a:lnTo>
                  <a:lnTo>
                    <a:pt x="1209" y="550"/>
                  </a:lnTo>
                  <a:close/>
                  <a:moveTo>
                    <a:pt x="1176" y="550"/>
                  </a:moveTo>
                  <a:lnTo>
                    <a:pt x="1175" y="550"/>
                  </a:lnTo>
                  <a:lnTo>
                    <a:pt x="1176" y="550"/>
                  </a:lnTo>
                  <a:close/>
                  <a:moveTo>
                    <a:pt x="1092" y="550"/>
                  </a:moveTo>
                  <a:lnTo>
                    <a:pt x="1092" y="548"/>
                  </a:lnTo>
                  <a:lnTo>
                    <a:pt x="1092" y="550"/>
                  </a:lnTo>
                  <a:close/>
                  <a:moveTo>
                    <a:pt x="1196" y="550"/>
                  </a:moveTo>
                  <a:lnTo>
                    <a:pt x="1196" y="548"/>
                  </a:lnTo>
                  <a:lnTo>
                    <a:pt x="1197" y="550"/>
                  </a:lnTo>
                  <a:lnTo>
                    <a:pt x="1196" y="550"/>
                  </a:lnTo>
                  <a:close/>
                  <a:moveTo>
                    <a:pt x="1088" y="548"/>
                  </a:moveTo>
                  <a:lnTo>
                    <a:pt x="1090" y="548"/>
                  </a:lnTo>
                  <a:lnTo>
                    <a:pt x="1088" y="548"/>
                  </a:lnTo>
                  <a:close/>
                  <a:moveTo>
                    <a:pt x="1214" y="548"/>
                  </a:moveTo>
                  <a:lnTo>
                    <a:pt x="1212" y="548"/>
                  </a:lnTo>
                  <a:lnTo>
                    <a:pt x="1214" y="548"/>
                  </a:lnTo>
                  <a:close/>
                  <a:moveTo>
                    <a:pt x="1197" y="548"/>
                  </a:moveTo>
                  <a:lnTo>
                    <a:pt x="1197" y="547"/>
                  </a:lnTo>
                  <a:lnTo>
                    <a:pt x="1197" y="548"/>
                  </a:lnTo>
                  <a:close/>
                  <a:moveTo>
                    <a:pt x="1088" y="547"/>
                  </a:moveTo>
                  <a:lnTo>
                    <a:pt x="1087" y="547"/>
                  </a:lnTo>
                  <a:lnTo>
                    <a:pt x="1088" y="547"/>
                  </a:lnTo>
                  <a:lnTo>
                    <a:pt x="1087" y="547"/>
                  </a:lnTo>
                  <a:lnTo>
                    <a:pt x="1088" y="547"/>
                  </a:lnTo>
                  <a:close/>
                  <a:moveTo>
                    <a:pt x="1072" y="547"/>
                  </a:moveTo>
                  <a:lnTo>
                    <a:pt x="1074" y="547"/>
                  </a:lnTo>
                  <a:lnTo>
                    <a:pt x="1072" y="547"/>
                  </a:lnTo>
                  <a:lnTo>
                    <a:pt x="1074" y="547"/>
                  </a:lnTo>
                  <a:lnTo>
                    <a:pt x="1072" y="547"/>
                  </a:lnTo>
                  <a:close/>
                  <a:moveTo>
                    <a:pt x="1201" y="547"/>
                  </a:moveTo>
                  <a:lnTo>
                    <a:pt x="1201" y="545"/>
                  </a:lnTo>
                  <a:lnTo>
                    <a:pt x="1202" y="545"/>
                  </a:lnTo>
                  <a:lnTo>
                    <a:pt x="1201" y="547"/>
                  </a:lnTo>
                  <a:close/>
                  <a:moveTo>
                    <a:pt x="1097" y="545"/>
                  </a:moveTo>
                  <a:lnTo>
                    <a:pt x="1097" y="547"/>
                  </a:lnTo>
                  <a:lnTo>
                    <a:pt x="1097" y="545"/>
                  </a:lnTo>
                  <a:lnTo>
                    <a:pt x="1097" y="547"/>
                  </a:lnTo>
                  <a:lnTo>
                    <a:pt x="1097" y="545"/>
                  </a:lnTo>
                  <a:close/>
                  <a:moveTo>
                    <a:pt x="1095" y="545"/>
                  </a:moveTo>
                  <a:lnTo>
                    <a:pt x="1097" y="545"/>
                  </a:lnTo>
                  <a:lnTo>
                    <a:pt x="1095" y="545"/>
                  </a:lnTo>
                  <a:close/>
                  <a:moveTo>
                    <a:pt x="1197" y="545"/>
                  </a:moveTo>
                  <a:lnTo>
                    <a:pt x="1197" y="547"/>
                  </a:lnTo>
                  <a:lnTo>
                    <a:pt x="1197" y="545"/>
                  </a:lnTo>
                  <a:close/>
                  <a:moveTo>
                    <a:pt x="1097" y="547"/>
                  </a:moveTo>
                  <a:lnTo>
                    <a:pt x="1097" y="545"/>
                  </a:lnTo>
                  <a:lnTo>
                    <a:pt x="1097" y="547"/>
                  </a:lnTo>
                  <a:close/>
                  <a:moveTo>
                    <a:pt x="1097" y="545"/>
                  </a:moveTo>
                  <a:lnTo>
                    <a:pt x="1098" y="545"/>
                  </a:lnTo>
                  <a:lnTo>
                    <a:pt x="1097" y="545"/>
                  </a:lnTo>
                  <a:close/>
                  <a:moveTo>
                    <a:pt x="1098" y="545"/>
                  </a:moveTo>
                  <a:lnTo>
                    <a:pt x="1098" y="547"/>
                  </a:lnTo>
                  <a:lnTo>
                    <a:pt x="1098" y="545"/>
                  </a:lnTo>
                  <a:close/>
                  <a:moveTo>
                    <a:pt x="1072" y="545"/>
                  </a:moveTo>
                  <a:lnTo>
                    <a:pt x="1074" y="545"/>
                  </a:lnTo>
                  <a:lnTo>
                    <a:pt x="1074" y="547"/>
                  </a:lnTo>
                  <a:lnTo>
                    <a:pt x="1074" y="545"/>
                  </a:lnTo>
                  <a:lnTo>
                    <a:pt x="1072" y="545"/>
                  </a:lnTo>
                  <a:lnTo>
                    <a:pt x="1072" y="547"/>
                  </a:lnTo>
                  <a:lnTo>
                    <a:pt x="1072" y="545"/>
                  </a:lnTo>
                  <a:close/>
                  <a:moveTo>
                    <a:pt x="1100" y="545"/>
                  </a:moveTo>
                  <a:lnTo>
                    <a:pt x="1098" y="545"/>
                  </a:lnTo>
                  <a:lnTo>
                    <a:pt x="1100" y="545"/>
                  </a:lnTo>
                  <a:close/>
                  <a:moveTo>
                    <a:pt x="1097" y="545"/>
                  </a:moveTo>
                  <a:lnTo>
                    <a:pt x="1098" y="545"/>
                  </a:lnTo>
                  <a:lnTo>
                    <a:pt x="1097" y="545"/>
                  </a:lnTo>
                  <a:close/>
                  <a:moveTo>
                    <a:pt x="1183" y="545"/>
                  </a:moveTo>
                  <a:lnTo>
                    <a:pt x="1184" y="545"/>
                  </a:lnTo>
                  <a:lnTo>
                    <a:pt x="1184" y="547"/>
                  </a:lnTo>
                  <a:lnTo>
                    <a:pt x="1184" y="548"/>
                  </a:lnTo>
                  <a:lnTo>
                    <a:pt x="1186" y="550"/>
                  </a:lnTo>
                  <a:lnTo>
                    <a:pt x="1186" y="552"/>
                  </a:lnTo>
                  <a:lnTo>
                    <a:pt x="1188" y="552"/>
                  </a:lnTo>
                  <a:lnTo>
                    <a:pt x="1188" y="553"/>
                  </a:lnTo>
                  <a:lnTo>
                    <a:pt x="1188" y="555"/>
                  </a:lnTo>
                  <a:lnTo>
                    <a:pt x="1186" y="555"/>
                  </a:lnTo>
                  <a:lnTo>
                    <a:pt x="1184" y="555"/>
                  </a:lnTo>
                  <a:lnTo>
                    <a:pt x="1183" y="555"/>
                  </a:lnTo>
                  <a:lnTo>
                    <a:pt x="1181" y="555"/>
                  </a:lnTo>
                  <a:lnTo>
                    <a:pt x="1181" y="553"/>
                  </a:lnTo>
                  <a:lnTo>
                    <a:pt x="1181" y="552"/>
                  </a:lnTo>
                  <a:lnTo>
                    <a:pt x="1180" y="552"/>
                  </a:lnTo>
                  <a:lnTo>
                    <a:pt x="1181" y="552"/>
                  </a:lnTo>
                  <a:lnTo>
                    <a:pt x="1181" y="550"/>
                  </a:lnTo>
                  <a:lnTo>
                    <a:pt x="1181" y="548"/>
                  </a:lnTo>
                  <a:lnTo>
                    <a:pt x="1183" y="548"/>
                  </a:lnTo>
                  <a:lnTo>
                    <a:pt x="1183" y="547"/>
                  </a:lnTo>
                  <a:lnTo>
                    <a:pt x="1183" y="545"/>
                  </a:lnTo>
                  <a:lnTo>
                    <a:pt x="1183" y="547"/>
                  </a:lnTo>
                  <a:lnTo>
                    <a:pt x="1183" y="545"/>
                  </a:lnTo>
                  <a:close/>
                  <a:moveTo>
                    <a:pt x="1199" y="545"/>
                  </a:moveTo>
                  <a:lnTo>
                    <a:pt x="1197" y="545"/>
                  </a:lnTo>
                  <a:lnTo>
                    <a:pt x="1199" y="545"/>
                  </a:lnTo>
                  <a:close/>
                  <a:moveTo>
                    <a:pt x="1093" y="545"/>
                  </a:moveTo>
                  <a:lnTo>
                    <a:pt x="1093" y="544"/>
                  </a:lnTo>
                  <a:lnTo>
                    <a:pt x="1093" y="545"/>
                  </a:lnTo>
                  <a:lnTo>
                    <a:pt x="1095" y="545"/>
                  </a:lnTo>
                  <a:lnTo>
                    <a:pt x="1093" y="545"/>
                  </a:lnTo>
                  <a:close/>
                  <a:moveTo>
                    <a:pt x="1097" y="544"/>
                  </a:moveTo>
                  <a:lnTo>
                    <a:pt x="1097" y="545"/>
                  </a:lnTo>
                  <a:lnTo>
                    <a:pt x="1097" y="544"/>
                  </a:lnTo>
                  <a:close/>
                  <a:moveTo>
                    <a:pt x="1206" y="545"/>
                  </a:moveTo>
                  <a:lnTo>
                    <a:pt x="1207" y="545"/>
                  </a:lnTo>
                  <a:lnTo>
                    <a:pt x="1209" y="544"/>
                  </a:lnTo>
                  <a:lnTo>
                    <a:pt x="1210" y="545"/>
                  </a:lnTo>
                  <a:lnTo>
                    <a:pt x="1212" y="545"/>
                  </a:lnTo>
                  <a:lnTo>
                    <a:pt x="1214" y="544"/>
                  </a:lnTo>
                  <a:lnTo>
                    <a:pt x="1215" y="545"/>
                  </a:lnTo>
                  <a:lnTo>
                    <a:pt x="1215" y="544"/>
                  </a:lnTo>
                  <a:lnTo>
                    <a:pt x="1217" y="544"/>
                  </a:lnTo>
                  <a:lnTo>
                    <a:pt x="1219" y="544"/>
                  </a:lnTo>
                  <a:lnTo>
                    <a:pt x="1219" y="545"/>
                  </a:lnTo>
                  <a:lnTo>
                    <a:pt x="1219" y="544"/>
                  </a:lnTo>
                  <a:lnTo>
                    <a:pt x="1220" y="545"/>
                  </a:lnTo>
                  <a:lnTo>
                    <a:pt x="1222" y="545"/>
                  </a:lnTo>
                  <a:lnTo>
                    <a:pt x="1222" y="547"/>
                  </a:lnTo>
                  <a:lnTo>
                    <a:pt x="1222" y="548"/>
                  </a:lnTo>
                  <a:lnTo>
                    <a:pt x="1223" y="548"/>
                  </a:lnTo>
                  <a:lnTo>
                    <a:pt x="1222" y="548"/>
                  </a:lnTo>
                  <a:lnTo>
                    <a:pt x="1222" y="550"/>
                  </a:lnTo>
                  <a:lnTo>
                    <a:pt x="1222" y="548"/>
                  </a:lnTo>
                  <a:lnTo>
                    <a:pt x="1222" y="550"/>
                  </a:lnTo>
                  <a:lnTo>
                    <a:pt x="1220" y="550"/>
                  </a:lnTo>
                  <a:lnTo>
                    <a:pt x="1220" y="552"/>
                  </a:lnTo>
                  <a:lnTo>
                    <a:pt x="1219" y="552"/>
                  </a:lnTo>
                  <a:lnTo>
                    <a:pt x="1217" y="552"/>
                  </a:lnTo>
                  <a:lnTo>
                    <a:pt x="1217" y="550"/>
                  </a:lnTo>
                  <a:lnTo>
                    <a:pt x="1215" y="550"/>
                  </a:lnTo>
                  <a:lnTo>
                    <a:pt x="1214" y="550"/>
                  </a:lnTo>
                  <a:lnTo>
                    <a:pt x="1214" y="548"/>
                  </a:lnTo>
                  <a:lnTo>
                    <a:pt x="1212" y="548"/>
                  </a:lnTo>
                  <a:lnTo>
                    <a:pt x="1214" y="548"/>
                  </a:lnTo>
                  <a:lnTo>
                    <a:pt x="1212" y="548"/>
                  </a:lnTo>
                  <a:lnTo>
                    <a:pt x="1212" y="547"/>
                  </a:lnTo>
                  <a:lnTo>
                    <a:pt x="1210" y="547"/>
                  </a:lnTo>
                  <a:lnTo>
                    <a:pt x="1209" y="547"/>
                  </a:lnTo>
                  <a:lnTo>
                    <a:pt x="1209" y="548"/>
                  </a:lnTo>
                  <a:lnTo>
                    <a:pt x="1210" y="548"/>
                  </a:lnTo>
                  <a:lnTo>
                    <a:pt x="1212" y="548"/>
                  </a:lnTo>
                  <a:lnTo>
                    <a:pt x="1210" y="548"/>
                  </a:lnTo>
                  <a:lnTo>
                    <a:pt x="1210" y="550"/>
                  </a:lnTo>
                  <a:lnTo>
                    <a:pt x="1210" y="548"/>
                  </a:lnTo>
                  <a:lnTo>
                    <a:pt x="1209" y="548"/>
                  </a:lnTo>
                  <a:lnTo>
                    <a:pt x="1209" y="550"/>
                  </a:lnTo>
                  <a:lnTo>
                    <a:pt x="1207" y="550"/>
                  </a:lnTo>
                  <a:lnTo>
                    <a:pt x="1206" y="550"/>
                  </a:lnTo>
                  <a:lnTo>
                    <a:pt x="1206" y="552"/>
                  </a:lnTo>
                  <a:lnTo>
                    <a:pt x="1204" y="552"/>
                  </a:lnTo>
                  <a:lnTo>
                    <a:pt x="1202" y="552"/>
                  </a:lnTo>
                  <a:lnTo>
                    <a:pt x="1202" y="550"/>
                  </a:lnTo>
                  <a:lnTo>
                    <a:pt x="1201" y="550"/>
                  </a:lnTo>
                  <a:lnTo>
                    <a:pt x="1201" y="552"/>
                  </a:lnTo>
                  <a:lnTo>
                    <a:pt x="1201" y="550"/>
                  </a:lnTo>
                  <a:lnTo>
                    <a:pt x="1201" y="552"/>
                  </a:lnTo>
                  <a:lnTo>
                    <a:pt x="1199" y="552"/>
                  </a:lnTo>
                  <a:lnTo>
                    <a:pt x="1199" y="550"/>
                  </a:lnTo>
                  <a:lnTo>
                    <a:pt x="1197" y="550"/>
                  </a:lnTo>
                  <a:lnTo>
                    <a:pt x="1197" y="548"/>
                  </a:lnTo>
                  <a:lnTo>
                    <a:pt x="1196" y="548"/>
                  </a:lnTo>
                  <a:lnTo>
                    <a:pt x="1197" y="548"/>
                  </a:lnTo>
                  <a:lnTo>
                    <a:pt x="1199" y="548"/>
                  </a:lnTo>
                  <a:lnTo>
                    <a:pt x="1199" y="547"/>
                  </a:lnTo>
                  <a:lnTo>
                    <a:pt x="1201" y="547"/>
                  </a:lnTo>
                  <a:lnTo>
                    <a:pt x="1202" y="547"/>
                  </a:lnTo>
                  <a:lnTo>
                    <a:pt x="1202" y="545"/>
                  </a:lnTo>
                  <a:lnTo>
                    <a:pt x="1204" y="545"/>
                  </a:lnTo>
                  <a:lnTo>
                    <a:pt x="1206" y="545"/>
                  </a:lnTo>
                  <a:close/>
                  <a:moveTo>
                    <a:pt x="1201" y="544"/>
                  </a:moveTo>
                  <a:lnTo>
                    <a:pt x="1202" y="544"/>
                  </a:lnTo>
                  <a:lnTo>
                    <a:pt x="1201" y="544"/>
                  </a:lnTo>
                  <a:close/>
                  <a:moveTo>
                    <a:pt x="1201" y="544"/>
                  </a:moveTo>
                  <a:lnTo>
                    <a:pt x="1201" y="542"/>
                  </a:lnTo>
                  <a:lnTo>
                    <a:pt x="1202" y="542"/>
                  </a:lnTo>
                  <a:lnTo>
                    <a:pt x="1201" y="544"/>
                  </a:lnTo>
                  <a:close/>
                  <a:moveTo>
                    <a:pt x="1197" y="542"/>
                  </a:moveTo>
                  <a:lnTo>
                    <a:pt x="1199" y="542"/>
                  </a:lnTo>
                  <a:lnTo>
                    <a:pt x="1197" y="542"/>
                  </a:lnTo>
                  <a:close/>
                  <a:moveTo>
                    <a:pt x="1071" y="544"/>
                  </a:moveTo>
                  <a:lnTo>
                    <a:pt x="1071" y="542"/>
                  </a:lnTo>
                  <a:lnTo>
                    <a:pt x="1071" y="544"/>
                  </a:lnTo>
                  <a:close/>
                  <a:moveTo>
                    <a:pt x="1074" y="542"/>
                  </a:moveTo>
                  <a:lnTo>
                    <a:pt x="1075" y="542"/>
                  </a:lnTo>
                  <a:lnTo>
                    <a:pt x="1074" y="542"/>
                  </a:lnTo>
                  <a:close/>
                  <a:moveTo>
                    <a:pt x="1202" y="542"/>
                  </a:moveTo>
                  <a:lnTo>
                    <a:pt x="1201" y="542"/>
                  </a:lnTo>
                  <a:lnTo>
                    <a:pt x="1202" y="542"/>
                  </a:lnTo>
                  <a:close/>
                  <a:moveTo>
                    <a:pt x="1071" y="542"/>
                  </a:moveTo>
                  <a:lnTo>
                    <a:pt x="1069" y="544"/>
                  </a:lnTo>
                  <a:lnTo>
                    <a:pt x="1071" y="544"/>
                  </a:lnTo>
                  <a:lnTo>
                    <a:pt x="1072" y="544"/>
                  </a:lnTo>
                  <a:lnTo>
                    <a:pt x="1072" y="545"/>
                  </a:lnTo>
                  <a:lnTo>
                    <a:pt x="1072" y="547"/>
                  </a:lnTo>
                  <a:lnTo>
                    <a:pt x="1071" y="547"/>
                  </a:lnTo>
                  <a:lnTo>
                    <a:pt x="1071" y="548"/>
                  </a:lnTo>
                  <a:lnTo>
                    <a:pt x="1069" y="548"/>
                  </a:lnTo>
                  <a:lnTo>
                    <a:pt x="1069" y="550"/>
                  </a:lnTo>
                  <a:lnTo>
                    <a:pt x="1071" y="550"/>
                  </a:lnTo>
                  <a:lnTo>
                    <a:pt x="1071" y="548"/>
                  </a:lnTo>
                  <a:lnTo>
                    <a:pt x="1072" y="548"/>
                  </a:lnTo>
                  <a:lnTo>
                    <a:pt x="1071" y="550"/>
                  </a:lnTo>
                  <a:lnTo>
                    <a:pt x="1069" y="552"/>
                  </a:lnTo>
                  <a:lnTo>
                    <a:pt x="1067" y="552"/>
                  </a:lnTo>
                  <a:lnTo>
                    <a:pt x="1067" y="553"/>
                  </a:lnTo>
                  <a:lnTo>
                    <a:pt x="1066" y="553"/>
                  </a:lnTo>
                  <a:lnTo>
                    <a:pt x="1067" y="553"/>
                  </a:lnTo>
                  <a:lnTo>
                    <a:pt x="1067" y="555"/>
                  </a:lnTo>
                  <a:lnTo>
                    <a:pt x="1069" y="553"/>
                  </a:lnTo>
                  <a:lnTo>
                    <a:pt x="1071" y="552"/>
                  </a:lnTo>
                  <a:lnTo>
                    <a:pt x="1072" y="552"/>
                  </a:lnTo>
                  <a:lnTo>
                    <a:pt x="1072" y="553"/>
                  </a:lnTo>
                  <a:lnTo>
                    <a:pt x="1072" y="555"/>
                  </a:lnTo>
                  <a:lnTo>
                    <a:pt x="1072" y="557"/>
                  </a:lnTo>
                  <a:lnTo>
                    <a:pt x="1072" y="558"/>
                  </a:lnTo>
                  <a:lnTo>
                    <a:pt x="1074" y="558"/>
                  </a:lnTo>
                  <a:lnTo>
                    <a:pt x="1072" y="558"/>
                  </a:lnTo>
                  <a:lnTo>
                    <a:pt x="1072" y="560"/>
                  </a:lnTo>
                  <a:lnTo>
                    <a:pt x="1074" y="561"/>
                  </a:lnTo>
                  <a:lnTo>
                    <a:pt x="1072" y="561"/>
                  </a:lnTo>
                  <a:lnTo>
                    <a:pt x="1072" y="563"/>
                  </a:lnTo>
                  <a:lnTo>
                    <a:pt x="1071" y="563"/>
                  </a:lnTo>
                  <a:lnTo>
                    <a:pt x="1071" y="565"/>
                  </a:lnTo>
                  <a:lnTo>
                    <a:pt x="1071" y="566"/>
                  </a:lnTo>
                  <a:lnTo>
                    <a:pt x="1071" y="565"/>
                  </a:lnTo>
                  <a:lnTo>
                    <a:pt x="1069" y="563"/>
                  </a:lnTo>
                  <a:lnTo>
                    <a:pt x="1069" y="565"/>
                  </a:lnTo>
                  <a:lnTo>
                    <a:pt x="1067" y="565"/>
                  </a:lnTo>
                  <a:lnTo>
                    <a:pt x="1066" y="563"/>
                  </a:lnTo>
                  <a:lnTo>
                    <a:pt x="1066" y="561"/>
                  </a:lnTo>
                  <a:lnTo>
                    <a:pt x="1066" y="560"/>
                  </a:lnTo>
                  <a:lnTo>
                    <a:pt x="1064" y="560"/>
                  </a:lnTo>
                  <a:lnTo>
                    <a:pt x="1064" y="558"/>
                  </a:lnTo>
                  <a:lnTo>
                    <a:pt x="1064" y="560"/>
                  </a:lnTo>
                  <a:lnTo>
                    <a:pt x="1064" y="561"/>
                  </a:lnTo>
                  <a:lnTo>
                    <a:pt x="1064" y="565"/>
                  </a:lnTo>
                  <a:lnTo>
                    <a:pt x="1064" y="563"/>
                  </a:lnTo>
                  <a:lnTo>
                    <a:pt x="1062" y="565"/>
                  </a:lnTo>
                  <a:lnTo>
                    <a:pt x="1062" y="566"/>
                  </a:lnTo>
                  <a:lnTo>
                    <a:pt x="1064" y="565"/>
                  </a:lnTo>
                  <a:lnTo>
                    <a:pt x="1066" y="566"/>
                  </a:lnTo>
                  <a:lnTo>
                    <a:pt x="1066" y="565"/>
                  </a:lnTo>
                  <a:lnTo>
                    <a:pt x="1066" y="566"/>
                  </a:lnTo>
                  <a:lnTo>
                    <a:pt x="1067" y="566"/>
                  </a:lnTo>
                  <a:lnTo>
                    <a:pt x="1067" y="568"/>
                  </a:lnTo>
                  <a:lnTo>
                    <a:pt x="1069" y="568"/>
                  </a:lnTo>
                  <a:lnTo>
                    <a:pt x="1069" y="566"/>
                  </a:lnTo>
                  <a:lnTo>
                    <a:pt x="1069" y="568"/>
                  </a:lnTo>
                  <a:lnTo>
                    <a:pt x="1067" y="570"/>
                  </a:lnTo>
                  <a:lnTo>
                    <a:pt x="1069" y="570"/>
                  </a:lnTo>
                  <a:lnTo>
                    <a:pt x="1067" y="570"/>
                  </a:lnTo>
                  <a:lnTo>
                    <a:pt x="1066" y="570"/>
                  </a:lnTo>
                  <a:lnTo>
                    <a:pt x="1067" y="570"/>
                  </a:lnTo>
                  <a:lnTo>
                    <a:pt x="1067" y="571"/>
                  </a:lnTo>
                  <a:lnTo>
                    <a:pt x="1066" y="573"/>
                  </a:lnTo>
                  <a:lnTo>
                    <a:pt x="1066" y="574"/>
                  </a:lnTo>
                  <a:lnTo>
                    <a:pt x="1066" y="573"/>
                  </a:lnTo>
                  <a:lnTo>
                    <a:pt x="1066" y="574"/>
                  </a:lnTo>
                  <a:lnTo>
                    <a:pt x="1066" y="573"/>
                  </a:lnTo>
                  <a:lnTo>
                    <a:pt x="1066" y="574"/>
                  </a:lnTo>
                  <a:lnTo>
                    <a:pt x="1064" y="574"/>
                  </a:lnTo>
                  <a:lnTo>
                    <a:pt x="1062" y="574"/>
                  </a:lnTo>
                  <a:lnTo>
                    <a:pt x="1062" y="576"/>
                  </a:lnTo>
                  <a:lnTo>
                    <a:pt x="1061" y="576"/>
                  </a:lnTo>
                  <a:lnTo>
                    <a:pt x="1059" y="576"/>
                  </a:lnTo>
                  <a:lnTo>
                    <a:pt x="1061" y="578"/>
                  </a:lnTo>
                  <a:lnTo>
                    <a:pt x="1059" y="578"/>
                  </a:lnTo>
                  <a:lnTo>
                    <a:pt x="1058" y="578"/>
                  </a:lnTo>
                  <a:lnTo>
                    <a:pt x="1059" y="579"/>
                  </a:lnTo>
                  <a:lnTo>
                    <a:pt x="1058" y="579"/>
                  </a:lnTo>
                  <a:lnTo>
                    <a:pt x="1058" y="581"/>
                  </a:lnTo>
                  <a:lnTo>
                    <a:pt x="1058" y="583"/>
                  </a:lnTo>
                  <a:lnTo>
                    <a:pt x="1056" y="583"/>
                  </a:lnTo>
                  <a:lnTo>
                    <a:pt x="1054" y="583"/>
                  </a:lnTo>
                  <a:lnTo>
                    <a:pt x="1053" y="583"/>
                  </a:lnTo>
                  <a:lnTo>
                    <a:pt x="1054" y="583"/>
                  </a:lnTo>
                  <a:lnTo>
                    <a:pt x="1053" y="583"/>
                  </a:lnTo>
                  <a:lnTo>
                    <a:pt x="1053" y="581"/>
                  </a:lnTo>
                  <a:lnTo>
                    <a:pt x="1054" y="581"/>
                  </a:lnTo>
                  <a:lnTo>
                    <a:pt x="1054" y="579"/>
                  </a:lnTo>
                  <a:lnTo>
                    <a:pt x="1056" y="579"/>
                  </a:lnTo>
                  <a:lnTo>
                    <a:pt x="1054" y="579"/>
                  </a:lnTo>
                  <a:lnTo>
                    <a:pt x="1054" y="578"/>
                  </a:lnTo>
                  <a:lnTo>
                    <a:pt x="1056" y="579"/>
                  </a:lnTo>
                  <a:lnTo>
                    <a:pt x="1056" y="578"/>
                  </a:lnTo>
                  <a:lnTo>
                    <a:pt x="1056" y="576"/>
                  </a:lnTo>
                  <a:lnTo>
                    <a:pt x="1056" y="574"/>
                  </a:lnTo>
                  <a:lnTo>
                    <a:pt x="1056" y="573"/>
                  </a:lnTo>
                  <a:lnTo>
                    <a:pt x="1056" y="571"/>
                  </a:lnTo>
                  <a:lnTo>
                    <a:pt x="1058" y="570"/>
                  </a:lnTo>
                  <a:lnTo>
                    <a:pt x="1058" y="568"/>
                  </a:lnTo>
                  <a:lnTo>
                    <a:pt x="1058" y="566"/>
                  </a:lnTo>
                  <a:lnTo>
                    <a:pt x="1059" y="566"/>
                  </a:lnTo>
                  <a:lnTo>
                    <a:pt x="1058" y="566"/>
                  </a:lnTo>
                  <a:lnTo>
                    <a:pt x="1058" y="565"/>
                  </a:lnTo>
                  <a:lnTo>
                    <a:pt x="1059" y="565"/>
                  </a:lnTo>
                  <a:lnTo>
                    <a:pt x="1058" y="565"/>
                  </a:lnTo>
                  <a:lnTo>
                    <a:pt x="1059" y="565"/>
                  </a:lnTo>
                  <a:lnTo>
                    <a:pt x="1058" y="563"/>
                  </a:lnTo>
                  <a:lnTo>
                    <a:pt x="1059" y="561"/>
                  </a:lnTo>
                  <a:lnTo>
                    <a:pt x="1061" y="561"/>
                  </a:lnTo>
                  <a:lnTo>
                    <a:pt x="1061" y="558"/>
                  </a:lnTo>
                  <a:lnTo>
                    <a:pt x="1061" y="557"/>
                  </a:lnTo>
                  <a:lnTo>
                    <a:pt x="1061" y="553"/>
                  </a:lnTo>
                  <a:lnTo>
                    <a:pt x="1062" y="555"/>
                  </a:lnTo>
                  <a:lnTo>
                    <a:pt x="1062" y="553"/>
                  </a:lnTo>
                  <a:lnTo>
                    <a:pt x="1062" y="552"/>
                  </a:lnTo>
                  <a:lnTo>
                    <a:pt x="1064" y="552"/>
                  </a:lnTo>
                  <a:lnTo>
                    <a:pt x="1064" y="550"/>
                  </a:lnTo>
                  <a:lnTo>
                    <a:pt x="1064" y="548"/>
                  </a:lnTo>
                  <a:lnTo>
                    <a:pt x="1066" y="547"/>
                  </a:lnTo>
                  <a:lnTo>
                    <a:pt x="1067" y="547"/>
                  </a:lnTo>
                  <a:lnTo>
                    <a:pt x="1067" y="545"/>
                  </a:lnTo>
                  <a:lnTo>
                    <a:pt x="1066" y="544"/>
                  </a:lnTo>
                  <a:lnTo>
                    <a:pt x="1066" y="542"/>
                  </a:lnTo>
                  <a:lnTo>
                    <a:pt x="1067" y="542"/>
                  </a:lnTo>
                  <a:lnTo>
                    <a:pt x="1069" y="542"/>
                  </a:lnTo>
                  <a:lnTo>
                    <a:pt x="1071" y="542"/>
                  </a:lnTo>
                  <a:close/>
                  <a:moveTo>
                    <a:pt x="1101" y="542"/>
                  </a:moveTo>
                  <a:lnTo>
                    <a:pt x="1103" y="542"/>
                  </a:lnTo>
                  <a:lnTo>
                    <a:pt x="1101" y="542"/>
                  </a:lnTo>
                  <a:close/>
                  <a:moveTo>
                    <a:pt x="1106" y="542"/>
                  </a:moveTo>
                  <a:lnTo>
                    <a:pt x="1106" y="540"/>
                  </a:lnTo>
                  <a:lnTo>
                    <a:pt x="1106" y="542"/>
                  </a:lnTo>
                  <a:close/>
                  <a:moveTo>
                    <a:pt x="1069" y="542"/>
                  </a:moveTo>
                  <a:lnTo>
                    <a:pt x="1069" y="540"/>
                  </a:lnTo>
                  <a:lnTo>
                    <a:pt x="1069" y="542"/>
                  </a:lnTo>
                  <a:close/>
                  <a:moveTo>
                    <a:pt x="1201" y="540"/>
                  </a:moveTo>
                  <a:lnTo>
                    <a:pt x="1202" y="540"/>
                  </a:lnTo>
                  <a:lnTo>
                    <a:pt x="1201" y="542"/>
                  </a:lnTo>
                  <a:lnTo>
                    <a:pt x="1201" y="540"/>
                  </a:lnTo>
                  <a:close/>
                  <a:moveTo>
                    <a:pt x="1105" y="540"/>
                  </a:moveTo>
                  <a:lnTo>
                    <a:pt x="1106" y="540"/>
                  </a:lnTo>
                  <a:lnTo>
                    <a:pt x="1105" y="540"/>
                  </a:lnTo>
                  <a:close/>
                  <a:moveTo>
                    <a:pt x="1188" y="540"/>
                  </a:moveTo>
                  <a:lnTo>
                    <a:pt x="1188" y="539"/>
                  </a:lnTo>
                  <a:lnTo>
                    <a:pt x="1188" y="540"/>
                  </a:lnTo>
                  <a:close/>
                  <a:moveTo>
                    <a:pt x="1097" y="540"/>
                  </a:moveTo>
                  <a:lnTo>
                    <a:pt x="1097" y="539"/>
                  </a:lnTo>
                  <a:lnTo>
                    <a:pt x="1097" y="540"/>
                  </a:lnTo>
                  <a:close/>
                  <a:moveTo>
                    <a:pt x="1106" y="540"/>
                  </a:moveTo>
                  <a:lnTo>
                    <a:pt x="1106" y="539"/>
                  </a:lnTo>
                  <a:lnTo>
                    <a:pt x="1106" y="540"/>
                  </a:lnTo>
                  <a:close/>
                  <a:moveTo>
                    <a:pt x="1235" y="540"/>
                  </a:moveTo>
                  <a:lnTo>
                    <a:pt x="1233" y="540"/>
                  </a:lnTo>
                  <a:lnTo>
                    <a:pt x="1233" y="539"/>
                  </a:lnTo>
                  <a:lnTo>
                    <a:pt x="1235" y="539"/>
                  </a:lnTo>
                  <a:lnTo>
                    <a:pt x="1235" y="540"/>
                  </a:lnTo>
                  <a:close/>
                  <a:moveTo>
                    <a:pt x="1108" y="539"/>
                  </a:moveTo>
                  <a:lnTo>
                    <a:pt x="1110" y="539"/>
                  </a:lnTo>
                  <a:lnTo>
                    <a:pt x="1108" y="539"/>
                  </a:lnTo>
                  <a:close/>
                  <a:moveTo>
                    <a:pt x="1095" y="539"/>
                  </a:moveTo>
                  <a:lnTo>
                    <a:pt x="1097" y="539"/>
                  </a:lnTo>
                  <a:lnTo>
                    <a:pt x="1095" y="540"/>
                  </a:lnTo>
                  <a:lnTo>
                    <a:pt x="1095" y="539"/>
                  </a:lnTo>
                  <a:close/>
                  <a:moveTo>
                    <a:pt x="1103" y="539"/>
                  </a:moveTo>
                  <a:lnTo>
                    <a:pt x="1105" y="539"/>
                  </a:lnTo>
                  <a:lnTo>
                    <a:pt x="1103" y="539"/>
                  </a:lnTo>
                  <a:close/>
                  <a:moveTo>
                    <a:pt x="1108" y="535"/>
                  </a:moveTo>
                  <a:lnTo>
                    <a:pt x="1110" y="537"/>
                  </a:lnTo>
                  <a:lnTo>
                    <a:pt x="1108" y="537"/>
                  </a:lnTo>
                  <a:lnTo>
                    <a:pt x="1108" y="535"/>
                  </a:lnTo>
                  <a:close/>
                  <a:moveTo>
                    <a:pt x="1124" y="535"/>
                  </a:moveTo>
                  <a:lnTo>
                    <a:pt x="1126" y="535"/>
                  </a:lnTo>
                  <a:lnTo>
                    <a:pt x="1124" y="535"/>
                  </a:lnTo>
                  <a:close/>
                  <a:moveTo>
                    <a:pt x="1110" y="535"/>
                  </a:moveTo>
                  <a:lnTo>
                    <a:pt x="1110" y="534"/>
                  </a:lnTo>
                  <a:lnTo>
                    <a:pt x="1111" y="535"/>
                  </a:lnTo>
                  <a:lnTo>
                    <a:pt x="1110" y="535"/>
                  </a:lnTo>
                  <a:close/>
                  <a:moveTo>
                    <a:pt x="1204" y="534"/>
                  </a:moveTo>
                  <a:lnTo>
                    <a:pt x="1206" y="534"/>
                  </a:lnTo>
                  <a:lnTo>
                    <a:pt x="1206" y="535"/>
                  </a:lnTo>
                  <a:lnTo>
                    <a:pt x="1204" y="534"/>
                  </a:lnTo>
                  <a:close/>
                  <a:moveTo>
                    <a:pt x="1128" y="534"/>
                  </a:moveTo>
                  <a:lnTo>
                    <a:pt x="1129" y="534"/>
                  </a:lnTo>
                  <a:lnTo>
                    <a:pt x="1128" y="534"/>
                  </a:lnTo>
                  <a:close/>
                  <a:moveTo>
                    <a:pt x="1128" y="534"/>
                  </a:moveTo>
                  <a:lnTo>
                    <a:pt x="1129" y="534"/>
                  </a:lnTo>
                  <a:lnTo>
                    <a:pt x="1128" y="534"/>
                  </a:lnTo>
                  <a:close/>
                  <a:moveTo>
                    <a:pt x="1079" y="535"/>
                  </a:moveTo>
                  <a:lnTo>
                    <a:pt x="1079" y="534"/>
                  </a:lnTo>
                  <a:lnTo>
                    <a:pt x="1080" y="534"/>
                  </a:lnTo>
                  <a:lnTo>
                    <a:pt x="1084" y="534"/>
                  </a:lnTo>
                  <a:lnTo>
                    <a:pt x="1084" y="535"/>
                  </a:lnTo>
                  <a:lnTo>
                    <a:pt x="1085" y="535"/>
                  </a:lnTo>
                  <a:lnTo>
                    <a:pt x="1087" y="535"/>
                  </a:lnTo>
                  <a:lnTo>
                    <a:pt x="1087" y="537"/>
                  </a:lnTo>
                  <a:lnTo>
                    <a:pt x="1085" y="539"/>
                  </a:lnTo>
                  <a:lnTo>
                    <a:pt x="1087" y="539"/>
                  </a:lnTo>
                  <a:lnTo>
                    <a:pt x="1087" y="540"/>
                  </a:lnTo>
                  <a:lnTo>
                    <a:pt x="1085" y="540"/>
                  </a:lnTo>
                  <a:lnTo>
                    <a:pt x="1085" y="542"/>
                  </a:lnTo>
                  <a:lnTo>
                    <a:pt x="1085" y="544"/>
                  </a:lnTo>
                  <a:lnTo>
                    <a:pt x="1085" y="547"/>
                  </a:lnTo>
                  <a:lnTo>
                    <a:pt x="1084" y="547"/>
                  </a:lnTo>
                  <a:lnTo>
                    <a:pt x="1085" y="547"/>
                  </a:lnTo>
                  <a:lnTo>
                    <a:pt x="1084" y="548"/>
                  </a:lnTo>
                  <a:lnTo>
                    <a:pt x="1085" y="548"/>
                  </a:lnTo>
                  <a:lnTo>
                    <a:pt x="1084" y="548"/>
                  </a:lnTo>
                  <a:lnTo>
                    <a:pt x="1085" y="548"/>
                  </a:lnTo>
                  <a:lnTo>
                    <a:pt x="1084" y="550"/>
                  </a:lnTo>
                  <a:lnTo>
                    <a:pt x="1084" y="552"/>
                  </a:lnTo>
                  <a:lnTo>
                    <a:pt x="1084" y="553"/>
                  </a:lnTo>
                  <a:lnTo>
                    <a:pt x="1082" y="553"/>
                  </a:lnTo>
                  <a:lnTo>
                    <a:pt x="1082" y="552"/>
                  </a:lnTo>
                  <a:lnTo>
                    <a:pt x="1082" y="553"/>
                  </a:lnTo>
                  <a:lnTo>
                    <a:pt x="1080" y="553"/>
                  </a:lnTo>
                  <a:lnTo>
                    <a:pt x="1080" y="555"/>
                  </a:lnTo>
                  <a:lnTo>
                    <a:pt x="1080" y="557"/>
                  </a:lnTo>
                  <a:lnTo>
                    <a:pt x="1079" y="557"/>
                  </a:lnTo>
                  <a:lnTo>
                    <a:pt x="1077" y="558"/>
                  </a:lnTo>
                  <a:lnTo>
                    <a:pt x="1077" y="555"/>
                  </a:lnTo>
                  <a:lnTo>
                    <a:pt x="1077" y="553"/>
                  </a:lnTo>
                  <a:lnTo>
                    <a:pt x="1077" y="552"/>
                  </a:lnTo>
                  <a:lnTo>
                    <a:pt x="1075" y="550"/>
                  </a:lnTo>
                  <a:lnTo>
                    <a:pt x="1075" y="548"/>
                  </a:lnTo>
                  <a:lnTo>
                    <a:pt x="1075" y="550"/>
                  </a:lnTo>
                  <a:lnTo>
                    <a:pt x="1075" y="552"/>
                  </a:lnTo>
                  <a:lnTo>
                    <a:pt x="1075" y="553"/>
                  </a:lnTo>
                  <a:lnTo>
                    <a:pt x="1075" y="555"/>
                  </a:lnTo>
                  <a:lnTo>
                    <a:pt x="1075" y="557"/>
                  </a:lnTo>
                  <a:lnTo>
                    <a:pt x="1074" y="557"/>
                  </a:lnTo>
                  <a:lnTo>
                    <a:pt x="1074" y="558"/>
                  </a:lnTo>
                  <a:lnTo>
                    <a:pt x="1074" y="557"/>
                  </a:lnTo>
                  <a:lnTo>
                    <a:pt x="1074" y="555"/>
                  </a:lnTo>
                  <a:lnTo>
                    <a:pt x="1072" y="555"/>
                  </a:lnTo>
                  <a:lnTo>
                    <a:pt x="1072" y="553"/>
                  </a:lnTo>
                  <a:lnTo>
                    <a:pt x="1072" y="552"/>
                  </a:lnTo>
                  <a:lnTo>
                    <a:pt x="1072" y="550"/>
                  </a:lnTo>
                  <a:lnTo>
                    <a:pt x="1074" y="548"/>
                  </a:lnTo>
                  <a:lnTo>
                    <a:pt x="1072" y="548"/>
                  </a:lnTo>
                  <a:lnTo>
                    <a:pt x="1072" y="547"/>
                  </a:lnTo>
                  <a:lnTo>
                    <a:pt x="1074" y="548"/>
                  </a:lnTo>
                  <a:lnTo>
                    <a:pt x="1074" y="547"/>
                  </a:lnTo>
                  <a:lnTo>
                    <a:pt x="1075" y="547"/>
                  </a:lnTo>
                  <a:lnTo>
                    <a:pt x="1075" y="545"/>
                  </a:lnTo>
                  <a:lnTo>
                    <a:pt x="1074" y="545"/>
                  </a:lnTo>
                  <a:lnTo>
                    <a:pt x="1074" y="544"/>
                  </a:lnTo>
                  <a:lnTo>
                    <a:pt x="1075" y="544"/>
                  </a:lnTo>
                  <a:lnTo>
                    <a:pt x="1075" y="542"/>
                  </a:lnTo>
                  <a:lnTo>
                    <a:pt x="1077" y="542"/>
                  </a:lnTo>
                  <a:lnTo>
                    <a:pt x="1079" y="542"/>
                  </a:lnTo>
                  <a:lnTo>
                    <a:pt x="1080" y="542"/>
                  </a:lnTo>
                  <a:lnTo>
                    <a:pt x="1079" y="545"/>
                  </a:lnTo>
                  <a:lnTo>
                    <a:pt x="1079" y="547"/>
                  </a:lnTo>
                  <a:lnTo>
                    <a:pt x="1080" y="545"/>
                  </a:lnTo>
                  <a:lnTo>
                    <a:pt x="1080" y="547"/>
                  </a:lnTo>
                  <a:lnTo>
                    <a:pt x="1082" y="547"/>
                  </a:lnTo>
                  <a:lnTo>
                    <a:pt x="1080" y="547"/>
                  </a:lnTo>
                  <a:lnTo>
                    <a:pt x="1080" y="545"/>
                  </a:lnTo>
                  <a:lnTo>
                    <a:pt x="1080" y="544"/>
                  </a:lnTo>
                  <a:lnTo>
                    <a:pt x="1080" y="542"/>
                  </a:lnTo>
                  <a:lnTo>
                    <a:pt x="1080" y="540"/>
                  </a:lnTo>
                  <a:lnTo>
                    <a:pt x="1079" y="539"/>
                  </a:lnTo>
                  <a:lnTo>
                    <a:pt x="1079" y="537"/>
                  </a:lnTo>
                  <a:lnTo>
                    <a:pt x="1079" y="535"/>
                  </a:lnTo>
                  <a:close/>
                  <a:moveTo>
                    <a:pt x="1128" y="532"/>
                  </a:moveTo>
                  <a:lnTo>
                    <a:pt x="1128" y="534"/>
                  </a:lnTo>
                  <a:lnTo>
                    <a:pt x="1128" y="532"/>
                  </a:lnTo>
                  <a:close/>
                  <a:moveTo>
                    <a:pt x="1088" y="534"/>
                  </a:moveTo>
                  <a:lnTo>
                    <a:pt x="1088" y="532"/>
                  </a:lnTo>
                  <a:lnTo>
                    <a:pt x="1088" y="534"/>
                  </a:lnTo>
                  <a:close/>
                  <a:moveTo>
                    <a:pt x="1128" y="534"/>
                  </a:moveTo>
                  <a:lnTo>
                    <a:pt x="1128" y="532"/>
                  </a:lnTo>
                  <a:lnTo>
                    <a:pt x="1128" y="534"/>
                  </a:lnTo>
                  <a:close/>
                  <a:moveTo>
                    <a:pt x="1128" y="534"/>
                  </a:moveTo>
                  <a:lnTo>
                    <a:pt x="1128" y="532"/>
                  </a:lnTo>
                  <a:lnTo>
                    <a:pt x="1128" y="534"/>
                  </a:lnTo>
                  <a:close/>
                  <a:moveTo>
                    <a:pt x="1111" y="532"/>
                  </a:moveTo>
                  <a:lnTo>
                    <a:pt x="1111" y="534"/>
                  </a:lnTo>
                  <a:lnTo>
                    <a:pt x="1111" y="532"/>
                  </a:lnTo>
                  <a:close/>
                  <a:moveTo>
                    <a:pt x="1197" y="532"/>
                  </a:moveTo>
                  <a:lnTo>
                    <a:pt x="1197" y="534"/>
                  </a:lnTo>
                  <a:lnTo>
                    <a:pt x="1197" y="532"/>
                  </a:lnTo>
                  <a:close/>
                  <a:moveTo>
                    <a:pt x="1238" y="532"/>
                  </a:moveTo>
                  <a:lnTo>
                    <a:pt x="1240" y="532"/>
                  </a:lnTo>
                  <a:lnTo>
                    <a:pt x="1240" y="534"/>
                  </a:lnTo>
                  <a:lnTo>
                    <a:pt x="1241" y="534"/>
                  </a:lnTo>
                  <a:lnTo>
                    <a:pt x="1241" y="535"/>
                  </a:lnTo>
                  <a:lnTo>
                    <a:pt x="1243" y="535"/>
                  </a:lnTo>
                  <a:lnTo>
                    <a:pt x="1243" y="539"/>
                  </a:lnTo>
                  <a:lnTo>
                    <a:pt x="1241" y="540"/>
                  </a:lnTo>
                  <a:lnTo>
                    <a:pt x="1240" y="540"/>
                  </a:lnTo>
                  <a:lnTo>
                    <a:pt x="1240" y="539"/>
                  </a:lnTo>
                  <a:lnTo>
                    <a:pt x="1238" y="539"/>
                  </a:lnTo>
                  <a:lnTo>
                    <a:pt x="1236" y="539"/>
                  </a:lnTo>
                  <a:lnTo>
                    <a:pt x="1235" y="539"/>
                  </a:lnTo>
                  <a:lnTo>
                    <a:pt x="1235" y="537"/>
                  </a:lnTo>
                  <a:lnTo>
                    <a:pt x="1236" y="537"/>
                  </a:lnTo>
                  <a:lnTo>
                    <a:pt x="1235" y="535"/>
                  </a:lnTo>
                  <a:lnTo>
                    <a:pt x="1236" y="535"/>
                  </a:lnTo>
                  <a:lnTo>
                    <a:pt x="1238" y="534"/>
                  </a:lnTo>
                  <a:lnTo>
                    <a:pt x="1238" y="532"/>
                  </a:lnTo>
                  <a:close/>
                  <a:moveTo>
                    <a:pt x="1128" y="532"/>
                  </a:moveTo>
                  <a:lnTo>
                    <a:pt x="1128" y="534"/>
                  </a:lnTo>
                  <a:lnTo>
                    <a:pt x="1128" y="532"/>
                  </a:lnTo>
                  <a:lnTo>
                    <a:pt x="1128" y="534"/>
                  </a:lnTo>
                  <a:lnTo>
                    <a:pt x="1126" y="534"/>
                  </a:lnTo>
                  <a:lnTo>
                    <a:pt x="1126" y="532"/>
                  </a:lnTo>
                  <a:lnTo>
                    <a:pt x="1128" y="532"/>
                  </a:lnTo>
                  <a:close/>
                  <a:moveTo>
                    <a:pt x="1126" y="532"/>
                  </a:moveTo>
                  <a:lnTo>
                    <a:pt x="1128" y="532"/>
                  </a:lnTo>
                  <a:lnTo>
                    <a:pt x="1126" y="532"/>
                  </a:lnTo>
                  <a:close/>
                  <a:moveTo>
                    <a:pt x="1128" y="532"/>
                  </a:moveTo>
                  <a:lnTo>
                    <a:pt x="1129" y="532"/>
                  </a:lnTo>
                  <a:lnTo>
                    <a:pt x="1128" y="532"/>
                  </a:lnTo>
                  <a:close/>
                  <a:moveTo>
                    <a:pt x="1152" y="532"/>
                  </a:moveTo>
                  <a:lnTo>
                    <a:pt x="1152" y="531"/>
                  </a:lnTo>
                  <a:lnTo>
                    <a:pt x="1152" y="532"/>
                  </a:lnTo>
                  <a:close/>
                  <a:moveTo>
                    <a:pt x="1111" y="532"/>
                  </a:moveTo>
                  <a:lnTo>
                    <a:pt x="1111" y="531"/>
                  </a:lnTo>
                  <a:lnTo>
                    <a:pt x="1111" y="532"/>
                  </a:lnTo>
                  <a:close/>
                  <a:moveTo>
                    <a:pt x="1150" y="531"/>
                  </a:moveTo>
                  <a:lnTo>
                    <a:pt x="1152" y="532"/>
                  </a:lnTo>
                  <a:lnTo>
                    <a:pt x="1150" y="532"/>
                  </a:lnTo>
                  <a:lnTo>
                    <a:pt x="1150" y="531"/>
                  </a:lnTo>
                  <a:close/>
                  <a:moveTo>
                    <a:pt x="1197" y="531"/>
                  </a:moveTo>
                  <a:lnTo>
                    <a:pt x="1199" y="531"/>
                  </a:lnTo>
                  <a:lnTo>
                    <a:pt x="1197" y="532"/>
                  </a:lnTo>
                  <a:lnTo>
                    <a:pt x="1197" y="531"/>
                  </a:lnTo>
                  <a:close/>
                  <a:moveTo>
                    <a:pt x="1129" y="531"/>
                  </a:moveTo>
                  <a:lnTo>
                    <a:pt x="1129" y="532"/>
                  </a:lnTo>
                  <a:lnTo>
                    <a:pt x="1129" y="531"/>
                  </a:lnTo>
                  <a:close/>
                  <a:moveTo>
                    <a:pt x="1128" y="532"/>
                  </a:moveTo>
                  <a:lnTo>
                    <a:pt x="1128" y="531"/>
                  </a:lnTo>
                  <a:lnTo>
                    <a:pt x="1128" y="532"/>
                  </a:lnTo>
                  <a:close/>
                  <a:moveTo>
                    <a:pt x="1154" y="531"/>
                  </a:moveTo>
                  <a:lnTo>
                    <a:pt x="1154" y="532"/>
                  </a:lnTo>
                  <a:lnTo>
                    <a:pt x="1154" y="531"/>
                  </a:lnTo>
                  <a:close/>
                  <a:moveTo>
                    <a:pt x="1110" y="531"/>
                  </a:moveTo>
                  <a:lnTo>
                    <a:pt x="1110" y="532"/>
                  </a:lnTo>
                  <a:lnTo>
                    <a:pt x="1110" y="531"/>
                  </a:lnTo>
                  <a:close/>
                  <a:moveTo>
                    <a:pt x="1150" y="531"/>
                  </a:moveTo>
                  <a:lnTo>
                    <a:pt x="1152" y="531"/>
                  </a:lnTo>
                  <a:lnTo>
                    <a:pt x="1150" y="531"/>
                  </a:lnTo>
                  <a:close/>
                  <a:moveTo>
                    <a:pt x="1113" y="531"/>
                  </a:moveTo>
                  <a:lnTo>
                    <a:pt x="1115" y="531"/>
                  </a:lnTo>
                  <a:lnTo>
                    <a:pt x="1113" y="531"/>
                  </a:lnTo>
                  <a:close/>
                  <a:moveTo>
                    <a:pt x="1113" y="531"/>
                  </a:moveTo>
                  <a:lnTo>
                    <a:pt x="1115" y="531"/>
                  </a:lnTo>
                  <a:lnTo>
                    <a:pt x="1113" y="531"/>
                  </a:lnTo>
                  <a:close/>
                  <a:moveTo>
                    <a:pt x="1110" y="532"/>
                  </a:moveTo>
                  <a:lnTo>
                    <a:pt x="1108" y="532"/>
                  </a:lnTo>
                  <a:lnTo>
                    <a:pt x="1110" y="531"/>
                  </a:lnTo>
                  <a:lnTo>
                    <a:pt x="1108" y="531"/>
                  </a:lnTo>
                  <a:lnTo>
                    <a:pt x="1110" y="531"/>
                  </a:lnTo>
                  <a:lnTo>
                    <a:pt x="1110" y="532"/>
                  </a:lnTo>
                  <a:close/>
                  <a:moveTo>
                    <a:pt x="1136" y="531"/>
                  </a:moveTo>
                  <a:lnTo>
                    <a:pt x="1136" y="529"/>
                  </a:lnTo>
                  <a:lnTo>
                    <a:pt x="1136" y="531"/>
                  </a:lnTo>
                  <a:close/>
                  <a:moveTo>
                    <a:pt x="1199" y="529"/>
                  </a:moveTo>
                  <a:lnTo>
                    <a:pt x="1199" y="531"/>
                  </a:lnTo>
                  <a:lnTo>
                    <a:pt x="1199" y="529"/>
                  </a:lnTo>
                  <a:close/>
                  <a:moveTo>
                    <a:pt x="1199" y="531"/>
                  </a:moveTo>
                  <a:lnTo>
                    <a:pt x="1199" y="529"/>
                  </a:lnTo>
                  <a:lnTo>
                    <a:pt x="1201" y="529"/>
                  </a:lnTo>
                  <a:lnTo>
                    <a:pt x="1201" y="531"/>
                  </a:lnTo>
                  <a:lnTo>
                    <a:pt x="1199" y="531"/>
                  </a:lnTo>
                  <a:close/>
                  <a:moveTo>
                    <a:pt x="1136" y="531"/>
                  </a:moveTo>
                  <a:lnTo>
                    <a:pt x="1134" y="531"/>
                  </a:lnTo>
                  <a:lnTo>
                    <a:pt x="1134" y="529"/>
                  </a:lnTo>
                  <a:lnTo>
                    <a:pt x="1136" y="529"/>
                  </a:lnTo>
                  <a:lnTo>
                    <a:pt x="1136" y="531"/>
                  </a:lnTo>
                  <a:close/>
                  <a:moveTo>
                    <a:pt x="1136" y="531"/>
                  </a:moveTo>
                  <a:lnTo>
                    <a:pt x="1136" y="529"/>
                  </a:lnTo>
                  <a:lnTo>
                    <a:pt x="1136" y="531"/>
                  </a:lnTo>
                  <a:close/>
                  <a:moveTo>
                    <a:pt x="1113" y="531"/>
                  </a:moveTo>
                  <a:lnTo>
                    <a:pt x="1113" y="529"/>
                  </a:lnTo>
                  <a:lnTo>
                    <a:pt x="1113" y="531"/>
                  </a:lnTo>
                  <a:close/>
                  <a:moveTo>
                    <a:pt x="1113" y="531"/>
                  </a:moveTo>
                  <a:lnTo>
                    <a:pt x="1113" y="529"/>
                  </a:lnTo>
                  <a:lnTo>
                    <a:pt x="1113" y="531"/>
                  </a:lnTo>
                  <a:close/>
                  <a:moveTo>
                    <a:pt x="1210" y="529"/>
                  </a:moveTo>
                  <a:lnTo>
                    <a:pt x="1210" y="531"/>
                  </a:lnTo>
                  <a:lnTo>
                    <a:pt x="1210" y="529"/>
                  </a:lnTo>
                  <a:lnTo>
                    <a:pt x="1210" y="531"/>
                  </a:lnTo>
                  <a:lnTo>
                    <a:pt x="1210" y="529"/>
                  </a:lnTo>
                  <a:lnTo>
                    <a:pt x="1210" y="531"/>
                  </a:lnTo>
                  <a:lnTo>
                    <a:pt x="1210" y="529"/>
                  </a:lnTo>
                  <a:close/>
                  <a:moveTo>
                    <a:pt x="1199" y="529"/>
                  </a:moveTo>
                  <a:lnTo>
                    <a:pt x="1201" y="529"/>
                  </a:lnTo>
                  <a:lnTo>
                    <a:pt x="1199" y="529"/>
                  </a:lnTo>
                  <a:close/>
                  <a:moveTo>
                    <a:pt x="1115" y="529"/>
                  </a:moveTo>
                  <a:lnTo>
                    <a:pt x="1115" y="531"/>
                  </a:lnTo>
                  <a:lnTo>
                    <a:pt x="1113" y="531"/>
                  </a:lnTo>
                  <a:lnTo>
                    <a:pt x="1115" y="529"/>
                  </a:lnTo>
                  <a:lnTo>
                    <a:pt x="1113" y="529"/>
                  </a:lnTo>
                  <a:lnTo>
                    <a:pt x="1115" y="529"/>
                  </a:lnTo>
                  <a:close/>
                  <a:moveTo>
                    <a:pt x="1154" y="529"/>
                  </a:moveTo>
                  <a:lnTo>
                    <a:pt x="1155" y="529"/>
                  </a:lnTo>
                  <a:lnTo>
                    <a:pt x="1154" y="529"/>
                  </a:lnTo>
                  <a:close/>
                  <a:moveTo>
                    <a:pt x="1115" y="529"/>
                  </a:moveTo>
                  <a:lnTo>
                    <a:pt x="1116" y="529"/>
                  </a:lnTo>
                  <a:lnTo>
                    <a:pt x="1116" y="531"/>
                  </a:lnTo>
                  <a:lnTo>
                    <a:pt x="1115" y="529"/>
                  </a:lnTo>
                  <a:lnTo>
                    <a:pt x="1115" y="531"/>
                  </a:lnTo>
                  <a:lnTo>
                    <a:pt x="1115" y="529"/>
                  </a:lnTo>
                  <a:close/>
                  <a:moveTo>
                    <a:pt x="1126" y="529"/>
                  </a:moveTo>
                  <a:lnTo>
                    <a:pt x="1128" y="529"/>
                  </a:lnTo>
                  <a:lnTo>
                    <a:pt x="1126" y="529"/>
                  </a:lnTo>
                  <a:close/>
                  <a:moveTo>
                    <a:pt x="1152" y="532"/>
                  </a:moveTo>
                  <a:lnTo>
                    <a:pt x="1152" y="531"/>
                  </a:lnTo>
                  <a:lnTo>
                    <a:pt x="1150" y="531"/>
                  </a:lnTo>
                  <a:lnTo>
                    <a:pt x="1152" y="531"/>
                  </a:lnTo>
                  <a:lnTo>
                    <a:pt x="1152" y="529"/>
                  </a:lnTo>
                  <a:lnTo>
                    <a:pt x="1152" y="531"/>
                  </a:lnTo>
                  <a:lnTo>
                    <a:pt x="1150" y="531"/>
                  </a:lnTo>
                  <a:lnTo>
                    <a:pt x="1152" y="531"/>
                  </a:lnTo>
                  <a:lnTo>
                    <a:pt x="1150" y="531"/>
                  </a:lnTo>
                  <a:lnTo>
                    <a:pt x="1150" y="529"/>
                  </a:lnTo>
                  <a:lnTo>
                    <a:pt x="1152" y="529"/>
                  </a:lnTo>
                  <a:lnTo>
                    <a:pt x="1154" y="529"/>
                  </a:lnTo>
                  <a:lnTo>
                    <a:pt x="1155" y="529"/>
                  </a:lnTo>
                  <a:lnTo>
                    <a:pt x="1154" y="531"/>
                  </a:lnTo>
                  <a:lnTo>
                    <a:pt x="1154" y="529"/>
                  </a:lnTo>
                  <a:lnTo>
                    <a:pt x="1154" y="531"/>
                  </a:lnTo>
                  <a:lnTo>
                    <a:pt x="1152" y="531"/>
                  </a:lnTo>
                  <a:lnTo>
                    <a:pt x="1152" y="532"/>
                  </a:lnTo>
                  <a:close/>
                  <a:moveTo>
                    <a:pt x="1110" y="527"/>
                  </a:moveTo>
                  <a:lnTo>
                    <a:pt x="1110" y="529"/>
                  </a:lnTo>
                  <a:lnTo>
                    <a:pt x="1110" y="527"/>
                  </a:lnTo>
                  <a:close/>
                  <a:moveTo>
                    <a:pt x="1199" y="529"/>
                  </a:moveTo>
                  <a:lnTo>
                    <a:pt x="1199" y="527"/>
                  </a:lnTo>
                  <a:lnTo>
                    <a:pt x="1199" y="529"/>
                  </a:lnTo>
                  <a:close/>
                  <a:moveTo>
                    <a:pt x="1119" y="527"/>
                  </a:moveTo>
                  <a:lnTo>
                    <a:pt x="1119" y="529"/>
                  </a:lnTo>
                  <a:lnTo>
                    <a:pt x="1119" y="527"/>
                  </a:lnTo>
                  <a:close/>
                  <a:moveTo>
                    <a:pt x="1209" y="527"/>
                  </a:moveTo>
                  <a:lnTo>
                    <a:pt x="1209" y="529"/>
                  </a:lnTo>
                  <a:lnTo>
                    <a:pt x="1209" y="527"/>
                  </a:lnTo>
                  <a:close/>
                  <a:moveTo>
                    <a:pt x="1154" y="527"/>
                  </a:moveTo>
                  <a:lnTo>
                    <a:pt x="1154" y="529"/>
                  </a:lnTo>
                  <a:lnTo>
                    <a:pt x="1154" y="527"/>
                  </a:lnTo>
                  <a:close/>
                  <a:moveTo>
                    <a:pt x="1210" y="529"/>
                  </a:moveTo>
                  <a:lnTo>
                    <a:pt x="1209" y="529"/>
                  </a:lnTo>
                  <a:lnTo>
                    <a:pt x="1209" y="527"/>
                  </a:lnTo>
                  <a:lnTo>
                    <a:pt x="1210" y="527"/>
                  </a:lnTo>
                  <a:lnTo>
                    <a:pt x="1210" y="529"/>
                  </a:lnTo>
                  <a:close/>
                  <a:moveTo>
                    <a:pt x="1152" y="527"/>
                  </a:moveTo>
                  <a:lnTo>
                    <a:pt x="1154" y="527"/>
                  </a:lnTo>
                  <a:lnTo>
                    <a:pt x="1152" y="527"/>
                  </a:lnTo>
                  <a:close/>
                  <a:moveTo>
                    <a:pt x="1115" y="529"/>
                  </a:moveTo>
                  <a:lnTo>
                    <a:pt x="1115" y="527"/>
                  </a:lnTo>
                  <a:lnTo>
                    <a:pt x="1115" y="529"/>
                  </a:lnTo>
                  <a:close/>
                  <a:moveTo>
                    <a:pt x="1121" y="527"/>
                  </a:moveTo>
                  <a:lnTo>
                    <a:pt x="1123" y="527"/>
                  </a:lnTo>
                  <a:lnTo>
                    <a:pt x="1121" y="527"/>
                  </a:lnTo>
                  <a:close/>
                  <a:moveTo>
                    <a:pt x="1136" y="527"/>
                  </a:moveTo>
                  <a:lnTo>
                    <a:pt x="1137" y="527"/>
                  </a:lnTo>
                  <a:lnTo>
                    <a:pt x="1136" y="527"/>
                  </a:lnTo>
                  <a:close/>
                  <a:moveTo>
                    <a:pt x="1155" y="526"/>
                  </a:moveTo>
                  <a:lnTo>
                    <a:pt x="1155" y="527"/>
                  </a:lnTo>
                  <a:lnTo>
                    <a:pt x="1155" y="526"/>
                  </a:lnTo>
                  <a:close/>
                  <a:moveTo>
                    <a:pt x="1157" y="527"/>
                  </a:moveTo>
                  <a:lnTo>
                    <a:pt x="1157" y="526"/>
                  </a:lnTo>
                  <a:lnTo>
                    <a:pt x="1157" y="527"/>
                  </a:lnTo>
                  <a:close/>
                  <a:moveTo>
                    <a:pt x="1123" y="527"/>
                  </a:moveTo>
                  <a:lnTo>
                    <a:pt x="1123" y="526"/>
                  </a:lnTo>
                  <a:lnTo>
                    <a:pt x="1123" y="527"/>
                  </a:lnTo>
                  <a:close/>
                  <a:moveTo>
                    <a:pt x="1157" y="526"/>
                  </a:moveTo>
                  <a:lnTo>
                    <a:pt x="1157" y="527"/>
                  </a:lnTo>
                  <a:lnTo>
                    <a:pt x="1155" y="527"/>
                  </a:lnTo>
                  <a:lnTo>
                    <a:pt x="1155" y="526"/>
                  </a:lnTo>
                  <a:lnTo>
                    <a:pt x="1157" y="526"/>
                  </a:lnTo>
                  <a:close/>
                  <a:moveTo>
                    <a:pt x="1155" y="526"/>
                  </a:moveTo>
                  <a:lnTo>
                    <a:pt x="1154" y="526"/>
                  </a:lnTo>
                  <a:lnTo>
                    <a:pt x="1155" y="526"/>
                  </a:lnTo>
                  <a:close/>
                  <a:moveTo>
                    <a:pt x="1137" y="526"/>
                  </a:moveTo>
                  <a:lnTo>
                    <a:pt x="1139" y="526"/>
                  </a:lnTo>
                  <a:lnTo>
                    <a:pt x="1137" y="526"/>
                  </a:lnTo>
                  <a:close/>
                  <a:moveTo>
                    <a:pt x="1154" y="526"/>
                  </a:moveTo>
                  <a:lnTo>
                    <a:pt x="1155" y="526"/>
                  </a:lnTo>
                  <a:lnTo>
                    <a:pt x="1154" y="526"/>
                  </a:lnTo>
                  <a:close/>
                  <a:moveTo>
                    <a:pt x="1154" y="526"/>
                  </a:moveTo>
                  <a:lnTo>
                    <a:pt x="1155" y="526"/>
                  </a:lnTo>
                  <a:lnTo>
                    <a:pt x="1154" y="526"/>
                  </a:lnTo>
                  <a:close/>
                  <a:moveTo>
                    <a:pt x="1123" y="526"/>
                  </a:moveTo>
                  <a:lnTo>
                    <a:pt x="1124" y="526"/>
                  </a:lnTo>
                  <a:lnTo>
                    <a:pt x="1123" y="526"/>
                  </a:lnTo>
                  <a:close/>
                  <a:moveTo>
                    <a:pt x="1085" y="526"/>
                  </a:moveTo>
                  <a:lnTo>
                    <a:pt x="1087" y="526"/>
                  </a:lnTo>
                  <a:lnTo>
                    <a:pt x="1085" y="526"/>
                  </a:lnTo>
                  <a:close/>
                  <a:moveTo>
                    <a:pt x="1214" y="526"/>
                  </a:moveTo>
                  <a:lnTo>
                    <a:pt x="1215" y="526"/>
                  </a:lnTo>
                  <a:lnTo>
                    <a:pt x="1215" y="527"/>
                  </a:lnTo>
                  <a:lnTo>
                    <a:pt x="1214" y="527"/>
                  </a:lnTo>
                  <a:lnTo>
                    <a:pt x="1215" y="526"/>
                  </a:lnTo>
                  <a:lnTo>
                    <a:pt x="1214" y="527"/>
                  </a:lnTo>
                  <a:lnTo>
                    <a:pt x="1215" y="526"/>
                  </a:lnTo>
                  <a:lnTo>
                    <a:pt x="1214" y="526"/>
                  </a:lnTo>
                  <a:lnTo>
                    <a:pt x="1214" y="527"/>
                  </a:lnTo>
                  <a:lnTo>
                    <a:pt x="1215" y="527"/>
                  </a:lnTo>
                  <a:lnTo>
                    <a:pt x="1215" y="529"/>
                  </a:lnTo>
                  <a:lnTo>
                    <a:pt x="1214" y="529"/>
                  </a:lnTo>
                  <a:lnTo>
                    <a:pt x="1215" y="529"/>
                  </a:lnTo>
                  <a:lnTo>
                    <a:pt x="1214" y="531"/>
                  </a:lnTo>
                  <a:lnTo>
                    <a:pt x="1215" y="531"/>
                  </a:lnTo>
                  <a:lnTo>
                    <a:pt x="1214" y="531"/>
                  </a:lnTo>
                  <a:lnTo>
                    <a:pt x="1214" y="529"/>
                  </a:lnTo>
                  <a:lnTo>
                    <a:pt x="1212" y="529"/>
                  </a:lnTo>
                  <a:lnTo>
                    <a:pt x="1212" y="531"/>
                  </a:lnTo>
                  <a:lnTo>
                    <a:pt x="1210" y="529"/>
                  </a:lnTo>
                  <a:lnTo>
                    <a:pt x="1210" y="527"/>
                  </a:lnTo>
                  <a:lnTo>
                    <a:pt x="1212" y="527"/>
                  </a:lnTo>
                  <a:lnTo>
                    <a:pt x="1212" y="526"/>
                  </a:lnTo>
                  <a:lnTo>
                    <a:pt x="1214" y="526"/>
                  </a:lnTo>
                  <a:close/>
                  <a:moveTo>
                    <a:pt x="1084" y="524"/>
                  </a:moveTo>
                  <a:lnTo>
                    <a:pt x="1084" y="526"/>
                  </a:lnTo>
                  <a:lnTo>
                    <a:pt x="1084" y="524"/>
                  </a:lnTo>
                  <a:close/>
                  <a:moveTo>
                    <a:pt x="1201" y="524"/>
                  </a:moveTo>
                  <a:lnTo>
                    <a:pt x="1202" y="524"/>
                  </a:lnTo>
                  <a:lnTo>
                    <a:pt x="1201" y="526"/>
                  </a:lnTo>
                  <a:lnTo>
                    <a:pt x="1201" y="524"/>
                  </a:lnTo>
                  <a:close/>
                  <a:moveTo>
                    <a:pt x="1085" y="526"/>
                  </a:moveTo>
                  <a:lnTo>
                    <a:pt x="1085" y="524"/>
                  </a:lnTo>
                  <a:lnTo>
                    <a:pt x="1085" y="526"/>
                  </a:lnTo>
                  <a:close/>
                  <a:moveTo>
                    <a:pt x="1119" y="524"/>
                  </a:moveTo>
                  <a:lnTo>
                    <a:pt x="1119" y="526"/>
                  </a:lnTo>
                  <a:lnTo>
                    <a:pt x="1119" y="524"/>
                  </a:lnTo>
                  <a:close/>
                  <a:moveTo>
                    <a:pt x="1210" y="526"/>
                  </a:moveTo>
                  <a:lnTo>
                    <a:pt x="1210" y="524"/>
                  </a:lnTo>
                  <a:lnTo>
                    <a:pt x="1210" y="526"/>
                  </a:lnTo>
                  <a:close/>
                  <a:moveTo>
                    <a:pt x="1121" y="524"/>
                  </a:moveTo>
                  <a:lnTo>
                    <a:pt x="1121" y="526"/>
                  </a:lnTo>
                  <a:lnTo>
                    <a:pt x="1121" y="524"/>
                  </a:lnTo>
                  <a:close/>
                  <a:moveTo>
                    <a:pt x="1212" y="524"/>
                  </a:moveTo>
                  <a:lnTo>
                    <a:pt x="1212" y="526"/>
                  </a:lnTo>
                  <a:lnTo>
                    <a:pt x="1212" y="524"/>
                  </a:lnTo>
                  <a:lnTo>
                    <a:pt x="1212" y="526"/>
                  </a:lnTo>
                  <a:lnTo>
                    <a:pt x="1212" y="524"/>
                  </a:lnTo>
                  <a:lnTo>
                    <a:pt x="1210" y="526"/>
                  </a:lnTo>
                  <a:lnTo>
                    <a:pt x="1210" y="524"/>
                  </a:lnTo>
                  <a:lnTo>
                    <a:pt x="1212" y="524"/>
                  </a:lnTo>
                  <a:close/>
                  <a:moveTo>
                    <a:pt x="1154" y="522"/>
                  </a:moveTo>
                  <a:lnTo>
                    <a:pt x="1154" y="524"/>
                  </a:lnTo>
                  <a:lnTo>
                    <a:pt x="1154" y="522"/>
                  </a:lnTo>
                  <a:close/>
                  <a:moveTo>
                    <a:pt x="1093" y="522"/>
                  </a:moveTo>
                  <a:lnTo>
                    <a:pt x="1095" y="522"/>
                  </a:lnTo>
                  <a:lnTo>
                    <a:pt x="1093" y="522"/>
                  </a:lnTo>
                  <a:close/>
                  <a:moveTo>
                    <a:pt x="1126" y="524"/>
                  </a:moveTo>
                  <a:lnTo>
                    <a:pt x="1126" y="522"/>
                  </a:lnTo>
                  <a:lnTo>
                    <a:pt x="1128" y="522"/>
                  </a:lnTo>
                  <a:lnTo>
                    <a:pt x="1126" y="524"/>
                  </a:lnTo>
                  <a:close/>
                  <a:moveTo>
                    <a:pt x="1126" y="524"/>
                  </a:moveTo>
                  <a:lnTo>
                    <a:pt x="1124" y="524"/>
                  </a:lnTo>
                  <a:lnTo>
                    <a:pt x="1126" y="522"/>
                  </a:lnTo>
                  <a:lnTo>
                    <a:pt x="1126" y="524"/>
                  </a:lnTo>
                  <a:close/>
                  <a:moveTo>
                    <a:pt x="1126" y="522"/>
                  </a:moveTo>
                  <a:lnTo>
                    <a:pt x="1126" y="524"/>
                  </a:lnTo>
                  <a:lnTo>
                    <a:pt x="1126" y="522"/>
                  </a:lnTo>
                  <a:lnTo>
                    <a:pt x="1126" y="524"/>
                  </a:lnTo>
                  <a:lnTo>
                    <a:pt x="1126" y="522"/>
                  </a:lnTo>
                  <a:close/>
                  <a:moveTo>
                    <a:pt x="1154" y="522"/>
                  </a:moveTo>
                  <a:lnTo>
                    <a:pt x="1155" y="521"/>
                  </a:lnTo>
                  <a:lnTo>
                    <a:pt x="1155" y="522"/>
                  </a:lnTo>
                  <a:lnTo>
                    <a:pt x="1154" y="522"/>
                  </a:lnTo>
                  <a:close/>
                  <a:moveTo>
                    <a:pt x="1154" y="521"/>
                  </a:moveTo>
                  <a:lnTo>
                    <a:pt x="1154" y="522"/>
                  </a:lnTo>
                  <a:lnTo>
                    <a:pt x="1154" y="521"/>
                  </a:lnTo>
                  <a:close/>
                  <a:moveTo>
                    <a:pt x="1126" y="521"/>
                  </a:moveTo>
                  <a:lnTo>
                    <a:pt x="1126" y="522"/>
                  </a:lnTo>
                  <a:lnTo>
                    <a:pt x="1126" y="521"/>
                  </a:lnTo>
                  <a:lnTo>
                    <a:pt x="1128" y="521"/>
                  </a:lnTo>
                  <a:lnTo>
                    <a:pt x="1126" y="521"/>
                  </a:lnTo>
                  <a:close/>
                  <a:moveTo>
                    <a:pt x="1155" y="521"/>
                  </a:moveTo>
                  <a:lnTo>
                    <a:pt x="1157" y="521"/>
                  </a:lnTo>
                  <a:lnTo>
                    <a:pt x="1158" y="521"/>
                  </a:lnTo>
                  <a:lnTo>
                    <a:pt x="1158" y="522"/>
                  </a:lnTo>
                  <a:lnTo>
                    <a:pt x="1160" y="521"/>
                  </a:lnTo>
                  <a:lnTo>
                    <a:pt x="1160" y="522"/>
                  </a:lnTo>
                  <a:lnTo>
                    <a:pt x="1160" y="524"/>
                  </a:lnTo>
                  <a:lnTo>
                    <a:pt x="1158" y="524"/>
                  </a:lnTo>
                  <a:lnTo>
                    <a:pt x="1160" y="522"/>
                  </a:lnTo>
                  <a:lnTo>
                    <a:pt x="1158" y="522"/>
                  </a:lnTo>
                  <a:lnTo>
                    <a:pt x="1158" y="524"/>
                  </a:lnTo>
                  <a:lnTo>
                    <a:pt x="1158" y="526"/>
                  </a:lnTo>
                  <a:lnTo>
                    <a:pt x="1157" y="526"/>
                  </a:lnTo>
                  <a:lnTo>
                    <a:pt x="1155" y="526"/>
                  </a:lnTo>
                  <a:lnTo>
                    <a:pt x="1154" y="526"/>
                  </a:lnTo>
                  <a:lnTo>
                    <a:pt x="1154" y="524"/>
                  </a:lnTo>
                  <a:lnTo>
                    <a:pt x="1155" y="524"/>
                  </a:lnTo>
                  <a:lnTo>
                    <a:pt x="1155" y="522"/>
                  </a:lnTo>
                  <a:lnTo>
                    <a:pt x="1155" y="521"/>
                  </a:lnTo>
                  <a:close/>
                  <a:moveTo>
                    <a:pt x="1154" y="521"/>
                  </a:moveTo>
                  <a:lnTo>
                    <a:pt x="1155" y="521"/>
                  </a:lnTo>
                  <a:lnTo>
                    <a:pt x="1154" y="521"/>
                  </a:lnTo>
                  <a:close/>
                  <a:moveTo>
                    <a:pt x="1227" y="521"/>
                  </a:moveTo>
                  <a:lnTo>
                    <a:pt x="1228" y="521"/>
                  </a:lnTo>
                  <a:lnTo>
                    <a:pt x="1227" y="521"/>
                  </a:lnTo>
                  <a:close/>
                  <a:moveTo>
                    <a:pt x="1157" y="521"/>
                  </a:moveTo>
                  <a:lnTo>
                    <a:pt x="1158" y="521"/>
                  </a:lnTo>
                  <a:lnTo>
                    <a:pt x="1157" y="521"/>
                  </a:lnTo>
                  <a:close/>
                  <a:moveTo>
                    <a:pt x="1154" y="521"/>
                  </a:moveTo>
                  <a:lnTo>
                    <a:pt x="1155" y="521"/>
                  </a:lnTo>
                  <a:lnTo>
                    <a:pt x="1154" y="521"/>
                  </a:lnTo>
                  <a:close/>
                  <a:moveTo>
                    <a:pt x="1149" y="521"/>
                  </a:moveTo>
                  <a:lnTo>
                    <a:pt x="1149" y="519"/>
                  </a:lnTo>
                  <a:lnTo>
                    <a:pt x="1150" y="521"/>
                  </a:lnTo>
                  <a:lnTo>
                    <a:pt x="1149" y="521"/>
                  </a:lnTo>
                  <a:close/>
                  <a:moveTo>
                    <a:pt x="1147" y="521"/>
                  </a:moveTo>
                  <a:lnTo>
                    <a:pt x="1147" y="519"/>
                  </a:lnTo>
                  <a:lnTo>
                    <a:pt x="1147" y="521"/>
                  </a:lnTo>
                  <a:lnTo>
                    <a:pt x="1145" y="521"/>
                  </a:lnTo>
                  <a:lnTo>
                    <a:pt x="1147" y="521"/>
                  </a:lnTo>
                  <a:close/>
                  <a:moveTo>
                    <a:pt x="1147" y="521"/>
                  </a:moveTo>
                  <a:lnTo>
                    <a:pt x="1147" y="519"/>
                  </a:lnTo>
                  <a:lnTo>
                    <a:pt x="1147" y="521"/>
                  </a:lnTo>
                  <a:close/>
                  <a:moveTo>
                    <a:pt x="1171" y="521"/>
                  </a:moveTo>
                  <a:lnTo>
                    <a:pt x="1171" y="519"/>
                  </a:lnTo>
                  <a:lnTo>
                    <a:pt x="1171" y="521"/>
                  </a:lnTo>
                  <a:close/>
                  <a:moveTo>
                    <a:pt x="1228" y="519"/>
                  </a:moveTo>
                  <a:lnTo>
                    <a:pt x="1227" y="519"/>
                  </a:lnTo>
                  <a:lnTo>
                    <a:pt x="1227" y="521"/>
                  </a:lnTo>
                  <a:lnTo>
                    <a:pt x="1225" y="521"/>
                  </a:lnTo>
                  <a:lnTo>
                    <a:pt x="1227" y="521"/>
                  </a:lnTo>
                  <a:lnTo>
                    <a:pt x="1227" y="519"/>
                  </a:lnTo>
                  <a:lnTo>
                    <a:pt x="1228" y="519"/>
                  </a:lnTo>
                  <a:close/>
                  <a:moveTo>
                    <a:pt x="1157" y="519"/>
                  </a:moveTo>
                  <a:lnTo>
                    <a:pt x="1157" y="517"/>
                  </a:lnTo>
                  <a:lnTo>
                    <a:pt x="1158" y="519"/>
                  </a:lnTo>
                  <a:lnTo>
                    <a:pt x="1157" y="519"/>
                  </a:lnTo>
                  <a:close/>
                  <a:moveTo>
                    <a:pt x="1219" y="517"/>
                  </a:moveTo>
                  <a:lnTo>
                    <a:pt x="1220" y="519"/>
                  </a:lnTo>
                  <a:lnTo>
                    <a:pt x="1219" y="517"/>
                  </a:lnTo>
                  <a:close/>
                  <a:moveTo>
                    <a:pt x="1157" y="517"/>
                  </a:moveTo>
                  <a:lnTo>
                    <a:pt x="1158" y="517"/>
                  </a:lnTo>
                  <a:lnTo>
                    <a:pt x="1157" y="517"/>
                  </a:lnTo>
                  <a:close/>
                  <a:moveTo>
                    <a:pt x="1129" y="519"/>
                  </a:moveTo>
                  <a:lnTo>
                    <a:pt x="1128" y="519"/>
                  </a:lnTo>
                  <a:lnTo>
                    <a:pt x="1129" y="519"/>
                  </a:lnTo>
                  <a:lnTo>
                    <a:pt x="1129" y="517"/>
                  </a:lnTo>
                  <a:lnTo>
                    <a:pt x="1129" y="519"/>
                  </a:lnTo>
                  <a:close/>
                  <a:moveTo>
                    <a:pt x="1170" y="519"/>
                  </a:moveTo>
                  <a:lnTo>
                    <a:pt x="1170" y="517"/>
                  </a:lnTo>
                  <a:lnTo>
                    <a:pt x="1170" y="519"/>
                  </a:lnTo>
                  <a:close/>
                  <a:moveTo>
                    <a:pt x="1219" y="517"/>
                  </a:moveTo>
                  <a:lnTo>
                    <a:pt x="1220" y="517"/>
                  </a:lnTo>
                  <a:lnTo>
                    <a:pt x="1219" y="517"/>
                  </a:lnTo>
                  <a:close/>
                  <a:moveTo>
                    <a:pt x="1154" y="517"/>
                  </a:moveTo>
                  <a:lnTo>
                    <a:pt x="1155" y="517"/>
                  </a:lnTo>
                  <a:lnTo>
                    <a:pt x="1154" y="517"/>
                  </a:lnTo>
                  <a:close/>
                  <a:moveTo>
                    <a:pt x="1171" y="516"/>
                  </a:moveTo>
                  <a:lnTo>
                    <a:pt x="1173" y="516"/>
                  </a:lnTo>
                  <a:lnTo>
                    <a:pt x="1173" y="517"/>
                  </a:lnTo>
                  <a:lnTo>
                    <a:pt x="1171" y="516"/>
                  </a:lnTo>
                  <a:close/>
                  <a:moveTo>
                    <a:pt x="1157" y="517"/>
                  </a:moveTo>
                  <a:lnTo>
                    <a:pt x="1157" y="516"/>
                  </a:lnTo>
                  <a:lnTo>
                    <a:pt x="1157" y="517"/>
                  </a:lnTo>
                  <a:close/>
                  <a:moveTo>
                    <a:pt x="1241" y="517"/>
                  </a:moveTo>
                  <a:lnTo>
                    <a:pt x="1241" y="519"/>
                  </a:lnTo>
                  <a:lnTo>
                    <a:pt x="1241" y="517"/>
                  </a:lnTo>
                  <a:lnTo>
                    <a:pt x="1243" y="517"/>
                  </a:lnTo>
                  <a:lnTo>
                    <a:pt x="1243" y="516"/>
                  </a:lnTo>
                  <a:lnTo>
                    <a:pt x="1243" y="517"/>
                  </a:lnTo>
                  <a:lnTo>
                    <a:pt x="1241" y="517"/>
                  </a:lnTo>
                  <a:close/>
                  <a:moveTo>
                    <a:pt x="1154" y="516"/>
                  </a:moveTo>
                  <a:lnTo>
                    <a:pt x="1154" y="517"/>
                  </a:lnTo>
                  <a:lnTo>
                    <a:pt x="1154" y="516"/>
                  </a:lnTo>
                  <a:close/>
                  <a:moveTo>
                    <a:pt x="1173" y="516"/>
                  </a:moveTo>
                  <a:lnTo>
                    <a:pt x="1171" y="516"/>
                  </a:lnTo>
                  <a:lnTo>
                    <a:pt x="1173" y="516"/>
                  </a:lnTo>
                  <a:close/>
                  <a:moveTo>
                    <a:pt x="1154" y="517"/>
                  </a:moveTo>
                  <a:lnTo>
                    <a:pt x="1154" y="516"/>
                  </a:lnTo>
                  <a:lnTo>
                    <a:pt x="1155" y="516"/>
                  </a:lnTo>
                  <a:lnTo>
                    <a:pt x="1154" y="516"/>
                  </a:lnTo>
                  <a:lnTo>
                    <a:pt x="1154" y="517"/>
                  </a:lnTo>
                  <a:close/>
                  <a:moveTo>
                    <a:pt x="1170" y="516"/>
                  </a:moveTo>
                  <a:lnTo>
                    <a:pt x="1171" y="516"/>
                  </a:lnTo>
                  <a:lnTo>
                    <a:pt x="1170" y="516"/>
                  </a:lnTo>
                  <a:close/>
                  <a:moveTo>
                    <a:pt x="1176" y="516"/>
                  </a:moveTo>
                  <a:lnTo>
                    <a:pt x="1176" y="514"/>
                  </a:lnTo>
                  <a:lnTo>
                    <a:pt x="1176" y="516"/>
                  </a:lnTo>
                  <a:close/>
                  <a:moveTo>
                    <a:pt x="1158" y="516"/>
                  </a:moveTo>
                  <a:lnTo>
                    <a:pt x="1158" y="514"/>
                  </a:lnTo>
                  <a:lnTo>
                    <a:pt x="1158" y="516"/>
                  </a:lnTo>
                  <a:close/>
                  <a:moveTo>
                    <a:pt x="1173" y="516"/>
                  </a:moveTo>
                  <a:lnTo>
                    <a:pt x="1173" y="514"/>
                  </a:lnTo>
                  <a:lnTo>
                    <a:pt x="1173" y="516"/>
                  </a:lnTo>
                  <a:close/>
                  <a:moveTo>
                    <a:pt x="1171" y="516"/>
                  </a:moveTo>
                  <a:lnTo>
                    <a:pt x="1171" y="514"/>
                  </a:lnTo>
                  <a:lnTo>
                    <a:pt x="1171" y="516"/>
                  </a:lnTo>
                  <a:close/>
                  <a:moveTo>
                    <a:pt x="1171" y="516"/>
                  </a:moveTo>
                  <a:lnTo>
                    <a:pt x="1171" y="514"/>
                  </a:lnTo>
                  <a:lnTo>
                    <a:pt x="1171" y="516"/>
                  </a:lnTo>
                  <a:close/>
                  <a:moveTo>
                    <a:pt x="1173" y="516"/>
                  </a:moveTo>
                  <a:lnTo>
                    <a:pt x="1173" y="514"/>
                  </a:lnTo>
                  <a:lnTo>
                    <a:pt x="1173" y="516"/>
                  </a:lnTo>
                  <a:close/>
                  <a:moveTo>
                    <a:pt x="1173" y="516"/>
                  </a:moveTo>
                  <a:lnTo>
                    <a:pt x="1173" y="514"/>
                  </a:lnTo>
                  <a:lnTo>
                    <a:pt x="1173" y="516"/>
                  </a:lnTo>
                  <a:close/>
                  <a:moveTo>
                    <a:pt x="1181" y="516"/>
                  </a:moveTo>
                  <a:lnTo>
                    <a:pt x="1181" y="514"/>
                  </a:lnTo>
                  <a:lnTo>
                    <a:pt x="1181" y="516"/>
                  </a:lnTo>
                  <a:close/>
                  <a:moveTo>
                    <a:pt x="1181" y="514"/>
                  </a:moveTo>
                  <a:lnTo>
                    <a:pt x="1180" y="516"/>
                  </a:lnTo>
                  <a:lnTo>
                    <a:pt x="1181" y="514"/>
                  </a:lnTo>
                  <a:close/>
                  <a:moveTo>
                    <a:pt x="1173" y="514"/>
                  </a:moveTo>
                  <a:lnTo>
                    <a:pt x="1175" y="514"/>
                  </a:lnTo>
                  <a:lnTo>
                    <a:pt x="1173" y="514"/>
                  </a:lnTo>
                  <a:close/>
                  <a:moveTo>
                    <a:pt x="1168" y="514"/>
                  </a:moveTo>
                  <a:lnTo>
                    <a:pt x="1170" y="514"/>
                  </a:lnTo>
                  <a:lnTo>
                    <a:pt x="1168" y="514"/>
                  </a:lnTo>
                  <a:close/>
                  <a:moveTo>
                    <a:pt x="1180" y="514"/>
                  </a:moveTo>
                  <a:lnTo>
                    <a:pt x="1181" y="514"/>
                  </a:lnTo>
                  <a:lnTo>
                    <a:pt x="1180" y="514"/>
                  </a:lnTo>
                  <a:close/>
                  <a:moveTo>
                    <a:pt x="1158" y="514"/>
                  </a:moveTo>
                  <a:lnTo>
                    <a:pt x="1157" y="514"/>
                  </a:lnTo>
                  <a:lnTo>
                    <a:pt x="1158" y="514"/>
                  </a:lnTo>
                  <a:close/>
                  <a:moveTo>
                    <a:pt x="1171" y="514"/>
                  </a:moveTo>
                  <a:lnTo>
                    <a:pt x="1173" y="514"/>
                  </a:lnTo>
                  <a:lnTo>
                    <a:pt x="1171" y="514"/>
                  </a:lnTo>
                  <a:lnTo>
                    <a:pt x="1173" y="514"/>
                  </a:lnTo>
                  <a:lnTo>
                    <a:pt x="1171" y="514"/>
                  </a:lnTo>
                  <a:lnTo>
                    <a:pt x="1171" y="516"/>
                  </a:lnTo>
                  <a:lnTo>
                    <a:pt x="1171" y="514"/>
                  </a:lnTo>
                  <a:close/>
                  <a:moveTo>
                    <a:pt x="1152" y="514"/>
                  </a:moveTo>
                  <a:lnTo>
                    <a:pt x="1152" y="513"/>
                  </a:lnTo>
                  <a:lnTo>
                    <a:pt x="1152" y="514"/>
                  </a:lnTo>
                  <a:close/>
                  <a:moveTo>
                    <a:pt x="1175" y="513"/>
                  </a:moveTo>
                  <a:lnTo>
                    <a:pt x="1175" y="514"/>
                  </a:lnTo>
                  <a:lnTo>
                    <a:pt x="1175" y="513"/>
                  </a:lnTo>
                  <a:close/>
                  <a:moveTo>
                    <a:pt x="1173" y="513"/>
                  </a:moveTo>
                  <a:lnTo>
                    <a:pt x="1173" y="514"/>
                  </a:lnTo>
                  <a:lnTo>
                    <a:pt x="1173" y="513"/>
                  </a:lnTo>
                  <a:close/>
                  <a:moveTo>
                    <a:pt x="1176" y="513"/>
                  </a:moveTo>
                  <a:lnTo>
                    <a:pt x="1175" y="513"/>
                  </a:lnTo>
                  <a:lnTo>
                    <a:pt x="1176" y="513"/>
                  </a:lnTo>
                  <a:close/>
                  <a:moveTo>
                    <a:pt x="1180" y="513"/>
                  </a:moveTo>
                  <a:lnTo>
                    <a:pt x="1180" y="514"/>
                  </a:lnTo>
                  <a:lnTo>
                    <a:pt x="1180" y="513"/>
                  </a:lnTo>
                  <a:close/>
                  <a:moveTo>
                    <a:pt x="1175" y="513"/>
                  </a:moveTo>
                  <a:lnTo>
                    <a:pt x="1175" y="514"/>
                  </a:lnTo>
                  <a:lnTo>
                    <a:pt x="1175" y="513"/>
                  </a:lnTo>
                  <a:lnTo>
                    <a:pt x="1175" y="514"/>
                  </a:lnTo>
                  <a:lnTo>
                    <a:pt x="1175" y="513"/>
                  </a:lnTo>
                  <a:close/>
                  <a:moveTo>
                    <a:pt x="1101" y="514"/>
                  </a:moveTo>
                  <a:lnTo>
                    <a:pt x="1101" y="513"/>
                  </a:lnTo>
                  <a:lnTo>
                    <a:pt x="1103" y="513"/>
                  </a:lnTo>
                  <a:lnTo>
                    <a:pt x="1101" y="513"/>
                  </a:lnTo>
                  <a:lnTo>
                    <a:pt x="1103" y="513"/>
                  </a:lnTo>
                  <a:lnTo>
                    <a:pt x="1103" y="514"/>
                  </a:lnTo>
                  <a:lnTo>
                    <a:pt x="1101" y="514"/>
                  </a:lnTo>
                  <a:lnTo>
                    <a:pt x="1101" y="513"/>
                  </a:lnTo>
                  <a:lnTo>
                    <a:pt x="1101" y="514"/>
                  </a:lnTo>
                  <a:close/>
                  <a:moveTo>
                    <a:pt x="1180" y="514"/>
                  </a:moveTo>
                  <a:lnTo>
                    <a:pt x="1180" y="513"/>
                  </a:lnTo>
                  <a:lnTo>
                    <a:pt x="1180" y="514"/>
                  </a:lnTo>
                  <a:close/>
                  <a:moveTo>
                    <a:pt x="1184" y="513"/>
                  </a:moveTo>
                  <a:lnTo>
                    <a:pt x="1186" y="513"/>
                  </a:lnTo>
                  <a:lnTo>
                    <a:pt x="1184" y="513"/>
                  </a:lnTo>
                  <a:close/>
                  <a:moveTo>
                    <a:pt x="1181" y="513"/>
                  </a:moveTo>
                  <a:lnTo>
                    <a:pt x="1181" y="511"/>
                  </a:lnTo>
                  <a:lnTo>
                    <a:pt x="1181" y="513"/>
                  </a:lnTo>
                  <a:close/>
                  <a:moveTo>
                    <a:pt x="1176" y="513"/>
                  </a:moveTo>
                  <a:lnTo>
                    <a:pt x="1176" y="511"/>
                  </a:lnTo>
                  <a:lnTo>
                    <a:pt x="1176" y="513"/>
                  </a:lnTo>
                  <a:close/>
                  <a:moveTo>
                    <a:pt x="1176" y="513"/>
                  </a:moveTo>
                  <a:lnTo>
                    <a:pt x="1176" y="511"/>
                  </a:lnTo>
                  <a:lnTo>
                    <a:pt x="1176" y="513"/>
                  </a:lnTo>
                  <a:close/>
                  <a:moveTo>
                    <a:pt x="1175" y="513"/>
                  </a:moveTo>
                  <a:lnTo>
                    <a:pt x="1175" y="511"/>
                  </a:lnTo>
                  <a:lnTo>
                    <a:pt x="1175" y="513"/>
                  </a:lnTo>
                  <a:close/>
                  <a:moveTo>
                    <a:pt x="1186" y="511"/>
                  </a:moveTo>
                  <a:lnTo>
                    <a:pt x="1186" y="513"/>
                  </a:lnTo>
                  <a:lnTo>
                    <a:pt x="1186" y="511"/>
                  </a:lnTo>
                  <a:close/>
                  <a:moveTo>
                    <a:pt x="1171" y="511"/>
                  </a:moveTo>
                  <a:lnTo>
                    <a:pt x="1173" y="511"/>
                  </a:lnTo>
                  <a:lnTo>
                    <a:pt x="1171" y="511"/>
                  </a:lnTo>
                  <a:close/>
                  <a:moveTo>
                    <a:pt x="1103" y="511"/>
                  </a:moveTo>
                  <a:lnTo>
                    <a:pt x="1105" y="511"/>
                  </a:lnTo>
                  <a:lnTo>
                    <a:pt x="1103" y="511"/>
                  </a:lnTo>
                  <a:close/>
                  <a:moveTo>
                    <a:pt x="1186" y="511"/>
                  </a:moveTo>
                  <a:lnTo>
                    <a:pt x="1188" y="511"/>
                  </a:lnTo>
                  <a:lnTo>
                    <a:pt x="1186" y="511"/>
                  </a:lnTo>
                  <a:close/>
                  <a:moveTo>
                    <a:pt x="1105" y="511"/>
                  </a:moveTo>
                  <a:lnTo>
                    <a:pt x="1105" y="513"/>
                  </a:lnTo>
                  <a:lnTo>
                    <a:pt x="1105" y="511"/>
                  </a:lnTo>
                  <a:close/>
                  <a:moveTo>
                    <a:pt x="1176" y="511"/>
                  </a:moveTo>
                  <a:lnTo>
                    <a:pt x="1178" y="511"/>
                  </a:lnTo>
                  <a:lnTo>
                    <a:pt x="1176" y="511"/>
                  </a:lnTo>
                  <a:close/>
                  <a:moveTo>
                    <a:pt x="1180" y="511"/>
                  </a:moveTo>
                  <a:lnTo>
                    <a:pt x="1181" y="511"/>
                  </a:lnTo>
                  <a:lnTo>
                    <a:pt x="1180" y="511"/>
                  </a:lnTo>
                  <a:close/>
                  <a:moveTo>
                    <a:pt x="1184" y="511"/>
                  </a:moveTo>
                  <a:lnTo>
                    <a:pt x="1186" y="511"/>
                  </a:lnTo>
                  <a:lnTo>
                    <a:pt x="1184" y="511"/>
                  </a:lnTo>
                  <a:close/>
                  <a:moveTo>
                    <a:pt x="1105" y="511"/>
                  </a:moveTo>
                  <a:lnTo>
                    <a:pt x="1103" y="511"/>
                  </a:lnTo>
                  <a:lnTo>
                    <a:pt x="1105" y="511"/>
                  </a:lnTo>
                  <a:close/>
                  <a:moveTo>
                    <a:pt x="1106" y="511"/>
                  </a:moveTo>
                  <a:lnTo>
                    <a:pt x="1106" y="509"/>
                  </a:lnTo>
                  <a:lnTo>
                    <a:pt x="1106" y="511"/>
                  </a:lnTo>
                  <a:close/>
                  <a:moveTo>
                    <a:pt x="1181" y="511"/>
                  </a:moveTo>
                  <a:lnTo>
                    <a:pt x="1181" y="509"/>
                  </a:lnTo>
                  <a:lnTo>
                    <a:pt x="1181" y="511"/>
                  </a:lnTo>
                  <a:close/>
                  <a:moveTo>
                    <a:pt x="1100" y="511"/>
                  </a:moveTo>
                  <a:lnTo>
                    <a:pt x="1100" y="509"/>
                  </a:lnTo>
                  <a:lnTo>
                    <a:pt x="1100" y="511"/>
                  </a:lnTo>
                  <a:close/>
                  <a:moveTo>
                    <a:pt x="1186" y="511"/>
                  </a:moveTo>
                  <a:lnTo>
                    <a:pt x="1186" y="509"/>
                  </a:lnTo>
                  <a:lnTo>
                    <a:pt x="1186" y="511"/>
                  </a:lnTo>
                  <a:close/>
                  <a:moveTo>
                    <a:pt x="1186" y="511"/>
                  </a:moveTo>
                  <a:lnTo>
                    <a:pt x="1186" y="509"/>
                  </a:lnTo>
                  <a:lnTo>
                    <a:pt x="1186" y="511"/>
                  </a:lnTo>
                  <a:close/>
                  <a:moveTo>
                    <a:pt x="1188" y="509"/>
                  </a:moveTo>
                  <a:lnTo>
                    <a:pt x="1189" y="509"/>
                  </a:lnTo>
                  <a:lnTo>
                    <a:pt x="1188" y="509"/>
                  </a:lnTo>
                  <a:close/>
                  <a:moveTo>
                    <a:pt x="1202" y="509"/>
                  </a:moveTo>
                  <a:lnTo>
                    <a:pt x="1204" y="509"/>
                  </a:lnTo>
                  <a:lnTo>
                    <a:pt x="1202" y="509"/>
                  </a:lnTo>
                  <a:close/>
                  <a:moveTo>
                    <a:pt x="1199" y="511"/>
                  </a:moveTo>
                  <a:lnTo>
                    <a:pt x="1199" y="509"/>
                  </a:lnTo>
                  <a:lnTo>
                    <a:pt x="1201" y="509"/>
                  </a:lnTo>
                  <a:lnTo>
                    <a:pt x="1199" y="511"/>
                  </a:lnTo>
                  <a:close/>
                  <a:moveTo>
                    <a:pt x="1194" y="511"/>
                  </a:moveTo>
                  <a:lnTo>
                    <a:pt x="1196" y="509"/>
                  </a:lnTo>
                  <a:lnTo>
                    <a:pt x="1196" y="511"/>
                  </a:lnTo>
                  <a:lnTo>
                    <a:pt x="1194" y="511"/>
                  </a:lnTo>
                  <a:close/>
                  <a:moveTo>
                    <a:pt x="1204" y="509"/>
                  </a:moveTo>
                  <a:lnTo>
                    <a:pt x="1204" y="511"/>
                  </a:lnTo>
                  <a:lnTo>
                    <a:pt x="1204" y="509"/>
                  </a:lnTo>
                  <a:close/>
                  <a:moveTo>
                    <a:pt x="1170" y="509"/>
                  </a:moveTo>
                  <a:lnTo>
                    <a:pt x="1168" y="509"/>
                  </a:lnTo>
                  <a:lnTo>
                    <a:pt x="1170" y="509"/>
                  </a:lnTo>
                  <a:close/>
                  <a:moveTo>
                    <a:pt x="1188" y="509"/>
                  </a:moveTo>
                  <a:lnTo>
                    <a:pt x="1189" y="509"/>
                  </a:lnTo>
                  <a:lnTo>
                    <a:pt x="1188" y="509"/>
                  </a:lnTo>
                  <a:close/>
                  <a:moveTo>
                    <a:pt x="1186" y="509"/>
                  </a:moveTo>
                  <a:lnTo>
                    <a:pt x="1188" y="509"/>
                  </a:lnTo>
                  <a:lnTo>
                    <a:pt x="1186" y="509"/>
                  </a:lnTo>
                  <a:close/>
                  <a:moveTo>
                    <a:pt x="1184" y="509"/>
                  </a:moveTo>
                  <a:lnTo>
                    <a:pt x="1186" y="509"/>
                  </a:lnTo>
                  <a:lnTo>
                    <a:pt x="1184" y="511"/>
                  </a:lnTo>
                  <a:lnTo>
                    <a:pt x="1184" y="509"/>
                  </a:lnTo>
                  <a:lnTo>
                    <a:pt x="1186" y="509"/>
                  </a:lnTo>
                  <a:lnTo>
                    <a:pt x="1184" y="509"/>
                  </a:lnTo>
                  <a:close/>
                  <a:moveTo>
                    <a:pt x="1103" y="509"/>
                  </a:moveTo>
                  <a:lnTo>
                    <a:pt x="1105" y="509"/>
                  </a:lnTo>
                  <a:lnTo>
                    <a:pt x="1103" y="509"/>
                  </a:lnTo>
                  <a:lnTo>
                    <a:pt x="1103" y="511"/>
                  </a:lnTo>
                  <a:lnTo>
                    <a:pt x="1103" y="509"/>
                  </a:lnTo>
                  <a:lnTo>
                    <a:pt x="1101" y="509"/>
                  </a:lnTo>
                  <a:lnTo>
                    <a:pt x="1103" y="509"/>
                  </a:lnTo>
                  <a:close/>
                  <a:moveTo>
                    <a:pt x="1189" y="509"/>
                  </a:moveTo>
                  <a:lnTo>
                    <a:pt x="1189" y="508"/>
                  </a:lnTo>
                  <a:lnTo>
                    <a:pt x="1189" y="509"/>
                  </a:lnTo>
                  <a:close/>
                  <a:moveTo>
                    <a:pt x="1186" y="509"/>
                  </a:moveTo>
                  <a:lnTo>
                    <a:pt x="1186" y="508"/>
                  </a:lnTo>
                  <a:lnTo>
                    <a:pt x="1188" y="509"/>
                  </a:lnTo>
                  <a:lnTo>
                    <a:pt x="1186" y="509"/>
                  </a:lnTo>
                  <a:close/>
                  <a:moveTo>
                    <a:pt x="1178" y="508"/>
                  </a:moveTo>
                  <a:lnTo>
                    <a:pt x="1178" y="509"/>
                  </a:lnTo>
                  <a:lnTo>
                    <a:pt x="1178" y="508"/>
                  </a:lnTo>
                  <a:close/>
                  <a:moveTo>
                    <a:pt x="1171" y="509"/>
                  </a:moveTo>
                  <a:lnTo>
                    <a:pt x="1171" y="508"/>
                  </a:lnTo>
                  <a:lnTo>
                    <a:pt x="1171" y="509"/>
                  </a:lnTo>
                  <a:close/>
                  <a:moveTo>
                    <a:pt x="1191" y="509"/>
                  </a:moveTo>
                  <a:lnTo>
                    <a:pt x="1191" y="508"/>
                  </a:lnTo>
                  <a:lnTo>
                    <a:pt x="1191" y="509"/>
                  </a:lnTo>
                  <a:close/>
                  <a:moveTo>
                    <a:pt x="1194" y="509"/>
                  </a:moveTo>
                  <a:lnTo>
                    <a:pt x="1194" y="508"/>
                  </a:lnTo>
                  <a:lnTo>
                    <a:pt x="1194" y="509"/>
                  </a:lnTo>
                  <a:close/>
                  <a:moveTo>
                    <a:pt x="1197" y="508"/>
                  </a:moveTo>
                  <a:lnTo>
                    <a:pt x="1197" y="509"/>
                  </a:lnTo>
                  <a:lnTo>
                    <a:pt x="1197" y="508"/>
                  </a:lnTo>
                  <a:close/>
                  <a:moveTo>
                    <a:pt x="1191" y="508"/>
                  </a:moveTo>
                  <a:lnTo>
                    <a:pt x="1191" y="509"/>
                  </a:lnTo>
                  <a:lnTo>
                    <a:pt x="1191" y="508"/>
                  </a:lnTo>
                  <a:close/>
                  <a:moveTo>
                    <a:pt x="1183" y="508"/>
                  </a:moveTo>
                  <a:lnTo>
                    <a:pt x="1181" y="508"/>
                  </a:lnTo>
                  <a:lnTo>
                    <a:pt x="1183" y="508"/>
                  </a:lnTo>
                  <a:close/>
                  <a:moveTo>
                    <a:pt x="1162" y="521"/>
                  </a:moveTo>
                  <a:lnTo>
                    <a:pt x="1162" y="519"/>
                  </a:lnTo>
                  <a:lnTo>
                    <a:pt x="1160" y="519"/>
                  </a:lnTo>
                  <a:lnTo>
                    <a:pt x="1160" y="521"/>
                  </a:lnTo>
                  <a:lnTo>
                    <a:pt x="1160" y="519"/>
                  </a:lnTo>
                  <a:lnTo>
                    <a:pt x="1160" y="521"/>
                  </a:lnTo>
                  <a:lnTo>
                    <a:pt x="1160" y="519"/>
                  </a:lnTo>
                  <a:lnTo>
                    <a:pt x="1158" y="519"/>
                  </a:lnTo>
                  <a:lnTo>
                    <a:pt x="1157" y="519"/>
                  </a:lnTo>
                  <a:lnTo>
                    <a:pt x="1158" y="519"/>
                  </a:lnTo>
                  <a:lnTo>
                    <a:pt x="1158" y="517"/>
                  </a:lnTo>
                  <a:lnTo>
                    <a:pt x="1158" y="516"/>
                  </a:lnTo>
                  <a:lnTo>
                    <a:pt x="1158" y="514"/>
                  </a:lnTo>
                  <a:lnTo>
                    <a:pt x="1160" y="513"/>
                  </a:lnTo>
                  <a:lnTo>
                    <a:pt x="1160" y="511"/>
                  </a:lnTo>
                  <a:lnTo>
                    <a:pt x="1162" y="511"/>
                  </a:lnTo>
                  <a:lnTo>
                    <a:pt x="1162" y="509"/>
                  </a:lnTo>
                  <a:lnTo>
                    <a:pt x="1163" y="509"/>
                  </a:lnTo>
                  <a:lnTo>
                    <a:pt x="1163" y="508"/>
                  </a:lnTo>
                  <a:lnTo>
                    <a:pt x="1165" y="508"/>
                  </a:lnTo>
                  <a:lnTo>
                    <a:pt x="1165" y="509"/>
                  </a:lnTo>
                  <a:lnTo>
                    <a:pt x="1165" y="508"/>
                  </a:lnTo>
                  <a:lnTo>
                    <a:pt x="1165" y="509"/>
                  </a:lnTo>
                  <a:lnTo>
                    <a:pt x="1167" y="509"/>
                  </a:lnTo>
                  <a:lnTo>
                    <a:pt x="1167" y="511"/>
                  </a:lnTo>
                  <a:lnTo>
                    <a:pt x="1165" y="513"/>
                  </a:lnTo>
                  <a:lnTo>
                    <a:pt x="1163" y="513"/>
                  </a:lnTo>
                  <a:lnTo>
                    <a:pt x="1165" y="513"/>
                  </a:lnTo>
                  <a:lnTo>
                    <a:pt x="1165" y="514"/>
                  </a:lnTo>
                  <a:lnTo>
                    <a:pt x="1165" y="516"/>
                  </a:lnTo>
                  <a:lnTo>
                    <a:pt x="1165" y="517"/>
                  </a:lnTo>
                  <a:lnTo>
                    <a:pt x="1163" y="517"/>
                  </a:lnTo>
                  <a:lnTo>
                    <a:pt x="1163" y="516"/>
                  </a:lnTo>
                  <a:lnTo>
                    <a:pt x="1163" y="517"/>
                  </a:lnTo>
                  <a:lnTo>
                    <a:pt x="1162" y="519"/>
                  </a:lnTo>
                  <a:lnTo>
                    <a:pt x="1163" y="519"/>
                  </a:lnTo>
                  <a:lnTo>
                    <a:pt x="1162" y="521"/>
                  </a:lnTo>
                  <a:close/>
                  <a:moveTo>
                    <a:pt x="1128" y="508"/>
                  </a:moveTo>
                  <a:lnTo>
                    <a:pt x="1129" y="508"/>
                  </a:lnTo>
                  <a:lnTo>
                    <a:pt x="1128" y="508"/>
                  </a:lnTo>
                  <a:close/>
                  <a:moveTo>
                    <a:pt x="1180" y="508"/>
                  </a:moveTo>
                  <a:lnTo>
                    <a:pt x="1178" y="508"/>
                  </a:lnTo>
                  <a:lnTo>
                    <a:pt x="1180" y="508"/>
                  </a:lnTo>
                  <a:close/>
                  <a:moveTo>
                    <a:pt x="1186" y="508"/>
                  </a:moveTo>
                  <a:lnTo>
                    <a:pt x="1188" y="508"/>
                  </a:lnTo>
                  <a:lnTo>
                    <a:pt x="1186" y="508"/>
                  </a:lnTo>
                  <a:close/>
                  <a:moveTo>
                    <a:pt x="1186" y="508"/>
                  </a:moveTo>
                  <a:lnTo>
                    <a:pt x="1186" y="506"/>
                  </a:lnTo>
                  <a:lnTo>
                    <a:pt x="1186" y="508"/>
                  </a:lnTo>
                  <a:close/>
                  <a:moveTo>
                    <a:pt x="1191" y="506"/>
                  </a:moveTo>
                  <a:lnTo>
                    <a:pt x="1191" y="508"/>
                  </a:lnTo>
                  <a:lnTo>
                    <a:pt x="1191" y="506"/>
                  </a:lnTo>
                  <a:close/>
                  <a:moveTo>
                    <a:pt x="1184" y="508"/>
                  </a:moveTo>
                  <a:lnTo>
                    <a:pt x="1184" y="506"/>
                  </a:lnTo>
                  <a:lnTo>
                    <a:pt x="1184" y="508"/>
                  </a:lnTo>
                  <a:close/>
                  <a:moveTo>
                    <a:pt x="1115" y="508"/>
                  </a:moveTo>
                  <a:lnTo>
                    <a:pt x="1115" y="506"/>
                  </a:lnTo>
                  <a:lnTo>
                    <a:pt x="1115" y="508"/>
                  </a:lnTo>
                  <a:close/>
                  <a:moveTo>
                    <a:pt x="1176" y="508"/>
                  </a:moveTo>
                  <a:lnTo>
                    <a:pt x="1176" y="506"/>
                  </a:lnTo>
                  <a:lnTo>
                    <a:pt x="1176" y="508"/>
                  </a:lnTo>
                  <a:close/>
                  <a:moveTo>
                    <a:pt x="1191" y="508"/>
                  </a:moveTo>
                  <a:lnTo>
                    <a:pt x="1191" y="506"/>
                  </a:lnTo>
                  <a:lnTo>
                    <a:pt x="1191" y="508"/>
                  </a:lnTo>
                  <a:close/>
                  <a:moveTo>
                    <a:pt x="1119" y="506"/>
                  </a:moveTo>
                  <a:lnTo>
                    <a:pt x="1118" y="506"/>
                  </a:lnTo>
                  <a:lnTo>
                    <a:pt x="1119" y="506"/>
                  </a:lnTo>
                  <a:close/>
                  <a:moveTo>
                    <a:pt x="1202" y="506"/>
                  </a:moveTo>
                  <a:lnTo>
                    <a:pt x="1204" y="506"/>
                  </a:lnTo>
                  <a:lnTo>
                    <a:pt x="1202" y="506"/>
                  </a:lnTo>
                  <a:close/>
                  <a:moveTo>
                    <a:pt x="1186" y="508"/>
                  </a:moveTo>
                  <a:lnTo>
                    <a:pt x="1186" y="506"/>
                  </a:lnTo>
                  <a:lnTo>
                    <a:pt x="1188" y="506"/>
                  </a:lnTo>
                  <a:lnTo>
                    <a:pt x="1186" y="506"/>
                  </a:lnTo>
                  <a:lnTo>
                    <a:pt x="1186" y="508"/>
                  </a:lnTo>
                  <a:close/>
                  <a:moveTo>
                    <a:pt x="1119" y="527"/>
                  </a:moveTo>
                  <a:lnTo>
                    <a:pt x="1118" y="527"/>
                  </a:lnTo>
                  <a:lnTo>
                    <a:pt x="1118" y="529"/>
                  </a:lnTo>
                  <a:lnTo>
                    <a:pt x="1118" y="527"/>
                  </a:lnTo>
                  <a:lnTo>
                    <a:pt x="1116" y="529"/>
                  </a:lnTo>
                  <a:lnTo>
                    <a:pt x="1118" y="529"/>
                  </a:lnTo>
                  <a:lnTo>
                    <a:pt x="1116" y="529"/>
                  </a:lnTo>
                  <a:lnTo>
                    <a:pt x="1116" y="527"/>
                  </a:lnTo>
                  <a:lnTo>
                    <a:pt x="1115" y="527"/>
                  </a:lnTo>
                  <a:lnTo>
                    <a:pt x="1115" y="529"/>
                  </a:lnTo>
                  <a:lnTo>
                    <a:pt x="1115" y="527"/>
                  </a:lnTo>
                  <a:lnTo>
                    <a:pt x="1115" y="529"/>
                  </a:lnTo>
                  <a:lnTo>
                    <a:pt x="1113" y="529"/>
                  </a:lnTo>
                  <a:lnTo>
                    <a:pt x="1113" y="527"/>
                  </a:lnTo>
                  <a:lnTo>
                    <a:pt x="1113" y="529"/>
                  </a:lnTo>
                  <a:lnTo>
                    <a:pt x="1111" y="529"/>
                  </a:lnTo>
                  <a:lnTo>
                    <a:pt x="1111" y="531"/>
                  </a:lnTo>
                  <a:lnTo>
                    <a:pt x="1110" y="531"/>
                  </a:lnTo>
                  <a:lnTo>
                    <a:pt x="1110" y="529"/>
                  </a:lnTo>
                  <a:lnTo>
                    <a:pt x="1110" y="531"/>
                  </a:lnTo>
                  <a:lnTo>
                    <a:pt x="1110" y="529"/>
                  </a:lnTo>
                  <a:lnTo>
                    <a:pt x="1110" y="527"/>
                  </a:lnTo>
                  <a:lnTo>
                    <a:pt x="1110" y="529"/>
                  </a:lnTo>
                  <a:lnTo>
                    <a:pt x="1108" y="529"/>
                  </a:lnTo>
                  <a:lnTo>
                    <a:pt x="1110" y="529"/>
                  </a:lnTo>
                  <a:lnTo>
                    <a:pt x="1108" y="531"/>
                  </a:lnTo>
                  <a:lnTo>
                    <a:pt x="1108" y="532"/>
                  </a:lnTo>
                  <a:lnTo>
                    <a:pt x="1105" y="532"/>
                  </a:lnTo>
                  <a:lnTo>
                    <a:pt x="1106" y="532"/>
                  </a:lnTo>
                  <a:lnTo>
                    <a:pt x="1105" y="532"/>
                  </a:lnTo>
                  <a:lnTo>
                    <a:pt x="1105" y="534"/>
                  </a:lnTo>
                  <a:lnTo>
                    <a:pt x="1106" y="534"/>
                  </a:lnTo>
                  <a:lnTo>
                    <a:pt x="1108" y="534"/>
                  </a:lnTo>
                  <a:lnTo>
                    <a:pt x="1110" y="534"/>
                  </a:lnTo>
                  <a:lnTo>
                    <a:pt x="1110" y="535"/>
                  </a:lnTo>
                  <a:lnTo>
                    <a:pt x="1108" y="535"/>
                  </a:lnTo>
                  <a:lnTo>
                    <a:pt x="1108" y="534"/>
                  </a:lnTo>
                  <a:lnTo>
                    <a:pt x="1108" y="535"/>
                  </a:lnTo>
                  <a:lnTo>
                    <a:pt x="1108" y="537"/>
                  </a:lnTo>
                  <a:lnTo>
                    <a:pt x="1110" y="537"/>
                  </a:lnTo>
                  <a:lnTo>
                    <a:pt x="1108" y="539"/>
                  </a:lnTo>
                  <a:lnTo>
                    <a:pt x="1110" y="539"/>
                  </a:lnTo>
                  <a:lnTo>
                    <a:pt x="1108" y="539"/>
                  </a:lnTo>
                  <a:lnTo>
                    <a:pt x="1110" y="539"/>
                  </a:lnTo>
                  <a:lnTo>
                    <a:pt x="1108" y="539"/>
                  </a:lnTo>
                  <a:lnTo>
                    <a:pt x="1108" y="540"/>
                  </a:lnTo>
                  <a:lnTo>
                    <a:pt x="1108" y="539"/>
                  </a:lnTo>
                  <a:lnTo>
                    <a:pt x="1106" y="539"/>
                  </a:lnTo>
                  <a:lnTo>
                    <a:pt x="1106" y="540"/>
                  </a:lnTo>
                  <a:lnTo>
                    <a:pt x="1105" y="539"/>
                  </a:lnTo>
                  <a:lnTo>
                    <a:pt x="1105" y="540"/>
                  </a:lnTo>
                  <a:lnTo>
                    <a:pt x="1105" y="539"/>
                  </a:lnTo>
                  <a:lnTo>
                    <a:pt x="1105" y="540"/>
                  </a:lnTo>
                  <a:lnTo>
                    <a:pt x="1105" y="539"/>
                  </a:lnTo>
                  <a:lnTo>
                    <a:pt x="1105" y="537"/>
                  </a:lnTo>
                  <a:lnTo>
                    <a:pt x="1103" y="537"/>
                  </a:lnTo>
                  <a:lnTo>
                    <a:pt x="1103" y="539"/>
                  </a:lnTo>
                  <a:lnTo>
                    <a:pt x="1103" y="537"/>
                  </a:lnTo>
                  <a:lnTo>
                    <a:pt x="1105" y="537"/>
                  </a:lnTo>
                  <a:lnTo>
                    <a:pt x="1103" y="537"/>
                  </a:lnTo>
                  <a:lnTo>
                    <a:pt x="1103" y="535"/>
                  </a:lnTo>
                  <a:lnTo>
                    <a:pt x="1103" y="534"/>
                  </a:lnTo>
                  <a:lnTo>
                    <a:pt x="1103" y="535"/>
                  </a:lnTo>
                  <a:lnTo>
                    <a:pt x="1103" y="537"/>
                  </a:lnTo>
                  <a:lnTo>
                    <a:pt x="1101" y="537"/>
                  </a:lnTo>
                  <a:lnTo>
                    <a:pt x="1103" y="537"/>
                  </a:lnTo>
                  <a:lnTo>
                    <a:pt x="1103" y="539"/>
                  </a:lnTo>
                  <a:lnTo>
                    <a:pt x="1101" y="539"/>
                  </a:lnTo>
                  <a:lnTo>
                    <a:pt x="1101" y="540"/>
                  </a:lnTo>
                  <a:lnTo>
                    <a:pt x="1101" y="542"/>
                  </a:lnTo>
                  <a:lnTo>
                    <a:pt x="1101" y="544"/>
                  </a:lnTo>
                  <a:lnTo>
                    <a:pt x="1103" y="544"/>
                  </a:lnTo>
                  <a:lnTo>
                    <a:pt x="1101" y="544"/>
                  </a:lnTo>
                  <a:lnTo>
                    <a:pt x="1101" y="545"/>
                  </a:lnTo>
                  <a:lnTo>
                    <a:pt x="1101" y="544"/>
                  </a:lnTo>
                  <a:lnTo>
                    <a:pt x="1101" y="545"/>
                  </a:lnTo>
                  <a:lnTo>
                    <a:pt x="1100" y="545"/>
                  </a:lnTo>
                  <a:lnTo>
                    <a:pt x="1100" y="544"/>
                  </a:lnTo>
                  <a:lnTo>
                    <a:pt x="1098" y="544"/>
                  </a:lnTo>
                  <a:lnTo>
                    <a:pt x="1098" y="545"/>
                  </a:lnTo>
                  <a:lnTo>
                    <a:pt x="1097" y="545"/>
                  </a:lnTo>
                  <a:lnTo>
                    <a:pt x="1097" y="544"/>
                  </a:lnTo>
                  <a:lnTo>
                    <a:pt x="1098" y="544"/>
                  </a:lnTo>
                  <a:lnTo>
                    <a:pt x="1098" y="542"/>
                  </a:lnTo>
                  <a:lnTo>
                    <a:pt x="1097" y="542"/>
                  </a:lnTo>
                  <a:lnTo>
                    <a:pt x="1097" y="544"/>
                  </a:lnTo>
                  <a:lnTo>
                    <a:pt x="1097" y="542"/>
                  </a:lnTo>
                  <a:lnTo>
                    <a:pt x="1095" y="542"/>
                  </a:lnTo>
                  <a:lnTo>
                    <a:pt x="1097" y="540"/>
                  </a:lnTo>
                  <a:lnTo>
                    <a:pt x="1098" y="540"/>
                  </a:lnTo>
                  <a:lnTo>
                    <a:pt x="1097" y="540"/>
                  </a:lnTo>
                  <a:lnTo>
                    <a:pt x="1097" y="539"/>
                  </a:lnTo>
                  <a:lnTo>
                    <a:pt x="1097" y="537"/>
                  </a:lnTo>
                  <a:lnTo>
                    <a:pt x="1097" y="539"/>
                  </a:lnTo>
                  <a:lnTo>
                    <a:pt x="1097" y="537"/>
                  </a:lnTo>
                  <a:lnTo>
                    <a:pt x="1095" y="539"/>
                  </a:lnTo>
                  <a:lnTo>
                    <a:pt x="1095" y="537"/>
                  </a:lnTo>
                  <a:lnTo>
                    <a:pt x="1095" y="539"/>
                  </a:lnTo>
                  <a:lnTo>
                    <a:pt x="1095" y="537"/>
                  </a:lnTo>
                  <a:lnTo>
                    <a:pt x="1097" y="537"/>
                  </a:lnTo>
                  <a:lnTo>
                    <a:pt x="1097" y="535"/>
                  </a:lnTo>
                  <a:lnTo>
                    <a:pt x="1095" y="537"/>
                  </a:lnTo>
                  <a:lnTo>
                    <a:pt x="1093" y="537"/>
                  </a:lnTo>
                  <a:lnTo>
                    <a:pt x="1093" y="539"/>
                  </a:lnTo>
                  <a:lnTo>
                    <a:pt x="1092" y="539"/>
                  </a:lnTo>
                  <a:lnTo>
                    <a:pt x="1093" y="539"/>
                  </a:lnTo>
                  <a:lnTo>
                    <a:pt x="1092" y="539"/>
                  </a:lnTo>
                  <a:lnTo>
                    <a:pt x="1093" y="539"/>
                  </a:lnTo>
                  <a:lnTo>
                    <a:pt x="1093" y="540"/>
                  </a:lnTo>
                  <a:lnTo>
                    <a:pt x="1093" y="542"/>
                  </a:lnTo>
                  <a:lnTo>
                    <a:pt x="1092" y="542"/>
                  </a:lnTo>
                  <a:lnTo>
                    <a:pt x="1093" y="542"/>
                  </a:lnTo>
                  <a:lnTo>
                    <a:pt x="1095" y="544"/>
                  </a:lnTo>
                  <a:lnTo>
                    <a:pt x="1093" y="544"/>
                  </a:lnTo>
                  <a:lnTo>
                    <a:pt x="1093" y="545"/>
                  </a:lnTo>
                  <a:lnTo>
                    <a:pt x="1092" y="545"/>
                  </a:lnTo>
                  <a:lnTo>
                    <a:pt x="1093" y="545"/>
                  </a:lnTo>
                  <a:lnTo>
                    <a:pt x="1093" y="547"/>
                  </a:lnTo>
                  <a:lnTo>
                    <a:pt x="1093" y="545"/>
                  </a:lnTo>
                  <a:lnTo>
                    <a:pt x="1092" y="547"/>
                  </a:lnTo>
                  <a:lnTo>
                    <a:pt x="1092" y="545"/>
                  </a:lnTo>
                  <a:lnTo>
                    <a:pt x="1092" y="547"/>
                  </a:lnTo>
                  <a:lnTo>
                    <a:pt x="1093" y="547"/>
                  </a:lnTo>
                  <a:lnTo>
                    <a:pt x="1092" y="547"/>
                  </a:lnTo>
                  <a:lnTo>
                    <a:pt x="1092" y="548"/>
                  </a:lnTo>
                  <a:lnTo>
                    <a:pt x="1092" y="547"/>
                  </a:lnTo>
                  <a:lnTo>
                    <a:pt x="1090" y="548"/>
                  </a:lnTo>
                  <a:lnTo>
                    <a:pt x="1088" y="548"/>
                  </a:lnTo>
                  <a:lnTo>
                    <a:pt x="1090" y="547"/>
                  </a:lnTo>
                  <a:lnTo>
                    <a:pt x="1088" y="547"/>
                  </a:lnTo>
                  <a:lnTo>
                    <a:pt x="1088" y="545"/>
                  </a:lnTo>
                  <a:lnTo>
                    <a:pt x="1087" y="545"/>
                  </a:lnTo>
                  <a:lnTo>
                    <a:pt x="1087" y="544"/>
                  </a:lnTo>
                  <a:lnTo>
                    <a:pt x="1088" y="542"/>
                  </a:lnTo>
                  <a:lnTo>
                    <a:pt x="1088" y="540"/>
                  </a:lnTo>
                  <a:lnTo>
                    <a:pt x="1088" y="539"/>
                  </a:lnTo>
                  <a:lnTo>
                    <a:pt x="1088" y="537"/>
                  </a:lnTo>
                  <a:lnTo>
                    <a:pt x="1090" y="537"/>
                  </a:lnTo>
                  <a:lnTo>
                    <a:pt x="1092" y="537"/>
                  </a:lnTo>
                  <a:lnTo>
                    <a:pt x="1092" y="535"/>
                  </a:lnTo>
                  <a:lnTo>
                    <a:pt x="1090" y="535"/>
                  </a:lnTo>
                  <a:lnTo>
                    <a:pt x="1092" y="535"/>
                  </a:lnTo>
                  <a:lnTo>
                    <a:pt x="1092" y="534"/>
                  </a:lnTo>
                  <a:lnTo>
                    <a:pt x="1093" y="534"/>
                  </a:lnTo>
                  <a:lnTo>
                    <a:pt x="1093" y="532"/>
                  </a:lnTo>
                  <a:lnTo>
                    <a:pt x="1093" y="534"/>
                  </a:lnTo>
                  <a:lnTo>
                    <a:pt x="1093" y="532"/>
                  </a:lnTo>
                  <a:lnTo>
                    <a:pt x="1095" y="532"/>
                  </a:lnTo>
                  <a:lnTo>
                    <a:pt x="1093" y="532"/>
                  </a:lnTo>
                  <a:lnTo>
                    <a:pt x="1095" y="531"/>
                  </a:lnTo>
                  <a:lnTo>
                    <a:pt x="1093" y="531"/>
                  </a:lnTo>
                  <a:lnTo>
                    <a:pt x="1093" y="532"/>
                  </a:lnTo>
                  <a:lnTo>
                    <a:pt x="1093" y="531"/>
                  </a:lnTo>
                  <a:lnTo>
                    <a:pt x="1093" y="532"/>
                  </a:lnTo>
                  <a:lnTo>
                    <a:pt x="1092" y="532"/>
                  </a:lnTo>
                  <a:lnTo>
                    <a:pt x="1090" y="534"/>
                  </a:lnTo>
                  <a:lnTo>
                    <a:pt x="1090" y="535"/>
                  </a:lnTo>
                  <a:lnTo>
                    <a:pt x="1088" y="535"/>
                  </a:lnTo>
                  <a:lnTo>
                    <a:pt x="1087" y="535"/>
                  </a:lnTo>
                  <a:lnTo>
                    <a:pt x="1088" y="535"/>
                  </a:lnTo>
                  <a:lnTo>
                    <a:pt x="1088" y="534"/>
                  </a:lnTo>
                  <a:lnTo>
                    <a:pt x="1090" y="534"/>
                  </a:lnTo>
                  <a:lnTo>
                    <a:pt x="1090" y="532"/>
                  </a:lnTo>
                  <a:lnTo>
                    <a:pt x="1088" y="532"/>
                  </a:lnTo>
                  <a:lnTo>
                    <a:pt x="1087" y="532"/>
                  </a:lnTo>
                  <a:lnTo>
                    <a:pt x="1088" y="532"/>
                  </a:lnTo>
                  <a:lnTo>
                    <a:pt x="1088" y="531"/>
                  </a:lnTo>
                  <a:lnTo>
                    <a:pt x="1090" y="531"/>
                  </a:lnTo>
                  <a:lnTo>
                    <a:pt x="1090" y="529"/>
                  </a:lnTo>
                  <a:lnTo>
                    <a:pt x="1088" y="529"/>
                  </a:lnTo>
                  <a:lnTo>
                    <a:pt x="1087" y="529"/>
                  </a:lnTo>
                  <a:lnTo>
                    <a:pt x="1088" y="529"/>
                  </a:lnTo>
                  <a:lnTo>
                    <a:pt x="1087" y="529"/>
                  </a:lnTo>
                  <a:lnTo>
                    <a:pt x="1087" y="527"/>
                  </a:lnTo>
                  <a:lnTo>
                    <a:pt x="1088" y="527"/>
                  </a:lnTo>
                  <a:lnTo>
                    <a:pt x="1088" y="526"/>
                  </a:lnTo>
                  <a:lnTo>
                    <a:pt x="1090" y="526"/>
                  </a:lnTo>
                  <a:lnTo>
                    <a:pt x="1092" y="524"/>
                  </a:lnTo>
                  <a:lnTo>
                    <a:pt x="1093" y="524"/>
                  </a:lnTo>
                  <a:lnTo>
                    <a:pt x="1095" y="524"/>
                  </a:lnTo>
                  <a:lnTo>
                    <a:pt x="1095" y="522"/>
                  </a:lnTo>
                  <a:lnTo>
                    <a:pt x="1095" y="524"/>
                  </a:lnTo>
                  <a:lnTo>
                    <a:pt x="1097" y="522"/>
                  </a:lnTo>
                  <a:lnTo>
                    <a:pt x="1095" y="522"/>
                  </a:lnTo>
                  <a:lnTo>
                    <a:pt x="1093" y="522"/>
                  </a:lnTo>
                  <a:lnTo>
                    <a:pt x="1095" y="522"/>
                  </a:lnTo>
                  <a:lnTo>
                    <a:pt x="1093" y="522"/>
                  </a:lnTo>
                  <a:lnTo>
                    <a:pt x="1095" y="521"/>
                  </a:lnTo>
                  <a:lnTo>
                    <a:pt x="1097" y="521"/>
                  </a:lnTo>
                  <a:lnTo>
                    <a:pt x="1095" y="521"/>
                  </a:lnTo>
                  <a:lnTo>
                    <a:pt x="1093" y="522"/>
                  </a:lnTo>
                  <a:lnTo>
                    <a:pt x="1093" y="521"/>
                  </a:lnTo>
                  <a:lnTo>
                    <a:pt x="1092" y="522"/>
                  </a:lnTo>
                  <a:lnTo>
                    <a:pt x="1088" y="522"/>
                  </a:lnTo>
                  <a:lnTo>
                    <a:pt x="1088" y="521"/>
                  </a:lnTo>
                  <a:lnTo>
                    <a:pt x="1090" y="521"/>
                  </a:lnTo>
                  <a:lnTo>
                    <a:pt x="1090" y="519"/>
                  </a:lnTo>
                  <a:lnTo>
                    <a:pt x="1092" y="519"/>
                  </a:lnTo>
                  <a:lnTo>
                    <a:pt x="1092" y="517"/>
                  </a:lnTo>
                  <a:lnTo>
                    <a:pt x="1092" y="516"/>
                  </a:lnTo>
                  <a:lnTo>
                    <a:pt x="1093" y="516"/>
                  </a:lnTo>
                  <a:lnTo>
                    <a:pt x="1093" y="514"/>
                  </a:lnTo>
                  <a:lnTo>
                    <a:pt x="1095" y="514"/>
                  </a:lnTo>
                  <a:lnTo>
                    <a:pt x="1095" y="513"/>
                  </a:lnTo>
                  <a:lnTo>
                    <a:pt x="1097" y="513"/>
                  </a:lnTo>
                  <a:lnTo>
                    <a:pt x="1098" y="513"/>
                  </a:lnTo>
                  <a:lnTo>
                    <a:pt x="1100" y="514"/>
                  </a:lnTo>
                  <a:lnTo>
                    <a:pt x="1100" y="516"/>
                  </a:lnTo>
                  <a:lnTo>
                    <a:pt x="1101" y="516"/>
                  </a:lnTo>
                  <a:lnTo>
                    <a:pt x="1101" y="514"/>
                  </a:lnTo>
                  <a:lnTo>
                    <a:pt x="1103" y="514"/>
                  </a:lnTo>
                  <a:lnTo>
                    <a:pt x="1103" y="516"/>
                  </a:lnTo>
                  <a:lnTo>
                    <a:pt x="1105" y="516"/>
                  </a:lnTo>
                  <a:lnTo>
                    <a:pt x="1105" y="514"/>
                  </a:lnTo>
                  <a:lnTo>
                    <a:pt x="1105" y="516"/>
                  </a:lnTo>
                  <a:lnTo>
                    <a:pt x="1105" y="514"/>
                  </a:lnTo>
                  <a:lnTo>
                    <a:pt x="1106" y="514"/>
                  </a:lnTo>
                  <a:lnTo>
                    <a:pt x="1106" y="513"/>
                  </a:lnTo>
                  <a:lnTo>
                    <a:pt x="1105" y="513"/>
                  </a:lnTo>
                  <a:lnTo>
                    <a:pt x="1106" y="513"/>
                  </a:lnTo>
                  <a:lnTo>
                    <a:pt x="1106" y="511"/>
                  </a:lnTo>
                  <a:lnTo>
                    <a:pt x="1106" y="513"/>
                  </a:lnTo>
                  <a:lnTo>
                    <a:pt x="1108" y="513"/>
                  </a:lnTo>
                  <a:lnTo>
                    <a:pt x="1106" y="511"/>
                  </a:lnTo>
                  <a:lnTo>
                    <a:pt x="1108" y="511"/>
                  </a:lnTo>
                  <a:lnTo>
                    <a:pt x="1108" y="509"/>
                  </a:lnTo>
                  <a:lnTo>
                    <a:pt x="1106" y="508"/>
                  </a:lnTo>
                  <a:lnTo>
                    <a:pt x="1108" y="508"/>
                  </a:lnTo>
                  <a:lnTo>
                    <a:pt x="1108" y="506"/>
                  </a:lnTo>
                  <a:lnTo>
                    <a:pt x="1108" y="508"/>
                  </a:lnTo>
                  <a:lnTo>
                    <a:pt x="1110" y="508"/>
                  </a:lnTo>
                  <a:lnTo>
                    <a:pt x="1110" y="509"/>
                  </a:lnTo>
                  <a:lnTo>
                    <a:pt x="1110" y="508"/>
                  </a:lnTo>
                  <a:lnTo>
                    <a:pt x="1108" y="509"/>
                  </a:lnTo>
                  <a:lnTo>
                    <a:pt x="1110" y="509"/>
                  </a:lnTo>
                  <a:lnTo>
                    <a:pt x="1110" y="508"/>
                  </a:lnTo>
                  <a:lnTo>
                    <a:pt x="1110" y="506"/>
                  </a:lnTo>
                  <a:lnTo>
                    <a:pt x="1111" y="506"/>
                  </a:lnTo>
                  <a:lnTo>
                    <a:pt x="1113" y="506"/>
                  </a:lnTo>
                  <a:lnTo>
                    <a:pt x="1115" y="506"/>
                  </a:lnTo>
                  <a:lnTo>
                    <a:pt x="1115" y="508"/>
                  </a:lnTo>
                  <a:lnTo>
                    <a:pt x="1115" y="509"/>
                  </a:lnTo>
                  <a:lnTo>
                    <a:pt x="1116" y="511"/>
                  </a:lnTo>
                  <a:lnTo>
                    <a:pt x="1116" y="513"/>
                  </a:lnTo>
                  <a:lnTo>
                    <a:pt x="1115" y="513"/>
                  </a:lnTo>
                  <a:lnTo>
                    <a:pt x="1115" y="514"/>
                  </a:lnTo>
                  <a:lnTo>
                    <a:pt x="1116" y="514"/>
                  </a:lnTo>
                  <a:lnTo>
                    <a:pt x="1116" y="516"/>
                  </a:lnTo>
                  <a:lnTo>
                    <a:pt x="1115" y="516"/>
                  </a:lnTo>
                  <a:lnTo>
                    <a:pt x="1113" y="517"/>
                  </a:lnTo>
                  <a:lnTo>
                    <a:pt x="1115" y="517"/>
                  </a:lnTo>
                  <a:lnTo>
                    <a:pt x="1116" y="517"/>
                  </a:lnTo>
                  <a:lnTo>
                    <a:pt x="1118" y="517"/>
                  </a:lnTo>
                  <a:lnTo>
                    <a:pt x="1116" y="517"/>
                  </a:lnTo>
                  <a:lnTo>
                    <a:pt x="1118" y="516"/>
                  </a:lnTo>
                  <a:lnTo>
                    <a:pt x="1119" y="514"/>
                  </a:lnTo>
                  <a:lnTo>
                    <a:pt x="1121" y="514"/>
                  </a:lnTo>
                  <a:lnTo>
                    <a:pt x="1123" y="514"/>
                  </a:lnTo>
                  <a:lnTo>
                    <a:pt x="1121" y="514"/>
                  </a:lnTo>
                  <a:lnTo>
                    <a:pt x="1121" y="513"/>
                  </a:lnTo>
                  <a:lnTo>
                    <a:pt x="1121" y="514"/>
                  </a:lnTo>
                  <a:lnTo>
                    <a:pt x="1123" y="513"/>
                  </a:lnTo>
                  <a:lnTo>
                    <a:pt x="1123" y="511"/>
                  </a:lnTo>
                  <a:lnTo>
                    <a:pt x="1121" y="513"/>
                  </a:lnTo>
                  <a:lnTo>
                    <a:pt x="1121" y="511"/>
                  </a:lnTo>
                  <a:lnTo>
                    <a:pt x="1121" y="513"/>
                  </a:lnTo>
                  <a:lnTo>
                    <a:pt x="1119" y="513"/>
                  </a:lnTo>
                  <a:lnTo>
                    <a:pt x="1118" y="513"/>
                  </a:lnTo>
                  <a:lnTo>
                    <a:pt x="1118" y="511"/>
                  </a:lnTo>
                  <a:lnTo>
                    <a:pt x="1118" y="509"/>
                  </a:lnTo>
                  <a:lnTo>
                    <a:pt x="1118" y="508"/>
                  </a:lnTo>
                  <a:lnTo>
                    <a:pt x="1118" y="509"/>
                  </a:lnTo>
                  <a:lnTo>
                    <a:pt x="1119" y="509"/>
                  </a:lnTo>
                  <a:lnTo>
                    <a:pt x="1119" y="508"/>
                  </a:lnTo>
                  <a:lnTo>
                    <a:pt x="1118" y="508"/>
                  </a:lnTo>
                  <a:lnTo>
                    <a:pt x="1119" y="506"/>
                  </a:lnTo>
                  <a:lnTo>
                    <a:pt x="1121" y="506"/>
                  </a:lnTo>
                  <a:lnTo>
                    <a:pt x="1123" y="506"/>
                  </a:lnTo>
                  <a:lnTo>
                    <a:pt x="1124" y="506"/>
                  </a:lnTo>
                  <a:lnTo>
                    <a:pt x="1123" y="506"/>
                  </a:lnTo>
                  <a:lnTo>
                    <a:pt x="1124" y="508"/>
                  </a:lnTo>
                  <a:lnTo>
                    <a:pt x="1126" y="508"/>
                  </a:lnTo>
                  <a:lnTo>
                    <a:pt x="1126" y="509"/>
                  </a:lnTo>
                  <a:lnTo>
                    <a:pt x="1126" y="508"/>
                  </a:lnTo>
                  <a:lnTo>
                    <a:pt x="1128" y="508"/>
                  </a:lnTo>
                  <a:lnTo>
                    <a:pt x="1128" y="509"/>
                  </a:lnTo>
                  <a:lnTo>
                    <a:pt x="1128" y="511"/>
                  </a:lnTo>
                  <a:lnTo>
                    <a:pt x="1129" y="511"/>
                  </a:lnTo>
                  <a:lnTo>
                    <a:pt x="1129" y="513"/>
                  </a:lnTo>
                  <a:lnTo>
                    <a:pt x="1129" y="514"/>
                  </a:lnTo>
                  <a:lnTo>
                    <a:pt x="1129" y="516"/>
                  </a:lnTo>
                  <a:lnTo>
                    <a:pt x="1128" y="517"/>
                  </a:lnTo>
                  <a:lnTo>
                    <a:pt x="1126" y="517"/>
                  </a:lnTo>
                  <a:lnTo>
                    <a:pt x="1124" y="517"/>
                  </a:lnTo>
                  <a:lnTo>
                    <a:pt x="1124" y="516"/>
                  </a:lnTo>
                  <a:lnTo>
                    <a:pt x="1123" y="516"/>
                  </a:lnTo>
                  <a:lnTo>
                    <a:pt x="1123" y="514"/>
                  </a:lnTo>
                  <a:lnTo>
                    <a:pt x="1121" y="514"/>
                  </a:lnTo>
                  <a:lnTo>
                    <a:pt x="1123" y="516"/>
                  </a:lnTo>
                  <a:lnTo>
                    <a:pt x="1123" y="517"/>
                  </a:lnTo>
                  <a:lnTo>
                    <a:pt x="1124" y="517"/>
                  </a:lnTo>
                  <a:lnTo>
                    <a:pt x="1124" y="519"/>
                  </a:lnTo>
                  <a:lnTo>
                    <a:pt x="1123" y="519"/>
                  </a:lnTo>
                  <a:lnTo>
                    <a:pt x="1123" y="521"/>
                  </a:lnTo>
                  <a:lnTo>
                    <a:pt x="1121" y="522"/>
                  </a:lnTo>
                  <a:lnTo>
                    <a:pt x="1123" y="522"/>
                  </a:lnTo>
                  <a:lnTo>
                    <a:pt x="1123" y="524"/>
                  </a:lnTo>
                  <a:lnTo>
                    <a:pt x="1121" y="526"/>
                  </a:lnTo>
                  <a:lnTo>
                    <a:pt x="1121" y="524"/>
                  </a:lnTo>
                  <a:lnTo>
                    <a:pt x="1121" y="522"/>
                  </a:lnTo>
                  <a:lnTo>
                    <a:pt x="1119" y="524"/>
                  </a:lnTo>
                  <a:lnTo>
                    <a:pt x="1119" y="526"/>
                  </a:lnTo>
                  <a:lnTo>
                    <a:pt x="1119" y="527"/>
                  </a:lnTo>
                  <a:close/>
                  <a:moveTo>
                    <a:pt x="1201" y="506"/>
                  </a:moveTo>
                  <a:lnTo>
                    <a:pt x="1201" y="504"/>
                  </a:lnTo>
                  <a:lnTo>
                    <a:pt x="1201" y="506"/>
                  </a:lnTo>
                  <a:close/>
                  <a:moveTo>
                    <a:pt x="1188" y="504"/>
                  </a:moveTo>
                  <a:lnTo>
                    <a:pt x="1188" y="506"/>
                  </a:lnTo>
                  <a:lnTo>
                    <a:pt x="1188" y="504"/>
                  </a:lnTo>
                  <a:close/>
                  <a:moveTo>
                    <a:pt x="1176" y="506"/>
                  </a:moveTo>
                  <a:lnTo>
                    <a:pt x="1176" y="504"/>
                  </a:lnTo>
                  <a:lnTo>
                    <a:pt x="1176" y="506"/>
                  </a:lnTo>
                  <a:close/>
                  <a:moveTo>
                    <a:pt x="1191" y="504"/>
                  </a:moveTo>
                  <a:lnTo>
                    <a:pt x="1191" y="506"/>
                  </a:lnTo>
                  <a:lnTo>
                    <a:pt x="1191" y="504"/>
                  </a:lnTo>
                  <a:close/>
                  <a:moveTo>
                    <a:pt x="1176" y="506"/>
                  </a:moveTo>
                  <a:lnTo>
                    <a:pt x="1176" y="504"/>
                  </a:lnTo>
                  <a:lnTo>
                    <a:pt x="1176" y="506"/>
                  </a:lnTo>
                  <a:close/>
                  <a:moveTo>
                    <a:pt x="1194" y="506"/>
                  </a:moveTo>
                  <a:lnTo>
                    <a:pt x="1194" y="504"/>
                  </a:lnTo>
                  <a:lnTo>
                    <a:pt x="1194" y="506"/>
                  </a:lnTo>
                  <a:close/>
                  <a:moveTo>
                    <a:pt x="1197" y="504"/>
                  </a:moveTo>
                  <a:lnTo>
                    <a:pt x="1197" y="506"/>
                  </a:lnTo>
                  <a:lnTo>
                    <a:pt x="1197" y="504"/>
                  </a:lnTo>
                  <a:close/>
                  <a:moveTo>
                    <a:pt x="1196" y="504"/>
                  </a:moveTo>
                  <a:lnTo>
                    <a:pt x="1197" y="504"/>
                  </a:lnTo>
                  <a:lnTo>
                    <a:pt x="1196" y="504"/>
                  </a:lnTo>
                  <a:close/>
                  <a:moveTo>
                    <a:pt x="1191" y="504"/>
                  </a:moveTo>
                  <a:lnTo>
                    <a:pt x="1191" y="506"/>
                  </a:lnTo>
                  <a:lnTo>
                    <a:pt x="1191" y="504"/>
                  </a:lnTo>
                  <a:close/>
                  <a:moveTo>
                    <a:pt x="1186" y="504"/>
                  </a:moveTo>
                  <a:lnTo>
                    <a:pt x="1186" y="506"/>
                  </a:lnTo>
                  <a:lnTo>
                    <a:pt x="1184" y="506"/>
                  </a:lnTo>
                  <a:lnTo>
                    <a:pt x="1186" y="504"/>
                  </a:lnTo>
                  <a:lnTo>
                    <a:pt x="1184" y="504"/>
                  </a:lnTo>
                  <a:lnTo>
                    <a:pt x="1186" y="504"/>
                  </a:lnTo>
                  <a:close/>
                  <a:moveTo>
                    <a:pt x="1181" y="506"/>
                  </a:moveTo>
                  <a:lnTo>
                    <a:pt x="1181" y="508"/>
                  </a:lnTo>
                  <a:lnTo>
                    <a:pt x="1183" y="508"/>
                  </a:lnTo>
                  <a:lnTo>
                    <a:pt x="1183" y="506"/>
                  </a:lnTo>
                  <a:lnTo>
                    <a:pt x="1181" y="506"/>
                  </a:lnTo>
                  <a:lnTo>
                    <a:pt x="1183" y="506"/>
                  </a:lnTo>
                  <a:lnTo>
                    <a:pt x="1183" y="504"/>
                  </a:lnTo>
                  <a:lnTo>
                    <a:pt x="1183" y="506"/>
                  </a:lnTo>
                  <a:lnTo>
                    <a:pt x="1183" y="504"/>
                  </a:lnTo>
                  <a:lnTo>
                    <a:pt x="1184" y="504"/>
                  </a:lnTo>
                  <a:lnTo>
                    <a:pt x="1184" y="506"/>
                  </a:lnTo>
                  <a:lnTo>
                    <a:pt x="1184" y="504"/>
                  </a:lnTo>
                  <a:lnTo>
                    <a:pt x="1184" y="506"/>
                  </a:lnTo>
                  <a:lnTo>
                    <a:pt x="1184" y="504"/>
                  </a:lnTo>
                  <a:lnTo>
                    <a:pt x="1184" y="506"/>
                  </a:lnTo>
                  <a:lnTo>
                    <a:pt x="1183" y="506"/>
                  </a:lnTo>
                  <a:lnTo>
                    <a:pt x="1183" y="508"/>
                  </a:lnTo>
                  <a:lnTo>
                    <a:pt x="1183" y="506"/>
                  </a:lnTo>
                  <a:lnTo>
                    <a:pt x="1183" y="508"/>
                  </a:lnTo>
                  <a:lnTo>
                    <a:pt x="1181" y="508"/>
                  </a:lnTo>
                  <a:lnTo>
                    <a:pt x="1181" y="506"/>
                  </a:lnTo>
                  <a:lnTo>
                    <a:pt x="1181" y="508"/>
                  </a:lnTo>
                  <a:lnTo>
                    <a:pt x="1181" y="506"/>
                  </a:lnTo>
                  <a:close/>
                  <a:moveTo>
                    <a:pt x="1206" y="504"/>
                  </a:moveTo>
                  <a:lnTo>
                    <a:pt x="1204" y="504"/>
                  </a:lnTo>
                  <a:lnTo>
                    <a:pt x="1206" y="504"/>
                  </a:lnTo>
                  <a:lnTo>
                    <a:pt x="1204" y="504"/>
                  </a:lnTo>
                  <a:lnTo>
                    <a:pt x="1204" y="503"/>
                  </a:lnTo>
                  <a:lnTo>
                    <a:pt x="1206" y="504"/>
                  </a:lnTo>
                  <a:close/>
                  <a:moveTo>
                    <a:pt x="1197" y="504"/>
                  </a:moveTo>
                  <a:lnTo>
                    <a:pt x="1197" y="506"/>
                  </a:lnTo>
                  <a:lnTo>
                    <a:pt x="1197" y="504"/>
                  </a:lnTo>
                  <a:lnTo>
                    <a:pt x="1197" y="503"/>
                  </a:lnTo>
                  <a:lnTo>
                    <a:pt x="1197" y="504"/>
                  </a:lnTo>
                  <a:close/>
                  <a:moveTo>
                    <a:pt x="1206" y="503"/>
                  </a:moveTo>
                  <a:lnTo>
                    <a:pt x="1204" y="503"/>
                  </a:lnTo>
                  <a:lnTo>
                    <a:pt x="1206" y="503"/>
                  </a:lnTo>
                  <a:close/>
                  <a:moveTo>
                    <a:pt x="1248" y="503"/>
                  </a:moveTo>
                  <a:lnTo>
                    <a:pt x="1249" y="503"/>
                  </a:lnTo>
                  <a:lnTo>
                    <a:pt x="1248" y="503"/>
                  </a:lnTo>
                  <a:lnTo>
                    <a:pt x="1248" y="504"/>
                  </a:lnTo>
                  <a:lnTo>
                    <a:pt x="1246" y="503"/>
                  </a:lnTo>
                  <a:lnTo>
                    <a:pt x="1248" y="503"/>
                  </a:lnTo>
                  <a:close/>
                  <a:moveTo>
                    <a:pt x="1202" y="503"/>
                  </a:moveTo>
                  <a:lnTo>
                    <a:pt x="1204" y="503"/>
                  </a:lnTo>
                  <a:lnTo>
                    <a:pt x="1202" y="503"/>
                  </a:lnTo>
                  <a:close/>
                  <a:moveTo>
                    <a:pt x="1136" y="504"/>
                  </a:moveTo>
                  <a:lnTo>
                    <a:pt x="1136" y="503"/>
                  </a:lnTo>
                  <a:lnTo>
                    <a:pt x="1136" y="504"/>
                  </a:lnTo>
                  <a:close/>
                  <a:moveTo>
                    <a:pt x="1196" y="503"/>
                  </a:moveTo>
                  <a:lnTo>
                    <a:pt x="1197" y="503"/>
                  </a:lnTo>
                  <a:lnTo>
                    <a:pt x="1196" y="503"/>
                  </a:lnTo>
                  <a:close/>
                  <a:moveTo>
                    <a:pt x="1136" y="503"/>
                  </a:moveTo>
                  <a:lnTo>
                    <a:pt x="1136" y="504"/>
                  </a:lnTo>
                  <a:lnTo>
                    <a:pt x="1134" y="503"/>
                  </a:lnTo>
                  <a:lnTo>
                    <a:pt x="1136" y="503"/>
                  </a:lnTo>
                  <a:close/>
                  <a:moveTo>
                    <a:pt x="1167" y="503"/>
                  </a:moveTo>
                  <a:lnTo>
                    <a:pt x="1168" y="503"/>
                  </a:lnTo>
                  <a:lnTo>
                    <a:pt x="1168" y="504"/>
                  </a:lnTo>
                  <a:lnTo>
                    <a:pt x="1168" y="503"/>
                  </a:lnTo>
                  <a:lnTo>
                    <a:pt x="1167" y="503"/>
                  </a:lnTo>
                  <a:close/>
                  <a:moveTo>
                    <a:pt x="1194" y="503"/>
                  </a:moveTo>
                  <a:lnTo>
                    <a:pt x="1196" y="503"/>
                  </a:lnTo>
                  <a:lnTo>
                    <a:pt x="1194" y="503"/>
                  </a:lnTo>
                  <a:close/>
                  <a:moveTo>
                    <a:pt x="1183" y="503"/>
                  </a:moveTo>
                  <a:lnTo>
                    <a:pt x="1184" y="501"/>
                  </a:lnTo>
                  <a:lnTo>
                    <a:pt x="1184" y="503"/>
                  </a:lnTo>
                  <a:lnTo>
                    <a:pt x="1183" y="503"/>
                  </a:lnTo>
                  <a:close/>
                  <a:moveTo>
                    <a:pt x="1167" y="503"/>
                  </a:moveTo>
                  <a:lnTo>
                    <a:pt x="1167" y="501"/>
                  </a:lnTo>
                  <a:lnTo>
                    <a:pt x="1167" y="503"/>
                  </a:lnTo>
                  <a:close/>
                  <a:moveTo>
                    <a:pt x="1134" y="501"/>
                  </a:moveTo>
                  <a:lnTo>
                    <a:pt x="1134" y="503"/>
                  </a:lnTo>
                  <a:lnTo>
                    <a:pt x="1134" y="501"/>
                  </a:lnTo>
                  <a:close/>
                  <a:moveTo>
                    <a:pt x="1136" y="501"/>
                  </a:moveTo>
                  <a:lnTo>
                    <a:pt x="1136" y="503"/>
                  </a:lnTo>
                  <a:lnTo>
                    <a:pt x="1136" y="501"/>
                  </a:lnTo>
                  <a:lnTo>
                    <a:pt x="1136" y="503"/>
                  </a:lnTo>
                  <a:lnTo>
                    <a:pt x="1136" y="501"/>
                  </a:lnTo>
                  <a:lnTo>
                    <a:pt x="1136" y="503"/>
                  </a:lnTo>
                  <a:lnTo>
                    <a:pt x="1136" y="501"/>
                  </a:lnTo>
                  <a:close/>
                  <a:moveTo>
                    <a:pt x="1189" y="501"/>
                  </a:moveTo>
                  <a:lnTo>
                    <a:pt x="1191" y="501"/>
                  </a:lnTo>
                  <a:lnTo>
                    <a:pt x="1189" y="501"/>
                  </a:lnTo>
                  <a:close/>
                  <a:moveTo>
                    <a:pt x="1134" y="501"/>
                  </a:moveTo>
                  <a:lnTo>
                    <a:pt x="1136" y="501"/>
                  </a:lnTo>
                  <a:lnTo>
                    <a:pt x="1134" y="501"/>
                  </a:lnTo>
                  <a:lnTo>
                    <a:pt x="1136" y="501"/>
                  </a:lnTo>
                  <a:lnTo>
                    <a:pt x="1134" y="503"/>
                  </a:lnTo>
                  <a:lnTo>
                    <a:pt x="1136" y="501"/>
                  </a:lnTo>
                  <a:lnTo>
                    <a:pt x="1134" y="501"/>
                  </a:lnTo>
                  <a:close/>
                  <a:moveTo>
                    <a:pt x="1189" y="501"/>
                  </a:moveTo>
                  <a:lnTo>
                    <a:pt x="1191" y="500"/>
                  </a:lnTo>
                  <a:lnTo>
                    <a:pt x="1191" y="501"/>
                  </a:lnTo>
                  <a:lnTo>
                    <a:pt x="1189" y="501"/>
                  </a:lnTo>
                  <a:close/>
                  <a:moveTo>
                    <a:pt x="1232" y="500"/>
                  </a:moveTo>
                  <a:lnTo>
                    <a:pt x="1232" y="501"/>
                  </a:lnTo>
                  <a:lnTo>
                    <a:pt x="1232" y="500"/>
                  </a:lnTo>
                  <a:close/>
                  <a:moveTo>
                    <a:pt x="1189" y="501"/>
                  </a:moveTo>
                  <a:lnTo>
                    <a:pt x="1189" y="500"/>
                  </a:lnTo>
                  <a:lnTo>
                    <a:pt x="1189" y="501"/>
                  </a:lnTo>
                  <a:close/>
                  <a:moveTo>
                    <a:pt x="1170" y="501"/>
                  </a:moveTo>
                  <a:lnTo>
                    <a:pt x="1168" y="501"/>
                  </a:lnTo>
                  <a:lnTo>
                    <a:pt x="1168" y="503"/>
                  </a:lnTo>
                  <a:lnTo>
                    <a:pt x="1168" y="501"/>
                  </a:lnTo>
                  <a:lnTo>
                    <a:pt x="1168" y="500"/>
                  </a:lnTo>
                  <a:lnTo>
                    <a:pt x="1170" y="500"/>
                  </a:lnTo>
                  <a:lnTo>
                    <a:pt x="1170" y="501"/>
                  </a:lnTo>
                  <a:close/>
                  <a:moveTo>
                    <a:pt x="1230" y="500"/>
                  </a:moveTo>
                  <a:lnTo>
                    <a:pt x="1232" y="500"/>
                  </a:lnTo>
                  <a:lnTo>
                    <a:pt x="1230" y="500"/>
                  </a:lnTo>
                  <a:close/>
                  <a:moveTo>
                    <a:pt x="1240" y="500"/>
                  </a:moveTo>
                  <a:lnTo>
                    <a:pt x="1238" y="500"/>
                  </a:lnTo>
                  <a:lnTo>
                    <a:pt x="1240" y="500"/>
                  </a:lnTo>
                  <a:close/>
                  <a:moveTo>
                    <a:pt x="1136" y="500"/>
                  </a:moveTo>
                  <a:lnTo>
                    <a:pt x="1134" y="500"/>
                  </a:lnTo>
                  <a:lnTo>
                    <a:pt x="1136" y="500"/>
                  </a:lnTo>
                  <a:close/>
                  <a:moveTo>
                    <a:pt x="1171" y="500"/>
                  </a:moveTo>
                  <a:lnTo>
                    <a:pt x="1170" y="500"/>
                  </a:lnTo>
                  <a:lnTo>
                    <a:pt x="1171" y="500"/>
                  </a:lnTo>
                  <a:close/>
                  <a:moveTo>
                    <a:pt x="1235" y="498"/>
                  </a:moveTo>
                  <a:lnTo>
                    <a:pt x="1235" y="500"/>
                  </a:lnTo>
                  <a:lnTo>
                    <a:pt x="1235" y="498"/>
                  </a:lnTo>
                  <a:close/>
                  <a:moveTo>
                    <a:pt x="1232" y="498"/>
                  </a:moveTo>
                  <a:lnTo>
                    <a:pt x="1233" y="498"/>
                  </a:lnTo>
                  <a:lnTo>
                    <a:pt x="1232" y="498"/>
                  </a:lnTo>
                  <a:close/>
                  <a:moveTo>
                    <a:pt x="1144" y="496"/>
                  </a:moveTo>
                  <a:lnTo>
                    <a:pt x="1144" y="498"/>
                  </a:lnTo>
                  <a:lnTo>
                    <a:pt x="1144" y="496"/>
                  </a:lnTo>
                  <a:close/>
                  <a:moveTo>
                    <a:pt x="1184" y="496"/>
                  </a:moveTo>
                  <a:lnTo>
                    <a:pt x="1186" y="496"/>
                  </a:lnTo>
                  <a:lnTo>
                    <a:pt x="1184" y="498"/>
                  </a:lnTo>
                  <a:lnTo>
                    <a:pt x="1184" y="496"/>
                  </a:lnTo>
                  <a:close/>
                  <a:moveTo>
                    <a:pt x="1225" y="498"/>
                  </a:moveTo>
                  <a:lnTo>
                    <a:pt x="1225" y="496"/>
                  </a:lnTo>
                  <a:lnTo>
                    <a:pt x="1227" y="496"/>
                  </a:lnTo>
                  <a:lnTo>
                    <a:pt x="1228" y="496"/>
                  </a:lnTo>
                  <a:lnTo>
                    <a:pt x="1230" y="496"/>
                  </a:lnTo>
                  <a:lnTo>
                    <a:pt x="1232" y="498"/>
                  </a:lnTo>
                  <a:lnTo>
                    <a:pt x="1230" y="498"/>
                  </a:lnTo>
                  <a:lnTo>
                    <a:pt x="1227" y="500"/>
                  </a:lnTo>
                  <a:lnTo>
                    <a:pt x="1225" y="500"/>
                  </a:lnTo>
                  <a:lnTo>
                    <a:pt x="1223" y="501"/>
                  </a:lnTo>
                  <a:lnTo>
                    <a:pt x="1223" y="500"/>
                  </a:lnTo>
                  <a:lnTo>
                    <a:pt x="1223" y="498"/>
                  </a:lnTo>
                  <a:lnTo>
                    <a:pt x="1225" y="498"/>
                  </a:lnTo>
                  <a:close/>
                  <a:moveTo>
                    <a:pt x="1204" y="496"/>
                  </a:moveTo>
                  <a:lnTo>
                    <a:pt x="1206" y="496"/>
                  </a:lnTo>
                  <a:lnTo>
                    <a:pt x="1204" y="496"/>
                  </a:lnTo>
                  <a:close/>
                  <a:moveTo>
                    <a:pt x="1233" y="496"/>
                  </a:moveTo>
                  <a:lnTo>
                    <a:pt x="1235" y="496"/>
                  </a:lnTo>
                  <a:lnTo>
                    <a:pt x="1233" y="496"/>
                  </a:lnTo>
                  <a:close/>
                  <a:moveTo>
                    <a:pt x="1232" y="496"/>
                  </a:moveTo>
                  <a:lnTo>
                    <a:pt x="1233" y="496"/>
                  </a:lnTo>
                  <a:lnTo>
                    <a:pt x="1232" y="496"/>
                  </a:lnTo>
                  <a:close/>
                  <a:moveTo>
                    <a:pt x="1217" y="496"/>
                  </a:moveTo>
                  <a:lnTo>
                    <a:pt x="1217" y="495"/>
                  </a:lnTo>
                  <a:lnTo>
                    <a:pt x="1219" y="495"/>
                  </a:lnTo>
                  <a:lnTo>
                    <a:pt x="1219" y="496"/>
                  </a:lnTo>
                  <a:lnTo>
                    <a:pt x="1217" y="496"/>
                  </a:lnTo>
                  <a:close/>
                  <a:moveTo>
                    <a:pt x="1204" y="495"/>
                  </a:moveTo>
                  <a:lnTo>
                    <a:pt x="1204" y="496"/>
                  </a:lnTo>
                  <a:lnTo>
                    <a:pt x="1204" y="495"/>
                  </a:lnTo>
                  <a:close/>
                  <a:moveTo>
                    <a:pt x="1217" y="496"/>
                  </a:moveTo>
                  <a:lnTo>
                    <a:pt x="1215" y="495"/>
                  </a:lnTo>
                  <a:lnTo>
                    <a:pt x="1217" y="495"/>
                  </a:lnTo>
                  <a:lnTo>
                    <a:pt x="1217" y="496"/>
                  </a:lnTo>
                  <a:close/>
                  <a:moveTo>
                    <a:pt x="1217" y="495"/>
                  </a:moveTo>
                  <a:lnTo>
                    <a:pt x="1217" y="496"/>
                  </a:lnTo>
                  <a:lnTo>
                    <a:pt x="1217" y="495"/>
                  </a:lnTo>
                  <a:close/>
                  <a:moveTo>
                    <a:pt x="1214" y="495"/>
                  </a:moveTo>
                  <a:lnTo>
                    <a:pt x="1215" y="495"/>
                  </a:lnTo>
                  <a:lnTo>
                    <a:pt x="1214" y="495"/>
                  </a:lnTo>
                  <a:close/>
                  <a:moveTo>
                    <a:pt x="1189" y="491"/>
                  </a:moveTo>
                  <a:lnTo>
                    <a:pt x="1189" y="490"/>
                  </a:lnTo>
                  <a:lnTo>
                    <a:pt x="1189" y="491"/>
                  </a:lnTo>
                  <a:close/>
                  <a:moveTo>
                    <a:pt x="1158" y="490"/>
                  </a:moveTo>
                  <a:lnTo>
                    <a:pt x="1157" y="490"/>
                  </a:lnTo>
                  <a:lnTo>
                    <a:pt x="1158" y="490"/>
                  </a:lnTo>
                  <a:close/>
                  <a:moveTo>
                    <a:pt x="1212" y="490"/>
                  </a:moveTo>
                  <a:lnTo>
                    <a:pt x="1212" y="488"/>
                  </a:lnTo>
                  <a:lnTo>
                    <a:pt x="1212" y="490"/>
                  </a:lnTo>
                  <a:close/>
                  <a:moveTo>
                    <a:pt x="1152" y="488"/>
                  </a:moveTo>
                  <a:lnTo>
                    <a:pt x="1152" y="490"/>
                  </a:lnTo>
                  <a:lnTo>
                    <a:pt x="1152" y="488"/>
                  </a:lnTo>
                  <a:close/>
                  <a:moveTo>
                    <a:pt x="1157" y="488"/>
                  </a:moveTo>
                  <a:lnTo>
                    <a:pt x="1157" y="490"/>
                  </a:lnTo>
                  <a:lnTo>
                    <a:pt x="1157" y="488"/>
                  </a:lnTo>
                  <a:close/>
                  <a:moveTo>
                    <a:pt x="1214" y="488"/>
                  </a:moveTo>
                  <a:lnTo>
                    <a:pt x="1212" y="488"/>
                  </a:lnTo>
                  <a:lnTo>
                    <a:pt x="1214" y="488"/>
                  </a:lnTo>
                  <a:close/>
                  <a:moveTo>
                    <a:pt x="1154" y="488"/>
                  </a:moveTo>
                  <a:lnTo>
                    <a:pt x="1155" y="488"/>
                  </a:lnTo>
                  <a:lnTo>
                    <a:pt x="1154" y="488"/>
                  </a:lnTo>
                  <a:close/>
                  <a:moveTo>
                    <a:pt x="1212" y="488"/>
                  </a:moveTo>
                  <a:lnTo>
                    <a:pt x="1212" y="487"/>
                  </a:lnTo>
                  <a:lnTo>
                    <a:pt x="1212" y="488"/>
                  </a:lnTo>
                  <a:lnTo>
                    <a:pt x="1212" y="490"/>
                  </a:lnTo>
                  <a:lnTo>
                    <a:pt x="1212" y="488"/>
                  </a:lnTo>
                  <a:close/>
                  <a:moveTo>
                    <a:pt x="1163" y="488"/>
                  </a:moveTo>
                  <a:lnTo>
                    <a:pt x="1163" y="487"/>
                  </a:lnTo>
                  <a:lnTo>
                    <a:pt x="1165" y="487"/>
                  </a:lnTo>
                  <a:lnTo>
                    <a:pt x="1163" y="488"/>
                  </a:lnTo>
                  <a:close/>
                  <a:moveTo>
                    <a:pt x="1279" y="487"/>
                  </a:moveTo>
                  <a:lnTo>
                    <a:pt x="1280" y="487"/>
                  </a:lnTo>
                  <a:lnTo>
                    <a:pt x="1279" y="487"/>
                  </a:lnTo>
                  <a:close/>
                  <a:moveTo>
                    <a:pt x="1168" y="487"/>
                  </a:moveTo>
                  <a:lnTo>
                    <a:pt x="1167" y="487"/>
                  </a:lnTo>
                  <a:lnTo>
                    <a:pt x="1168" y="487"/>
                  </a:lnTo>
                  <a:close/>
                  <a:moveTo>
                    <a:pt x="1163" y="487"/>
                  </a:moveTo>
                  <a:lnTo>
                    <a:pt x="1165" y="487"/>
                  </a:lnTo>
                  <a:lnTo>
                    <a:pt x="1163" y="487"/>
                  </a:lnTo>
                  <a:close/>
                  <a:moveTo>
                    <a:pt x="1194" y="485"/>
                  </a:moveTo>
                  <a:lnTo>
                    <a:pt x="1193" y="485"/>
                  </a:lnTo>
                  <a:lnTo>
                    <a:pt x="1194" y="485"/>
                  </a:lnTo>
                  <a:close/>
                  <a:moveTo>
                    <a:pt x="1184" y="485"/>
                  </a:moveTo>
                  <a:lnTo>
                    <a:pt x="1183" y="485"/>
                  </a:lnTo>
                  <a:lnTo>
                    <a:pt x="1183" y="483"/>
                  </a:lnTo>
                  <a:lnTo>
                    <a:pt x="1184" y="485"/>
                  </a:lnTo>
                  <a:close/>
                  <a:moveTo>
                    <a:pt x="1194" y="485"/>
                  </a:moveTo>
                  <a:lnTo>
                    <a:pt x="1194" y="483"/>
                  </a:lnTo>
                  <a:lnTo>
                    <a:pt x="1194" y="485"/>
                  </a:lnTo>
                  <a:close/>
                  <a:moveTo>
                    <a:pt x="1144" y="496"/>
                  </a:moveTo>
                  <a:lnTo>
                    <a:pt x="1144" y="495"/>
                  </a:lnTo>
                  <a:lnTo>
                    <a:pt x="1142" y="495"/>
                  </a:lnTo>
                  <a:lnTo>
                    <a:pt x="1142" y="493"/>
                  </a:lnTo>
                  <a:lnTo>
                    <a:pt x="1144" y="493"/>
                  </a:lnTo>
                  <a:lnTo>
                    <a:pt x="1145" y="493"/>
                  </a:lnTo>
                  <a:lnTo>
                    <a:pt x="1145" y="491"/>
                  </a:lnTo>
                  <a:lnTo>
                    <a:pt x="1147" y="491"/>
                  </a:lnTo>
                  <a:lnTo>
                    <a:pt x="1149" y="491"/>
                  </a:lnTo>
                  <a:lnTo>
                    <a:pt x="1150" y="491"/>
                  </a:lnTo>
                  <a:lnTo>
                    <a:pt x="1150" y="493"/>
                  </a:lnTo>
                  <a:lnTo>
                    <a:pt x="1150" y="495"/>
                  </a:lnTo>
                  <a:lnTo>
                    <a:pt x="1150" y="496"/>
                  </a:lnTo>
                  <a:lnTo>
                    <a:pt x="1152" y="498"/>
                  </a:lnTo>
                  <a:lnTo>
                    <a:pt x="1152" y="496"/>
                  </a:lnTo>
                  <a:lnTo>
                    <a:pt x="1152" y="495"/>
                  </a:lnTo>
                  <a:lnTo>
                    <a:pt x="1152" y="493"/>
                  </a:lnTo>
                  <a:lnTo>
                    <a:pt x="1150" y="493"/>
                  </a:lnTo>
                  <a:lnTo>
                    <a:pt x="1150" y="491"/>
                  </a:lnTo>
                  <a:lnTo>
                    <a:pt x="1152" y="491"/>
                  </a:lnTo>
                  <a:lnTo>
                    <a:pt x="1152" y="490"/>
                  </a:lnTo>
                  <a:lnTo>
                    <a:pt x="1152" y="491"/>
                  </a:lnTo>
                  <a:lnTo>
                    <a:pt x="1154" y="490"/>
                  </a:lnTo>
                  <a:lnTo>
                    <a:pt x="1152" y="490"/>
                  </a:lnTo>
                  <a:lnTo>
                    <a:pt x="1154" y="490"/>
                  </a:lnTo>
                  <a:lnTo>
                    <a:pt x="1152" y="488"/>
                  </a:lnTo>
                  <a:lnTo>
                    <a:pt x="1154" y="488"/>
                  </a:lnTo>
                  <a:lnTo>
                    <a:pt x="1154" y="490"/>
                  </a:lnTo>
                  <a:lnTo>
                    <a:pt x="1154" y="488"/>
                  </a:lnTo>
                  <a:lnTo>
                    <a:pt x="1154" y="490"/>
                  </a:lnTo>
                  <a:lnTo>
                    <a:pt x="1154" y="491"/>
                  </a:lnTo>
                  <a:lnTo>
                    <a:pt x="1155" y="491"/>
                  </a:lnTo>
                  <a:lnTo>
                    <a:pt x="1157" y="491"/>
                  </a:lnTo>
                  <a:lnTo>
                    <a:pt x="1157" y="490"/>
                  </a:lnTo>
                  <a:lnTo>
                    <a:pt x="1157" y="491"/>
                  </a:lnTo>
                  <a:lnTo>
                    <a:pt x="1158" y="491"/>
                  </a:lnTo>
                  <a:lnTo>
                    <a:pt x="1160" y="491"/>
                  </a:lnTo>
                  <a:lnTo>
                    <a:pt x="1158" y="493"/>
                  </a:lnTo>
                  <a:lnTo>
                    <a:pt x="1158" y="491"/>
                  </a:lnTo>
                  <a:lnTo>
                    <a:pt x="1158" y="493"/>
                  </a:lnTo>
                  <a:lnTo>
                    <a:pt x="1158" y="495"/>
                  </a:lnTo>
                  <a:lnTo>
                    <a:pt x="1158" y="496"/>
                  </a:lnTo>
                  <a:lnTo>
                    <a:pt x="1158" y="498"/>
                  </a:lnTo>
                  <a:lnTo>
                    <a:pt x="1157" y="498"/>
                  </a:lnTo>
                  <a:lnTo>
                    <a:pt x="1155" y="500"/>
                  </a:lnTo>
                  <a:lnTo>
                    <a:pt x="1157" y="500"/>
                  </a:lnTo>
                  <a:lnTo>
                    <a:pt x="1158" y="498"/>
                  </a:lnTo>
                  <a:lnTo>
                    <a:pt x="1160" y="496"/>
                  </a:lnTo>
                  <a:lnTo>
                    <a:pt x="1162" y="496"/>
                  </a:lnTo>
                  <a:lnTo>
                    <a:pt x="1162" y="495"/>
                  </a:lnTo>
                  <a:lnTo>
                    <a:pt x="1160" y="495"/>
                  </a:lnTo>
                  <a:lnTo>
                    <a:pt x="1160" y="493"/>
                  </a:lnTo>
                  <a:lnTo>
                    <a:pt x="1160" y="495"/>
                  </a:lnTo>
                  <a:lnTo>
                    <a:pt x="1160" y="493"/>
                  </a:lnTo>
                  <a:lnTo>
                    <a:pt x="1160" y="491"/>
                  </a:lnTo>
                  <a:lnTo>
                    <a:pt x="1162" y="491"/>
                  </a:lnTo>
                  <a:lnTo>
                    <a:pt x="1160" y="490"/>
                  </a:lnTo>
                  <a:lnTo>
                    <a:pt x="1160" y="488"/>
                  </a:lnTo>
                  <a:lnTo>
                    <a:pt x="1162" y="488"/>
                  </a:lnTo>
                  <a:lnTo>
                    <a:pt x="1160" y="488"/>
                  </a:lnTo>
                  <a:lnTo>
                    <a:pt x="1160" y="487"/>
                  </a:lnTo>
                  <a:lnTo>
                    <a:pt x="1162" y="487"/>
                  </a:lnTo>
                  <a:lnTo>
                    <a:pt x="1162" y="488"/>
                  </a:lnTo>
                  <a:lnTo>
                    <a:pt x="1163" y="488"/>
                  </a:lnTo>
                  <a:lnTo>
                    <a:pt x="1165" y="488"/>
                  </a:lnTo>
                  <a:lnTo>
                    <a:pt x="1167" y="488"/>
                  </a:lnTo>
                  <a:lnTo>
                    <a:pt x="1165" y="488"/>
                  </a:lnTo>
                  <a:lnTo>
                    <a:pt x="1167" y="490"/>
                  </a:lnTo>
                  <a:lnTo>
                    <a:pt x="1167" y="488"/>
                  </a:lnTo>
                  <a:lnTo>
                    <a:pt x="1167" y="487"/>
                  </a:lnTo>
                  <a:lnTo>
                    <a:pt x="1168" y="487"/>
                  </a:lnTo>
                  <a:lnTo>
                    <a:pt x="1168" y="488"/>
                  </a:lnTo>
                  <a:lnTo>
                    <a:pt x="1170" y="488"/>
                  </a:lnTo>
                  <a:lnTo>
                    <a:pt x="1168" y="487"/>
                  </a:lnTo>
                  <a:lnTo>
                    <a:pt x="1170" y="487"/>
                  </a:lnTo>
                  <a:lnTo>
                    <a:pt x="1170" y="485"/>
                  </a:lnTo>
                  <a:lnTo>
                    <a:pt x="1171" y="485"/>
                  </a:lnTo>
                  <a:lnTo>
                    <a:pt x="1173" y="485"/>
                  </a:lnTo>
                  <a:lnTo>
                    <a:pt x="1175" y="485"/>
                  </a:lnTo>
                  <a:lnTo>
                    <a:pt x="1175" y="483"/>
                  </a:lnTo>
                  <a:lnTo>
                    <a:pt x="1176" y="483"/>
                  </a:lnTo>
                  <a:lnTo>
                    <a:pt x="1176" y="485"/>
                  </a:lnTo>
                  <a:lnTo>
                    <a:pt x="1176" y="487"/>
                  </a:lnTo>
                  <a:lnTo>
                    <a:pt x="1176" y="488"/>
                  </a:lnTo>
                  <a:lnTo>
                    <a:pt x="1175" y="488"/>
                  </a:lnTo>
                  <a:lnTo>
                    <a:pt x="1175" y="490"/>
                  </a:lnTo>
                  <a:lnTo>
                    <a:pt x="1175" y="491"/>
                  </a:lnTo>
                  <a:lnTo>
                    <a:pt x="1173" y="491"/>
                  </a:lnTo>
                  <a:lnTo>
                    <a:pt x="1175" y="491"/>
                  </a:lnTo>
                  <a:lnTo>
                    <a:pt x="1173" y="493"/>
                  </a:lnTo>
                  <a:lnTo>
                    <a:pt x="1171" y="495"/>
                  </a:lnTo>
                  <a:lnTo>
                    <a:pt x="1171" y="496"/>
                  </a:lnTo>
                  <a:lnTo>
                    <a:pt x="1170" y="498"/>
                  </a:lnTo>
                  <a:lnTo>
                    <a:pt x="1170" y="500"/>
                  </a:lnTo>
                  <a:lnTo>
                    <a:pt x="1168" y="500"/>
                  </a:lnTo>
                  <a:lnTo>
                    <a:pt x="1168" y="498"/>
                  </a:lnTo>
                  <a:lnTo>
                    <a:pt x="1167" y="498"/>
                  </a:lnTo>
                  <a:lnTo>
                    <a:pt x="1168" y="498"/>
                  </a:lnTo>
                  <a:lnTo>
                    <a:pt x="1168" y="500"/>
                  </a:lnTo>
                  <a:lnTo>
                    <a:pt x="1167" y="500"/>
                  </a:lnTo>
                  <a:lnTo>
                    <a:pt x="1163" y="500"/>
                  </a:lnTo>
                  <a:lnTo>
                    <a:pt x="1165" y="501"/>
                  </a:lnTo>
                  <a:lnTo>
                    <a:pt x="1167" y="500"/>
                  </a:lnTo>
                  <a:lnTo>
                    <a:pt x="1167" y="501"/>
                  </a:lnTo>
                  <a:lnTo>
                    <a:pt x="1167" y="503"/>
                  </a:lnTo>
                  <a:lnTo>
                    <a:pt x="1165" y="503"/>
                  </a:lnTo>
                  <a:lnTo>
                    <a:pt x="1165" y="504"/>
                  </a:lnTo>
                  <a:lnTo>
                    <a:pt x="1163" y="506"/>
                  </a:lnTo>
                  <a:lnTo>
                    <a:pt x="1162" y="508"/>
                  </a:lnTo>
                  <a:lnTo>
                    <a:pt x="1162" y="509"/>
                  </a:lnTo>
                  <a:lnTo>
                    <a:pt x="1160" y="509"/>
                  </a:lnTo>
                  <a:lnTo>
                    <a:pt x="1160" y="511"/>
                  </a:lnTo>
                  <a:lnTo>
                    <a:pt x="1160" y="509"/>
                  </a:lnTo>
                  <a:lnTo>
                    <a:pt x="1158" y="511"/>
                  </a:lnTo>
                  <a:lnTo>
                    <a:pt x="1158" y="513"/>
                  </a:lnTo>
                  <a:lnTo>
                    <a:pt x="1157" y="513"/>
                  </a:lnTo>
                  <a:lnTo>
                    <a:pt x="1157" y="514"/>
                  </a:lnTo>
                  <a:lnTo>
                    <a:pt x="1155" y="514"/>
                  </a:lnTo>
                  <a:lnTo>
                    <a:pt x="1155" y="516"/>
                  </a:lnTo>
                  <a:lnTo>
                    <a:pt x="1154" y="516"/>
                  </a:lnTo>
                  <a:lnTo>
                    <a:pt x="1154" y="514"/>
                  </a:lnTo>
                  <a:lnTo>
                    <a:pt x="1154" y="513"/>
                  </a:lnTo>
                  <a:lnTo>
                    <a:pt x="1154" y="514"/>
                  </a:lnTo>
                  <a:lnTo>
                    <a:pt x="1154" y="513"/>
                  </a:lnTo>
                  <a:lnTo>
                    <a:pt x="1154" y="511"/>
                  </a:lnTo>
                  <a:lnTo>
                    <a:pt x="1155" y="509"/>
                  </a:lnTo>
                  <a:lnTo>
                    <a:pt x="1154" y="509"/>
                  </a:lnTo>
                  <a:lnTo>
                    <a:pt x="1155" y="509"/>
                  </a:lnTo>
                  <a:lnTo>
                    <a:pt x="1154" y="508"/>
                  </a:lnTo>
                  <a:lnTo>
                    <a:pt x="1155" y="508"/>
                  </a:lnTo>
                  <a:lnTo>
                    <a:pt x="1155" y="506"/>
                  </a:lnTo>
                  <a:lnTo>
                    <a:pt x="1157" y="506"/>
                  </a:lnTo>
                  <a:lnTo>
                    <a:pt x="1155" y="506"/>
                  </a:lnTo>
                  <a:lnTo>
                    <a:pt x="1155" y="504"/>
                  </a:lnTo>
                  <a:lnTo>
                    <a:pt x="1154" y="504"/>
                  </a:lnTo>
                  <a:lnTo>
                    <a:pt x="1154" y="503"/>
                  </a:lnTo>
                  <a:lnTo>
                    <a:pt x="1152" y="501"/>
                  </a:lnTo>
                  <a:lnTo>
                    <a:pt x="1152" y="503"/>
                  </a:lnTo>
                  <a:lnTo>
                    <a:pt x="1154" y="504"/>
                  </a:lnTo>
                  <a:lnTo>
                    <a:pt x="1152" y="504"/>
                  </a:lnTo>
                  <a:lnTo>
                    <a:pt x="1154" y="504"/>
                  </a:lnTo>
                  <a:lnTo>
                    <a:pt x="1152" y="506"/>
                  </a:lnTo>
                  <a:lnTo>
                    <a:pt x="1154" y="506"/>
                  </a:lnTo>
                  <a:lnTo>
                    <a:pt x="1154" y="508"/>
                  </a:lnTo>
                  <a:lnTo>
                    <a:pt x="1152" y="508"/>
                  </a:lnTo>
                  <a:lnTo>
                    <a:pt x="1154" y="508"/>
                  </a:lnTo>
                  <a:lnTo>
                    <a:pt x="1154" y="509"/>
                  </a:lnTo>
                  <a:lnTo>
                    <a:pt x="1152" y="511"/>
                  </a:lnTo>
                  <a:lnTo>
                    <a:pt x="1152" y="513"/>
                  </a:lnTo>
                  <a:lnTo>
                    <a:pt x="1150" y="513"/>
                  </a:lnTo>
                  <a:lnTo>
                    <a:pt x="1149" y="513"/>
                  </a:lnTo>
                  <a:lnTo>
                    <a:pt x="1150" y="513"/>
                  </a:lnTo>
                  <a:lnTo>
                    <a:pt x="1149" y="513"/>
                  </a:lnTo>
                  <a:lnTo>
                    <a:pt x="1149" y="514"/>
                  </a:lnTo>
                  <a:lnTo>
                    <a:pt x="1150" y="514"/>
                  </a:lnTo>
                  <a:lnTo>
                    <a:pt x="1150" y="513"/>
                  </a:lnTo>
                  <a:lnTo>
                    <a:pt x="1150" y="514"/>
                  </a:lnTo>
                  <a:lnTo>
                    <a:pt x="1152" y="514"/>
                  </a:lnTo>
                  <a:lnTo>
                    <a:pt x="1152" y="516"/>
                  </a:lnTo>
                  <a:lnTo>
                    <a:pt x="1152" y="517"/>
                  </a:lnTo>
                  <a:lnTo>
                    <a:pt x="1152" y="516"/>
                  </a:lnTo>
                  <a:lnTo>
                    <a:pt x="1152" y="517"/>
                  </a:lnTo>
                  <a:lnTo>
                    <a:pt x="1150" y="517"/>
                  </a:lnTo>
                  <a:lnTo>
                    <a:pt x="1150" y="516"/>
                  </a:lnTo>
                  <a:lnTo>
                    <a:pt x="1150" y="514"/>
                  </a:lnTo>
                  <a:lnTo>
                    <a:pt x="1150" y="516"/>
                  </a:lnTo>
                  <a:lnTo>
                    <a:pt x="1149" y="516"/>
                  </a:lnTo>
                  <a:lnTo>
                    <a:pt x="1149" y="517"/>
                  </a:lnTo>
                  <a:lnTo>
                    <a:pt x="1150" y="517"/>
                  </a:lnTo>
                  <a:lnTo>
                    <a:pt x="1152" y="517"/>
                  </a:lnTo>
                  <a:lnTo>
                    <a:pt x="1152" y="519"/>
                  </a:lnTo>
                  <a:lnTo>
                    <a:pt x="1150" y="519"/>
                  </a:lnTo>
                  <a:lnTo>
                    <a:pt x="1149" y="519"/>
                  </a:lnTo>
                  <a:lnTo>
                    <a:pt x="1147" y="519"/>
                  </a:lnTo>
                  <a:lnTo>
                    <a:pt x="1145" y="519"/>
                  </a:lnTo>
                  <a:lnTo>
                    <a:pt x="1147" y="519"/>
                  </a:lnTo>
                  <a:lnTo>
                    <a:pt x="1145" y="519"/>
                  </a:lnTo>
                  <a:lnTo>
                    <a:pt x="1145" y="521"/>
                  </a:lnTo>
                  <a:lnTo>
                    <a:pt x="1145" y="522"/>
                  </a:lnTo>
                  <a:lnTo>
                    <a:pt x="1145" y="521"/>
                  </a:lnTo>
                  <a:lnTo>
                    <a:pt x="1145" y="519"/>
                  </a:lnTo>
                  <a:lnTo>
                    <a:pt x="1145" y="521"/>
                  </a:lnTo>
                  <a:lnTo>
                    <a:pt x="1145" y="519"/>
                  </a:lnTo>
                  <a:lnTo>
                    <a:pt x="1144" y="519"/>
                  </a:lnTo>
                  <a:lnTo>
                    <a:pt x="1145" y="519"/>
                  </a:lnTo>
                  <a:lnTo>
                    <a:pt x="1144" y="521"/>
                  </a:lnTo>
                  <a:lnTo>
                    <a:pt x="1144" y="522"/>
                  </a:lnTo>
                  <a:lnTo>
                    <a:pt x="1142" y="522"/>
                  </a:lnTo>
                  <a:lnTo>
                    <a:pt x="1142" y="524"/>
                  </a:lnTo>
                  <a:lnTo>
                    <a:pt x="1141" y="524"/>
                  </a:lnTo>
                  <a:lnTo>
                    <a:pt x="1141" y="526"/>
                  </a:lnTo>
                  <a:lnTo>
                    <a:pt x="1139" y="526"/>
                  </a:lnTo>
                  <a:lnTo>
                    <a:pt x="1141" y="526"/>
                  </a:lnTo>
                  <a:lnTo>
                    <a:pt x="1139" y="526"/>
                  </a:lnTo>
                  <a:lnTo>
                    <a:pt x="1141" y="524"/>
                  </a:lnTo>
                  <a:lnTo>
                    <a:pt x="1139" y="526"/>
                  </a:lnTo>
                  <a:lnTo>
                    <a:pt x="1139" y="524"/>
                  </a:lnTo>
                  <a:lnTo>
                    <a:pt x="1139" y="526"/>
                  </a:lnTo>
                  <a:lnTo>
                    <a:pt x="1139" y="524"/>
                  </a:lnTo>
                  <a:lnTo>
                    <a:pt x="1137" y="524"/>
                  </a:lnTo>
                  <a:lnTo>
                    <a:pt x="1137" y="526"/>
                  </a:lnTo>
                  <a:lnTo>
                    <a:pt x="1137" y="527"/>
                  </a:lnTo>
                  <a:lnTo>
                    <a:pt x="1137" y="526"/>
                  </a:lnTo>
                  <a:lnTo>
                    <a:pt x="1137" y="527"/>
                  </a:lnTo>
                  <a:lnTo>
                    <a:pt x="1137" y="526"/>
                  </a:lnTo>
                  <a:lnTo>
                    <a:pt x="1136" y="526"/>
                  </a:lnTo>
                  <a:lnTo>
                    <a:pt x="1136" y="527"/>
                  </a:lnTo>
                  <a:lnTo>
                    <a:pt x="1134" y="527"/>
                  </a:lnTo>
                  <a:lnTo>
                    <a:pt x="1134" y="524"/>
                  </a:lnTo>
                  <a:lnTo>
                    <a:pt x="1134" y="526"/>
                  </a:lnTo>
                  <a:lnTo>
                    <a:pt x="1134" y="527"/>
                  </a:lnTo>
                  <a:lnTo>
                    <a:pt x="1136" y="527"/>
                  </a:lnTo>
                  <a:lnTo>
                    <a:pt x="1134" y="527"/>
                  </a:lnTo>
                  <a:lnTo>
                    <a:pt x="1134" y="529"/>
                  </a:lnTo>
                  <a:lnTo>
                    <a:pt x="1132" y="529"/>
                  </a:lnTo>
                  <a:lnTo>
                    <a:pt x="1131" y="529"/>
                  </a:lnTo>
                  <a:lnTo>
                    <a:pt x="1129" y="531"/>
                  </a:lnTo>
                  <a:lnTo>
                    <a:pt x="1128" y="531"/>
                  </a:lnTo>
                  <a:lnTo>
                    <a:pt x="1128" y="529"/>
                  </a:lnTo>
                  <a:lnTo>
                    <a:pt x="1129" y="527"/>
                  </a:lnTo>
                  <a:lnTo>
                    <a:pt x="1128" y="527"/>
                  </a:lnTo>
                  <a:lnTo>
                    <a:pt x="1128" y="526"/>
                  </a:lnTo>
                  <a:lnTo>
                    <a:pt x="1128" y="524"/>
                  </a:lnTo>
                  <a:lnTo>
                    <a:pt x="1126" y="524"/>
                  </a:lnTo>
                  <a:lnTo>
                    <a:pt x="1128" y="524"/>
                  </a:lnTo>
                  <a:lnTo>
                    <a:pt x="1128" y="522"/>
                  </a:lnTo>
                  <a:lnTo>
                    <a:pt x="1126" y="522"/>
                  </a:lnTo>
                  <a:lnTo>
                    <a:pt x="1128" y="522"/>
                  </a:lnTo>
                  <a:lnTo>
                    <a:pt x="1126" y="522"/>
                  </a:lnTo>
                  <a:lnTo>
                    <a:pt x="1128" y="521"/>
                  </a:lnTo>
                  <a:lnTo>
                    <a:pt x="1129" y="521"/>
                  </a:lnTo>
                  <a:lnTo>
                    <a:pt x="1131" y="521"/>
                  </a:lnTo>
                  <a:lnTo>
                    <a:pt x="1131" y="519"/>
                  </a:lnTo>
                  <a:lnTo>
                    <a:pt x="1132" y="519"/>
                  </a:lnTo>
                  <a:lnTo>
                    <a:pt x="1134" y="517"/>
                  </a:lnTo>
                  <a:lnTo>
                    <a:pt x="1136" y="517"/>
                  </a:lnTo>
                  <a:lnTo>
                    <a:pt x="1134" y="517"/>
                  </a:lnTo>
                  <a:lnTo>
                    <a:pt x="1132" y="517"/>
                  </a:lnTo>
                  <a:lnTo>
                    <a:pt x="1132" y="519"/>
                  </a:lnTo>
                  <a:lnTo>
                    <a:pt x="1131" y="519"/>
                  </a:lnTo>
                  <a:lnTo>
                    <a:pt x="1129" y="519"/>
                  </a:lnTo>
                  <a:lnTo>
                    <a:pt x="1129" y="517"/>
                  </a:lnTo>
                  <a:lnTo>
                    <a:pt x="1129" y="516"/>
                  </a:lnTo>
                  <a:lnTo>
                    <a:pt x="1131" y="516"/>
                  </a:lnTo>
                  <a:lnTo>
                    <a:pt x="1129" y="516"/>
                  </a:lnTo>
                  <a:lnTo>
                    <a:pt x="1131" y="516"/>
                  </a:lnTo>
                  <a:lnTo>
                    <a:pt x="1131" y="514"/>
                  </a:lnTo>
                  <a:lnTo>
                    <a:pt x="1132" y="514"/>
                  </a:lnTo>
                  <a:lnTo>
                    <a:pt x="1132" y="516"/>
                  </a:lnTo>
                  <a:lnTo>
                    <a:pt x="1134" y="516"/>
                  </a:lnTo>
                  <a:lnTo>
                    <a:pt x="1134" y="514"/>
                  </a:lnTo>
                  <a:lnTo>
                    <a:pt x="1132" y="514"/>
                  </a:lnTo>
                  <a:lnTo>
                    <a:pt x="1132" y="513"/>
                  </a:lnTo>
                  <a:lnTo>
                    <a:pt x="1131" y="513"/>
                  </a:lnTo>
                  <a:lnTo>
                    <a:pt x="1132" y="511"/>
                  </a:lnTo>
                  <a:lnTo>
                    <a:pt x="1131" y="511"/>
                  </a:lnTo>
                  <a:lnTo>
                    <a:pt x="1131" y="509"/>
                  </a:lnTo>
                  <a:lnTo>
                    <a:pt x="1131" y="508"/>
                  </a:lnTo>
                  <a:lnTo>
                    <a:pt x="1132" y="508"/>
                  </a:lnTo>
                  <a:lnTo>
                    <a:pt x="1132" y="506"/>
                  </a:lnTo>
                  <a:lnTo>
                    <a:pt x="1132" y="504"/>
                  </a:lnTo>
                  <a:lnTo>
                    <a:pt x="1134" y="506"/>
                  </a:lnTo>
                  <a:lnTo>
                    <a:pt x="1136" y="506"/>
                  </a:lnTo>
                  <a:lnTo>
                    <a:pt x="1136" y="508"/>
                  </a:lnTo>
                  <a:lnTo>
                    <a:pt x="1136" y="509"/>
                  </a:lnTo>
                  <a:lnTo>
                    <a:pt x="1137" y="509"/>
                  </a:lnTo>
                  <a:lnTo>
                    <a:pt x="1137" y="511"/>
                  </a:lnTo>
                  <a:lnTo>
                    <a:pt x="1137" y="509"/>
                  </a:lnTo>
                  <a:lnTo>
                    <a:pt x="1136" y="508"/>
                  </a:lnTo>
                  <a:lnTo>
                    <a:pt x="1137" y="508"/>
                  </a:lnTo>
                  <a:lnTo>
                    <a:pt x="1139" y="508"/>
                  </a:lnTo>
                  <a:lnTo>
                    <a:pt x="1139" y="506"/>
                  </a:lnTo>
                  <a:lnTo>
                    <a:pt x="1137" y="506"/>
                  </a:lnTo>
                  <a:lnTo>
                    <a:pt x="1137" y="504"/>
                  </a:lnTo>
                  <a:lnTo>
                    <a:pt x="1137" y="506"/>
                  </a:lnTo>
                  <a:lnTo>
                    <a:pt x="1137" y="504"/>
                  </a:lnTo>
                  <a:lnTo>
                    <a:pt x="1137" y="506"/>
                  </a:lnTo>
                  <a:lnTo>
                    <a:pt x="1136" y="506"/>
                  </a:lnTo>
                  <a:lnTo>
                    <a:pt x="1136" y="504"/>
                  </a:lnTo>
                  <a:lnTo>
                    <a:pt x="1137" y="504"/>
                  </a:lnTo>
                  <a:lnTo>
                    <a:pt x="1136" y="504"/>
                  </a:lnTo>
                  <a:lnTo>
                    <a:pt x="1137" y="504"/>
                  </a:lnTo>
                  <a:lnTo>
                    <a:pt x="1136" y="504"/>
                  </a:lnTo>
                  <a:lnTo>
                    <a:pt x="1137" y="504"/>
                  </a:lnTo>
                  <a:lnTo>
                    <a:pt x="1137" y="503"/>
                  </a:lnTo>
                  <a:lnTo>
                    <a:pt x="1137" y="504"/>
                  </a:lnTo>
                  <a:lnTo>
                    <a:pt x="1139" y="504"/>
                  </a:lnTo>
                  <a:lnTo>
                    <a:pt x="1137" y="504"/>
                  </a:lnTo>
                  <a:lnTo>
                    <a:pt x="1137" y="503"/>
                  </a:lnTo>
                  <a:lnTo>
                    <a:pt x="1137" y="504"/>
                  </a:lnTo>
                  <a:lnTo>
                    <a:pt x="1137" y="503"/>
                  </a:lnTo>
                  <a:lnTo>
                    <a:pt x="1137" y="501"/>
                  </a:lnTo>
                  <a:lnTo>
                    <a:pt x="1137" y="500"/>
                  </a:lnTo>
                  <a:lnTo>
                    <a:pt x="1137" y="501"/>
                  </a:lnTo>
                  <a:lnTo>
                    <a:pt x="1136" y="500"/>
                  </a:lnTo>
                  <a:lnTo>
                    <a:pt x="1136" y="501"/>
                  </a:lnTo>
                  <a:lnTo>
                    <a:pt x="1136" y="500"/>
                  </a:lnTo>
                  <a:lnTo>
                    <a:pt x="1134" y="500"/>
                  </a:lnTo>
                  <a:lnTo>
                    <a:pt x="1136" y="500"/>
                  </a:lnTo>
                  <a:lnTo>
                    <a:pt x="1136" y="498"/>
                  </a:lnTo>
                  <a:lnTo>
                    <a:pt x="1136" y="500"/>
                  </a:lnTo>
                  <a:lnTo>
                    <a:pt x="1136" y="498"/>
                  </a:lnTo>
                  <a:lnTo>
                    <a:pt x="1137" y="498"/>
                  </a:lnTo>
                  <a:lnTo>
                    <a:pt x="1139" y="498"/>
                  </a:lnTo>
                  <a:lnTo>
                    <a:pt x="1139" y="496"/>
                  </a:lnTo>
                  <a:lnTo>
                    <a:pt x="1141" y="496"/>
                  </a:lnTo>
                  <a:lnTo>
                    <a:pt x="1142" y="496"/>
                  </a:lnTo>
                  <a:lnTo>
                    <a:pt x="1142" y="498"/>
                  </a:lnTo>
                  <a:lnTo>
                    <a:pt x="1144" y="500"/>
                  </a:lnTo>
                  <a:lnTo>
                    <a:pt x="1145" y="500"/>
                  </a:lnTo>
                  <a:lnTo>
                    <a:pt x="1145" y="498"/>
                  </a:lnTo>
                  <a:lnTo>
                    <a:pt x="1145" y="496"/>
                  </a:lnTo>
                  <a:lnTo>
                    <a:pt x="1144" y="496"/>
                  </a:lnTo>
                  <a:lnTo>
                    <a:pt x="1145" y="496"/>
                  </a:lnTo>
                  <a:lnTo>
                    <a:pt x="1144" y="496"/>
                  </a:lnTo>
                  <a:close/>
                  <a:moveTo>
                    <a:pt x="1170" y="483"/>
                  </a:moveTo>
                  <a:lnTo>
                    <a:pt x="1170" y="482"/>
                  </a:lnTo>
                  <a:lnTo>
                    <a:pt x="1170" y="483"/>
                  </a:lnTo>
                  <a:close/>
                  <a:moveTo>
                    <a:pt x="1214" y="483"/>
                  </a:moveTo>
                  <a:lnTo>
                    <a:pt x="1214" y="482"/>
                  </a:lnTo>
                  <a:lnTo>
                    <a:pt x="1214" y="483"/>
                  </a:lnTo>
                  <a:close/>
                  <a:moveTo>
                    <a:pt x="1175" y="482"/>
                  </a:moveTo>
                  <a:lnTo>
                    <a:pt x="1176" y="482"/>
                  </a:lnTo>
                  <a:lnTo>
                    <a:pt x="1176" y="483"/>
                  </a:lnTo>
                  <a:lnTo>
                    <a:pt x="1175" y="483"/>
                  </a:lnTo>
                  <a:lnTo>
                    <a:pt x="1173" y="483"/>
                  </a:lnTo>
                  <a:lnTo>
                    <a:pt x="1173" y="482"/>
                  </a:lnTo>
                  <a:lnTo>
                    <a:pt x="1175" y="482"/>
                  </a:lnTo>
                  <a:close/>
                  <a:moveTo>
                    <a:pt x="1150" y="480"/>
                  </a:moveTo>
                  <a:lnTo>
                    <a:pt x="1150" y="482"/>
                  </a:lnTo>
                  <a:lnTo>
                    <a:pt x="1150" y="480"/>
                  </a:lnTo>
                  <a:close/>
                  <a:moveTo>
                    <a:pt x="1178" y="482"/>
                  </a:moveTo>
                  <a:lnTo>
                    <a:pt x="1176" y="482"/>
                  </a:lnTo>
                  <a:lnTo>
                    <a:pt x="1178" y="482"/>
                  </a:lnTo>
                  <a:lnTo>
                    <a:pt x="1178" y="480"/>
                  </a:lnTo>
                  <a:lnTo>
                    <a:pt x="1178" y="482"/>
                  </a:lnTo>
                  <a:close/>
                  <a:moveTo>
                    <a:pt x="1147" y="480"/>
                  </a:moveTo>
                  <a:lnTo>
                    <a:pt x="1149" y="480"/>
                  </a:lnTo>
                  <a:lnTo>
                    <a:pt x="1147" y="480"/>
                  </a:lnTo>
                  <a:close/>
                  <a:moveTo>
                    <a:pt x="1149" y="478"/>
                  </a:moveTo>
                  <a:lnTo>
                    <a:pt x="1149" y="480"/>
                  </a:lnTo>
                  <a:lnTo>
                    <a:pt x="1149" y="478"/>
                  </a:lnTo>
                  <a:close/>
                  <a:moveTo>
                    <a:pt x="1176" y="480"/>
                  </a:moveTo>
                  <a:lnTo>
                    <a:pt x="1176" y="478"/>
                  </a:lnTo>
                  <a:lnTo>
                    <a:pt x="1176" y="480"/>
                  </a:lnTo>
                  <a:close/>
                  <a:moveTo>
                    <a:pt x="1178" y="478"/>
                  </a:moveTo>
                  <a:lnTo>
                    <a:pt x="1180" y="478"/>
                  </a:lnTo>
                  <a:lnTo>
                    <a:pt x="1178" y="478"/>
                  </a:lnTo>
                  <a:close/>
                  <a:moveTo>
                    <a:pt x="1147" y="478"/>
                  </a:moveTo>
                  <a:lnTo>
                    <a:pt x="1149" y="478"/>
                  </a:lnTo>
                  <a:lnTo>
                    <a:pt x="1147" y="478"/>
                  </a:lnTo>
                  <a:close/>
                  <a:moveTo>
                    <a:pt x="1269" y="477"/>
                  </a:moveTo>
                  <a:lnTo>
                    <a:pt x="1267" y="477"/>
                  </a:lnTo>
                  <a:lnTo>
                    <a:pt x="1269" y="477"/>
                  </a:lnTo>
                  <a:lnTo>
                    <a:pt x="1269" y="475"/>
                  </a:lnTo>
                  <a:lnTo>
                    <a:pt x="1269" y="477"/>
                  </a:lnTo>
                  <a:close/>
                  <a:moveTo>
                    <a:pt x="1267" y="475"/>
                  </a:moveTo>
                  <a:lnTo>
                    <a:pt x="1267" y="477"/>
                  </a:lnTo>
                  <a:lnTo>
                    <a:pt x="1267" y="475"/>
                  </a:lnTo>
                  <a:close/>
                  <a:moveTo>
                    <a:pt x="1271" y="477"/>
                  </a:moveTo>
                  <a:lnTo>
                    <a:pt x="1269" y="475"/>
                  </a:lnTo>
                  <a:lnTo>
                    <a:pt x="1271" y="475"/>
                  </a:lnTo>
                  <a:lnTo>
                    <a:pt x="1271" y="477"/>
                  </a:lnTo>
                  <a:close/>
                  <a:moveTo>
                    <a:pt x="1168" y="475"/>
                  </a:moveTo>
                  <a:lnTo>
                    <a:pt x="1168" y="474"/>
                  </a:lnTo>
                  <a:lnTo>
                    <a:pt x="1168" y="475"/>
                  </a:lnTo>
                  <a:close/>
                  <a:moveTo>
                    <a:pt x="1227" y="474"/>
                  </a:moveTo>
                  <a:lnTo>
                    <a:pt x="1225" y="474"/>
                  </a:lnTo>
                  <a:lnTo>
                    <a:pt x="1227" y="474"/>
                  </a:lnTo>
                  <a:close/>
                  <a:moveTo>
                    <a:pt x="1167" y="472"/>
                  </a:moveTo>
                  <a:lnTo>
                    <a:pt x="1165" y="472"/>
                  </a:lnTo>
                  <a:lnTo>
                    <a:pt x="1167" y="472"/>
                  </a:lnTo>
                  <a:close/>
                  <a:moveTo>
                    <a:pt x="1305" y="472"/>
                  </a:moveTo>
                  <a:lnTo>
                    <a:pt x="1306" y="472"/>
                  </a:lnTo>
                  <a:lnTo>
                    <a:pt x="1305" y="472"/>
                  </a:lnTo>
                  <a:close/>
                  <a:moveTo>
                    <a:pt x="1269" y="475"/>
                  </a:moveTo>
                  <a:lnTo>
                    <a:pt x="1267" y="475"/>
                  </a:lnTo>
                  <a:lnTo>
                    <a:pt x="1269" y="472"/>
                  </a:lnTo>
                  <a:lnTo>
                    <a:pt x="1271" y="472"/>
                  </a:lnTo>
                  <a:lnTo>
                    <a:pt x="1271" y="474"/>
                  </a:lnTo>
                  <a:lnTo>
                    <a:pt x="1271" y="475"/>
                  </a:lnTo>
                  <a:lnTo>
                    <a:pt x="1269" y="475"/>
                  </a:lnTo>
                  <a:close/>
                  <a:moveTo>
                    <a:pt x="1162" y="470"/>
                  </a:moveTo>
                  <a:lnTo>
                    <a:pt x="1163" y="470"/>
                  </a:lnTo>
                  <a:lnTo>
                    <a:pt x="1163" y="472"/>
                  </a:lnTo>
                  <a:lnTo>
                    <a:pt x="1162" y="472"/>
                  </a:lnTo>
                  <a:lnTo>
                    <a:pt x="1162" y="470"/>
                  </a:lnTo>
                  <a:close/>
                  <a:moveTo>
                    <a:pt x="1158" y="469"/>
                  </a:moveTo>
                  <a:lnTo>
                    <a:pt x="1158" y="470"/>
                  </a:lnTo>
                  <a:lnTo>
                    <a:pt x="1158" y="469"/>
                  </a:lnTo>
                  <a:close/>
                  <a:moveTo>
                    <a:pt x="1134" y="470"/>
                  </a:moveTo>
                  <a:lnTo>
                    <a:pt x="1134" y="469"/>
                  </a:lnTo>
                  <a:lnTo>
                    <a:pt x="1134" y="470"/>
                  </a:lnTo>
                  <a:close/>
                  <a:moveTo>
                    <a:pt x="1149" y="470"/>
                  </a:moveTo>
                  <a:lnTo>
                    <a:pt x="1149" y="469"/>
                  </a:lnTo>
                  <a:lnTo>
                    <a:pt x="1149" y="470"/>
                  </a:lnTo>
                  <a:lnTo>
                    <a:pt x="1150" y="470"/>
                  </a:lnTo>
                  <a:lnTo>
                    <a:pt x="1152" y="470"/>
                  </a:lnTo>
                  <a:lnTo>
                    <a:pt x="1154" y="470"/>
                  </a:lnTo>
                  <a:lnTo>
                    <a:pt x="1155" y="470"/>
                  </a:lnTo>
                  <a:lnTo>
                    <a:pt x="1157" y="472"/>
                  </a:lnTo>
                  <a:lnTo>
                    <a:pt x="1157" y="470"/>
                  </a:lnTo>
                  <a:lnTo>
                    <a:pt x="1158" y="470"/>
                  </a:lnTo>
                  <a:lnTo>
                    <a:pt x="1160" y="472"/>
                  </a:lnTo>
                  <a:lnTo>
                    <a:pt x="1160" y="470"/>
                  </a:lnTo>
                  <a:lnTo>
                    <a:pt x="1160" y="472"/>
                  </a:lnTo>
                  <a:lnTo>
                    <a:pt x="1162" y="472"/>
                  </a:lnTo>
                  <a:lnTo>
                    <a:pt x="1163" y="472"/>
                  </a:lnTo>
                  <a:lnTo>
                    <a:pt x="1165" y="472"/>
                  </a:lnTo>
                  <a:lnTo>
                    <a:pt x="1163" y="472"/>
                  </a:lnTo>
                  <a:lnTo>
                    <a:pt x="1165" y="472"/>
                  </a:lnTo>
                  <a:lnTo>
                    <a:pt x="1165" y="474"/>
                  </a:lnTo>
                  <a:lnTo>
                    <a:pt x="1165" y="475"/>
                  </a:lnTo>
                  <a:lnTo>
                    <a:pt x="1165" y="477"/>
                  </a:lnTo>
                  <a:lnTo>
                    <a:pt x="1163" y="477"/>
                  </a:lnTo>
                  <a:lnTo>
                    <a:pt x="1163" y="478"/>
                  </a:lnTo>
                  <a:lnTo>
                    <a:pt x="1162" y="478"/>
                  </a:lnTo>
                  <a:lnTo>
                    <a:pt x="1162" y="480"/>
                  </a:lnTo>
                  <a:lnTo>
                    <a:pt x="1160" y="482"/>
                  </a:lnTo>
                  <a:lnTo>
                    <a:pt x="1158" y="482"/>
                  </a:lnTo>
                  <a:lnTo>
                    <a:pt x="1157" y="482"/>
                  </a:lnTo>
                  <a:lnTo>
                    <a:pt x="1155" y="482"/>
                  </a:lnTo>
                  <a:lnTo>
                    <a:pt x="1154" y="482"/>
                  </a:lnTo>
                  <a:lnTo>
                    <a:pt x="1152" y="482"/>
                  </a:lnTo>
                  <a:lnTo>
                    <a:pt x="1152" y="483"/>
                  </a:lnTo>
                  <a:lnTo>
                    <a:pt x="1150" y="482"/>
                  </a:lnTo>
                  <a:lnTo>
                    <a:pt x="1152" y="482"/>
                  </a:lnTo>
                  <a:lnTo>
                    <a:pt x="1150" y="482"/>
                  </a:lnTo>
                  <a:lnTo>
                    <a:pt x="1150" y="480"/>
                  </a:lnTo>
                  <a:lnTo>
                    <a:pt x="1152" y="480"/>
                  </a:lnTo>
                  <a:lnTo>
                    <a:pt x="1150" y="480"/>
                  </a:lnTo>
                  <a:lnTo>
                    <a:pt x="1152" y="480"/>
                  </a:lnTo>
                  <a:lnTo>
                    <a:pt x="1150" y="480"/>
                  </a:lnTo>
                  <a:lnTo>
                    <a:pt x="1150" y="478"/>
                  </a:lnTo>
                  <a:lnTo>
                    <a:pt x="1149" y="478"/>
                  </a:lnTo>
                  <a:lnTo>
                    <a:pt x="1149" y="477"/>
                  </a:lnTo>
                  <a:lnTo>
                    <a:pt x="1147" y="477"/>
                  </a:lnTo>
                  <a:lnTo>
                    <a:pt x="1149" y="477"/>
                  </a:lnTo>
                  <a:lnTo>
                    <a:pt x="1147" y="477"/>
                  </a:lnTo>
                  <a:lnTo>
                    <a:pt x="1147" y="475"/>
                  </a:lnTo>
                  <a:lnTo>
                    <a:pt x="1145" y="475"/>
                  </a:lnTo>
                  <a:lnTo>
                    <a:pt x="1147" y="475"/>
                  </a:lnTo>
                  <a:lnTo>
                    <a:pt x="1145" y="475"/>
                  </a:lnTo>
                  <a:lnTo>
                    <a:pt x="1145" y="474"/>
                  </a:lnTo>
                  <a:lnTo>
                    <a:pt x="1145" y="472"/>
                  </a:lnTo>
                  <a:lnTo>
                    <a:pt x="1147" y="470"/>
                  </a:lnTo>
                  <a:lnTo>
                    <a:pt x="1149" y="470"/>
                  </a:lnTo>
                  <a:close/>
                  <a:moveTo>
                    <a:pt x="1129" y="470"/>
                  </a:moveTo>
                  <a:lnTo>
                    <a:pt x="1128" y="470"/>
                  </a:lnTo>
                  <a:lnTo>
                    <a:pt x="1128" y="469"/>
                  </a:lnTo>
                  <a:lnTo>
                    <a:pt x="1129" y="469"/>
                  </a:lnTo>
                  <a:lnTo>
                    <a:pt x="1129" y="470"/>
                  </a:lnTo>
                  <a:close/>
                  <a:moveTo>
                    <a:pt x="1155" y="467"/>
                  </a:moveTo>
                  <a:lnTo>
                    <a:pt x="1157" y="467"/>
                  </a:lnTo>
                  <a:lnTo>
                    <a:pt x="1157" y="469"/>
                  </a:lnTo>
                  <a:lnTo>
                    <a:pt x="1155" y="469"/>
                  </a:lnTo>
                  <a:lnTo>
                    <a:pt x="1157" y="469"/>
                  </a:lnTo>
                  <a:lnTo>
                    <a:pt x="1155" y="467"/>
                  </a:lnTo>
                  <a:close/>
                  <a:moveTo>
                    <a:pt x="1136" y="469"/>
                  </a:moveTo>
                  <a:lnTo>
                    <a:pt x="1136" y="467"/>
                  </a:lnTo>
                  <a:lnTo>
                    <a:pt x="1136" y="469"/>
                  </a:lnTo>
                  <a:close/>
                  <a:moveTo>
                    <a:pt x="1232" y="467"/>
                  </a:moveTo>
                  <a:lnTo>
                    <a:pt x="1230" y="467"/>
                  </a:lnTo>
                  <a:lnTo>
                    <a:pt x="1232" y="467"/>
                  </a:lnTo>
                  <a:close/>
                  <a:moveTo>
                    <a:pt x="1236" y="467"/>
                  </a:moveTo>
                  <a:lnTo>
                    <a:pt x="1238" y="467"/>
                  </a:lnTo>
                  <a:lnTo>
                    <a:pt x="1240" y="469"/>
                  </a:lnTo>
                  <a:lnTo>
                    <a:pt x="1241" y="469"/>
                  </a:lnTo>
                  <a:lnTo>
                    <a:pt x="1241" y="470"/>
                  </a:lnTo>
                  <a:lnTo>
                    <a:pt x="1243" y="470"/>
                  </a:lnTo>
                  <a:lnTo>
                    <a:pt x="1243" y="472"/>
                  </a:lnTo>
                  <a:lnTo>
                    <a:pt x="1241" y="474"/>
                  </a:lnTo>
                  <a:lnTo>
                    <a:pt x="1243" y="474"/>
                  </a:lnTo>
                  <a:lnTo>
                    <a:pt x="1245" y="474"/>
                  </a:lnTo>
                  <a:lnTo>
                    <a:pt x="1245" y="475"/>
                  </a:lnTo>
                  <a:lnTo>
                    <a:pt x="1246" y="477"/>
                  </a:lnTo>
                  <a:lnTo>
                    <a:pt x="1246" y="478"/>
                  </a:lnTo>
                  <a:lnTo>
                    <a:pt x="1245" y="478"/>
                  </a:lnTo>
                  <a:lnTo>
                    <a:pt x="1243" y="480"/>
                  </a:lnTo>
                  <a:lnTo>
                    <a:pt x="1245" y="482"/>
                  </a:lnTo>
                  <a:lnTo>
                    <a:pt x="1245" y="483"/>
                  </a:lnTo>
                  <a:lnTo>
                    <a:pt x="1243" y="485"/>
                  </a:lnTo>
                  <a:lnTo>
                    <a:pt x="1241" y="487"/>
                  </a:lnTo>
                  <a:lnTo>
                    <a:pt x="1240" y="487"/>
                  </a:lnTo>
                  <a:lnTo>
                    <a:pt x="1238" y="487"/>
                  </a:lnTo>
                  <a:lnTo>
                    <a:pt x="1238" y="485"/>
                  </a:lnTo>
                  <a:lnTo>
                    <a:pt x="1238" y="487"/>
                  </a:lnTo>
                  <a:lnTo>
                    <a:pt x="1236" y="487"/>
                  </a:lnTo>
                  <a:lnTo>
                    <a:pt x="1235" y="487"/>
                  </a:lnTo>
                  <a:lnTo>
                    <a:pt x="1233" y="487"/>
                  </a:lnTo>
                  <a:lnTo>
                    <a:pt x="1235" y="488"/>
                  </a:lnTo>
                  <a:lnTo>
                    <a:pt x="1233" y="488"/>
                  </a:lnTo>
                  <a:lnTo>
                    <a:pt x="1232" y="488"/>
                  </a:lnTo>
                  <a:lnTo>
                    <a:pt x="1232" y="490"/>
                  </a:lnTo>
                  <a:lnTo>
                    <a:pt x="1230" y="490"/>
                  </a:lnTo>
                  <a:lnTo>
                    <a:pt x="1230" y="491"/>
                  </a:lnTo>
                  <a:lnTo>
                    <a:pt x="1228" y="491"/>
                  </a:lnTo>
                  <a:lnTo>
                    <a:pt x="1227" y="491"/>
                  </a:lnTo>
                  <a:lnTo>
                    <a:pt x="1228" y="491"/>
                  </a:lnTo>
                  <a:lnTo>
                    <a:pt x="1227" y="491"/>
                  </a:lnTo>
                  <a:lnTo>
                    <a:pt x="1227" y="490"/>
                  </a:lnTo>
                  <a:lnTo>
                    <a:pt x="1227" y="491"/>
                  </a:lnTo>
                  <a:lnTo>
                    <a:pt x="1225" y="491"/>
                  </a:lnTo>
                  <a:lnTo>
                    <a:pt x="1225" y="490"/>
                  </a:lnTo>
                  <a:lnTo>
                    <a:pt x="1227" y="490"/>
                  </a:lnTo>
                  <a:lnTo>
                    <a:pt x="1225" y="490"/>
                  </a:lnTo>
                  <a:lnTo>
                    <a:pt x="1223" y="488"/>
                  </a:lnTo>
                  <a:lnTo>
                    <a:pt x="1225" y="488"/>
                  </a:lnTo>
                  <a:lnTo>
                    <a:pt x="1225" y="487"/>
                  </a:lnTo>
                  <a:lnTo>
                    <a:pt x="1227" y="487"/>
                  </a:lnTo>
                  <a:lnTo>
                    <a:pt x="1225" y="487"/>
                  </a:lnTo>
                  <a:lnTo>
                    <a:pt x="1225" y="485"/>
                  </a:lnTo>
                  <a:lnTo>
                    <a:pt x="1227" y="485"/>
                  </a:lnTo>
                  <a:lnTo>
                    <a:pt x="1227" y="483"/>
                  </a:lnTo>
                  <a:lnTo>
                    <a:pt x="1230" y="483"/>
                  </a:lnTo>
                  <a:lnTo>
                    <a:pt x="1232" y="483"/>
                  </a:lnTo>
                  <a:lnTo>
                    <a:pt x="1233" y="483"/>
                  </a:lnTo>
                  <a:lnTo>
                    <a:pt x="1233" y="482"/>
                  </a:lnTo>
                  <a:lnTo>
                    <a:pt x="1232" y="483"/>
                  </a:lnTo>
                  <a:lnTo>
                    <a:pt x="1230" y="483"/>
                  </a:lnTo>
                  <a:lnTo>
                    <a:pt x="1228" y="483"/>
                  </a:lnTo>
                  <a:lnTo>
                    <a:pt x="1227" y="483"/>
                  </a:lnTo>
                  <a:lnTo>
                    <a:pt x="1227" y="482"/>
                  </a:lnTo>
                  <a:lnTo>
                    <a:pt x="1227" y="480"/>
                  </a:lnTo>
                  <a:lnTo>
                    <a:pt x="1227" y="478"/>
                  </a:lnTo>
                  <a:lnTo>
                    <a:pt x="1227" y="477"/>
                  </a:lnTo>
                  <a:lnTo>
                    <a:pt x="1227" y="475"/>
                  </a:lnTo>
                  <a:lnTo>
                    <a:pt x="1228" y="475"/>
                  </a:lnTo>
                  <a:lnTo>
                    <a:pt x="1228" y="474"/>
                  </a:lnTo>
                  <a:lnTo>
                    <a:pt x="1230" y="472"/>
                  </a:lnTo>
                  <a:lnTo>
                    <a:pt x="1230" y="470"/>
                  </a:lnTo>
                  <a:lnTo>
                    <a:pt x="1230" y="469"/>
                  </a:lnTo>
                  <a:lnTo>
                    <a:pt x="1232" y="469"/>
                  </a:lnTo>
                  <a:lnTo>
                    <a:pt x="1235" y="469"/>
                  </a:lnTo>
                  <a:lnTo>
                    <a:pt x="1235" y="467"/>
                  </a:lnTo>
                  <a:lnTo>
                    <a:pt x="1236" y="467"/>
                  </a:lnTo>
                  <a:close/>
                  <a:moveTo>
                    <a:pt x="1154" y="467"/>
                  </a:moveTo>
                  <a:lnTo>
                    <a:pt x="1155" y="465"/>
                  </a:lnTo>
                  <a:lnTo>
                    <a:pt x="1154" y="467"/>
                  </a:lnTo>
                  <a:close/>
                  <a:moveTo>
                    <a:pt x="1129" y="465"/>
                  </a:moveTo>
                  <a:lnTo>
                    <a:pt x="1129" y="467"/>
                  </a:lnTo>
                  <a:lnTo>
                    <a:pt x="1129" y="469"/>
                  </a:lnTo>
                  <a:lnTo>
                    <a:pt x="1129" y="467"/>
                  </a:lnTo>
                  <a:lnTo>
                    <a:pt x="1129" y="465"/>
                  </a:lnTo>
                  <a:lnTo>
                    <a:pt x="1131" y="465"/>
                  </a:lnTo>
                  <a:lnTo>
                    <a:pt x="1129" y="465"/>
                  </a:lnTo>
                  <a:close/>
                  <a:moveTo>
                    <a:pt x="1132" y="467"/>
                  </a:moveTo>
                  <a:lnTo>
                    <a:pt x="1132" y="465"/>
                  </a:lnTo>
                  <a:lnTo>
                    <a:pt x="1134" y="465"/>
                  </a:lnTo>
                  <a:lnTo>
                    <a:pt x="1132" y="465"/>
                  </a:lnTo>
                  <a:lnTo>
                    <a:pt x="1134" y="465"/>
                  </a:lnTo>
                  <a:lnTo>
                    <a:pt x="1134" y="464"/>
                  </a:lnTo>
                  <a:lnTo>
                    <a:pt x="1134" y="465"/>
                  </a:lnTo>
                  <a:lnTo>
                    <a:pt x="1132" y="467"/>
                  </a:lnTo>
                  <a:close/>
                  <a:moveTo>
                    <a:pt x="1184" y="465"/>
                  </a:moveTo>
                  <a:lnTo>
                    <a:pt x="1184" y="464"/>
                  </a:lnTo>
                  <a:lnTo>
                    <a:pt x="1184" y="465"/>
                  </a:lnTo>
                  <a:close/>
                  <a:moveTo>
                    <a:pt x="1145" y="465"/>
                  </a:moveTo>
                  <a:lnTo>
                    <a:pt x="1145" y="464"/>
                  </a:lnTo>
                  <a:lnTo>
                    <a:pt x="1145" y="465"/>
                  </a:lnTo>
                  <a:close/>
                  <a:moveTo>
                    <a:pt x="1184" y="464"/>
                  </a:moveTo>
                  <a:lnTo>
                    <a:pt x="1186" y="464"/>
                  </a:lnTo>
                  <a:lnTo>
                    <a:pt x="1184" y="464"/>
                  </a:lnTo>
                  <a:close/>
                  <a:moveTo>
                    <a:pt x="1188" y="464"/>
                  </a:moveTo>
                  <a:lnTo>
                    <a:pt x="1189" y="464"/>
                  </a:lnTo>
                  <a:lnTo>
                    <a:pt x="1188" y="464"/>
                  </a:lnTo>
                  <a:close/>
                  <a:moveTo>
                    <a:pt x="1152" y="464"/>
                  </a:moveTo>
                  <a:lnTo>
                    <a:pt x="1152" y="462"/>
                  </a:lnTo>
                  <a:lnTo>
                    <a:pt x="1152" y="464"/>
                  </a:lnTo>
                  <a:close/>
                  <a:moveTo>
                    <a:pt x="1147" y="462"/>
                  </a:moveTo>
                  <a:lnTo>
                    <a:pt x="1147" y="464"/>
                  </a:lnTo>
                  <a:lnTo>
                    <a:pt x="1147" y="462"/>
                  </a:lnTo>
                  <a:close/>
                  <a:moveTo>
                    <a:pt x="1154" y="462"/>
                  </a:moveTo>
                  <a:lnTo>
                    <a:pt x="1152" y="462"/>
                  </a:lnTo>
                  <a:lnTo>
                    <a:pt x="1154" y="462"/>
                  </a:lnTo>
                  <a:close/>
                  <a:moveTo>
                    <a:pt x="1145" y="461"/>
                  </a:moveTo>
                  <a:lnTo>
                    <a:pt x="1147" y="461"/>
                  </a:lnTo>
                  <a:lnTo>
                    <a:pt x="1145" y="461"/>
                  </a:lnTo>
                  <a:close/>
                  <a:moveTo>
                    <a:pt x="1145" y="461"/>
                  </a:moveTo>
                  <a:lnTo>
                    <a:pt x="1145" y="459"/>
                  </a:lnTo>
                  <a:lnTo>
                    <a:pt x="1145" y="461"/>
                  </a:lnTo>
                  <a:close/>
                  <a:moveTo>
                    <a:pt x="1147" y="461"/>
                  </a:moveTo>
                  <a:lnTo>
                    <a:pt x="1147" y="459"/>
                  </a:lnTo>
                  <a:lnTo>
                    <a:pt x="1149" y="459"/>
                  </a:lnTo>
                  <a:lnTo>
                    <a:pt x="1147" y="461"/>
                  </a:lnTo>
                  <a:close/>
                  <a:moveTo>
                    <a:pt x="1191" y="459"/>
                  </a:moveTo>
                  <a:lnTo>
                    <a:pt x="1189" y="459"/>
                  </a:lnTo>
                  <a:lnTo>
                    <a:pt x="1191" y="459"/>
                  </a:lnTo>
                  <a:close/>
                  <a:moveTo>
                    <a:pt x="1154" y="459"/>
                  </a:moveTo>
                  <a:lnTo>
                    <a:pt x="1154" y="457"/>
                  </a:lnTo>
                  <a:lnTo>
                    <a:pt x="1154" y="459"/>
                  </a:lnTo>
                  <a:close/>
                  <a:moveTo>
                    <a:pt x="1149" y="457"/>
                  </a:moveTo>
                  <a:lnTo>
                    <a:pt x="1149" y="459"/>
                  </a:lnTo>
                  <a:lnTo>
                    <a:pt x="1149" y="457"/>
                  </a:lnTo>
                  <a:close/>
                  <a:moveTo>
                    <a:pt x="1209" y="459"/>
                  </a:moveTo>
                  <a:lnTo>
                    <a:pt x="1207" y="459"/>
                  </a:lnTo>
                  <a:lnTo>
                    <a:pt x="1209" y="457"/>
                  </a:lnTo>
                  <a:lnTo>
                    <a:pt x="1209" y="459"/>
                  </a:lnTo>
                  <a:close/>
                  <a:moveTo>
                    <a:pt x="1189" y="457"/>
                  </a:moveTo>
                  <a:lnTo>
                    <a:pt x="1189" y="459"/>
                  </a:lnTo>
                  <a:lnTo>
                    <a:pt x="1189" y="457"/>
                  </a:lnTo>
                  <a:close/>
                  <a:moveTo>
                    <a:pt x="1152" y="457"/>
                  </a:moveTo>
                  <a:lnTo>
                    <a:pt x="1154" y="457"/>
                  </a:lnTo>
                  <a:lnTo>
                    <a:pt x="1152" y="457"/>
                  </a:lnTo>
                  <a:close/>
                  <a:moveTo>
                    <a:pt x="1149" y="456"/>
                  </a:moveTo>
                  <a:lnTo>
                    <a:pt x="1149" y="454"/>
                  </a:lnTo>
                  <a:lnTo>
                    <a:pt x="1149" y="456"/>
                  </a:lnTo>
                  <a:close/>
                  <a:moveTo>
                    <a:pt x="1248" y="454"/>
                  </a:moveTo>
                  <a:lnTo>
                    <a:pt x="1248" y="456"/>
                  </a:lnTo>
                  <a:lnTo>
                    <a:pt x="1248" y="454"/>
                  </a:lnTo>
                  <a:close/>
                  <a:moveTo>
                    <a:pt x="1160" y="452"/>
                  </a:moveTo>
                  <a:lnTo>
                    <a:pt x="1162" y="452"/>
                  </a:lnTo>
                  <a:lnTo>
                    <a:pt x="1160" y="452"/>
                  </a:lnTo>
                  <a:close/>
                  <a:moveTo>
                    <a:pt x="1134" y="449"/>
                  </a:moveTo>
                  <a:lnTo>
                    <a:pt x="1136" y="449"/>
                  </a:lnTo>
                  <a:lnTo>
                    <a:pt x="1134" y="449"/>
                  </a:lnTo>
                  <a:close/>
                  <a:moveTo>
                    <a:pt x="1137" y="449"/>
                  </a:moveTo>
                  <a:lnTo>
                    <a:pt x="1137" y="448"/>
                  </a:lnTo>
                  <a:lnTo>
                    <a:pt x="1137" y="449"/>
                  </a:lnTo>
                  <a:lnTo>
                    <a:pt x="1137" y="448"/>
                  </a:lnTo>
                  <a:lnTo>
                    <a:pt x="1137" y="449"/>
                  </a:lnTo>
                  <a:close/>
                  <a:moveTo>
                    <a:pt x="1139" y="448"/>
                  </a:moveTo>
                  <a:lnTo>
                    <a:pt x="1137" y="448"/>
                  </a:lnTo>
                  <a:lnTo>
                    <a:pt x="1139" y="448"/>
                  </a:lnTo>
                  <a:close/>
                  <a:moveTo>
                    <a:pt x="1139" y="448"/>
                  </a:moveTo>
                  <a:lnTo>
                    <a:pt x="1137" y="448"/>
                  </a:lnTo>
                  <a:lnTo>
                    <a:pt x="1139" y="448"/>
                  </a:lnTo>
                  <a:close/>
                  <a:moveTo>
                    <a:pt x="1249" y="448"/>
                  </a:moveTo>
                  <a:lnTo>
                    <a:pt x="1248" y="448"/>
                  </a:lnTo>
                  <a:lnTo>
                    <a:pt x="1249" y="448"/>
                  </a:lnTo>
                  <a:close/>
                  <a:moveTo>
                    <a:pt x="1132" y="446"/>
                  </a:moveTo>
                  <a:lnTo>
                    <a:pt x="1132" y="444"/>
                  </a:lnTo>
                  <a:lnTo>
                    <a:pt x="1132" y="446"/>
                  </a:lnTo>
                  <a:close/>
                  <a:moveTo>
                    <a:pt x="1167" y="444"/>
                  </a:moveTo>
                  <a:lnTo>
                    <a:pt x="1167" y="446"/>
                  </a:lnTo>
                  <a:lnTo>
                    <a:pt x="1167" y="444"/>
                  </a:lnTo>
                  <a:close/>
                  <a:moveTo>
                    <a:pt x="1149" y="446"/>
                  </a:moveTo>
                  <a:lnTo>
                    <a:pt x="1149" y="444"/>
                  </a:lnTo>
                  <a:lnTo>
                    <a:pt x="1149" y="446"/>
                  </a:lnTo>
                  <a:close/>
                  <a:moveTo>
                    <a:pt x="1168" y="444"/>
                  </a:moveTo>
                  <a:lnTo>
                    <a:pt x="1170" y="444"/>
                  </a:lnTo>
                  <a:lnTo>
                    <a:pt x="1168" y="444"/>
                  </a:lnTo>
                  <a:close/>
                  <a:moveTo>
                    <a:pt x="1132" y="443"/>
                  </a:moveTo>
                  <a:lnTo>
                    <a:pt x="1134" y="443"/>
                  </a:lnTo>
                  <a:lnTo>
                    <a:pt x="1134" y="444"/>
                  </a:lnTo>
                  <a:lnTo>
                    <a:pt x="1132" y="443"/>
                  </a:lnTo>
                  <a:close/>
                  <a:moveTo>
                    <a:pt x="1181" y="443"/>
                  </a:moveTo>
                  <a:lnTo>
                    <a:pt x="1180" y="443"/>
                  </a:lnTo>
                  <a:lnTo>
                    <a:pt x="1181" y="443"/>
                  </a:lnTo>
                  <a:close/>
                  <a:moveTo>
                    <a:pt x="1157" y="441"/>
                  </a:moveTo>
                  <a:lnTo>
                    <a:pt x="1158" y="441"/>
                  </a:lnTo>
                  <a:lnTo>
                    <a:pt x="1157" y="443"/>
                  </a:lnTo>
                  <a:lnTo>
                    <a:pt x="1157" y="441"/>
                  </a:lnTo>
                  <a:close/>
                  <a:moveTo>
                    <a:pt x="1249" y="441"/>
                  </a:moveTo>
                  <a:lnTo>
                    <a:pt x="1249" y="439"/>
                  </a:lnTo>
                  <a:lnTo>
                    <a:pt x="1251" y="441"/>
                  </a:lnTo>
                  <a:lnTo>
                    <a:pt x="1251" y="443"/>
                  </a:lnTo>
                  <a:lnTo>
                    <a:pt x="1249" y="443"/>
                  </a:lnTo>
                  <a:lnTo>
                    <a:pt x="1249" y="441"/>
                  </a:lnTo>
                  <a:lnTo>
                    <a:pt x="1249" y="443"/>
                  </a:lnTo>
                  <a:lnTo>
                    <a:pt x="1249" y="441"/>
                  </a:lnTo>
                  <a:close/>
                  <a:moveTo>
                    <a:pt x="1188" y="439"/>
                  </a:moveTo>
                  <a:lnTo>
                    <a:pt x="1186" y="439"/>
                  </a:lnTo>
                  <a:lnTo>
                    <a:pt x="1188" y="439"/>
                  </a:lnTo>
                  <a:close/>
                  <a:moveTo>
                    <a:pt x="1154" y="439"/>
                  </a:moveTo>
                  <a:lnTo>
                    <a:pt x="1155" y="439"/>
                  </a:lnTo>
                  <a:lnTo>
                    <a:pt x="1154" y="439"/>
                  </a:lnTo>
                  <a:close/>
                  <a:moveTo>
                    <a:pt x="1147" y="439"/>
                  </a:moveTo>
                  <a:lnTo>
                    <a:pt x="1147" y="438"/>
                  </a:lnTo>
                  <a:lnTo>
                    <a:pt x="1147" y="439"/>
                  </a:lnTo>
                  <a:close/>
                  <a:moveTo>
                    <a:pt x="1149" y="438"/>
                  </a:moveTo>
                  <a:lnTo>
                    <a:pt x="1149" y="439"/>
                  </a:lnTo>
                  <a:lnTo>
                    <a:pt x="1149" y="438"/>
                  </a:lnTo>
                  <a:close/>
                  <a:moveTo>
                    <a:pt x="1150" y="438"/>
                  </a:moveTo>
                  <a:lnTo>
                    <a:pt x="1152" y="438"/>
                  </a:lnTo>
                  <a:lnTo>
                    <a:pt x="1150" y="438"/>
                  </a:lnTo>
                  <a:lnTo>
                    <a:pt x="1150" y="439"/>
                  </a:lnTo>
                  <a:lnTo>
                    <a:pt x="1152" y="438"/>
                  </a:lnTo>
                  <a:lnTo>
                    <a:pt x="1152" y="439"/>
                  </a:lnTo>
                  <a:lnTo>
                    <a:pt x="1152" y="441"/>
                  </a:lnTo>
                  <a:lnTo>
                    <a:pt x="1150" y="441"/>
                  </a:lnTo>
                  <a:lnTo>
                    <a:pt x="1149" y="441"/>
                  </a:lnTo>
                  <a:lnTo>
                    <a:pt x="1149" y="443"/>
                  </a:lnTo>
                  <a:lnTo>
                    <a:pt x="1149" y="441"/>
                  </a:lnTo>
                  <a:lnTo>
                    <a:pt x="1149" y="439"/>
                  </a:lnTo>
                  <a:lnTo>
                    <a:pt x="1150" y="438"/>
                  </a:lnTo>
                  <a:close/>
                  <a:moveTo>
                    <a:pt x="1139" y="438"/>
                  </a:moveTo>
                  <a:lnTo>
                    <a:pt x="1139" y="436"/>
                  </a:lnTo>
                  <a:lnTo>
                    <a:pt x="1139" y="438"/>
                  </a:lnTo>
                  <a:close/>
                  <a:moveTo>
                    <a:pt x="1246" y="436"/>
                  </a:moveTo>
                  <a:lnTo>
                    <a:pt x="1248" y="436"/>
                  </a:lnTo>
                  <a:lnTo>
                    <a:pt x="1246" y="436"/>
                  </a:lnTo>
                  <a:close/>
                  <a:moveTo>
                    <a:pt x="1157" y="436"/>
                  </a:moveTo>
                  <a:lnTo>
                    <a:pt x="1157" y="438"/>
                  </a:lnTo>
                  <a:lnTo>
                    <a:pt x="1155" y="438"/>
                  </a:lnTo>
                  <a:lnTo>
                    <a:pt x="1157" y="438"/>
                  </a:lnTo>
                  <a:lnTo>
                    <a:pt x="1157" y="436"/>
                  </a:lnTo>
                  <a:lnTo>
                    <a:pt x="1157" y="435"/>
                  </a:lnTo>
                  <a:lnTo>
                    <a:pt x="1157" y="436"/>
                  </a:lnTo>
                  <a:lnTo>
                    <a:pt x="1158" y="436"/>
                  </a:lnTo>
                  <a:lnTo>
                    <a:pt x="1157" y="436"/>
                  </a:lnTo>
                  <a:close/>
                  <a:moveTo>
                    <a:pt x="1139" y="436"/>
                  </a:moveTo>
                  <a:lnTo>
                    <a:pt x="1139" y="435"/>
                  </a:lnTo>
                  <a:lnTo>
                    <a:pt x="1139" y="436"/>
                  </a:lnTo>
                  <a:lnTo>
                    <a:pt x="1141" y="435"/>
                  </a:lnTo>
                  <a:lnTo>
                    <a:pt x="1139" y="436"/>
                  </a:lnTo>
                  <a:close/>
                  <a:moveTo>
                    <a:pt x="1223" y="438"/>
                  </a:moveTo>
                  <a:lnTo>
                    <a:pt x="1223" y="439"/>
                  </a:lnTo>
                  <a:lnTo>
                    <a:pt x="1225" y="439"/>
                  </a:lnTo>
                  <a:lnTo>
                    <a:pt x="1225" y="441"/>
                  </a:lnTo>
                  <a:lnTo>
                    <a:pt x="1222" y="439"/>
                  </a:lnTo>
                  <a:lnTo>
                    <a:pt x="1220" y="439"/>
                  </a:lnTo>
                  <a:lnTo>
                    <a:pt x="1220" y="438"/>
                  </a:lnTo>
                  <a:lnTo>
                    <a:pt x="1219" y="438"/>
                  </a:lnTo>
                  <a:lnTo>
                    <a:pt x="1219" y="436"/>
                  </a:lnTo>
                  <a:lnTo>
                    <a:pt x="1219" y="435"/>
                  </a:lnTo>
                  <a:lnTo>
                    <a:pt x="1220" y="436"/>
                  </a:lnTo>
                  <a:lnTo>
                    <a:pt x="1220" y="438"/>
                  </a:lnTo>
                  <a:lnTo>
                    <a:pt x="1222" y="438"/>
                  </a:lnTo>
                  <a:lnTo>
                    <a:pt x="1223" y="438"/>
                  </a:lnTo>
                  <a:close/>
                  <a:moveTo>
                    <a:pt x="1147" y="435"/>
                  </a:moveTo>
                  <a:lnTo>
                    <a:pt x="1149" y="435"/>
                  </a:lnTo>
                  <a:lnTo>
                    <a:pt x="1147" y="435"/>
                  </a:lnTo>
                  <a:lnTo>
                    <a:pt x="1149" y="435"/>
                  </a:lnTo>
                  <a:lnTo>
                    <a:pt x="1147" y="436"/>
                  </a:lnTo>
                  <a:lnTo>
                    <a:pt x="1147" y="435"/>
                  </a:lnTo>
                  <a:close/>
                  <a:moveTo>
                    <a:pt x="1248" y="435"/>
                  </a:moveTo>
                  <a:lnTo>
                    <a:pt x="1248" y="436"/>
                  </a:lnTo>
                  <a:lnTo>
                    <a:pt x="1248" y="435"/>
                  </a:lnTo>
                  <a:close/>
                  <a:moveTo>
                    <a:pt x="1149" y="433"/>
                  </a:moveTo>
                  <a:lnTo>
                    <a:pt x="1149" y="435"/>
                  </a:lnTo>
                  <a:lnTo>
                    <a:pt x="1149" y="433"/>
                  </a:lnTo>
                  <a:close/>
                  <a:moveTo>
                    <a:pt x="1154" y="433"/>
                  </a:moveTo>
                  <a:lnTo>
                    <a:pt x="1154" y="435"/>
                  </a:lnTo>
                  <a:lnTo>
                    <a:pt x="1154" y="436"/>
                  </a:lnTo>
                  <a:lnTo>
                    <a:pt x="1155" y="436"/>
                  </a:lnTo>
                  <a:lnTo>
                    <a:pt x="1155" y="438"/>
                  </a:lnTo>
                  <a:lnTo>
                    <a:pt x="1154" y="439"/>
                  </a:lnTo>
                  <a:lnTo>
                    <a:pt x="1154" y="436"/>
                  </a:lnTo>
                  <a:lnTo>
                    <a:pt x="1152" y="436"/>
                  </a:lnTo>
                  <a:lnTo>
                    <a:pt x="1152" y="435"/>
                  </a:lnTo>
                  <a:lnTo>
                    <a:pt x="1154" y="435"/>
                  </a:lnTo>
                  <a:lnTo>
                    <a:pt x="1154" y="433"/>
                  </a:lnTo>
                  <a:close/>
                  <a:moveTo>
                    <a:pt x="1149" y="435"/>
                  </a:moveTo>
                  <a:lnTo>
                    <a:pt x="1149" y="433"/>
                  </a:lnTo>
                  <a:lnTo>
                    <a:pt x="1149" y="435"/>
                  </a:lnTo>
                  <a:close/>
                  <a:moveTo>
                    <a:pt x="1147" y="433"/>
                  </a:moveTo>
                  <a:lnTo>
                    <a:pt x="1147" y="435"/>
                  </a:lnTo>
                  <a:lnTo>
                    <a:pt x="1147" y="433"/>
                  </a:lnTo>
                  <a:close/>
                  <a:moveTo>
                    <a:pt x="1147" y="433"/>
                  </a:moveTo>
                  <a:lnTo>
                    <a:pt x="1149" y="433"/>
                  </a:lnTo>
                  <a:lnTo>
                    <a:pt x="1147" y="433"/>
                  </a:lnTo>
                  <a:close/>
                  <a:moveTo>
                    <a:pt x="1189" y="433"/>
                  </a:moveTo>
                  <a:lnTo>
                    <a:pt x="1189" y="431"/>
                  </a:lnTo>
                  <a:lnTo>
                    <a:pt x="1189" y="433"/>
                  </a:lnTo>
                  <a:lnTo>
                    <a:pt x="1189" y="431"/>
                  </a:lnTo>
                  <a:lnTo>
                    <a:pt x="1191" y="433"/>
                  </a:lnTo>
                  <a:lnTo>
                    <a:pt x="1189" y="433"/>
                  </a:lnTo>
                  <a:close/>
                  <a:moveTo>
                    <a:pt x="1154" y="433"/>
                  </a:moveTo>
                  <a:lnTo>
                    <a:pt x="1154" y="431"/>
                  </a:lnTo>
                  <a:lnTo>
                    <a:pt x="1154" y="433"/>
                  </a:lnTo>
                  <a:lnTo>
                    <a:pt x="1152" y="433"/>
                  </a:lnTo>
                  <a:lnTo>
                    <a:pt x="1154" y="431"/>
                  </a:lnTo>
                  <a:lnTo>
                    <a:pt x="1154" y="433"/>
                  </a:lnTo>
                  <a:close/>
                  <a:moveTo>
                    <a:pt x="1150" y="433"/>
                  </a:moveTo>
                  <a:lnTo>
                    <a:pt x="1150" y="435"/>
                  </a:lnTo>
                  <a:lnTo>
                    <a:pt x="1150" y="436"/>
                  </a:lnTo>
                  <a:lnTo>
                    <a:pt x="1150" y="438"/>
                  </a:lnTo>
                  <a:lnTo>
                    <a:pt x="1149" y="438"/>
                  </a:lnTo>
                  <a:lnTo>
                    <a:pt x="1149" y="436"/>
                  </a:lnTo>
                  <a:lnTo>
                    <a:pt x="1149" y="435"/>
                  </a:lnTo>
                  <a:lnTo>
                    <a:pt x="1149" y="436"/>
                  </a:lnTo>
                  <a:lnTo>
                    <a:pt x="1149" y="435"/>
                  </a:lnTo>
                  <a:lnTo>
                    <a:pt x="1150" y="435"/>
                  </a:lnTo>
                  <a:lnTo>
                    <a:pt x="1149" y="435"/>
                  </a:lnTo>
                  <a:lnTo>
                    <a:pt x="1150" y="433"/>
                  </a:lnTo>
                  <a:lnTo>
                    <a:pt x="1149" y="433"/>
                  </a:lnTo>
                  <a:lnTo>
                    <a:pt x="1149" y="431"/>
                  </a:lnTo>
                  <a:lnTo>
                    <a:pt x="1150" y="431"/>
                  </a:lnTo>
                  <a:lnTo>
                    <a:pt x="1150" y="433"/>
                  </a:lnTo>
                  <a:close/>
                  <a:moveTo>
                    <a:pt x="1149" y="431"/>
                  </a:moveTo>
                  <a:lnTo>
                    <a:pt x="1150" y="431"/>
                  </a:lnTo>
                  <a:lnTo>
                    <a:pt x="1149" y="431"/>
                  </a:lnTo>
                  <a:close/>
                  <a:moveTo>
                    <a:pt x="1157" y="428"/>
                  </a:moveTo>
                  <a:lnTo>
                    <a:pt x="1158" y="430"/>
                  </a:lnTo>
                  <a:lnTo>
                    <a:pt x="1157" y="430"/>
                  </a:lnTo>
                  <a:lnTo>
                    <a:pt x="1157" y="428"/>
                  </a:lnTo>
                  <a:close/>
                  <a:moveTo>
                    <a:pt x="1154" y="428"/>
                  </a:moveTo>
                  <a:lnTo>
                    <a:pt x="1154" y="430"/>
                  </a:lnTo>
                  <a:lnTo>
                    <a:pt x="1154" y="428"/>
                  </a:lnTo>
                  <a:close/>
                  <a:moveTo>
                    <a:pt x="1163" y="426"/>
                  </a:moveTo>
                  <a:lnTo>
                    <a:pt x="1163" y="428"/>
                  </a:lnTo>
                  <a:lnTo>
                    <a:pt x="1163" y="426"/>
                  </a:lnTo>
                  <a:close/>
                  <a:moveTo>
                    <a:pt x="1163" y="426"/>
                  </a:moveTo>
                  <a:lnTo>
                    <a:pt x="1165" y="426"/>
                  </a:lnTo>
                  <a:lnTo>
                    <a:pt x="1163" y="426"/>
                  </a:lnTo>
                  <a:close/>
                  <a:moveTo>
                    <a:pt x="1145" y="426"/>
                  </a:moveTo>
                  <a:lnTo>
                    <a:pt x="1145" y="428"/>
                  </a:lnTo>
                  <a:lnTo>
                    <a:pt x="1145" y="426"/>
                  </a:lnTo>
                  <a:close/>
                  <a:moveTo>
                    <a:pt x="1165" y="426"/>
                  </a:moveTo>
                  <a:lnTo>
                    <a:pt x="1165" y="428"/>
                  </a:lnTo>
                  <a:lnTo>
                    <a:pt x="1165" y="426"/>
                  </a:lnTo>
                  <a:close/>
                  <a:moveTo>
                    <a:pt x="1248" y="428"/>
                  </a:moveTo>
                  <a:lnTo>
                    <a:pt x="1246" y="428"/>
                  </a:lnTo>
                  <a:lnTo>
                    <a:pt x="1246" y="426"/>
                  </a:lnTo>
                  <a:lnTo>
                    <a:pt x="1248" y="426"/>
                  </a:lnTo>
                  <a:lnTo>
                    <a:pt x="1248" y="428"/>
                  </a:lnTo>
                  <a:close/>
                  <a:moveTo>
                    <a:pt x="1145" y="426"/>
                  </a:moveTo>
                  <a:lnTo>
                    <a:pt x="1147" y="426"/>
                  </a:lnTo>
                  <a:lnTo>
                    <a:pt x="1145" y="426"/>
                  </a:lnTo>
                  <a:close/>
                  <a:moveTo>
                    <a:pt x="1162" y="426"/>
                  </a:moveTo>
                  <a:lnTo>
                    <a:pt x="1163" y="426"/>
                  </a:lnTo>
                  <a:lnTo>
                    <a:pt x="1163" y="425"/>
                  </a:lnTo>
                  <a:lnTo>
                    <a:pt x="1163" y="426"/>
                  </a:lnTo>
                  <a:lnTo>
                    <a:pt x="1162" y="426"/>
                  </a:lnTo>
                  <a:close/>
                  <a:moveTo>
                    <a:pt x="1212" y="431"/>
                  </a:moveTo>
                  <a:lnTo>
                    <a:pt x="1214" y="430"/>
                  </a:lnTo>
                  <a:lnTo>
                    <a:pt x="1212" y="428"/>
                  </a:lnTo>
                  <a:lnTo>
                    <a:pt x="1214" y="426"/>
                  </a:lnTo>
                  <a:lnTo>
                    <a:pt x="1214" y="425"/>
                  </a:lnTo>
                  <a:lnTo>
                    <a:pt x="1215" y="425"/>
                  </a:lnTo>
                  <a:lnTo>
                    <a:pt x="1215" y="426"/>
                  </a:lnTo>
                  <a:lnTo>
                    <a:pt x="1215" y="428"/>
                  </a:lnTo>
                  <a:lnTo>
                    <a:pt x="1214" y="430"/>
                  </a:lnTo>
                  <a:lnTo>
                    <a:pt x="1212" y="431"/>
                  </a:lnTo>
                  <a:close/>
                  <a:moveTo>
                    <a:pt x="1180" y="425"/>
                  </a:moveTo>
                  <a:lnTo>
                    <a:pt x="1180" y="423"/>
                  </a:lnTo>
                  <a:lnTo>
                    <a:pt x="1180" y="425"/>
                  </a:lnTo>
                  <a:close/>
                  <a:moveTo>
                    <a:pt x="1245" y="423"/>
                  </a:moveTo>
                  <a:lnTo>
                    <a:pt x="1243" y="425"/>
                  </a:lnTo>
                  <a:lnTo>
                    <a:pt x="1245" y="423"/>
                  </a:lnTo>
                  <a:close/>
                  <a:moveTo>
                    <a:pt x="1243" y="423"/>
                  </a:moveTo>
                  <a:lnTo>
                    <a:pt x="1245" y="423"/>
                  </a:lnTo>
                  <a:lnTo>
                    <a:pt x="1243" y="423"/>
                  </a:lnTo>
                  <a:close/>
                  <a:moveTo>
                    <a:pt x="1150" y="423"/>
                  </a:moveTo>
                  <a:lnTo>
                    <a:pt x="1152" y="423"/>
                  </a:lnTo>
                  <a:lnTo>
                    <a:pt x="1150" y="423"/>
                  </a:lnTo>
                  <a:close/>
                  <a:moveTo>
                    <a:pt x="1217" y="423"/>
                  </a:moveTo>
                  <a:lnTo>
                    <a:pt x="1217" y="422"/>
                  </a:lnTo>
                  <a:lnTo>
                    <a:pt x="1217" y="423"/>
                  </a:lnTo>
                  <a:close/>
                  <a:moveTo>
                    <a:pt x="1178" y="422"/>
                  </a:moveTo>
                  <a:lnTo>
                    <a:pt x="1176" y="422"/>
                  </a:lnTo>
                  <a:lnTo>
                    <a:pt x="1178" y="422"/>
                  </a:lnTo>
                  <a:close/>
                  <a:moveTo>
                    <a:pt x="1222" y="420"/>
                  </a:moveTo>
                  <a:lnTo>
                    <a:pt x="1223" y="420"/>
                  </a:lnTo>
                  <a:lnTo>
                    <a:pt x="1223" y="422"/>
                  </a:lnTo>
                  <a:lnTo>
                    <a:pt x="1222" y="420"/>
                  </a:lnTo>
                  <a:close/>
                  <a:moveTo>
                    <a:pt x="1251" y="420"/>
                  </a:moveTo>
                  <a:lnTo>
                    <a:pt x="1251" y="422"/>
                  </a:lnTo>
                  <a:lnTo>
                    <a:pt x="1249" y="423"/>
                  </a:lnTo>
                  <a:lnTo>
                    <a:pt x="1249" y="422"/>
                  </a:lnTo>
                  <a:lnTo>
                    <a:pt x="1249" y="420"/>
                  </a:lnTo>
                  <a:lnTo>
                    <a:pt x="1253" y="420"/>
                  </a:lnTo>
                  <a:lnTo>
                    <a:pt x="1251" y="420"/>
                  </a:lnTo>
                  <a:close/>
                  <a:moveTo>
                    <a:pt x="1267" y="420"/>
                  </a:moveTo>
                  <a:lnTo>
                    <a:pt x="1269" y="420"/>
                  </a:lnTo>
                  <a:lnTo>
                    <a:pt x="1269" y="422"/>
                  </a:lnTo>
                  <a:lnTo>
                    <a:pt x="1271" y="423"/>
                  </a:lnTo>
                  <a:lnTo>
                    <a:pt x="1269" y="423"/>
                  </a:lnTo>
                  <a:lnTo>
                    <a:pt x="1271" y="423"/>
                  </a:lnTo>
                  <a:lnTo>
                    <a:pt x="1271" y="425"/>
                  </a:lnTo>
                  <a:lnTo>
                    <a:pt x="1271" y="426"/>
                  </a:lnTo>
                  <a:lnTo>
                    <a:pt x="1272" y="426"/>
                  </a:lnTo>
                  <a:lnTo>
                    <a:pt x="1272" y="428"/>
                  </a:lnTo>
                  <a:lnTo>
                    <a:pt x="1274" y="428"/>
                  </a:lnTo>
                  <a:lnTo>
                    <a:pt x="1276" y="430"/>
                  </a:lnTo>
                  <a:lnTo>
                    <a:pt x="1277" y="430"/>
                  </a:lnTo>
                  <a:lnTo>
                    <a:pt x="1277" y="431"/>
                  </a:lnTo>
                  <a:lnTo>
                    <a:pt x="1277" y="433"/>
                  </a:lnTo>
                  <a:lnTo>
                    <a:pt x="1276" y="435"/>
                  </a:lnTo>
                  <a:lnTo>
                    <a:pt x="1274" y="436"/>
                  </a:lnTo>
                  <a:lnTo>
                    <a:pt x="1272" y="436"/>
                  </a:lnTo>
                  <a:lnTo>
                    <a:pt x="1271" y="436"/>
                  </a:lnTo>
                  <a:lnTo>
                    <a:pt x="1269" y="436"/>
                  </a:lnTo>
                  <a:lnTo>
                    <a:pt x="1267" y="438"/>
                  </a:lnTo>
                  <a:lnTo>
                    <a:pt x="1266" y="439"/>
                  </a:lnTo>
                  <a:lnTo>
                    <a:pt x="1264" y="439"/>
                  </a:lnTo>
                  <a:lnTo>
                    <a:pt x="1263" y="439"/>
                  </a:lnTo>
                  <a:lnTo>
                    <a:pt x="1261" y="441"/>
                  </a:lnTo>
                  <a:lnTo>
                    <a:pt x="1259" y="441"/>
                  </a:lnTo>
                  <a:lnTo>
                    <a:pt x="1259" y="439"/>
                  </a:lnTo>
                  <a:lnTo>
                    <a:pt x="1261" y="438"/>
                  </a:lnTo>
                  <a:lnTo>
                    <a:pt x="1261" y="436"/>
                  </a:lnTo>
                  <a:lnTo>
                    <a:pt x="1261" y="435"/>
                  </a:lnTo>
                  <a:lnTo>
                    <a:pt x="1261" y="433"/>
                  </a:lnTo>
                  <a:lnTo>
                    <a:pt x="1263" y="433"/>
                  </a:lnTo>
                  <a:lnTo>
                    <a:pt x="1264" y="433"/>
                  </a:lnTo>
                  <a:lnTo>
                    <a:pt x="1263" y="431"/>
                  </a:lnTo>
                  <a:lnTo>
                    <a:pt x="1264" y="430"/>
                  </a:lnTo>
                  <a:lnTo>
                    <a:pt x="1264" y="428"/>
                  </a:lnTo>
                  <a:lnTo>
                    <a:pt x="1264" y="426"/>
                  </a:lnTo>
                  <a:lnTo>
                    <a:pt x="1264" y="425"/>
                  </a:lnTo>
                  <a:lnTo>
                    <a:pt x="1266" y="423"/>
                  </a:lnTo>
                  <a:lnTo>
                    <a:pt x="1266" y="422"/>
                  </a:lnTo>
                  <a:lnTo>
                    <a:pt x="1267" y="422"/>
                  </a:lnTo>
                  <a:lnTo>
                    <a:pt x="1267" y="420"/>
                  </a:lnTo>
                  <a:close/>
                  <a:moveTo>
                    <a:pt x="1272" y="420"/>
                  </a:moveTo>
                  <a:lnTo>
                    <a:pt x="1274" y="420"/>
                  </a:lnTo>
                  <a:lnTo>
                    <a:pt x="1272" y="420"/>
                  </a:lnTo>
                  <a:close/>
                  <a:moveTo>
                    <a:pt x="1154" y="420"/>
                  </a:moveTo>
                  <a:lnTo>
                    <a:pt x="1155" y="420"/>
                  </a:lnTo>
                  <a:lnTo>
                    <a:pt x="1157" y="420"/>
                  </a:lnTo>
                  <a:lnTo>
                    <a:pt x="1157" y="422"/>
                  </a:lnTo>
                  <a:lnTo>
                    <a:pt x="1158" y="422"/>
                  </a:lnTo>
                  <a:lnTo>
                    <a:pt x="1158" y="420"/>
                  </a:lnTo>
                  <a:lnTo>
                    <a:pt x="1160" y="420"/>
                  </a:lnTo>
                  <a:lnTo>
                    <a:pt x="1160" y="422"/>
                  </a:lnTo>
                  <a:lnTo>
                    <a:pt x="1162" y="423"/>
                  </a:lnTo>
                  <a:lnTo>
                    <a:pt x="1162" y="425"/>
                  </a:lnTo>
                  <a:lnTo>
                    <a:pt x="1162" y="426"/>
                  </a:lnTo>
                  <a:lnTo>
                    <a:pt x="1160" y="426"/>
                  </a:lnTo>
                  <a:lnTo>
                    <a:pt x="1160" y="428"/>
                  </a:lnTo>
                  <a:lnTo>
                    <a:pt x="1158" y="428"/>
                  </a:lnTo>
                  <a:lnTo>
                    <a:pt x="1157" y="428"/>
                  </a:lnTo>
                  <a:lnTo>
                    <a:pt x="1158" y="428"/>
                  </a:lnTo>
                  <a:lnTo>
                    <a:pt x="1157" y="428"/>
                  </a:lnTo>
                  <a:lnTo>
                    <a:pt x="1155" y="428"/>
                  </a:lnTo>
                  <a:lnTo>
                    <a:pt x="1155" y="426"/>
                  </a:lnTo>
                  <a:lnTo>
                    <a:pt x="1154" y="426"/>
                  </a:lnTo>
                  <a:lnTo>
                    <a:pt x="1154" y="425"/>
                  </a:lnTo>
                  <a:lnTo>
                    <a:pt x="1154" y="423"/>
                  </a:lnTo>
                  <a:lnTo>
                    <a:pt x="1154" y="422"/>
                  </a:lnTo>
                  <a:lnTo>
                    <a:pt x="1154" y="420"/>
                  </a:lnTo>
                  <a:close/>
                  <a:moveTo>
                    <a:pt x="1227" y="420"/>
                  </a:moveTo>
                  <a:lnTo>
                    <a:pt x="1227" y="418"/>
                  </a:lnTo>
                  <a:lnTo>
                    <a:pt x="1227" y="420"/>
                  </a:lnTo>
                  <a:close/>
                  <a:moveTo>
                    <a:pt x="1267" y="420"/>
                  </a:moveTo>
                  <a:lnTo>
                    <a:pt x="1267" y="418"/>
                  </a:lnTo>
                  <a:lnTo>
                    <a:pt x="1267" y="420"/>
                  </a:lnTo>
                  <a:close/>
                  <a:moveTo>
                    <a:pt x="1170" y="418"/>
                  </a:moveTo>
                  <a:lnTo>
                    <a:pt x="1171" y="418"/>
                  </a:lnTo>
                  <a:lnTo>
                    <a:pt x="1170" y="418"/>
                  </a:lnTo>
                  <a:close/>
                  <a:moveTo>
                    <a:pt x="1171" y="418"/>
                  </a:moveTo>
                  <a:lnTo>
                    <a:pt x="1173" y="418"/>
                  </a:lnTo>
                  <a:lnTo>
                    <a:pt x="1171" y="418"/>
                  </a:lnTo>
                  <a:close/>
                  <a:moveTo>
                    <a:pt x="1249" y="420"/>
                  </a:moveTo>
                  <a:lnTo>
                    <a:pt x="1251" y="420"/>
                  </a:lnTo>
                  <a:lnTo>
                    <a:pt x="1251" y="418"/>
                  </a:lnTo>
                  <a:lnTo>
                    <a:pt x="1251" y="420"/>
                  </a:lnTo>
                  <a:lnTo>
                    <a:pt x="1249" y="420"/>
                  </a:lnTo>
                  <a:close/>
                  <a:moveTo>
                    <a:pt x="1249" y="418"/>
                  </a:moveTo>
                  <a:lnTo>
                    <a:pt x="1249" y="420"/>
                  </a:lnTo>
                  <a:lnTo>
                    <a:pt x="1249" y="418"/>
                  </a:lnTo>
                  <a:lnTo>
                    <a:pt x="1249" y="417"/>
                  </a:lnTo>
                  <a:lnTo>
                    <a:pt x="1251" y="417"/>
                  </a:lnTo>
                  <a:lnTo>
                    <a:pt x="1249" y="418"/>
                  </a:lnTo>
                  <a:close/>
                  <a:moveTo>
                    <a:pt x="1176" y="417"/>
                  </a:moveTo>
                  <a:lnTo>
                    <a:pt x="1176" y="415"/>
                  </a:lnTo>
                  <a:lnTo>
                    <a:pt x="1176" y="417"/>
                  </a:lnTo>
                  <a:close/>
                  <a:moveTo>
                    <a:pt x="1158" y="415"/>
                  </a:moveTo>
                  <a:lnTo>
                    <a:pt x="1157" y="417"/>
                  </a:lnTo>
                  <a:lnTo>
                    <a:pt x="1157" y="415"/>
                  </a:lnTo>
                  <a:lnTo>
                    <a:pt x="1158" y="415"/>
                  </a:lnTo>
                  <a:close/>
                  <a:moveTo>
                    <a:pt x="1160" y="415"/>
                  </a:moveTo>
                  <a:lnTo>
                    <a:pt x="1160" y="413"/>
                  </a:lnTo>
                  <a:lnTo>
                    <a:pt x="1160" y="415"/>
                  </a:lnTo>
                  <a:lnTo>
                    <a:pt x="1160" y="413"/>
                  </a:lnTo>
                  <a:lnTo>
                    <a:pt x="1160" y="415"/>
                  </a:lnTo>
                  <a:close/>
                  <a:moveTo>
                    <a:pt x="1171" y="415"/>
                  </a:moveTo>
                  <a:lnTo>
                    <a:pt x="1171" y="413"/>
                  </a:lnTo>
                  <a:lnTo>
                    <a:pt x="1171" y="415"/>
                  </a:lnTo>
                  <a:close/>
                  <a:moveTo>
                    <a:pt x="1168" y="413"/>
                  </a:moveTo>
                  <a:lnTo>
                    <a:pt x="1168" y="415"/>
                  </a:lnTo>
                  <a:lnTo>
                    <a:pt x="1168" y="413"/>
                  </a:lnTo>
                  <a:close/>
                  <a:moveTo>
                    <a:pt x="1173" y="417"/>
                  </a:moveTo>
                  <a:lnTo>
                    <a:pt x="1175" y="417"/>
                  </a:lnTo>
                  <a:lnTo>
                    <a:pt x="1173" y="417"/>
                  </a:lnTo>
                  <a:lnTo>
                    <a:pt x="1173" y="418"/>
                  </a:lnTo>
                  <a:lnTo>
                    <a:pt x="1173" y="417"/>
                  </a:lnTo>
                  <a:lnTo>
                    <a:pt x="1173" y="415"/>
                  </a:lnTo>
                  <a:lnTo>
                    <a:pt x="1173" y="417"/>
                  </a:lnTo>
                  <a:lnTo>
                    <a:pt x="1175" y="417"/>
                  </a:lnTo>
                  <a:lnTo>
                    <a:pt x="1175" y="415"/>
                  </a:lnTo>
                  <a:lnTo>
                    <a:pt x="1173" y="415"/>
                  </a:lnTo>
                  <a:lnTo>
                    <a:pt x="1175" y="415"/>
                  </a:lnTo>
                  <a:lnTo>
                    <a:pt x="1176" y="415"/>
                  </a:lnTo>
                  <a:lnTo>
                    <a:pt x="1176" y="413"/>
                  </a:lnTo>
                  <a:lnTo>
                    <a:pt x="1176" y="415"/>
                  </a:lnTo>
                  <a:lnTo>
                    <a:pt x="1175" y="417"/>
                  </a:lnTo>
                  <a:lnTo>
                    <a:pt x="1176" y="417"/>
                  </a:lnTo>
                  <a:lnTo>
                    <a:pt x="1175" y="418"/>
                  </a:lnTo>
                  <a:lnTo>
                    <a:pt x="1176" y="418"/>
                  </a:lnTo>
                  <a:lnTo>
                    <a:pt x="1175" y="418"/>
                  </a:lnTo>
                  <a:lnTo>
                    <a:pt x="1173" y="418"/>
                  </a:lnTo>
                  <a:lnTo>
                    <a:pt x="1173" y="417"/>
                  </a:lnTo>
                  <a:close/>
                  <a:moveTo>
                    <a:pt x="1303" y="413"/>
                  </a:moveTo>
                  <a:lnTo>
                    <a:pt x="1305" y="413"/>
                  </a:lnTo>
                  <a:lnTo>
                    <a:pt x="1303" y="413"/>
                  </a:lnTo>
                  <a:close/>
                  <a:moveTo>
                    <a:pt x="1160" y="413"/>
                  </a:moveTo>
                  <a:lnTo>
                    <a:pt x="1162" y="413"/>
                  </a:lnTo>
                  <a:lnTo>
                    <a:pt x="1160" y="413"/>
                  </a:lnTo>
                  <a:close/>
                  <a:moveTo>
                    <a:pt x="1194" y="413"/>
                  </a:moveTo>
                  <a:lnTo>
                    <a:pt x="1194" y="412"/>
                  </a:lnTo>
                  <a:lnTo>
                    <a:pt x="1196" y="412"/>
                  </a:lnTo>
                  <a:lnTo>
                    <a:pt x="1196" y="413"/>
                  </a:lnTo>
                  <a:lnTo>
                    <a:pt x="1194" y="413"/>
                  </a:lnTo>
                  <a:lnTo>
                    <a:pt x="1196" y="413"/>
                  </a:lnTo>
                  <a:lnTo>
                    <a:pt x="1194" y="413"/>
                  </a:lnTo>
                  <a:close/>
                  <a:moveTo>
                    <a:pt x="1173" y="413"/>
                  </a:moveTo>
                  <a:lnTo>
                    <a:pt x="1173" y="412"/>
                  </a:lnTo>
                  <a:lnTo>
                    <a:pt x="1175" y="412"/>
                  </a:lnTo>
                  <a:lnTo>
                    <a:pt x="1173" y="413"/>
                  </a:lnTo>
                  <a:close/>
                  <a:moveTo>
                    <a:pt x="1303" y="412"/>
                  </a:moveTo>
                  <a:lnTo>
                    <a:pt x="1305" y="412"/>
                  </a:lnTo>
                  <a:lnTo>
                    <a:pt x="1303" y="412"/>
                  </a:lnTo>
                  <a:close/>
                  <a:moveTo>
                    <a:pt x="1175" y="412"/>
                  </a:moveTo>
                  <a:lnTo>
                    <a:pt x="1175" y="410"/>
                  </a:lnTo>
                  <a:lnTo>
                    <a:pt x="1175" y="412"/>
                  </a:lnTo>
                  <a:close/>
                  <a:moveTo>
                    <a:pt x="1303" y="412"/>
                  </a:moveTo>
                  <a:lnTo>
                    <a:pt x="1303" y="410"/>
                  </a:lnTo>
                  <a:lnTo>
                    <a:pt x="1305" y="410"/>
                  </a:lnTo>
                  <a:lnTo>
                    <a:pt x="1303" y="410"/>
                  </a:lnTo>
                  <a:lnTo>
                    <a:pt x="1303" y="412"/>
                  </a:lnTo>
                  <a:close/>
                  <a:moveTo>
                    <a:pt x="1175" y="506"/>
                  </a:moveTo>
                  <a:lnTo>
                    <a:pt x="1175" y="508"/>
                  </a:lnTo>
                  <a:lnTo>
                    <a:pt x="1175" y="509"/>
                  </a:lnTo>
                  <a:lnTo>
                    <a:pt x="1173" y="509"/>
                  </a:lnTo>
                  <a:lnTo>
                    <a:pt x="1173" y="508"/>
                  </a:lnTo>
                  <a:lnTo>
                    <a:pt x="1173" y="509"/>
                  </a:lnTo>
                  <a:lnTo>
                    <a:pt x="1171" y="509"/>
                  </a:lnTo>
                  <a:lnTo>
                    <a:pt x="1171" y="508"/>
                  </a:lnTo>
                  <a:lnTo>
                    <a:pt x="1171" y="509"/>
                  </a:lnTo>
                  <a:lnTo>
                    <a:pt x="1170" y="509"/>
                  </a:lnTo>
                  <a:lnTo>
                    <a:pt x="1171" y="509"/>
                  </a:lnTo>
                  <a:lnTo>
                    <a:pt x="1173" y="509"/>
                  </a:lnTo>
                  <a:lnTo>
                    <a:pt x="1173" y="511"/>
                  </a:lnTo>
                  <a:lnTo>
                    <a:pt x="1171" y="511"/>
                  </a:lnTo>
                  <a:lnTo>
                    <a:pt x="1171" y="513"/>
                  </a:lnTo>
                  <a:lnTo>
                    <a:pt x="1170" y="513"/>
                  </a:lnTo>
                  <a:lnTo>
                    <a:pt x="1170" y="514"/>
                  </a:lnTo>
                  <a:lnTo>
                    <a:pt x="1168" y="514"/>
                  </a:lnTo>
                  <a:lnTo>
                    <a:pt x="1168" y="513"/>
                  </a:lnTo>
                  <a:lnTo>
                    <a:pt x="1168" y="511"/>
                  </a:lnTo>
                  <a:lnTo>
                    <a:pt x="1170" y="509"/>
                  </a:lnTo>
                  <a:lnTo>
                    <a:pt x="1168" y="509"/>
                  </a:lnTo>
                  <a:lnTo>
                    <a:pt x="1168" y="508"/>
                  </a:lnTo>
                  <a:lnTo>
                    <a:pt x="1167" y="508"/>
                  </a:lnTo>
                  <a:lnTo>
                    <a:pt x="1167" y="506"/>
                  </a:lnTo>
                  <a:lnTo>
                    <a:pt x="1168" y="508"/>
                  </a:lnTo>
                  <a:lnTo>
                    <a:pt x="1168" y="506"/>
                  </a:lnTo>
                  <a:lnTo>
                    <a:pt x="1170" y="504"/>
                  </a:lnTo>
                  <a:lnTo>
                    <a:pt x="1170" y="503"/>
                  </a:lnTo>
                  <a:lnTo>
                    <a:pt x="1171" y="501"/>
                  </a:lnTo>
                  <a:lnTo>
                    <a:pt x="1171" y="500"/>
                  </a:lnTo>
                  <a:lnTo>
                    <a:pt x="1171" y="498"/>
                  </a:lnTo>
                  <a:lnTo>
                    <a:pt x="1171" y="496"/>
                  </a:lnTo>
                  <a:lnTo>
                    <a:pt x="1173" y="495"/>
                  </a:lnTo>
                  <a:lnTo>
                    <a:pt x="1175" y="495"/>
                  </a:lnTo>
                  <a:lnTo>
                    <a:pt x="1173" y="495"/>
                  </a:lnTo>
                  <a:lnTo>
                    <a:pt x="1173" y="493"/>
                  </a:lnTo>
                  <a:lnTo>
                    <a:pt x="1175" y="491"/>
                  </a:lnTo>
                  <a:lnTo>
                    <a:pt x="1175" y="490"/>
                  </a:lnTo>
                  <a:lnTo>
                    <a:pt x="1176" y="490"/>
                  </a:lnTo>
                  <a:lnTo>
                    <a:pt x="1176" y="488"/>
                  </a:lnTo>
                  <a:lnTo>
                    <a:pt x="1178" y="487"/>
                  </a:lnTo>
                  <a:lnTo>
                    <a:pt x="1176" y="487"/>
                  </a:lnTo>
                  <a:lnTo>
                    <a:pt x="1178" y="485"/>
                  </a:lnTo>
                  <a:lnTo>
                    <a:pt x="1178" y="483"/>
                  </a:lnTo>
                  <a:lnTo>
                    <a:pt x="1180" y="483"/>
                  </a:lnTo>
                  <a:lnTo>
                    <a:pt x="1180" y="485"/>
                  </a:lnTo>
                  <a:lnTo>
                    <a:pt x="1181" y="485"/>
                  </a:lnTo>
                  <a:lnTo>
                    <a:pt x="1181" y="483"/>
                  </a:lnTo>
                  <a:lnTo>
                    <a:pt x="1183" y="483"/>
                  </a:lnTo>
                  <a:lnTo>
                    <a:pt x="1183" y="485"/>
                  </a:lnTo>
                  <a:lnTo>
                    <a:pt x="1184" y="485"/>
                  </a:lnTo>
                  <a:lnTo>
                    <a:pt x="1186" y="485"/>
                  </a:lnTo>
                  <a:lnTo>
                    <a:pt x="1188" y="483"/>
                  </a:lnTo>
                  <a:lnTo>
                    <a:pt x="1186" y="483"/>
                  </a:lnTo>
                  <a:lnTo>
                    <a:pt x="1184" y="483"/>
                  </a:lnTo>
                  <a:lnTo>
                    <a:pt x="1183" y="483"/>
                  </a:lnTo>
                  <a:lnTo>
                    <a:pt x="1181" y="483"/>
                  </a:lnTo>
                  <a:lnTo>
                    <a:pt x="1180" y="483"/>
                  </a:lnTo>
                  <a:lnTo>
                    <a:pt x="1180" y="482"/>
                  </a:lnTo>
                  <a:lnTo>
                    <a:pt x="1180" y="480"/>
                  </a:lnTo>
                  <a:lnTo>
                    <a:pt x="1178" y="480"/>
                  </a:lnTo>
                  <a:lnTo>
                    <a:pt x="1178" y="478"/>
                  </a:lnTo>
                  <a:lnTo>
                    <a:pt x="1180" y="480"/>
                  </a:lnTo>
                  <a:lnTo>
                    <a:pt x="1180" y="478"/>
                  </a:lnTo>
                  <a:lnTo>
                    <a:pt x="1178" y="478"/>
                  </a:lnTo>
                  <a:lnTo>
                    <a:pt x="1178" y="477"/>
                  </a:lnTo>
                  <a:lnTo>
                    <a:pt x="1178" y="478"/>
                  </a:lnTo>
                  <a:lnTo>
                    <a:pt x="1180" y="477"/>
                  </a:lnTo>
                  <a:lnTo>
                    <a:pt x="1180" y="478"/>
                  </a:lnTo>
                  <a:lnTo>
                    <a:pt x="1181" y="478"/>
                  </a:lnTo>
                  <a:lnTo>
                    <a:pt x="1181" y="480"/>
                  </a:lnTo>
                  <a:lnTo>
                    <a:pt x="1183" y="480"/>
                  </a:lnTo>
                  <a:lnTo>
                    <a:pt x="1184" y="480"/>
                  </a:lnTo>
                  <a:lnTo>
                    <a:pt x="1186" y="480"/>
                  </a:lnTo>
                  <a:lnTo>
                    <a:pt x="1186" y="478"/>
                  </a:lnTo>
                  <a:lnTo>
                    <a:pt x="1184" y="478"/>
                  </a:lnTo>
                  <a:lnTo>
                    <a:pt x="1183" y="478"/>
                  </a:lnTo>
                  <a:lnTo>
                    <a:pt x="1181" y="478"/>
                  </a:lnTo>
                  <a:lnTo>
                    <a:pt x="1181" y="477"/>
                  </a:lnTo>
                  <a:lnTo>
                    <a:pt x="1180" y="475"/>
                  </a:lnTo>
                  <a:lnTo>
                    <a:pt x="1178" y="475"/>
                  </a:lnTo>
                  <a:lnTo>
                    <a:pt x="1175" y="475"/>
                  </a:lnTo>
                  <a:lnTo>
                    <a:pt x="1176" y="474"/>
                  </a:lnTo>
                  <a:lnTo>
                    <a:pt x="1176" y="472"/>
                  </a:lnTo>
                  <a:lnTo>
                    <a:pt x="1176" y="470"/>
                  </a:lnTo>
                  <a:lnTo>
                    <a:pt x="1176" y="469"/>
                  </a:lnTo>
                  <a:lnTo>
                    <a:pt x="1178" y="469"/>
                  </a:lnTo>
                  <a:lnTo>
                    <a:pt x="1180" y="469"/>
                  </a:lnTo>
                  <a:lnTo>
                    <a:pt x="1181" y="469"/>
                  </a:lnTo>
                  <a:lnTo>
                    <a:pt x="1183" y="469"/>
                  </a:lnTo>
                  <a:lnTo>
                    <a:pt x="1183" y="470"/>
                  </a:lnTo>
                  <a:lnTo>
                    <a:pt x="1183" y="469"/>
                  </a:lnTo>
                  <a:lnTo>
                    <a:pt x="1181" y="467"/>
                  </a:lnTo>
                  <a:lnTo>
                    <a:pt x="1183" y="465"/>
                  </a:lnTo>
                  <a:lnTo>
                    <a:pt x="1184" y="465"/>
                  </a:lnTo>
                  <a:lnTo>
                    <a:pt x="1186" y="464"/>
                  </a:lnTo>
                  <a:lnTo>
                    <a:pt x="1186" y="462"/>
                  </a:lnTo>
                  <a:lnTo>
                    <a:pt x="1188" y="462"/>
                  </a:lnTo>
                  <a:lnTo>
                    <a:pt x="1188" y="464"/>
                  </a:lnTo>
                  <a:lnTo>
                    <a:pt x="1189" y="464"/>
                  </a:lnTo>
                  <a:lnTo>
                    <a:pt x="1188" y="462"/>
                  </a:lnTo>
                  <a:lnTo>
                    <a:pt x="1188" y="461"/>
                  </a:lnTo>
                  <a:lnTo>
                    <a:pt x="1189" y="461"/>
                  </a:lnTo>
                  <a:lnTo>
                    <a:pt x="1191" y="461"/>
                  </a:lnTo>
                  <a:lnTo>
                    <a:pt x="1193" y="461"/>
                  </a:lnTo>
                  <a:lnTo>
                    <a:pt x="1194" y="461"/>
                  </a:lnTo>
                  <a:lnTo>
                    <a:pt x="1194" y="459"/>
                  </a:lnTo>
                  <a:lnTo>
                    <a:pt x="1194" y="461"/>
                  </a:lnTo>
                  <a:lnTo>
                    <a:pt x="1196" y="462"/>
                  </a:lnTo>
                  <a:lnTo>
                    <a:pt x="1197" y="462"/>
                  </a:lnTo>
                  <a:lnTo>
                    <a:pt x="1197" y="461"/>
                  </a:lnTo>
                  <a:lnTo>
                    <a:pt x="1197" y="462"/>
                  </a:lnTo>
                  <a:lnTo>
                    <a:pt x="1196" y="462"/>
                  </a:lnTo>
                  <a:lnTo>
                    <a:pt x="1196" y="461"/>
                  </a:lnTo>
                  <a:lnTo>
                    <a:pt x="1194" y="459"/>
                  </a:lnTo>
                  <a:lnTo>
                    <a:pt x="1193" y="459"/>
                  </a:lnTo>
                  <a:lnTo>
                    <a:pt x="1191" y="459"/>
                  </a:lnTo>
                  <a:lnTo>
                    <a:pt x="1191" y="457"/>
                  </a:lnTo>
                  <a:lnTo>
                    <a:pt x="1189" y="457"/>
                  </a:lnTo>
                  <a:lnTo>
                    <a:pt x="1189" y="456"/>
                  </a:lnTo>
                  <a:lnTo>
                    <a:pt x="1188" y="456"/>
                  </a:lnTo>
                  <a:lnTo>
                    <a:pt x="1189" y="456"/>
                  </a:lnTo>
                  <a:lnTo>
                    <a:pt x="1189" y="454"/>
                  </a:lnTo>
                  <a:lnTo>
                    <a:pt x="1189" y="452"/>
                  </a:lnTo>
                  <a:lnTo>
                    <a:pt x="1188" y="452"/>
                  </a:lnTo>
                  <a:lnTo>
                    <a:pt x="1186" y="449"/>
                  </a:lnTo>
                  <a:lnTo>
                    <a:pt x="1186" y="448"/>
                  </a:lnTo>
                  <a:lnTo>
                    <a:pt x="1188" y="448"/>
                  </a:lnTo>
                  <a:lnTo>
                    <a:pt x="1188" y="446"/>
                  </a:lnTo>
                  <a:lnTo>
                    <a:pt x="1188" y="448"/>
                  </a:lnTo>
                  <a:lnTo>
                    <a:pt x="1188" y="446"/>
                  </a:lnTo>
                  <a:lnTo>
                    <a:pt x="1189" y="448"/>
                  </a:lnTo>
                  <a:lnTo>
                    <a:pt x="1191" y="448"/>
                  </a:lnTo>
                  <a:lnTo>
                    <a:pt x="1191" y="446"/>
                  </a:lnTo>
                  <a:lnTo>
                    <a:pt x="1193" y="448"/>
                  </a:lnTo>
                  <a:lnTo>
                    <a:pt x="1193" y="446"/>
                  </a:lnTo>
                  <a:lnTo>
                    <a:pt x="1194" y="446"/>
                  </a:lnTo>
                  <a:lnTo>
                    <a:pt x="1196" y="446"/>
                  </a:lnTo>
                  <a:lnTo>
                    <a:pt x="1196" y="444"/>
                  </a:lnTo>
                  <a:lnTo>
                    <a:pt x="1197" y="446"/>
                  </a:lnTo>
                  <a:lnTo>
                    <a:pt x="1199" y="448"/>
                  </a:lnTo>
                  <a:lnTo>
                    <a:pt x="1201" y="449"/>
                  </a:lnTo>
                  <a:lnTo>
                    <a:pt x="1201" y="451"/>
                  </a:lnTo>
                  <a:lnTo>
                    <a:pt x="1201" y="449"/>
                  </a:lnTo>
                  <a:lnTo>
                    <a:pt x="1199" y="449"/>
                  </a:lnTo>
                  <a:lnTo>
                    <a:pt x="1197" y="446"/>
                  </a:lnTo>
                  <a:lnTo>
                    <a:pt x="1197" y="444"/>
                  </a:lnTo>
                  <a:lnTo>
                    <a:pt x="1196" y="443"/>
                  </a:lnTo>
                  <a:lnTo>
                    <a:pt x="1196" y="444"/>
                  </a:lnTo>
                  <a:lnTo>
                    <a:pt x="1194" y="444"/>
                  </a:lnTo>
                  <a:lnTo>
                    <a:pt x="1193" y="444"/>
                  </a:lnTo>
                  <a:lnTo>
                    <a:pt x="1193" y="446"/>
                  </a:lnTo>
                  <a:lnTo>
                    <a:pt x="1191" y="446"/>
                  </a:lnTo>
                  <a:lnTo>
                    <a:pt x="1191" y="444"/>
                  </a:lnTo>
                  <a:lnTo>
                    <a:pt x="1189" y="444"/>
                  </a:lnTo>
                  <a:lnTo>
                    <a:pt x="1188" y="443"/>
                  </a:lnTo>
                  <a:lnTo>
                    <a:pt x="1188" y="441"/>
                  </a:lnTo>
                  <a:lnTo>
                    <a:pt x="1188" y="439"/>
                  </a:lnTo>
                  <a:lnTo>
                    <a:pt x="1188" y="438"/>
                  </a:lnTo>
                  <a:lnTo>
                    <a:pt x="1188" y="436"/>
                  </a:lnTo>
                  <a:lnTo>
                    <a:pt x="1186" y="435"/>
                  </a:lnTo>
                  <a:lnTo>
                    <a:pt x="1188" y="435"/>
                  </a:lnTo>
                  <a:lnTo>
                    <a:pt x="1188" y="433"/>
                  </a:lnTo>
                  <a:lnTo>
                    <a:pt x="1188" y="435"/>
                  </a:lnTo>
                  <a:lnTo>
                    <a:pt x="1189" y="435"/>
                  </a:lnTo>
                  <a:lnTo>
                    <a:pt x="1191" y="435"/>
                  </a:lnTo>
                  <a:lnTo>
                    <a:pt x="1191" y="436"/>
                  </a:lnTo>
                  <a:lnTo>
                    <a:pt x="1191" y="435"/>
                  </a:lnTo>
                  <a:lnTo>
                    <a:pt x="1191" y="433"/>
                  </a:lnTo>
                  <a:lnTo>
                    <a:pt x="1193" y="433"/>
                  </a:lnTo>
                  <a:lnTo>
                    <a:pt x="1194" y="433"/>
                  </a:lnTo>
                  <a:lnTo>
                    <a:pt x="1196" y="433"/>
                  </a:lnTo>
                  <a:lnTo>
                    <a:pt x="1197" y="433"/>
                  </a:lnTo>
                  <a:lnTo>
                    <a:pt x="1196" y="433"/>
                  </a:lnTo>
                  <a:lnTo>
                    <a:pt x="1196" y="431"/>
                  </a:lnTo>
                  <a:lnTo>
                    <a:pt x="1194" y="431"/>
                  </a:lnTo>
                  <a:lnTo>
                    <a:pt x="1193" y="430"/>
                  </a:lnTo>
                  <a:lnTo>
                    <a:pt x="1191" y="428"/>
                  </a:lnTo>
                  <a:lnTo>
                    <a:pt x="1191" y="426"/>
                  </a:lnTo>
                  <a:lnTo>
                    <a:pt x="1191" y="425"/>
                  </a:lnTo>
                  <a:lnTo>
                    <a:pt x="1191" y="423"/>
                  </a:lnTo>
                  <a:lnTo>
                    <a:pt x="1193" y="423"/>
                  </a:lnTo>
                  <a:lnTo>
                    <a:pt x="1194" y="423"/>
                  </a:lnTo>
                  <a:lnTo>
                    <a:pt x="1193" y="422"/>
                  </a:lnTo>
                  <a:lnTo>
                    <a:pt x="1193" y="420"/>
                  </a:lnTo>
                  <a:lnTo>
                    <a:pt x="1193" y="418"/>
                  </a:lnTo>
                  <a:lnTo>
                    <a:pt x="1194" y="417"/>
                  </a:lnTo>
                  <a:lnTo>
                    <a:pt x="1194" y="415"/>
                  </a:lnTo>
                  <a:lnTo>
                    <a:pt x="1193" y="415"/>
                  </a:lnTo>
                  <a:lnTo>
                    <a:pt x="1193" y="413"/>
                  </a:lnTo>
                  <a:lnTo>
                    <a:pt x="1194" y="413"/>
                  </a:lnTo>
                  <a:lnTo>
                    <a:pt x="1196" y="413"/>
                  </a:lnTo>
                  <a:lnTo>
                    <a:pt x="1196" y="412"/>
                  </a:lnTo>
                  <a:lnTo>
                    <a:pt x="1197" y="412"/>
                  </a:lnTo>
                  <a:lnTo>
                    <a:pt x="1197" y="410"/>
                  </a:lnTo>
                  <a:lnTo>
                    <a:pt x="1199" y="412"/>
                  </a:lnTo>
                  <a:lnTo>
                    <a:pt x="1199" y="410"/>
                  </a:lnTo>
                  <a:lnTo>
                    <a:pt x="1199" y="412"/>
                  </a:lnTo>
                  <a:lnTo>
                    <a:pt x="1199" y="413"/>
                  </a:lnTo>
                  <a:lnTo>
                    <a:pt x="1201" y="413"/>
                  </a:lnTo>
                  <a:lnTo>
                    <a:pt x="1201" y="412"/>
                  </a:lnTo>
                  <a:lnTo>
                    <a:pt x="1201" y="413"/>
                  </a:lnTo>
                  <a:lnTo>
                    <a:pt x="1202" y="413"/>
                  </a:lnTo>
                  <a:lnTo>
                    <a:pt x="1202" y="412"/>
                  </a:lnTo>
                  <a:lnTo>
                    <a:pt x="1204" y="412"/>
                  </a:lnTo>
                  <a:lnTo>
                    <a:pt x="1206" y="410"/>
                  </a:lnTo>
                  <a:lnTo>
                    <a:pt x="1207" y="410"/>
                  </a:lnTo>
                  <a:lnTo>
                    <a:pt x="1207" y="412"/>
                  </a:lnTo>
                  <a:lnTo>
                    <a:pt x="1209" y="412"/>
                  </a:lnTo>
                  <a:lnTo>
                    <a:pt x="1209" y="413"/>
                  </a:lnTo>
                  <a:lnTo>
                    <a:pt x="1209" y="415"/>
                  </a:lnTo>
                  <a:lnTo>
                    <a:pt x="1209" y="418"/>
                  </a:lnTo>
                  <a:lnTo>
                    <a:pt x="1210" y="420"/>
                  </a:lnTo>
                  <a:lnTo>
                    <a:pt x="1212" y="420"/>
                  </a:lnTo>
                  <a:lnTo>
                    <a:pt x="1212" y="422"/>
                  </a:lnTo>
                  <a:lnTo>
                    <a:pt x="1210" y="423"/>
                  </a:lnTo>
                  <a:lnTo>
                    <a:pt x="1212" y="423"/>
                  </a:lnTo>
                  <a:lnTo>
                    <a:pt x="1210" y="425"/>
                  </a:lnTo>
                  <a:lnTo>
                    <a:pt x="1210" y="426"/>
                  </a:lnTo>
                  <a:lnTo>
                    <a:pt x="1209" y="428"/>
                  </a:lnTo>
                  <a:lnTo>
                    <a:pt x="1209" y="433"/>
                  </a:lnTo>
                  <a:lnTo>
                    <a:pt x="1209" y="435"/>
                  </a:lnTo>
                  <a:lnTo>
                    <a:pt x="1209" y="436"/>
                  </a:lnTo>
                  <a:lnTo>
                    <a:pt x="1209" y="438"/>
                  </a:lnTo>
                  <a:lnTo>
                    <a:pt x="1207" y="438"/>
                  </a:lnTo>
                  <a:lnTo>
                    <a:pt x="1207" y="439"/>
                  </a:lnTo>
                  <a:lnTo>
                    <a:pt x="1206" y="441"/>
                  </a:lnTo>
                  <a:lnTo>
                    <a:pt x="1207" y="441"/>
                  </a:lnTo>
                  <a:lnTo>
                    <a:pt x="1206" y="443"/>
                  </a:lnTo>
                  <a:lnTo>
                    <a:pt x="1204" y="443"/>
                  </a:lnTo>
                  <a:lnTo>
                    <a:pt x="1204" y="444"/>
                  </a:lnTo>
                  <a:lnTo>
                    <a:pt x="1206" y="444"/>
                  </a:lnTo>
                  <a:lnTo>
                    <a:pt x="1207" y="443"/>
                  </a:lnTo>
                  <a:lnTo>
                    <a:pt x="1207" y="441"/>
                  </a:lnTo>
                  <a:lnTo>
                    <a:pt x="1209" y="441"/>
                  </a:lnTo>
                  <a:lnTo>
                    <a:pt x="1209" y="439"/>
                  </a:lnTo>
                  <a:lnTo>
                    <a:pt x="1210" y="438"/>
                  </a:lnTo>
                  <a:lnTo>
                    <a:pt x="1212" y="438"/>
                  </a:lnTo>
                  <a:lnTo>
                    <a:pt x="1212" y="436"/>
                  </a:lnTo>
                  <a:lnTo>
                    <a:pt x="1212" y="435"/>
                  </a:lnTo>
                  <a:lnTo>
                    <a:pt x="1214" y="435"/>
                  </a:lnTo>
                  <a:lnTo>
                    <a:pt x="1215" y="435"/>
                  </a:lnTo>
                  <a:lnTo>
                    <a:pt x="1215" y="436"/>
                  </a:lnTo>
                  <a:lnTo>
                    <a:pt x="1215" y="438"/>
                  </a:lnTo>
                  <a:lnTo>
                    <a:pt x="1215" y="439"/>
                  </a:lnTo>
                  <a:lnTo>
                    <a:pt x="1215" y="441"/>
                  </a:lnTo>
                  <a:lnTo>
                    <a:pt x="1215" y="444"/>
                  </a:lnTo>
                  <a:lnTo>
                    <a:pt x="1215" y="446"/>
                  </a:lnTo>
                  <a:lnTo>
                    <a:pt x="1215" y="448"/>
                  </a:lnTo>
                  <a:lnTo>
                    <a:pt x="1215" y="449"/>
                  </a:lnTo>
                  <a:lnTo>
                    <a:pt x="1214" y="451"/>
                  </a:lnTo>
                  <a:lnTo>
                    <a:pt x="1212" y="452"/>
                  </a:lnTo>
                  <a:lnTo>
                    <a:pt x="1212" y="454"/>
                  </a:lnTo>
                  <a:lnTo>
                    <a:pt x="1210" y="454"/>
                  </a:lnTo>
                  <a:lnTo>
                    <a:pt x="1212" y="456"/>
                  </a:lnTo>
                  <a:lnTo>
                    <a:pt x="1210" y="456"/>
                  </a:lnTo>
                  <a:lnTo>
                    <a:pt x="1209" y="456"/>
                  </a:lnTo>
                  <a:lnTo>
                    <a:pt x="1207" y="457"/>
                  </a:lnTo>
                  <a:lnTo>
                    <a:pt x="1206" y="459"/>
                  </a:lnTo>
                  <a:lnTo>
                    <a:pt x="1206" y="461"/>
                  </a:lnTo>
                  <a:lnTo>
                    <a:pt x="1206" y="462"/>
                  </a:lnTo>
                  <a:lnTo>
                    <a:pt x="1207" y="464"/>
                  </a:lnTo>
                  <a:lnTo>
                    <a:pt x="1207" y="467"/>
                  </a:lnTo>
                  <a:lnTo>
                    <a:pt x="1207" y="469"/>
                  </a:lnTo>
                  <a:lnTo>
                    <a:pt x="1206" y="469"/>
                  </a:lnTo>
                  <a:lnTo>
                    <a:pt x="1206" y="470"/>
                  </a:lnTo>
                  <a:lnTo>
                    <a:pt x="1204" y="472"/>
                  </a:lnTo>
                  <a:lnTo>
                    <a:pt x="1204" y="474"/>
                  </a:lnTo>
                  <a:lnTo>
                    <a:pt x="1206" y="474"/>
                  </a:lnTo>
                  <a:lnTo>
                    <a:pt x="1206" y="472"/>
                  </a:lnTo>
                  <a:lnTo>
                    <a:pt x="1206" y="470"/>
                  </a:lnTo>
                  <a:lnTo>
                    <a:pt x="1207" y="470"/>
                  </a:lnTo>
                  <a:lnTo>
                    <a:pt x="1207" y="469"/>
                  </a:lnTo>
                  <a:lnTo>
                    <a:pt x="1209" y="469"/>
                  </a:lnTo>
                  <a:lnTo>
                    <a:pt x="1209" y="467"/>
                  </a:lnTo>
                  <a:lnTo>
                    <a:pt x="1209" y="465"/>
                  </a:lnTo>
                  <a:lnTo>
                    <a:pt x="1207" y="464"/>
                  </a:lnTo>
                  <a:lnTo>
                    <a:pt x="1209" y="464"/>
                  </a:lnTo>
                  <a:lnTo>
                    <a:pt x="1209" y="462"/>
                  </a:lnTo>
                  <a:lnTo>
                    <a:pt x="1207" y="461"/>
                  </a:lnTo>
                  <a:lnTo>
                    <a:pt x="1209" y="459"/>
                  </a:lnTo>
                  <a:lnTo>
                    <a:pt x="1210" y="457"/>
                  </a:lnTo>
                  <a:lnTo>
                    <a:pt x="1212" y="457"/>
                  </a:lnTo>
                  <a:lnTo>
                    <a:pt x="1210" y="457"/>
                  </a:lnTo>
                  <a:lnTo>
                    <a:pt x="1212" y="457"/>
                  </a:lnTo>
                  <a:lnTo>
                    <a:pt x="1214" y="456"/>
                  </a:lnTo>
                  <a:lnTo>
                    <a:pt x="1215" y="454"/>
                  </a:lnTo>
                  <a:lnTo>
                    <a:pt x="1215" y="452"/>
                  </a:lnTo>
                  <a:lnTo>
                    <a:pt x="1217" y="452"/>
                  </a:lnTo>
                  <a:lnTo>
                    <a:pt x="1219" y="452"/>
                  </a:lnTo>
                  <a:lnTo>
                    <a:pt x="1220" y="452"/>
                  </a:lnTo>
                  <a:lnTo>
                    <a:pt x="1219" y="452"/>
                  </a:lnTo>
                  <a:lnTo>
                    <a:pt x="1220" y="452"/>
                  </a:lnTo>
                  <a:lnTo>
                    <a:pt x="1220" y="454"/>
                  </a:lnTo>
                  <a:lnTo>
                    <a:pt x="1220" y="456"/>
                  </a:lnTo>
                  <a:lnTo>
                    <a:pt x="1220" y="457"/>
                  </a:lnTo>
                  <a:lnTo>
                    <a:pt x="1222" y="457"/>
                  </a:lnTo>
                  <a:lnTo>
                    <a:pt x="1222" y="456"/>
                  </a:lnTo>
                  <a:lnTo>
                    <a:pt x="1222" y="454"/>
                  </a:lnTo>
                  <a:lnTo>
                    <a:pt x="1220" y="454"/>
                  </a:lnTo>
                  <a:lnTo>
                    <a:pt x="1220" y="452"/>
                  </a:lnTo>
                  <a:lnTo>
                    <a:pt x="1222" y="452"/>
                  </a:lnTo>
                  <a:lnTo>
                    <a:pt x="1220" y="451"/>
                  </a:lnTo>
                  <a:lnTo>
                    <a:pt x="1219" y="451"/>
                  </a:lnTo>
                  <a:lnTo>
                    <a:pt x="1217" y="449"/>
                  </a:lnTo>
                  <a:lnTo>
                    <a:pt x="1219" y="449"/>
                  </a:lnTo>
                  <a:lnTo>
                    <a:pt x="1219" y="448"/>
                  </a:lnTo>
                  <a:lnTo>
                    <a:pt x="1219" y="446"/>
                  </a:lnTo>
                  <a:lnTo>
                    <a:pt x="1219" y="444"/>
                  </a:lnTo>
                  <a:lnTo>
                    <a:pt x="1219" y="443"/>
                  </a:lnTo>
                  <a:lnTo>
                    <a:pt x="1219" y="441"/>
                  </a:lnTo>
                  <a:lnTo>
                    <a:pt x="1220" y="441"/>
                  </a:lnTo>
                  <a:lnTo>
                    <a:pt x="1222" y="441"/>
                  </a:lnTo>
                  <a:lnTo>
                    <a:pt x="1223" y="443"/>
                  </a:lnTo>
                  <a:lnTo>
                    <a:pt x="1225" y="443"/>
                  </a:lnTo>
                  <a:lnTo>
                    <a:pt x="1227" y="443"/>
                  </a:lnTo>
                  <a:lnTo>
                    <a:pt x="1228" y="443"/>
                  </a:lnTo>
                  <a:lnTo>
                    <a:pt x="1228" y="441"/>
                  </a:lnTo>
                  <a:lnTo>
                    <a:pt x="1230" y="441"/>
                  </a:lnTo>
                  <a:lnTo>
                    <a:pt x="1228" y="441"/>
                  </a:lnTo>
                  <a:lnTo>
                    <a:pt x="1228" y="439"/>
                  </a:lnTo>
                  <a:lnTo>
                    <a:pt x="1227" y="438"/>
                  </a:lnTo>
                  <a:lnTo>
                    <a:pt x="1225" y="438"/>
                  </a:lnTo>
                  <a:lnTo>
                    <a:pt x="1223" y="438"/>
                  </a:lnTo>
                  <a:lnTo>
                    <a:pt x="1223" y="436"/>
                  </a:lnTo>
                  <a:lnTo>
                    <a:pt x="1222" y="436"/>
                  </a:lnTo>
                  <a:lnTo>
                    <a:pt x="1222" y="435"/>
                  </a:lnTo>
                  <a:lnTo>
                    <a:pt x="1220" y="435"/>
                  </a:lnTo>
                  <a:lnTo>
                    <a:pt x="1220" y="433"/>
                  </a:lnTo>
                  <a:lnTo>
                    <a:pt x="1220" y="431"/>
                  </a:lnTo>
                  <a:lnTo>
                    <a:pt x="1219" y="431"/>
                  </a:lnTo>
                  <a:lnTo>
                    <a:pt x="1220" y="430"/>
                  </a:lnTo>
                  <a:lnTo>
                    <a:pt x="1220" y="428"/>
                  </a:lnTo>
                  <a:lnTo>
                    <a:pt x="1222" y="426"/>
                  </a:lnTo>
                  <a:lnTo>
                    <a:pt x="1223" y="426"/>
                  </a:lnTo>
                  <a:lnTo>
                    <a:pt x="1223" y="425"/>
                  </a:lnTo>
                  <a:lnTo>
                    <a:pt x="1225" y="423"/>
                  </a:lnTo>
                  <a:lnTo>
                    <a:pt x="1227" y="423"/>
                  </a:lnTo>
                  <a:lnTo>
                    <a:pt x="1228" y="425"/>
                  </a:lnTo>
                  <a:lnTo>
                    <a:pt x="1230" y="426"/>
                  </a:lnTo>
                  <a:lnTo>
                    <a:pt x="1230" y="428"/>
                  </a:lnTo>
                  <a:lnTo>
                    <a:pt x="1232" y="428"/>
                  </a:lnTo>
                  <a:lnTo>
                    <a:pt x="1232" y="426"/>
                  </a:lnTo>
                  <a:lnTo>
                    <a:pt x="1232" y="425"/>
                  </a:lnTo>
                  <a:lnTo>
                    <a:pt x="1230" y="423"/>
                  </a:lnTo>
                  <a:lnTo>
                    <a:pt x="1230" y="422"/>
                  </a:lnTo>
                  <a:lnTo>
                    <a:pt x="1228" y="420"/>
                  </a:lnTo>
                  <a:lnTo>
                    <a:pt x="1227" y="420"/>
                  </a:lnTo>
                  <a:lnTo>
                    <a:pt x="1227" y="418"/>
                  </a:lnTo>
                  <a:lnTo>
                    <a:pt x="1227" y="417"/>
                  </a:lnTo>
                  <a:lnTo>
                    <a:pt x="1227" y="415"/>
                  </a:lnTo>
                  <a:lnTo>
                    <a:pt x="1228" y="417"/>
                  </a:lnTo>
                  <a:lnTo>
                    <a:pt x="1230" y="420"/>
                  </a:lnTo>
                  <a:lnTo>
                    <a:pt x="1232" y="420"/>
                  </a:lnTo>
                  <a:lnTo>
                    <a:pt x="1232" y="422"/>
                  </a:lnTo>
                  <a:lnTo>
                    <a:pt x="1236" y="425"/>
                  </a:lnTo>
                  <a:lnTo>
                    <a:pt x="1238" y="425"/>
                  </a:lnTo>
                  <a:lnTo>
                    <a:pt x="1238" y="423"/>
                  </a:lnTo>
                  <a:lnTo>
                    <a:pt x="1240" y="423"/>
                  </a:lnTo>
                  <a:lnTo>
                    <a:pt x="1240" y="425"/>
                  </a:lnTo>
                  <a:lnTo>
                    <a:pt x="1240" y="426"/>
                  </a:lnTo>
                  <a:lnTo>
                    <a:pt x="1240" y="428"/>
                  </a:lnTo>
                  <a:lnTo>
                    <a:pt x="1241" y="428"/>
                  </a:lnTo>
                  <a:lnTo>
                    <a:pt x="1243" y="428"/>
                  </a:lnTo>
                  <a:lnTo>
                    <a:pt x="1241" y="430"/>
                  </a:lnTo>
                  <a:lnTo>
                    <a:pt x="1243" y="428"/>
                  </a:lnTo>
                  <a:lnTo>
                    <a:pt x="1243" y="426"/>
                  </a:lnTo>
                  <a:lnTo>
                    <a:pt x="1245" y="426"/>
                  </a:lnTo>
                  <a:lnTo>
                    <a:pt x="1246" y="426"/>
                  </a:lnTo>
                  <a:lnTo>
                    <a:pt x="1246" y="428"/>
                  </a:lnTo>
                  <a:lnTo>
                    <a:pt x="1245" y="428"/>
                  </a:lnTo>
                  <a:lnTo>
                    <a:pt x="1243" y="430"/>
                  </a:lnTo>
                  <a:lnTo>
                    <a:pt x="1245" y="431"/>
                  </a:lnTo>
                  <a:lnTo>
                    <a:pt x="1243" y="431"/>
                  </a:lnTo>
                  <a:lnTo>
                    <a:pt x="1245" y="431"/>
                  </a:lnTo>
                  <a:lnTo>
                    <a:pt x="1243" y="431"/>
                  </a:lnTo>
                  <a:lnTo>
                    <a:pt x="1243" y="433"/>
                  </a:lnTo>
                  <a:lnTo>
                    <a:pt x="1245" y="433"/>
                  </a:lnTo>
                  <a:lnTo>
                    <a:pt x="1245" y="431"/>
                  </a:lnTo>
                  <a:lnTo>
                    <a:pt x="1246" y="431"/>
                  </a:lnTo>
                  <a:lnTo>
                    <a:pt x="1246" y="433"/>
                  </a:lnTo>
                  <a:lnTo>
                    <a:pt x="1246" y="435"/>
                  </a:lnTo>
                  <a:lnTo>
                    <a:pt x="1245" y="435"/>
                  </a:lnTo>
                  <a:lnTo>
                    <a:pt x="1245" y="436"/>
                  </a:lnTo>
                  <a:lnTo>
                    <a:pt x="1246" y="436"/>
                  </a:lnTo>
                  <a:lnTo>
                    <a:pt x="1246" y="438"/>
                  </a:lnTo>
                  <a:lnTo>
                    <a:pt x="1245" y="439"/>
                  </a:lnTo>
                  <a:lnTo>
                    <a:pt x="1246" y="439"/>
                  </a:lnTo>
                  <a:lnTo>
                    <a:pt x="1246" y="441"/>
                  </a:lnTo>
                  <a:lnTo>
                    <a:pt x="1245" y="443"/>
                  </a:lnTo>
                  <a:lnTo>
                    <a:pt x="1246" y="443"/>
                  </a:lnTo>
                  <a:lnTo>
                    <a:pt x="1246" y="441"/>
                  </a:lnTo>
                  <a:lnTo>
                    <a:pt x="1248" y="441"/>
                  </a:lnTo>
                  <a:lnTo>
                    <a:pt x="1248" y="443"/>
                  </a:lnTo>
                  <a:lnTo>
                    <a:pt x="1248" y="444"/>
                  </a:lnTo>
                  <a:lnTo>
                    <a:pt x="1246" y="446"/>
                  </a:lnTo>
                  <a:lnTo>
                    <a:pt x="1248" y="446"/>
                  </a:lnTo>
                  <a:lnTo>
                    <a:pt x="1246" y="446"/>
                  </a:lnTo>
                  <a:lnTo>
                    <a:pt x="1246" y="448"/>
                  </a:lnTo>
                  <a:lnTo>
                    <a:pt x="1245" y="448"/>
                  </a:lnTo>
                  <a:lnTo>
                    <a:pt x="1246" y="448"/>
                  </a:lnTo>
                  <a:lnTo>
                    <a:pt x="1245" y="448"/>
                  </a:lnTo>
                  <a:lnTo>
                    <a:pt x="1246" y="448"/>
                  </a:lnTo>
                  <a:lnTo>
                    <a:pt x="1248" y="448"/>
                  </a:lnTo>
                  <a:lnTo>
                    <a:pt x="1248" y="449"/>
                  </a:lnTo>
                  <a:lnTo>
                    <a:pt x="1249" y="449"/>
                  </a:lnTo>
                  <a:lnTo>
                    <a:pt x="1248" y="449"/>
                  </a:lnTo>
                  <a:lnTo>
                    <a:pt x="1248" y="451"/>
                  </a:lnTo>
                  <a:lnTo>
                    <a:pt x="1248" y="452"/>
                  </a:lnTo>
                  <a:lnTo>
                    <a:pt x="1248" y="454"/>
                  </a:lnTo>
                  <a:lnTo>
                    <a:pt x="1248" y="456"/>
                  </a:lnTo>
                  <a:lnTo>
                    <a:pt x="1246" y="457"/>
                  </a:lnTo>
                  <a:lnTo>
                    <a:pt x="1245" y="457"/>
                  </a:lnTo>
                  <a:lnTo>
                    <a:pt x="1245" y="459"/>
                  </a:lnTo>
                  <a:lnTo>
                    <a:pt x="1245" y="461"/>
                  </a:lnTo>
                  <a:lnTo>
                    <a:pt x="1245" y="462"/>
                  </a:lnTo>
                  <a:lnTo>
                    <a:pt x="1245" y="464"/>
                  </a:lnTo>
                  <a:lnTo>
                    <a:pt x="1246" y="462"/>
                  </a:lnTo>
                  <a:lnTo>
                    <a:pt x="1246" y="464"/>
                  </a:lnTo>
                  <a:lnTo>
                    <a:pt x="1245" y="464"/>
                  </a:lnTo>
                  <a:lnTo>
                    <a:pt x="1245" y="465"/>
                  </a:lnTo>
                  <a:lnTo>
                    <a:pt x="1243" y="465"/>
                  </a:lnTo>
                  <a:lnTo>
                    <a:pt x="1241" y="465"/>
                  </a:lnTo>
                  <a:lnTo>
                    <a:pt x="1240" y="465"/>
                  </a:lnTo>
                  <a:lnTo>
                    <a:pt x="1238" y="465"/>
                  </a:lnTo>
                  <a:lnTo>
                    <a:pt x="1236" y="465"/>
                  </a:lnTo>
                  <a:lnTo>
                    <a:pt x="1235" y="465"/>
                  </a:lnTo>
                  <a:lnTo>
                    <a:pt x="1235" y="467"/>
                  </a:lnTo>
                  <a:lnTo>
                    <a:pt x="1233" y="467"/>
                  </a:lnTo>
                  <a:lnTo>
                    <a:pt x="1232" y="467"/>
                  </a:lnTo>
                  <a:lnTo>
                    <a:pt x="1232" y="465"/>
                  </a:lnTo>
                  <a:lnTo>
                    <a:pt x="1232" y="467"/>
                  </a:lnTo>
                  <a:lnTo>
                    <a:pt x="1230" y="467"/>
                  </a:lnTo>
                  <a:lnTo>
                    <a:pt x="1228" y="470"/>
                  </a:lnTo>
                  <a:lnTo>
                    <a:pt x="1228" y="472"/>
                  </a:lnTo>
                  <a:lnTo>
                    <a:pt x="1227" y="472"/>
                  </a:lnTo>
                  <a:lnTo>
                    <a:pt x="1225" y="472"/>
                  </a:lnTo>
                  <a:lnTo>
                    <a:pt x="1225" y="470"/>
                  </a:lnTo>
                  <a:lnTo>
                    <a:pt x="1225" y="469"/>
                  </a:lnTo>
                  <a:lnTo>
                    <a:pt x="1223" y="469"/>
                  </a:lnTo>
                  <a:lnTo>
                    <a:pt x="1225" y="470"/>
                  </a:lnTo>
                  <a:lnTo>
                    <a:pt x="1225" y="472"/>
                  </a:lnTo>
                  <a:lnTo>
                    <a:pt x="1223" y="472"/>
                  </a:lnTo>
                  <a:lnTo>
                    <a:pt x="1225" y="474"/>
                  </a:lnTo>
                  <a:lnTo>
                    <a:pt x="1227" y="474"/>
                  </a:lnTo>
                  <a:lnTo>
                    <a:pt x="1225" y="475"/>
                  </a:lnTo>
                  <a:lnTo>
                    <a:pt x="1225" y="474"/>
                  </a:lnTo>
                  <a:lnTo>
                    <a:pt x="1223" y="475"/>
                  </a:lnTo>
                  <a:lnTo>
                    <a:pt x="1225" y="475"/>
                  </a:lnTo>
                  <a:lnTo>
                    <a:pt x="1223" y="475"/>
                  </a:lnTo>
                  <a:lnTo>
                    <a:pt x="1223" y="477"/>
                  </a:lnTo>
                  <a:lnTo>
                    <a:pt x="1225" y="477"/>
                  </a:lnTo>
                  <a:lnTo>
                    <a:pt x="1223" y="477"/>
                  </a:lnTo>
                  <a:lnTo>
                    <a:pt x="1223" y="478"/>
                  </a:lnTo>
                  <a:lnTo>
                    <a:pt x="1223" y="480"/>
                  </a:lnTo>
                  <a:lnTo>
                    <a:pt x="1222" y="482"/>
                  </a:lnTo>
                  <a:lnTo>
                    <a:pt x="1222" y="483"/>
                  </a:lnTo>
                  <a:lnTo>
                    <a:pt x="1220" y="483"/>
                  </a:lnTo>
                  <a:lnTo>
                    <a:pt x="1220" y="485"/>
                  </a:lnTo>
                  <a:lnTo>
                    <a:pt x="1220" y="487"/>
                  </a:lnTo>
                  <a:lnTo>
                    <a:pt x="1220" y="488"/>
                  </a:lnTo>
                  <a:lnTo>
                    <a:pt x="1220" y="490"/>
                  </a:lnTo>
                  <a:lnTo>
                    <a:pt x="1219" y="490"/>
                  </a:lnTo>
                  <a:lnTo>
                    <a:pt x="1219" y="491"/>
                  </a:lnTo>
                  <a:lnTo>
                    <a:pt x="1217" y="491"/>
                  </a:lnTo>
                  <a:lnTo>
                    <a:pt x="1217" y="493"/>
                  </a:lnTo>
                  <a:lnTo>
                    <a:pt x="1215" y="493"/>
                  </a:lnTo>
                  <a:lnTo>
                    <a:pt x="1217" y="493"/>
                  </a:lnTo>
                  <a:lnTo>
                    <a:pt x="1215" y="493"/>
                  </a:lnTo>
                  <a:lnTo>
                    <a:pt x="1215" y="495"/>
                  </a:lnTo>
                  <a:lnTo>
                    <a:pt x="1214" y="495"/>
                  </a:lnTo>
                  <a:lnTo>
                    <a:pt x="1214" y="493"/>
                  </a:lnTo>
                  <a:lnTo>
                    <a:pt x="1214" y="491"/>
                  </a:lnTo>
                  <a:lnTo>
                    <a:pt x="1214" y="490"/>
                  </a:lnTo>
                  <a:lnTo>
                    <a:pt x="1214" y="488"/>
                  </a:lnTo>
                  <a:lnTo>
                    <a:pt x="1214" y="487"/>
                  </a:lnTo>
                  <a:lnTo>
                    <a:pt x="1214" y="485"/>
                  </a:lnTo>
                  <a:lnTo>
                    <a:pt x="1215" y="485"/>
                  </a:lnTo>
                  <a:lnTo>
                    <a:pt x="1214" y="485"/>
                  </a:lnTo>
                  <a:lnTo>
                    <a:pt x="1214" y="483"/>
                  </a:lnTo>
                  <a:lnTo>
                    <a:pt x="1214" y="482"/>
                  </a:lnTo>
                  <a:lnTo>
                    <a:pt x="1214" y="480"/>
                  </a:lnTo>
                  <a:lnTo>
                    <a:pt x="1214" y="478"/>
                  </a:lnTo>
                  <a:lnTo>
                    <a:pt x="1212" y="478"/>
                  </a:lnTo>
                  <a:lnTo>
                    <a:pt x="1212" y="477"/>
                  </a:lnTo>
                  <a:lnTo>
                    <a:pt x="1212" y="475"/>
                  </a:lnTo>
                  <a:lnTo>
                    <a:pt x="1212" y="477"/>
                  </a:lnTo>
                  <a:lnTo>
                    <a:pt x="1212" y="478"/>
                  </a:lnTo>
                  <a:lnTo>
                    <a:pt x="1212" y="480"/>
                  </a:lnTo>
                  <a:lnTo>
                    <a:pt x="1212" y="482"/>
                  </a:lnTo>
                  <a:lnTo>
                    <a:pt x="1214" y="482"/>
                  </a:lnTo>
                  <a:lnTo>
                    <a:pt x="1214" y="483"/>
                  </a:lnTo>
                  <a:lnTo>
                    <a:pt x="1214" y="485"/>
                  </a:lnTo>
                  <a:lnTo>
                    <a:pt x="1212" y="485"/>
                  </a:lnTo>
                  <a:lnTo>
                    <a:pt x="1212" y="487"/>
                  </a:lnTo>
                  <a:lnTo>
                    <a:pt x="1212" y="488"/>
                  </a:lnTo>
                  <a:lnTo>
                    <a:pt x="1212" y="490"/>
                  </a:lnTo>
                  <a:lnTo>
                    <a:pt x="1210" y="491"/>
                  </a:lnTo>
                  <a:lnTo>
                    <a:pt x="1210" y="490"/>
                  </a:lnTo>
                  <a:lnTo>
                    <a:pt x="1210" y="491"/>
                  </a:lnTo>
                  <a:lnTo>
                    <a:pt x="1209" y="491"/>
                  </a:lnTo>
                  <a:lnTo>
                    <a:pt x="1209" y="490"/>
                  </a:lnTo>
                  <a:lnTo>
                    <a:pt x="1209" y="488"/>
                  </a:lnTo>
                  <a:lnTo>
                    <a:pt x="1209" y="487"/>
                  </a:lnTo>
                  <a:lnTo>
                    <a:pt x="1207" y="487"/>
                  </a:lnTo>
                  <a:lnTo>
                    <a:pt x="1207" y="488"/>
                  </a:lnTo>
                  <a:lnTo>
                    <a:pt x="1207" y="490"/>
                  </a:lnTo>
                  <a:lnTo>
                    <a:pt x="1207" y="491"/>
                  </a:lnTo>
                  <a:lnTo>
                    <a:pt x="1207" y="493"/>
                  </a:lnTo>
                  <a:lnTo>
                    <a:pt x="1207" y="495"/>
                  </a:lnTo>
                  <a:lnTo>
                    <a:pt x="1206" y="495"/>
                  </a:lnTo>
                  <a:lnTo>
                    <a:pt x="1206" y="496"/>
                  </a:lnTo>
                  <a:lnTo>
                    <a:pt x="1204" y="495"/>
                  </a:lnTo>
                  <a:lnTo>
                    <a:pt x="1206" y="495"/>
                  </a:lnTo>
                  <a:lnTo>
                    <a:pt x="1204" y="495"/>
                  </a:lnTo>
                  <a:lnTo>
                    <a:pt x="1204" y="496"/>
                  </a:lnTo>
                  <a:lnTo>
                    <a:pt x="1206" y="496"/>
                  </a:lnTo>
                  <a:lnTo>
                    <a:pt x="1204" y="496"/>
                  </a:lnTo>
                  <a:lnTo>
                    <a:pt x="1206" y="496"/>
                  </a:lnTo>
                  <a:lnTo>
                    <a:pt x="1207" y="495"/>
                  </a:lnTo>
                  <a:lnTo>
                    <a:pt x="1209" y="495"/>
                  </a:lnTo>
                  <a:lnTo>
                    <a:pt x="1209" y="496"/>
                  </a:lnTo>
                  <a:lnTo>
                    <a:pt x="1207" y="496"/>
                  </a:lnTo>
                  <a:lnTo>
                    <a:pt x="1206" y="496"/>
                  </a:lnTo>
                  <a:lnTo>
                    <a:pt x="1206" y="498"/>
                  </a:lnTo>
                  <a:lnTo>
                    <a:pt x="1206" y="500"/>
                  </a:lnTo>
                  <a:lnTo>
                    <a:pt x="1207" y="500"/>
                  </a:lnTo>
                  <a:lnTo>
                    <a:pt x="1206" y="500"/>
                  </a:lnTo>
                  <a:lnTo>
                    <a:pt x="1204" y="501"/>
                  </a:lnTo>
                  <a:lnTo>
                    <a:pt x="1206" y="501"/>
                  </a:lnTo>
                  <a:lnTo>
                    <a:pt x="1204" y="501"/>
                  </a:lnTo>
                  <a:lnTo>
                    <a:pt x="1206" y="501"/>
                  </a:lnTo>
                  <a:lnTo>
                    <a:pt x="1204" y="501"/>
                  </a:lnTo>
                  <a:lnTo>
                    <a:pt x="1202" y="501"/>
                  </a:lnTo>
                  <a:lnTo>
                    <a:pt x="1202" y="503"/>
                  </a:lnTo>
                  <a:lnTo>
                    <a:pt x="1202" y="504"/>
                  </a:lnTo>
                  <a:lnTo>
                    <a:pt x="1204" y="504"/>
                  </a:lnTo>
                  <a:lnTo>
                    <a:pt x="1202" y="504"/>
                  </a:lnTo>
                  <a:lnTo>
                    <a:pt x="1202" y="506"/>
                  </a:lnTo>
                  <a:lnTo>
                    <a:pt x="1202" y="504"/>
                  </a:lnTo>
                  <a:lnTo>
                    <a:pt x="1202" y="506"/>
                  </a:lnTo>
                  <a:lnTo>
                    <a:pt x="1201" y="506"/>
                  </a:lnTo>
                  <a:lnTo>
                    <a:pt x="1201" y="504"/>
                  </a:lnTo>
                  <a:lnTo>
                    <a:pt x="1199" y="506"/>
                  </a:lnTo>
                  <a:lnTo>
                    <a:pt x="1199" y="504"/>
                  </a:lnTo>
                  <a:lnTo>
                    <a:pt x="1197" y="504"/>
                  </a:lnTo>
                  <a:lnTo>
                    <a:pt x="1199" y="504"/>
                  </a:lnTo>
                  <a:lnTo>
                    <a:pt x="1199" y="503"/>
                  </a:lnTo>
                  <a:lnTo>
                    <a:pt x="1197" y="503"/>
                  </a:lnTo>
                  <a:lnTo>
                    <a:pt x="1197" y="501"/>
                  </a:lnTo>
                  <a:lnTo>
                    <a:pt x="1197" y="503"/>
                  </a:lnTo>
                  <a:lnTo>
                    <a:pt x="1196" y="503"/>
                  </a:lnTo>
                  <a:lnTo>
                    <a:pt x="1196" y="501"/>
                  </a:lnTo>
                  <a:lnTo>
                    <a:pt x="1196" y="503"/>
                  </a:lnTo>
                  <a:lnTo>
                    <a:pt x="1194" y="501"/>
                  </a:lnTo>
                  <a:lnTo>
                    <a:pt x="1194" y="500"/>
                  </a:lnTo>
                  <a:lnTo>
                    <a:pt x="1194" y="498"/>
                  </a:lnTo>
                  <a:lnTo>
                    <a:pt x="1194" y="500"/>
                  </a:lnTo>
                  <a:lnTo>
                    <a:pt x="1193" y="500"/>
                  </a:lnTo>
                  <a:lnTo>
                    <a:pt x="1193" y="501"/>
                  </a:lnTo>
                  <a:lnTo>
                    <a:pt x="1191" y="501"/>
                  </a:lnTo>
                  <a:lnTo>
                    <a:pt x="1193" y="501"/>
                  </a:lnTo>
                  <a:lnTo>
                    <a:pt x="1191" y="501"/>
                  </a:lnTo>
                  <a:lnTo>
                    <a:pt x="1191" y="500"/>
                  </a:lnTo>
                  <a:lnTo>
                    <a:pt x="1191" y="501"/>
                  </a:lnTo>
                  <a:lnTo>
                    <a:pt x="1191" y="500"/>
                  </a:lnTo>
                  <a:lnTo>
                    <a:pt x="1189" y="500"/>
                  </a:lnTo>
                  <a:lnTo>
                    <a:pt x="1189" y="501"/>
                  </a:lnTo>
                  <a:lnTo>
                    <a:pt x="1189" y="500"/>
                  </a:lnTo>
                  <a:lnTo>
                    <a:pt x="1188" y="500"/>
                  </a:lnTo>
                  <a:lnTo>
                    <a:pt x="1189" y="501"/>
                  </a:lnTo>
                  <a:lnTo>
                    <a:pt x="1188" y="501"/>
                  </a:lnTo>
                  <a:lnTo>
                    <a:pt x="1186" y="501"/>
                  </a:lnTo>
                  <a:lnTo>
                    <a:pt x="1186" y="500"/>
                  </a:lnTo>
                  <a:lnTo>
                    <a:pt x="1184" y="500"/>
                  </a:lnTo>
                  <a:lnTo>
                    <a:pt x="1186" y="498"/>
                  </a:lnTo>
                  <a:lnTo>
                    <a:pt x="1186" y="500"/>
                  </a:lnTo>
                  <a:lnTo>
                    <a:pt x="1186" y="498"/>
                  </a:lnTo>
                  <a:lnTo>
                    <a:pt x="1186" y="500"/>
                  </a:lnTo>
                  <a:lnTo>
                    <a:pt x="1188" y="500"/>
                  </a:lnTo>
                  <a:lnTo>
                    <a:pt x="1186" y="498"/>
                  </a:lnTo>
                  <a:lnTo>
                    <a:pt x="1188" y="498"/>
                  </a:lnTo>
                  <a:lnTo>
                    <a:pt x="1186" y="498"/>
                  </a:lnTo>
                  <a:lnTo>
                    <a:pt x="1188" y="496"/>
                  </a:lnTo>
                  <a:lnTo>
                    <a:pt x="1188" y="498"/>
                  </a:lnTo>
                  <a:lnTo>
                    <a:pt x="1188" y="496"/>
                  </a:lnTo>
                  <a:lnTo>
                    <a:pt x="1186" y="496"/>
                  </a:lnTo>
                  <a:lnTo>
                    <a:pt x="1188" y="496"/>
                  </a:lnTo>
                  <a:lnTo>
                    <a:pt x="1188" y="493"/>
                  </a:lnTo>
                  <a:lnTo>
                    <a:pt x="1189" y="493"/>
                  </a:lnTo>
                  <a:lnTo>
                    <a:pt x="1191" y="491"/>
                  </a:lnTo>
                  <a:lnTo>
                    <a:pt x="1193" y="490"/>
                  </a:lnTo>
                  <a:lnTo>
                    <a:pt x="1194" y="488"/>
                  </a:lnTo>
                  <a:lnTo>
                    <a:pt x="1193" y="487"/>
                  </a:lnTo>
                  <a:lnTo>
                    <a:pt x="1194" y="487"/>
                  </a:lnTo>
                  <a:lnTo>
                    <a:pt x="1194" y="485"/>
                  </a:lnTo>
                  <a:lnTo>
                    <a:pt x="1194" y="487"/>
                  </a:lnTo>
                  <a:lnTo>
                    <a:pt x="1194" y="485"/>
                  </a:lnTo>
                  <a:lnTo>
                    <a:pt x="1194" y="483"/>
                  </a:lnTo>
                  <a:lnTo>
                    <a:pt x="1196" y="482"/>
                  </a:lnTo>
                  <a:lnTo>
                    <a:pt x="1197" y="480"/>
                  </a:lnTo>
                  <a:lnTo>
                    <a:pt x="1199" y="480"/>
                  </a:lnTo>
                  <a:lnTo>
                    <a:pt x="1197" y="478"/>
                  </a:lnTo>
                  <a:lnTo>
                    <a:pt x="1196" y="477"/>
                  </a:lnTo>
                  <a:lnTo>
                    <a:pt x="1194" y="477"/>
                  </a:lnTo>
                  <a:lnTo>
                    <a:pt x="1196" y="477"/>
                  </a:lnTo>
                  <a:lnTo>
                    <a:pt x="1196" y="478"/>
                  </a:lnTo>
                  <a:lnTo>
                    <a:pt x="1196" y="480"/>
                  </a:lnTo>
                  <a:lnTo>
                    <a:pt x="1196" y="482"/>
                  </a:lnTo>
                  <a:lnTo>
                    <a:pt x="1194" y="482"/>
                  </a:lnTo>
                  <a:lnTo>
                    <a:pt x="1194" y="483"/>
                  </a:lnTo>
                  <a:lnTo>
                    <a:pt x="1193" y="483"/>
                  </a:lnTo>
                  <a:lnTo>
                    <a:pt x="1194" y="483"/>
                  </a:lnTo>
                  <a:lnTo>
                    <a:pt x="1194" y="485"/>
                  </a:lnTo>
                  <a:lnTo>
                    <a:pt x="1193" y="485"/>
                  </a:lnTo>
                  <a:lnTo>
                    <a:pt x="1191" y="487"/>
                  </a:lnTo>
                  <a:lnTo>
                    <a:pt x="1191" y="488"/>
                  </a:lnTo>
                  <a:lnTo>
                    <a:pt x="1189" y="490"/>
                  </a:lnTo>
                  <a:lnTo>
                    <a:pt x="1188" y="491"/>
                  </a:lnTo>
                  <a:lnTo>
                    <a:pt x="1188" y="490"/>
                  </a:lnTo>
                  <a:lnTo>
                    <a:pt x="1186" y="490"/>
                  </a:lnTo>
                  <a:lnTo>
                    <a:pt x="1186" y="491"/>
                  </a:lnTo>
                  <a:lnTo>
                    <a:pt x="1186" y="493"/>
                  </a:lnTo>
                  <a:lnTo>
                    <a:pt x="1184" y="495"/>
                  </a:lnTo>
                  <a:lnTo>
                    <a:pt x="1184" y="493"/>
                  </a:lnTo>
                  <a:lnTo>
                    <a:pt x="1184" y="495"/>
                  </a:lnTo>
                  <a:lnTo>
                    <a:pt x="1183" y="495"/>
                  </a:lnTo>
                  <a:lnTo>
                    <a:pt x="1183" y="496"/>
                  </a:lnTo>
                  <a:lnTo>
                    <a:pt x="1181" y="498"/>
                  </a:lnTo>
                  <a:lnTo>
                    <a:pt x="1180" y="498"/>
                  </a:lnTo>
                  <a:lnTo>
                    <a:pt x="1178" y="498"/>
                  </a:lnTo>
                  <a:lnTo>
                    <a:pt x="1178" y="500"/>
                  </a:lnTo>
                  <a:lnTo>
                    <a:pt x="1178" y="498"/>
                  </a:lnTo>
                  <a:lnTo>
                    <a:pt x="1178" y="500"/>
                  </a:lnTo>
                  <a:lnTo>
                    <a:pt x="1180" y="500"/>
                  </a:lnTo>
                  <a:lnTo>
                    <a:pt x="1181" y="500"/>
                  </a:lnTo>
                  <a:lnTo>
                    <a:pt x="1181" y="501"/>
                  </a:lnTo>
                  <a:lnTo>
                    <a:pt x="1181" y="503"/>
                  </a:lnTo>
                  <a:lnTo>
                    <a:pt x="1180" y="503"/>
                  </a:lnTo>
                  <a:lnTo>
                    <a:pt x="1180" y="504"/>
                  </a:lnTo>
                  <a:lnTo>
                    <a:pt x="1178" y="504"/>
                  </a:lnTo>
                  <a:lnTo>
                    <a:pt x="1178" y="506"/>
                  </a:lnTo>
                  <a:lnTo>
                    <a:pt x="1176" y="506"/>
                  </a:lnTo>
                  <a:lnTo>
                    <a:pt x="1178" y="504"/>
                  </a:lnTo>
                  <a:lnTo>
                    <a:pt x="1176" y="504"/>
                  </a:lnTo>
                  <a:lnTo>
                    <a:pt x="1176" y="506"/>
                  </a:lnTo>
                  <a:lnTo>
                    <a:pt x="1176" y="504"/>
                  </a:lnTo>
                  <a:lnTo>
                    <a:pt x="1176" y="506"/>
                  </a:lnTo>
                  <a:lnTo>
                    <a:pt x="1176" y="504"/>
                  </a:lnTo>
                  <a:lnTo>
                    <a:pt x="1175" y="506"/>
                  </a:lnTo>
                  <a:lnTo>
                    <a:pt x="1176" y="506"/>
                  </a:lnTo>
                  <a:lnTo>
                    <a:pt x="1175" y="506"/>
                  </a:lnTo>
                  <a:lnTo>
                    <a:pt x="1175" y="508"/>
                  </a:lnTo>
                  <a:lnTo>
                    <a:pt x="1175" y="506"/>
                  </a:lnTo>
                  <a:close/>
                  <a:moveTo>
                    <a:pt x="1223" y="410"/>
                  </a:moveTo>
                  <a:lnTo>
                    <a:pt x="1225" y="410"/>
                  </a:lnTo>
                  <a:lnTo>
                    <a:pt x="1223" y="410"/>
                  </a:lnTo>
                  <a:close/>
                  <a:moveTo>
                    <a:pt x="1225" y="410"/>
                  </a:moveTo>
                  <a:lnTo>
                    <a:pt x="1225" y="412"/>
                  </a:lnTo>
                  <a:lnTo>
                    <a:pt x="1225" y="410"/>
                  </a:lnTo>
                  <a:close/>
                  <a:moveTo>
                    <a:pt x="1305" y="410"/>
                  </a:moveTo>
                  <a:lnTo>
                    <a:pt x="1306" y="412"/>
                  </a:lnTo>
                  <a:lnTo>
                    <a:pt x="1305" y="412"/>
                  </a:lnTo>
                  <a:lnTo>
                    <a:pt x="1305" y="410"/>
                  </a:lnTo>
                  <a:close/>
                  <a:moveTo>
                    <a:pt x="1302" y="410"/>
                  </a:moveTo>
                  <a:lnTo>
                    <a:pt x="1302" y="412"/>
                  </a:lnTo>
                  <a:lnTo>
                    <a:pt x="1300" y="412"/>
                  </a:lnTo>
                  <a:lnTo>
                    <a:pt x="1300" y="410"/>
                  </a:lnTo>
                  <a:lnTo>
                    <a:pt x="1302" y="410"/>
                  </a:lnTo>
                  <a:close/>
                  <a:moveTo>
                    <a:pt x="1162" y="410"/>
                  </a:moveTo>
                  <a:lnTo>
                    <a:pt x="1160" y="410"/>
                  </a:lnTo>
                  <a:lnTo>
                    <a:pt x="1162" y="410"/>
                  </a:lnTo>
                  <a:close/>
                  <a:moveTo>
                    <a:pt x="1276" y="410"/>
                  </a:moveTo>
                  <a:lnTo>
                    <a:pt x="1277" y="410"/>
                  </a:lnTo>
                  <a:lnTo>
                    <a:pt x="1277" y="409"/>
                  </a:lnTo>
                  <a:lnTo>
                    <a:pt x="1277" y="410"/>
                  </a:lnTo>
                  <a:lnTo>
                    <a:pt x="1279" y="409"/>
                  </a:lnTo>
                  <a:lnTo>
                    <a:pt x="1280" y="410"/>
                  </a:lnTo>
                  <a:lnTo>
                    <a:pt x="1282" y="410"/>
                  </a:lnTo>
                  <a:lnTo>
                    <a:pt x="1284" y="410"/>
                  </a:lnTo>
                  <a:lnTo>
                    <a:pt x="1285" y="410"/>
                  </a:lnTo>
                  <a:lnTo>
                    <a:pt x="1287" y="412"/>
                  </a:lnTo>
                  <a:lnTo>
                    <a:pt x="1287" y="413"/>
                  </a:lnTo>
                  <a:lnTo>
                    <a:pt x="1289" y="413"/>
                  </a:lnTo>
                  <a:lnTo>
                    <a:pt x="1289" y="415"/>
                  </a:lnTo>
                  <a:lnTo>
                    <a:pt x="1290" y="415"/>
                  </a:lnTo>
                  <a:lnTo>
                    <a:pt x="1292" y="415"/>
                  </a:lnTo>
                  <a:lnTo>
                    <a:pt x="1292" y="417"/>
                  </a:lnTo>
                  <a:lnTo>
                    <a:pt x="1290" y="417"/>
                  </a:lnTo>
                  <a:lnTo>
                    <a:pt x="1290" y="418"/>
                  </a:lnTo>
                  <a:lnTo>
                    <a:pt x="1290" y="420"/>
                  </a:lnTo>
                  <a:lnTo>
                    <a:pt x="1289" y="420"/>
                  </a:lnTo>
                  <a:lnTo>
                    <a:pt x="1287" y="422"/>
                  </a:lnTo>
                  <a:lnTo>
                    <a:pt x="1287" y="423"/>
                  </a:lnTo>
                  <a:lnTo>
                    <a:pt x="1285" y="423"/>
                  </a:lnTo>
                  <a:lnTo>
                    <a:pt x="1285" y="425"/>
                  </a:lnTo>
                  <a:lnTo>
                    <a:pt x="1284" y="425"/>
                  </a:lnTo>
                  <a:lnTo>
                    <a:pt x="1284" y="426"/>
                  </a:lnTo>
                  <a:lnTo>
                    <a:pt x="1282" y="428"/>
                  </a:lnTo>
                  <a:lnTo>
                    <a:pt x="1280" y="428"/>
                  </a:lnTo>
                  <a:lnTo>
                    <a:pt x="1279" y="428"/>
                  </a:lnTo>
                  <a:lnTo>
                    <a:pt x="1277" y="428"/>
                  </a:lnTo>
                  <a:lnTo>
                    <a:pt x="1277" y="426"/>
                  </a:lnTo>
                  <a:lnTo>
                    <a:pt x="1276" y="425"/>
                  </a:lnTo>
                  <a:lnTo>
                    <a:pt x="1277" y="423"/>
                  </a:lnTo>
                  <a:lnTo>
                    <a:pt x="1276" y="423"/>
                  </a:lnTo>
                  <a:lnTo>
                    <a:pt x="1276" y="422"/>
                  </a:lnTo>
                  <a:lnTo>
                    <a:pt x="1274" y="420"/>
                  </a:lnTo>
                  <a:lnTo>
                    <a:pt x="1274" y="418"/>
                  </a:lnTo>
                  <a:lnTo>
                    <a:pt x="1272" y="418"/>
                  </a:lnTo>
                  <a:lnTo>
                    <a:pt x="1274" y="418"/>
                  </a:lnTo>
                  <a:lnTo>
                    <a:pt x="1272" y="418"/>
                  </a:lnTo>
                  <a:lnTo>
                    <a:pt x="1272" y="417"/>
                  </a:lnTo>
                  <a:lnTo>
                    <a:pt x="1272" y="415"/>
                  </a:lnTo>
                  <a:lnTo>
                    <a:pt x="1271" y="415"/>
                  </a:lnTo>
                  <a:lnTo>
                    <a:pt x="1271" y="413"/>
                  </a:lnTo>
                  <a:lnTo>
                    <a:pt x="1272" y="412"/>
                  </a:lnTo>
                  <a:lnTo>
                    <a:pt x="1271" y="412"/>
                  </a:lnTo>
                  <a:lnTo>
                    <a:pt x="1272" y="412"/>
                  </a:lnTo>
                  <a:lnTo>
                    <a:pt x="1271" y="410"/>
                  </a:lnTo>
                  <a:lnTo>
                    <a:pt x="1272" y="410"/>
                  </a:lnTo>
                  <a:lnTo>
                    <a:pt x="1272" y="412"/>
                  </a:lnTo>
                  <a:lnTo>
                    <a:pt x="1274" y="412"/>
                  </a:lnTo>
                  <a:lnTo>
                    <a:pt x="1276" y="412"/>
                  </a:lnTo>
                  <a:lnTo>
                    <a:pt x="1276" y="413"/>
                  </a:lnTo>
                  <a:lnTo>
                    <a:pt x="1276" y="415"/>
                  </a:lnTo>
                  <a:lnTo>
                    <a:pt x="1277" y="417"/>
                  </a:lnTo>
                  <a:lnTo>
                    <a:pt x="1279" y="418"/>
                  </a:lnTo>
                  <a:lnTo>
                    <a:pt x="1280" y="418"/>
                  </a:lnTo>
                  <a:lnTo>
                    <a:pt x="1282" y="420"/>
                  </a:lnTo>
                  <a:lnTo>
                    <a:pt x="1282" y="418"/>
                  </a:lnTo>
                  <a:lnTo>
                    <a:pt x="1280" y="418"/>
                  </a:lnTo>
                  <a:lnTo>
                    <a:pt x="1279" y="417"/>
                  </a:lnTo>
                  <a:lnTo>
                    <a:pt x="1277" y="415"/>
                  </a:lnTo>
                  <a:lnTo>
                    <a:pt x="1277" y="413"/>
                  </a:lnTo>
                  <a:lnTo>
                    <a:pt x="1276" y="413"/>
                  </a:lnTo>
                  <a:lnTo>
                    <a:pt x="1276" y="412"/>
                  </a:lnTo>
                  <a:lnTo>
                    <a:pt x="1276" y="410"/>
                  </a:lnTo>
                  <a:close/>
                  <a:moveTo>
                    <a:pt x="1225" y="407"/>
                  </a:moveTo>
                  <a:lnTo>
                    <a:pt x="1225" y="409"/>
                  </a:lnTo>
                  <a:lnTo>
                    <a:pt x="1225" y="407"/>
                  </a:lnTo>
                  <a:close/>
                  <a:moveTo>
                    <a:pt x="1223" y="407"/>
                  </a:moveTo>
                  <a:lnTo>
                    <a:pt x="1225" y="407"/>
                  </a:lnTo>
                  <a:lnTo>
                    <a:pt x="1225" y="409"/>
                  </a:lnTo>
                  <a:lnTo>
                    <a:pt x="1225" y="407"/>
                  </a:lnTo>
                  <a:lnTo>
                    <a:pt x="1225" y="409"/>
                  </a:lnTo>
                  <a:lnTo>
                    <a:pt x="1223" y="409"/>
                  </a:lnTo>
                  <a:lnTo>
                    <a:pt x="1223" y="407"/>
                  </a:lnTo>
                  <a:close/>
                  <a:moveTo>
                    <a:pt x="1249" y="407"/>
                  </a:moveTo>
                  <a:lnTo>
                    <a:pt x="1251" y="407"/>
                  </a:lnTo>
                  <a:lnTo>
                    <a:pt x="1251" y="409"/>
                  </a:lnTo>
                  <a:lnTo>
                    <a:pt x="1253" y="407"/>
                  </a:lnTo>
                  <a:lnTo>
                    <a:pt x="1253" y="409"/>
                  </a:lnTo>
                  <a:lnTo>
                    <a:pt x="1251" y="409"/>
                  </a:lnTo>
                  <a:lnTo>
                    <a:pt x="1251" y="410"/>
                  </a:lnTo>
                  <a:lnTo>
                    <a:pt x="1249" y="412"/>
                  </a:lnTo>
                  <a:lnTo>
                    <a:pt x="1248" y="412"/>
                  </a:lnTo>
                  <a:lnTo>
                    <a:pt x="1248" y="410"/>
                  </a:lnTo>
                  <a:lnTo>
                    <a:pt x="1246" y="410"/>
                  </a:lnTo>
                  <a:lnTo>
                    <a:pt x="1248" y="410"/>
                  </a:lnTo>
                  <a:lnTo>
                    <a:pt x="1248" y="409"/>
                  </a:lnTo>
                  <a:lnTo>
                    <a:pt x="1246" y="409"/>
                  </a:lnTo>
                  <a:lnTo>
                    <a:pt x="1248" y="409"/>
                  </a:lnTo>
                  <a:lnTo>
                    <a:pt x="1248" y="407"/>
                  </a:lnTo>
                  <a:lnTo>
                    <a:pt x="1249" y="407"/>
                  </a:lnTo>
                  <a:close/>
                  <a:moveTo>
                    <a:pt x="1167" y="407"/>
                  </a:moveTo>
                  <a:lnTo>
                    <a:pt x="1168" y="407"/>
                  </a:lnTo>
                  <a:lnTo>
                    <a:pt x="1167" y="407"/>
                  </a:lnTo>
                  <a:close/>
                  <a:moveTo>
                    <a:pt x="1170" y="405"/>
                  </a:moveTo>
                  <a:lnTo>
                    <a:pt x="1170" y="407"/>
                  </a:lnTo>
                  <a:lnTo>
                    <a:pt x="1170" y="405"/>
                  </a:lnTo>
                  <a:close/>
                  <a:moveTo>
                    <a:pt x="1167" y="407"/>
                  </a:moveTo>
                  <a:lnTo>
                    <a:pt x="1167" y="405"/>
                  </a:lnTo>
                  <a:lnTo>
                    <a:pt x="1167" y="407"/>
                  </a:lnTo>
                  <a:close/>
                  <a:moveTo>
                    <a:pt x="1139" y="448"/>
                  </a:moveTo>
                  <a:lnTo>
                    <a:pt x="1137" y="448"/>
                  </a:lnTo>
                  <a:lnTo>
                    <a:pt x="1136" y="448"/>
                  </a:lnTo>
                  <a:lnTo>
                    <a:pt x="1134" y="448"/>
                  </a:lnTo>
                  <a:lnTo>
                    <a:pt x="1136" y="446"/>
                  </a:lnTo>
                  <a:lnTo>
                    <a:pt x="1134" y="446"/>
                  </a:lnTo>
                  <a:lnTo>
                    <a:pt x="1132" y="446"/>
                  </a:lnTo>
                  <a:lnTo>
                    <a:pt x="1134" y="446"/>
                  </a:lnTo>
                  <a:lnTo>
                    <a:pt x="1134" y="444"/>
                  </a:lnTo>
                  <a:lnTo>
                    <a:pt x="1134" y="443"/>
                  </a:lnTo>
                  <a:lnTo>
                    <a:pt x="1136" y="443"/>
                  </a:lnTo>
                  <a:lnTo>
                    <a:pt x="1137" y="443"/>
                  </a:lnTo>
                  <a:lnTo>
                    <a:pt x="1137" y="441"/>
                  </a:lnTo>
                  <a:lnTo>
                    <a:pt x="1139" y="439"/>
                  </a:lnTo>
                  <a:lnTo>
                    <a:pt x="1139" y="438"/>
                  </a:lnTo>
                  <a:lnTo>
                    <a:pt x="1137" y="438"/>
                  </a:lnTo>
                  <a:lnTo>
                    <a:pt x="1139" y="438"/>
                  </a:lnTo>
                  <a:lnTo>
                    <a:pt x="1141" y="438"/>
                  </a:lnTo>
                  <a:lnTo>
                    <a:pt x="1141" y="439"/>
                  </a:lnTo>
                  <a:lnTo>
                    <a:pt x="1141" y="441"/>
                  </a:lnTo>
                  <a:lnTo>
                    <a:pt x="1141" y="443"/>
                  </a:lnTo>
                  <a:lnTo>
                    <a:pt x="1141" y="444"/>
                  </a:lnTo>
                  <a:lnTo>
                    <a:pt x="1142" y="444"/>
                  </a:lnTo>
                  <a:lnTo>
                    <a:pt x="1142" y="446"/>
                  </a:lnTo>
                  <a:lnTo>
                    <a:pt x="1141" y="446"/>
                  </a:lnTo>
                  <a:lnTo>
                    <a:pt x="1142" y="446"/>
                  </a:lnTo>
                  <a:lnTo>
                    <a:pt x="1141" y="446"/>
                  </a:lnTo>
                  <a:lnTo>
                    <a:pt x="1142" y="446"/>
                  </a:lnTo>
                  <a:lnTo>
                    <a:pt x="1142" y="448"/>
                  </a:lnTo>
                  <a:lnTo>
                    <a:pt x="1141" y="448"/>
                  </a:lnTo>
                  <a:lnTo>
                    <a:pt x="1142" y="448"/>
                  </a:lnTo>
                  <a:lnTo>
                    <a:pt x="1142" y="449"/>
                  </a:lnTo>
                  <a:lnTo>
                    <a:pt x="1144" y="449"/>
                  </a:lnTo>
                  <a:lnTo>
                    <a:pt x="1142" y="449"/>
                  </a:lnTo>
                  <a:lnTo>
                    <a:pt x="1142" y="451"/>
                  </a:lnTo>
                  <a:lnTo>
                    <a:pt x="1142" y="449"/>
                  </a:lnTo>
                  <a:lnTo>
                    <a:pt x="1144" y="449"/>
                  </a:lnTo>
                  <a:lnTo>
                    <a:pt x="1144" y="448"/>
                  </a:lnTo>
                  <a:lnTo>
                    <a:pt x="1142" y="448"/>
                  </a:lnTo>
                  <a:lnTo>
                    <a:pt x="1142" y="446"/>
                  </a:lnTo>
                  <a:lnTo>
                    <a:pt x="1142" y="444"/>
                  </a:lnTo>
                  <a:lnTo>
                    <a:pt x="1142" y="443"/>
                  </a:lnTo>
                  <a:lnTo>
                    <a:pt x="1144" y="443"/>
                  </a:lnTo>
                  <a:lnTo>
                    <a:pt x="1144" y="441"/>
                  </a:lnTo>
                  <a:lnTo>
                    <a:pt x="1144" y="439"/>
                  </a:lnTo>
                  <a:lnTo>
                    <a:pt x="1142" y="439"/>
                  </a:lnTo>
                  <a:lnTo>
                    <a:pt x="1142" y="438"/>
                  </a:lnTo>
                  <a:lnTo>
                    <a:pt x="1142" y="436"/>
                  </a:lnTo>
                  <a:lnTo>
                    <a:pt x="1142" y="435"/>
                  </a:lnTo>
                  <a:lnTo>
                    <a:pt x="1144" y="435"/>
                  </a:lnTo>
                  <a:lnTo>
                    <a:pt x="1145" y="435"/>
                  </a:lnTo>
                  <a:lnTo>
                    <a:pt x="1147" y="435"/>
                  </a:lnTo>
                  <a:lnTo>
                    <a:pt x="1147" y="436"/>
                  </a:lnTo>
                  <a:lnTo>
                    <a:pt x="1147" y="438"/>
                  </a:lnTo>
                  <a:lnTo>
                    <a:pt x="1147" y="439"/>
                  </a:lnTo>
                  <a:lnTo>
                    <a:pt x="1147" y="441"/>
                  </a:lnTo>
                  <a:lnTo>
                    <a:pt x="1147" y="443"/>
                  </a:lnTo>
                  <a:lnTo>
                    <a:pt x="1147" y="444"/>
                  </a:lnTo>
                  <a:lnTo>
                    <a:pt x="1149" y="444"/>
                  </a:lnTo>
                  <a:lnTo>
                    <a:pt x="1147" y="446"/>
                  </a:lnTo>
                  <a:lnTo>
                    <a:pt x="1149" y="446"/>
                  </a:lnTo>
                  <a:lnTo>
                    <a:pt x="1149" y="444"/>
                  </a:lnTo>
                  <a:lnTo>
                    <a:pt x="1150" y="443"/>
                  </a:lnTo>
                  <a:lnTo>
                    <a:pt x="1150" y="444"/>
                  </a:lnTo>
                  <a:lnTo>
                    <a:pt x="1150" y="443"/>
                  </a:lnTo>
                  <a:lnTo>
                    <a:pt x="1150" y="441"/>
                  </a:lnTo>
                  <a:lnTo>
                    <a:pt x="1152" y="441"/>
                  </a:lnTo>
                  <a:lnTo>
                    <a:pt x="1154" y="441"/>
                  </a:lnTo>
                  <a:lnTo>
                    <a:pt x="1155" y="441"/>
                  </a:lnTo>
                  <a:lnTo>
                    <a:pt x="1155" y="439"/>
                  </a:lnTo>
                  <a:lnTo>
                    <a:pt x="1157" y="439"/>
                  </a:lnTo>
                  <a:lnTo>
                    <a:pt x="1157" y="441"/>
                  </a:lnTo>
                  <a:lnTo>
                    <a:pt x="1157" y="443"/>
                  </a:lnTo>
                  <a:lnTo>
                    <a:pt x="1155" y="444"/>
                  </a:lnTo>
                  <a:lnTo>
                    <a:pt x="1157" y="443"/>
                  </a:lnTo>
                  <a:lnTo>
                    <a:pt x="1155" y="443"/>
                  </a:lnTo>
                  <a:lnTo>
                    <a:pt x="1157" y="443"/>
                  </a:lnTo>
                  <a:lnTo>
                    <a:pt x="1157" y="444"/>
                  </a:lnTo>
                  <a:lnTo>
                    <a:pt x="1157" y="446"/>
                  </a:lnTo>
                  <a:lnTo>
                    <a:pt x="1158" y="446"/>
                  </a:lnTo>
                  <a:lnTo>
                    <a:pt x="1157" y="446"/>
                  </a:lnTo>
                  <a:lnTo>
                    <a:pt x="1157" y="448"/>
                  </a:lnTo>
                  <a:lnTo>
                    <a:pt x="1158" y="448"/>
                  </a:lnTo>
                  <a:lnTo>
                    <a:pt x="1158" y="446"/>
                  </a:lnTo>
                  <a:lnTo>
                    <a:pt x="1158" y="444"/>
                  </a:lnTo>
                  <a:lnTo>
                    <a:pt x="1158" y="443"/>
                  </a:lnTo>
                  <a:lnTo>
                    <a:pt x="1158" y="441"/>
                  </a:lnTo>
                  <a:lnTo>
                    <a:pt x="1160" y="441"/>
                  </a:lnTo>
                  <a:lnTo>
                    <a:pt x="1162" y="441"/>
                  </a:lnTo>
                  <a:lnTo>
                    <a:pt x="1158" y="439"/>
                  </a:lnTo>
                  <a:lnTo>
                    <a:pt x="1160" y="439"/>
                  </a:lnTo>
                  <a:lnTo>
                    <a:pt x="1158" y="439"/>
                  </a:lnTo>
                  <a:lnTo>
                    <a:pt x="1158" y="438"/>
                  </a:lnTo>
                  <a:lnTo>
                    <a:pt x="1158" y="436"/>
                  </a:lnTo>
                  <a:lnTo>
                    <a:pt x="1160" y="436"/>
                  </a:lnTo>
                  <a:lnTo>
                    <a:pt x="1162" y="436"/>
                  </a:lnTo>
                  <a:lnTo>
                    <a:pt x="1160" y="436"/>
                  </a:lnTo>
                  <a:lnTo>
                    <a:pt x="1160" y="435"/>
                  </a:lnTo>
                  <a:lnTo>
                    <a:pt x="1158" y="435"/>
                  </a:lnTo>
                  <a:lnTo>
                    <a:pt x="1157" y="433"/>
                  </a:lnTo>
                  <a:lnTo>
                    <a:pt x="1157" y="431"/>
                  </a:lnTo>
                  <a:lnTo>
                    <a:pt x="1158" y="431"/>
                  </a:lnTo>
                  <a:lnTo>
                    <a:pt x="1160" y="430"/>
                  </a:lnTo>
                  <a:lnTo>
                    <a:pt x="1162" y="430"/>
                  </a:lnTo>
                  <a:lnTo>
                    <a:pt x="1162" y="431"/>
                  </a:lnTo>
                  <a:lnTo>
                    <a:pt x="1163" y="431"/>
                  </a:lnTo>
                  <a:lnTo>
                    <a:pt x="1163" y="433"/>
                  </a:lnTo>
                  <a:lnTo>
                    <a:pt x="1163" y="431"/>
                  </a:lnTo>
                  <a:lnTo>
                    <a:pt x="1163" y="433"/>
                  </a:lnTo>
                  <a:lnTo>
                    <a:pt x="1162" y="433"/>
                  </a:lnTo>
                  <a:lnTo>
                    <a:pt x="1163" y="433"/>
                  </a:lnTo>
                  <a:lnTo>
                    <a:pt x="1163" y="435"/>
                  </a:lnTo>
                  <a:lnTo>
                    <a:pt x="1163" y="436"/>
                  </a:lnTo>
                  <a:lnTo>
                    <a:pt x="1163" y="438"/>
                  </a:lnTo>
                  <a:lnTo>
                    <a:pt x="1165" y="438"/>
                  </a:lnTo>
                  <a:lnTo>
                    <a:pt x="1165" y="439"/>
                  </a:lnTo>
                  <a:lnTo>
                    <a:pt x="1165" y="438"/>
                  </a:lnTo>
                  <a:lnTo>
                    <a:pt x="1165" y="436"/>
                  </a:lnTo>
                  <a:lnTo>
                    <a:pt x="1165" y="435"/>
                  </a:lnTo>
                  <a:lnTo>
                    <a:pt x="1163" y="435"/>
                  </a:lnTo>
                  <a:lnTo>
                    <a:pt x="1165" y="435"/>
                  </a:lnTo>
                  <a:lnTo>
                    <a:pt x="1165" y="433"/>
                  </a:lnTo>
                  <a:lnTo>
                    <a:pt x="1163" y="430"/>
                  </a:lnTo>
                  <a:lnTo>
                    <a:pt x="1165" y="430"/>
                  </a:lnTo>
                  <a:lnTo>
                    <a:pt x="1167" y="430"/>
                  </a:lnTo>
                  <a:lnTo>
                    <a:pt x="1167" y="431"/>
                  </a:lnTo>
                  <a:lnTo>
                    <a:pt x="1168" y="431"/>
                  </a:lnTo>
                  <a:lnTo>
                    <a:pt x="1168" y="433"/>
                  </a:lnTo>
                  <a:lnTo>
                    <a:pt x="1170" y="433"/>
                  </a:lnTo>
                  <a:lnTo>
                    <a:pt x="1168" y="435"/>
                  </a:lnTo>
                  <a:lnTo>
                    <a:pt x="1170" y="435"/>
                  </a:lnTo>
                  <a:lnTo>
                    <a:pt x="1168" y="435"/>
                  </a:lnTo>
                  <a:lnTo>
                    <a:pt x="1170" y="436"/>
                  </a:lnTo>
                  <a:lnTo>
                    <a:pt x="1170" y="435"/>
                  </a:lnTo>
                  <a:lnTo>
                    <a:pt x="1170" y="433"/>
                  </a:lnTo>
                  <a:lnTo>
                    <a:pt x="1170" y="431"/>
                  </a:lnTo>
                  <a:lnTo>
                    <a:pt x="1170" y="430"/>
                  </a:lnTo>
                  <a:lnTo>
                    <a:pt x="1168" y="430"/>
                  </a:lnTo>
                  <a:lnTo>
                    <a:pt x="1167" y="430"/>
                  </a:lnTo>
                  <a:lnTo>
                    <a:pt x="1167" y="428"/>
                  </a:lnTo>
                  <a:lnTo>
                    <a:pt x="1165" y="428"/>
                  </a:lnTo>
                  <a:lnTo>
                    <a:pt x="1165" y="426"/>
                  </a:lnTo>
                  <a:lnTo>
                    <a:pt x="1167" y="426"/>
                  </a:lnTo>
                  <a:lnTo>
                    <a:pt x="1167" y="425"/>
                  </a:lnTo>
                  <a:lnTo>
                    <a:pt x="1165" y="425"/>
                  </a:lnTo>
                  <a:lnTo>
                    <a:pt x="1163" y="426"/>
                  </a:lnTo>
                  <a:lnTo>
                    <a:pt x="1163" y="425"/>
                  </a:lnTo>
                  <a:lnTo>
                    <a:pt x="1165" y="425"/>
                  </a:lnTo>
                  <a:lnTo>
                    <a:pt x="1163" y="425"/>
                  </a:lnTo>
                  <a:lnTo>
                    <a:pt x="1165" y="425"/>
                  </a:lnTo>
                  <a:lnTo>
                    <a:pt x="1165" y="423"/>
                  </a:lnTo>
                  <a:lnTo>
                    <a:pt x="1163" y="423"/>
                  </a:lnTo>
                  <a:lnTo>
                    <a:pt x="1165" y="423"/>
                  </a:lnTo>
                  <a:lnTo>
                    <a:pt x="1163" y="422"/>
                  </a:lnTo>
                  <a:lnTo>
                    <a:pt x="1165" y="422"/>
                  </a:lnTo>
                  <a:lnTo>
                    <a:pt x="1165" y="423"/>
                  </a:lnTo>
                  <a:lnTo>
                    <a:pt x="1167" y="423"/>
                  </a:lnTo>
                  <a:lnTo>
                    <a:pt x="1165" y="423"/>
                  </a:lnTo>
                  <a:lnTo>
                    <a:pt x="1165" y="422"/>
                  </a:lnTo>
                  <a:lnTo>
                    <a:pt x="1163" y="422"/>
                  </a:lnTo>
                  <a:lnTo>
                    <a:pt x="1163" y="420"/>
                  </a:lnTo>
                  <a:lnTo>
                    <a:pt x="1162" y="418"/>
                  </a:lnTo>
                  <a:lnTo>
                    <a:pt x="1162" y="417"/>
                  </a:lnTo>
                  <a:lnTo>
                    <a:pt x="1162" y="418"/>
                  </a:lnTo>
                  <a:lnTo>
                    <a:pt x="1162" y="417"/>
                  </a:lnTo>
                  <a:lnTo>
                    <a:pt x="1162" y="415"/>
                  </a:lnTo>
                  <a:lnTo>
                    <a:pt x="1162" y="413"/>
                  </a:lnTo>
                  <a:lnTo>
                    <a:pt x="1162" y="412"/>
                  </a:lnTo>
                  <a:lnTo>
                    <a:pt x="1162" y="410"/>
                  </a:lnTo>
                  <a:lnTo>
                    <a:pt x="1163" y="410"/>
                  </a:lnTo>
                  <a:lnTo>
                    <a:pt x="1163" y="409"/>
                  </a:lnTo>
                  <a:lnTo>
                    <a:pt x="1165" y="409"/>
                  </a:lnTo>
                  <a:lnTo>
                    <a:pt x="1165" y="407"/>
                  </a:lnTo>
                  <a:lnTo>
                    <a:pt x="1167" y="407"/>
                  </a:lnTo>
                  <a:lnTo>
                    <a:pt x="1168" y="405"/>
                  </a:lnTo>
                  <a:lnTo>
                    <a:pt x="1168" y="407"/>
                  </a:lnTo>
                  <a:lnTo>
                    <a:pt x="1170" y="407"/>
                  </a:lnTo>
                  <a:lnTo>
                    <a:pt x="1170" y="409"/>
                  </a:lnTo>
                  <a:lnTo>
                    <a:pt x="1170" y="410"/>
                  </a:lnTo>
                  <a:lnTo>
                    <a:pt x="1170" y="412"/>
                  </a:lnTo>
                  <a:lnTo>
                    <a:pt x="1170" y="413"/>
                  </a:lnTo>
                  <a:lnTo>
                    <a:pt x="1170" y="412"/>
                  </a:lnTo>
                  <a:lnTo>
                    <a:pt x="1170" y="413"/>
                  </a:lnTo>
                  <a:lnTo>
                    <a:pt x="1168" y="413"/>
                  </a:lnTo>
                  <a:lnTo>
                    <a:pt x="1170" y="413"/>
                  </a:lnTo>
                  <a:lnTo>
                    <a:pt x="1168" y="413"/>
                  </a:lnTo>
                  <a:lnTo>
                    <a:pt x="1168" y="415"/>
                  </a:lnTo>
                  <a:lnTo>
                    <a:pt x="1167" y="417"/>
                  </a:lnTo>
                  <a:lnTo>
                    <a:pt x="1168" y="415"/>
                  </a:lnTo>
                  <a:lnTo>
                    <a:pt x="1168" y="417"/>
                  </a:lnTo>
                  <a:lnTo>
                    <a:pt x="1168" y="415"/>
                  </a:lnTo>
                  <a:lnTo>
                    <a:pt x="1170" y="415"/>
                  </a:lnTo>
                  <a:lnTo>
                    <a:pt x="1168" y="415"/>
                  </a:lnTo>
                  <a:lnTo>
                    <a:pt x="1170" y="415"/>
                  </a:lnTo>
                  <a:lnTo>
                    <a:pt x="1170" y="413"/>
                  </a:lnTo>
                  <a:lnTo>
                    <a:pt x="1170" y="415"/>
                  </a:lnTo>
                  <a:lnTo>
                    <a:pt x="1170" y="413"/>
                  </a:lnTo>
                  <a:lnTo>
                    <a:pt x="1170" y="415"/>
                  </a:lnTo>
                  <a:lnTo>
                    <a:pt x="1170" y="417"/>
                  </a:lnTo>
                  <a:lnTo>
                    <a:pt x="1171" y="417"/>
                  </a:lnTo>
                  <a:lnTo>
                    <a:pt x="1173" y="417"/>
                  </a:lnTo>
                  <a:lnTo>
                    <a:pt x="1171" y="418"/>
                  </a:lnTo>
                  <a:lnTo>
                    <a:pt x="1173" y="418"/>
                  </a:lnTo>
                  <a:lnTo>
                    <a:pt x="1171" y="418"/>
                  </a:lnTo>
                  <a:lnTo>
                    <a:pt x="1173" y="418"/>
                  </a:lnTo>
                  <a:lnTo>
                    <a:pt x="1171" y="418"/>
                  </a:lnTo>
                  <a:lnTo>
                    <a:pt x="1170" y="418"/>
                  </a:lnTo>
                  <a:lnTo>
                    <a:pt x="1170" y="420"/>
                  </a:lnTo>
                  <a:lnTo>
                    <a:pt x="1171" y="420"/>
                  </a:lnTo>
                  <a:lnTo>
                    <a:pt x="1171" y="418"/>
                  </a:lnTo>
                  <a:lnTo>
                    <a:pt x="1171" y="420"/>
                  </a:lnTo>
                  <a:lnTo>
                    <a:pt x="1171" y="418"/>
                  </a:lnTo>
                  <a:lnTo>
                    <a:pt x="1171" y="420"/>
                  </a:lnTo>
                  <a:lnTo>
                    <a:pt x="1173" y="418"/>
                  </a:lnTo>
                  <a:lnTo>
                    <a:pt x="1173" y="420"/>
                  </a:lnTo>
                  <a:lnTo>
                    <a:pt x="1171" y="420"/>
                  </a:lnTo>
                  <a:lnTo>
                    <a:pt x="1173" y="420"/>
                  </a:lnTo>
                  <a:lnTo>
                    <a:pt x="1175" y="420"/>
                  </a:lnTo>
                  <a:lnTo>
                    <a:pt x="1175" y="422"/>
                  </a:lnTo>
                  <a:lnTo>
                    <a:pt x="1176" y="422"/>
                  </a:lnTo>
                  <a:lnTo>
                    <a:pt x="1175" y="420"/>
                  </a:lnTo>
                  <a:lnTo>
                    <a:pt x="1176" y="420"/>
                  </a:lnTo>
                  <a:lnTo>
                    <a:pt x="1178" y="420"/>
                  </a:lnTo>
                  <a:lnTo>
                    <a:pt x="1176" y="422"/>
                  </a:lnTo>
                  <a:lnTo>
                    <a:pt x="1176" y="423"/>
                  </a:lnTo>
                  <a:lnTo>
                    <a:pt x="1178" y="423"/>
                  </a:lnTo>
                  <a:lnTo>
                    <a:pt x="1176" y="425"/>
                  </a:lnTo>
                  <a:lnTo>
                    <a:pt x="1178" y="425"/>
                  </a:lnTo>
                  <a:lnTo>
                    <a:pt x="1176" y="426"/>
                  </a:lnTo>
                  <a:lnTo>
                    <a:pt x="1178" y="426"/>
                  </a:lnTo>
                  <a:lnTo>
                    <a:pt x="1176" y="428"/>
                  </a:lnTo>
                  <a:lnTo>
                    <a:pt x="1176" y="430"/>
                  </a:lnTo>
                  <a:lnTo>
                    <a:pt x="1176" y="428"/>
                  </a:lnTo>
                  <a:lnTo>
                    <a:pt x="1178" y="428"/>
                  </a:lnTo>
                  <a:lnTo>
                    <a:pt x="1176" y="430"/>
                  </a:lnTo>
                  <a:lnTo>
                    <a:pt x="1178" y="430"/>
                  </a:lnTo>
                  <a:lnTo>
                    <a:pt x="1176" y="430"/>
                  </a:lnTo>
                  <a:lnTo>
                    <a:pt x="1176" y="431"/>
                  </a:lnTo>
                  <a:lnTo>
                    <a:pt x="1176" y="433"/>
                  </a:lnTo>
                  <a:lnTo>
                    <a:pt x="1175" y="435"/>
                  </a:lnTo>
                  <a:lnTo>
                    <a:pt x="1176" y="433"/>
                  </a:lnTo>
                  <a:lnTo>
                    <a:pt x="1176" y="431"/>
                  </a:lnTo>
                  <a:lnTo>
                    <a:pt x="1178" y="431"/>
                  </a:lnTo>
                  <a:lnTo>
                    <a:pt x="1178" y="430"/>
                  </a:lnTo>
                  <a:lnTo>
                    <a:pt x="1180" y="428"/>
                  </a:lnTo>
                  <a:lnTo>
                    <a:pt x="1178" y="428"/>
                  </a:lnTo>
                  <a:lnTo>
                    <a:pt x="1180" y="428"/>
                  </a:lnTo>
                  <a:lnTo>
                    <a:pt x="1180" y="426"/>
                  </a:lnTo>
                  <a:lnTo>
                    <a:pt x="1180" y="428"/>
                  </a:lnTo>
                  <a:lnTo>
                    <a:pt x="1181" y="428"/>
                  </a:lnTo>
                  <a:lnTo>
                    <a:pt x="1181" y="430"/>
                  </a:lnTo>
                  <a:lnTo>
                    <a:pt x="1183" y="428"/>
                  </a:lnTo>
                  <a:lnTo>
                    <a:pt x="1183" y="430"/>
                  </a:lnTo>
                  <a:lnTo>
                    <a:pt x="1183" y="431"/>
                  </a:lnTo>
                  <a:lnTo>
                    <a:pt x="1183" y="433"/>
                  </a:lnTo>
                  <a:lnTo>
                    <a:pt x="1181" y="433"/>
                  </a:lnTo>
                  <a:lnTo>
                    <a:pt x="1181" y="435"/>
                  </a:lnTo>
                  <a:lnTo>
                    <a:pt x="1181" y="436"/>
                  </a:lnTo>
                  <a:lnTo>
                    <a:pt x="1181" y="435"/>
                  </a:lnTo>
                  <a:lnTo>
                    <a:pt x="1183" y="436"/>
                  </a:lnTo>
                  <a:lnTo>
                    <a:pt x="1181" y="436"/>
                  </a:lnTo>
                  <a:lnTo>
                    <a:pt x="1181" y="438"/>
                  </a:lnTo>
                  <a:lnTo>
                    <a:pt x="1180" y="438"/>
                  </a:lnTo>
                  <a:lnTo>
                    <a:pt x="1178" y="438"/>
                  </a:lnTo>
                  <a:lnTo>
                    <a:pt x="1176" y="438"/>
                  </a:lnTo>
                  <a:lnTo>
                    <a:pt x="1178" y="438"/>
                  </a:lnTo>
                  <a:lnTo>
                    <a:pt x="1180" y="439"/>
                  </a:lnTo>
                  <a:lnTo>
                    <a:pt x="1178" y="441"/>
                  </a:lnTo>
                  <a:lnTo>
                    <a:pt x="1180" y="441"/>
                  </a:lnTo>
                  <a:lnTo>
                    <a:pt x="1180" y="443"/>
                  </a:lnTo>
                  <a:lnTo>
                    <a:pt x="1178" y="443"/>
                  </a:lnTo>
                  <a:lnTo>
                    <a:pt x="1176" y="443"/>
                  </a:lnTo>
                  <a:lnTo>
                    <a:pt x="1178" y="444"/>
                  </a:lnTo>
                  <a:lnTo>
                    <a:pt x="1180" y="444"/>
                  </a:lnTo>
                  <a:lnTo>
                    <a:pt x="1181" y="444"/>
                  </a:lnTo>
                  <a:lnTo>
                    <a:pt x="1183" y="444"/>
                  </a:lnTo>
                  <a:lnTo>
                    <a:pt x="1184" y="446"/>
                  </a:lnTo>
                  <a:lnTo>
                    <a:pt x="1184" y="449"/>
                  </a:lnTo>
                  <a:lnTo>
                    <a:pt x="1186" y="449"/>
                  </a:lnTo>
                  <a:lnTo>
                    <a:pt x="1186" y="451"/>
                  </a:lnTo>
                  <a:lnTo>
                    <a:pt x="1186" y="452"/>
                  </a:lnTo>
                  <a:lnTo>
                    <a:pt x="1184" y="454"/>
                  </a:lnTo>
                  <a:lnTo>
                    <a:pt x="1184" y="456"/>
                  </a:lnTo>
                  <a:lnTo>
                    <a:pt x="1183" y="456"/>
                  </a:lnTo>
                  <a:lnTo>
                    <a:pt x="1181" y="457"/>
                  </a:lnTo>
                  <a:lnTo>
                    <a:pt x="1181" y="459"/>
                  </a:lnTo>
                  <a:lnTo>
                    <a:pt x="1180" y="459"/>
                  </a:lnTo>
                  <a:lnTo>
                    <a:pt x="1178" y="461"/>
                  </a:lnTo>
                  <a:lnTo>
                    <a:pt x="1176" y="461"/>
                  </a:lnTo>
                  <a:lnTo>
                    <a:pt x="1176" y="462"/>
                  </a:lnTo>
                  <a:lnTo>
                    <a:pt x="1176" y="461"/>
                  </a:lnTo>
                  <a:lnTo>
                    <a:pt x="1175" y="462"/>
                  </a:lnTo>
                  <a:lnTo>
                    <a:pt x="1175" y="464"/>
                  </a:lnTo>
                  <a:lnTo>
                    <a:pt x="1173" y="464"/>
                  </a:lnTo>
                  <a:lnTo>
                    <a:pt x="1171" y="464"/>
                  </a:lnTo>
                  <a:lnTo>
                    <a:pt x="1171" y="465"/>
                  </a:lnTo>
                  <a:lnTo>
                    <a:pt x="1170" y="465"/>
                  </a:lnTo>
                  <a:lnTo>
                    <a:pt x="1170" y="467"/>
                  </a:lnTo>
                  <a:lnTo>
                    <a:pt x="1170" y="465"/>
                  </a:lnTo>
                  <a:lnTo>
                    <a:pt x="1170" y="467"/>
                  </a:lnTo>
                  <a:lnTo>
                    <a:pt x="1168" y="467"/>
                  </a:lnTo>
                  <a:lnTo>
                    <a:pt x="1168" y="469"/>
                  </a:lnTo>
                  <a:lnTo>
                    <a:pt x="1167" y="470"/>
                  </a:lnTo>
                  <a:lnTo>
                    <a:pt x="1167" y="469"/>
                  </a:lnTo>
                  <a:lnTo>
                    <a:pt x="1165" y="469"/>
                  </a:lnTo>
                  <a:lnTo>
                    <a:pt x="1163" y="469"/>
                  </a:lnTo>
                  <a:lnTo>
                    <a:pt x="1162" y="469"/>
                  </a:lnTo>
                  <a:lnTo>
                    <a:pt x="1160" y="469"/>
                  </a:lnTo>
                  <a:lnTo>
                    <a:pt x="1158" y="469"/>
                  </a:lnTo>
                  <a:lnTo>
                    <a:pt x="1157" y="469"/>
                  </a:lnTo>
                  <a:lnTo>
                    <a:pt x="1157" y="467"/>
                  </a:lnTo>
                  <a:lnTo>
                    <a:pt x="1157" y="465"/>
                  </a:lnTo>
                  <a:lnTo>
                    <a:pt x="1158" y="467"/>
                  </a:lnTo>
                  <a:lnTo>
                    <a:pt x="1158" y="465"/>
                  </a:lnTo>
                  <a:lnTo>
                    <a:pt x="1157" y="464"/>
                  </a:lnTo>
                  <a:lnTo>
                    <a:pt x="1155" y="465"/>
                  </a:lnTo>
                  <a:lnTo>
                    <a:pt x="1155" y="464"/>
                  </a:lnTo>
                  <a:lnTo>
                    <a:pt x="1155" y="462"/>
                  </a:lnTo>
                  <a:lnTo>
                    <a:pt x="1154" y="462"/>
                  </a:lnTo>
                  <a:lnTo>
                    <a:pt x="1154" y="461"/>
                  </a:lnTo>
                  <a:lnTo>
                    <a:pt x="1154" y="462"/>
                  </a:lnTo>
                  <a:lnTo>
                    <a:pt x="1155" y="461"/>
                  </a:lnTo>
                  <a:lnTo>
                    <a:pt x="1155" y="459"/>
                  </a:lnTo>
                  <a:lnTo>
                    <a:pt x="1157" y="459"/>
                  </a:lnTo>
                  <a:lnTo>
                    <a:pt x="1157" y="461"/>
                  </a:lnTo>
                  <a:lnTo>
                    <a:pt x="1157" y="459"/>
                  </a:lnTo>
                  <a:lnTo>
                    <a:pt x="1158" y="459"/>
                  </a:lnTo>
                  <a:lnTo>
                    <a:pt x="1157" y="461"/>
                  </a:lnTo>
                  <a:lnTo>
                    <a:pt x="1158" y="461"/>
                  </a:lnTo>
                  <a:lnTo>
                    <a:pt x="1158" y="459"/>
                  </a:lnTo>
                  <a:lnTo>
                    <a:pt x="1160" y="459"/>
                  </a:lnTo>
                  <a:lnTo>
                    <a:pt x="1160" y="457"/>
                  </a:lnTo>
                  <a:lnTo>
                    <a:pt x="1162" y="457"/>
                  </a:lnTo>
                  <a:lnTo>
                    <a:pt x="1163" y="459"/>
                  </a:lnTo>
                  <a:lnTo>
                    <a:pt x="1163" y="457"/>
                  </a:lnTo>
                  <a:lnTo>
                    <a:pt x="1162" y="457"/>
                  </a:lnTo>
                  <a:lnTo>
                    <a:pt x="1163" y="457"/>
                  </a:lnTo>
                  <a:lnTo>
                    <a:pt x="1163" y="456"/>
                  </a:lnTo>
                  <a:lnTo>
                    <a:pt x="1165" y="456"/>
                  </a:lnTo>
                  <a:lnTo>
                    <a:pt x="1167" y="456"/>
                  </a:lnTo>
                  <a:lnTo>
                    <a:pt x="1167" y="454"/>
                  </a:lnTo>
                  <a:lnTo>
                    <a:pt x="1167" y="452"/>
                  </a:lnTo>
                  <a:lnTo>
                    <a:pt x="1168" y="452"/>
                  </a:lnTo>
                  <a:lnTo>
                    <a:pt x="1168" y="451"/>
                  </a:lnTo>
                  <a:lnTo>
                    <a:pt x="1170" y="451"/>
                  </a:lnTo>
                  <a:lnTo>
                    <a:pt x="1171" y="451"/>
                  </a:lnTo>
                  <a:lnTo>
                    <a:pt x="1171" y="449"/>
                  </a:lnTo>
                  <a:lnTo>
                    <a:pt x="1171" y="448"/>
                  </a:lnTo>
                  <a:lnTo>
                    <a:pt x="1170" y="448"/>
                  </a:lnTo>
                  <a:lnTo>
                    <a:pt x="1170" y="446"/>
                  </a:lnTo>
                  <a:lnTo>
                    <a:pt x="1170" y="444"/>
                  </a:lnTo>
                  <a:lnTo>
                    <a:pt x="1171" y="444"/>
                  </a:lnTo>
                  <a:lnTo>
                    <a:pt x="1170" y="444"/>
                  </a:lnTo>
                  <a:lnTo>
                    <a:pt x="1168" y="444"/>
                  </a:lnTo>
                  <a:lnTo>
                    <a:pt x="1167" y="444"/>
                  </a:lnTo>
                  <a:lnTo>
                    <a:pt x="1165" y="443"/>
                  </a:lnTo>
                  <a:lnTo>
                    <a:pt x="1167" y="444"/>
                  </a:lnTo>
                  <a:lnTo>
                    <a:pt x="1165" y="444"/>
                  </a:lnTo>
                  <a:lnTo>
                    <a:pt x="1165" y="443"/>
                  </a:lnTo>
                  <a:lnTo>
                    <a:pt x="1163" y="443"/>
                  </a:lnTo>
                  <a:lnTo>
                    <a:pt x="1165" y="443"/>
                  </a:lnTo>
                  <a:lnTo>
                    <a:pt x="1165" y="444"/>
                  </a:lnTo>
                  <a:lnTo>
                    <a:pt x="1167" y="444"/>
                  </a:lnTo>
                  <a:lnTo>
                    <a:pt x="1167" y="446"/>
                  </a:lnTo>
                  <a:lnTo>
                    <a:pt x="1168" y="446"/>
                  </a:lnTo>
                  <a:lnTo>
                    <a:pt x="1168" y="448"/>
                  </a:lnTo>
                  <a:lnTo>
                    <a:pt x="1168" y="446"/>
                  </a:lnTo>
                  <a:lnTo>
                    <a:pt x="1167" y="448"/>
                  </a:lnTo>
                  <a:lnTo>
                    <a:pt x="1168" y="448"/>
                  </a:lnTo>
                  <a:lnTo>
                    <a:pt x="1167" y="448"/>
                  </a:lnTo>
                  <a:lnTo>
                    <a:pt x="1167" y="449"/>
                  </a:lnTo>
                  <a:lnTo>
                    <a:pt x="1165" y="449"/>
                  </a:lnTo>
                  <a:lnTo>
                    <a:pt x="1165" y="451"/>
                  </a:lnTo>
                  <a:lnTo>
                    <a:pt x="1163" y="452"/>
                  </a:lnTo>
                  <a:lnTo>
                    <a:pt x="1165" y="452"/>
                  </a:lnTo>
                  <a:lnTo>
                    <a:pt x="1163" y="452"/>
                  </a:lnTo>
                  <a:lnTo>
                    <a:pt x="1162" y="452"/>
                  </a:lnTo>
                  <a:lnTo>
                    <a:pt x="1163" y="451"/>
                  </a:lnTo>
                  <a:lnTo>
                    <a:pt x="1162" y="451"/>
                  </a:lnTo>
                  <a:lnTo>
                    <a:pt x="1162" y="452"/>
                  </a:lnTo>
                  <a:lnTo>
                    <a:pt x="1162" y="451"/>
                  </a:lnTo>
                  <a:lnTo>
                    <a:pt x="1162" y="452"/>
                  </a:lnTo>
                  <a:lnTo>
                    <a:pt x="1162" y="451"/>
                  </a:lnTo>
                  <a:lnTo>
                    <a:pt x="1162" y="452"/>
                  </a:lnTo>
                  <a:lnTo>
                    <a:pt x="1160" y="452"/>
                  </a:lnTo>
                  <a:lnTo>
                    <a:pt x="1160" y="451"/>
                  </a:lnTo>
                  <a:lnTo>
                    <a:pt x="1162" y="451"/>
                  </a:lnTo>
                  <a:lnTo>
                    <a:pt x="1162" y="448"/>
                  </a:lnTo>
                  <a:lnTo>
                    <a:pt x="1160" y="448"/>
                  </a:lnTo>
                  <a:lnTo>
                    <a:pt x="1162" y="448"/>
                  </a:lnTo>
                  <a:lnTo>
                    <a:pt x="1162" y="449"/>
                  </a:lnTo>
                  <a:lnTo>
                    <a:pt x="1162" y="451"/>
                  </a:lnTo>
                  <a:lnTo>
                    <a:pt x="1160" y="451"/>
                  </a:lnTo>
                  <a:lnTo>
                    <a:pt x="1160" y="452"/>
                  </a:lnTo>
                  <a:lnTo>
                    <a:pt x="1160" y="454"/>
                  </a:lnTo>
                  <a:lnTo>
                    <a:pt x="1160" y="456"/>
                  </a:lnTo>
                  <a:lnTo>
                    <a:pt x="1158" y="456"/>
                  </a:lnTo>
                  <a:lnTo>
                    <a:pt x="1157" y="456"/>
                  </a:lnTo>
                  <a:lnTo>
                    <a:pt x="1157" y="454"/>
                  </a:lnTo>
                  <a:lnTo>
                    <a:pt x="1157" y="456"/>
                  </a:lnTo>
                  <a:lnTo>
                    <a:pt x="1157" y="454"/>
                  </a:lnTo>
                  <a:lnTo>
                    <a:pt x="1157" y="452"/>
                  </a:lnTo>
                  <a:lnTo>
                    <a:pt x="1157" y="454"/>
                  </a:lnTo>
                  <a:lnTo>
                    <a:pt x="1155" y="454"/>
                  </a:lnTo>
                  <a:lnTo>
                    <a:pt x="1157" y="454"/>
                  </a:lnTo>
                  <a:lnTo>
                    <a:pt x="1157" y="456"/>
                  </a:lnTo>
                  <a:lnTo>
                    <a:pt x="1155" y="456"/>
                  </a:lnTo>
                  <a:lnTo>
                    <a:pt x="1157" y="456"/>
                  </a:lnTo>
                  <a:lnTo>
                    <a:pt x="1155" y="457"/>
                  </a:lnTo>
                  <a:lnTo>
                    <a:pt x="1155" y="456"/>
                  </a:lnTo>
                  <a:lnTo>
                    <a:pt x="1154" y="459"/>
                  </a:lnTo>
                  <a:lnTo>
                    <a:pt x="1154" y="457"/>
                  </a:lnTo>
                  <a:lnTo>
                    <a:pt x="1154" y="456"/>
                  </a:lnTo>
                  <a:lnTo>
                    <a:pt x="1154" y="457"/>
                  </a:lnTo>
                  <a:lnTo>
                    <a:pt x="1154" y="456"/>
                  </a:lnTo>
                  <a:lnTo>
                    <a:pt x="1154" y="454"/>
                  </a:lnTo>
                  <a:lnTo>
                    <a:pt x="1154" y="452"/>
                  </a:lnTo>
                  <a:lnTo>
                    <a:pt x="1155" y="452"/>
                  </a:lnTo>
                  <a:lnTo>
                    <a:pt x="1154" y="451"/>
                  </a:lnTo>
                  <a:lnTo>
                    <a:pt x="1154" y="452"/>
                  </a:lnTo>
                  <a:lnTo>
                    <a:pt x="1154" y="451"/>
                  </a:lnTo>
                  <a:lnTo>
                    <a:pt x="1154" y="452"/>
                  </a:lnTo>
                  <a:lnTo>
                    <a:pt x="1154" y="454"/>
                  </a:lnTo>
                  <a:lnTo>
                    <a:pt x="1152" y="456"/>
                  </a:lnTo>
                  <a:lnTo>
                    <a:pt x="1154" y="454"/>
                  </a:lnTo>
                  <a:lnTo>
                    <a:pt x="1154" y="456"/>
                  </a:lnTo>
                  <a:lnTo>
                    <a:pt x="1154" y="454"/>
                  </a:lnTo>
                  <a:lnTo>
                    <a:pt x="1152" y="456"/>
                  </a:lnTo>
                  <a:lnTo>
                    <a:pt x="1152" y="457"/>
                  </a:lnTo>
                  <a:lnTo>
                    <a:pt x="1152" y="456"/>
                  </a:lnTo>
                  <a:lnTo>
                    <a:pt x="1152" y="457"/>
                  </a:lnTo>
                  <a:lnTo>
                    <a:pt x="1152" y="459"/>
                  </a:lnTo>
                  <a:lnTo>
                    <a:pt x="1150" y="459"/>
                  </a:lnTo>
                  <a:lnTo>
                    <a:pt x="1150" y="461"/>
                  </a:lnTo>
                  <a:lnTo>
                    <a:pt x="1150" y="459"/>
                  </a:lnTo>
                  <a:lnTo>
                    <a:pt x="1150" y="461"/>
                  </a:lnTo>
                  <a:lnTo>
                    <a:pt x="1150" y="459"/>
                  </a:lnTo>
                  <a:lnTo>
                    <a:pt x="1150" y="461"/>
                  </a:lnTo>
                  <a:lnTo>
                    <a:pt x="1150" y="459"/>
                  </a:lnTo>
                  <a:lnTo>
                    <a:pt x="1149" y="459"/>
                  </a:lnTo>
                  <a:lnTo>
                    <a:pt x="1149" y="457"/>
                  </a:lnTo>
                  <a:lnTo>
                    <a:pt x="1149" y="456"/>
                  </a:lnTo>
                  <a:lnTo>
                    <a:pt x="1149" y="457"/>
                  </a:lnTo>
                  <a:lnTo>
                    <a:pt x="1149" y="456"/>
                  </a:lnTo>
                  <a:lnTo>
                    <a:pt x="1149" y="454"/>
                  </a:lnTo>
                  <a:lnTo>
                    <a:pt x="1147" y="454"/>
                  </a:lnTo>
                  <a:lnTo>
                    <a:pt x="1147" y="452"/>
                  </a:lnTo>
                  <a:lnTo>
                    <a:pt x="1147" y="454"/>
                  </a:lnTo>
                  <a:lnTo>
                    <a:pt x="1147" y="456"/>
                  </a:lnTo>
                  <a:lnTo>
                    <a:pt x="1147" y="457"/>
                  </a:lnTo>
                  <a:lnTo>
                    <a:pt x="1145" y="457"/>
                  </a:lnTo>
                  <a:lnTo>
                    <a:pt x="1147" y="457"/>
                  </a:lnTo>
                  <a:lnTo>
                    <a:pt x="1147" y="459"/>
                  </a:lnTo>
                  <a:lnTo>
                    <a:pt x="1147" y="457"/>
                  </a:lnTo>
                  <a:lnTo>
                    <a:pt x="1147" y="459"/>
                  </a:lnTo>
                  <a:lnTo>
                    <a:pt x="1147" y="461"/>
                  </a:lnTo>
                  <a:lnTo>
                    <a:pt x="1145" y="461"/>
                  </a:lnTo>
                  <a:lnTo>
                    <a:pt x="1147" y="459"/>
                  </a:lnTo>
                  <a:lnTo>
                    <a:pt x="1145" y="459"/>
                  </a:lnTo>
                  <a:lnTo>
                    <a:pt x="1145" y="461"/>
                  </a:lnTo>
                  <a:lnTo>
                    <a:pt x="1145" y="462"/>
                  </a:lnTo>
                  <a:lnTo>
                    <a:pt x="1145" y="461"/>
                  </a:lnTo>
                  <a:lnTo>
                    <a:pt x="1147" y="462"/>
                  </a:lnTo>
                  <a:lnTo>
                    <a:pt x="1145" y="462"/>
                  </a:lnTo>
                  <a:lnTo>
                    <a:pt x="1145" y="464"/>
                  </a:lnTo>
                  <a:lnTo>
                    <a:pt x="1144" y="464"/>
                  </a:lnTo>
                  <a:lnTo>
                    <a:pt x="1144" y="465"/>
                  </a:lnTo>
                  <a:lnTo>
                    <a:pt x="1144" y="464"/>
                  </a:lnTo>
                  <a:lnTo>
                    <a:pt x="1144" y="465"/>
                  </a:lnTo>
                  <a:lnTo>
                    <a:pt x="1142" y="465"/>
                  </a:lnTo>
                  <a:lnTo>
                    <a:pt x="1141" y="465"/>
                  </a:lnTo>
                  <a:lnTo>
                    <a:pt x="1141" y="467"/>
                  </a:lnTo>
                  <a:lnTo>
                    <a:pt x="1141" y="469"/>
                  </a:lnTo>
                  <a:lnTo>
                    <a:pt x="1139" y="467"/>
                  </a:lnTo>
                  <a:lnTo>
                    <a:pt x="1139" y="469"/>
                  </a:lnTo>
                  <a:lnTo>
                    <a:pt x="1137" y="469"/>
                  </a:lnTo>
                  <a:lnTo>
                    <a:pt x="1137" y="467"/>
                  </a:lnTo>
                  <a:lnTo>
                    <a:pt x="1136" y="469"/>
                  </a:lnTo>
                  <a:lnTo>
                    <a:pt x="1136" y="467"/>
                  </a:lnTo>
                  <a:lnTo>
                    <a:pt x="1136" y="469"/>
                  </a:lnTo>
                  <a:lnTo>
                    <a:pt x="1136" y="467"/>
                  </a:lnTo>
                  <a:lnTo>
                    <a:pt x="1134" y="469"/>
                  </a:lnTo>
                  <a:lnTo>
                    <a:pt x="1134" y="467"/>
                  </a:lnTo>
                  <a:lnTo>
                    <a:pt x="1136" y="467"/>
                  </a:lnTo>
                  <a:lnTo>
                    <a:pt x="1136" y="465"/>
                  </a:lnTo>
                  <a:lnTo>
                    <a:pt x="1136" y="467"/>
                  </a:lnTo>
                  <a:lnTo>
                    <a:pt x="1134" y="467"/>
                  </a:lnTo>
                  <a:lnTo>
                    <a:pt x="1136" y="465"/>
                  </a:lnTo>
                  <a:lnTo>
                    <a:pt x="1134" y="465"/>
                  </a:lnTo>
                  <a:lnTo>
                    <a:pt x="1136" y="464"/>
                  </a:lnTo>
                  <a:lnTo>
                    <a:pt x="1134" y="464"/>
                  </a:lnTo>
                  <a:lnTo>
                    <a:pt x="1134" y="462"/>
                  </a:lnTo>
                  <a:lnTo>
                    <a:pt x="1134" y="461"/>
                  </a:lnTo>
                  <a:lnTo>
                    <a:pt x="1136" y="461"/>
                  </a:lnTo>
                  <a:lnTo>
                    <a:pt x="1136" y="459"/>
                  </a:lnTo>
                  <a:lnTo>
                    <a:pt x="1136" y="457"/>
                  </a:lnTo>
                  <a:lnTo>
                    <a:pt x="1134" y="457"/>
                  </a:lnTo>
                  <a:lnTo>
                    <a:pt x="1134" y="459"/>
                  </a:lnTo>
                  <a:lnTo>
                    <a:pt x="1132" y="459"/>
                  </a:lnTo>
                  <a:lnTo>
                    <a:pt x="1132" y="461"/>
                  </a:lnTo>
                  <a:lnTo>
                    <a:pt x="1132" y="459"/>
                  </a:lnTo>
                  <a:lnTo>
                    <a:pt x="1132" y="457"/>
                  </a:lnTo>
                  <a:lnTo>
                    <a:pt x="1134" y="457"/>
                  </a:lnTo>
                  <a:lnTo>
                    <a:pt x="1132" y="457"/>
                  </a:lnTo>
                  <a:lnTo>
                    <a:pt x="1131" y="457"/>
                  </a:lnTo>
                  <a:lnTo>
                    <a:pt x="1131" y="456"/>
                  </a:lnTo>
                  <a:lnTo>
                    <a:pt x="1132" y="454"/>
                  </a:lnTo>
                  <a:lnTo>
                    <a:pt x="1134" y="456"/>
                  </a:lnTo>
                  <a:lnTo>
                    <a:pt x="1134" y="454"/>
                  </a:lnTo>
                  <a:lnTo>
                    <a:pt x="1136" y="456"/>
                  </a:lnTo>
                  <a:lnTo>
                    <a:pt x="1136" y="454"/>
                  </a:lnTo>
                  <a:lnTo>
                    <a:pt x="1134" y="454"/>
                  </a:lnTo>
                  <a:lnTo>
                    <a:pt x="1134" y="452"/>
                  </a:lnTo>
                  <a:lnTo>
                    <a:pt x="1134" y="451"/>
                  </a:lnTo>
                  <a:lnTo>
                    <a:pt x="1136" y="451"/>
                  </a:lnTo>
                  <a:lnTo>
                    <a:pt x="1136" y="449"/>
                  </a:lnTo>
                  <a:lnTo>
                    <a:pt x="1136" y="451"/>
                  </a:lnTo>
                  <a:lnTo>
                    <a:pt x="1137" y="449"/>
                  </a:lnTo>
                  <a:lnTo>
                    <a:pt x="1137" y="451"/>
                  </a:lnTo>
                  <a:lnTo>
                    <a:pt x="1137" y="449"/>
                  </a:lnTo>
                  <a:lnTo>
                    <a:pt x="1139" y="449"/>
                  </a:lnTo>
                  <a:lnTo>
                    <a:pt x="1139" y="451"/>
                  </a:lnTo>
                  <a:lnTo>
                    <a:pt x="1139" y="449"/>
                  </a:lnTo>
                  <a:lnTo>
                    <a:pt x="1139" y="451"/>
                  </a:lnTo>
                  <a:lnTo>
                    <a:pt x="1139" y="449"/>
                  </a:lnTo>
                  <a:lnTo>
                    <a:pt x="1141" y="449"/>
                  </a:lnTo>
                  <a:lnTo>
                    <a:pt x="1142" y="449"/>
                  </a:lnTo>
                  <a:lnTo>
                    <a:pt x="1141" y="449"/>
                  </a:lnTo>
                  <a:lnTo>
                    <a:pt x="1141" y="448"/>
                  </a:lnTo>
                  <a:lnTo>
                    <a:pt x="1141" y="449"/>
                  </a:lnTo>
                  <a:lnTo>
                    <a:pt x="1139" y="449"/>
                  </a:lnTo>
                  <a:lnTo>
                    <a:pt x="1139" y="448"/>
                  </a:lnTo>
                  <a:close/>
                  <a:moveTo>
                    <a:pt x="1228" y="405"/>
                  </a:moveTo>
                  <a:lnTo>
                    <a:pt x="1230" y="405"/>
                  </a:lnTo>
                  <a:lnTo>
                    <a:pt x="1232" y="405"/>
                  </a:lnTo>
                  <a:lnTo>
                    <a:pt x="1233" y="407"/>
                  </a:lnTo>
                  <a:lnTo>
                    <a:pt x="1235" y="409"/>
                  </a:lnTo>
                  <a:lnTo>
                    <a:pt x="1236" y="409"/>
                  </a:lnTo>
                  <a:lnTo>
                    <a:pt x="1238" y="410"/>
                  </a:lnTo>
                  <a:lnTo>
                    <a:pt x="1238" y="409"/>
                  </a:lnTo>
                  <a:lnTo>
                    <a:pt x="1240" y="409"/>
                  </a:lnTo>
                  <a:lnTo>
                    <a:pt x="1240" y="410"/>
                  </a:lnTo>
                  <a:lnTo>
                    <a:pt x="1241" y="410"/>
                  </a:lnTo>
                  <a:lnTo>
                    <a:pt x="1243" y="410"/>
                  </a:lnTo>
                  <a:lnTo>
                    <a:pt x="1243" y="409"/>
                  </a:lnTo>
                  <a:lnTo>
                    <a:pt x="1241" y="409"/>
                  </a:lnTo>
                  <a:lnTo>
                    <a:pt x="1243" y="407"/>
                  </a:lnTo>
                  <a:lnTo>
                    <a:pt x="1243" y="409"/>
                  </a:lnTo>
                  <a:lnTo>
                    <a:pt x="1245" y="409"/>
                  </a:lnTo>
                  <a:lnTo>
                    <a:pt x="1245" y="410"/>
                  </a:lnTo>
                  <a:lnTo>
                    <a:pt x="1246" y="412"/>
                  </a:lnTo>
                  <a:lnTo>
                    <a:pt x="1246" y="413"/>
                  </a:lnTo>
                  <a:lnTo>
                    <a:pt x="1245" y="413"/>
                  </a:lnTo>
                  <a:lnTo>
                    <a:pt x="1246" y="415"/>
                  </a:lnTo>
                  <a:lnTo>
                    <a:pt x="1246" y="417"/>
                  </a:lnTo>
                  <a:lnTo>
                    <a:pt x="1248" y="417"/>
                  </a:lnTo>
                  <a:lnTo>
                    <a:pt x="1246" y="418"/>
                  </a:lnTo>
                  <a:lnTo>
                    <a:pt x="1245" y="420"/>
                  </a:lnTo>
                  <a:lnTo>
                    <a:pt x="1243" y="420"/>
                  </a:lnTo>
                  <a:lnTo>
                    <a:pt x="1245" y="420"/>
                  </a:lnTo>
                  <a:lnTo>
                    <a:pt x="1243" y="422"/>
                  </a:lnTo>
                  <a:lnTo>
                    <a:pt x="1241" y="420"/>
                  </a:lnTo>
                  <a:lnTo>
                    <a:pt x="1240" y="420"/>
                  </a:lnTo>
                  <a:lnTo>
                    <a:pt x="1238" y="420"/>
                  </a:lnTo>
                  <a:lnTo>
                    <a:pt x="1236" y="420"/>
                  </a:lnTo>
                  <a:lnTo>
                    <a:pt x="1236" y="418"/>
                  </a:lnTo>
                  <a:lnTo>
                    <a:pt x="1235" y="417"/>
                  </a:lnTo>
                  <a:lnTo>
                    <a:pt x="1233" y="417"/>
                  </a:lnTo>
                  <a:lnTo>
                    <a:pt x="1232" y="415"/>
                  </a:lnTo>
                  <a:lnTo>
                    <a:pt x="1232" y="413"/>
                  </a:lnTo>
                  <a:lnTo>
                    <a:pt x="1230" y="412"/>
                  </a:lnTo>
                  <a:lnTo>
                    <a:pt x="1228" y="412"/>
                  </a:lnTo>
                  <a:lnTo>
                    <a:pt x="1227" y="412"/>
                  </a:lnTo>
                  <a:lnTo>
                    <a:pt x="1227" y="410"/>
                  </a:lnTo>
                  <a:lnTo>
                    <a:pt x="1227" y="409"/>
                  </a:lnTo>
                  <a:lnTo>
                    <a:pt x="1227" y="407"/>
                  </a:lnTo>
                  <a:lnTo>
                    <a:pt x="1227" y="405"/>
                  </a:lnTo>
                  <a:lnTo>
                    <a:pt x="1228" y="405"/>
                  </a:lnTo>
                  <a:close/>
                  <a:moveTo>
                    <a:pt x="1167" y="405"/>
                  </a:moveTo>
                  <a:lnTo>
                    <a:pt x="1165" y="405"/>
                  </a:lnTo>
                  <a:lnTo>
                    <a:pt x="1167" y="405"/>
                  </a:lnTo>
                  <a:close/>
                  <a:moveTo>
                    <a:pt x="1232" y="404"/>
                  </a:moveTo>
                  <a:lnTo>
                    <a:pt x="1233" y="404"/>
                  </a:lnTo>
                  <a:lnTo>
                    <a:pt x="1232" y="404"/>
                  </a:lnTo>
                  <a:close/>
                  <a:moveTo>
                    <a:pt x="1240" y="402"/>
                  </a:moveTo>
                  <a:lnTo>
                    <a:pt x="1240" y="404"/>
                  </a:lnTo>
                  <a:lnTo>
                    <a:pt x="1240" y="402"/>
                  </a:lnTo>
                  <a:close/>
                  <a:moveTo>
                    <a:pt x="1232" y="402"/>
                  </a:moveTo>
                  <a:lnTo>
                    <a:pt x="1233" y="402"/>
                  </a:lnTo>
                  <a:lnTo>
                    <a:pt x="1232" y="402"/>
                  </a:lnTo>
                  <a:close/>
                  <a:moveTo>
                    <a:pt x="1236" y="402"/>
                  </a:moveTo>
                  <a:lnTo>
                    <a:pt x="1235" y="402"/>
                  </a:lnTo>
                  <a:lnTo>
                    <a:pt x="1235" y="400"/>
                  </a:lnTo>
                  <a:lnTo>
                    <a:pt x="1236" y="400"/>
                  </a:lnTo>
                  <a:lnTo>
                    <a:pt x="1236" y="402"/>
                  </a:lnTo>
                  <a:close/>
                  <a:moveTo>
                    <a:pt x="1232" y="402"/>
                  </a:moveTo>
                  <a:lnTo>
                    <a:pt x="1232" y="400"/>
                  </a:lnTo>
                  <a:lnTo>
                    <a:pt x="1232" y="402"/>
                  </a:lnTo>
                  <a:close/>
                  <a:moveTo>
                    <a:pt x="1236" y="400"/>
                  </a:moveTo>
                  <a:lnTo>
                    <a:pt x="1238" y="400"/>
                  </a:lnTo>
                  <a:lnTo>
                    <a:pt x="1240" y="400"/>
                  </a:lnTo>
                  <a:lnTo>
                    <a:pt x="1240" y="402"/>
                  </a:lnTo>
                  <a:lnTo>
                    <a:pt x="1240" y="404"/>
                  </a:lnTo>
                  <a:lnTo>
                    <a:pt x="1241" y="404"/>
                  </a:lnTo>
                  <a:lnTo>
                    <a:pt x="1243" y="404"/>
                  </a:lnTo>
                  <a:lnTo>
                    <a:pt x="1243" y="405"/>
                  </a:lnTo>
                  <a:lnTo>
                    <a:pt x="1241" y="405"/>
                  </a:lnTo>
                  <a:lnTo>
                    <a:pt x="1240" y="405"/>
                  </a:lnTo>
                  <a:lnTo>
                    <a:pt x="1238" y="405"/>
                  </a:lnTo>
                  <a:lnTo>
                    <a:pt x="1236" y="405"/>
                  </a:lnTo>
                  <a:lnTo>
                    <a:pt x="1236" y="407"/>
                  </a:lnTo>
                  <a:lnTo>
                    <a:pt x="1236" y="405"/>
                  </a:lnTo>
                  <a:lnTo>
                    <a:pt x="1235" y="405"/>
                  </a:lnTo>
                  <a:lnTo>
                    <a:pt x="1235" y="404"/>
                  </a:lnTo>
                  <a:lnTo>
                    <a:pt x="1236" y="404"/>
                  </a:lnTo>
                  <a:lnTo>
                    <a:pt x="1236" y="402"/>
                  </a:lnTo>
                  <a:lnTo>
                    <a:pt x="1236" y="400"/>
                  </a:lnTo>
                  <a:close/>
                  <a:moveTo>
                    <a:pt x="1168" y="400"/>
                  </a:moveTo>
                  <a:lnTo>
                    <a:pt x="1168" y="399"/>
                  </a:lnTo>
                  <a:lnTo>
                    <a:pt x="1168" y="400"/>
                  </a:lnTo>
                  <a:close/>
                  <a:moveTo>
                    <a:pt x="1236" y="400"/>
                  </a:moveTo>
                  <a:lnTo>
                    <a:pt x="1236" y="399"/>
                  </a:lnTo>
                  <a:lnTo>
                    <a:pt x="1236" y="400"/>
                  </a:lnTo>
                  <a:lnTo>
                    <a:pt x="1238" y="399"/>
                  </a:lnTo>
                  <a:lnTo>
                    <a:pt x="1236" y="400"/>
                  </a:lnTo>
                  <a:close/>
                  <a:moveTo>
                    <a:pt x="1236" y="399"/>
                  </a:moveTo>
                  <a:lnTo>
                    <a:pt x="1238" y="399"/>
                  </a:lnTo>
                  <a:lnTo>
                    <a:pt x="1236" y="399"/>
                  </a:lnTo>
                  <a:close/>
                  <a:moveTo>
                    <a:pt x="1256" y="399"/>
                  </a:moveTo>
                  <a:lnTo>
                    <a:pt x="1258" y="399"/>
                  </a:lnTo>
                  <a:lnTo>
                    <a:pt x="1256" y="399"/>
                  </a:lnTo>
                  <a:close/>
                  <a:moveTo>
                    <a:pt x="1238" y="399"/>
                  </a:moveTo>
                  <a:lnTo>
                    <a:pt x="1240" y="399"/>
                  </a:lnTo>
                  <a:lnTo>
                    <a:pt x="1241" y="399"/>
                  </a:lnTo>
                  <a:lnTo>
                    <a:pt x="1241" y="400"/>
                  </a:lnTo>
                  <a:lnTo>
                    <a:pt x="1240" y="400"/>
                  </a:lnTo>
                  <a:lnTo>
                    <a:pt x="1238" y="400"/>
                  </a:lnTo>
                  <a:lnTo>
                    <a:pt x="1238" y="399"/>
                  </a:lnTo>
                  <a:lnTo>
                    <a:pt x="1238" y="400"/>
                  </a:lnTo>
                  <a:lnTo>
                    <a:pt x="1238" y="399"/>
                  </a:lnTo>
                  <a:close/>
                  <a:moveTo>
                    <a:pt x="1235" y="399"/>
                  </a:moveTo>
                  <a:lnTo>
                    <a:pt x="1236" y="397"/>
                  </a:lnTo>
                  <a:lnTo>
                    <a:pt x="1236" y="399"/>
                  </a:lnTo>
                  <a:lnTo>
                    <a:pt x="1235" y="399"/>
                  </a:lnTo>
                  <a:close/>
                  <a:moveTo>
                    <a:pt x="1232" y="399"/>
                  </a:moveTo>
                  <a:lnTo>
                    <a:pt x="1232" y="397"/>
                  </a:lnTo>
                  <a:lnTo>
                    <a:pt x="1232" y="399"/>
                  </a:lnTo>
                  <a:close/>
                  <a:moveTo>
                    <a:pt x="1258" y="399"/>
                  </a:moveTo>
                  <a:lnTo>
                    <a:pt x="1258" y="397"/>
                  </a:lnTo>
                  <a:lnTo>
                    <a:pt x="1258" y="399"/>
                  </a:lnTo>
                  <a:close/>
                  <a:moveTo>
                    <a:pt x="1230" y="396"/>
                  </a:moveTo>
                  <a:lnTo>
                    <a:pt x="1230" y="397"/>
                  </a:lnTo>
                  <a:lnTo>
                    <a:pt x="1230" y="396"/>
                  </a:lnTo>
                  <a:close/>
                  <a:moveTo>
                    <a:pt x="1228" y="397"/>
                  </a:moveTo>
                  <a:lnTo>
                    <a:pt x="1228" y="396"/>
                  </a:lnTo>
                  <a:lnTo>
                    <a:pt x="1228" y="397"/>
                  </a:lnTo>
                  <a:close/>
                  <a:moveTo>
                    <a:pt x="1258" y="397"/>
                  </a:moveTo>
                  <a:lnTo>
                    <a:pt x="1259" y="396"/>
                  </a:lnTo>
                  <a:lnTo>
                    <a:pt x="1259" y="397"/>
                  </a:lnTo>
                  <a:lnTo>
                    <a:pt x="1258" y="397"/>
                  </a:lnTo>
                  <a:lnTo>
                    <a:pt x="1258" y="399"/>
                  </a:lnTo>
                  <a:lnTo>
                    <a:pt x="1258" y="397"/>
                  </a:lnTo>
                  <a:lnTo>
                    <a:pt x="1256" y="397"/>
                  </a:lnTo>
                  <a:lnTo>
                    <a:pt x="1258" y="397"/>
                  </a:lnTo>
                  <a:close/>
                  <a:moveTo>
                    <a:pt x="1259" y="396"/>
                  </a:moveTo>
                  <a:lnTo>
                    <a:pt x="1261" y="396"/>
                  </a:lnTo>
                  <a:lnTo>
                    <a:pt x="1259" y="396"/>
                  </a:lnTo>
                  <a:close/>
                  <a:moveTo>
                    <a:pt x="1236" y="396"/>
                  </a:moveTo>
                  <a:lnTo>
                    <a:pt x="1236" y="397"/>
                  </a:lnTo>
                  <a:lnTo>
                    <a:pt x="1238" y="396"/>
                  </a:lnTo>
                  <a:lnTo>
                    <a:pt x="1238" y="397"/>
                  </a:lnTo>
                  <a:lnTo>
                    <a:pt x="1236" y="397"/>
                  </a:lnTo>
                  <a:lnTo>
                    <a:pt x="1236" y="399"/>
                  </a:lnTo>
                  <a:lnTo>
                    <a:pt x="1236" y="397"/>
                  </a:lnTo>
                  <a:lnTo>
                    <a:pt x="1236" y="396"/>
                  </a:lnTo>
                  <a:close/>
                  <a:moveTo>
                    <a:pt x="1277" y="396"/>
                  </a:moveTo>
                  <a:lnTo>
                    <a:pt x="1277" y="397"/>
                  </a:lnTo>
                  <a:lnTo>
                    <a:pt x="1277" y="396"/>
                  </a:lnTo>
                  <a:close/>
                  <a:moveTo>
                    <a:pt x="1251" y="394"/>
                  </a:moveTo>
                  <a:lnTo>
                    <a:pt x="1253" y="394"/>
                  </a:lnTo>
                  <a:lnTo>
                    <a:pt x="1251" y="394"/>
                  </a:lnTo>
                  <a:close/>
                  <a:moveTo>
                    <a:pt x="1238" y="394"/>
                  </a:moveTo>
                  <a:lnTo>
                    <a:pt x="1240" y="394"/>
                  </a:lnTo>
                  <a:lnTo>
                    <a:pt x="1238" y="394"/>
                  </a:lnTo>
                  <a:close/>
                  <a:moveTo>
                    <a:pt x="1238" y="394"/>
                  </a:moveTo>
                  <a:lnTo>
                    <a:pt x="1240" y="394"/>
                  </a:lnTo>
                  <a:lnTo>
                    <a:pt x="1240" y="396"/>
                  </a:lnTo>
                  <a:lnTo>
                    <a:pt x="1238" y="396"/>
                  </a:lnTo>
                  <a:lnTo>
                    <a:pt x="1238" y="394"/>
                  </a:lnTo>
                  <a:lnTo>
                    <a:pt x="1238" y="396"/>
                  </a:lnTo>
                  <a:lnTo>
                    <a:pt x="1238" y="394"/>
                  </a:lnTo>
                  <a:close/>
                  <a:moveTo>
                    <a:pt x="1266" y="394"/>
                  </a:moveTo>
                  <a:lnTo>
                    <a:pt x="1264" y="394"/>
                  </a:lnTo>
                  <a:lnTo>
                    <a:pt x="1266" y="394"/>
                  </a:lnTo>
                  <a:close/>
                  <a:moveTo>
                    <a:pt x="1289" y="394"/>
                  </a:moveTo>
                  <a:lnTo>
                    <a:pt x="1289" y="392"/>
                  </a:lnTo>
                  <a:lnTo>
                    <a:pt x="1289" y="394"/>
                  </a:lnTo>
                  <a:close/>
                  <a:moveTo>
                    <a:pt x="1238" y="392"/>
                  </a:moveTo>
                  <a:lnTo>
                    <a:pt x="1238" y="394"/>
                  </a:lnTo>
                  <a:lnTo>
                    <a:pt x="1238" y="392"/>
                  </a:lnTo>
                  <a:lnTo>
                    <a:pt x="1238" y="394"/>
                  </a:lnTo>
                  <a:lnTo>
                    <a:pt x="1238" y="392"/>
                  </a:lnTo>
                  <a:close/>
                  <a:moveTo>
                    <a:pt x="1188" y="392"/>
                  </a:moveTo>
                  <a:lnTo>
                    <a:pt x="1189" y="392"/>
                  </a:lnTo>
                  <a:lnTo>
                    <a:pt x="1188" y="392"/>
                  </a:lnTo>
                  <a:close/>
                  <a:moveTo>
                    <a:pt x="1238" y="392"/>
                  </a:moveTo>
                  <a:lnTo>
                    <a:pt x="1236" y="394"/>
                  </a:lnTo>
                  <a:lnTo>
                    <a:pt x="1236" y="392"/>
                  </a:lnTo>
                  <a:lnTo>
                    <a:pt x="1238" y="392"/>
                  </a:lnTo>
                  <a:close/>
                  <a:moveTo>
                    <a:pt x="1236" y="392"/>
                  </a:moveTo>
                  <a:lnTo>
                    <a:pt x="1235" y="392"/>
                  </a:lnTo>
                  <a:lnTo>
                    <a:pt x="1236" y="392"/>
                  </a:lnTo>
                  <a:close/>
                  <a:moveTo>
                    <a:pt x="1235" y="392"/>
                  </a:moveTo>
                  <a:lnTo>
                    <a:pt x="1235" y="391"/>
                  </a:lnTo>
                  <a:lnTo>
                    <a:pt x="1235" y="392"/>
                  </a:lnTo>
                  <a:close/>
                  <a:moveTo>
                    <a:pt x="1188" y="391"/>
                  </a:moveTo>
                  <a:lnTo>
                    <a:pt x="1189" y="392"/>
                  </a:lnTo>
                  <a:lnTo>
                    <a:pt x="1188" y="392"/>
                  </a:lnTo>
                  <a:lnTo>
                    <a:pt x="1188" y="391"/>
                  </a:lnTo>
                  <a:close/>
                  <a:moveTo>
                    <a:pt x="1236" y="392"/>
                  </a:moveTo>
                  <a:lnTo>
                    <a:pt x="1236" y="391"/>
                  </a:lnTo>
                  <a:lnTo>
                    <a:pt x="1236" y="392"/>
                  </a:lnTo>
                  <a:close/>
                  <a:moveTo>
                    <a:pt x="1238" y="391"/>
                  </a:moveTo>
                  <a:lnTo>
                    <a:pt x="1238" y="392"/>
                  </a:lnTo>
                  <a:lnTo>
                    <a:pt x="1238" y="391"/>
                  </a:lnTo>
                  <a:close/>
                  <a:moveTo>
                    <a:pt x="1236" y="392"/>
                  </a:moveTo>
                  <a:lnTo>
                    <a:pt x="1236" y="391"/>
                  </a:lnTo>
                  <a:lnTo>
                    <a:pt x="1238" y="392"/>
                  </a:lnTo>
                  <a:lnTo>
                    <a:pt x="1238" y="391"/>
                  </a:lnTo>
                  <a:lnTo>
                    <a:pt x="1238" y="392"/>
                  </a:lnTo>
                  <a:lnTo>
                    <a:pt x="1236" y="392"/>
                  </a:lnTo>
                  <a:close/>
                  <a:moveTo>
                    <a:pt x="1189" y="391"/>
                  </a:moveTo>
                  <a:lnTo>
                    <a:pt x="1189" y="392"/>
                  </a:lnTo>
                  <a:lnTo>
                    <a:pt x="1189" y="391"/>
                  </a:lnTo>
                  <a:close/>
                  <a:moveTo>
                    <a:pt x="1238" y="391"/>
                  </a:moveTo>
                  <a:lnTo>
                    <a:pt x="1238" y="392"/>
                  </a:lnTo>
                  <a:lnTo>
                    <a:pt x="1238" y="391"/>
                  </a:lnTo>
                  <a:close/>
                  <a:moveTo>
                    <a:pt x="1235" y="391"/>
                  </a:moveTo>
                  <a:lnTo>
                    <a:pt x="1236" y="391"/>
                  </a:lnTo>
                  <a:lnTo>
                    <a:pt x="1235" y="391"/>
                  </a:lnTo>
                  <a:close/>
                  <a:moveTo>
                    <a:pt x="1263" y="391"/>
                  </a:moveTo>
                  <a:lnTo>
                    <a:pt x="1264" y="391"/>
                  </a:lnTo>
                  <a:lnTo>
                    <a:pt x="1263" y="391"/>
                  </a:lnTo>
                  <a:close/>
                  <a:moveTo>
                    <a:pt x="1238" y="391"/>
                  </a:moveTo>
                  <a:lnTo>
                    <a:pt x="1238" y="389"/>
                  </a:lnTo>
                  <a:lnTo>
                    <a:pt x="1238" y="391"/>
                  </a:lnTo>
                  <a:close/>
                  <a:moveTo>
                    <a:pt x="1277" y="391"/>
                  </a:moveTo>
                  <a:lnTo>
                    <a:pt x="1276" y="391"/>
                  </a:lnTo>
                  <a:lnTo>
                    <a:pt x="1277" y="389"/>
                  </a:lnTo>
                  <a:lnTo>
                    <a:pt x="1277" y="391"/>
                  </a:lnTo>
                  <a:close/>
                  <a:moveTo>
                    <a:pt x="1274" y="389"/>
                  </a:moveTo>
                  <a:lnTo>
                    <a:pt x="1274" y="387"/>
                  </a:lnTo>
                  <a:lnTo>
                    <a:pt x="1274" y="389"/>
                  </a:lnTo>
                  <a:close/>
                  <a:moveTo>
                    <a:pt x="1194" y="387"/>
                  </a:moveTo>
                  <a:lnTo>
                    <a:pt x="1193" y="387"/>
                  </a:lnTo>
                  <a:lnTo>
                    <a:pt x="1194" y="387"/>
                  </a:lnTo>
                  <a:close/>
                  <a:moveTo>
                    <a:pt x="1194" y="387"/>
                  </a:moveTo>
                  <a:lnTo>
                    <a:pt x="1194" y="386"/>
                  </a:lnTo>
                  <a:lnTo>
                    <a:pt x="1194" y="387"/>
                  </a:lnTo>
                  <a:close/>
                  <a:moveTo>
                    <a:pt x="1193" y="386"/>
                  </a:moveTo>
                  <a:lnTo>
                    <a:pt x="1194" y="386"/>
                  </a:lnTo>
                  <a:lnTo>
                    <a:pt x="1193" y="386"/>
                  </a:lnTo>
                  <a:close/>
                  <a:moveTo>
                    <a:pt x="1199" y="384"/>
                  </a:moveTo>
                  <a:lnTo>
                    <a:pt x="1199" y="386"/>
                  </a:lnTo>
                  <a:lnTo>
                    <a:pt x="1199" y="384"/>
                  </a:lnTo>
                  <a:close/>
                  <a:moveTo>
                    <a:pt x="1196" y="384"/>
                  </a:moveTo>
                  <a:lnTo>
                    <a:pt x="1197" y="384"/>
                  </a:lnTo>
                  <a:lnTo>
                    <a:pt x="1196" y="384"/>
                  </a:lnTo>
                  <a:close/>
                  <a:moveTo>
                    <a:pt x="1295" y="384"/>
                  </a:moveTo>
                  <a:lnTo>
                    <a:pt x="1295" y="386"/>
                  </a:lnTo>
                  <a:lnTo>
                    <a:pt x="1295" y="384"/>
                  </a:lnTo>
                  <a:close/>
                  <a:moveTo>
                    <a:pt x="1292" y="384"/>
                  </a:moveTo>
                  <a:lnTo>
                    <a:pt x="1293" y="384"/>
                  </a:lnTo>
                  <a:lnTo>
                    <a:pt x="1292" y="386"/>
                  </a:lnTo>
                  <a:lnTo>
                    <a:pt x="1292" y="387"/>
                  </a:lnTo>
                  <a:lnTo>
                    <a:pt x="1292" y="389"/>
                  </a:lnTo>
                  <a:lnTo>
                    <a:pt x="1292" y="391"/>
                  </a:lnTo>
                  <a:lnTo>
                    <a:pt x="1290" y="391"/>
                  </a:lnTo>
                  <a:lnTo>
                    <a:pt x="1290" y="392"/>
                  </a:lnTo>
                  <a:lnTo>
                    <a:pt x="1289" y="392"/>
                  </a:lnTo>
                  <a:lnTo>
                    <a:pt x="1287" y="394"/>
                  </a:lnTo>
                  <a:lnTo>
                    <a:pt x="1287" y="397"/>
                  </a:lnTo>
                  <a:lnTo>
                    <a:pt x="1285" y="399"/>
                  </a:lnTo>
                  <a:lnTo>
                    <a:pt x="1285" y="400"/>
                  </a:lnTo>
                  <a:lnTo>
                    <a:pt x="1284" y="400"/>
                  </a:lnTo>
                  <a:lnTo>
                    <a:pt x="1282" y="400"/>
                  </a:lnTo>
                  <a:lnTo>
                    <a:pt x="1282" y="399"/>
                  </a:lnTo>
                  <a:lnTo>
                    <a:pt x="1282" y="397"/>
                  </a:lnTo>
                  <a:lnTo>
                    <a:pt x="1282" y="396"/>
                  </a:lnTo>
                  <a:lnTo>
                    <a:pt x="1282" y="394"/>
                  </a:lnTo>
                  <a:lnTo>
                    <a:pt x="1282" y="392"/>
                  </a:lnTo>
                  <a:lnTo>
                    <a:pt x="1284" y="391"/>
                  </a:lnTo>
                  <a:lnTo>
                    <a:pt x="1284" y="389"/>
                  </a:lnTo>
                  <a:lnTo>
                    <a:pt x="1284" y="387"/>
                  </a:lnTo>
                  <a:lnTo>
                    <a:pt x="1285" y="386"/>
                  </a:lnTo>
                  <a:lnTo>
                    <a:pt x="1287" y="386"/>
                  </a:lnTo>
                  <a:lnTo>
                    <a:pt x="1289" y="386"/>
                  </a:lnTo>
                  <a:lnTo>
                    <a:pt x="1290" y="386"/>
                  </a:lnTo>
                  <a:lnTo>
                    <a:pt x="1292" y="384"/>
                  </a:lnTo>
                  <a:lnTo>
                    <a:pt x="1293" y="384"/>
                  </a:lnTo>
                  <a:lnTo>
                    <a:pt x="1292" y="384"/>
                  </a:lnTo>
                  <a:close/>
                  <a:moveTo>
                    <a:pt x="1197" y="384"/>
                  </a:moveTo>
                  <a:lnTo>
                    <a:pt x="1199" y="384"/>
                  </a:lnTo>
                  <a:lnTo>
                    <a:pt x="1197" y="384"/>
                  </a:lnTo>
                  <a:close/>
                  <a:moveTo>
                    <a:pt x="1199" y="381"/>
                  </a:moveTo>
                  <a:lnTo>
                    <a:pt x="1199" y="383"/>
                  </a:lnTo>
                  <a:lnTo>
                    <a:pt x="1199" y="381"/>
                  </a:lnTo>
                  <a:close/>
                  <a:moveTo>
                    <a:pt x="1236" y="379"/>
                  </a:moveTo>
                  <a:lnTo>
                    <a:pt x="1236" y="381"/>
                  </a:lnTo>
                  <a:lnTo>
                    <a:pt x="1236" y="379"/>
                  </a:lnTo>
                  <a:close/>
                  <a:moveTo>
                    <a:pt x="1241" y="381"/>
                  </a:moveTo>
                  <a:lnTo>
                    <a:pt x="1241" y="379"/>
                  </a:lnTo>
                  <a:lnTo>
                    <a:pt x="1243" y="381"/>
                  </a:lnTo>
                  <a:lnTo>
                    <a:pt x="1241" y="381"/>
                  </a:lnTo>
                  <a:close/>
                  <a:moveTo>
                    <a:pt x="1236" y="379"/>
                  </a:moveTo>
                  <a:lnTo>
                    <a:pt x="1238" y="379"/>
                  </a:lnTo>
                  <a:lnTo>
                    <a:pt x="1236" y="379"/>
                  </a:lnTo>
                  <a:close/>
                  <a:moveTo>
                    <a:pt x="1254" y="379"/>
                  </a:moveTo>
                  <a:lnTo>
                    <a:pt x="1253" y="379"/>
                  </a:lnTo>
                  <a:lnTo>
                    <a:pt x="1254" y="379"/>
                  </a:lnTo>
                  <a:close/>
                  <a:moveTo>
                    <a:pt x="1254" y="379"/>
                  </a:moveTo>
                  <a:lnTo>
                    <a:pt x="1256" y="379"/>
                  </a:lnTo>
                  <a:lnTo>
                    <a:pt x="1254" y="379"/>
                  </a:lnTo>
                  <a:close/>
                  <a:moveTo>
                    <a:pt x="1285" y="378"/>
                  </a:moveTo>
                  <a:lnTo>
                    <a:pt x="1285" y="379"/>
                  </a:lnTo>
                  <a:lnTo>
                    <a:pt x="1284" y="379"/>
                  </a:lnTo>
                  <a:lnTo>
                    <a:pt x="1282" y="379"/>
                  </a:lnTo>
                  <a:lnTo>
                    <a:pt x="1282" y="378"/>
                  </a:lnTo>
                  <a:lnTo>
                    <a:pt x="1284" y="378"/>
                  </a:lnTo>
                  <a:lnTo>
                    <a:pt x="1285" y="378"/>
                  </a:lnTo>
                  <a:close/>
                  <a:moveTo>
                    <a:pt x="1284" y="378"/>
                  </a:moveTo>
                  <a:lnTo>
                    <a:pt x="1285" y="378"/>
                  </a:lnTo>
                  <a:lnTo>
                    <a:pt x="1284" y="378"/>
                  </a:lnTo>
                  <a:close/>
                  <a:moveTo>
                    <a:pt x="1287" y="378"/>
                  </a:moveTo>
                  <a:lnTo>
                    <a:pt x="1285" y="378"/>
                  </a:lnTo>
                  <a:lnTo>
                    <a:pt x="1287" y="378"/>
                  </a:lnTo>
                  <a:close/>
                  <a:moveTo>
                    <a:pt x="1287" y="378"/>
                  </a:moveTo>
                  <a:lnTo>
                    <a:pt x="1285" y="378"/>
                  </a:lnTo>
                  <a:lnTo>
                    <a:pt x="1287" y="376"/>
                  </a:lnTo>
                  <a:lnTo>
                    <a:pt x="1287" y="378"/>
                  </a:lnTo>
                  <a:close/>
                  <a:moveTo>
                    <a:pt x="1253" y="374"/>
                  </a:moveTo>
                  <a:lnTo>
                    <a:pt x="1251" y="374"/>
                  </a:lnTo>
                  <a:lnTo>
                    <a:pt x="1253" y="374"/>
                  </a:lnTo>
                  <a:close/>
                  <a:moveTo>
                    <a:pt x="1287" y="374"/>
                  </a:moveTo>
                  <a:lnTo>
                    <a:pt x="1287" y="376"/>
                  </a:lnTo>
                  <a:lnTo>
                    <a:pt x="1285" y="376"/>
                  </a:lnTo>
                  <a:lnTo>
                    <a:pt x="1285" y="374"/>
                  </a:lnTo>
                  <a:lnTo>
                    <a:pt x="1287" y="374"/>
                  </a:lnTo>
                  <a:close/>
                  <a:moveTo>
                    <a:pt x="1253" y="374"/>
                  </a:moveTo>
                  <a:lnTo>
                    <a:pt x="1251" y="374"/>
                  </a:lnTo>
                  <a:lnTo>
                    <a:pt x="1253" y="374"/>
                  </a:lnTo>
                  <a:close/>
                  <a:moveTo>
                    <a:pt x="1249" y="365"/>
                  </a:moveTo>
                  <a:lnTo>
                    <a:pt x="1251" y="365"/>
                  </a:lnTo>
                  <a:lnTo>
                    <a:pt x="1249" y="365"/>
                  </a:lnTo>
                  <a:close/>
                  <a:moveTo>
                    <a:pt x="1315" y="365"/>
                  </a:moveTo>
                  <a:lnTo>
                    <a:pt x="1316" y="365"/>
                  </a:lnTo>
                  <a:lnTo>
                    <a:pt x="1315" y="365"/>
                  </a:lnTo>
                  <a:close/>
                  <a:moveTo>
                    <a:pt x="1248" y="363"/>
                  </a:moveTo>
                  <a:lnTo>
                    <a:pt x="1249" y="363"/>
                  </a:lnTo>
                  <a:lnTo>
                    <a:pt x="1249" y="365"/>
                  </a:lnTo>
                  <a:lnTo>
                    <a:pt x="1248" y="365"/>
                  </a:lnTo>
                  <a:lnTo>
                    <a:pt x="1249" y="365"/>
                  </a:lnTo>
                  <a:lnTo>
                    <a:pt x="1248" y="363"/>
                  </a:lnTo>
                  <a:close/>
                  <a:moveTo>
                    <a:pt x="1310" y="363"/>
                  </a:moveTo>
                  <a:lnTo>
                    <a:pt x="1310" y="361"/>
                  </a:lnTo>
                  <a:lnTo>
                    <a:pt x="1310" y="363"/>
                  </a:lnTo>
                  <a:close/>
                  <a:moveTo>
                    <a:pt x="1248" y="360"/>
                  </a:moveTo>
                  <a:lnTo>
                    <a:pt x="1248" y="361"/>
                  </a:lnTo>
                  <a:lnTo>
                    <a:pt x="1248" y="360"/>
                  </a:lnTo>
                  <a:close/>
                  <a:moveTo>
                    <a:pt x="1248" y="360"/>
                  </a:moveTo>
                  <a:lnTo>
                    <a:pt x="1248" y="361"/>
                  </a:lnTo>
                  <a:lnTo>
                    <a:pt x="1248" y="360"/>
                  </a:lnTo>
                  <a:close/>
                  <a:moveTo>
                    <a:pt x="1248" y="361"/>
                  </a:moveTo>
                  <a:lnTo>
                    <a:pt x="1249" y="360"/>
                  </a:lnTo>
                  <a:lnTo>
                    <a:pt x="1249" y="361"/>
                  </a:lnTo>
                  <a:lnTo>
                    <a:pt x="1248" y="361"/>
                  </a:lnTo>
                  <a:close/>
                  <a:moveTo>
                    <a:pt x="1210" y="360"/>
                  </a:moveTo>
                  <a:lnTo>
                    <a:pt x="1210" y="358"/>
                  </a:lnTo>
                  <a:lnTo>
                    <a:pt x="1210" y="360"/>
                  </a:lnTo>
                  <a:close/>
                  <a:moveTo>
                    <a:pt x="1199" y="379"/>
                  </a:moveTo>
                  <a:lnTo>
                    <a:pt x="1201" y="379"/>
                  </a:lnTo>
                  <a:lnTo>
                    <a:pt x="1199" y="379"/>
                  </a:lnTo>
                  <a:lnTo>
                    <a:pt x="1201" y="379"/>
                  </a:lnTo>
                  <a:lnTo>
                    <a:pt x="1201" y="378"/>
                  </a:lnTo>
                  <a:lnTo>
                    <a:pt x="1202" y="378"/>
                  </a:lnTo>
                  <a:lnTo>
                    <a:pt x="1202" y="376"/>
                  </a:lnTo>
                  <a:lnTo>
                    <a:pt x="1202" y="374"/>
                  </a:lnTo>
                  <a:lnTo>
                    <a:pt x="1201" y="374"/>
                  </a:lnTo>
                  <a:lnTo>
                    <a:pt x="1202" y="374"/>
                  </a:lnTo>
                  <a:lnTo>
                    <a:pt x="1202" y="373"/>
                  </a:lnTo>
                  <a:lnTo>
                    <a:pt x="1201" y="373"/>
                  </a:lnTo>
                  <a:lnTo>
                    <a:pt x="1202" y="373"/>
                  </a:lnTo>
                  <a:lnTo>
                    <a:pt x="1202" y="371"/>
                  </a:lnTo>
                  <a:lnTo>
                    <a:pt x="1201" y="371"/>
                  </a:lnTo>
                  <a:lnTo>
                    <a:pt x="1201" y="369"/>
                  </a:lnTo>
                  <a:lnTo>
                    <a:pt x="1201" y="371"/>
                  </a:lnTo>
                  <a:lnTo>
                    <a:pt x="1201" y="369"/>
                  </a:lnTo>
                  <a:lnTo>
                    <a:pt x="1202" y="371"/>
                  </a:lnTo>
                  <a:lnTo>
                    <a:pt x="1202" y="369"/>
                  </a:lnTo>
                  <a:lnTo>
                    <a:pt x="1204" y="369"/>
                  </a:lnTo>
                  <a:lnTo>
                    <a:pt x="1204" y="368"/>
                  </a:lnTo>
                  <a:lnTo>
                    <a:pt x="1206" y="368"/>
                  </a:lnTo>
                  <a:lnTo>
                    <a:pt x="1207" y="366"/>
                  </a:lnTo>
                  <a:lnTo>
                    <a:pt x="1207" y="365"/>
                  </a:lnTo>
                  <a:lnTo>
                    <a:pt x="1207" y="363"/>
                  </a:lnTo>
                  <a:lnTo>
                    <a:pt x="1209" y="363"/>
                  </a:lnTo>
                  <a:lnTo>
                    <a:pt x="1209" y="365"/>
                  </a:lnTo>
                  <a:lnTo>
                    <a:pt x="1210" y="363"/>
                  </a:lnTo>
                  <a:lnTo>
                    <a:pt x="1212" y="361"/>
                  </a:lnTo>
                  <a:lnTo>
                    <a:pt x="1214" y="361"/>
                  </a:lnTo>
                  <a:lnTo>
                    <a:pt x="1214" y="360"/>
                  </a:lnTo>
                  <a:lnTo>
                    <a:pt x="1214" y="358"/>
                  </a:lnTo>
                  <a:lnTo>
                    <a:pt x="1215" y="358"/>
                  </a:lnTo>
                  <a:lnTo>
                    <a:pt x="1215" y="360"/>
                  </a:lnTo>
                  <a:lnTo>
                    <a:pt x="1214" y="360"/>
                  </a:lnTo>
                  <a:lnTo>
                    <a:pt x="1215" y="360"/>
                  </a:lnTo>
                  <a:lnTo>
                    <a:pt x="1215" y="361"/>
                  </a:lnTo>
                  <a:lnTo>
                    <a:pt x="1215" y="363"/>
                  </a:lnTo>
                  <a:lnTo>
                    <a:pt x="1217" y="363"/>
                  </a:lnTo>
                  <a:lnTo>
                    <a:pt x="1217" y="365"/>
                  </a:lnTo>
                  <a:lnTo>
                    <a:pt x="1217" y="366"/>
                  </a:lnTo>
                  <a:lnTo>
                    <a:pt x="1217" y="368"/>
                  </a:lnTo>
                  <a:lnTo>
                    <a:pt x="1217" y="369"/>
                  </a:lnTo>
                  <a:lnTo>
                    <a:pt x="1215" y="371"/>
                  </a:lnTo>
                  <a:lnTo>
                    <a:pt x="1215" y="374"/>
                  </a:lnTo>
                  <a:lnTo>
                    <a:pt x="1214" y="374"/>
                  </a:lnTo>
                  <a:lnTo>
                    <a:pt x="1214" y="376"/>
                  </a:lnTo>
                  <a:lnTo>
                    <a:pt x="1215" y="376"/>
                  </a:lnTo>
                  <a:lnTo>
                    <a:pt x="1215" y="374"/>
                  </a:lnTo>
                  <a:lnTo>
                    <a:pt x="1215" y="376"/>
                  </a:lnTo>
                  <a:lnTo>
                    <a:pt x="1215" y="378"/>
                  </a:lnTo>
                  <a:lnTo>
                    <a:pt x="1214" y="378"/>
                  </a:lnTo>
                  <a:lnTo>
                    <a:pt x="1214" y="379"/>
                  </a:lnTo>
                  <a:lnTo>
                    <a:pt x="1215" y="379"/>
                  </a:lnTo>
                  <a:lnTo>
                    <a:pt x="1215" y="381"/>
                  </a:lnTo>
                  <a:lnTo>
                    <a:pt x="1215" y="383"/>
                  </a:lnTo>
                  <a:lnTo>
                    <a:pt x="1215" y="384"/>
                  </a:lnTo>
                  <a:lnTo>
                    <a:pt x="1214" y="384"/>
                  </a:lnTo>
                  <a:lnTo>
                    <a:pt x="1214" y="386"/>
                  </a:lnTo>
                  <a:lnTo>
                    <a:pt x="1212" y="386"/>
                  </a:lnTo>
                  <a:lnTo>
                    <a:pt x="1210" y="387"/>
                  </a:lnTo>
                  <a:lnTo>
                    <a:pt x="1212" y="387"/>
                  </a:lnTo>
                  <a:lnTo>
                    <a:pt x="1210" y="389"/>
                  </a:lnTo>
                  <a:lnTo>
                    <a:pt x="1209" y="389"/>
                  </a:lnTo>
                  <a:lnTo>
                    <a:pt x="1209" y="391"/>
                  </a:lnTo>
                  <a:lnTo>
                    <a:pt x="1209" y="392"/>
                  </a:lnTo>
                  <a:lnTo>
                    <a:pt x="1209" y="394"/>
                  </a:lnTo>
                  <a:lnTo>
                    <a:pt x="1207" y="392"/>
                  </a:lnTo>
                  <a:lnTo>
                    <a:pt x="1209" y="392"/>
                  </a:lnTo>
                  <a:lnTo>
                    <a:pt x="1207" y="392"/>
                  </a:lnTo>
                  <a:lnTo>
                    <a:pt x="1207" y="394"/>
                  </a:lnTo>
                  <a:lnTo>
                    <a:pt x="1207" y="396"/>
                  </a:lnTo>
                  <a:lnTo>
                    <a:pt x="1206" y="396"/>
                  </a:lnTo>
                  <a:lnTo>
                    <a:pt x="1206" y="397"/>
                  </a:lnTo>
                  <a:lnTo>
                    <a:pt x="1207" y="397"/>
                  </a:lnTo>
                  <a:lnTo>
                    <a:pt x="1206" y="399"/>
                  </a:lnTo>
                  <a:lnTo>
                    <a:pt x="1206" y="400"/>
                  </a:lnTo>
                  <a:lnTo>
                    <a:pt x="1206" y="399"/>
                  </a:lnTo>
                  <a:lnTo>
                    <a:pt x="1206" y="400"/>
                  </a:lnTo>
                  <a:lnTo>
                    <a:pt x="1204" y="400"/>
                  </a:lnTo>
                  <a:lnTo>
                    <a:pt x="1204" y="402"/>
                  </a:lnTo>
                  <a:lnTo>
                    <a:pt x="1206" y="402"/>
                  </a:lnTo>
                  <a:lnTo>
                    <a:pt x="1206" y="404"/>
                  </a:lnTo>
                  <a:lnTo>
                    <a:pt x="1204" y="404"/>
                  </a:lnTo>
                  <a:lnTo>
                    <a:pt x="1202" y="405"/>
                  </a:lnTo>
                  <a:lnTo>
                    <a:pt x="1201" y="405"/>
                  </a:lnTo>
                  <a:lnTo>
                    <a:pt x="1199" y="405"/>
                  </a:lnTo>
                  <a:lnTo>
                    <a:pt x="1199" y="407"/>
                  </a:lnTo>
                  <a:lnTo>
                    <a:pt x="1199" y="409"/>
                  </a:lnTo>
                  <a:lnTo>
                    <a:pt x="1197" y="407"/>
                  </a:lnTo>
                  <a:lnTo>
                    <a:pt x="1197" y="409"/>
                  </a:lnTo>
                  <a:lnTo>
                    <a:pt x="1196" y="409"/>
                  </a:lnTo>
                  <a:lnTo>
                    <a:pt x="1197" y="410"/>
                  </a:lnTo>
                  <a:lnTo>
                    <a:pt x="1196" y="410"/>
                  </a:lnTo>
                  <a:lnTo>
                    <a:pt x="1197" y="410"/>
                  </a:lnTo>
                  <a:lnTo>
                    <a:pt x="1196" y="410"/>
                  </a:lnTo>
                  <a:lnTo>
                    <a:pt x="1196" y="412"/>
                  </a:lnTo>
                  <a:lnTo>
                    <a:pt x="1196" y="410"/>
                  </a:lnTo>
                  <a:lnTo>
                    <a:pt x="1194" y="410"/>
                  </a:lnTo>
                  <a:lnTo>
                    <a:pt x="1196" y="410"/>
                  </a:lnTo>
                  <a:lnTo>
                    <a:pt x="1194" y="410"/>
                  </a:lnTo>
                  <a:lnTo>
                    <a:pt x="1194" y="412"/>
                  </a:lnTo>
                  <a:lnTo>
                    <a:pt x="1193" y="412"/>
                  </a:lnTo>
                  <a:lnTo>
                    <a:pt x="1193" y="410"/>
                  </a:lnTo>
                  <a:lnTo>
                    <a:pt x="1194" y="410"/>
                  </a:lnTo>
                  <a:lnTo>
                    <a:pt x="1193" y="410"/>
                  </a:lnTo>
                  <a:lnTo>
                    <a:pt x="1193" y="409"/>
                  </a:lnTo>
                  <a:lnTo>
                    <a:pt x="1193" y="407"/>
                  </a:lnTo>
                  <a:lnTo>
                    <a:pt x="1191" y="407"/>
                  </a:lnTo>
                  <a:lnTo>
                    <a:pt x="1189" y="407"/>
                  </a:lnTo>
                  <a:lnTo>
                    <a:pt x="1188" y="407"/>
                  </a:lnTo>
                  <a:lnTo>
                    <a:pt x="1189" y="409"/>
                  </a:lnTo>
                  <a:lnTo>
                    <a:pt x="1191" y="409"/>
                  </a:lnTo>
                  <a:lnTo>
                    <a:pt x="1191" y="410"/>
                  </a:lnTo>
                  <a:lnTo>
                    <a:pt x="1193" y="410"/>
                  </a:lnTo>
                  <a:lnTo>
                    <a:pt x="1191" y="412"/>
                  </a:lnTo>
                  <a:lnTo>
                    <a:pt x="1191" y="413"/>
                  </a:lnTo>
                  <a:lnTo>
                    <a:pt x="1191" y="415"/>
                  </a:lnTo>
                  <a:lnTo>
                    <a:pt x="1191" y="417"/>
                  </a:lnTo>
                  <a:lnTo>
                    <a:pt x="1191" y="418"/>
                  </a:lnTo>
                  <a:lnTo>
                    <a:pt x="1191" y="422"/>
                  </a:lnTo>
                  <a:lnTo>
                    <a:pt x="1189" y="422"/>
                  </a:lnTo>
                  <a:lnTo>
                    <a:pt x="1189" y="423"/>
                  </a:lnTo>
                  <a:lnTo>
                    <a:pt x="1188" y="425"/>
                  </a:lnTo>
                  <a:lnTo>
                    <a:pt x="1188" y="426"/>
                  </a:lnTo>
                  <a:lnTo>
                    <a:pt x="1186" y="426"/>
                  </a:lnTo>
                  <a:lnTo>
                    <a:pt x="1186" y="425"/>
                  </a:lnTo>
                  <a:lnTo>
                    <a:pt x="1184" y="425"/>
                  </a:lnTo>
                  <a:lnTo>
                    <a:pt x="1184" y="423"/>
                  </a:lnTo>
                  <a:lnTo>
                    <a:pt x="1183" y="423"/>
                  </a:lnTo>
                  <a:lnTo>
                    <a:pt x="1183" y="422"/>
                  </a:lnTo>
                  <a:lnTo>
                    <a:pt x="1184" y="422"/>
                  </a:lnTo>
                  <a:lnTo>
                    <a:pt x="1184" y="420"/>
                  </a:lnTo>
                  <a:lnTo>
                    <a:pt x="1184" y="418"/>
                  </a:lnTo>
                  <a:lnTo>
                    <a:pt x="1184" y="417"/>
                  </a:lnTo>
                  <a:lnTo>
                    <a:pt x="1184" y="415"/>
                  </a:lnTo>
                  <a:lnTo>
                    <a:pt x="1183" y="415"/>
                  </a:lnTo>
                  <a:lnTo>
                    <a:pt x="1184" y="413"/>
                  </a:lnTo>
                  <a:lnTo>
                    <a:pt x="1183" y="412"/>
                  </a:lnTo>
                  <a:lnTo>
                    <a:pt x="1183" y="410"/>
                  </a:lnTo>
                  <a:lnTo>
                    <a:pt x="1183" y="409"/>
                  </a:lnTo>
                  <a:lnTo>
                    <a:pt x="1184" y="409"/>
                  </a:lnTo>
                  <a:lnTo>
                    <a:pt x="1184" y="407"/>
                  </a:lnTo>
                  <a:lnTo>
                    <a:pt x="1184" y="405"/>
                  </a:lnTo>
                  <a:lnTo>
                    <a:pt x="1186" y="404"/>
                  </a:lnTo>
                  <a:lnTo>
                    <a:pt x="1186" y="402"/>
                  </a:lnTo>
                  <a:lnTo>
                    <a:pt x="1186" y="400"/>
                  </a:lnTo>
                  <a:lnTo>
                    <a:pt x="1186" y="402"/>
                  </a:lnTo>
                  <a:lnTo>
                    <a:pt x="1186" y="400"/>
                  </a:lnTo>
                  <a:lnTo>
                    <a:pt x="1186" y="402"/>
                  </a:lnTo>
                  <a:lnTo>
                    <a:pt x="1186" y="400"/>
                  </a:lnTo>
                  <a:lnTo>
                    <a:pt x="1188" y="399"/>
                  </a:lnTo>
                  <a:lnTo>
                    <a:pt x="1186" y="399"/>
                  </a:lnTo>
                  <a:lnTo>
                    <a:pt x="1188" y="397"/>
                  </a:lnTo>
                  <a:lnTo>
                    <a:pt x="1186" y="397"/>
                  </a:lnTo>
                  <a:lnTo>
                    <a:pt x="1188" y="399"/>
                  </a:lnTo>
                  <a:lnTo>
                    <a:pt x="1188" y="397"/>
                  </a:lnTo>
                  <a:lnTo>
                    <a:pt x="1188" y="396"/>
                  </a:lnTo>
                  <a:lnTo>
                    <a:pt x="1189" y="394"/>
                  </a:lnTo>
                  <a:lnTo>
                    <a:pt x="1188" y="394"/>
                  </a:lnTo>
                  <a:lnTo>
                    <a:pt x="1189" y="392"/>
                  </a:lnTo>
                  <a:lnTo>
                    <a:pt x="1191" y="391"/>
                  </a:lnTo>
                  <a:lnTo>
                    <a:pt x="1189" y="391"/>
                  </a:lnTo>
                  <a:lnTo>
                    <a:pt x="1191" y="391"/>
                  </a:lnTo>
                  <a:lnTo>
                    <a:pt x="1191" y="389"/>
                  </a:lnTo>
                  <a:lnTo>
                    <a:pt x="1193" y="389"/>
                  </a:lnTo>
                  <a:lnTo>
                    <a:pt x="1194" y="389"/>
                  </a:lnTo>
                  <a:lnTo>
                    <a:pt x="1193" y="387"/>
                  </a:lnTo>
                  <a:lnTo>
                    <a:pt x="1194" y="387"/>
                  </a:lnTo>
                  <a:lnTo>
                    <a:pt x="1196" y="387"/>
                  </a:lnTo>
                  <a:lnTo>
                    <a:pt x="1194" y="387"/>
                  </a:lnTo>
                  <a:lnTo>
                    <a:pt x="1196" y="387"/>
                  </a:lnTo>
                  <a:lnTo>
                    <a:pt x="1196" y="386"/>
                  </a:lnTo>
                  <a:lnTo>
                    <a:pt x="1196" y="387"/>
                  </a:lnTo>
                  <a:lnTo>
                    <a:pt x="1196" y="386"/>
                  </a:lnTo>
                  <a:lnTo>
                    <a:pt x="1194" y="386"/>
                  </a:lnTo>
                  <a:lnTo>
                    <a:pt x="1196" y="386"/>
                  </a:lnTo>
                  <a:lnTo>
                    <a:pt x="1197" y="386"/>
                  </a:lnTo>
                  <a:lnTo>
                    <a:pt x="1197" y="387"/>
                  </a:lnTo>
                  <a:lnTo>
                    <a:pt x="1197" y="386"/>
                  </a:lnTo>
                  <a:lnTo>
                    <a:pt x="1199" y="386"/>
                  </a:lnTo>
                  <a:lnTo>
                    <a:pt x="1199" y="384"/>
                  </a:lnTo>
                  <a:lnTo>
                    <a:pt x="1201" y="384"/>
                  </a:lnTo>
                  <a:lnTo>
                    <a:pt x="1201" y="383"/>
                  </a:lnTo>
                  <a:lnTo>
                    <a:pt x="1201" y="381"/>
                  </a:lnTo>
                  <a:lnTo>
                    <a:pt x="1199" y="383"/>
                  </a:lnTo>
                  <a:lnTo>
                    <a:pt x="1201" y="381"/>
                  </a:lnTo>
                  <a:lnTo>
                    <a:pt x="1199" y="381"/>
                  </a:lnTo>
                  <a:lnTo>
                    <a:pt x="1201" y="381"/>
                  </a:lnTo>
                  <a:lnTo>
                    <a:pt x="1201" y="379"/>
                  </a:lnTo>
                  <a:lnTo>
                    <a:pt x="1199" y="379"/>
                  </a:lnTo>
                  <a:close/>
                  <a:moveTo>
                    <a:pt x="1337" y="360"/>
                  </a:moveTo>
                  <a:lnTo>
                    <a:pt x="1337" y="358"/>
                  </a:lnTo>
                  <a:lnTo>
                    <a:pt x="1337" y="360"/>
                  </a:lnTo>
                  <a:close/>
                  <a:moveTo>
                    <a:pt x="1337" y="360"/>
                  </a:moveTo>
                  <a:lnTo>
                    <a:pt x="1337" y="358"/>
                  </a:lnTo>
                  <a:lnTo>
                    <a:pt x="1337" y="360"/>
                  </a:lnTo>
                  <a:close/>
                  <a:moveTo>
                    <a:pt x="1337" y="356"/>
                  </a:moveTo>
                  <a:lnTo>
                    <a:pt x="1337" y="355"/>
                  </a:lnTo>
                  <a:lnTo>
                    <a:pt x="1337" y="356"/>
                  </a:lnTo>
                  <a:close/>
                  <a:moveTo>
                    <a:pt x="1337" y="355"/>
                  </a:moveTo>
                  <a:lnTo>
                    <a:pt x="1337" y="353"/>
                  </a:lnTo>
                  <a:lnTo>
                    <a:pt x="1337" y="355"/>
                  </a:lnTo>
                  <a:close/>
                  <a:moveTo>
                    <a:pt x="1337" y="353"/>
                  </a:moveTo>
                  <a:lnTo>
                    <a:pt x="1337" y="355"/>
                  </a:lnTo>
                  <a:lnTo>
                    <a:pt x="1337" y="353"/>
                  </a:lnTo>
                  <a:close/>
                  <a:moveTo>
                    <a:pt x="1336" y="353"/>
                  </a:moveTo>
                  <a:lnTo>
                    <a:pt x="1336" y="352"/>
                  </a:lnTo>
                  <a:lnTo>
                    <a:pt x="1336" y="353"/>
                  </a:lnTo>
                  <a:lnTo>
                    <a:pt x="1337" y="353"/>
                  </a:lnTo>
                  <a:lnTo>
                    <a:pt x="1336" y="353"/>
                  </a:lnTo>
                  <a:close/>
                  <a:moveTo>
                    <a:pt x="1259" y="353"/>
                  </a:moveTo>
                  <a:lnTo>
                    <a:pt x="1259" y="352"/>
                  </a:lnTo>
                  <a:lnTo>
                    <a:pt x="1259" y="353"/>
                  </a:lnTo>
                  <a:close/>
                  <a:moveTo>
                    <a:pt x="1376" y="348"/>
                  </a:moveTo>
                  <a:lnTo>
                    <a:pt x="1376" y="350"/>
                  </a:lnTo>
                  <a:lnTo>
                    <a:pt x="1376" y="348"/>
                  </a:lnTo>
                  <a:close/>
                  <a:moveTo>
                    <a:pt x="1360" y="348"/>
                  </a:moveTo>
                  <a:lnTo>
                    <a:pt x="1362" y="348"/>
                  </a:lnTo>
                  <a:lnTo>
                    <a:pt x="1360" y="348"/>
                  </a:lnTo>
                  <a:close/>
                  <a:moveTo>
                    <a:pt x="1310" y="347"/>
                  </a:moveTo>
                  <a:lnTo>
                    <a:pt x="1311" y="347"/>
                  </a:lnTo>
                  <a:lnTo>
                    <a:pt x="1310" y="348"/>
                  </a:lnTo>
                  <a:lnTo>
                    <a:pt x="1310" y="347"/>
                  </a:lnTo>
                  <a:close/>
                  <a:moveTo>
                    <a:pt x="1277" y="347"/>
                  </a:moveTo>
                  <a:lnTo>
                    <a:pt x="1279" y="347"/>
                  </a:lnTo>
                  <a:lnTo>
                    <a:pt x="1277" y="347"/>
                  </a:lnTo>
                  <a:close/>
                  <a:moveTo>
                    <a:pt x="1357" y="343"/>
                  </a:moveTo>
                  <a:lnTo>
                    <a:pt x="1358" y="345"/>
                  </a:lnTo>
                  <a:lnTo>
                    <a:pt x="1357" y="343"/>
                  </a:lnTo>
                  <a:close/>
                  <a:moveTo>
                    <a:pt x="1266" y="340"/>
                  </a:moveTo>
                  <a:lnTo>
                    <a:pt x="1266" y="342"/>
                  </a:lnTo>
                  <a:lnTo>
                    <a:pt x="1266" y="340"/>
                  </a:lnTo>
                  <a:close/>
                  <a:moveTo>
                    <a:pt x="1272" y="340"/>
                  </a:moveTo>
                  <a:lnTo>
                    <a:pt x="1272" y="342"/>
                  </a:lnTo>
                  <a:lnTo>
                    <a:pt x="1272" y="340"/>
                  </a:lnTo>
                  <a:lnTo>
                    <a:pt x="1272" y="342"/>
                  </a:lnTo>
                  <a:lnTo>
                    <a:pt x="1272" y="340"/>
                  </a:lnTo>
                  <a:close/>
                  <a:moveTo>
                    <a:pt x="1267" y="339"/>
                  </a:moveTo>
                  <a:lnTo>
                    <a:pt x="1267" y="340"/>
                  </a:lnTo>
                  <a:lnTo>
                    <a:pt x="1267" y="339"/>
                  </a:lnTo>
                  <a:close/>
                  <a:moveTo>
                    <a:pt x="1266" y="340"/>
                  </a:moveTo>
                  <a:lnTo>
                    <a:pt x="1266" y="339"/>
                  </a:lnTo>
                  <a:lnTo>
                    <a:pt x="1266" y="340"/>
                  </a:lnTo>
                  <a:close/>
                  <a:moveTo>
                    <a:pt x="1264" y="339"/>
                  </a:moveTo>
                  <a:lnTo>
                    <a:pt x="1266" y="339"/>
                  </a:lnTo>
                  <a:lnTo>
                    <a:pt x="1264" y="339"/>
                  </a:lnTo>
                  <a:close/>
                  <a:moveTo>
                    <a:pt x="1267" y="339"/>
                  </a:moveTo>
                  <a:lnTo>
                    <a:pt x="1269" y="339"/>
                  </a:lnTo>
                  <a:lnTo>
                    <a:pt x="1267" y="339"/>
                  </a:lnTo>
                  <a:close/>
                  <a:moveTo>
                    <a:pt x="1264" y="339"/>
                  </a:moveTo>
                  <a:lnTo>
                    <a:pt x="1264" y="337"/>
                  </a:lnTo>
                  <a:lnTo>
                    <a:pt x="1264" y="339"/>
                  </a:lnTo>
                  <a:close/>
                  <a:moveTo>
                    <a:pt x="1267" y="337"/>
                  </a:moveTo>
                  <a:lnTo>
                    <a:pt x="1269" y="337"/>
                  </a:lnTo>
                  <a:lnTo>
                    <a:pt x="1269" y="339"/>
                  </a:lnTo>
                  <a:lnTo>
                    <a:pt x="1269" y="337"/>
                  </a:lnTo>
                  <a:lnTo>
                    <a:pt x="1267" y="339"/>
                  </a:lnTo>
                  <a:lnTo>
                    <a:pt x="1267" y="337"/>
                  </a:lnTo>
                  <a:close/>
                  <a:moveTo>
                    <a:pt x="1264" y="337"/>
                  </a:moveTo>
                  <a:lnTo>
                    <a:pt x="1266" y="337"/>
                  </a:lnTo>
                  <a:lnTo>
                    <a:pt x="1264" y="337"/>
                  </a:lnTo>
                  <a:close/>
                  <a:moveTo>
                    <a:pt x="1263" y="337"/>
                  </a:moveTo>
                  <a:lnTo>
                    <a:pt x="1264" y="337"/>
                  </a:lnTo>
                  <a:lnTo>
                    <a:pt x="1263" y="337"/>
                  </a:lnTo>
                  <a:lnTo>
                    <a:pt x="1263" y="339"/>
                  </a:lnTo>
                  <a:lnTo>
                    <a:pt x="1263" y="337"/>
                  </a:lnTo>
                  <a:close/>
                  <a:moveTo>
                    <a:pt x="1264" y="335"/>
                  </a:moveTo>
                  <a:lnTo>
                    <a:pt x="1264" y="337"/>
                  </a:lnTo>
                  <a:lnTo>
                    <a:pt x="1264" y="335"/>
                  </a:lnTo>
                  <a:close/>
                  <a:moveTo>
                    <a:pt x="1263" y="335"/>
                  </a:moveTo>
                  <a:lnTo>
                    <a:pt x="1264" y="335"/>
                  </a:lnTo>
                  <a:lnTo>
                    <a:pt x="1263" y="335"/>
                  </a:lnTo>
                  <a:close/>
                  <a:moveTo>
                    <a:pt x="1331" y="326"/>
                  </a:moveTo>
                  <a:lnTo>
                    <a:pt x="1331" y="327"/>
                  </a:lnTo>
                  <a:lnTo>
                    <a:pt x="1329" y="326"/>
                  </a:lnTo>
                  <a:lnTo>
                    <a:pt x="1331" y="326"/>
                  </a:lnTo>
                  <a:close/>
                  <a:moveTo>
                    <a:pt x="1391" y="324"/>
                  </a:moveTo>
                  <a:lnTo>
                    <a:pt x="1391" y="326"/>
                  </a:lnTo>
                  <a:lnTo>
                    <a:pt x="1391" y="324"/>
                  </a:lnTo>
                  <a:close/>
                  <a:moveTo>
                    <a:pt x="1289" y="321"/>
                  </a:moveTo>
                  <a:lnTo>
                    <a:pt x="1289" y="319"/>
                  </a:lnTo>
                  <a:lnTo>
                    <a:pt x="1289" y="321"/>
                  </a:lnTo>
                  <a:close/>
                  <a:moveTo>
                    <a:pt x="1350" y="316"/>
                  </a:moveTo>
                  <a:lnTo>
                    <a:pt x="1350" y="317"/>
                  </a:lnTo>
                  <a:lnTo>
                    <a:pt x="1350" y="316"/>
                  </a:lnTo>
                  <a:close/>
                  <a:moveTo>
                    <a:pt x="1417" y="314"/>
                  </a:moveTo>
                  <a:lnTo>
                    <a:pt x="1419" y="314"/>
                  </a:lnTo>
                  <a:lnTo>
                    <a:pt x="1417" y="314"/>
                  </a:lnTo>
                  <a:close/>
                  <a:moveTo>
                    <a:pt x="1272" y="399"/>
                  </a:moveTo>
                  <a:lnTo>
                    <a:pt x="1271" y="397"/>
                  </a:lnTo>
                  <a:lnTo>
                    <a:pt x="1271" y="399"/>
                  </a:lnTo>
                  <a:lnTo>
                    <a:pt x="1269" y="399"/>
                  </a:lnTo>
                  <a:lnTo>
                    <a:pt x="1267" y="400"/>
                  </a:lnTo>
                  <a:lnTo>
                    <a:pt x="1266" y="399"/>
                  </a:lnTo>
                  <a:lnTo>
                    <a:pt x="1266" y="397"/>
                  </a:lnTo>
                  <a:lnTo>
                    <a:pt x="1266" y="396"/>
                  </a:lnTo>
                  <a:lnTo>
                    <a:pt x="1264" y="396"/>
                  </a:lnTo>
                  <a:lnTo>
                    <a:pt x="1266" y="396"/>
                  </a:lnTo>
                  <a:lnTo>
                    <a:pt x="1266" y="394"/>
                  </a:lnTo>
                  <a:lnTo>
                    <a:pt x="1266" y="392"/>
                  </a:lnTo>
                  <a:lnTo>
                    <a:pt x="1267" y="392"/>
                  </a:lnTo>
                  <a:lnTo>
                    <a:pt x="1269" y="391"/>
                  </a:lnTo>
                  <a:lnTo>
                    <a:pt x="1271" y="391"/>
                  </a:lnTo>
                  <a:lnTo>
                    <a:pt x="1269" y="391"/>
                  </a:lnTo>
                  <a:lnTo>
                    <a:pt x="1271" y="391"/>
                  </a:lnTo>
                  <a:lnTo>
                    <a:pt x="1271" y="389"/>
                  </a:lnTo>
                  <a:lnTo>
                    <a:pt x="1271" y="387"/>
                  </a:lnTo>
                  <a:lnTo>
                    <a:pt x="1269" y="389"/>
                  </a:lnTo>
                  <a:lnTo>
                    <a:pt x="1267" y="389"/>
                  </a:lnTo>
                  <a:lnTo>
                    <a:pt x="1266" y="391"/>
                  </a:lnTo>
                  <a:lnTo>
                    <a:pt x="1266" y="389"/>
                  </a:lnTo>
                  <a:lnTo>
                    <a:pt x="1266" y="391"/>
                  </a:lnTo>
                  <a:lnTo>
                    <a:pt x="1264" y="391"/>
                  </a:lnTo>
                  <a:lnTo>
                    <a:pt x="1263" y="391"/>
                  </a:lnTo>
                  <a:lnTo>
                    <a:pt x="1263" y="389"/>
                  </a:lnTo>
                  <a:lnTo>
                    <a:pt x="1263" y="391"/>
                  </a:lnTo>
                  <a:lnTo>
                    <a:pt x="1261" y="391"/>
                  </a:lnTo>
                  <a:lnTo>
                    <a:pt x="1261" y="392"/>
                  </a:lnTo>
                  <a:lnTo>
                    <a:pt x="1259" y="392"/>
                  </a:lnTo>
                  <a:lnTo>
                    <a:pt x="1258" y="392"/>
                  </a:lnTo>
                  <a:lnTo>
                    <a:pt x="1258" y="394"/>
                  </a:lnTo>
                  <a:lnTo>
                    <a:pt x="1256" y="394"/>
                  </a:lnTo>
                  <a:lnTo>
                    <a:pt x="1254" y="394"/>
                  </a:lnTo>
                  <a:lnTo>
                    <a:pt x="1253" y="394"/>
                  </a:lnTo>
                  <a:lnTo>
                    <a:pt x="1251" y="394"/>
                  </a:lnTo>
                  <a:lnTo>
                    <a:pt x="1253" y="394"/>
                  </a:lnTo>
                  <a:lnTo>
                    <a:pt x="1253" y="392"/>
                  </a:lnTo>
                  <a:lnTo>
                    <a:pt x="1251" y="392"/>
                  </a:lnTo>
                  <a:lnTo>
                    <a:pt x="1253" y="392"/>
                  </a:lnTo>
                  <a:lnTo>
                    <a:pt x="1251" y="392"/>
                  </a:lnTo>
                  <a:lnTo>
                    <a:pt x="1251" y="391"/>
                  </a:lnTo>
                  <a:lnTo>
                    <a:pt x="1251" y="389"/>
                  </a:lnTo>
                  <a:lnTo>
                    <a:pt x="1251" y="387"/>
                  </a:lnTo>
                  <a:lnTo>
                    <a:pt x="1253" y="386"/>
                  </a:lnTo>
                  <a:lnTo>
                    <a:pt x="1253" y="384"/>
                  </a:lnTo>
                  <a:lnTo>
                    <a:pt x="1254" y="384"/>
                  </a:lnTo>
                  <a:lnTo>
                    <a:pt x="1256" y="386"/>
                  </a:lnTo>
                  <a:lnTo>
                    <a:pt x="1258" y="386"/>
                  </a:lnTo>
                  <a:lnTo>
                    <a:pt x="1258" y="384"/>
                  </a:lnTo>
                  <a:lnTo>
                    <a:pt x="1258" y="383"/>
                  </a:lnTo>
                  <a:lnTo>
                    <a:pt x="1259" y="381"/>
                  </a:lnTo>
                  <a:lnTo>
                    <a:pt x="1261" y="381"/>
                  </a:lnTo>
                  <a:lnTo>
                    <a:pt x="1261" y="379"/>
                  </a:lnTo>
                  <a:lnTo>
                    <a:pt x="1263" y="381"/>
                  </a:lnTo>
                  <a:lnTo>
                    <a:pt x="1264" y="381"/>
                  </a:lnTo>
                  <a:lnTo>
                    <a:pt x="1266" y="381"/>
                  </a:lnTo>
                  <a:lnTo>
                    <a:pt x="1266" y="379"/>
                  </a:lnTo>
                  <a:lnTo>
                    <a:pt x="1264" y="379"/>
                  </a:lnTo>
                  <a:lnTo>
                    <a:pt x="1264" y="378"/>
                  </a:lnTo>
                  <a:lnTo>
                    <a:pt x="1266" y="378"/>
                  </a:lnTo>
                  <a:lnTo>
                    <a:pt x="1264" y="376"/>
                  </a:lnTo>
                  <a:lnTo>
                    <a:pt x="1266" y="376"/>
                  </a:lnTo>
                  <a:lnTo>
                    <a:pt x="1267" y="376"/>
                  </a:lnTo>
                  <a:lnTo>
                    <a:pt x="1267" y="374"/>
                  </a:lnTo>
                  <a:lnTo>
                    <a:pt x="1269" y="374"/>
                  </a:lnTo>
                  <a:lnTo>
                    <a:pt x="1271" y="374"/>
                  </a:lnTo>
                  <a:lnTo>
                    <a:pt x="1271" y="373"/>
                  </a:lnTo>
                  <a:lnTo>
                    <a:pt x="1272" y="373"/>
                  </a:lnTo>
                  <a:lnTo>
                    <a:pt x="1272" y="371"/>
                  </a:lnTo>
                  <a:lnTo>
                    <a:pt x="1271" y="371"/>
                  </a:lnTo>
                  <a:lnTo>
                    <a:pt x="1271" y="373"/>
                  </a:lnTo>
                  <a:lnTo>
                    <a:pt x="1269" y="373"/>
                  </a:lnTo>
                  <a:lnTo>
                    <a:pt x="1267" y="374"/>
                  </a:lnTo>
                  <a:lnTo>
                    <a:pt x="1266" y="374"/>
                  </a:lnTo>
                  <a:lnTo>
                    <a:pt x="1264" y="374"/>
                  </a:lnTo>
                  <a:lnTo>
                    <a:pt x="1263" y="374"/>
                  </a:lnTo>
                  <a:lnTo>
                    <a:pt x="1261" y="374"/>
                  </a:lnTo>
                  <a:lnTo>
                    <a:pt x="1259" y="373"/>
                  </a:lnTo>
                  <a:lnTo>
                    <a:pt x="1258" y="373"/>
                  </a:lnTo>
                  <a:lnTo>
                    <a:pt x="1256" y="373"/>
                  </a:lnTo>
                  <a:lnTo>
                    <a:pt x="1254" y="373"/>
                  </a:lnTo>
                  <a:lnTo>
                    <a:pt x="1256" y="373"/>
                  </a:lnTo>
                  <a:lnTo>
                    <a:pt x="1256" y="371"/>
                  </a:lnTo>
                  <a:lnTo>
                    <a:pt x="1256" y="373"/>
                  </a:lnTo>
                  <a:lnTo>
                    <a:pt x="1258" y="373"/>
                  </a:lnTo>
                  <a:lnTo>
                    <a:pt x="1258" y="371"/>
                  </a:lnTo>
                  <a:lnTo>
                    <a:pt x="1256" y="371"/>
                  </a:lnTo>
                  <a:lnTo>
                    <a:pt x="1256" y="369"/>
                  </a:lnTo>
                  <a:lnTo>
                    <a:pt x="1254" y="369"/>
                  </a:lnTo>
                  <a:lnTo>
                    <a:pt x="1254" y="368"/>
                  </a:lnTo>
                  <a:lnTo>
                    <a:pt x="1256" y="368"/>
                  </a:lnTo>
                  <a:lnTo>
                    <a:pt x="1259" y="366"/>
                  </a:lnTo>
                  <a:lnTo>
                    <a:pt x="1261" y="366"/>
                  </a:lnTo>
                  <a:lnTo>
                    <a:pt x="1263" y="366"/>
                  </a:lnTo>
                  <a:lnTo>
                    <a:pt x="1263" y="368"/>
                  </a:lnTo>
                  <a:lnTo>
                    <a:pt x="1266" y="368"/>
                  </a:lnTo>
                  <a:lnTo>
                    <a:pt x="1267" y="368"/>
                  </a:lnTo>
                  <a:lnTo>
                    <a:pt x="1267" y="366"/>
                  </a:lnTo>
                  <a:lnTo>
                    <a:pt x="1267" y="365"/>
                  </a:lnTo>
                  <a:lnTo>
                    <a:pt x="1266" y="366"/>
                  </a:lnTo>
                  <a:lnTo>
                    <a:pt x="1266" y="365"/>
                  </a:lnTo>
                  <a:lnTo>
                    <a:pt x="1266" y="363"/>
                  </a:lnTo>
                  <a:lnTo>
                    <a:pt x="1266" y="361"/>
                  </a:lnTo>
                  <a:lnTo>
                    <a:pt x="1267" y="361"/>
                  </a:lnTo>
                  <a:lnTo>
                    <a:pt x="1267" y="360"/>
                  </a:lnTo>
                  <a:lnTo>
                    <a:pt x="1269" y="360"/>
                  </a:lnTo>
                  <a:lnTo>
                    <a:pt x="1267" y="360"/>
                  </a:lnTo>
                  <a:lnTo>
                    <a:pt x="1266" y="360"/>
                  </a:lnTo>
                  <a:lnTo>
                    <a:pt x="1264" y="361"/>
                  </a:lnTo>
                  <a:lnTo>
                    <a:pt x="1264" y="363"/>
                  </a:lnTo>
                  <a:lnTo>
                    <a:pt x="1263" y="363"/>
                  </a:lnTo>
                  <a:lnTo>
                    <a:pt x="1261" y="363"/>
                  </a:lnTo>
                  <a:lnTo>
                    <a:pt x="1261" y="361"/>
                  </a:lnTo>
                  <a:lnTo>
                    <a:pt x="1263" y="361"/>
                  </a:lnTo>
                  <a:lnTo>
                    <a:pt x="1264" y="361"/>
                  </a:lnTo>
                  <a:lnTo>
                    <a:pt x="1263" y="361"/>
                  </a:lnTo>
                  <a:lnTo>
                    <a:pt x="1261" y="361"/>
                  </a:lnTo>
                  <a:lnTo>
                    <a:pt x="1261" y="360"/>
                  </a:lnTo>
                  <a:lnTo>
                    <a:pt x="1259" y="361"/>
                  </a:lnTo>
                  <a:lnTo>
                    <a:pt x="1258" y="361"/>
                  </a:lnTo>
                  <a:lnTo>
                    <a:pt x="1258" y="360"/>
                  </a:lnTo>
                  <a:lnTo>
                    <a:pt x="1259" y="358"/>
                  </a:lnTo>
                  <a:lnTo>
                    <a:pt x="1261" y="358"/>
                  </a:lnTo>
                  <a:lnTo>
                    <a:pt x="1259" y="358"/>
                  </a:lnTo>
                  <a:lnTo>
                    <a:pt x="1258" y="358"/>
                  </a:lnTo>
                  <a:lnTo>
                    <a:pt x="1258" y="360"/>
                  </a:lnTo>
                  <a:lnTo>
                    <a:pt x="1258" y="358"/>
                  </a:lnTo>
                  <a:lnTo>
                    <a:pt x="1258" y="360"/>
                  </a:lnTo>
                  <a:lnTo>
                    <a:pt x="1256" y="360"/>
                  </a:lnTo>
                  <a:lnTo>
                    <a:pt x="1254" y="358"/>
                  </a:lnTo>
                  <a:lnTo>
                    <a:pt x="1254" y="356"/>
                  </a:lnTo>
                  <a:lnTo>
                    <a:pt x="1256" y="356"/>
                  </a:lnTo>
                  <a:lnTo>
                    <a:pt x="1258" y="356"/>
                  </a:lnTo>
                  <a:lnTo>
                    <a:pt x="1258" y="355"/>
                  </a:lnTo>
                  <a:lnTo>
                    <a:pt x="1259" y="355"/>
                  </a:lnTo>
                  <a:lnTo>
                    <a:pt x="1261" y="353"/>
                  </a:lnTo>
                  <a:lnTo>
                    <a:pt x="1263" y="355"/>
                  </a:lnTo>
                  <a:lnTo>
                    <a:pt x="1264" y="356"/>
                  </a:lnTo>
                  <a:lnTo>
                    <a:pt x="1266" y="356"/>
                  </a:lnTo>
                  <a:lnTo>
                    <a:pt x="1267" y="356"/>
                  </a:lnTo>
                  <a:lnTo>
                    <a:pt x="1266" y="356"/>
                  </a:lnTo>
                  <a:lnTo>
                    <a:pt x="1264" y="355"/>
                  </a:lnTo>
                  <a:lnTo>
                    <a:pt x="1264" y="353"/>
                  </a:lnTo>
                  <a:lnTo>
                    <a:pt x="1266" y="353"/>
                  </a:lnTo>
                  <a:lnTo>
                    <a:pt x="1266" y="352"/>
                  </a:lnTo>
                  <a:lnTo>
                    <a:pt x="1264" y="352"/>
                  </a:lnTo>
                  <a:lnTo>
                    <a:pt x="1264" y="353"/>
                  </a:lnTo>
                  <a:lnTo>
                    <a:pt x="1263" y="353"/>
                  </a:lnTo>
                  <a:lnTo>
                    <a:pt x="1259" y="352"/>
                  </a:lnTo>
                  <a:lnTo>
                    <a:pt x="1259" y="350"/>
                  </a:lnTo>
                  <a:lnTo>
                    <a:pt x="1261" y="348"/>
                  </a:lnTo>
                  <a:lnTo>
                    <a:pt x="1263" y="350"/>
                  </a:lnTo>
                  <a:lnTo>
                    <a:pt x="1264" y="350"/>
                  </a:lnTo>
                  <a:lnTo>
                    <a:pt x="1266" y="350"/>
                  </a:lnTo>
                  <a:lnTo>
                    <a:pt x="1267" y="350"/>
                  </a:lnTo>
                  <a:lnTo>
                    <a:pt x="1269" y="350"/>
                  </a:lnTo>
                  <a:lnTo>
                    <a:pt x="1267" y="350"/>
                  </a:lnTo>
                  <a:lnTo>
                    <a:pt x="1263" y="350"/>
                  </a:lnTo>
                  <a:lnTo>
                    <a:pt x="1263" y="348"/>
                  </a:lnTo>
                  <a:lnTo>
                    <a:pt x="1261" y="348"/>
                  </a:lnTo>
                  <a:lnTo>
                    <a:pt x="1259" y="348"/>
                  </a:lnTo>
                  <a:lnTo>
                    <a:pt x="1258" y="348"/>
                  </a:lnTo>
                  <a:lnTo>
                    <a:pt x="1258" y="350"/>
                  </a:lnTo>
                  <a:lnTo>
                    <a:pt x="1256" y="350"/>
                  </a:lnTo>
                  <a:lnTo>
                    <a:pt x="1253" y="350"/>
                  </a:lnTo>
                  <a:lnTo>
                    <a:pt x="1251" y="350"/>
                  </a:lnTo>
                  <a:lnTo>
                    <a:pt x="1251" y="348"/>
                  </a:lnTo>
                  <a:lnTo>
                    <a:pt x="1253" y="348"/>
                  </a:lnTo>
                  <a:lnTo>
                    <a:pt x="1254" y="348"/>
                  </a:lnTo>
                  <a:lnTo>
                    <a:pt x="1254" y="347"/>
                  </a:lnTo>
                  <a:lnTo>
                    <a:pt x="1254" y="345"/>
                  </a:lnTo>
                  <a:lnTo>
                    <a:pt x="1254" y="343"/>
                  </a:lnTo>
                  <a:lnTo>
                    <a:pt x="1256" y="343"/>
                  </a:lnTo>
                  <a:lnTo>
                    <a:pt x="1258" y="345"/>
                  </a:lnTo>
                  <a:lnTo>
                    <a:pt x="1259" y="345"/>
                  </a:lnTo>
                  <a:lnTo>
                    <a:pt x="1259" y="343"/>
                  </a:lnTo>
                  <a:lnTo>
                    <a:pt x="1261" y="343"/>
                  </a:lnTo>
                  <a:lnTo>
                    <a:pt x="1261" y="345"/>
                  </a:lnTo>
                  <a:lnTo>
                    <a:pt x="1263" y="345"/>
                  </a:lnTo>
                  <a:lnTo>
                    <a:pt x="1263" y="347"/>
                  </a:lnTo>
                  <a:lnTo>
                    <a:pt x="1264" y="347"/>
                  </a:lnTo>
                  <a:lnTo>
                    <a:pt x="1263" y="345"/>
                  </a:lnTo>
                  <a:lnTo>
                    <a:pt x="1264" y="343"/>
                  </a:lnTo>
                  <a:lnTo>
                    <a:pt x="1266" y="342"/>
                  </a:lnTo>
                  <a:lnTo>
                    <a:pt x="1264" y="342"/>
                  </a:lnTo>
                  <a:lnTo>
                    <a:pt x="1266" y="342"/>
                  </a:lnTo>
                  <a:lnTo>
                    <a:pt x="1266" y="340"/>
                  </a:lnTo>
                  <a:lnTo>
                    <a:pt x="1266" y="342"/>
                  </a:lnTo>
                  <a:lnTo>
                    <a:pt x="1266" y="340"/>
                  </a:lnTo>
                  <a:lnTo>
                    <a:pt x="1266" y="342"/>
                  </a:lnTo>
                  <a:lnTo>
                    <a:pt x="1266" y="340"/>
                  </a:lnTo>
                  <a:lnTo>
                    <a:pt x="1266" y="342"/>
                  </a:lnTo>
                  <a:lnTo>
                    <a:pt x="1267" y="342"/>
                  </a:lnTo>
                  <a:lnTo>
                    <a:pt x="1267" y="340"/>
                  </a:lnTo>
                  <a:lnTo>
                    <a:pt x="1269" y="340"/>
                  </a:lnTo>
                  <a:lnTo>
                    <a:pt x="1269" y="342"/>
                  </a:lnTo>
                  <a:lnTo>
                    <a:pt x="1269" y="340"/>
                  </a:lnTo>
                  <a:lnTo>
                    <a:pt x="1271" y="342"/>
                  </a:lnTo>
                  <a:lnTo>
                    <a:pt x="1271" y="340"/>
                  </a:lnTo>
                  <a:lnTo>
                    <a:pt x="1272" y="342"/>
                  </a:lnTo>
                  <a:lnTo>
                    <a:pt x="1274" y="342"/>
                  </a:lnTo>
                  <a:lnTo>
                    <a:pt x="1274" y="343"/>
                  </a:lnTo>
                  <a:lnTo>
                    <a:pt x="1276" y="345"/>
                  </a:lnTo>
                  <a:lnTo>
                    <a:pt x="1277" y="347"/>
                  </a:lnTo>
                  <a:lnTo>
                    <a:pt x="1279" y="347"/>
                  </a:lnTo>
                  <a:lnTo>
                    <a:pt x="1279" y="345"/>
                  </a:lnTo>
                  <a:lnTo>
                    <a:pt x="1279" y="343"/>
                  </a:lnTo>
                  <a:lnTo>
                    <a:pt x="1277" y="343"/>
                  </a:lnTo>
                  <a:lnTo>
                    <a:pt x="1276" y="343"/>
                  </a:lnTo>
                  <a:lnTo>
                    <a:pt x="1274" y="343"/>
                  </a:lnTo>
                  <a:lnTo>
                    <a:pt x="1274" y="342"/>
                  </a:lnTo>
                  <a:lnTo>
                    <a:pt x="1272" y="342"/>
                  </a:lnTo>
                  <a:lnTo>
                    <a:pt x="1274" y="342"/>
                  </a:lnTo>
                  <a:lnTo>
                    <a:pt x="1276" y="342"/>
                  </a:lnTo>
                  <a:lnTo>
                    <a:pt x="1274" y="342"/>
                  </a:lnTo>
                  <a:lnTo>
                    <a:pt x="1272" y="340"/>
                  </a:lnTo>
                  <a:lnTo>
                    <a:pt x="1272" y="339"/>
                  </a:lnTo>
                  <a:lnTo>
                    <a:pt x="1274" y="339"/>
                  </a:lnTo>
                  <a:lnTo>
                    <a:pt x="1274" y="340"/>
                  </a:lnTo>
                  <a:lnTo>
                    <a:pt x="1276" y="340"/>
                  </a:lnTo>
                  <a:lnTo>
                    <a:pt x="1277" y="340"/>
                  </a:lnTo>
                  <a:lnTo>
                    <a:pt x="1277" y="339"/>
                  </a:lnTo>
                  <a:lnTo>
                    <a:pt x="1279" y="339"/>
                  </a:lnTo>
                  <a:lnTo>
                    <a:pt x="1280" y="339"/>
                  </a:lnTo>
                  <a:lnTo>
                    <a:pt x="1282" y="339"/>
                  </a:lnTo>
                  <a:lnTo>
                    <a:pt x="1282" y="337"/>
                  </a:lnTo>
                  <a:lnTo>
                    <a:pt x="1280" y="337"/>
                  </a:lnTo>
                  <a:lnTo>
                    <a:pt x="1280" y="335"/>
                  </a:lnTo>
                  <a:lnTo>
                    <a:pt x="1279" y="335"/>
                  </a:lnTo>
                  <a:lnTo>
                    <a:pt x="1277" y="337"/>
                  </a:lnTo>
                  <a:lnTo>
                    <a:pt x="1276" y="337"/>
                  </a:lnTo>
                  <a:lnTo>
                    <a:pt x="1274" y="337"/>
                  </a:lnTo>
                  <a:lnTo>
                    <a:pt x="1272" y="337"/>
                  </a:lnTo>
                  <a:lnTo>
                    <a:pt x="1271" y="337"/>
                  </a:lnTo>
                  <a:lnTo>
                    <a:pt x="1271" y="335"/>
                  </a:lnTo>
                  <a:lnTo>
                    <a:pt x="1269" y="335"/>
                  </a:lnTo>
                  <a:lnTo>
                    <a:pt x="1269" y="334"/>
                  </a:lnTo>
                  <a:lnTo>
                    <a:pt x="1267" y="334"/>
                  </a:lnTo>
                  <a:lnTo>
                    <a:pt x="1269" y="334"/>
                  </a:lnTo>
                  <a:lnTo>
                    <a:pt x="1267" y="332"/>
                  </a:lnTo>
                  <a:lnTo>
                    <a:pt x="1267" y="330"/>
                  </a:lnTo>
                  <a:lnTo>
                    <a:pt x="1266" y="329"/>
                  </a:lnTo>
                  <a:lnTo>
                    <a:pt x="1267" y="329"/>
                  </a:lnTo>
                  <a:lnTo>
                    <a:pt x="1269" y="329"/>
                  </a:lnTo>
                  <a:lnTo>
                    <a:pt x="1269" y="330"/>
                  </a:lnTo>
                  <a:lnTo>
                    <a:pt x="1271" y="330"/>
                  </a:lnTo>
                  <a:lnTo>
                    <a:pt x="1272" y="332"/>
                  </a:lnTo>
                  <a:lnTo>
                    <a:pt x="1272" y="334"/>
                  </a:lnTo>
                  <a:lnTo>
                    <a:pt x="1274" y="334"/>
                  </a:lnTo>
                  <a:lnTo>
                    <a:pt x="1274" y="332"/>
                  </a:lnTo>
                  <a:lnTo>
                    <a:pt x="1272" y="330"/>
                  </a:lnTo>
                  <a:lnTo>
                    <a:pt x="1274" y="330"/>
                  </a:lnTo>
                  <a:lnTo>
                    <a:pt x="1276" y="330"/>
                  </a:lnTo>
                  <a:lnTo>
                    <a:pt x="1277" y="330"/>
                  </a:lnTo>
                  <a:lnTo>
                    <a:pt x="1276" y="329"/>
                  </a:lnTo>
                  <a:lnTo>
                    <a:pt x="1274" y="327"/>
                  </a:lnTo>
                  <a:lnTo>
                    <a:pt x="1274" y="326"/>
                  </a:lnTo>
                  <a:lnTo>
                    <a:pt x="1272" y="326"/>
                  </a:lnTo>
                  <a:lnTo>
                    <a:pt x="1272" y="324"/>
                  </a:lnTo>
                  <a:lnTo>
                    <a:pt x="1271" y="324"/>
                  </a:lnTo>
                  <a:lnTo>
                    <a:pt x="1271" y="322"/>
                  </a:lnTo>
                  <a:lnTo>
                    <a:pt x="1272" y="322"/>
                  </a:lnTo>
                  <a:lnTo>
                    <a:pt x="1274" y="322"/>
                  </a:lnTo>
                  <a:lnTo>
                    <a:pt x="1274" y="324"/>
                  </a:lnTo>
                  <a:lnTo>
                    <a:pt x="1276" y="324"/>
                  </a:lnTo>
                  <a:lnTo>
                    <a:pt x="1276" y="322"/>
                  </a:lnTo>
                  <a:lnTo>
                    <a:pt x="1276" y="324"/>
                  </a:lnTo>
                  <a:lnTo>
                    <a:pt x="1277" y="324"/>
                  </a:lnTo>
                  <a:lnTo>
                    <a:pt x="1279" y="324"/>
                  </a:lnTo>
                  <a:lnTo>
                    <a:pt x="1279" y="326"/>
                  </a:lnTo>
                  <a:lnTo>
                    <a:pt x="1280" y="326"/>
                  </a:lnTo>
                  <a:lnTo>
                    <a:pt x="1280" y="327"/>
                  </a:lnTo>
                  <a:lnTo>
                    <a:pt x="1280" y="329"/>
                  </a:lnTo>
                  <a:lnTo>
                    <a:pt x="1282" y="329"/>
                  </a:lnTo>
                  <a:lnTo>
                    <a:pt x="1282" y="327"/>
                  </a:lnTo>
                  <a:lnTo>
                    <a:pt x="1284" y="329"/>
                  </a:lnTo>
                  <a:lnTo>
                    <a:pt x="1285" y="330"/>
                  </a:lnTo>
                  <a:lnTo>
                    <a:pt x="1284" y="330"/>
                  </a:lnTo>
                  <a:lnTo>
                    <a:pt x="1285" y="330"/>
                  </a:lnTo>
                  <a:lnTo>
                    <a:pt x="1285" y="332"/>
                  </a:lnTo>
                  <a:lnTo>
                    <a:pt x="1287" y="332"/>
                  </a:lnTo>
                  <a:lnTo>
                    <a:pt x="1289" y="332"/>
                  </a:lnTo>
                  <a:lnTo>
                    <a:pt x="1290" y="330"/>
                  </a:lnTo>
                  <a:lnTo>
                    <a:pt x="1292" y="330"/>
                  </a:lnTo>
                  <a:lnTo>
                    <a:pt x="1290" y="330"/>
                  </a:lnTo>
                  <a:lnTo>
                    <a:pt x="1289" y="329"/>
                  </a:lnTo>
                  <a:lnTo>
                    <a:pt x="1287" y="329"/>
                  </a:lnTo>
                  <a:lnTo>
                    <a:pt x="1287" y="327"/>
                  </a:lnTo>
                  <a:lnTo>
                    <a:pt x="1285" y="326"/>
                  </a:lnTo>
                  <a:lnTo>
                    <a:pt x="1285" y="324"/>
                  </a:lnTo>
                  <a:lnTo>
                    <a:pt x="1284" y="324"/>
                  </a:lnTo>
                  <a:lnTo>
                    <a:pt x="1282" y="322"/>
                  </a:lnTo>
                  <a:lnTo>
                    <a:pt x="1280" y="322"/>
                  </a:lnTo>
                  <a:lnTo>
                    <a:pt x="1280" y="321"/>
                  </a:lnTo>
                  <a:lnTo>
                    <a:pt x="1279" y="319"/>
                  </a:lnTo>
                  <a:lnTo>
                    <a:pt x="1279" y="317"/>
                  </a:lnTo>
                  <a:lnTo>
                    <a:pt x="1279" y="316"/>
                  </a:lnTo>
                  <a:lnTo>
                    <a:pt x="1279" y="314"/>
                  </a:lnTo>
                  <a:lnTo>
                    <a:pt x="1279" y="313"/>
                  </a:lnTo>
                  <a:lnTo>
                    <a:pt x="1280" y="313"/>
                  </a:lnTo>
                  <a:lnTo>
                    <a:pt x="1280" y="314"/>
                  </a:lnTo>
                  <a:lnTo>
                    <a:pt x="1282" y="316"/>
                  </a:lnTo>
                  <a:lnTo>
                    <a:pt x="1284" y="317"/>
                  </a:lnTo>
                  <a:lnTo>
                    <a:pt x="1285" y="317"/>
                  </a:lnTo>
                  <a:lnTo>
                    <a:pt x="1285" y="319"/>
                  </a:lnTo>
                  <a:lnTo>
                    <a:pt x="1285" y="321"/>
                  </a:lnTo>
                  <a:lnTo>
                    <a:pt x="1287" y="322"/>
                  </a:lnTo>
                  <a:lnTo>
                    <a:pt x="1287" y="324"/>
                  </a:lnTo>
                  <a:lnTo>
                    <a:pt x="1289" y="326"/>
                  </a:lnTo>
                  <a:lnTo>
                    <a:pt x="1289" y="327"/>
                  </a:lnTo>
                  <a:lnTo>
                    <a:pt x="1290" y="329"/>
                  </a:lnTo>
                  <a:lnTo>
                    <a:pt x="1290" y="327"/>
                  </a:lnTo>
                  <a:lnTo>
                    <a:pt x="1289" y="324"/>
                  </a:lnTo>
                  <a:lnTo>
                    <a:pt x="1290" y="324"/>
                  </a:lnTo>
                  <a:lnTo>
                    <a:pt x="1292" y="326"/>
                  </a:lnTo>
                  <a:lnTo>
                    <a:pt x="1292" y="324"/>
                  </a:lnTo>
                  <a:lnTo>
                    <a:pt x="1290" y="324"/>
                  </a:lnTo>
                  <a:lnTo>
                    <a:pt x="1290" y="322"/>
                  </a:lnTo>
                  <a:lnTo>
                    <a:pt x="1290" y="321"/>
                  </a:lnTo>
                  <a:lnTo>
                    <a:pt x="1289" y="319"/>
                  </a:lnTo>
                  <a:lnTo>
                    <a:pt x="1289" y="317"/>
                  </a:lnTo>
                  <a:lnTo>
                    <a:pt x="1289" y="316"/>
                  </a:lnTo>
                  <a:lnTo>
                    <a:pt x="1287" y="316"/>
                  </a:lnTo>
                  <a:lnTo>
                    <a:pt x="1287" y="314"/>
                  </a:lnTo>
                  <a:lnTo>
                    <a:pt x="1287" y="313"/>
                  </a:lnTo>
                  <a:lnTo>
                    <a:pt x="1285" y="313"/>
                  </a:lnTo>
                  <a:lnTo>
                    <a:pt x="1287" y="313"/>
                  </a:lnTo>
                  <a:lnTo>
                    <a:pt x="1289" y="314"/>
                  </a:lnTo>
                  <a:lnTo>
                    <a:pt x="1289" y="313"/>
                  </a:lnTo>
                  <a:lnTo>
                    <a:pt x="1290" y="313"/>
                  </a:lnTo>
                  <a:lnTo>
                    <a:pt x="1290" y="314"/>
                  </a:lnTo>
                  <a:lnTo>
                    <a:pt x="1290" y="316"/>
                  </a:lnTo>
                  <a:lnTo>
                    <a:pt x="1292" y="316"/>
                  </a:lnTo>
                  <a:lnTo>
                    <a:pt x="1292" y="317"/>
                  </a:lnTo>
                  <a:lnTo>
                    <a:pt x="1293" y="317"/>
                  </a:lnTo>
                  <a:lnTo>
                    <a:pt x="1293" y="319"/>
                  </a:lnTo>
                  <a:lnTo>
                    <a:pt x="1293" y="321"/>
                  </a:lnTo>
                  <a:lnTo>
                    <a:pt x="1295" y="321"/>
                  </a:lnTo>
                  <a:lnTo>
                    <a:pt x="1295" y="319"/>
                  </a:lnTo>
                  <a:lnTo>
                    <a:pt x="1295" y="317"/>
                  </a:lnTo>
                  <a:lnTo>
                    <a:pt x="1297" y="316"/>
                  </a:lnTo>
                  <a:lnTo>
                    <a:pt x="1298" y="316"/>
                  </a:lnTo>
                  <a:lnTo>
                    <a:pt x="1298" y="314"/>
                  </a:lnTo>
                  <a:lnTo>
                    <a:pt x="1297" y="314"/>
                  </a:lnTo>
                  <a:lnTo>
                    <a:pt x="1298" y="314"/>
                  </a:lnTo>
                  <a:lnTo>
                    <a:pt x="1300" y="314"/>
                  </a:lnTo>
                  <a:lnTo>
                    <a:pt x="1300" y="316"/>
                  </a:lnTo>
                  <a:lnTo>
                    <a:pt x="1302" y="317"/>
                  </a:lnTo>
                  <a:lnTo>
                    <a:pt x="1302" y="316"/>
                  </a:lnTo>
                  <a:lnTo>
                    <a:pt x="1302" y="317"/>
                  </a:lnTo>
                  <a:lnTo>
                    <a:pt x="1302" y="319"/>
                  </a:lnTo>
                  <a:lnTo>
                    <a:pt x="1302" y="321"/>
                  </a:lnTo>
                  <a:lnTo>
                    <a:pt x="1302" y="322"/>
                  </a:lnTo>
                  <a:lnTo>
                    <a:pt x="1302" y="324"/>
                  </a:lnTo>
                  <a:lnTo>
                    <a:pt x="1302" y="326"/>
                  </a:lnTo>
                  <a:lnTo>
                    <a:pt x="1300" y="326"/>
                  </a:lnTo>
                  <a:lnTo>
                    <a:pt x="1300" y="327"/>
                  </a:lnTo>
                  <a:lnTo>
                    <a:pt x="1300" y="330"/>
                  </a:lnTo>
                  <a:lnTo>
                    <a:pt x="1300" y="332"/>
                  </a:lnTo>
                  <a:lnTo>
                    <a:pt x="1298" y="330"/>
                  </a:lnTo>
                  <a:lnTo>
                    <a:pt x="1298" y="332"/>
                  </a:lnTo>
                  <a:lnTo>
                    <a:pt x="1300" y="332"/>
                  </a:lnTo>
                  <a:lnTo>
                    <a:pt x="1302" y="332"/>
                  </a:lnTo>
                  <a:lnTo>
                    <a:pt x="1302" y="330"/>
                  </a:lnTo>
                  <a:lnTo>
                    <a:pt x="1302" y="329"/>
                  </a:lnTo>
                  <a:lnTo>
                    <a:pt x="1302" y="327"/>
                  </a:lnTo>
                  <a:lnTo>
                    <a:pt x="1302" y="326"/>
                  </a:lnTo>
                  <a:lnTo>
                    <a:pt x="1303" y="326"/>
                  </a:lnTo>
                  <a:lnTo>
                    <a:pt x="1303" y="324"/>
                  </a:lnTo>
                  <a:lnTo>
                    <a:pt x="1303" y="322"/>
                  </a:lnTo>
                  <a:lnTo>
                    <a:pt x="1305" y="322"/>
                  </a:lnTo>
                  <a:lnTo>
                    <a:pt x="1306" y="322"/>
                  </a:lnTo>
                  <a:lnTo>
                    <a:pt x="1306" y="324"/>
                  </a:lnTo>
                  <a:lnTo>
                    <a:pt x="1308" y="324"/>
                  </a:lnTo>
                  <a:lnTo>
                    <a:pt x="1310" y="326"/>
                  </a:lnTo>
                  <a:lnTo>
                    <a:pt x="1310" y="327"/>
                  </a:lnTo>
                  <a:lnTo>
                    <a:pt x="1310" y="329"/>
                  </a:lnTo>
                  <a:lnTo>
                    <a:pt x="1308" y="327"/>
                  </a:lnTo>
                  <a:lnTo>
                    <a:pt x="1308" y="329"/>
                  </a:lnTo>
                  <a:lnTo>
                    <a:pt x="1308" y="330"/>
                  </a:lnTo>
                  <a:lnTo>
                    <a:pt x="1308" y="329"/>
                  </a:lnTo>
                  <a:lnTo>
                    <a:pt x="1308" y="330"/>
                  </a:lnTo>
                  <a:lnTo>
                    <a:pt x="1308" y="332"/>
                  </a:lnTo>
                  <a:lnTo>
                    <a:pt x="1308" y="334"/>
                  </a:lnTo>
                  <a:lnTo>
                    <a:pt x="1306" y="334"/>
                  </a:lnTo>
                  <a:lnTo>
                    <a:pt x="1306" y="335"/>
                  </a:lnTo>
                  <a:lnTo>
                    <a:pt x="1305" y="335"/>
                  </a:lnTo>
                  <a:lnTo>
                    <a:pt x="1303" y="335"/>
                  </a:lnTo>
                  <a:lnTo>
                    <a:pt x="1303" y="337"/>
                  </a:lnTo>
                  <a:lnTo>
                    <a:pt x="1305" y="335"/>
                  </a:lnTo>
                  <a:lnTo>
                    <a:pt x="1306" y="339"/>
                  </a:lnTo>
                  <a:lnTo>
                    <a:pt x="1308" y="339"/>
                  </a:lnTo>
                  <a:lnTo>
                    <a:pt x="1308" y="337"/>
                  </a:lnTo>
                  <a:lnTo>
                    <a:pt x="1308" y="335"/>
                  </a:lnTo>
                  <a:lnTo>
                    <a:pt x="1308" y="334"/>
                  </a:lnTo>
                  <a:lnTo>
                    <a:pt x="1308" y="332"/>
                  </a:lnTo>
                  <a:lnTo>
                    <a:pt x="1310" y="332"/>
                  </a:lnTo>
                  <a:lnTo>
                    <a:pt x="1310" y="334"/>
                  </a:lnTo>
                  <a:lnTo>
                    <a:pt x="1311" y="334"/>
                  </a:lnTo>
                  <a:lnTo>
                    <a:pt x="1311" y="332"/>
                  </a:lnTo>
                  <a:lnTo>
                    <a:pt x="1311" y="334"/>
                  </a:lnTo>
                  <a:lnTo>
                    <a:pt x="1313" y="334"/>
                  </a:lnTo>
                  <a:lnTo>
                    <a:pt x="1311" y="337"/>
                  </a:lnTo>
                  <a:lnTo>
                    <a:pt x="1311" y="339"/>
                  </a:lnTo>
                  <a:lnTo>
                    <a:pt x="1311" y="340"/>
                  </a:lnTo>
                  <a:lnTo>
                    <a:pt x="1313" y="342"/>
                  </a:lnTo>
                  <a:lnTo>
                    <a:pt x="1311" y="342"/>
                  </a:lnTo>
                  <a:lnTo>
                    <a:pt x="1313" y="343"/>
                  </a:lnTo>
                  <a:lnTo>
                    <a:pt x="1315" y="343"/>
                  </a:lnTo>
                  <a:lnTo>
                    <a:pt x="1313" y="345"/>
                  </a:lnTo>
                  <a:lnTo>
                    <a:pt x="1311" y="345"/>
                  </a:lnTo>
                  <a:lnTo>
                    <a:pt x="1311" y="347"/>
                  </a:lnTo>
                  <a:lnTo>
                    <a:pt x="1310" y="345"/>
                  </a:lnTo>
                  <a:lnTo>
                    <a:pt x="1310" y="347"/>
                  </a:lnTo>
                  <a:lnTo>
                    <a:pt x="1308" y="347"/>
                  </a:lnTo>
                  <a:lnTo>
                    <a:pt x="1308" y="348"/>
                  </a:lnTo>
                  <a:lnTo>
                    <a:pt x="1306" y="348"/>
                  </a:lnTo>
                  <a:lnTo>
                    <a:pt x="1306" y="350"/>
                  </a:lnTo>
                  <a:lnTo>
                    <a:pt x="1305" y="350"/>
                  </a:lnTo>
                  <a:lnTo>
                    <a:pt x="1306" y="350"/>
                  </a:lnTo>
                  <a:lnTo>
                    <a:pt x="1305" y="350"/>
                  </a:lnTo>
                  <a:lnTo>
                    <a:pt x="1306" y="350"/>
                  </a:lnTo>
                  <a:lnTo>
                    <a:pt x="1306" y="352"/>
                  </a:lnTo>
                  <a:lnTo>
                    <a:pt x="1305" y="352"/>
                  </a:lnTo>
                  <a:lnTo>
                    <a:pt x="1305" y="350"/>
                  </a:lnTo>
                  <a:lnTo>
                    <a:pt x="1305" y="352"/>
                  </a:lnTo>
                  <a:lnTo>
                    <a:pt x="1303" y="352"/>
                  </a:lnTo>
                  <a:lnTo>
                    <a:pt x="1305" y="352"/>
                  </a:lnTo>
                  <a:lnTo>
                    <a:pt x="1305" y="353"/>
                  </a:lnTo>
                  <a:lnTo>
                    <a:pt x="1306" y="353"/>
                  </a:lnTo>
                  <a:lnTo>
                    <a:pt x="1306" y="355"/>
                  </a:lnTo>
                  <a:lnTo>
                    <a:pt x="1306" y="356"/>
                  </a:lnTo>
                  <a:lnTo>
                    <a:pt x="1306" y="355"/>
                  </a:lnTo>
                  <a:lnTo>
                    <a:pt x="1305" y="356"/>
                  </a:lnTo>
                  <a:lnTo>
                    <a:pt x="1305" y="358"/>
                  </a:lnTo>
                  <a:lnTo>
                    <a:pt x="1306" y="358"/>
                  </a:lnTo>
                  <a:lnTo>
                    <a:pt x="1306" y="356"/>
                  </a:lnTo>
                  <a:lnTo>
                    <a:pt x="1308" y="356"/>
                  </a:lnTo>
                  <a:lnTo>
                    <a:pt x="1308" y="358"/>
                  </a:lnTo>
                  <a:lnTo>
                    <a:pt x="1308" y="360"/>
                  </a:lnTo>
                  <a:lnTo>
                    <a:pt x="1310" y="360"/>
                  </a:lnTo>
                  <a:lnTo>
                    <a:pt x="1310" y="361"/>
                  </a:lnTo>
                  <a:lnTo>
                    <a:pt x="1308" y="361"/>
                  </a:lnTo>
                  <a:lnTo>
                    <a:pt x="1308" y="363"/>
                  </a:lnTo>
                  <a:lnTo>
                    <a:pt x="1306" y="363"/>
                  </a:lnTo>
                  <a:lnTo>
                    <a:pt x="1305" y="363"/>
                  </a:lnTo>
                  <a:lnTo>
                    <a:pt x="1305" y="361"/>
                  </a:lnTo>
                  <a:lnTo>
                    <a:pt x="1305" y="363"/>
                  </a:lnTo>
                  <a:lnTo>
                    <a:pt x="1305" y="365"/>
                  </a:lnTo>
                  <a:lnTo>
                    <a:pt x="1306" y="365"/>
                  </a:lnTo>
                  <a:lnTo>
                    <a:pt x="1308" y="365"/>
                  </a:lnTo>
                  <a:lnTo>
                    <a:pt x="1308" y="366"/>
                  </a:lnTo>
                  <a:lnTo>
                    <a:pt x="1308" y="368"/>
                  </a:lnTo>
                  <a:lnTo>
                    <a:pt x="1310" y="368"/>
                  </a:lnTo>
                  <a:lnTo>
                    <a:pt x="1311" y="366"/>
                  </a:lnTo>
                  <a:lnTo>
                    <a:pt x="1311" y="368"/>
                  </a:lnTo>
                  <a:lnTo>
                    <a:pt x="1313" y="368"/>
                  </a:lnTo>
                  <a:lnTo>
                    <a:pt x="1311" y="369"/>
                  </a:lnTo>
                  <a:lnTo>
                    <a:pt x="1311" y="371"/>
                  </a:lnTo>
                  <a:lnTo>
                    <a:pt x="1310" y="371"/>
                  </a:lnTo>
                  <a:lnTo>
                    <a:pt x="1308" y="371"/>
                  </a:lnTo>
                  <a:lnTo>
                    <a:pt x="1310" y="371"/>
                  </a:lnTo>
                  <a:lnTo>
                    <a:pt x="1308" y="371"/>
                  </a:lnTo>
                  <a:lnTo>
                    <a:pt x="1306" y="373"/>
                  </a:lnTo>
                  <a:lnTo>
                    <a:pt x="1305" y="374"/>
                  </a:lnTo>
                  <a:lnTo>
                    <a:pt x="1303" y="374"/>
                  </a:lnTo>
                  <a:lnTo>
                    <a:pt x="1303" y="373"/>
                  </a:lnTo>
                  <a:lnTo>
                    <a:pt x="1302" y="373"/>
                  </a:lnTo>
                  <a:lnTo>
                    <a:pt x="1298" y="373"/>
                  </a:lnTo>
                  <a:lnTo>
                    <a:pt x="1297" y="374"/>
                  </a:lnTo>
                  <a:lnTo>
                    <a:pt x="1295" y="376"/>
                  </a:lnTo>
                  <a:lnTo>
                    <a:pt x="1293" y="376"/>
                  </a:lnTo>
                  <a:lnTo>
                    <a:pt x="1293" y="374"/>
                  </a:lnTo>
                  <a:lnTo>
                    <a:pt x="1292" y="374"/>
                  </a:lnTo>
                  <a:lnTo>
                    <a:pt x="1292" y="376"/>
                  </a:lnTo>
                  <a:lnTo>
                    <a:pt x="1292" y="374"/>
                  </a:lnTo>
                  <a:lnTo>
                    <a:pt x="1290" y="376"/>
                  </a:lnTo>
                  <a:lnTo>
                    <a:pt x="1289" y="376"/>
                  </a:lnTo>
                  <a:lnTo>
                    <a:pt x="1287" y="376"/>
                  </a:lnTo>
                  <a:lnTo>
                    <a:pt x="1287" y="378"/>
                  </a:lnTo>
                  <a:lnTo>
                    <a:pt x="1287" y="376"/>
                  </a:lnTo>
                  <a:lnTo>
                    <a:pt x="1289" y="374"/>
                  </a:lnTo>
                  <a:lnTo>
                    <a:pt x="1289" y="376"/>
                  </a:lnTo>
                  <a:lnTo>
                    <a:pt x="1289" y="374"/>
                  </a:lnTo>
                  <a:lnTo>
                    <a:pt x="1289" y="373"/>
                  </a:lnTo>
                  <a:lnTo>
                    <a:pt x="1287" y="373"/>
                  </a:lnTo>
                  <a:lnTo>
                    <a:pt x="1287" y="371"/>
                  </a:lnTo>
                  <a:lnTo>
                    <a:pt x="1289" y="371"/>
                  </a:lnTo>
                  <a:lnTo>
                    <a:pt x="1289" y="369"/>
                  </a:lnTo>
                  <a:lnTo>
                    <a:pt x="1287" y="369"/>
                  </a:lnTo>
                  <a:lnTo>
                    <a:pt x="1285" y="369"/>
                  </a:lnTo>
                  <a:lnTo>
                    <a:pt x="1284" y="371"/>
                  </a:lnTo>
                  <a:lnTo>
                    <a:pt x="1284" y="373"/>
                  </a:lnTo>
                  <a:lnTo>
                    <a:pt x="1282" y="374"/>
                  </a:lnTo>
                  <a:lnTo>
                    <a:pt x="1284" y="374"/>
                  </a:lnTo>
                  <a:lnTo>
                    <a:pt x="1282" y="374"/>
                  </a:lnTo>
                  <a:lnTo>
                    <a:pt x="1282" y="376"/>
                  </a:lnTo>
                  <a:lnTo>
                    <a:pt x="1282" y="378"/>
                  </a:lnTo>
                  <a:lnTo>
                    <a:pt x="1280" y="379"/>
                  </a:lnTo>
                  <a:lnTo>
                    <a:pt x="1279" y="379"/>
                  </a:lnTo>
                  <a:lnTo>
                    <a:pt x="1279" y="381"/>
                  </a:lnTo>
                  <a:lnTo>
                    <a:pt x="1277" y="383"/>
                  </a:lnTo>
                  <a:lnTo>
                    <a:pt x="1277" y="384"/>
                  </a:lnTo>
                  <a:lnTo>
                    <a:pt x="1276" y="384"/>
                  </a:lnTo>
                  <a:lnTo>
                    <a:pt x="1276" y="386"/>
                  </a:lnTo>
                  <a:lnTo>
                    <a:pt x="1274" y="387"/>
                  </a:lnTo>
                  <a:lnTo>
                    <a:pt x="1272" y="387"/>
                  </a:lnTo>
                  <a:lnTo>
                    <a:pt x="1272" y="389"/>
                  </a:lnTo>
                  <a:lnTo>
                    <a:pt x="1272" y="387"/>
                  </a:lnTo>
                  <a:lnTo>
                    <a:pt x="1272" y="389"/>
                  </a:lnTo>
                  <a:lnTo>
                    <a:pt x="1274" y="389"/>
                  </a:lnTo>
                  <a:lnTo>
                    <a:pt x="1272" y="391"/>
                  </a:lnTo>
                  <a:lnTo>
                    <a:pt x="1274" y="391"/>
                  </a:lnTo>
                  <a:lnTo>
                    <a:pt x="1272" y="391"/>
                  </a:lnTo>
                  <a:lnTo>
                    <a:pt x="1272" y="392"/>
                  </a:lnTo>
                  <a:lnTo>
                    <a:pt x="1272" y="394"/>
                  </a:lnTo>
                  <a:lnTo>
                    <a:pt x="1274" y="394"/>
                  </a:lnTo>
                  <a:lnTo>
                    <a:pt x="1274" y="392"/>
                  </a:lnTo>
                  <a:lnTo>
                    <a:pt x="1276" y="392"/>
                  </a:lnTo>
                  <a:lnTo>
                    <a:pt x="1274" y="394"/>
                  </a:lnTo>
                  <a:lnTo>
                    <a:pt x="1276" y="394"/>
                  </a:lnTo>
                  <a:lnTo>
                    <a:pt x="1276" y="396"/>
                  </a:lnTo>
                  <a:lnTo>
                    <a:pt x="1276" y="397"/>
                  </a:lnTo>
                  <a:lnTo>
                    <a:pt x="1274" y="397"/>
                  </a:lnTo>
                  <a:lnTo>
                    <a:pt x="1272" y="397"/>
                  </a:lnTo>
                  <a:lnTo>
                    <a:pt x="1272" y="399"/>
                  </a:lnTo>
                  <a:lnTo>
                    <a:pt x="1272" y="397"/>
                  </a:lnTo>
                  <a:lnTo>
                    <a:pt x="1272" y="399"/>
                  </a:lnTo>
                  <a:close/>
                  <a:moveTo>
                    <a:pt x="1341" y="313"/>
                  </a:moveTo>
                  <a:lnTo>
                    <a:pt x="1342" y="313"/>
                  </a:lnTo>
                  <a:lnTo>
                    <a:pt x="1344" y="313"/>
                  </a:lnTo>
                  <a:lnTo>
                    <a:pt x="1344" y="314"/>
                  </a:lnTo>
                  <a:lnTo>
                    <a:pt x="1342" y="314"/>
                  </a:lnTo>
                  <a:lnTo>
                    <a:pt x="1341" y="314"/>
                  </a:lnTo>
                  <a:lnTo>
                    <a:pt x="1341" y="313"/>
                  </a:lnTo>
                  <a:close/>
                  <a:moveTo>
                    <a:pt x="1306" y="313"/>
                  </a:moveTo>
                  <a:lnTo>
                    <a:pt x="1306" y="311"/>
                  </a:lnTo>
                  <a:lnTo>
                    <a:pt x="1306" y="313"/>
                  </a:lnTo>
                  <a:close/>
                  <a:moveTo>
                    <a:pt x="1297" y="311"/>
                  </a:moveTo>
                  <a:lnTo>
                    <a:pt x="1297" y="313"/>
                  </a:lnTo>
                  <a:lnTo>
                    <a:pt x="1298" y="313"/>
                  </a:lnTo>
                  <a:lnTo>
                    <a:pt x="1297" y="313"/>
                  </a:lnTo>
                  <a:lnTo>
                    <a:pt x="1298" y="313"/>
                  </a:lnTo>
                  <a:lnTo>
                    <a:pt x="1297" y="313"/>
                  </a:lnTo>
                  <a:lnTo>
                    <a:pt x="1295" y="313"/>
                  </a:lnTo>
                  <a:lnTo>
                    <a:pt x="1297" y="311"/>
                  </a:lnTo>
                  <a:close/>
                  <a:moveTo>
                    <a:pt x="1305" y="309"/>
                  </a:moveTo>
                  <a:lnTo>
                    <a:pt x="1305" y="308"/>
                  </a:lnTo>
                  <a:lnTo>
                    <a:pt x="1305" y="309"/>
                  </a:lnTo>
                  <a:close/>
                  <a:moveTo>
                    <a:pt x="1419" y="309"/>
                  </a:moveTo>
                  <a:lnTo>
                    <a:pt x="1419" y="308"/>
                  </a:lnTo>
                  <a:lnTo>
                    <a:pt x="1419" y="309"/>
                  </a:lnTo>
                  <a:close/>
                  <a:moveTo>
                    <a:pt x="1298" y="308"/>
                  </a:moveTo>
                  <a:lnTo>
                    <a:pt x="1300" y="308"/>
                  </a:lnTo>
                  <a:lnTo>
                    <a:pt x="1302" y="309"/>
                  </a:lnTo>
                  <a:lnTo>
                    <a:pt x="1300" y="309"/>
                  </a:lnTo>
                  <a:lnTo>
                    <a:pt x="1298" y="308"/>
                  </a:lnTo>
                  <a:close/>
                  <a:moveTo>
                    <a:pt x="1305" y="308"/>
                  </a:moveTo>
                  <a:lnTo>
                    <a:pt x="1306" y="308"/>
                  </a:lnTo>
                  <a:lnTo>
                    <a:pt x="1305" y="308"/>
                  </a:lnTo>
                  <a:close/>
                  <a:moveTo>
                    <a:pt x="1303" y="308"/>
                  </a:moveTo>
                  <a:lnTo>
                    <a:pt x="1305" y="308"/>
                  </a:lnTo>
                  <a:lnTo>
                    <a:pt x="1303" y="308"/>
                  </a:lnTo>
                  <a:close/>
                  <a:moveTo>
                    <a:pt x="1318" y="306"/>
                  </a:moveTo>
                  <a:lnTo>
                    <a:pt x="1319" y="306"/>
                  </a:lnTo>
                  <a:lnTo>
                    <a:pt x="1318" y="306"/>
                  </a:lnTo>
                  <a:close/>
                  <a:moveTo>
                    <a:pt x="1305" y="304"/>
                  </a:moveTo>
                  <a:lnTo>
                    <a:pt x="1306" y="304"/>
                  </a:lnTo>
                  <a:lnTo>
                    <a:pt x="1306" y="306"/>
                  </a:lnTo>
                  <a:lnTo>
                    <a:pt x="1305" y="304"/>
                  </a:lnTo>
                  <a:close/>
                  <a:moveTo>
                    <a:pt x="1305" y="306"/>
                  </a:moveTo>
                  <a:lnTo>
                    <a:pt x="1305" y="304"/>
                  </a:lnTo>
                  <a:lnTo>
                    <a:pt x="1305" y="306"/>
                  </a:lnTo>
                  <a:lnTo>
                    <a:pt x="1305" y="304"/>
                  </a:lnTo>
                  <a:lnTo>
                    <a:pt x="1305" y="306"/>
                  </a:lnTo>
                  <a:lnTo>
                    <a:pt x="1306" y="306"/>
                  </a:lnTo>
                  <a:lnTo>
                    <a:pt x="1305" y="306"/>
                  </a:lnTo>
                  <a:close/>
                  <a:moveTo>
                    <a:pt x="1302" y="304"/>
                  </a:moveTo>
                  <a:lnTo>
                    <a:pt x="1303" y="304"/>
                  </a:lnTo>
                  <a:lnTo>
                    <a:pt x="1305" y="304"/>
                  </a:lnTo>
                  <a:lnTo>
                    <a:pt x="1303" y="304"/>
                  </a:lnTo>
                  <a:lnTo>
                    <a:pt x="1305" y="306"/>
                  </a:lnTo>
                  <a:lnTo>
                    <a:pt x="1303" y="306"/>
                  </a:lnTo>
                  <a:lnTo>
                    <a:pt x="1302" y="306"/>
                  </a:lnTo>
                  <a:lnTo>
                    <a:pt x="1302" y="304"/>
                  </a:lnTo>
                  <a:close/>
                  <a:moveTo>
                    <a:pt x="1303" y="303"/>
                  </a:moveTo>
                  <a:lnTo>
                    <a:pt x="1303" y="304"/>
                  </a:lnTo>
                  <a:lnTo>
                    <a:pt x="1303" y="303"/>
                  </a:lnTo>
                  <a:close/>
                  <a:moveTo>
                    <a:pt x="1420" y="304"/>
                  </a:moveTo>
                  <a:lnTo>
                    <a:pt x="1420" y="303"/>
                  </a:lnTo>
                  <a:lnTo>
                    <a:pt x="1420" y="304"/>
                  </a:lnTo>
                  <a:close/>
                  <a:moveTo>
                    <a:pt x="1313" y="304"/>
                  </a:moveTo>
                  <a:lnTo>
                    <a:pt x="1313" y="303"/>
                  </a:lnTo>
                  <a:lnTo>
                    <a:pt x="1313" y="304"/>
                  </a:lnTo>
                  <a:close/>
                  <a:moveTo>
                    <a:pt x="1419" y="301"/>
                  </a:moveTo>
                  <a:lnTo>
                    <a:pt x="1419" y="303"/>
                  </a:lnTo>
                  <a:lnTo>
                    <a:pt x="1419" y="301"/>
                  </a:lnTo>
                  <a:close/>
                  <a:moveTo>
                    <a:pt x="1422" y="301"/>
                  </a:moveTo>
                  <a:lnTo>
                    <a:pt x="1422" y="300"/>
                  </a:lnTo>
                  <a:lnTo>
                    <a:pt x="1422" y="301"/>
                  </a:lnTo>
                  <a:close/>
                  <a:moveTo>
                    <a:pt x="1345" y="300"/>
                  </a:moveTo>
                  <a:lnTo>
                    <a:pt x="1345" y="301"/>
                  </a:lnTo>
                  <a:lnTo>
                    <a:pt x="1345" y="300"/>
                  </a:lnTo>
                  <a:close/>
                  <a:moveTo>
                    <a:pt x="1347" y="301"/>
                  </a:moveTo>
                  <a:lnTo>
                    <a:pt x="1347" y="300"/>
                  </a:lnTo>
                  <a:lnTo>
                    <a:pt x="1345" y="300"/>
                  </a:lnTo>
                  <a:lnTo>
                    <a:pt x="1347" y="300"/>
                  </a:lnTo>
                  <a:lnTo>
                    <a:pt x="1347" y="301"/>
                  </a:lnTo>
                  <a:close/>
                  <a:moveTo>
                    <a:pt x="1306" y="300"/>
                  </a:moveTo>
                  <a:lnTo>
                    <a:pt x="1308" y="298"/>
                  </a:lnTo>
                  <a:lnTo>
                    <a:pt x="1310" y="300"/>
                  </a:lnTo>
                  <a:lnTo>
                    <a:pt x="1311" y="300"/>
                  </a:lnTo>
                  <a:lnTo>
                    <a:pt x="1313" y="300"/>
                  </a:lnTo>
                  <a:lnTo>
                    <a:pt x="1313" y="301"/>
                  </a:lnTo>
                  <a:lnTo>
                    <a:pt x="1311" y="303"/>
                  </a:lnTo>
                  <a:lnTo>
                    <a:pt x="1310" y="303"/>
                  </a:lnTo>
                  <a:lnTo>
                    <a:pt x="1308" y="304"/>
                  </a:lnTo>
                  <a:lnTo>
                    <a:pt x="1308" y="303"/>
                  </a:lnTo>
                  <a:lnTo>
                    <a:pt x="1306" y="303"/>
                  </a:lnTo>
                  <a:lnTo>
                    <a:pt x="1308" y="303"/>
                  </a:lnTo>
                  <a:lnTo>
                    <a:pt x="1310" y="303"/>
                  </a:lnTo>
                  <a:lnTo>
                    <a:pt x="1308" y="303"/>
                  </a:lnTo>
                  <a:lnTo>
                    <a:pt x="1310" y="303"/>
                  </a:lnTo>
                  <a:lnTo>
                    <a:pt x="1308" y="303"/>
                  </a:lnTo>
                  <a:lnTo>
                    <a:pt x="1308" y="301"/>
                  </a:lnTo>
                  <a:lnTo>
                    <a:pt x="1310" y="301"/>
                  </a:lnTo>
                  <a:lnTo>
                    <a:pt x="1311" y="300"/>
                  </a:lnTo>
                  <a:lnTo>
                    <a:pt x="1308" y="300"/>
                  </a:lnTo>
                  <a:lnTo>
                    <a:pt x="1306" y="300"/>
                  </a:lnTo>
                  <a:close/>
                  <a:moveTo>
                    <a:pt x="1344" y="296"/>
                  </a:moveTo>
                  <a:lnTo>
                    <a:pt x="1345" y="296"/>
                  </a:lnTo>
                  <a:lnTo>
                    <a:pt x="1345" y="298"/>
                  </a:lnTo>
                  <a:lnTo>
                    <a:pt x="1344" y="300"/>
                  </a:lnTo>
                  <a:lnTo>
                    <a:pt x="1342" y="298"/>
                  </a:lnTo>
                  <a:lnTo>
                    <a:pt x="1342" y="296"/>
                  </a:lnTo>
                  <a:lnTo>
                    <a:pt x="1344" y="296"/>
                  </a:lnTo>
                  <a:close/>
                  <a:moveTo>
                    <a:pt x="1311" y="298"/>
                  </a:moveTo>
                  <a:lnTo>
                    <a:pt x="1310" y="296"/>
                  </a:lnTo>
                  <a:lnTo>
                    <a:pt x="1310" y="295"/>
                  </a:lnTo>
                  <a:lnTo>
                    <a:pt x="1311" y="295"/>
                  </a:lnTo>
                  <a:lnTo>
                    <a:pt x="1311" y="296"/>
                  </a:lnTo>
                  <a:lnTo>
                    <a:pt x="1313" y="298"/>
                  </a:lnTo>
                  <a:lnTo>
                    <a:pt x="1311" y="298"/>
                  </a:lnTo>
                  <a:close/>
                  <a:moveTo>
                    <a:pt x="1305" y="290"/>
                  </a:moveTo>
                  <a:lnTo>
                    <a:pt x="1306" y="290"/>
                  </a:lnTo>
                  <a:lnTo>
                    <a:pt x="1306" y="291"/>
                  </a:lnTo>
                  <a:lnTo>
                    <a:pt x="1308" y="291"/>
                  </a:lnTo>
                  <a:lnTo>
                    <a:pt x="1306" y="291"/>
                  </a:lnTo>
                  <a:lnTo>
                    <a:pt x="1305" y="291"/>
                  </a:lnTo>
                  <a:lnTo>
                    <a:pt x="1305" y="290"/>
                  </a:lnTo>
                  <a:close/>
                  <a:moveTo>
                    <a:pt x="1352" y="288"/>
                  </a:moveTo>
                  <a:lnTo>
                    <a:pt x="1354" y="288"/>
                  </a:lnTo>
                  <a:lnTo>
                    <a:pt x="1354" y="290"/>
                  </a:lnTo>
                  <a:lnTo>
                    <a:pt x="1354" y="291"/>
                  </a:lnTo>
                  <a:lnTo>
                    <a:pt x="1354" y="293"/>
                  </a:lnTo>
                  <a:lnTo>
                    <a:pt x="1352" y="295"/>
                  </a:lnTo>
                  <a:lnTo>
                    <a:pt x="1352" y="296"/>
                  </a:lnTo>
                  <a:lnTo>
                    <a:pt x="1352" y="298"/>
                  </a:lnTo>
                  <a:lnTo>
                    <a:pt x="1352" y="300"/>
                  </a:lnTo>
                  <a:lnTo>
                    <a:pt x="1350" y="300"/>
                  </a:lnTo>
                  <a:lnTo>
                    <a:pt x="1350" y="301"/>
                  </a:lnTo>
                  <a:lnTo>
                    <a:pt x="1350" y="300"/>
                  </a:lnTo>
                  <a:lnTo>
                    <a:pt x="1349" y="298"/>
                  </a:lnTo>
                  <a:lnTo>
                    <a:pt x="1349" y="296"/>
                  </a:lnTo>
                  <a:lnTo>
                    <a:pt x="1349" y="295"/>
                  </a:lnTo>
                  <a:lnTo>
                    <a:pt x="1349" y="293"/>
                  </a:lnTo>
                  <a:lnTo>
                    <a:pt x="1349" y="295"/>
                  </a:lnTo>
                  <a:lnTo>
                    <a:pt x="1349" y="293"/>
                  </a:lnTo>
                  <a:lnTo>
                    <a:pt x="1349" y="291"/>
                  </a:lnTo>
                  <a:lnTo>
                    <a:pt x="1349" y="293"/>
                  </a:lnTo>
                  <a:lnTo>
                    <a:pt x="1349" y="291"/>
                  </a:lnTo>
                  <a:lnTo>
                    <a:pt x="1350" y="291"/>
                  </a:lnTo>
                  <a:lnTo>
                    <a:pt x="1350" y="290"/>
                  </a:lnTo>
                  <a:lnTo>
                    <a:pt x="1352" y="290"/>
                  </a:lnTo>
                  <a:lnTo>
                    <a:pt x="1352" y="288"/>
                  </a:lnTo>
                  <a:close/>
                  <a:moveTo>
                    <a:pt x="1420" y="287"/>
                  </a:moveTo>
                  <a:lnTo>
                    <a:pt x="1422" y="287"/>
                  </a:lnTo>
                  <a:lnTo>
                    <a:pt x="1420" y="287"/>
                  </a:lnTo>
                  <a:close/>
                  <a:moveTo>
                    <a:pt x="1315" y="291"/>
                  </a:moveTo>
                  <a:lnTo>
                    <a:pt x="1313" y="291"/>
                  </a:lnTo>
                  <a:lnTo>
                    <a:pt x="1311" y="290"/>
                  </a:lnTo>
                  <a:lnTo>
                    <a:pt x="1310" y="290"/>
                  </a:lnTo>
                  <a:lnTo>
                    <a:pt x="1310" y="288"/>
                  </a:lnTo>
                  <a:lnTo>
                    <a:pt x="1311" y="287"/>
                  </a:lnTo>
                  <a:lnTo>
                    <a:pt x="1313" y="287"/>
                  </a:lnTo>
                  <a:lnTo>
                    <a:pt x="1315" y="288"/>
                  </a:lnTo>
                  <a:lnTo>
                    <a:pt x="1315" y="290"/>
                  </a:lnTo>
                  <a:lnTo>
                    <a:pt x="1315" y="291"/>
                  </a:lnTo>
                  <a:close/>
                  <a:moveTo>
                    <a:pt x="1308" y="288"/>
                  </a:moveTo>
                  <a:lnTo>
                    <a:pt x="1306" y="288"/>
                  </a:lnTo>
                  <a:lnTo>
                    <a:pt x="1306" y="287"/>
                  </a:lnTo>
                  <a:lnTo>
                    <a:pt x="1308" y="287"/>
                  </a:lnTo>
                  <a:lnTo>
                    <a:pt x="1308" y="288"/>
                  </a:lnTo>
                  <a:close/>
                  <a:moveTo>
                    <a:pt x="1305" y="287"/>
                  </a:moveTo>
                  <a:lnTo>
                    <a:pt x="1306" y="287"/>
                  </a:lnTo>
                  <a:lnTo>
                    <a:pt x="1305" y="287"/>
                  </a:lnTo>
                  <a:close/>
                  <a:moveTo>
                    <a:pt x="1308" y="285"/>
                  </a:moveTo>
                  <a:lnTo>
                    <a:pt x="1310" y="285"/>
                  </a:lnTo>
                  <a:lnTo>
                    <a:pt x="1310" y="287"/>
                  </a:lnTo>
                  <a:lnTo>
                    <a:pt x="1310" y="285"/>
                  </a:lnTo>
                  <a:lnTo>
                    <a:pt x="1310" y="287"/>
                  </a:lnTo>
                  <a:lnTo>
                    <a:pt x="1310" y="288"/>
                  </a:lnTo>
                  <a:lnTo>
                    <a:pt x="1308" y="288"/>
                  </a:lnTo>
                  <a:lnTo>
                    <a:pt x="1308" y="287"/>
                  </a:lnTo>
                  <a:lnTo>
                    <a:pt x="1308" y="285"/>
                  </a:lnTo>
                  <a:close/>
                  <a:moveTo>
                    <a:pt x="1305" y="283"/>
                  </a:moveTo>
                  <a:lnTo>
                    <a:pt x="1305" y="285"/>
                  </a:lnTo>
                  <a:lnTo>
                    <a:pt x="1305" y="283"/>
                  </a:lnTo>
                  <a:close/>
                  <a:moveTo>
                    <a:pt x="1337" y="285"/>
                  </a:moveTo>
                  <a:lnTo>
                    <a:pt x="1337" y="283"/>
                  </a:lnTo>
                  <a:lnTo>
                    <a:pt x="1337" y="285"/>
                  </a:lnTo>
                  <a:close/>
                  <a:moveTo>
                    <a:pt x="1420" y="283"/>
                  </a:moveTo>
                  <a:lnTo>
                    <a:pt x="1422" y="283"/>
                  </a:lnTo>
                  <a:lnTo>
                    <a:pt x="1422" y="285"/>
                  </a:lnTo>
                  <a:lnTo>
                    <a:pt x="1422" y="287"/>
                  </a:lnTo>
                  <a:lnTo>
                    <a:pt x="1420" y="287"/>
                  </a:lnTo>
                  <a:lnTo>
                    <a:pt x="1420" y="285"/>
                  </a:lnTo>
                  <a:lnTo>
                    <a:pt x="1420" y="283"/>
                  </a:lnTo>
                  <a:lnTo>
                    <a:pt x="1422" y="283"/>
                  </a:lnTo>
                  <a:lnTo>
                    <a:pt x="1420" y="283"/>
                  </a:lnTo>
                  <a:close/>
                  <a:moveTo>
                    <a:pt x="1308" y="283"/>
                  </a:moveTo>
                  <a:lnTo>
                    <a:pt x="1308" y="282"/>
                  </a:lnTo>
                  <a:lnTo>
                    <a:pt x="1310" y="282"/>
                  </a:lnTo>
                  <a:lnTo>
                    <a:pt x="1308" y="283"/>
                  </a:lnTo>
                  <a:close/>
                  <a:moveTo>
                    <a:pt x="1308" y="283"/>
                  </a:moveTo>
                  <a:lnTo>
                    <a:pt x="1308" y="282"/>
                  </a:lnTo>
                  <a:lnTo>
                    <a:pt x="1308" y="283"/>
                  </a:lnTo>
                  <a:close/>
                  <a:moveTo>
                    <a:pt x="1308" y="282"/>
                  </a:moveTo>
                  <a:lnTo>
                    <a:pt x="1310" y="282"/>
                  </a:lnTo>
                  <a:lnTo>
                    <a:pt x="1308" y="282"/>
                  </a:lnTo>
                  <a:close/>
                  <a:moveTo>
                    <a:pt x="1354" y="277"/>
                  </a:moveTo>
                  <a:lnTo>
                    <a:pt x="1355" y="278"/>
                  </a:lnTo>
                  <a:lnTo>
                    <a:pt x="1354" y="277"/>
                  </a:lnTo>
                  <a:close/>
                  <a:moveTo>
                    <a:pt x="1315" y="274"/>
                  </a:moveTo>
                  <a:lnTo>
                    <a:pt x="1316" y="274"/>
                  </a:lnTo>
                  <a:lnTo>
                    <a:pt x="1315" y="274"/>
                  </a:lnTo>
                  <a:close/>
                  <a:moveTo>
                    <a:pt x="1321" y="275"/>
                  </a:moveTo>
                  <a:lnTo>
                    <a:pt x="1323" y="275"/>
                  </a:lnTo>
                  <a:lnTo>
                    <a:pt x="1321" y="277"/>
                  </a:lnTo>
                  <a:lnTo>
                    <a:pt x="1321" y="275"/>
                  </a:lnTo>
                  <a:lnTo>
                    <a:pt x="1321" y="274"/>
                  </a:lnTo>
                  <a:lnTo>
                    <a:pt x="1321" y="275"/>
                  </a:lnTo>
                  <a:close/>
                  <a:moveTo>
                    <a:pt x="1331" y="274"/>
                  </a:moveTo>
                  <a:lnTo>
                    <a:pt x="1331" y="272"/>
                  </a:lnTo>
                  <a:lnTo>
                    <a:pt x="1331" y="274"/>
                  </a:lnTo>
                  <a:lnTo>
                    <a:pt x="1332" y="274"/>
                  </a:lnTo>
                  <a:lnTo>
                    <a:pt x="1332" y="275"/>
                  </a:lnTo>
                  <a:lnTo>
                    <a:pt x="1331" y="275"/>
                  </a:lnTo>
                  <a:lnTo>
                    <a:pt x="1331" y="274"/>
                  </a:lnTo>
                  <a:close/>
                  <a:moveTo>
                    <a:pt x="1315" y="274"/>
                  </a:moveTo>
                  <a:lnTo>
                    <a:pt x="1315" y="272"/>
                  </a:lnTo>
                  <a:lnTo>
                    <a:pt x="1315" y="274"/>
                  </a:lnTo>
                  <a:close/>
                  <a:moveTo>
                    <a:pt x="1326" y="270"/>
                  </a:moveTo>
                  <a:lnTo>
                    <a:pt x="1326" y="272"/>
                  </a:lnTo>
                  <a:lnTo>
                    <a:pt x="1326" y="270"/>
                  </a:lnTo>
                  <a:lnTo>
                    <a:pt x="1328" y="272"/>
                  </a:lnTo>
                  <a:lnTo>
                    <a:pt x="1328" y="270"/>
                  </a:lnTo>
                  <a:lnTo>
                    <a:pt x="1329" y="272"/>
                  </a:lnTo>
                  <a:lnTo>
                    <a:pt x="1329" y="274"/>
                  </a:lnTo>
                  <a:lnTo>
                    <a:pt x="1331" y="274"/>
                  </a:lnTo>
                  <a:lnTo>
                    <a:pt x="1331" y="275"/>
                  </a:lnTo>
                  <a:lnTo>
                    <a:pt x="1329" y="275"/>
                  </a:lnTo>
                  <a:lnTo>
                    <a:pt x="1328" y="275"/>
                  </a:lnTo>
                  <a:lnTo>
                    <a:pt x="1326" y="275"/>
                  </a:lnTo>
                  <a:lnTo>
                    <a:pt x="1324" y="277"/>
                  </a:lnTo>
                  <a:lnTo>
                    <a:pt x="1323" y="277"/>
                  </a:lnTo>
                  <a:lnTo>
                    <a:pt x="1323" y="275"/>
                  </a:lnTo>
                  <a:lnTo>
                    <a:pt x="1323" y="274"/>
                  </a:lnTo>
                  <a:lnTo>
                    <a:pt x="1324" y="274"/>
                  </a:lnTo>
                  <a:lnTo>
                    <a:pt x="1324" y="272"/>
                  </a:lnTo>
                  <a:lnTo>
                    <a:pt x="1326" y="272"/>
                  </a:lnTo>
                  <a:lnTo>
                    <a:pt x="1324" y="272"/>
                  </a:lnTo>
                  <a:lnTo>
                    <a:pt x="1326" y="272"/>
                  </a:lnTo>
                  <a:lnTo>
                    <a:pt x="1324" y="272"/>
                  </a:lnTo>
                  <a:lnTo>
                    <a:pt x="1324" y="270"/>
                  </a:lnTo>
                  <a:lnTo>
                    <a:pt x="1326" y="270"/>
                  </a:lnTo>
                  <a:close/>
                  <a:moveTo>
                    <a:pt x="1371" y="270"/>
                  </a:moveTo>
                  <a:lnTo>
                    <a:pt x="1370" y="272"/>
                  </a:lnTo>
                  <a:lnTo>
                    <a:pt x="1370" y="270"/>
                  </a:lnTo>
                  <a:lnTo>
                    <a:pt x="1371" y="270"/>
                  </a:lnTo>
                  <a:close/>
                  <a:moveTo>
                    <a:pt x="1427" y="269"/>
                  </a:moveTo>
                  <a:lnTo>
                    <a:pt x="1425" y="269"/>
                  </a:lnTo>
                  <a:lnTo>
                    <a:pt x="1427" y="269"/>
                  </a:lnTo>
                  <a:close/>
                  <a:moveTo>
                    <a:pt x="1427" y="269"/>
                  </a:moveTo>
                  <a:lnTo>
                    <a:pt x="1428" y="269"/>
                  </a:lnTo>
                  <a:lnTo>
                    <a:pt x="1427" y="269"/>
                  </a:lnTo>
                  <a:close/>
                  <a:moveTo>
                    <a:pt x="1328" y="269"/>
                  </a:moveTo>
                  <a:lnTo>
                    <a:pt x="1326" y="269"/>
                  </a:lnTo>
                  <a:lnTo>
                    <a:pt x="1328" y="269"/>
                  </a:lnTo>
                  <a:close/>
                  <a:moveTo>
                    <a:pt x="1328" y="269"/>
                  </a:moveTo>
                  <a:lnTo>
                    <a:pt x="1326" y="269"/>
                  </a:lnTo>
                  <a:lnTo>
                    <a:pt x="1326" y="267"/>
                  </a:lnTo>
                  <a:lnTo>
                    <a:pt x="1328" y="269"/>
                  </a:lnTo>
                  <a:close/>
                  <a:moveTo>
                    <a:pt x="1329" y="267"/>
                  </a:moveTo>
                  <a:lnTo>
                    <a:pt x="1329" y="269"/>
                  </a:lnTo>
                  <a:lnTo>
                    <a:pt x="1329" y="267"/>
                  </a:lnTo>
                  <a:close/>
                  <a:moveTo>
                    <a:pt x="1329" y="267"/>
                  </a:moveTo>
                  <a:lnTo>
                    <a:pt x="1329" y="269"/>
                  </a:lnTo>
                  <a:lnTo>
                    <a:pt x="1328" y="269"/>
                  </a:lnTo>
                  <a:lnTo>
                    <a:pt x="1328" y="267"/>
                  </a:lnTo>
                  <a:lnTo>
                    <a:pt x="1329" y="267"/>
                  </a:lnTo>
                  <a:close/>
                  <a:moveTo>
                    <a:pt x="1334" y="267"/>
                  </a:moveTo>
                  <a:lnTo>
                    <a:pt x="1334" y="265"/>
                  </a:lnTo>
                  <a:lnTo>
                    <a:pt x="1334" y="267"/>
                  </a:lnTo>
                  <a:close/>
                  <a:moveTo>
                    <a:pt x="1329" y="267"/>
                  </a:moveTo>
                  <a:lnTo>
                    <a:pt x="1328" y="267"/>
                  </a:lnTo>
                  <a:lnTo>
                    <a:pt x="1326" y="265"/>
                  </a:lnTo>
                  <a:lnTo>
                    <a:pt x="1328" y="267"/>
                  </a:lnTo>
                  <a:lnTo>
                    <a:pt x="1328" y="265"/>
                  </a:lnTo>
                  <a:lnTo>
                    <a:pt x="1328" y="267"/>
                  </a:lnTo>
                  <a:lnTo>
                    <a:pt x="1329" y="267"/>
                  </a:lnTo>
                  <a:close/>
                  <a:moveTo>
                    <a:pt x="1336" y="267"/>
                  </a:moveTo>
                  <a:lnTo>
                    <a:pt x="1337" y="265"/>
                  </a:lnTo>
                  <a:lnTo>
                    <a:pt x="1339" y="265"/>
                  </a:lnTo>
                  <a:lnTo>
                    <a:pt x="1341" y="267"/>
                  </a:lnTo>
                  <a:lnTo>
                    <a:pt x="1341" y="269"/>
                  </a:lnTo>
                  <a:lnTo>
                    <a:pt x="1342" y="269"/>
                  </a:lnTo>
                  <a:lnTo>
                    <a:pt x="1341" y="269"/>
                  </a:lnTo>
                  <a:lnTo>
                    <a:pt x="1341" y="270"/>
                  </a:lnTo>
                  <a:lnTo>
                    <a:pt x="1339" y="270"/>
                  </a:lnTo>
                  <a:lnTo>
                    <a:pt x="1341" y="272"/>
                  </a:lnTo>
                  <a:lnTo>
                    <a:pt x="1342" y="270"/>
                  </a:lnTo>
                  <a:lnTo>
                    <a:pt x="1344" y="270"/>
                  </a:lnTo>
                  <a:lnTo>
                    <a:pt x="1344" y="272"/>
                  </a:lnTo>
                  <a:lnTo>
                    <a:pt x="1345" y="272"/>
                  </a:lnTo>
                  <a:lnTo>
                    <a:pt x="1347" y="272"/>
                  </a:lnTo>
                  <a:lnTo>
                    <a:pt x="1347" y="274"/>
                  </a:lnTo>
                  <a:lnTo>
                    <a:pt x="1347" y="272"/>
                  </a:lnTo>
                  <a:lnTo>
                    <a:pt x="1349" y="272"/>
                  </a:lnTo>
                  <a:lnTo>
                    <a:pt x="1350" y="274"/>
                  </a:lnTo>
                  <a:lnTo>
                    <a:pt x="1352" y="275"/>
                  </a:lnTo>
                  <a:lnTo>
                    <a:pt x="1352" y="277"/>
                  </a:lnTo>
                  <a:lnTo>
                    <a:pt x="1354" y="278"/>
                  </a:lnTo>
                  <a:lnTo>
                    <a:pt x="1354" y="280"/>
                  </a:lnTo>
                  <a:lnTo>
                    <a:pt x="1354" y="282"/>
                  </a:lnTo>
                  <a:lnTo>
                    <a:pt x="1354" y="283"/>
                  </a:lnTo>
                  <a:lnTo>
                    <a:pt x="1354" y="285"/>
                  </a:lnTo>
                  <a:lnTo>
                    <a:pt x="1352" y="285"/>
                  </a:lnTo>
                  <a:lnTo>
                    <a:pt x="1352" y="287"/>
                  </a:lnTo>
                  <a:lnTo>
                    <a:pt x="1350" y="287"/>
                  </a:lnTo>
                  <a:lnTo>
                    <a:pt x="1350" y="288"/>
                  </a:lnTo>
                  <a:lnTo>
                    <a:pt x="1350" y="290"/>
                  </a:lnTo>
                  <a:lnTo>
                    <a:pt x="1349" y="290"/>
                  </a:lnTo>
                  <a:lnTo>
                    <a:pt x="1349" y="291"/>
                  </a:lnTo>
                  <a:lnTo>
                    <a:pt x="1347" y="291"/>
                  </a:lnTo>
                  <a:lnTo>
                    <a:pt x="1347" y="293"/>
                  </a:lnTo>
                  <a:lnTo>
                    <a:pt x="1345" y="293"/>
                  </a:lnTo>
                  <a:lnTo>
                    <a:pt x="1344" y="293"/>
                  </a:lnTo>
                  <a:lnTo>
                    <a:pt x="1344" y="295"/>
                  </a:lnTo>
                  <a:lnTo>
                    <a:pt x="1342" y="295"/>
                  </a:lnTo>
                  <a:lnTo>
                    <a:pt x="1341" y="295"/>
                  </a:lnTo>
                  <a:lnTo>
                    <a:pt x="1341" y="296"/>
                  </a:lnTo>
                  <a:lnTo>
                    <a:pt x="1342" y="296"/>
                  </a:lnTo>
                  <a:lnTo>
                    <a:pt x="1342" y="298"/>
                  </a:lnTo>
                  <a:lnTo>
                    <a:pt x="1341" y="300"/>
                  </a:lnTo>
                  <a:lnTo>
                    <a:pt x="1341" y="301"/>
                  </a:lnTo>
                  <a:lnTo>
                    <a:pt x="1342" y="301"/>
                  </a:lnTo>
                  <a:lnTo>
                    <a:pt x="1344" y="301"/>
                  </a:lnTo>
                  <a:lnTo>
                    <a:pt x="1344" y="300"/>
                  </a:lnTo>
                  <a:lnTo>
                    <a:pt x="1344" y="301"/>
                  </a:lnTo>
                  <a:lnTo>
                    <a:pt x="1345" y="300"/>
                  </a:lnTo>
                  <a:lnTo>
                    <a:pt x="1345" y="301"/>
                  </a:lnTo>
                  <a:lnTo>
                    <a:pt x="1345" y="303"/>
                  </a:lnTo>
                  <a:lnTo>
                    <a:pt x="1345" y="304"/>
                  </a:lnTo>
                  <a:lnTo>
                    <a:pt x="1347" y="304"/>
                  </a:lnTo>
                  <a:lnTo>
                    <a:pt x="1347" y="306"/>
                  </a:lnTo>
                  <a:lnTo>
                    <a:pt x="1345" y="306"/>
                  </a:lnTo>
                  <a:lnTo>
                    <a:pt x="1345" y="308"/>
                  </a:lnTo>
                  <a:lnTo>
                    <a:pt x="1345" y="309"/>
                  </a:lnTo>
                  <a:lnTo>
                    <a:pt x="1344" y="309"/>
                  </a:lnTo>
                  <a:lnTo>
                    <a:pt x="1344" y="311"/>
                  </a:lnTo>
                  <a:lnTo>
                    <a:pt x="1342" y="311"/>
                  </a:lnTo>
                  <a:lnTo>
                    <a:pt x="1342" y="313"/>
                  </a:lnTo>
                  <a:lnTo>
                    <a:pt x="1341" y="311"/>
                  </a:lnTo>
                  <a:lnTo>
                    <a:pt x="1341" y="313"/>
                  </a:lnTo>
                  <a:lnTo>
                    <a:pt x="1339" y="311"/>
                  </a:lnTo>
                  <a:lnTo>
                    <a:pt x="1337" y="311"/>
                  </a:lnTo>
                  <a:lnTo>
                    <a:pt x="1337" y="309"/>
                  </a:lnTo>
                  <a:lnTo>
                    <a:pt x="1336" y="311"/>
                  </a:lnTo>
                  <a:lnTo>
                    <a:pt x="1336" y="313"/>
                  </a:lnTo>
                  <a:lnTo>
                    <a:pt x="1336" y="314"/>
                  </a:lnTo>
                  <a:lnTo>
                    <a:pt x="1334" y="314"/>
                  </a:lnTo>
                  <a:lnTo>
                    <a:pt x="1332" y="314"/>
                  </a:lnTo>
                  <a:lnTo>
                    <a:pt x="1331" y="316"/>
                  </a:lnTo>
                  <a:lnTo>
                    <a:pt x="1329" y="316"/>
                  </a:lnTo>
                  <a:lnTo>
                    <a:pt x="1328" y="316"/>
                  </a:lnTo>
                  <a:lnTo>
                    <a:pt x="1326" y="317"/>
                  </a:lnTo>
                  <a:lnTo>
                    <a:pt x="1324" y="317"/>
                  </a:lnTo>
                  <a:lnTo>
                    <a:pt x="1323" y="319"/>
                  </a:lnTo>
                  <a:lnTo>
                    <a:pt x="1321" y="319"/>
                  </a:lnTo>
                  <a:lnTo>
                    <a:pt x="1319" y="319"/>
                  </a:lnTo>
                  <a:lnTo>
                    <a:pt x="1318" y="321"/>
                  </a:lnTo>
                  <a:lnTo>
                    <a:pt x="1316" y="321"/>
                  </a:lnTo>
                  <a:lnTo>
                    <a:pt x="1315" y="321"/>
                  </a:lnTo>
                  <a:lnTo>
                    <a:pt x="1315" y="319"/>
                  </a:lnTo>
                  <a:lnTo>
                    <a:pt x="1313" y="319"/>
                  </a:lnTo>
                  <a:lnTo>
                    <a:pt x="1311" y="317"/>
                  </a:lnTo>
                  <a:lnTo>
                    <a:pt x="1311" y="316"/>
                  </a:lnTo>
                  <a:lnTo>
                    <a:pt x="1310" y="316"/>
                  </a:lnTo>
                  <a:lnTo>
                    <a:pt x="1310" y="317"/>
                  </a:lnTo>
                  <a:lnTo>
                    <a:pt x="1308" y="317"/>
                  </a:lnTo>
                  <a:lnTo>
                    <a:pt x="1306" y="316"/>
                  </a:lnTo>
                  <a:lnTo>
                    <a:pt x="1306" y="314"/>
                  </a:lnTo>
                  <a:lnTo>
                    <a:pt x="1306" y="316"/>
                  </a:lnTo>
                  <a:lnTo>
                    <a:pt x="1306" y="314"/>
                  </a:lnTo>
                  <a:lnTo>
                    <a:pt x="1306" y="313"/>
                  </a:lnTo>
                  <a:lnTo>
                    <a:pt x="1306" y="311"/>
                  </a:lnTo>
                  <a:lnTo>
                    <a:pt x="1305" y="311"/>
                  </a:lnTo>
                  <a:lnTo>
                    <a:pt x="1306" y="309"/>
                  </a:lnTo>
                  <a:lnTo>
                    <a:pt x="1305" y="309"/>
                  </a:lnTo>
                  <a:lnTo>
                    <a:pt x="1306" y="309"/>
                  </a:lnTo>
                  <a:lnTo>
                    <a:pt x="1308" y="309"/>
                  </a:lnTo>
                  <a:lnTo>
                    <a:pt x="1306" y="308"/>
                  </a:lnTo>
                  <a:lnTo>
                    <a:pt x="1308" y="308"/>
                  </a:lnTo>
                  <a:lnTo>
                    <a:pt x="1310" y="308"/>
                  </a:lnTo>
                  <a:lnTo>
                    <a:pt x="1311" y="306"/>
                  </a:lnTo>
                  <a:lnTo>
                    <a:pt x="1313" y="304"/>
                  </a:lnTo>
                  <a:lnTo>
                    <a:pt x="1311" y="304"/>
                  </a:lnTo>
                  <a:lnTo>
                    <a:pt x="1313" y="304"/>
                  </a:lnTo>
                  <a:lnTo>
                    <a:pt x="1315" y="306"/>
                  </a:lnTo>
                  <a:lnTo>
                    <a:pt x="1316" y="306"/>
                  </a:lnTo>
                  <a:lnTo>
                    <a:pt x="1315" y="304"/>
                  </a:lnTo>
                  <a:lnTo>
                    <a:pt x="1316" y="304"/>
                  </a:lnTo>
                  <a:lnTo>
                    <a:pt x="1316" y="306"/>
                  </a:lnTo>
                  <a:lnTo>
                    <a:pt x="1318" y="306"/>
                  </a:lnTo>
                  <a:lnTo>
                    <a:pt x="1318" y="308"/>
                  </a:lnTo>
                  <a:lnTo>
                    <a:pt x="1319" y="308"/>
                  </a:lnTo>
                  <a:lnTo>
                    <a:pt x="1319" y="311"/>
                  </a:lnTo>
                  <a:lnTo>
                    <a:pt x="1319" y="309"/>
                  </a:lnTo>
                  <a:lnTo>
                    <a:pt x="1319" y="308"/>
                  </a:lnTo>
                  <a:lnTo>
                    <a:pt x="1321" y="308"/>
                  </a:lnTo>
                  <a:lnTo>
                    <a:pt x="1323" y="306"/>
                  </a:lnTo>
                  <a:lnTo>
                    <a:pt x="1323" y="304"/>
                  </a:lnTo>
                  <a:lnTo>
                    <a:pt x="1324" y="304"/>
                  </a:lnTo>
                  <a:lnTo>
                    <a:pt x="1324" y="303"/>
                  </a:lnTo>
                  <a:lnTo>
                    <a:pt x="1323" y="304"/>
                  </a:lnTo>
                  <a:lnTo>
                    <a:pt x="1321" y="306"/>
                  </a:lnTo>
                  <a:lnTo>
                    <a:pt x="1319" y="306"/>
                  </a:lnTo>
                  <a:lnTo>
                    <a:pt x="1318" y="306"/>
                  </a:lnTo>
                  <a:lnTo>
                    <a:pt x="1318" y="304"/>
                  </a:lnTo>
                  <a:lnTo>
                    <a:pt x="1316" y="303"/>
                  </a:lnTo>
                  <a:lnTo>
                    <a:pt x="1316" y="301"/>
                  </a:lnTo>
                  <a:lnTo>
                    <a:pt x="1315" y="301"/>
                  </a:lnTo>
                  <a:lnTo>
                    <a:pt x="1315" y="298"/>
                  </a:lnTo>
                  <a:lnTo>
                    <a:pt x="1313" y="296"/>
                  </a:lnTo>
                  <a:lnTo>
                    <a:pt x="1313" y="295"/>
                  </a:lnTo>
                  <a:lnTo>
                    <a:pt x="1311" y="295"/>
                  </a:lnTo>
                  <a:lnTo>
                    <a:pt x="1313" y="295"/>
                  </a:lnTo>
                  <a:lnTo>
                    <a:pt x="1316" y="295"/>
                  </a:lnTo>
                  <a:lnTo>
                    <a:pt x="1318" y="295"/>
                  </a:lnTo>
                  <a:lnTo>
                    <a:pt x="1319" y="296"/>
                  </a:lnTo>
                  <a:lnTo>
                    <a:pt x="1321" y="296"/>
                  </a:lnTo>
                  <a:lnTo>
                    <a:pt x="1321" y="295"/>
                  </a:lnTo>
                  <a:lnTo>
                    <a:pt x="1323" y="295"/>
                  </a:lnTo>
                  <a:lnTo>
                    <a:pt x="1324" y="293"/>
                  </a:lnTo>
                  <a:lnTo>
                    <a:pt x="1324" y="295"/>
                  </a:lnTo>
                  <a:lnTo>
                    <a:pt x="1324" y="293"/>
                  </a:lnTo>
                  <a:lnTo>
                    <a:pt x="1326" y="295"/>
                  </a:lnTo>
                  <a:lnTo>
                    <a:pt x="1326" y="293"/>
                  </a:lnTo>
                  <a:lnTo>
                    <a:pt x="1328" y="293"/>
                  </a:lnTo>
                  <a:lnTo>
                    <a:pt x="1329" y="293"/>
                  </a:lnTo>
                  <a:lnTo>
                    <a:pt x="1331" y="293"/>
                  </a:lnTo>
                  <a:lnTo>
                    <a:pt x="1331" y="295"/>
                  </a:lnTo>
                  <a:lnTo>
                    <a:pt x="1331" y="293"/>
                  </a:lnTo>
                  <a:lnTo>
                    <a:pt x="1331" y="295"/>
                  </a:lnTo>
                  <a:lnTo>
                    <a:pt x="1332" y="295"/>
                  </a:lnTo>
                  <a:lnTo>
                    <a:pt x="1334" y="295"/>
                  </a:lnTo>
                  <a:lnTo>
                    <a:pt x="1334" y="293"/>
                  </a:lnTo>
                  <a:lnTo>
                    <a:pt x="1332" y="293"/>
                  </a:lnTo>
                  <a:lnTo>
                    <a:pt x="1331" y="293"/>
                  </a:lnTo>
                  <a:lnTo>
                    <a:pt x="1329" y="291"/>
                  </a:lnTo>
                  <a:lnTo>
                    <a:pt x="1328" y="291"/>
                  </a:lnTo>
                  <a:lnTo>
                    <a:pt x="1328" y="293"/>
                  </a:lnTo>
                  <a:lnTo>
                    <a:pt x="1326" y="293"/>
                  </a:lnTo>
                  <a:lnTo>
                    <a:pt x="1324" y="291"/>
                  </a:lnTo>
                  <a:lnTo>
                    <a:pt x="1323" y="293"/>
                  </a:lnTo>
                  <a:lnTo>
                    <a:pt x="1321" y="293"/>
                  </a:lnTo>
                  <a:lnTo>
                    <a:pt x="1319" y="293"/>
                  </a:lnTo>
                  <a:lnTo>
                    <a:pt x="1318" y="290"/>
                  </a:lnTo>
                  <a:lnTo>
                    <a:pt x="1318" y="288"/>
                  </a:lnTo>
                  <a:lnTo>
                    <a:pt x="1318" y="287"/>
                  </a:lnTo>
                  <a:lnTo>
                    <a:pt x="1316" y="283"/>
                  </a:lnTo>
                  <a:lnTo>
                    <a:pt x="1318" y="282"/>
                  </a:lnTo>
                  <a:lnTo>
                    <a:pt x="1319" y="282"/>
                  </a:lnTo>
                  <a:lnTo>
                    <a:pt x="1321" y="282"/>
                  </a:lnTo>
                  <a:lnTo>
                    <a:pt x="1321" y="283"/>
                  </a:lnTo>
                  <a:lnTo>
                    <a:pt x="1323" y="283"/>
                  </a:lnTo>
                  <a:lnTo>
                    <a:pt x="1324" y="282"/>
                  </a:lnTo>
                  <a:lnTo>
                    <a:pt x="1326" y="282"/>
                  </a:lnTo>
                  <a:lnTo>
                    <a:pt x="1326" y="283"/>
                  </a:lnTo>
                  <a:lnTo>
                    <a:pt x="1326" y="288"/>
                  </a:lnTo>
                  <a:lnTo>
                    <a:pt x="1328" y="288"/>
                  </a:lnTo>
                  <a:lnTo>
                    <a:pt x="1328" y="287"/>
                  </a:lnTo>
                  <a:lnTo>
                    <a:pt x="1328" y="285"/>
                  </a:lnTo>
                  <a:lnTo>
                    <a:pt x="1328" y="283"/>
                  </a:lnTo>
                  <a:lnTo>
                    <a:pt x="1328" y="282"/>
                  </a:lnTo>
                  <a:lnTo>
                    <a:pt x="1329" y="282"/>
                  </a:lnTo>
                  <a:lnTo>
                    <a:pt x="1328" y="280"/>
                  </a:lnTo>
                  <a:lnTo>
                    <a:pt x="1329" y="280"/>
                  </a:lnTo>
                  <a:lnTo>
                    <a:pt x="1329" y="278"/>
                  </a:lnTo>
                  <a:lnTo>
                    <a:pt x="1331" y="278"/>
                  </a:lnTo>
                  <a:lnTo>
                    <a:pt x="1332" y="278"/>
                  </a:lnTo>
                  <a:lnTo>
                    <a:pt x="1334" y="278"/>
                  </a:lnTo>
                  <a:lnTo>
                    <a:pt x="1334" y="280"/>
                  </a:lnTo>
                  <a:lnTo>
                    <a:pt x="1334" y="282"/>
                  </a:lnTo>
                  <a:lnTo>
                    <a:pt x="1334" y="283"/>
                  </a:lnTo>
                  <a:lnTo>
                    <a:pt x="1334" y="285"/>
                  </a:lnTo>
                  <a:lnTo>
                    <a:pt x="1332" y="285"/>
                  </a:lnTo>
                  <a:lnTo>
                    <a:pt x="1334" y="285"/>
                  </a:lnTo>
                  <a:lnTo>
                    <a:pt x="1334" y="287"/>
                  </a:lnTo>
                  <a:lnTo>
                    <a:pt x="1334" y="288"/>
                  </a:lnTo>
                  <a:lnTo>
                    <a:pt x="1336" y="290"/>
                  </a:lnTo>
                  <a:lnTo>
                    <a:pt x="1336" y="291"/>
                  </a:lnTo>
                  <a:lnTo>
                    <a:pt x="1336" y="293"/>
                  </a:lnTo>
                  <a:lnTo>
                    <a:pt x="1336" y="295"/>
                  </a:lnTo>
                  <a:lnTo>
                    <a:pt x="1337" y="295"/>
                  </a:lnTo>
                  <a:lnTo>
                    <a:pt x="1339" y="295"/>
                  </a:lnTo>
                  <a:lnTo>
                    <a:pt x="1341" y="295"/>
                  </a:lnTo>
                  <a:lnTo>
                    <a:pt x="1339" y="293"/>
                  </a:lnTo>
                  <a:lnTo>
                    <a:pt x="1341" y="293"/>
                  </a:lnTo>
                  <a:lnTo>
                    <a:pt x="1339" y="293"/>
                  </a:lnTo>
                  <a:lnTo>
                    <a:pt x="1337" y="293"/>
                  </a:lnTo>
                  <a:lnTo>
                    <a:pt x="1337" y="291"/>
                  </a:lnTo>
                  <a:lnTo>
                    <a:pt x="1337" y="290"/>
                  </a:lnTo>
                  <a:lnTo>
                    <a:pt x="1337" y="288"/>
                  </a:lnTo>
                  <a:lnTo>
                    <a:pt x="1337" y="287"/>
                  </a:lnTo>
                  <a:lnTo>
                    <a:pt x="1337" y="285"/>
                  </a:lnTo>
                  <a:lnTo>
                    <a:pt x="1337" y="283"/>
                  </a:lnTo>
                  <a:lnTo>
                    <a:pt x="1337" y="282"/>
                  </a:lnTo>
                  <a:lnTo>
                    <a:pt x="1339" y="282"/>
                  </a:lnTo>
                  <a:lnTo>
                    <a:pt x="1339" y="280"/>
                  </a:lnTo>
                  <a:lnTo>
                    <a:pt x="1337" y="280"/>
                  </a:lnTo>
                  <a:lnTo>
                    <a:pt x="1339" y="280"/>
                  </a:lnTo>
                  <a:lnTo>
                    <a:pt x="1341" y="280"/>
                  </a:lnTo>
                  <a:lnTo>
                    <a:pt x="1339" y="278"/>
                  </a:lnTo>
                  <a:lnTo>
                    <a:pt x="1341" y="278"/>
                  </a:lnTo>
                  <a:lnTo>
                    <a:pt x="1341" y="277"/>
                  </a:lnTo>
                  <a:lnTo>
                    <a:pt x="1339" y="277"/>
                  </a:lnTo>
                  <a:lnTo>
                    <a:pt x="1339" y="278"/>
                  </a:lnTo>
                  <a:lnTo>
                    <a:pt x="1337" y="277"/>
                  </a:lnTo>
                  <a:lnTo>
                    <a:pt x="1337" y="278"/>
                  </a:lnTo>
                  <a:lnTo>
                    <a:pt x="1337" y="277"/>
                  </a:lnTo>
                  <a:lnTo>
                    <a:pt x="1336" y="275"/>
                  </a:lnTo>
                  <a:lnTo>
                    <a:pt x="1334" y="275"/>
                  </a:lnTo>
                  <a:lnTo>
                    <a:pt x="1334" y="274"/>
                  </a:lnTo>
                  <a:lnTo>
                    <a:pt x="1334" y="272"/>
                  </a:lnTo>
                  <a:lnTo>
                    <a:pt x="1332" y="272"/>
                  </a:lnTo>
                  <a:lnTo>
                    <a:pt x="1332" y="270"/>
                  </a:lnTo>
                  <a:lnTo>
                    <a:pt x="1332" y="269"/>
                  </a:lnTo>
                  <a:lnTo>
                    <a:pt x="1334" y="267"/>
                  </a:lnTo>
                  <a:lnTo>
                    <a:pt x="1336" y="267"/>
                  </a:lnTo>
                  <a:lnTo>
                    <a:pt x="1336" y="269"/>
                  </a:lnTo>
                  <a:lnTo>
                    <a:pt x="1337" y="269"/>
                  </a:lnTo>
                  <a:lnTo>
                    <a:pt x="1336" y="267"/>
                  </a:lnTo>
                  <a:close/>
                  <a:moveTo>
                    <a:pt x="1332" y="265"/>
                  </a:moveTo>
                  <a:lnTo>
                    <a:pt x="1332" y="264"/>
                  </a:lnTo>
                  <a:lnTo>
                    <a:pt x="1332" y="265"/>
                  </a:lnTo>
                  <a:lnTo>
                    <a:pt x="1334" y="265"/>
                  </a:lnTo>
                  <a:lnTo>
                    <a:pt x="1332" y="265"/>
                  </a:lnTo>
                  <a:close/>
                  <a:moveTo>
                    <a:pt x="1450" y="264"/>
                  </a:moveTo>
                  <a:lnTo>
                    <a:pt x="1450" y="262"/>
                  </a:lnTo>
                  <a:lnTo>
                    <a:pt x="1450" y="264"/>
                  </a:lnTo>
                  <a:close/>
                  <a:moveTo>
                    <a:pt x="1450" y="262"/>
                  </a:moveTo>
                  <a:lnTo>
                    <a:pt x="1450" y="264"/>
                  </a:lnTo>
                  <a:lnTo>
                    <a:pt x="1450" y="262"/>
                  </a:lnTo>
                  <a:close/>
                  <a:moveTo>
                    <a:pt x="1451" y="262"/>
                  </a:moveTo>
                  <a:lnTo>
                    <a:pt x="1451" y="264"/>
                  </a:lnTo>
                  <a:lnTo>
                    <a:pt x="1451" y="262"/>
                  </a:lnTo>
                  <a:close/>
                  <a:moveTo>
                    <a:pt x="1451" y="264"/>
                  </a:moveTo>
                  <a:lnTo>
                    <a:pt x="1451" y="262"/>
                  </a:lnTo>
                  <a:lnTo>
                    <a:pt x="1451" y="264"/>
                  </a:lnTo>
                  <a:close/>
                  <a:moveTo>
                    <a:pt x="1450" y="262"/>
                  </a:moveTo>
                  <a:lnTo>
                    <a:pt x="1451" y="262"/>
                  </a:lnTo>
                  <a:lnTo>
                    <a:pt x="1450" y="262"/>
                  </a:lnTo>
                  <a:close/>
                  <a:moveTo>
                    <a:pt x="1450" y="262"/>
                  </a:moveTo>
                  <a:lnTo>
                    <a:pt x="1451" y="262"/>
                  </a:lnTo>
                  <a:lnTo>
                    <a:pt x="1450" y="262"/>
                  </a:lnTo>
                  <a:close/>
                  <a:moveTo>
                    <a:pt x="1323" y="262"/>
                  </a:moveTo>
                  <a:lnTo>
                    <a:pt x="1324" y="262"/>
                  </a:lnTo>
                  <a:lnTo>
                    <a:pt x="1323" y="262"/>
                  </a:lnTo>
                  <a:close/>
                  <a:moveTo>
                    <a:pt x="1323" y="262"/>
                  </a:moveTo>
                  <a:lnTo>
                    <a:pt x="1323" y="261"/>
                  </a:lnTo>
                  <a:lnTo>
                    <a:pt x="1323" y="262"/>
                  </a:lnTo>
                  <a:close/>
                  <a:moveTo>
                    <a:pt x="1323" y="262"/>
                  </a:moveTo>
                  <a:lnTo>
                    <a:pt x="1323" y="261"/>
                  </a:lnTo>
                  <a:lnTo>
                    <a:pt x="1324" y="261"/>
                  </a:lnTo>
                  <a:lnTo>
                    <a:pt x="1323" y="262"/>
                  </a:lnTo>
                  <a:close/>
                  <a:moveTo>
                    <a:pt x="1505" y="259"/>
                  </a:moveTo>
                  <a:lnTo>
                    <a:pt x="1506" y="259"/>
                  </a:lnTo>
                  <a:lnTo>
                    <a:pt x="1505" y="259"/>
                  </a:lnTo>
                  <a:close/>
                  <a:moveTo>
                    <a:pt x="1324" y="257"/>
                  </a:moveTo>
                  <a:lnTo>
                    <a:pt x="1326" y="257"/>
                  </a:lnTo>
                  <a:lnTo>
                    <a:pt x="1324" y="257"/>
                  </a:lnTo>
                  <a:close/>
                  <a:moveTo>
                    <a:pt x="1324" y="256"/>
                  </a:moveTo>
                  <a:lnTo>
                    <a:pt x="1324" y="257"/>
                  </a:lnTo>
                  <a:lnTo>
                    <a:pt x="1324" y="256"/>
                  </a:lnTo>
                  <a:close/>
                  <a:moveTo>
                    <a:pt x="1323" y="256"/>
                  </a:moveTo>
                  <a:lnTo>
                    <a:pt x="1323" y="257"/>
                  </a:lnTo>
                  <a:lnTo>
                    <a:pt x="1323" y="256"/>
                  </a:lnTo>
                  <a:close/>
                  <a:moveTo>
                    <a:pt x="1321" y="256"/>
                  </a:moveTo>
                  <a:lnTo>
                    <a:pt x="1323" y="256"/>
                  </a:lnTo>
                  <a:lnTo>
                    <a:pt x="1321" y="256"/>
                  </a:lnTo>
                  <a:close/>
                  <a:moveTo>
                    <a:pt x="1324" y="256"/>
                  </a:moveTo>
                  <a:lnTo>
                    <a:pt x="1326" y="256"/>
                  </a:lnTo>
                  <a:lnTo>
                    <a:pt x="1324" y="256"/>
                  </a:lnTo>
                  <a:close/>
                  <a:moveTo>
                    <a:pt x="1323" y="254"/>
                  </a:moveTo>
                  <a:lnTo>
                    <a:pt x="1323" y="256"/>
                  </a:lnTo>
                  <a:lnTo>
                    <a:pt x="1323" y="254"/>
                  </a:lnTo>
                  <a:close/>
                  <a:moveTo>
                    <a:pt x="1341" y="254"/>
                  </a:moveTo>
                  <a:lnTo>
                    <a:pt x="1341" y="256"/>
                  </a:lnTo>
                  <a:lnTo>
                    <a:pt x="1341" y="254"/>
                  </a:lnTo>
                  <a:close/>
                  <a:moveTo>
                    <a:pt x="1339" y="254"/>
                  </a:moveTo>
                  <a:lnTo>
                    <a:pt x="1339" y="256"/>
                  </a:lnTo>
                  <a:lnTo>
                    <a:pt x="1339" y="254"/>
                  </a:lnTo>
                  <a:close/>
                  <a:moveTo>
                    <a:pt x="1323" y="254"/>
                  </a:moveTo>
                  <a:lnTo>
                    <a:pt x="1321" y="254"/>
                  </a:lnTo>
                  <a:lnTo>
                    <a:pt x="1323" y="252"/>
                  </a:lnTo>
                  <a:lnTo>
                    <a:pt x="1323" y="254"/>
                  </a:lnTo>
                  <a:close/>
                  <a:moveTo>
                    <a:pt x="1498" y="252"/>
                  </a:moveTo>
                  <a:lnTo>
                    <a:pt x="1500" y="252"/>
                  </a:lnTo>
                  <a:lnTo>
                    <a:pt x="1500" y="254"/>
                  </a:lnTo>
                  <a:lnTo>
                    <a:pt x="1502" y="254"/>
                  </a:lnTo>
                  <a:lnTo>
                    <a:pt x="1500" y="254"/>
                  </a:lnTo>
                  <a:lnTo>
                    <a:pt x="1498" y="254"/>
                  </a:lnTo>
                  <a:lnTo>
                    <a:pt x="1498" y="252"/>
                  </a:lnTo>
                  <a:close/>
                  <a:moveTo>
                    <a:pt x="1323" y="252"/>
                  </a:moveTo>
                  <a:lnTo>
                    <a:pt x="1323" y="254"/>
                  </a:lnTo>
                  <a:lnTo>
                    <a:pt x="1324" y="252"/>
                  </a:lnTo>
                  <a:lnTo>
                    <a:pt x="1324" y="254"/>
                  </a:lnTo>
                  <a:lnTo>
                    <a:pt x="1324" y="256"/>
                  </a:lnTo>
                  <a:lnTo>
                    <a:pt x="1324" y="257"/>
                  </a:lnTo>
                  <a:lnTo>
                    <a:pt x="1324" y="256"/>
                  </a:lnTo>
                  <a:lnTo>
                    <a:pt x="1323" y="256"/>
                  </a:lnTo>
                  <a:lnTo>
                    <a:pt x="1323" y="254"/>
                  </a:lnTo>
                  <a:lnTo>
                    <a:pt x="1324" y="254"/>
                  </a:lnTo>
                  <a:lnTo>
                    <a:pt x="1323" y="254"/>
                  </a:lnTo>
                  <a:lnTo>
                    <a:pt x="1323" y="252"/>
                  </a:lnTo>
                  <a:close/>
                  <a:moveTo>
                    <a:pt x="1323" y="252"/>
                  </a:moveTo>
                  <a:lnTo>
                    <a:pt x="1324" y="252"/>
                  </a:lnTo>
                  <a:lnTo>
                    <a:pt x="1323" y="252"/>
                  </a:lnTo>
                  <a:close/>
                  <a:moveTo>
                    <a:pt x="1332" y="252"/>
                  </a:moveTo>
                  <a:lnTo>
                    <a:pt x="1331" y="252"/>
                  </a:lnTo>
                  <a:lnTo>
                    <a:pt x="1332" y="252"/>
                  </a:lnTo>
                  <a:close/>
                  <a:moveTo>
                    <a:pt x="1331" y="252"/>
                  </a:moveTo>
                  <a:lnTo>
                    <a:pt x="1331" y="251"/>
                  </a:lnTo>
                  <a:lnTo>
                    <a:pt x="1331" y="252"/>
                  </a:lnTo>
                  <a:close/>
                  <a:moveTo>
                    <a:pt x="1323" y="252"/>
                  </a:moveTo>
                  <a:lnTo>
                    <a:pt x="1323" y="251"/>
                  </a:lnTo>
                  <a:lnTo>
                    <a:pt x="1323" y="252"/>
                  </a:lnTo>
                  <a:close/>
                  <a:moveTo>
                    <a:pt x="1337" y="251"/>
                  </a:moveTo>
                  <a:lnTo>
                    <a:pt x="1337" y="252"/>
                  </a:lnTo>
                  <a:lnTo>
                    <a:pt x="1337" y="251"/>
                  </a:lnTo>
                  <a:close/>
                  <a:moveTo>
                    <a:pt x="1323" y="251"/>
                  </a:moveTo>
                  <a:lnTo>
                    <a:pt x="1321" y="251"/>
                  </a:lnTo>
                  <a:lnTo>
                    <a:pt x="1323" y="251"/>
                  </a:lnTo>
                  <a:close/>
                  <a:moveTo>
                    <a:pt x="1332" y="251"/>
                  </a:moveTo>
                  <a:lnTo>
                    <a:pt x="1334" y="251"/>
                  </a:lnTo>
                  <a:lnTo>
                    <a:pt x="1332" y="251"/>
                  </a:lnTo>
                  <a:close/>
                  <a:moveTo>
                    <a:pt x="1432" y="249"/>
                  </a:moveTo>
                  <a:lnTo>
                    <a:pt x="1433" y="248"/>
                  </a:lnTo>
                  <a:lnTo>
                    <a:pt x="1435" y="248"/>
                  </a:lnTo>
                  <a:lnTo>
                    <a:pt x="1435" y="249"/>
                  </a:lnTo>
                  <a:lnTo>
                    <a:pt x="1433" y="251"/>
                  </a:lnTo>
                  <a:lnTo>
                    <a:pt x="1433" y="252"/>
                  </a:lnTo>
                  <a:lnTo>
                    <a:pt x="1433" y="254"/>
                  </a:lnTo>
                  <a:lnTo>
                    <a:pt x="1433" y="256"/>
                  </a:lnTo>
                  <a:lnTo>
                    <a:pt x="1437" y="259"/>
                  </a:lnTo>
                  <a:lnTo>
                    <a:pt x="1437" y="261"/>
                  </a:lnTo>
                  <a:lnTo>
                    <a:pt x="1435" y="262"/>
                  </a:lnTo>
                  <a:lnTo>
                    <a:pt x="1433" y="264"/>
                  </a:lnTo>
                  <a:lnTo>
                    <a:pt x="1430" y="265"/>
                  </a:lnTo>
                  <a:lnTo>
                    <a:pt x="1430" y="267"/>
                  </a:lnTo>
                  <a:lnTo>
                    <a:pt x="1428" y="267"/>
                  </a:lnTo>
                  <a:lnTo>
                    <a:pt x="1428" y="265"/>
                  </a:lnTo>
                  <a:lnTo>
                    <a:pt x="1427" y="265"/>
                  </a:lnTo>
                  <a:lnTo>
                    <a:pt x="1427" y="262"/>
                  </a:lnTo>
                  <a:lnTo>
                    <a:pt x="1425" y="261"/>
                  </a:lnTo>
                  <a:lnTo>
                    <a:pt x="1425" y="259"/>
                  </a:lnTo>
                  <a:lnTo>
                    <a:pt x="1425" y="257"/>
                  </a:lnTo>
                  <a:lnTo>
                    <a:pt x="1427" y="256"/>
                  </a:lnTo>
                  <a:lnTo>
                    <a:pt x="1427" y="254"/>
                  </a:lnTo>
                  <a:lnTo>
                    <a:pt x="1425" y="252"/>
                  </a:lnTo>
                  <a:lnTo>
                    <a:pt x="1427" y="251"/>
                  </a:lnTo>
                  <a:lnTo>
                    <a:pt x="1427" y="249"/>
                  </a:lnTo>
                  <a:lnTo>
                    <a:pt x="1428" y="249"/>
                  </a:lnTo>
                  <a:lnTo>
                    <a:pt x="1430" y="251"/>
                  </a:lnTo>
                  <a:lnTo>
                    <a:pt x="1430" y="249"/>
                  </a:lnTo>
                  <a:lnTo>
                    <a:pt x="1432" y="249"/>
                  </a:lnTo>
                  <a:close/>
                  <a:moveTo>
                    <a:pt x="1432" y="248"/>
                  </a:moveTo>
                  <a:lnTo>
                    <a:pt x="1433" y="248"/>
                  </a:lnTo>
                  <a:lnTo>
                    <a:pt x="1432" y="248"/>
                  </a:lnTo>
                  <a:close/>
                  <a:moveTo>
                    <a:pt x="1329" y="246"/>
                  </a:moveTo>
                  <a:lnTo>
                    <a:pt x="1329" y="248"/>
                  </a:lnTo>
                  <a:lnTo>
                    <a:pt x="1329" y="246"/>
                  </a:lnTo>
                  <a:close/>
                  <a:moveTo>
                    <a:pt x="1432" y="248"/>
                  </a:moveTo>
                  <a:lnTo>
                    <a:pt x="1430" y="248"/>
                  </a:lnTo>
                  <a:lnTo>
                    <a:pt x="1432" y="246"/>
                  </a:lnTo>
                  <a:lnTo>
                    <a:pt x="1432" y="248"/>
                  </a:lnTo>
                  <a:close/>
                  <a:moveTo>
                    <a:pt x="1324" y="246"/>
                  </a:moveTo>
                  <a:lnTo>
                    <a:pt x="1326" y="246"/>
                  </a:lnTo>
                  <a:lnTo>
                    <a:pt x="1324" y="246"/>
                  </a:lnTo>
                  <a:close/>
                  <a:moveTo>
                    <a:pt x="1328" y="244"/>
                  </a:moveTo>
                  <a:lnTo>
                    <a:pt x="1329" y="246"/>
                  </a:lnTo>
                  <a:lnTo>
                    <a:pt x="1328" y="246"/>
                  </a:lnTo>
                  <a:lnTo>
                    <a:pt x="1328" y="244"/>
                  </a:lnTo>
                  <a:close/>
                  <a:moveTo>
                    <a:pt x="1324" y="244"/>
                  </a:moveTo>
                  <a:lnTo>
                    <a:pt x="1324" y="243"/>
                  </a:lnTo>
                  <a:lnTo>
                    <a:pt x="1324" y="244"/>
                  </a:lnTo>
                  <a:close/>
                  <a:moveTo>
                    <a:pt x="1323" y="244"/>
                  </a:moveTo>
                  <a:lnTo>
                    <a:pt x="1323" y="243"/>
                  </a:lnTo>
                  <a:lnTo>
                    <a:pt x="1324" y="243"/>
                  </a:lnTo>
                  <a:lnTo>
                    <a:pt x="1324" y="244"/>
                  </a:lnTo>
                  <a:lnTo>
                    <a:pt x="1324" y="243"/>
                  </a:lnTo>
                  <a:lnTo>
                    <a:pt x="1324" y="244"/>
                  </a:lnTo>
                  <a:lnTo>
                    <a:pt x="1326" y="244"/>
                  </a:lnTo>
                  <a:lnTo>
                    <a:pt x="1326" y="246"/>
                  </a:lnTo>
                  <a:lnTo>
                    <a:pt x="1324" y="246"/>
                  </a:lnTo>
                  <a:lnTo>
                    <a:pt x="1324" y="248"/>
                  </a:lnTo>
                  <a:lnTo>
                    <a:pt x="1323" y="248"/>
                  </a:lnTo>
                  <a:lnTo>
                    <a:pt x="1323" y="246"/>
                  </a:lnTo>
                  <a:lnTo>
                    <a:pt x="1323" y="244"/>
                  </a:lnTo>
                  <a:close/>
                  <a:moveTo>
                    <a:pt x="1388" y="243"/>
                  </a:moveTo>
                  <a:lnTo>
                    <a:pt x="1389" y="243"/>
                  </a:lnTo>
                  <a:lnTo>
                    <a:pt x="1389" y="244"/>
                  </a:lnTo>
                  <a:lnTo>
                    <a:pt x="1391" y="244"/>
                  </a:lnTo>
                  <a:lnTo>
                    <a:pt x="1391" y="246"/>
                  </a:lnTo>
                  <a:lnTo>
                    <a:pt x="1391" y="248"/>
                  </a:lnTo>
                  <a:lnTo>
                    <a:pt x="1389" y="248"/>
                  </a:lnTo>
                  <a:lnTo>
                    <a:pt x="1389" y="249"/>
                  </a:lnTo>
                  <a:lnTo>
                    <a:pt x="1388" y="251"/>
                  </a:lnTo>
                  <a:lnTo>
                    <a:pt x="1388" y="252"/>
                  </a:lnTo>
                  <a:lnTo>
                    <a:pt x="1388" y="254"/>
                  </a:lnTo>
                  <a:lnTo>
                    <a:pt x="1388" y="256"/>
                  </a:lnTo>
                  <a:lnTo>
                    <a:pt x="1388" y="257"/>
                  </a:lnTo>
                  <a:lnTo>
                    <a:pt x="1386" y="261"/>
                  </a:lnTo>
                  <a:lnTo>
                    <a:pt x="1386" y="262"/>
                  </a:lnTo>
                  <a:lnTo>
                    <a:pt x="1386" y="264"/>
                  </a:lnTo>
                  <a:lnTo>
                    <a:pt x="1384" y="264"/>
                  </a:lnTo>
                  <a:lnTo>
                    <a:pt x="1383" y="264"/>
                  </a:lnTo>
                  <a:lnTo>
                    <a:pt x="1381" y="264"/>
                  </a:lnTo>
                  <a:lnTo>
                    <a:pt x="1380" y="265"/>
                  </a:lnTo>
                  <a:lnTo>
                    <a:pt x="1378" y="265"/>
                  </a:lnTo>
                  <a:lnTo>
                    <a:pt x="1376" y="267"/>
                  </a:lnTo>
                  <a:lnTo>
                    <a:pt x="1375" y="267"/>
                  </a:lnTo>
                  <a:lnTo>
                    <a:pt x="1373" y="267"/>
                  </a:lnTo>
                  <a:lnTo>
                    <a:pt x="1371" y="269"/>
                  </a:lnTo>
                  <a:lnTo>
                    <a:pt x="1370" y="267"/>
                  </a:lnTo>
                  <a:lnTo>
                    <a:pt x="1370" y="265"/>
                  </a:lnTo>
                  <a:lnTo>
                    <a:pt x="1371" y="265"/>
                  </a:lnTo>
                  <a:lnTo>
                    <a:pt x="1371" y="264"/>
                  </a:lnTo>
                  <a:lnTo>
                    <a:pt x="1371" y="262"/>
                  </a:lnTo>
                  <a:lnTo>
                    <a:pt x="1373" y="259"/>
                  </a:lnTo>
                  <a:lnTo>
                    <a:pt x="1375" y="256"/>
                  </a:lnTo>
                  <a:lnTo>
                    <a:pt x="1375" y="254"/>
                  </a:lnTo>
                  <a:lnTo>
                    <a:pt x="1376" y="254"/>
                  </a:lnTo>
                  <a:lnTo>
                    <a:pt x="1378" y="252"/>
                  </a:lnTo>
                  <a:lnTo>
                    <a:pt x="1380" y="252"/>
                  </a:lnTo>
                  <a:lnTo>
                    <a:pt x="1381" y="249"/>
                  </a:lnTo>
                  <a:lnTo>
                    <a:pt x="1381" y="248"/>
                  </a:lnTo>
                  <a:lnTo>
                    <a:pt x="1383" y="248"/>
                  </a:lnTo>
                  <a:lnTo>
                    <a:pt x="1383" y="246"/>
                  </a:lnTo>
                  <a:lnTo>
                    <a:pt x="1383" y="244"/>
                  </a:lnTo>
                  <a:lnTo>
                    <a:pt x="1384" y="241"/>
                  </a:lnTo>
                  <a:lnTo>
                    <a:pt x="1386" y="241"/>
                  </a:lnTo>
                  <a:lnTo>
                    <a:pt x="1386" y="243"/>
                  </a:lnTo>
                  <a:lnTo>
                    <a:pt x="1388" y="243"/>
                  </a:lnTo>
                  <a:close/>
                  <a:moveTo>
                    <a:pt x="1362" y="241"/>
                  </a:moveTo>
                  <a:lnTo>
                    <a:pt x="1362" y="243"/>
                  </a:lnTo>
                  <a:lnTo>
                    <a:pt x="1362" y="241"/>
                  </a:lnTo>
                  <a:close/>
                  <a:moveTo>
                    <a:pt x="1365" y="239"/>
                  </a:moveTo>
                  <a:lnTo>
                    <a:pt x="1367" y="239"/>
                  </a:lnTo>
                  <a:lnTo>
                    <a:pt x="1365" y="239"/>
                  </a:lnTo>
                  <a:close/>
                  <a:moveTo>
                    <a:pt x="1388" y="239"/>
                  </a:moveTo>
                  <a:lnTo>
                    <a:pt x="1389" y="239"/>
                  </a:lnTo>
                  <a:lnTo>
                    <a:pt x="1391" y="239"/>
                  </a:lnTo>
                  <a:lnTo>
                    <a:pt x="1393" y="239"/>
                  </a:lnTo>
                  <a:lnTo>
                    <a:pt x="1393" y="241"/>
                  </a:lnTo>
                  <a:lnTo>
                    <a:pt x="1394" y="241"/>
                  </a:lnTo>
                  <a:lnTo>
                    <a:pt x="1394" y="239"/>
                  </a:lnTo>
                  <a:lnTo>
                    <a:pt x="1394" y="241"/>
                  </a:lnTo>
                  <a:lnTo>
                    <a:pt x="1394" y="243"/>
                  </a:lnTo>
                  <a:lnTo>
                    <a:pt x="1393" y="243"/>
                  </a:lnTo>
                  <a:lnTo>
                    <a:pt x="1391" y="241"/>
                  </a:lnTo>
                  <a:lnTo>
                    <a:pt x="1389" y="241"/>
                  </a:lnTo>
                  <a:lnTo>
                    <a:pt x="1389" y="239"/>
                  </a:lnTo>
                  <a:lnTo>
                    <a:pt x="1388" y="239"/>
                  </a:lnTo>
                  <a:close/>
                  <a:moveTo>
                    <a:pt x="1430" y="244"/>
                  </a:moveTo>
                  <a:lnTo>
                    <a:pt x="1428" y="244"/>
                  </a:lnTo>
                  <a:lnTo>
                    <a:pt x="1427" y="243"/>
                  </a:lnTo>
                  <a:lnTo>
                    <a:pt x="1427" y="241"/>
                  </a:lnTo>
                  <a:lnTo>
                    <a:pt x="1428" y="241"/>
                  </a:lnTo>
                  <a:lnTo>
                    <a:pt x="1427" y="239"/>
                  </a:lnTo>
                  <a:lnTo>
                    <a:pt x="1428" y="239"/>
                  </a:lnTo>
                  <a:lnTo>
                    <a:pt x="1427" y="239"/>
                  </a:lnTo>
                  <a:lnTo>
                    <a:pt x="1427" y="238"/>
                  </a:lnTo>
                  <a:lnTo>
                    <a:pt x="1428" y="238"/>
                  </a:lnTo>
                  <a:lnTo>
                    <a:pt x="1428" y="239"/>
                  </a:lnTo>
                  <a:lnTo>
                    <a:pt x="1430" y="239"/>
                  </a:lnTo>
                  <a:lnTo>
                    <a:pt x="1430" y="241"/>
                  </a:lnTo>
                  <a:lnTo>
                    <a:pt x="1430" y="243"/>
                  </a:lnTo>
                  <a:lnTo>
                    <a:pt x="1430" y="244"/>
                  </a:lnTo>
                  <a:close/>
                  <a:moveTo>
                    <a:pt x="1485" y="238"/>
                  </a:moveTo>
                  <a:lnTo>
                    <a:pt x="1487" y="238"/>
                  </a:lnTo>
                  <a:lnTo>
                    <a:pt x="1489" y="239"/>
                  </a:lnTo>
                  <a:lnTo>
                    <a:pt x="1490" y="241"/>
                  </a:lnTo>
                  <a:lnTo>
                    <a:pt x="1489" y="241"/>
                  </a:lnTo>
                  <a:lnTo>
                    <a:pt x="1490" y="243"/>
                  </a:lnTo>
                  <a:lnTo>
                    <a:pt x="1489" y="243"/>
                  </a:lnTo>
                  <a:lnTo>
                    <a:pt x="1489" y="241"/>
                  </a:lnTo>
                  <a:lnTo>
                    <a:pt x="1487" y="239"/>
                  </a:lnTo>
                  <a:lnTo>
                    <a:pt x="1485" y="239"/>
                  </a:lnTo>
                  <a:lnTo>
                    <a:pt x="1485" y="238"/>
                  </a:lnTo>
                  <a:close/>
                  <a:moveTo>
                    <a:pt x="1319" y="236"/>
                  </a:moveTo>
                  <a:lnTo>
                    <a:pt x="1321" y="236"/>
                  </a:lnTo>
                  <a:lnTo>
                    <a:pt x="1321" y="238"/>
                  </a:lnTo>
                  <a:lnTo>
                    <a:pt x="1319" y="238"/>
                  </a:lnTo>
                  <a:lnTo>
                    <a:pt x="1319" y="236"/>
                  </a:lnTo>
                  <a:close/>
                  <a:moveTo>
                    <a:pt x="1479" y="238"/>
                  </a:moveTo>
                  <a:lnTo>
                    <a:pt x="1480" y="236"/>
                  </a:lnTo>
                  <a:lnTo>
                    <a:pt x="1482" y="236"/>
                  </a:lnTo>
                  <a:lnTo>
                    <a:pt x="1482" y="238"/>
                  </a:lnTo>
                  <a:lnTo>
                    <a:pt x="1484" y="238"/>
                  </a:lnTo>
                  <a:lnTo>
                    <a:pt x="1484" y="239"/>
                  </a:lnTo>
                  <a:lnTo>
                    <a:pt x="1482" y="239"/>
                  </a:lnTo>
                  <a:lnTo>
                    <a:pt x="1480" y="239"/>
                  </a:lnTo>
                  <a:lnTo>
                    <a:pt x="1479" y="239"/>
                  </a:lnTo>
                  <a:lnTo>
                    <a:pt x="1477" y="239"/>
                  </a:lnTo>
                  <a:lnTo>
                    <a:pt x="1477" y="238"/>
                  </a:lnTo>
                  <a:lnTo>
                    <a:pt x="1479" y="238"/>
                  </a:lnTo>
                  <a:close/>
                  <a:moveTo>
                    <a:pt x="1323" y="236"/>
                  </a:moveTo>
                  <a:lnTo>
                    <a:pt x="1323" y="234"/>
                  </a:lnTo>
                  <a:lnTo>
                    <a:pt x="1323" y="236"/>
                  </a:lnTo>
                  <a:close/>
                  <a:moveTo>
                    <a:pt x="1342" y="234"/>
                  </a:moveTo>
                  <a:lnTo>
                    <a:pt x="1344" y="234"/>
                  </a:lnTo>
                  <a:lnTo>
                    <a:pt x="1342" y="236"/>
                  </a:lnTo>
                  <a:lnTo>
                    <a:pt x="1342" y="234"/>
                  </a:lnTo>
                  <a:close/>
                  <a:moveTo>
                    <a:pt x="1355" y="236"/>
                  </a:moveTo>
                  <a:lnTo>
                    <a:pt x="1355" y="238"/>
                  </a:lnTo>
                  <a:lnTo>
                    <a:pt x="1357" y="238"/>
                  </a:lnTo>
                  <a:lnTo>
                    <a:pt x="1357" y="236"/>
                  </a:lnTo>
                  <a:lnTo>
                    <a:pt x="1358" y="234"/>
                  </a:lnTo>
                  <a:lnTo>
                    <a:pt x="1360" y="234"/>
                  </a:lnTo>
                  <a:lnTo>
                    <a:pt x="1360" y="236"/>
                  </a:lnTo>
                  <a:lnTo>
                    <a:pt x="1360" y="238"/>
                  </a:lnTo>
                  <a:lnTo>
                    <a:pt x="1360" y="239"/>
                  </a:lnTo>
                  <a:lnTo>
                    <a:pt x="1360" y="241"/>
                  </a:lnTo>
                  <a:lnTo>
                    <a:pt x="1362" y="243"/>
                  </a:lnTo>
                  <a:lnTo>
                    <a:pt x="1362" y="244"/>
                  </a:lnTo>
                  <a:lnTo>
                    <a:pt x="1363" y="244"/>
                  </a:lnTo>
                  <a:lnTo>
                    <a:pt x="1365" y="248"/>
                  </a:lnTo>
                  <a:lnTo>
                    <a:pt x="1367" y="248"/>
                  </a:lnTo>
                  <a:lnTo>
                    <a:pt x="1367" y="246"/>
                  </a:lnTo>
                  <a:lnTo>
                    <a:pt x="1365" y="244"/>
                  </a:lnTo>
                  <a:lnTo>
                    <a:pt x="1365" y="243"/>
                  </a:lnTo>
                  <a:lnTo>
                    <a:pt x="1367" y="243"/>
                  </a:lnTo>
                  <a:lnTo>
                    <a:pt x="1365" y="241"/>
                  </a:lnTo>
                  <a:lnTo>
                    <a:pt x="1367" y="241"/>
                  </a:lnTo>
                  <a:lnTo>
                    <a:pt x="1365" y="241"/>
                  </a:lnTo>
                  <a:lnTo>
                    <a:pt x="1367" y="241"/>
                  </a:lnTo>
                  <a:lnTo>
                    <a:pt x="1367" y="239"/>
                  </a:lnTo>
                  <a:lnTo>
                    <a:pt x="1368" y="239"/>
                  </a:lnTo>
                  <a:lnTo>
                    <a:pt x="1368" y="238"/>
                  </a:lnTo>
                  <a:lnTo>
                    <a:pt x="1370" y="238"/>
                  </a:lnTo>
                  <a:lnTo>
                    <a:pt x="1371" y="238"/>
                  </a:lnTo>
                  <a:lnTo>
                    <a:pt x="1373" y="239"/>
                  </a:lnTo>
                  <a:lnTo>
                    <a:pt x="1373" y="241"/>
                  </a:lnTo>
                  <a:lnTo>
                    <a:pt x="1373" y="244"/>
                  </a:lnTo>
                  <a:lnTo>
                    <a:pt x="1373" y="246"/>
                  </a:lnTo>
                  <a:lnTo>
                    <a:pt x="1375" y="246"/>
                  </a:lnTo>
                  <a:lnTo>
                    <a:pt x="1375" y="244"/>
                  </a:lnTo>
                  <a:lnTo>
                    <a:pt x="1375" y="243"/>
                  </a:lnTo>
                  <a:lnTo>
                    <a:pt x="1376" y="241"/>
                  </a:lnTo>
                  <a:lnTo>
                    <a:pt x="1378" y="241"/>
                  </a:lnTo>
                  <a:lnTo>
                    <a:pt x="1378" y="243"/>
                  </a:lnTo>
                  <a:lnTo>
                    <a:pt x="1380" y="244"/>
                  </a:lnTo>
                  <a:lnTo>
                    <a:pt x="1380" y="246"/>
                  </a:lnTo>
                  <a:lnTo>
                    <a:pt x="1381" y="248"/>
                  </a:lnTo>
                  <a:lnTo>
                    <a:pt x="1380" y="248"/>
                  </a:lnTo>
                  <a:lnTo>
                    <a:pt x="1378" y="249"/>
                  </a:lnTo>
                  <a:lnTo>
                    <a:pt x="1376" y="249"/>
                  </a:lnTo>
                  <a:lnTo>
                    <a:pt x="1375" y="251"/>
                  </a:lnTo>
                  <a:lnTo>
                    <a:pt x="1373" y="252"/>
                  </a:lnTo>
                  <a:lnTo>
                    <a:pt x="1371" y="252"/>
                  </a:lnTo>
                  <a:lnTo>
                    <a:pt x="1371" y="254"/>
                  </a:lnTo>
                  <a:lnTo>
                    <a:pt x="1373" y="254"/>
                  </a:lnTo>
                  <a:lnTo>
                    <a:pt x="1373" y="256"/>
                  </a:lnTo>
                  <a:lnTo>
                    <a:pt x="1373" y="257"/>
                  </a:lnTo>
                  <a:lnTo>
                    <a:pt x="1371" y="259"/>
                  </a:lnTo>
                  <a:lnTo>
                    <a:pt x="1371" y="261"/>
                  </a:lnTo>
                  <a:lnTo>
                    <a:pt x="1370" y="261"/>
                  </a:lnTo>
                  <a:lnTo>
                    <a:pt x="1370" y="262"/>
                  </a:lnTo>
                  <a:lnTo>
                    <a:pt x="1370" y="264"/>
                  </a:lnTo>
                  <a:lnTo>
                    <a:pt x="1368" y="265"/>
                  </a:lnTo>
                  <a:lnTo>
                    <a:pt x="1368" y="267"/>
                  </a:lnTo>
                  <a:lnTo>
                    <a:pt x="1368" y="269"/>
                  </a:lnTo>
                  <a:lnTo>
                    <a:pt x="1368" y="270"/>
                  </a:lnTo>
                  <a:lnTo>
                    <a:pt x="1367" y="270"/>
                  </a:lnTo>
                  <a:lnTo>
                    <a:pt x="1367" y="272"/>
                  </a:lnTo>
                  <a:lnTo>
                    <a:pt x="1365" y="274"/>
                  </a:lnTo>
                  <a:lnTo>
                    <a:pt x="1363" y="274"/>
                  </a:lnTo>
                  <a:lnTo>
                    <a:pt x="1363" y="275"/>
                  </a:lnTo>
                  <a:lnTo>
                    <a:pt x="1362" y="275"/>
                  </a:lnTo>
                  <a:lnTo>
                    <a:pt x="1360" y="275"/>
                  </a:lnTo>
                  <a:lnTo>
                    <a:pt x="1360" y="277"/>
                  </a:lnTo>
                  <a:lnTo>
                    <a:pt x="1358" y="277"/>
                  </a:lnTo>
                  <a:lnTo>
                    <a:pt x="1357" y="277"/>
                  </a:lnTo>
                  <a:lnTo>
                    <a:pt x="1355" y="277"/>
                  </a:lnTo>
                  <a:lnTo>
                    <a:pt x="1354" y="277"/>
                  </a:lnTo>
                  <a:lnTo>
                    <a:pt x="1354" y="275"/>
                  </a:lnTo>
                  <a:lnTo>
                    <a:pt x="1352" y="274"/>
                  </a:lnTo>
                  <a:lnTo>
                    <a:pt x="1350" y="272"/>
                  </a:lnTo>
                  <a:lnTo>
                    <a:pt x="1350" y="270"/>
                  </a:lnTo>
                  <a:lnTo>
                    <a:pt x="1349" y="270"/>
                  </a:lnTo>
                  <a:lnTo>
                    <a:pt x="1347" y="269"/>
                  </a:lnTo>
                  <a:lnTo>
                    <a:pt x="1345" y="269"/>
                  </a:lnTo>
                  <a:lnTo>
                    <a:pt x="1345" y="267"/>
                  </a:lnTo>
                  <a:lnTo>
                    <a:pt x="1344" y="267"/>
                  </a:lnTo>
                  <a:lnTo>
                    <a:pt x="1344" y="265"/>
                  </a:lnTo>
                  <a:lnTo>
                    <a:pt x="1342" y="265"/>
                  </a:lnTo>
                  <a:lnTo>
                    <a:pt x="1339" y="264"/>
                  </a:lnTo>
                  <a:lnTo>
                    <a:pt x="1337" y="264"/>
                  </a:lnTo>
                  <a:lnTo>
                    <a:pt x="1336" y="262"/>
                  </a:lnTo>
                  <a:lnTo>
                    <a:pt x="1334" y="262"/>
                  </a:lnTo>
                  <a:lnTo>
                    <a:pt x="1334" y="261"/>
                  </a:lnTo>
                  <a:lnTo>
                    <a:pt x="1334" y="259"/>
                  </a:lnTo>
                  <a:lnTo>
                    <a:pt x="1334" y="257"/>
                  </a:lnTo>
                  <a:lnTo>
                    <a:pt x="1334" y="256"/>
                  </a:lnTo>
                  <a:lnTo>
                    <a:pt x="1336" y="256"/>
                  </a:lnTo>
                  <a:lnTo>
                    <a:pt x="1337" y="256"/>
                  </a:lnTo>
                  <a:lnTo>
                    <a:pt x="1339" y="256"/>
                  </a:lnTo>
                  <a:lnTo>
                    <a:pt x="1341" y="257"/>
                  </a:lnTo>
                  <a:lnTo>
                    <a:pt x="1339" y="256"/>
                  </a:lnTo>
                  <a:lnTo>
                    <a:pt x="1341" y="256"/>
                  </a:lnTo>
                  <a:lnTo>
                    <a:pt x="1341" y="257"/>
                  </a:lnTo>
                  <a:lnTo>
                    <a:pt x="1341" y="256"/>
                  </a:lnTo>
                  <a:lnTo>
                    <a:pt x="1341" y="254"/>
                  </a:lnTo>
                  <a:lnTo>
                    <a:pt x="1342" y="254"/>
                  </a:lnTo>
                  <a:lnTo>
                    <a:pt x="1344" y="254"/>
                  </a:lnTo>
                  <a:lnTo>
                    <a:pt x="1342" y="254"/>
                  </a:lnTo>
                  <a:lnTo>
                    <a:pt x="1342" y="252"/>
                  </a:lnTo>
                  <a:lnTo>
                    <a:pt x="1342" y="254"/>
                  </a:lnTo>
                  <a:lnTo>
                    <a:pt x="1341" y="254"/>
                  </a:lnTo>
                  <a:lnTo>
                    <a:pt x="1339" y="252"/>
                  </a:lnTo>
                  <a:lnTo>
                    <a:pt x="1337" y="251"/>
                  </a:lnTo>
                  <a:lnTo>
                    <a:pt x="1337" y="249"/>
                  </a:lnTo>
                  <a:lnTo>
                    <a:pt x="1337" y="248"/>
                  </a:lnTo>
                  <a:lnTo>
                    <a:pt x="1339" y="248"/>
                  </a:lnTo>
                  <a:lnTo>
                    <a:pt x="1339" y="246"/>
                  </a:lnTo>
                  <a:lnTo>
                    <a:pt x="1339" y="244"/>
                  </a:lnTo>
                  <a:lnTo>
                    <a:pt x="1341" y="244"/>
                  </a:lnTo>
                  <a:lnTo>
                    <a:pt x="1342" y="244"/>
                  </a:lnTo>
                  <a:lnTo>
                    <a:pt x="1344" y="244"/>
                  </a:lnTo>
                  <a:lnTo>
                    <a:pt x="1344" y="246"/>
                  </a:lnTo>
                  <a:lnTo>
                    <a:pt x="1344" y="244"/>
                  </a:lnTo>
                  <a:lnTo>
                    <a:pt x="1344" y="246"/>
                  </a:lnTo>
                  <a:lnTo>
                    <a:pt x="1345" y="244"/>
                  </a:lnTo>
                  <a:lnTo>
                    <a:pt x="1345" y="243"/>
                  </a:lnTo>
                  <a:lnTo>
                    <a:pt x="1347" y="243"/>
                  </a:lnTo>
                  <a:lnTo>
                    <a:pt x="1349" y="244"/>
                  </a:lnTo>
                  <a:lnTo>
                    <a:pt x="1349" y="246"/>
                  </a:lnTo>
                  <a:lnTo>
                    <a:pt x="1350" y="246"/>
                  </a:lnTo>
                  <a:lnTo>
                    <a:pt x="1349" y="246"/>
                  </a:lnTo>
                  <a:lnTo>
                    <a:pt x="1350" y="244"/>
                  </a:lnTo>
                  <a:lnTo>
                    <a:pt x="1350" y="243"/>
                  </a:lnTo>
                  <a:lnTo>
                    <a:pt x="1349" y="243"/>
                  </a:lnTo>
                  <a:lnTo>
                    <a:pt x="1349" y="241"/>
                  </a:lnTo>
                  <a:lnTo>
                    <a:pt x="1347" y="241"/>
                  </a:lnTo>
                  <a:lnTo>
                    <a:pt x="1347" y="239"/>
                  </a:lnTo>
                  <a:lnTo>
                    <a:pt x="1347" y="238"/>
                  </a:lnTo>
                  <a:lnTo>
                    <a:pt x="1347" y="236"/>
                  </a:lnTo>
                  <a:lnTo>
                    <a:pt x="1349" y="238"/>
                  </a:lnTo>
                  <a:lnTo>
                    <a:pt x="1349" y="239"/>
                  </a:lnTo>
                  <a:lnTo>
                    <a:pt x="1349" y="238"/>
                  </a:lnTo>
                  <a:lnTo>
                    <a:pt x="1350" y="236"/>
                  </a:lnTo>
                  <a:lnTo>
                    <a:pt x="1352" y="234"/>
                  </a:lnTo>
                  <a:lnTo>
                    <a:pt x="1352" y="236"/>
                  </a:lnTo>
                  <a:lnTo>
                    <a:pt x="1354" y="234"/>
                  </a:lnTo>
                  <a:lnTo>
                    <a:pt x="1355" y="234"/>
                  </a:lnTo>
                  <a:lnTo>
                    <a:pt x="1357" y="234"/>
                  </a:lnTo>
                  <a:lnTo>
                    <a:pt x="1355" y="236"/>
                  </a:lnTo>
                  <a:close/>
                  <a:moveTo>
                    <a:pt x="1487" y="234"/>
                  </a:moveTo>
                  <a:lnTo>
                    <a:pt x="1487" y="233"/>
                  </a:lnTo>
                  <a:lnTo>
                    <a:pt x="1487" y="234"/>
                  </a:lnTo>
                  <a:close/>
                  <a:moveTo>
                    <a:pt x="1365" y="236"/>
                  </a:moveTo>
                  <a:lnTo>
                    <a:pt x="1365" y="238"/>
                  </a:lnTo>
                  <a:lnTo>
                    <a:pt x="1363" y="238"/>
                  </a:lnTo>
                  <a:lnTo>
                    <a:pt x="1362" y="238"/>
                  </a:lnTo>
                  <a:lnTo>
                    <a:pt x="1362" y="236"/>
                  </a:lnTo>
                  <a:lnTo>
                    <a:pt x="1363" y="236"/>
                  </a:lnTo>
                  <a:lnTo>
                    <a:pt x="1363" y="234"/>
                  </a:lnTo>
                  <a:lnTo>
                    <a:pt x="1362" y="234"/>
                  </a:lnTo>
                  <a:lnTo>
                    <a:pt x="1363" y="234"/>
                  </a:lnTo>
                  <a:lnTo>
                    <a:pt x="1363" y="233"/>
                  </a:lnTo>
                  <a:lnTo>
                    <a:pt x="1363" y="234"/>
                  </a:lnTo>
                  <a:lnTo>
                    <a:pt x="1363" y="236"/>
                  </a:lnTo>
                  <a:lnTo>
                    <a:pt x="1365" y="236"/>
                  </a:lnTo>
                  <a:close/>
                  <a:moveTo>
                    <a:pt x="1487" y="234"/>
                  </a:moveTo>
                  <a:lnTo>
                    <a:pt x="1485" y="234"/>
                  </a:lnTo>
                  <a:lnTo>
                    <a:pt x="1487" y="233"/>
                  </a:lnTo>
                  <a:lnTo>
                    <a:pt x="1487" y="234"/>
                  </a:lnTo>
                  <a:close/>
                  <a:moveTo>
                    <a:pt x="1472" y="234"/>
                  </a:moveTo>
                  <a:lnTo>
                    <a:pt x="1472" y="233"/>
                  </a:lnTo>
                  <a:lnTo>
                    <a:pt x="1472" y="234"/>
                  </a:lnTo>
                  <a:close/>
                  <a:moveTo>
                    <a:pt x="1331" y="233"/>
                  </a:moveTo>
                  <a:lnTo>
                    <a:pt x="1332" y="233"/>
                  </a:lnTo>
                  <a:lnTo>
                    <a:pt x="1332" y="234"/>
                  </a:lnTo>
                  <a:lnTo>
                    <a:pt x="1334" y="234"/>
                  </a:lnTo>
                  <a:lnTo>
                    <a:pt x="1334" y="236"/>
                  </a:lnTo>
                  <a:lnTo>
                    <a:pt x="1336" y="236"/>
                  </a:lnTo>
                  <a:lnTo>
                    <a:pt x="1336" y="238"/>
                  </a:lnTo>
                  <a:lnTo>
                    <a:pt x="1336" y="239"/>
                  </a:lnTo>
                  <a:lnTo>
                    <a:pt x="1336" y="241"/>
                  </a:lnTo>
                  <a:lnTo>
                    <a:pt x="1337" y="241"/>
                  </a:lnTo>
                  <a:lnTo>
                    <a:pt x="1336" y="239"/>
                  </a:lnTo>
                  <a:lnTo>
                    <a:pt x="1337" y="239"/>
                  </a:lnTo>
                  <a:lnTo>
                    <a:pt x="1337" y="238"/>
                  </a:lnTo>
                  <a:lnTo>
                    <a:pt x="1337" y="236"/>
                  </a:lnTo>
                  <a:lnTo>
                    <a:pt x="1339" y="236"/>
                  </a:lnTo>
                  <a:lnTo>
                    <a:pt x="1339" y="234"/>
                  </a:lnTo>
                  <a:lnTo>
                    <a:pt x="1339" y="233"/>
                  </a:lnTo>
                  <a:lnTo>
                    <a:pt x="1341" y="233"/>
                  </a:lnTo>
                  <a:lnTo>
                    <a:pt x="1341" y="236"/>
                  </a:lnTo>
                  <a:lnTo>
                    <a:pt x="1342" y="236"/>
                  </a:lnTo>
                  <a:lnTo>
                    <a:pt x="1341" y="234"/>
                  </a:lnTo>
                  <a:lnTo>
                    <a:pt x="1342" y="234"/>
                  </a:lnTo>
                  <a:lnTo>
                    <a:pt x="1342" y="236"/>
                  </a:lnTo>
                  <a:lnTo>
                    <a:pt x="1344" y="236"/>
                  </a:lnTo>
                  <a:lnTo>
                    <a:pt x="1344" y="238"/>
                  </a:lnTo>
                  <a:lnTo>
                    <a:pt x="1344" y="239"/>
                  </a:lnTo>
                  <a:lnTo>
                    <a:pt x="1344" y="241"/>
                  </a:lnTo>
                  <a:lnTo>
                    <a:pt x="1342" y="241"/>
                  </a:lnTo>
                  <a:lnTo>
                    <a:pt x="1342" y="243"/>
                  </a:lnTo>
                  <a:lnTo>
                    <a:pt x="1341" y="243"/>
                  </a:lnTo>
                  <a:lnTo>
                    <a:pt x="1339" y="243"/>
                  </a:lnTo>
                  <a:lnTo>
                    <a:pt x="1337" y="243"/>
                  </a:lnTo>
                  <a:lnTo>
                    <a:pt x="1339" y="244"/>
                  </a:lnTo>
                  <a:lnTo>
                    <a:pt x="1337" y="243"/>
                  </a:lnTo>
                  <a:lnTo>
                    <a:pt x="1337" y="244"/>
                  </a:lnTo>
                  <a:lnTo>
                    <a:pt x="1336" y="244"/>
                  </a:lnTo>
                  <a:lnTo>
                    <a:pt x="1336" y="246"/>
                  </a:lnTo>
                  <a:lnTo>
                    <a:pt x="1334" y="246"/>
                  </a:lnTo>
                  <a:lnTo>
                    <a:pt x="1334" y="248"/>
                  </a:lnTo>
                  <a:lnTo>
                    <a:pt x="1334" y="249"/>
                  </a:lnTo>
                  <a:lnTo>
                    <a:pt x="1334" y="251"/>
                  </a:lnTo>
                  <a:lnTo>
                    <a:pt x="1332" y="251"/>
                  </a:lnTo>
                  <a:lnTo>
                    <a:pt x="1332" y="252"/>
                  </a:lnTo>
                  <a:lnTo>
                    <a:pt x="1332" y="251"/>
                  </a:lnTo>
                  <a:lnTo>
                    <a:pt x="1332" y="252"/>
                  </a:lnTo>
                  <a:lnTo>
                    <a:pt x="1332" y="251"/>
                  </a:lnTo>
                  <a:lnTo>
                    <a:pt x="1331" y="251"/>
                  </a:lnTo>
                  <a:lnTo>
                    <a:pt x="1331" y="249"/>
                  </a:lnTo>
                  <a:lnTo>
                    <a:pt x="1329" y="249"/>
                  </a:lnTo>
                  <a:lnTo>
                    <a:pt x="1331" y="249"/>
                  </a:lnTo>
                  <a:lnTo>
                    <a:pt x="1331" y="248"/>
                  </a:lnTo>
                  <a:lnTo>
                    <a:pt x="1331" y="246"/>
                  </a:lnTo>
                  <a:lnTo>
                    <a:pt x="1332" y="246"/>
                  </a:lnTo>
                  <a:lnTo>
                    <a:pt x="1331" y="246"/>
                  </a:lnTo>
                  <a:lnTo>
                    <a:pt x="1329" y="246"/>
                  </a:lnTo>
                  <a:lnTo>
                    <a:pt x="1329" y="244"/>
                  </a:lnTo>
                  <a:lnTo>
                    <a:pt x="1329" y="243"/>
                  </a:lnTo>
                  <a:lnTo>
                    <a:pt x="1329" y="241"/>
                  </a:lnTo>
                  <a:lnTo>
                    <a:pt x="1329" y="239"/>
                  </a:lnTo>
                  <a:lnTo>
                    <a:pt x="1331" y="239"/>
                  </a:lnTo>
                  <a:lnTo>
                    <a:pt x="1331" y="238"/>
                  </a:lnTo>
                  <a:lnTo>
                    <a:pt x="1331" y="236"/>
                  </a:lnTo>
                  <a:lnTo>
                    <a:pt x="1329" y="234"/>
                  </a:lnTo>
                  <a:lnTo>
                    <a:pt x="1331" y="233"/>
                  </a:lnTo>
                  <a:close/>
                  <a:moveTo>
                    <a:pt x="1339" y="231"/>
                  </a:moveTo>
                  <a:lnTo>
                    <a:pt x="1341" y="231"/>
                  </a:lnTo>
                  <a:lnTo>
                    <a:pt x="1339" y="231"/>
                  </a:lnTo>
                  <a:close/>
                  <a:moveTo>
                    <a:pt x="1332" y="231"/>
                  </a:moveTo>
                  <a:lnTo>
                    <a:pt x="1334" y="233"/>
                  </a:lnTo>
                  <a:lnTo>
                    <a:pt x="1332" y="233"/>
                  </a:lnTo>
                  <a:lnTo>
                    <a:pt x="1332" y="231"/>
                  </a:lnTo>
                  <a:close/>
                  <a:moveTo>
                    <a:pt x="1446" y="231"/>
                  </a:moveTo>
                  <a:lnTo>
                    <a:pt x="1448" y="231"/>
                  </a:lnTo>
                  <a:lnTo>
                    <a:pt x="1446" y="231"/>
                  </a:lnTo>
                  <a:close/>
                  <a:moveTo>
                    <a:pt x="1326" y="231"/>
                  </a:moveTo>
                  <a:lnTo>
                    <a:pt x="1328" y="231"/>
                  </a:lnTo>
                  <a:lnTo>
                    <a:pt x="1326" y="231"/>
                  </a:lnTo>
                  <a:close/>
                  <a:moveTo>
                    <a:pt x="1484" y="230"/>
                  </a:moveTo>
                  <a:lnTo>
                    <a:pt x="1484" y="231"/>
                  </a:lnTo>
                  <a:lnTo>
                    <a:pt x="1484" y="230"/>
                  </a:lnTo>
                  <a:close/>
                  <a:moveTo>
                    <a:pt x="1334" y="231"/>
                  </a:moveTo>
                  <a:lnTo>
                    <a:pt x="1334" y="230"/>
                  </a:lnTo>
                  <a:lnTo>
                    <a:pt x="1337" y="230"/>
                  </a:lnTo>
                  <a:lnTo>
                    <a:pt x="1337" y="233"/>
                  </a:lnTo>
                  <a:lnTo>
                    <a:pt x="1337" y="234"/>
                  </a:lnTo>
                  <a:lnTo>
                    <a:pt x="1337" y="236"/>
                  </a:lnTo>
                  <a:lnTo>
                    <a:pt x="1337" y="238"/>
                  </a:lnTo>
                  <a:lnTo>
                    <a:pt x="1336" y="238"/>
                  </a:lnTo>
                  <a:lnTo>
                    <a:pt x="1336" y="236"/>
                  </a:lnTo>
                  <a:lnTo>
                    <a:pt x="1336" y="234"/>
                  </a:lnTo>
                  <a:lnTo>
                    <a:pt x="1334" y="234"/>
                  </a:lnTo>
                  <a:lnTo>
                    <a:pt x="1334" y="233"/>
                  </a:lnTo>
                  <a:lnTo>
                    <a:pt x="1336" y="234"/>
                  </a:lnTo>
                  <a:lnTo>
                    <a:pt x="1336" y="233"/>
                  </a:lnTo>
                  <a:lnTo>
                    <a:pt x="1334" y="233"/>
                  </a:lnTo>
                  <a:lnTo>
                    <a:pt x="1334" y="231"/>
                  </a:lnTo>
                  <a:close/>
                  <a:moveTo>
                    <a:pt x="1345" y="230"/>
                  </a:moveTo>
                  <a:lnTo>
                    <a:pt x="1345" y="231"/>
                  </a:lnTo>
                  <a:lnTo>
                    <a:pt x="1345" y="230"/>
                  </a:lnTo>
                  <a:close/>
                  <a:moveTo>
                    <a:pt x="1484" y="230"/>
                  </a:moveTo>
                  <a:lnTo>
                    <a:pt x="1482" y="230"/>
                  </a:lnTo>
                  <a:lnTo>
                    <a:pt x="1484" y="230"/>
                  </a:lnTo>
                  <a:close/>
                  <a:moveTo>
                    <a:pt x="1342" y="230"/>
                  </a:moveTo>
                  <a:lnTo>
                    <a:pt x="1344" y="230"/>
                  </a:lnTo>
                  <a:lnTo>
                    <a:pt x="1344" y="231"/>
                  </a:lnTo>
                  <a:lnTo>
                    <a:pt x="1345" y="231"/>
                  </a:lnTo>
                  <a:lnTo>
                    <a:pt x="1345" y="233"/>
                  </a:lnTo>
                  <a:lnTo>
                    <a:pt x="1347" y="233"/>
                  </a:lnTo>
                  <a:lnTo>
                    <a:pt x="1347" y="234"/>
                  </a:lnTo>
                  <a:lnTo>
                    <a:pt x="1345" y="234"/>
                  </a:lnTo>
                  <a:lnTo>
                    <a:pt x="1347" y="234"/>
                  </a:lnTo>
                  <a:lnTo>
                    <a:pt x="1345" y="234"/>
                  </a:lnTo>
                  <a:lnTo>
                    <a:pt x="1345" y="233"/>
                  </a:lnTo>
                  <a:lnTo>
                    <a:pt x="1345" y="234"/>
                  </a:lnTo>
                  <a:lnTo>
                    <a:pt x="1344" y="234"/>
                  </a:lnTo>
                  <a:lnTo>
                    <a:pt x="1344" y="236"/>
                  </a:lnTo>
                  <a:lnTo>
                    <a:pt x="1345" y="236"/>
                  </a:lnTo>
                  <a:lnTo>
                    <a:pt x="1344" y="236"/>
                  </a:lnTo>
                  <a:lnTo>
                    <a:pt x="1344" y="234"/>
                  </a:lnTo>
                  <a:lnTo>
                    <a:pt x="1344" y="233"/>
                  </a:lnTo>
                  <a:lnTo>
                    <a:pt x="1342" y="233"/>
                  </a:lnTo>
                  <a:lnTo>
                    <a:pt x="1342" y="231"/>
                  </a:lnTo>
                  <a:lnTo>
                    <a:pt x="1342" y="230"/>
                  </a:lnTo>
                  <a:close/>
                  <a:moveTo>
                    <a:pt x="1450" y="231"/>
                  </a:moveTo>
                  <a:lnTo>
                    <a:pt x="1448" y="231"/>
                  </a:lnTo>
                  <a:lnTo>
                    <a:pt x="1448" y="230"/>
                  </a:lnTo>
                  <a:lnTo>
                    <a:pt x="1450" y="230"/>
                  </a:lnTo>
                  <a:lnTo>
                    <a:pt x="1450" y="231"/>
                  </a:lnTo>
                  <a:close/>
                  <a:moveTo>
                    <a:pt x="1440" y="234"/>
                  </a:moveTo>
                  <a:lnTo>
                    <a:pt x="1441" y="234"/>
                  </a:lnTo>
                  <a:lnTo>
                    <a:pt x="1443" y="236"/>
                  </a:lnTo>
                  <a:lnTo>
                    <a:pt x="1445" y="236"/>
                  </a:lnTo>
                  <a:lnTo>
                    <a:pt x="1445" y="234"/>
                  </a:lnTo>
                  <a:lnTo>
                    <a:pt x="1443" y="234"/>
                  </a:lnTo>
                  <a:lnTo>
                    <a:pt x="1445" y="233"/>
                  </a:lnTo>
                  <a:lnTo>
                    <a:pt x="1445" y="234"/>
                  </a:lnTo>
                  <a:lnTo>
                    <a:pt x="1445" y="233"/>
                  </a:lnTo>
                  <a:lnTo>
                    <a:pt x="1445" y="234"/>
                  </a:lnTo>
                  <a:lnTo>
                    <a:pt x="1446" y="233"/>
                  </a:lnTo>
                  <a:lnTo>
                    <a:pt x="1448" y="233"/>
                  </a:lnTo>
                  <a:lnTo>
                    <a:pt x="1446" y="233"/>
                  </a:lnTo>
                  <a:lnTo>
                    <a:pt x="1448" y="233"/>
                  </a:lnTo>
                  <a:lnTo>
                    <a:pt x="1450" y="233"/>
                  </a:lnTo>
                  <a:lnTo>
                    <a:pt x="1448" y="234"/>
                  </a:lnTo>
                  <a:lnTo>
                    <a:pt x="1448" y="236"/>
                  </a:lnTo>
                  <a:lnTo>
                    <a:pt x="1446" y="236"/>
                  </a:lnTo>
                  <a:lnTo>
                    <a:pt x="1445" y="238"/>
                  </a:lnTo>
                  <a:lnTo>
                    <a:pt x="1443" y="238"/>
                  </a:lnTo>
                  <a:lnTo>
                    <a:pt x="1445" y="239"/>
                  </a:lnTo>
                  <a:lnTo>
                    <a:pt x="1445" y="241"/>
                  </a:lnTo>
                  <a:lnTo>
                    <a:pt x="1443" y="243"/>
                  </a:lnTo>
                  <a:lnTo>
                    <a:pt x="1441" y="244"/>
                  </a:lnTo>
                  <a:lnTo>
                    <a:pt x="1440" y="246"/>
                  </a:lnTo>
                  <a:lnTo>
                    <a:pt x="1438" y="246"/>
                  </a:lnTo>
                  <a:lnTo>
                    <a:pt x="1437" y="244"/>
                  </a:lnTo>
                  <a:lnTo>
                    <a:pt x="1435" y="243"/>
                  </a:lnTo>
                  <a:lnTo>
                    <a:pt x="1433" y="241"/>
                  </a:lnTo>
                  <a:lnTo>
                    <a:pt x="1433" y="239"/>
                  </a:lnTo>
                  <a:lnTo>
                    <a:pt x="1433" y="238"/>
                  </a:lnTo>
                  <a:lnTo>
                    <a:pt x="1432" y="234"/>
                  </a:lnTo>
                  <a:lnTo>
                    <a:pt x="1430" y="233"/>
                  </a:lnTo>
                  <a:lnTo>
                    <a:pt x="1432" y="233"/>
                  </a:lnTo>
                  <a:lnTo>
                    <a:pt x="1432" y="231"/>
                  </a:lnTo>
                  <a:lnTo>
                    <a:pt x="1433" y="230"/>
                  </a:lnTo>
                  <a:lnTo>
                    <a:pt x="1435" y="230"/>
                  </a:lnTo>
                  <a:lnTo>
                    <a:pt x="1437" y="230"/>
                  </a:lnTo>
                  <a:lnTo>
                    <a:pt x="1438" y="231"/>
                  </a:lnTo>
                  <a:lnTo>
                    <a:pt x="1440" y="233"/>
                  </a:lnTo>
                  <a:lnTo>
                    <a:pt x="1440" y="234"/>
                  </a:lnTo>
                  <a:close/>
                  <a:moveTo>
                    <a:pt x="1328" y="230"/>
                  </a:moveTo>
                  <a:lnTo>
                    <a:pt x="1326" y="230"/>
                  </a:lnTo>
                  <a:lnTo>
                    <a:pt x="1328" y="230"/>
                  </a:lnTo>
                  <a:lnTo>
                    <a:pt x="1328" y="228"/>
                  </a:lnTo>
                  <a:lnTo>
                    <a:pt x="1328" y="230"/>
                  </a:lnTo>
                  <a:close/>
                  <a:moveTo>
                    <a:pt x="1329" y="228"/>
                  </a:moveTo>
                  <a:lnTo>
                    <a:pt x="1329" y="230"/>
                  </a:lnTo>
                  <a:lnTo>
                    <a:pt x="1329" y="228"/>
                  </a:lnTo>
                  <a:close/>
                  <a:moveTo>
                    <a:pt x="1341" y="225"/>
                  </a:moveTo>
                  <a:lnTo>
                    <a:pt x="1342" y="225"/>
                  </a:lnTo>
                  <a:lnTo>
                    <a:pt x="1342" y="226"/>
                  </a:lnTo>
                  <a:lnTo>
                    <a:pt x="1341" y="225"/>
                  </a:lnTo>
                  <a:close/>
                  <a:moveTo>
                    <a:pt x="1441" y="226"/>
                  </a:moveTo>
                  <a:lnTo>
                    <a:pt x="1443" y="225"/>
                  </a:lnTo>
                  <a:lnTo>
                    <a:pt x="1443" y="226"/>
                  </a:lnTo>
                  <a:lnTo>
                    <a:pt x="1445" y="226"/>
                  </a:lnTo>
                  <a:lnTo>
                    <a:pt x="1445" y="228"/>
                  </a:lnTo>
                  <a:lnTo>
                    <a:pt x="1443" y="228"/>
                  </a:lnTo>
                  <a:lnTo>
                    <a:pt x="1443" y="230"/>
                  </a:lnTo>
                  <a:lnTo>
                    <a:pt x="1445" y="230"/>
                  </a:lnTo>
                  <a:lnTo>
                    <a:pt x="1445" y="231"/>
                  </a:lnTo>
                  <a:lnTo>
                    <a:pt x="1443" y="233"/>
                  </a:lnTo>
                  <a:lnTo>
                    <a:pt x="1441" y="233"/>
                  </a:lnTo>
                  <a:lnTo>
                    <a:pt x="1440" y="231"/>
                  </a:lnTo>
                  <a:lnTo>
                    <a:pt x="1441" y="230"/>
                  </a:lnTo>
                  <a:lnTo>
                    <a:pt x="1441" y="228"/>
                  </a:lnTo>
                  <a:lnTo>
                    <a:pt x="1443" y="228"/>
                  </a:lnTo>
                  <a:lnTo>
                    <a:pt x="1443" y="226"/>
                  </a:lnTo>
                  <a:lnTo>
                    <a:pt x="1441" y="226"/>
                  </a:lnTo>
                  <a:close/>
                  <a:moveTo>
                    <a:pt x="1458" y="228"/>
                  </a:moveTo>
                  <a:lnTo>
                    <a:pt x="1456" y="228"/>
                  </a:lnTo>
                  <a:lnTo>
                    <a:pt x="1454" y="228"/>
                  </a:lnTo>
                  <a:lnTo>
                    <a:pt x="1454" y="226"/>
                  </a:lnTo>
                  <a:lnTo>
                    <a:pt x="1454" y="225"/>
                  </a:lnTo>
                  <a:lnTo>
                    <a:pt x="1456" y="225"/>
                  </a:lnTo>
                  <a:lnTo>
                    <a:pt x="1456" y="223"/>
                  </a:lnTo>
                  <a:lnTo>
                    <a:pt x="1458" y="225"/>
                  </a:lnTo>
                  <a:lnTo>
                    <a:pt x="1458" y="226"/>
                  </a:lnTo>
                  <a:lnTo>
                    <a:pt x="1458" y="228"/>
                  </a:lnTo>
                  <a:close/>
                  <a:moveTo>
                    <a:pt x="1472" y="225"/>
                  </a:moveTo>
                  <a:lnTo>
                    <a:pt x="1472" y="223"/>
                  </a:lnTo>
                  <a:lnTo>
                    <a:pt x="1472" y="225"/>
                  </a:lnTo>
                  <a:close/>
                  <a:moveTo>
                    <a:pt x="1344" y="223"/>
                  </a:moveTo>
                  <a:lnTo>
                    <a:pt x="1344" y="221"/>
                  </a:lnTo>
                  <a:lnTo>
                    <a:pt x="1344" y="223"/>
                  </a:lnTo>
                  <a:close/>
                  <a:moveTo>
                    <a:pt x="1394" y="221"/>
                  </a:moveTo>
                  <a:lnTo>
                    <a:pt x="1394" y="223"/>
                  </a:lnTo>
                  <a:lnTo>
                    <a:pt x="1394" y="221"/>
                  </a:lnTo>
                  <a:close/>
                  <a:moveTo>
                    <a:pt x="1394" y="221"/>
                  </a:moveTo>
                  <a:lnTo>
                    <a:pt x="1394" y="223"/>
                  </a:lnTo>
                  <a:lnTo>
                    <a:pt x="1394" y="221"/>
                  </a:lnTo>
                  <a:close/>
                  <a:moveTo>
                    <a:pt x="1344" y="223"/>
                  </a:moveTo>
                  <a:lnTo>
                    <a:pt x="1344" y="221"/>
                  </a:lnTo>
                  <a:lnTo>
                    <a:pt x="1344" y="223"/>
                  </a:lnTo>
                  <a:lnTo>
                    <a:pt x="1345" y="223"/>
                  </a:lnTo>
                  <a:lnTo>
                    <a:pt x="1344" y="225"/>
                  </a:lnTo>
                  <a:lnTo>
                    <a:pt x="1342" y="223"/>
                  </a:lnTo>
                  <a:lnTo>
                    <a:pt x="1344" y="223"/>
                  </a:lnTo>
                  <a:close/>
                  <a:moveTo>
                    <a:pt x="1474" y="223"/>
                  </a:moveTo>
                  <a:lnTo>
                    <a:pt x="1474" y="221"/>
                  </a:lnTo>
                  <a:lnTo>
                    <a:pt x="1476" y="221"/>
                  </a:lnTo>
                  <a:lnTo>
                    <a:pt x="1476" y="223"/>
                  </a:lnTo>
                  <a:lnTo>
                    <a:pt x="1477" y="223"/>
                  </a:lnTo>
                  <a:lnTo>
                    <a:pt x="1477" y="225"/>
                  </a:lnTo>
                  <a:lnTo>
                    <a:pt x="1479" y="225"/>
                  </a:lnTo>
                  <a:lnTo>
                    <a:pt x="1480" y="225"/>
                  </a:lnTo>
                  <a:lnTo>
                    <a:pt x="1480" y="226"/>
                  </a:lnTo>
                  <a:lnTo>
                    <a:pt x="1480" y="228"/>
                  </a:lnTo>
                  <a:lnTo>
                    <a:pt x="1480" y="230"/>
                  </a:lnTo>
                  <a:lnTo>
                    <a:pt x="1479" y="230"/>
                  </a:lnTo>
                  <a:lnTo>
                    <a:pt x="1479" y="228"/>
                  </a:lnTo>
                  <a:lnTo>
                    <a:pt x="1476" y="228"/>
                  </a:lnTo>
                  <a:lnTo>
                    <a:pt x="1476" y="226"/>
                  </a:lnTo>
                  <a:lnTo>
                    <a:pt x="1474" y="226"/>
                  </a:lnTo>
                  <a:lnTo>
                    <a:pt x="1472" y="226"/>
                  </a:lnTo>
                  <a:lnTo>
                    <a:pt x="1472" y="225"/>
                  </a:lnTo>
                  <a:lnTo>
                    <a:pt x="1474" y="225"/>
                  </a:lnTo>
                  <a:lnTo>
                    <a:pt x="1472" y="223"/>
                  </a:lnTo>
                  <a:lnTo>
                    <a:pt x="1474" y="223"/>
                  </a:lnTo>
                  <a:close/>
                  <a:moveTo>
                    <a:pt x="1368" y="225"/>
                  </a:moveTo>
                  <a:lnTo>
                    <a:pt x="1370" y="226"/>
                  </a:lnTo>
                  <a:lnTo>
                    <a:pt x="1371" y="226"/>
                  </a:lnTo>
                  <a:lnTo>
                    <a:pt x="1371" y="228"/>
                  </a:lnTo>
                  <a:lnTo>
                    <a:pt x="1373" y="228"/>
                  </a:lnTo>
                  <a:lnTo>
                    <a:pt x="1373" y="230"/>
                  </a:lnTo>
                  <a:lnTo>
                    <a:pt x="1373" y="231"/>
                  </a:lnTo>
                  <a:lnTo>
                    <a:pt x="1371" y="231"/>
                  </a:lnTo>
                  <a:lnTo>
                    <a:pt x="1370" y="231"/>
                  </a:lnTo>
                  <a:lnTo>
                    <a:pt x="1368" y="231"/>
                  </a:lnTo>
                  <a:lnTo>
                    <a:pt x="1367" y="231"/>
                  </a:lnTo>
                  <a:lnTo>
                    <a:pt x="1365" y="230"/>
                  </a:lnTo>
                  <a:lnTo>
                    <a:pt x="1363" y="230"/>
                  </a:lnTo>
                  <a:lnTo>
                    <a:pt x="1362" y="230"/>
                  </a:lnTo>
                  <a:lnTo>
                    <a:pt x="1362" y="228"/>
                  </a:lnTo>
                  <a:lnTo>
                    <a:pt x="1360" y="228"/>
                  </a:lnTo>
                  <a:lnTo>
                    <a:pt x="1360" y="226"/>
                  </a:lnTo>
                  <a:lnTo>
                    <a:pt x="1360" y="225"/>
                  </a:lnTo>
                  <a:lnTo>
                    <a:pt x="1362" y="223"/>
                  </a:lnTo>
                  <a:lnTo>
                    <a:pt x="1363" y="221"/>
                  </a:lnTo>
                  <a:lnTo>
                    <a:pt x="1365" y="223"/>
                  </a:lnTo>
                  <a:lnTo>
                    <a:pt x="1367" y="223"/>
                  </a:lnTo>
                  <a:lnTo>
                    <a:pt x="1367" y="225"/>
                  </a:lnTo>
                  <a:lnTo>
                    <a:pt x="1368" y="225"/>
                  </a:lnTo>
                  <a:close/>
                  <a:moveTo>
                    <a:pt x="1334" y="221"/>
                  </a:moveTo>
                  <a:lnTo>
                    <a:pt x="1336" y="221"/>
                  </a:lnTo>
                  <a:lnTo>
                    <a:pt x="1337" y="221"/>
                  </a:lnTo>
                  <a:lnTo>
                    <a:pt x="1337" y="223"/>
                  </a:lnTo>
                  <a:lnTo>
                    <a:pt x="1339" y="223"/>
                  </a:lnTo>
                  <a:lnTo>
                    <a:pt x="1337" y="223"/>
                  </a:lnTo>
                  <a:lnTo>
                    <a:pt x="1337" y="225"/>
                  </a:lnTo>
                  <a:lnTo>
                    <a:pt x="1337" y="226"/>
                  </a:lnTo>
                  <a:lnTo>
                    <a:pt x="1339" y="226"/>
                  </a:lnTo>
                  <a:lnTo>
                    <a:pt x="1339" y="228"/>
                  </a:lnTo>
                  <a:lnTo>
                    <a:pt x="1337" y="230"/>
                  </a:lnTo>
                  <a:lnTo>
                    <a:pt x="1337" y="228"/>
                  </a:lnTo>
                  <a:lnTo>
                    <a:pt x="1336" y="228"/>
                  </a:lnTo>
                  <a:lnTo>
                    <a:pt x="1334" y="228"/>
                  </a:lnTo>
                  <a:lnTo>
                    <a:pt x="1332" y="228"/>
                  </a:lnTo>
                  <a:lnTo>
                    <a:pt x="1332" y="226"/>
                  </a:lnTo>
                  <a:lnTo>
                    <a:pt x="1334" y="226"/>
                  </a:lnTo>
                  <a:lnTo>
                    <a:pt x="1334" y="225"/>
                  </a:lnTo>
                  <a:lnTo>
                    <a:pt x="1334" y="223"/>
                  </a:lnTo>
                  <a:lnTo>
                    <a:pt x="1334" y="221"/>
                  </a:lnTo>
                  <a:close/>
                  <a:moveTo>
                    <a:pt x="1341" y="221"/>
                  </a:moveTo>
                  <a:lnTo>
                    <a:pt x="1342" y="221"/>
                  </a:lnTo>
                  <a:lnTo>
                    <a:pt x="1342" y="223"/>
                  </a:lnTo>
                  <a:lnTo>
                    <a:pt x="1342" y="225"/>
                  </a:lnTo>
                  <a:lnTo>
                    <a:pt x="1341" y="225"/>
                  </a:lnTo>
                  <a:lnTo>
                    <a:pt x="1342" y="225"/>
                  </a:lnTo>
                  <a:lnTo>
                    <a:pt x="1341" y="225"/>
                  </a:lnTo>
                  <a:lnTo>
                    <a:pt x="1341" y="223"/>
                  </a:lnTo>
                  <a:lnTo>
                    <a:pt x="1341" y="221"/>
                  </a:lnTo>
                  <a:lnTo>
                    <a:pt x="1342" y="221"/>
                  </a:lnTo>
                  <a:lnTo>
                    <a:pt x="1341" y="221"/>
                  </a:lnTo>
                  <a:close/>
                  <a:moveTo>
                    <a:pt x="1497" y="221"/>
                  </a:moveTo>
                  <a:lnTo>
                    <a:pt x="1497" y="220"/>
                  </a:lnTo>
                  <a:lnTo>
                    <a:pt x="1497" y="221"/>
                  </a:lnTo>
                  <a:close/>
                  <a:moveTo>
                    <a:pt x="1344" y="221"/>
                  </a:moveTo>
                  <a:lnTo>
                    <a:pt x="1342" y="221"/>
                  </a:lnTo>
                  <a:lnTo>
                    <a:pt x="1344" y="221"/>
                  </a:lnTo>
                  <a:lnTo>
                    <a:pt x="1344" y="220"/>
                  </a:lnTo>
                  <a:lnTo>
                    <a:pt x="1344" y="221"/>
                  </a:lnTo>
                  <a:close/>
                  <a:moveTo>
                    <a:pt x="1337" y="221"/>
                  </a:moveTo>
                  <a:lnTo>
                    <a:pt x="1337" y="220"/>
                  </a:lnTo>
                  <a:lnTo>
                    <a:pt x="1337" y="221"/>
                  </a:lnTo>
                  <a:close/>
                  <a:moveTo>
                    <a:pt x="1342" y="218"/>
                  </a:moveTo>
                  <a:lnTo>
                    <a:pt x="1344" y="218"/>
                  </a:lnTo>
                  <a:lnTo>
                    <a:pt x="1342" y="218"/>
                  </a:lnTo>
                  <a:close/>
                  <a:moveTo>
                    <a:pt x="1342" y="218"/>
                  </a:moveTo>
                  <a:lnTo>
                    <a:pt x="1344" y="218"/>
                  </a:lnTo>
                  <a:lnTo>
                    <a:pt x="1342" y="218"/>
                  </a:lnTo>
                  <a:close/>
                  <a:moveTo>
                    <a:pt x="1401" y="217"/>
                  </a:moveTo>
                  <a:lnTo>
                    <a:pt x="1402" y="217"/>
                  </a:lnTo>
                  <a:lnTo>
                    <a:pt x="1401" y="217"/>
                  </a:lnTo>
                  <a:close/>
                  <a:moveTo>
                    <a:pt x="1394" y="217"/>
                  </a:moveTo>
                  <a:lnTo>
                    <a:pt x="1393" y="217"/>
                  </a:lnTo>
                  <a:lnTo>
                    <a:pt x="1394" y="217"/>
                  </a:lnTo>
                  <a:close/>
                  <a:moveTo>
                    <a:pt x="1389" y="218"/>
                  </a:moveTo>
                  <a:lnTo>
                    <a:pt x="1389" y="217"/>
                  </a:lnTo>
                  <a:lnTo>
                    <a:pt x="1391" y="215"/>
                  </a:lnTo>
                  <a:lnTo>
                    <a:pt x="1391" y="217"/>
                  </a:lnTo>
                  <a:lnTo>
                    <a:pt x="1393" y="217"/>
                  </a:lnTo>
                  <a:lnTo>
                    <a:pt x="1394" y="217"/>
                  </a:lnTo>
                  <a:lnTo>
                    <a:pt x="1394" y="218"/>
                  </a:lnTo>
                  <a:lnTo>
                    <a:pt x="1396" y="218"/>
                  </a:lnTo>
                  <a:lnTo>
                    <a:pt x="1396" y="220"/>
                  </a:lnTo>
                  <a:lnTo>
                    <a:pt x="1394" y="220"/>
                  </a:lnTo>
                  <a:lnTo>
                    <a:pt x="1393" y="220"/>
                  </a:lnTo>
                  <a:lnTo>
                    <a:pt x="1391" y="220"/>
                  </a:lnTo>
                  <a:lnTo>
                    <a:pt x="1389" y="218"/>
                  </a:lnTo>
                  <a:close/>
                  <a:moveTo>
                    <a:pt x="1401" y="218"/>
                  </a:moveTo>
                  <a:lnTo>
                    <a:pt x="1399" y="217"/>
                  </a:lnTo>
                  <a:lnTo>
                    <a:pt x="1401" y="217"/>
                  </a:lnTo>
                  <a:lnTo>
                    <a:pt x="1401" y="215"/>
                  </a:lnTo>
                  <a:lnTo>
                    <a:pt x="1399" y="215"/>
                  </a:lnTo>
                  <a:lnTo>
                    <a:pt x="1401" y="215"/>
                  </a:lnTo>
                  <a:lnTo>
                    <a:pt x="1401" y="217"/>
                  </a:lnTo>
                  <a:lnTo>
                    <a:pt x="1401" y="218"/>
                  </a:lnTo>
                  <a:close/>
                  <a:moveTo>
                    <a:pt x="1562" y="215"/>
                  </a:moveTo>
                  <a:lnTo>
                    <a:pt x="1563" y="215"/>
                  </a:lnTo>
                  <a:lnTo>
                    <a:pt x="1562" y="215"/>
                  </a:lnTo>
                  <a:close/>
                  <a:moveTo>
                    <a:pt x="1461" y="217"/>
                  </a:moveTo>
                  <a:lnTo>
                    <a:pt x="1459" y="217"/>
                  </a:lnTo>
                  <a:lnTo>
                    <a:pt x="1458" y="217"/>
                  </a:lnTo>
                  <a:lnTo>
                    <a:pt x="1456" y="215"/>
                  </a:lnTo>
                  <a:lnTo>
                    <a:pt x="1458" y="215"/>
                  </a:lnTo>
                  <a:lnTo>
                    <a:pt x="1456" y="215"/>
                  </a:lnTo>
                  <a:lnTo>
                    <a:pt x="1458" y="215"/>
                  </a:lnTo>
                  <a:lnTo>
                    <a:pt x="1458" y="213"/>
                  </a:lnTo>
                  <a:lnTo>
                    <a:pt x="1459" y="213"/>
                  </a:lnTo>
                  <a:lnTo>
                    <a:pt x="1459" y="215"/>
                  </a:lnTo>
                  <a:lnTo>
                    <a:pt x="1461" y="215"/>
                  </a:lnTo>
                  <a:lnTo>
                    <a:pt x="1461" y="217"/>
                  </a:lnTo>
                  <a:close/>
                  <a:moveTo>
                    <a:pt x="1437" y="225"/>
                  </a:moveTo>
                  <a:lnTo>
                    <a:pt x="1437" y="226"/>
                  </a:lnTo>
                  <a:lnTo>
                    <a:pt x="1435" y="225"/>
                  </a:lnTo>
                  <a:lnTo>
                    <a:pt x="1433" y="223"/>
                  </a:lnTo>
                  <a:lnTo>
                    <a:pt x="1432" y="223"/>
                  </a:lnTo>
                  <a:lnTo>
                    <a:pt x="1432" y="221"/>
                  </a:lnTo>
                  <a:lnTo>
                    <a:pt x="1432" y="220"/>
                  </a:lnTo>
                  <a:lnTo>
                    <a:pt x="1432" y="218"/>
                  </a:lnTo>
                  <a:lnTo>
                    <a:pt x="1432" y="217"/>
                  </a:lnTo>
                  <a:lnTo>
                    <a:pt x="1433" y="213"/>
                  </a:lnTo>
                  <a:lnTo>
                    <a:pt x="1435" y="215"/>
                  </a:lnTo>
                  <a:lnTo>
                    <a:pt x="1437" y="215"/>
                  </a:lnTo>
                  <a:lnTo>
                    <a:pt x="1437" y="217"/>
                  </a:lnTo>
                  <a:lnTo>
                    <a:pt x="1438" y="218"/>
                  </a:lnTo>
                  <a:lnTo>
                    <a:pt x="1438" y="220"/>
                  </a:lnTo>
                  <a:lnTo>
                    <a:pt x="1440" y="220"/>
                  </a:lnTo>
                  <a:lnTo>
                    <a:pt x="1440" y="221"/>
                  </a:lnTo>
                  <a:lnTo>
                    <a:pt x="1438" y="221"/>
                  </a:lnTo>
                  <a:lnTo>
                    <a:pt x="1438" y="223"/>
                  </a:lnTo>
                  <a:lnTo>
                    <a:pt x="1438" y="225"/>
                  </a:lnTo>
                  <a:lnTo>
                    <a:pt x="1437" y="225"/>
                  </a:lnTo>
                  <a:close/>
                  <a:moveTo>
                    <a:pt x="1554" y="213"/>
                  </a:moveTo>
                  <a:lnTo>
                    <a:pt x="1554" y="212"/>
                  </a:lnTo>
                  <a:lnTo>
                    <a:pt x="1554" y="213"/>
                  </a:lnTo>
                  <a:close/>
                  <a:moveTo>
                    <a:pt x="1367" y="212"/>
                  </a:moveTo>
                  <a:lnTo>
                    <a:pt x="1365" y="212"/>
                  </a:lnTo>
                  <a:lnTo>
                    <a:pt x="1367" y="212"/>
                  </a:lnTo>
                  <a:close/>
                  <a:moveTo>
                    <a:pt x="1350" y="210"/>
                  </a:moveTo>
                  <a:lnTo>
                    <a:pt x="1352" y="210"/>
                  </a:lnTo>
                  <a:lnTo>
                    <a:pt x="1352" y="212"/>
                  </a:lnTo>
                  <a:lnTo>
                    <a:pt x="1354" y="212"/>
                  </a:lnTo>
                  <a:lnTo>
                    <a:pt x="1354" y="213"/>
                  </a:lnTo>
                  <a:lnTo>
                    <a:pt x="1354" y="215"/>
                  </a:lnTo>
                  <a:lnTo>
                    <a:pt x="1354" y="217"/>
                  </a:lnTo>
                  <a:lnTo>
                    <a:pt x="1355" y="217"/>
                  </a:lnTo>
                  <a:lnTo>
                    <a:pt x="1355" y="220"/>
                  </a:lnTo>
                  <a:lnTo>
                    <a:pt x="1355" y="221"/>
                  </a:lnTo>
                  <a:lnTo>
                    <a:pt x="1355" y="223"/>
                  </a:lnTo>
                  <a:lnTo>
                    <a:pt x="1355" y="225"/>
                  </a:lnTo>
                  <a:lnTo>
                    <a:pt x="1355" y="226"/>
                  </a:lnTo>
                  <a:lnTo>
                    <a:pt x="1355" y="228"/>
                  </a:lnTo>
                  <a:lnTo>
                    <a:pt x="1354" y="228"/>
                  </a:lnTo>
                  <a:lnTo>
                    <a:pt x="1354" y="230"/>
                  </a:lnTo>
                  <a:lnTo>
                    <a:pt x="1354" y="231"/>
                  </a:lnTo>
                  <a:lnTo>
                    <a:pt x="1354" y="230"/>
                  </a:lnTo>
                  <a:lnTo>
                    <a:pt x="1354" y="231"/>
                  </a:lnTo>
                  <a:lnTo>
                    <a:pt x="1354" y="230"/>
                  </a:lnTo>
                  <a:lnTo>
                    <a:pt x="1352" y="231"/>
                  </a:lnTo>
                  <a:lnTo>
                    <a:pt x="1350" y="231"/>
                  </a:lnTo>
                  <a:lnTo>
                    <a:pt x="1349" y="231"/>
                  </a:lnTo>
                  <a:lnTo>
                    <a:pt x="1349" y="230"/>
                  </a:lnTo>
                  <a:lnTo>
                    <a:pt x="1347" y="228"/>
                  </a:lnTo>
                  <a:lnTo>
                    <a:pt x="1345" y="228"/>
                  </a:lnTo>
                  <a:lnTo>
                    <a:pt x="1344" y="226"/>
                  </a:lnTo>
                  <a:lnTo>
                    <a:pt x="1342" y="226"/>
                  </a:lnTo>
                  <a:lnTo>
                    <a:pt x="1344" y="226"/>
                  </a:lnTo>
                  <a:lnTo>
                    <a:pt x="1344" y="225"/>
                  </a:lnTo>
                  <a:lnTo>
                    <a:pt x="1345" y="225"/>
                  </a:lnTo>
                  <a:lnTo>
                    <a:pt x="1345" y="223"/>
                  </a:lnTo>
                  <a:lnTo>
                    <a:pt x="1347" y="223"/>
                  </a:lnTo>
                  <a:lnTo>
                    <a:pt x="1347" y="225"/>
                  </a:lnTo>
                  <a:lnTo>
                    <a:pt x="1347" y="226"/>
                  </a:lnTo>
                  <a:lnTo>
                    <a:pt x="1349" y="226"/>
                  </a:lnTo>
                  <a:lnTo>
                    <a:pt x="1349" y="225"/>
                  </a:lnTo>
                  <a:lnTo>
                    <a:pt x="1349" y="223"/>
                  </a:lnTo>
                  <a:lnTo>
                    <a:pt x="1347" y="221"/>
                  </a:lnTo>
                  <a:lnTo>
                    <a:pt x="1347" y="220"/>
                  </a:lnTo>
                  <a:lnTo>
                    <a:pt x="1349" y="220"/>
                  </a:lnTo>
                  <a:lnTo>
                    <a:pt x="1349" y="218"/>
                  </a:lnTo>
                  <a:lnTo>
                    <a:pt x="1350" y="220"/>
                  </a:lnTo>
                  <a:lnTo>
                    <a:pt x="1350" y="218"/>
                  </a:lnTo>
                  <a:lnTo>
                    <a:pt x="1349" y="218"/>
                  </a:lnTo>
                  <a:lnTo>
                    <a:pt x="1347" y="218"/>
                  </a:lnTo>
                  <a:lnTo>
                    <a:pt x="1347" y="217"/>
                  </a:lnTo>
                  <a:lnTo>
                    <a:pt x="1349" y="217"/>
                  </a:lnTo>
                  <a:lnTo>
                    <a:pt x="1349" y="215"/>
                  </a:lnTo>
                  <a:lnTo>
                    <a:pt x="1347" y="215"/>
                  </a:lnTo>
                  <a:lnTo>
                    <a:pt x="1345" y="213"/>
                  </a:lnTo>
                  <a:lnTo>
                    <a:pt x="1347" y="213"/>
                  </a:lnTo>
                  <a:lnTo>
                    <a:pt x="1349" y="213"/>
                  </a:lnTo>
                  <a:lnTo>
                    <a:pt x="1349" y="212"/>
                  </a:lnTo>
                  <a:lnTo>
                    <a:pt x="1349" y="213"/>
                  </a:lnTo>
                  <a:lnTo>
                    <a:pt x="1350" y="213"/>
                  </a:lnTo>
                  <a:lnTo>
                    <a:pt x="1349" y="212"/>
                  </a:lnTo>
                  <a:lnTo>
                    <a:pt x="1350" y="212"/>
                  </a:lnTo>
                  <a:lnTo>
                    <a:pt x="1349" y="212"/>
                  </a:lnTo>
                  <a:lnTo>
                    <a:pt x="1350" y="212"/>
                  </a:lnTo>
                  <a:lnTo>
                    <a:pt x="1349" y="210"/>
                  </a:lnTo>
                  <a:lnTo>
                    <a:pt x="1350" y="210"/>
                  </a:lnTo>
                  <a:lnTo>
                    <a:pt x="1350" y="212"/>
                  </a:lnTo>
                  <a:lnTo>
                    <a:pt x="1350" y="210"/>
                  </a:lnTo>
                  <a:close/>
                  <a:moveTo>
                    <a:pt x="1357" y="210"/>
                  </a:moveTo>
                  <a:lnTo>
                    <a:pt x="1355" y="210"/>
                  </a:lnTo>
                  <a:lnTo>
                    <a:pt x="1357" y="210"/>
                  </a:lnTo>
                  <a:close/>
                  <a:moveTo>
                    <a:pt x="1365" y="210"/>
                  </a:moveTo>
                  <a:lnTo>
                    <a:pt x="1367" y="210"/>
                  </a:lnTo>
                  <a:lnTo>
                    <a:pt x="1365" y="210"/>
                  </a:lnTo>
                  <a:close/>
                  <a:moveTo>
                    <a:pt x="1560" y="210"/>
                  </a:moveTo>
                  <a:lnTo>
                    <a:pt x="1562" y="210"/>
                  </a:lnTo>
                  <a:lnTo>
                    <a:pt x="1560" y="210"/>
                  </a:lnTo>
                  <a:close/>
                  <a:moveTo>
                    <a:pt x="1417" y="210"/>
                  </a:moveTo>
                  <a:lnTo>
                    <a:pt x="1417" y="208"/>
                  </a:lnTo>
                  <a:lnTo>
                    <a:pt x="1417" y="210"/>
                  </a:lnTo>
                  <a:close/>
                  <a:moveTo>
                    <a:pt x="1355" y="210"/>
                  </a:moveTo>
                  <a:lnTo>
                    <a:pt x="1355" y="208"/>
                  </a:lnTo>
                  <a:lnTo>
                    <a:pt x="1355" y="210"/>
                  </a:lnTo>
                  <a:close/>
                  <a:moveTo>
                    <a:pt x="1552" y="210"/>
                  </a:moveTo>
                  <a:lnTo>
                    <a:pt x="1552" y="208"/>
                  </a:lnTo>
                  <a:lnTo>
                    <a:pt x="1552" y="210"/>
                  </a:lnTo>
                  <a:close/>
                  <a:moveTo>
                    <a:pt x="1355" y="208"/>
                  </a:moveTo>
                  <a:lnTo>
                    <a:pt x="1355" y="210"/>
                  </a:lnTo>
                  <a:lnTo>
                    <a:pt x="1355" y="208"/>
                  </a:lnTo>
                  <a:close/>
                  <a:moveTo>
                    <a:pt x="1349" y="208"/>
                  </a:moveTo>
                  <a:lnTo>
                    <a:pt x="1350" y="210"/>
                  </a:lnTo>
                  <a:lnTo>
                    <a:pt x="1349" y="210"/>
                  </a:lnTo>
                  <a:lnTo>
                    <a:pt x="1349" y="208"/>
                  </a:lnTo>
                  <a:close/>
                  <a:moveTo>
                    <a:pt x="1350" y="208"/>
                  </a:moveTo>
                  <a:lnTo>
                    <a:pt x="1350" y="210"/>
                  </a:lnTo>
                  <a:lnTo>
                    <a:pt x="1350" y="208"/>
                  </a:lnTo>
                  <a:close/>
                  <a:moveTo>
                    <a:pt x="1365" y="208"/>
                  </a:moveTo>
                  <a:lnTo>
                    <a:pt x="1367" y="208"/>
                  </a:lnTo>
                  <a:lnTo>
                    <a:pt x="1367" y="210"/>
                  </a:lnTo>
                  <a:lnTo>
                    <a:pt x="1367" y="208"/>
                  </a:lnTo>
                  <a:lnTo>
                    <a:pt x="1365" y="208"/>
                  </a:lnTo>
                  <a:close/>
                  <a:moveTo>
                    <a:pt x="1350" y="208"/>
                  </a:moveTo>
                  <a:lnTo>
                    <a:pt x="1352" y="208"/>
                  </a:lnTo>
                  <a:lnTo>
                    <a:pt x="1350" y="208"/>
                  </a:lnTo>
                  <a:close/>
                  <a:moveTo>
                    <a:pt x="1350" y="208"/>
                  </a:moveTo>
                  <a:lnTo>
                    <a:pt x="1350" y="210"/>
                  </a:lnTo>
                  <a:lnTo>
                    <a:pt x="1350" y="208"/>
                  </a:lnTo>
                  <a:close/>
                  <a:moveTo>
                    <a:pt x="1352" y="208"/>
                  </a:moveTo>
                  <a:lnTo>
                    <a:pt x="1352" y="207"/>
                  </a:lnTo>
                  <a:lnTo>
                    <a:pt x="1352" y="208"/>
                  </a:lnTo>
                  <a:close/>
                  <a:moveTo>
                    <a:pt x="1350" y="207"/>
                  </a:moveTo>
                  <a:lnTo>
                    <a:pt x="1352" y="207"/>
                  </a:lnTo>
                  <a:lnTo>
                    <a:pt x="1352" y="208"/>
                  </a:lnTo>
                  <a:lnTo>
                    <a:pt x="1350" y="207"/>
                  </a:lnTo>
                  <a:close/>
                  <a:moveTo>
                    <a:pt x="1354" y="207"/>
                  </a:moveTo>
                  <a:lnTo>
                    <a:pt x="1352" y="207"/>
                  </a:lnTo>
                  <a:lnTo>
                    <a:pt x="1354" y="207"/>
                  </a:lnTo>
                  <a:close/>
                  <a:moveTo>
                    <a:pt x="1375" y="207"/>
                  </a:moveTo>
                  <a:lnTo>
                    <a:pt x="1375" y="205"/>
                  </a:lnTo>
                  <a:lnTo>
                    <a:pt x="1375" y="207"/>
                  </a:lnTo>
                  <a:lnTo>
                    <a:pt x="1376" y="207"/>
                  </a:lnTo>
                  <a:lnTo>
                    <a:pt x="1375" y="207"/>
                  </a:lnTo>
                  <a:close/>
                  <a:moveTo>
                    <a:pt x="1378" y="212"/>
                  </a:moveTo>
                  <a:lnTo>
                    <a:pt x="1378" y="210"/>
                  </a:lnTo>
                  <a:lnTo>
                    <a:pt x="1376" y="210"/>
                  </a:lnTo>
                  <a:lnTo>
                    <a:pt x="1376" y="208"/>
                  </a:lnTo>
                  <a:lnTo>
                    <a:pt x="1376" y="207"/>
                  </a:lnTo>
                  <a:lnTo>
                    <a:pt x="1378" y="207"/>
                  </a:lnTo>
                  <a:lnTo>
                    <a:pt x="1378" y="205"/>
                  </a:lnTo>
                  <a:lnTo>
                    <a:pt x="1380" y="207"/>
                  </a:lnTo>
                  <a:lnTo>
                    <a:pt x="1380" y="208"/>
                  </a:lnTo>
                  <a:lnTo>
                    <a:pt x="1380" y="210"/>
                  </a:lnTo>
                  <a:lnTo>
                    <a:pt x="1380" y="212"/>
                  </a:lnTo>
                  <a:lnTo>
                    <a:pt x="1378" y="212"/>
                  </a:lnTo>
                  <a:close/>
                  <a:moveTo>
                    <a:pt x="1393" y="223"/>
                  </a:moveTo>
                  <a:lnTo>
                    <a:pt x="1394" y="225"/>
                  </a:lnTo>
                  <a:lnTo>
                    <a:pt x="1394" y="223"/>
                  </a:lnTo>
                  <a:lnTo>
                    <a:pt x="1394" y="225"/>
                  </a:lnTo>
                  <a:lnTo>
                    <a:pt x="1396" y="225"/>
                  </a:lnTo>
                  <a:lnTo>
                    <a:pt x="1396" y="223"/>
                  </a:lnTo>
                  <a:lnTo>
                    <a:pt x="1396" y="225"/>
                  </a:lnTo>
                  <a:lnTo>
                    <a:pt x="1397" y="225"/>
                  </a:lnTo>
                  <a:lnTo>
                    <a:pt x="1399" y="225"/>
                  </a:lnTo>
                  <a:lnTo>
                    <a:pt x="1399" y="226"/>
                  </a:lnTo>
                  <a:lnTo>
                    <a:pt x="1401" y="226"/>
                  </a:lnTo>
                  <a:lnTo>
                    <a:pt x="1399" y="226"/>
                  </a:lnTo>
                  <a:lnTo>
                    <a:pt x="1399" y="228"/>
                  </a:lnTo>
                  <a:lnTo>
                    <a:pt x="1397" y="228"/>
                  </a:lnTo>
                  <a:lnTo>
                    <a:pt x="1396" y="230"/>
                  </a:lnTo>
                  <a:lnTo>
                    <a:pt x="1394" y="230"/>
                  </a:lnTo>
                  <a:lnTo>
                    <a:pt x="1394" y="231"/>
                  </a:lnTo>
                  <a:lnTo>
                    <a:pt x="1394" y="233"/>
                  </a:lnTo>
                  <a:lnTo>
                    <a:pt x="1393" y="234"/>
                  </a:lnTo>
                  <a:lnTo>
                    <a:pt x="1391" y="234"/>
                  </a:lnTo>
                  <a:lnTo>
                    <a:pt x="1389" y="234"/>
                  </a:lnTo>
                  <a:lnTo>
                    <a:pt x="1388" y="234"/>
                  </a:lnTo>
                  <a:lnTo>
                    <a:pt x="1386" y="234"/>
                  </a:lnTo>
                  <a:lnTo>
                    <a:pt x="1384" y="234"/>
                  </a:lnTo>
                  <a:lnTo>
                    <a:pt x="1383" y="234"/>
                  </a:lnTo>
                  <a:lnTo>
                    <a:pt x="1381" y="234"/>
                  </a:lnTo>
                  <a:lnTo>
                    <a:pt x="1380" y="233"/>
                  </a:lnTo>
                  <a:lnTo>
                    <a:pt x="1380" y="231"/>
                  </a:lnTo>
                  <a:lnTo>
                    <a:pt x="1380" y="230"/>
                  </a:lnTo>
                  <a:lnTo>
                    <a:pt x="1378" y="230"/>
                  </a:lnTo>
                  <a:lnTo>
                    <a:pt x="1380" y="230"/>
                  </a:lnTo>
                  <a:lnTo>
                    <a:pt x="1380" y="228"/>
                  </a:lnTo>
                  <a:lnTo>
                    <a:pt x="1380" y="226"/>
                  </a:lnTo>
                  <a:lnTo>
                    <a:pt x="1378" y="226"/>
                  </a:lnTo>
                  <a:lnTo>
                    <a:pt x="1378" y="225"/>
                  </a:lnTo>
                  <a:lnTo>
                    <a:pt x="1376" y="223"/>
                  </a:lnTo>
                  <a:lnTo>
                    <a:pt x="1376" y="221"/>
                  </a:lnTo>
                  <a:lnTo>
                    <a:pt x="1376" y="220"/>
                  </a:lnTo>
                  <a:lnTo>
                    <a:pt x="1375" y="218"/>
                  </a:lnTo>
                  <a:lnTo>
                    <a:pt x="1373" y="217"/>
                  </a:lnTo>
                  <a:lnTo>
                    <a:pt x="1371" y="217"/>
                  </a:lnTo>
                  <a:lnTo>
                    <a:pt x="1371" y="215"/>
                  </a:lnTo>
                  <a:lnTo>
                    <a:pt x="1370" y="215"/>
                  </a:lnTo>
                  <a:lnTo>
                    <a:pt x="1368" y="215"/>
                  </a:lnTo>
                  <a:lnTo>
                    <a:pt x="1368" y="213"/>
                  </a:lnTo>
                  <a:lnTo>
                    <a:pt x="1367" y="213"/>
                  </a:lnTo>
                  <a:lnTo>
                    <a:pt x="1367" y="212"/>
                  </a:lnTo>
                  <a:lnTo>
                    <a:pt x="1367" y="210"/>
                  </a:lnTo>
                  <a:lnTo>
                    <a:pt x="1367" y="208"/>
                  </a:lnTo>
                  <a:lnTo>
                    <a:pt x="1368" y="208"/>
                  </a:lnTo>
                  <a:lnTo>
                    <a:pt x="1368" y="210"/>
                  </a:lnTo>
                  <a:lnTo>
                    <a:pt x="1370" y="210"/>
                  </a:lnTo>
                  <a:lnTo>
                    <a:pt x="1371" y="210"/>
                  </a:lnTo>
                  <a:lnTo>
                    <a:pt x="1370" y="210"/>
                  </a:lnTo>
                  <a:lnTo>
                    <a:pt x="1370" y="208"/>
                  </a:lnTo>
                  <a:lnTo>
                    <a:pt x="1368" y="208"/>
                  </a:lnTo>
                  <a:lnTo>
                    <a:pt x="1370" y="207"/>
                  </a:lnTo>
                  <a:lnTo>
                    <a:pt x="1370" y="205"/>
                  </a:lnTo>
                  <a:lnTo>
                    <a:pt x="1370" y="204"/>
                  </a:lnTo>
                  <a:lnTo>
                    <a:pt x="1371" y="204"/>
                  </a:lnTo>
                  <a:lnTo>
                    <a:pt x="1373" y="204"/>
                  </a:lnTo>
                  <a:lnTo>
                    <a:pt x="1373" y="205"/>
                  </a:lnTo>
                  <a:lnTo>
                    <a:pt x="1373" y="207"/>
                  </a:lnTo>
                  <a:lnTo>
                    <a:pt x="1375" y="208"/>
                  </a:lnTo>
                  <a:lnTo>
                    <a:pt x="1375" y="210"/>
                  </a:lnTo>
                  <a:lnTo>
                    <a:pt x="1375" y="212"/>
                  </a:lnTo>
                  <a:lnTo>
                    <a:pt x="1376" y="212"/>
                  </a:lnTo>
                  <a:lnTo>
                    <a:pt x="1375" y="210"/>
                  </a:lnTo>
                  <a:lnTo>
                    <a:pt x="1376" y="210"/>
                  </a:lnTo>
                  <a:lnTo>
                    <a:pt x="1378" y="210"/>
                  </a:lnTo>
                  <a:lnTo>
                    <a:pt x="1378" y="212"/>
                  </a:lnTo>
                  <a:lnTo>
                    <a:pt x="1378" y="213"/>
                  </a:lnTo>
                  <a:lnTo>
                    <a:pt x="1380" y="213"/>
                  </a:lnTo>
                  <a:lnTo>
                    <a:pt x="1380" y="215"/>
                  </a:lnTo>
                  <a:lnTo>
                    <a:pt x="1380" y="218"/>
                  </a:lnTo>
                  <a:lnTo>
                    <a:pt x="1381" y="220"/>
                  </a:lnTo>
                  <a:lnTo>
                    <a:pt x="1381" y="221"/>
                  </a:lnTo>
                  <a:lnTo>
                    <a:pt x="1383" y="220"/>
                  </a:lnTo>
                  <a:lnTo>
                    <a:pt x="1383" y="218"/>
                  </a:lnTo>
                  <a:lnTo>
                    <a:pt x="1381" y="218"/>
                  </a:lnTo>
                  <a:lnTo>
                    <a:pt x="1383" y="218"/>
                  </a:lnTo>
                  <a:lnTo>
                    <a:pt x="1383" y="217"/>
                  </a:lnTo>
                  <a:lnTo>
                    <a:pt x="1383" y="215"/>
                  </a:lnTo>
                  <a:lnTo>
                    <a:pt x="1383" y="213"/>
                  </a:lnTo>
                  <a:lnTo>
                    <a:pt x="1384" y="213"/>
                  </a:lnTo>
                  <a:lnTo>
                    <a:pt x="1386" y="213"/>
                  </a:lnTo>
                  <a:lnTo>
                    <a:pt x="1388" y="215"/>
                  </a:lnTo>
                  <a:lnTo>
                    <a:pt x="1388" y="217"/>
                  </a:lnTo>
                  <a:lnTo>
                    <a:pt x="1388" y="218"/>
                  </a:lnTo>
                  <a:lnTo>
                    <a:pt x="1386" y="218"/>
                  </a:lnTo>
                  <a:lnTo>
                    <a:pt x="1388" y="218"/>
                  </a:lnTo>
                  <a:lnTo>
                    <a:pt x="1386" y="218"/>
                  </a:lnTo>
                  <a:lnTo>
                    <a:pt x="1388" y="218"/>
                  </a:lnTo>
                  <a:lnTo>
                    <a:pt x="1388" y="220"/>
                  </a:lnTo>
                  <a:lnTo>
                    <a:pt x="1389" y="221"/>
                  </a:lnTo>
                  <a:lnTo>
                    <a:pt x="1391" y="221"/>
                  </a:lnTo>
                  <a:lnTo>
                    <a:pt x="1391" y="223"/>
                  </a:lnTo>
                  <a:lnTo>
                    <a:pt x="1391" y="221"/>
                  </a:lnTo>
                  <a:lnTo>
                    <a:pt x="1391" y="220"/>
                  </a:lnTo>
                  <a:lnTo>
                    <a:pt x="1393" y="220"/>
                  </a:lnTo>
                  <a:lnTo>
                    <a:pt x="1393" y="221"/>
                  </a:lnTo>
                  <a:lnTo>
                    <a:pt x="1394" y="223"/>
                  </a:lnTo>
                  <a:lnTo>
                    <a:pt x="1393" y="223"/>
                  </a:lnTo>
                  <a:lnTo>
                    <a:pt x="1391" y="223"/>
                  </a:lnTo>
                  <a:lnTo>
                    <a:pt x="1393" y="223"/>
                  </a:lnTo>
                  <a:close/>
                  <a:moveTo>
                    <a:pt x="1516" y="204"/>
                  </a:moveTo>
                  <a:lnTo>
                    <a:pt x="1515" y="204"/>
                  </a:lnTo>
                  <a:lnTo>
                    <a:pt x="1516" y="204"/>
                  </a:lnTo>
                  <a:close/>
                  <a:moveTo>
                    <a:pt x="1378" y="204"/>
                  </a:moveTo>
                  <a:lnTo>
                    <a:pt x="1378" y="202"/>
                  </a:lnTo>
                  <a:lnTo>
                    <a:pt x="1380" y="202"/>
                  </a:lnTo>
                  <a:lnTo>
                    <a:pt x="1380" y="204"/>
                  </a:lnTo>
                  <a:lnTo>
                    <a:pt x="1378" y="204"/>
                  </a:lnTo>
                  <a:close/>
                  <a:moveTo>
                    <a:pt x="1424" y="204"/>
                  </a:moveTo>
                  <a:lnTo>
                    <a:pt x="1424" y="202"/>
                  </a:lnTo>
                  <a:lnTo>
                    <a:pt x="1425" y="202"/>
                  </a:lnTo>
                  <a:lnTo>
                    <a:pt x="1427" y="204"/>
                  </a:lnTo>
                  <a:lnTo>
                    <a:pt x="1428" y="204"/>
                  </a:lnTo>
                  <a:lnTo>
                    <a:pt x="1428" y="205"/>
                  </a:lnTo>
                  <a:lnTo>
                    <a:pt x="1430" y="205"/>
                  </a:lnTo>
                  <a:lnTo>
                    <a:pt x="1432" y="207"/>
                  </a:lnTo>
                  <a:lnTo>
                    <a:pt x="1432" y="208"/>
                  </a:lnTo>
                  <a:lnTo>
                    <a:pt x="1432" y="210"/>
                  </a:lnTo>
                  <a:lnTo>
                    <a:pt x="1430" y="212"/>
                  </a:lnTo>
                  <a:lnTo>
                    <a:pt x="1432" y="213"/>
                  </a:lnTo>
                  <a:lnTo>
                    <a:pt x="1430" y="217"/>
                  </a:lnTo>
                  <a:lnTo>
                    <a:pt x="1430" y="221"/>
                  </a:lnTo>
                  <a:lnTo>
                    <a:pt x="1430" y="223"/>
                  </a:lnTo>
                  <a:lnTo>
                    <a:pt x="1432" y="223"/>
                  </a:lnTo>
                  <a:lnTo>
                    <a:pt x="1433" y="225"/>
                  </a:lnTo>
                  <a:lnTo>
                    <a:pt x="1435" y="226"/>
                  </a:lnTo>
                  <a:lnTo>
                    <a:pt x="1435" y="228"/>
                  </a:lnTo>
                  <a:lnTo>
                    <a:pt x="1433" y="228"/>
                  </a:lnTo>
                  <a:lnTo>
                    <a:pt x="1432" y="228"/>
                  </a:lnTo>
                  <a:lnTo>
                    <a:pt x="1432" y="230"/>
                  </a:lnTo>
                  <a:lnTo>
                    <a:pt x="1428" y="230"/>
                  </a:lnTo>
                  <a:lnTo>
                    <a:pt x="1427" y="230"/>
                  </a:lnTo>
                  <a:lnTo>
                    <a:pt x="1427" y="228"/>
                  </a:lnTo>
                  <a:lnTo>
                    <a:pt x="1427" y="230"/>
                  </a:lnTo>
                  <a:lnTo>
                    <a:pt x="1425" y="231"/>
                  </a:lnTo>
                  <a:lnTo>
                    <a:pt x="1424" y="233"/>
                  </a:lnTo>
                  <a:lnTo>
                    <a:pt x="1422" y="233"/>
                  </a:lnTo>
                  <a:lnTo>
                    <a:pt x="1422" y="231"/>
                  </a:lnTo>
                  <a:lnTo>
                    <a:pt x="1422" y="226"/>
                  </a:lnTo>
                  <a:lnTo>
                    <a:pt x="1422" y="225"/>
                  </a:lnTo>
                  <a:lnTo>
                    <a:pt x="1420" y="223"/>
                  </a:lnTo>
                  <a:lnTo>
                    <a:pt x="1420" y="221"/>
                  </a:lnTo>
                  <a:lnTo>
                    <a:pt x="1420" y="223"/>
                  </a:lnTo>
                  <a:lnTo>
                    <a:pt x="1420" y="225"/>
                  </a:lnTo>
                  <a:lnTo>
                    <a:pt x="1422" y="226"/>
                  </a:lnTo>
                  <a:lnTo>
                    <a:pt x="1420" y="226"/>
                  </a:lnTo>
                  <a:lnTo>
                    <a:pt x="1420" y="228"/>
                  </a:lnTo>
                  <a:lnTo>
                    <a:pt x="1419" y="228"/>
                  </a:lnTo>
                  <a:lnTo>
                    <a:pt x="1419" y="230"/>
                  </a:lnTo>
                  <a:lnTo>
                    <a:pt x="1420" y="230"/>
                  </a:lnTo>
                  <a:lnTo>
                    <a:pt x="1420" y="231"/>
                  </a:lnTo>
                  <a:lnTo>
                    <a:pt x="1419" y="231"/>
                  </a:lnTo>
                  <a:lnTo>
                    <a:pt x="1417" y="231"/>
                  </a:lnTo>
                  <a:lnTo>
                    <a:pt x="1415" y="231"/>
                  </a:lnTo>
                  <a:lnTo>
                    <a:pt x="1414" y="230"/>
                  </a:lnTo>
                  <a:lnTo>
                    <a:pt x="1414" y="228"/>
                  </a:lnTo>
                  <a:lnTo>
                    <a:pt x="1412" y="228"/>
                  </a:lnTo>
                  <a:lnTo>
                    <a:pt x="1412" y="226"/>
                  </a:lnTo>
                  <a:lnTo>
                    <a:pt x="1412" y="223"/>
                  </a:lnTo>
                  <a:lnTo>
                    <a:pt x="1412" y="221"/>
                  </a:lnTo>
                  <a:lnTo>
                    <a:pt x="1412" y="220"/>
                  </a:lnTo>
                  <a:lnTo>
                    <a:pt x="1411" y="218"/>
                  </a:lnTo>
                  <a:lnTo>
                    <a:pt x="1412" y="217"/>
                  </a:lnTo>
                  <a:lnTo>
                    <a:pt x="1411" y="217"/>
                  </a:lnTo>
                  <a:lnTo>
                    <a:pt x="1412" y="217"/>
                  </a:lnTo>
                  <a:lnTo>
                    <a:pt x="1412" y="215"/>
                  </a:lnTo>
                  <a:lnTo>
                    <a:pt x="1412" y="213"/>
                  </a:lnTo>
                  <a:lnTo>
                    <a:pt x="1412" y="212"/>
                  </a:lnTo>
                  <a:lnTo>
                    <a:pt x="1414" y="212"/>
                  </a:lnTo>
                  <a:lnTo>
                    <a:pt x="1415" y="210"/>
                  </a:lnTo>
                  <a:lnTo>
                    <a:pt x="1417" y="210"/>
                  </a:lnTo>
                  <a:lnTo>
                    <a:pt x="1417" y="208"/>
                  </a:lnTo>
                  <a:lnTo>
                    <a:pt x="1417" y="207"/>
                  </a:lnTo>
                  <a:lnTo>
                    <a:pt x="1417" y="205"/>
                  </a:lnTo>
                  <a:lnTo>
                    <a:pt x="1419" y="205"/>
                  </a:lnTo>
                  <a:lnTo>
                    <a:pt x="1420" y="204"/>
                  </a:lnTo>
                  <a:lnTo>
                    <a:pt x="1422" y="204"/>
                  </a:lnTo>
                  <a:lnTo>
                    <a:pt x="1424" y="204"/>
                  </a:lnTo>
                  <a:close/>
                  <a:moveTo>
                    <a:pt x="1378" y="200"/>
                  </a:moveTo>
                  <a:lnTo>
                    <a:pt x="1378" y="202"/>
                  </a:lnTo>
                  <a:lnTo>
                    <a:pt x="1378" y="200"/>
                  </a:lnTo>
                  <a:lnTo>
                    <a:pt x="1378" y="202"/>
                  </a:lnTo>
                  <a:lnTo>
                    <a:pt x="1380" y="202"/>
                  </a:lnTo>
                  <a:lnTo>
                    <a:pt x="1378" y="202"/>
                  </a:lnTo>
                  <a:lnTo>
                    <a:pt x="1378" y="200"/>
                  </a:lnTo>
                  <a:close/>
                  <a:moveTo>
                    <a:pt x="1448" y="200"/>
                  </a:moveTo>
                  <a:lnTo>
                    <a:pt x="1450" y="200"/>
                  </a:lnTo>
                  <a:lnTo>
                    <a:pt x="1448" y="200"/>
                  </a:lnTo>
                  <a:close/>
                  <a:moveTo>
                    <a:pt x="1402" y="208"/>
                  </a:moveTo>
                  <a:lnTo>
                    <a:pt x="1402" y="210"/>
                  </a:lnTo>
                  <a:lnTo>
                    <a:pt x="1401" y="210"/>
                  </a:lnTo>
                  <a:lnTo>
                    <a:pt x="1401" y="208"/>
                  </a:lnTo>
                  <a:lnTo>
                    <a:pt x="1399" y="204"/>
                  </a:lnTo>
                  <a:lnTo>
                    <a:pt x="1399" y="202"/>
                  </a:lnTo>
                  <a:lnTo>
                    <a:pt x="1399" y="200"/>
                  </a:lnTo>
                  <a:lnTo>
                    <a:pt x="1397" y="199"/>
                  </a:lnTo>
                  <a:lnTo>
                    <a:pt x="1397" y="197"/>
                  </a:lnTo>
                  <a:lnTo>
                    <a:pt x="1397" y="195"/>
                  </a:lnTo>
                  <a:lnTo>
                    <a:pt x="1399" y="195"/>
                  </a:lnTo>
                  <a:lnTo>
                    <a:pt x="1399" y="197"/>
                  </a:lnTo>
                  <a:lnTo>
                    <a:pt x="1401" y="199"/>
                  </a:lnTo>
                  <a:lnTo>
                    <a:pt x="1401" y="200"/>
                  </a:lnTo>
                  <a:lnTo>
                    <a:pt x="1402" y="200"/>
                  </a:lnTo>
                  <a:lnTo>
                    <a:pt x="1402" y="202"/>
                  </a:lnTo>
                  <a:lnTo>
                    <a:pt x="1404" y="202"/>
                  </a:lnTo>
                  <a:lnTo>
                    <a:pt x="1404" y="204"/>
                  </a:lnTo>
                  <a:lnTo>
                    <a:pt x="1402" y="207"/>
                  </a:lnTo>
                  <a:lnTo>
                    <a:pt x="1402" y="208"/>
                  </a:lnTo>
                  <a:close/>
                  <a:moveTo>
                    <a:pt x="1450" y="194"/>
                  </a:moveTo>
                  <a:lnTo>
                    <a:pt x="1450" y="195"/>
                  </a:lnTo>
                  <a:lnTo>
                    <a:pt x="1450" y="194"/>
                  </a:lnTo>
                  <a:close/>
                  <a:moveTo>
                    <a:pt x="1476" y="194"/>
                  </a:moveTo>
                  <a:lnTo>
                    <a:pt x="1477" y="192"/>
                  </a:lnTo>
                  <a:lnTo>
                    <a:pt x="1477" y="194"/>
                  </a:lnTo>
                  <a:lnTo>
                    <a:pt x="1476" y="194"/>
                  </a:lnTo>
                  <a:close/>
                  <a:moveTo>
                    <a:pt x="1547" y="194"/>
                  </a:moveTo>
                  <a:lnTo>
                    <a:pt x="1549" y="194"/>
                  </a:lnTo>
                  <a:lnTo>
                    <a:pt x="1550" y="192"/>
                  </a:lnTo>
                  <a:lnTo>
                    <a:pt x="1552" y="194"/>
                  </a:lnTo>
                  <a:lnTo>
                    <a:pt x="1554" y="194"/>
                  </a:lnTo>
                  <a:lnTo>
                    <a:pt x="1550" y="194"/>
                  </a:lnTo>
                  <a:lnTo>
                    <a:pt x="1550" y="195"/>
                  </a:lnTo>
                  <a:lnTo>
                    <a:pt x="1549" y="195"/>
                  </a:lnTo>
                  <a:lnTo>
                    <a:pt x="1547" y="195"/>
                  </a:lnTo>
                  <a:lnTo>
                    <a:pt x="1547" y="194"/>
                  </a:lnTo>
                  <a:close/>
                  <a:moveTo>
                    <a:pt x="1476" y="194"/>
                  </a:moveTo>
                  <a:lnTo>
                    <a:pt x="1476" y="192"/>
                  </a:lnTo>
                  <a:lnTo>
                    <a:pt x="1476" y="194"/>
                  </a:lnTo>
                  <a:close/>
                  <a:moveTo>
                    <a:pt x="1477" y="192"/>
                  </a:moveTo>
                  <a:lnTo>
                    <a:pt x="1476" y="192"/>
                  </a:lnTo>
                  <a:lnTo>
                    <a:pt x="1477" y="192"/>
                  </a:lnTo>
                  <a:close/>
                  <a:moveTo>
                    <a:pt x="1474" y="194"/>
                  </a:moveTo>
                  <a:lnTo>
                    <a:pt x="1474" y="192"/>
                  </a:lnTo>
                  <a:lnTo>
                    <a:pt x="1474" y="194"/>
                  </a:lnTo>
                  <a:close/>
                  <a:moveTo>
                    <a:pt x="1476" y="192"/>
                  </a:moveTo>
                  <a:lnTo>
                    <a:pt x="1476" y="191"/>
                  </a:lnTo>
                  <a:lnTo>
                    <a:pt x="1476" y="192"/>
                  </a:lnTo>
                  <a:close/>
                  <a:moveTo>
                    <a:pt x="1454" y="187"/>
                  </a:moveTo>
                  <a:lnTo>
                    <a:pt x="1454" y="186"/>
                  </a:lnTo>
                  <a:lnTo>
                    <a:pt x="1456" y="186"/>
                  </a:lnTo>
                  <a:lnTo>
                    <a:pt x="1456" y="187"/>
                  </a:lnTo>
                  <a:lnTo>
                    <a:pt x="1456" y="189"/>
                  </a:lnTo>
                  <a:lnTo>
                    <a:pt x="1454" y="189"/>
                  </a:lnTo>
                  <a:lnTo>
                    <a:pt x="1454" y="187"/>
                  </a:lnTo>
                  <a:lnTo>
                    <a:pt x="1454" y="186"/>
                  </a:lnTo>
                  <a:lnTo>
                    <a:pt x="1454" y="187"/>
                  </a:lnTo>
                  <a:close/>
                  <a:moveTo>
                    <a:pt x="1466" y="182"/>
                  </a:moveTo>
                  <a:lnTo>
                    <a:pt x="1464" y="182"/>
                  </a:lnTo>
                  <a:lnTo>
                    <a:pt x="1464" y="181"/>
                  </a:lnTo>
                  <a:lnTo>
                    <a:pt x="1466" y="182"/>
                  </a:lnTo>
                  <a:close/>
                  <a:moveTo>
                    <a:pt x="1641" y="181"/>
                  </a:moveTo>
                  <a:lnTo>
                    <a:pt x="1641" y="182"/>
                  </a:lnTo>
                  <a:lnTo>
                    <a:pt x="1641" y="181"/>
                  </a:lnTo>
                  <a:close/>
                  <a:moveTo>
                    <a:pt x="1456" y="178"/>
                  </a:moveTo>
                  <a:lnTo>
                    <a:pt x="1456" y="176"/>
                  </a:lnTo>
                  <a:lnTo>
                    <a:pt x="1456" y="178"/>
                  </a:lnTo>
                  <a:lnTo>
                    <a:pt x="1458" y="178"/>
                  </a:lnTo>
                  <a:lnTo>
                    <a:pt x="1458" y="179"/>
                  </a:lnTo>
                  <a:lnTo>
                    <a:pt x="1458" y="181"/>
                  </a:lnTo>
                  <a:lnTo>
                    <a:pt x="1458" y="182"/>
                  </a:lnTo>
                  <a:lnTo>
                    <a:pt x="1459" y="181"/>
                  </a:lnTo>
                  <a:lnTo>
                    <a:pt x="1459" y="182"/>
                  </a:lnTo>
                  <a:lnTo>
                    <a:pt x="1458" y="184"/>
                  </a:lnTo>
                  <a:lnTo>
                    <a:pt x="1458" y="186"/>
                  </a:lnTo>
                  <a:lnTo>
                    <a:pt x="1456" y="184"/>
                  </a:lnTo>
                  <a:lnTo>
                    <a:pt x="1458" y="184"/>
                  </a:lnTo>
                  <a:lnTo>
                    <a:pt x="1456" y="184"/>
                  </a:lnTo>
                  <a:lnTo>
                    <a:pt x="1456" y="182"/>
                  </a:lnTo>
                  <a:lnTo>
                    <a:pt x="1456" y="181"/>
                  </a:lnTo>
                  <a:lnTo>
                    <a:pt x="1454" y="181"/>
                  </a:lnTo>
                  <a:lnTo>
                    <a:pt x="1456" y="181"/>
                  </a:lnTo>
                  <a:lnTo>
                    <a:pt x="1454" y="181"/>
                  </a:lnTo>
                  <a:lnTo>
                    <a:pt x="1454" y="179"/>
                  </a:lnTo>
                  <a:lnTo>
                    <a:pt x="1456" y="179"/>
                  </a:lnTo>
                  <a:lnTo>
                    <a:pt x="1456" y="178"/>
                  </a:lnTo>
                  <a:close/>
                  <a:moveTo>
                    <a:pt x="1640" y="174"/>
                  </a:moveTo>
                  <a:lnTo>
                    <a:pt x="1641" y="174"/>
                  </a:lnTo>
                  <a:lnTo>
                    <a:pt x="1640" y="174"/>
                  </a:lnTo>
                  <a:lnTo>
                    <a:pt x="1640" y="176"/>
                  </a:lnTo>
                  <a:lnTo>
                    <a:pt x="1640" y="174"/>
                  </a:lnTo>
                  <a:close/>
                  <a:moveTo>
                    <a:pt x="1640" y="173"/>
                  </a:moveTo>
                  <a:lnTo>
                    <a:pt x="1640" y="174"/>
                  </a:lnTo>
                  <a:lnTo>
                    <a:pt x="1640" y="173"/>
                  </a:lnTo>
                  <a:close/>
                  <a:moveTo>
                    <a:pt x="1635" y="173"/>
                  </a:moveTo>
                  <a:lnTo>
                    <a:pt x="1635" y="174"/>
                  </a:lnTo>
                  <a:lnTo>
                    <a:pt x="1635" y="173"/>
                  </a:lnTo>
                  <a:lnTo>
                    <a:pt x="1635" y="174"/>
                  </a:lnTo>
                  <a:lnTo>
                    <a:pt x="1635" y="173"/>
                  </a:lnTo>
                  <a:close/>
                  <a:moveTo>
                    <a:pt x="1471" y="174"/>
                  </a:moveTo>
                  <a:lnTo>
                    <a:pt x="1472" y="176"/>
                  </a:lnTo>
                  <a:lnTo>
                    <a:pt x="1474" y="176"/>
                  </a:lnTo>
                  <a:lnTo>
                    <a:pt x="1474" y="178"/>
                  </a:lnTo>
                  <a:lnTo>
                    <a:pt x="1476" y="178"/>
                  </a:lnTo>
                  <a:lnTo>
                    <a:pt x="1476" y="179"/>
                  </a:lnTo>
                  <a:lnTo>
                    <a:pt x="1476" y="181"/>
                  </a:lnTo>
                  <a:lnTo>
                    <a:pt x="1476" y="182"/>
                  </a:lnTo>
                  <a:lnTo>
                    <a:pt x="1476" y="186"/>
                  </a:lnTo>
                  <a:lnTo>
                    <a:pt x="1476" y="187"/>
                  </a:lnTo>
                  <a:lnTo>
                    <a:pt x="1476" y="189"/>
                  </a:lnTo>
                  <a:lnTo>
                    <a:pt x="1474" y="191"/>
                  </a:lnTo>
                  <a:lnTo>
                    <a:pt x="1472" y="192"/>
                  </a:lnTo>
                  <a:lnTo>
                    <a:pt x="1472" y="191"/>
                  </a:lnTo>
                  <a:lnTo>
                    <a:pt x="1471" y="189"/>
                  </a:lnTo>
                  <a:lnTo>
                    <a:pt x="1471" y="186"/>
                  </a:lnTo>
                  <a:lnTo>
                    <a:pt x="1471" y="181"/>
                  </a:lnTo>
                  <a:lnTo>
                    <a:pt x="1471" y="179"/>
                  </a:lnTo>
                  <a:lnTo>
                    <a:pt x="1469" y="178"/>
                  </a:lnTo>
                  <a:lnTo>
                    <a:pt x="1469" y="176"/>
                  </a:lnTo>
                  <a:lnTo>
                    <a:pt x="1469" y="174"/>
                  </a:lnTo>
                  <a:lnTo>
                    <a:pt x="1471" y="174"/>
                  </a:lnTo>
                  <a:lnTo>
                    <a:pt x="1469" y="174"/>
                  </a:lnTo>
                  <a:lnTo>
                    <a:pt x="1469" y="173"/>
                  </a:lnTo>
                  <a:lnTo>
                    <a:pt x="1471" y="173"/>
                  </a:lnTo>
                  <a:lnTo>
                    <a:pt x="1471" y="174"/>
                  </a:lnTo>
                  <a:close/>
                  <a:moveTo>
                    <a:pt x="1643" y="173"/>
                  </a:moveTo>
                  <a:lnTo>
                    <a:pt x="1645" y="173"/>
                  </a:lnTo>
                  <a:lnTo>
                    <a:pt x="1643" y="173"/>
                  </a:lnTo>
                  <a:lnTo>
                    <a:pt x="1645" y="173"/>
                  </a:lnTo>
                  <a:lnTo>
                    <a:pt x="1645" y="174"/>
                  </a:lnTo>
                  <a:lnTo>
                    <a:pt x="1643" y="173"/>
                  </a:lnTo>
                  <a:lnTo>
                    <a:pt x="1643" y="174"/>
                  </a:lnTo>
                  <a:lnTo>
                    <a:pt x="1643" y="173"/>
                  </a:lnTo>
                  <a:lnTo>
                    <a:pt x="1643" y="171"/>
                  </a:lnTo>
                  <a:lnTo>
                    <a:pt x="1643" y="173"/>
                  </a:lnTo>
                  <a:close/>
                  <a:moveTo>
                    <a:pt x="1641" y="171"/>
                  </a:moveTo>
                  <a:lnTo>
                    <a:pt x="1641" y="173"/>
                  </a:lnTo>
                  <a:lnTo>
                    <a:pt x="1641" y="171"/>
                  </a:lnTo>
                  <a:close/>
                  <a:moveTo>
                    <a:pt x="1892" y="173"/>
                  </a:moveTo>
                  <a:lnTo>
                    <a:pt x="1892" y="171"/>
                  </a:lnTo>
                  <a:lnTo>
                    <a:pt x="1892" y="173"/>
                  </a:lnTo>
                  <a:close/>
                  <a:moveTo>
                    <a:pt x="1633" y="171"/>
                  </a:moveTo>
                  <a:lnTo>
                    <a:pt x="1633" y="173"/>
                  </a:lnTo>
                  <a:lnTo>
                    <a:pt x="1633" y="171"/>
                  </a:lnTo>
                  <a:close/>
                  <a:moveTo>
                    <a:pt x="1643" y="171"/>
                  </a:moveTo>
                  <a:lnTo>
                    <a:pt x="1645" y="173"/>
                  </a:lnTo>
                  <a:lnTo>
                    <a:pt x="1643" y="171"/>
                  </a:lnTo>
                  <a:close/>
                  <a:moveTo>
                    <a:pt x="1641" y="171"/>
                  </a:moveTo>
                  <a:lnTo>
                    <a:pt x="1640" y="171"/>
                  </a:lnTo>
                  <a:lnTo>
                    <a:pt x="1641" y="171"/>
                  </a:lnTo>
                  <a:close/>
                  <a:moveTo>
                    <a:pt x="1641" y="171"/>
                  </a:moveTo>
                  <a:lnTo>
                    <a:pt x="1641" y="169"/>
                  </a:lnTo>
                  <a:lnTo>
                    <a:pt x="1641" y="171"/>
                  </a:lnTo>
                  <a:close/>
                  <a:moveTo>
                    <a:pt x="1529" y="171"/>
                  </a:moveTo>
                  <a:lnTo>
                    <a:pt x="1529" y="169"/>
                  </a:lnTo>
                  <a:lnTo>
                    <a:pt x="1529" y="171"/>
                  </a:lnTo>
                  <a:close/>
                  <a:moveTo>
                    <a:pt x="1641" y="171"/>
                  </a:moveTo>
                  <a:lnTo>
                    <a:pt x="1641" y="169"/>
                  </a:lnTo>
                  <a:lnTo>
                    <a:pt x="1641" y="171"/>
                  </a:lnTo>
                  <a:close/>
                  <a:moveTo>
                    <a:pt x="1641" y="169"/>
                  </a:moveTo>
                  <a:lnTo>
                    <a:pt x="1643" y="169"/>
                  </a:lnTo>
                  <a:lnTo>
                    <a:pt x="1641" y="169"/>
                  </a:lnTo>
                  <a:close/>
                  <a:moveTo>
                    <a:pt x="1641" y="169"/>
                  </a:moveTo>
                  <a:lnTo>
                    <a:pt x="1641" y="168"/>
                  </a:lnTo>
                  <a:lnTo>
                    <a:pt x="1641" y="169"/>
                  </a:lnTo>
                  <a:close/>
                  <a:moveTo>
                    <a:pt x="1897" y="168"/>
                  </a:moveTo>
                  <a:lnTo>
                    <a:pt x="1895" y="168"/>
                  </a:lnTo>
                  <a:lnTo>
                    <a:pt x="1897" y="168"/>
                  </a:lnTo>
                  <a:close/>
                  <a:moveTo>
                    <a:pt x="1640" y="168"/>
                  </a:moveTo>
                  <a:lnTo>
                    <a:pt x="1640" y="166"/>
                  </a:lnTo>
                  <a:lnTo>
                    <a:pt x="1641" y="168"/>
                  </a:lnTo>
                  <a:lnTo>
                    <a:pt x="1640" y="168"/>
                  </a:lnTo>
                  <a:close/>
                  <a:moveTo>
                    <a:pt x="1633" y="166"/>
                  </a:moveTo>
                  <a:lnTo>
                    <a:pt x="1635" y="166"/>
                  </a:lnTo>
                  <a:lnTo>
                    <a:pt x="1633" y="166"/>
                  </a:lnTo>
                  <a:close/>
                  <a:moveTo>
                    <a:pt x="1633" y="166"/>
                  </a:moveTo>
                  <a:lnTo>
                    <a:pt x="1633" y="168"/>
                  </a:lnTo>
                  <a:lnTo>
                    <a:pt x="1632" y="168"/>
                  </a:lnTo>
                  <a:lnTo>
                    <a:pt x="1632" y="166"/>
                  </a:lnTo>
                  <a:lnTo>
                    <a:pt x="1633" y="166"/>
                  </a:lnTo>
                  <a:close/>
                  <a:moveTo>
                    <a:pt x="1641" y="168"/>
                  </a:moveTo>
                  <a:lnTo>
                    <a:pt x="1641" y="166"/>
                  </a:lnTo>
                  <a:lnTo>
                    <a:pt x="1643" y="166"/>
                  </a:lnTo>
                  <a:lnTo>
                    <a:pt x="1643" y="168"/>
                  </a:lnTo>
                  <a:lnTo>
                    <a:pt x="1641" y="168"/>
                  </a:lnTo>
                  <a:close/>
                  <a:moveTo>
                    <a:pt x="1637" y="165"/>
                  </a:moveTo>
                  <a:lnTo>
                    <a:pt x="1635" y="165"/>
                  </a:lnTo>
                  <a:lnTo>
                    <a:pt x="1637" y="165"/>
                  </a:lnTo>
                  <a:close/>
                  <a:moveTo>
                    <a:pt x="1643" y="165"/>
                  </a:moveTo>
                  <a:lnTo>
                    <a:pt x="1645" y="165"/>
                  </a:lnTo>
                  <a:lnTo>
                    <a:pt x="1643" y="165"/>
                  </a:lnTo>
                  <a:lnTo>
                    <a:pt x="1643" y="166"/>
                  </a:lnTo>
                  <a:lnTo>
                    <a:pt x="1643" y="165"/>
                  </a:lnTo>
                  <a:close/>
                  <a:moveTo>
                    <a:pt x="1506" y="171"/>
                  </a:moveTo>
                  <a:lnTo>
                    <a:pt x="1506" y="169"/>
                  </a:lnTo>
                  <a:lnTo>
                    <a:pt x="1508" y="169"/>
                  </a:lnTo>
                  <a:lnTo>
                    <a:pt x="1508" y="168"/>
                  </a:lnTo>
                  <a:lnTo>
                    <a:pt x="1510" y="169"/>
                  </a:lnTo>
                  <a:lnTo>
                    <a:pt x="1510" y="171"/>
                  </a:lnTo>
                  <a:lnTo>
                    <a:pt x="1510" y="169"/>
                  </a:lnTo>
                  <a:lnTo>
                    <a:pt x="1511" y="169"/>
                  </a:lnTo>
                  <a:lnTo>
                    <a:pt x="1510" y="169"/>
                  </a:lnTo>
                  <a:lnTo>
                    <a:pt x="1511" y="169"/>
                  </a:lnTo>
                  <a:lnTo>
                    <a:pt x="1510" y="168"/>
                  </a:lnTo>
                  <a:lnTo>
                    <a:pt x="1510" y="166"/>
                  </a:lnTo>
                  <a:lnTo>
                    <a:pt x="1511" y="166"/>
                  </a:lnTo>
                  <a:lnTo>
                    <a:pt x="1511" y="168"/>
                  </a:lnTo>
                  <a:lnTo>
                    <a:pt x="1511" y="169"/>
                  </a:lnTo>
                  <a:lnTo>
                    <a:pt x="1513" y="171"/>
                  </a:lnTo>
                  <a:lnTo>
                    <a:pt x="1513" y="168"/>
                  </a:lnTo>
                  <a:lnTo>
                    <a:pt x="1513" y="166"/>
                  </a:lnTo>
                  <a:lnTo>
                    <a:pt x="1515" y="166"/>
                  </a:lnTo>
                  <a:lnTo>
                    <a:pt x="1515" y="168"/>
                  </a:lnTo>
                  <a:lnTo>
                    <a:pt x="1516" y="169"/>
                  </a:lnTo>
                  <a:lnTo>
                    <a:pt x="1516" y="168"/>
                  </a:lnTo>
                  <a:lnTo>
                    <a:pt x="1515" y="166"/>
                  </a:lnTo>
                  <a:lnTo>
                    <a:pt x="1515" y="165"/>
                  </a:lnTo>
                  <a:lnTo>
                    <a:pt x="1516" y="165"/>
                  </a:lnTo>
                  <a:lnTo>
                    <a:pt x="1518" y="165"/>
                  </a:lnTo>
                  <a:lnTo>
                    <a:pt x="1518" y="168"/>
                  </a:lnTo>
                  <a:lnTo>
                    <a:pt x="1518" y="169"/>
                  </a:lnTo>
                  <a:lnTo>
                    <a:pt x="1519" y="169"/>
                  </a:lnTo>
                  <a:lnTo>
                    <a:pt x="1519" y="171"/>
                  </a:lnTo>
                  <a:lnTo>
                    <a:pt x="1519" y="173"/>
                  </a:lnTo>
                  <a:lnTo>
                    <a:pt x="1519" y="174"/>
                  </a:lnTo>
                  <a:lnTo>
                    <a:pt x="1519" y="173"/>
                  </a:lnTo>
                  <a:lnTo>
                    <a:pt x="1519" y="171"/>
                  </a:lnTo>
                  <a:lnTo>
                    <a:pt x="1519" y="169"/>
                  </a:lnTo>
                  <a:lnTo>
                    <a:pt x="1519" y="168"/>
                  </a:lnTo>
                  <a:lnTo>
                    <a:pt x="1519" y="166"/>
                  </a:lnTo>
                  <a:lnTo>
                    <a:pt x="1518" y="165"/>
                  </a:lnTo>
                  <a:lnTo>
                    <a:pt x="1519" y="165"/>
                  </a:lnTo>
                  <a:lnTo>
                    <a:pt x="1519" y="163"/>
                  </a:lnTo>
                  <a:lnTo>
                    <a:pt x="1521" y="163"/>
                  </a:lnTo>
                  <a:lnTo>
                    <a:pt x="1521" y="165"/>
                  </a:lnTo>
                  <a:lnTo>
                    <a:pt x="1523" y="165"/>
                  </a:lnTo>
                  <a:lnTo>
                    <a:pt x="1523" y="166"/>
                  </a:lnTo>
                  <a:lnTo>
                    <a:pt x="1523" y="168"/>
                  </a:lnTo>
                  <a:lnTo>
                    <a:pt x="1523" y="169"/>
                  </a:lnTo>
                  <a:lnTo>
                    <a:pt x="1523" y="171"/>
                  </a:lnTo>
                  <a:lnTo>
                    <a:pt x="1524" y="171"/>
                  </a:lnTo>
                  <a:lnTo>
                    <a:pt x="1524" y="173"/>
                  </a:lnTo>
                  <a:lnTo>
                    <a:pt x="1524" y="171"/>
                  </a:lnTo>
                  <a:lnTo>
                    <a:pt x="1524" y="169"/>
                  </a:lnTo>
                  <a:lnTo>
                    <a:pt x="1526" y="169"/>
                  </a:lnTo>
                  <a:lnTo>
                    <a:pt x="1526" y="171"/>
                  </a:lnTo>
                  <a:lnTo>
                    <a:pt x="1526" y="169"/>
                  </a:lnTo>
                  <a:lnTo>
                    <a:pt x="1528" y="171"/>
                  </a:lnTo>
                  <a:lnTo>
                    <a:pt x="1528" y="173"/>
                  </a:lnTo>
                  <a:lnTo>
                    <a:pt x="1529" y="173"/>
                  </a:lnTo>
                  <a:lnTo>
                    <a:pt x="1529" y="171"/>
                  </a:lnTo>
                  <a:lnTo>
                    <a:pt x="1531" y="171"/>
                  </a:lnTo>
                  <a:lnTo>
                    <a:pt x="1531" y="173"/>
                  </a:lnTo>
                  <a:lnTo>
                    <a:pt x="1531" y="174"/>
                  </a:lnTo>
                  <a:lnTo>
                    <a:pt x="1531" y="176"/>
                  </a:lnTo>
                  <a:lnTo>
                    <a:pt x="1531" y="174"/>
                  </a:lnTo>
                  <a:lnTo>
                    <a:pt x="1532" y="174"/>
                  </a:lnTo>
                  <a:lnTo>
                    <a:pt x="1532" y="176"/>
                  </a:lnTo>
                  <a:lnTo>
                    <a:pt x="1534" y="176"/>
                  </a:lnTo>
                  <a:lnTo>
                    <a:pt x="1532" y="176"/>
                  </a:lnTo>
                  <a:lnTo>
                    <a:pt x="1534" y="176"/>
                  </a:lnTo>
                  <a:lnTo>
                    <a:pt x="1534" y="178"/>
                  </a:lnTo>
                  <a:lnTo>
                    <a:pt x="1536" y="178"/>
                  </a:lnTo>
                  <a:lnTo>
                    <a:pt x="1534" y="179"/>
                  </a:lnTo>
                  <a:lnTo>
                    <a:pt x="1536" y="179"/>
                  </a:lnTo>
                  <a:lnTo>
                    <a:pt x="1536" y="181"/>
                  </a:lnTo>
                  <a:lnTo>
                    <a:pt x="1536" y="182"/>
                  </a:lnTo>
                  <a:lnTo>
                    <a:pt x="1534" y="182"/>
                  </a:lnTo>
                  <a:lnTo>
                    <a:pt x="1532" y="182"/>
                  </a:lnTo>
                  <a:lnTo>
                    <a:pt x="1531" y="182"/>
                  </a:lnTo>
                  <a:lnTo>
                    <a:pt x="1529" y="182"/>
                  </a:lnTo>
                  <a:lnTo>
                    <a:pt x="1526" y="184"/>
                  </a:lnTo>
                  <a:lnTo>
                    <a:pt x="1524" y="184"/>
                  </a:lnTo>
                  <a:lnTo>
                    <a:pt x="1523" y="184"/>
                  </a:lnTo>
                  <a:lnTo>
                    <a:pt x="1521" y="184"/>
                  </a:lnTo>
                  <a:lnTo>
                    <a:pt x="1521" y="182"/>
                  </a:lnTo>
                  <a:lnTo>
                    <a:pt x="1521" y="184"/>
                  </a:lnTo>
                  <a:lnTo>
                    <a:pt x="1519" y="184"/>
                  </a:lnTo>
                  <a:lnTo>
                    <a:pt x="1519" y="182"/>
                  </a:lnTo>
                  <a:lnTo>
                    <a:pt x="1519" y="184"/>
                  </a:lnTo>
                  <a:lnTo>
                    <a:pt x="1518" y="184"/>
                  </a:lnTo>
                  <a:lnTo>
                    <a:pt x="1518" y="182"/>
                  </a:lnTo>
                  <a:lnTo>
                    <a:pt x="1518" y="184"/>
                  </a:lnTo>
                  <a:lnTo>
                    <a:pt x="1518" y="182"/>
                  </a:lnTo>
                  <a:lnTo>
                    <a:pt x="1516" y="184"/>
                  </a:lnTo>
                  <a:lnTo>
                    <a:pt x="1515" y="184"/>
                  </a:lnTo>
                  <a:lnTo>
                    <a:pt x="1515" y="182"/>
                  </a:lnTo>
                  <a:lnTo>
                    <a:pt x="1513" y="182"/>
                  </a:lnTo>
                  <a:lnTo>
                    <a:pt x="1511" y="182"/>
                  </a:lnTo>
                  <a:lnTo>
                    <a:pt x="1510" y="181"/>
                  </a:lnTo>
                  <a:lnTo>
                    <a:pt x="1508" y="181"/>
                  </a:lnTo>
                  <a:lnTo>
                    <a:pt x="1506" y="181"/>
                  </a:lnTo>
                  <a:lnTo>
                    <a:pt x="1505" y="181"/>
                  </a:lnTo>
                  <a:lnTo>
                    <a:pt x="1505" y="179"/>
                  </a:lnTo>
                  <a:lnTo>
                    <a:pt x="1503" y="178"/>
                  </a:lnTo>
                  <a:lnTo>
                    <a:pt x="1502" y="178"/>
                  </a:lnTo>
                  <a:lnTo>
                    <a:pt x="1502" y="176"/>
                  </a:lnTo>
                  <a:lnTo>
                    <a:pt x="1502" y="174"/>
                  </a:lnTo>
                  <a:lnTo>
                    <a:pt x="1502" y="173"/>
                  </a:lnTo>
                  <a:lnTo>
                    <a:pt x="1503" y="173"/>
                  </a:lnTo>
                  <a:lnTo>
                    <a:pt x="1505" y="173"/>
                  </a:lnTo>
                  <a:lnTo>
                    <a:pt x="1505" y="171"/>
                  </a:lnTo>
                  <a:lnTo>
                    <a:pt x="1505" y="173"/>
                  </a:lnTo>
                  <a:lnTo>
                    <a:pt x="1506" y="173"/>
                  </a:lnTo>
                  <a:lnTo>
                    <a:pt x="1506" y="174"/>
                  </a:lnTo>
                  <a:lnTo>
                    <a:pt x="1508" y="174"/>
                  </a:lnTo>
                  <a:lnTo>
                    <a:pt x="1508" y="176"/>
                  </a:lnTo>
                  <a:lnTo>
                    <a:pt x="1508" y="174"/>
                  </a:lnTo>
                  <a:lnTo>
                    <a:pt x="1508" y="173"/>
                  </a:lnTo>
                  <a:lnTo>
                    <a:pt x="1506" y="171"/>
                  </a:lnTo>
                  <a:lnTo>
                    <a:pt x="1505" y="171"/>
                  </a:lnTo>
                  <a:lnTo>
                    <a:pt x="1506" y="171"/>
                  </a:lnTo>
                  <a:close/>
                  <a:moveTo>
                    <a:pt x="1637" y="163"/>
                  </a:moveTo>
                  <a:lnTo>
                    <a:pt x="1635" y="163"/>
                  </a:lnTo>
                  <a:lnTo>
                    <a:pt x="1637" y="163"/>
                  </a:lnTo>
                  <a:close/>
                  <a:moveTo>
                    <a:pt x="1633" y="163"/>
                  </a:moveTo>
                  <a:lnTo>
                    <a:pt x="1633" y="165"/>
                  </a:lnTo>
                  <a:lnTo>
                    <a:pt x="1632" y="165"/>
                  </a:lnTo>
                  <a:lnTo>
                    <a:pt x="1633" y="163"/>
                  </a:lnTo>
                  <a:close/>
                  <a:moveTo>
                    <a:pt x="1643" y="163"/>
                  </a:moveTo>
                  <a:lnTo>
                    <a:pt x="1643" y="161"/>
                  </a:lnTo>
                  <a:lnTo>
                    <a:pt x="1643" y="163"/>
                  </a:lnTo>
                  <a:close/>
                  <a:moveTo>
                    <a:pt x="1643" y="161"/>
                  </a:moveTo>
                  <a:lnTo>
                    <a:pt x="1641" y="163"/>
                  </a:lnTo>
                  <a:lnTo>
                    <a:pt x="1641" y="165"/>
                  </a:lnTo>
                  <a:lnTo>
                    <a:pt x="1640" y="165"/>
                  </a:lnTo>
                  <a:lnTo>
                    <a:pt x="1640" y="163"/>
                  </a:lnTo>
                  <a:lnTo>
                    <a:pt x="1641" y="163"/>
                  </a:lnTo>
                  <a:lnTo>
                    <a:pt x="1641" y="161"/>
                  </a:lnTo>
                  <a:lnTo>
                    <a:pt x="1643" y="161"/>
                  </a:lnTo>
                  <a:close/>
                  <a:moveTo>
                    <a:pt x="1640" y="161"/>
                  </a:moveTo>
                  <a:lnTo>
                    <a:pt x="1641" y="161"/>
                  </a:lnTo>
                  <a:lnTo>
                    <a:pt x="1640" y="161"/>
                  </a:lnTo>
                  <a:close/>
                  <a:moveTo>
                    <a:pt x="1911" y="161"/>
                  </a:moveTo>
                  <a:lnTo>
                    <a:pt x="1913" y="161"/>
                  </a:lnTo>
                  <a:lnTo>
                    <a:pt x="1911" y="161"/>
                  </a:lnTo>
                  <a:close/>
                  <a:moveTo>
                    <a:pt x="1643" y="161"/>
                  </a:moveTo>
                  <a:lnTo>
                    <a:pt x="1643" y="160"/>
                  </a:lnTo>
                  <a:lnTo>
                    <a:pt x="1643" y="161"/>
                  </a:lnTo>
                  <a:close/>
                  <a:moveTo>
                    <a:pt x="1638" y="161"/>
                  </a:moveTo>
                  <a:lnTo>
                    <a:pt x="1638" y="163"/>
                  </a:lnTo>
                  <a:lnTo>
                    <a:pt x="1638" y="161"/>
                  </a:lnTo>
                  <a:lnTo>
                    <a:pt x="1638" y="163"/>
                  </a:lnTo>
                  <a:lnTo>
                    <a:pt x="1637" y="163"/>
                  </a:lnTo>
                  <a:lnTo>
                    <a:pt x="1637" y="165"/>
                  </a:lnTo>
                  <a:lnTo>
                    <a:pt x="1637" y="161"/>
                  </a:lnTo>
                  <a:lnTo>
                    <a:pt x="1637" y="163"/>
                  </a:lnTo>
                  <a:lnTo>
                    <a:pt x="1637" y="161"/>
                  </a:lnTo>
                  <a:lnTo>
                    <a:pt x="1638" y="161"/>
                  </a:lnTo>
                  <a:lnTo>
                    <a:pt x="1638" y="160"/>
                  </a:lnTo>
                  <a:lnTo>
                    <a:pt x="1638" y="161"/>
                  </a:lnTo>
                  <a:close/>
                  <a:moveTo>
                    <a:pt x="1640" y="161"/>
                  </a:moveTo>
                  <a:lnTo>
                    <a:pt x="1638" y="161"/>
                  </a:lnTo>
                  <a:lnTo>
                    <a:pt x="1640" y="160"/>
                  </a:lnTo>
                  <a:lnTo>
                    <a:pt x="1640" y="161"/>
                  </a:lnTo>
                  <a:close/>
                  <a:moveTo>
                    <a:pt x="1645" y="158"/>
                  </a:moveTo>
                  <a:lnTo>
                    <a:pt x="1645" y="160"/>
                  </a:lnTo>
                  <a:lnTo>
                    <a:pt x="1645" y="158"/>
                  </a:lnTo>
                  <a:close/>
                  <a:moveTo>
                    <a:pt x="1646" y="160"/>
                  </a:moveTo>
                  <a:lnTo>
                    <a:pt x="1646" y="158"/>
                  </a:lnTo>
                  <a:lnTo>
                    <a:pt x="1646" y="160"/>
                  </a:lnTo>
                  <a:close/>
                  <a:moveTo>
                    <a:pt x="1895" y="158"/>
                  </a:moveTo>
                  <a:lnTo>
                    <a:pt x="1897" y="158"/>
                  </a:lnTo>
                  <a:lnTo>
                    <a:pt x="1897" y="160"/>
                  </a:lnTo>
                  <a:lnTo>
                    <a:pt x="1898" y="160"/>
                  </a:lnTo>
                  <a:lnTo>
                    <a:pt x="1897" y="160"/>
                  </a:lnTo>
                  <a:lnTo>
                    <a:pt x="1895" y="161"/>
                  </a:lnTo>
                  <a:lnTo>
                    <a:pt x="1895" y="160"/>
                  </a:lnTo>
                  <a:lnTo>
                    <a:pt x="1895" y="158"/>
                  </a:lnTo>
                  <a:close/>
                  <a:moveTo>
                    <a:pt x="1646" y="156"/>
                  </a:moveTo>
                  <a:lnTo>
                    <a:pt x="1648" y="156"/>
                  </a:lnTo>
                  <a:lnTo>
                    <a:pt x="1646" y="156"/>
                  </a:lnTo>
                  <a:close/>
                  <a:moveTo>
                    <a:pt x="1648" y="158"/>
                  </a:moveTo>
                  <a:lnTo>
                    <a:pt x="1648" y="156"/>
                  </a:lnTo>
                  <a:lnTo>
                    <a:pt x="1650" y="156"/>
                  </a:lnTo>
                  <a:lnTo>
                    <a:pt x="1650" y="155"/>
                  </a:lnTo>
                  <a:lnTo>
                    <a:pt x="1650" y="156"/>
                  </a:lnTo>
                  <a:lnTo>
                    <a:pt x="1648" y="158"/>
                  </a:lnTo>
                  <a:close/>
                  <a:moveTo>
                    <a:pt x="1921" y="155"/>
                  </a:moveTo>
                  <a:lnTo>
                    <a:pt x="1923" y="155"/>
                  </a:lnTo>
                  <a:lnTo>
                    <a:pt x="1921" y="155"/>
                  </a:lnTo>
                  <a:close/>
                  <a:moveTo>
                    <a:pt x="1889" y="155"/>
                  </a:moveTo>
                  <a:lnTo>
                    <a:pt x="1890" y="155"/>
                  </a:lnTo>
                  <a:lnTo>
                    <a:pt x="1889" y="155"/>
                  </a:lnTo>
                  <a:close/>
                  <a:moveTo>
                    <a:pt x="1650" y="153"/>
                  </a:moveTo>
                  <a:lnTo>
                    <a:pt x="1651" y="153"/>
                  </a:lnTo>
                  <a:lnTo>
                    <a:pt x="1650" y="155"/>
                  </a:lnTo>
                  <a:lnTo>
                    <a:pt x="1648" y="155"/>
                  </a:lnTo>
                  <a:lnTo>
                    <a:pt x="1650" y="155"/>
                  </a:lnTo>
                  <a:lnTo>
                    <a:pt x="1650" y="153"/>
                  </a:lnTo>
                  <a:close/>
                  <a:moveTo>
                    <a:pt x="1645" y="152"/>
                  </a:moveTo>
                  <a:lnTo>
                    <a:pt x="1646" y="152"/>
                  </a:lnTo>
                  <a:lnTo>
                    <a:pt x="1646" y="153"/>
                  </a:lnTo>
                  <a:lnTo>
                    <a:pt x="1646" y="152"/>
                  </a:lnTo>
                  <a:lnTo>
                    <a:pt x="1646" y="153"/>
                  </a:lnTo>
                  <a:lnTo>
                    <a:pt x="1646" y="152"/>
                  </a:lnTo>
                  <a:lnTo>
                    <a:pt x="1646" y="153"/>
                  </a:lnTo>
                  <a:lnTo>
                    <a:pt x="1646" y="155"/>
                  </a:lnTo>
                  <a:lnTo>
                    <a:pt x="1648" y="155"/>
                  </a:lnTo>
                  <a:lnTo>
                    <a:pt x="1646" y="156"/>
                  </a:lnTo>
                  <a:lnTo>
                    <a:pt x="1646" y="158"/>
                  </a:lnTo>
                  <a:lnTo>
                    <a:pt x="1645" y="158"/>
                  </a:lnTo>
                  <a:lnTo>
                    <a:pt x="1645" y="160"/>
                  </a:lnTo>
                  <a:lnTo>
                    <a:pt x="1643" y="160"/>
                  </a:lnTo>
                  <a:lnTo>
                    <a:pt x="1643" y="158"/>
                  </a:lnTo>
                  <a:lnTo>
                    <a:pt x="1643" y="156"/>
                  </a:lnTo>
                  <a:lnTo>
                    <a:pt x="1643" y="155"/>
                  </a:lnTo>
                  <a:lnTo>
                    <a:pt x="1643" y="153"/>
                  </a:lnTo>
                  <a:lnTo>
                    <a:pt x="1645" y="152"/>
                  </a:lnTo>
                  <a:close/>
                  <a:moveTo>
                    <a:pt x="1508" y="152"/>
                  </a:moveTo>
                  <a:lnTo>
                    <a:pt x="1508" y="150"/>
                  </a:lnTo>
                  <a:lnTo>
                    <a:pt x="1508" y="152"/>
                  </a:lnTo>
                  <a:close/>
                  <a:moveTo>
                    <a:pt x="1900" y="152"/>
                  </a:moveTo>
                  <a:lnTo>
                    <a:pt x="1900" y="150"/>
                  </a:lnTo>
                  <a:lnTo>
                    <a:pt x="1900" y="152"/>
                  </a:lnTo>
                  <a:close/>
                  <a:moveTo>
                    <a:pt x="1924" y="152"/>
                  </a:moveTo>
                  <a:lnTo>
                    <a:pt x="1924" y="150"/>
                  </a:lnTo>
                  <a:lnTo>
                    <a:pt x="1924" y="152"/>
                  </a:lnTo>
                  <a:close/>
                  <a:moveTo>
                    <a:pt x="1492" y="152"/>
                  </a:moveTo>
                  <a:lnTo>
                    <a:pt x="1492" y="153"/>
                  </a:lnTo>
                  <a:lnTo>
                    <a:pt x="1492" y="152"/>
                  </a:lnTo>
                  <a:lnTo>
                    <a:pt x="1492" y="150"/>
                  </a:lnTo>
                  <a:lnTo>
                    <a:pt x="1493" y="150"/>
                  </a:lnTo>
                  <a:lnTo>
                    <a:pt x="1493" y="152"/>
                  </a:lnTo>
                  <a:lnTo>
                    <a:pt x="1492" y="152"/>
                  </a:lnTo>
                  <a:close/>
                  <a:moveTo>
                    <a:pt x="1500" y="150"/>
                  </a:moveTo>
                  <a:lnTo>
                    <a:pt x="1498" y="150"/>
                  </a:lnTo>
                  <a:lnTo>
                    <a:pt x="1500" y="150"/>
                  </a:lnTo>
                  <a:close/>
                  <a:moveTo>
                    <a:pt x="1648" y="150"/>
                  </a:moveTo>
                  <a:lnTo>
                    <a:pt x="1650" y="150"/>
                  </a:lnTo>
                  <a:lnTo>
                    <a:pt x="1650" y="152"/>
                  </a:lnTo>
                  <a:lnTo>
                    <a:pt x="1648" y="152"/>
                  </a:lnTo>
                  <a:lnTo>
                    <a:pt x="1648" y="150"/>
                  </a:lnTo>
                  <a:close/>
                  <a:moveTo>
                    <a:pt x="1640" y="152"/>
                  </a:moveTo>
                  <a:lnTo>
                    <a:pt x="1638" y="152"/>
                  </a:lnTo>
                  <a:lnTo>
                    <a:pt x="1638" y="150"/>
                  </a:lnTo>
                  <a:lnTo>
                    <a:pt x="1640" y="150"/>
                  </a:lnTo>
                  <a:lnTo>
                    <a:pt x="1640" y="152"/>
                  </a:lnTo>
                  <a:close/>
                  <a:moveTo>
                    <a:pt x="1650" y="150"/>
                  </a:moveTo>
                  <a:lnTo>
                    <a:pt x="1651" y="150"/>
                  </a:lnTo>
                  <a:lnTo>
                    <a:pt x="1651" y="152"/>
                  </a:lnTo>
                  <a:lnTo>
                    <a:pt x="1650" y="152"/>
                  </a:lnTo>
                  <a:lnTo>
                    <a:pt x="1651" y="152"/>
                  </a:lnTo>
                  <a:lnTo>
                    <a:pt x="1651" y="150"/>
                  </a:lnTo>
                  <a:lnTo>
                    <a:pt x="1651" y="152"/>
                  </a:lnTo>
                  <a:lnTo>
                    <a:pt x="1650" y="152"/>
                  </a:lnTo>
                  <a:lnTo>
                    <a:pt x="1650" y="150"/>
                  </a:lnTo>
                  <a:close/>
                  <a:moveTo>
                    <a:pt x="1648" y="150"/>
                  </a:moveTo>
                  <a:lnTo>
                    <a:pt x="1650" y="150"/>
                  </a:lnTo>
                  <a:lnTo>
                    <a:pt x="1648" y="150"/>
                  </a:lnTo>
                  <a:close/>
                  <a:moveTo>
                    <a:pt x="1645" y="150"/>
                  </a:moveTo>
                  <a:lnTo>
                    <a:pt x="1646" y="150"/>
                  </a:lnTo>
                  <a:lnTo>
                    <a:pt x="1646" y="148"/>
                  </a:lnTo>
                  <a:lnTo>
                    <a:pt x="1646" y="150"/>
                  </a:lnTo>
                  <a:lnTo>
                    <a:pt x="1648" y="150"/>
                  </a:lnTo>
                  <a:lnTo>
                    <a:pt x="1646" y="150"/>
                  </a:lnTo>
                  <a:lnTo>
                    <a:pt x="1645" y="150"/>
                  </a:lnTo>
                  <a:close/>
                  <a:moveTo>
                    <a:pt x="1503" y="148"/>
                  </a:moveTo>
                  <a:lnTo>
                    <a:pt x="1503" y="150"/>
                  </a:lnTo>
                  <a:lnTo>
                    <a:pt x="1503" y="148"/>
                  </a:lnTo>
                  <a:close/>
                  <a:moveTo>
                    <a:pt x="1918" y="148"/>
                  </a:moveTo>
                  <a:lnTo>
                    <a:pt x="1920" y="148"/>
                  </a:lnTo>
                  <a:lnTo>
                    <a:pt x="1918" y="148"/>
                  </a:lnTo>
                  <a:close/>
                  <a:moveTo>
                    <a:pt x="1885" y="148"/>
                  </a:moveTo>
                  <a:lnTo>
                    <a:pt x="1887" y="148"/>
                  </a:lnTo>
                  <a:lnTo>
                    <a:pt x="1889" y="148"/>
                  </a:lnTo>
                  <a:lnTo>
                    <a:pt x="1889" y="147"/>
                  </a:lnTo>
                  <a:lnTo>
                    <a:pt x="1889" y="148"/>
                  </a:lnTo>
                  <a:lnTo>
                    <a:pt x="1890" y="150"/>
                  </a:lnTo>
                  <a:lnTo>
                    <a:pt x="1889" y="150"/>
                  </a:lnTo>
                  <a:lnTo>
                    <a:pt x="1890" y="150"/>
                  </a:lnTo>
                  <a:lnTo>
                    <a:pt x="1890" y="152"/>
                  </a:lnTo>
                  <a:lnTo>
                    <a:pt x="1889" y="152"/>
                  </a:lnTo>
                  <a:lnTo>
                    <a:pt x="1887" y="152"/>
                  </a:lnTo>
                  <a:lnTo>
                    <a:pt x="1887" y="150"/>
                  </a:lnTo>
                  <a:lnTo>
                    <a:pt x="1889" y="152"/>
                  </a:lnTo>
                  <a:lnTo>
                    <a:pt x="1887" y="150"/>
                  </a:lnTo>
                  <a:lnTo>
                    <a:pt x="1887" y="148"/>
                  </a:lnTo>
                  <a:lnTo>
                    <a:pt x="1887" y="150"/>
                  </a:lnTo>
                  <a:lnTo>
                    <a:pt x="1887" y="148"/>
                  </a:lnTo>
                  <a:lnTo>
                    <a:pt x="1885" y="148"/>
                  </a:lnTo>
                  <a:close/>
                  <a:moveTo>
                    <a:pt x="1889" y="147"/>
                  </a:moveTo>
                  <a:lnTo>
                    <a:pt x="1889" y="148"/>
                  </a:lnTo>
                  <a:lnTo>
                    <a:pt x="1889" y="147"/>
                  </a:lnTo>
                  <a:close/>
                  <a:moveTo>
                    <a:pt x="1885" y="158"/>
                  </a:moveTo>
                  <a:lnTo>
                    <a:pt x="1885" y="156"/>
                  </a:lnTo>
                  <a:lnTo>
                    <a:pt x="1885" y="158"/>
                  </a:lnTo>
                  <a:lnTo>
                    <a:pt x="1887" y="158"/>
                  </a:lnTo>
                  <a:lnTo>
                    <a:pt x="1887" y="156"/>
                  </a:lnTo>
                  <a:lnTo>
                    <a:pt x="1889" y="156"/>
                  </a:lnTo>
                  <a:lnTo>
                    <a:pt x="1889" y="158"/>
                  </a:lnTo>
                  <a:lnTo>
                    <a:pt x="1889" y="156"/>
                  </a:lnTo>
                  <a:lnTo>
                    <a:pt x="1890" y="156"/>
                  </a:lnTo>
                  <a:lnTo>
                    <a:pt x="1889" y="156"/>
                  </a:lnTo>
                  <a:lnTo>
                    <a:pt x="1890" y="155"/>
                  </a:lnTo>
                  <a:lnTo>
                    <a:pt x="1892" y="155"/>
                  </a:lnTo>
                  <a:lnTo>
                    <a:pt x="1892" y="156"/>
                  </a:lnTo>
                  <a:lnTo>
                    <a:pt x="1892" y="158"/>
                  </a:lnTo>
                  <a:lnTo>
                    <a:pt x="1890" y="160"/>
                  </a:lnTo>
                  <a:lnTo>
                    <a:pt x="1889" y="161"/>
                  </a:lnTo>
                  <a:lnTo>
                    <a:pt x="1887" y="161"/>
                  </a:lnTo>
                  <a:lnTo>
                    <a:pt x="1885" y="165"/>
                  </a:lnTo>
                  <a:lnTo>
                    <a:pt x="1885" y="166"/>
                  </a:lnTo>
                  <a:lnTo>
                    <a:pt x="1884" y="166"/>
                  </a:lnTo>
                  <a:lnTo>
                    <a:pt x="1882" y="166"/>
                  </a:lnTo>
                  <a:lnTo>
                    <a:pt x="1884" y="166"/>
                  </a:lnTo>
                  <a:lnTo>
                    <a:pt x="1884" y="168"/>
                  </a:lnTo>
                  <a:lnTo>
                    <a:pt x="1882" y="169"/>
                  </a:lnTo>
                  <a:lnTo>
                    <a:pt x="1881" y="169"/>
                  </a:lnTo>
                  <a:lnTo>
                    <a:pt x="1877" y="169"/>
                  </a:lnTo>
                  <a:lnTo>
                    <a:pt x="1877" y="171"/>
                  </a:lnTo>
                  <a:lnTo>
                    <a:pt x="1877" y="169"/>
                  </a:lnTo>
                  <a:lnTo>
                    <a:pt x="1877" y="168"/>
                  </a:lnTo>
                  <a:lnTo>
                    <a:pt x="1877" y="166"/>
                  </a:lnTo>
                  <a:lnTo>
                    <a:pt x="1877" y="163"/>
                  </a:lnTo>
                  <a:lnTo>
                    <a:pt x="1877" y="161"/>
                  </a:lnTo>
                  <a:lnTo>
                    <a:pt x="1879" y="161"/>
                  </a:lnTo>
                  <a:lnTo>
                    <a:pt x="1879" y="160"/>
                  </a:lnTo>
                  <a:lnTo>
                    <a:pt x="1877" y="160"/>
                  </a:lnTo>
                  <a:lnTo>
                    <a:pt x="1879" y="158"/>
                  </a:lnTo>
                  <a:lnTo>
                    <a:pt x="1877" y="158"/>
                  </a:lnTo>
                  <a:lnTo>
                    <a:pt x="1877" y="156"/>
                  </a:lnTo>
                  <a:lnTo>
                    <a:pt x="1879" y="156"/>
                  </a:lnTo>
                  <a:lnTo>
                    <a:pt x="1877" y="156"/>
                  </a:lnTo>
                  <a:lnTo>
                    <a:pt x="1877" y="155"/>
                  </a:lnTo>
                  <a:lnTo>
                    <a:pt x="1876" y="153"/>
                  </a:lnTo>
                  <a:lnTo>
                    <a:pt x="1877" y="153"/>
                  </a:lnTo>
                  <a:lnTo>
                    <a:pt x="1876" y="153"/>
                  </a:lnTo>
                  <a:lnTo>
                    <a:pt x="1876" y="152"/>
                  </a:lnTo>
                  <a:lnTo>
                    <a:pt x="1876" y="150"/>
                  </a:lnTo>
                  <a:lnTo>
                    <a:pt x="1874" y="150"/>
                  </a:lnTo>
                  <a:lnTo>
                    <a:pt x="1874" y="148"/>
                  </a:lnTo>
                  <a:lnTo>
                    <a:pt x="1876" y="148"/>
                  </a:lnTo>
                  <a:lnTo>
                    <a:pt x="1876" y="147"/>
                  </a:lnTo>
                  <a:lnTo>
                    <a:pt x="1877" y="147"/>
                  </a:lnTo>
                  <a:lnTo>
                    <a:pt x="1877" y="148"/>
                  </a:lnTo>
                  <a:lnTo>
                    <a:pt x="1877" y="147"/>
                  </a:lnTo>
                  <a:lnTo>
                    <a:pt x="1877" y="148"/>
                  </a:lnTo>
                  <a:lnTo>
                    <a:pt x="1879" y="148"/>
                  </a:lnTo>
                  <a:lnTo>
                    <a:pt x="1881" y="147"/>
                  </a:lnTo>
                  <a:lnTo>
                    <a:pt x="1881" y="148"/>
                  </a:lnTo>
                  <a:lnTo>
                    <a:pt x="1882" y="147"/>
                  </a:lnTo>
                  <a:lnTo>
                    <a:pt x="1882" y="148"/>
                  </a:lnTo>
                  <a:lnTo>
                    <a:pt x="1884" y="148"/>
                  </a:lnTo>
                  <a:lnTo>
                    <a:pt x="1885" y="148"/>
                  </a:lnTo>
                  <a:lnTo>
                    <a:pt x="1885" y="150"/>
                  </a:lnTo>
                  <a:lnTo>
                    <a:pt x="1884" y="152"/>
                  </a:lnTo>
                  <a:lnTo>
                    <a:pt x="1885" y="152"/>
                  </a:lnTo>
                  <a:lnTo>
                    <a:pt x="1885" y="150"/>
                  </a:lnTo>
                  <a:lnTo>
                    <a:pt x="1885" y="152"/>
                  </a:lnTo>
                  <a:lnTo>
                    <a:pt x="1887" y="152"/>
                  </a:lnTo>
                  <a:lnTo>
                    <a:pt x="1885" y="152"/>
                  </a:lnTo>
                  <a:lnTo>
                    <a:pt x="1885" y="153"/>
                  </a:lnTo>
                  <a:lnTo>
                    <a:pt x="1887" y="153"/>
                  </a:lnTo>
                  <a:lnTo>
                    <a:pt x="1889" y="153"/>
                  </a:lnTo>
                  <a:lnTo>
                    <a:pt x="1887" y="153"/>
                  </a:lnTo>
                  <a:lnTo>
                    <a:pt x="1887" y="155"/>
                  </a:lnTo>
                  <a:lnTo>
                    <a:pt x="1889" y="156"/>
                  </a:lnTo>
                  <a:lnTo>
                    <a:pt x="1887" y="156"/>
                  </a:lnTo>
                  <a:lnTo>
                    <a:pt x="1887" y="155"/>
                  </a:lnTo>
                  <a:lnTo>
                    <a:pt x="1887" y="156"/>
                  </a:lnTo>
                  <a:lnTo>
                    <a:pt x="1885" y="156"/>
                  </a:lnTo>
                  <a:lnTo>
                    <a:pt x="1884" y="156"/>
                  </a:lnTo>
                  <a:lnTo>
                    <a:pt x="1884" y="158"/>
                  </a:lnTo>
                  <a:lnTo>
                    <a:pt x="1884" y="160"/>
                  </a:lnTo>
                  <a:lnTo>
                    <a:pt x="1885" y="160"/>
                  </a:lnTo>
                  <a:lnTo>
                    <a:pt x="1885" y="158"/>
                  </a:lnTo>
                  <a:close/>
                  <a:moveTo>
                    <a:pt x="1643" y="148"/>
                  </a:moveTo>
                  <a:lnTo>
                    <a:pt x="1641" y="148"/>
                  </a:lnTo>
                  <a:lnTo>
                    <a:pt x="1643" y="147"/>
                  </a:lnTo>
                  <a:lnTo>
                    <a:pt x="1643" y="148"/>
                  </a:lnTo>
                  <a:close/>
                  <a:moveTo>
                    <a:pt x="1635" y="147"/>
                  </a:moveTo>
                  <a:lnTo>
                    <a:pt x="1635" y="148"/>
                  </a:lnTo>
                  <a:lnTo>
                    <a:pt x="1633" y="148"/>
                  </a:lnTo>
                  <a:lnTo>
                    <a:pt x="1633" y="147"/>
                  </a:lnTo>
                  <a:lnTo>
                    <a:pt x="1635" y="147"/>
                  </a:lnTo>
                  <a:close/>
                  <a:moveTo>
                    <a:pt x="1511" y="147"/>
                  </a:moveTo>
                  <a:lnTo>
                    <a:pt x="1511" y="145"/>
                  </a:lnTo>
                  <a:lnTo>
                    <a:pt x="1511" y="147"/>
                  </a:lnTo>
                  <a:close/>
                  <a:moveTo>
                    <a:pt x="1903" y="148"/>
                  </a:moveTo>
                  <a:lnTo>
                    <a:pt x="1903" y="150"/>
                  </a:lnTo>
                  <a:lnTo>
                    <a:pt x="1903" y="148"/>
                  </a:lnTo>
                  <a:lnTo>
                    <a:pt x="1905" y="148"/>
                  </a:lnTo>
                  <a:lnTo>
                    <a:pt x="1905" y="150"/>
                  </a:lnTo>
                  <a:lnTo>
                    <a:pt x="1907" y="150"/>
                  </a:lnTo>
                  <a:lnTo>
                    <a:pt x="1907" y="152"/>
                  </a:lnTo>
                  <a:lnTo>
                    <a:pt x="1907" y="153"/>
                  </a:lnTo>
                  <a:lnTo>
                    <a:pt x="1908" y="155"/>
                  </a:lnTo>
                  <a:lnTo>
                    <a:pt x="1907" y="155"/>
                  </a:lnTo>
                  <a:lnTo>
                    <a:pt x="1908" y="155"/>
                  </a:lnTo>
                  <a:lnTo>
                    <a:pt x="1908" y="156"/>
                  </a:lnTo>
                  <a:lnTo>
                    <a:pt x="1908" y="158"/>
                  </a:lnTo>
                  <a:lnTo>
                    <a:pt x="1908" y="156"/>
                  </a:lnTo>
                  <a:lnTo>
                    <a:pt x="1910" y="156"/>
                  </a:lnTo>
                  <a:lnTo>
                    <a:pt x="1910" y="158"/>
                  </a:lnTo>
                  <a:lnTo>
                    <a:pt x="1910" y="160"/>
                  </a:lnTo>
                  <a:lnTo>
                    <a:pt x="1911" y="160"/>
                  </a:lnTo>
                  <a:lnTo>
                    <a:pt x="1911" y="161"/>
                  </a:lnTo>
                  <a:lnTo>
                    <a:pt x="1910" y="161"/>
                  </a:lnTo>
                  <a:lnTo>
                    <a:pt x="1911" y="161"/>
                  </a:lnTo>
                  <a:lnTo>
                    <a:pt x="1911" y="163"/>
                  </a:lnTo>
                  <a:lnTo>
                    <a:pt x="1911" y="165"/>
                  </a:lnTo>
                  <a:lnTo>
                    <a:pt x="1913" y="165"/>
                  </a:lnTo>
                  <a:lnTo>
                    <a:pt x="1913" y="166"/>
                  </a:lnTo>
                  <a:lnTo>
                    <a:pt x="1913" y="168"/>
                  </a:lnTo>
                  <a:lnTo>
                    <a:pt x="1915" y="169"/>
                  </a:lnTo>
                  <a:lnTo>
                    <a:pt x="1913" y="169"/>
                  </a:lnTo>
                  <a:lnTo>
                    <a:pt x="1913" y="171"/>
                  </a:lnTo>
                  <a:lnTo>
                    <a:pt x="1911" y="171"/>
                  </a:lnTo>
                  <a:lnTo>
                    <a:pt x="1911" y="173"/>
                  </a:lnTo>
                  <a:lnTo>
                    <a:pt x="1910" y="173"/>
                  </a:lnTo>
                  <a:lnTo>
                    <a:pt x="1910" y="174"/>
                  </a:lnTo>
                  <a:lnTo>
                    <a:pt x="1910" y="173"/>
                  </a:lnTo>
                  <a:lnTo>
                    <a:pt x="1911" y="173"/>
                  </a:lnTo>
                  <a:lnTo>
                    <a:pt x="1913" y="173"/>
                  </a:lnTo>
                  <a:lnTo>
                    <a:pt x="1913" y="171"/>
                  </a:lnTo>
                  <a:lnTo>
                    <a:pt x="1915" y="171"/>
                  </a:lnTo>
                  <a:lnTo>
                    <a:pt x="1916" y="171"/>
                  </a:lnTo>
                  <a:lnTo>
                    <a:pt x="1916" y="169"/>
                  </a:lnTo>
                  <a:lnTo>
                    <a:pt x="1915" y="168"/>
                  </a:lnTo>
                  <a:lnTo>
                    <a:pt x="1915" y="166"/>
                  </a:lnTo>
                  <a:lnTo>
                    <a:pt x="1913" y="165"/>
                  </a:lnTo>
                  <a:lnTo>
                    <a:pt x="1913" y="163"/>
                  </a:lnTo>
                  <a:lnTo>
                    <a:pt x="1913" y="161"/>
                  </a:lnTo>
                  <a:lnTo>
                    <a:pt x="1913" y="163"/>
                  </a:lnTo>
                  <a:lnTo>
                    <a:pt x="1913" y="161"/>
                  </a:lnTo>
                  <a:lnTo>
                    <a:pt x="1915" y="161"/>
                  </a:lnTo>
                  <a:lnTo>
                    <a:pt x="1913" y="161"/>
                  </a:lnTo>
                  <a:lnTo>
                    <a:pt x="1915" y="161"/>
                  </a:lnTo>
                  <a:lnTo>
                    <a:pt x="1913" y="161"/>
                  </a:lnTo>
                  <a:lnTo>
                    <a:pt x="1913" y="160"/>
                  </a:lnTo>
                  <a:lnTo>
                    <a:pt x="1911" y="160"/>
                  </a:lnTo>
                  <a:lnTo>
                    <a:pt x="1911" y="158"/>
                  </a:lnTo>
                  <a:lnTo>
                    <a:pt x="1911" y="156"/>
                  </a:lnTo>
                  <a:lnTo>
                    <a:pt x="1910" y="155"/>
                  </a:lnTo>
                  <a:lnTo>
                    <a:pt x="1908" y="153"/>
                  </a:lnTo>
                  <a:lnTo>
                    <a:pt x="1910" y="153"/>
                  </a:lnTo>
                  <a:lnTo>
                    <a:pt x="1908" y="152"/>
                  </a:lnTo>
                  <a:lnTo>
                    <a:pt x="1910" y="152"/>
                  </a:lnTo>
                  <a:lnTo>
                    <a:pt x="1911" y="152"/>
                  </a:lnTo>
                  <a:lnTo>
                    <a:pt x="1910" y="150"/>
                  </a:lnTo>
                  <a:lnTo>
                    <a:pt x="1911" y="150"/>
                  </a:lnTo>
                  <a:lnTo>
                    <a:pt x="1913" y="150"/>
                  </a:lnTo>
                  <a:lnTo>
                    <a:pt x="1913" y="152"/>
                  </a:lnTo>
                  <a:lnTo>
                    <a:pt x="1913" y="150"/>
                  </a:lnTo>
                  <a:lnTo>
                    <a:pt x="1915" y="152"/>
                  </a:lnTo>
                  <a:lnTo>
                    <a:pt x="1915" y="150"/>
                  </a:lnTo>
                  <a:lnTo>
                    <a:pt x="1916" y="150"/>
                  </a:lnTo>
                  <a:lnTo>
                    <a:pt x="1916" y="152"/>
                  </a:lnTo>
                  <a:lnTo>
                    <a:pt x="1916" y="150"/>
                  </a:lnTo>
                  <a:lnTo>
                    <a:pt x="1916" y="152"/>
                  </a:lnTo>
                  <a:lnTo>
                    <a:pt x="1918" y="152"/>
                  </a:lnTo>
                  <a:lnTo>
                    <a:pt x="1918" y="150"/>
                  </a:lnTo>
                  <a:lnTo>
                    <a:pt x="1916" y="150"/>
                  </a:lnTo>
                  <a:lnTo>
                    <a:pt x="1916" y="148"/>
                  </a:lnTo>
                  <a:lnTo>
                    <a:pt x="1916" y="150"/>
                  </a:lnTo>
                  <a:lnTo>
                    <a:pt x="1916" y="148"/>
                  </a:lnTo>
                  <a:lnTo>
                    <a:pt x="1916" y="150"/>
                  </a:lnTo>
                  <a:lnTo>
                    <a:pt x="1918" y="150"/>
                  </a:lnTo>
                  <a:lnTo>
                    <a:pt x="1918" y="148"/>
                  </a:lnTo>
                  <a:lnTo>
                    <a:pt x="1918" y="150"/>
                  </a:lnTo>
                  <a:lnTo>
                    <a:pt x="1920" y="150"/>
                  </a:lnTo>
                  <a:lnTo>
                    <a:pt x="1918" y="150"/>
                  </a:lnTo>
                  <a:lnTo>
                    <a:pt x="1920" y="150"/>
                  </a:lnTo>
                  <a:lnTo>
                    <a:pt x="1920" y="148"/>
                  </a:lnTo>
                  <a:lnTo>
                    <a:pt x="1921" y="148"/>
                  </a:lnTo>
                  <a:lnTo>
                    <a:pt x="1920" y="148"/>
                  </a:lnTo>
                  <a:lnTo>
                    <a:pt x="1921" y="148"/>
                  </a:lnTo>
                  <a:lnTo>
                    <a:pt x="1921" y="150"/>
                  </a:lnTo>
                  <a:lnTo>
                    <a:pt x="1920" y="150"/>
                  </a:lnTo>
                  <a:lnTo>
                    <a:pt x="1920" y="152"/>
                  </a:lnTo>
                  <a:lnTo>
                    <a:pt x="1921" y="152"/>
                  </a:lnTo>
                  <a:lnTo>
                    <a:pt x="1921" y="150"/>
                  </a:lnTo>
                  <a:lnTo>
                    <a:pt x="1923" y="150"/>
                  </a:lnTo>
                  <a:lnTo>
                    <a:pt x="1921" y="150"/>
                  </a:lnTo>
                  <a:lnTo>
                    <a:pt x="1923" y="148"/>
                  </a:lnTo>
                  <a:lnTo>
                    <a:pt x="1923" y="150"/>
                  </a:lnTo>
                  <a:lnTo>
                    <a:pt x="1923" y="148"/>
                  </a:lnTo>
                  <a:lnTo>
                    <a:pt x="1923" y="150"/>
                  </a:lnTo>
                  <a:lnTo>
                    <a:pt x="1923" y="148"/>
                  </a:lnTo>
                  <a:lnTo>
                    <a:pt x="1924" y="150"/>
                  </a:lnTo>
                  <a:lnTo>
                    <a:pt x="1924" y="148"/>
                  </a:lnTo>
                  <a:lnTo>
                    <a:pt x="1924" y="150"/>
                  </a:lnTo>
                  <a:lnTo>
                    <a:pt x="1924" y="152"/>
                  </a:lnTo>
                  <a:lnTo>
                    <a:pt x="1923" y="152"/>
                  </a:lnTo>
                  <a:lnTo>
                    <a:pt x="1923" y="153"/>
                  </a:lnTo>
                  <a:lnTo>
                    <a:pt x="1923" y="155"/>
                  </a:lnTo>
                  <a:lnTo>
                    <a:pt x="1921" y="155"/>
                  </a:lnTo>
                  <a:lnTo>
                    <a:pt x="1921" y="156"/>
                  </a:lnTo>
                  <a:lnTo>
                    <a:pt x="1921" y="158"/>
                  </a:lnTo>
                  <a:lnTo>
                    <a:pt x="1921" y="156"/>
                  </a:lnTo>
                  <a:lnTo>
                    <a:pt x="1923" y="155"/>
                  </a:lnTo>
                  <a:lnTo>
                    <a:pt x="1923" y="156"/>
                  </a:lnTo>
                  <a:lnTo>
                    <a:pt x="1923" y="155"/>
                  </a:lnTo>
                  <a:lnTo>
                    <a:pt x="1924" y="155"/>
                  </a:lnTo>
                  <a:lnTo>
                    <a:pt x="1924" y="153"/>
                  </a:lnTo>
                  <a:lnTo>
                    <a:pt x="1926" y="153"/>
                  </a:lnTo>
                  <a:lnTo>
                    <a:pt x="1926" y="152"/>
                  </a:lnTo>
                  <a:lnTo>
                    <a:pt x="1928" y="152"/>
                  </a:lnTo>
                  <a:lnTo>
                    <a:pt x="1926" y="152"/>
                  </a:lnTo>
                  <a:lnTo>
                    <a:pt x="1926" y="150"/>
                  </a:lnTo>
                  <a:lnTo>
                    <a:pt x="1928" y="150"/>
                  </a:lnTo>
                  <a:lnTo>
                    <a:pt x="1928" y="152"/>
                  </a:lnTo>
                  <a:lnTo>
                    <a:pt x="1928" y="150"/>
                  </a:lnTo>
                  <a:lnTo>
                    <a:pt x="1928" y="152"/>
                  </a:lnTo>
                  <a:lnTo>
                    <a:pt x="1928" y="150"/>
                  </a:lnTo>
                  <a:lnTo>
                    <a:pt x="1929" y="150"/>
                  </a:lnTo>
                  <a:lnTo>
                    <a:pt x="1929" y="152"/>
                  </a:lnTo>
                  <a:lnTo>
                    <a:pt x="1931" y="152"/>
                  </a:lnTo>
                  <a:lnTo>
                    <a:pt x="1931" y="153"/>
                  </a:lnTo>
                  <a:lnTo>
                    <a:pt x="1933" y="153"/>
                  </a:lnTo>
                  <a:lnTo>
                    <a:pt x="1933" y="155"/>
                  </a:lnTo>
                  <a:lnTo>
                    <a:pt x="1934" y="155"/>
                  </a:lnTo>
                  <a:lnTo>
                    <a:pt x="1934" y="156"/>
                  </a:lnTo>
                  <a:lnTo>
                    <a:pt x="1936" y="158"/>
                  </a:lnTo>
                  <a:lnTo>
                    <a:pt x="1934" y="158"/>
                  </a:lnTo>
                  <a:lnTo>
                    <a:pt x="1936" y="160"/>
                  </a:lnTo>
                  <a:lnTo>
                    <a:pt x="1937" y="160"/>
                  </a:lnTo>
                  <a:lnTo>
                    <a:pt x="1937" y="161"/>
                  </a:lnTo>
                  <a:lnTo>
                    <a:pt x="1939" y="161"/>
                  </a:lnTo>
                  <a:lnTo>
                    <a:pt x="1941" y="163"/>
                  </a:lnTo>
                  <a:lnTo>
                    <a:pt x="1939" y="163"/>
                  </a:lnTo>
                  <a:lnTo>
                    <a:pt x="1941" y="163"/>
                  </a:lnTo>
                  <a:lnTo>
                    <a:pt x="1939" y="163"/>
                  </a:lnTo>
                  <a:lnTo>
                    <a:pt x="1939" y="165"/>
                  </a:lnTo>
                  <a:lnTo>
                    <a:pt x="1941" y="165"/>
                  </a:lnTo>
                  <a:lnTo>
                    <a:pt x="1941" y="166"/>
                  </a:lnTo>
                  <a:lnTo>
                    <a:pt x="1941" y="168"/>
                  </a:lnTo>
                  <a:lnTo>
                    <a:pt x="1942" y="168"/>
                  </a:lnTo>
                  <a:lnTo>
                    <a:pt x="1942" y="169"/>
                  </a:lnTo>
                  <a:lnTo>
                    <a:pt x="1942" y="171"/>
                  </a:lnTo>
                  <a:lnTo>
                    <a:pt x="1944" y="171"/>
                  </a:lnTo>
                  <a:lnTo>
                    <a:pt x="1944" y="173"/>
                  </a:lnTo>
                  <a:lnTo>
                    <a:pt x="1944" y="176"/>
                  </a:lnTo>
                  <a:lnTo>
                    <a:pt x="1944" y="178"/>
                  </a:lnTo>
                  <a:lnTo>
                    <a:pt x="1946" y="178"/>
                  </a:lnTo>
                  <a:lnTo>
                    <a:pt x="1944" y="179"/>
                  </a:lnTo>
                  <a:lnTo>
                    <a:pt x="1944" y="181"/>
                  </a:lnTo>
                  <a:lnTo>
                    <a:pt x="1942" y="182"/>
                  </a:lnTo>
                  <a:lnTo>
                    <a:pt x="1941" y="184"/>
                  </a:lnTo>
                  <a:lnTo>
                    <a:pt x="1936" y="186"/>
                  </a:lnTo>
                  <a:lnTo>
                    <a:pt x="1931" y="186"/>
                  </a:lnTo>
                  <a:lnTo>
                    <a:pt x="1928" y="187"/>
                  </a:lnTo>
                  <a:lnTo>
                    <a:pt x="1926" y="187"/>
                  </a:lnTo>
                  <a:lnTo>
                    <a:pt x="1918" y="182"/>
                  </a:lnTo>
                  <a:lnTo>
                    <a:pt x="1913" y="179"/>
                  </a:lnTo>
                  <a:lnTo>
                    <a:pt x="1911" y="179"/>
                  </a:lnTo>
                  <a:lnTo>
                    <a:pt x="1908" y="178"/>
                  </a:lnTo>
                  <a:lnTo>
                    <a:pt x="1907" y="178"/>
                  </a:lnTo>
                  <a:lnTo>
                    <a:pt x="1903" y="176"/>
                  </a:lnTo>
                  <a:lnTo>
                    <a:pt x="1902" y="176"/>
                  </a:lnTo>
                  <a:lnTo>
                    <a:pt x="1900" y="174"/>
                  </a:lnTo>
                  <a:lnTo>
                    <a:pt x="1900" y="173"/>
                  </a:lnTo>
                  <a:lnTo>
                    <a:pt x="1898" y="173"/>
                  </a:lnTo>
                  <a:lnTo>
                    <a:pt x="1900" y="173"/>
                  </a:lnTo>
                  <a:lnTo>
                    <a:pt x="1898" y="173"/>
                  </a:lnTo>
                  <a:lnTo>
                    <a:pt x="1898" y="171"/>
                  </a:lnTo>
                  <a:lnTo>
                    <a:pt x="1898" y="169"/>
                  </a:lnTo>
                  <a:lnTo>
                    <a:pt x="1898" y="168"/>
                  </a:lnTo>
                  <a:lnTo>
                    <a:pt x="1897" y="168"/>
                  </a:lnTo>
                  <a:lnTo>
                    <a:pt x="1897" y="166"/>
                  </a:lnTo>
                  <a:lnTo>
                    <a:pt x="1895" y="165"/>
                  </a:lnTo>
                  <a:lnTo>
                    <a:pt x="1897" y="165"/>
                  </a:lnTo>
                  <a:lnTo>
                    <a:pt x="1897" y="163"/>
                  </a:lnTo>
                  <a:lnTo>
                    <a:pt x="1898" y="163"/>
                  </a:lnTo>
                  <a:lnTo>
                    <a:pt x="1897" y="163"/>
                  </a:lnTo>
                  <a:lnTo>
                    <a:pt x="1898" y="163"/>
                  </a:lnTo>
                  <a:lnTo>
                    <a:pt x="1898" y="161"/>
                  </a:lnTo>
                  <a:lnTo>
                    <a:pt x="1900" y="161"/>
                  </a:lnTo>
                  <a:lnTo>
                    <a:pt x="1900" y="160"/>
                  </a:lnTo>
                  <a:lnTo>
                    <a:pt x="1898" y="160"/>
                  </a:lnTo>
                  <a:lnTo>
                    <a:pt x="1898" y="158"/>
                  </a:lnTo>
                  <a:lnTo>
                    <a:pt x="1897" y="158"/>
                  </a:lnTo>
                  <a:lnTo>
                    <a:pt x="1897" y="156"/>
                  </a:lnTo>
                  <a:lnTo>
                    <a:pt x="1895" y="156"/>
                  </a:lnTo>
                  <a:lnTo>
                    <a:pt x="1897" y="156"/>
                  </a:lnTo>
                  <a:lnTo>
                    <a:pt x="1895" y="156"/>
                  </a:lnTo>
                  <a:lnTo>
                    <a:pt x="1897" y="156"/>
                  </a:lnTo>
                  <a:lnTo>
                    <a:pt x="1895" y="155"/>
                  </a:lnTo>
                  <a:lnTo>
                    <a:pt x="1897" y="155"/>
                  </a:lnTo>
                  <a:lnTo>
                    <a:pt x="1895" y="155"/>
                  </a:lnTo>
                  <a:lnTo>
                    <a:pt x="1895" y="153"/>
                  </a:lnTo>
                  <a:lnTo>
                    <a:pt x="1894" y="153"/>
                  </a:lnTo>
                  <a:lnTo>
                    <a:pt x="1894" y="152"/>
                  </a:lnTo>
                  <a:lnTo>
                    <a:pt x="1894" y="150"/>
                  </a:lnTo>
                  <a:lnTo>
                    <a:pt x="1895" y="150"/>
                  </a:lnTo>
                  <a:lnTo>
                    <a:pt x="1895" y="148"/>
                  </a:lnTo>
                  <a:lnTo>
                    <a:pt x="1895" y="150"/>
                  </a:lnTo>
                  <a:lnTo>
                    <a:pt x="1894" y="148"/>
                  </a:lnTo>
                  <a:lnTo>
                    <a:pt x="1894" y="150"/>
                  </a:lnTo>
                  <a:lnTo>
                    <a:pt x="1894" y="148"/>
                  </a:lnTo>
                  <a:lnTo>
                    <a:pt x="1894" y="147"/>
                  </a:lnTo>
                  <a:lnTo>
                    <a:pt x="1895" y="147"/>
                  </a:lnTo>
                  <a:lnTo>
                    <a:pt x="1897" y="147"/>
                  </a:lnTo>
                  <a:lnTo>
                    <a:pt x="1895" y="147"/>
                  </a:lnTo>
                  <a:lnTo>
                    <a:pt x="1897" y="147"/>
                  </a:lnTo>
                  <a:lnTo>
                    <a:pt x="1898" y="147"/>
                  </a:lnTo>
                  <a:lnTo>
                    <a:pt x="1898" y="145"/>
                  </a:lnTo>
                  <a:lnTo>
                    <a:pt x="1900" y="145"/>
                  </a:lnTo>
                  <a:lnTo>
                    <a:pt x="1900" y="147"/>
                  </a:lnTo>
                  <a:lnTo>
                    <a:pt x="1898" y="147"/>
                  </a:lnTo>
                  <a:lnTo>
                    <a:pt x="1900" y="147"/>
                  </a:lnTo>
                  <a:lnTo>
                    <a:pt x="1898" y="147"/>
                  </a:lnTo>
                  <a:lnTo>
                    <a:pt x="1900" y="147"/>
                  </a:lnTo>
                  <a:lnTo>
                    <a:pt x="1902" y="147"/>
                  </a:lnTo>
                  <a:lnTo>
                    <a:pt x="1900" y="147"/>
                  </a:lnTo>
                  <a:lnTo>
                    <a:pt x="1902" y="147"/>
                  </a:lnTo>
                  <a:lnTo>
                    <a:pt x="1902" y="148"/>
                  </a:lnTo>
                  <a:lnTo>
                    <a:pt x="1900" y="148"/>
                  </a:lnTo>
                  <a:lnTo>
                    <a:pt x="1900" y="150"/>
                  </a:lnTo>
                  <a:lnTo>
                    <a:pt x="1898" y="152"/>
                  </a:lnTo>
                  <a:lnTo>
                    <a:pt x="1897" y="153"/>
                  </a:lnTo>
                  <a:lnTo>
                    <a:pt x="1898" y="153"/>
                  </a:lnTo>
                  <a:lnTo>
                    <a:pt x="1898" y="152"/>
                  </a:lnTo>
                  <a:lnTo>
                    <a:pt x="1898" y="153"/>
                  </a:lnTo>
                  <a:lnTo>
                    <a:pt x="1898" y="152"/>
                  </a:lnTo>
                  <a:lnTo>
                    <a:pt x="1900" y="153"/>
                  </a:lnTo>
                  <a:lnTo>
                    <a:pt x="1900" y="152"/>
                  </a:lnTo>
                  <a:lnTo>
                    <a:pt x="1902" y="152"/>
                  </a:lnTo>
                  <a:lnTo>
                    <a:pt x="1902" y="150"/>
                  </a:lnTo>
                  <a:lnTo>
                    <a:pt x="1903" y="150"/>
                  </a:lnTo>
                  <a:lnTo>
                    <a:pt x="1902" y="150"/>
                  </a:lnTo>
                  <a:lnTo>
                    <a:pt x="1902" y="152"/>
                  </a:lnTo>
                  <a:lnTo>
                    <a:pt x="1903" y="152"/>
                  </a:lnTo>
                  <a:lnTo>
                    <a:pt x="1903" y="150"/>
                  </a:lnTo>
                  <a:lnTo>
                    <a:pt x="1905" y="150"/>
                  </a:lnTo>
                  <a:lnTo>
                    <a:pt x="1903" y="150"/>
                  </a:lnTo>
                  <a:lnTo>
                    <a:pt x="1903" y="148"/>
                  </a:lnTo>
                  <a:close/>
                  <a:moveTo>
                    <a:pt x="1510" y="145"/>
                  </a:moveTo>
                  <a:lnTo>
                    <a:pt x="1511" y="145"/>
                  </a:lnTo>
                  <a:lnTo>
                    <a:pt x="1510" y="145"/>
                  </a:lnTo>
                  <a:close/>
                  <a:moveTo>
                    <a:pt x="1633" y="145"/>
                  </a:moveTo>
                  <a:lnTo>
                    <a:pt x="1635" y="145"/>
                  </a:lnTo>
                  <a:lnTo>
                    <a:pt x="1635" y="147"/>
                  </a:lnTo>
                  <a:lnTo>
                    <a:pt x="1633" y="147"/>
                  </a:lnTo>
                  <a:lnTo>
                    <a:pt x="1633" y="145"/>
                  </a:lnTo>
                  <a:close/>
                  <a:moveTo>
                    <a:pt x="1482" y="143"/>
                  </a:moveTo>
                  <a:lnTo>
                    <a:pt x="1484" y="143"/>
                  </a:lnTo>
                  <a:lnTo>
                    <a:pt x="1482" y="143"/>
                  </a:lnTo>
                  <a:close/>
                  <a:moveTo>
                    <a:pt x="1633" y="142"/>
                  </a:moveTo>
                  <a:lnTo>
                    <a:pt x="1633" y="143"/>
                  </a:lnTo>
                  <a:lnTo>
                    <a:pt x="1632" y="142"/>
                  </a:lnTo>
                  <a:lnTo>
                    <a:pt x="1633" y="142"/>
                  </a:lnTo>
                  <a:close/>
                  <a:moveTo>
                    <a:pt x="1477" y="143"/>
                  </a:moveTo>
                  <a:lnTo>
                    <a:pt x="1477" y="142"/>
                  </a:lnTo>
                  <a:lnTo>
                    <a:pt x="1477" y="143"/>
                  </a:lnTo>
                  <a:close/>
                  <a:moveTo>
                    <a:pt x="1484" y="142"/>
                  </a:moveTo>
                  <a:lnTo>
                    <a:pt x="1484" y="140"/>
                  </a:lnTo>
                  <a:lnTo>
                    <a:pt x="1484" y="142"/>
                  </a:lnTo>
                  <a:close/>
                  <a:moveTo>
                    <a:pt x="1637" y="142"/>
                  </a:moveTo>
                  <a:lnTo>
                    <a:pt x="1637" y="140"/>
                  </a:lnTo>
                  <a:lnTo>
                    <a:pt x="1637" y="142"/>
                  </a:lnTo>
                  <a:close/>
                  <a:moveTo>
                    <a:pt x="1490" y="142"/>
                  </a:moveTo>
                  <a:lnTo>
                    <a:pt x="1490" y="140"/>
                  </a:lnTo>
                  <a:lnTo>
                    <a:pt x="1490" y="142"/>
                  </a:lnTo>
                  <a:close/>
                  <a:moveTo>
                    <a:pt x="1866" y="142"/>
                  </a:moveTo>
                  <a:lnTo>
                    <a:pt x="1864" y="142"/>
                  </a:lnTo>
                  <a:lnTo>
                    <a:pt x="1866" y="140"/>
                  </a:lnTo>
                  <a:lnTo>
                    <a:pt x="1866" y="142"/>
                  </a:lnTo>
                  <a:close/>
                  <a:moveTo>
                    <a:pt x="1591" y="140"/>
                  </a:moveTo>
                  <a:lnTo>
                    <a:pt x="1593" y="140"/>
                  </a:lnTo>
                  <a:lnTo>
                    <a:pt x="1591" y="140"/>
                  </a:lnTo>
                  <a:close/>
                  <a:moveTo>
                    <a:pt x="1846" y="140"/>
                  </a:moveTo>
                  <a:lnTo>
                    <a:pt x="1846" y="139"/>
                  </a:lnTo>
                  <a:lnTo>
                    <a:pt x="1846" y="140"/>
                  </a:lnTo>
                  <a:close/>
                  <a:moveTo>
                    <a:pt x="1788" y="140"/>
                  </a:moveTo>
                  <a:lnTo>
                    <a:pt x="1788" y="139"/>
                  </a:lnTo>
                  <a:lnTo>
                    <a:pt x="1788" y="140"/>
                  </a:lnTo>
                  <a:close/>
                  <a:moveTo>
                    <a:pt x="1521" y="139"/>
                  </a:moveTo>
                  <a:lnTo>
                    <a:pt x="1521" y="137"/>
                  </a:lnTo>
                  <a:lnTo>
                    <a:pt x="1521" y="139"/>
                  </a:lnTo>
                  <a:close/>
                  <a:moveTo>
                    <a:pt x="1474" y="137"/>
                  </a:moveTo>
                  <a:lnTo>
                    <a:pt x="1474" y="139"/>
                  </a:lnTo>
                  <a:lnTo>
                    <a:pt x="1474" y="137"/>
                  </a:lnTo>
                  <a:close/>
                  <a:moveTo>
                    <a:pt x="1643" y="137"/>
                  </a:moveTo>
                  <a:lnTo>
                    <a:pt x="1641" y="137"/>
                  </a:lnTo>
                  <a:lnTo>
                    <a:pt x="1641" y="135"/>
                  </a:lnTo>
                  <a:lnTo>
                    <a:pt x="1643" y="135"/>
                  </a:lnTo>
                  <a:lnTo>
                    <a:pt x="1643" y="137"/>
                  </a:lnTo>
                  <a:close/>
                  <a:moveTo>
                    <a:pt x="1819" y="135"/>
                  </a:moveTo>
                  <a:lnTo>
                    <a:pt x="1819" y="134"/>
                  </a:lnTo>
                  <a:lnTo>
                    <a:pt x="1819" y="135"/>
                  </a:lnTo>
                  <a:close/>
                  <a:moveTo>
                    <a:pt x="1638" y="135"/>
                  </a:moveTo>
                  <a:lnTo>
                    <a:pt x="1637" y="135"/>
                  </a:lnTo>
                  <a:lnTo>
                    <a:pt x="1637" y="134"/>
                  </a:lnTo>
                  <a:lnTo>
                    <a:pt x="1638" y="134"/>
                  </a:lnTo>
                  <a:lnTo>
                    <a:pt x="1638" y="135"/>
                  </a:lnTo>
                  <a:close/>
                  <a:moveTo>
                    <a:pt x="1815" y="130"/>
                  </a:moveTo>
                  <a:lnTo>
                    <a:pt x="1817" y="130"/>
                  </a:lnTo>
                  <a:lnTo>
                    <a:pt x="1817" y="132"/>
                  </a:lnTo>
                  <a:lnTo>
                    <a:pt x="1815" y="132"/>
                  </a:lnTo>
                  <a:lnTo>
                    <a:pt x="1815" y="134"/>
                  </a:lnTo>
                  <a:lnTo>
                    <a:pt x="1814" y="134"/>
                  </a:lnTo>
                  <a:lnTo>
                    <a:pt x="1814" y="132"/>
                  </a:lnTo>
                  <a:lnTo>
                    <a:pt x="1815" y="132"/>
                  </a:lnTo>
                  <a:lnTo>
                    <a:pt x="1815" y="130"/>
                  </a:lnTo>
                  <a:close/>
                  <a:moveTo>
                    <a:pt x="1542" y="134"/>
                  </a:moveTo>
                  <a:lnTo>
                    <a:pt x="1542" y="132"/>
                  </a:lnTo>
                  <a:lnTo>
                    <a:pt x="1544" y="130"/>
                  </a:lnTo>
                  <a:lnTo>
                    <a:pt x="1545" y="130"/>
                  </a:lnTo>
                  <a:lnTo>
                    <a:pt x="1545" y="132"/>
                  </a:lnTo>
                  <a:lnTo>
                    <a:pt x="1544" y="134"/>
                  </a:lnTo>
                  <a:lnTo>
                    <a:pt x="1542" y="134"/>
                  </a:lnTo>
                  <a:close/>
                  <a:moveTo>
                    <a:pt x="1827" y="130"/>
                  </a:moveTo>
                  <a:lnTo>
                    <a:pt x="1827" y="129"/>
                  </a:lnTo>
                  <a:lnTo>
                    <a:pt x="1827" y="130"/>
                  </a:lnTo>
                  <a:close/>
                  <a:moveTo>
                    <a:pt x="1637" y="129"/>
                  </a:moveTo>
                  <a:lnTo>
                    <a:pt x="1637" y="130"/>
                  </a:lnTo>
                  <a:lnTo>
                    <a:pt x="1637" y="129"/>
                  </a:lnTo>
                  <a:close/>
                  <a:moveTo>
                    <a:pt x="1542" y="129"/>
                  </a:moveTo>
                  <a:lnTo>
                    <a:pt x="1541" y="129"/>
                  </a:lnTo>
                  <a:lnTo>
                    <a:pt x="1542" y="129"/>
                  </a:lnTo>
                  <a:close/>
                  <a:moveTo>
                    <a:pt x="1806" y="129"/>
                  </a:moveTo>
                  <a:lnTo>
                    <a:pt x="1807" y="129"/>
                  </a:lnTo>
                  <a:lnTo>
                    <a:pt x="1806" y="129"/>
                  </a:lnTo>
                  <a:close/>
                  <a:moveTo>
                    <a:pt x="1785" y="129"/>
                  </a:moveTo>
                  <a:lnTo>
                    <a:pt x="1783" y="129"/>
                  </a:lnTo>
                  <a:lnTo>
                    <a:pt x="1783" y="127"/>
                  </a:lnTo>
                  <a:lnTo>
                    <a:pt x="1785" y="129"/>
                  </a:lnTo>
                  <a:close/>
                  <a:moveTo>
                    <a:pt x="1859" y="127"/>
                  </a:moveTo>
                  <a:lnTo>
                    <a:pt x="1859" y="129"/>
                  </a:lnTo>
                  <a:lnTo>
                    <a:pt x="1859" y="127"/>
                  </a:lnTo>
                  <a:close/>
                  <a:moveTo>
                    <a:pt x="1863" y="127"/>
                  </a:moveTo>
                  <a:lnTo>
                    <a:pt x="1864" y="127"/>
                  </a:lnTo>
                  <a:lnTo>
                    <a:pt x="1866" y="127"/>
                  </a:lnTo>
                  <a:lnTo>
                    <a:pt x="1864" y="127"/>
                  </a:lnTo>
                  <a:lnTo>
                    <a:pt x="1863" y="127"/>
                  </a:lnTo>
                  <a:close/>
                  <a:moveTo>
                    <a:pt x="1637" y="127"/>
                  </a:moveTo>
                  <a:lnTo>
                    <a:pt x="1637" y="126"/>
                  </a:lnTo>
                  <a:lnTo>
                    <a:pt x="1637" y="124"/>
                  </a:lnTo>
                  <a:lnTo>
                    <a:pt x="1638" y="126"/>
                  </a:lnTo>
                  <a:lnTo>
                    <a:pt x="1637" y="126"/>
                  </a:lnTo>
                  <a:lnTo>
                    <a:pt x="1637" y="127"/>
                  </a:lnTo>
                  <a:close/>
                  <a:moveTo>
                    <a:pt x="1783" y="126"/>
                  </a:moveTo>
                  <a:lnTo>
                    <a:pt x="1783" y="124"/>
                  </a:lnTo>
                  <a:lnTo>
                    <a:pt x="1783" y="126"/>
                  </a:lnTo>
                  <a:close/>
                  <a:moveTo>
                    <a:pt x="1542" y="126"/>
                  </a:moveTo>
                  <a:lnTo>
                    <a:pt x="1544" y="126"/>
                  </a:lnTo>
                  <a:lnTo>
                    <a:pt x="1545" y="126"/>
                  </a:lnTo>
                  <a:lnTo>
                    <a:pt x="1545" y="124"/>
                  </a:lnTo>
                  <a:lnTo>
                    <a:pt x="1547" y="124"/>
                  </a:lnTo>
                  <a:lnTo>
                    <a:pt x="1547" y="126"/>
                  </a:lnTo>
                  <a:lnTo>
                    <a:pt x="1549" y="126"/>
                  </a:lnTo>
                  <a:lnTo>
                    <a:pt x="1547" y="126"/>
                  </a:lnTo>
                  <a:lnTo>
                    <a:pt x="1549" y="126"/>
                  </a:lnTo>
                  <a:lnTo>
                    <a:pt x="1550" y="126"/>
                  </a:lnTo>
                  <a:lnTo>
                    <a:pt x="1550" y="124"/>
                  </a:lnTo>
                  <a:lnTo>
                    <a:pt x="1552" y="124"/>
                  </a:lnTo>
                  <a:lnTo>
                    <a:pt x="1550" y="126"/>
                  </a:lnTo>
                  <a:lnTo>
                    <a:pt x="1550" y="127"/>
                  </a:lnTo>
                  <a:lnTo>
                    <a:pt x="1552" y="127"/>
                  </a:lnTo>
                  <a:lnTo>
                    <a:pt x="1552" y="129"/>
                  </a:lnTo>
                  <a:lnTo>
                    <a:pt x="1552" y="127"/>
                  </a:lnTo>
                  <a:lnTo>
                    <a:pt x="1554" y="129"/>
                  </a:lnTo>
                  <a:lnTo>
                    <a:pt x="1554" y="130"/>
                  </a:lnTo>
                  <a:lnTo>
                    <a:pt x="1554" y="132"/>
                  </a:lnTo>
                  <a:lnTo>
                    <a:pt x="1554" y="134"/>
                  </a:lnTo>
                  <a:lnTo>
                    <a:pt x="1552" y="134"/>
                  </a:lnTo>
                  <a:lnTo>
                    <a:pt x="1552" y="135"/>
                  </a:lnTo>
                  <a:lnTo>
                    <a:pt x="1552" y="134"/>
                  </a:lnTo>
                  <a:lnTo>
                    <a:pt x="1554" y="134"/>
                  </a:lnTo>
                  <a:lnTo>
                    <a:pt x="1554" y="135"/>
                  </a:lnTo>
                  <a:lnTo>
                    <a:pt x="1552" y="135"/>
                  </a:lnTo>
                  <a:lnTo>
                    <a:pt x="1552" y="137"/>
                  </a:lnTo>
                  <a:lnTo>
                    <a:pt x="1554" y="137"/>
                  </a:lnTo>
                  <a:lnTo>
                    <a:pt x="1552" y="137"/>
                  </a:lnTo>
                  <a:lnTo>
                    <a:pt x="1552" y="139"/>
                  </a:lnTo>
                  <a:lnTo>
                    <a:pt x="1554" y="139"/>
                  </a:lnTo>
                  <a:lnTo>
                    <a:pt x="1554" y="140"/>
                  </a:lnTo>
                  <a:lnTo>
                    <a:pt x="1555" y="139"/>
                  </a:lnTo>
                  <a:lnTo>
                    <a:pt x="1557" y="140"/>
                  </a:lnTo>
                  <a:lnTo>
                    <a:pt x="1559" y="142"/>
                  </a:lnTo>
                  <a:lnTo>
                    <a:pt x="1559" y="143"/>
                  </a:lnTo>
                  <a:lnTo>
                    <a:pt x="1559" y="145"/>
                  </a:lnTo>
                  <a:lnTo>
                    <a:pt x="1560" y="145"/>
                  </a:lnTo>
                  <a:lnTo>
                    <a:pt x="1560" y="147"/>
                  </a:lnTo>
                  <a:lnTo>
                    <a:pt x="1560" y="148"/>
                  </a:lnTo>
                  <a:lnTo>
                    <a:pt x="1560" y="150"/>
                  </a:lnTo>
                  <a:lnTo>
                    <a:pt x="1559" y="152"/>
                  </a:lnTo>
                  <a:lnTo>
                    <a:pt x="1559" y="153"/>
                  </a:lnTo>
                  <a:lnTo>
                    <a:pt x="1557" y="153"/>
                  </a:lnTo>
                  <a:lnTo>
                    <a:pt x="1557" y="155"/>
                  </a:lnTo>
                  <a:lnTo>
                    <a:pt x="1557" y="156"/>
                  </a:lnTo>
                  <a:lnTo>
                    <a:pt x="1555" y="158"/>
                  </a:lnTo>
                  <a:lnTo>
                    <a:pt x="1554" y="158"/>
                  </a:lnTo>
                  <a:lnTo>
                    <a:pt x="1552" y="158"/>
                  </a:lnTo>
                  <a:lnTo>
                    <a:pt x="1552" y="156"/>
                  </a:lnTo>
                  <a:lnTo>
                    <a:pt x="1552" y="158"/>
                  </a:lnTo>
                  <a:lnTo>
                    <a:pt x="1554" y="158"/>
                  </a:lnTo>
                  <a:lnTo>
                    <a:pt x="1555" y="160"/>
                  </a:lnTo>
                  <a:lnTo>
                    <a:pt x="1554" y="160"/>
                  </a:lnTo>
                  <a:lnTo>
                    <a:pt x="1554" y="161"/>
                  </a:lnTo>
                  <a:lnTo>
                    <a:pt x="1552" y="161"/>
                  </a:lnTo>
                  <a:lnTo>
                    <a:pt x="1552" y="163"/>
                  </a:lnTo>
                  <a:lnTo>
                    <a:pt x="1554" y="163"/>
                  </a:lnTo>
                  <a:lnTo>
                    <a:pt x="1552" y="163"/>
                  </a:lnTo>
                  <a:lnTo>
                    <a:pt x="1552" y="165"/>
                  </a:lnTo>
                  <a:lnTo>
                    <a:pt x="1550" y="165"/>
                  </a:lnTo>
                  <a:lnTo>
                    <a:pt x="1550" y="166"/>
                  </a:lnTo>
                  <a:lnTo>
                    <a:pt x="1549" y="165"/>
                  </a:lnTo>
                  <a:lnTo>
                    <a:pt x="1549" y="166"/>
                  </a:lnTo>
                  <a:lnTo>
                    <a:pt x="1547" y="166"/>
                  </a:lnTo>
                  <a:lnTo>
                    <a:pt x="1549" y="166"/>
                  </a:lnTo>
                  <a:lnTo>
                    <a:pt x="1547" y="166"/>
                  </a:lnTo>
                  <a:lnTo>
                    <a:pt x="1549" y="166"/>
                  </a:lnTo>
                  <a:lnTo>
                    <a:pt x="1549" y="168"/>
                  </a:lnTo>
                  <a:lnTo>
                    <a:pt x="1550" y="168"/>
                  </a:lnTo>
                  <a:lnTo>
                    <a:pt x="1550" y="169"/>
                  </a:lnTo>
                  <a:lnTo>
                    <a:pt x="1550" y="171"/>
                  </a:lnTo>
                  <a:lnTo>
                    <a:pt x="1549" y="171"/>
                  </a:lnTo>
                  <a:lnTo>
                    <a:pt x="1549" y="173"/>
                  </a:lnTo>
                  <a:lnTo>
                    <a:pt x="1547" y="173"/>
                  </a:lnTo>
                  <a:lnTo>
                    <a:pt x="1547" y="174"/>
                  </a:lnTo>
                  <a:lnTo>
                    <a:pt x="1545" y="176"/>
                  </a:lnTo>
                  <a:lnTo>
                    <a:pt x="1544" y="176"/>
                  </a:lnTo>
                  <a:lnTo>
                    <a:pt x="1542" y="176"/>
                  </a:lnTo>
                  <a:lnTo>
                    <a:pt x="1542" y="178"/>
                  </a:lnTo>
                  <a:lnTo>
                    <a:pt x="1541" y="176"/>
                  </a:lnTo>
                  <a:lnTo>
                    <a:pt x="1539" y="176"/>
                  </a:lnTo>
                  <a:lnTo>
                    <a:pt x="1539" y="174"/>
                  </a:lnTo>
                  <a:lnTo>
                    <a:pt x="1537" y="174"/>
                  </a:lnTo>
                  <a:lnTo>
                    <a:pt x="1537" y="173"/>
                  </a:lnTo>
                  <a:lnTo>
                    <a:pt x="1536" y="173"/>
                  </a:lnTo>
                  <a:lnTo>
                    <a:pt x="1537" y="173"/>
                  </a:lnTo>
                  <a:lnTo>
                    <a:pt x="1536" y="171"/>
                  </a:lnTo>
                  <a:lnTo>
                    <a:pt x="1536" y="169"/>
                  </a:lnTo>
                  <a:lnTo>
                    <a:pt x="1536" y="168"/>
                  </a:lnTo>
                  <a:lnTo>
                    <a:pt x="1537" y="166"/>
                  </a:lnTo>
                  <a:lnTo>
                    <a:pt x="1537" y="165"/>
                  </a:lnTo>
                  <a:lnTo>
                    <a:pt x="1537" y="163"/>
                  </a:lnTo>
                  <a:lnTo>
                    <a:pt x="1537" y="161"/>
                  </a:lnTo>
                  <a:lnTo>
                    <a:pt x="1537" y="160"/>
                  </a:lnTo>
                  <a:lnTo>
                    <a:pt x="1537" y="158"/>
                  </a:lnTo>
                  <a:lnTo>
                    <a:pt x="1536" y="158"/>
                  </a:lnTo>
                  <a:lnTo>
                    <a:pt x="1537" y="160"/>
                  </a:lnTo>
                  <a:lnTo>
                    <a:pt x="1536" y="160"/>
                  </a:lnTo>
                  <a:lnTo>
                    <a:pt x="1536" y="161"/>
                  </a:lnTo>
                  <a:lnTo>
                    <a:pt x="1536" y="163"/>
                  </a:lnTo>
                  <a:lnTo>
                    <a:pt x="1536" y="165"/>
                  </a:lnTo>
                  <a:lnTo>
                    <a:pt x="1536" y="166"/>
                  </a:lnTo>
                  <a:lnTo>
                    <a:pt x="1534" y="168"/>
                  </a:lnTo>
                  <a:lnTo>
                    <a:pt x="1534" y="169"/>
                  </a:lnTo>
                  <a:lnTo>
                    <a:pt x="1532" y="169"/>
                  </a:lnTo>
                  <a:lnTo>
                    <a:pt x="1532" y="168"/>
                  </a:lnTo>
                  <a:lnTo>
                    <a:pt x="1531" y="166"/>
                  </a:lnTo>
                  <a:lnTo>
                    <a:pt x="1531" y="168"/>
                  </a:lnTo>
                  <a:lnTo>
                    <a:pt x="1531" y="169"/>
                  </a:lnTo>
                  <a:lnTo>
                    <a:pt x="1529" y="168"/>
                  </a:lnTo>
                  <a:lnTo>
                    <a:pt x="1528" y="166"/>
                  </a:lnTo>
                  <a:lnTo>
                    <a:pt x="1526" y="166"/>
                  </a:lnTo>
                  <a:lnTo>
                    <a:pt x="1526" y="165"/>
                  </a:lnTo>
                  <a:lnTo>
                    <a:pt x="1528" y="165"/>
                  </a:lnTo>
                  <a:lnTo>
                    <a:pt x="1526" y="165"/>
                  </a:lnTo>
                  <a:lnTo>
                    <a:pt x="1528" y="165"/>
                  </a:lnTo>
                  <a:lnTo>
                    <a:pt x="1526" y="163"/>
                  </a:lnTo>
                  <a:lnTo>
                    <a:pt x="1524" y="163"/>
                  </a:lnTo>
                  <a:lnTo>
                    <a:pt x="1523" y="161"/>
                  </a:lnTo>
                  <a:lnTo>
                    <a:pt x="1523" y="160"/>
                  </a:lnTo>
                  <a:lnTo>
                    <a:pt x="1524" y="161"/>
                  </a:lnTo>
                  <a:lnTo>
                    <a:pt x="1526" y="161"/>
                  </a:lnTo>
                  <a:lnTo>
                    <a:pt x="1528" y="161"/>
                  </a:lnTo>
                  <a:lnTo>
                    <a:pt x="1529" y="160"/>
                  </a:lnTo>
                  <a:lnTo>
                    <a:pt x="1528" y="160"/>
                  </a:lnTo>
                  <a:lnTo>
                    <a:pt x="1526" y="160"/>
                  </a:lnTo>
                  <a:lnTo>
                    <a:pt x="1524" y="158"/>
                  </a:lnTo>
                  <a:lnTo>
                    <a:pt x="1524" y="156"/>
                  </a:lnTo>
                  <a:lnTo>
                    <a:pt x="1523" y="155"/>
                  </a:lnTo>
                  <a:lnTo>
                    <a:pt x="1524" y="155"/>
                  </a:lnTo>
                  <a:lnTo>
                    <a:pt x="1524" y="153"/>
                  </a:lnTo>
                  <a:lnTo>
                    <a:pt x="1526" y="152"/>
                  </a:lnTo>
                  <a:lnTo>
                    <a:pt x="1526" y="153"/>
                  </a:lnTo>
                  <a:lnTo>
                    <a:pt x="1526" y="152"/>
                  </a:lnTo>
                  <a:lnTo>
                    <a:pt x="1526" y="150"/>
                  </a:lnTo>
                  <a:lnTo>
                    <a:pt x="1528" y="150"/>
                  </a:lnTo>
                  <a:lnTo>
                    <a:pt x="1529" y="150"/>
                  </a:lnTo>
                  <a:lnTo>
                    <a:pt x="1528" y="150"/>
                  </a:lnTo>
                  <a:lnTo>
                    <a:pt x="1528" y="148"/>
                  </a:lnTo>
                  <a:lnTo>
                    <a:pt x="1528" y="147"/>
                  </a:lnTo>
                  <a:lnTo>
                    <a:pt x="1529" y="147"/>
                  </a:lnTo>
                  <a:lnTo>
                    <a:pt x="1529" y="145"/>
                  </a:lnTo>
                  <a:lnTo>
                    <a:pt x="1531" y="145"/>
                  </a:lnTo>
                  <a:lnTo>
                    <a:pt x="1531" y="143"/>
                  </a:lnTo>
                  <a:lnTo>
                    <a:pt x="1532" y="143"/>
                  </a:lnTo>
                  <a:lnTo>
                    <a:pt x="1534" y="145"/>
                  </a:lnTo>
                  <a:lnTo>
                    <a:pt x="1536" y="145"/>
                  </a:lnTo>
                  <a:lnTo>
                    <a:pt x="1536" y="147"/>
                  </a:lnTo>
                  <a:lnTo>
                    <a:pt x="1534" y="147"/>
                  </a:lnTo>
                  <a:lnTo>
                    <a:pt x="1534" y="148"/>
                  </a:lnTo>
                  <a:lnTo>
                    <a:pt x="1536" y="147"/>
                  </a:lnTo>
                  <a:lnTo>
                    <a:pt x="1536" y="148"/>
                  </a:lnTo>
                  <a:lnTo>
                    <a:pt x="1536" y="147"/>
                  </a:lnTo>
                  <a:lnTo>
                    <a:pt x="1536" y="145"/>
                  </a:lnTo>
                  <a:lnTo>
                    <a:pt x="1536" y="143"/>
                  </a:lnTo>
                  <a:lnTo>
                    <a:pt x="1537" y="142"/>
                  </a:lnTo>
                  <a:lnTo>
                    <a:pt x="1539" y="142"/>
                  </a:lnTo>
                  <a:lnTo>
                    <a:pt x="1537" y="142"/>
                  </a:lnTo>
                  <a:lnTo>
                    <a:pt x="1536" y="142"/>
                  </a:lnTo>
                  <a:lnTo>
                    <a:pt x="1534" y="142"/>
                  </a:lnTo>
                  <a:lnTo>
                    <a:pt x="1534" y="140"/>
                  </a:lnTo>
                  <a:lnTo>
                    <a:pt x="1532" y="140"/>
                  </a:lnTo>
                  <a:lnTo>
                    <a:pt x="1532" y="139"/>
                  </a:lnTo>
                  <a:lnTo>
                    <a:pt x="1534" y="139"/>
                  </a:lnTo>
                  <a:lnTo>
                    <a:pt x="1536" y="139"/>
                  </a:lnTo>
                  <a:lnTo>
                    <a:pt x="1537" y="139"/>
                  </a:lnTo>
                  <a:lnTo>
                    <a:pt x="1537" y="140"/>
                  </a:lnTo>
                  <a:lnTo>
                    <a:pt x="1539" y="142"/>
                  </a:lnTo>
                  <a:lnTo>
                    <a:pt x="1541" y="143"/>
                  </a:lnTo>
                  <a:lnTo>
                    <a:pt x="1541" y="147"/>
                  </a:lnTo>
                  <a:lnTo>
                    <a:pt x="1541" y="148"/>
                  </a:lnTo>
                  <a:lnTo>
                    <a:pt x="1541" y="145"/>
                  </a:lnTo>
                  <a:lnTo>
                    <a:pt x="1541" y="143"/>
                  </a:lnTo>
                  <a:lnTo>
                    <a:pt x="1541" y="142"/>
                  </a:lnTo>
                  <a:lnTo>
                    <a:pt x="1542" y="140"/>
                  </a:lnTo>
                  <a:lnTo>
                    <a:pt x="1541" y="142"/>
                  </a:lnTo>
                  <a:lnTo>
                    <a:pt x="1541" y="140"/>
                  </a:lnTo>
                  <a:lnTo>
                    <a:pt x="1539" y="139"/>
                  </a:lnTo>
                  <a:lnTo>
                    <a:pt x="1539" y="137"/>
                  </a:lnTo>
                  <a:lnTo>
                    <a:pt x="1541" y="137"/>
                  </a:lnTo>
                  <a:lnTo>
                    <a:pt x="1542" y="137"/>
                  </a:lnTo>
                  <a:lnTo>
                    <a:pt x="1542" y="139"/>
                  </a:lnTo>
                  <a:lnTo>
                    <a:pt x="1544" y="139"/>
                  </a:lnTo>
                  <a:lnTo>
                    <a:pt x="1544" y="137"/>
                  </a:lnTo>
                  <a:lnTo>
                    <a:pt x="1545" y="137"/>
                  </a:lnTo>
                  <a:lnTo>
                    <a:pt x="1545" y="139"/>
                  </a:lnTo>
                  <a:lnTo>
                    <a:pt x="1547" y="139"/>
                  </a:lnTo>
                  <a:lnTo>
                    <a:pt x="1545" y="139"/>
                  </a:lnTo>
                  <a:lnTo>
                    <a:pt x="1545" y="137"/>
                  </a:lnTo>
                  <a:lnTo>
                    <a:pt x="1544" y="137"/>
                  </a:lnTo>
                  <a:lnTo>
                    <a:pt x="1544" y="135"/>
                  </a:lnTo>
                  <a:lnTo>
                    <a:pt x="1545" y="134"/>
                  </a:lnTo>
                  <a:lnTo>
                    <a:pt x="1547" y="134"/>
                  </a:lnTo>
                  <a:lnTo>
                    <a:pt x="1549" y="134"/>
                  </a:lnTo>
                  <a:lnTo>
                    <a:pt x="1549" y="135"/>
                  </a:lnTo>
                  <a:lnTo>
                    <a:pt x="1550" y="135"/>
                  </a:lnTo>
                  <a:lnTo>
                    <a:pt x="1550" y="137"/>
                  </a:lnTo>
                  <a:lnTo>
                    <a:pt x="1552" y="137"/>
                  </a:lnTo>
                  <a:lnTo>
                    <a:pt x="1552" y="135"/>
                  </a:lnTo>
                  <a:lnTo>
                    <a:pt x="1550" y="135"/>
                  </a:lnTo>
                  <a:lnTo>
                    <a:pt x="1549" y="134"/>
                  </a:lnTo>
                  <a:lnTo>
                    <a:pt x="1547" y="134"/>
                  </a:lnTo>
                  <a:lnTo>
                    <a:pt x="1549" y="132"/>
                  </a:lnTo>
                  <a:lnTo>
                    <a:pt x="1549" y="130"/>
                  </a:lnTo>
                  <a:lnTo>
                    <a:pt x="1545" y="132"/>
                  </a:lnTo>
                  <a:lnTo>
                    <a:pt x="1545" y="130"/>
                  </a:lnTo>
                  <a:lnTo>
                    <a:pt x="1545" y="129"/>
                  </a:lnTo>
                  <a:lnTo>
                    <a:pt x="1547" y="129"/>
                  </a:lnTo>
                  <a:lnTo>
                    <a:pt x="1545" y="127"/>
                  </a:lnTo>
                  <a:lnTo>
                    <a:pt x="1547" y="127"/>
                  </a:lnTo>
                  <a:lnTo>
                    <a:pt x="1545" y="127"/>
                  </a:lnTo>
                  <a:lnTo>
                    <a:pt x="1544" y="129"/>
                  </a:lnTo>
                  <a:lnTo>
                    <a:pt x="1542" y="129"/>
                  </a:lnTo>
                  <a:lnTo>
                    <a:pt x="1544" y="127"/>
                  </a:lnTo>
                  <a:lnTo>
                    <a:pt x="1542" y="127"/>
                  </a:lnTo>
                  <a:lnTo>
                    <a:pt x="1541" y="127"/>
                  </a:lnTo>
                  <a:lnTo>
                    <a:pt x="1542" y="126"/>
                  </a:lnTo>
                  <a:close/>
                  <a:moveTo>
                    <a:pt x="1783" y="124"/>
                  </a:moveTo>
                  <a:lnTo>
                    <a:pt x="1781" y="124"/>
                  </a:lnTo>
                  <a:lnTo>
                    <a:pt x="1783" y="124"/>
                  </a:lnTo>
                  <a:close/>
                  <a:moveTo>
                    <a:pt x="1521" y="122"/>
                  </a:moveTo>
                  <a:lnTo>
                    <a:pt x="1521" y="124"/>
                  </a:lnTo>
                  <a:lnTo>
                    <a:pt x="1521" y="122"/>
                  </a:lnTo>
                  <a:close/>
                  <a:moveTo>
                    <a:pt x="1537" y="124"/>
                  </a:moveTo>
                  <a:lnTo>
                    <a:pt x="1537" y="122"/>
                  </a:lnTo>
                  <a:lnTo>
                    <a:pt x="1539" y="122"/>
                  </a:lnTo>
                  <a:lnTo>
                    <a:pt x="1537" y="124"/>
                  </a:lnTo>
                  <a:close/>
                  <a:moveTo>
                    <a:pt x="1638" y="124"/>
                  </a:moveTo>
                  <a:lnTo>
                    <a:pt x="1640" y="124"/>
                  </a:lnTo>
                  <a:lnTo>
                    <a:pt x="1638" y="124"/>
                  </a:lnTo>
                  <a:lnTo>
                    <a:pt x="1638" y="122"/>
                  </a:lnTo>
                  <a:lnTo>
                    <a:pt x="1640" y="122"/>
                  </a:lnTo>
                  <a:lnTo>
                    <a:pt x="1638" y="124"/>
                  </a:lnTo>
                  <a:close/>
                  <a:moveTo>
                    <a:pt x="1555" y="122"/>
                  </a:moveTo>
                  <a:lnTo>
                    <a:pt x="1554" y="122"/>
                  </a:lnTo>
                  <a:lnTo>
                    <a:pt x="1555" y="122"/>
                  </a:lnTo>
                  <a:close/>
                  <a:moveTo>
                    <a:pt x="1545" y="121"/>
                  </a:moveTo>
                  <a:lnTo>
                    <a:pt x="1544" y="121"/>
                  </a:lnTo>
                  <a:lnTo>
                    <a:pt x="1542" y="121"/>
                  </a:lnTo>
                  <a:lnTo>
                    <a:pt x="1544" y="121"/>
                  </a:lnTo>
                  <a:lnTo>
                    <a:pt x="1544" y="119"/>
                  </a:lnTo>
                  <a:lnTo>
                    <a:pt x="1545" y="119"/>
                  </a:lnTo>
                  <a:lnTo>
                    <a:pt x="1545" y="121"/>
                  </a:lnTo>
                  <a:close/>
                  <a:moveTo>
                    <a:pt x="1506" y="117"/>
                  </a:moveTo>
                  <a:lnTo>
                    <a:pt x="1508" y="119"/>
                  </a:lnTo>
                  <a:lnTo>
                    <a:pt x="1506" y="119"/>
                  </a:lnTo>
                  <a:lnTo>
                    <a:pt x="1506" y="117"/>
                  </a:lnTo>
                  <a:close/>
                  <a:moveTo>
                    <a:pt x="1887" y="117"/>
                  </a:moveTo>
                  <a:lnTo>
                    <a:pt x="1889" y="117"/>
                  </a:lnTo>
                  <a:lnTo>
                    <a:pt x="1887" y="117"/>
                  </a:lnTo>
                  <a:close/>
                  <a:moveTo>
                    <a:pt x="1700" y="116"/>
                  </a:moveTo>
                  <a:lnTo>
                    <a:pt x="1702" y="116"/>
                  </a:lnTo>
                  <a:lnTo>
                    <a:pt x="1702" y="117"/>
                  </a:lnTo>
                  <a:lnTo>
                    <a:pt x="1700" y="117"/>
                  </a:lnTo>
                  <a:lnTo>
                    <a:pt x="1700" y="119"/>
                  </a:lnTo>
                  <a:lnTo>
                    <a:pt x="1702" y="119"/>
                  </a:lnTo>
                  <a:lnTo>
                    <a:pt x="1700" y="119"/>
                  </a:lnTo>
                  <a:lnTo>
                    <a:pt x="1702" y="119"/>
                  </a:lnTo>
                  <a:lnTo>
                    <a:pt x="1702" y="121"/>
                  </a:lnTo>
                  <a:lnTo>
                    <a:pt x="1700" y="121"/>
                  </a:lnTo>
                  <a:lnTo>
                    <a:pt x="1698" y="121"/>
                  </a:lnTo>
                  <a:lnTo>
                    <a:pt x="1698" y="119"/>
                  </a:lnTo>
                  <a:lnTo>
                    <a:pt x="1700" y="119"/>
                  </a:lnTo>
                  <a:lnTo>
                    <a:pt x="1698" y="119"/>
                  </a:lnTo>
                  <a:lnTo>
                    <a:pt x="1700" y="117"/>
                  </a:lnTo>
                  <a:lnTo>
                    <a:pt x="1700" y="116"/>
                  </a:lnTo>
                  <a:close/>
                  <a:moveTo>
                    <a:pt x="1780" y="116"/>
                  </a:moveTo>
                  <a:lnTo>
                    <a:pt x="1780" y="114"/>
                  </a:lnTo>
                  <a:lnTo>
                    <a:pt x="1780" y="116"/>
                  </a:lnTo>
                  <a:close/>
                  <a:moveTo>
                    <a:pt x="1703" y="116"/>
                  </a:moveTo>
                  <a:lnTo>
                    <a:pt x="1703" y="114"/>
                  </a:lnTo>
                  <a:lnTo>
                    <a:pt x="1703" y="116"/>
                  </a:lnTo>
                  <a:close/>
                  <a:moveTo>
                    <a:pt x="1703" y="114"/>
                  </a:moveTo>
                  <a:lnTo>
                    <a:pt x="1702" y="114"/>
                  </a:lnTo>
                  <a:lnTo>
                    <a:pt x="1703" y="114"/>
                  </a:lnTo>
                  <a:close/>
                  <a:moveTo>
                    <a:pt x="1780" y="114"/>
                  </a:moveTo>
                  <a:lnTo>
                    <a:pt x="1781" y="114"/>
                  </a:lnTo>
                  <a:lnTo>
                    <a:pt x="1780" y="114"/>
                  </a:lnTo>
                  <a:close/>
                  <a:moveTo>
                    <a:pt x="1550" y="114"/>
                  </a:moveTo>
                  <a:lnTo>
                    <a:pt x="1550" y="116"/>
                  </a:lnTo>
                  <a:lnTo>
                    <a:pt x="1550" y="114"/>
                  </a:lnTo>
                  <a:lnTo>
                    <a:pt x="1552" y="114"/>
                  </a:lnTo>
                  <a:lnTo>
                    <a:pt x="1550" y="114"/>
                  </a:lnTo>
                  <a:close/>
                  <a:moveTo>
                    <a:pt x="1780" y="114"/>
                  </a:moveTo>
                  <a:lnTo>
                    <a:pt x="1780" y="113"/>
                  </a:lnTo>
                  <a:lnTo>
                    <a:pt x="1780" y="114"/>
                  </a:lnTo>
                  <a:lnTo>
                    <a:pt x="1781" y="114"/>
                  </a:lnTo>
                  <a:lnTo>
                    <a:pt x="1780" y="114"/>
                  </a:lnTo>
                  <a:close/>
                  <a:moveTo>
                    <a:pt x="1780" y="113"/>
                  </a:moveTo>
                  <a:lnTo>
                    <a:pt x="1780" y="111"/>
                  </a:lnTo>
                  <a:lnTo>
                    <a:pt x="1780" y="113"/>
                  </a:lnTo>
                  <a:close/>
                  <a:moveTo>
                    <a:pt x="1518" y="113"/>
                  </a:moveTo>
                  <a:lnTo>
                    <a:pt x="1518" y="111"/>
                  </a:lnTo>
                  <a:lnTo>
                    <a:pt x="1518" y="109"/>
                  </a:lnTo>
                  <a:lnTo>
                    <a:pt x="1518" y="111"/>
                  </a:lnTo>
                  <a:lnTo>
                    <a:pt x="1519" y="113"/>
                  </a:lnTo>
                  <a:lnTo>
                    <a:pt x="1518" y="113"/>
                  </a:lnTo>
                  <a:close/>
                  <a:moveTo>
                    <a:pt x="1562" y="108"/>
                  </a:moveTo>
                  <a:lnTo>
                    <a:pt x="1560" y="106"/>
                  </a:lnTo>
                  <a:lnTo>
                    <a:pt x="1562" y="106"/>
                  </a:lnTo>
                  <a:lnTo>
                    <a:pt x="1562" y="108"/>
                  </a:lnTo>
                  <a:close/>
                  <a:moveTo>
                    <a:pt x="1560" y="106"/>
                  </a:moveTo>
                  <a:lnTo>
                    <a:pt x="1562" y="106"/>
                  </a:lnTo>
                  <a:lnTo>
                    <a:pt x="1560" y="108"/>
                  </a:lnTo>
                  <a:lnTo>
                    <a:pt x="1560" y="106"/>
                  </a:lnTo>
                  <a:close/>
                  <a:moveTo>
                    <a:pt x="1705" y="106"/>
                  </a:moveTo>
                  <a:lnTo>
                    <a:pt x="1707" y="106"/>
                  </a:lnTo>
                  <a:lnTo>
                    <a:pt x="1707" y="108"/>
                  </a:lnTo>
                  <a:lnTo>
                    <a:pt x="1705" y="108"/>
                  </a:lnTo>
                  <a:lnTo>
                    <a:pt x="1705" y="106"/>
                  </a:lnTo>
                  <a:close/>
                  <a:moveTo>
                    <a:pt x="1596" y="104"/>
                  </a:moveTo>
                  <a:lnTo>
                    <a:pt x="1598" y="106"/>
                  </a:lnTo>
                  <a:lnTo>
                    <a:pt x="1596" y="106"/>
                  </a:lnTo>
                  <a:lnTo>
                    <a:pt x="1596" y="104"/>
                  </a:lnTo>
                  <a:close/>
                  <a:moveTo>
                    <a:pt x="1562" y="108"/>
                  </a:moveTo>
                  <a:lnTo>
                    <a:pt x="1559" y="111"/>
                  </a:lnTo>
                  <a:lnTo>
                    <a:pt x="1560" y="111"/>
                  </a:lnTo>
                  <a:lnTo>
                    <a:pt x="1559" y="111"/>
                  </a:lnTo>
                  <a:lnTo>
                    <a:pt x="1560" y="111"/>
                  </a:lnTo>
                  <a:lnTo>
                    <a:pt x="1560" y="113"/>
                  </a:lnTo>
                  <a:lnTo>
                    <a:pt x="1560" y="111"/>
                  </a:lnTo>
                  <a:lnTo>
                    <a:pt x="1562" y="111"/>
                  </a:lnTo>
                  <a:lnTo>
                    <a:pt x="1562" y="109"/>
                  </a:lnTo>
                  <a:lnTo>
                    <a:pt x="1563" y="108"/>
                  </a:lnTo>
                  <a:lnTo>
                    <a:pt x="1565" y="109"/>
                  </a:lnTo>
                  <a:lnTo>
                    <a:pt x="1565" y="108"/>
                  </a:lnTo>
                  <a:lnTo>
                    <a:pt x="1567" y="108"/>
                  </a:lnTo>
                  <a:lnTo>
                    <a:pt x="1567" y="109"/>
                  </a:lnTo>
                  <a:lnTo>
                    <a:pt x="1568" y="109"/>
                  </a:lnTo>
                  <a:lnTo>
                    <a:pt x="1570" y="111"/>
                  </a:lnTo>
                  <a:lnTo>
                    <a:pt x="1570" y="109"/>
                  </a:lnTo>
                  <a:lnTo>
                    <a:pt x="1572" y="111"/>
                  </a:lnTo>
                  <a:lnTo>
                    <a:pt x="1573" y="111"/>
                  </a:lnTo>
                  <a:lnTo>
                    <a:pt x="1575" y="114"/>
                  </a:lnTo>
                  <a:lnTo>
                    <a:pt x="1573" y="116"/>
                  </a:lnTo>
                  <a:lnTo>
                    <a:pt x="1575" y="116"/>
                  </a:lnTo>
                  <a:lnTo>
                    <a:pt x="1576" y="116"/>
                  </a:lnTo>
                  <a:lnTo>
                    <a:pt x="1576" y="117"/>
                  </a:lnTo>
                  <a:lnTo>
                    <a:pt x="1578" y="117"/>
                  </a:lnTo>
                  <a:lnTo>
                    <a:pt x="1578" y="119"/>
                  </a:lnTo>
                  <a:lnTo>
                    <a:pt x="1576" y="119"/>
                  </a:lnTo>
                  <a:lnTo>
                    <a:pt x="1578" y="119"/>
                  </a:lnTo>
                  <a:lnTo>
                    <a:pt x="1578" y="121"/>
                  </a:lnTo>
                  <a:lnTo>
                    <a:pt x="1578" y="124"/>
                  </a:lnTo>
                  <a:lnTo>
                    <a:pt x="1576" y="126"/>
                  </a:lnTo>
                  <a:lnTo>
                    <a:pt x="1576" y="127"/>
                  </a:lnTo>
                  <a:lnTo>
                    <a:pt x="1575" y="127"/>
                  </a:lnTo>
                  <a:lnTo>
                    <a:pt x="1575" y="129"/>
                  </a:lnTo>
                  <a:lnTo>
                    <a:pt x="1575" y="130"/>
                  </a:lnTo>
                  <a:lnTo>
                    <a:pt x="1575" y="132"/>
                  </a:lnTo>
                  <a:lnTo>
                    <a:pt x="1575" y="134"/>
                  </a:lnTo>
                  <a:lnTo>
                    <a:pt x="1573" y="135"/>
                  </a:lnTo>
                  <a:lnTo>
                    <a:pt x="1572" y="135"/>
                  </a:lnTo>
                  <a:lnTo>
                    <a:pt x="1572" y="137"/>
                  </a:lnTo>
                  <a:lnTo>
                    <a:pt x="1570" y="137"/>
                  </a:lnTo>
                  <a:lnTo>
                    <a:pt x="1568" y="137"/>
                  </a:lnTo>
                  <a:lnTo>
                    <a:pt x="1567" y="137"/>
                  </a:lnTo>
                  <a:lnTo>
                    <a:pt x="1565" y="139"/>
                  </a:lnTo>
                  <a:lnTo>
                    <a:pt x="1565" y="137"/>
                  </a:lnTo>
                  <a:lnTo>
                    <a:pt x="1563" y="137"/>
                  </a:lnTo>
                  <a:lnTo>
                    <a:pt x="1562" y="137"/>
                  </a:lnTo>
                  <a:lnTo>
                    <a:pt x="1562" y="135"/>
                  </a:lnTo>
                  <a:lnTo>
                    <a:pt x="1562" y="134"/>
                  </a:lnTo>
                  <a:lnTo>
                    <a:pt x="1560" y="134"/>
                  </a:lnTo>
                  <a:lnTo>
                    <a:pt x="1560" y="132"/>
                  </a:lnTo>
                  <a:lnTo>
                    <a:pt x="1559" y="132"/>
                  </a:lnTo>
                  <a:lnTo>
                    <a:pt x="1559" y="130"/>
                  </a:lnTo>
                  <a:lnTo>
                    <a:pt x="1557" y="127"/>
                  </a:lnTo>
                  <a:lnTo>
                    <a:pt x="1557" y="126"/>
                  </a:lnTo>
                  <a:lnTo>
                    <a:pt x="1555" y="127"/>
                  </a:lnTo>
                  <a:lnTo>
                    <a:pt x="1555" y="126"/>
                  </a:lnTo>
                  <a:lnTo>
                    <a:pt x="1555" y="127"/>
                  </a:lnTo>
                  <a:lnTo>
                    <a:pt x="1555" y="126"/>
                  </a:lnTo>
                  <a:lnTo>
                    <a:pt x="1555" y="127"/>
                  </a:lnTo>
                  <a:lnTo>
                    <a:pt x="1554" y="127"/>
                  </a:lnTo>
                  <a:lnTo>
                    <a:pt x="1554" y="126"/>
                  </a:lnTo>
                  <a:lnTo>
                    <a:pt x="1555" y="126"/>
                  </a:lnTo>
                  <a:lnTo>
                    <a:pt x="1555" y="124"/>
                  </a:lnTo>
                  <a:lnTo>
                    <a:pt x="1555" y="122"/>
                  </a:lnTo>
                  <a:lnTo>
                    <a:pt x="1555" y="121"/>
                  </a:lnTo>
                  <a:lnTo>
                    <a:pt x="1554" y="121"/>
                  </a:lnTo>
                  <a:lnTo>
                    <a:pt x="1554" y="119"/>
                  </a:lnTo>
                  <a:lnTo>
                    <a:pt x="1555" y="119"/>
                  </a:lnTo>
                  <a:lnTo>
                    <a:pt x="1555" y="117"/>
                  </a:lnTo>
                  <a:lnTo>
                    <a:pt x="1555" y="116"/>
                  </a:lnTo>
                  <a:lnTo>
                    <a:pt x="1554" y="117"/>
                  </a:lnTo>
                  <a:lnTo>
                    <a:pt x="1554" y="116"/>
                  </a:lnTo>
                  <a:lnTo>
                    <a:pt x="1552" y="116"/>
                  </a:lnTo>
                  <a:lnTo>
                    <a:pt x="1552" y="114"/>
                  </a:lnTo>
                  <a:lnTo>
                    <a:pt x="1552" y="113"/>
                  </a:lnTo>
                  <a:lnTo>
                    <a:pt x="1552" y="111"/>
                  </a:lnTo>
                  <a:lnTo>
                    <a:pt x="1552" y="109"/>
                  </a:lnTo>
                  <a:lnTo>
                    <a:pt x="1552" y="108"/>
                  </a:lnTo>
                  <a:lnTo>
                    <a:pt x="1552" y="106"/>
                  </a:lnTo>
                  <a:lnTo>
                    <a:pt x="1554" y="106"/>
                  </a:lnTo>
                  <a:lnTo>
                    <a:pt x="1555" y="104"/>
                  </a:lnTo>
                  <a:lnTo>
                    <a:pt x="1555" y="106"/>
                  </a:lnTo>
                  <a:lnTo>
                    <a:pt x="1555" y="104"/>
                  </a:lnTo>
                  <a:lnTo>
                    <a:pt x="1557" y="104"/>
                  </a:lnTo>
                  <a:lnTo>
                    <a:pt x="1559" y="104"/>
                  </a:lnTo>
                  <a:lnTo>
                    <a:pt x="1559" y="106"/>
                  </a:lnTo>
                  <a:lnTo>
                    <a:pt x="1560" y="106"/>
                  </a:lnTo>
                  <a:lnTo>
                    <a:pt x="1560" y="108"/>
                  </a:lnTo>
                  <a:lnTo>
                    <a:pt x="1559" y="108"/>
                  </a:lnTo>
                  <a:lnTo>
                    <a:pt x="1560" y="108"/>
                  </a:lnTo>
                  <a:lnTo>
                    <a:pt x="1562" y="108"/>
                  </a:lnTo>
                  <a:close/>
                  <a:moveTo>
                    <a:pt x="1778" y="104"/>
                  </a:moveTo>
                  <a:lnTo>
                    <a:pt x="1778" y="103"/>
                  </a:lnTo>
                  <a:lnTo>
                    <a:pt x="1778" y="104"/>
                  </a:lnTo>
                  <a:close/>
                  <a:moveTo>
                    <a:pt x="1711" y="104"/>
                  </a:moveTo>
                  <a:lnTo>
                    <a:pt x="1710" y="104"/>
                  </a:lnTo>
                  <a:lnTo>
                    <a:pt x="1710" y="103"/>
                  </a:lnTo>
                  <a:lnTo>
                    <a:pt x="1711" y="103"/>
                  </a:lnTo>
                  <a:lnTo>
                    <a:pt x="1711" y="104"/>
                  </a:lnTo>
                  <a:close/>
                  <a:moveTo>
                    <a:pt x="1890" y="100"/>
                  </a:moveTo>
                  <a:lnTo>
                    <a:pt x="1890" y="101"/>
                  </a:lnTo>
                  <a:lnTo>
                    <a:pt x="1890" y="100"/>
                  </a:lnTo>
                  <a:close/>
                  <a:moveTo>
                    <a:pt x="1526" y="98"/>
                  </a:moveTo>
                  <a:lnTo>
                    <a:pt x="1526" y="100"/>
                  </a:lnTo>
                  <a:lnTo>
                    <a:pt x="1526" y="98"/>
                  </a:lnTo>
                  <a:close/>
                  <a:moveTo>
                    <a:pt x="1711" y="96"/>
                  </a:moveTo>
                  <a:lnTo>
                    <a:pt x="1713" y="96"/>
                  </a:lnTo>
                  <a:lnTo>
                    <a:pt x="1713" y="98"/>
                  </a:lnTo>
                  <a:lnTo>
                    <a:pt x="1711" y="98"/>
                  </a:lnTo>
                  <a:lnTo>
                    <a:pt x="1711" y="96"/>
                  </a:lnTo>
                  <a:close/>
                  <a:moveTo>
                    <a:pt x="1519" y="96"/>
                  </a:moveTo>
                  <a:lnTo>
                    <a:pt x="1521" y="96"/>
                  </a:lnTo>
                  <a:lnTo>
                    <a:pt x="1521" y="98"/>
                  </a:lnTo>
                  <a:lnTo>
                    <a:pt x="1521" y="100"/>
                  </a:lnTo>
                  <a:lnTo>
                    <a:pt x="1519" y="100"/>
                  </a:lnTo>
                  <a:lnTo>
                    <a:pt x="1518" y="100"/>
                  </a:lnTo>
                  <a:lnTo>
                    <a:pt x="1518" y="98"/>
                  </a:lnTo>
                  <a:lnTo>
                    <a:pt x="1516" y="98"/>
                  </a:lnTo>
                  <a:lnTo>
                    <a:pt x="1518" y="98"/>
                  </a:lnTo>
                  <a:lnTo>
                    <a:pt x="1519" y="98"/>
                  </a:lnTo>
                  <a:lnTo>
                    <a:pt x="1521" y="98"/>
                  </a:lnTo>
                  <a:lnTo>
                    <a:pt x="1519" y="96"/>
                  </a:lnTo>
                  <a:close/>
                  <a:moveTo>
                    <a:pt x="1513" y="96"/>
                  </a:moveTo>
                  <a:lnTo>
                    <a:pt x="1511" y="96"/>
                  </a:lnTo>
                  <a:lnTo>
                    <a:pt x="1513" y="95"/>
                  </a:lnTo>
                  <a:lnTo>
                    <a:pt x="1513" y="96"/>
                  </a:lnTo>
                  <a:close/>
                  <a:moveTo>
                    <a:pt x="1780" y="96"/>
                  </a:moveTo>
                  <a:lnTo>
                    <a:pt x="1780" y="95"/>
                  </a:lnTo>
                  <a:lnTo>
                    <a:pt x="1780" y="96"/>
                  </a:lnTo>
                  <a:close/>
                  <a:moveTo>
                    <a:pt x="1575" y="95"/>
                  </a:moveTo>
                  <a:lnTo>
                    <a:pt x="1573" y="95"/>
                  </a:lnTo>
                  <a:lnTo>
                    <a:pt x="1575" y="95"/>
                  </a:lnTo>
                  <a:close/>
                  <a:moveTo>
                    <a:pt x="1781" y="93"/>
                  </a:moveTo>
                  <a:lnTo>
                    <a:pt x="1781" y="95"/>
                  </a:lnTo>
                  <a:lnTo>
                    <a:pt x="1781" y="93"/>
                  </a:lnTo>
                  <a:close/>
                  <a:moveTo>
                    <a:pt x="1711" y="93"/>
                  </a:moveTo>
                  <a:lnTo>
                    <a:pt x="1711" y="95"/>
                  </a:lnTo>
                  <a:lnTo>
                    <a:pt x="1710" y="93"/>
                  </a:lnTo>
                  <a:lnTo>
                    <a:pt x="1711" y="93"/>
                  </a:lnTo>
                  <a:close/>
                  <a:moveTo>
                    <a:pt x="1781" y="95"/>
                  </a:moveTo>
                  <a:lnTo>
                    <a:pt x="1781" y="96"/>
                  </a:lnTo>
                  <a:lnTo>
                    <a:pt x="1781" y="95"/>
                  </a:lnTo>
                  <a:lnTo>
                    <a:pt x="1781" y="96"/>
                  </a:lnTo>
                  <a:lnTo>
                    <a:pt x="1781" y="98"/>
                  </a:lnTo>
                  <a:lnTo>
                    <a:pt x="1781" y="96"/>
                  </a:lnTo>
                  <a:lnTo>
                    <a:pt x="1780" y="96"/>
                  </a:lnTo>
                  <a:lnTo>
                    <a:pt x="1780" y="95"/>
                  </a:lnTo>
                  <a:lnTo>
                    <a:pt x="1781" y="93"/>
                  </a:lnTo>
                  <a:lnTo>
                    <a:pt x="1781" y="95"/>
                  </a:lnTo>
                  <a:close/>
                  <a:moveTo>
                    <a:pt x="1780" y="93"/>
                  </a:moveTo>
                  <a:lnTo>
                    <a:pt x="1780" y="91"/>
                  </a:lnTo>
                  <a:lnTo>
                    <a:pt x="1780" y="93"/>
                  </a:lnTo>
                  <a:close/>
                  <a:moveTo>
                    <a:pt x="1708" y="93"/>
                  </a:moveTo>
                  <a:lnTo>
                    <a:pt x="1708" y="91"/>
                  </a:lnTo>
                  <a:lnTo>
                    <a:pt x="1708" y="93"/>
                  </a:lnTo>
                  <a:close/>
                  <a:moveTo>
                    <a:pt x="1487" y="155"/>
                  </a:moveTo>
                  <a:lnTo>
                    <a:pt x="1487" y="153"/>
                  </a:lnTo>
                  <a:lnTo>
                    <a:pt x="1485" y="153"/>
                  </a:lnTo>
                  <a:lnTo>
                    <a:pt x="1485" y="152"/>
                  </a:lnTo>
                  <a:lnTo>
                    <a:pt x="1487" y="152"/>
                  </a:lnTo>
                  <a:lnTo>
                    <a:pt x="1485" y="150"/>
                  </a:lnTo>
                  <a:lnTo>
                    <a:pt x="1487" y="150"/>
                  </a:lnTo>
                  <a:lnTo>
                    <a:pt x="1487" y="148"/>
                  </a:lnTo>
                  <a:lnTo>
                    <a:pt x="1489" y="148"/>
                  </a:lnTo>
                  <a:lnTo>
                    <a:pt x="1489" y="147"/>
                  </a:lnTo>
                  <a:lnTo>
                    <a:pt x="1490" y="147"/>
                  </a:lnTo>
                  <a:lnTo>
                    <a:pt x="1492" y="145"/>
                  </a:lnTo>
                  <a:lnTo>
                    <a:pt x="1490" y="145"/>
                  </a:lnTo>
                  <a:lnTo>
                    <a:pt x="1492" y="143"/>
                  </a:lnTo>
                  <a:lnTo>
                    <a:pt x="1490" y="143"/>
                  </a:lnTo>
                  <a:lnTo>
                    <a:pt x="1489" y="143"/>
                  </a:lnTo>
                  <a:lnTo>
                    <a:pt x="1489" y="145"/>
                  </a:lnTo>
                  <a:lnTo>
                    <a:pt x="1489" y="143"/>
                  </a:lnTo>
                  <a:lnTo>
                    <a:pt x="1489" y="142"/>
                  </a:lnTo>
                  <a:lnTo>
                    <a:pt x="1490" y="142"/>
                  </a:lnTo>
                  <a:lnTo>
                    <a:pt x="1490" y="140"/>
                  </a:lnTo>
                  <a:lnTo>
                    <a:pt x="1492" y="140"/>
                  </a:lnTo>
                  <a:lnTo>
                    <a:pt x="1492" y="139"/>
                  </a:lnTo>
                  <a:lnTo>
                    <a:pt x="1490" y="139"/>
                  </a:lnTo>
                  <a:lnTo>
                    <a:pt x="1489" y="139"/>
                  </a:lnTo>
                  <a:lnTo>
                    <a:pt x="1487" y="139"/>
                  </a:lnTo>
                  <a:lnTo>
                    <a:pt x="1485" y="139"/>
                  </a:lnTo>
                  <a:lnTo>
                    <a:pt x="1485" y="140"/>
                  </a:lnTo>
                  <a:lnTo>
                    <a:pt x="1484" y="140"/>
                  </a:lnTo>
                  <a:lnTo>
                    <a:pt x="1484" y="143"/>
                  </a:lnTo>
                  <a:lnTo>
                    <a:pt x="1482" y="143"/>
                  </a:lnTo>
                  <a:lnTo>
                    <a:pt x="1482" y="142"/>
                  </a:lnTo>
                  <a:lnTo>
                    <a:pt x="1480" y="142"/>
                  </a:lnTo>
                  <a:lnTo>
                    <a:pt x="1480" y="143"/>
                  </a:lnTo>
                  <a:lnTo>
                    <a:pt x="1479" y="143"/>
                  </a:lnTo>
                  <a:lnTo>
                    <a:pt x="1477" y="143"/>
                  </a:lnTo>
                  <a:lnTo>
                    <a:pt x="1477" y="142"/>
                  </a:lnTo>
                  <a:lnTo>
                    <a:pt x="1477" y="140"/>
                  </a:lnTo>
                  <a:lnTo>
                    <a:pt x="1477" y="139"/>
                  </a:lnTo>
                  <a:lnTo>
                    <a:pt x="1479" y="139"/>
                  </a:lnTo>
                  <a:lnTo>
                    <a:pt x="1479" y="137"/>
                  </a:lnTo>
                  <a:lnTo>
                    <a:pt x="1477" y="137"/>
                  </a:lnTo>
                  <a:lnTo>
                    <a:pt x="1476" y="137"/>
                  </a:lnTo>
                  <a:lnTo>
                    <a:pt x="1476" y="139"/>
                  </a:lnTo>
                  <a:lnTo>
                    <a:pt x="1476" y="137"/>
                  </a:lnTo>
                  <a:lnTo>
                    <a:pt x="1476" y="139"/>
                  </a:lnTo>
                  <a:lnTo>
                    <a:pt x="1476" y="137"/>
                  </a:lnTo>
                  <a:lnTo>
                    <a:pt x="1474" y="137"/>
                  </a:lnTo>
                  <a:lnTo>
                    <a:pt x="1474" y="135"/>
                  </a:lnTo>
                  <a:lnTo>
                    <a:pt x="1472" y="135"/>
                  </a:lnTo>
                  <a:lnTo>
                    <a:pt x="1474" y="135"/>
                  </a:lnTo>
                  <a:lnTo>
                    <a:pt x="1474" y="134"/>
                  </a:lnTo>
                  <a:lnTo>
                    <a:pt x="1474" y="132"/>
                  </a:lnTo>
                  <a:lnTo>
                    <a:pt x="1476" y="132"/>
                  </a:lnTo>
                  <a:lnTo>
                    <a:pt x="1476" y="134"/>
                  </a:lnTo>
                  <a:lnTo>
                    <a:pt x="1477" y="134"/>
                  </a:lnTo>
                  <a:lnTo>
                    <a:pt x="1479" y="134"/>
                  </a:lnTo>
                  <a:lnTo>
                    <a:pt x="1480" y="134"/>
                  </a:lnTo>
                  <a:lnTo>
                    <a:pt x="1482" y="134"/>
                  </a:lnTo>
                  <a:lnTo>
                    <a:pt x="1482" y="135"/>
                  </a:lnTo>
                  <a:lnTo>
                    <a:pt x="1484" y="135"/>
                  </a:lnTo>
                  <a:lnTo>
                    <a:pt x="1485" y="134"/>
                  </a:lnTo>
                  <a:lnTo>
                    <a:pt x="1487" y="134"/>
                  </a:lnTo>
                  <a:lnTo>
                    <a:pt x="1487" y="132"/>
                  </a:lnTo>
                  <a:lnTo>
                    <a:pt x="1487" y="130"/>
                  </a:lnTo>
                  <a:lnTo>
                    <a:pt x="1485" y="130"/>
                  </a:lnTo>
                  <a:lnTo>
                    <a:pt x="1485" y="129"/>
                  </a:lnTo>
                  <a:lnTo>
                    <a:pt x="1487" y="129"/>
                  </a:lnTo>
                  <a:lnTo>
                    <a:pt x="1487" y="130"/>
                  </a:lnTo>
                  <a:lnTo>
                    <a:pt x="1489" y="130"/>
                  </a:lnTo>
                  <a:lnTo>
                    <a:pt x="1490" y="130"/>
                  </a:lnTo>
                  <a:lnTo>
                    <a:pt x="1490" y="132"/>
                  </a:lnTo>
                  <a:lnTo>
                    <a:pt x="1492" y="132"/>
                  </a:lnTo>
                  <a:lnTo>
                    <a:pt x="1493" y="134"/>
                  </a:lnTo>
                  <a:lnTo>
                    <a:pt x="1495" y="134"/>
                  </a:lnTo>
                  <a:lnTo>
                    <a:pt x="1497" y="134"/>
                  </a:lnTo>
                  <a:lnTo>
                    <a:pt x="1495" y="134"/>
                  </a:lnTo>
                  <a:lnTo>
                    <a:pt x="1495" y="132"/>
                  </a:lnTo>
                  <a:lnTo>
                    <a:pt x="1493" y="130"/>
                  </a:lnTo>
                  <a:lnTo>
                    <a:pt x="1493" y="129"/>
                  </a:lnTo>
                  <a:lnTo>
                    <a:pt x="1493" y="127"/>
                  </a:lnTo>
                  <a:lnTo>
                    <a:pt x="1492" y="127"/>
                  </a:lnTo>
                  <a:lnTo>
                    <a:pt x="1492" y="126"/>
                  </a:lnTo>
                  <a:lnTo>
                    <a:pt x="1492" y="124"/>
                  </a:lnTo>
                  <a:lnTo>
                    <a:pt x="1492" y="122"/>
                  </a:lnTo>
                  <a:lnTo>
                    <a:pt x="1492" y="121"/>
                  </a:lnTo>
                  <a:lnTo>
                    <a:pt x="1493" y="121"/>
                  </a:lnTo>
                  <a:lnTo>
                    <a:pt x="1493" y="122"/>
                  </a:lnTo>
                  <a:lnTo>
                    <a:pt x="1493" y="124"/>
                  </a:lnTo>
                  <a:lnTo>
                    <a:pt x="1495" y="124"/>
                  </a:lnTo>
                  <a:lnTo>
                    <a:pt x="1497" y="126"/>
                  </a:lnTo>
                  <a:lnTo>
                    <a:pt x="1495" y="126"/>
                  </a:lnTo>
                  <a:lnTo>
                    <a:pt x="1497" y="126"/>
                  </a:lnTo>
                  <a:lnTo>
                    <a:pt x="1497" y="127"/>
                  </a:lnTo>
                  <a:lnTo>
                    <a:pt x="1498" y="127"/>
                  </a:lnTo>
                  <a:lnTo>
                    <a:pt x="1498" y="126"/>
                  </a:lnTo>
                  <a:lnTo>
                    <a:pt x="1498" y="124"/>
                  </a:lnTo>
                  <a:lnTo>
                    <a:pt x="1497" y="124"/>
                  </a:lnTo>
                  <a:lnTo>
                    <a:pt x="1498" y="124"/>
                  </a:lnTo>
                  <a:lnTo>
                    <a:pt x="1498" y="122"/>
                  </a:lnTo>
                  <a:lnTo>
                    <a:pt x="1498" y="121"/>
                  </a:lnTo>
                  <a:lnTo>
                    <a:pt x="1500" y="121"/>
                  </a:lnTo>
                  <a:lnTo>
                    <a:pt x="1502" y="121"/>
                  </a:lnTo>
                  <a:lnTo>
                    <a:pt x="1502" y="122"/>
                  </a:lnTo>
                  <a:lnTo>
                    <a:pt x="1503" y="122"/>
                  </a:lnTo>
                  <a:lnTo>
                    <a:pt x="1503" y="121"/>
                  </a:lnTo>
                  <a:lnTo>
                    <a:pt x="1503" y="122"/>
                  </a:lnTo>
                  <a:lnTo>
                    <a:pt x="1503" y="124"/>
                  </a:lnTo>
                  <a:lnTo>
                    <a:pt x="1505" y="124"/>
                  </a:lnTo>
                  <a:lnTo>
                    <a:pt x="1505" y="122"/>
                  </a:lnTo>
                  <a:lnTo>
                    <a:pt x="1505" y="124"/>
                  </a:lnTo>
                  <a:lnTo>
                    <a:pt x="1506" y="124"/>
                  </a:lnTo>
                  <a:lnTo>
                    <a:pt x="1506" y="126"/>
                  </a:lnTo>
                  <a:lnTo>
                    <a:pt x="1505" y="126"/>
                  </a:lnTo>
                  <a:lnTo>
                    <a:pt x="1503" y="126"/>
                  </a:lnTo>
                  <a:lnTo>
                    <a:pt x="1505" y="126"/>
                  </a:lnTo>
                  <a:lnTo>
                    <a:pt x="1505" y="127"/>
                  </a:lnTo>
                  <a:lnTo>
                    <a:pt x="1503" y="127"/>
                  </a:lnTo>
                  <a:lnTo>
                    <a:pt x="1502" y="129"/>
                  </a:lnTo>
                  <a:lnTo>
                    <a:pt x="1503" y="129"/>
                  </a:lnTo>
                  <a:lnTo>
                    <a:pt x="1503" y="130"/>
                  </a:lnTo>
                  <a:lnTo>
                    <a:pt x="1503" y="132"/>
                  </a:lnTo>
                  <a:lnTo>
                    <a:pt x="1505" y="130"/>
                  </a:lnTo>
                  <a:lnTo>
                    <a:pt x="1506" y="130"/>
                  </a:lnTo>
                  <a:lnTo>
                    <a:pt x="1506" y="129"/>
                  </a:lnTo>
                  <a:lnTo>
                    <a:pt x="1505" y="129"/>
                  </a:lnTo>
                  <a:lnTo>
                    <a:pt x="1505" y="130"/>
                  </a:lnTo>
                  <a:lnTo>
                    <a:pt x="1505" y="129"/>
                  </a:lnTo>
                  <a:lnTo>
                    <a:pt x="1506" y="129"/>
                  </a:lnTo>
                  <a:lnTo>
                    <a:pt x="1508" y="127"/>
                  </a:lnTo>
                  <a:lnTo>
                    <a:pt x="1508" y="129"/>
                  </a:lnTo>
                  <a:lnTo>
                    <a:pt x="1510" y="129"/>
                  </a:lnTo>
                  <a:lnTo>
                    <a:pt x="1510" y="130"/>
                  </a:lnTo>
                  <a:lnTo>
                    <a:pt x="1510" y="132"/>
                  </a:lnTo>
                  <a:lnTo>
                    <a:pt x="1511" y="132"/>
                  </a:lnTo>
                  <a:lnTo>
                    <a:pt x="1511" y="130"/>
                  </a:lnTo>
                  <a:lnTo>
                    <a:pt x="1511" y="132"/>
                  </a:lnTo>
                  <a:lnTo>
                    <a:pt x="1510" y="130"/>
                  </a:lnTo>
                  <a:lnTo>
                    <a:pt x="1511" y="129"/>
                  </a:lnTo>
                  <a:lnTo>
                    <a:pt x="1511" y="127"/>
                  </a:lnTo>
                  <a:lnTo>
                    <a:pt x="1513" y="127"/>
                  </a:lnTo>
                  <a:lnTo>
                    <a:pt x="1513" y="129"/>
                  </a:lnTo>
                  <a:lnTo>
                    <a:pt x="1515" y="127"/>
                  </a:lnTo>
                  <a:lnTo>
                    <a:pt x="1516" y="127"/>
                  </a:lnTo>
                  <a:lnTo>
                    <a:pt x="1516" y="126"/>
                  </a:lnTo>
                  <a:lnTo>
                    <a:pt x="1515" y="127"/>
                  </a:lnTo>
                  <a:lnTo>
                    <a:pt x="1515" y="126"/>
                  </a:lnTo>
                  <a:lnTo>
                    <a:pt x="1513" y="126"/>
                  </a:lnTo>
                  <a:lnTo>
                    <a:pt x="1513" y="124"/>
                  </a:lnTo>
                  <a:lnTo>
                    <a:pt x="1511" y="124"/>
                  </a:lnTo>
                  <a:lnTo>
                    <a:pt x="1510" y="122"/>
                  </a:lnTo>
                  <a:lnTo>
                    <a:pt x="1511" y="122"/>
                  </a:lnTo>
                  <a:lnTo>
                    <a:pt x="1511" y="121"/>
                  </a:lnTo>
                  <a:lnTo>
                    <a:pt x="1510" y="121"/>
                  </a:lnTo>
                  <a:lnTo>
                    <a:pt x="1510" y="119"/>
                  </a:lnTo>
                  <a:lnTo>
                    <a:pt x="1508" y="119"/>
                  </a:lnTo>
                  <a:lnTo>
                    <a:pt x="1508" y="117"/>
                  </a:lnTo>
                  <a:lnTo>
                    <a:pt x="1510" y="117"/>
                  </a:lnTo>
                  <a:lnTo>
                    <a:pt x="1508" y="119"/>
                  </a:lnTo>
                  <a:lnTo>
                    <a:pt x="1508" y="117"/>
                  </a:lnTo>
                  <a:lnTo>
                    <a:pt x="1506" y="119"/>
                  </a:lnTo>
                  <a:lnTo>
                    <a:pt x="1506" y="117"/>
                  </a:lnTo>
                  <a:lnTo>
                    <a:pt x="1506" y="116"/>
                  </a:lnTo>
                  <a:lnTo>
                    <a:pt x="1505" y="116"/>
                  </a:lnTo>
                  <a:lnTo>
                    <a:pt x="1506" y="114"/>
                  </a:lnTo>
                  <a:lnTo>
                    <a:pt x="1506" y="113"/>
                  </a:lnTo>
                  <a:lnTo>
                    <a:pt x="1508" y="113"/>
                  </a:lnTo>
                  <a:lnTo>
                    <a:pt x="1508" y="111"/>
                  </a:lnTo>
                  <a:lnTo>
                    <a:pt x="1510" y="111"/>
                  </a:lnTo>
                  <a:lnTo>
                    <a:pt x="1511" y="111"/>
                  </a:lnTo>
                  <a:lnTo>
                    <a:pt x="1511" y="113"/>
                  </a:lnTo>
                  <a:lnTo>
                    <a:pt x="1511" y="114"/>
                  </a:lnTo>
                  <a:lnTo>
                    <a:pt x="1511" y="116"/>
                  </a:lnTo>
                  <a:lnTo>
                    <a:pt x="1513" y="114"/>
                  </a:lnTo>
                  <a:lnTo>
                    <a:pt x="1511" y="114"/>
                  </a:lnTo>
                  <a:lnTo>
                    <a:pt x="1513" y="113"/>
                  </a:lnTo>
                  <a:lnTo>
                    <a:pt x="1513" y="114"/>
                  </a:lnTo>
                  <a:lnTo>
                    <a:pt x="1515" y="114"/>
                  </a:lnTo>
                  <a:lnTo>
                    <a:pt x="1515" y="116"/>
                  </a:lnTo>
                  <a:lnTo>
                    <a:pt x="1515" y="117"/>
                  </a:lnTo>
                  <a:lnTo>
                    <a:pt x="1515" y="116"/>
                  </a:lnTo>
                  <a:lnTo>
                    <a:pt x="1515" y="117"/>
                  </a:lnTo>
                  <a:lnTo>
                    <a:pt x="1516" y="117"/>
                  </a:lnTo>
                  <a:lnTo>
                    <a:pt x="1516" y="116"/>
                  </a:lnTo>
                  <a:lnTo>
                    <a:pt x="1518" y="116"/>
                  </a:lnTo>
                  <a:lnTo>
                    <a:pt x="1519" y="116"/>
                  </a:lnTo>
                  <a:lnTo>
                    <a:pt x="1518" y="116"/>
                  </a:lnTo>
                  <a:lnTo>
                    <a:pt x="1519" y="116"/>
                  </a:lnTo>
                  <a:lnTo>
                    <a:pt x="1518" y="117"/>
                  </a:lnTo>
                  <a:lnTo>
                    <a:pt x="1519" y="117"/>
                  </a:lnTo>
                  <a:lnTo>
                    <a:pt x="1518" y="117"/>
                  </a:lnTo>
                  <a:lnTo>
                    <a:pt x="1519" y="117"/>
                  </a:lnTo>
                  <a:lnTo>
                    <a:pt x="1518" y="119"/>
                  </a:lnTo>
                  <a:lnTo>
                    <a:pt x="1516" y="121"/>
                  </a:lnTo>
                  <a:lnTo>
                    <a:pt x="1518" y="121"/>
                  </a:lnTo>
                  <a:lnTo>
                    <a:pt x="1519" y="121"/>
                  </a:lnTo>
                  <a:lnTo>
                    <a:pt x="1519" y="122"/>
                  </a:lnTo>
                  <a:lnTo>
                    <a:pt x="1521" y="122"/>
                  </a:lnTo>
                  <a:lnTo>
                    <a:pt x="1521" y="124"/>
                  </a:lnTo>
                  <a:lnTo>
                    <a:pt x="1523" y="124"/>
                  </a:lnTo>
                  <a:lnTo>
                    <a:pt x="1523" y="122"/>
                  </a:lnTo>
                  <a:lnTo>
                    <a:pt x="1523" y="124"/>
                  </a:lnTo>
                  <a:lnTo>
                    <a:pt x="1524" y="124"/>
                  </a:lnTo>
                  <a:lnTo>
                    <a:pt x="1523" y="122"/>
                  </a:lnTo>
                  <a:lnTo>
                    <a:pt x="1523" y="121"/>
                  </a:lnTo>
                  <a:lnTo>
                    <a:pt x="1521" y="121"/>
                  </a:lnTo>
                  <a:lnTo>
                    <a:pt x="1523" y="121"/>
                  </a:lnTo>
                  <a:lnTo>
                    <a:pt x="1523" y="119"/>
                  </a:lnTo>
                  <a:lnTo>
                    <a:pt x="1524" y="119"/>
                  </a:lnTo>
                  <a:lnTo>
                    <a:pt x="1523" y="119"/>
                  </a:lnTo>
                  <a:lnTo>
                    <a:pt x="1524" y="117"/>
                  </a:lnTo>
                  <a:lnTo>
                    <a:pt x="1523" y="116"/>
                  </a:lnTo>
                  <a:lnTo>
                    <a:pt x="1523" y="114"/>
                  </a:lnTo>
                  <a:lnTo>
                    <a:pt x="1524" y="114"/>
                  </a:lnTo>
                  <a:lnTo>
                    <a:pt x="1526" y="114"/>
                  </a:lnTo>
                  <a:lnTo>
                    <a:pt x="1526" y="116"/>
                  </a:lnTo>
                  <a:lnTo>
                    <a:pt x="1526" y="114"/>
                  </a:lnTo>
                  <a:lnTo>
                    <a:pt x="1526" y="113"/>
                  </a:lnTo>
                  <a:lnTo>
                    <a:pt x="1526" y="111"/>
                  </a:lnTo>
                  <a:lnTo>
                    <a:pt x="1528" y="113"/>
                  </a:lnTo>
                  <a:lnTo>
                    <a:pt x="1529" y="113"/>
                  </a:lnTo>
                  <a:lnTo>
                    <a:pt x="1529" y="111"/>
                  </a:lnTo>
                  <a:lnTo>
                    <a:pt x="1528" y="111"/>
                  </a:lnTo>
                  <a:lnTo>
                    <a:pt x="1526" y="111"/>
                  </a:lnTo>
                  <a:lnTo>
                    <a:pt x="1526" y="109"/>
                  </a:lnTo>
                  <a:lnTo>
                    <a:pt x="1526" y="108"/>
                  </a:lnTo>
                  <a:lnTo>
                    <a:pt x="1524" y="109"/>
                  </a:lnTo>
                  <a:lnTo>
                    <a:pt x="1524" y="108"/>
                  </a:lnTo>
                  <a:lnTo>
                    <a:pt x="1523" y="108"/>
                  </a:lnTo>
                  <a:lnTo>
                    <a:pt x="1521" y="106"/>
                  </a:lnTo>
                  <a:lnTo>
                    <a:pt x="1519" y="106"/>
                  </a:lnTo>
                  <a:lnTo>
                    <a:pt x="1521" y="106"/>
                  </a:lnTo>
                  <a:lnTo>
                    <a:pt x="1521" y="104"/>
                  </a:lnTo>
                  <a:lnTo>
                    <a:pt x="1521" y="103"/>
                  </a:lnTo>
                  <a:lnTo>
                    <a:pt x="1523" y="104"/>
                  </a:lnTo>
                  <a:lnTo>
                    <a:pt x="1524" y="104"/>
                  </a:lnTo>
                  <a:lnTo>
                    <a:pt x="1523" y="104"/>
                  </a:lnTo>
                  <a:lnTo>
                    <a:pt x="1523" y="103"/>
                  </a:lnTo>
                  <a:lnTo>
                    <a:pt x="1521" y="103"/>
                  </a:lnTo>
                  <a:lnTo>
                    <a:pt x="1521" y="101"/>
                  </a:lnTo>
                  <a:lnTo>
                    <a:pt x="1523" y="101"/>
                  </a:lnTo>
                  <a:lnTo>
                    <a:pt x="1524" y="103"/>
                  </a:lnTo>
                  <a:lnTo>
                    <a:pt x="1526" y="103"/>
                  </a:lnTo>
                  <a:lnTo>
                    <a:pt x="1526" y="104"/>
                  </a:lnTo>
                  <a:lnTo>
                    <a:pt x="1528" y="104"/>
                  </a:lnTo>
                  <a:lnTo>
                    <a:pt x="1529" y="104"/>
                  </a:lnTo>
                  <a:lnTo>
                    <a:pt x="1528" y="104"/>
                  </a:lnTo>
                  <a:lnTo>
                    <a:pt x="1529" y="104"/>
                  </a:lnTo>
                  <a:lnTo>
                    <a:pt x="1529" y="103"/>
                  </a:lnTo>
                  <a:lnTo>
                    <a:pt x="1528" y="103"/>
                  </a:lnTo>
                  <a:lnTo>
                    <a:pt x="1528" y="101"/>
                  </a:lnTo>
                  <a:lnTo>
                    <a:pt x="1526" y="101"/>
                  </a:lnTo>
                  <a:lnTo>
                    <a:pt x="1526" y="100"/>
                  </a:lnTo>
                  <a:lnTo>
                    <a:pt x="1528" y="100"/>
                  </a:lnTo>
                  <a:lnTo>
                    <a:pt x="1528" y="101"/>
                  </a:lnTo>
                  <a:lnTo>
                    <a:pt x="1529" y="101"/>
                  </a:lnTo>
                  <a:lnTo>
                    <a:pt x="1529" y="103"/>
                  </a:lnTo>
                  <a:lnTo>
                    <a:pt x="1531" y="103"/>
                  </a:lnTo>
                  <a:lnTo>
                    <a:pt x="1531" y="104"/>
                  </a:lnTo>
                  <a:lnTo>
                    <a:pt x="1532" y="106"/>
                  </a:lnTo>
                  <a:lnTo>
                    <a:pt x="1534" y="106"/>
                  </a:lnTo>
                  <a:lnTo>
                    <a:pt x="1532" y="104"/>
                  </a:lnTo>
                  <a:lnTo>
                    <a:pt x="1532" y="103"/>
                  </a:lnTo>
                  <a:lnTo>
                    <a:pt x="1534" y="103"/>
                  </a:lnTo>
                  <a:lnTo>
                    <a:pt x="1534" y="104"/>
                  </a:lnTo>
                  <a:lnTo>
                    <a:pt x="1534" y="103"/>
                  </a:lnTo>
                  <a:lnTo>
                    <a:pt x="1532" y="103"/>
                  </a:lnTo>
                  <a:lnTo>
                    <a:pt x="1532" y="101"/>
                  </a:lnTo>
                  <a:lnTo>
                    <a:pt x="1532" y="100"/>
                  </a:lnTo>
                  <a:lnTo>
                    <a:pt x="1534" y="100"/>
                  </a:lnTo>
                  <a:lnTo>
                    <a:pt x="1532" y="100"/>
                  </a:lnTo>
                  <a:lnTo>
                    <a:pt x="1532" y="98"/>
                  </a:lnTo>
                  <a:lnTo>
                    <a:pt x="1532" y="96"/>
                  </a:lnTo>
                  <a:lnTo>
                    <a:pt x="1532" y="95"/>
                  </a:lnTo>
                  <a:lnTo>
                    <a:pt x="1532" y="93"/>
                  </a:lnTo>
                  <a:lnTo>
                    <a:pt x="1531" y="91"/>
                  </a:lnTo>
                  <a:lnTo>
                    <a:pt x="1532" y="91"/>
                  </a:lnTo>
                  <a:lnTo>
                    <a:pt x="1532" y="93"/>
                  </a:lnTo>
                  <a:lnTo>
                    <a:pt x="1534" y="95"/>
                  </a:lnTo>
                  <a:lnTo>
                    <a:pt x="1536" y="95"/>
                  </a:lnTo>
                  <a:lnTo>
                    <a:pt x="1536" y="96"/>
                  </a:lnTo>
                  <a:lnTo>
                    <a:pt x="1537" y="96"/>
                  </a:lnTo>
                  <a:lnTo>
                    <a:pt x="1539" y="96"/>
                  </a:lnTo>
                  <a:lnTo>
                    <a:pt x="1539" y="98"/>
                  </a:lnTo>
                  <a:lnTo>
                    <a:pt x="1541" y="98"/>
                  </a:lnTo>
                  <a:lnTo>
                    <a:pt x="1541" y="100"/>
                  </a:lnTo>
                  <a:lnTo>
                    <a:pt x="1539" y="100"/>
                  </a:lnTo>
                  <a:lnTo>
                    <a:pt x="1542" y="100"/>
                  </a:lnTo>
                  <a:lnTo>
                    <a:pt x="1542" y="101"/>
                  </a:lnTo>
                  <a:lnTo>
                    <a:pt x="1544" y="101"/>
                  </a:lnTo>
                  <a:lnTo>
                    <a:pt x="1544" y="103"/>
                  </a:lnTo>
                  <a:lnTo>
                    <a:pt x="1542" y="103"/>
                  </a:lnTo>
                  <a:lnTo>
                    <a:pt x="1541" y="103"/>
                  </a:lnTo>
                  <a:lnTo>
                    <a:pt x="1539" y="103"/>
                  </a:lnTo>
                  <a:lnTo>
                    <a:pt x="1539" y="101"/>
                  </a:lnTo>
                  <a:lnTo>
                    <a:pt x="1539" y="103"/>
                  </a:lnTo>
                  <a:lnTo>
                    <a:pt x="1537" y="103"/>
                  </a:lnTo>
                  <a:lnTo>
                    <a:pt x="1537" y="104"/>
                  </a:lnTo>
                  <a:lnTo>
                    <a:pt x="1539" y="104"/>
                  </a:lnTo>
                  <a:lnTo>
                    <a:pt x="1541" y="104"/>
                  </a:lnTo>
                  <a:lnTo>
                    <a:pt x="1542" y="104"/>
                  </a:lnTo>
                  <a:lnTo>
                    <a:pt x="1542" y="106"/>
                  </a:lnTo>
                  <a:lnTo>
                    <a:pt x="1541" y="106"/>
                  </a:lnTo>
                  <a:lnTo>
                    <a:pt x="1539" y="106"/>
                  </a:lnTo>
                  <a:lnTo>
                    <a:pt x="1539" y="108"/>
                  </a:lnTo>
                  <a:lnTo>
                    <a:pt x="1539" y="109"/>
                  </a:lnTo>
                  <a:lnTo>
                    <a:pt x="1539" y="111"/>
                  </a:lnTo>
                  <a:lnTo>
                    <a:pt x="1537" y="111"/>
                  </a:lnTo>
                  <a:lnTo>
                    <a:pt x="1537" y="109"/>
                  </a:lnTo>
                  <a:lnTo>
                    <a:pt x="1536" y="109"/>
                  </a:lnTo>
                  <a:lnTo>
                    <a:pt x="1536" y="111"/>
                  </a:lnTo>
                  <a:lnTo>
                    <a:pt x="1537" y="113"/>
                  </a:lnTo>
                  <a:lnTo>
                    <a:pt x="1537" y="114"/>
                  </a:lnTo>
                  <a:lnTo>
                    <a:pt x="1536" y="116"/>
                  </a:lnTo>
                  <a:lnTo>
                    <a:pt x="1536" y="114"/>
                  </a:lnTo>
                  <a:lnTo>
                    <a:pt x="1534" y="114"/>
                  </a:lnTo>
                  <a:lnTo>
                    <a:pt x="1536" y="114"/>
                  </a:lnTo>
                  <a:lnTo>
                    <a:pt x="1536" y="116"/>
                  </a:lnTo>
                  <a:lnTo>
                    <a:pt x="1534" y="116"/>
                  </a:lnTo>
                  <a:lnTo>
                    <a:pt x="1534" y="117"/>
                  </a:lnTo>
                  <a:lnTo>
                    <a:pt x="1536" y="117"/>
                  </a:lnTo>
                  <a:lnTo>
                    <a:pt x="1536" y="119"/>
                  </a:lnTo>
                  <a:lnTo>
                    <a:pt x="1534" y="119"/>
                  </a:lnTo>
                  <a:lnTo>
                    <a:pt x="1532" y="119"/>
                  </a:lnTo>
                  <a:lnTo>
                    <a:pt x="1532" y="121"/>
                  </a:lnTo>
                  <a:lnTo>
                    <a:pt x="1531" y="119"/>
                  </a:lnTo>
                  <a:lnTo>
                    <a:pt x="1531" y="117"/>
                  </a:lnTo>
                  <a:lnTo>
                    <a:pt x="1529" y="117"/>
                  </a:lnTo>
                  <a:lnTo>
                    <a:pt x="1529" y="119"/>
                  </a:lnTo>
                  <a:lnTo>
                    <a:pt x="1529" y="121"/>
                  </a:lnTo>
                  <a:lnTo>
                    <a:pt x="1531" y="121"/>
                  </a:lnTo>
                  <a:lnTo>
                    <a:pt x="1531" y="122"/>
                  </a:lnTo>
                  <a:lnTo>
                    <a:pt x="1529" y="122"/>
                  </a:lnTo>
                  <a:lnTo>
                    <a:pt x="1529" y="124"/>
                  </a:lnTo>
                  <a:lnTo>
                    <a:pt x="1531" y="122"/>
                  </a:lnTo>
                  <a:lnTo>
                    <a:pt x="1532" y="122"/>
                  </a:lnTo>
                  <a:lnTo>
                    <a:pt x="1531" y="124"/>
                  </a:lnTo>
                  <a:lnTo>
                    <a:pt x="1531" y="126"/>
                  </a:lnTo>
                  <a:lnTo>
                    <a:pt x="1531" y="127"/>
                  </a:lnTo>
                  <a:lnTo>
                    <a:pt x="1529" y="127"/>
                  </a:lnTo>
                  <a:lnTo>
                    <a:pt x="1528" y="127"/>
                  </a:lnTo>
                  <a:lnTo>
                    <a:pt x="1526" y="129"/>
                  </a:lnTo>
                  <a:lnTo>
                    <a:pt x="1528" y="129"/>
                  </a:lnTo>
                  <a:lnTo>
                    <a:pt x="1529" y="129"/>
                  </a:lnTo>
                  <a:lnTo>
                    <a:pt x="1531" y="129"/>
                  </a:lnTo>
                  <a:lnTo>
                    <a:pt x="1531" y="130"/>
                  </a:lnTo>
                  <a:lnTo>
                    <a:pt x="1529" y="130"/>
                  </a:lnTo>
                  <a:lnTo>
                    <a:pt x="1529" y="132"/>
                  </a:lnTo>
                  <a:lnTo>
                    <a:pt x="1529" y="134"/>
                  </a:lnTo>
                  <a:lnTo>
                    <a:pt x="1529" y="135"/>
                  </a:lnTo>
                  <a:lnTo>
                    <a:pt x="1529" y="137"/>
                  </a:lnTo>
                  <a:lnTo>
                    <a:pt x="1529" y="135"/>
                  </a:lnTo>
                  <a:lnTo>
                    <a:pt x="1528" y="137"/>
                  </a:lnTo>
                  <a:lnTo>
                    <a:pt x="1528" y="135"/>
                  </a:lnTo>
                  <a:lnTo>
                    <a:pt x="1528" y="134"/>
                  </a:lnTo>
                  <a:lnTo>
                    <a:pt x="1526" y="134"/>
                  </a:lnTo>
                  <a:lnTo>
                    <a:pt x="1524" y="132"/>
                  </a:lnTo>
                  <a:lnTo>
                    <a:pt x="1524" y="134"/>
                  </a:lnTo>
                  <a:lnTo>
                    <a:pt x="1526" y="134"/>
                  </a:lnTo>
                  <a:lnTo>
                    <a:pt x="1526" y="135"/>
                  </a:lnTo>
                  <a:lnTo>
                    <a:pt x="1526" y="137"/>
                  </a:lnTo>
                  <a:lnTo>
                    <a:pt x="1528" y="137"/>
                  </a:lnTo>
                  <a:lnTo>
                    <a:pt x="1526" y="139"/>
                  </a:lnTo>
                  <a:lnTo>
                    <a:pt x="1524" y="137"/>
                  </a:lnTo>
                  <a:lnTo>
                    <a:pt x="1523" y="137"/>
                  </a:lnTo>
                  <a:lnTo>
                    <a:pt x="1521" y="137"/>
                  </a:lnTo>
                  <a:lnTo>
                    <a:pt x="1521" y="139"/>
                  </a:lnTo>
                  <a:lnTo>
                    <a:pt x="1523" y="139"/>
                  </a:lnTo>
                  <a:lnTo>
                    <a:pt x="1524" y="140"/>
                  </a:lnTo>
                  <a:lnTo>
                    <a:pt x="1524" y="142"/>
                  </a:lnTo>
                  <a:lnTo>
                    <a:pt x="1524" y="143"/>
                  </a:lnTo>
                  <a:lnTo>
                    <a:pt x="1523" y="143"/>
                  </a:lnTo>
                  <a:lnTo>
                    <a:pt x="1521" y="145"/>
                  </a:lnTo>
                  <a:lnTo>
                    <a:pt x="1519" y="143"/>
                  </a:lnTo>
                  <a:lnTo>
                    <a:pt x="1519" y="145"/>
                  </a:lnTo>
                  <a:lnTo>
                    <a:pt x="1519" y="147"/>
                  </a:lnTo>
                  <a:lnTo>
                    <a:pt x="1519" y="145"/>
                  </a:lnTo>
                  <a:lnTo>
                    <a:pt x="1518" y="147"/>
                  </a:lnTo>
                  <a:lnTo>
                    <a:pt x="1518" y="145"/>
                  </a:lnTo>
                  <a:lnTo>
                    <a:pt x="1518" y="147"/>
                  </a:lnTo>
                  <a:lnTo>
                    <a:pt x="1516" y="147"/>
                  </a:lnTo>
                  <a:lnTo>
                    <a:pt x="1516" y="148"/>
                  </a:lnTo>
                  <a:lnTo>
                    <a:pt x="1515" y="147"/>
                  </a:lnTo>
                  <a:lnTo>
                    <a:pt x="1516" y="145"/>
                  </a:lnTo>
                  <a:lnTo>
                    <a:pt x="1515" y="143"/>
                  </a:lnTo>
                  <a:lnTo>
                    <a:pt x="1516" y="142"/>
                  </a:lnTo>
                  <a:lnTo>
                    <a:pt x="1515" y="142"/>
                  </a:lnTo>
                  <a:lnTo>
                    <a:pt x="1515" y="143"/>
                  </a:lnTo>
                  <a:lnTo>
                    <a:pt x="1515" y="142"/>
                  </a:lnTo>
                  <a:lnTo>
                    <a:pt x="1513" y="142"/>
                  </a:lnTo>
                  <a:lnTo>
                    <a:pt x="1513" y="143"/>
                  </a:lnTo>
                  <a:lnTo>
                    <a:pt x="1515" y="147"/>
                  </a:lnTo>
                  <a:lnTo>
                    <a:pt x="1515" y="148"/>
                  </a:lnTo>
                  <a:lnTo>
                    <a:pt x="1513" y="148"/>
                  </a:lnTo>
                  <a:lnTo>
                    <a:pt x="1513" y="147"/>
                  </a:lnTo>
                  <a:lnTo>
                    <a:pt x="1513" y="145"/>
                  </a:lnTo>
                  <a:lnTo>
                    <a:pt x="1511" y="145"/>
                  </a:lnTo>
                  <a:lnTo>
                    <a:pt x="1511" y="143"/>
                  </a:lnTo>
                  <a:lnTo>
                    <a:pt x="1511" y="145"/>
                  </a:lnTo>
                  <a:lnTo>
                    <a:pt x="1513" y="145"/>
                  </a:lnTo>
                  <a:lnTo>
                    <a:pt x="1511" y="143"/>
                  </a:lnTo>
                  <a:lnTo>
                    <a:pt x="1513" y="142"/>
                  </a:lnTo>
                  <a:lnTo>
                    <a:pt x="1513" y="140"/>
                  </a:lnTo>
                  <a:lnTo>
                    <a:pt x="1513" y="142"/>
                  </a:lnTo>
                  <a:lnTo>
                    <a:pt x="1511" y="142"/>
                  </a:lnTo>
                  <a:lnTo>
                    <a:pt x="1511" y="143"/>
                  </a:lnTo>
                  <a:lnTo>
                    <a:pt x="1510" y="142"/>
                  </a:lnTo>
                  <a:lnTo>
                    <a:pt x="1510" y="143"/>
                  </a:lnTo>
                  <a:lnTo>
                    <a:pt x="1508" y="142"/>
                  </a:lnTo>
                  <a:lnTo>
                    <a:pt x="1508" y="143"/>
                  </a:lnTo>
                  <a:lnTo>
                    <a:pt x="1508" y="145"/>
                  </a:lnTo>
                  <a:lnTo>
                    <a:pt x="1510" y="145"/>
                  </a:lnTo>
                  <a:lnTo>
                    <a:pt x="1510" y="147"/>
                  </a:lnTo>
                  <a:lnTo>
                    <a:pt x="1510" y="148"/>
                  </a:lnTo>
                  <a:lnTo>
                    <a:pt x="1508" y="147"/>
                  </a:lnTo>
                  <a:lnTo>
                    <a:pt x="1508" y="150"/>
                  </a:lnTo>
                  <a:lnTo>
                    <a:pt x="1508" y="152"/>
                  </a:lnTo>
                  <a:lnTo>
                    <a:pt x="1506" y="152"/>
                  </a:lnTo>
                  <a:lnTo>
                    <a:pt x="1506" y="150"/>
                  </a:lnTo>
                  <a:lnTo>
                    <a:pt x="1505" y="150"/>
                  </a:lnTo>
                  <a:lnTo>
                    <a:pt x="1506" y="152"/>
                  </a:lnTo>
                  <a:lnTo>
                    <a:pt x="1505" y="152"/>
                  </a:lnTo>
                  <a:lnTo>
                    <a:pt x="1505" y="150"/>
                  </a:lnTo>
                  <a:lnTo>
                    <a:pt x="1503" y="150"/>
                  </a:lnTo>
                  <a:lnTo>
                    <a:pt x="1503" y="148"/>
                  </a:lnTo>
                  <a:lnTo>
                    <a:pt x="1502" y="148"/>
                  </a:lnTo>
                  <a:lnTo>
                    <a:pt x="1502" y="147"/>
                  </a:lnTo>
                  <a:lnTo>
                    <a:pt x="1502" y="148"/>
                  </a:lnTo>
                  <a:lnTo>
                    <a:pt x="1502" y="150"/>
                  </a:lnTo>
                  <a:lnTo>
                    <a:pt x="1502" y="152"/>
                  </a:lnTo>
                  <a:lnTo>
                    <a:pt x="1503" y="152"/>
                  </a:lnTo>
                  <a:lnTo>
                    <a:pt x="1502" y="152"/>
                  </a:lnTo>
                  <a:lnTo>
                    <a:pt x="1503" y="150"/>
                  </a:lnTo>
                  <a:lnTo>
                    <a:pt x="1503" y="152"/>
                  </a:lnTo>
                  <a:lnTo>
                    <a:pt x="1503" y="153"/>
                  </a:lnTo>
                  <a:lnTo>
                    <a:pt x="1502" y="153"/>
                  </a:lnTo>
                  <a:lnTo>
                    <a:pt x="1500" y="153"/>
                  </a:lnTo>
                  <a:lnTo>
                    <a:pt x="1500" y="152"/>
                  </a:lnTo>
                  <a:lnTo>
                    <a:pt x="1500" y="150"/>
                  </a:lnTo>
                  <a:lnTo>
                    <a:pt x="1500" y="148"/>
                  </a:lnTo>
                  <a:lnTo>
                    <a:pt x="1500" y="150"/>
                  </a:lnTo>
                  <a:lnTo>
                    <a:pt x="1498" y="150"/>
                  </a:lnTo>
                  <a:lnTo>
                    <a:pt x="1498" y="152"/>
                  </a:lnTo>
                  <a:lnTo>
                    <a:pt x="1497" y="152"/>
                  </a:lnTo>
                  <a:lnTo>
                    <a:pt x="1498" y="153"/>
                  </a:lnTo>
                  <a:lnTo>
                    <a:pt x="1497" y="155"/>
                  </a:lnTo>
                  <a:lnTo>
                    <a:pt x="1495" y="155"/>
                  </a:lnTo>
                  <a:lnTo>
                    <a:pt x="1495" y="153"/>
                  </a:lnTo>
                  <a:lnTo>
                    <a:pt x="1493" y="153"/>
                  </a:lnTo>
                  <a:lnTo>
                    <a:pt x="1493" y="152"/>
                  </a:lnTo>
                  <a:lnTo>
                    <a:pt x="1493" y="150"/>
                  </a:lnTo>
                  <a:lnTo>
                    <a:pt x="1493" y="148"/>
                  </a:lnTo>
                  <a:lnTo>
                    <a:pt x="1493" y="147"/>
                  </a:lnTo>
                  <a:lnTo>
                    <a:pt x="1493" y="148"/>
                  </a:lnTo>
                  <a:lnTo>
                    <a:pt x="1492" y="150"/>
                  </a:lnTo>
                  <a:lnTo>
                    <a:pt x="1492" y="152"/>
                  </a:lnTo>
                  <a:lnTo>
                    <a:pt x="1492" y="155"/>
                  </a:lnTo>
                  <a:lnTo>
                    <a:pt x="1493" y="155"/>
                  </a:lnTo>
                  <a:lnTo>
                    <a:pt x="1492" y="156"/>
                  </a:lnTo>
                  <a:lnTo>
                    <a:pt x="1490" y="155"/>
                  </a:lnTo>
                  <a:lnTo>
                    <a:pt x="1490" y="156"/>
                  </a:lnTo>
                  <a:lnTo>
                    <a:pt x="1489" y="156"/>
                  </a:lnTo>
                  <a:lnTo>
                    <a:pt x="1489" y="158"/>
                  </a:lnTo>
                  <a:lnTo>
                    <a:pt x="1487" y="158"/>
                  </a:lnTo>
                  <a:lnTo>
                    <a:pt x="1485" y="156"/>
                  </a:lnTo>
                  <a:lnTo>
                    <a:pt x="1485" y="158"/>
                  </a:lnTo>
                  <a:lnTo>
                    <a:pt x="1485" y="156"/>
                  </a:lnTo>
                  <a:lnTo>
                    <a:pt x="1487" y="156"/>
                  </a:lnTo>
                  <a:lnTo>
                    <a:pt x="1487" y="155"/>
                  </a:lnTo>
                  <a:close/>
                  <a:moveTo>
                    <a:pt x="1781" y="93"/>
                  </a:moveTo>
                  <a:lnTo>
                    <a:pt x="1781" y="91"/>
                  </a:lnTo>
                  <a:lnTo>
                    <a:pt x="1781" y="93"/>
                  </a:lnTo>
                  <a:lnTo>
                    <a:pt x="1780" y="93"/>
                  </a:lnTo>
                  <a:lnTo>
                    <a:pt x="1780" y="95"/>
                  </a:lnTo>
                  <a:lnTo>
                    <a:pt x="1780" y="93"/>
                  </a:lnTo>
                  <a:lnTo>
                    <a:pt x="1781" y="93"/>
                  </a:lnTo>
                  <a:close/>
                  <a:moveTo>
                    <a:pt x="1710" y="95"/>
                  </a:moveTo>
                  <a:lnTo>
                    <a:pt x="1708" y="95"/>
                  </a:lnTo>
                  <a:lnTo>
                    <a:pt x="1708" y="93"/>
                  </a:lnTo>
                  <a:lnTo>
                    <a:pt x="1710" y="93"/>
                  </a:lnTo>
                  <a:lnTo>
                    <a:pt x="1708" y="91"/>
                  </a:lnTo>
                  <a:lnTo>
                    <a:pt x="1710" y="91"/>
                  </a:lnTo>
                  <a:lnTo>
                    <a:pt x="1710" y="93"/>
                  </a:lnTo>
                  <a:lnTo>
                    <a:pt x="1710" y="95"/>
                  </a:lnTo>
                  <a:close/>
                  <a:moveTo>
                    <a:pt x="1781" y="91"/>
                  </a:moveTo>
                  <a:lnTo>
                    <a:pt x="1781" y="90"/>
                  </a:lnTo>
                  <a:lnTo>
                    <a:pt x="1781" y="91"/>
                  </a:lnTo>
                  <a:close/>
                  <a:moveTo>
                    <a:pt x="1570" y="91"/>
                  </a:moveTo>
                  <a:lnTo>
                    <a:pt x="1568" y="91"/>
                  </a:lnTo>
                  <a:lnTo>
                    <a:pt x="1570" y="90"/>
                  </a:lnTo>
                  <a:lnTo>
                    <a:pt x="1570" y="91"/>
                  </a:lnTo>
                  <a:close/>
                  <a:moveTo>
                    <a:pt x="1710" y="90"/>
                  </a:moveTo>
                  <a:lnTo>
                    <a:pt x="1710" y="88"/>
                  </a:lnTo>
                  <a:lnTo>
                    <a:pt x="1710" y="90"/>
                  </a:lnTo>
                  <a:close/>
                  <a:moveTo>
                    <a:pt x="1781" y="90"/>
                  </a:moveTo>
                  <a:lnTo>
                    <a:pt x="1781" y="88"/>
                  </a:lnTo>
                  <a:lnTo>
                    <a:pt x="1781" y="90"/>
                  </a:lnTo>
                  <a:close/>
                  <a:moveTo>
                    <a:pt x="1593" y="88"/>
                  </a:moveTo>
                  <a:lnTo>
                    <a:pt x="1594" y="90"/>
                  </a:lnTo>
                  <a:lnTo>
                    <a:pt x="1593" y="90"/>
                  </a:lnTo>
                  <a:lnTo>
                    <a:pt x="1593" y="88"/>
                  </a:lnTo>
                  <a:close/>
                  <a:moveTo>
                    <a:pt x="1654" y="88"/>
                  </a:moveTo>
                  <a:lnTo>
                    <a:pt x="1656" y="88"/>
                  </a:lnTo>
                  <a:lnTo>
                    <a:pt x="1656" y="90"/>
                  </a:lnTo>
                  <a:lnTo>
                    <a:pt x="1658" y="90"/>
                  </a:lnTo>
                  <a:lnTo>
                    <a:pt x="1658" y="91"/>
                  </a:lnTo>
                  <a:lnTo>
                    <a:pt x="1658" y="93"/>
                  </a:lnTo>
                  <a:lnTo>
                    <a:pt x="1656" y="95"/>
                  </a:lnTo>
                  <a:lnTo>
                    <a:pt x="1654" y="95"/>
                  </a:lnTo>
                  <a:lnTo>
                    <a:pt x="1653" y="93"/>
                  </a:lnTo>
                  <a:lnTo>
                    <a:pt x="1653" y="91"/>
                  </a:lnTo>
                  <a:lnTo>
                    <a:pt x="1654" y="90"/>
                  </a:lnTo>
                  <a:lnTo>
                    <a:pt x="1654" y="88"/>
                  </a:lnTo>
                  <a:close/>
                  <a:moveTo>
                    <a:pt x="1550" y="88"/>
                  </a:moveTo>
                  <a:lnTo>
                    <a:pt x="1550" y="86"/>
                  </a:lnTo>
                  <a:lnTo>
                    <a:pt x="1550" y="88"/>
                  </a:lnTo>
                  <a:close/>
                  <a:moveTo>
                    <a:pt x="1781" y="86"/>
                  </a:moveTo>
                  <a:lnTo>
                    <a:pt x="1781" y="85"/>
                  </a:lnTo>
                  <a:lnTo>
                    <a:pt x="1781" y="86"/>
                  </a:lnTo>
                  <a:close/>
                  <a:moveTo>
                    <a:pt x="1783" y="85"/>
                  </a:moveTo>
                  <a:lnTo>
                    <a:pt x="1783" y="86"/>
                  </a:lnTo>
                  <a:lnTo>
                    <a:pt x="1783" y="85"/>
                  </a:lnTo>
                  <a:lnTo>
                    <a:pt x="1783" y="86"/>
                  </a:lnTo>
                  <a:lnTo>
                    <a:pt x="1783" y="85"/>
                  </a:lnTo>
                  <a:close/>
                  <a:moveTo>
                    <a:pt x="1591" y="85"/>
                  </a:moveTo>
                  <a:lnTo>
                    <a:pt x="1591" y="86"/>
                  </a:lnTo>
                  <a:lnTo>
                    <a:pt x="1591" y="85"/>
                  </a:lnTo>
                  <a:close/>
                  <a:moveTo>
                    <a:pt x="1650" y="85"/>
                  </a:moveTo>
                  <a:lnTo>
                    <a:pt x="1650" y="83"/>
                  </a:lnTo>
                  <a:lnTo>
                    <a:pt x="1650" y="85"/>
                  </a:lnTo>
                  <a:close/>
                  <a:moveTo>
                    <a:pt x="1768" y="82"/>
                  </a:moveTo>
                  <a:lnTo>
                    <a:pt x="1767" y="82"/>
                  </a:lnTo>
                  <a:lnTo>
                    <a:pt x="1768" y="82"/>
                  </a:lnTo>
                  <a:close/>
                  <a:moveTo>
                    <a:pt x="1547" y="82"/>
                  </a:moveTo>
                  <a:lnTo>
                    <a:pt x="1549" y="82"/>
                  </a:lnTo>
                  <a:lnTo>
                    <a:pt x="1547" y="82"/>
                  </a:lnTo>
                  <a:close/>
                  <a:moveTo>
                    <a:pt x="1653" y="82"/>
                  </a:moveTo>
                  <a:lnTo>
                    <a:pt x="1653" y="83"/>
                  </a:lnTo>
                  <a:lnTo>
                    <a:pt x="1653" y="82"/>
                  </a:lnTo>
                  <a:lnTo>
                    <a:pt x="1651" y="83"/>
                  </a:lnTo>
                  <a:lnTo>
                    <a:pt x="1651" y="82"/>
                  </a:lnTo>
                  <a:lnTo>
                    <a:pt x="1653" y="80"/>
                  </a:lnTo>
                  <a:lnTo>
                    <a:pt x="1654" y="82"/>
                  </a:lnTo>
                  <a:lnTo>
                    <a:pt x="1653" y="82"/>
                  </a:lnTo>
                  <a:close/>
                  <a:moveTo>
                    <a:pt x="1573" y="86"/>
                  </a:moveTo>
                  <a:lnTo>
                    <a:pt x="1573" y="85"/>
                  </a:lnTo>
                  <a:lnTo>
                    <a:pt x="1573" y="83"/>
                  </a:lnTo>
                  <a:lnTo>
                    <a:pt x="1575" y="83"/>
                  </a:lnTo>
                  <a:lnTo>
                    <a:pt x="1576" y="82"/>
                  </a:lnTo>
                  <a:lnTo>
                    <a:pt x="1576" y="80"/>
                  </a:lnTo>
                  <a:lnTo>
                    <a:pt x="1578" y="80"/>
                  </a:lnTo>
                  <a:lnTo>
                    <a:pt x="1576" y="83"/>
                  </a:lnTo>
                  <a:lnTo>
                    <a:pt x="1575" y="85"/>
                  </a:lnTo>
                  <a:lnTo>
                    <a:pt x="1573" y="86"/>
                  </a:lnTo>
                  <a:close/>
                  <a:moveTo>
                    <a:pt x="1575" y="82"/>
                  </a:moveTo>
                  <a:lnTo>
                    <a:pt x="1575" y="80"/>
                  </a:lnTo>
                  <a:lnTo>
                    <a:pt x="1575" y="82"/>
                  </a:lnTo>
                  <a:lnTo>
                    <a:pt x="1573" y="82"/>
                  </a:lnTo>
                  <a:lnTo>
                    <a:pt x="1575" y="82"/>
                  </a:lnTo>
                  <a:close/>
                  <a:moveTo>
                    <a:pt x="1624" y="77"/>
                  </a:moveTo>
                  <a:lnTo>
                    <a:pt x="1625" y="77"/>
                  </a:lnTo>
                  <a:lnTo>
                    <a:pt x="1625" y="78"/>
                  </a:lnTo>
                  <a:lnTo>
                    <a:pt x="1624" y="77"/>
                  </a:lnTo>
                  <a:close/>
                  <a:moveTo>
                    <a:pt x="1650" y="75"/>
                  </a:moveTo>
                  <a:lnTo>
                    <a:pt x="1650" y="73"/>
                  </a:lnTo>
                  <a:lnTo>
                    <a:pt x="1650" y="75"/>
                  </a:lnTo>
                  <a:lnTo>
                    <a:pt x="1651" y="73"/>
                  </a:lnTo>
                  <a:lnTo>
                    <a:pt x="1651" y="75"/>
                  </a:lnTo>
                  <a:lnTo>
                    <a:pt x="1650" y="75"/>
                  </a:lnTo>
                  <a:close/>
                  <a:moveTo>
                    <a:pt x="1585" y="73"/>
                  </a:moveTo>
                  <a:lnTo>
                    <a:pt x="1586" y="73"/>
                  </a:lnTo>
                  <a:lnTo>
                    <a:pt x="1585" y="73"/>
                  </a:lnTo>
                  <a:lnTo>
                    <a:pt x="1583" y="73"/>
                  </a:lnTo>
                  <a:lnTo>
                    <a:pt x="1585" y="73"/>
                  </a:lnTo>
                  <a:close/>
                  <a:moveTo>
                    <a:pt x="1581" y="73"/>
                  </a:moveTo>
                  <a:lnTo>
                    <a:pt x="1583" y="73"/>
                  </a:lnTo>
                  <a:lnTo>
                    <a:pt x="1581" y="73"/>
                  </a:lnTo>
                  <a:lnTo>
                    <a:pt x="1581" y="72"/>
                  </a:lnTo>
                  <a:lnTo>
                    <a:pt x="1581" y="73"/>
                  </a:lnTo>
                  <a:close/>
                  <a:moveTo>
                    <a:pt x="1776" y="73"/>
                  </a:moveTo>
                  <a:lnTo>
                    <a:pt x="1776" y="72"/>
                  </a:lnTo>
                  <a:lnTo>
                    <a:pt x="1776" y="73"/>
                  </a:lnTo>
                  <a:close/>
                  <a:moveTo>
                    <a:pt x="1624" y="69"/>
                  </a:moveTo>
                  <a:lnTo>
                    <a:pt x="1625" y="70"/>
                  </a:lnTo>
                  <a:lnTo>
                    <a:pt x="1624" y="70"/>
                  </a:lnTo>
                  <a:lnTo>
                    <a:pt x="1624" y="69"/>
                  </a:lnTo>
                  <a:close/>
                  <a:moveTo>
                    <a:pt x="1693" y="69"/>
                  </a:moveTo>
                  <a:lnTo>
                    <a:pt x="1693" y="70"/>
                  </a:lnTo>
                  <a:lnTo>
                    <a:pt x="1693" y="69"/>
                  </a:lnTo>
                  <a:lnTo>
                    <a:pt x="1693" y="70"/>
                  </a:lnTo>
                  <a:lnTo>
                    <a:pt x="1693" y="69"/>
                  </a:lnTo>
                  <a:close/>
                  <a:moveTo>
                    <a:pt x="1911" y="67"/>
                  </a:moveTo>
                  <a:lnTo>
                    <a:pt x="1911" y="69"/>
                  </a:lnTo>
                  <a:lnTo>
                    <a:pt x="1911" y="67"/>
                  </a:lnTo>
                  <a:close/>
                  <a:moveTo>
                    <a:pt x="1718" y="67"/>
                  </a:moveTo>
                  <a:lnTo>
                    <a:pt x="1718" y="65"/>
                  </a:lnTo>
                  <a:lnTo>
                    <a:pt x="1720" y="65"/>
                  </a:lnTo>
                  <a:lnTo>
                    <a:pt x="1720" y="67"/>
                  </a:lnTo>
                  <a:lnTo>
                    <a:pt x="1718" y="67"/>
                  </a:lnTo>
                  <a:close/>
                  <a:moveTo>
                    <a:pt x="1624" y="67"/>
                  </a:moveTo>
                  <a:lnTo>
                    <a:pt x="1622" y="67"/>
                  </a:lnTo>
                  <a:lnTo>
                    <a:pt x="1620" y="65"/>
                  </a:lnTo>
                  <a:lnTo>
                    <a:pt x="1622" y="65"/>
                  </a:lnTo>
                  <a:lnTo>
                    <a:pt x="1620" y="65"/>
                  </a:lnTo>
                  <a:lnTo>
                    <a:pt x="1622" y="65"/>
                  </a:lnTo>
                  <a:lnTo>
                    <a:pt x="1624" y="65"/>
                  </a:lnTo>
                  <a:lnTo>
                    <a:pt x="1624" y="67"/>
                  </a:lnTo>
                  <a:close/>
                  <a:moveTo>
                    <a:pt x="1913" y="64"/>
                  </a:moveTo>
                  <a:lnTo>
                    <a:pt x="1913" y="65"/>
                  </a:lnTo>
                  <a:lnTo>
                    <a:pt x="1915" y="67"/>
                  </a:lnTo>
                  <a:lnTo>
                    <a:pt x="1915" y="65"/>
                  </a:lnTo>
                  <a:lnTo>
                    <a:pt x="1916" y="67"/>
                  </a:lnTo>
                  <a:lnTo>
                    <a:pt x="1915" y="67"/>
                  </a:lnTo>
                  <a:lnTo>
                    <a:pt x="1915" y="69"/>
                  </a:lnTo>
                  <a:lnTo>
                    <a:pt x="1915" y="67"/>
                  </a:lnTo>
                  <a:lnTo>
                    <a:pt x="1913" y="67"/>
                  </a:lnTo>
                  <a:lnTo>
                    <a:pt x="1913" y="65"/>
                  </a:lnTo>
                  <a:lnTo>
                    <a:pt x="1911" y="65"/>
                  </a:lnTo>
                  <a:lnTo>
                    <a:pt x="1911" y="64"/>
                  </a:lnTo>
                  <a:lnTo>
                    <a:pt x="1910" y="64"/>
                  </a:lnTo>
                  <a:lnTo>
                    <a:pt x="1910" y="62"/>
                  </a:lnTo>
                  <a:lnTo>
                    <a:pt x="1911" y="62"/>
                  </a:lnTo>
                  <a:lnTo>
                    <a:pt x="1911" y="64"/>
                  </a:lnTo>
                  <a:lnTo>
                    <a:pt x="1913" y="64"/>
                  </a:lnTo>
                  <a:close/>
                  <a:moveTo>
                    <a:pt x="1915" y="64"/>
                  </a:moveTo>
                  <a:lnTo>
                    <a:pt x="1916" y="64"/>
                  </a:lnTo>
                  <a:lnTo>
                    <a:pt x="1915" y="64"/>
                  </a:lnTo>
                  <a:lnTo>
                    <a:pt x="1913" y="64"/>
                  </a:lnTo>
                  <a:lnTo>
                    <a:pt x="1915" y="62"/>
                  </a:lnTo>
                  <a:lnTo>
                    <a:pt x="1915" y="64"/>
                  </a:lnTo>
                  <a:close/>
                  <a:moveTo>
                    <a:pt x="1559" y="64"/>
                  </a:moveTo>
                  <a:lnTo>
                    <a:pt x="1559" y="62"/>
                  </a:lnTo>
                  <a:lnTo>
                    <a:pt x="1560" y="62"/>
                  </a:lnTo>
                  <a:lnTo>
                    <a:pt x="1562" y="64"/>
                  </a:lnTo>
                  <a:lnTo>
                    <a:pt x="1562" y="65"/>
                  </a:lnTo>
                  <a:lnTo>
                    <a:pt x="1562" y="67"/>
                  </a:lnTo>
                  <a:lnTo>
                    <a:pt x="1562" y="65"/>
                  </a:lnTo>
                  <a:lnTo>
                    <a:pt x="1562" y="67"/>
                  </a:lnTo>
                  <a:lnTo>
                    <a:pt x="1563" y="65"/>
                  </a:lnTo>
                  <a:lnTo>
                    <a:pt x="1565" y="65"/>
                  </a:lnTo>
                  <a:lnTo>
                    <a:pt x="1567" y="65"/>
                  </a:lnTo>
                  <a:lnTo>
                    <a:pt x="1568" y="65"/>
                  </a:lnTo>
                  <a:lnTo>
                    <a:pt x="1570" y="65"/>
                  </a:lnTo>
                  <a:lnTo>
                    <a:pt x="1568" y="67"/>
                  </a:lnTo>
                  <a:lnTo>
                    <a:pt x="1567" y="67"/>
                  </a:lnTo>
                  <a:lnTo>
                    <a:pt x="1567" y="65"/>
                  </a:lnTo>
                  <a:lnTo>
                    <a:pt x="1567" y="67"/>
                  </a:lnTo>
                  <a:lnTo>
                    <a:pt x="1565" y="67"/>
                  </a:lnTo>
                  <a:lnTo>
                    <a:pt x="1567" y="67"/>
                  </a:lnTo>
                  <a:lnTo>
                    <a:pt x="1565" y="67"/>
                  </a:lnTo>
                  <a:lnTo>
                    <a:pt x="1565" y="69"/>
                  </a:lnTo>
                  <a:lnTo>
                    <a:pt x="1563" y="69"/>
                  </a:lnTo>
                  <a:lnTo>
                    <a:pt x="1563" y="70"/>
                  </a:lnTo>
                  <a:lnTo>
                    <a:pt x="1563" y="72"/>
                  </a:lnTo>
                  <a:lnTo>
                    <a:pt x="1565" y="72"/>
                  </a:lnTo>
                  <a:lnTo>
                    <a:pt x="1565" y="70"/>
                  </a:lnTo>
                  <a:lnTo>
                    <a:pt x="1567" y="70"/>
                  </a:lnTo>
                  <a:lnTo>
                    <a:pt x="1568" y="70"/>
                  </a:lnTo>
                  <a:lnTo>
                    <a:pt x="1570" y="70"/>
                  </a:lnTo>
                  <a:lnTo>
                    <a:pt x="1572" y="70"/>
                  </a:lnTo>
                  <a:lnTo>
                    <a:pt x="1570" y="72"/>
                  </a:lnTo>
                  <a:lnTo>
                    <a:pt x="1572" y="72"/>
                  </a:lnTo>
                  <a:lnTo>
                    <a:pt x="1572" y="73"/>
                  </a:lnTo>
                  <a:lnTo>
                    <a:pt x="1570" y="73"/>
                  </a:lnTo>
                  <a:lnTo>
                    <a:pt x="1568" y="73"/>
                  </a:lnTo>
                  <a:lnTo>
                    <a:pt x="1568" y="75"/>
                  </a:lnTo>
                  <a:lnTo>
                    <a:pt x="1568" y="77"/>
                  </a:lnTo>
                  <a:lnTo>
                    <a:pt x="1567" y="77"/>
                  </a:lnTo>
                  <a:lnTo>
                    <a:pt x="1567" y="75"/>
                  </a:lnTo>
                  <a:lnTo>
                    <a:pt x="1565" y="77"/>
                  </a:lnTo>
                  <a:lnTo>
                    <a:pt x="1567" y="77"/>
                  </a:lnTo>
                  <a:lnTo>
                    <a:pt x="1565" y="78"/>
                  </a:lnTo>
                  <a:lnTo>
                    <a:pt x="1567" y="78"/>
                  </a:lnTo>
                  <a:lnTo>
                    <a:pt x="1565" y="78"/>
                  </a:lnTo>
                  <a:lnTo>
                    <a:pt x="1565" y="80"/>
                  </a:lnTo>
                  <a:lnTo>
                    <a:pt x="1563" y="78"/>
                  </a:lnTo>
                  <a:lnTo>
                    <a:pt x="1563" y="80"/>
                  </a:lnTo>
                  <a:lnTo>
                    <a:pt x="1562" y="78"/>
                  </a:lnTo>
                  <a:lnTo>
                    <a:pt x="1562" y="77"/>
                  </a:lnTo>
                  <a:lnTo>
                    <a:pt x="1560" y="78"/>
                  </a:lnTo>
                  <a:lnTo>
                    <a:pt x="1559" y="78"/>
                  </a:lnTo>
                  <a:lnTo>
                    <a:pt x="1559" y="77"/>
                  </a:lnTo>
                  <a:lnTo>
                    <a:pt x="1560" y="77"/>
                  </a:lnTo>
                  <a:lnTo>
                    <a:pt x="1560" y="75"/>
                  </a:lnTo>
                  <a:lnTo>
                    <a:pt x="1559" y="75"/>
                  </a:lnTo>
                  <a:lnTo>
                    <a:pt x="1557" y="75"/>
                  </a:lnTo>
                  <a:lnTo>
                    <a:pt x="1555" y="75"/>
                  </a:lnTo>
                  <a:lnTo>
                    <a:pt x="1557" y="75"/>
                  </a:lnTo>
                  <a:lnTo>
                    <a:pt x="1555" y="73"/>
                  </a:lnTo>
                  <a:lnTo>
                    <a:pt x="1557" y="73"/>
                  </a:lnTo>
                  <a:lnTo>
                    <a:pt x="1557" y="72"/>
                  </a:lnTo>
                  <a:lnTo>
                    <a:pt x="1559" y="70"/>
                  </a:lnTo>
                  <a:lnTo>
                    <a:pt x="1560" y="70"/>
                  </a:lnTo>
                  <a:lnTo>
                    <a:pt x="1560" y="69"/>
                  </a:lnTo>
                  <a:lnTo>
                    <a:pt x="1560" y="70"/>
                  </a:lnTo>
                  <a:lnTo>
                    <a:pt x="1557" y="70"/>
                  </a:lnTo>
                  <a:lnTo>
                    <a:pt x="1555" y="70"/>
                  </a:lnTo>
                  <a:lnTo>
                    <a:pt x="1555" y="72"/>
                  </a:lnTo>
                  <a:lnTo>
                    <a:pt x="1554" y="70"/>
                  </a:lnTo>
                  <a:lnTo>
                    <a:pt x="1555" y="70"/>
                  </a:lnTo>
                  <a:lnTo>
                    <a:pt x="1554" y="70"/>
                  </a:lnTo>
                  <a:lnTo>
                    <a:pt x="1552" y="70"/>
                  </a:lnTo>
                  <a:lnTo>
                    <a:pt x="1552" y="69"/>
                  </a:lnTo>
                  <a:lnTo>
                    <a:pt x="1554" y="69"/>
                  </a:lnTo>
                  <a:lnTo>
                    <a:pt x="1555" y="69"/>
                  </a:lnTo>
                  <a:lnTo>
                    <a:pt x="1557" y="69"/>
                  </a:lnTo>
                  <a:lnTo>
                    <a:pt x="1555" y="67"/>
                  </a:lnTo>
                  <a:lnTo>
                    <a:pt x="1555" y="69"/>
                  </a:lnTo>
                  <a:lnTo>
                    <a:pt x="1555" y="67"/>
                  </a:lnTo>
                  <a:lnTo>
                    <a:pt x="1555" y="69"/>
                  </a:lnTo>
                  <a:lnTo>
                    <a:pt x="1554" y="69"/>
                  </a:lnTo>
                  <a:lnTo>
                    <a:pt x="1554" y="67"/>
                  </a:lnTo>
                  <a:lnTo>
                    <a:pt x="1557" y="67"/>
                  </a:lnTo>
                  <a:lnTo>
                    <a:pt x="1555" y="67"/>
                  </a:lnTo>
                  <a:lnTo>
                    <a:pt x="1555" y="65"/>
                  </a:lnTo>
                  <a:lnTo>
                    <a:pt x="1554" y="65"/>
                  </a:lnTo>
                  <a:lnTo>
                    <a:pt x="1555" y="64"/>
                  </a:lnTo>
                  <a:lnTo>
                    <a:pt x="1557" y="64"/>
                  </a:lnTo>
                  <a:lnTo>
                    <a:pt x="1557" y="62"/>
                  </a:lnTo>
                  <a:lnTo>
                    <a:pt x="1559" y="62"/>
                  </a:lnTo>
                  <a:lnTo>
                    <a:pt x="1559" y="64"/>
                  </a:lnTo>
                  <a:close/>
                  <a:moveTo>
                    <a:pt x="1716" y="64"/>
                  </a:moveTo>
                  <a:lnTo>
                    <a:pt x="1715" y="64"/>
                  </a:lnTo>
                  <a:lnTo>
                    <a:pt x="1713" y="64"/>
                  </a:lnTo>
                  <a:lnTo>
                    <a:pt x="1713" y="60"/>
                  </a:lnTo>
                  <a:lnTo>
                    <a:pt x="1715" y="60"/>
                  </a:lnTo>
                  <a:lnTo>
                    <a:pt x="1716" y="62"/>
                  </a:lnTo>
                  <a:lnTo>
                    <a:pt x="1716" y="64"/>
                  </a:lnTo>
                  <a:close/>
                  <a:moveTo>
                    <a:pt x="1693" y="60"/>
                  </a:moveTo>
                  <a:lnTo>
                    <a:pt x="1693" y="59"/>
                  </a:lnTo>
                  <a:lnTo>
                    <a:pt x="1695" y="60"/>
                  </a:lnTo>
                  <a:lnTo>
                    <a:pt x="1693" y="60"/>
                  </a:lnTo>
                  <a:close/>
                  <a:moveTo>
                    <a:pt x="1563" y="59"/>
                  </a:moveTo>
                  <a:lnTo>
                    <a:pt x="1563" y="57"/>
                  </a:lnTo>
                  <a:lnTo>
                    <a:pt x="1565" y="57"/>
                  </a:lnTo>
                  <a:lnTo>
                    <a:pt x="1563" y="59"/>
                  </a:lnTo>
                  <a:close/>
                  <a:moveTo>
                    <a:pt x="1555" y="56"/>
                  </a:moveTo>
                  <a:lnTo>
                    <a:pt x="1557" y="56"/>
                  </a:lnTo>
                  <a:lnTo>
                    <a:pt x="1557" y="57"/>
                  </a:lnTo>
                  <a:lnTo>
                    <a:pt x="1555" y="57"/>
                  </a:lnTo>
                  <a:lnTo>
                    <a:pt x="1555" y="56"/>
                  </a:lnTo>
                  <a:close/>
                  <a:moveTo>
                    <a:pt x="1555" y="56"/>
                  </a:moveTo>
                  <a:lnTo>
                    <a:pt x="1557" y="56"/>
                  </a:lnTo>
                  <a:lnTo>
                    <a:pt x="1555" y="56"/>
                  </a:lnTo>
                  <a:close/>
                  <a:moveTo>
                    <a:pt x="1555" y="56"/>
                  </a:moveTo>
                  <a:lnTo>
                    <a:pt x="1555" y="54"/>
                  </a:lnTo>
                  <a:lnTo>
                    <a:pt x="1557" y="54"/>
                  </a:lnTo>
                  <a:lnTo>
                    <a:pt x="1557" y="56"/>
                  </a:lnTo>
                  <a:lnTo>
                    <a:pt x="1555" y="56"/>
                  </a:lnTo>
                  <a:close/>
                  <a:moveTo>
                    <a:pt x="1560" y="54"/>
                  </a:moveTo>
                  <a:lnTo>
                    <a:pt x="1560" y="56"/>
                  </a:lnTo>
                  <a:lnTo>
                    <a:pt x="1560" y="54"/>
                  </a:lnTo>
                  <a:close/>
                  <a:moveTo>
                    <a:pt x="1555" y="54"/>
                  </a:moveTo>
                  <a:lnTo>
                    <a:pt x="1555" y="56"/>
                  </a:lnTo>
                  <a:lnTo>
                    <a:pt x="1555" y="54"/>
                  </a:lnTo>
                  <a:close/>
                  <a:moveTo>
                    <a:pt x="1559" y="56"/>
                  </a:moveTo>
                  <a:lnTo>
                    <a:pt x="1559" y="54"/>
                  </a:lnTo>
                  <a:lnTo>
                    <a:pt x="1560" y="56"/>
                  </a:lnTo>
                  <a:lnTo>
                    <a:pt x="1562" y="56"/>
                  </a:lnTo>
                  <a:lnTo>
                    <a:pt x="1562" y="54"/>
                  </a:lnTo>
                  <a:lnTo>
                    <a:pt x="1563" y="54"/>
                  </a:lnTo>
                  <a:lnTo>
                    <a:pt x="1563" y="56"/>
                  </a:lnTo>
                  <a:lnTo>
                    <a:pt x="1563" y="54"/>
                  </a:lnTo>
                  <a:lnTo>
                    <a:pt x="1563" y="56"/>
                  </a:lnTo>
                  <a:lnTo>
                    <a:pt x="1563" y="57"/>
                  </a:lnTo>
                  <a:lnTo>
                    <a:pt x="1562" y="57"/>
                  </a:lnTo>
                  <a:lnTo>
                    <a:pt x="1563" y="57"/>
                  </a:lnTo>
                  <a:lnTo>
                    <a:pt x="1562" y="57"/>
                  </a:lnTo>
                  <a:lnTo>
                    <a:pt x="1562" y="59"/>
                  </a:lnTo>
                  <a:lnTo>
                    <a:pt x="1563" y="59"/>
                  </a:lnTo>
                  <a:lnTo>
                    <a:pt x="1563" y="60"/>
                  </a:lnTo>
                  <a:lnTo>
                    <a:pt x="1562" y="59"/>
                  </a:lnTo>
                  <a:lnTo>
                    <a:pt x="1562" y="60"/>
                  </a:lnTo>
                  <a:lnTo>
                    <a:pt x="1560" y="60"/>
                  </a:lnTo>
                  <a:lnTo>
                    <a:pt x="1559" y="60"/>
                  </a:lnTo>
                  <a:lnTo>
                    <a:pt x="1557" y="62"/>
                  </a:lnTo>
                  <a:lnTo>
                    <a:pt x="1555" y="62"/>
                  </a:lnTo>
                  <a:lnTo>
                    <a:pt x="1557" y="62"/>
                  </a:lnTo>
                  <a:lnTo>
                    <a:pt x="1555" y="60"/>
                  </a:lnTo>
                  <a:lnTo>
                    <a:pt x="1555" y="59"/>
                  </a:lnTo>
                  <a:lnTo>
                    <a:pt x="1554" y="59"/>
                  </a:lnTo>
                  <a:lnTo>
                    <a:pt x="1555" y="57"/>
                  </a:lnTo>
                  <a:lnTo>
                    <a:pt x="1557" y="57"/>
                  </a:lnTo>
                  <a:lnTo>
                    <a:pt x="1557" y="59"/>
                  </a:lnTo>
                  <a:lnTo>
                    <a:pt x="1559" y="59"/>
                  </a:lnTo>
                  <a:lnTo>
                    <a:pt x="1560" y="59"/>
                  </a:lnTo>
                  <a:lnTo>
                    <a:pt x="1559" y="59"/>
                  </a:lnTo>
                  <a:lnTo>
                    <a:pt x="1559" y="57"/>
                  </a:lnTo>
                  <a:lnTo>
                    <a:pt x="1557" y="57"/>
                  </a:lnTo>
                  <a:lnTo>
                    <a:pt x="1557" y="56"/>
                  </a:lnTo>
                  <a:lnTo>
                    <a:pt x="1557" y="57"/>
                  </a:lnTo>
                  <a:lnTo>
                    <a:pt x="1557" y="56"/>
                  </a:lnTo>
                  <a:lnTo>
                    <a:pt x="1559" y="56"/>
                  </a:lnTo>
                  <a:close/>
                  <a:moveTo>
                    <a:pt x="1645" y="54"/>
                  </a:moveTo>
                  <a:lnTo>
                    <a:pt x="1646" y="54"/>
                  </a:lnTo>
                  <a:lnTo>
                    <a:pt x="1648" y="54"/>
                  </a:lnTo>
                  <a:lnTo>
                    <a:pt x="1648" y="56"/>
                  </a:lnTo>
                  <a:lnTo>
                    <a:pt x="1646" y="56"/>
                  </a:lnTo>
                  <a:lnTo>
                    <a:pt x="1645" y="54"/>
                  </a:lnTo>
                  <a:close/>
                  <a:moveTo>
                    <a:pt x="1563" y="54"/>
                  </a:moveTo>
                  <a:lnTo>
                    <a:pt x="1565" y="54"/>
                  </a:lnTo>
                  <a:lnTo>
                    <a:pt x="1563" y="54"/>
                  </a:lnTo>
                  <a:close/>
                  <a:moveTo>
                    <a:pt x="1560" y="54"/>
                  </a:moveTo>
                  <a:lnTo>
                    <a:pt x="1559" y="54"/>
                  </a:lnTo>
                  <a:lnTo>
                    <a:pt x="1560" y="54"/>
                  </a:lnTo>
                  <a:close/>
                  <a:moveTo>
                    <a:pt x="1817" y="52"/>
                  </a:moveTo>
                  <a:lnTo>
                    <a:pt x="1817" y="51"/>
                  </a:lnTo>
                  <a:lnTo>
                    <a:pt x="1817" y="52"/>
                  </a:lnTo>
                  <a:close/>
                  <a:moveTo>
                    <a:pt x="1602" y="51"/>
                  </a:moveTo>
                  <a:lnTo>
                    <a:pt x="1602" y="52"/>
                  </a:lnTo>
                  <a:lnTo>
                    <a:pt x="1604" y="52"/>
                  </a:lnTo>
                  <a:lnTo>
                    <a:pt x="1606" y="52"/>
                  </a:lnTo>
                  <a:lnTo>
                    <a:pt x="1606" y="51"/>
                  </a:lnTo>
                  <a:lnTo>
                    <a:pt x="1606" y="52"/>
                  </a:lnTo>
                  <a:lnTo>
                    <a:pt x="1607" y="52"/>
                  </a:lnTo>
                  <a:lnTo>
                    <a:pt x="1606" y="54"/>
                  </a:lnTo>
                  <a:lnTo>
                    <a:pt x="1607" y="54"/>
                  </a:lnTo>
                  <a:lnTo>
                    <a:pt x="1606" y="54"/>
                  </a:lnTo>
                  <a:lnTo>
                    <a:pt x="1606" y="56"/>
                  </a:lnTo>
                  <a:lnTo>
                    <a:pt x="1607" y="56"/>
                  </a:lnTo>
                  <a:lnTo>
                    <a:pt x="1606" y="56"/>
                  </a:lnTo>
                  <a:lnTo>
                    <a:pt x="1606" y="57"/>
                  </a:lnTo>
                  <a:lnTo>
                    <a:pt x="1607" y="57"/>
                  </a:lnTo>
                  <a:lnTo>
                    <a:pt x="1606" y="57"/>
                  </a:lnTo>
                  <a:lnTo>
                    <a:pt x="1604" y="59"/>
                  </a:lnTo>
                  <a:lnTo>
                    <a:pt x="1604" y="57"/>
                  </a:lnTo>
                  <a:lnTo>
                    <a:pt x="1606" y="57"/>
                  </a:lnTo>
                  <a:lnTo>
                    <a:pt x="1606" y="56"/>
                  </a:lnTo>
                  <a:lnTo>
                    <a:pt x="1604" y="57"/>
                  </a:lnTo>
                  <a:lnTo>
                    <a:pt x="1602" y="56"/>
                  </a:lnTo>
                  <a:lnTo>
                    <a:pt x="1601" y="54"/>
                  </a:lnTo>
                  <a:lnTo>
                    <a:pt x="1602" y="54"/>
                  </a:lnTo>
                  <a:lnTo>
                    <a:pt x="1601" y="52"/>
                  </a:lnTo>
                  <a:lnTo>
                    <a:pt x="1602" y="52"/>
                  </a:lnTo>
                  <a:lnTo>
                    <a:pt x="1601" y="52"/>
                  </a:lnTo>
                  <a:lnTo>
                    <a:pt x="1602" y="52"/>
                  </a:lnTo>
                  <a:lnTo>
                    <a:pt x="1602" y="51"/>
                  </a:lnTo>
                  <a:close/>
                  <a:moveTo>
                    <a:pt x="1817" y="51"/>
                  </a:moveTo>
                  <a:lnTo>
                    <a:pt x="1815" y="51"/>
                  </a:lnTo>
                  <a:lnTo>
                    <a:pt x="1817" y="51"/>
                  </a:lnTo>
                  <a:close/>
                  <a:moveTo>
                    <a:pt x="1752" y="51"/>
                  </a:moveTo>
                  <a:lnTo>
                    <a:pt x="1752" y="49"/>
                  </a:lnTo>
                  <a:lnTo>
                    <a:pt x="1752" y="51"/>
                  </a:lnTo>
                  <a:close/>
                  <a:moveTo>
                    <a:pt x="1874" y="49"/>
                  </a:moveTo>
                  <a:lnTo>
                    <a:pt x="1876" y="49"/>
                  </a:lnTo>
                  <a:lnTo>
                    <a:pt x="1874" y="49"/>
                  </a:lnTo>
                  <a:close/>
                  <a:moveTo>
                    <a:pt x="1654" y="51"/>
                  </a:moveTo>
                  <a:lnTo>
                    <a:pt x="1653" y="49"/>
                  </a:lnTo>
                  <a:lnTo>
                    <a:pt x="1654" y="49"/>
                  </a:lnTo>
                  <a:lnTo>
                    <a:pt x="1654" y="51"/>
                  </a:lnTo>
                  <a:close/>
                  <a:moveTo>
                    <a:pt x="1617" y="49"/>
                  </a:moveTo>
                  <a:lnTo>
                    <a:pt x="1617" y="47"/>
                  </a:lnTo>
                  <a:lnTo>
                    <a:pt x="1617" y="49"/>
                  </a:lnTo>
                  <a:close/>
                  <a:moveTo>
                    <a:pt x="1726" y="49"/>
                  </a:moveTo>
                  <a:lnTo>
                    <a:pt x="1726" y="47"/>
                  </a:lnTo>
                  <a:lnTo>
                    <a:pt x="1726" y="49"/>
                  </a:lnTo>
                  <a:close/>
                  <a:moveTo>
                    <a:pt x="1614" y="47"/>
                  </a:moveTo>
                  <a:lnTo>
                    <a:pt x="1615" y="47"/>
                  </a:lnTo>
                  <a:lnTo>
                    <a:pt x="1615" y="49"/>
                  </a:lnTo>
                  <a:lnTo>
                    <a:pt x="1614" y="47"/>
                  </a:lnTo>
                  <a:lnTo>
                    <a:pt x="1615" y="47"/>
                  </a:lnTo>
                  <a:lnTo>
                    <a:pt x="1614" y="47"/>
                  </a:lnTo>
                  <a:close/>
                  <a:moveTo>
                    <a:pt x="1588" y="46"/>
                  </a:moveTo>
                  <a:lnTo>
                    <a:pt x="1588" y="44"/>
                  </a:lnTo>
                  <a:lnTo>
                    <a:pt x="1589" y="44"/>
                  </a:lnTo>
                  <a:lnTo>
                    <a:pt x="1591" y="44"/>
                  </a:lnTo>
                  <a:lnTo>
                    <a:pt x="1591" y="46"/>
                  </a:lnTo>
                  <a:lnTo>
                    <a:pt x="1593" y="46"/>
                  </a:lnTo>
                  <a:lnTo>
                    <a:pt x="1594" y="46"/>
                  </a:lnTo>
                  <a:lnTo>
                    <a:pt x="1594" y="44"/>
                  </a:lnTo>
                  <a:lnTo>
                    <a:pt x="1596" y="44"/>
                  </a:lnTo>
                  <a:lnTo>
                    <a:pt x="1594" y="46"/>
                  </a:lnTo>
                  <a:lnTo>
                    <a:pt x="1594" y="47"/>
                  </a:lnTo>
                  <a:lnTo>
                    <a:pt x="1596" y="47"/>
                  </a:lnTo>
                  <a:lnTo>
                    <a:pt x="1596" y="49"/>
                  </a:lnTo>
                  <a:lnTo>
                    <a:pt x="1594" y="49"/>
                  </a:lnTo>
                  <a:lnTo>
                    <a:pt x="1593" y="49"/>
                  </a:lnTo>
                  <a:lnTo>
                    <a:pt x="1593" y="51"/>
                  </a:lnTo>
                  <a:lnTo>
                    <a:pt x="1594" y="52"/>
                  </a:lnTo>
                  <a:lnTo>
                    <a:pt x="1594" y="54"/>
                  </a:lnTo>
                  <a:lnTo>
                    <a:pt x="1594" y="56"/>
                  </a:lnTo>
                  <a:lnTo>
                    <a:pt x="1593" y="56"/>
                  </a:lnTo>
                  <a:lnTo>
                    <a:pt x="1591" y="56"/>
                  </a:lnTo>
                  <a:lnTo>
                    <a:pt x="1589" y="56"/>
                  </a:lnTo>
                  <a:lnTo>
                    <a:pt x="1589" y="54"/>
                  </a:lnTo>
                  <a:lnTo>
                    <a:pt x="1588" y="54"/>
                  </a:lnTo>
                  <a:lnTo>
                    <a:pt x="1586" y="54"/>
                  </a:lnTo>
                  <a:lnTo>
                    <a:pt x="1585" y="52"/>
                  </a:lnTo>
                  <a:lnTo>
                    <a:pt x="1586" y="51"/>
                  </a:lnTo>
                  <a:lnTo>
                    <a:pt x="1586" y="49"/>
                  </a:lnTo>
                  <a:lnTo>
                    <a:pt x="1588" y="47"/>
                  </a:lnTo>
                  <a:lnTo>
                    <a:pt x="1588" y="49"/>
                  </a:lnTo>
                  <a:lnTo>
                    <a:pt x="1589" y="49"/>
                  </a:lnTo>
                  <a:lnTo>
                    <a:pt x="1589" y="51"/>
                  </a:lnTo>
                  <a:lnTo>
                    <a:pt x="1591" y="51"/>
                  </a:lnTo>
                  <a:lnTo>
                    <a:pt x="1591" y="49"/>
                  </a:lnTo>
                  <a:lnTo>
                    <a:pt x="1591" y="47"/>
                  </a:lnTo>
                  <a:lnTo>
                    <a:pt x="1589" y="47"/>
                  </a:lnTo>
                  <a:lnTo>
                    <a:pt x="1588" y="46"/>
                  </a:lnTo>
                  <a:lnTo>
                    <a:pt x="1589" y="46"/>
                  </a:lnTo>
                  <a:lnTo>
                    <a:pt x="1588" y="46"/>
                  </a:lnTo>
                  <a:close/>
                  <a:moveTo>
                    <a:pt x="1856" y="43"/>
                  </a:moveTo>
                  <a:lnTo>
                    <a:pt x="1858" y="43"/>
                  </a:lnTo>
                  <a:lnTo>
                    <a:pt x="1856" y="43"/>
                  </a:lnTo>
                  <a:close/>
                  <a:moveTo>
                    <a:pt x="1822" y="43"/>
                  </a:moveTo>
                  <a:lnTo>
                    <a:pt x="1822" y="44"/>
                  </a:lnTo>
                  <a:lnTo>
                    <a:pt x="1822" y="43"/>
                  </a:lnTo>
                  <a:lnTo>
                    <a:pt x="1824" y="43"/>
                  </a:lnTo>
                  <a:lnTo>
                    <a:pt x="1822" y="43"/>
                  </a:lnTo>
                  <a:close/>
                  <a:moveTo>
                    <a:pt x="1824" y="43"/>
                  </a:moveTo>
                  <a:lnTo>
                    <a:pt x="1825" y="43"/>
                  </a:lnTo>
                  <a:lnTo>
                    <a:pt x="1824" y="43"/>
                  </a:lnTo>
                  <a:close/>
                  <a:moveTo>
                    <a:pt x="1822" y="41"/>
                  </a:moveTo>
                  <a:lnTo>
                    <a:pt x="1822" y="43"/>
                  </a:lnTo>
                  <a:lnTo>
                    <a:pt x="1822" y="41"/>
                  </a:lnTo>
                  <a:close/>
                  <a:moveTo>
                    <a:pt x="1646" y="41"/>
                  </a:moveTo>
                  <a:lnTo>
                    <a:pt x="1645" y="41"/>
                  </a:lnTo>
                  <a:lnTo>
                    <a:pt x="1645" y="39"/>
                  </a:lnTo>
                  <a:lnTo>
                    <a:pt x="1646" y="39"/>
                  </a:lnTo>
                  <a:lnTo>
                    <a:pt x="1646" y="41"/>
                  </a:lnTo>
                  <a:close/>
                  <a:moveTo>
                    <a:pt x="1646" y="41"/>
                  </a:moveTo>
                  <a:lnTo>
                    <a:pt x="1648" y="39"/>
                  </a:lnTo>
                  <a:lnTo>
                    <a:pt x="1650" y="39"/>
                  </a:lnTo>
                  <a:lnTo>
                    <a:pt x="1648" y="41"/>
                  </a:lnTo>
                  <a:lnTo>
                    <a:pt x="1646" y="41"/>
                  </a:lnTo>
                  <a:close/>
                  <a:moveTo>
                    <a:pt x="1619" y="39"/>
                  </a:moveTo>
                  <a:lnTo>
                    <a:pt x="1617" y="39"/>
                  </a:lnTo>
                  <a:lnTo>
                    <a:pt x="1619" y="39"/>
                  </a:lnTo>
                  <a:close/>
                  <a:moveTo>
                    <a:pt x="1622" y="38"/>
                  </a:moveTo>
                  <a:lnTo>
                    <a:pt x="1622" y="39"/>
                  </a:lnTo>
                  <a:lnTo>
                    <a:pt x="1622" y="38"/>
                  </a:lnTo>
                  <a:close/>
                  <a:moveTo>
                    <a:pt x="1617" y="38"/>
                  </a:moveTo>
                  <a:lnTo>
                    <a:pt x="1619" y="38"/>
                  </a:lnTo>
                  <a:lnTo>
                    <a:pt x="1617" y="38"/>
                  </a:lnTo>
                  <a:close/>
                  <a:moveTo>
                    <a:pt x="1619" y="38"/>
                  </a:moveTo>
                  <a:lnTo>
                    <a:pt x="1620" y="38"/>
                  </a:lnTo>
                  <a:lnTo>
                    <a:pt x="1619" y="38"/>
                  </a:lnTo>
                  <a:close/>
                  <a:moveTo>
                    <a:pt x="1617" y="38"/>
                  </a:moveTo>
                  <a:lnTo>
                    <a:pt x="1619" y="38"/>
                  </a:lnTo>
                  <a:lnTo>
                    <a:pt x="1617" y="38"/>
                  </a:lnTo>
                  <a:close/>
                  <a:moveTo>
                    <a:pt x="1615" y="38"/>
                  </a:moveTo>
                  <a:lnTo>
                    <a:pt x="1617" y="38"/>
                  </a:lnTo>
                  <a:lnTo>
                    <a:pt x="1615" y="38"/>
                  </a:lnTo>
                  <a:close/>
                  <a:moveTo>
                    <a:pt x="1615" y="36"/>
                  </a:moveTo>
                  <a:lnTo>
                    <a:pt x="1615" y="38"/>
                  </a:lnTo>
                  <a:lnTo>
                    <a:pt x="1615" y="36"/>
                  </a:lnTo>
                  <a:close/>
                  <a:moveTo>
                    <a:pt x="1617" y="36"/>
                  </a:moveTo>
                  <a:lnTo>
                    <a:pt x="1619" y="36"/>
                  </a:lnTo>
                  <a:lnTo>
                    <a:pt x="1617" y="36"/>
                  </a:lnTo>
                  <a:close/>
                  <a:moveTo>
                    <a:pt x="1619" y="36"/>
                  </a:moveTo>
                  <a:lnTo>
                    <a:pt x="1617" y="36"/>
                  </a:lnTo>
                  <a:lnTo>
                    <a:pt x="1617" y="34"/>
                  </a:lnTo>
                  <a:lnTo>
                    <a:pt x="1619" y="34"/>
                  </a:lnTo>
                  <a:lnTo>
                    <a:pt x="1617" y="36"/>
                  </a:lnTo>
                  <a:lnTo>
                    <a:pt x="1619" y="36"/>
                  </a:lnTo>
                  <a:close/>
                  <a:moveTo>
                    <a:pt x="1615" y="34"/>
                  </a:moveTo>
                  <a:lnTo>
                    <a:pt x="1615" y="33"/>
                  </a:lnTo>
                  <a:lnTo>
                    <a:pt x="1617" y="33"/>
                  </a:lnTo>
                  <a:lnTo>
                    <a:pt x="1617" y="34"/>
                  </a:lnTo>
                  <a:lnTo>
                    <a:pt x="1615" y="34"/>
                  </a:lnTo>
                  <a:lnTo>
                    <a:pt x="1614" y="34"/>
                  </a:lnTo>
                  <a:lnTo>
                    <a:pt x="1615" y="34"/>
                  </a:lnTo>
                  <a:close/>
                  <a:moveTo>
                    <a:pt x="1643" y="30"/>
                  </a:moveTo>
                  <a:lnTo>
                    <a:pt x="1641" y="30"/>
                  </a:lnTo>
                  <a:lnTo>
                    <a:pt x="1643" y="30"/>
                  </a:lnTo>
                  <a:close/>
                  <a:moveTo>
                    <a:pt x="1624" y="30"/>
                  </a:moveTo>
                  <a:lnTo>
                    <a:pt x="1624" y="28"/>
                  </a:lnTo>
                  <a:lnTo>
                    <a:pt x="1624" y="30"/>
                  </a:lnTo>
                  <a:close/>
                  <a:moveTo>
                    <a:pt x="1632" y="28"/>
                  </a:moveTo>
                  <a:lnTo>
                    <a:pt x="1632" y="30"/>
                  </a:lnTo>
                  <a:lnTo>
                    <a:pt x="1632" y="28"/>
                  </a:lnTo>
                  <a:lnTo>
                    <a:pt x="1633" y="30"/>
                  </a:lnTo>
                  <a:lnTo>
                    <a:pt x="1633" y="28"/>
                  </a:lnTo>
                  <a:lnTo>
                    <a:pt x="1633" y="26"/>
                  </a:lnTo>
                  <a:lnTo>
                    <a:pt x="1635" y="26"/>
                  </a:lnTo>
                  <a:lnTo>
                    <a:pt x="1635" y="25"/>
                  </a:lnTo>
                  <a:lnTo>
                    <a:pt x="1637" y="25"/>
                  </a:lnTo>
                  <a:lnTo>
                    <a:pt x="1637" y="26"/>
                  </a:lnTo>
                  <a:lnTo>
                    <a:pt x="1637" y="28"/>
                  </a:lnTo>
                  <a:lnTo>
                    <a:pt x="1637" y="30"/>
                  </a:lnTo>
                  <a:lnTo>
                    <a:pt x="1637" y="31"/>
                  </a:lnTo>
                  <a:lnTo>
                    <a:pt x="1637" y="33"/>
                  </a:lnTo>
                  <a:lnTo>
                    <a:pt x="1637" y="34"/>
                  </a:lnTo>
                  <a:lnTo>
                    <a:pt x="1637" y="33"/>
                  </a:lnTo>
                  <a:lnTo>
                    <a:pt x="1638" y="33"/>
                  </a:lnTo>
                  <a:lnTo>
                    <a:pt x="1638" y="34"/>
                  </a:lnTo>
                  <a:lnTo>
                    <a:pt x="1638" y="33"/>
                  </a:lnTo>
                  <a:lnTo>
                    <a:pt x="1640" y="31"/>
                  </a:lnTo>
                  <a:lnTo>
                    <a:pt x="1641" y="30"/>
                  </a:lnTo>
                  <a:lnTo>
                    <a:pt x="1641" y="31"/>
                  </a:lnTo>
                  <a:lnTo>
                    <a:pt x="1640" y="33"/>
                  </a:lnTo>
                  <a:lnTo>
                    <a:pt x="1640" y="34"/>
                  </a:lnTo>
                  <a:lnTo>
                    <a:pt x="1641" y="34"/>
                  </a:lnTo>
                  <a:lnTo>
                    <a:pt x="1641" y="33"/>
                  </a:lnTo>
                  <a:lnTo>
                    <a:pt x="1643" y="31"/>
                  </a:lnTo>
                  <a:lnTo>
                    <a:pt x="1643" y="30"/>
                  </a:lnTo>
                  <a:lnTo>
                    <a:pt x="1643" y="31"/>
                  </a:lnTo>
                  <a:lnTo>
                    <a:pt x="1643" y="30"/>
                  </a:lnTo>
                  <a:lnTo>
                    <a:pt x="1645" y="31"/>
                  </a:lnTo>
                  <a:lnTo>
                    <a:pt x="1645" y="33"/>
                  </a:lnTo>
                  <a:lnTo>
                    <a:pt x="1645" y="30"/>
                  </a:lnTo>
                  <a:lnTo>
                    <a:pt x="1645" y="28"/>
                  </a:lnTo>
                  <a:lnTo>
                    <a:pt x="1646" y="28"/>
                  </a:lnTo>
                  <a:lnTo>
                    <a:pt x="1648" y="30"/>
                  </a:lnTo>
                  <a:lnTo>
                    <a:pt x="1650" y="31"/>
                  </a:lnTo>
                  <a:lnTo>
                    <a:pt x="1650" y="33"/>
                  </a:lnTo>
                  <a:lnTo>
                    <a:pt x="1648" y="34"/>
                  </a:lnTo>
                  <a:lnTo>
                    <a:pt x="1648" y="36"/>
                  </a:lnTo>
                  <a:lnTo>
                    <a:pt x="1646" y="36"/>
                  </a:lnTo>
                  <a:lnTo>
                    <a:pt x="1645" y="36"/>
                  </a:lnTo>
                  <a:lnTo>
                    <a:pt x="1645" y="38"/>
                  </a:lnTo>
                  <a:lnTo>
                    <a:pt x="1643" y="38"/>
                  </a:lnTo>
                  <a:lnTo>
                    <a:pt x="1641" y="39"/>
                  </a:lnTo>
                  <a:lnTo>
                    <a:pt x="1643" y="39"/>
                  </a:lnTo>
                  <a:lnTo>
                    <a:pt x="1641" y="39"/>
                  </a:lnTo>
                  <a:lnTo>
                    <a:pt x="1643" y="39"/>
                  </a:lnTo>
                  <a:lnTo>
                    <a:pt x="1645" y="39"/>
                  </a:lnTo>
                  <a:lnTo>
                    <a:pt x="1645" y="41"/>
                  </a:lnTo>
                  <a:lnTo>
                    <a:pt x="1645" y="43"/>
                  </a:lnTo>
                  <a:lnTo>
                    <a:pt x="1645" y="41"/>
                  </a:lnTo>
                  <a:lnTo>
                    <a:pt x="1646" y="41"/>
                  </a:lnTo>
                  <a:lnTo>
                    <a:pt x="1648" y="41"/>
                  </a:lnTo>
                  <a:lnTo>
                    <a:pt x="1648" y="43"/>
                  </a:lnTo>
                  <a:lnTo>
                    <a:pt x="1650" y="43"/>
                  </a:lnTo>
                  <a:lnTo>
                    <a:pt x="1650" y="44"/>
                  </a:lnTo>
                  <a:lnTo>
                    <a:pt x="1648" y="44"/>
                  </a:lnTo>
                  <a:lnTo>
                    <a:pt x="1646" y="46"/>
                  </a:lnTo>
                  <a:lnTo>
                    <a:pt x="1646" y="44"/>
                  </a:lnTo>
                  <a:lnTo>
                    <a:pt x="1646" y="46"/>
                  </a:lnTo>
                  <a:lnTo>
                    <a:pt x="1648" y="46"/>
                  </a:lnTo>
                  <a:lnTo>
                    <a:pt x="1650" y="46"/>
                  </a:lnTo>
                  <a:lnTo>
                    <a:pt x="1651" y="46"/>
                  </a:lnTo>
                  <a:lnTo>
                    <a:pt x="1651" y="44"/>
                  </a:lnTo>
                  <a:lnTo>
                    <a:pt x="1653" y="44"/>
                  </a:lnTo>
                  <a:lnTo>
                    <a:pt x="1654" y="44"/>
                  </a:lnTo>
                  <a:lnTo>
                    <a:pt x="1654" y="43"/>
                  </a:lnTo>
                  <a:lnTo>
                    <a:pt x="1654" y="39"/>
                  </a:lnTo>
                  <a:lnTo>
                    <a:pt x="1656" y="39"/>
                  </a:lnTo>
                  <a:lnTo>
                    <a:pt x="1656" y="38"/>
                  </a:lnTo>
                  <a:lnTo>
                    <a:pt x="1658" y="36"/>
                  </a:lnTo>
                  <a:lnTo>
                    <a:pt x="1659" y="36"/>
                  </a:lnTo>
                  <a:lnTo>
                    <a:pt x="1659" y="38"/>
                  </a:lnTo>
                  <a:lnTo>
                    <a:pt x="1661" y="38"/>
                  </a:lnTo>
                  <a:lnTo>
                    <a:pt x="1661" y="39"/>
                  </a:lnTo>
                  <a:lnTo>
                    <a:pt x="1659" y="43"/>
                  </a:lnTo>
                  <a:lnTo>
                    <a:pt x="1659" y="44"/>
                  </a:lnTo>
                  <a:lnTo>
                    <a:pt x="1658" y="44"/>
                  </a:lnTo>
                  <a:lnTo>
                    <a:pt x="1658" y="46"/>
                  </a:lnTo>
                  <a:lnTo>
                    <a:pt x="1658" y="47"/>
                  </a:lnTo>
                  <a:lnTo>
                    <a:pt x="1656" y="47"/>
                  </a:lnTo>
                  <a:lnTo>
                    <a:pt x="1654" y="49"/>
                  </a:lnTo>
                  <a:lnTo>
                    <a:pt x="1653" y="47"/>
                  </a:lnTo>
                  <a:lnTo>
                    <a:pt x="1653" y="49"/>
                  </a:lnTo>
                  <a:lnTo>
                    <a:pt x="1653" y="51"/>
                  </a:lnTo>
                  <a:lnTo>
                    <a:pt x="1651" y="51"/>
                  </a:lnTo>
                  <a:lnTo>
                    <a:pt x="1651" y="49"/>
                  </a:lnTo>
                  <a:lnTo>
                    <a:pt x="1651" y="47"/>
                  </a:lnTo>
                  <a:lnTo>
                    <a:pt x="1650" y="47"/>
                  </a:lnTo>
                  <a:lnTo>
                    <a:pt x="1650" y="49"/>
                  </a:lnTo>
                  <a:lnTo>
                    <a:pt x="1648" y="49"/>
                  </a:lnTo>
                  <a:lnTo>
                    <a:pt x="1650" y="49"/>
                  </a:lnTo>
                  <a:lnTo>
                    <a:pt x="1650" y="51"/>
                  </a:lnTo>
                  <a:lnTo>
                    <a:pt x="1648" y="51"/>
                  </a:lnTo>
                  <a:lnTo>
                    <a:pt x="1650" y="52"/>
                  </a:lnTo>
                  <a:lnTo>
                    <a:pt x="1648" y="52"/>
                  </a:lnTo>
                  <a:lnTo>
                    <a:pt x="1646" y="52"/>
                  </a:lnTo>
                  <a:lnTo>
                    <a:pt x="1645" y="52"/>
                  </a:lnTo>
                  <a:lnTo>
                    <a:pt x="1643" y="52"/>
                  </a:lnTo>
                  <a:lnTo>
                    <a:pt x="1641" y="52"/>
                  </a:lnTo>
                  <a:lnTo>
                    <a:pt x="1640" y="52"/>
                  </a:lnTo>
                  <a:lnTo>
                    <a:pt x="1640" y="51"/>
                  </a:lnTo>
                  <a:lnTo>
                    <a:pt x="1641" y="51"/>
                  </a:lnTo>
                  <a:lnTo>
                    <a:pt x="1640" y="51"/>
                  </a:lnTo>
                  <a:lnTo>
                    <a:pt x="1640" y="52"/>
                  </a:lnTo>
                  <a:lnTo>
                    <a:pt x="1640" y="54"/>
                  </a:lnTo>
                  <a:lnTo>
                    <a:pt x="1640" y="56"/>
                  </a:lnTo>
                  <a:lnTo>
                    <a:pt x="1638" y="56"/>
                  </a:lnTo>
                  <a:lnTo>
                    <a:pt x="1640" y="56"/>
                  </a:lnTo>
                  <a:lnTo>
                    <a:pt x="1641" y="56"/>
                  </a:lnTo>
                  <a:lnTo>
                    <a:pt x="1640" y="57"/>
                  </a:lnTo>
                  <a:lnTo>
                    <a:pt x="1641" y="57"/>
                  </a:lnTo>
                  <a:lnTo>
                    <a:pt x="1640" y="59"/>
                  </a:lnTo>
                  <a:lnTo>
                    <a:pt x="1638" y="57"/>
                  </a:lnTo>
                  <a:lnTo>
                    <a:pt x="1637" y="59"/>
                  </a:lnTo>
                  <a:lnTo>
                    <a:pt x="1637" y="57"/>
                  </a:lnTo>
                  <a:lnTo>
                    <a:pt x="1635" y="57"/>
                  </a:lnTo>
                  <a:lnTo>
                    <a:pt x="1637" y="59"/>
                  </a:lnTo>
                  <a:lnTo>
                    <a:pt x="1635" y="60"/>
                  </a:lnTo>
                  <a:lnTo>
                    <a:pt x="1633" y="60"/>
                  </a:lnTo>
                  <a:lnTo>
                    <a:pt x="1632" y="59"/>
                  </a:lnTo>
                  <a:lnTo>
                    <a:pt x="1630" y="59"/>
                  </a:lnTo>
                  <a:lnTo>
                    <a:pt x="1630" y="57"/>
                  </a:lnTo>
                  <a:lnTo>
                    <a:pt x="1628" y="57"/>
                  </a:lnTo>
                  <a:lnTo>
                    <a:pt x="1628" y="56"/>
                  </a:lnTo>
                  <a:lnTo>
                    <a:pt x="1625" y="56"/>
                  </a:lnTo>
                  <a:lnTo>
                    <a:pt x="1624" y="54"/>
                  </a:lnTo>
                  <a:lnTo>
                    <a:pt x="1625" y="52"/>
                  </a:lnTo>
                  <a:lnTo>
                    <a:pt x="1627" y="51"/>
                  </a:lnTo>
                  <a:lnTo>
                    <a:pt x="1628" y="51"/>
                  </a:lnTo>
                  <a:lnTo>
                    <a:pt x="1628" y="49"/>
                  </a:lnTo>
                  <a:lnTo>
                    <a:pt x="1630" y="49"/>
                  </a:lnTo>
                  <a:lnTo>
                    <a:pt x="1630" y="47"/>
                  </a:lnTo>
                  <a:lnTo>
                    <a:pt x="1628" y="47"/>
                  </a:lnTo>
                  <a:lnTo>
                    <a:pt x="1627" y="47"/>
                  </a:lnTo>
                  <a:lnTo>
                    <a:pt x="1625" y="47"/>
                  </a:lnTo>
                  <a:lnTo>
                    <a:pt x="1625" y="49"/>
                  </a:lnTo>
                  <a:lnTo>
                    <a:pt x="1624" y="47"/>
                  </a:lnTo>
                  <a:lnTo>
                    <a:pt x="1624" y="49"/>
                  </a:lnTo>
                  <a:lnTo>
                    <a:pt x="1625" y="49"/>
                  </a:lnTo>
                  <a:lnTo>
                    <a:pt x="1624" y="49"/>
                  </a:lnTo>
                  <a:lnTo>
                    <a:pt x="1624" y="51"/>
                  </a:lnTo>
                  <a:lnTo>
                    <a:pt x="1622" y="51"/>
                  </a:lnTo>
                  <a:lnTo>
                    <a:pt x="1620" y="52"/>
                  </a:lnTo>
                  <a:lnTo>
                    <a:pt x="1619" y="52"/>
                  </a:lnTo>
                  <a:lnTo>
                    <a:pt x="1617" y="52"/>
                  </a:lnTo>
                  <a:lnTo>
                    <a:pt x="1617" y="51"/>
                  </a:lnTo>
                  <a:lnTo>
                    <a:pt x="1615" y="51"/>
                  </a:lnTo>
                  <a:lnTo>
                    <a:pt x="1617" y="51"/>
                  </a:lnTo>
                  <a:lnTo>
                    <a:pt x="1615" y="51"/>
                  </a:lnTo>
                  <a:lnTo>
                    <a:pt x="1615" y="49"/>
                  </a:lnTo>
                  <a:lnTo>
                    <a:pt x="1617" y="49"/>
                  </a:lnTo>
                  <a:lnTo>
                    <a:pt x="1617" y="47"/>
                  </a:lnTo>
                  <a:lnTo>
                    <a:pt x="1615" y="47"/>
                  </a:lnTo>
                  <a:lnTo>
                    <a:pt x="1615" y="46"/>
                  </a:lnTo>
                  <a:lnTo>
                    <a:pt x="1619" y="44"/>
                  </a:lnTo>
                  <a:lnTo>
                    <a:pt x="1617" y="44"/>
                  </a:lnTo>
                  <a:lnTo>
                    <a:pt x="1617" y="43"/>
                  </a:lnTo>
                  <a:lnTo>
                    <a:pt x="1615" y="43"/>
                  </a:lnTo>
                  <a:lnTo>
                    <a:pt x="1615" y="41"/>
                  </a:lnTo>
                  <a:lnTo>
                    <a:pt x="1614" y="41"/>
                  </a:lnTo>
                  <a:lnTo>
                    <a:pt x="1615" y="41"/>
                  </a:lnTo>
                  <a:lnTo>
                    <a:pt x="1617" y="41"/>
                  </a:lnTo>
                  <a:lnTo>
                    <a:pt x="1619" y="41"/>
                  </a:lnTo>
                  <a:lnTo>
                    <a:pt x="1620" y="41"/>
                  </a:lnTo>
                  <a:lnTo>
                    <a:pt x="1619" y="41"/>
                  </a:lnTo>
                  <a:lnTo>
                    <a:pt x="1619" y="39"/>
                  </a:lnTo>
                  <a:lnTo>
                    <a:pt x="1620" y="39"/>
                  </a:lnTo>
                  <a:lnTo>
                    <a:pt x="1619" y="39"/>
                  </a:lnTo>
                  <a:lnTo>
                    <a:pt x="1620" y="39"/>
                  </a:lnTo>
                  <a:lnTo>
                    <a:pt x="1622" y="39"/>
                  </a:lnTo>
                  <a:lnTo>
                    <a:pt x="1620" y="39"/>
                  </a:lnTo>
                  <a:lnTo>
                    <a:pt x="1620" y="41"/>
                  </a:lnTo>
                  <a:lnTo>
                    <a:pt x="1620" y="39"/>
                  </a:lnTo>
                  <a:lnTo>
                    <a:pt x="1622" y="41"/>
                  </a:lnTo>
                  <a:lnTo>
                    <a:pt x="1624" y="41"/>
                  </a:lnTo>
                  <a:lnTo>
                    <a:pt x="1622" y="39"/>
                  </a:lnTo>
                  <a:lnTo>
                    <a:pt x="1622" y="38"/>
                  </a:lnTo>
                  <a:lnTo>
                    <a:pt x="1622" y="36"/>
                  </a:lnTo>
                  <a:lnTo>
                    <a:pt x="1624" y="36"/>
                  </a:lnTo>
                  <a:lnTo>
                    <a:pt x="1624" y="38"/>
                  </a:lnTo>
                  <a:lnTo>
                    <a:pt x="1625" y="38"/>
                  </a:lnTo>
                  <a:lnTo>
                    <a:pt x="1625" y="36"/>
                  </a:lnTo>
                  <a:lnTo>
                    <a:pt x="1627" y="36"/>
                  </a:lnTo>
                  <a:lnTo>
                    <a:pt x="1628" y="36"/>
                  </a:lnTo>
                  <a:lnTo>
                    <a:pt x="1628" y="38"/>
                  </a:lnTo>
                  <a:lnTo>
                    <a:pt x="1628" y="39"/>
                  </a:lnTo>
                  <a:lnTo>
                    <a:pt x="1628" y="38"/>
                  </a:lnTo>
                  <a:lnTo>
                    <a:pt x="1630" y="38"/>
                  </a:lnTo>
                  <a:lnTo>
                    <a:pt x="1632" y="38"/>
                  </a:lnTo>
                  <a:lnTo>
                    <a:pt x="1633" y="38"/>
                  </a:lnTo>
                  <a:lnTo>
                    <a:pt x="1635" y="39"/>
                  </a:lnTo>
                  <a:lnTo>
                    <a:pt x="1637" y="39"/>
                  </a:lnTo>
                  <a:lnTo>
                    <a:pt x="1635" y="41"/>
                  </a:lnTo>
                  <a:lnTo>
                    <a:pt x="1637" y="41"/>
                  </a:lnTo>
                  <a:lnTo>
                    <a:pt x="1637" y="39"/>
                  </a:lnTo>
                  <a:lnTo>
                    <a:pt x="1637" y="38"/>
                  </a:lnTo>
                  <a:lnTo>
                    <a:pt x="1635" y="38"/>
                  </a:lnTo>
                  <a:lnTo>
                    <a:pt x="1633" y="36"/>
                  </a:lnTo>
                  <a:lnTo>
                    <a:pt x="1632" y="34"/>
                  </a:lnTo>
                  <a:lnTo>
                    <a:pt x="1630" y="34"/>
                  </a:lnTo>
                  <a:lnTo>
                    <a:pt x="1628" y="34"/>
                  </a:lnTo>
                  <a:lnTo>
                    <a:pt x="1628" y="33"/>
                  </a:lnTo>
                  <a:lnTo>
                    <a:pt x="1627" y="31"/>
                  </a:lnTo>
                  <a:lnTo>
                    <a:pt x="1625" y="31"/>
                  </a:lnTo>
                  <a:lnTo>
                    <a:pt x="1624" y="31"/>
                  </a:lnTo>
                  <a:lnTo>
                    <a:pt x="1625" y="30"/>
                  </a:lnTo>
                  <a:lnTo>
                    <a:pt x="1625" y="28"/>
                  </a:lnTo>
                  <a:lnTo>
                    <a:pt x="1625" y="30"/>
                  </a:lnTo>
                  <a:lnTo>
                    <a:pt x="1627" y="30"/>
                  </a:lnTo>
                  <a:lnTo>
                    <a:pt x="1627" y="28"/>
                  </a:lnTo>
                  <a:lnTo>
                    <a:pt x="1628" y="28"/>
                  </a:lnTo>
                  <a:lnTo>
                    <a:pt x="1630" y="26"/>
                  </a:lnTo>
                  <a:lnTo>
                    <a:pt x="1630" y="25"/>
                  </a:lnTo>
                  <a:lnTo>
                    <a:pt x="1630" y="26"/>
                  </a:lnTo>
                  <a:lnTo>
                    <a:pt x="1632" y="28"/>
                  </a:lnTo>
                  <a:close/>
                  <a:moveTo>
                    <a:pt x="1755" y="21"/>
                  </a:moveTo>
                  <a:lnTo>
                    <a:pt x="1754" y="21"/>
                  </a:lnTo>
                  <a:lnTo>
                    <a:pt x="1755" y="21"/>
                  </a:lnTo>
                  <a:close/>
                  <a:moveTo>
                    <a:pt x="1752" y="20"/>
                  </a:moveTo>
                  <a:lnTo>
                    <a:pt x="1754" y="18"/>
                  </a:lnTo>
                  <a:lnTo>
                    <a:pt x="1754" y="20"/>
                  </a:lnTo>
                  <a:lnTo>
                    <a:pt x="1752" y="20"/>
                  </a:lnTo>
                  <a:close/>
                  <a:moveTo>
                    <a:pt x="1754" y="20"/>
                  </a:moveTo>
                  <a:lnTo>
                    <a:pt x="1754" y="18"/>
                  </a:lnTo>
                  <a:lnTo>
                    <a:pt x="1755" y="18"/>
                  </a:lnTo>
                  <a:lnTo>
                    <a:pt x="1755" y="20"/>
                  </a:lnTo>
                  <a:lnTo>
                    <a:pt x="1754" y="20"/>
                  </a:lnTo>
                  <a:close/>
                  <a:moveTo>
                    <a:pt x="1859" y="43"/>
                  </a:moveTo>
                  <a:lnTo>
                    <a:pt x="1861" y="43"/>
                  </a:lnTo>
                  <a:lnTo>
                    <a:pt x="1863" y="43"/>
                  </a:lnTo>
                  <a:lnTo>
                    <a:pt x="1864" y="44"/>
                  </a:lnTo>
                  <a:lnTo>
                    <a:pt x="1866" y="44"/>
                  </a:lnTo>
                  <a:lnTo>
                    <a:pt x="1868" y="44"/>
                  </a:lnTo>
                  <a:lnTo>
                    <a:pt x="1868" y="46"/>
                  </a:lnTo>
                  <a:lnTo>
                    <a:pt x="1868" y="47"/>
                  </a:lnTo>
                  <a:lnTo>
                    <a:pt x="1868" y="49"/>
                  </a:lnTo>
                  <a:lnTo>
                    <a:pt x="1866" y="49"/>
                  </a:lnTo>
                  <a:lnTo>
                    <a:pt x="1866" y="51"/>
                  </a:lnTo>
                  <a:lnTo>
                    <a:pt x="1868" y="51"/>
                  </a:lnTo>
                  <a:lnTo>
                    <a:pt x="1866" y="51"/>
                  </a:lnTo>
                  <a:lnTo>
                    <a:pt x="1866" y="52"/>
                  </a:lnTo>
                  <a:lnTo>
                    <a:pt x="1864" y="52"/>
                  </a:lnTo>
                  <a:lnTo>
                    <a:pt x="1864" y="54"/>
                  </a:lnTo>
                  <a:lnTo>
                    <a:pt x="1864" y="56"/>
                  </a:lnTo>
                  <a:lnTo>
                    <a:pt x="1863" y="56"/>
                  </a:lnTo>
                  <a:lnTo>
                    <a:pt x="1861" y="57"/>
                  </a:lnTo>
                  <a:lnTo>
                    <a:pt x="1859" y="57"/>
                  </a:lnTo>
                  <a:lnTo>
                    <a:pt x="1858" y="57"/>
                  </a:lnTo>
                  <a:lnTo>
                    <a:pt x="1859" y="57"/>
                  </a:lnTo>
                  <a:lnTo>
                    <a:pt x="1859" y="59"/>
                  </a:lnTo>
                  <a:lnTo>
                    <a:pt x="1861" y="59"/>
                  </a:lnTo>
                  <a:lnTo>
                    <a:pt x="1863" y="59"/>
                  </a:lnTo>
                  <a:lnTo>
                    <a:pt x="1861" y="59"/>
                  </a:lnTo>
                  <a:lnTo>
                    <a:pt x="1859" y="59"/>
                  </a:lnTo>
                  <a:lnTo>
                    <a:pt x="1858" y="60"/>
                  </a:lnTo>
                  <a:lnTo>
                    <a:pt x="1856" y="59"/>
                  </a:lnTo>
                  <a:lnTo>
                    <a:pt x="1855" y="60"/>
                  </a:lnTo>
                  <a:lnTo>
                    <a:pt x="1856" y="60"/>
                  </a:lnTo>
                  <a:lnTo>
                    <a:pt x="1858" y="60"/>
                  </a:lnTo>
                  <a:lnTo>
                    <a:pt x="1858" y="62"/>
                  </a:lnTo>
                  <a:lnTo>
                    <a:pt x="1858" y="60"/>
                  </a:lnTo>
                  <a:lnTo>
                    <a:pt x="1859" y="60"/>
                  </a:lnTo>
                  <a:lnTo>
                    <a:pt x="1859" y="62"/>
                  </a:lnTo>
                  <a:lnTo>
                    <a:pt x="1861" y="60"/>
                  </a:lnTo>
                  <a:lnTo>
                    <a:pt x="1861" y="62"/>
                  </a:lnTo>
                  <a:lnTo>
                    <a:pt x="1863" y="62"/>
                  </a:lnTo>
                  <a:lnTo>
                    <a:pt x="1864" y="60"/>
                  </a:lnTo>
                  <a:lnTo>
                    <a:pt x="1866" y="60"/>
                  </a:lnTo>
                  <a:lnTo>
                    <a:pt x="1864" y="60"/>
                  </a:lnTo>
                  <a:lnTo>
                    <a:pt x="1866" y="59"/>
                  </a:lnTo>
                  <a:lnTo>
                    <a:pt x="1868" y="59"/>
                  </a:lnTo>
                  <a:lnTo>
                    <a:pt x="1868" y="57"/>
                  </a:lnTo>
                  <a:lnTo>
                    <a:pt x="1869" y="57"/>
                  </a:lnTo>
                  <a:lnTo>
                    <a:pt x="1868" y="57"/>
                  </a:lnTo>
                  <a:lnTo>
                    <a:pt x="1869" y="56"/>
                  </a:lnTo>
                  <a:lnTo>
                    <a:pt x="1871" y="56"/>
                  </a:lnTo>
                  <a:lnTo>
                    <a:pt x="1871" y="54"/>
                  </a:lnTo>
                  <a:lnTo>
                    <a:pt x="1872" y="54"/>
                  </a:lnTo>
                  <a:lnTo>
                    <a:pt x="1872" y="52"/>
                  </a:lnTo>
                  <a:lnTo>
                    <a:pt x="1872" y="54"/>
                  </a:lnTo>
                  <a:lnTo>
                    <a:pt x="1871" y="54"/>
                  </a:lnTo>
                  <a:lnTo>
                    <a:pt x="1872" y="54"/>
                  </a:lnTo>
                  <a:lnTo>
                    <a:pt x="1872" y="52"/>
                  </a:lnTo>
                  <a:lnTo>
                    <a:pt x="1874" y="52"/>
                  </a:lnTo>
                  <a:lnTo>
                    <a:pt x="1876" y="52"/>
                  </a:lnTo>
                  <a:lnTo>
                    <a:pt x="1874" y="52"/>
                  </a:lnTo>
                  <a:lnTo>
                    <a:pt x="1876" y="52"/>
                  </a:lnTo>
                  <a:lnTo>
                    <a:pt x="1876" y="51"/>
                  </a:lnTo>
                  <a:lnTo>
                    <a:pt x="1876" y="52"/>
                  </a:lnTo>
                  <a:lnTo>
                    <a:pt x="1877" y="52"/>
                  </a:lnTo>
                  <a:lnTo>
                    <a:pt x="1877" y="51"/>
                  </a:lnTo>
                  <a:lnTo>
                    <a:pt x="1879" y="51"/>
                  </a:lnTo>
                  <a:lnTo>
                    <a:pt x="1879" y="52"/>
                  </a:lnTo>
                  <a:lnTo>
                    <a:pt x="1881" y="51"/>
                  </a:lnTo>
                  <a:lnTo>
                    <a:pt x="1881" y="52"/>
                  </a:lnTo>
                  <a:lnTo>
                    <a:pt x="1882" y="51"/>
                  </a:lnTo>
                  <a:lnTo>
                    <a:pt x="1882" y="49"/>
                  </a:lnTo>
                  <a:lnTo>
                    <a:pt x="1884" y="49"/>
                  </a:lnTo>
                  <a:lnTo>
                    <a:pt x="1884" y="51"/>
                  </a:lnTo>
                  <a:lnTo>
                    <a:pt x="1884" y="52"/>
                  </a:lnTo>
                  <a:lnTo>
                    <a:pt x="1884" y="54"/>
                  </a:lnTo>
                  <a:lnTo>
                    <a:pt x="1884" y="56"/>
                  </a:lnTo>
                  <a:lnTo>
                    <a:pt x="1885" y="56"/>
                  </a:lnTo>
                  <a:lnTo>
                    <a:pt x="1885" y="57"/>
                  </a:lnTo>
                  <a:lnTo>
                    <a:pt x="1885" y="56"/>
                  </a:lnTo>
                  <a:lnTo>
                    <a:pt x="1885" y="57"/>
                  </a:lnTo>
                  <a:lnTo>
                    <a:pt x="1887" y="57"/>
                  </a:lnTo>
                  <a:lnTo>
                    <a:pt x="1889" y="57"/>
                  </a:lnTo>
                  <a:lnTo>
                    <a:pt x="1890" y="57"/>
                  </a:lnTo>
                  <a:lnTo>
                    <a:pt x="1890" y="59"/>
                  </a:lnTo>
                  <a:lnTo>
                    <a:pt x="1892" y="59"/>
                  </a:lnTo>
                  <a:lnTo>
                    <a:pt x="1894" y="59"/>
                  </a:lnTo>
                  <a:lnTo>
                    <a:pt x="1894" y="60"/>
                  </a:lnTo>
                  <a:lnTo>
                    <a:pt x="1892" y="60"/>
                  </a:lnTo>
                  <a:lnTo>
                    <a:pt x="1894" y="62"/>
                  </a:lnTo>
                  <a:lnTo>
                    <a:pt x="1894" y="64"/>
                  </a:lnTo>
                  <a:lnTo>
                    <a:pt x="1895" y="64"/>
                  </a:lnTo>
                  <a:lnTo>
                    <a:pt x="1897" y="64"/>
                  </a:lnTo>
                  <a:lnTo>
                    <a:pt x="1897" y="65"/>
                  </a:lnTo>
                  <a:lnTo>
                    <a:pt x="1897" y="64"/>
                  </a:lnTo>
                  <a:lnTo>
                    <a:pt x="1897" y="62"/>
                  </a:lnTo>
                  <a:lnTo>
                    <a:pt x="1898" y="62"/>
                  </a:lnTo>
                  <a:lnTo>
                    <a:pt x="1898" y="60"/>
                  </a:lnTo>
                  <a:lnTo>
                    <a:pt x="1900" y="60"/>
                  </a:lnTo>
                  <a:lnTo>
                    <a:pt x="1902" y="59"/>
                  </a:lnTo>
                  <a:lnTo>
                    <a:pt x="1903" y="59"/>
                  </a:lnTo>
                  <a:lnTo>
                    <a:pt x="1905" y="59"/>
                  </a:lnTo>
                  <a:lnTo>
                    <a:pt x="1905" y="60"/>
                  </a:lnTo>
                  <a:lnTo>
                    <a:pt x="1905" y="62"/>
                  </a:lnTo>
                  <a:lnTo>
                    <a:pt x="1907" y="62"/>
                  </a:lnTo>
                  <a:lnTo>
                    <a:pt x="1908" y="62"/>
                  </a:lnTo>
                  <a:lnTo>
                    <a:pt x="1908" y="64"/>
                  </a:lnTo>
                  <a:lnTo>
                    <a:pt x="1910" y="64"/>
                  </a:lnTo>
                  <a:lnTo>
                    <a:pt x="1910" y="65"/>
                  </a:lnTo>
                  <a:lnTo>
                    <a:pt x="1910" y="67"/>
                  </a:lnTo>
                  <a:lnTo>
                    <a:pt x="1910" y="69"/>
                  </a:lnTo>
                  <a:lnTo>
                    <a:pt x="1911" y="69"/>
                  </a:lnTo>
                  <a:lnTo>
                    <a:pt x="1913" y="70"/>
                  </a:lnTo>
                  <a:lnTo>
                    <a:pt x="1913" y="72"/>
                  </a:lnTo>
                  <a:lnTo>
                    <a:pt x="1915" y="73"/>
                  </a:lnTo>
                  <a:lnTo>
                    <a:pt x="1915" y="75"/>
                  </a:lnTo>
                  <a:lnTo>
                    <a:pt x="1915" y="77"/>
                  </a:lnTo>
                  <a:lnTo>
                    <a:pt x="1916" y="78"/>
                  </a:lnTo>
                  <a:lnTo>
                    <a:pt x="1915" y="80"/>
                  </a:lnTo>
                  <a:lnTo>
                    <a:pt x="1913" y="80"/>
                  </a:lnTo>
                  <a:lnTo>
                    <a:pt x="1913" y="82"/>
                  </a:lnTo>
                  <a:lnTo>
                    <a:pt x="1911" y="82"/>
                  </a:lnTo>
                  <a:lnTo>
                    <a:pt x="1911" y="83"/>
                  </a:lnTo>
                  <a:lnTo>
                    <a:pt x="1911" y="82"/>
                  </a:lnTo>
                  <a:lnTo>
                    <a:pt x="1910" y="82"/>
                  </a:lnTo>
                  <a:lnTo>
                    <a:pt x="1910" y="83"/>
                  </a:lnTo>
                  <a:lnTo>
                    <a:pt x="1908" y="83"/>
                  </a:lnTo>
                  <a:lnTo>
                    <a:pt x="1908" y="85"/>
                  </a:lnTo>
                  <a:lnTo>
                    <a:pt x="1907" y="85"/>
                  </a:lnTo>
                  <a:lnTo>
                    <a:pt x="1905" y="85"/>
                  </a:lnTo>
                  <a:lnTo>
                    <a:pt x="1905" y="86"/>
                  </a:lnTo>
                  <a:lnTo>
                    <a:pt x="1903" y="86"/>
                  </a:lnTo>
                  <a:lnTo>
                    <a:pt x="1902" y="88"/>
                  </a:lnTo>
                  <a:lnTo>
                    <a:pt x="1902" y="90"/>
                  </a:lnTo>
                  <a:lnTo>
                    <a:pt x="1900" y="90"/>
                  </a:lnTo>
                  <a:lnTo>
                    <a:pt x="1898" y="90"/>
                  </a:lnTo>
                  <a:lnTo>
                    <a:pt x="1897" y="91"/>
                  </a:lnTo>
                  <a:lnTo>
                    <a:pt x="1895" y="91"/>
                  </a:lnTo>
                  <a:lnTo>
                    <a:pt x="1895" y="93"/>
                  </a:lnTo>
                  <a:lnTo>
                    <a:pt x="1894" y="93"/>
                  </a:lnTo>
                  <a:lnTo>
                    <a:pt x="1892" y="95"/>
                  </a:lnTo>
                  <a:lnTo>
                    <a:pt x="1892" y="96"/>
                  </a:lnTo>
                  <a:lnTo>
                    <a:pt x="1894" y="96"/>
                  </a:lnTo>
                  <a:lnTo>
                    <a:pt x="1892" y="96"/>
                  </a:lnTo>
                  <a:lnTo>
                    <a:pt x="1894" y="98"/>
                  </a:lnTo>
                  <a:lnTo>
                    <a:pt x="1892" y="98"/>
                  </a:lnTo>
                  <a:lnTo>
                    <a:pt x="1890" y="100"/>
                  </a:lnTo>
                  <a:lnTo>
                    <a:pt x="1889" y="101"/>
                  </a:lnTo>
                  <a:lnTo>
                    <a:pt x="1887" y="101"/>
                  </a:lnTo>
                  <a:lnTo>
                    <a:pt x="1889" y="103"/>
                  </a:lnTo>
                  <a:lnTo>
                    <a:pt x="1887" y="103"/>
                  </a:lnTo>
                  <a:lnTo>
                    <a:pt x="1887" y="104"/>
                  </a:lnTo>
                  <a:lnTo>
                    <a:pt x="1889" y="106"/>
                  </a:lnTo>
                  <a:lnTo>
                    <a:pt x="1889" y="108"/>
                  </a:lnTo>
                  <a:lnTo>
                    <a:pt x="1890" y="106"/>
                  </a:lnTo>
                  <a:lnTo>
                    <a:pt x="1889" y="108"/>
                  </a:lnTo>
                  <a:lnTo>
                    <a:pt x="1890" y="108"/>
                  </a:lnTo>
                  <a:lnTo>
                    <a:pt x="1890" y="109"/>
                  </a:lnTo>
                  <a:lnTo>
                    <a:pt x="1889" y="109"/>
                  </a:lnTo>
                  <a:lnTo>
                    <a:pt x="1889" y="111"/>
                  </a:lnTo>
                  <a:lnTo>
                    <a:pt x="1889" y="113"/>
                  </a:lnTo>
                  <a:lnTo>
                    <a:pt x="1887" y="113"/>
                  </a:lnTo>
                  <a:lnTo>
                    <a:pt x="1885" y="114"/>
                  </a:lnTo>
                  <a:lnTo>
                    <a:pt x="1884" y="116"/>
                  </a:lnTo>
                  <a:lnTo>
                    <a:pt x="1882" y="116"/>
                  </a:lnTo>
                  <a:lnTo>
                    <a:pt x="1882" y="117"/>
                  </a:lnTo>
                  <a:lnTo>
                    <a:pt x="1881" y="117"/>
                  </a:lnTo>
                  <a:lnTo>
                    <a:pt x="1881" y="119"/>
                  </a:lnTo>
                  <a:lnTo>
                    <a:pt x="1881" y="121"/>
                  </a:lnTo>
                  <a:lnTo>
                    <a:pt x="1882" y="121"/>
                  </a:lnTo>
                  <a:lnTo>
                    <a:pt x="1884" y="121"/>
                  </a:lnTo>
                  <a:lnTo>
                    <a:pt x="1885" y="121"/>
                  </a:lnTo>
                  <a:lnTo>
                    <a:pt x="1882" y="122"/>
                  </a:lnTo>
                  <a:lnTo>
                    <a:pt x="1881" y="121"/>
                  </a:lnTo>
                  <a:lnTo>
                    <a:pt x="1879" y="121"/>
                  </a:lnTo>
                  <a:lnTo>
                    <a:pt x="1879" y="122"/>
                  </a:lnTo>
                  <a:lnTo>
                    <a:pt x="1877" y="124"/>
                  </a:lnTo>
                  <a:lnTo>
                    <a:pt x="1876" y="124"/>
                  </a:lnTo>
                  <a:lnTo>
                    <a:pt x="1874" y="126"/>
                  </a:lnTo>
                  <a:lnTo>
                    <a:pt x="1872" y="126"/>
                  </a:lnTo>
                  <a:lnTo>
                    <a:pt x="1871" y="127"/>
                  </a:lnTo>
                  <a:lnTo>
                    <a:pt x="1869" y="127"/>
                  </a:lnTo>
                  <a:lnTo>
                    <a:pt x="1868" y="127"/>
                  </a:lnTo>
                  <a:lnTo>
                    <a:pt x="1866" y="126"/>
                  </a:lnTo>
                  <a:lnTo>
                    <a:pt x="1866" y="127"/>
                  </a:lnTo>
                  <a:lnTo>
                    <a:pt x="1864" y="127"/>
                  </a:lnTo>
                  <a:lnTo>
                    <a:pt x="1861" y="126"/>
                  </a:lnTo>
                  <a:lnTo>
                    <a:pt x="1861" y="127"/>
                  </a:lnTo>
                  <a:lnTo>
                    <a:pt x="1859" y="127"/>
                  </a:lnTo>
                  <a:lnTo>
                    <a:pt x="1859" y="126"/>
                  </a:lnTo>
                  <a:lnTo>
                    <a:pt x="1858" y="126"/>
                  </a:lnTo>
                  <a:lnTo>
                    <a:pt x="1856" y="127"/>
                  </a:lnTo>
                  <a:lnTo>
                    <a:pt x="1855" y="127"/>
                  </a:lnTo>
                  <a:lnTo>
                    <a:pt x="1853" y="127"/>
                  </a:lnTo>
                  <a:lnTo>
                    <a:pt x="1851" y="127"/>
                  </a:lnTo>
                  <a:lnTo>
                    <a:pt x="1850" y="127"/>
                  </a:lnTo>
                  <a:lnTo>
                    <a:pt x="1848" y="129"/>
                  </a:lnTo>
                  <a:lnTo>
                    <a:pt x="1846" y="129"/>
                  </a:lnTo>
                  <a:lnTo>
                    <a:pt x="1845" y="129"/>
                  </a:lnTo>
                  <a:lnTo>
                    <a:pt x="1843" y="129"/>
                  </a:lnTo>
                  <a:lnTo>
                    <a:pt x="1843" y="127"/>
                  </a:lnTo>
                  <a:lnTo>
                    <a:pt x="1841" y="127"/>
                  </a:lnTo>
                  <a:lnTo>
                    <a:pt x="1840" y="127"/>
                  </a:lnTo>
                  <a:lnTo>
                    <a:pt x="1838" y="127"/>
                  </a:lnTo>
                  <a:lnTo>
                    <a:pt x="1838" y="129"/>
                  </a:lnTo>
                  <a:lnTo>
                    <a:pt x="1837" y="129"/>
                  </a:lnTo>
                  <a:lnTo>
                    <a:pt x="1835" y="129"/>
                  </a:lnTo>
                  <a:lnTo>
                    <a:pt x="1833" y="129"/>
                  </a:lnTo>
                  <a:lnTo>
                    <a:pt x="1832" y="127"/>
                  </a:lnTo>
                  <a:lnTo>
                    <a:pt x="1832" y="129"/>
                  </a:lnTo>
                  <a:lnTo>
                    <a:pt x="1830" y="129"/>
                  </a:lnTo>
                  <a:lnTo>
                    <a:pt x="1828" y="129"/>
                  </a:lnTo>
                  <a:lnTo>
                    <a:pt x="1828" y="130"/>
                  </a:lnTo>
                  <a:lnTo>
                    <a:pt x="1827" y="130"/>
                  </a:lnTo>
                  <a:lnTo>
                    <a:pt x="1827" y="129"/>
                  </a:lnTo>
                  <a:lnTo>
                    <a:pt x="1825" y="129"/>
                  </a:lnTo>
                  <a:lnTo>
                    <a:pt x="1824" y="129"/>
                  </a:lnTo>
                  <a:lnTo>
                    <a:pt x="1822" y="129"/>
                  </a:lnTo>
                  <a:lnTo>
                    <a:pt x="1820" y="129"/>
                  </a:lnTo>
                  <a:lnTo>
                    <a:pt x="1819" y="129"/>
                  </a:lnTo>
                  <a:lnTo>
                    <a:pt x="1817" y="129"/>
                  </a:lnTo>
                  <a:lnTo>
                    <a:pt x="1815" y="127"/>
                  </a:lnTo>
                  <a:lnTo>
                    <a:pt x="1814" y="127"/>
                  </a:lnTo>
                  <a:lnTo>
                    <a:pt x="1812" y="127"/>
                  </a:lnTo>
                  <a:lnTo>
                    <a:pt x="1811" y="127"/>
                  </a:lnTo>
                  <a:lnTo>
                    <a:pt x="1809" y="127"/>
                  </a:lnTo>
                  <a:lnTo>
                    <a:pt x="1807" y="127"/>
                  </a:lnTo>
                  <a:lnTo>
                    <a:pt x="1806" y="129"/>
                  </a:lnTo>
                  <a:lnTo>
                    <a:pt x="1806" y="130"/>
                  </a:lnTo>
                  <a:lnTo>
                    <a:pt x="1807" y="130"/>
                  </a:lnTo>
                  <a:lnTo>
                    <a:pt x="1807" y="129"/>
                  </a:lnTo>
                  <a:lnTo>
                    <a:pt x="1809" y="129"/>
                  </a:lnTo>
                  <a:lnTo>
                    <a:pt x="1811" y="129"/>
                  </a:lnTo>
                  <a:lnTo>
                    <a:pt x="1812" y="129"/>
                  </a:lnTo>
                  <a:lnTo>
                    <a:pt x="1812" y="127"/>
                  </a:lnTo>
                  <a:lnTo>
                    <a:pt x="1812" y="129"/>
                  </a:lnTo>
                  <a:lnTo>
                    <a:pt x="1814" y="127"/>
                  </a:lnTo>
                  <a:lnTo>
                    <a:pt x="1814" y="129"/>
                  </a:lnTo>
                  <a:lnTo>
                    <a:pt x="1814" y="130"/>
                  </a:lnTo>
                  <a:lnTo>
                    <a:pt x="1812" y="130"/>
                  </a:lnTo>
                  <a:lnTo>
                    <a:pt x="1812" y="132"/>
                  </a:lnTo>
                  <a:lnTo>
                    <a:pt x="1811" y="134"/>
                  </a:lnTo>
                  <a:lnTo>
                    <a:pt x="1809" y="135"/>
                  </a:lnTo>
                  <a:lnTo>
                    <a:pt x="1807" y="135"/>
                  </a:lnTo>
                  <a:lnTo>
                    <a:pt x="1807" y="137"/>
                  </a:lnTo>
                  <a:lnTo>
                    <a:pt x="1807" y="135"/>
                  </a:lnTo>
                  <a:lnTo>
                    <a:pt x="1807" y="137"/>
                  </a:lnTo>
                  <a:lnTo>
                    <a:pt x="1809" y="137"/>
                  </a:lnTo>
                  <a:lnTo>
                    <a:pt x="1807" y="137"/>
                  </a:lnTo>
                  <a:lnTo>
                    <a:pt x="1809" y="137"/>
                  </a:lnTo>
                  <a:lnTo>
                    <a:pt x="1811" y="137"/>
                  </a:lnTo>
                  <a:lnTo>
                    <a:pt x="1812" y="139"/>
                  </a:lnTo>
                  <a:lnTo>
                    <a:pt x="1812" y="137"/>
                  </a:lnTo>
                  <a:lnTo>
                    <a:pt x="1814" y="137"/>
                  </a:lnTo>
                  <a:lnTo>
                    <a:pt x="1815" y="135"/>
                  </a:lnTo>
                  <a:lnTo>
                    <a:pt x="1815" y="137"/>
                  </a:lnTo>
                  <a:lnTo>
                    <a:pt x="1815" y="135"/>
                  </a:lnTo>
                  <a:lnTo>
                    <a:pt x="1817" y="135"/>
                  </a:lnTo>
                  <a:lnTo>
                    <a:pt x="1819" y="134"/>
                  </a:lnTo>
                  <a:lnTo>
                    <a:pt x="1819" y="135"/>
                  </a:lnTo>
                  <a:lnTo>
                    <a:pt x="1820" y="135"/>
                  </a:lnTo>
                  <a:lnTo>
                    <a:pt x="1822" y="135"/>
                  </a:lnTo>
                  <a:lnTo>
                    <a:pt x="1822" y="137"/>
                  </a:lnTo>
                  <a:lnTo>
                    <a:pt x="1820" y="137"/>
                  </a:lnTo>
                  <a:lnTo>
                    <a:pt x="1819" y="137"/>
                  </a:lnTo>
                  <a:lnTo>
                    <a:pt x="1817" y="137"/>
                  </a:lnTo>
                  <a:lnTo>
                    <a:pt x="1817" y="139"/>
                  </a:lnTo>
                  <a:lnTo>
                    <a:pt x="1815" y="137"/>
                  </a:lnTo>
                  <a:lnTo>
                    <a:pt x="1815" y="139"/>
                  </a:lnTo>
                  <a:lnTo>
                    <a:pt x="1817" y="139"/>
                  </a:lnTo>
                  <a:lnTo>
                    <a:pt x="1819" y="139"/>
                  </a:lnTo>
                  <a:lnTo>
                    <a:pt x="1820" y="139"/>
                  </a:lnTo>
                  <a:lnTo>
                    <a:pt x="1819" y="139"/>
                  </a:lnTo>
                  <a:lnTo>
                    <a:pt x="1820" y="139"/>
                  </a:lnTo>
                  <a:lnTo>
                    <a:pt x="1822" y="139"/>
                  </a:lnTo>
                  <a:lnTo>
                    <a:pt x="1824" y="139"/>
                  </a:lnTo>
                  <a:lnTo>
                    <a:pt x="1825" y="139"/>
                  </a:lnTo>
                  <a:lnTo>
                    <a:pt x="1827" y="139"/>
                  </a:lnTo>
                  <a:lnTo>
                    <a:pt x="1828" y="139"/>
                  </a:lnTo>
                  <a:lnTo>
                    <a:pt x="1830" y="139"/>
                  </a:lnTo>
                  <a:lnTo>
                    <a:pt x="1832" y="139"/>
                  </a:lnTo>
                  <a:lnTo>
                    <a:pt x="1833" y="139"/>
                  </a:lnTo>
                  <a:lnTo>
                    <a:pt x="1833" y="137"/>
                  </a:lnTo>
                  <a:lnTo>
                    <a:pt x="1835" y="137"/>
                  </a:lnTo>
                  <a:lnTo>
                    <a:pt x="1835" y="139"/>
                  </a:lnTo>
                  <a:lnTo>
                    <a:pt x="1837" y="139"/>
                  </a:lnTo>
                  <a:lnTo>
                    <a:pt x="1838" y="139"/>
                  </a:lnTo>
                  <a:lnTo>
                    <a:pt x="1840" y="140"/>
                  </a:lnTo>
                  <a:lnTo>
                    <a:pt x="1838" y="142"/>
                  </a:lnTo>
                  <a:lnTo>
                    <a:pt x="1837" y="143"/>
                  </a:lnTo>
                  <a:lnTo>
                    <a:pt x="1838" y="143"/>
                  </a:lnTo>
                  <a:lnTo>
                    <a:pt x="1840" y="143"/>
                  </a:lnTo>
                  <a:lnTo>
                    <a:pt x="1840" y="142"/>
                  </a:lnTo>
                  <a:lnTo>
                    <a:pt x="1841" y="142"/>
                  </a:lnTo>
                  <a:lnTo>
                    <a:pt x="1843" y="142"/>
                  </a:lnTo>
                  <a:lnTo>
                    <a:pt x="1845" y="142"/>
                  </a:lnTo>
                  <a:lnTo>
                    <a:pt x="1846" y="142"/>
                  </a:lnTo>
                  <a:lnTo>
                    <a:pt x="1846" y="140"/>
                  </a:lnTo>
                  <a:lnTo>
                    <a:pt x="1848" y="140"/>
                  </a:lnTo>
                  <a:lnTo>
                    <a:pt x="1850" y="140"/>
                  </a:lnTo>
                  <a:lnTo>
                    <a:pt x="1851" y="140"/>
                  </a:lnTo>
                  <a:lnTo>
                    <a:pt x="1853" y="140"/>
                  </a:lnTo>
                  <a:lnTo>
                    <a:pt x="1855" y="140"/>
                  </a:lnTo>
                  <a:lnTo>
                    <a:pt x="1856" y="140"/>
                  </a:lnTo>
                  <a:lnTo>
                    <a:pt x="1856" y="142"/>
                  </a:lnTo>
                  <a:lnTo>
                    <a:pt x="1858" y="142"/>
                  </a:lnTo>
                  <a:lnTo>
                    <a:pt x="1859" y="142"/>
                  </a:lnTo>
                  <a:lnTo>
                    <a:pt x="1861" y="142"/>
                  </a:lnTo>
                  <a:lnTo>
                    <a:pt x="1863" y="142"/>
                  </a:lnTo>
                  <a:lnTo>
                    <a:pt x="1864" y="142"/>
                  </a:lnTo>
                  <a:lnTo>
                    <a:pt x="1863" y="142"/>
                  </a:lnTo>
                  <a:lnTo>
                    <a:pt x="1864" y="142"/>
                  </a:lnTo>
                  <a:lnTo>
                    <a:pt x="1866" y="142"/>
                  </a:lnTo>
                  <a:lnTo>
                    <a:pt x="1866" y="143"/>
                  </a:lnTo>
                  <a:lnTo>
                    <a:pt x="1864" y="143"/>
                  </a:lnTo>
                  <a:lnTo>
                    <a:pt x="1866" y="145"/>
                  </a:lnTo>
                  <a:lnTo>
                    <a:pt x="1864" y="145"/>
                  </a:lnTo>
                  <a:lnTo>
                    <a:pt x="1864" y="147"/>
                  </a:lnTo>
                  <a:lnTo>
                    <a:pt x="1863" y="147"/>
                  </a:lnTo>
                  <a:lnTo>
                    <a:pt x="1863" y="148"/>
                  </a:lnTo>
                  <a:lnTo>
                    <a:pt x="1861" y="148"/>
                  </a:lnTo>
                  <a:lnTo>
                    <a:pt x="1861" y="150"/>
                  </a:lnTo>
                  <a:lnTo>
                    <a:pt x="1859" y="152"/>
                  </a:lnTo>
                  <a:lnTo>
                    <a:pt x="1859" y="153"/>
                  </a:lnTo>
                  <a:lnTo>
                    <a:pt x="1859" y="155"/>
                  </a:lnTo>
                  <a:lnTo>
                    <a:pt x="1858" y="155"/>
                  </a:lnTo>
                  <a:lnTo>
                    <a:pt x="1856" y="156"/>
                  </a:lnTo>
                  <a:lnTo>
                    <a:pt x="1858" y="158"/>
                  </a:lnTo>
                  <a:lnTo>
                    <a:pt x="1858" y="160"/>
                  </a:lnTo>
                  <a:lnTo>
                    <a:pt x="1856" y="158"/>
                  </a:lnTo>
                  <a:lnTo>
                    <a:pt x="1856" y="160"/>
                  </a:lnTo>
                  <a:lnTo>
                    <a:pt x="1855" y="160"/>
                  </a:lnTo>
                  <a:lnTo>
                    <a:pt x="1855" y="161"/>
                  </a:lnTo>
                  <a:lnTo>
                    <a:pt x="1856" y="161"/>
                  </a:lnTo>
                  <a:lnTo>
                    <a:pt x="1858" y="161"/>
                  </a:lnTo>
                  <a:lnTo>
                    <a:pt x="1858" y="160"/>
                  </a:lnTo>
                  <a:lnTo>
                    <a:pt x="1859" y="161"/>
                  </a:lnTo>
                  <a:lnTo>
                    <a:pt x="1859" y="160"/>
                  </a:lnTo>
                  <a:lnTo>
                    <a:pt x="1858" y="160"/>
                  </a:lnTo>
                  <a:lnTo>
                    <a:pt x="1859" y="160"/>
                  </a:lnTo>
                  <a:lnTo>
                    <a:pt x="1859" y="158"/>
                  </a:lnTo>
                  <a:lnTo>
                    <a:pt x="1859" y="156"/>
                  </a:lnTo>
                  <a:lnTo>
                    <a:pt x="1859" y="155"/>
                  </a:lnTo>
                  <a:lnTo>
                    <a:pt x="1861" y="153"/>
                  </a:lnTo>
                  <a:lnTo>
                    <a:pt x="1861" y="152"/>
                  </a:lnTo>
                  <a:lnTo>
                    <a:pt x="1863" y="150"/>
                  </a:lnTo>
                  <a:lnTo>
                    <a:pt x="1864" y="150"/>
                  </a:lnTo>
                  <a:lnTo>
                    <a:pt x="1864" y="152"/>
                  </a:lnTo>
                  <a:lnTo>
                    <a:pt x="1864" y="153"/>
                  </a:lnTo>
                  <a:lnTo>
                    <a:pt x="1864" y="152"/>
                  </a:lnTo>
                  <a:lnTo>
                    <a:pt x="1864" y="150"/>
                  </a:lnTo>
                  <a:lnTo>
                    <a:pt x="1866" y="150"/>
                  </a:lnTo>
                  <a:lnTo>
                    <a:pt x="1868" y="152"/>
                  </a:lnTo>
                  <a:lnTo>
                    <a:pt x="1869" y="152"/>
                  </a:lnTo>
                  <a:lnTo>
                    <a:pt x="1869" y="150"/>
                  </a:lnTo>
                  <a:lnTo>
                    <a:pt x="1869" y="152"/>
                  </a:lnTo>
                  <a:lnTo>
                    <a:pt x="1869" y="150"/>
                  </a:lnTo>
                  <a:lnTo>
                    <a:pt x="1871" y="148"/>
                  </a:lnTo>
                  <a:lnTo>
                    <a:pt x="1871" y="150"/>
                  </a:lnTo>
                  <a:lnTo>
                    <a:pt x="1872" y="150"/>
                  </a:lnTo>
                  <a:lnTo>
                    <a:pt x="1872" y="152"/>
                  </a:lnTo>
                  <a:lnTo>
                    <a:pt x="1874" y="152"/>
                  </a:lnTo>
                  <a:lnTo>
                    <a:pt x="1874" y="153"/>
                  </a:lnTo>
                  <a:lnTo>
                    <a:pt x="1874" y="155"/>
                  </a:lnTo>
                  <a:lnTo>
                    <a:pt x="1874" y="156"/>
                  </a:lnTo>
                  <a:lnTo>
                    <a:pt x="1876" y="156"/>
                  </a:lnTo>
                  <a:lnTo>
                    <a:pt x="1876" y="158"/>
                  </a:lnTo>
                  <a:lnTo>
                    <a:pt x="1877" y="158"/>
                  </a:lnTo>
                  <a:lnTo>
                    <a:pt x="1877" y="160"/>
                  </a:lnTo>
                  <a:lnTo>
                    <a:pt x="1876" y="160"/>
                  </a:lnTo>
                  <a:lnTo>
                    <a:pt x="1876" y="161"/>
                  </a:lnTo>
                  <a:lnTo>
                    <a:pt x="1877" y="161"/>
                  </a:lnTo>
                  <a:lnTo>
                    <a:pt x="1876" y="163"/>
                  </a:lnTo>
                  <a:lnTo>
                    <a:pt x="1876" y="165"/>
                  </a:lnTo>
                  <a:lnTo>
                    <a:pt x="1876" y="166"/>
                  </a:lnTo>
                  <a:lnTo>
                    <a:pt x="1874" y="166"/>
                  </a:lnTo>
                  <a:lnTo>
                    <a:pt x="1876" y="166"/>
                  </a:lnTo>
                  <a:lnTo>
                    <a:pt x="1876" y="168"/>
                  </a:lnTo>
                  <a:lnTo>
                    <a:pt x="1876" y="169"/>
                  </a:lnTo>
                  <a:lnTo>
                    <a:pt x="1876" y="168"/>
                  </a:lnTo>
                  <a:lnTo>
                    <a:pt x="1874" y="169"/>
                  </a:lnTo>
                  <a:lnTo>
                    <a:pt x="1872" y="169"/>
                  </a:lnTo>
                  <a:lnTo>
                    <a:pt x="1872" y="171"/>
                  </a:lnTo>
                  <a:lnTo>
                    <a:pt x="1874" y="171"/>
                  </a:lnTo>
                  <a:lnTo>
                    <a:pt x="1874" y="173"/>
                  </a:lnTo>
                  <a:lnTo>
                    <a:pt x="1872" y="173"/>
                  </a:lnTo>
                  <a:lnTo>
                    <a:pt x="1874" y="173"/>
                  </a:lnTo>
                  <a:lnTo>
                    <a:pt x="1874" y="174"/>
                  </a:lnTo>
                  <a:lnTo>
                    <a:pt x="1874" y="176"/>
                  </a:lnTo>
                  <a:lnTo>
                    <a:pt x="1872" y="176"/>
                  </a:lnTo>
                  <a:lnTo>
                    <a:pt x="1874" y="176"/>
                  </a:lnTo>
                  <a:lnTo>
                    <a:pt x="1872" y="178"/>
                  </a:lnTo>
                  <a:lnTo>
                    <a:pt x="1872" y="179"/>
                  </a:lnTo>
                  <a:lnTo>
                    <a:pt x="1872" y="181"/>
                  </a:lnTo>
                  <a:lnTo>
                    <a:pt x="1872" y="179"/>
                  </a:lnTo>
                  <a:lnTo>
                    <a:pt x="1871" y="179"/>
                  </a:lnTo>
                  <a:lnTo>
                    <a:pt x="1871" y="181"/>
                  </a:lnTo>
                  <a:lnTo>
                    <a:pt x="1869" y="181"/>
                  </a:lnTo>
                  <a:lnTo>
                    <a:pt x="1868" y="181"/>
                  </a:lnTo>
                  <a:lnTo>
                    <a:pt x="1866" y="182"/>
                  </a:lnTo>
                  <a:lnTo>
                    <a:pt x="1864" y="182"/>
                  </a:lnTo>
                  <a:lnTo>
                    <a:pt x="1866" y="182"/>
                  </a:lnTo>
                  <a:lnTo>
                    <a:pt x="1866" y="184"/>
                  </a:lnTo>
                  <a:lnTo>
                    <a:pt x="1866" y="182"/>
                  </a:lnTo>
                  <a:lnTo>
                    <a:pt x="1864" y="182"/>
                  </a:lnTo>
                  <a:lnTo>
                    <a:pt x="1866" y="182"/>
                  </a:lnTo>
                  <a:lnTo>
                    <a:pt x="1868" y="182"/>
                  </a:lnTo>
                  <a:lnTo>
                    <a:pt x="1869" y="181"/>
                  </a:lnTo>
                  <a:lnTo>
                    <a:pt x="1871" y="181"/>
                  </a:lnTo>
                  <a:lnTo>
                    <a:pt x="1872" y="181"/>
                  </a:lnTo>
                  <a:lnTo>
                    <a:pt x="1872" y="182"/>
                  </a:lnTo>
                  <a:lnTo>
                    <a:pt x="1871" y="182"/>
                  </a:lnTo>
                  <a:lnTo>
                    <a:pt x="1872" y="182"/>
                  </a:lnTo>
                  <a:lnTo>
                    <a:pt x="1871" y="184"/>
                  </a:lnTo>
                  <a:lnTo>
                    <a:pt x="1871" y="186"/>
                  </a:lnTo>
                  <a:lnTo>
                    <a:pt x="1871" y="187"/>
                  </a:lnTo>
                  <a:lnTo>
                    <a:pt x="1872" y="187"/>
                  </a:lnTo>
                  <a:lnTo>
                    <a:pt x="1872" y="186"/>
                  </a:lnTo>
                  <a:lnTo>
                    <a:pt x="1872" y="184"/>
                  </a:lnTo>
                  <a:lnTo>
                    <a:pt x="1874" y="182"/>
                  </a:lnTo>
                  <a:lnTo>
                    <a:pt x="1874" y="181"/>
                  </a:lnTo>
                  <a:lnTo>
                    <a:pt x="1874" y="179"/>
                  </a:lnTo>
                  <a:lnTo>
                    <a:pt x="1876" y="179"/>
                  </a:lnTo>
                  <a:lnTo>
                    <a:pt x="1876" y="178"/>
                  </a:lnTo>
                  <a:lnTo>
                    <a:pt x="1876" y="176"/>
                  </a:lnTo>
                  <a:lnTo>
                    <a:pt x="1876" y="174"/>
                  </a:lnTo>
                  <a:lnTo>
                    <a:pt x="1876" y="173"/>
                  </a:lnTo>
                  <a:lnTo>
                    <a:pt x="1877" y="173"/>
                  </a:lnTo>
                  <a:lnTo>
                    <a:pt x="1879" y="171"/>
                  </a:lnTo>
                  <a:lnTo>
                    <a:pt x="1881" y="171"/>
                  </a:lnTo>
                  <a:lnTo>
                    <a:pt x="1882" y="171"/>
                  </a:lnTo>
                  <a:lnTo>
                    <a:pt x="1884" y="169"/>
                  </a:lnTo>
                  <a:lnTo>
                    <a:pt x="1885" y="169"/>
                  </a:lnTo>
                  <a:lnTo>
                    <a:pt x="1885" y="171"/>
                  </a:lnTo>
                  <a:lnTo>
                    <a:pt x="1887" y="171"/>
                  </a:lnTo>
                  <a:lnTo>
                    <a:pt x="1887" y="169"/>
                  </a:lnTo>
                  <a:lnTo>
                    <a:pt x="1887" y="168"/>
                  </a:lnTo>
                  <a:lnTo>
                    <a:pt x="1889" y="168"/>
                  </a:lnTo>
                  <a:lnTo>
                    <a:pt x="1889" y="166"/>
                  </a:lnTo>
                  <a:lnTo>
                    <a:pt x="1889" y="165"/>
                  </a:lnTo>
                  <a:lnTo>
                    <a:pt x="1889" y="166"/>
                  </a:lnTo>
                  <a:lnTo>
                    <a:pt x="1889" y="165"/>
                  </a:lnTo>
                  <a:lnTo>
                    <a:pt x="1890" y="165"/>
                  </a:lnTo>
                  <a:lnTo>
                    <a:pt x="1892" y="163"/>
                  </a:lnTo>
                  <a:lnTo>
                    <a:pt x="1892" y="165"/>
                  </a:lnTo>
                  <a:lnTo>
                    <a:pt x="1892" y="163"/>
                  </a:lnTo>
                  <a:lnTo>
                    <a:pt x="1890" y="163"/>
                  </a:lnTo>
                  <a:lnTo>
                    <a:pt x="1892" y="163"/>
                  </a:lnTo>
                  <a:lnTo>
                    <a:pt x="1892" y="161"/>
                  </a:lnTo>
                  <a:lnTo>
                    <a:pt x="1894" y="163"/>
                  </a:lnTo>
                  <a:lnTo>
                    <a:pt x="1894" y="165"/>
                  </a:lnTo>
                  <a:lnTo>
                    <a:pt x="1894" y="166"/>
                  </a:lnTo>
                  <a:lnTo>
                    <a:pt x="1892" y="166"/>
                  </a:lnTo>
                  <a:lnTo>
                    <a:pt x="1894" y="166"/>
                  </a:lnTo>
                  <a:lnTo>
                    <a:pt x="1894" y="168"/>
                  </a:lnTo>
                  <a:lnTo>
                    <a:pt x="1892" y="171"/>
                  </a:lnTo>
                  <a:lnTo>
                    <a:pt x="1890" y="173"/>
                  </a:lnTo>
                  <a:lnTo>
                    <a:pt x="1890" y="174"/>
                  </a:lnTo>
                  <a:lnTo>
                    <a:pt x="1892" y="174"/>
                  </a:lnTo>
                  <a:lnTo>
                    <a:pt x="1892" y="173"/>
                  </a:lnTo>
                  <a:lnTo>
                    <a:pt x="1894" y="173"/>
                  </a:lnTo>
                  <a:lnTo>
                    <a:pt x="1894" y="171"/>
                  </a:lnTo>
                  <a:lnTo>
                    <a:pt x="1894" y="169"/>
                  </a:lnTo>
                  <a:lnTo>
                    <a:pt x="1895" y="169"/>
                  </a:lnTo>
                  <a:lnTo>
                    <a:pt x="1897" y="168"/>
                  </a:lnTo>
                  <a:lnTo>
                    <a:pt x="1897" y="169"/>
                  </a:lnTo>
                  <a:lnTo>
                    <a:pt x="1895" y="169"/>
                  </a:lnTo>
                  <a:lnTo>
                    <a:pt x="1897" y="169"/>
                  </a:lnTo>
                  <a:lnTo>
                    <a:pt x="1897" y="171"/>
                  </a:lnTo>
                  <a:lnTo>
                    <a:pt x="1898" y="171"/>
                  </a:lnTo>
                  <a:lnTo>
                    <a:pt x="1898" y="173"/>
                  </a:lnTo>
                  <a:lnTo>
                    <a:pt x="1900" y="174"/>
                  </a:lnTo>
                  <a:lnTo>
                    <a:pt x="1900" y="176"/>
                  </a:lnTo>
                  <a:lnTo>
                    <a:pt x="1902" y="176"/>
                  </a:lnTo>
                  <a:lnTo>
                    <a:pt x="1900" y="178"/>
                  </a:lnTo>
                  <a:lnTo>
                    <a:pt x="1900" y="179"/>
                  </a:lnTo>
                  <a:lnTo>
                    <a:pt x="1903" y="179"/>
                  </a:lnTo>
                  <a:lnTo>
                    <a:pt x="1903" y="181"/>
                  </a:lnTo>
                  <a:lnTo>
                    <a:pt x="1905" y="184"/>
                  </a:lnTo>
                  <a:lnTo>
                    <a:pt x="1907" y="186"/>
                  </a:lnTo>
                  <a:lnTo>
                    <a:pt x="1907" y="187"/>
                  </a:lnTo>
                  <a:lnTo>
                    <a:pt x="1908" y="189"/>
                  </a:lnTo>
                  <a:lnTo>
                    <a:pt x="1908" y="191"/>
                  </a:lnTo>
                  <a:lnTo>
                    <a:pt x="1910" y="194"/>
                  </a:lnTo>
                  <a:lnTo>
                    <a:pt x="1908" y="194"/>
                  </a:lnTo>
                  <a:lnTo>
                    <a:pt x="1908" y="195"/>
                  </a:lnTo>
                  <a:lnTo>
                    <a:pt x="1908" y="197"/>
                  </a:lnTo>
                  <a:lnTo>
                    <a:pt x="1908" y="199"/>
                  </a:lnTo>
                  <a:lnTo>
                    <a:pt x="1908" y="200"/>
                  </a:lnTo>
                  <a:lnTo>
                    <a:pt x="1910" y="202"/>
                  </a:lnTo>
                  <a:lnTo>
                    <a:pt x="1910" y="204"/>
                  </a:lnTo>
                  <a:lnTo>
                    <a:pt x="1908" y="205"/>
                  </a:lnTo>
                  <a:lnTo>
                    <a:pt x="1907" y="212"/>
                  </a:lnTo>
                  <a:lnTo>
                    <a:pt x="1907" y="213"/>
                  </a:lnTo>
                  <a:lnTo>
                    <a:pt x="1905" y="215"/>
                  </a:lnTo>
                  <a:lnTo>
                    <a:pt x="1903" y="215"/>
                  </a:lnTo>
                  <a:lnTo>
                    <a:pt x="1903" y="213"/>
                  </a:lnTo>
                  <a:lnTo>
                    <a:pt x="1902" y="213"/>
                  </a:lnTo>
                  <a:lnTo>
                    <a:pt x="1900" y="213"/>
                  </a:lnTo>
                  <a:lnTo>
                    <a:pt x="1898" y="213"/>
                  </a:lnTo>
                  <a:lnTo>
                    <a:pt x="1898" y="215"/>
                  </a:lnTo>
                  <a:lnTo>
                    <a:pt x="1897" y="217"/>
                  </a:lnTo>
                  <a:lnTo>
                    <a:pt x="1897" y="218"/>
                  </a:lnTo>
                  <a:lnTo>
                    <a:pt x="1895" y="218"/>
                  </a:lnTo>
                  <a:lnTo>
                    <a:pt x="1895" y="220"/>
                  </a:lnTo>
                  <a:lnTo>
                    <a:pt x="1894" y="220"/>
                  </a:lnTo>
                  <a:lnTo>
                    <a:pt x="1894" y="221"/>
                  </a:lnTo>
                  <a:lnTo>
                    <a:pt x="1894" y="223"/>
                  </a:lnTo>
                  <a:lnTo>
                    <a:pt x="1892" y="226"/>
                  </a:lnTo>
                  <a:lnTo>
                    <a:pt x="1890" y="231"/>
                  </a:lnTo>
                  <a:lnTo>
                    <a:pt x="1889" y="233"/>
                  </a:lnTo>
                  <a:lnTo>
                    <a:pt x="1887" y="231"/>
                  </a:lnTo>
                  <a:lnTo>
                    <a:pt x="1885" y="233"/>
                  </a:lnTo>
                  <a:lnTo>
                    <a:pt x="1882" y="234"/>
                  </a:lnTo>
                  <a:lnTo>
                    <a:pt x="1881" y="234"/>
                  </a:lnTo>
                  <a:lnTo>
                    <a:pt x="1881" y="236"/>
                  </a:lnTo>
                  <a:lnTo>
                    <a:pt x="1879" y="238"/>
                  </a:lnTo>
                  <a:lnTo>
                    <a:pt x="1877" y="238"/>
                  </a:lnTo>
                  <a:lnTo>
                    <a:pt x="1877" y="239"/>
                  </a:lnTo>
                  <a:lnTo>
                    <a:pt x="1877" y="241"/>
                  </a:lnTo>
                  <a:lnTo>
                    <a:pt x="1879" y="244"/>
                  </a:lnTo>
                  <a:lnTo>
                    <a:pt x="1881" y="248"/>
                  </a:lnTo>
                  <a:lnTo>
                    <a:pt x="1881" y="249"/>
                  </a:lnTo>
                  <a:lnTo>
                    <a:pt x="1882" y="251"/>
                  </a:lnTo>
                  <a:lnTo>
                    <a:pt x="1882" y="254"/>
                  </a:lnTo>
                  <a:lnTo>
                    <a:pt x="1882" y="256"/>
                  </a:lnTo>
                  <a:lnTo>
                    <a:pt x="1882" y="257"/>
                  </a:lnTo>
                  <a:lnTo>
                    <a:pt x="1881" y="257"/>
                  </a:lnTo>
                  <a:lnTo>
                    <a:pt x="1882" y="259"/>
                  </a:lnTo>
                  <a:lnTo>
                    <a:pt x="1882" y="261"/>
                  </a:lnTo>
                  <a:lnTo>
                    <a:pt x="1882" y="262"/>
                  </a:lnTo>
                  <a:lnTo>
                    <a:pt x="1882" y="264"/>
                  </a:lnTo>
                  <a:lnTo>
                    <a:pt x="1882" y="265"/>
                  </a:lnTo>
                  <a:lnTo>
                    <a:pt x="1881" y="272"/>
                  </a:lnTo>
                  <a:lnTo>
                    <a:pt x="1881" y="274"/>
                  </a:lnTo>
                  <a:lnTo>
                    <a:pt x="1879" y="277"/>
                  </a:lnTo>
                  <a:lnTo>
                    <a:pt x="1879" y="280"/>
                  </a:lnTo>
                  <a:lnTo>
                    <a:pt x="1877" y="282"/>
                  </a:lnTo>
                  <a:lnTo>
                    <a:pt x="1877" y="280"/>
                  </a:lnTo>
                  <a:lnTo>
                    <a:pt x="1876" y="280"/>
                  </a:lnTo>
                  <a:lnTo>
                    <a:pt x="1874" y="278"/>
                  </a:lnTo>
                  <a:lnTo>
                    <a:pt x="1869" y="277"/>
                  </a:lnTo>
                  <a:lnTo>
                    <a:pt x="1866" y="275"/>
                  </a:lnTo>
                  <a:lnTo>
                    <a:pt x="1864" y="274"/>
                  </a:lnTo>
                  <a:lnTo>
                    <a:pt x="1863" y="272"/>
                  </a:lnTo>
                  <a:lnTo>
                    <a:pt x="1861" y="270"/>
                  </a:lnTo>
                  <a:lnTo>
                    <a:pt x="1861" y="267"/>
                  </a:lnTo>
                  <a:lnTo>
                    <a:pt x="1859" y="262"/>
                  </a:lnTo>
                  <a:lnTo>
                    <a:pt x="1859" y="259"/>
                  </a:lnTo>
                  <a:lnTo>
                    <a:pt x="1858" y="256"/>
                  </a:lnTo>
                  <a:lnTo>
                    <a:pt x="1864" y="241"/>
                  </a:lnTo>
                  <a:lnTo>
                    <a:pt x="1869" y="226"/>
                  </a:lnTo>
                  <a:lnTo>
                    <a:pt x="1869" y="225"/>
                  </a:lnTo>
                  <a:lnTo>
                    <a:pt x="1871" y="212"/>
                  </a:lnTo>
                  <a:lnTo>
                    <a:pt x="1861" y="200"/>
                  </a:lnTo>
                  <a:lnTo>
                    <a:pt x="1851" y="187"/>
                  </a:lnTo>
                  <a:lnTo>
                    <a:pt x="1845" y="186"/>
                  </a:lnTo>
                  <a:lnTo>
                    <a:pt x="1824" y="181"/>
                  </a:lnTo>
                  <a:lnTo>
                    <a:pt x="1815" y="181"/>
                  </a:lnTo>
                  <a:lnTo>
                    <a:pt x="1812" y="179"/>
                  </a:lnTo>
                  <a:lnTo>
                    <a:pt x="1811" y="178"/>
                  </a:lnTo>
                  <a:lnTo>
                    <a:pt x="1807" y="176"/>
                  </a:lnTo>
                  <a:lnTo>
                    <a:pt x="1807" y="171"/>
                  </a:lnTo>
                  <a:lnTo>
                    <a:pt x="1806" y="171"/>
                  </a:lnTo>
                  <a:lnTo>
                    <a:pt x="1798" y="169"/>
                  </a:lnTo>
                  <a:lnTo>
                    <a:pt x="1794" y="168"/>
                  </a:lnTo>
                  <a:lnTo>
                    <a:pt x="1793" y="166"/>
                  </a:lnTo>
                  <a:lnTo>
                    <a:pt x="1788" y="163"/>
                  </a:lnTo>
                  <a:lnTo>
                    <a:pt x="1786" y="161"/>
                  </a:lnTo>
                  <a:lnTo>
                    <a:pt x="1785" y="160"/>
                  </a:lnTo>
                  <a:lnTo>
                    <a:pt x="1783" y="158"/>
                  </a:lnTo>
                  <a:lnTo>
                    <a:pt x="1781" y="155"/>
                  </a:lnTo>
                  <a:lnTo>
                    <a:pt x="1780" y="150"/>
                  </a:lnTo>
                  <a:lnTo>
                    <a:pt x="1780" y="148"/>
                  </a:lnTo>
                  <a:lnTo>
                    <a:pt x="1778" y="148"/>
                  </a:lnTo>
                  <a:lnTo>
                    <a:pt x="1776" y="150"/>
                  </a:lnTo>
                  <a:lnTo>
                    <a:pt x="1775" y="150"/>
                  </a:lnTo>
                  <a:lnTo>
                    <a:pt x="1773" y="152"/>
                  </a:lnTo>
                  <a:lnTo>
                    <a:pt x="1772" y="153"/>
                  </a:lnTo>
                  <a:lnTo>
                    <a:pt x="1770" y="155"/>
                  </a:lnTo>
                  <a:lnTo>
                    <a:pt x="1768" y="155"/>
                  </a:lnTo>
                  <a:lnTo>
                    <a:pt x="1768" y="153"/>
                  </a:lnTo>
                  <a:lnTo>
                    <a:pt x="1767" y="153"/>
                  </a:lnTo>
                  <a:lnTo>
                    <a:pt x="1765" y="155"/>
                  </a:lnTo>
                  <a:lnTo>
                    <a:pt x="1763" y="155"/>
                  </a:lnTo>
                  <a:lnTo>
                    <a:pt x="1762" y="156"/>
                  </a:lnTo>
                  <a:lnTo>
                    <a:pt x="1762" y="158"/>
                  </a:lnTo>
                  <a:lnTo>
                    <a:pt x="1760" y="160"/>
                  </a:lnTo>
                  <a:lnTo>
                    <a:pt x="1762" y="161"/>
                  </a:lnTo>
                  <a:lnTo>
                    <a:pt x="1762" y="163"/>
                  </a:lnTo>
                  <a:lnTo>
                    <a:pt x="1760" y="163"/>
                  </a:lnTo>
                  <a:lnTo>
                    <a:pt x="1760" y="165"/>
                  </a:lnTo>
                  <a:lnTo>
                    <a:pt x="1759" y="165"/>
                  </a:lnTo>
                  <a:lnTo>
                    <a:pt x="1757" y="165"/>
                  </a:lnTo>
                  <a:lnTo>
                    <a:pt x="1755" y="166"/>
                  </a:lnTo>
                  <a:lnTo>
                    <a:pt x="1755" y="168"/>
                  </a:lnTo>
                  <a:lnTo>
                    <a:pt x="1754" y="169"/>
                  </a:lnTo>
                  <a:lnTo>
                    <a:pt x="1752" y="169"/>
                  </a:lnTo>
                  <a:lnTo>
                    <a:pt x="1752" y="171"/>
                  </a:lnTo>
                  <a:lnTo>
                    <a:pt x="1750" y="173"/>
                  </a:lnTo>
                  <a:lnTo>
                    <a:pt x="1752" y="173"/>
                  </a:lnTo>
                  <a:lnTo>
                    <a:pt x="1752" y="174"/>
                  </a:lnTo>
                  <a:lnTo>
                    <a:pt x="1754" y="174"/>
                  </a:lnTo>
                  <a:lnTo>
                    <a:pt x="1752" y="176"/>
                  </a:lnTo>
                  <a:lnTo>
                    <a:pt x="1750" y="178"/>
                  </a:lnTo>
                  <a:lnTo>
                    <a:pt x="1749" y="178"/>
                  </a:lnTo>
                  <a:lnTo>
                    <a:pt x="1749" y="179"/>
                  </a:lnTo>
                  <a:lnTo>
                    <a:pt x="1747" y="181"/>
                  </a:lnTo>
                  <a:lnTo>
                    <a:pt x="1746" y="181"/>
                  </a:lnTo>
                  <a:lnTo>
                    <a:pt x="1746" y="182"/>
                  </a:lnTo>
                  <a:lnTo>
                    <a:pt x="1744" y="182"/>
                  </a:lnTo>
                  <a:lnTo>
                    <a:pt x="1742" y="184"/>
                  </a:lnTo>
                  <a:lnTo>
                    <a:pt x="1741" y="184"/>
                  </a:lnTo>
                  <a:lnTo>
                    <a:pt x="1741" y="182"/>
                  </a:lnTo>
                  <a:lnTo>
                    <a:pt x="1739" y="182"/>
                  </a:lnTo>
                  <a:lnTo>
                    <a:pt x="1737" y="181"/>
                  </a:lnTo>
                  <a:lnTo>
                    <a:pt x="1736" y="182"/>
                  </a:lnTo>
                  <a:lnTo>
                    <a:pt x="1734" y="184"/>
                  </a:lnTo>
                  <a:lnTo>
                    <a:pt x="1733" y="182"/>
                  </a:lnTo>
                  <a:lnTo>
                    <a:pt x="1733" y="181"/>
                  </a:lnTo>
                  <a:lnTo>
                    <a:pt x="1731" y="181"/>
                  </a:lnTo>
                  <a:lnTo>
                    <a:pt x="1729" y="181"/>
                  </a:lnTo>
                  <a:lnTo>
                    <a:pt x="1728" y="181"/>
                  </a:lnTo>
                  <a:lnTo>
                    <a:pt x="1728" y="182"/>
                  </a:lnTo>
                  <a:lnTo>
                    <a:pt x="1726" y="184"/>
                  </a:lnTo>
                  <a:lnTo>
                    <a:pt x="1724" y="184"/>
                  </a:lnTo>
                  <a:lnTo>
                    <a:pt x="1724" y="182"/>
                  </a:lnTo>
                  <a:lnTo>
                    <a:pt x="1723" y="181"/>
                  </a:lnTo>
                  <a:lnTo>
                    <a:pt x="1723" y="182"/>
                  </a:lnTo>
                  <a:lnTo>
                    <a:pt x="1720" y="182"/>
                  </a:lnTo>
                  <a:lnTo>
                    <a:pt x="1718" y="184"/>
                  </a:lnTo>
                  <a:lnTo>
                    <a:pt x="1718" y="186"/>
                  </a:lnTo>
                  <a:lnTo>
                    <a:pt x="1716" y="186"/>
                  </a:lnTo>
                  <a:lnTo>
                    <a:pt x="1715" y="186"/>
                  </a:lnTo>
                  <a:lnTo>
                    <a:pt x="1715" y="187"/>
                  </a:lnTo>
                  <a:lnTo>
                    <a:pt x="1713" y="187"/>
                  </a:lnTo>
                  <a:lnTo>
                    <a:pt x="1713" y="189"/>
                  </a:lnTo>
                  <a:lnTo>
                    <a:pt x="1713" y="191"/>
                  </a:lnTo>
                  <a:lnTo>
                    <a:pt x="1713" y="192"/>
                  </a:lnTo>
                  <a:lnTo>
                    <a:pt x="1711" y="194"/>
                  </a:lnTo>
                  <a:lnTo>
                    <a:pt x="1713" y="194"/>
                  </a:lnTo>
                  <a:lnTo>
                    <a:pt x="1713" y="195"/>
                  </a:lnTo>
                  <a:lnTo>
                    <a:pt x="1713" y="197"/>
                  </a:lnTo>
                  <a:lnTo>
                    <a:pt x="1713" y="199"/>
                  </a:lnTo>
                  <a:lnTo>
                    <a:pt x="1713" y="200"/>
                  </a:lnTo>
                  <a:lnTo>
                    <a:pt x="1711" y="202"/>
                  </a:lnTo>
                  <a:lnTo>
                    <a:pt x="1711" y="204"/>
                  </a:lnTo>
                  <a:lnTo>
                    <a:pt x="1710" y="204"/>
                  </a:lnTo>
                  <a:lnTo>
                    <a:pt x="1708" y="207"/>
                  </a:lnTo>
                  <a:lnTo>
                    <a:pt x="1708" y="208"/>
                  </a:lnTo>
                  <a:lnTo>
                    <a:pt x="1708" y="210"/>
                  </a:lnTo>
                  <a:lnTo>
                    <a:pt x="1707" y="212"/>
                  </a:lnTo>
                  <a:lnTo>
                    <a:pt x="1708" y="212"/>
                  </a:lnTo>
                  <a:lnTo>
                    <a:pt x="1707" y="213"/>
                  </a:lnTo>
                  <a:lnTo>
                    <a:pt x="1707" y="215"/>
                  </a:lnTo>
                  <a:lnTo>
                    <a:pt x="1707" y="217"/>
                  </a:lnTo>
                  <a:lnTo>
                    <a:pt x="1705" y="217"/>
                  </a:lnTo>
                  <a:lnTo>
                    <a:pt x="1705" y="218"/>
                  </a:lnTo>
                  <a:lnTo>
                    <a:pt x="1705" y="220"/>
                  </a:lnTo>
                  <a:lnTo>
                    <a:pt x="1703" y="220"/>
                  </a:lnTo>
                  <a:lnTo>
                    <a:pt x="1703" y="221"/>
                  </a:lnTo>
                  <a:lnTo>
                    <a:pt x="1702" y="223"/>
                  </a:lnTo>
                  <a:lnTo>
                    <a:pt x="1700" y="223"/>
                  </a:lnTo>
                  <a:lnTo>
                    <a:pt x="1698" y="223"/>
                  </a:lnTo>
                  <a:lnTo>
                    <a:pt x="1698" y="225"/>
                  </a:lnTo>
                  <a:lnTo>
                    <a:pt x="1698" y="226"/>
                  </a:lnTo>
                  <a:lnTo>
                    <a:pt x="1697" y="228"/>
                  </a:lnTo>
                  <a:lnTo>
                    <a:pt x="1697" y="230"/>
                  </a:lnTo>
                  <a:lnTo>
                    <a:pt x="1695" y="231"/>
                  </a:lnTo>
                  <a:lnTo>
                    <a:pt x="1695" y="233"/>
                  </a:lnTo>
                  <a:lnTo>
                    <a:pt x="1697" y="233"/>
                  </a:lnTo>
                  <a:lnTo>
                    <a:pt x="1698" y="233"/>
                  </a:lnTo>
                  <a:lnTo>
                    <a:pt x="1700" y="234"/>
                  </a:lnTo>
                  <a:lnTo>
                    <a:pt x="1700" y="236"/>
                  </a:lnTo>
                  <a:lnTo>
                    <a:pt x="1700" y="238"/>
                  </a:lnTo>
                  <a:lnTo>
                    <a:pt x="1702" y="238"/>
                  </a:lnTo>
                  <a:lnTo>
                    <a:pt x="1702" y="241"/>
                  </a:lnTo>
                  <a:lnTo>
                    <a:pt x="1702" y="243"/>
                  </a:lnTo>
                  <a:lnTo>
                    <a:pt x="1702" y="244"/>
                  </a:lnTo>
                  <a:lnTo>
                    <a:pt x="1700" y="246"/>
                  </a:lnTo>
                  <a:lnTo>
                    <a:pt x="1700" y="248"/>
                  </a:lnTo>
                  <a:lnTo>
                    <a:pt x="1698" y="248"/>
                  </a:lnTo>
                  <a:lnTo>
                    <a:pt x="1697" y="249"/>
                  </a:lnTo>
                  <a:lnTo>
                    <a:pt x="1698" y="249"/>
                  </a:lnTo>
                  <a:lnTo>
                    <a:pt x="1698" y="251"/>
                  </a:lnTo>
                  <a:lnTo>
                    <a:pt x="1700" y="251"/>
                  </a:lnTo>
                  <a:lnTo>
                    <a:pt x="1700" y="252"/>
                  </a:lnTo>
                  <a:lnTo>
                    <a:pt x="1700" y="254"/>
                  </a:lnTo>
                  <a:lnTo>
                    <a:pt x="1700" y="256"/>
                  </a:lnTo>
                  <a:lnTo>
                    <a:pt x="1700" y="257"/>
                  </a:lnTo>
                  <a:lnTo>
                    <a:pt x="1702" y="259"/>
                  </a:lnTo>
                  <a:lnTo>
                    <a:pt x="1700" y="261"/>
                  </a:lnTo>
                  <a:lnTo>
                    <a:pt x="1700" y="262"/>
                  </a:lnTo>
                  <a:lnTo>
                    <a:pt x="1700" y="264"/>
                  </a:lnTo>
                  <a:lnTo>
                    <a:pt x="1700" y="265"/>
                  </a:lnTo>
                  <a:lnTo>
                    <a:pt x="1700" y="267"/>
                  </a:lnTo>
                  <a:lnTo>
                    <a:pt x="1702" y="267"/>
                  </a:lnTo>
                  <a:lnTo>
                    <a:pt x="1702" y="269"/>
                  </a:lnTo>
                  <a:lnTo>
                    <a:pt x="1703" y="270"/>
                  </a:lnTo>
                  <a:lnTo>
                    <a:pt x="1703" y="272"/>
                  </a:lnTo>
                  <a:lnTo>
                    <a:pt x="1702" y="274"/>
                  </a:lnTo>
                  <a:lnTo>
                    <a:pt x="1703" y="274"/>
                  </a:lnTo>
                  <a:lnTo>
                    <a:pt x="1703" y="275"/>
                  </a:lnTo>
                  <a:lnTo>
                    <a:pt x="1702" y="277"/>
                  </a:lnTo>
                  <a:lnTo>
                    <a:pt x="1702" y="278"/>
                  </a:lnTo>
                  <a:lnTo>
                    <a:pt x="1702" y="280"/>
                  </a:lnTo>
                  <a:lnTo>
                    <a:pt x="1702" y="282"/>
                  </a:lnTo>
                  <a:lnTo>
                    <a:pt x="1702" y="283"/>
                  </a:lnTo>
                  <a:lnTo>
                    <a:pt x="1702" y="285"/>
                  </a:lnTo>
                  <a:lnTo>
                    <a:pt x="1702" y="287"/>
                  </a:lnTo>
                  <a:lnTo>
                    <a:pt x="1702" y="288"/>
                  </a:lnTo>
                  <a:lnTo>
                    <a:pt x="1702" y="290"/>
                  </a:lnTo>
                  <a:lnTo>
                    <a:pt x="1702" y="291"/>
                  </a:lnTo>
                  <a:lnTo>
                    <a:pt x="1702" y="293"/>
                  </a:lnTo>
                  <a:lnTo>
                    <a:pt x="1702" y="295"/>
                  </a:lnTo>
                  <a:lnTo>
                    <a:pt x="1703" y="295"/>
                  </a:lnTo>
                  <a:lnTo>
                    <a:pt x="1703" y="296"/>
                  </a:lnTo>
                  <a:lnTo>
                    <a:pt x="1703" y="298"/>
                  </a:lnTo>
                  <a:lnTo>
                    <a:pt x="1703" y="300"/>
                  </a:lnTo>
                  <a:lnTo>
                    <a:pt x="1703" y="301"/>
                  </a:lnTo>
                  <a:lnTo>
                    <a:pt x="1705" y="303"/>
                  </a:lnTo>
                  <a:lnTo>
                    <a:pt x="1707" y="304"/>
                  </a:lnTo>
                  <a:lnTo>
                    <a:pt x="1707" y="306"/>
                  </a:lnTo>
                  <a:lnTo>
                    <a:pt x="1708" y="306"/>
                  </a:lnTo>
                  <a:lnTo>
                    <a:pt x="1708" y="308"/>
                  </a:lnTo>
                  <a:lnTo>
                    <a:pt x="1707" y="308"/>
                  </a:lnTo>
                  <a:lnTo>
                    <a:pt x="1708" y="309"/>
                  </a:lnTo>
                  <a:lnTo>
                    <a:pt x="1708" y="311"/>
                  </a:lnTo>
                  <a:lnTo>
                    <a:pt x="1708" y="313"/>
                  </a:lnTo>
                  <a:lnTo>
                    <a:pt x="1708" y="314"/>
                  </a:lnTo>
                  <a:lnTo>
                    <a:pt x="1710" y="316"/>
                  </a:lnTo>
                  <a:lnTo>
                    <a:pt x="1711" y="317"/>
                  </a:lnTo>
                  <a:lnTo>
                    <a:pt x="1711" y="319"/>
                  </a:lnTo>
                  <a:lnTo>
                    <a:pt x="1711" y="321"/>
                  </a:lnTo>
                  <a:lnTo>
                    <a:pt x="1711" y="322"/>
                  </a:lnTo>
                  <a:lnTo>
                    <a:pt x="1713" y="321"/>
                  </a:lnTo>
                  <a:lnTo>
                    <a:pt x="1713" y="322"/>
                  </a:lnTo>
                  <a:lnTo>
                    <a:pt x="1713" y="324"/>
                  </a:lnTo>
                  <a:lnTo>
                    <a:pt x="1713" y="326"/>
                  </a:lnTo>
                  <a:lnTo>
                    <a:pt x="1711" y="327"/>
                  </a:lnTo>
                  <a:lnTo>
                    <a:pt x="1711" y="329"/>
                  </a:lnTo>
                  <a:lnTo>
                    <a:pt x="1711" y="330"/>
                  </a:lnTo>
                  <a:lnTo>
                    <a:pt x="1711" y="332"/>
                  </a:lnTo>
                  <a:lnTo>
                    <a:pt x="1711" y="334"/>
                  </a:lnTo>
                  <a:lnTo>
                    <a:pt x="1711" y="335"/>
                  </a:lnTo>
                  <a:lnTo>
                    <a:pt x="1711" y="337"/>
                  </a:lnTo>
                  <a:lnTo>
                    <a:pt x="1711" y="339"/>
                  </a:lnTo>
                  <a:lnTo>
                    <a:pt x="1711" y="340"/>
                  </a:lnTo>
                  <a:lnTo>
                    <a:pt x="1710" y="340"/>
                  </a:lnTo>
                  <a:lnTo>
                    <a:pt x="1710" y="342"/>
                  </a:lnTo>
                  <a:lnTo>
                    <a:pt x="1708" y="343"/>
                  </a:lnTo>
                  <a:lnTo>
                    <a:pt x="1707" y="343"/>
                  </a:lnTo>
                  <a:lnTo>
                    <a:pt x="1705" y="343"/>
                  </a:lnTo>
                  <a:lnTo>
                    <a:pt x="1703" y="342"/>
                  </a:lnTo>
                  <a:lnTo>
                    <a:pt x="1702" y="342"/>
                  </a:lnTo>
                  <a:lnTo>
                    <a:pt x="1702" y="343"/>
                  </a:lnTo>
                  <a:lnTo>
                    <a:pt x="1700" y="345"/>
                  </a:lnTo>
                  <a:lnTo>
                    <a:pt x="1698" y="345"/>
                  </a:lnTo>
                  <a:lnTo>
                    <a:pt x="1698" y="347"/>
                  </a:lnTo>
                  <a:lnTo>
                    <a:pt x="1697" y="347"/>
                  </a:lnTo>
                  <a:lnTo>
                    <a:pt x="1697" y="348"/>
                  </a:lnTo>
                  <a:lnTo>
                    <a:pt x="1695" y="350"/>
                  </a:lnTo>
                  <a:lnTo>
                    <a:pt x="1693" y="352"/>
                  </a:lnTo>
                  <a:lnTo>
                    <a:pt x="1693" y="353"/>
                  </a:lnTo>
                  <a:lnTo>
                    <a:pt x="1692" y="353"/>
                  </a:lnTo>
                  <a:lnTo>
                    <a:pt x="1692" y="355"/>
                  </a:lnTo>
                  <a:lnTo>
                    <a:pt x="1692" y="356"/>
                  </a:lnTo>
                  <a:lnTo>
                    <a:pt x="1692" y="358"/>
                  </a:lnTo>
                  <a:lnTo>
                    <a:pt x="1690" y="360"/>
                  </a:lnTo>
                  <a:lnTo>
                    <a:pt x="1690" y="361"/>
                  </a:lnTo>
                  <a:lnTo>
                    <a:pt x="1689" y="363"/>
                  </a:lnTo>
                  <a:lnTo>
                    <a:pt x="1690" y="363"/>
                  </a:lnTo>
                  <a:lnTo>
                    <a:pt x="1690" y="365"/>
                  </a:lnTo>
                  <a:lnTo>
                    <a:pt x="1690" y="366"/>
                  </a:lnTo>
                  <a:lnTo>
                    <a:pt x="1690" y="368"/>
                  </a:lnTo>
                  <a:lnTo>
                    <a:pt x="1690" y="369"/>
                  </a:lnTo>
                  <a:lnTo>
                    <a:pt x="1690" y="371"/>
                  </a:lnTo>
                  <a:lnTo>
                    <a:pt x="1690" y="373"/>
                  </a:lnTo>
                  <a:lnTo>
                    <a:pt x="1692" y="373"/>
                  </a:lnTo>
                  <a:lnTo>
                    <a:pt x="1690" y="373"/>
                  </a:lnTo>
                  <a:lnTo>
                    <a:pt x="1690" y="374"/>
                  </a:lnTo>
                  <a:lnTo>
                    <a:pt x="1692" y="376"/>
                  </a:lnTo>
                  <a:lnTo>
                    <a:pt x="1692" y="378"/>
                  </a:lnTo>
                  <a:lnTo>
                    <a:pt x="1692" y="379"/>
                  </a:lnTo>
                  <a:lnTo>
                    <a:pt x="1692" y="381"/>
                  </a:lnTo>
                  <a:lnTo>
                    <a:pt x="1693" y="381"/>
                  </a:lnTo>
                  <a:lnTo>
                    <a:pt x="1693" y="383"/>
                  </a:lnTo>
                  <a:lnTo>
                    <a:pt x="1693" y="384"/>
                  </a:lnTo>
                  <a:lnTo>
                    <a:pt x="1692" y="384"/>
                  </a:lnTo>
                  <a:lnTo>
                    <a:pt x="1692" y="386"/>
                  </a:lnTo>
                  <a:lnTo>
                    <a:pt x="1690" y="386"/>
                  </a:lnTo>
                  <a:lnTo>
                    <a:pt x="1689" y="387"/>
                  </a:lnTo>
                  <a:lnTo>
                    <a:pt x="1689" y="389"/>
                  </a:lnTo>
                  <a:lnTo>
                    <a:pt x="1687" y="389"/>
                  </a:lnTo>
                  <a:lnTo>
                    <a:pt x="1687" y="387"/>
                  </a:lnTo>
                  <a:lnTo>
                    <a:pt x="1685" y="387"/>
                  </a:lnTo>
                  <a:lnTo>
                    <a:pt x="1685" y="389"/>
                  </a:lnTo>
                  <a:lnTo>
                    <a:pt x="1684" y="391"/>
                  </a:lnTo>
                  <a:lnTo>
                    <a:pt x="1684" y="392"/>
                  </a:lnTo>
                  <a:lnTo>
                    <a:pt x="1684" y="394"/>
                  </a:lnTo>
                  <a:lnTo>
                    <a:pt x="1685" y="397"/>
                  </a:lnTo>
                  <a:lnTo>
                    <a:pt x="1684" y="397"/>
                  </a:lnTo>
                  <a:lnTo>
                    <a:pt x="1682" y="397"/>
                  </a:lnTo>
                  <a:lnTo>
                    <a:pt x="1680" y="394"/>
                  </a:lnTo>
                  <a:lnTo>
                    <a:pt x="1677" y="391"/>
                  </a:lnTo>
                  <a:lnTo>
                    <a:pt x="1676" y="389"/>
                  </a:lnTo>
                  <a:lnTo>
                    <a:pt x="1674" y="387"/>
                  </a:lnTo>
                  <a:lnTo>
                    <a:pt x="1671" y="386"/>
                  </a:lnTo>
                  <a:lnTo>
                    <a:pt x="1666" y="384"/>
                  </a:lnTo>
                  <a:lnTo>
                    <a:pt x="1650" y="383"/>
                  </a:lnTo>
                  <a:lnTo>
                    <a:pt x="1646" y="381"/>
                  </a:lnTo>
                  <a:lnTo>
                    <a:pt x="1643" y="379"/>
                  </a:lnTo>
                  <a:lnTo>
                    <a:pt x="1640" y="378"/>
                  </a:lnTo>
                  <a:lnTo>
                    <a:pt x="1640" y="374"/>
                  </a:lnTo>
                  <a:lnTo>
                    <a:pt x="1638" y="373"/>
                  </a:lnTo>
                  <a:lnTo>
                    <a:pt x="1635" y="374"/>
                  </a:lnTo>
                  <a:lnTo>
                    <a:pt x="1628" y="369"/>
                  </a:lnTo>
                  <a:lnTo>
                    <a:pt x="1622" y="369"/>
                  </a:lnTo>
                  <a:lnTo>
                    <a:pt x="1619" y="373"/>
                  </a:lnTo>
                  <a:lnTo>
                    <a:pt x="1619" y="383"/>
                  </a:lnTo>
                  <a:lnTo>
                    <a:pt x="1617" y="389"/>
                  </a:lnTo>
                  <a:lnTo>
                    <a:pt x="1606" y="394"/>
                  </a:lnTo>
                  <a:lnTo>
                    <a:pt x="1599" y="400"/>
                  </a:lnTo>
                  <a:lnTo>
                    <a:pt x="1594" y="404"/>
                  </a:lnTo>
                  <a:lnTo>
                    <a:pt x="1593" y="405"/>
                  </a:lnTo>
                  <a:lnTo>
                    <a:pt x="1585" y="399"/>
                  </a:lnTo>
                  <a:lnTo>
                    <a:pt x="1572" y="400"/>
                  </a:lnTo>
                  <a:lnTo>
                    <a:pt x="1560" y="397"/>
                  </a:lnTo>
                  <a:lnTo>
                    <a:pt x="1557" y="396"/>
                  </a:lnTo>
                  <a:lnTo>
                    <a:pt x="1549" y="400"/>
                  </a:lnTo>
                  <a:lnTo>
                    <a:pt x="1544" y="386"/>
                  </a:lnTo>
                  <a:lnTo>
                    <a:pt x="1534" y="374"/>
                  </a:lnTo>
                  <a:lnTo>
                    <a:pt x="1532" y="369"/>
                  </a:lnTo>
                  <a:lnTo>
                    <a:pt x="1524" y="361"/>
                  </a:lnTo>
                  <a:lnTo>
                    <a:pt x="1519" y="355"/>
                  </a:lnTo>
                  <a:lnTo>
                    <a:pt x="1503" y="337"/>
                  </a:lnTo>
                  <a:lnTo>
                    <a:pt x="1495" y="329"/>
                  </a:lnTo>
                  <a:lnTo>
                    <a:pt x="1477" y="327"/>
                  </a:lnTo>
                  <a:lnTo>
                    <a:pt x="1469" y="337"/>
                  </a:lnTo>
                  <a:lnTo>
                    <a:pt x="1466" y="342"/>
                  </a:lnTo>
                  <a:lnTo>
                    <a:pt x="1466" y="343"/>
                  </a:lnTo>
                  <a:lnTo>
                    <a:pt x="1466" y="347"/>
                  </a:lnTo>
                  <a:lnTo>
                    <a:pt x="1469" y="353"/>
                  </a:lnTo>
                  <a:lnTo>
                    <a:pt x="1471" y="356"/>
                  </a:lnTo>
                  <a:lnTo>
                    <a:pt x="1474" y="358"/>
                  </a:lnTo>
                  <a:lnTo>
                    <a:pt x="1472" y="368"/>
                  </a:lnTo>
                  <a:lnTo>
                    <a:pt x="1471" y="368"/>
                  </a:lnTo>
                  <a:lnTo>
                    <a:pt x="1454" y="360"/>
                  </a:lnTo>
                  <a:lnTo>
                    <a:pt x="1453" y="360"/>
                  </a:lnTo>
                  <a:lnTo>
                    <a:pt x="1446" y="369"/>
                  </a:lnTo>
                  <a:lnTo>
                    <a:pt x="1443" y="369"/>
                  </a:lnTo>
                  <a:lnTo>
                    <a:pt x="1424" y="374"/>
                  </a:lnTo>
                  <a:lnTo>
                    <a:pt x="1422" y="374"/>
                  </a:lnTo>
                  <a:lnTo>
                    <a:pt x="1437" y="389"/>
                  </a:lnTo>
                  <a:lnTo>
                    <a:pt x="1441" y="407"/>
                  </a:lnTo>
                  <a:lnTo>
                    <a:pt x="1438" y="426"/>
                  </a:lnTo>
                  <a:lnTo>
                    <a:pt x="1432" y="438"/>
                  </a:lnTo>
                  <a:lnTo>
                    <a:pt x="1430" y="439"/>
                  </a:lnTo>
                  <a:lnTo>
                    <a:pt x="1427" y="444"/>
                  </a:lnTo>
                  <a:lnTo>
                    <a:pt x="1430" y="446"/>
                  </a:lnTo>
                  <a:lnTo>
                    <a:pt x="1433" y="448"/>
                  </a:lnTo>
                  <a:lnTo>
                    <a:pt x="1443" y="451"/>
                  </a:lnTo>
                  <a:lnTo>
                    <a:pt x="1432" y="467"/>
                  </a:lnTo>
                  <a:lnTo>
                    <a:pt x="1430" y="470"/>
                  </a:lnTo>
                  <a:lnTo>
                    <a:pt x="1430" y="472"/>
                  </a:lnTo>
                  <a:lnTo>
                    <a:pt x="1376" y="457"/>
                  </a:lnTo>
                  <a:lnTo>
                    <a:pt x="1358" y="461"/>
                  </a:lnTo>
                  <a:lnTo>
                    <a:pt x="1345" y="452"/>
                  </a:lnTo>
                  <a:lnTo>
                    <a:pt x="1331" y="459"/>
                  </a:lnTo>
                  <a:lnTo>
                    <a:pt x="1332" y="478"/>
                  </a:lnTo>
                  <a:lnTo>
                    <a:pt x="1339" y="508"/>
                  </a:lnTo>
                  <a:lnTo>
                    <a:pt x="1336" y="517"/>
                  </a:lnTo>
                  <a:lnTo>
                    <a:pt x="1332" y="531"/>
                  </a:lnTo>
                  <a:lnTo>
                    <a:pt x="1331" y="539"/>
                  </a:lnTo>
                  <a:lnTo>
                    <a:pt x="1329" y="542"/>
                  </a:lnTo>
                  <a:lnTo>
                    <a:pt x="1321" y="535"/>
                  </a:lnTo>
                  <a:lnTo>
                    <a:pt x="1315" y="534"/>
                  </a:lnTo>
                  <a:lnTo>
                    <a:pt x="1308" y="529"/>
                  </a:lnTo>
                  <a:lnTo>
                    <a:pt x="1293" y="524"/>
                  </a:lnTo>
                  <a:lnTo>
                    <a:pt x="1289" y="534"/>
                  </a:lnTo>
                  <a:lnTo>
                    <a:pt x="1289" y="535"/>
                  </a:lnTo>
                  <a:lnTo>
                    <a:pt x="1280" y="542"/>
                  </a:lnTo>
                  <a:lnTo>
                    <a:pt x="1272" y="552"/>
                  </a:lnTo>
                  <a:lnTo>
                    <a:pt x="1267" y="555"/>
                  </a:lnTo>
                  <a:lnTo>
                    <a:pt x="1264" y="579"/>
                  </a:lnTo>
                  <a:lnTo>
                    <a:pt x="1261" y="594"/>
                  </a:lnTo>
                  <a:lnTo>
                    <a:pt x="1259" y="600"/>
                  </a:lnTo>
                  <a:lnTo>
                    <a:pt x="1258" y="605"/>
                  </a:lnTo>
                  <a:lnTo>
                    <a:pt x="1256" y="610"/>
                  </a:lnTo>
                  <a:lnTo>
                    <a:pt x="1254" y="612"/>
                  </a:lnTo>
                  <a:lnTo>
                    <a:pt x="1241" y="615"/>
                  </a:lnTo>
                  <a:lnTo>
                    <a:pt x="1241" y="618"/>
                  </a:lnTo>
                  <a:lnTo>
                    <a:pt x="1238" y="626"/>
                  </a:lnTo>
                  <a:lnTo>
                    <a:pt x="1249" y="643"/>
                  </a:lnTo>
                  <a:lnTo>
                    <a:pt x="1256" y="652"/>
                  </a:lnTo>
                  <a:lnTo>
                    <a:pt x="1259" y="659"/>
                  </a:lnTo>
                  <a:lnTo>
                    <a:pt x="1261" y="680"/>
                  </a:lnTo>
                  <a:lnTo>
                    <a:pt x="1254" y="687"/>
                  </a:lnTo>
                  <a:lnTo>
                    <a:pt x="1251" y="690"/>
                  </a:lnTo>
                  <a:lnTo>
                    <a:pt x="1245" y="700"/>
                  </a:lnTo>
                  <a:lnTo>
                    <a:pt x="1243" y="703"/>
                  </a:lnTo>
                  <a:lnTo>
                    <a:pt x="1223" y="748"/>
                  </a:lnTo>
                  <a:lnTo>
                    <a:pt x="1214" y="761"/>
                  </a:lnTo>
                  <a:lnTo>
                    <a:pt x="1210" y="766"/>
                  </a:lnTo>
                  <a:lnTo>
                    <a:pt x="1217" y="784"/>
                  </a:lnTo>
                  <a:lnTo>
                    <a:pt x="1217" y="787"/>
                  </a:lnTo>
                  <a:lnTo>
                    <a:pt x="1220" y="794"/>
                  </a:lnTo>
                  <a:lnTo>
                    <a:pt x="1214" y="799"/>
                  </a:lnTo>
                  <a:lnTo>
                    <a:pt x="1197" y="812"/>
                  </a:lnTo>
                  <a:lnTo>
                    <a:pt x="1196" y="814"/>
                  </a:lnTo>
                  <a:lnTo>
                    <a:pt x="1194" y="814"/>
                  </a:lnTo>
                  <a:lnTo>
                    <a:pt x="1183" y="817"/>
                  </a:lnTo>
                  <a:lnTo>
                    <a:pt x="1167" y="818"/>
                  </a:lnTo>
                  <a:lnTo>
                    <a:pt x="1165" y="818"/>
                  </a:lnTo>
                  <a:lnTo>
                    <a:pt x="1167" y="828"/>
                  </a:lnTo>
                  <a:lnTo>
                    <a:pt x="1170" y="840"/>
                  </a:lnTo>
                  <a:lnTo>
                    <a:pt x="1171" y="851"/>
                  </a:lnTo>
                  <a:lnTo>
                    <a:pt x="1175" y="866"/>
                  </a:lnTo>
                  <a:lnTo>
                    <a:pt x="1171" y="880"/>
                  </a:lnTo>
                  <a:lnTo>
                    <a:pt x="1170" y="906"/>
                  </a:lnTo>
                  <a:lnTo>
                    <a:pt x="1171" y="931"/>
                  </a:lnTo>
                  <a:lnTo>
                    <a:pt x="1173" y="937"/>
                  </a:lnTo>
                  <a:lnTo>
                    <a:pt x="1165" y="945"/>
                  </a:lnTo>
                  <a:lnTo>
                    <a:pt x="1163" y="965"/>
                  </a:lnTo>
                  <a:lnTo>
                    <a:pt x="1162" y="968"/>
                  </a:lnTo>
                  <a:lnTo>
                    <a:pt x="1154" y="984"/>
                  </a:lnTo>
                  <a:lnTo>
                    <a:pt x="1149" y="994"/>
                  </a:lnTo>
                  <a:lnTo>
                    <a:pt x="1144" y="1005"/>
                  </a:lnTo>
                  <a:lnTo>
                    <a:pt x="1136" y="1020"/>
                  </a:lnTo>
                  <a:lnTo>
                    <a:pt x="1134" y="1027"/>
                  </a:lnTo>
                  <a:lnTo>
                    <a:pt x="1131" y="1033"/>
                  </a:lnTo>
                  <a:lnTo>
                    <a:pt x="1129" y="1035"/>
                  </a:lnTo>
                  <a:lnTo>
                    <a:pt x="1128" y="1040"/>
                  </a:lnTo>
                  <a:lnTo>
                    <a:pt x="1128" y="1043"/>
                  </a:lnTo>
                  <a:lnTo>
                    <a:pt x="1137" y="1049"/>
                  </a:lnTo>
                  <a:lnTo>
                    <a:pt x="1144" y="1054"/>
                  </a:lnTo>
                  <a:lnTo>
                    <a:pt x="1145" y="1054"/>
                  </a:lnTo>
                  <a:lnTo>
                    <a:pt x="1150" y="1054"/>
                  </a:lnTo>
                  <a:lnTo>
                    <a:pt x="1152" y="1056"/>
                  </a:lnTo>
                  <a:lnTo>
                    <a:pt x="1155" y="1056"/>
                  </a:lnTo>
                  <a:lnTo>
                    <a:pt x="1157" y="1059"/>
                  </a:lnTo>
                  <a:lnTo>
                    <a:pt x="1157" y="1067"/>
                  </a:lnTo>
                  <a:lnTo>
                    <a:pt x="1162" y="1097"/>
                  </a:lnTo>
                  <a:lnTo>
                    <a:pt x="1158" y="1103"/>
                  </a:lnTo>
                  <a:lnTo>
                    <a:pt x="1152" y="1121"/>
                  </a:lnTo>
                  <a:lnTo>
                    <a:pt x="1152" y="1124"/>
                  </a:lnTo>
                  <a:lnTo>
                    <a:pt x="1136" y="1119"/>
                  </a:lnTo>
                  <a:lnTo>
                    <a:pt x="1131" y="1119"/>
                  </a:lnTo>
                  <a:lnTo>
                    <a:pt x="1121" y="1116"/>
                  </a:lnTo>
                  <a:lnTo>
                    <a:pt x="1103" y="1114"/>
                  </a:lnTo>
                  <a:lnTo>
                    <a:pt x="1097" y="1116"/>
                  </a:lnTo>
                  <a:lnTo>
                    <a:pt x="1085" y="1121"/>
                  </a:lnTo>
                  <a:lnTo>
                    <a:pt x="1077" y="1127"/>
                  </a:lnTo>
                  <a:lnTo>
                    <a:pt x="1075" y="1129"/>
                  </a:lnTo>
                  <a:lnTo>
                    <a:pt x="1071" y="1132"/>
                  </a:lnTo>
                  <a:lnTo>
                    <a:pt x="1066" y="1140"/>
                  </a:lnTo>
                  <a:lnTo>
                    <a:pt x="1059" y="1152"/>
                  </a:lnTo>
                  <a:lnTo>
                    <a:pt x="1048" y="1171"/>
                  </a:lnTo>
                  <a:lnTo>
                    <a:pt x="1046" y="1176"/>
                  </a:lnTo>
                  <a:lnTo>
                    <a:pt x="1045" y="1181"/>
                  </a:lnTo>
                  <a:lnTo>
                    <a:pt x="1038" y="1188"/>
                  </a:lnTo>
                  <a:lnTo>
                    <a:pt x="1043" y="1204"/>
                  </a:lnTo>
                  <a:lnTo>
                    <a:pt x="1035" y="1222"/>
                  </a:lnTo>
                  <a:lnTo>
                    <a:pt x="1028" y="1233"/>
                  </a:lnTo>
                  <a:lnTo>
                    <a:pt x="1028" y="1236"/>
                  </a:lnTo>
                  <a:lnTo>
                    <a:pt x="1030" y="1238"/>
                  </a:lnTo>
                  <a:lnTo>
                    <a:pt x="1030" y="1240"/>
                  </a:lnTo>
                  <a:lnTo>
                    <a:pt x="1033" y="1246"/>
                  </a:lnTo>
                  <a:lnTo>
                    <a:pt x="1041" y="1266"/>
                  </a:lnTo>
                  <a:lnTo>
                    <a:pt x="1045" y="1272"/>
                  </a:lnTo>
                  <a:lnTo>
                    <a:pt x="1036" y="1287"/>
                  </a:lnTo>
                  <a:lnTo>
                    <a:pt x="1040" y="1303"/>
                  </a:lnTo>
                  <a:lnTo>
                    <a:pt x="1041" y="1310"/>
                  </a:lnTo>
                  <a:lnTo>
                    <a:pt x="1036" y="1327"/>
                  </a:lnTo>
                  <a:lnTo>
                    <a:pt x="1051" y="1368"/>
                  </a:lnTo>
                  <a:lnTo>
                    <a:pt x="1051" y="1370"/>
                  </a:lnTo>
                  <a:lnTo>
                    <a:pt x="1054" y="1376"/>
                  </a:lnTo>
                  <a:lnTo>
                    <a:pt x="1054" y="1378"/>
                  </a:lnTo>
                  <a:lnTo>
                    <a:pt x="1053" y="1388"/>
                  </a:lnTo>
                  <a:lnTo>
                    <a:pt x="1051" y="1404"/>
                  </a:lnTo>
                  <a:lnTo>
                    <a:pt x="1049" y="1417"/>
                  </a:lnTo>
                  <a:lnTo>
                    <a:pt x="1046" y="1448"/>
                  </a:lnTo>
                  <a:lnTo>
                    <a:pt x="1046" y="1456"/>
                  </a:lnTo>
                  <a:lnTo>
                    <a:pt x="1056" y="1467"/>
                  </a:lnTo>
                  <a:lnTo>
                    <a:pt x="1058" y="1469"/>
                  </a:lnTo>
                  <a:lnTo>
                    <a:pt x="1061" y="1471"/>
                  </a:lnTo>
                  <a:lnTo>
                    <a:pt x="1062" y="1472"/>
                  </a:lnTo>
                  <a:lnTo>
                    <a:pt x="1066" y="1477"/>
                  </a:lnTo>
                  <a:lnTo>
                    <a:pt x="1067" y="1477"/>
                  </a:lnTo>
                  <a:lnTo>
                    <a:pt x="1075" y="1477"/>
                  </a:lnTo>
                  <a:lnTo>
                    <a:pt x="1084" y="1485"/>
                  </a:lnTo>
                  <a:lnTo>
                    <a:pt x="1087" y="1492"/>
                  </a:lnTo>
                  <a:lnTo>
                    <a:pt x="1093" y="1498"/>
                  </a:lnTo>
                  <a:lnTo>
                    <a:pt x="1098" y="1506"/>
                  </a:lnTo>
                  <a:lnTo>
                    <a:pt x="1097" y="1518"/>
                  </a:lnTo>
                  <a:lnTo>
                    <a:pt x="1093" y="1529"/>
                  </a:lnTo>
                  <a:lnTo>
                    <a:pt x="1092" y="1531"/>
                  </a:lnTo>
                  <a:lnTo>
                    <a:pt x="1088" y="1537"/>
                  </a:lnTo>
                  <a:lnTo>
                    <a:pt x="1087" y="1549"/>
                  </a:lnTo>
                  <a:lnTo>
                    <a:pt x="1085" y="1550"/>
                  </a:lnTo>
                  <a:lnTo>
                    <a:pt x="1082" y="1552"/>
                  </a:lnTo>
                  <a:lnTo>
                    <a:pt x="1075" y="1550"/>
                  </a:lnTo>
                  <a:lnTo>
                    <a:pt x="1071" y="1550"/>
                  </a:lnTo>
                  <a:lnTo>
                    <a:pt x="1054" y="1557"/>
                  </a:lnTo>
                  <a:lnTo>
                    <a:pt x="1061" y="1568"/>
                  </a:lnTo>
                  <a:lnTo>
                    <a:pt x="1064" y="1575"/>
                  </a:lnTo>
                  <a:lnTo>
                    <a:pt x="1064" y="1580"/>
                  </a:lnTo>
                  <a:lnTo>
                    <a:pt x="1069" y="1596"/>
                  </a:lnTo>
                  <a:lnTo>
                    <a:pt x="1077" y="1609"/>
                  </a:lnTo>
                  <a:lnTo>
                    <a:pt x="1077" y="1610"/>
                  </a:lnTo>
                  <a:lnTo>
                    <a:pt x="1077" y="1615"/>
                  </a:lnTo>
                  <a:lnTo>
                    <a:pt x="1082" y="1622"/>
                  </a:lnTo>
                  <a:lnTo>
                    <a:pt x="1084" y="1623"/>
                  </a:lnTo>
                  <a:lnTo>
                    <a:pt x="1085" y="1628"/>
                  </a:lnTo>
                  <a:lnTo>
                    <a:pt x="1085" y="1643"/>
                  </a:lnTo>
                  <a:lnTo>
                    <a:pt x="1082" y="1651"/>
                  </a:lnTo>
                  <a:lnTo>
                    <a:pt x="1079" y="1654"/>
                  </a:lnTo>
                  <a:lnTo>
                    <a:pt x="1079" y="1659"/>
                  </a:lnTo>
                  <a:lnTo>
                    <a:pt x="1080" y="1666"/>
                  </a:lnTo>
                  <a:lnTo>
                    <a:pt x="1080" y="1671"/>
                  </a:lnTo>
                  <a:lnTo>
                    <a:pt x="1082" y="1674"/>
                  </a:lnTo>
                  <a:lnTo>
                    <a:pt x="1080" y="1680"/>
                  </a:lnTo>
                  <a:lnTo>
                    <a:pt x="1080" y="1687"/>
                  </a:lnTo>
                  <a:lnTo>
                    <a:pt x="1077" y="1692"/>
                  </a:lnTo>
                  <a:lnTo>
                    <a:pt x="1075" y="1697"/>
                  </a:lnTo>
                  <a:lnTo>
                    <a:pt x="1072" y="1700"/>
                  </a:lnTo>
                  <a:lnTo>
                    <a:pt x="1071" y="1702"/>
                  </a:lnTo>
                  <a:lnTo>
                    <a:pt x="1071" y="1705"/>
                  </a:lnTo>
                  <a:lnTo>
                    <a:pt x="1069" y="1706"/>
                  </a:lnTo>
                  <a:lnTo>
                    <a:pt x="1064" y="1710"/>
                  </a:lnTo>
                  <a:lnTo>
                    <a:pt x="1061" y="1713"/>
                  </a:lnTo>
                  <a:lnTo>
                    <a:pt x="1058" y="1718"/>
                  </a:lnTo>
                  <a:lnTo>
                    <a:pt x="1056" y="1718"/>
                  </a:lnTo>
                  <a:lnTo>
                    <a:pt x="1053" y="1718"/>
                  </a:lnTo>
                  <a:lnTo>
                    <a:pt x="1049" y="1718"/>
                  </a:lnTo>
                  <a:lnTo>
                    <a:pt x="1048" y="1718"/>
                  </a:lnTo>
                  <a:lnTo>
                    <a:pt x="1046" y="1718"/>
                  </a:lnTo>
                  <a:lnTo>
                    <a:pt x="1045" y="1718"/>
                  </a:lnTo>
                  <a:lnTo>
                    <a:pt x="1043" y="1716"/>
                  </a:lnTo>
                  <a:lnTo>
                    <a:pt x="1041" y="1718"/>
                  </a:lnTo>
                  <a:lnTo>
                    <a:pt x="1040" y="1719"/>
                  </a:lnTo>
                  <a:lnTo>
                    <a:pt x="1038" y="1721"/>
                  </a:lnTo>
                  <a:lnTo>
                    <a:pt x="1036" y="1721"/>
                  </a:lnTo>
                  <a:lnTo>
                    <a:pt x="1036" y="1723"/>
                  </a:lnTo>
                  <a:lnTo>
                    <a:pt x="1035" y="1724"/>
                  </a:lnTo>
                  <a:lnTo>
                    <a:pt x="1033" y="1726"/>
                  </a:lnTo>
                  <a:lnTo>
                    <a:pt x="1033" y="1728"/>
                  </a:lnTo>
                  <a:lnTo>
                    <a:pt x="1036" y="1729"/>
                  </a:lnTo>
                  <a:lnTo>
                    <a:pt x="1038" y="1731"/>
                  </a:lnTo>
                  <a:lnTo>
                    <a:pt x="1040" y="1732"/>
                  </a:lnTo>
                  <a:lnTo>
                    <a:pt x="1040" y="1734"/>
                  </a:lnTo>
                  <a:lnTo>
                    <a:pt x="1041" y="1734"/>
                  </a:lnTo>
                  <a:lnTo>
                    <a:pt x="1041" y="1736"/>
                  </a:lnTo>
                  <a:lnTo>
                    <a:pt x="1040" y="1736"/>
                  </a:lnTo>
                  <a:lnTo>
                    <a:pt x="1040" y="1737"/>
                  </a:lnTo>
                  <a:lnTo>
                    <a:pt x="1040" y="1739"/>
                  </a:lnTo>
                  <a:lnTo>
                    <a:pt x="1040" y="1741"/>
                  </a:lnTo>
                  <a:lnTo>
                    <a:pt x="1040" y="1742"/>
                  </a:lnTo>
                  <a:lnTo>
                    <a:pt x="1041" y="1744"/>
                  </a:lnTo>
                  <a:lnTo>
                    <a:pt x="1040" y="1744"/>
                  </a:lnTo>
                  <a:lnTo>
                    <a:pt x="1041" y="1744"/>
                  </a:lnTo>
                  <a:lnTo>
                    <a:pt x="1041" y="1745"/>
                  </a:lnTo>
                  <a:lnTo>
                    <a:pt x="1038" y="1745"/>
                  </a:lnTo>
                  <a:lnTo>
                    <a:pt x="1038" y="1747"/>
                  </a:lnTo>
                  <a:lnTo>
                    <a:pt x="1035" y="1754"/>
                  </a:lnTo>
                  <a:lnTo>
                    <a:pt x="1030" y="1754"/>
                  </a:lnTo>
                  <a:lnTo>
                    <a:pt x="1028" y="1755"/>
                  </a:lnTo>
                  <a:lnTo>
                    <a:pt x="1025" y="1755"/>
                  </a:lnTo>
                  <a:lnTo>
                    <a:pt x="1023" y="1757"/>
                  </a:lnTo>
                  <a:lnTo>
                    <a:pt x="1023" y="1758"/>
                  </a:lnTo>
                  <a:lnTo>
                    <a:pt x="1023" y="1760"/>
                  </a:lnTo>
                  <a:lnTo>
                    <a:pt x="1023" y="1763"/>
                  </a:lnTo>
                  <a:lnTo>
                    <a:pt x="1025" y="1771"/>
                  </a:lnTo>
                  <a:lnTo>
                    <a:pt x="1027" y="1775"/>
                  </a:lnTo>
                  <a:lnTo>
                    <a:pt x="1028" y="1776"/>
                  </a:lnTo>
                  <a:lnTo>
                    <a:pt x="1028" y="1780"/>
                  </a:lnTo>
                  <a:lnTo>
                    <a:pt x="1028" y="1784"/>
                  </a:lnTo>
                  <a:lnTo>
                    <a:pt x="1030" y="1786"/>
                  </a:lnTo>
                  <a:lnTo>
                    <a:pt x="1030" y="1788"/>
                  </a:lnTo>
                  <a:lnTo>
                    <a:pt x="1030" y="1791"/>
                  </a:lnTo>
                  <a:lnTo>
                    <a:pt x="1032" y="1794"/>
                  </a:lnTo>
                  <a:lnTo>
                    <a:pt x="1033" y="1797"/>
                  </a:lnTo>
                  <a:lnTo>
                    <a:pt x="1033" y="1801"/>
                  </a:lnTo>
                  <a:lnTo>
                    <a:pt x="1035" y="1810"/>
                  </a:lnTo>
                  <a:lnTo>
                    <a:pt x="1032" y="1815"/>
                  </a:lnTo>
                  <a:lnTo>
                    <a:pt x="1032" y="1817"/>
                  </a:lnTo>
                  <a:lnTo>
                    <a:pt x="1032" y="1819"/>
                  </a:lnTo>
                  <a:lnTo>
                    <a:pt x="1032" y="1822"/>
                  </a:lnTo>
                  <a:lnTo>
                    <a:pt x="1032" y="1824"/>
                  </a:lnTo>
                  <a:lnTo>
                    <a:pt x="1032" y="1825"/>
                  </a:lnTo>
                  <a:lnTo>
                    <a:pt x="1030" y="1830"/>
                  </a:lnTo>
                  <a:lnTo>
                    <a:pt x="1032" y="1832"/>
                  </a:lnTo>
                  <a:lnTo>
                    <a:pt x="1032" y="1833"/>
                  </a:lnTo>
                  <a:lnTo>
                    <a:pt x="1027" y="1841"/>
                  </a:lnTo>
                  <a:lnTo>
                    <a:pt x="1025" y="1846"/>
                  </a:lnTo>
                  <a:lnTo>
                    <a:pt x="1025" y="1848"/>
                  </a:lnTo>
                  <a:lnTo>
                    <a:pt x="1025" y="1850"/>
                  </a:lnTo>
                  <a:lnTo>
                    <a:pt x="1025" y="1853"/>
                  </a:lnTo>
                  <a:lnTo>
                    <a:pt x="1023" y="1856"/>
                  </a:lnTo>
                  <a:lnTo>
                    <a:pt x="1023" y="1859"/>
                  </a:lnTo>
                  <a:lnTo>
                    <a:pt x="1022" y="1859"/>
                  </a:lnTo>
                  <a:lnTo>
                    <a:pt x="1019" y="1863"/>
                  </a:lnTo>
                  <a:lnTo>
                    <a:pt x="1019" y="1861"/>
                  </a:lnTo>
                  <a:lnTo>
                    <a:pt x="1017" y="1861"/>
                  </a:lnTo>
                  <a:lnTo>
                    <a:pt x="1017" y="1863"/>
                  </a:lnTo>
                  <a:lnTo>
                    <a:pt x="1015" y="1861"/>
                  </a:lnTo>
                  <a:lnTo>
                    <a:pt x="1015" y="1863"/>
                  </a:lnTo>
                  <a:lnTo>
                    <a:pt x="1014" y="1863"/>
                  </a:lnTo>
                  <a:lnTo>
                    <a:pt x="1012" y="1863"/>
                  </a:lnTo>
                  <a:lnTo>
                    <a:pt x="1009" y="1863"/>
                  </a:lnTo>
                  <a:lnTo>
                    <a:pt x="1009" y="1861"/>
                  </a:lnTo>
                  <a:lnTo>
                    <a:pt x="1009" y="1859"/>
                  </a:lnTo>
                  <a:lnTo>
                    <a:pt x="1009" y="1854"/>
                  </a:lnTo>
                  <a:lnTo>
                    <a:pt x="1009" y="1853"/>
                  </a:lnTo>
                  <a:lnTo>
                    <a:pt x="1009" y="1850"/>
                  </a:lnTo>
                  <a:lnTo>
                    <a:pt x="1009" y="1848"/>
                  </a:lnTo>
                  <a:lnTo>
                    <a:pt x="1009" y="1846"/>
                  </a:lnTo>
                  <a:lnTo>
                    <a:pt x="1007" y="1846"/>
                  </a:lnTo>
                  <a:lnTo>
                    <a:pt x="1007" y="1845"/>
                  </a:lnTo>
                  <a:lnTo>
                    <a:pt x="1007" y="1843"/>
                  </a:lnTo>
                  <a:lnTo>
                    <a:pt x="1006" y="1843"/>
                  </a:lnTo>
                  <a:lnTo>
                    <a:pt x="1006" y="1841"/>
                  </a:lnTo>
                  <a:lnTo>
                    <a:pt x="1006" y="1840"/>
                  </a:lnTo>
                  <a:lnTo>
                    <a:pt x="1006" y="1838"/>
                  </a:lnTo>
                  <a:lnTo>
                    <a:pt x="1006" y="1837"/>
                  </a:lnTo>
                  <a:lnTo>
                    <a:pt x="1006" y="1838"/>
                  </a:lnTo>
                  <a:lnTo>
                    <a:pt x="1006" y="1840"/>
                  </a:lnTo>
                  <a:lnTo>
                    <a:pt x="1006" y="1838"/>
                  </a:lnTo>
                  <a:lnTo>
                    <a:pt x="1004" y="1838"/>
                  </a:lnTo>
                  <a:lnTo>
                    <a:pt x="1004" y="1837"/>
                  </a:lnTo>
                  <a:lnTo>
                    <a:pt x="1002" y="1835"/>
                  </a:lnTo>
                  <a:lnTo>
                    <a:pt x="1002" y="1833"/>
                  </a:lnTo>
                  <a:lnTo>
                    <a:pt x="1002" y="1832"/>
                  </a:lnTo>
                  <a:lnTo>
                    <a:pt x="1001" y="1832"/>
                  </a:lnTo>
                  <a:lnTo>
                    <a:pt x="1002" y="1832"/>
                  </a:lnTo>
                  <a:lnTo>
                    <a:pt x="1001" y="1832"/>
                  </a:lnTo>
                  <a:lnTo>
                    <a:pt x="1001" y="1830"/>
                  </a:lnTo>
                  <a:lnTo>
                    <a:pt x="999" y="1830"/>
                  </a:lnTo>
                  <a:lnTo>
                    <a:pt x="997" y="1830"/>
                  </a:lnTo>
                  <a:lnTo>
                    <a:pt x="996" y="1832"/>
                  </a:lnTo>
                  <a:lnTo>
                    <a:pt x="996" y="1833"/>
                  </a:lnTo>
                  <a:lnTo>
                    <a:pt x="994" y="1832"/>
                  </a:lnTo>
                  <a:lnTo>
                    <a:pt x="994" y="1833"/>
                  </a:lnTo>
                  <a:lnTo>
                    <a:pt x="993" y="1833"/>
                  </a:lnTo>
                  <a:lnTo>
                    <a:pt x="991" y="1833"/>
                  </a:lnTo>
                  <a:lnTo>
                    <a:pt x="991" y="1835"/>
                  </a:lnTo>
                  <a:lnTo>
                    <a:pt x="989" y="1833"/>
                  </a:lnTo>
                  <a:lnTo>
                    <a:pt x="989" y="1835"/>
                  </a:lnTo>
                  <a:lnTo>
                    <a:pt x="989" y="1833"/>
                  </a:lnTo>
                  <a:lnTo>
                    <a:pt x="991" y="1832"/>
                  </a:lnTo>
                  <a:lnTo>
                    <a:pt x="989" y="1832"/>
                  </a:lnTo>
                  <a:lnTo>
                    <a:pt x="989" y="1833"/>
                  </a:lnTo>
                  <a:lnTo>
                    <a:pt x="988" y="1833"/>
                  </a:lnTo>
                  <a:lnTo>
                    <a:pt x="989" y="1833"/>
                  </a:lnTo>
                  <a:lnTo>
                    <a:pt x="989" y="1832"/>
                  </a:lnTo>
                  <a:lnTo>
                    <a:pt x="989" y="1830"/>
                  </a:lnTo>
                  <a:lnTo>
                    <a:pt x="989" y="1832"/>
                  </a:lnTo>
                  <a:lnTo>
                    <a:pt x="988" y="1832"/>
                  </a:lnTo>
                  <a:lnTo>
                    <a:pt x="988" y="1830"/>
                  </a:lnTo>
                  <a:lnTo>
                    <a:pt x="988" y="1828"/>
                  </a:lnTo>
                  <a:lnTo>
                    <a:pt x="988" y="1830"/>
                  </a:lnTo>
                  <a:lnTo>
                    <a:pt x="988" y="1828"/>
                  </a:lnTo>
                  <a:lnTo>
                    <a:pt x="986" y="1828"/>
                  </a:lnTo>
                  <a:lnTo>
                    <a:pt x="988" y="1828"/>
                  </a:lnTo>
                  <a:lnTo>
                    <a:pt x="986" y="1827"/>
                  </a:lnTo>
                  <a:lnTo>
                    <a:pt x="988" y="1827"/>
                  </a:lnTo>
                  <a:lnTo>
                    <a:pt x="986" y="1827"/>
                  </a:lnTo>
                  <a:lnTo>
                    <a:pt x="988" y="1827"/>
                  </a:lnTo>
                  <a:lnTo>
                    <a:pt x="988" y="1825"/>
                  </a:lnTo>
                  <a:lnTo>
                    <a:pt x="988" y="1827"/>
                  </a:lnTo>
                  <a:lnTo>
                    <a:pt x="989" y="1827"/>
                  </a:lnTo>
                  <a:lnTo>
                    <a:pt x="989" y="1825"/>
                  </a:lnTo>
                  <a:lnTo>
                    <a:pt x="988" y="1825"/>
                  </a:lnTo>
                  <a:lnTo>
                    <a:pt x="986" y="1825"/>
                  </a:lnTo>
                  <a:lnTo>
                    <a:pt x="986" y="1824"/>
                  </a:lnTo>
                  <a:lnTo>
                    <a:pt x="986" y="1822"/>
                  </a:lnTo>
                  <a:lnTo>
                    <a:pt x="988" y="1822"/>
                  </a:lnTo>
                  <a:lnTo>
                    <a:pt x="988" y="1819"/>
                  </a:lnTo>
                  <a:lnTo>
                    <a:pt x="986" y="1819"/>
                  </a:lnTo>
                  <a:lnTo>
                    <a:pt x="988" y="1820"/>
                  </a:lnTo>
                  <a:lnTo>
                    <a:pt x="986" y="1820"/>
                  </a:lnTo>
                  <a:lnTo>
                    <a:pt x="984" y="1820"/>
                  </a:lnTo>
                  <a:lnTo>
                    <a:pt x="984" y="1819"/>
                  </a:lnTo>
                  <a:lnTo>
                    <a:pt x="984" y="1820"/>
                  </a:lnTo>
                  <a:lnTo>
                    <a:pt x="986" y="1820"/>
                  </a:lnTo>
                  <a:lnTo>
                    <a:pt x="984" y="1822"/>
                  </a:lnTo>
                  <a:lnTo>
                    <a:pt x="986" y="1822"/>
                  </a:lnTo>
                  <a:lnTo>
                    <a:pt x="984" y="1822"/>
                  </a:lnTo>
                  <a:lnTo>
                    <a:pt x="986" y="1822"/>
                  </a:lnTo>
                  <a:lnTo>
                    <a:pt x="986" y="1824"/>
                  </a:lnTo>
                  <a:lnTo>
                    <a:pt x="986" y="1825"/>
                  </a:lnTo>
                  <a:lnTo>
                    <a:pt x="984" y="1824"/>
                  </a:lnTo>
                  <a:lnTo>
                    <a:pt x="984" y="1825"/>
                  </a:lnTo>
                  <a:lnTo>
                    <a:pt x="983" y="1825"/>
                  </a:lnTo>
                  <a:lnTo>
                    <a:pt x="983" y="1827"/>
                  </a:lnTo>
                  <a:lnTo>
                    <a:pt x="984" y="1825"/>
                  </a:lnTo>
                  <a:lnTo>
                    <a:pt x="986" y="1827"/>
                  </a:lnTo>
                  <a:lnTo>
                    <a:pt x="984" y="1827"/>
                  </a:lnTo>
                  <a:lnTo>
                    <a:pt x="984" y="1828"/>
                  </a:lnTo>
                  <a:lnTo>
                    <a:pt x="984" y="1827"/>
                  </a:lnTo>
                  <a:lnTo>
                    <a:pt x="984" y="1828"/>
                  </a:lnTo>
                  <a:lnTo>
                    <a:pt x="983" y="1828"/>
                  </a:lnTo>
                  <a:lnTo>
                    <a:pt x="983" y="1827"/>
                  </a:lnTo>
                  <a:lnTo>
                    <a:pt x="983" y="1825"/>
                  </a:lnTo>
                  <a:lnTo>
                    <a:pt x="983" y="1824"/>
                  </a:lnTo>
                  <a:lnTo>
                    <a:pt x="981" y="1824"/>
                  </a:lnTo>
                  <a:lnTo>
                    <a:pt x="981" y="1822"/>
                  </a:lnTo>
                  <a:lnTo>
                    <a:pt x="981" y="1820"/>
                  </a:lnTo>
                  <a:lnTo>
                    <a:pt x="980" y="1820"/>
                  </a:lnTo>
                  <a:lnTo>
                    <a:pt x="981" y="1822"/>
                  </a:lnTo>
                  <a:lnTo>
                    <a:pt x="981" y="1824"/>
                  </a:lnTo>
                  <a:lnTo>
                    <a:pt x="981" y="1825"/>
                  </a:lnTo>
                  <a:lnTo>
                    <a:pt x="981" y="1827"/>
                  </a:lnTo>
                  <a:lnTo>
                    <a:pt x="981" y="1828"/>
                  </a:lnTo>
                  <a:lnTo>
                    <a:pt x="980" y="1830"/>
                  </a:lnTo>
                  <a:lnTo>
                    <a:pt x="980" y="1828"/>
                  </a:lnTo>
                  <a:lnTo>
                    <a:pt x="980" y="1830"/>
                  </a:lnTo>
                  <a:lnTo>
                    <a:pt x="978" y="1828"/>
                  </a:lnTo>
                  <a:lnTo>
                    <a:pt x="980" y="1828"/>
                  </a:lnTo>
                  <a:lnTo>
                    <a:pt x="980" y="1827"/>
                  </a:lnTo>
                  <a:lnTo>
                    <a:pt x="978" y="1827"/>
                  </a:lnTo>
                  <a:lnTo>
                    <a:pt x="978" y="1828"/>
                  </a:lnTo>
                  <a:lnTo>
                    <a:pt x="978" y="1827"/>
                  </a:lnTo>
                  <a:lnTo>
                    <a:pt x="978" y="1828"/>
                  </a:lnTo>
                  <a:lnTo>
                    <a:pt x="976" y="1828"/>
                  </a:lnTo>
                  <a:lnTo>
                    <a:pt x="976" y="1827"/>
                  </a:lnTo>
                  <a:lnTo>
                    <a:pt x="976" y="1825"/>
                  </a:lnTo>
                  <a:lnTo>
                    <a:pt x="975" y="1825"/>
                  </a:lnTo>
                  <a:lnTo>
                    <a:pt x="975" y="1827"/>
                  </a:lnTo>
                  <a:lnTo>
                    <a:pt x="975" y="1825"/>
                  </a:lnTo>
                  <a:lnTo>
                    <a:pt x="975" y="1824"/>
                  </a:lnTo>
                  <a:lnTo>
                    <a:pt x="973" y="1824"/>
                  </a:lnTo>
                  <a:lnTo>
                    <a:pt x="975" y="1824"/>
                  </a:lnTo>
                  <a:lnTo>
                    <a:pt x="975" y="1822"/>
                  </a:lnTo>
                  <a:lnTo>
                    <a:pt x="975" y="1820"/>
                  </a:lnTo>
                  <a:lnTo>
                    <a:pt x="975" y="1822"/>
                  </a:lnTo>
                  <a:lnTo>
                    <a:pt x="973" y="1822"/>
                  </a:lnTo>
                  <a:lnTo>
                    <a:pt x="973" y="1820"/>
                  </a:lnTo>
                  <a:lnTo>
                    <a:pt x="971" y="1820"/>
                  </a:lnTo>
                  <a:lnTo>
                    <a:pt x="971" y="1822"/>
                  </a:lnTo>
                  <a:lnTo>
                    <a:pt x="971" y="1824"/>
                  </a:lnTo>
                  <a:lnTo>
                    <a:pt x="971" y="1822"/>
                  </a:lnTo>
                  <a:lnTo>
                    <a:pt x="970" y="1822"/>
                  </a:lnTo>
                  <a:lnTo>
                    <a:pt x="970" y="1820"/>
                  </a:lnTo>
                  <a:lnTo>
                    <a:pt x="970" y="1819"/>
                  </a:lnTo>
                  <a:lnTo>
                    <a:pt x="970" y="1820"/>
                  </a:lnTo>
                  <a:lnTo>
                    <a:pt x="970" y="1822"/>
                  </a:lnTo>
                  <a:lnTo>
                    <a:pt x="970" y="1824"/>
                  </a:lnTo>
                  <a:lnTo>
                    <a:pt x="970" y="1825"/>
                  </a:lnTo>
                  <a:lnTo>
                    <a:pt x="970" y="1827"/>
                  </a:lnTo>
                  <a:lnTo>
                    <a:pt x="968" y="1828"/>
                  </a:lnTo>
                  <a:lnTo>
                    <a:pt x="967" y="1827"/>
                  </a:lnTo>
                  <a:lnTo>
                    <a:pt x="967" y="1828"/>
                  </a:lnTo>
                  <a:lnTo>
                    <a:pt x="967" y="1827"/>
                  </a:lnTo>
                  <a:lnTo>
                    <a:pt x="967" y="1825"/>
                  </a:lnTo>
                  <a:lnTo>
                    <a:pt x="967" y="1824"/>
                  </a:lnTo>
                  <a:lnTo>
                    <a:pt x="968" y="1824"/>
                  </a:lnTo>
                  <a:lnTo>
                    <a:pt x="967" y="1824"/>
                  </a:lnTo>
                  <a:lnTo>
                    <a:pt x="967" y="1822"/>
                  </a:lnTo>
                  <a:lnTo>
                    <a:pt x="967" y="1824"/>
                  </a:lnTo>
                  <a:lnTo>
                    <a:pt x="967" y="1822"/>
                  </a:lnTo>
                  <a:lnTo>
                    <a:pt x="967" y="1820"/>
                  </a:lnTo>
                  <a:lnTo>
                    <a:pt x="965" y="1822"/>
                  </a:lnTo>
                  <a:lnTo>
                    <a:pt x="965" y="1820"/>
                  </a:lnTo>
                  <a:lnTo>
                    <a:pt x="967" y="1819"/>
                  </a:lnTo>
                  <a:lnTo>
                    <a:pt x="967" y="1817"/>
                  </a:lnTo>
                  <a:lnTo>
                    <a:pt x="968" y="1817"/>
                  </a:lnTo>
                  <a:lnTo>
                    <a:pt x="967" y="1817"/>
                  </a:lnTo>
                  <a:lnTo>
                    <a:pt x="968" y="1817"/>
                  </a:lnTo>
                  <a:lnTo>
                    <a:pt x="967" y="1815"/>
                  </a:lnTo>
                  <a:lnTo>
                    <a:pt x="967" y="1817"/>
                  </a:lnTo>
                  <a:lnTo>
                    <a:pt x="965" y="1817"/>
                  </a:lnTo>
                  <a:lnTo>
                    <a:pt x="967" y="1819"/>
                  </a:lnTo>
                  <a:lnTo>
                    <a:pt x="965" y="1820"/>
                  </a:lnTo>
                  <a:lnTo>
                    <a:pt x="965" y="1822"/>
                  </a:lnTo>
                  <a:lnTo>
                    <a:pt x="963" y="1822"/>
                  </a:lnTo>
                  <a:lnTo>
                    <a:pt x="963" y="1820"/>
                  </a:lnTo>
                  <a:lnTo>
                    <a:pt x="963" y="1822"/>
                  </a:lnTo>
                  <a:lnTo>
                    <a:pt x="963" y="1824"/>
                  </a:lnTo>
                  <a:lnTo>
                    <a:pt x="962" y="1822"/>
                  </a:lnTo>
                  <a:lnTo>
                    <a:pt x="962" y="1824"/>
                  </a:lnTo>
                  <a:lnTo>
                    <a:pt x="962" y="1825"/>
                  </a:lnTo>
                  <a:lnTo>
                    <a:pt x="960" y="1825"/>
                  </a:lnTo>
                  <a:lnTo>
                    <a:pt x="960" y="1824"/>
                  </a:lnTo>
                  <a:lnTo>
                    <a:pt x="962" y="1824"/>
                  </a:lnTo>
                  <a:lnTo>
                    <a:pt x="960" y="1824"/>
                  </a:lnTo>
                  <a:lnTo>
                    <a:pt x="960" y="1822"/>
                  </a:lnTo>
                  <a:lnTo>
                    <a:pt x="960" y="1820"/>
                  </a:lnTo>
                  <a:lnTo>
                    <a:pt x="960" y="1819"/>
                  </a:lnTo>
                  <a:lnTo>
                    <a:pt x="958" y="1820"/>
                  </a:lnTo>
                  <a:lnTo>
                    <a:pt x="958" y="1819"/>
                  </a:lnTo>
                  <a:lnTo>
                    <a:pt x="960" y="1817"/>
                  </a:lnTo>
                  <a:lnTo>
                    <a:pt x="958" y="1817"/>
                  </a:lnTo>
                  <a:lnTo>
                    <a:pt x="958" y="1815"/>
                  </a:lnTo>
                  <a:lnTo>
                    <a:pt x="957" y="1815"/>
                  </a:lnTo>
                  <a:lnTo>
                    <a:pt x="957" y="1814"/>
                  </a:lnTo>
                  <a:lnTo>
                    <a:pt x="955" y="1814"/>
                  </a:lnTo>
                  <a:lnTo>
                    <a:pt x="957" y="1814"/>
                  </a:lnTo>
                  <a:lnTo>
                    <a:pt x="957" y="1812"/>
                  </a:lnTo>
                  <a:lnTo>
                    <a:pt x="957" y="1810"/>
                  </a:lnTo>
                  <a:lnTo>
                    <a:pt x="958" y="1810"/>
                  </a:lnTo>
                  <a:lnTo>
                    <a:pt x="957" y="1810"/>
                  </a:lnTo>
                  <a:lnTo>
                    <a:pt x="957" y="1814"/>
                  </a:lnTo>
                  <a:lnTo>
                    <a:pt x="955" y="1814"/>
                  </a:lnTo>
                  <a:lnTo>
                    <a:pt x="953" y="1814"/>
                  </a:lnTo>
                  <a:lnTo>
                    <a:pt x="953" y="1815"/>
                  </a:lnTo>
                  <a:lnTo>
                    <a:pt x="953" y="1814"/>
                  </a:lnTo>
                  <a:lnTo>
                    <a:pt x="953" y="1812"/>
                  </a:lnTo>
                  <a:lnTo>
                    <a:pt x="953" y="1810"/>
                  </a:lnTo>
                  <a:lnTo>
                    <a:pt x="953" y="1809"/>
                  </a:lnTo>
                  <a:lnTo>
                    <a:pt x="953" y="1810"/>
                  </a:lnTo>
                  <a:lnTo>
                    <a:pt x="955" y="1810"/>
                  </a:lnTo>
                  <a:lnTo>
                    <a:pt x="955" y="1809"/>
                  </a:lnTo>
                  <a:lnTo>
                    <a:pt x="953" y="1809"/>
                  </a:lnTo>
                  <a:lnTo>
                    <a:pt x="953" y="1807"/>
                  </a:lnTo>
                  <a:lnTo>
                    <a:pt x="955" y="1807"/>
                  </a:lnTo>
                  <a:lnTo>
                    <a:pt x="955" y="1806"/>
                  </a:lnTo>
                  <a:lnTo>
                    <a:pt x="957" y="1804"/>
                  </a:lnTo>
                  <a:lnTo>
                    <a:pt x="957" y="1802"/>
                  </a:lnTo>
                  <a:lnTo>
                    <a:pt x="958" y="1802"/>
                  </a:lnTo>
                  <a:lnTo>
                    <a:pt x="958" y="1801"/>
                  </a:lnTo>
                  <a:lnTo>
                    <a:pt x="958" y="1802"/>
                  </a:lnTo>
                  <a:lnTo>
                    <a:pt x="957" y="1802"/>
                  </a:lnTo>
                  <a:lnTo>
                    <a:pt x="955" y="1804"/>
                  </a:lnTo>
                  <a:lnTo>
                    <a:pt x="955" y="1802"/>
                  </a:lnTo>
                  <a:lnTo>
                    <a:pt x="953" y="1802"/>
                  </a:lnTo>
                  <a:lnTo>
                    <a:pt x="953" y="1804"/>
                  </a:lnTo>
                  <a:lnTo>
                    <a:pt x="953" y="1802"/>
                  </a:lnTo>
                  <a:lnTo>
                    <a:pt x="952" y="1802"/>
                  </a:lnTo>
                  <a:lnTo>
                    <a:pt x="953" y="1802"/>
                  </a:lnTo>
                  <a:lnTo>
                    <a:pt x="953" y="1801"/>
                  </a:lnTo>
                  <a:lnTo>
                    <a:pt x="955" y="1801"/>
                  </a:lnTo>
                  <a:lnTo>
                    <a:pt x="955" y="1802"/>
                  </a:lnTo>
                  <a:lnTo>
                    <a:pt x="955" y="1801"/>
                  </a:lnTo>
                  <a:lnTo>
                    <a:pt x="955" y="1799"/>
                  </a:lnTo>
                  <a:lnTo>
                    <a:pt x="955" y="1797"/>
                  </a:lnTo>
                  <a:lnTo>
                    <a:pt x="953" y="1797"/>
                  </a:lnTo>
                  <a:lnTo>
                    <a:pt x="953" y="1799"/>
                  </a:lnTo>
                  <a:lnTo>
                    <a:pt x="952" y="1799"/>
                  </a:lnTo>
                  <a:lnTo>
                    <a:pt x="952" y="1801"/>
                  </a:lnTo>
                  <a:lnTo>
                    <a:pt x="952" y="1802"/>
                  </a:lnTo>
                  <a:lnTo>
                    <a:pt x="950" y="1802"/>
                  </a:lnTo>
                  <a:lnTo>
                    <a:pt x="950" y="1804"/>
                  </a:lnTo>
                  <a:lnTo>
                    <a:pt x="950" y="1802"/>
                  </a:lnTo>
                  <a:lnTo>
                    <a:pt x="950" y="1801"/>
                  </a:lnTo>
                  <a:lnTo>
                    <a:pt x="949" y="1801"/>
                  </a:lnTo>
                  <a:lnTo>
                    <a:pt x="949" y="1799"/>
                  </a:lnTo>
                  <a:lnTo>
                    <a:pt x="949" y="1797"/>
                  </a:lnTo>
                  <a:lnTo>
                    <a:pt x="949" y="1796"/>
                  </a:lnTo>
                  <a:lnTo>
                    <a:pt x="949" y="1797"/>
                  </a:lnTo>
                  <a:lnTo>
                    <a:pt x="949" y="1796"/>
                  </a:lnTo>
                  <a:lnTo>
                    <a:pt x="949" y="1793"/>
                  </a:lnTo>
                  <a:lnTo>
                    <a:pt x="949" y="1794"/>
                  </a:lnTo>
                  <a:lnTo>
                    <a:pt x="947" y="1794"/>
                  </a:lnTo>
                  <a:lnTo>
                    <a:pt x="947" y="1793"/>
                  </a:lnTo>
                  <a:lnTo>
                    <a:pt x="947" y="1791"/>
                  </a:lnTo>
                  <a:lnTo>
                    <a:pt x="947" y="1789"/>
                  </a:lnTo>
                  <a:lnTo>
                    <a:pt x="947" y="1788"/>
                  </a:lnTo>
                  <a:lnTo>
                    <a:pt x="949" y="1786"/>
                  </a:lnTo>
                  <a:lnTo>
                    <a:pt x="947" y="1786"/>
                  </a:lnTo>
                  <a:lnTo>
                    <a:pt x="945" y="1788"/>
                  </a:lnTo>
                  <a:lnTo>
                    <a:pt x="945" y="1786"/>
                  </a:lnTo>
                  <a:lnTo>
                    <a:pt x="945" y="1788"/>
                  </a:lnTo>
                  <a:lnTo>
                    <a:pt x="944" y="1788"/>
                  </a:lnTo>
                  <a:lnTo>
                    <a:pt x="942" y="1788"/>
                  </a:lnTo>
                  <a:lnTo>
                    <a:pt x="942" y="1784"/>
                  </a:lnTo>
                  <a:lnTo>
                    <a:pt x="944" y="1784"/>
                  </a:lnTo>
                  <a:lnTo>
                    <a:pt x="945" y="1784"/>
                  </a:lnTo>
                  <a:lnTo>
                    <a:pt x="944" y="1783"/>
                  </a:lnTo>
                  <a:lnTo>
                    <a:pt x="945" y="1783"/>
                  </a:lnTo>
                  <a:lnTo>
                    <a:pt x="945" y="1781"/>
                  </a:lnTo>
                  <a:lnTo>
                    <a:pt x="945" y="1780"/>
                  </a:lnTo>
                  <a:lnTo>
                    <a:pt x="945" y="1778"/>
                  </a:lnTo>
                  <a:lnTo>
                    <a:pt x="947" y="1778"/>
                  </a:lnTo>
                  <a:lnTo>
                    <a:pt x="947" y="1776"/>
                  </a:lnTo>
                  <a:lnTo>
                    <a:pt x="947" y="1775"/>
                  </a:lnTo>
                  <a:lnTo>
                    <a:pt x="949" y="1775"/>
                  </a:lnTo>
                  <a:lnTo>
                    <a:pt x="949" y="1776"/>
                  </a:lnTo>
                  <a:lnTo>
                    <a:pt x="949" y="1778"/>
                  </a:lnTo>
                  <a:lnTo>
                    <a:pt x="949" y="1780"/>
                  </a:lnTo>
                  <a:lnTo>
                    <a:pt x="949" y="1781"/>
                  </a:lnTo>
                  <a:lnTo>
                    <a:pt x="947" y="1781"/>
                  </a:lnTo>
                  <a:lnTo>
                    <a:pt x="947" y="1783"/>
                  </a:lnTo>
                  <a:lnTo>
                    <a:pt x="949" y="1783"/>
                  </a:lnTo>
                  <a:lnTo>
                    <a:pt x="947" y="1784"/>
                  </a:lnTo>
                  <a:lnTo>
                    <a:pt x="949" y="1784"/>
                  </a:lnTo>
                  <a:lnTo>
                    <a:pt x="949" y="1781"/>
                  </a:lnTo>
                  <a:lnTo>
                    <a:pt x="950" y="1780"/>
                  </a:lnTo>
                  <a:lnTo>
                    <a:pt x="950" y="1778"/>
                  </a:lnTo>
                  <a:lnTo>
                    <a:pt x="950" y="1776"/>
                  </a:lnTo>
                  <a:lnTo>
                    <a:pt x="950" y="1775"/>
                  </a:lnTo>
                  <a:lnTo>
                    <a:pt x="949" y="1775"/>
                  </a:lnTo>
                  <a:lnTo>
                    <a:pt x="950" y="1773"/>
                  </a:lnTo>
                  <a:lnTo>
                    <a:pt x="950" y="1771"/>
                  </a:lnTo>
                  <a:lnTo>
                    <a:pt x="949" y="1773"/>
                  </a:lnTo>
                  <a:lnTo>
                    <a:pt x="949" y="1771"/>
                  </a:lnTo>
                  <a:lnTo>
                    <a:pt x="949" y="1770"/>
                  </a:lnTo>
                  <a:lnTo>
                    <a:pt x="947" y="1770"/>
                  </a:lnTo>
                  <a:lnTo>
                    <a:pt x="947" y="1768"/>
                  </a:lnTo>
                  <a:lnTo>
                    <a:pt x="947" y="1767"/>
                  </a:lnTo>
                  <a:lnTo>
                    <a:pt x="947" y="1765"/>
                  </a:lnTo>
                  <a:lnTo>
                    <a:pt x="947" y="1763"/>
                  </a:lnTo>
                  <a:lnTo>
                    <a:pt x="947" y="1762"/>
                  </a:lnTo>
                  <a:lnTo>
                    <a:pt x="947" y="1760"/>
                  </a:lnTo>
                  <a:lnTo>
                    <a:pt x="947" y="1758"/>
                  </a:lnTo>
                  <a:lnTo>
                    <a:pt x="947" y="1757"/>
                  </a:lnTo>
                  <a:lnTo>
                    <a:pt x="945" y="1755"/>
                  </a:lnTo>
                  <a:lnTo>
                    <a:pt x="945" y="1754"/>
                  </a:lnTo>
                  <a:lnTo>
                    <a:pt x="945" y="1752"/>
                  </a:lnTo>
                  <a:lnTo>
                    <a:pt x="945" y="1750"/>
                  </a:lnTo>
                  <a:lnTo>
                    <a:pt x="945" y="1749"/>
                  </a:lnTo>
                  <a:lnTo>
                    <a:pt x="945" y="1747"/>
                  </a:lnTo>
                  <a:lnTo>
                    <a:pt x="947" y="1747"/>
                  </a:lnTo>
                  <a:lnTo>
                    <a:pt x="945" y="1747"/>
                  </a:lnTo>
                  <a:lnTo>
                    <a:pt x="945" y="1749"/>
                  </a:lnTo>
                  <a:lnTo>
                    <a:pt x="944" y="1750"/>
                  </a:lnTo>
                  <a:lnTo>
                    <a:pt x="944" y="1749"/>
                  </a:lnTo>
                  <a:lnTo>
                    <a:pt x="944" y="1747"/>
                  </a:lnTo>
                  <a:lnTo>
                    <a:pt x="944" y="1745"/>
                  </a:lnTo>
                  <a:lnTo>
                    <a:pt x="942" y="1745"/>
                  </a:lnTo>
                  <a:lnTo>
                    <a:pt x="942" y="1744"/>
                  </a:lnTo>
                  <a:lnTo>
                    <a:pt x="942" y="1742"/>
                  </a:lnTo>
                  <a:lnTo>
                    <a:pt x="942" y="1741"/>
                  </a:lnTo>
                  <a:lnTo>
                    <a:pt x="942" y="1739"/>
                  </a:lnTo>
                  <a:lnTo>
                    <a:pt x="942" y="1737"/>
                  </a:lnTo>
                  <a:lnTo>
                    <a:pt x="944" y="1734"/>
                  </a:lnTo>
                  <a:lnTo>
                    <a:pt x="944" y="1732"/>
                  </a:lnTo>
                  <a:lnTo>
                    <a:pt x="944" y="1731"/>
                  </a:lnTo>
                  <a:lnTo>
                    <a:pt x="945" y="1729"/>
                  </a:lnTo>
                  <a:lnTo>
                    <a:pt x="945" y="1728"/>
                  </a:lnTo>
                  <a:lnTo>
                    <a:pt x="947" y="1728"/>
                  </a:lnTo>
                  <a:lnTo>
                    <a:pt x="945" y="1726"/>
                  </a:lnTo>
                  <a:lnTo>
                    <a:pt x="945" y="1728"/>
                  </a:lnTo>
                  <a:lnTo>
                    <a:pt x="945" y="1726"/>
                  </a:lnTo>
                  <a:lnTo>
                    <a:pt x="947" y="1726"/>
                  </a:lnTo>
                  <a:lnTo>
                    <a:pt x="947" y="1724"/>
                  </a:lnTo>
                  <a:lnTo>
                    <a:pt x="947" y="1723"/>
                  </a:lnTo>
                  <a:lnTo>
                    <a:pt x="949" y="1724"/>
                  </a:lnTo>
                  <a:lnTo>
                    <a:pt x="949" y="1726"/>
                  </a:lnTo>
                  <a:lnTo>
                    <a:pt x="950" y="1726"/>
                  </a:lnTo>
                  <a:lnTo>
                    <a:pt x="950" y="1728"/>
                  </a:lnTo>
                  <a:lnTo>
                    <a:pt x="950" y="1729"/>
                  </a:lnTo>
                  <a:lnTo>
                    <a:pt x="950" y="1731"/>
                  </a:lnTo>
                  <a:lnTo>
                    <a:pt x="950" y="1732"/>
                  </a:lnTo>
                  <a:lnTo>
                    <a:pt x="950" y="1734"/>
                  </a:lnTo>
                  <a:lnTo>
                    <a:pt x="952" y="1736"/>
                  </a:lnTo>
                  <a:lnTo>
                    <a:pt x="952" y="1737"/>
                  </a:lnTo>
                  <a:lnTo>
                    <a:pt x="952" y="1739"/>
                  </a:lnTo>
                  <a:lnTo>
                    <a:pt x="952" y="1741"/>
                  </a:lnTo>
                  <a:lnTo>
                    <a:pt x="952" y="1744"/>
                  </a:lnTo>
                  <a:lnTo>
                    <a:pt x="952" y="1745"/>
                  </a:lnTo>
                  <a:lnTo>
                    <a:pt x="952" y="1744"/>
                  </a:lnTo>
                  <a:lnTo>
                    <a:pt x="953" y="1744"/>
                  </a:lnTo>
                  <a:lnTo>
                    <a:pt x="952" y="1742"/>
                  </a:lnTo>
                  <a:lnTo>
                    <a:pt x="952" y="1741"/>
                  </a:lnTo>
                  <a:lnTo>
                    <a:pt x="952" y="1739"/>
                  </a:lnTo>
                  <a:lnTo>
                    <a:pt x="953" y="1737"/>
                  </a:lnTo>
                  <a:lnTo>
                    <a:pt x="953" y="1736"/>
                  </a:lnTo>
                  <a:lnTo>
                    <a:pt x="953" y="1732"/>
                  </a:lnTo>
                  <a:lnTo>
                    <a:pt x="953" y="1731"/>
                  </a:lnTo>
                  <a:lnTo>
                    <a:pt x="953" y="1729"/>
                  </a:lnTo>
                  <a:lnTo>
                    <a:pt x="955" y="1729"/>
                  </a:lnTo>
                  <a:lnTo>
                    <a:pt x="955" y="1728"/>
                  </a:lnTo>
                  <a:lnTo>
                    <a:pt x="955" y="1726"/>
                  </a:lnTo>
                  <a:lnTo>
                    <a:pt x="957" y="1726"/>
                  </a:lnTo>
                  <a:lnTo>
                    <a:pt x="957" y="1724"/>
                  </a:lnTo>
                  <a:lnTo>
                    <a:pt x="957" y="1723"/>
                  </a:lnTo>
                  <a:lnTo>
                    <a:pt x="955" y="1723"/>
                  </a:lnTo>
                  <a:lnTo>
                    <a:pt x="957" y="1723"/>
                  </a:lnTo>
                  <a:lnTo>
                    <a:pt x="955" y="1723"/>
                  </a:lnTo>
                  <a:lnTo>
                    <a:pt x="955" y="1721"/>
                  </a:lnTo>
                  <a:lnTo>
                    <a:pt x="955" y="1723"/>
                  </a:lnTo>
                  <a:lnTo>
                    <a:pt x="955" y="1724"/>
                  </a:lnTo>
                  <a:lnTo>
                    <a:pt x="953" y="1724"/>
                  </a:lnTo>
                  <a:lnTo>
                    <a:pt x="953" y="1723"/>
                  </a:lnTo>
                  <a:lnTo>
                    <a:pt x="955" y="1723"/>
                  </a:lnTo>
                  <a:lnTo>
                    <a:pt x="953" y="1723"/>
                  </a:lnTo>
                  <a:lnTo>
                    <a:pt x="955" y="1721"/>
                  </a:lnTo>
                  <a:lnTo>
                    <a:pt x="953" y="1721"/>
                  </a:lnTo>
                  <a:lnTo>
                    <a:pt x="955" y="1719"/>
                  </a:lnTo>
                  <a:lnTo>
                    <a:pt x="953" y="1719"/>
                  </a:lnTo>
                  <a:lnTo>
                    <a:pt x="955" y="1718"/>
                  </a:lnTo>
                  <a:lnTo>
                    <a:pt x="953" y="1718"/>
                  </a:lnTo>
                  <a:lnTo>
                    <a:pt x="955" y="1718"/>
                  </a:lnTo>
                  <a:lnTo>
                    <a:pt x="953" y="1718"/>
                  </a:lnTo>
                  <a:lnTo>
                    <a:pt x="952" y="1718"/>
                  </a:lnTo>
                  <a:lnTo>
                    <a:pt x="950" y="1718"/>
                  </a:lnTo>
                  <a:lnTo>
                    <a:pt x="950" y="1716"/>
                  </a:lnTo>
                  <a:lnTo>
                    <a:pt x="950" y="1718"/>
                  </a:lnTo>
                  <a:lnTo>
                    <a:pt x="950" y="1719"/>
                  </a:lnTo>
                  <a:lnTo>
                    <a:pt x="949" y="1719"/>
                  </a:lnTo>
                  <a:lnTo>
                    <a:pt x="947" y="1718"/>
                  </a:lnTo>
                  <a:lnTo>
                    <a:pt x="949" y="1718"/>
                  </a:lnTo>
                  <a:lnTo>
                    <a:pt x="947" y="1718"/>
                  </a:lnTo>
                  <a:lnTo>
                    <a:pt x="947" y="1716"/>
                  </a:lnTo>
                  <a:lnTo>
                    <a:pt x="949" y="1716"/>
                  </a:lnTo>
                  <a:lnTo>
                    <a:pt x="947" y="1716"/>
                  </a:lnTo>
                  <a:lnTo>
                    <a:pt x="945" y="1718"/>
                  </a:lnTo>
                  <a:lnTo>
                    <a:pt x="947" y="1718"/>
                  </a:lnTo>
                  <a:lnTo>
                    <a:pt x="945" y="1718"/>
                  </a:lnTo>
                  <a:lnTo>
                    <a:pt x="945" y="1719"/>
                  </a:lnTo>
                  <a:lnTo>
                    <a:pt x="945" y="1721"/>
                  </a:lnTo>
                  <a:lnTo>
                    <a:pt x="944" y="1721"/>
                  </a:lnTo>
                  <a:lnTo>
                    <a:pt x="945" y="1721"/>
                  </a:lnTo>
                  <a:lnTo>
                    <a:pt x="944" y="1723"/>
                  </a:lnTo>
                  <a:lnTo>
                    <a:pt x="944" y="1721"/>
                  </a:lnTo>
                  <a:lnTo>
                    <a:pt x="942" y="1721"/>
                  </a:lnTo>
                  <a:lnTo>
                    <a:pt x="944" y="1721"/>
                  </a:lnTo>
                  <a:lnTo>
                    <a:pt x="944" y="1719"/>
                  </a:lnTo>
                  <a:lnTo>
                    <a:pt x="944" y="1721"/>
                  </a:lnTo>
                  <a:lnTo>
                    <a:pt x="942" y="1721"/>
                  </a:lnTo>
                  <a:lnTo>
                    <a:pt x="944" y="1719"/>
                  </a:lnTo>
                  <a:lnTo>
                    <a:pt x="942" y="1719"/>
                  </a:lnTo>
                  <a:lnTo>
                    <a:pt x="944" y="1719"/>
                  </a:lnTo>
                  <a:lnTo>
                    <a:pt x="944" y="1718"/>
                  </a:lnTo>
                  <a:lnTo>
                    <a:pt x="942" y="1719"/>
                  </a:lnTo>
                  <a:lnTo>
                    <a:pt x="940" y="1721"/>
                  </a:lnTo>
                  <a:lnTo>
                    <a:pt x="939" y="1721"/>
                  </a:lnTo>
                  <a:lnTo>
                    <a:pt x="940" y="1719"/>
                  </a:lnTo>
                  <a:lnTo>
                    <a:pt x="939" y="1719"/>
                  </a:lnTo>
                  <a:lnTo>
                    <a:pt x="939" y="1721"/>
                  </a:lnTo>
                  <a:lnTo>
                    <a:pt x="937" y="1721"/>
                  </a:lnTo>
                  <a:lnTo>
                    <a:pt x="936" y="1721"/>
                  </a:lnTo>
                  <a:lnTo>
                    <a:pt x="936" y="1723"/>
                  </a:lnTo>
                  <a:lnTo>
                    <a:pt x="937" y="1721"/>
                  </a:lnTo>
                  <a:lnTo>
                    <a:pt x="939" y="1721"/>
                  </a:lnTo>
                  <a:lnTo>
                    <a:pt x="937" y="1721"/>
                  </a:lnTo>
                  <a:lnTo>
                    <a:pt x="939" y="1721"/>
                  </a:lnTo>
                  <a:lnTo>
                    <a:pt x="937" y="1723"/>
                  </a:lnTo>
                  <a:lnTo>
                    <a:pt x="939" y="1723"/>
                  </a:lnTo>
                  <a:lnTo>
                    <a:pt x="939" y="1724"/>
                  </a:lnTo>
                  <a:lnTo>
                    <a:pt x="937" y="1724"/>
                  </a:lnTo>
                  <a:lnTo>
                    <a:pt x="936" y="1724"/>
                  </a:lnTo>
                  <a:lnTo>
                    <a:pt x="936" y="1726"/>
                  </a:lnTo>
                  <a:lnTo>
                    <a:pt x="936" y="1728"/>
                  </a:lnTo>
                  <a:lnTo>
                    <a:pt x="934" y="1728"/>
                  </a:lnTo>
                  <a:lnTo>
                    <a:pt x="936" y="1728"/>
                  </a:lnTo>
                  <a:lnTo>
                    <a:pt x="937" y="1728"/>
                  </a:lnTo>
                  <a:lnTo>
                    <a:pt x="936" y="1728"/>
                  </a:lnTo>
                  <a:lnTo>
                    <a:pt x="936" y="1729"/>
                  </a:lnTo>
                  <a:lnTo>
                    <a:pt x="934" y="1729"/>
                  </a:lnTo>
                  <a:lnTo>
                    <a:pt x="934" y="1731"/>
                  </a:lnTo>
                  <a:lnTo>
                    <a:pt x="936" y="1731"/>
                  </a:lnTo>
                  <a:lnTo>
                    <a:pt x="934" y="1731"/>
                  </a:lnTo>
                  <a:lnTo>
                    <a:pt x="936" y="1731"/>
                  </a:lnTo>
                  <a:lnTo>
                    <a:pt x="936" y="1732"/>
                  </a:lnTo>
                  <a:lnTo>
                    <a:pt x="936" y="1734"/>
                  </a:lnTo>
                  <a:lnTo>
                    <a:pt x="936" y="1736"/>
                  </a:lnTo>
                  <a:lnTo>
                    <a:pt x="936" y="1737"/>
                  </a:lnTo>
                  <a:lnTo>
                    <a:pt x="936" y="1739"/>
                  </a:lnTo>
                  <a:lnTo>
                    <a:pt x="937" y="1737"/>
                  </a:lnTo>
                  <a:lnTo>
                    <a:pt x="937" y="1739"/>
                  </a:lnTo>
                  <a:lnTo>
                    <a:pt x="937" y="1741"/>
                  </a:lnTo>
                  <a:lnTo>
                    <a:pt x="937" y="1742"/>
                  </a:lnTo>
                  <a:lnTo>
                    <a:pt x="937" y="1744"/>
                  </a:lnTo>
                  <a:lnTo>
                    <a:pt x="937" y="1747"/>
                  </a:lnTo>
                  <a:lnTo>
                    <a:pt x="937" y="1749"/>
                  </a:lnTo>
                  <a:lnTo>
                    <a:pt x="939" y="1750"/>
                  </a:lnTo>
                  <a:lnTo>
                    <a:pt x="939" y="1749"/>
                  </a:lnTo>
                  <a:lnTo>
                    <a:pt x="939" y="1750"/>
                  </a:lnTo>
                  <a:lnTo>
                    <a:pt x="940" y="1750"/>
                  </a:lnTo>
                  <a:lnTo>
                    <a:pt x="942" y="1752"/>
                  </a:lnTo>
                  <a:lnTo>
                    <a:pt x="940" y="1752"/>
                  </a:lnTo>
                  <a:lnTo>
                    <a:pt x="942" y="1752"/>
                  </a:lnTo>
                  <a:lnTo>
                    <a:pt x="944" y="1752"/>
                  </a:lnTo>
                  <a:lnTo>
                    <a:pt x="944" y="1754"/>
                  </a:lnTo>
                  <a:lnTo>
                    <a:pt x="944" y="1755"/>
                  </a:lnTo>
                  <a:lnTo>
                    <a:pt x="944" y="1758"/>
                  </a:lnTo>
                  <a:lnTo>
                    <a:pt x="945" y="1762"/>
                  </a:lnTo>
                  <a:lnTo>
                    <a:pt x="945" y="1763"/>
                  </a:lnTo>
                  <a:lnTo>
                    <a:pt x="945" y="1765"/>
                  </a:lnTo>
                  <a:lnTo>
                    <a:pt x="945" y="1767"/>
                  </a:lnTo>
                  <a:lnTo>
                    <a:pt x="944" y="1767"/>
                  </a:lnTo>
                  <a:lnTo>
                    <a:pt x="944" y="1768"/>
                  </a:lnTo>
                  <a:lnTo>
                    <a:pt x="942" y="1768"/>
                  </a:lnTo>
                  <a:lnTo>
                    <a:pt x="942" y="1770"/>
                  </a:lnTo>
                  <a:lnTo>
                    <a:pt x="940" y="1770"/>
                  </a:lnTo>
                  <a:lnTo>
                    <a:pt x="939" y="1771"/>
                  </a:lnTo>
                  <a:lnTo>
                    <a:pt x="937" y="1771"/>
                  </a:lnTo>
                  <a:lnTo>
                    <a:pt x="937" y="1773"/>
                  </a:lnTo>
                  <a:lnTo>
                    <a:pt x="937" y="1771"/>
                  </a:lnTo>
                  <a:lnTo>
                    <a:pt x="936" y="1771"/>
                  </a:lnTo>
                  <a:lnTo>
                    <a:pt x="936" y="1773"/>
                  </a:lnTo>
                  <a:lnTo>
                    <a:pt x="934" y="1773"/>
                  </a:lnTo>
                  <a:lnTo>
                    <a:pt x="932" y="1773"/>
                  </a:lnTo>
                  <a:lnTo>
                    <a:pt x="931" y="1773"/>
                  </a:lnTo>
                  <a:lnTo>
                    <a:pt x="931" y="1771"/>
                  </a:lnTo>
                  <a:lnTo>
                    <a:pt x="929" y="1770"/>
                  </a:lnTo>
                  <a:lnTo>
                    <a:pt x="931" y="1770"/>
                  </a:lnTo>
                  <a:lnTo>
                    <a:pt x="931" y="1768"/>
                  </a:lnTo>
                  <a:lnTo>
                    <a:pt x="931" y="1767"/>
                  </a:lnTo>
                  <a:lnTo>
                    <a:pt x="931" y="1765"/>
                  </a:lnTo>
                  <a:lnTo>
                    <a:pt x="931" y="1763"/>
                  </a:lnTo>
                  <a:lnTo>
                    <a:pt x="932" y="1762"/>
                  </a:lnTo>
                  <a:lnTo>
                    <a:pt x="931" y="1762"/>
                  </a:lnTo>
                  <a:lnTo>
                    <a:pt x="932" y="1762"/>
                  </a:lnTo>
                  <a:lnTo>
                    <a:pt x="932" y="1760"/>
                  </a:lnTo>
                  <a:lnTo>
                    <a:pt x="931" y="1760"/>
                  </a:lnTo>
                  <a:lnTo>
                    <a:pt x="929" y="1760"/>
                  </a:lnTo>
                  <a:lnTo>
                    <a:pt x="929" y="1758"/>
                  </a:lnTo>
                  <a:lnTo>
                    <a:pt x="931" y="1758"/>
                  </a:lnTo>
                  <a:lnTo>
                    <a:pt x="932" y="1758"/>
                  </a:lnTo>
                  <a:lnTo>
                    <a:pt x="932" y="1757"/>
                  </a:lnTo>
                  <a:lnTo>
                    <a:pt x="931" y="1757"/>
                  </a:lnTo>
                  <a:lnTo>
                    <a:pt x="931" y="1755"/>
                  </a:lnTo>
                  <a:lnTo>
                    <a:pt x="931" y="1754"/>
                  </a:lnTo>
                  <a:lnTo>
                    <a:pt x="932" y="1752"/>
                  </a:lnTo>
                  <a:lnTo>
                    <a:pt x="931" y="1752"/>
                  </a:lnTo>
                  <a:lnTo>
                    <a:pt x="931" y="1750"/>
                  </a:lnTo>
                  <a:lnTo>
                    <a:pt x="931" y="1749"/>
                  </a:lnTo>
                  <a:lnTo>
                    <a:pt x="931" y="1750"/>
                  </a:lnTo>
                  <a:lnTo>
                    <a:pt x="929" y="1749"/>
                  </a:lnTo>
                  <a:lnTo>
                    <a:pt x="927" y="1747"/>
                  </a:lnTo>
                  <a:lnTo>
                    <a:pt x="927" y="1745"/>
                  </a:lnTo>
                  <a:lnTo>
                    <a:pt x="926" y="1745"/>
                  </a:lnTo>
                  <a:lnTo>
                    <a:pt x="924" y="1745"/>
                  </a:lnTo>
                  <a:lnTo>
                    <a:pt x="923" y="1745"/>
                  </a:lnTo>
                  <a:lnTo>
                    <a:pt x="923" y="1744"/>
                  </a:lnTo>
                  <a:lnTo>
                    <a:pt x="921" y="1744"/>
                  </a:lnTo>
                  <a:lnTo>
                    <a:pt x="921" y="1742"/>
                  </a:lnTo>
                  <a:lnTo>
                    <a:pt x="921" y="1741"/>
                  </a:lnTo>
                  <a:lnTo>
                    <a:pt x="919" y="1741"/>
                  </a:lnTo>
                  <a:lnTo>
                    <a:pt x="918" y="1741"/>
                  </a:lnTo>
                  <a:lnTo>
                    <a:pt x="918" y="1742"/>
                  </a:lnTo>
                  <a:lnTo>
                    <a:pt x="916" y="1742"/>
                  </a:lnTo>
                  <a:lnTo>
                    <a:pt x="918" y="1742"/>
                  </a:lnTo>
                  <a:lnTo>
                    <a:pt x="916" y="1742"/>
                  </a:lnTo>
                  <a:lnTo>
                    <a:pt x="918" y="1742"/>
                  </a:lnTo>
                  <a:lnTo>
                    <a:pt x="916" y="1742"/>
                  </a:lnTo>
                  <a:lnTo>
                    <a:pt x="914" y="1741"/>
                  </a:lnTo>
                  <a:lnTo>
                    <a:pt x="913" y="1741"/>
                  </a:lnTo>
                  <a:lnTo>
                    <a:pt x="911" y="1741"/>
                  </a:lnTo>
                  <a:lnTo>
                    <a:pt x="910" y="1741"/>
                  </a:lnTo>
                  <a:lnTo>
                    <a:pt x="908" y="1741"/>
                  </a:lnTo>
                  <a:lnTo>
                    <a:pt x="910" y="1741"/>
                  </a:lnTo>
                  <a:lnTo>
                    <a:pt x="908" y="1741"/>
                  </a:lnTo>
                  <a:lnTo>
                    <a:pt x="906" y="1739"/>
                  </a:lnTo>
                  <a:lnTo>
                    <a:pt x="905" y="1741"/>
                  </a:lnTo>
                  <a:lnTo>
                    <a:pt x="905" y="1739"/>
                  </a:lnTo>
                  <a:lnTo>
                    <a:pt x="903" y="1739"/>
                  </a:lnTo>
                  <a:lnTo>
                    <a:pt x="900" y="1739"/>
                  </a:lnTo>
                  <a:lnTo>
                    <a:pt x="898" y="1739"/>
                  </a:lnTo>
                  <a:lnTo>
                    <a:pt x="897" y="1739"/>
                  </a:lnTo>
                  <a:lnTo>
                    <a:pt x="897" y="1737"/>
                  </a:lnTo>
                  <a:lnTo>
                    <a:pt x="897" y="1739"/>
                  </a:lnTo>
                  <a:lnTo>
                    <a:pt x="898" y="1739"/>
                  </a:lnTo>
                  <a:lnTo>
                    <a:pt x="900" y="1739"/>
                  </a:lnTo>
                  <a:lnTo>
                    <a:pt x="900" y="1741"/>
                  </a:lnTo>
                  <a:lnTo>
                    <a:pt x="901" y="1741"/>
                  </a:lnTo>
                  <a:lnTo>
                    <a:pt x="903" y="1739"/>
                  </a:lnTo>
                  <a:lnTo>
                    <a:pt x="905" y="1741"/>
                  </a:lnTo>
                  <a:lnTo>
                    <a:pt x="906" y="1739"/>
                  </a:lnTo>
                  <a:lnTo>
                    <a:pt x="906" y="1741"/>
                  </a:lnTo>
                  <a:lnTo>
                    <a:pt x="908" y="1741"/>
                  </a:lnTo>
                  <a:lnTo>
                    <a:pt x="910" y="1741"/>
                  </a:lnTo>
                  <a:lnTo>
                    <a:pt x="911" y="1741"/>
                  </a:lnTo>
                  <a:lnTo>
                    <a:pt x="913" y="1741"/>
                  </a:lnTo>
                  <a:lnTo>
                    <a:pt x="914" y="1741"/>
                  </a:lnTo>
                  <a:lnTo>
                    <a:pt x="914" y="1742"/>
                  </a:lnTo>
                  <a:lnTo>
                    <a:pt x="916" y="1742"/>
                  </a:lnTo>
                  <a:lnTo>
                    <a:pt x="918" y="1742"/>
                  </a:lnTo>
                  <a:lnTo>
                    <a:pt x="918" y="1744"/>
                  </a:lnTo>
                  <a:lnTo>
                    <a:pt x="919" y="1744"/>
                  </a:lnTo>
                  <a:lnTo>
                    <a:pt x="919" y="1745"/>
                  </a:lnTo>
                  <a:lnTo>
                    <a:pt x="919" y="1747"/>
                  </a:lnTo>
                  <a:lnTo>
                    <a:pt x="921" y="1747"/>
                  </a:lnTo>
                  <a:lnTo>
                    <a:pt x="921" y="1749"/>
                  </a:lnTo>
                  <a:lnTo>
                    <a:pt x="923" y="1749"/>
                  </a:lnTo>
                  <a:lnTo>
                    <a:pt x="924" y="1749"/>
                  </a:lnTo>
                  <a:lnTo>
                    <a:pt x="926" y="1750"/>
                  </a:lnTo>
                  <a:lnTo>
                    <a:pt x="927" y="1750"/>
                  </a:lnTo>
                  <a:lnTo>
                    <a:pt x="927" y="1752"/>
                  </a:lnTo>
                  <a:lnTo>
                    <a:pt x="927" y="1754"/>
                  </a:lnTo>
                  <a:lnTo>
                    <a:pt x="927" y="1755"/>
                  </a:lnTo>
                  <a:lnTo>
                    <a:pt x="929" y="1755"/>
                  </a:lnTo>
                  <a:lnTo>
                    <a:pt x="929" y="1758"/>
                  </a:lnTo>
                  <a:lnTo>
                    <a:pt x="929" y="1760"/>
                  </a:lnTo>
                  <a:lnTo>
                    <a:pt x="929" y="1762"/>
                  </a:lnTo>
                  <a:lnTo>
                    <a:pt x="929" y="1763"/>
                  </a:lnTo>
                  <a:lnTo>
                    <a:pt x="929" y="1765"/>
                  </a:lnTo>
                  <a:lnTo>
                    <a:pt x="927" y="1765"/>
                  </a:lnTo>
                  <a:lnTo>
                    <a:pt x="929" y="1767"/>
                  </a:lnTo>
                  <a:lnTo>
                    <a:pt x="929" y="1768"/>
                  </a:lnTo>
                  <a:lnTo>
                    <a:pt x="927" y="1770"/>
                  </a:lnTo>
                  <a:lnTo>
                    <a:pt x="927" y="1771"/>
                  </a:lnTo>
                  <a:lnTo>
                    <a:pt x="926" y="1771"/>
                  </a:lnTo>
                  <a:lnTo>
                    <a:pt x="924" y="1771"/>
                  </a:lnTo>
                  <a:lnTo>
                    <a:pt x="923" y="1770"/>
                  </a:lnTo>
                  <a:lnTo>
                    <a:pt x="921" y="1770"/>
                  </a:lnTo>
                  <a:lnTo>
                    <a:pt x="921" y="1768"/>
                  </a:lnTo>
                  <a:lnTo>
                    <a:pt x="919" y="1768"/>
                  </a:lnTo>
                  <a:lnTo>
                    <a:pt x="919" y="1767"/>
                  </a:lnTo>
                  <a:lnTo>
                    <a:pt x="918" y="1767"/>
                  </a:lnTo>
                  <a:lnTo>
                    <a:pt x="918" y="1765"/>
                  </a:lnTo>
                  <a:lnTo>
                    <a:pt x="918" y="1767"/>
                  </a:lnTo>
                  <a:lnTo>
                    <a:pt x="916" y="1767"/>
                  </a:lnTo>
                  <a:lnTo>
                    <a:pt x="918" y="1768"/>
                  </a:lnTo>
                  <a:lnTo>
                    <a:pt x="918" y="1770"/>
                  </a:lnTo>
                  <a:lnTo>
                    <a:pt x="919" y="1771"/>
                  </a:lnTo>
                  <a:lnTo>
                    <a:pt x="921" y="1771"/>
                  </a:lnTo>
                  <a:lnTo>
                    <a:pt x="921" y="1773"/>
                  </a:lnTo>
                  <a:lnTo>
                    <a:pt x="921" y="1775"/>
                  </a:lnTo>
                  <a:lnTo>
                    <a:pt x="923" y="1776"/>
                  </a:lnTo>
                  <a:lnTo>
                    <a:pt x="923" y="1778"/>
                  </a:lnTo>
                  <a:lnTo>
                    <a:pt x="924" y="1778"/>
                  </a:lnTo>
                  <a:lnTo>
                    <a:pt x="924" y="1780"/>
                  </a:lnTo>
                  <a:lnTo>
                    <a:pt x="926" y="1780"/>
                  </a:lnTo>
                  <a:lnTo>
                    <a:pt x="926" y="1778"/>
                  </a:lnTo>
                  <a:lnTo>
                    <a:pt x="926" y="1780"/>
                  </a:lnTo>
                  <a:lnTo>
                    <a:pt x="926" y="1781"/>
                  </a:lnTo>
                  <a:lnTo>
                    <a:pt x="926" y="1783"/>
                  </a:lnTo>
                  <a:lnTo>
                    <a:pt x="927" y="1783"/>
                  </a:lnTo>
                  <a:lnTo>
                    <a:pt x="927" y="1784"/>
                  </a:lnTo>
                  <a:lnTo>
                    <a:pt x="929" y="1784"/>
                  </a:lnTo>
                  <a:lnTo>
                    <a:pt x="929" y="1783"/>
                  </a:lnTo>
                  <a:lnTo>
                    <a:pt x="931" y="1784"/>
                  </a:lnTo>
                  <a:lnTo>
                    <a:pt x="931" y="1783"/>
                  </a:lnTo>
                  <a:lnTo>
                    <a:pt x="932" y="1783"/>
                  </a:lnTo>
                  <a:lnTo>
                    <a:pt x="932" y="1784"/>
                  </a:lnTo>
                  <a:lnTo>
                    <a:pt x="934" y="1783"/>
                  </a:lnTo>
                  <a:lnTo>
                    <a:pt x="934" y="1784"/>
                  </a:lnTo>
                  <a:lnTo>
                    <a:pt x="934" y="1783"/>
                  </a:lnTo>
                  <a:lnTo>
                    <a:pt x="936" y="1783"/>
                  </a:lnTo>
                  <a:lnTo>
                    <a:pt x="936" y="1784"/>
                  </a:lnTo>
                  <a:lnTo>
                    <a:pt x="934" y="1784"/>
                  </a:lnTo>
                  <a:lnTo>
                    <a:pt x="932" y="1784"/>
                  </a:lnTo>
                  <a:lnTo>
                    <a:pt x="934" y="1784"/>
                  </a:lnTo>
                  <a:lnTo>
                    <a:pt x="932" y="1784"/>
                  </a:lnTo>
                  <a:lnTo>
                    <a:pt x="934" y="1786"/>
                  </a:lnTo>
                  <a:lnTo>
                    <a:pt x="932" y="1786"/>
                  </a:lnTo>
                  <a:lnTo>
                    <a:pt x="934" y="1788"/>
                  </a:lnTo>
                  <a:lnTo>
                    <a:pt x="936" y="1786"/>
                  </a:lnTo>
                  <a:lnTo>
                    <a:pt x="936" y="1788"/>
                  </a:lnTo>
                  <a:lnTo>
                    <a:pt x="936" y="1789"/>
                  </a:lnTo>
                  <a:lnTo>
                    <a:pt x="936" y="1791"/>
                  </a:lnTo>
                  <a:lnTo>
                    <a:pt x="934" y="1791"/>
                  </a:lnTo>
                  <a:lnTo>
                    <a:pt x="936" y="1791"/>
                  </a:lnTo>
                  <a:lnTo>
                    <a:pt x="936" y="1793"/>
                  </a:lnTo>
                  <a:lnTo>
                    <a:pt x="934" y="1793"/>
                  </a:lnTo>
                  <a:lnTo>
                    <a:pt x="934" y="1794"/>
                  </a:lnTo>
                  <a:lnTo>
                    <a:pt x="934" y="1797"/>
                  </a:lnTo>
                  <a:lnTo>
                    <a:pt x="936" y="1799"/>
                  </a:lnTo>
                  <a:lnTo>
                    <a:pt x="936" y="1801"/>
                  </a:lnTo>
                  <a:lnTo>
                    <a:pt x="937" y="1801"/>
                  </a:lnTo>
                  <a:lnTo>
                    <a:pt x="939" y="1801"/>
                  </a:lnTo>
                  <a:lnTo>
                    <a:pt x="939" y="1802"/>
                  </a:lnTo>
                  <a:lnTo>
                    <a:pt x="939" y="1804"/>
                  </a:lnTo>
                  <a:lnTo>
                    <a:pt x="937" y="1806"/>
                  </a:lnTo>
                  <a:lnTo>
                    <a:pt x="937" y="1807"/>
                  </a:lnTo>
                  <a:lnTo>
                    <a:pt x="936" y="1807"/>
                  </a:lnTo>
                  <a:lnTo>
                    <a:pt x="936" y="1809"/>
                  </a:lnTo>
                  <a:lnTo>
                    <a:pt x="937" y="1810"/>
                  </a:lnTo>
                  <a:lnTo>
                    <a:pt x="936" y="1810"/>
                  </a:lnTo>
                  <a:lnTo>
                    <a:pt x="936" y="1809"/>
                  </a:lnTo>
                  <a:lnTo>
                    <a:pt x="936" y="1810"/>
                  </a:lnTo>
                  <a:lnTo>
                    <a:pt x="936" y="1812"/>
                  </a:lnTo>
                  <a:lnTo>
                    <a:pt x="934" y="1812"/>
                  </a:lnTo>
                  <a:lnTo>
                    <a:pt x="932" y="1812"/>
                  </a:lnTo>
                  <a:lnTo>
                    <a:pt x="932" y="1810"/>
                  </a:lnTo>
                  <a:lnTo>
                    <a:pt x="932" y="1809"/>
                  </a:lnTo>
                  <a:lnTo>
                    <a:pt x="931" y="1809"/>
                  </a:lnTo>
                  <a:lnTo>
                    <a:pt x="931" y="1810"/>
                  </a:lnTo>
                  <a:lnTo>
                    <a:pt x="931" y="1812"/>
                  </a:lnTo>
                  <a:lnTo>
                    <a:pt x="932" y="1812"/>
                  </a:lnTo>
                  <a:lnTo>
                    <a:pt x="932" y="1814"/>
                  </a:lnTo>
                  <a:lnTo>
                    <a:pt x="931" y="1814"/>
                  </a:lnTo>
                  <a:lnTo>
                    <a:pt x="932" y="1814"/>
                  </a:lnTo>
                  <a:lnTo>
                    <a:pt x="932" y="1815"/>
                  </a:lnTo>
                  <a:lnTo>
                    <a:pt x="934" y="1815"/>
                  </a:lnTo>
                  <a:lnTo>
                    <a:pt x="932" y="1815"/>
                  </a:lnTo>
                  <a:lnTo>
                    <a:pt x="932" y="1814"/>
                  </a:lnTo>
                  <a:lnTo>
                    <a:pt x="932" y="1812"/>
                  </a:lnTo>
                  <a:lnTo>
                    <a:pt x="932" y="1814"/>
                  </a:lnTo>
                  <a:lnTo>
                    <a:pt x="932" y="1812"/>
                  </a:lnTo>
                  <a:lnTo>
                    <a:pt x="934" y="1812"/>
                  </a:lnTo>
                  <a:lnTo>
                    <a:pt x="934" y="1814"/>
                  </a:lnTo>
                  <a:lnTo>
                    <a:pt x="934" y="1815"/>
                  </a:lnTo>
                  <a:lnTo>
                    <a:pt x="934" y="1817"/>
                  </a:lnTo>
                  <a:lnTo>
                    <a:pt x="932" y="1819"/>
                  </a:lnTo>
                  <a:lnTo>
                    <a:pt x="934" y="1819"/>
                  </a:lnTo>
                  <a:lnTo>
                    <a:pt x="934" y="1820"/>
                  </a:lnTo>
                  <a:lnTo>
                    <a:pt x="934" y="1822"/>
                  </a:lnTo>
                  <a:lnTo>
                    <a:pt x="934" y="1820"/>
                  </a:lnTo>
                  <a:lnTo>
                    <a:pt x="934" y="1822"/>
                  </a:lnTo>
                  <a:lnTo>
                    <a:pt x="932" y="1822"/>
                  </a:lnTo>
                  <a:lnTo>
                    <a:pt x="932" y="1824"/>
                  </a:lnTo>
                  <a:lnTo>
                    <a:pt x="931" y="1824"/>
                  </a:lnTo>
                  <a:lnTo>
                    <a:pt x="929" y="1824"/>
                  </a:lnTo>
                  <a:lnTo>
                    <a:pt x="929" y="1822"/>
                  </a:lnTo>
                  <a:lnTo>
                    <a:pt x="927" y="1822"/>
                  </a:lnTo>
                  <a:lnTo>
                    <a:pt x="927" y="1824"/>
                  </a:lnTo>
                  <a:lnTo>
                    <a:pt x="927" y="1825"/>
                  </a:lnTo>
                  <a:lnTo>
                    <a:pt x="927" y="1824"/>
                  </a:lnTo>
                  <a:lnTo>
                    <a:pt x="926" y="1820"/>
                  </a:lnTo>
                  <a:lnTo>
                    <a:pt x="927" y="1819"/>
                  </a:lnTo>
                  <a:lnTo>
                    <a:pt x="926" y="1819"/>
                  </a:lnTo>
                  <a:lnTo>
                    <a:pt x="926" y="1817"/>
                  </a:lnTo>
                  <a:lnTo>
                    <a:pt x="927" y="1817"/>
                  </a:lnTo>
                  <a:lnTo>
                    <a:pt x="927" y="1815"/>
                  </a:lnTo>
                  <a:lnTo>
                    <a:pt x="927" y="1814"/>
                  </a:lnTo>
                  <a:lnTo>
                    <a:pt x="927" y="1812"/>
                  </a:lnTo>
                  <a:lnTo>
                    <a:pt x="927" y="1810"/>
                  </a:lnTo>
                  <a:lnTo>
                    <a:pt x="927" y="1809"/>
                  </a:lnTo>
                  <a:lnTo>
                    <a:pt x="929" y="1809"/>
                  </a:lnTo>
                  <a:lnTo>
                    <a:pt x="929" y="1807"/>
                  </a:lnTo>
                  <a:lnTo>
                    <a:pt x="927" y="1809"/>
                  </a:lnTo>
                  <a:lnTo>
                    <a:pt x="927" y="1807"/>
                  </a:lnTo>
                  <a:lnTo>
                    <a:pt x="927" y="1809"/>
                  </a:lnTo>
                  <a:lnTo>
                    <a:pt x="927" y="1810"/>
                  </a:lnTo>
                  <a:lnTo>
                    <a:pt x="927" y="1812"/>
                  </a:lnTo>
                  <a:lnTo>
                    <a:pt x="927" y="1814"/>
                  </a:lnTo>
                  <a:lnTo>
                    <a:pt x="927" y="1815"/>
                  </a:lnTo>
                  <a:lnTo>
                    <a:pt x="926" y="1815"/>
                  </a:lnTo>
                  <a:lnTo>
                    <a:pt x="927" y="1815"/>
                  </a:lnTo>
                  <a:lnTo>
                    <a:pt x="926" y="1817"/>
                  </a:lnTo>
                  <a:lnTo>
                    <a:pt x="924" y="1815"/>
                  </a:lnTo>
                  <a:lnTo>
                    <a:pt x="924" y="1817"/>
                  </a:lnTo>
                  <a:lnTo>
                    <a:pt x="926" y="1817"/>
                  </a:lnTo>
                  <a:lnTo>
                    <a:pt x="924" y="1817"/>
                  </a:lnTo>
                  <a:lnTo>
                    <a:pt x="924" y="1819"/>
                  </a:lnTo>
                  <a:lnTo>
                    <a:pt x="924" y="1820"/>
                  </a:lnTo>
                  <a:lnTo>
                    <a:pt x="924" y="1822"/>
                  </a:lnTo>
                  <a:lnTo>
                    <a:pt x="924" y="1824"/>
                  </a:lnTo>
                  <a:lnTo>
                    <a:pt x="924" y="1825"/>
                  </a:lnTo>
                  <a:lnTo>
                    <a:pt x="923" y="1825"/>
                  </a:lnTo>
                  <a:lnTo>
                    <a:pt x="923" y="1827"/>
                  </a:lnTo>
                  <a:lnTo>
                    <a:pt x="924" y="1827"/>
                  </a:lnTo>
                  <a:lnTo>
                    <a:pt x="924" y="1828"/>
                  </a:lnTo>
                  <a:lnTo>
                    <a:pt x="924" y="1830"/>
                  </a:lnTo>
                  <a:lnTo>
                    <a:pt x="923" y="1830"/>
                  </a:lnTo>
                  <a:lnTo>
                    <a:pt x="923" y="1828"/>
                  </a:lnTo>
                  <a:lnTo>
                    <a:pt x="923" y="1830"/>
                  </a:lnTo>
                  <a:lnTo>
                    <a:pt x="923" y="1828"/>
                  </a:lnTo>
                  <a:lnTo>
                    <a:pt x="921" y="1828"/>
                  </a:lnTo>
                  <a:lnTo>
                    <a:pt x="923" y="1828"/>
                  </a:lnTo>
                  <a:lnTo>
                    <a:pt x="921" y="1828"/>
                  </a:lnTo>
                  <a:lnTo>
                    <a:pt x="921" y="1827"/>
                  </a:lnTo>
                  <a:lnTo>
                    <a:pt x="921" y="1828"/>
                  </a:lnTo>
                  <a:lnTo>
                    <a:pt x="921" y="1830"/>
                  </a:lnTo>
                  <a:lnTo>
                    <a:pt x="923" y="1832"/>
                  </a:lnTo>
                  <a:lnTo>
                    <a:pt x="921" y="1830"/>
                  </a:lnTo>
                  <a:lnTo>
                    <a:pt x="921" y="1832"/>
                  </a:lnTo>
                  <a:lnTo>
                    <a:pt x="923" y="1833"/>
                  </a:lnTo>
                  <a:lnTo>
                    <a:pt x="923" y="1835"/>
                  </a:lnTo>
                  <a:lnTo>
                    <a:pt x="923" y="1837"/>
                  </a:lnTo>
                  <a:lnTo>
                    <a:pt x="923" y="1835"/>
                  </a:lnTo>
                  <a:lnTo>
                    <a:pt x="923" y="1837"/>
                  </a:lnTo>
                  <a:lnTo>
                    <a:pt x="923" y="1838"/>
                  </a:lnTo>
                  <a:lnTo>
                    <a:pt x="923" y="1840"/>
                  </a:lnTo>
                  <a:lnTo>
                    <a:pt x="921" y="1840"/>
                  </a:lnTo>
                  <a:lnTo>
                    <a:pt x="923" y="1838"/>
                  </a:lnTo>
                  <a:lnTo>
                    <a:pt x="921" y="1837"/>
                  </a:lnTo>
                  <a:lnTo>
                    <a:pt x="921" y="1835"/>
                  </a:lnTo>
                  <a:lnTo>
                    <a:pt x="921" y="1837"/>
                  </a:lnTo>
                  <a:lnTo>
                    <a:pt x="921" y="1835"/>
                  </a:lnTo>
                  <a:lnTo>
                    <a:pt x="921" y="1833"/>
                  </a:lnTo>
                  <a:lnTo>
                    <a:pt x="921" y="1835"/>
                  </a:lnTo>
                  <a:lnTo>
                    <a:pt x="921" y="1833"/>
                  </a:lnTo>
                  <a:lnTo>
                    <a:pt x="921" y="1832"/>
                  </a:lnTo>
                  <a:lnTo>
                    <a:pt x="919" y="1832"/>
                  </a:lnTo>
                  <a:lnTo>
                    <a:pt x="921" y="1832"/>
                  </a:lnTo>
                  <a:lnTo>
                    <a:pt x="919" y="1832"/>
                  </a:lnTo>
                  <a:lnTo>
                    <a:pt x="919" y="1830"/>
                  </a:lnTo>
                  <a:lnTo>
                    <a:pt x="919" y="1832"/>
                  </a:lnTo>
                  <a:lnTo>
                    <a:pt x="919" y="1830"/>
                  </a:lnTo>
                  <a:lnTo>
                    <a:pt x="919" y="1832"/>
                  </a:lnTo>
                  <a:lnTo>
                    <a:pt x="919" y="1833"/>
                  </a:lnTo>
                  <a:lnTo>
                    <a:pt x="919" y="1835"/>
                  </a:lnTo>
                  <a:lnTo>
                    <a:pt x="921" y="1835"/>
                  </a:lnTo>
                  <a:lnTo>
                    <a:pt x="921" y="1837"/>
                  </a:lnTo>
                  <a:lnTo>
                    <a:pt x="921" y="1838"/>
                  </a:lnTo>
                  <a:lnTo>
                    <a:pt x="919" y="1838"/>
                  </a:lnTo>
                  <a:lnTo>
                    <a:pt x="921" y="1840"/>
                  </a:lnTo>
                  <a:lnTo>
                    <a:pt x="919" y="1841"/>
                  </a:lnTo>
                  <a:lnTo>
                    <a:pt x="919" y="1840"/>
                  </a:lnTo>
                  <a:lnTo>
                    <a:pt x="919" y="1838"/>
                  </a:lnTo>
                  <a:lnTo>
                    <a:pt x="918" y="1838"/>
                  </a:lnTo>
                  <a:lnTo>
                    <a:pt x="919" y="1838"/>
                  </a:lnTo>
                  <a:lnTo>
                    <a:pt x="919" y="1837"/>
                  </a:lnTo>
                  <a:lnTo>
                    <a:pt x="919" y="1835"/>
                  </a:lnTo>
                  <a:lnTo>
                    <a:pt x="918" y="1835"/>
                  </a:lnTo>
                  <a:lnTo>
                    <a:pt x="918" y="1833"/>
                  </a:lnTo>
                  <a:lnTo>
                    <a:pt x="918" y="1835"/>
                  </a:lnTo>
                  <a:lnTo>
                    <a:pt x="918" y="1833"/>
                  </a:lnTo>
                  <a:lnTo>
                    <a:pt x="918" y="1832"/>
                  </a:lnTo>
                  <a:lnTo>
                    <a:pt x="916" y="1832"/>
                  </a:lnTo>
                  <a:lnTo>
                    <a:pt x="916" y="1830"/>
                  </a:lnTo>
                  <a:lnTo>
                    <a:pt x="918" y="1830"/>
                  </a:lnTo>
                  <a:lnTo>
                    <a:pt x="916" y="1830"/>
                  </a:lnTo>
                  <a:lnTo>
                    <a:pt x="916" y="1832"/>
                  </a:lnTo>
                  <a:lnTo>
                    <a:pt x="916" y="1833"/>
                  </a:lnTo>
                  <a:lnTo>
                    <a:pt x="916" y="1835"/>
                  </a:lnTo>
                  <a:lnTo>
                    <a:pt x="916" y="1837"/>
                  </a:lnTo>
                  <a:lnTo>
                    <a:pt x="916" y="1838"/>
                  </a:lnTo>
                  <a:lnTo>
                    <a:pt x="918" y="1838"/>
                  </a:lnTo>
                  <a:lnTo>
                    <a:pt x="916" y="1840"/>
                  </a:lnTo>
                  <a:lnTo>
                    <a:pt x="916" y="1841"/>
                  </a:lnTo>
                  <a:lnTo>
                    <a:pt x="916" y="1843"/>
                  </a:lnTo>
                  <a:lnTo>
                    <a:pt x="914" y="1843"/>
                  </a:lnTo>
                  <a:lnTo>
                    <a:pt x="916" y="1843"/>
                  </a:lnTo>
                  <a:lnTo>
                    <a:pt x="914" y="1845"/>
                  </a:lnTo>
                  <a:lnTo>
                    <a:pt x="913" y="1845"/>
                  </a:lnTo>
                  <a:lnTo>
                    <a:pt x="913" y="1846"/>
                  </a:lnTo>
                  <a:lnTo>
                    <a:pt x="911" y="1846"/>
                  </a:lnTo>
                  <a:lnTo>
                    <a:pt x="910" y="1846"/>
                  </a:lnTo>
                  <a:lnTo>
                    <a:pt x="910" y="1845"/>
                  </a:lnTo>
                  <a:lnTo>
                    <a:pt x="910" y="1843"/>
                  </a:lnTo>
                  <a:lnTo>
                    <a:pt x="911" y="1843"/>
                  </a:lnTo>
                  <a:lnTo>
                    <a:pt x="910" y="1843"/>
                  </a:lnTo>
                  <a:lnTo>
                    <a:pt x="910" y="1841"/>
                  </a:lnTo>
                  <a:lnTo>
                    <a:pt x="910" y="1843"/>
                  </a:lnTo>
                  <a:lnTo>
                    <a:pt x="908" y="1843"/>
                  </a:lnTo>
                  <a:lnTo>
                    <a:pt x="908" y="1845"/>
                  </a:lnTo>
                  <a:lnTo>
                    <a:pt x="908" y="1843"/>
                  </a:lnTo>
                  <a:lnTo>
                    <a:pt x="906" y="1843"/>
                  </a:lnTo>
                  <a:lnTo>
                    <a:pt x="906" y="1845"/>
                  </a:lnTo>
                  <a:lnTo>
                    <a:pt x="905" y="1846"/>
                  </a:lnTo>
                  <a:lnTo>
                    <a:pt x="905" y="1845"/>
                  </a:lnTo>
                  <a:lnTo>
                    <a:pt x="905" y="1843"/>
                  </a:lnTo>
                  <a:lnTo>
                    <a:pt x="903" y="1843"/>
                  </a:lnTo>
                  <a:lnTo>
                    <a:pt x="905" y="1843"/>
                  </a:lnTo>
                  <a:lnTo>
                    <a:pt x="905" y="1841"/>
                  </a:lnTo>
                  <a:lnTo>
                    <a:pt x="905" y="1840"/>
                  </a:lnTo>
                  <a:lnTo>
                    <a:pt x="905" y="1841"/>
                  </a:lnTo>
                  <a:lnTo>
                    <a:pt x="903" y="1843"/>
                  </a:lnTo>
                  <a:lnTo>
                    <a:pt x="903" y="1841"/>
                  </a:lnTo>
                  <a:lnTo>
                    <a:pt x="901" y="1841"/>
                  </a:lnTo>
                  <a:lnTo>
                    <a:pt x="901" y="1843"/>
                  </a:lnTo>
                  <a:lnTo>
                    <a:pt x="901" y="1845"/>
                  </a:lnTo>
                  <a:lnTo>
                    <a:pt x="903" y="1845"/>
                  </a:lnTo>
                  <a:lnTo>
                    <a:pt x="903" y="1846"/>
                  </a:lnTo>
                  <a:lnTo>
                    <a:pt x="901" y="1846"/>
                  </a:lnTo>
                  <a:lnTo>
                    <a:pt x="903" y="1848"/>
                  </a:lnTo>
                  <a:lnTo>
                    <a:pt x="903" y="1846"/>
                  </a:lnTo>
                  <a:lnTo>
                    <a:pt x="903" y="1848"/>
                  </a:lnTo>
                  <a:lnTo>
                    <a:pt x="903" y="1850"/>
                  </a:lnTo>
                  <a:lnTo>
                    <a:pt x="901" y="1850"/>
                  </a:lnTo>
                  <a:lnTo>
                    <a:pt x="903" y="1850"/>
                  </a:lnTo>
                  <a:lnTo>
                    <a:pt x="903" y="1851"/>
                  </a:lnTo>
                  <a:lnTo>
                    <a:pt x="901" y="1851"/>
                  </a:lnTo>
                  <a:lnTo>
                    <a:pt x="900" y="1851"/>
                  </a:lnTo>
                  <a:lnTo>
                    <a:pt x="900" y="1853"/>
                  </a:lnTo>
                  <a:lnTo>
                    <a:pt x="898" y="1853"/>
                  </a:lnTo>
                  <a:lnTo>
                    <a:pt x="898" y="1851"/>
                  </a:lnTo>
                  <a:lnTo>
                    <a:pt x="898" y="1850"/>
                  </a:lnTo>
                  <a:lnTo>
                    <a:pt x="897" y="1851"/>
                  </a:lnTo>
                  <a:lnTo>
                    <a:pt x="898" y="1851"/>
                  </a:lnTo>
                  <a:lnTo>
                    <a:pt x="898" y="1853"/>
                  </a:lnTo>
                  <a:lnTo>
                    <a:pt x="897" y="1853"/>
                  </a:lnTo>
                  <a:lnTo>
                    <a:pt x="895" y="1853"/>
                  </a:lnTo>
                  <a:lnTo>
                    <a:pt x="893" y="1851"/>
                  </a:lnTo>
                  <a:lnTo>
                    <a:pt x="893" y="1853"/>
                  </a:lnTo>
                  <a:lnTo>
                    <a:pt x="892" y="1853"/>
                  </a:lnTo>
                  <a:lnTo>
                    <a:pt x="892" y="1851"/>
                  </a:lnTo>
                  <a:lnTo>
                    <a:pt x="890" y="1851"/>
                  </a:lnTo>
                  <a:lnTo>
                    <a:pt x="890" y="1853"/>
                  </a:lnTo>
                  <a:lnTo>
                    <a:pt x="890" y="1854"/>
                  </a:lnTo>
                  <a:lnTo>
                    <a:pt x="888" y="1853"/>
                  </a:lnTo>
                  <a:lnTo>
                    <a:pt x="888" y="1854"/>
                  </a:lnTo>
                  <a:lnTo>
                    <a:pt x="888" y="1853"/>
                  </a:lnTo>
                  <a:lnTo>
                    <a:pt x="887" y="1853"/>
                  </a:lnTo>
                  <a:lnTo>
                    <a:pt x="887" y="1851"/>
                  </a:lnTo>
                  <a:lnTo>
                    <a:pt x="885" y="1851"/>
                  </a:lnTo>
                  <a:lnTo>
                    <a:pt x="885" y="1850"/>
                  </a:lnTo>
                  <a:lnTo>
                    <a:pt x="885" y="1851"/>
                  </a:lnTo>
                  <a:lnTo>
                    <a:pt x="887" y="1851"/>
                  </a:lnTo>
                  <a:lnTo>
                    <a:pt x="888" y="1850"/>
                  </a:lnTo>
                  <a:lnTo>
                    <a:pt x="887" y="1850"/>
                  </a:lnTo>
                  <a:lnTo>
                    <a:pt x="888" y="1850"/>
                  </a:lnTo>
                  <a:lnTo>
                    <a:pt x="888" y="1848"/>
                  </a:lnTo>
                  <a:lnTo>
                    <a:pt x="888" y="1846"/>
                  </a:lnTo>
                  <a:lnTo>
                    <a:pt x="888" y="1845"/>
                  </a:lnTo>
                  <a:lnTo>
                    <a:pt x="887" y="1845"/>
                  </a:lnTo>
                  <a:lnTo>
                    <a:pt x="888" y="1843"/>
                  </a:lnTo>
                  <a:lnTo>
                    <a:pt x="887" y="1843"/>
                  </a:lnTo>
                  <a:lnTo>
                    <a:pt x="888" y="1843"/>
                  </a:lnTo>
                  <a:lnTo>
                    <a:pt x="887" y="1843"/>
                  </a:lnTo>
                  <a:lnTo>
                    <a:pt x="887" y="1845"/>
                  </a:lnTo>
                  <a:lnTo>
                    <a:pt x="887" y="1846"/>
                  </a:lnTo>
                  <a:lnTo>
                    <a:pt x="885" y="1845"/>
                  </a:lnTo>
                  <a:lnTo>
                    <a:pt x="885" y="1843"/>
                  </a:lnTo>
                  <a:lnTo>
                    <a:pt x="887" y="1843"/>
                  </a:lnTo>
                  <a:lnTo>
                    <a:pt x="885" y="1843"/>
                  </a:lnTo>
                  <a:lnTo>
                    <a:pt x="885" y="1841"/>
                  </a:lnTo>
                  <a:lnTo>
                    <a:pt x="885" y="1840"/>
                  </a:lnTo>
                  <a:lnTo>
                    <a:pt x="885" y="1838"/>
                  </a:lnTo>
                  <a:lnTo>
                    <a:pt x="884" y="1838"/>
                  </a:lnTo>
                  <a:lnTo>
                    <a:pt x="885" y="1837"/>
                  </a:lnTo>
                  <a:lnTo>
                    <a:pt x="885" y="1835"/>
                  </a:lnTo>
                  <a:lnTo>
                    <a:pt x="884" y="1835"/>
                  </a:lnTo>
                  <a:lnTo>
                    <a:pt x="884" y="1837"/>
                  </a:lnTo>
                  <a:lnTo>
                    <a:pt x="884" y="1838"/>
                  </a:lnTo>
                  <a:lnTo>
                    <a:pt x="884" y="1840"/>
                  </a:lnTo>
                  <a:lnTo>
                    <a:pt x="884" y="1841"/>
                  </a:lnTo>
                  <a:lnTo>
                    <a:pt x="882" y="1841"/>
                  </a:lnTo>
                  <a:lnTo>
                    <a:pt x="882" y="1840"/>
                  </a:lnTo>
                  <a:lnTo>
                    <a:pt x="882" y="1838"/>
                  </a:lnTo>
                  <a:lnTo>
                    <a:pt x="880" y="1838"/>
                  </a:lnTo>
                  <a:lnTo>
                    <a:pt x="880" y="1837"/>
                  </a:lnTo>
                  <a:lnTo>
                    <a:pt x="880" y="1838"/>
                  </a:lnTo>
                  <a:lnTo>
                    <a:pt x="880" y="1840"/>
                  </a:lnTo>
                  <a:lnTo>
                    <a:pt x="880" y="1841"/>
                  </a:lnTo>
                  <a:lnTo>
                    <a:pt x="879" y="1840"/>
                  </a:lnTo>
                  <a:lnTo>
                    <a:pt x="880" y="1840"/>
                  </a:lnTo>
                  <a:lnTo>
                    <a:pt x="880" y="1838"/>
                  </a:lnTo>
                  <a:lnTo>
                    <a:pt x="879" y="1838"/>
                  </a:lnTo>
                  <a:lnTo>
                    <a:pt x="879" y="1837"/>
                  </a:lnTo>
                  <a:lnTo>
                    <a:pt x="879" y="1835"/>
                  </a:lnTo>
                  <a:lnTo>
                    <a:pt x="879" y="1833"/>
                  </a:lnTo>
                  <a:lnTo>
                    <a:pt x="879" y="1832"/>
                  </a:lnTo>
                  <a:lnTo>
                    <a:pt x="877" y="1832"/>
                  </a:lnTo>
                  <a:lnTo>
                    <a:pt x="877" y="1833"/>
                  </a:lnTo>
                  <a:lnTo>
                    <a:pt x="877" y="1835"/>
                  </a:lnTo>
                  <a:lnTo>
                    <a:pt x="877" y="1837"/>
                  </a:lnTo>
                  <a:lnTo>
                    <a:pt x="877" y="1838"/>
                  </a:lnTo>
                  <a:lnTo>
                    <a:pt x="877" y="1840"/>
                  </a:lnTo>
                  <a:lnTo>
                    <a:pt x="879" y="1840"/>
                  </a:lnTo>
                  <a:lnTo>
                    <a:pt x="877" y="1840"/>
                  </a:lnTo>
                  <a:lnTo>
                    <a:pt x="875" y="1840"/>
                  </a:lnTo>
                  <a:lnTo>
                    <a:pt x="874" y="1838"/>
                  </a:lnTo>
                  <a:lnTo>
                    <a:pt x="874" y="1837"/>
                  </a:lnTo>
                  <a:lnTo>
                    <a:pt x="874" y="1835"/>
                  </a:lnTo>
                  <a:lnTo>
                    <a:pt x="874" y="1833"/>
                  </a:lnTo>
                  <a:lnTo>
                    <a:pt x="874" y="1832"/>
                  </a:lnTo>
                  <a:lnTo>
                    <a:pt x="872" y="1832"/>
                  </a:lnTo>
                  <a:lnTo>
                    <a:pt x="872" y="1830"/>
                  </a:lnTo>
                  <a:lnTo>
                    <a:pt x="871" y="1830"/>
                  </a:lnTo>
                  <a:lnTo>
                    <a:pt x="872" y="1830"/>
                  </a:lnTo>
                  <a:lnTo>
                    <a:pt x="872" y="1828"/>
                  </a:lnTo>
                  <a:lnTo>
                    <a:pt x="871" y="1830"/>
                  </a:lnTo>
                  <a:lnTo>
                    <a:pt x="869" y="1830"/>
                  </a:lnTo>
                  <a:lnTo>
                    <a:pt x="869" y="1832"/>
                  </a:lnTo>
                  <a:lnTo>
                    <a:pt x="869" y="1830"/>
                  </a:lnTo>
                  <a:lnTo>
                    <a:pt x="867" y="1830"/>
                  </a:lnTo>
                  <a:lnTo>
                    <a:pt x="866" y="1830"/>
                  </a:lnTo>
                  <a:lnTo>
                    <a:pt x="866" y="1828"/>
                  </a:lnTo>
                  <a:lnTo>
                    <a:pt x="864" y="1828"/>
                  </a:lnTo>
                  <a:lnTo>
                    <a:pt x="864" y="1830"/>
                  </a:lnTo>
                  <a:lnTo>
                    <a:pt x="866" y="1830"/>
                  </a:lnTo>
                  <a:lnTo>
                    <a:pt x="864" y="1830"/>
                  </a:lnTo>
                  <a:lnTo>
                    <a:pt x="866" y="1830"/>
                  </a:lnTo>
                  <a:lnTo>
                    <a:pt x="867" y="1830"/>
                  </a:lnTo>
                  <a:lnTo>
                    <a:pt x="867" y="1832"/>
                  </a:lnTo>
                  <a:lnTo>
                    <a:pt x="867" y="1833"/>
                  </a:lnTo>
                  <a:lnTo>
                    <a:pt x="867" y="1832"/>
                  </a:lnTo>
                  <a:lnTo>
                    <a:pt x="869" y="1833"/>
                  </a:lnTo>
                  <a:lnTo>
                    <a:pt x="871" y="1835"/>
                  </a:lnTo>
                  <a:lnTo>
                    <a:pt x="872" y="1837"/>
                  </a:lnTo>
                  <a:lnTo>
                    <a:pt x="872" y="1838"/>
                  </a:lnTo>
                  <a:lnTo>
                    <a:pt x="872" y="1840"/>
                  </a:lnTo>
                  <a:lnTo>
                    <a:pt x="872" y="1838"/>
                  </a:lnTo>
                  <a:lnTo>
                    <a:pt x="874" y="1840"/>
                  </a:lnTo>
                  <a:lnTo>
                    <a:pt x="872" y="1840"/>
                  </a:lnTo>
                  <a:lnTo>
                    <a:pt x="874" y="1840"/>
                  </a:lnTo>
                  <a:lnTo>
                    <a:pt x="874" y="1841"/>
                  </a:lnTo>
                  <a:lnTo>
                    <a:pt x="875" y="1841"/>
                  </a:lnTo>
                  <a:lnTo>
                    <a:pt x="875" y="1840"/>
                  </a:lnTo>
                  <a:lnTo>
                    <a:pt x="877" y="1841"/>
                  </a:lnTo>
                  <a:lnTo>
                    <a:pt x="879" y="1841"/>
                  </a:lnTo>
                  <a:lnTo>
                    <a:pt x="879" y="1843"/>
                  </a:lnTo>
                  <a:lnTo>
                    <a:pt x="880" y="1843"/>
                  </a:lnTo>
                  <a:lnTo>
                    <a:pt x="880" y="1845"/>
                  </a:lnTo>
                  <a:lnTo>
                    <a:pt x="880" y="1846"/>
                  </a:lnTo>
                  <a:lnTo>
                    <a:pt x="882" y="1848"/>
                  </a:lnTo>
                  <a:lnTo>
                    <a:pt x="882" y="1850"/>
                  </a:lnTo>
                  <a:lnTo>
                    <a:pt x="880" y="1850"/>
                  </a:lnTo>
                  <a:lnTo>
                    <a:pt x="880" y="1848"/>
                  </a:lnTo>
                  <a:lnTo>
                    <a:pt x="879" y="1848"/>
                  </a:lnTo>
                  <a:lnTo>
                    <a:pt x="879" y="1846"/>
                  </a:lnTo>
                  <a:lnTo>
                    <a:pt x="879" y="1848"/>
                  </a:lnTo>
                  <a:lnTo>
                    <a:pt x="879" y="1846"/>
                  </a:lnTo>
                  <a:lnTo>
                    <a:pt x="877" y="1846"/>
                  </a:lnTo>
                  <a:lnTo>
                    <a:pt x="877" y="1848"/>
                  </a:lnTo>
                  <a:lnTo>
                    <a:pt x="879" y="1848"/>
                  </a:lnTo>
                  <a:lnTo>
                    <a:pt x="879" y="1850"/>
                  </a:lnTo>
                  <a:lnTo>
                    <a:pt x="877" y="1850"/>
                  </a:lnTo>
                  <a:lnTo>
                    <a:pt x="875" y="1850"/>
                  </a:lnTo>
                  <a:lnTo>
                    <a:pt x="877" y="1850"/>
                  </a:lnTo>
                  <a:lnTo>
                    <a:pt x="875" y="1850"/>
                  </a:lnTo>
                  <a:lnTo>
                    <a:pt x="875" y="1848"/>
                  </a:lnTo>
                  <a:lnTo>
                    <a:pt x="875" y="1850"/>
                  </a:lnTo>
                  <a:lnTo>
                    <a:pt x="874" y="1850"/>
                  </a:lnTo>
                  <a:lnTo>
                    <a:pt x="875" y="1850"/>
                  </a:lnTo>
                  <a:lnTo>
                    <a:pt x="877" y="1850"/>
                  </a:lnTo>
                  <a:lnTo>
                    <a:pt x="877" y="1851"/>
                  </a:lnTo>
                  <a:lnTo>
                    <a:pt x="877" y="1853"/>
                  </a:lnTo>
                  <a:lnTo>
                    <a:pt x="875" y="1853"/>
                  </a:lnTo>
                  <a:lnTo>
                    <a:pt x="877" y="1851"/>
                  </a:lnTo>
                  <a:lnTo>
                    <a:pt x="875" y="1851"/>
                  </a:lnTo>
                  <a:lnTo>
                    <a:pt x="875" y="1853"/>
                  </a:lnTo>
                  <a:lnTo>
                    <a:pt x="874" y="1853"/>
                  </a:lnTo>
                  <a:lnTo>
                    <a:pt x="874" y="1851"/>
                  </a:lnTo>
                  <a:lnTo>
                    <a:pt x="874" y="1853"/>
                  </a:lnTo>
                  <a:lnTo>
                    <a:pt x="872" y="1853"/>
                  </a:lnTo>
                  <a:lnTo>
                    <a:pt x="872" y="1854"/>
                  </a:lnTo>
                  <a:lnTo>
                    <a:pt x="872" y="1856"/>
                  </a:lnTo>
                  <a:lnTo>
                    <a:pt x="872" y="1858"/>
                  </a:lnTo>
                  <a:lnTo>
                    <a:pt x="871" y="1858"/>
                  </a:lnTo>
                  <a:lnTo>
                    <a:pt x="869" y="1858"/>
                  </a:lnTo>
                  <a:lnTo>
                    <a:pt x="867" y="1858"/>
                  </a:lnTo>
                  <a:lnTo>
                    <a:pt x="866" y="1858"/>
                  </a:lnTo>
                  <a:lnTo>
                    <a:pt x="864" y="1858"/>
                  </a:lnTo>
                  <a:lnTo>
                    <a:pt x="862" y="1858"/>
                  </a:lnTo>
                  <a:lnTo>
                    <a:pt x="862" y="1856"/>
                  </a:lnTo>
                  <a:lnTo>
                    <a:pt x="861" y="1856"/>
                  </a:lnTo>
                  <a:lnTo>
                    <a:pt x="859" y="1856"/>
                  </a:lnTo>
                  <a:lnTo>
                    <a:pt x="861" y="1858"/>
                  </a:lnTo>
                  <a:lnTo>
                    <a:pt x="862" y="1858"/>
                  </a:lnTo>
                  <a:lnTo>
                    <a:pt x="864" y="1858"/>
                  </a:lnTo>
                  <a:lnTo>
                    <a:pt x="864" y="1859"/>
                  </a:lnTo>
                  <a:lnTo>
                    <a:pt x="862" y="1859"/>
                  </a:lnTo>
                  <a:lnTo>
                    <a:pt x="864" y="1859"/>
                  </a:lnTo>
                  <a:lnTo>
                    <a:pt x="866" y="1859"/>
                  </a:lnTo>
                  <a:lnTo>
                    <a:pt x="866" y="1861"/>
                  </a:lnTo>
                  <a:lnTo>
                    <a:pt x="867" y="1861"/>
                  </a:lnTo>
                  <a:lnTo>
                    <a:pt x="867" y="1859"/>
                  </a:lnTo>
                  <a:lnTo>
                    <a:pt x="867" y="1861"/>
                  </a:lnTo>
                  <a:lnTo>
                    <a:pt x="866" y="1861"/>
                  </a:lnTo>
                  <a:lnTo>
                    <a:pt x="867" y="1863"/>
                  </a:lnTo>
                  <a:lnTo>
                    <a:pt x="866" y="1863"/>
                  </a:lnTo>
                  <a:lnTo>
                    <a:pt x="866" y="1864"/>
                  </a:lnTo>
                  <a:lnTo>
                    <a:pt x="867" y="1863"/>
                  </a:lnTo>
                  <a:lnTo>
                    <a:pt x="867" y="1864"/>
                  </a:lnTo>
                  <a:lnTo>
                    <a:pt x="866" y="1864"/>
                  </a:lnTo>
                  <a:lnTo>
                    <a:pt x="867" y="1864"/>
                  </a:lnTo>
                  <a:lnTo>
                    <a:pt x="869" y="1864"/>
                  </a:lnTo>
                  <a:lnTo>
                    <a:pt x="867" y="1866"/>
                  </a:lnTo>
                  <a:lnTo>
                    <a:pt x="866" y="1866"/>
                  </a:lnTo>
                  <a:lnTo>
                    <a:pt x="864" y="1866"/>
                  </a:lnTo>
                  <a:lnTo>
                    <a:pt x="864" y="1864"/>
                  </a:lnTo>
                  <a:lnTo>
                    <a:pt x="866" y="1864"/>
                  </a:lnTo>
                  <a:lnTo>
                    <a:pt x="864" y="1864"/>
                  </a:lnTo>
                  <a:lnTo>
                    <a:pt x="862" y="1864"/>
                  </a:lnTo>
                  <a:lnTo>
                    <a:pt x="862" y="1866"/>
                  </a:lnTo>
                  <a:lnTo>
                    <a:pt x="861" y="1866"/>
                  </a:lnTo>
                  <a:lnTo>
                    <a:pt x="861" y="1864"/>
                  </a:lnTo>
                  <a:lnTo>
                    <a:pt x="861" y="1863"/>
                  </a:lnTo>
                  <a:lnTo>
                    <a:pt x="861" y="1861"/>
                  </a:lnTo>
                  <a:lnTo>
                    <a:pt x="862" y="1861"/>
                  </a:lnTo>
                  <a:lnTo>
                    <a:pt x="861" y="1859"/>
                  </a:lnTo>
                  <a:lnTo>
                    <a:pt x="861" y="1861"/>
                  </a:lnTo>
                  <a:lnTo>
                    <a:pt x="861" y="1863"/>
                  </a:lnTo>
                  <a:lnTo>
                    <a:pt x="859" y="1863"/>
                  </a:lnTo>
                  <a:lnTo>
                    <a:pt x="861" y="1861"/>
                  </a:lnTo>
                  <a:lnTo>
                    <a:pt x="859" y="1861"/>
                  </a:lnTo>
                  <a:lnTo>
                    <a:pt x="859" y="1863"/>
                  </a:lnTo>
                  <a:lnTo>
                    <a:pt x="861" y="1863"/>
                  </a:lnTo>
                  <a:lnTo>
                    <a:pt x="859" y="1864"/>
                  </a:lnTo>
                  <a:lnTo>
                    <a:pt x="859" y="1863"/>
                  </a:lnTo>
                  <a:lnTo>
                    <a:pt x="858" y="1863"/>
                  </a:lnTo>
                  <a:lnTo>
                    <a:pt x="858" y="1861"/>
                  </a:lnTo>
                  <a:lnTo>
                    <a:pt x="856" y="1861"/>
                  </a:lnTo>
                  <a:lnTo>
                    <a:pt x="854" y="1861"/>
                  </a:lnTo>
                  <a:lnTo>
                    <a:pt x="854" y="1863"/>
                  </a:lnTo>
                  <a:lnTo>
                    <a:pt x="853" y="1863"/>
                  </a:lnTo>
                  <a:lnTo>
                    <a:pt x="853" y="1864"/>
                  </a:lnTo>
                  <a:lnTo>
                    <a:pt x="854" y="1864"/>
                  </a:lnTo>
                  <a:lnTo>
                    <a:pt x="854" y="1863"/>
                  </a:lnTo>
                  <a:lnTo>
                    <a:pt x="854" y="1864"/>
                  </a:lnTo>
                  <a:lnTo>
                    <a:pt x="854" y="1863"/>
                  </a:lnTo>
                  <a:lnTo>
                    <a:pt x="856" y="1863"/>
                  </a:lnTo>
                  <a:lnTo>
                    <a:pt x="856" y="1861"/>
                  </a:lnTo>
                  <a:lnTo>
                    <a:pt x="858" y="1863"/>
                  </a:lnTo>
                  <a:lnTo>
                    <a:pt x="858" y="1864"/>
                  </a:lnTo>
                  <a:lnTo>
                    <a:pt x="856" y="1864"/>
                  </a:lnTo>
                  <a:lnTo>
                    <a:pt x="854" y="1864"/>
                  </a:lnTo>
                  <a:lnTo>
                    <a:pt x="856" y="1864"/>
                  </a:lnTo>
                  <a:lnTo>
                    <a:pt x="856" y="1866"/>
                  </a:lnTo>
                  <a:lnTo>
                    <a:pt x="858" y="1867"/>
                  </a:lnTo>
                  <a:lnTo>
                    <a:pt x="856" y="1867"/>
                  </a:lnTo>
                  <a:lnTo>
                    <a:pt x="854" y="1867"/>
                  </a:lnTo>
                  <a:lnTo>
                    <a:pt x="853" y="1867"/>
                  </a:lnTo>
                  <a:lnTo>
                    <a:pt x="851" y="1867"/>
                  </a:lnTo>
                  <a:lnTo>
                    <a:pt x="849" y="1866"/>
                  </a:lnTo>
                  <a:lnTo>
                    <a:pt x="849" y="1864"/>
                  </a:lnTo>
                  <a:lnTo>
                    <a:pt x="848" y="1864"/>
                  </a:lnTo>
                  <a:lnTo>
                    <a:pt x="848" y="1863"/>
                  </a:lnTo>
                  <a:lnTo>
                    <a:pt x="848" y="1864"/>
                  </a:lnTo>
                  <a:lnTo>
                    <a:pt x="848" y="1866"/>
                  </a:lnTo>
                  <a:lnTo>
                    <a:pt x="848" y="1867"/>
                  </a:lnTo>
                  <a:lnTo>
                    <a:pt x="848" y="1869"/>
                  </a:lnTo>
                  <a:lnTo>
                    <a:pt x="848" y="1871"/>
                  </a:lnTo>
                  <a:lnTo>
                    <a:pt x="846" y="1871"/>
                  </a:lnTo>
                  <a:lnTo>
                    <a:pt x="848" y="1871"/>
                  </a:lnTo>
                  <a:lnTo>
                    <a:pt x="849" y="1871"/>
                  </a:lnTo>
                  <a:lnTo>
                    <a:pt x="851" y="1871"/>
                  </a:lnTo>
                  <a:lnTo>
                    <a:pt x="851" y="1869"/>
                  </a:lnTo>
                  <a:lnTo>
                    <a:pt x="853" y="1869"/>
                  </a:lnTo>
                  <a:lnTo>
                    <a:pt x="854" y="1869"/>
                  </a:lnTo>
                  <a:lnTo>
                    <a:pt x="858" y="1869"/>
                  </a:lnTo>
                  <a:lnTo>
                    <a:pt x="859" y="1869"/>
                  </a:lnTo>
                  <a:lnTo>
                    <a:pt x="859" y="1871"/>
                  </a:lnTo>
                  <a:lnTo>
                    <a:pt x="861" y="1872"/>
                  </a:lnTo>
                  <a:lnTo>
                    <a:pt x="859" y="1872"/>
                  </a:lnTo>
                  <a:lnTo>
                    <a:pt x="858" y="1874"/>
                  </a:lnTo>
                  <a:lnTo>
                    <a:pt x="854" y="1874"/>
                  </a:lnTo>
                  <a:lnTo>
                    <a:pt x="856" y="1874"/>
                  </a:lnTo>
                  <a:lnTo>
                    <a:pt x="856" y="1876"/>
                  </a:lnTo>
                  <a:lnTo>
                    <a:pt x="854" y="1876"/>
                  </a:lnTo>
                  <a:lnTo>
                    <a:pt x="856" y="1876"/>
                  </a:lnTo>
                  <a:lnTo>
                    <a:pt x="858" y="1874"/>
                  </a:lnTo>
                  <a:lnTo>
                    <a:pt x="858" y="1876"/>
                  </a:lnTo>
                  <a:lnTo>
                    <a:pt x="858" y="1874"/>
                  </a:lnTo>
                  <a:lnTo>
                    <a:pt x="859" y="1876"/>
                  </a:lnTo>
                  <a:lnTo>
                    <a:pt x="858" y="1876"/>
                  </a:lnTo>
                  <a:lnTo>
                    <a:pt x="859" y="1876"/>
                  </a:lnTo>
                  <a:lnTo>
                    <a:pt x="858" y="1876"/>
                  </a:lnTo>
                  <a:lnTo>
                    <a:pt x="858" y="1877"/>
                  </a:lnTo>
                  <a:lnTo>
                    <a:pt x="858" y="1876"/>
                  </a:lnTo>
                  <a:lnTo>
                    <a:pt x="856" y="1877"/>
                  </a:lnTo>
                  <a:lnTo>
                    <a:pt x="854" y="1877"/>
                  </a:lnTo>
                  <a:lnTo>
                    <a:pt x="856" y="1877"/>
                  </a:lnTo>
                  <a:lnTo>
                    <a:pt x="856" y="1879"/>
                  </a:lnTo>
                  <a:lnTo>
                    <a:pt x="854" y="1879"/>
                  </a:lnTo>
                  <a:lnTo>
                    <a:pt x="854" y="1880"/>
                  </a:lnTo>
                  <a:lnTo>
                    <a:pt x="853" y="1880"/>
                  </a:lnTo>
                  <a:lnTo>
                    <a:pt x="853" y="1882"/>
                  </a:lnTo>
                  <a:lnTo>
                    <a:pt x="851" y="1882"/>
                  </a:lnTo>
                  <a:lnTo>
                    <a:pt x="851" y="1884"/>
                  </a:lnTo>
                  <a:lnTo>
                    <a:pt x="851" y="1882"/>
                  </a:lnTo>
                  <a:lnTo>
                    <a:pt x="851" y="1884"/>
                  </a:lnTo>
                  <a:lnTo>
                    <a:pt x="849" y="1882"/>
                  </a:lnTo>
                  <a:lnTo>
                    <a:pt x="849" y="1884"/>
                  </a:lnTo>
                  <a:lnTo>
                    <a:pt x="848" y="1884"/>
                  </a:lnTo>
                  <a:lnTo>
                    <a:pt x="849" y="1884"/>
                  </a:lnTo>
                  <a:lnTo>
                    <a:pt x="848" y="1884"/>
                  </a:lnTo>
                  <a:lnTo>
                    <a:pt x="846" y="1884"/>
                  </a:lnTo>
                  <a:lnTo>
                    <a:pt x="846" y="1885"/>
                  </a:lnTo>
                  <a:lnTo>
                    <a:pt x="845" y="1884"/>
                  </a:lnTo>
                  <a:lnTo>
                    <a:pt x="843" y="1884"/>
                  </a:lnTo>
                  <a:lnTo>
                    <a:pt x="843" y="1885"/>
                  </a:lnTo>
                  <a:lnTo>
                    <a:pt x="843" y="1884"/>
                  </a:lnTo>
                  <a:lnTo>
                    <a:pt x="841" y="1884"/>
                  </a:lnTo>
                  <a:lnTo>
                    <a:pt x="840" y="1884"/>
                  </a:lnTo>
                  <a:lnTo>
                    <a:pt x="838" y="1884"/>
                  </a:lnTo>
                  <a:lnTo>
                    <a:pt x="838" y="1885"/>
                  </a:lnTo>
                  <a:lnTo>
                    <a:pt x="836" y="1885"/>
                  </a:lnTo>
                  <a:lnTo>
                    <a:pt x="836" y="1884"/>
                  </a:lnTo>
                  <a:lnTo>
                    <a:pt x="836" y="1885"/>
                  </a:lnTo>
                  <a:lnTo>
                    <a:pt x="835" y="1884"/>
                  </a:lnTo>
                  <a:lnTo>
                    <a:pt x="833" y="1884"/>
                  </a:lnTo>
                  <a:lnTo>
                    <a:pt x="832" y="1884"/>
                  </a:lnTo>
                  <a:lnTo>
                    <a:pt x="833" y="1884"/>
                  </a:lnTo>
                  <a:lnTo>
                    <a:pt x="832" y="1884"/>
                  </a:lnTo>
                  <a:lnTo>
                    <a:pt x="830" y="1885"/>
                  </a:lnTo>
                  <a:lnTo>
                    <a:pt x="830" y="1887"/>
                  </a:lnTo>
                  <a:lnTo>
                    <a:pt x="832" y="1887"/>
                  </a:lnTo>
                  <a:lnTo>
                    <a:pt x="833" y="1887"/>
                  </a:lnTo>
                  <a:lnTo>
                    <a:pt x="835" y="1887"/>
                  </a:lnTo>
                  <a:lnTo>
                    <a:pt x="833" y="1887"/>
                  </a:lnTo>
                  <a:lnTo>
                    <a:pt x="833" y="1889"/>
                  </a:lnTo>
                  <a:lnTo>
                    <a:pt x="833" y="1887"/>
                  </a:lnTo>
                  <a:lnTo>
                    <a:pt x="835" y="1887"/>
                  </a:lnTo>
                  <a:lnTo>
                    <a:pt x="836" y="1887"/>
                  </a:lnTo>
                  <a:lnTo>
                    <a:pt x="838" y="1887"/>
                  </a:lnTo>
                  <a:lnTo>
                    <a:pt x="840" y="1887"/>
                  </a:lnTo>
                  <a:lnTo>
                    <a:pt x="838" y="1889"/>
                  </a:lnTo>
                  <a:lnTo>
                    <a:pt x="840" y="1889"/>
                  </a:lnTo>
                  <a:lnTo>
                    <a:pt x="840" y="1887"/>
                  </a:lnTo>
                  <a:lnTo>
                    <a:pt x="838" y="1887"/>
                  </a:lnTo>
                  <a:lnTo>
                    <a:pt x="836" y="1887"/>
                  </a:lnTo>
                  <a:lnTo>
                    <a:pt x="835" y="1887"/>
                  </a:lnTo>
                  <a:lnTo>
                    <a:pt x="835" y="1885"/>
                  </a:lnTo>
                  <a:lnTo>
                    <a:pt x="833" y="1887"/>
                  </a:lnTo>
                  <a:lnTo>
                    <a:pt x="833" y="1885"/>
                  </a:lnTo>
                  <a:lnTo>
                    <a:pt x="832" y="1885"/>
                  </a:lnTo>
                  <a:lnTo>
                    <a:pt x="833" y="1884"/>
                  </a:lnTo>
                  <a:lnTo>
                    <a:pt x="835" y="1885"/>
                  </a:lnTo>
                  <a:lnTo>
                    <a:pt x="836" y="1885"/>
                  </a:lnTo>
                  <a:lnTo>
                    <a:pt x="838" y="1885"/>
                  </a:lnTo>
                  <a:lnTo>
                    <a:pt x="840" y="1885"/>
                  </a:lnTo>
                  <a:lnTo>
                    <a:pt x="843" y="1885"/>
                  </a:lnTo>
                  <a:lnTo>
                    <a:pt x="841" y="1885"/>
                  </a:lnTo>
                  <a:lnTo>
                    <a:pt x="843" y="1885"/>
                  </a:lnTo>
                  <a:lnTo>
                    <a:pt x="841" y="1885"/>
                  </a:lnTo>
                  <a:lnTo>
                    <a:pt x="841" y="1887"/>
                  </a:lnTo>
                  <a:lnTo>
                    <a:pt x="840" y="1887"/>
                  </a:lnTo>
                  <a:lnTo>
                    <a:pt x="841" y="1887"/>
                  </a:lnTo>
                  <a:lnTo>
                    <a:pt x="843" y="1887"/>
                  </a:lnTo>
                  <a:lnTo>
                    <a:pt x="843" y="1889"/>
                  </a:lnTo>
                  <a:lnTo>
                    <a:pt x="841" y="1889"/>
                  </a:lnTo>
                  <a:lnTo>
                    <a:pt x="841" y="1890"/>
                  </a:lnTo>
                  <a:lnTo>
                    <a:pt x="840" y="1890"/>
                  </a:lnTo>
                  <a:lnTo>
                    <a:pt x="838" y="1890"/>
                  </a:lnTo>
                  <a:lnTo>
                    <a:pt x="840" y="1890"/>
                  </a:lnTo>
                  <a:lnTo>
                    <a:pt x="838" y="1890"/>
                  </a:lnTo>
                  <a:lnTo>
                    <a:pt x="836" y="1890"/>
                  </a:lnTo>
                  <a:lnTo>
                    <a:pt x="835" y="1892"/>
                  </a:lnTo>
                  <a:lnTo>
                    <a:pt x="835" y="1890"/>
                  </a:lnTo>
                  <a:lnTo>
                    <a:pt x="833" y="1890"/>
                  </a:lnTo>
                  <a:lnTo>
                    <a:pt x="833" y="1892"/>
                  </a:lnTo>
                  <a:lnTo>
                    <a:pt x="832" y="1892"/>
                  </a:lnTo>
                  <a:lnTo>
                    <a:pt x="830" y="1892"/>
                  </a:lnTo>
                  <a:lnTo>
                    <a:pt x="830" y="1893"/>
                  </a:lnTo>
                  <a:lnTo>
                    <a:pt x="830" y="1892"/>
                  </a:lnTo>
                  <a:lnTo>
                    <a:pt x="833" y="1892"/>
                  </a:lnTo>
                  <a:lnTo>
                    <a:pt x="835" y="1892"/>
                  </a:lnTo>
                  <a:lnTo>
                    <a:pt x="836" y="1892"/>
                  </a:lnTo>
                  <a:lnTo>
                    <a:pt x="838" y="1892"/>
                  </a:lnTo>
                  <a:lnTo>
                    <a:pt x="840" y="1892"/>
                  </a:lnTo>
                  <a:lnTo>
                    <a:pt x="840" y="1890"/>
                  </a:lnTo>
                  <a:lnTo>
                    <a:pt x="840" y="1892"/>
                  </a:lnTo>
                  <a:lnTo>
                    <a:pt x="841" y="1892"/>
                  </a:lnTo>
                  <a:lnTo>
                    <a:pt x="843" y="1892"/>
                  </a:lnTo>
                  <a:lnTo>
                    <a:pt x="841" y="1893"/>
                  </a:lnTo>
                  <a:lnTo>
                    <a:pt x="843" y="1893"/>
                  </a:lnTo>
                  <a:lnTo>
                    <a:pt x="841" y="1893"/>
                  </a:lnTo>
                  <a:lnTo>
                    <a:pt x="843" y="1893"/>
                  </a:lnTo>
                  <a:lnTo>
                    <a:pt x="841" y="1893"/>
                  </a:lnTo>
                  <a:lnTo>
                    <a:pt x="840" y="1895"/>
                  </a:lnTo>
                  <a:lnTo>
                    <a:pt x="838" y="1895"/>
                  </a:lnTo>
                  <a:lnTo>
                    <a:pt x="838" y="1897"/>
                  </a:lnTo>
                  <a:lnTo>
                    <a:pt x="836" y="1897"/>
                  </a:lnTo>
                  <a:lnTo>
                    <a:pt x="836" y="1895"/>
                  </a:lnTo>
                  <a:lnTo>
                    <a:pt x="836" y="1897"/>
                  </a:lnTo>
                  <a:lnTo>
                    <a:pt x="835" y="1898"/>
                  </a:lnTo>
                  <a:lnTo>
                    <a:pt x="833" y="1898"/>
                  </a:lnTo>
                  <a:lnTo>
                    <a:pt x="833" y="1900"/>
                  </a:lnTo>
                  <a:lnTo>
                    <a:pt x="832" y="1900"/>
                  </a:lnTo>
                  <a:lnTo>
                    <a:pt x="830" y="1900"/>
                  </a:lnTo>
                  <a:lnTo>
                    <a:pt x="830" y="1902"/>
                  </a:lnTo>
                  <a:lnTo>
                    <a:pt x="828" y="1902"/>
                  </a:lnTo>
                  <a:lnTo>
                    <a:pt x="827" y="1903"/>
                  </a:lnTo>
                  <a:lnTo>
                    <a:pt x="827" y="1902"/>
                  </a:lnTo>
                  <a:lnTo>
                    <a:pt x="827" y="1903"/>
                  </a:lnTo>
                  <a:lnTo>
                    <a:pt x="825" y="1903"/>
                  </a:lnTo>
                  <a:lnTo>
                    <a:pt x="827" y="1903"/>
                  </a:lnTo>
                  <a:lnTo>
                    <a:pt x="828" y="1903"/>
                  </a:lnTo>
                  <a:lnTo>
                    <a:pt x="828" y="1905"/>
                  </a:lnTo>
                  <a:lnTo>
                    <a:pt x="827" y="1905"/>
                  </a:lnTo>
                  <a:lnTo>
                    <a:pt x="825" y="1903"/>
                  </a:lnTo>
                  <a:lnTo>
                    <a:pt x="825" y="1905"/>
                  </a:lnTo>
                  <a:lnTo>
                    <a:pt x="825" y="1906"/>
                  </a:lnTo>
                  <a:lnTo>
                    <a:pt x="827" y="1905"/>
                  </a:lnTo>
                  <a:lnTo>
                    <a:pt x="828" y="1905"/>
                  </a:lnTo>
                  <a:lnTo>
                    <a:pt x="827" y="1905"/>
                  </a:lnTo>
                  <a:lnTo>
                    <a:pt x="827" y="1906"/>
                  </a:lnTo>
                  <a:lnTo>
                    <a:pt x="827" y="1908"/>
                  </a:lnTo>
                  <a:lnTo>
                    <a:pt x="827" y="1910"/>
                  </a:lnTo>
                  <a:lnTo>
                    <a:pt x="825" y="1910"/>
                  </a:lnTo>
                  <a:lnTo>
                    <a:pt x="825" y="1908"/>
                  </a:lnTo>
                  <a:lnTo>
                    <a:pt x="825" y="1906"/>
                  </a:lnTo>
                  <a:lnTo>
                    <a:pt x="825" y="1905"/>
                  </a:lnTo>
                  <a:lnTo>
                    <a:pt x="825" y="1906"/>
                  </a:lnTo>
                  <a:lnTo>
                    <a:pt x="823" y="1906"/>
                  </a:lnTo>
                  <a:lnTo>
                    <a:pt x="823" y="1905"/>
                  </a:lnTo>
                  <a:lnTo>
                    <a:pt x="823" y="1906"/>
                  </a:lnTo>
                  <a:lnTo>
                    <a:pt x="823" y="1905"/>
                  </a:lnTo>
                  <a:lnTo>
                    <a:pt x="822" y="1905"/>
                  </a:lnTo>
                  <a:lnTo>
                    <a:pt x="823" y="1905"/>
                  </a:lnTo>
                  <a:lnTo>
                    <a:pt x="822" y="1903"/>
                  </a:lnTo>
                  <a:lnTo>
                    <a:pt x="822" y="1905"/>
                  </a:lnTo>
                  <a:lnTo>
                    <a:pt x="820" y="1905"/>
                  </a:lnTo>
                  <a:lnTo>
                    <a:pt x="822" y="1905"/>
                  </a:lnTo>
                  <a:lnTo>
                    <a:pt x="822" y="1903"/>
                  </a:lnTo>
                  <a:lnTo>
                    <a:pt x="820" y="1903"/>
                  </a:lnTo>
                  <a:lnTo>
                    <a:pt x="822" y="1902"/>
                  </a:lnTo>
                  <a:lnTo>
                    <a:pt x="820" y="1902"/>
                  </a:lnTo>
                  <a:lnTo>
                    <a:pt x="820" y="1903"/>
                  </a:lnTo>
                  <a:lnTo>
                    <a:pt x="820" y="1905"/>
                  </a:lnTo>
                  <a:lnTo>
                    <a:pt x="822" y="1905"/>
                  </a:lnTo>
                  <a:lnTo>
                    <a:pt x="822" y="1906"/>
                  </a:lnTo>
                  <a:lnTo>
                    <a:pt x="822" y="1908"/>
                  </a:lnTo>
                  <a:lnTo>
                    <a:pt x="822" y="1910"/>
                  </a:lnTo>
                  <a:lnTo>
                    <a:pt x="823" y="1910"/>
                  </a:lnTo>
                  <a:lnTo>
                    <a:pt x="822" y="1911"/>
                  </a:lnTo>
                  <a:lnTo>
                    <a:pt x="823" y="1910"/>
                  </a:lnTo>
                  <a:lnTo>
                    <a:pt x="822" y="1908"/>
                  </a:lnTo>
                  <a:lnTo>
                    <a:pt x="823" y="1906"/>
                  </a:lnTo>
                  <a:lnTo>
                    <a:pt x="823" y="1908"/>
                  </a:lnTo>
                  <a:lnTo>
                    <a:pt x="825" y="1910"/>
                  </a:lnTo>
                  <a:lnTo>
                    <a:pt x="823" y="1910"/>
                  </a:lnTo>
                  <a:lnTo>
                    <a:pt x="825" y="1911"/>
                  </a:lnTo>
                  <a:lnTo>
                    <a:pt x="823" y="1911"/>
                  </a:lnTo>
                  <a:lnTo>
                    <a:pt x="823" y="1913"/>
                  </a:lnTo>
                  <a:lnTo>
                    <a:pt x="823" y="1915"/>
                  </a:lnTo>
                  <a:lnTo>
                    <a:pt x="822" y="1915"/>
                  </a:lnTo>
                  <a:lnTo>
                    <a:pt x="822" y="1916"/>
                  </a:lnTo>
                  <a:lnTo>
                    <a:pt x="820" y="1916"/>
                  </a:lnTo>
                  <a:lnTo>
                    <a:pt x="820" y="1915"/>
                  </a:lnTo>
                  <a:lnTo>
                    <a:pt x="820" y="1916"/>
                  </a:lnTo>
                  <a:lnTo>
                    <a:pt x="819" y="1916"/>
                  </a:lnTo>
                  <a:lnTo>
                    <a:pt x="820" y="1916"/>
                  </a:lnTo>
                  <a:lnTo>
                    <a:pt x="819" y="1916"/>
                  </a:lnTo>
                  <a:lnTo>
                    <a:pt x="819" y="1918"/>
                  </a:lnTo>
                  <a:lnTo>
                    <a:pt x="817" y="1918"/>
                  </a:lnTo>
                  <a:lnTo>
                    <a:pt x="817" y="1916"/>
                  </a:lnTo>
                  <a:lnTo>
                    <a:pt x="817" y="1915"/>
                  </a:lnTo>
                  <a:lnTo>
                    <a:pt x="815" y="1915"/>
                  </a:lnTo>
                  <a:lnTo>
                    <a:pt x="815" y="1916"/>
                  </a:lnTo>
                  <a:lnTo>
                    <a:pt x="817" y="1915"/>
                  </a:lnTo>
                  <a:lnTo>
                    <a:pt x="817" y="1916"/>
                  </a:lnTo>
                  <a:lnTo>
                    <a:pt x="815" y="1918"/>
                  </a:lnTo>
                  <a:lnTo>
                    <a:pt x="817" y="1918"/>
                  </a:lnTo>
                  <a:lnTo>
                    <a:pt x="817" y="1916"/>
                  </a:lnTo>
                  <a:lnTo>
                    <a:pt x="817" y="1918"/>
                  </a:lnTo>
                  <a:lnTo>
                    <a:pt x="815" y="1918"/>
                  </a:lnTo>
                  <a:lnTo>
                    <a:pt x="815" y="1919"/>
                  </a:lnTo>
                  <a:lnTo>
                    <a:pt x="814" y="1919"/>
                  </a:lnTo>
                  <a:lnTo>
                    <a:pt x="814" y="1921"/>
                  </a:lnTo>
                  <a:lnTo>
                    <a:pt x="812" y="1921"/>
                  </a:lnTo>
                  <a:lnTo>
                    <a:pt x="812" y="1923"/>
                  </a:lnTo>
                  <a:lnTo>
                    <a:pt x="810" y="1923"/>
                  </a:lnTo>
                  <a:lnTo>
                    <a:pt x="809" y="1923"/>
                  </a:lnTo>
                  <a:lnTo>
                    <a:pt x="809" y="1924"/>
                  </a:lnTo>
                  <a:lnTo>
                    <a:pt x="807" y="1924"/>
                  </a:lnTo>
                  <a:lnTo>
                    <a:pt x="805" y="1924"/>
                  </a:lnTo>
                  <a:lnTo>
                    <a:pt x="805" y="1926"/>
                  </a:lnTo>
                  <a:lnTo>
                    <a:pt x="807" y="1924"/>
                  </a:lnTo>
                  <a:lnTo>
                    <a:pt x="807" y="1926"/>
                  </a:lnTo>
                  <a:lnTo>
                    <a:pt x="807" y="1924"/>
                  </a:lnTo>
                  <a:lnTo>
                    <a:pt x="807" y="1926"/>
                  </a:lnTo>
                  <a:lnTo>
                    <a:pt x="809" y="1928"/>
                  </a:lnTo>
                  <a:lnTo>
                    <a:pt x="807" y="1929"/>
                  </a:lnTo>
                  <a:lnTo>
                    <a:pt x="807" y="1931"/>
                  </a:lnTo>
                  <a:lnTo>
                    <a:pt x="807" y="1929"/>
                  </a:lnTo>
                  <a:lnTo>
                    <a:pt x="805" y="1929"/>
                  </a:lnTo>
                  <a:lnTo>
                    <a:pt x="805" y="1931"/>
                  </a:lnTo>
                  <a:lnTo>
                    <a:pt x="804" y="1931"/>
                  </a:lnTo>
                  <a:lnTo>
                    <a:pt x="805" y="1931"/>
                  </a:lnTo>
                  <a:lnTo>
                    <a:pt x="804" y="1931"/>
                  </a:lnTo>
                  <a:lnTo>
                    <a:pt x="804" y="1932"/>
                  </a:lnTo>
                  <a:lnTo>
                    <a:pt x="804" y="1931"/>
                  </a:lnTo>
                  <a:lnTo>
                    <a:pt x="804" y="1932"/>
                  </a:lnTo>
                  <a:lnTo>
                    <a:pt x="802" y="1932"/>
                  </a:lnTo>
                  <a:lnTo>
                    <a:pt x="802" y="1934"/>
                  </a:lnTo>
                  <a:lnTo>
                    <a:pt x="804" y="1934"/>
                  </a:lnTo>
                  <a:lnTo>
                    <a:pt x="802" y="1936"/>
                  </a:lnTo>
                  <a:lnTo>
                    <a:pt x="802" y="1937"/>
                  </a:lnTo>
                  <a:lnTo>
                    <a:pt x="802" y="1936"/>
                  </a:lnTo>
                  <a:lnTo>
                    <a:pt x="801" y="1936"/>
                  </a:lnTo>
                  <a:lnTo>
                    <a:pt x="801" y="1937"/>
                  </a:lnTo>
                  <a:lnTo>
                    <a:pt x="799" y="1937"/>
                  </a:lnTo>
                  <a:lnTo>
                    <a:pt x="799" y="1939"/>
                  </a:lnTo>
                  <a:lnTo>
                    <a:pt x="797" y="1939"/>
                  </a:lnTo>
                  <a:lnTo>
                    <a:pt x="797" y="1941"/>
                  </a:lnTo>
                  <a:lnTo>
                    <a:pt x="796" y="1941"/>
                  </a:lnTo>
                  <a:lnTo>
                    <a:pt x="796" y="1942"/>
                  </a:lnTo>
                  <a:lnTo>
                    <a:pt x="797" y="1942"/>
                  </a:lnTo>
                  <a:lnTo>
                    <a:pt x="796" y="1942"/>
                  </a:lnTo>
                  <a:lnTo>
                    <a:pt x="794" y="1942"/>
                  </a:lnTo>
                  <a:lnTo>
                    <a:pt x="794" y="1939"/>
                  </a:lnTo>
                  <a:lnTo>
                    <a:pt x="796" y="1939"/>
                  </a:lnTo>
                  <a:lnTo>
                    <a:pt x="796" y="1937"/>
                  </a:lnTo>
                  <a:lnTo>
                    <a:pt x="794" y="1937"/>
                  </a:lnTo>
                  <a:lnTo>
                    <a:pt x="794" y="1939"/>
                  </a:lnTo>
                  <a:lnTo>
                    <a:pt x="794" y="1941"/>
                  </a:lnTo>
                  <a:lnTo>
                    <a:pt x="794" y="1942"/>
                  </a:lnTo>
                  <a:lnTo>
                    <a:pt x="792" y="1942"/>
                  </a:lnTo>
                  <a:lnTo>
                    <a:pt x="792" y="1944"/>
                  </a:lnTo>
                  <a:lnTo>
                    <a:pt x="791" y="1945"/>
                  </a:lnTo>
                  <a:lnTo>
                    <a:pt x="791" y="1947"/>
                  </a:lnTo>
                  <a:lnTo>
                    <a:pt x="789" y="1945"/>
                  </a:lnTo>
                  <a:lnTo>
                    <a:pt x="791" y="1947"/>
                  </a:lnTo>
                  <a:lnTo>
                    <a:pt x="789" y="1947"/>
                  </a:lnTo>
                  <a:lnTo>
                    <a:pt x="789" y="1949"/>
                  </a:lnTo>
                  <a:lnTo>
                    <a:pt x="789" y="1947"/>
                  </a:lnTo>
                  <a:lnTo>
                    <a:pt x="788" y="1949"/>
                  </a:lnTo>
                  <a:lnTo>
                    <a:pt x="788" y="1947"/>
                  </a:lnTo>
                  <a:lnTo>
                    <a:pt x="788" y="1949"/>
                  </a:lnTo>
                  <a:lnTo>
                    <a:pt x="786" y="1950"/>
                  </a:lnTo>
                  <a:lnTo>
                    <a:pt x="788" y="1949"/>
                  </a:lnTo>
                  <a:lnTo>
                    <a:pt x="788" y="1950"/>
                  </a:lnTo>
                  <a:lnTo>
                    <a:pt x="788" y="1949"/>
                  </a:lnTo>
                  <a:lnTo>
                    <a:pt x="789" y="1949"/>
                  </a:lnTo>
                  <a:lnTo>
                    <a:pt x="788" y="1950"/>
                  </a:lnTo>
                  <a:lnTo>
                    <a:pt x="789" y="1950"/>
                  </a:lnTo>
                  <a:lnTo>
                    <a:pt x="788" y="1950"/>
                  </a:lnTo>
                  <a:lnTo>
                    <a:pt x="789" y="1950"/>
                  </a:lnTo>
                  <a:lnTo>
                    <a:pt x="788" y="1952"/>
                  </a:lnTo>
                  <a:lnTo>
                    <a:pt x="786" y="1954"/>
                  </a:lnTo>
                  <a:lnTo>
                    <a:pt x="788" y="1954"/>
                  </a:lnTo>
                  <a:lnTo>
                    <a:pt x="788" y="1955"/>
                  </a:lnTo>
                  <a:lnTo>
                    <a:pt x="788" y="1954"/>
                  </a:lnTo>
                  <a:lnTo>
                    <a:pt x="786" y="1955"/>
                  </a:lnTo>
                  <a:lnTo>
                    <a:pt x="786" y="1954"/>
                  </a:lnTo>
                  <a:lnTo>
                    <a:pt x="786" y="1955"/>
                  </a:lnTo>
                  <a:lnTo>
                    <a:pt x="786" y="1954"/>
                  </a:lnTo>
                  <a:lnTo>
                    <a:pt x="786" y="1952"/>
                  </a:lnTo>
                  <a:lnTo>
                    <a:pt x="788" y="1952"/>
                  </a:lnTo>
                  <a:lnTo>
                    <a:pt x="786" y="1952"/>
                  </a:lnTo>
                  <a:lnTo>
                    <a:pt x="784" y="1952"/>
                  </a:lnTo>
                  <a:lnTo>
                    <a:pt x="783" y="1954"/>
                  </a:lnTo>
                  <a:lnTo>
                    <a:pt x="784" y="1954"/>
                  </a:lnTo>
                  <a:lnTo>
                    <a:pt x="783" y="1954"/>
                  </a:lnTo>
                  <a:lnTo>
                    <a:pt x="784" y="1954"/>
                  </a:lnTo>
                  <a:lnTo>
                    <a:pt x="783" y="1954"/>
                  </a:lnTo>
                  <a:lnTo>
                    <a:pt x="781" y="1954"/>
                  </a:lnTo>
                  <a:lnTo>
                    <a:pt x="781" y="1952"/>
                  </a:lnTo>
                  <a:lnTo>
                    <a:pt x="783" y="1954"/>
                  </a:lnTo>
                  <a:lnTo>
                    <a:pt x="783" y="1952"/>
                  </a:lnTo>
                  <a:lnTo>
                    <a:pt x="784" y="1952"/>
                  </a:lnTo>
                  <a:lnTo>
                    <a:pt x="783" y="1952"/>
                  </a:lnTo>
                  <a:lnTo>
                    <a:pt x="783" y="1954"/>
                  </a:lnTo>
                  <a:lnTo>
                    <a:pt x="783" y="1952"/>
                  </a:lnTo>
                  <a:lnTo>
                    <a:pt x="781" y="1952"/>
                  </a:lnTo>
                  <a:lnTo>
                    <a:pt x="781" y="1950"/>
                  </a:lnTo>
                  <a:lnTo>
                    <a:pt x="781" y="1949"/>
                  </a:lnTo>
                  <a:lnTo>
                    <a:pt x="779" y="1950"/>
                  </a:lnTo>
                  <a:lnTo>
                    <a:pt x="779" y="1952"/>
                  </a:lnTo>
                  <a:lnTo>
                    <a:pt x="779" y="1950"/>
                  </a:lnTo>
                  <a:lnTo>
                    <a:pt x="781" y="1952"/>
                  </a:lnTo>
                  <a:lnTo>
                    <a:pt x="781" y="1954"/>
                  </a:lnTo>
                  <a:lnTo>
                    <a:pt x="781" y="1955"/>
                  </a:lnTo>
                  <a:lnTo>
                    <a:pt x="781" y="1954"/>
                  </a:lnTo>
                  <a:lnTo>
                    <a:pt x="781" y="1955"/>
                  </a:lnTo>
                  <a:lnTo>
                    <a:pt x="779" y="1955"/>
                  </a:lnTo>
                  <a:lnTo>
                    <a:pt x="778" y="1955"/>
                  </a:lnTo>
                  <a:lnTo>
                    <a:pt x="778" y="1954"/>
                  </a:lnTo>
                  <a:lnTo>
                    <a:pt x="778" y="1955"/>
                  </a:lnTo>
                  <a:lnTo>
                    <a:pt x="779" y="1954"/>
                  </a:lnTo>
                  <a:lnTo>
                    <a:pt x="778" y="1954"/>
                  </a:lnTo>
                  <a:lnTo>
                    <a:pt x="776" y="1954"/>
                  </a:lnTo>
                  <a:lnTo>
                    <a:pt x="776" y="1955"/>
                  </a:lnTo>
                  <a:lnTo>
                    <a:pt x="775" y="1955"/>
                  </a:lnTo>
                  <a:lnTo>
                    <a:pt x="775" y="1957"/>
                  </a:lnTo>
                  <a:lnTo>
                    <a:pt x="776" y="1957"/>
                  </a:lnTo>
                  <a:lnTo>
                    <a:pt x="776" y="1955"/>
                  </a:lnTo>
                  <a:lnTo>
                    <a:pt x="778" y="1955"/>
                  </a:lnTo>
                  <a:lnTo>
                    <a:pt x="778" y="1957"/>
                  </a:lnTo>
                  <a:lnTo>
                    <a:pt x="776" y="1957"/>
                  </a:lnTo>
                  <a:lnTo>
                    <a:pt x="778" y="1957"/>
                  </a:lnTo>
                  <a:lnTo>
                    <a:pt x="776" y="1959"/>
                  </a:lnTo>
                  <a:lnTo>
                    <a:pt x="778" y="1959"/>
                  </a:lnTo>
                  <a:lnTo>
                    <a:pt x="776" y="1959"/>
                  </a:lnTo>
                  <a:lnTo>
                    <a:pt x="778" y="1959"/>
                  </a:lnTo>
                  <a:lnTo>
                    <a:pt x="778" y="1960"/>
                  </a:lnTo>
                  <a:lnTo>
                    <a:pt x="776" y="1960"/>
                  </a:lnTo>
                  <a:lnTo>
                    <a:pt x="776" y="1962"/>
                  </a:lnTo>
                  <a:lnTo>
                    <a:pt x="775" y="1962"/>
                  </a:lnTo>
                  <a:lnTo>
                    <a:pt x="773" y="1962"/>
                  </a:lnTo>
                  <a:lnTo>
                    <a:pt x="771" y="1962"/>
                  </a:lnTo>
                  <a:lnTo>
                    <a:pt x="773" y="1962"/>
                  </a:lnTo>
                  <a:lnTo>
                    <a:pt x="775" y="1962"/>
                  </a:lnTo>
                  <a:lnTo>
                    <a:pt x="773" y="1962"/>
                  </a:lnTo>
                  <a:lnTo>
                    <a:pt x="773" y="1960"/>
                  </a:lnTo>
                  <a:lnTo>
                    <a:pt x="773" y="1962"/>
                  </a:lnTo>
                  <a:lnTo>
                    <a:pt x="773" y="1960"/>
                  </a:lnTo>
                  <a:lnTo>
                    <a:pt x="773" y="1959"/>
                  </a:lnTo>
                  <a:lnTo>
                    <a:pt x="773" y="1960"/>
                  </a:lnTo>
                  <a:lnTo>
                    <a:pt x="773" y="1959"/>
                  </a:lnTo>
                  <a:lnTo>
                    <a:pt x="775" y="1959"/>
                  </a:lnTo>
                  <a:lnTo>
                    <a:pt x="773" y="1959"/>
                  </a:lnTo>
                  <a:lnTo>
                    <a:pt x="773" y="1960"/>
                  </a:lnTo>
                  <a:lnTo>
                    <a:pt x="771" y="1960"/>
                  </a:lnTo>
                  <a:lnTo>
                    <a:pt x="771" y="1959"/>
                  </a:lnTo>
                  <a:lnTo>
                    <a:pt x="770" y="1959"/>
                  </a:lnTo>
                  <a:lnTo>
                    <a:pt x="770" y="1960"/>
                  </a:lnTo>
                  <a:lnTo>
                    <a:pt x="771" y="1960"/>
                  </a:lnTo>
                  <a:lnTo>
                    <a:pt x="770" y="1960"/>
                  </a:lnTo>
                  <a:lnTo>
                    <a:pt x="768" y="1960"/>
                  </a:lnTo>
                  <a:lnTo>
                    <a:pt x="766" y="1960"/>
                  </a:lnTo>
                  <a:lnTo>
                    <a:pt x="768" y="1960"/>
                  </a:lnTo>
                  <a:lnTo>
                    <a:pt x="768" y="1962"/>
                  </a:lnTo>
                  <a:lnTo>
                    <a:pt x="770" y="1962"/>
                  </a:lnTo>
                  <a:lnTo>
                    <a:pt x="768" y="1960"/>
                  </a:lnTo>
                  <a:lnTo>
                    <a:pt x="770" y="1960"/>
                  </a:lnTo>
                  <a:lnTo>
                    <a:pt x="770" y="1962"/>
                  </a:lnTo>
                  <a:lnTo>
                    <a:pt x="770" y="1960"/>
                  </a:lnTo>
                  <a:lnTo>
                    <a:pt x="770" y="1962"/>
                  </a:lnTo>
                  <a:lnTo>
                    <a:pt x="771" y="1962"/>
                  </a:lnTo>
                  <a:lnTo>
                    <a:pt x="770" y="1962"/>
                  </a:lnTo>
                  <a:lnTo>
                    <a:pt x="770" y="1963"/>
                  </a:lnTo>
                  <a:lnTo>
                    <a:pt x="771" y="1963"/>
                  </a:lnTo>
                  <a:lnTo>
                    <a:pt x="770" y="1963"/>
                  </a:lnTo>
                  <a:lnTo>
                    <a:pt x="770" y="1965"/>
                  </a:lnTo>
                  <a:lnTo>
                    <a:pt x="771" y="1965"/>
                  </a:lnTo>
                  <a:lnTo>
                    <a:pt x="770" y="1965"/>
                  </a:lnTo>
                  <a:lnTo>
                    <a:pt x="770" y="1963"/>
                  </a:lnTo>
                  <a:lnTo>
                    <a:pt x="768" y="1965"/>
                  </a:lnTo>
                  <a:lnTo>
                    <a:pt x="770" y="1965"/>
                  </a:lnTo>
                  <a:lnTo>
                    <a:pt x="768" y="1965"/>
                  </a:lnTo>
                  <a:lnTo>
                    <a:pt x="768" y="1967"/>
                  </a:lnTo>
                  <a:lnTo>
                    <a:pt x="770" y="1967"/>
                  </a:lnTo>
                  <a:lnTo>
                    <a:pt x="768" y="1967"/>
                  </a:lnTo>
                  <a:lnTo>
                    <a:pt x="770" y="1967"/>
                  </a:lnTo>
                  <a:lnTo>
                    <a:pt x="770" y="1968"/>
                  </a:lnTo>
                  <a:lnTo>
                    <a:pt x="768" y="1968"/>
                  </a:lnTo>
                  <a:lnTo>
                    <a:pt x="766" y="1967"/>
                  </a:lnTo>
                  <a:lnTo>
                    <a:pt x="768" y="1967"/>
                  </a:lnTo>
                  <a:lnTo>
                    <a:pt x="766" y="1967"/>
                  </a:lnTo>
                  <a:lnTo>
                    <a:pt x="766" y="1968"/>
                  </a:lnTo>
                  <a:lnTo>
                    <a:pt x="765" y="1968"/>
                  </a:lnTo>
                  <a:lnTo>
                    <a:pt x="766" y="1968"/>
                  </a:lnTo>
                  <a:lnTo>
                    <a:pt x="768" y="1968"/>
                  </a:lnTo>
                  <a:lnTo>
                    <a:pt x="766" y="1968"/>
                  </a:lnTo>
                  <a:lnTo>
                    <a:pt x="768" y="1968"/>
                  </a:lnTo>
                  <a:lnTo>
                    <a:pt x="766" y="1968"/>
                  </a:lnTo>
                  <a:lnTo>
                    <a:pt x="766" y="1970"/>
                  </a:lnTo>
                  <a:lnTo>
                    <a:pt x="768" y="1970"/>
                  </a:lnTo>
                  <a:lnTo>
                    <a:pt x="766" y="1970"/>
                  </a:lnTo>
                  <a:lnTo>
                    <a:pt x="766" y="1972"/>
                  </a:lnTo>
                  <a:lnTo>
                    <a:pt x="766" y="1970"/>
                  </a:lnTo>
                  <a:lnTo>
                    <a:pt x="766" y="1972"/>
                  </a:lnTo>
                  <a:lnTo>
                    <a:pt x="765" y="1972"/>
                  </a:lnTo>
                  <a:lnTo>
                    <a:pt x="765" y="1973"/>
                  </a:lnTo>
                  <a:lnTo>
                    <a:pt x="765" y="1972"/>
                  </a:lnTo>
                  <a:lnTo>
                    <a:pt x="763" y="1972"/>
                  </a:lnTo>
                  <a:lnTo>
                    <a:pt x="765" y="1972"/>
                  </a:lnTo>
                  <a:lnTo>
                    <a:pt x="763" y="1973"/>
                  </a:lnTo>
                  <a:lnTo>
                    <a:pt x="765" y="1973"/>
                  </a:lnTo>
                  <a:lnTo>
                    <a:pt x="763" y="1973"/>
                  </a:lnTo>
                  <a:lnTo>
                    <a:pt x="763" y="1972"/>
                  </a:lnTo>
                  <a:lnTo>
                    <a:pt x="763" y="1970"/>
                  </a:lnTo>
                  <a:lnTo>
                    <a:pt x="763" y="1968"/>
                  </a:lnTo>
                  <a:lnTo>
                    <a:pt x="762" y="1968"/>
                  </a:lnTo>
                  <a:lnTo>
                    <a:pt x="763" y="1968"/>
                  </a:lnTo>
                  <a:lnTo>
                    <a:pt x="763" y="1967"/>
                  </a:lnTo>
                  <a:lnTo>
                    <a:pt x="763" y="1968"/>
                  </a:lnTo>
                  <a:lnTo>
                    <a:pt x="763" y="1967"/>
                  </a:lnTo>
                  <a:lnTo>
                    <a:pt x="762" y="1965"/>
                  </a:lnTo>
                  <a:lnTo>
                    <a:pt x="762" y="1967"/>
                  </a:lnTo>
                  <a:lnTo>
                    <a:pt x="763" y="1967"/>
                  </a:lnTo>
                  <a:lnTo>
                    <a:pt x="762" y="1968"/>
                  </a:lnTo>
                  <a:lnTo>
                    <a:pt x="762" y="1970"/>
                  </a:lnTo>
                  <a:lnTo>
                    <a:pt x="762" y="1972"/>
                  </a:lnTo>
                  <a:lnTo>
                    <a:pt x="760" y="1972"/>
                  </a:lnTo>
                  <a:lnTo>
                    <a:pt x="758" y="1972"/>
                  </a:lnTo>
                  <a:lnTo>
                    <a:pt x="760" y="1972"/>
                  </a:lnTo>
                  <a:lnTo>
                    <a:pt x="760" y="1973"/>
                  </a:lnTo>
                  <a:lnTo>
                    <a:pt x="760" y="1972"/>
                  </a:lnTo>
                  <a:lnTo>
                    <a:pt x="760" y="1973"/>
                  </a:lnTo>
                  <a:lnTo>
                    <a:pt x="758" y="1973"/>
                  </a:lnTo>
                  <a:lnTo>
                    <a:pt x="758" y="1975"/>
                  </a:lnTo>
                  <a:lnTo>
                    <a:pt x="758" y="1973"/>
                  </a:lnTo>
                  <a:lnTo>
                    <a:pt x="757" y="1973"/>
                  </a:lnTo>
                  <a:lnTo>
                    <a:pt x="755" y="1973"/>
                  </a:lnTo>
                  <a:lnTo>
                    <a:pt x="755" y="1972"/>
                  </a:lnTo>
                  <a:lnTo>
                    <a:pt x="753" y="1972"/>
                  </a:lnTo>
                  <a:lnTo>
                    <a:pt x="753" y="1970"/>
                  </a:lnTo>
                  <a:lnTo>
                    <a:pt x="755" y="1970"/>
                  </a:lnTo>
                  <a:lnTo>
                    <a:pt x="753" y="1970"/>
                  </a:lnTo>
                  <a:lnTo>
                    <a:pt x="753" y="1972"/>
                  </a:lnTo>
                  <a:lnTo>
                    <a:pt x="752" y="1972"/>
                  </a:lnTo>
                  <a:lnTo>
                    <a:pt x="753" y="1970"/>
                  </a:lnTo>
                  <a:lnTo>
                    <a:pt x="753" y="1968"/>
                  </a:lnTo>
                  <a:lnTo>
                    <a:pt x="752" y="1970"/>
                  </a:lnTo>
                  <a:lnTo>
                    <a:pt x="752" y="1968"/>
                  </a:lnTo>
                  <a:lnTo>
                    <a:pt x="752" y="1967"/>
                  </a:lnTo>
                  <a:lnTo>
                    <a:pt x="752" y="1965"/>
                  </a:lnTo>
                  <a:lnTo>
                    <a:pt x="753" y="1965"/>
                  </a:lnTo>
                  <a:lnTo>
                    <a:pt x="753" y="1967"/>
                  </a:lnTo>
                  <a:lnTo>
                    <a:pt x="753" y="1965"/>
                  </a:lnTo>
                  <a:lnTo>
                    <a:pt x="755" y="1965"/>
                  </a:lnTo>
                  <a:lnTo>
                    <a:pt x="753" y="1965"/>
                  </a:lnTo>
                  <a:lnTo>
                    <a:pt x="753" y="1963"/>
                  </a:lnTo>
                  <a:lnTo>
                    <a:pt x="755" y="1962"/>
                  </a:lnTo>
                  <a:lnTo>
                    <a:pt x="753" y="1962"/>
                  </a:lnTo>
                  <a:lnTo>
                    <a:pt x="755" y="1960"/>
                  </a:lnTo>
                  <a:lnTo>
                    <a:pt x="753" y="1960"/>
                  </a:lnTo>
                  <a:lnTo>
                    <a:pt x="753" y="1962"/>
                  </a:lnTo>
                  <a:lnTo>
                    <a:pt x="753" y="1960"/>
                  </a:lnTo>
                  <a:lnTo>
                    <a:pt x="752" y="1959"/>
                  </a:lnTo>
                  <a:lnTo>
                    <a:pt x="752" y="1957"/>
                  </a:lnTo>
                  <a:lnTo>
                    <a:pt x="750" y="1955"/>
                  </a:lnTo>
                  <a:lnTo>
                    <a:pt x="750" y="1957"/>
                  </a:lnTo>
                  <a:lnTo>
                    <a:pt x="752" y="1957"/>
                  </a:lnTo>
                  <a:lnTo>
                    <a:pt x="752" y="1959"/>
                  </a:lnTo>
                  <a:lnTo>
                    <a:pt x="752" y="1960"/>
                  </a:lnTo>
                  <a:lnTo>
                    <a:pt x="750" y="1960"/>
                  </a:lnTo>
                  <a:lnTo>
                    <a:pt x="752" y="1962"/>
                  </a:lnTo>
                  <a:lnTo>
                    <a:pt x="752" y="1963"/>
                  </a:lnTo>
                  <a:lnTo>
                    <a:pt x="750" y="1963"/>
                  </a:lnTo>
                  <a:lnTo>
                    <a:pt x="752" y="1963"/>
                  </a:lnTo>
                  <a:lnTo>
                    <a:pt x="752" y="1965"/>
                  </a:lnTo>
                  <a:lnTo>
                    <a:pt x="750" y="1965"/>
                  </a:lnTo>
                  <a:lnTo>
                    <a:pt x="752" y="1967"/>
                  </a:lnTo>
                  <a:lnTo>
                    <a:pt x="750" y="1967"/>
                  </a:lnTo>
                  <a:lnTo>
                    <a:pt x="750" y="1968"/>
                  </a:lnTo>
                  <a:lnTo>
                    <a:pt x="750" y="1967"/>
                  </a:lnTo>
                  <a:lnTo>
                    <a:pt x="750" y="1968"/>
                  </a:lnTo>
                  <a:lnTo>
                    <a:pt x="749" y="1968"/>
                  </a:lnTo>
                  <a:lnTo>
                    <a:pt x="747" y="1968"/>
                  </a:lnTo>
                  <a:lnTo>
                    <a:pt x="749" y="1970"/>
                  </a:lnTo>
                  <a:lnTo>
                    <a:pt x="747" y="1970"/>
                  </a:lnTo>
                  <a:lnTo>
                    <a:pt x="747" y="1968"/>
                  </a:lnTo>
                  <a:lnTo>
                    <a:pt x="745" y="1968"/>
                  </a:lnTo>
                  <a:lnTo>
                    <a:pt x="745" y="1970"/>
                  </a:lnTo>
                  <a:lnTo>
                    <a:pt x="745" y="1972"/>
                  </a:lnTo>
                  <a:lnTo>
                    <a:pt x="745" y="1973"/>
                  </a:lnTo>
                  <a:lnTo>
                    <a:pt x="744" y="1973"/>
                  </a:lnTo>
                  <a:lnTo>
                    <a:pt x="745" y="1972"/>
                  </a:lnTo>
                  <a:lnTo>
                    <a:pt x="747" y="1973"/>
                  </a:lnTo>
                  <a:lnTo>
                    <a:pt x="745" y="1973"/>
                  </a:lnTo>
                  <a:lnTo>
                    <a:pt x="745" y="1975"/>
                  </a:lnTo>
                  <a:lnTo>
                    <a:pt x="747" y="1973"/>
                  </a:lnTo>
                  <a:lnTo>
                    <a:pt x="747" y="1975"/>
                  </a:lnTo>
                  <a:lnTo>
                    <a:pt x="745" y="1975"/>
                  </a:lnTo>
                  <a:lnTo>
                    <a:pt x="745" y="1976"/>
                  </a:lnTo>
                  <a:lnTo>
                    <a:pt x="744" y="1976"/>
                  </a:lnTo>
                  <a:lnTo>
                    <a:pt x="744" y="1978"/>
                  </a:lnTo>
                  <a:lnTo>
                    <a:pt x="744" y="1976"/>
                  </a:lnTo>
                  <a:lnTo>
                    <a:pt x="742" y="1976"/>
                  </a:lnTo>
                  <a:lnTo>
                    <a:pt x="742" y="1975"/>
                  </a:lnTo>
                  <a:lnTo>
                    <a:pt x="742" y="1976"/>
                  </a:lnTo>
                  <a:lnTo>
                    <a:pt x="740" y="1976"/>
                  </a:lnTo>
                  <a:lnTo>
                    <a:pt x="742" y="1978"/>
                  </a:lnTo>
                  <a:lnTo>
                    <a:pt x="740" y="1978"/>
                  </a:lnTo>
                  <a:lnTo>
                    <a:pt x="739" y="1978"/>
                  </a:lnTo>
                  <a:lnTo>
                    <a:pt x="737" y="1978"/>
                  </a:lnTo>
                  <a:lnTo>
                    <a:pt x="736" y="1978"/>
                  </a:lnTo>
                  <a:lnTo>
                    <a:pt x="736" y="1980"/>
                  </a:lnTo>
                  <a:lnTo>
                    <a:pt x="734" y="1980"/>
                  </a:lnTo>
                  <a:lnTo>
                    <a:pt x="734" y="1978"/>
                  </a:lnTo>
                  <a:lnTo>
                    <a:pt x="732" y="1978"/>
                  </a:lnTo>
                  <a:lnTo>
                    <a:pt x="731" y="1978"/>
                  </a:lnTo>
                  <a:lnTo>
                    <a:pt x="731" y="1976"/>
                  </a:lnTo>
                  <a:lnTo>
                    <a:pt x="731" y="1978"/>
                  </a:lnTo>
                  <a:lnTo>
                    <a:pt x="729" y="1978"/>
                  </a:lnTo>
                  <a:lnTo>
                    <a:pt x="729" y="1980"/>
                  </a:lnTo>
                  <a:lnTo>
                    <a:pt x="727" y="1978"/>
                  </a:lnTo>
                  <a:lnTo>
                    <a:pt x="727" y="1980"/>
                  </a:lnTo>
                  <a:lnTo>
                    <a:pt x="727" y="1981"/>
                  </a:lnTo>
                  <a:lnTo>
                    <a:pt x="726" y="1981"/>
                  </a:lnTo>
                  <a:lnTo>
                    <a:pt x="727" y="1981"/>
                  </a:lnTo>
                  <a:lnTo>
                    <a:pt x="726" y="1981"/>
                  </a:lnTo>
                  <a:lnTo>
                    <a:pt x="726" y="1980"/>
                  </a:lnTo>
                  <a:lnTo>
                    <a:pt x="724" y="1980"/>
                  </a:lnTo>
                  <a:lnTo>
                    <a:pt x="724" y="1978"/>
                  </a:lnTo>
                  <a:lnTo>
                    <a:pt x="724" y="1980"/>
                  </a:lnTo>
                  <a:lnTo>
                    <a:pt x="726" y="1981"/>
                  </a:lnTo>
                  <a:lnTo>
                    <a:pt x="724" y="1981"/>
                  </a:lnTo>
                  <a:lnTo>
                    <a:pt x="723" y="1981"/>
                  </a:lnTo>
                  <a:lnTo>
                    <a:pt x="724" y="1981"/>
                  </a:lnTo>
                  <a:lnTo>
                    <a:pt x="723" y="1983"/>
                  </a:lnTo>
                  <a:lnTo>
                    <a:pt x="723" y="1981"/>
                  </a:lnTo>
                  <a:lnTo>
                    <a:pt x="721" y="1981"/>
                  </a:lnTo>
                  <a:lnTo>
                    <a:pt x="723" y="1983"/>
                  </a:lnTo>
                  <a:lnTo>
                    <a:pt x="723" y="1985"/>
                  </a:lnTo>
                  <a:lnTo>
                    <a:pt x="723" y="1986"/>
                  </a:lnTo>
                  <a:lnTo>
                    <a:pt x="721" y="1985"/>
                  </a:lnTo>
                  <a:lnTo>
                    <a:pt x="721" y="1986"/>
                  </a:lnTo>
                  <a:lnTo>
                    <a:pt x="723" y="1986"/>
                  </a:lnTo>
                  <a:lnTo>
                    <a:pt x="721" y="1986"/>
                  </a:lnTo>
                  <a:lnTo>
                    <a:pt x="719" y="1986"/>
                  </a:lnTo>
                  <a:lnTo>
                    <a:pt x="719" y="1985"/>
                  </a:lnTo>
                  <a:lnTo>
                    <a:pt x="718" y="1986"/>
                  </a:lnTo>
                  <a:lnTo>
                    <a:pt x="719" y="1986"/>
                  </a:lnTo>
                  <a:lnTo>
                    <a:pt x="719" y="1988"/>
                  </a:lnTo>
                  <a:lnTo>
                    <a:pt x="719" y="1986"/>
                  </a:lnTo>
                  <a:lnTo>
                    <a:pt x="718" y="1986"/>
                  </a:lnTo>
                  <a:lnTo>
                    <a:pt x="716" y="1986"/>
                  </a:lnTo>
                  <a:lnTo>
                    <a:pt x="716" y="1988"/>
                  </a:lnTo>
                  <a:lnTo>
                    <a:pt x="716" y="1986"/>
                  </a:lnTo>
                  <a:lnTo>
                    <a:pt x="716" y="1988"/>
                  </a:lnTo>
                  <a:lnTo>
                    <a:pt x="714" y="1988"/>
                  </a:lnTo>
                  <a:lnTo>
                    <a:pt x="714" y="1986"/>
                  </a:lnTo>
                  <a:lnTo>
                    <a:pt x="714" y="1988"/>
                  </a:lnTo>
                  <a:lnTo>
                    <a:pt x="714" y="1986"/>
                  </a:lnTo>
                  <a:lnTo>
                    <a:pt x="713" y="1986"/>
                  </a:lnTo>
                  <a:lnTo>
                    <a:pt x="713" y="1988"/>
                  </a:lnTo>
                  <a:lnTo>
                    <a:pt x="711" y="1988"/>
                  </a:lnTo>
                  <a:lnTo>
                    <a:pt x="711" y="1986"/>
                  </a:lnTo>
                  <a:lnTo>
                    <a:pt x="711" y="1988"/>
                  </a:lnTo>
                  <a:lnTo>
                    <a:pt x="711" y="1986"/>
                  </a:lnTo>
                  <a:lnTo>
                    <a:pt x="711" y="1988"/>
                  </a:lnTo>
                  <a:lnTo>
                    <a:pt x="711" y="1986"/>
                  </a:lnTo>
                  <a:lnTo>
                    <a:pt x="711" y="1988"/>
                  </a:lnTo>
                  <a:lnTo>
                    <a:pt x="711" y="1986"/>
                  </a:lnTo>
                  <a:lnTo>
                    <a:pt x="710" y="1988"/>
                  </a:lnTo>
                  <a:lnTo>
                    <a:pt x="711" y="1988"/>
                  </a:lnTo>
                  <a:lnTo>
                    <a:pt x="713" y="1988"/>
                  </a:lnTo>
                  <a:lnTo>
                    <a:pt x="713" y="1989"/>
                  </a:lnTo>
                  <a:lnTo>
                    <a:pt x="711" y="1989"/>
                  </a:lnTo>
                  <a:lnTo>
                    <a:pt x="713" y="1989"/>
                  </a:lnTo>
                  <a:lnTo>
                    <a:pt x="711" y="1991"/>
                  </a:lnTo>
                  <a:lnTo>
                    <a:pt x="713" y="1991"/>
                  </a:lnTo>
                  <a:lnTo>
                    <a:pt x="711" y="1991"/>
                  </a:lnTo>
                  <a:lnTo>
                    <a:pt x="710" y="1991"/>
                  </a:lnTo>
                  <a:lnTo>
                    <a:pt x="710" y="1989"/>
                  </a:lnTo>
                  <a:lnTo>
                    <a:pt x="708" y="1989"/>
                  </a:lnTo>
                  <a:lnTo>
                    <a:pt x="708" y="1988"/>
                  </a:lnTo>
                  <a:lnTo>
                    <a:pt x="710" y="1988"/>
                  </a:lnTo>
                  <a:lnTo>
                    <a:pt x="710" y="1986"/>
                  </a:lnTo>
                  <a:lnTo>
                    <a:pt x="710" y="1985"/>
                  </a:lnTo>
                  <a:lnTo>
                    <a:pt x="708" y="1986"/>
                  </a:lnTo>
                  <a:lnTo>
                    <a:pt x="708" y="1985"/>
                  </a:lnTo>
                  <a:lnTo>
                    <a:pt x="708" y="1986"/>
                  </a:lnTo>
                  <a:lnTo>
                    <a:pt x="706" y="1986"/>
                  </a:lnTo>
                  <a:lnTo>
                    <a:pt x="706" y="1985"/>
                  </a:lnTo>
                  <a:lnTo>
                    <a:pt x="708" y="1985"/>
                  </a:lnTo>
                  <a:lnTo>
                    <a:pt x="706" y="1985"/>
                  </a:lnTo>
                  <a:lnTo>
                    <a:pt x="705" y="1985"/>
                  </a:lnTo>
                  <a:lnTo>
                    <a:pt x="705" y="1986"/>
                  </a:lnTo>
                  <a:lnTo>
                    <a:pt x="703" y="1986"/>
                  </a:lnTo>
                  <a:lnTo>
                    <a:pt x="703" y="1985"/>
                  </a:lnTo>
                  <a:lnTo>
                    <a:pt x="705" y="1985"/>
                  </a:lnTo>
                  <a:lnTo>
                    <a:pt x="703" y="1985"/>
                  </a:lnTo>
                  <a:lnTo>
                    <a:pt x="703" y="1983"/>
                  </a:lnTo>
                  <a:lnTo>
                    <a:pt x="701" y="1983"/>
                  </a:lnTo>
                  <a:lnTo>
                    <a:pt x="703" y="1985"/>
                  </a:lnTo>
                  <a:lnTo>
                    <a:pt x="701" y="1985"/>
                  </a:lnTo>
                  <a:lnTo>
                    <a:pt x="701" y="1983"/>
                  </a:lnTo>
                  <a:lnTo>
                    <a:pt x="703" y="1985"/>
                  </a:lnTo>
                  <a:lnTo>
                    <a:pt x="701" y="1985"/>
                  </a:lnTo>
                  <a:lnTo>
                    <a:pt x="701" y="1986"/>
                  </a:lnTo>
                  <a:lnTo>
                    <a:pt x="701" y="1985"/>
                  </a:lnTo>
                  <a:lnTo>
                    <a:pt x="703" y="1986"/>
                  </a:lnTo>
                  <a:lnTo>
                    <a:pt x="701" y="1986"/>
                  </a:lnTo>
                  <a:lnTo>
                    <a:pt x="700" y="1985"/>
                  </a:lnTo>
                  <a:lnTo>
                    <a:pt x="701" y="1985"/>
                  </a:lnTo>
                  <a:lnTo>
                    <a:pt x="700" y="1985"/>
                  </a:lnTo>
                  <a:lnTo>
                    <a:pt x="698" y="1985"/>
                  </a:lnTo>
                  <a:lnTo>
                    <a:pt x="698" y="1983"/>
                  </a:lnTo>
                  <a:lnTo>
                    <a:pt x="697" y="1983"/>
                  </a:lnTo>
                  <a:lnTo>
                    <a:pt x="697" y="1981"/>
                  </a:lnTo>
                  <a:lnTo>
                    <a:pt x="695" y="1981"/>
                  </a:lnTo>
                  <a:lnTo>
                    <a:pt x="695" y="1983"/>
                  </a:lnTo>
                  <a:lnTo>
                    <a:pt x="693" y="1983"/>
                  </a:lnTo>
                  <a:lnTo>
                    <a:pt x="695" y="1983"/>
                  </a:lnTo>
                  <a:lnTo>
                    <a:pt x="693" y="1983"/>
                  </a:lnTo>
                  <a:lnTo>
                    <a:pt x="693" y="1981"/>
                  </a:lnTo>
                  <a:lnTo>
                    <a:pt x="693" y="1983"/>
                  </a:lnTo>
                  <a:lnTo>
                    <a:pt x="692" y="1983"/>
                  </a:lnTo>
                  <a:lnTo>
                    <a:pt x="692" y="1981"/>
                  </a:lnTo>
                  <a:lnTo>
                    <a:pt x="692" y="1980"/>
                  </a:lnTo>
                  <a:lnTo>
                    <a:pt x="693" y="1980"/>
                  </a:lnTo>
                  <a:lnTo>
                    <a:pt x="692" y="1980"/>
                  </a:lnTo>
                  <a:lnTo>
                    <a:pt x="693" y="1978"/>
                  </a:lnTo>
                  <a:lnTo>
                    <a:pt x="692" y="1978"/>
                  </a:lnTo>
                  <a:lnTo>
                    <a:pt x="692" y="1980"/>
                  </a:lnTo>
                  <a:lnTo>
                    <a:pt x="692" y="1981"/>
                  </a:lnTo>
                  <a:lnTo>
                    <a:pt x="692" y="1983"/>
                  </a:lnTo>
                  <a:lnTo>
                    <a:pt x="690" y="1983"/>
                  </a:lnTo>
                  <a:lnTo>
                    <a:pt x="690" y="1981"/>
                  </a:lnTo>
                  <a:lnTo>
                    <a:pt x="690" y="1980"/>
                  </a:lnTo>
                  <a:lnTo>
                    <a:pt x="690" y="1981"/>
                  </a:lnTo>
                  <a:lnTo>
                    <a:pt x="688" y="1981"/>
                  </a:lnTo>
                  <a:lnTo>
                    <a:pt x="688" y="1983"/>
                  </a:lnTo>
                  <a:lnTo>
                    <a:pt x="687" y="1983"/>
                  </a:lnTo>
                  <a:lnTo>
                    <a:pt x="687" y="1981"/>
                  </a:lnTo>
                  <a:lnTo>
                    <a:pt x="685" y="1981"/>
                  </a:lnTo>
                  <a:lnTo>
                    <a:pt x="687" y="1980"/>
                  </a:lnTo>
                  <a:lnTo>
                    <a:pt x="685" y="1980"/>
                  </a:lnTo>
                  <a:lnTo>
                    <a:pt x="685" y="1978"/>
                  </a:lnTo>
                  <a:lnTo>
                    <a:pt x="685" y="1980"/>
                  </a:lnTo>
                  <a:lnTo>
                    <a:pt x="684" y="1980"/>
                  </a:lnTo>
                  <a:lnTo>
                    <a:pt x="685" y="1980"/>
                  </a:lnTo>
                  <a:lnTo>
                    <a:pt x="685" y="1981"/>
                  </a:lnTo>
                  <a:lnTo>
                    <a:pt x="684" y="1981"/>
                  </a:lnTo>
                  <a:lnTo>
                    <a:pt x="684" y="1980"/>
                  </a:lnTo>
                  <a:lnTo>
                    <a:pt x="684" y="1981"/>
                  </a:lnTo>
                  <a:lnTo>
                    <a:pt x="682" y="1981"/>
                  </a:lnTo>
                  <a:lnTo>
                    <a:pt x="682" y="1983"/>
                  </a:lnTo>
                  <a:lnTo>
                    <a:pt x="682" y="1981"/>
                  </a:lnTo>
                  <a:lnTo>
                    <a:pt x="680" y="1981"/>
                  </a:lnTo>
                  <a:lnTo>
                    <a:pt x="682" y="1981"/>
                  </a:lnTo>
                  <a:lnTo>
                    <a:pt x="680" y="1981"/>
                  </a:lnTo>
                  <a:lnTo>
                    <a:pt x="680" y="1983"/>
                  </a:lnTo>
                  <a:lnTo>
                    <a:pt x="680" y="1981"/>
                  </a:lnTo>
                  <a:lnTo>
                    <a:pt x="679" y="1981"/>
                  </a:lnTo>
                  <a:lnTo>
                    <a:pt x="679" y="1983"/>
                  </a:lnTo>
                  <a:lnTo>
                    <a:pt x="680" y="1985"/>
                  </a:lnTo>
                  <a:lnTo>
                    <a:pt x="679" y="1986"/>
                  </a:lnTo>
                  <a:lnTo>
                    <a:pt x="679" y="1988"/>
                  </a:lnTo>
                  <a:lnTo>
                    <a:pt x="677" y="1988"/>
                  </a:lnTo>
                  <a:lnTo>
                    <a:pt x="675" y="1988"/>
                  </a:lnTo>
                  <a:lnTo>
                    <a:pt x="675" y="1989"/>
                  </a:lnTo>
                  <a:lnTo>
                    <a:pt x="675" y="1988"/>
                  </a:lnTo>
                  <a:lnTo>
                    <a:pt x="675" y="1989"/>
                  </a:lnTo>
                  <a:lnTo>
                    <a:pt x="674" y="1989"/>
                  </a:lnTo>
                  <a:lnTo>
                    <a:pt x="674" y="1988"/>
                  </a:lnTo>
                  <a:lnTo>
                    <a:pt x="672" y="1986"/>
                  </a:lnTo>
                  <a:lnTo>
                    <a:pt x="674" y="1986"/>
                  </a:lnTo>
                  <a:lnTo>
                    <a:pt x="674" y="1985"/>
                  </a:lnTo>
                  <a:lnTo>
                    <a:pt x="674" y="1983"/>
                  </a:lnTo>
                  <a:lnTo>
                    <a:pt x="675" y="1981"/>
                  </a:lnTo>
                  <a:lnTo>
                    <a:pt x="675" y="1980"/>
                  </a:lnTo>
                  <a:lnTo>
                    <a:pt x="677" y="1980"/>
                  </a:lnTo>
                  <a:lnTo>
                    <a:pt x="679" y="1978"/>
                  </a:lnTo>
                  <a:lnTo>
                    <a:pt x="680" y="1978"/>
                  </a:lnTo>
                  <a:lnTo>
                    <a:pt x="680" y="1976"/>
                  </a:lnTo>
                  <a:lnTo>
                    <a:pt x="682" y="1976"/>
                  </a:lnTo>
                  <a:lnTo>
                    <a:pt x="680" y="1976"/>
                  </a:lnTo>
                  <a:lnTo>
                    <a:pt x="682" y="1975"/>
                  </a:lnTo>
                  <a:lnTo>
                    <a:pt x="680" y="1976"/>
                  </a:lnTo>
                  <a:lnTo>
                    <a:pt x="680" y="1975"/>
                  </a:lnTo>
                  <a:lnTo>
                    <a:pt x="679" y="1975"/>
                  </a:lnTo>
                  <a:lnTo>
                    <a:pt x="679" y="1976"/>
                  </a:lnTo>
                  <a:lnTo>
                    <a:pt x="680" y="1976"/>
                  </a:lnTo>
                  <a:lnTo>
                    <a:pt x="679" y="1976"/>
                  </a:lnTo>
                  <a:lnTo>
                    <a:pt x="677" y="1978"/>
                  </a:lnTo>
                  <a:lnTo>
                    <a:pt x="675" y="1978"/>
                  </a:lnTo>
                  <a:lnTo>
                    <a:pt x="674" y="1978"/>
                  </a:lnTo>
                  <a:lnTo>
                    <a:pt x="674" y="1980"/>
                  </a:lnTo>
                  <a:lnTo>
                    <a:pt x="674" y="1981"/>
                  </a:lnTo>
                  <a:lnTo>
                    <a:pt x="674" y="1980"/>
                  </a:lnTo>
                  <a:lnTo>
                    <a:pt x="674" y="1981"/>
                  </a:lnTo>
                  <a:lnTo>
                    <a:pt x="672" y="1981"/>
                  </a:lnTo>
                  <a:lnTo>
                    <a:pt x="672" y="1983"/>
                  </a:lnTo>
                  <a:lnTo>
                    <a:pt x="672" y="1985"/>
                  </a:lnTo>
                  <a:lnTo>
                    <a:pt x="671" y="1985"/>
                  </a:lnTo>
                  <a:lnTo>
                    <a:pt x="671" y="1983"/>
                  </a:lnTo>
                  <a:lnTo>
                    <a:pt x="671" y="1985"/>
                  </a:lnTo>
                  <a:lnTo>
                    <a:pt x="669" y="1985"/>
                  </a:lnTo>
                  <a:lnTo>
                    <a:pt x="669" y="1983"/>
                  </a:lnTo>
                  <a:lnTo>
                    <a:pt x="671" y="1983"/>
                  </a:lnTo>
                  <a:lnTo>
                    <a:pt x="672" y="1983"/>
                  </a:lnTo>
                  <a:lnTo>
                    <a:pt x="672" y="1981"/>
                  </a:lnTo>
                  <a:lnTo>
                    <a:pt x="671" y="1981"/>
                  </a:lnTo>
                  <a:lnTo>
                    <a:pt x="671" y="1983"/>
                  </a:lnTo>
                  <a:lnTo>
                    <a:pt x="671" y="1981"/>
                  </a:lnTo>
                  <a:lnTo>
                    <a:pt x="671" y="1983"/>
                  </a:lnTo>
                  <a:lnTo>
                    <a:pt x="669" y="1983"/>
                  </a:lnTo>
                  <a:lnTo>
                    <a:pt x="671" y="1983"/>
                  </a:lnTo>
                  <a:lnTo>
                    <a:pt x="671" y="1981"/>
                  </a:lnTo>
                  <a:lnTo>
                    <a:pt x="669" y="1981"/>
                  </a:lnTo>
                  <a:lnTo>
                    <a:pt x="671" y="1981"/>
                  </a:lnTo>
                  <a:lnTo>
                    <a:pt x="669" y="1981"/>
                  </a:lnTo>
                  <a:lnTo>
                    <a:pt x="669" y="1980"/>
                  </a:lnTo>
                  <a:lnTo>
                    <a:pt x="671" y="1980"/>
                  </a:lnTo>
                  <a:lnTo>
                    <a:pt x="671" y="1978"/>
                  </a:lnTo>
                  <a:lnTo>
                    <a:pt x="671" y="1976"/>
                  </a:lnTo>
                  <a:lnTo>
                    <a:pt x="672" y="1976"/>
                  </a:lnTo>
                  <a:lnTo>
                    <a:pt x="672" y="1978"/>
                  </a:lnTo>
                  <a:lnTo>
                    <a:pt x="672" y="1976"/>
                  </a:lnTo>
                  <a:lnTo>
                    <a:pt x="672" y="1975"/>
                  </a:lnTo>
                  <a:lnTo>
                    <a:pt x="674" y="1973"/>
                  </a:lnTo>
                  <a:lnTo>
                    <a:pt x="674" y="1970"/>
                  </a:lnTo>
                  <a:lnTo>
                    <a:pt x="674" y="1972"/>
                  </a:lnTo>
                  <a:lnTo>
                    <a:pt x="672" y="1973"/>
                  </a:lnTo>
                  <a:lnTo>
                    <a:pt x="671" y="1975"/>
                  </a:lnTo>
                  <a:lnTo>
                    <a:pt x="671" y="1976"/>
                  </a:lnTo>
                  <a:lnTo>
                    <a:pt x="669" y="1976"/>
                  </a:lnTo>
                  <a:lnTo>
                    <a:pt x="669" y="1978"/>
                  </a:lnTo>
                  <a:lnTo>
                    <a:pt x="669" y="1980"/>
                  </a:lnTo>
                  <a:lnTo>
                    <a:pt x="667" y="1980"/>
                  </a:lnTo>
                  <a:lnTo>
                    <a:pt x="667" y="1978"/>
                  </a:lnTo>
                  <a:lnTo>
                    <a:pt x="667" y="1980"/>
                  </a:lnTo>
                  <a:lnTo>
                    <a:pt x="666" y="1980"/>
                  </a:lnTo>
                  <a:lnTo>
                    <a:pt x="666" y="1978"/>
                  </a:lnTo>
                  <a:lnTo>
                    <a:pt x="667" y="1978"/>
                  </a:lnTo>
                  <a:lnTo>
                    <a:pt x="666" y="1978"/>
                  </a:lnTo>
                  <a:lnTo>
                    <a:pt x="666" y="1976"/>
                  </a:lnTo>
                  <a:lnTo>
                    <a:pt x="667" y="1976"/>
                  </a:lnTo>
                  <a:lnTo>
                    <a:pt x="666" y="1976"/>
                  </a:lnTo>
                  <a:lnTo>
                    <a:pt x="667" y="1975"/>
                  </a:lnTo>
                  <a:lnTo>
                    <a:pt x="669" y="1975"/>
                  </a:lnTo>
                  <a:lnTo>
                    <a:pt x="667" y="1975"/>
                  </a:lnTo>
                  <a:lnTo>
                    <a:pt x="669" y="1975"/>
                  </a:lnTo>
                  <a:lnTo>
                    <a:pt x="667" y="1975"/>
                  </a:lnTo>
                  <a:lnTo>
                    <a:pt x="666" y="1975"/>
                  </a:lnTo>
                  <a:lnTo>
                    <a:pt x="666" y="1973"/>
                  </a:lnTo>
                  <a:lnTo>
                    <a:pt x="667" y="1973"/>
                  </a:lnTo>
                  <a:lnTo>
                    <a:pt x="667" y="1972"/>
                  </a:lnTo>
                  <a:lnTo>
                    <a:pt x="669" y="1972"/>
                  </a:lnTo>
                  <a:lnTo>
                    <a:pt x="667" y="1972"/>
                  </a:lnTo>
                  <a:lnTo>
                    <a:pt x="667" y="1973"/>
                  </a:lnTo>
                  <a:lnTo>
                    <a:pt x="666" y="1973"/>
                  </a:lnTo>
                  <a:lnTo>
                    <a:pt x="666" y="1975"/>
                  </a:lnTo>
                  <a:lnTo>
                    <a:pt x="666" y="1976"/>
                  </a:lnTo>
                  <a:lnTo>
                    <a:pt x="664" y="1976"/>
                  </a:lnTo>
                  <a:lnTo>
                    <a:pt x="662" y="1976"/>
                  </a:lnTo>
                  <a:lnTo>
                    <a:pt x="662" y="1975"/>
                  </a:lnTo>
                  <a:lnTo>
                    <a:pt x="662" y="1976"/>
                  </a:lnTo>
                  <a:lnTo>
                    <a:pt x="662" y="1978"/>
                  </a:lnTo>
                  <a:lnTo>
                    <a:pt x="661" y="1976"/>
                  </a:lnTo>
                  <a:lnTo>
                    <a:pt x="662" y="1976"/>
                  </a:lnTo>
                  <a:lnTo>
                    <a:pt x="661" y="1975"/>
                  </a:lnTo>
                  <a:lnTo>
                    <a:pt x="659" y="1975"/>
                  </a:lnTo>
                  <a:lnTo>
                    <a:pt x="661" y="1975"/>
                  </a:lnTo>
                  <a:lnTo>
                    <a:pt x="662" y="1975"/>
                  </a:lnTo>
                  <a:lnTo>
                    <a:pt x="664" y="1975"/>
                  </a:lnTo>
                  <a:lnTo>
                    <a:pt x="664" y="1973"/>
                  </a:lnTo>
                  <a:lnTo>
                    <a:pt x="664" y="1975"/>
                  </a:lnTo>
                  <a:lnTo>
                    <a:pt x="662" y="1975"/>
                  </a:lnTo>
                  <a:lnTo>
                    <a:pt x="661" y="1975"/>
                  </a:lnTo>
                  <a:lnTo>
                    <a:pt x="661" y="1973"/>
                  </a:lnTo>
                  <a:lnTo>
                    <a:pt x="659" y="1973"/>
                  </a:lnTo>
                  <a:lnTo>
                    <a:pt x="659" y="1972"/>
                  </a:lnTo>
                  <a:lnTo>
                    <a:pt x="659" y="1973"/>
                  </a:lnTo>
                  <a:lnTo>
                    <a:pt x="657" y="1973"/>
                  </a:lnTo>
                  <a:lnTo>
                    <a:pt x="657" y="1972"/>
                  </a:lnTo>
                  <a:lnTo>
                    <a:pt x="656" y="1972"/>
                  </a:lnTo>
                  <a:lnTo>
                    <a:pt x="657" y="1973"/>
                  </a:lnTo>
                  <a:lnTo>
                    <a:pt x="656" y="1973"/>
                  </a:lnTo>
                  <a:lnTo>
                    <a:pt x="657" y="1973"/>
                  </a:lnTo>
                  <a:lnTo>
                    <a:pt x="656" y="1973"/>
                  </a:lnTo>
                  <a:lnTo>
                    <a:pt x="657" y="1973"/>
                  </a:lnTo>
                  <a:lnTo>
                    <a:pt x="657" y="1975"/>
                  </a:lnTo>
                  <a:lnTo>
                    <a:pt x="657" y="1976"/>
                  </a:lnTo>
                  <a:lnTo>
                    <a:pt x="657" y="1975"/>
                  </a:lnTo>
                  <a:lnTo>
                    <a:pt x="657" y="1976"/>
                  </a:lnTo>
                  <a:lnTo>
                    <a:pt x="656" y="1976"/>
                  </a:lnTo>
                  <a:lnTo>
                    <a:pt x="656" y="1978"/>
                  </a:lnTo>
                  <a:lnTo>
                    <a:pt x="654" y="1978"/>
                  </a:lnTo>
                  <a:lnTo>
                    <a:pt x="654" y="1976"/>
                  </a:lnTo>
                  <a:lnTo>
                    <a:pt x="654" y="1975"/>
                  </a:lnTo>
                  <a:lnTo>
                    <a:pt x="653" y="1975"/>
                  </a:lnTo>
                  <a:lnTo>
                    <a:pt x="654" y="1976"/>
                  </a:lnTo>
                  <a:lnTo>
                    <a:pt x="653" y="1976"/>
                  </a:lnTo>
                  <a:lnTo>
                    <a:pt x="651" y="1976"/>
                  </a:lnTo>
                  <a:lnTo>
                    <a:pt x="649" y="1976"/>
                  </a:lnTo>
                  <a:lnTo>
                    <a:pt x="651" y="1976"/>
                  </a:lnTo>
                  <a:lnTo>
                    <a:pt x="649" y="1975"/>
                  </a:lnTo>
                  <a:lnTo>
                    <a:pt x="648" y="1976"/>
                  </a:lnTo>
                  <a:lnTo>
                    <a:pt x="646" y="1975"/>
                  </a:lnTo>
                  <a:lnTo>
                    <a:pt x="644" y="1975"/>
                  </a:lnTo>
                  <a:lnTo>
                    <a:pt x="644" y="1976"/>
                  </a:lnTo>
                  <a:lnTo>
                    <a:pt x="643" y="1975"/>
                  </a:lnTo>
                  <a:lnTo>
                    <a:pt x="643" y="1973"/>
                  </a:lnTo>
                  <a:lnTo>
                    <a:pt x="641" y="1973"/>
                  </a:lnTo>
                  <a:lnTo>
                    <a:pt x="643" y="1973"/>
                  </a:lnTo>
                  <a:lnTo>
                    <a:pt x="643" y="1972"/>
                  </a:lnTo>
                  <a:lnTo>
                    <a:pt x="641" y="1972"/>
                  </a:lnTo>
                  <a:lnTo>
                    <a:pt x="641" y="1973"/>
                  </a:lnTo>
                  <a:lnTo>
                    <a:pt x="640" y="1972"/>
                  </a:lnTo>
                  <a:lnTo>
                    <a:pt x="641" y="1972"/>
                  </a:lnTo>
                  <a:lnTo>
                    <a:pt x="640" y="1972"/>
                  </a:lnTo>
                  <a:lnTo>
                    <a:pt x="640" y="1970"/>
                  </a:lnTo>
                  <a:lnTo>
                    <a:pt x="638" y="1970"/>
                  </a:lnTo>
                  <a:lnTo>
                    <a:pt x="638" y="1968"/>
                  </a:lnTo>
                  <a:lnTo>
                    <a:pt x="638" y="1967"/>
                  </a:lnTo>
                  <a:lnTo>
                    <a:pt x="640" y="1968"/>
                  </a:lnTo>
                  <a:lnTo>
                    <a:pt x="640" y="1967"/>
                  </a:lnTo>
                  <a:lnTo>
                    <a:pt x="638" y="1967"/>
                  </a:lnTo>
                  <a:lnTo>
                    <a:pt x="640" y="1967"/>
                  </a:lnTo>
                  <a:lnTo>
                    <a:pt x="641" y="1967"/>
                  </a:lnTo>
                  <a:lnTo>
                    <a:pt x="641" y="1965"/>
                  </a:lnTo>
                  <a:lnTo>
                    <a:pt x="643" y="1963"/>
                  </a:lnTo>
                  <a:lnTo>
                    <a:pt x="641" y="1963"/>
                  </a:lnTo>
                  <a:lnTo>
                    <a:pt x="643" y="1963"/>
                  </a:lnTo>
                  <a:lnTo>
                    <a:pt x="643" y="1962"/>
                  </a:lnTo>
                  <a:lnTo>
                    <a:pt x="643" y="1960"/>
                  </a:lnTo>
                  <a:lnTo>
                    <a:pt x="643" y="1959"/>
                  </a:lnTo>
                  <a:lnTo>
                    <a:pt x="644" y="1960"/>
                  </a:lnTo>
                  <a:lnTo>
                    <a:pt x="644" y="1959"/>
                  </a:lnTo>
                  <a:lnTo>
                    <a:pt x="644" y="1960"/>
                  </a:lnTo>
                  <a:lnTo>
                    <a:pt x="646" y="1960"/>
                  </a:lnTo>
                  <a:lnTo>
                    <a:pt x="648" y="1960"/>
                  </a:lnTo>
                  <a:lnTo>
                    <a:pt x="648" y="1959"/>
                  </a:lnTo>
                  <a:lnTo>
                    <a:pt x="648" y="1957"/>
                  </a:lnTo>
                  <a:lnTo>
                    <a:pt x="649" y="1957"/>
                  </a:lnTo>
                  <a:lnTo>
                    <a:pt x="651" y="1955"/>
                  </a:lnTo>
                  <a:lnTo>
                    <a:pt x="653" y="1955"/>
                  </a:lnTo>
                  <a:lnTo>
                    <a:pt x="653" y="1954"/>
                  </a:lnTo>
                  <a:lnTo>
                    <a:pt x="654" y="1954"/>
                  </a:lnTo>
                  <a:lnTo>
                    <a:pt x="654" y="1952"/>
                  </a:lnTo>
                  <a:lnTo>
                    <a:pt x="656" y="1952"/>
                  </a:lnTo>
                  <a:lnTo>
                    <a:pt x="657" y="1950"/>
                  </a:lnTo>
                  <a:lnTo>
                    <a:pt x="659" y="1950"/>
                  </a:lnTo>
                  <a:lnTo>
                    <a:pt x="661" y="1949"/>
                  </a:lnTo>
                  <a:lnTo>
                    <a:pt x="664" y="1947"/>
                  </a:lnTo>
                  <a:lnTo>
                    <a:pt x="666" y="1947"/>
                  </a:lnTo>
                  <a:lnTo>
                    <a:pt x="666" y="1945"/>
                  </a:lnTo>
                  <a:lnTo>
                    <a:pt x="667" y="1945"/>
                  </a:lnTo>
                  <a:lnTo>
                    <a:pt x="666" y="1945"/>
                  </a:lnTo>
                  <a:lnTo>
                    <a:pt x="664" y="1947"/>
                  </a:lnTo>
                  <a:lnTo>
                    <a:pt x="664" y="1945"/>
                  </a:lnTo>
                  <a:lnTo>
                    <a:pt x="662" y="1947"/>
                  </a:lnTo>
                  <a:lnTo>
                    <a:pt x="664" y="1947"/>
                  </a:lnTo>
                  <a:lnTo>
                    <a:pt x="662" y="1947"/>
                  </a:lnTo>
                  <a:lnTo>
                    <a:pt x="661" y="1947"/>
                  </a:lnTo>
                  <a:lnTo>
                    <a:pt x="661" y="1949"/>
                  </a:lnTo>
                  <a:lnTo>
                    <a:pt x="659" y="1949"/>
                  </a:lnTo>
                  <a:lnTo>
                    <a:pt x="657" y="1949"/>
                  </a:lnTo>
                  <a:lnTo>
                    <a:pt x="656" y="1949"/>
                  </a:lnTo>
                  <a:lnTo>
                    <a:pt x="656" y="1950"/>
                  </a:lnTo>
                  <a:lnTo>
                    <a:pt x="654" y="1950"/>
                  </a:lnTo>
                  <a:lnTo>
                    <a:pt x="654" y="1952"/>
                  </a:lnTo>
                  <a:lnTo>
                    <a:pt x="653" y="1952"/>
                  </a:lnTo>
                  <a:lnTo>
                    <a:pt x="653" y="1954"/>
                  </a:lnTo>
                  <a:lnTo>
                    <a:pt x="651" y="1954"/>
                  </a:lnTo>
                  <a:lnTo>
                    <a:pt x="649" y="1954"/>
                  </a:lnTo>
                  <a:lnTo>
                    <a:pt x="649" y="1952"/>
                  </a:lnTo>
                  <a:lnTo>
                    <a:pt x="649" y="1950"/>
                  </a:lnTo>
                  <a:lnTo>
                    <a:pt x="649" y="1949"/>
                  </a:lnTo>
                  <a:lnTo>
                    <a:pt x="648" y="1949"/>
                  </a:lnTo>
                  <a:lnTo>
                    <a:pt x="648" y="1947"/>
                  </a:lnTo>
                  <a:lnTo>
                    <a:pt x="648" y="1949"/>
                  </a:lnTo>
                  <a:lnTo>
                    <a:pt x="648" y="1947"/>
                  </a:lnTo>
                  <a:lnTo>
                    <a:pt x="646" y="1947"/>
                  </a:lnTo>
                  <a:lnTo>
                    <a:pt x="646" y="1945"/>
                  </a:lnTo>
                  <a:lnTo>
                    <a:pt x="648" y="1945"/>
                  </a:lnTo>
                  <a:lnTo>
                    <a:pt x="648" y="1944"/>
                  </a:lnTo>
                  <a:lnTo>
                    <a:pt x="646" y="1944"/>
                  </a:lnTo>
                  <a:lnTo>
                    <a:pt x="648" y="1944"/>
                  </a:lnTo>
                  <a:lnTo>
                    <a:pt x="646" y="1942"/>
                  </a:lnTo>
                  <a:lnTo>
                    <a:pt x="646" y="1944"/>
                  </a:lnTo>
                  <a:lnTo>
                    <a:pt x="646" y="1945"/>
                  </a:lnTo>
                  <a:lnTo>
                    <a:pt x="646" y="1947"/>
                  </a:lnTo>
                  <a:lnTo>
                    <a:pt x="646" y="1949"/>
                  </a:lnTo>
                  <a:lnTo>
                    <a:pt x="648" y="1949"/>
                  </a:lnTo>
                  <a:lnTo>
                    <a:pt x="648" y="1950"/>
                  </a:lnTo>
                  <a:lnTo>
                    <a:pt x="646" y="1950"/>
                  </a:lnTo>
                  <a:lnTo>
                    <a:pt x="644" y="1952"/>
                  </a:lnTo>
                  <a:lnTo>
                    <a:pt x="644" y="1950"/>
                  </a:lnTo>
                  <a:lnTo>
                    <a:pt x="643" y="1950"/>
                  </a:lnTo>
                  <a:lnTo>
                    <a:pt x="641" y="1950"/>
                  </a:lnTo>
                  <a:lnTo>
                    <a:pt x="638" y="1949"/>
                  </a:lnTo>
                  <a:lnTo>
                    <a:pt x="636" y="1949"/>
                  </a:lnTo>
                  <a:lnTo>
                    <a:pt x="636" y="1947"/>
                  </a:lnTo>
                  <a:lnTo>
                    <a:pt x="635" y="1949"/>
                  </a:lnTo>
                  <a:lnTo>
                    <a:pt x="635" y="1947"/>
                  </a:lnTo>
                  <a:lnTo>
                    <a:pt x="635" y="1949"/>
                  </a:lnTo>
                  <a:lnTo>
                    <a:pt x="633" y="1949"/>
                  </a:lnTo>
                  <a:lnTo>
                    <a:pt x="633" y="1947"/>
                  </a:lnTo>
                  <a:lnTo>
                    <a:pt x="631" y="1947"/>
                  </a:lnTo>
                  <a:lnTo>
                    <a:pt x="631" y="1945"/>
                  </a:lnTo>
                  <a:lnTo>
                    <a:pt x="631" y="1947"/>
                  </a:lnTo>
                  <a:lnTo>
                    <a:pt x="630" y="1947"/>
                  </a:lnTo>
                  <a:lnTo>
                    <a:pt x="630" y="1945"/>
                  </a:lnTo>
                  <a:lnTo>
                    <a:pt x="628" y="1945"/>
                  </a:lnTo>
                  <a:lnTo>
                    <a:pt x="627" y="1945"/>
                  </a:lnTo>
                  <a:lnTo>
                    <a:pt x="625" y="1944"/>
                  </a:lnTo>
                  <a:lnTo>
                    <a:pt x="623" y="1944"/>
                  </a:lnTo>
                  <a:lnTo>
                    <a:pt x="623" y="1942"/>
                  </a:lnTo>
                  <a:lnTo>
                    <a:pt x="622" y="1942"/>
                  </a:lnTo>
                  <a:lnTo>
                    <a:pt x="622" y="1941"/>
                  </a:lnTo>
                  <a:lnTo>
                    <a:pt x="622" y="1939"/>
                  </a:lnTo>
                  <a:lnTo>
                    <a:pt x="623" y="1939"/>
                  </a:lnTo>
                  <a:lnTo>
                    <a:pt x="623" y="1937"/>
                  </a:lnTo>
                  <a:lnTo>
                    <a:pt x="622" y="1937"/>
                  </a:lnTo>
                  <a:lnTo>
                    <a:pt x="622" y="1939"/>
                  </a:lnTo>
                  <a:lnTo>
                    <a:pt x="620" y="1939"/>
                  </a:lnTo>
                  <a:lnTo>
                    <a:pt x="618" y="1939"/>
                  </a:lnTo>
                  <a:lnTo>
                    <a:pt x="618" y="1937"/>
                  </a:lnTo>
                  <a:lnTo>
                    <a:pt x="617" y="1937"/>
                  </a:lnTo>
                  <a:lnTo>
                    <a:pt x="615" y="1937"/>
                  </a:lnTo>
                  <a:lnTo>
                    <a:pt x="614" y="1937"/>
                  </a:lnTo>
                  <a:lnTo>
                    <a:pt x="614" y="1936"/>
                  </a:lnTo>
                  <a:lnTo>
                    <a:pt x="612" y="1936"/>
                  </a:lnTo>
                  <a:lnTo>
                    <a:pt x="610" y="1934"/>
                  </a:lnTo>
                  <a:lnTo>
                    <a:pt x="610" y="1936"/>
                  </a:lnTo>
                  <a:lnTo>
                    <a:pt x="610" y="1934"/>
                  </a:lnTo>
                  <a:lnTo>
                    <a:pt x="609" y="1934"/>
                  </a:lnTo>
                  <a:lnTo>
                    <a:pt x="607" y="1932"/>
                  </a:lnTo>
                  <a:lnTo>
                    <a:pt x="605" y="1932"/>
                  </a:lnTo>
                  <a:lnTo>
                    <a:pt x="605" y="1931"/>
                  </a:lnTo>
                  <a:lnTo>
                    <a:pt x="604" y="1931"/>
                  </a:lnTo>
                  <a:lnTo>
                    <a:pt x="604" y="1929"/>
                  </a:lnTo>
                  <a:lnTo>
                    <a:pt x="605" y="1929"/>
                  </a:lnTo>
                  <a:lnTo>
                    <a:pt x="604" y="1929"/>
                  </a:lnTo>
                  <a:lnTo>
                    <a:pt x="602" y="1929"/>
                  </a:lnTo>
                  <a:lnTo>
                    <a:pt x="602" y="1928"/>
                  </a:lnTo>
                  <a:lnTo>
                    <a:pt x="602" y="1929"/>
                  </a:lnTo>
                  <a:lnTo>
                    <a:pt x="601" y="1929"/>
                  </a:lnTo>
                  <a:lnTo>
                    <a:pt x="601" y="1928"/>
                  </a:lnTo>
                  <a:lnTo>
                    <a:pt x="599" y="1928"/>
                  </a:lnTo>
                  <a:lnTo>
                    <a:pt x="599" y="1926"/>
                  </a:lnTo>
                  <a:lnTo>
                    <a:pt x="599" y="1924"/>
                  </a:lnTo>
                  <a:lnTo>
                    <a:pt x="599" y="1923"/>
                  </a:lnTo>
                  <a:lnTo>
                    <a:pt x="597" y="1923"/>
                  </a:lnTo>
                  <a:lnTo>
                    <a:pt x="597" y="1921"/>
                  </a:lnTo>
                  <a:lnTo>
                    <a:pt x="597" y="1919"/>
                  </a:lnTo>
                  <a:lnTo>
                    <a:pt x="597" y="1918"/>
                  </a:lnTo>
                  <a:lnTo>
                    <a:pt x="597" y="1916"/>
                  </a:lnTo>
                  <a:lnTo>
                    <a:pt x="597" y="1918"/>
                  </a:lnTo>
                  <a:lnTo>
                    <a:pt x="597" y="1919"/>
                  </a:lnTo>
                  <a:lnTo>
                    <a:pt x="597" y="1921"/>
                  </a:lnTo>
                  <a:lnTo>
                    <a:pt x="597" y="1923"/>
                  </a:lnTo>
                  <a:lnTo>
                    <a:pt x="596" y="1923"/>
                  </a:lnTo>
                  <a:lnTo>
                    <a:pt x="597" y="1923"/>
                  </a:lnTo>
                  <a:lnTo>
                    <a:pt x="596" y="1924"/>
                  </a:lnTo>
                  <a:lnTo>
                    <a:pt x="597" y="1924"/>
                  </a:lnTo>
                  <a:lnTo>
                    <a:pt x="596" y="1924"/>
                  </a:lnTo>
                  <a:lnTo>
                    <a:pt x="596" y="1923"/>
                  </a:lnTo>
                  <a:lnTo>
                    <a:pt x="594" y="1923"/>
                  </a:lnTo>
                  <a:lnTo>
                    <a:pt x="594" y="1921"/>
                  </a:lnTo>
                  <a:lnTo>
                    <a:pt x="592" y="1921"/>
                  </a:lnTo>
                  <a:lnTo>
                    <a:pt x="594" y="1919"/>
                  </a:lnTo>
                  <a:lnTo>
                    <a:pt x="592" y="1918"/>
                  </a:lnTo>
                  <a:lnTo>
                    <a:pt x="592" y="1916"/>
                  </a:lnTo>
                  <a:lnTo>
                    <a:pt x="591" y="1918"/>
                  </a:lnTo>
                  <a:lnTo>
                    <a:pt x="591" y="1919"/>
                  </a:lnTo>
                  <a:lnTo>
                    <a:pt x="591" y="1921"/>
                  </a:lnTo>
                  <a:lnTo>
                    <a:pt x="589" y="1921"/>
                  </a:lnTo>
                  <a:lnTo>
                    <a:pt x="588" y="1921"/>
                  </a:lnTo>
                  <a:lnTo>
                    <a:pt x="588" y="1919"/>
                  </a:lnTo>
                  <a:lnTo>
                    <a:pt x="589" y="1918"/>
                  </a:lnTo>
                  <a:lnTo>
                    <a:pt x="591" y="1918"/>
                  </a:lnTo>
                  <a:lnTo>
                    <a:pt x="589" y="1918"/>
                  </a:lnTo>
                  <a:lnTo>
                    <a:pt x="591" y="1918"/>
                  </a:lnTo>
                  <a:lnTo>
                    <a:pt x="589" y="1918"/>
                  </a:lnTo>
                  <a:lnTo>
                    <a:pt x="591" y="1916"/>
                  </a:lnTo>
                  <a:lnTo>
                    <a:pt x="592" y="1916"/>
                  </a:lnTo>
                  <a:lnTo>
                    <a:pt x="594" y="1916"/>
                  </a:lnTo>
                  <a:lnTo>
                    <a:pt x="594" y="1915"/>
                  </a:lnTo>
                  <a:lnTo>
                    <a:pt x="596" y="1915"/>
                  </a:lnTo>
                  <a:lnTo>
                    <a:pt x="596" y="1916"/>
                  </a:lnTo>
                  <a:lnTo>
                    <a:pt x="597" y="1916"/>
                  </a:lnTo>
                  <a:lnTo>
                    <a:pt x="596" y="1915"/>
                  </a:lnTo>
                  <a:lnTo>
                    <a:pt x="594" y="1915"/>
                  </a:lnTo>
                  <a:lnTo>
                    <a:pt x="592" y="1915"/>
                  </a:lnTo>
                  <a:lnTo>
                    <a:pt x="591" y="1915"/>
                  </a:lnTo>
                  <a:lnTo>
                    <a:pt x="591" y="1916"/>
                  </a:lnTo>
                  <a:lnTo>
                    <a:pt x="589" y="1916"/>
                  </a:lnTo>
                  <a:lnTo>
                    <a:pt x="589" y="1915"/>
                  </a:lnTo>
                  <a:lnTo>
                    <a:pt x="588" y="1915"/>
                  </a:lnTo>
                  <a:lnTo>
                    <a:pt x="589" y="1913"/>
                  </a:lnTo>
                  <a:lnTo>
                    <a:pt x="589" y="1915"/>
                  </a:lnTo>
                  <a:lnTo>
                    <a:pt x="589" y="1913"/>
                  </a:lnTo>
                  <a:lnTo>
                    <a:pt x="588" y="1913"/>
                  </a:lnTo>
                  <a:lnTo>
                    <a:pt x="588" y="1915"/>
                  </a:lnTo>
                  <a:lnTo>
                    <a:pt x="588" y="1913"/>
                  </a:lnTo>
                  <a:lnTo>
                    <a:pt x="586" y="1913"/>
                  </a:lnTo>
                  <a:lnTo>
                    <a:pt x="584" y="1913"/>
                  </a:lnTo>
                  <a:lnTo>
                    <a:pt x="586" y="1913"/>
                  </a:lnTo>
                  <a:lnTo>
                    <a:pt x="584" y="1913"/>
                  </a:lnTo>
                  <a:lnTo>
                    <a:pt x="584" y="1911"/>
                  </a:lnTo>
                  <a:lnTo>
                    <a:pt x="583" y="1911"/>
                  </a:lnTo>
                  <a:lnTo>
                    <a:pt x="583" y="1910"/>
                  </a:lnTo>
                  <a:lnTo>
                    <a:pt x="583" y="1908"/>
                  </a:lnTo>
                  <a:lnTo>
                    <a:pt x="583" y="1906"/>
                  </a:lnTo>
                  <a:lnTo>
                    <a:pt x="581" y="1906"/>
                  </a:lnTo>
                  <a:lnTo>
                    <a:pt x="579" y="1905"/>
                  </a:lnTo>
                  <a:lnTo>
                    <a:pt x="578" y="1905"/>
                  </a:lnTo>
                  <a:lnTo>
                    <a:pt x="576" y="1905"/>
                  </a:lnTo>
                  <a:lnTo>
                    <a:pt x="576" y="1903"/>
                  </a:lnTo>
                  <a:lnTo>
                    <a:pt x="575" y="1903"/>
                  </a:lnTo>
                  <a:lnTo>
                    <a:pt x="575" y="1902"/>
                  </a:lnTo>
                  <a:lnTo>
                    <a:pt x="573" y="1902"/>
                  </a:lnTo>
                  <a:lnTo>
                    <a:pt x="573" y="1900"/>
                  </a:lnTo>
                  <a:lnTo>
                    <a:pt x="573" y="1898"/>
                  </a:lnTo>
                  <a:lnTo>
                    <a:pt x="573" y="1897"/>
                  </a:lnTo>
                  <a:lnTo>
                    <a:pt x="571" y="1895"/>
                  </a:lnTo>
                  <a:lnTo>
                    <a:pt x="570" y="1892"/>
                  </a:lnTo>
                  <a:lnTo>
                    <a:pt x="570" y="1890"/>
                  </a:lnTo>
                  <a:lnTo>
                    <a:pt x="570" y="1889"/>
                  </a:lnTo>
                  <a:lnTo>
                    <a:pt x="568" y="1889"/>
                  </a:lnTo>
                  <a:lnTo>
                    <a:pt x="568" y="1887"/>
                  </a:lnTo>
                  <a:lnTo>
                    <a:pt x="566" y="1887"/>
                  </a:lnTo>
                  <a:lnTo>
                    <a:pt x="566" y="1885"/>
                  </a:lnTo>
                  <a:lnTo>
                    <a:pt x="566" y="1884"/>
                  </a:lnTo>
                  <a:lnTo>
                    <a:pt x="566" y="1882"/>
                  </a:lnTo>
                  <a:lnTo>
                    <a:pt x="566" y="1880"/>
                  </a:lnTo>
                  <a:lnTo>
                    <a:pt x="565" y="1880"/>
                  </a:lnTo>
                  <a:lnTo>
                    <a:pt x="566" y="1880"/>
                  </a:lnTo>
                  <a:lnTo>
                    <a:pt x="565" y="1880"/>
                  </a:lnTo>
                  <a:lnTo>
                    <a:pt x="565" y="1879"/>
                  </a:lnTo>
                  <a:lnTo>
                    <a:pt x="565" y="1877"/>
                  </a:lnTo>
                  <a:lnTo>
                    <a:pt x="565" y="1876"/>
                  </a:lnTo>
                  <a:lnTo>
                    <a:pt x="565" y="1874"/>
                  </a:lnTo>
                  <a:lnTo>
                    <a:pt x="563" y="1874"/>
                  </a:lnTo>
                  <a:lnTo>
                    <a:pt x="563" y="1872"/>
                  </a:lnTo>
                  <a:lnTo>
                    <a:pt x="563" y="1871"/>
                  </a:lnTo>
                  <a:lnTo>
                    <a:pt x="565" y="1871"/>
                  </a:lnTo>
                  <a:lnTo>
                    <a:pt x="566" y="1869"/>
                  </a:lnTo>
                  <a:lnTo>
                    <a:pt x="566" y="1867"/>
                  </a:lnTo>
                  <a:lnTo>
                    <a:pt x="568" y="1866"/>
                  </a:lnTo>
                  <a:lnTo>
                    <a:pt x="568" y="1864"/>
                  </a:lnTo>
                  <a:lnTo>
                    <a:pt x="566" y="1864"/>
                  </a:lnTo>
                  <a:lnTo>
                    <a:pt x="566" y="1863"/>
                  </a:lnTo>
                  <a:lnTo>
                    <a:pt x="568" y="1863"/>
                  </a:lnTo>
                  <a:lnTo>
                    <a:pt x="568" y="1861"/>
                  </a:lnTo>
                  <a:lnTo>
                    <a:pt x="570" y="1859"/>
                  </a:lnTo>
                  <a:lnTo>
                    <a:pt x="568" y="1859"/>
                  </a:lnTo>
                  <a:lnTo>
                    <a:pt x="568" y="1858"/>
                  </a:lnTo>
                  <a:lnTo>
                    <a:pt x="570" y="1858"/>
                  </a:lnTo>
                  <a:lnTo>
                    <a:pt x="568" y="1856"/>
                  </a:lnTo>
                  <a:lnTo>
                    <a:pt x="570" y="1856"/>
                  </a:lnTo>
                  <a:lnTo>
                    <a:pt x="571" y="1856"/>
                  </a:lnTo>
                  <a:lnTo>
                    <a:pt x="571" y="1854"/>
                  </a:lnTo>
                  <a:lnTo>
                    <a:pt x="571" y="1856"/>
                  </a:lnTo>
                  <a:lnTo>
                    <a:pt x="571" y="1854"/>
                  </a:lnTo>
                  <a:lnTo>
                    <a:pt x="571" y="1856"/>
                  </a:lnTo>
                  <a:lnTo>
                    <a:pt x="573" y="1854"/>
                  </a:lnTo>
                  <a:lnTo>
                    <a:pt x="573" y="1853"/>
                  </a:lnTo>
                  <a:lnTo>
                    <a:pt x="571" y="1853"/>
                  </a:lnTo>
                  <a:lnTo>
                    <a:pt x="571" y="1851"/>
                  </a:lnTo>
                  <a:lnTo>
                    <a:pt x="571" y="1850"/>
                  </a:lnTo>
                  <a:lnTo>
                    <a:pt x="571" y="1851"/>
                  </a:lnTo>
                  <a:lnTo>
                    <a:pt x="571" y="1850"/>
                  </a:lnTo>
                  <a:lnTo>
                    <a:pt x="571" y="1848"/>
                  </a:lnTo>
                  <a:lnTo>
                    <a:pt x="571" y="1850"/>
                  </a:lnTo>
                  <a:lnTo>
                    <a:pt x="573" y="1850"/>
                  </a:lnTo>
                  <a:lnTo>
                    <a:pt x="573" y="1848"/>
                  </a:lnTo>
                  <a:lnTo>
                    <a:pt x="571" y="1848"/>
                  </a:lnTo>
                  <a:lnTo>
                    <a:pt x="570" y="1848"/>
                  </a:lnTo>
                  <a:lnTo>
                    <a:pt x="570" y="1846"/>
                  </a:lnTo>
                  <a:lnTo>
                    <a:pt x="570" y="1845"/>
                  </a:lnTo>
                  <a:lnTo>
                    <a:pt x="571" y="1845"/>
                  </a:lnTo>
                  <a:lnTo>
                    <a:pt x="571" y="1843"/>
                  </a:lnTo>
                  <a:lnTo>
                    <a:pt x="573" y="1843"/>
                  </a:lnTo>
                  <a:lnTo>
                    <a:pt x="573" y="1845"/>
                  </a:lnTo>
                  <a:lnTo>
                    <a:pt x="575" y="1846"/>
                  </a:lnTo>
                  <a:lnTo>
                    <a:pt x="575" y="1848"/>
                  </a:lnTo>
                  <a:lnTo>
                    <a:pt x="575" y="1846"/>
                  </a:lnTo>
                  <a:lnTo>
                    <a:pt x="575" y="1848"/>
                  </a:lnTo>
                  <a:lnTo>
                    <a:pt x="575" y="1850"/>
                  </a:lnTo>
                  <a:lnTo>
                    <a:pt x="573" y="1851"/>
                  </a:lnTo>
                  <a:lnTo>
                    <a:pt x="575" y="1851"/>
                  </a:lnTo>
                  <a:lnTo>
                    <a:pt x="575" y="1853"/>
                  </a:lnTo>
                  <a:lnTo>
                    <a:pt x="576" y="1853"/>
                  </a:lnTo>
                  <a:lnTo>
                    <a:pt x="576" y="1851"/>
                  </a:lnTo>
                  <a:lnTo>
                    <a:pt x="578" y="1851"/>
                  </a:lnTo>
                  <a:lnTo>
                    <a:pt x="576" y="1850"/>
                  </a:lnTo>
                  <a:lnTo>
                    <a:pt x="578" y="1850"/>
                  </a:lnTo>
                  <a:lnTo>
                    <a:pt x="578" y="1848"/>
                  </a:lnTo>
                  <a:lnTo>
                    <a:pt x="579" y="1848"/>
                  </a:lnTo>
                  <a:lnTo>
                    <a:pt x="578" y="1846"/>
                  </a:lnTo>
                  <a:lnTo>
                    <a:pt x="576" y="1848"/>
                  </a:lnTo>
                  <a:lnTo>
                    <a:pt x="575" y="1848"/>
                  </a:lnTo>
                  <a:lnTo>
                    <a:pt x="576" y="1846"/>
                  </a:lnTo>
                  <a:lnTo>
                    <a:pt x="575" y="1845"/>
                  </a:lnTo>
                  <a:lnTo>
                    <a:pt x="575" y="1843"/>
                  </a:lnTo>
                  <a:lnTo>
                    <a:pt x="573" y="1843"/>
                  </a:lnTo>
                  <a:lnTo>
                    <a:pt x="573" y="1841"/>
                  </a:lnTo>
                  <a:lnTo>
                    <a:pt x="575" y="1841"/>
                  </a:lnTo>
                  <a:lnTo>
                    <a:pt x="573" y="1840"/>
                  </a:lnTo>
                  <a:lnTo>
                    <a:pt x="571" y="1840"/>
                  </a:lnTo>
                  <a:lnTo>
                    <a:pt x="570" y="1840"/>
                  </a:lnTo>
                  <a:lnTo>
                    <a:pt x="570" y="1838"/>
                  </a:lnTo>
                  <a:lnTo>
                    <a:pt x="571" y="1838"/>
                  </a:lnTo>
                  <a:lnTo>
                    <a:pt x="571" y="1837"/>
                  </a:lnTo>
                  <a:lnTo>
                    <a:pt x="571" y="1835"/>
                  </a:lnTo>
                  <a:lnTo>
                    <a:pt x="573" y="1835"/>
                  </a:lnTo>
                  <a:lnTo>
                    <a:pt x="571" y="1833"/>
                  </a:lnTo>
                  <a:lnTo>
                    <a:pt x="573" y="1833"/>
                  </a:lnTo>
                  <a:lnTo>
                    <a:pt x="571" y="1833"/>
                  </a:lnTo>
                  <a:lnTo>
                    <a:pt x="571" y="1832"/>
                  </a:lnTo>
                  <a:lnTo>
                    <a:pt x="573" y="1832"/>
                  </a:lnTo>
                  <a:lnTo>
                    <a:pt x="575" y="1833"/>
                  </a:lnTo>
                  <a:lnTo>
                    <a:pt x="573" y="1833"/>
                  </a:lnTo>
                  <a:lnTo>
                    <a:pt x="575" y="1835"/>
                  </a:lnTo>
                  <a:lnTo>
                    <a:pt x="576" y="1835"/>
                  </a:lnTo>
                  <a:lnTo>
                    <a:pt x="576" y="1837"/>
                  </a:lnTo>
                  <a:lnTo>
                    <a:pt x="578" y="1837"/>
                  </a:lnTo>
                  <a:lnTo>
                    <a:pt x="578" y="1838"/>
                  </a:lnTo>
                  <a:lnTo>
                    <a:pt x="579" y="1838"/>
                  </a:lnTo>
                  <a:lnTo>
                    <a:pt x="581" y="1840"/>
                  </a:lnTo>
                  <a:lnTo>
                    <a:pt x="581" y="1841"/>
                  </a:lnTo>
                  <a:lnTo>
                    <a:pt x="583" y="1841"/>
                  </a:lnTo>
                  <a:lnTo>
                    <a:pt x="584" y="1841"/>
                  </a:lnTo>
                  <a:lnTo>
                    <a:pt x="584" y="1843"/>
                  </a:lnTo>
                  <a:lnTo>
                    <a:pt x="586" y="1843"/>
                  </a:lnTo>
                  <a:lnTo>
                    <a:pt x="586" y="1845"/>
                  </a:lnTo>
                  <a:lnTo>
                    <a:pt x="584" y="1845"/>
                  </a:lnTo>
                  <a:lnTo>
                    <a:pt x="584" y="1846"/>
                  </a:lnTo>
                  <a:lnTo>
                    <a:pt x="584" y="1848"/>
                  </a:lnTo>
                  <a:lnTo>
                    <a:pt x="584" y="1850"/>
                  </a:lnTo>
                  <a:lnTo>
                    <a:pt x="583" y="1850"/>
                  </a:lnTo>
                  <a:lnTo>
                    <a:pt x="583" y="1851"/>
                  </a:lnTo>
                  <a:lnTo>
                    <a:pt x="583" y="1853"/>
                  </a:lnTo>
                  <a:lnTo>
                    <a:pt x="584" y="1853"/>
                  </a:lnTo>
                  <a:lnTo>
                    <a:pt x="584" y="1854"/>
                  </a:lnTo>
                  <a:lnTo>
                    <a:pt x="583" y="1854"/>
                  </a:lnTo>
                  <a:lnTo>
                    <a:pt x="583" y="1856"/>
                  </a:lnTo>
                  <a:lnTo>
                    <a:pt x="583" y="1858"/>
                  </a:lnTo>
                  <a:lnTo>
                    <a:pt x="583" y="1859"/>
                  </a:lnTo>
                  <a:lnTo>
                    <a:pt x="584" y="1858"/>
                  </a:lnTo>
                  <a:lnTo>
                    <a:pt x="584" y="1856"/>
                  </a:lnTo>
                  <a:lnTo>
                    <a:pt x="584" y="1854"/>
                  </a:lnTo>
                  <a:lnTo>
                    <a:pt x="586" y="1854"/>
                  </a:lnTo>
                  <a:lnTo>
                    <a:pt x="584" y="1853"/>
                  </a:lnTo>
                  <a:lnTo>
                    <a:pt x="586" y="1853"/>
                  </a:lnTo>
                  <a:lnTo>
                    <a:pt x="586" y="1851"/>
                  </a:lnTo>
                  <a:lnTo>
                    <a:pt x="586" y="1850"/>
                  </a:lnTo>
                  <a:lnTo>
                    <a:pt x="586" y="1848"/>
                  </a:lnTo>
                  <a:lnTo>
                    <a:pt x="588" y="1848"/>
                  </a:lnTo>
                  <a:lnTo>
                    <a:pt x="589" y="1850"/>
                  </a:lnTo>
                  <a:lnTo>
                    <a:pt x="591" y="1848"/>
                  </a:lnTo>
                  <a:lnTo>
                    <a:pt x="591" y="1846"/>
                  </a:lnTo>
                  <a:lnTo>
                    <a:pt x="592" y="1845"/>
                  </a:lnTo>
                  <a:lnTo>
                    <a:pt x="592" y="1843"/>
                  </a:lnTo>
                  <a:lnTo>
                    <a:pt x="594" y="1845"/>
                  </a:lnTo>
                  <a:lnTo>
                    <a:pt x="594" y="1843"/>
                  </a:lnTo>
                  <a:lnTo>
                    <a:pt x="596" y="1845"/>
                  </a:lnTo>
                  <a:lnTo>
                    <a:pt x="596" y="1846"/>
                  </a:lnTo>
                  <a:lnTo>
                    <a:pt x="597" y="1846"/>
                  </a:lnTo>
                  <a:lnTo>
                    <a:pt x="599" y="1846"/>
                  </a:lnTo>
                  <a:lnTo>
                    <a:pt x="601" y="1848"/>
                  </a:lnTo>
                  <a:lnTo>
                    <a:pt x="601" y="1850"/>
                  </a:lnTo>
                  <a:lnTo>
                    <a:pt x="601" y="1851"/>
                  </a:lnTo>
                  <a:lnTo>
                    <a:pt x="599" y="1851"/>
                  </a:lnTo>
                  <a:lnTo>
                    <a:pt x="601" y="1853"/>
                  </a:lnTo>
                  <a:lnTo>
                    <a:pt x="599" y="1853"/>
                  </a:lnTo>
                  <a:lnTo>
                    <a:pt x="601" y="1853"/>
                  </a:lnTo>
                  <a:lnTo>
                    <a:pt x="602" y="1854"/>
                  </a:lnTo>
                  <a:lnTo>
                    <a:pt x="602" y="1853"/>
                  </a:lnTo>
                  <a:lnTo>
                    <a:pt x="604" y="1853"/>
                  </a:lnTo>
                  <a:lnTo>
                    <a:pt x="604" y="1854"/>
                  </a:lnTo>
                  <a:lnTo>
                    <a:pt x="605" y="1854"/>
                  </a:lnTo>
                  <a:lnTo>
                    <a:pt x="607" y="1854"/>
                  </a:lnTo>
                  <a:lnTo>
                    <a:pt x="607" y="1856"/>
                  </a:lnTo>
                  <a:lnTo>
                    <a:pt x="607" y="1858"/>
                  </a:lnTo>
                  <a:lnTo>
                    <a:pt x="609" y="1858"/>
                  </a:lnTo>
                  <a:lnTo>
                    <a:pt x="610" y="1859"/>
                  </a:lnTo>
                  <a:lnTo>
                    <a:pt x="610" y="1861"/>
                  </a:lnTo>
                  <a:lnTo>
                    <a:pt x="612" y="1861"/>
                  </a:lnTo>
                  <a:lnTo>
                    <a:pt x="614" y="1863"/>
                  </a:lnTo>
                  <a:lnTo>
                    <a:pt x="615" y="1864"/>
                  </a:lnTo>
                  <a:lnTo>
                    <a:pt x="615" y="1863"/>
                  </a:lnTo>
                  <a:lnTo>
                    <a:pt x="617" y="1863"/>
                  </a:lnTo>
                  <a:lnTo>
                    <a:pt x="618" y="1863"/>
                  </a:lnTo>
                  <a:lnTo>
                    <a:pt x="620" y="1863"/>
                  </a:lnTo>
                  <a:lnTo>
                    <a:pt x="622" y="1863"/>
                  </a:lnTo>
                  <a:lnTo>
                    <a:pt x="622" y="1864"/>
                  </a:lnTo>
                  <a:lnTo>
                    <a:pt x="622" y="1863"/>
                  </a:lnTo>
                  <a:lnTo>
                    <a:pt x="620" y="1863"/>
                  </a:lnTo>
                  <a:lnTo>
                    <a:pt x="618" y="1863"/>
                  </a:lnTo>
                  <a:lnTo>
                    <a:pt x="617" y="1861"/>
                  </a:lnTo>
                  <a:lnTo>
                    <a:pt x="617" y="1863"/>
                  </a:lnTo>
                  <a:lnTo>
                    <a:pt x="615" y="1863"/>
                  </a:lnTo>
                  <a:lnTo>
                    <a:pt x="614" y="1861"/>
                  </a:lnTo>
                  <a:lnTo>
                    <a:pt x="612" y="1859"/>
                  </a:lnTo>
                  <a:lnTo>
                    <a:pt x="612" y="1858"/>
                  </a:lnTo>
                  <a:lnTo>
                    <a:pt x="612" y="1859"/>
                  </a:lnTo>
                  <a:lnTo>
                    <a:pt x="610" y="1858"/>
                  </a:lnTo>
                  <a:lnTo>
                    <a:pt x="610" y="1856"/>
                  </a:lnTo>
                  <a:lnTo>
                    <a:pt x="609" y="1856"/>
                  </a:lnTo>
                  <a:lnTo>
                    <a:pt x="610" y="1854"/>
                  </a:lnTo>
                  <a:lnTo>
                    <a:pt x="609" y="1854"/>
                  </a:lnTo>
                  <a:lnTo>
                    <a:pt x="609" y="1853"/>
                  </a:lnTo>
                  <a:lnTo>
                    <a:pt x="610" y="1853"/>
                  </a:lnTo>
                  <a:lnTo>
                    <a:pt x="610" y="1851"/>
                  </a:lnTo>
                  <a:lnTo>
                    <a:pt x="610" y="1850"/>
                  </a:lnTo>
                  <a:lnTo>
                    <a:pt x="612" y="1850"/>
                  </a:lnTo>
                  <a:lnTo>
                    <a:pt x="610" y="1850"/>
                  </a:lnTo>
                  <a:lnTo>
                    <a:pt x="612" y="1848"/>
                  </a:lnTo>
                  <a:lnTo>
                    <a:pt x="614" y="1846"/>
                  </a:lnTo>
                  <a:lnTo>
                    <a:pt x="614" y="1848"/>
                  </a:lnTo>
                  <a:lnTo>
                    <a:pt x="614" y="1846"/>
                  </a:lnTo>
                  <a:lnTo>
                    <a:pt x="615" y="1846"/>
                  </a:lnTo>
                  <a:lnTo>
                    <a:pt x="615" y="1845"/>
                  </a:lnTo>
                  <a:lnTo>
                    <a:pt x="617" y="1845"/>
                  </a:lnTo>
                  <a:lnTo>
                    <a:pt x="618" y="1843"/>
                  </a:lnTo>
                  <a:lnTo>
                    <a:pt x="620" y="1843"/>
                  </a:lnTo>
                  <a:lnTo>
                    <a:pt x="622" y="1841"/>
                  </a:lnTo>
                  <a:lnTo>
                    <a:pt x="623" y="1841"/>
                  </a:lnTo>
                  <a:lnTo>
                    <a:pt x="623" y="1840"/>
                  </a:lnTo>
                  <a:lnTo>
                    <a:pt x="625" y="1841"/>
                  </a:lnTo>
                  <a:lnTo>
                    <a:pt x="627" y="1841"/>
                  </a:lnTo>
                  <a:lnTo>
                    <a:pt x="627" y="1840"/>
                  </a:lnTo>
                  <a:lnTo>
                    <a:pt x="630" y="1840"/>
                  </a:lnTo>
                  <a:lnTo>
                    <a:pt x="631" y="1840"/>
                  </a:lnTo>
                  <a:lnTo>
                    <a:pt x="635" y="1838"/>
                  </a:lnTo>
                  <a:lnTo>
                    <a:pt x="638" y="1838"/>
                  </a:lnTo>
                  <a:lnTo>
                    <a:pt x="640" y="1838"/>
                  </a:lnTo>
                  <a:lnTo>
                    <a:pt x="641" y="1837"/>
                  </a:lnTo>
                  <a:lnTo>
                    <a:pt x="643" y="1837"/>
                  </a:lnTo>
                  <a:lnTo>
                    <a:pt x="644" y="1837"/>
                  </a:lnTo>
                  <a:lnTo>
                    <a:pt x="646" y="1837"/>
                  </a:lnTo>
                  <a:lnTo>
                    <a:pt x="646" y="1835"/>
                  </a:lnTo>
                  <a:lnTo>
                    <a:pt x="648" y="1837"/>
                  </a:lnTo>
                  <a:lnTo>
                    <a:pt x="648" y="1835"/>
                  </a:lnTo>
                  <a:lnTo>
                    <a:pt x="651" y="1835"/>
                  </a:lnTo>
                  <a:lnTo>
                    <a:pt x="651" y="1833"/>
                  </a:lnTo>
                  <a:lnTo>
                    <a:pt x="649" y="1835"/>
                  </a:lnTo>
                  <a:lnTo>
                    <a:pt x="648" y="1835"/>
                  </a:lnTo>
                  <a:lnTo>
                    <a:pt x="646" y="1835"/>
                  </a:lnTo>
                  <a:lnTo>
                    <a:pt x="644" y="1835"/>
                  </a:lnTo>
                  <a:lnTo>
                    <a:pt x="643" y="1837"/>
                  </a:lnTo>
                  <a:lnTo>
                    <a:pt x="641" y="1837"/>
                  </a:lnTo>
                  <a:lnTo>
                    <a:pt x="641" y="1835"/>
                  </a:lnTo>
                  <a:lnTo>
                    <a:pt x="640" y="1837"/>
                  </a:lnTo>
                  <a:lnTo>
                    <a:pt x="640" y="1835"/>
                  </a:lnTo>
                  <a:lnTo>
                    <a:pt x="640" y="1837"/>
                  </a:lnTo>
                  <a:lnTo>
                    <a:pt x="636" y="1837"/>
                  </a:lnTo>
                  <a:lnTo>
                    <a:pt x="633" y="1837"/>
                  </a:lnTo>
                  <a:lnTo>
                    <a:pt x="631" y="1838"/>
                  </a:lnTo>
                  <a:lnTo>
                    <a:pt x="630" y="1838"/>
                  </a:lnTo>
                  <a:lnTo>
                    <a:pt x="628" y="1838"/>
                  </a:lnTo>
                  <a:lnTo>
                    <a:pt x="627" y="1838"/>
                  </a:lnTo>
                  <a:lnTo>
                    <a:pt x="625" y="1838"/>
                  </a:lnTo>
                  <a:lnTo>
                    <a:pt x="623" y="1838"/>
                  </a:lnTo>
                  <a:lnTo>
                    <a:pt x="622" y="1840"/>
                  </a:lnTo>
                  <a:lnTo>
                    <a:pt x="620" y="1840"/>
                  </a:lnTo>
                  <a:lnTo>
                    <a:pt x="620" y="1841"/>
                  </a:lnTo>
                  <a:lnTo>
                    <a:pt x="620" y="1840"/>
                  </a:lnTo>
                  <a:lnTo>
                    <a:pt x="618" y="1841"/>
                  </a:lnTo>
                  <a:lnTo>
                    <a:pt x="617" y="1843"/>
                  </a:lnTo>
                  <a:lnTo>
                    <a:pt x="615" y="1845"/>
                  </a:lnTo>
                  <a:lnTo>
                    <a:pt x="614" y="1845"/>
                  </a:lnTo>
                  <a:lnTo>
                    <a:pt x="614" y="1846"/>
                  </a:lnTo>
                  <a:lnTo>
                    <a:pt x="612" y="1846"/>
                  </a:lnTo>
                  <a:lnTo>
                    <a:pt x="610" y="1848"/>
                  </a:lnTo>
                  <a:lnTo>
                    <a:pt x="610" y="1850"/>
                  </a:lnTo>
                  <a:lnTo>
                    <a:pt x="609" y="1851"/>
                  </a:lnTo>
                  <a:lnTo>
                    <a:pt x="609" y="1853"/>
                  </a:lnTo>
                  <a:lnTo>
                    <a:pt x="607" y="1853"/>
                  </a:lnTo>
                  <a:lnTo>
                    <a:pt x="607" y="1851"/>
                  </a:lnTo>
                  <a:lnTo>
                    <a:pt x="605" y="1851"/>
                  </a:lnTo>
                  <a:lnTo>
                    <a:pt x="605" y="1850"/>
                  </a:lnTo>
                  <a:lnTo>
                    <a:pt x="604" y="1850"/>
                  </a:lnTo>
                  <a:lnTo>
                    <a:pt x="604" y="1848"/>
                  </a:lnTo>
                  <a:lnTo>
                    <a:pt x="604" y="1846"/>
                  </a:lnTo>
                  <a:lnTo>
                    <a:pt x="602" y="1846"/>
                  </a:lnTo>
                  <a:lnTo>
                    <a:pt x="602" y="1845"/>
                  </a:lnTo>
                  <a:lnTo>
                    <a:pt x="602" y="1843"/>
                  </a:lnTo>
                  <a:lnTo>
                    <a:pt x="604" y="1843"/>
                  </a:lnTo>
                  <a:lnTo>
                    <a:pt x="604" y="1841"/>
                  </a:lnTo>
                  <a:lnTo>
                    <a:pt x="605" y="1841"/>
                  </a:lnTo>
                  <a:lnTo>
                    <a:pt x="605" y="1840"/>
                  </a:lnTo>
                  <a:lnTo>
                    <a:pt x="607" y="1840"/>
                  </a:lnTo>
                  <a:lnTo>
                    <a:pt x="609" y="1841"/>
                  </a:lnTo>
                  <a:lnTo>
                    <a:pt x="609" y="1840"/>
                  </a:lnTo>
                  <a:lnTo>
                    <a:pt x="607" y="1838"/>
                  </a:lnTo>
                  <a:lnTo>
                    <a:pt x="605" y="1837"/>
                  </a:lnTo>
                  <a:lnTo>
                    <a:pt x="605" y="1838"/>
                  </a:lnTo>
                  <a:lnTo>
                    <a:pt x="605" y="1837"/>
                  </a:lnTo>
                  <a:lnTo>
                    <a:pt x="604" y="1837"/>
                  </a:lnTo>
                  <a:lnTo>
                    <a:pt x="602" y="1837"/>
                  </a:lnTo>
                  <a:lnTo>
                    <a:pt x="601" y="1837"/>
                  </a:lnTo>
                  <a:lnTo>
                    <a:pt x="599" y="1837"/>
                  </a:lnTo>
                  <a:lnTo>
                    <a:pt x="599" y="1835"/>
                  </a:lnTo>
                  <a:lnTo>
                    <a:pt x="599" y="1833"/>
                  </a:lnTo>
                  <a:lnTo>
                    <a:pt x="597" y="1833"/>
                  </a:lnTo>
                  <a:lnTo>
                    <a:pt x="597" y="1832"/>
                  </a:lnTo>
                  <a:lnTo>
                    <a:pt x="597" y="1830"/>
                  </a:lnTo>
                  <a:lnTo>
                    <a:pt x="596" y="1830"/>
                  </a:lnTo>
                  <a:lnTo>
                    <a:pt x="596" y="1828"/>
                  </a:lnTo>
                  <a:lnTo>
                    <a:pt x="596" y="1827"/>
                  </a:lnTo>
                  <a:lnTo>
                    <a:pt x="597" y="1827"/>
                  </a:lnTo>
                  <a:lnTo>
                    <a:pt x="597" y="1825"/>
                  </a:lnTo>
                  <a:lnTo>
                    <a:pt x="599" y="1825"/>
                  </a:lnTo>
                  <a:lnTo>
                    <a:pt x="599" y="1824"/>
                  </a:lnTo>
                  <a:lnTo>
                    <a:pt x="601" y="1824"/>
                  </a:lnTo>
                  <a:lnTo>
                    <a:pt x="601" y="1822"/>
                  </a:lnTo>
                  <a:lnTo>
                    <a:pt x="602" y="1824"/>
                  </a:lnTo>
                  <a:lnTo>
                    <a:pt x="602" y="1822"/>
                  </a:lnTo>
                  <a:lnTo>
                    <a:pt x="604" y="1822"/>
                  </a:lnTo>
                  <a:lnTo>
                    <a:pt x="605" y="1824"/>
                  </a:lnTo>
                  <a:lnTo>
                    <a:pt x="609" y="1822"/>
                  </a:lnTo>
                  <a:lnTo>
                    <a:pt x="609" y="1820"/>
                  </a:lnTo>
                  <a:lnTo>
                    <a:pt x="610" y="1820"/>
                  </a:lnTo>
                  <a:lnTo>
                    <a:pt x="610" y="1822"/>
                  </a:lnTo>
                  <a:lnTo>
                    <a:pt x="610" y="1820"/>
                  </a:lnTo>
                  <a:lnTo>
                    <a:pt x="612" y="1820"/>
                  </a:lnTo>
                  <a:lnTo>
                    <a:pt x="614" y="1820"/>
                  </a:lnTo>
                  <a:lnTo>
                    <a:pt x="615" y="1820"/>
                  </a:lnTo>
                  <a:lnTo>
                    <a:pt x="617" y="1820"/>
                  </a:lnTo>
                  <a:lnTo>
                    <a:pt x="617" y="1819"/>
                  </a:lnTo>
                  <a:lnTo>
                    <a:pt x="615" y="1819"/>
                  </a:lnTo>
                  <a:lnTo>
                    <a:pt x="614" y="1819"/>
                  </a:lnTo>
                  <a:lnTo>
                    <a:pt x="612" y="1819"/>
                  </a:lnTo>
                  <a:lnTo>
                    <a:pt x="610" y="1819"/>
                  </a:lnTo>
                  <a:lnTo>
                    <a:pt x="609" y="1819"/>
                  </a:lnTo>
                  <a:lnTo>
                    <a:pt x="607" y="1820"/>
                  </a:lnTo>
                  <a:lnTo>
                    <a:pt x="607" y="1819"/>
                  </a:lnTo>
                  <a:lnTo>
                    <a:pt x="605" y="1819"/>
                  </a:lnTo>
                  <a:lnTo>
                    <a:pt x="607" y="1819"/>
                  </a:lnTo>
                  <a:lnTo>
                    <a:pt x="607" y="1817"/>
                  </a:lnTo>
                  <a:lnTo>
                    <a:pt x="607" y="1815"/>
                  </a:lnTo>
                  <a:lnTo>
                    <a:pt x="609" y="1815"/>
                  </a:lnTo>
                  <a:lnTo>
                    <a:pt x="609" y="1814"/>
                  </a:lnTo>
                  <a:lnTo>
                    <a:pt x="609" y="1812"/>
                  </a:lnTo>
                  <a:lnTo>
                    <a:pt x="610" y="1812"/>
                  </a:lnTo>
                  <a:lnTo>
                    <a:pt x="612" y="1812"/>
                  </a:lnTo>
                  <a:lnTo>
                    <a:pt x="612" y="1810"/>
                  </a:lnTo>
                  <a:lnTo>
                    <a:pt x="610" y="1810"/>
                  </a:lnTo>
                  <a:lnTo>
                    <a:pt x="610" y="1809"/>
                  </a:lnTo>
                  <a:lnTo>
                    <a:pt x="612" y="1809"/>
                  </a:lnTo>
                  <a:lnTo>
                    <a:pt x="614" y="1809"/>
                  </a:lnTo>
                  <a:lnTo>
                    <a:pt x="615" y="1809"/>
                  </a:lnTo>
                  <a:lnTo>
                    <a:pt x="615" y="1807"/>
                  </a:lnTo>
                  <a:lnTo>
                    <a:pt x="617" y="1806"/>
                  </a:lnTo>
                  <a:lnTo>
                    <a:pt x="617" y="1807"/>
                  </a:lnTo>
                  <a:lnTo>
                    <a:pt x="618" y="1806"/>
                  </a:lnTo>
                  <a:lnTo>
                    <a:pt x="618" y="1804"/>
                  </a:lnTo>
                  <a:lnTo>
                    <a:pt x="620" y="1802"/>
                  </a:lnTo>
                  <a:lnTo>
                    <a:pt x="622" y="1802"/>
                  </a:lnTo>
                  <a:lnTo>
                    <a:pt x="625" y="1802"/>
                  </a:lnTo>
                  <a:lnTo>
                    <a:pt x="627" y="1801"/>
                  </a:lnTo>
                  <a:lnTo>
                    <a:pt x="628" y="1801"/>
                  </a:lnTo>
                  <a:lnTo>
                    <a:pt x="628" y="1802"/>
                  </a:lnTo>
                  <a:lnTo>
                    <a:pt x="630" y="1802"/>
                  </a:lnTo>
                  <a:lnTo>
                    <a:pt x="630" y="1801"/>
                  </a:lnTo>
                  <a:lnTo>
                    <a:pt x="630" y="1799"/>
                  </a:lnTo>
                  <a:lnTo>
                    <a:pt x="631" y="1799"/>
                  </a:lnTo>
                  <a:lnTo>
                    <a:pt x="633" y="1797"/>
                  </a:lnTo>
                  <a:lnTo>
                    <a:pt x="635" y="1797"/>
                  </a:lnTo>
                  <a:lnTo>
                    <a:pt x="636" y="1797"/>
                  </a:lnTo>
                  <a:lnTo>
                    <a:pt x="636" y="1796"/>
                  </a:lnTo>
                  <a:lnTo>
                    <a:pt x="640" y="1796"/>
                  </a:lnTo>
                  <a:lnTo>
                    <a:pt x="641" y="1796"/>
                  </a:lnTo>
                  <a:lnTo>
                    <a:pt x="643" y="1796"/>
                  </a:lnTo>
                  <a:lnTo>
                    <a:pt x="644" y="1796"/>
                  </a:lnTo>
                  <a:lnTo>
                    <a:pt x="646" y="1796"/>
                  </a:lnTo>
                  <a:lnTo>
                    <a:pt x="644" y="1796"/>
                  </a:lnTo>
                  <a:lnTo>
                    <a:pt x="643" y="1796"/>
                  </a:lnTo>
                  <a:lnTo>
                    <a:pt x="641" y="1796"/>
                  </a:lnTo>
                  <a:lnTo>
                    <a:pt x="641" y="1794"/>
                  </a:lnTo>
                  <a:lnTo>
                    <a:pt x="640" y="1794"/>
                  </a:lnTo>
                  <a:lnTo>
                    <a:pt x="638" y="1796"/>
                  </a:lnTo>
                  <a:lnTo>
                    <a:pt x="636" y="1794"/>
                  </a:lnTo>
                  <a:lnTo>
                    <a:pt x="635" y="1794"/>
                  </a:lnTo>
                  <a:lnTo>
                    <a:pt x="633" y="1794"/>
                  </a:lnTo>
                  <a:lnTo>
                    <a:pt x="635" y="1794"/>
                  </a:lnTo>
                  <a:lnTo>
                    <a:pt x="633" y="1794"/>
                  </a:lnTo>
                  <a:lnTo>
                    <a:pt x="631" y="1796"/>
                  </a:lnTo>
                  <a:lnTo>
                    <a:pt x="630" y="1797"/>
                  </a:lnTo>
                  <a:lnTo>
                    <a:pt x="628" y="1797"/>
                  </a:lnTo>
                  <a:lnTo>
                    <a:pt x="628" y="1799"/>
                  </a:lnTo>
                  <a:lnTo>
                    <a:pt x="627" y="1799"/>
                  </a:lnTo>
                  <a:lnTo>
                    <a:pt x="625" y="1799"/>
                  </a:lnTo>
                  <a:lnTo>
                    <a:pt x="623" y="1801"/>
                  </a:lnTo>
                  <a:lnTo>
                    <a:pt x="622" y="1801"/>
                  </a:lnTo>
                  <a:lnTo>
                    <a:pt x="620" y="1801"/>
                  </a:lnTo>
                  <a:lnTo>
                    <a:pt x="618" y="1802"/>
                  </a:lnTo>
                  <a:lnTo>
                    <a:pt x="617" y="1802"/>
                  </a:lnTo>
                  <a:lnTo>
                    <a:pt x="617" y="1801"/>
                  </a:lnTo>
                  <a:lnTo>
                    <a:pt x="615" y="1801"/>
                  </a:lnTo>
                  <a:lnTo>
                    <a:pt x="615" y="1799"/>
                  </a:lnTo>
                  <a:lnTo>
                    <a:pt x="614" y="1799"/>
                  </a:lnTo>
                  <a:lnTo>
                    <a:pt x="614" y="1797"/>
                  </a:lnTo>
                  <a:lnTo>
                    <a:pt x="614" y="1796"/>
                  </a:lnTo>
                  <a:lnTo>
                    <a:pt x="615" y="1796"/>
                  </a:lnTo>
                  <a:lnTo>
                    <a:pt x="617" y="1796"/>
                  </a:lnTo>
                  <a:lnTo>
                    <a:pt x="618" y="1796"/>
                  </a:lnTo>
                  <a:lnTo>
                    <a:pt x="620" y="1796"/>
                  </a:lnTo>
                  <a:lnTo>
                    <a:pt x="623" y="1796"/>
                  </a:lnTo>
                  <a:lnTo>
                    <a:pt x="625" y="1796"/>
                  </a:lnTo>
                  <a:lnTo>
                    <a:pt x="625" y="1797"/>
                  </a:lnTo>
                  <a:lnTo>
                    <a:pt x="625" y="1796"/>
                  </a:lnTo>
                  <a:lnTo>
                    <a:pt x="625" y="1794"/>
                  </a:lnTo>
                  <a:lnTo>
                    <a:pt x="627" y="1796"/>
                  </a:lnTo>
                  <a:lnTo>
                    <a:pt x="627" y="1794"/>
                  </a:lnTo>
                  <a:lnTo>
                    <a:pt x="625" y="1794"/>
                  </a:lnTo>
                  <a:lnTo>
                    <a:pt x="625" y="1793"/>
                  </a:lnTo>
                  <a:lnTo>
                    <a:pt x="623" y="1793"/>
                  </a:lnTo>
                  <a:lnTo>
                    <a:pt x="623" y="1791"/>
                  </a:lnTo>
                  <a:lnTo>
                    <a:pt x="623" y="1789"/>
                  </a:lnTo>
                  <a:lnTo>
                    <a:pt x="623" y="1786"/>
                  </a:lnTo>
                  <a:lnTo>
                    <a:pt x="622" y="1784"/>
                  </a:lnTo>
                  <a:lnTo>
                    <a:pt x="622" y="1786"/>
                  </a:lnTo>
                  <a:lnTo>
                    <a:pt x="622" y="1788"/>
                  </a:lnTo>
                  <a:lnTo>
                    <a:pt x="623" y="1789"/>
                  </a:lnTo>
                  <a:lnTo>
                    <a:pt x="622" y="1789"/>
                  </a:lnTo>
                  <a:lnTo>
                    <a:pt x="622" y="1791"/>
                  </a:lnTo>
                  <a:lnTo>
                    <a:pt x="623" y="1791"/>
                  </a:lnTo>
                  <a:lnTo>
                    <a:pt x="623" y="1793"/>
                  </a:lnTo>
                  <a:lnTo>
                    <a:pt x="623" y="1794"/>
                  </a:lnTo>
                  <a:lnTo>
                    <a:pt x="622" y="1794"/>
                  </a:lnTo>
                  <a:lnTo>
                    <a:pt x="620" y="1794"/>
                  </a:lnTo>
                  <a:lnTo>
                    <a:pt x="620" y="1793"/>
                  </a:lnTo>
                  <a:lnTo>
                    <a:pt x="622" y="1793"/>
                  </a:lnTo>
                  <a:lnTo>
                    <a:pt x="622" y="1791"/>
                  </a:lnTo>
                  <a:lnTo>
                    <a:pt x="620" y="1791"/>
                  </a:lnTo>
                  <a:lnTo>
                    <a:pt x="620" y="1793"/>
                  </a:lnTo>
                  <a:lnTo>
                    <a:pt x="620" y="1794"/>
                  </a:lnTo>
                  <a:lnTo>
                    <a:pt x="618" y="1794"/>
                  </a:lnTo>
                  <a:lnTo>
                    <a:pt x="617" y="1796"/>
                  </a:lnTo>
                  <a:lnTo>
                    <a:pt x="617" y="1794"/>
                  </a:lnTo>
                  <a:lnTo>
                    <a:pt x="617" y="1796"/>
                  </a:lnTo>
                  <a:lnTo>
                    <a:pt x="617" y="1794"/>
                  </a:lnTo>
                  <a:lnTo>
                    <a:pt x="615" y="1794"/>
                  </a:lnTo>
                  <a:lnTo>
                    <a:pt x="614" y="1794"/>
                  </a:lnTo>
                  <a:lnTo>
                    <a:pt x="614" y="1793"/>
                  </a:lnTo>
                  <a:lnTo>
                    <a:pt x="612" y="1791"/>
                  </a:lnTo>
                  <a:lnTo>
                    <a:pt x="614" y="1791"/>
                  </a:lnTo>
                  <a:lnTo>
                    <a:pt x="614" y="1789"/>
                  </a:lnTo>
                  <a:lnTo>
                    <a:pt x="614" y="1788"/>
                  </a:lnTo>
                  <a:lnTo>
                    <a:pt x="614" y="1789"/>
                  </a:lnTo>
                  <a:lnTo>
                    <a:pt x="612" y="1789"/>
                  </a:lnTo>
                  <a:lnTo>
                    <a:pt x="612" y="1791"/>
                  </a:lnTo>
                  <a:lnTo>
                    <a:pt x="612" y="1789"/>
                  </a:lnTo>
                  <a:lnTo>
                    <a:pt x="612" y="1791"/>
                  </a:lnTo>
                  <a:lnTo>
                    <a:pt x="612" y="1793"/>
                  </a:lnTo>
                  <a:lnTo>
                    <a:pt x="610" y="1793"/>
                  </a:lnTo>
                  <a:lnTo>
                    <a:pt x="609" y="1793"/>
                  </a:lnTo>
                  <a:lnTo>
                    <a:pt x="609" y="1791"/>
                  </a:lnTo>
                  <a:lnTo>
                    <a:pt x="609" y="1793"/>
                  </a:lnTo>
                  <a:lnTo>
                    <a:pt x="607" y="1793"/>
                  </a:lnTo>
                  <a:lnTo>
                    <a:pt x="607" y="1791"/>
                  </a:lnTo>
                  <a:lnTo>
                    <a:pt x="609" y="1789"/>
                  </a:lnTo>
                  <a:lnTo>
                    <a:pt x="609" y="1788"/>
                  </a:lnTo>
                  <a:lnTo>
                    <a:pt x="609" y="1786"/>
                  </a:lnTo>
                  <a:lnTo>
                    <a:pt x="610" y="1786"/>
                  </a:lnTo>
                  <a:lnTo>
                    <a:pt x="610" y="1784"/>
                  </a:lnTo>
                  <a:lnTo>
                    <a:pt x="612" y="1784"/>
                  </a:lnTo>
                  <a:lnTo>
                    <a:pt x="612" y="1783"/>
                  </a:lnTo>
                  <a:lnTo>
                    <a:pt x="614" y="1783"/>
                  </a:lnTo>
                  <a:lnTo>
                    <a:pt x="615" y="1783"/>
                  </a:lnTo>
                  <a:lnTo>
                    <a:pt x="617" y="1783"/>
                  </a:lnTo>
                  <a:lnTo>
                    <a:pt x="617" y="1781"/>
                  </a:lnTo>
                  <a:lnTo>
                    <a:pt x="615" y="1781"/>
                  </a:lnTo>
                  <a:lnTo>
                    <a:pt x="617" y="1781"/>
                  </a:lnTo>
                  <a:lnTo>
                    <a:pt x="617" y="1780"/>
                  </a:lnTo>
                  <a:lnTo>
                    <a:pt x="618" y="1780"/>
                  </a:lnTo>
                  <a:lnTo>
                    <a:pt x="618" y="1778"/>
                  </a:lnTo>
                  <a:lnTo>
                    <a:pt x="620" y="1778"/>
                  </a:lnTo>
                  <a:lnTo>
                    <a:pt x="620" y="1780"/>
                  </a:lnTo>
                  <a:lnTo>
                    <a:pt x="618" y="1780"/>
                  </a:lnTo>
                  <a:lnTo>
                    <a:pt x="620" y="1780"/>
                  </a:lnTo>
                  <a:lnTo>
                    <a:pt x="620" y="1778"/>
                  </a:lnTo>
                  <a:lnTo>
                    <a:pt x="622" y="1778"/>
                  </a:lnTo>
                  <a:lnTo>
                    <a:pt x="622" y="1776"/>
                  </a:lnTo>
                  <a:lnTo>
                    <a:pt x="623" y="1778"/>
                  </a:lnTo>
                  <a:lnTo>
                    <a:pt x="622" y="1780"/>
                  </a:lnTo>
                  <a:lnTo>
                    <a:pt x="622" y="1781"/>
                  </a:lnTo>
                  <a:lnTo>
                    <a:pt x="622" y="1780"/>
                  </a:lnTo>
                  <a:lnTo>
                    <a:pt x="623" y="1780"/>
                  </a:lnTo>
                  <a:lnTo>
                    <a:pt x="623" y="1776"/>
                  </a:lnTo>
                  <a:lnTo>
                    <a:pt x="625" y="1776"/>
                  </a:lnTo>
                  <a:lnTo>
                    <a:pt x="623" y="1775"/>
                  </a:lnTo>
                  <a:lnTo>
                    <a:pt x="625" y="1775"/>
                  </a:lnTo>
                  <a:lnTo>
                    <a:pt x="625" y="1773"/>
                  </a:lnTo>
                  <a:lnTo>
                    <a:pt x="625" y="1771"/>
                  </a:lnTo>
                  <a:lnTo>
                    <a:pt x="625" y="1770"/>
                  </a:lnTo>
                  <a:lnTo>
                    <a:pt x="627" y="1768"/>
                  </a:lnTo>
                  <a:lnTo>
                    <a:pt x="630" y="1767"/>
                  </a:lnTo>
                  <a:lnTo>
                    <a:pt x="630" y="1768"/>
                  </a:lnTo>
                  <a:lnTo>
                    <a:pt x="630" y="1767"/>
                  </a:lnTo>
                  <a:lnTo>
                    <a:pt x="631" y="1767"/>
                  </a:lnTo>
                  <a:lnTo>
                    <a:pt x="633" y="1767"/>
                  </a:lnTo>
                  <a:lnTo>
                    <a:pt x="635" y="1765"/>
                  </a:lnTo>
                  <a:lnTo>
                    <a:pt x="636" y="1765"/>
                  </a:lnTo>
                  <a:lnTo>
                    <a:pt x="640" y="1763"/>
                  </a:lnTo>
                  <a:lnTo>
                    <a:pt x="641" y="1763"/>
                  </a:lnTo>
                  <a:lnTo>
                    <a:pt x="643" y="1763"/>
                  </a:lnTo>
                  <a:lnTo>
                    <a:pt x="643" y="1762"/>
                  </a:lnTo>
                  <a:lnTo>
                    <a:pt x="644" y="1763"/>
                  </a:lnTo>
                  <a:lnTo>
                    <a:pt x="644" y="1762"/>
                  </a:lnTo>
                  <a:lnTo>
                    <a:pt x="644" y="1763"/>
                  </a:lnTo>
                  <a:lnTo>
                    <a:pt x="646" y="1762"/>
                  </a:lnTo>
                  <a:lnTo>
                    <a:pt x="648" y="1762"/>
                  </a:lnTo>
                  <a:lnTo>
                    <a:pt x="649" y="1762"/>
                  </a:lnTo>
                  <a:lnTo>
                    <a:pt x="651" y="1762"/>
                  </a:lnTo>
                  <a:lnTo>
                    <a:pt x="649" y="1762"/>
                  </a:lnTo>
                  <a:lnTo>
                    <a:pt x="648" y="1762"/>
                  </a:lnTo>
                  <a:lnTo>
                    <a:pt x="644" y="1762"/>
                  </a:lnTo>
                  <a:lnTo>
                    <a:pt x="643" y="1762"/>
                  </a:lnTo>
                  <a:lnTo>
                    <a:pt x="641" y="1762"/>
                  </a:lnTo>
                  <a:lnTo>
                    <a:pt x="640" y="1762"/>
                  </a:lnTo>
                  <a:lnTo>
                    <a:pt x="638" y="1762"/>
                  </a:lnTo>
                  <a:lnTo>
                    <a:pt x="638" y="1763"/>
                  </a:lnTo>
                  <a:lnTo>
                    <a:pt x="636" y="1763"/>
                  </a:lnTo>
                  <a:lnTo>
                    <a:pt x="635" y="1763"/>
                  </a:lnTo>
                  <a:lnTo>
                    <a:pt x="633" y="1763"/>
                  </a:lnTo>
                  <a:lnTo>
                    <a:pt x="633" y="1765"/>
                  </a:lnTo>
                  <a:lnTo>
                    <a:pt x="631" y="1765"/>
                  </a:lnTo>
                  <a:lnTo>
                    <a:pt x="630" y="1765"/>
                  </a:lnTo>
                  <a:lnTo>
                    <a:pt x="628" y="1765"/>
                  </a:lnTo>
                  <a:lnTo>
                    <a:pt x="628" y="1767"/>
                  </a:lnTo>
                  <a:lnTo>
                    <a:pt x="627" y="1767"/>
                  </a:lnTo>
                  <a:lnTo>
                    <a:pt x="627" y="1765"/>
                  </a:lnTo>
                  <a:lnTo>
                    <a:pt x="628" y="1763"/>
                  </a:lnTo>
                  <a:lnTo>
                    <a:pt x="628" y="1762"/>
                  </a:lnTo>
                  <a:lnTo>
                    <a:pt x="630" y="1762"/>
                  </a:lnTo>
                  <a:lnTo>
                    <a:pt x="630" y="1760"/>
                  </a:lnTo>
                  <a:lnTo>
                    <a:pt x="631" y="1758"/>
                  </a:lnTo>
                  <a:lnTo>
                    <a:pt x="631" y="1757"/>
                  </a:lnTo>
                  <a:lnTo>
                    <a:pt x="631" y="1755"/>
                  </a:lnTo>
                  <a:lnTo>
                    <a:pt x="631" y="1754"/>
                  </a:lnTo>
                  <a:lnTo>
                    <a:pt x="631" y="1752"/>
                  </a:lnTo>
                  <a:lnTo>
                    <a:pt x="633" y="1750"/>
                  </a:lnTo>
                  <a:lnTo>
                    <a:pt x="635" y="1750"/>
                  </a:lnTo>
                  <a:lnTo>
                    <a:pt x="635" y="1749"/>
                  </a:lnTo>
                  <a:lnTo>
                    <a:pt x="633" y="1749"/>
                  </a:lnTo>
                  <a:lnTo>
                    <a:pt x="631" y="1749"/>
                  </a:lnTo>
                  <a:lnTo>
                    <a:pt x="630" y="1750"/>
                  </a:lnTo>
                  <a:lnTo>
                    <a:pt x="630" y="1752"/>
                  </a:lnTo>
                  <a:lnTo>
                    <a:pt x="630" y="1754"/>
                  </a:lnTo>
                  <a:lnTo>
                    <a:pt x="628" y="1755"/>
                  </a:lnTo>
                  <a:lnTo>
                    <a:pt x="630" y="1755"/>
                  </a:lnTo>
                  <a:lnTo>
                    <a:pt x="630" y="1757"/>
                  </a:lnTo>
                  <a:lnTo>
                    <a:pt x="630" y="1758"/>
                  </a:lnTo>
                  <a:lnTo>
                    <a:pt x="628" y="1758"/>
                  </a:lnTo>
                  <a:lnTo>
                    <a:pt x="628" y="1760"/>
                  </a:lnTo>
                  <a:lnTo>
                    <a:pt x="627" y="1760"/>
                  </a:lnTo>
                  <a:lnTo>
                    <a:pt x="627" y="1762"/>
                  </a:lnTo>
                  <a:lnTo>
                    <a:pt x="627" y="1763"/>
                  </a:lnTo>
                  <a:lnTo>
                    <a:pt x="627" y="1765"/>
                  </a:lnTo>
                  <a:lnTo>
                    <a:pt x="625" y="1767"/>
                  </a:lnTo>
                  <a:lnTo>
                    <a:pt x="623" y="1768"/>
                  </a:lnTo>
                  <a:lnTo>
                    <a:pt x="622" y="1768"/>
                  </a:lnTo>
                  <a:lnTo>
                    <a:pt x="622" y="1770"/>
                  </a:lnTo>
                  <a:lnTo>
                    <a:pt x="623" y="1771"/>
                  </a:lnTo>
                  <a:lnTo>
                    <a:pt x="623" y="1773"/>
                  </a:lnTo>
                  <a:lnTo>
                    <a:pt x="622" y="1773"/>
                  </a:lnTo>
                  <a:lnTo>
                    <a:pt x="622" y="1775"/>
                  </a:lnTo>
                  <a:lnTo>
                    <a:pt x="620" y="1775"/>
                  </a:lnTo>
                  <a:lnTo>
                    <a:pt x="620" y="1776"/>
                  </a:lnTo>
                  <a:lnTo>
                    <a:pt x="620" y="1778"/>
                  </a:lnTo>
                  <a:lnTo>
                    <a:pt x="618" y="1778"/>
                  </a:lnTo>
                  <a:lnTo>
                    <a:pt x="618" y="1780"/>
                  </a:lnTo>
                  <a:lnTo>
                    <a:pt x="617" y="1780"/>
                  </a:lnTo>
                  <a:lnTo>
                    <a:pt x="615" y="1780"/>
                  </a:lnTo>
                  <a:lnTo>
                    <a:pt x="615" y="1781"/>
                  </a:lnTo>
                  <a:lnTo>
                    <a:pt x="614" y="1781"/>
                  </a:lnTo>
                  <a:lnTo>
                    <a:pt x="612" y="1781"/>
                  </a:lnTo>
                  <a:lnTo>
                    <a:pt x="610" y="1781"/>
                  </a:lnTo>
                  <a:lnTo>
                    <a:pt x="610" y="1783"/>
                  </a:lnTo>
                  <a:lnTo>
                    <a:pt x="609" y="1783"/>
                  </a:lnTo>
                  <a:lnTo>
                    <a:pt x="609" y="1781"/>
                  </a:lnTo>
                  <a:lnTo>
                    <a:pt x="607" y="1781"/>
                  </a:lnTo>
                  <a:lnTo>
                    <a:pt x="607" y="1783"/>
                  </a:lnTo>
                  <a:lnTo>
                    <a:pt x="607" y="1781"/>
                  </a:lnTo>
                  <a:lnTo>
                    <a:pt x="607" y="1783"/>
                  </a:lnTo>
                  <a:lnTo>
                    <a:pt x="609" y="1783"/>
                  </a:lnTo>
                  <a:lnTo>
                    <a:pt x="607" y="1783"/>
                  </a:lnTo>
                  <a:lnTo>
                    <a:pt x="607" y="1784"/>
                  </a:lnTo>
                  <a:lnTo>
                    <a:pt x="607" y="1786"/>
                  </a:lnTo>
                  <a:lnTo>
                    <a:pt x="605" y="1786"/>
                  </a:lnTo>
                  <a:lnTo>
                    <a:pt x="604" y="1788"/>
                  </a:lnTo>
                  <a:lnTo>
                    <a:pt x="604" y="1789"/>
                  </a:lnTo>
                  <a:lnTo>
                    <a:pt x="604" y="1788"/>
                  </a:lnTo>
                  <a:lnTo>
                    <a:pt x="602" y="1788"/>
                  </a:lnTo>
                  <a:lnTo>
                    <a:pt x="604" y="1789"/>
                  </a:lnTo>
                  <a:lnTo>
                    <a:pt x="602" y="1789"/>
                  </a:lnTo>
                  <a:lnTo>
                    <a:pt x="602" y="1788"/>
                  </a:lnTo>
                  <a:lnTo>
                    <a:pt x="602" y="1786"/>
                  </a:lnTo>
                  <a:lnTo>
                    <a:pt x="601" y="1786"/>
                  </a:lnTo>
                  <a:lnTo>
                    <a:pt x="602" y="1784"/>
                  </a:lnTo>
                  <a:lnTo>
                    <a:pt x="601" y="1784"/>
                  </a:lnTo>
                  <a:lnTo>
                    <a:pt x="601" y="1783"/>
                  </a:lnTo>
                  <a:lnTo>
                    <a:pt x="601" y="1781"/>
                  </a:lnTo>
                  <a:lnTo>
                    <a:pt x="601" y="1780"/>
                  </a:lnTo>
                  <a:lnTo>
                    <a:pt x="601" y="1778"/>
                  </a:lnTo>
                  <a:lnTo>
                    <a:pt x="601" y="1776"/>
                  </a:lnTo>
                  <a:lnTo>
                    <a:pt x="601" y="1775"/>
                  </a:lnTo>
                  <a:lnTo>
                    <a:pt x="602" y="1775"/>
                  </a:lnTo>
                  <a:lnTo>
                    <a:pt x="604" y="1776"/>
                  </a:lnTo>
                  <a:lnTo>
                    <a:pt x="605" y="1776"/>
                  </a:lnTo>
                  <a:lnTo>
                    <a:pt x="607" y="1775"/>
                  </a:lnTo>
                  <a:lnTo>
                    <a:pt x="607" y="1776"/>
                  </a:lnTo>
                  <a:lnTo>
                    <a:pt x="609" y="1775"/>
                  </a:lnTo>
                  <a:lnTo>
                    <a:pt x="610" y="1775"/>
                  </a:lnTo>
                  <a:lnTo>
                    <a:pt x="614" y="1773"/>
                  </a:lnTo>
                  <a:lnTo>
                    <a:pt x="615" y="1773"/>
                  </a:lnTo>
                  <a:lnTo>
                    <a:pt x="617" y="1773"/>
                  </a:lnTo>
                  <a:lnTo>
                    <a:pt x="618" y="1773"/>
                  </a:lnTo>
                  <a:lnTo>
                    <a:pt x="620" y="1773"/>
                  </a:lnTo>
                  <a:lnTo>
                    <a:pt x="622" y="1773"/>
                  </a:lnTo>
                  <a:lnTo>
                    <a:pt x="622" y="1771"/>
                  </a:lnTo>
                  <a:lnTo>
                    <a:pt x="620" y="1771"/>
                  </a:lnTo>
                  <a:lnTo>
                    <a:pt x="618" y="1770"/>
                  </a:lnTo>
                  <a:lnTo>
                    <a:pt x="618" y="1771"/>
                  </a:lnTo>
                  <a:lnTo>
                    <a:pt x="617" y="1771"/>
                  </a:lnTo>
                  <a:lnTo>
                    <a:pt x="615" y="1771"/>
                  </a:lnTo>
                  <a:lnTo>
                    <a:pt x="614" y="1771"/>
                  </a:lnTo>
                  <a:lnTo>
                    <a:pt x="612" y="1771"/>
                  </a:lnTo>
                  <a:lnTo>
                    <a:pt x="610" y="1771"/>
                  </a:lnTo>
                  <a:lnTo>
                    <a:pt x="612" y="1771"/>
                  </a:lnTo>
                  <a:lnTo>
                    <a:pt x="610" y="1771"/>
                  </a:lnTo>
                  <a:lnTo>
                    <a:pt x="610" y="1773"/>
                  </a:lnTo>
                  <a:lnTo>
                    <a:pt x="609" y="1773"/>
                  </a:lnTo>
                  <a:lnTo>
                    <a:pt x="609" y="1771"/>
                  </a:lnTo>
                  <a:lnTo>
                    <a:pt x="607" y="1771"/>
                  </a:lnTo>
                  <a:lnTo>
                    <a:pt x="605" y="1771"/>
                  </a:lnTo>
                  <a:lnTo>
                    <a:pt x="604" y="1771"/>
                  </a:lnTo>
                  <a:lnTo>
                    <a:pt x="602" y="1771"/>
                  </a:lnTo>
                  <a:lnTo>
                    <a:pt x="601" y="1771"/>
                  </a:lnTo>
                  <a:lnTo>
                    <a:pt x="599" y="1771"/>
                  </a:lnTo>
                  <a:lnTo>
                    <a:pt x="599" y="1770"/>
                  </a:lnTo>
                  <a:lnTo>
                    <a:pt x="601" y="1768"/>
                  </a:lnTo>
                  <a:lnTo>
                    <a:pt x="599" y="1768"/>
                  </a:lnTo>
                  <a:lnTo>
                    <a:pt x="597" y="1767"/>
                  </a:lnTo>
                  <a:lnTo>
                    <a:pt x="597" y="1765"/>
                  </a:lnTo>
                  <a:lnTo>
                    <a:pt x="597" y="1763"/>
                  </a:lnTo>
                  <a:lnTo>
                    <a:pt x="597" y="1762"/>
                  </a:lnTo>
                  <a:lnTo>
                    <a:pt x="596" y="1762"/>
                  </a:lnTo>
                  <a:lnTo>
                    <a:pt x="596" y="1763"/>
                  </a:lnTo>
                  <a:lnTo>
                    <a:pt x="594" y="1763"/>
                  </a:lnTo>
                  <a:lnTo>
                    <a:pt x="594" y="1765"/>
                  </a:lnTo>
                  <a:lnTo>
                    <a:pt x="596" y="1768"/>
                  </a:lnTo>
                  <a:lnTo>
                    <a:pt x="596" y="1770"/>
                  </a:lnTo>
                  <a:lnTo>
                    <a:pt x="596" y="1771"/>
                  </a:lnTo>
                  <a:lnTo>
                    <a:pt x="596" y="1773"/>
                  </a:lnTo>
                  <a:lnTo>
                    <a:pt x="594" y="1773"/>
                  </a:lnTo>
                  <a:lnTo>
                    <a:pt x="594" y="1775"/>
                  </a:lnTo>
                  <a:lnTo>
                    <a:pt x="592" y="1775"/>
                  </a:lnTo>
                  <a:lnTo>
                    <a:pt x="591" y="1775"/>
                  </a:lnTo>
                  <a:lnTo>
                    <a:pt x="591" y="1776"/>
                  </a:lnTo>
                  <a:lnTo>
                    <a:pt x="589" y="1776"/>
                  </a:lnTo>
                  <a:lnTo>
                    <a:pt x="589" y="1775"/>
                  </a:lnTo>
                  <a:lnTo>
                    <a:pt x="589" y="1773"/>
                  </a:lnTo>
                  <a:lnTo>
                    <a:pt x="589" y="1771"/>
                  </a:lnTo>
                  <a:lnTo>
                    <a:pt x="588" y="1771"/>
                  </a:lnTo>
                  <a:lnTo>
                    <a:pt x="588" y="1770"/>
                  </a:lnTo>
                  <a:lnTo>
                    <a:pt x="588" y="1771"/>
                  </a:lnTo>
                  <a:lnTo>
                    <a:pt x="588" y="1773"/>
                  </a:lnTo>
                  <a:lnTo>
                    <a:pt x="588" y="1775"/>
                  </a:lnTo>
                  <a:lnTo>
                    <a:pt x="589" y="1775"/>
                  </a:lnTo>
                  <a:lnTo>
                    <a:pt x="588" y="1775"/>
                  </a:lnTo>
                  <a:lnTo>
                    <a:pt x="588" y="1776"/>
                  </a:lnTo>
                  <a:lnTo>
                    <a:pt x="589" y="1776"/>
                  </a:lnTo>
                  <a:lnTo>
                    <a:pt x="588" y="1778"/>
                  </a:lnTo>
                  <a:lnTo>
                    <a:pt x="586" y="1778"/>
                  </a:lnTo>
                  <a:lnTo>
                    <a:pt x="586" y="1780"/>
                  </a:lnTo>
                  <a:lnTo>
                    <a:pt x="584" y="1780"/>
                  </a:lnTo>
                  <a:lnTo>
                    <a:pt x="583" y="1780"/>
                  </a:lnTo>
                  <a:lnTo>
                    <a:pt x="583" y="1781"/>
                  </a:lnTo>
                  <a:lnTo>
                    <a:pt x="584" y="1781"/>
                  </a:lnTo>
                  <a:lnTo>
                    <a:pt x="586" y="1780"/>
                  </a:lnTo>
                  <a:lnTo>
                    <a:pt x="588" y="1780"/>
                  </a:lnTo>
                  <a:lnTo>
                    <a:pt x="588" y="1778"/>
                  </a:lnTo>
                  <a:lnTo>
                    <a:pt x="589" y="1780"/>
                  </a:lnTo>
                  <a:lnTo>
                    <a:pt x="589" y="1778"/>
                  </a:lnTo>
                  <a:lnTo>
                    <a:pt x="591" y="1778"/>
                  </a:lnTo>
                  <a:lnTo>
                    <a:pt x="592" y="1776"/>
                  </a:lnTo>
                  <a:lnTo>
                    <a:pt x="594" y="1776"/>
                  </a:lnTo>
                  <a:lnTo>
                    <a:pt x="596" y="1776"/>
                  </a:lnTo>
                  <a:lnTo>
                    <a:pt x="596" y="1778"/>
                  </a:lnTo>
                  <a:lnTo>
                    <a:pt x="596" y="1780"/>
                  </a:lnTo>
                  <a:lnTo>
                    <a:pt x="596" y="1781"/>
                  </a:lnTo>
                  <a:lnTo>
                    <a:pt x="597" y="1783"/>
                  </a:lnTo>
                  <a:lnTo>
                    <a:pt x="599" y="1784"/>
                  </a:lnTo>
                  <a:lnTo>
                    <a:pt x="599" y="1786"/>
                  </a:lnTo>
                  <a:lnTo>
                    <a:pt x="597" y="1786"/>
                  </a:lnTo>
                  <a:lnTo>
                    <a:pt x="599" y="1788"/>
                  </a:lnTo>
                  <a:lnTo>
                    <a:pt x="597" y="1789"/>
                  </a:lnTo>
                  <a:lnTo>
                    <a:pt x="597" y="1791"/>
                  </a:lnTo>
                  <a:lnTo>
                    <a:pt x="597" y="1789"/>
                  </a:lnTo>
                  <a:lnTo>
                    <a:pt x="596" y="1789"/>
                  </a:lnTo>
                  <a:lnTo>
                    <a:pt x="594" y="1789"/>
                  </a:lnTo>
                  <a:lnTo>
                    <a:pt x="594" y="1791"/>
                  </a:lnTo>
                  <a:lnTo>
                    <a:pt x="592" y="1791"/>
                  </a:lnTo>
                  <a:lnTo>
                    <a:pt x="592" y="1789"/>
                  </a:lnTo>
                  <a:lnTo>
                    <a:pt x="591" y="1789"/>
                  </a:lnTo>
                  <a:lnTo>
                    <a:pt x="591" y="1791"/>
                  </a:lnTo>
                  <a:lnTo>
                    <a:pt x="591" y="1793"/>
                  </a:lnTo>
                  <a:lnTo>
                    <a:pt x="589" y="1791"/>
                  </a:lnTo>
                  <a:lnTo>
                    <a:pt x="588" y="1791"/>
                  </a:lnTo>
                  <a:lnTo>
                    <a:pt x="588" y="1789"/>
                  </a:lnTo>
                  <a:lnTo>
                    <a:pt x="586" y="1791"/>
                  </a:lnTo>
                  <a:lnTo>
                    <a:pt x="588" y="1791"/>
                  </a:lnTo>
                  <a:lnTo>
                    <a:pt x="586" y="1793"/>
                  </a:lnTo>
                  <a:lnTo>
                    <a:pt x="584" y="1794"/>
                  </a:lnTo>
                  <a:lnTo>
                    <a:pt x="584" y="1796"/>
                  </a:lnTo>
                  <a:lnTo>
                    <a:pt x="583" y="1796"/>
                  </a:lnTo>
                  <a:lnTo>
                    <a:pt x="583" y="1794"/>
                  </a:lnTo>
                  <a:lnTo>
                    <a:pt x="583" y="1796"/>
                  </a:lnTo>
                  <a:lnTo>
                    <a:pt x="583" y="1794"/>
                  </a:lnTo>
                  <a:lnTo>
                    <a:pt x="581" y="1796"/>
                  </a:lnTo>
                  <a:lnTo>
                    <a:pt x="579" y="1797"/>
                  </a:lnTo>
                  <a:lnTo>
                    <a:pt x="581" y="1797"/>
                  </a:lnTo>
                  <a:lnTo>
                    <a:pt x="579" y="1799"/>
                  </a:lnTo>
                  <a:lnTo>
                    <a:pt x="581" y="1799"/>
                  </a:lnTo>
                  <a:lnTo>
                    <a:pt x="581" y="1797"/>
                  </a:lnTo>
                  <a:lnTo>
                    <a:pt x="581" y="1799"/>
                  </a:lnTo>
                  <a:lnTo>
                    <a:pt x="581" y="1801"/>
                  </a:lnTo>
                  <a:lnTo>
                    <a:pt x="581" y="1799"/>
                  </a:lnTo>
                  <a:lnTo>
                    <a:pt x="579" y="1799"/>
                  </a:lnTo>
                  <a:lnTo>
                    <a:pt x="579" y="1801"/>
                  </a:lnTo>
                  <a:lnTo>
                    <a:pt x="578" y="1801"/>
                  </a:lnTo>
                  <a:lnTo>
                    <a:pt x="578" y="1799"/>
                  </a:lnTo>
                  <a:lnTo>
                    <a:pt x="579" y="1797"/>
                  </a:lnTo>
                  <a:lnTo>
                    <a:pt x="579" y="1796"/>
                  </a:lnTo>
                  <a:lnTo>
                    <a:pt x="579" y="1794"/>
                  </a:lnTo>
                  <a:lnTo>
                    <a:pt x="579" y="1793"/>
                  </a:lnTo>
                  <a:lnTo>
                    <a:pt x="579" y="1791"/>
                  </a:lnTo>
                  <a:lnTo>
                    <a:pt x="581" y="1793"/>
                  </a:lnTo>
                  <a:lnTo>
                    <a:pt x="581" y="1791"/>
                  </a:lnTo>
                  <a:lnTo>
                    <a:pt x="583" y="1791"/>
                  </a:lnTo>
                  <a:lnTo>
                    <a:pt x="581" y="1789"/>
                  </a:lnTo>
                  <a:lnTo>
                    <a:pt x="581" y="1788"/>
                  </a:lnTo>
                  <a:lnTo>
                    <a:pt x="581" y="1786"/>
                  </a:lnTo>
                  <a:lnTo>
                    <a:pt x="579" y="1784"/>
                  </a:lnTo>
                  <a:lnTo>
                    <a:pt x="579" y="1783"/>
                  </a:lnTo>
                  <a:lnTo>
                    <a:pt x="579" y="1781"/>
                  </a:lnTo>
                  <a:lnTo>
                    <a:pt x="579" y="1780"/>
                  </a:lnTo>
                  <a:lnTo>
                    <a:pt x="579" y="1778"/>
                  </a:lnTo>
                  <a:lnTo>
                    <a:pt x="579" y="1776"/>
                  </a:lnTo>
                  <a:lnTo>
                    <a:pt x="579" y="1778"/>
                  </a:lnTo>
                  <a:lnTo>
                    <a:pt x="578" y="1778"/>
                  </a:lnTo>
                  <a:lnTo>
                    <a:pt x="578" y="1780"/>
                  </a:lnTo>
                  <a:lnTo>
                    <a:pt x="578" y="1778"/>
                  </a:lnTo>
                  <a:lnTo>
                    <a:pt x="576" y="1778"/>
                  </a:lnTo>
                  <a:lnTo>
                    <a:pt x="576" y="1780"/>
                  </a:lnTo>
                  <a:lnTo>
                    <a:pt x="578" y="1780"/>
                  </a:lnTo>
                  <a:lnTo>
                    <a:pt x="578" y="1781"/>
                  </a:lnTo>
                  <a:lnTo>
                    <a:pt x="579" y="1781"/>
                  </a:lnTo>
                  <a:lnTo>
                    <a:pt x="579" y="1783"/>
                  </a:lnTo>
                  <a:lnTo>
                    <a:pt x="578" y="1783"/>
                  </a:lnTo>
                  <a:lnTo>
                    <a:pt x="578" y="1784"/>
                  </a:lnTo>
                  <a:lnTo>
                    <a:pt x="578" y="1786"/>
                  </a:lnTo>
                  <a:lnTo>
                    <a:pt x="578" y="1788"/>
                  </a:lnTo>
                  <a:lnTo>
                    <a:pt x="578" y="1789"/>
                  </a:lnTo>
                  <a:lnTo>
                    <a:pt x="578" y="1791"/>
                  </a:lnTo>
                  <a:lnTo>
                    <a:pt x="576" y="1791"/>
                  </a:lnTo>
                  <a:lnTo>
                    <a:pt x="576" y="1793"/>
                  </a:lnTo>
                  <a:lnTo>
                    <a:pt x="575" y="1794"/>
                  </a:lnTo>
                  <a:lnTo>
                    <a:pt x="575" y="1796"/>
                  </a:lnTo>
                  <a:lnTo>
                    <a:pt x="573" y="1797"/>
                  </a:lnTo>
                  <a:lnTo>
                    <a:pt x="571" y="1799"/>
                  </a:lnTo>
                  <a:lnTo>
                    <a:pt x="571" y="1797"/>
                  </a:lnTo>
                  <a:lnTo>
                    <a:pt x="570" y="1799"/>
                  </a:lnTo>
                  <a:lnTo>
                    <a:pt x="568" y="1799"/>
                  </a:lnTo>
                  <a:lnTo>
                    <a:pt x="568" y="1797"/>
                  </a:lnTo>
                  <a:lnTo>
                    <a:pt x="568" y="1799"/>
                  </a:lnTo>
                  <a:lnTo>
                    <a:pt x="568" y="1797"/>
                  </a:lnTo>
                  <a:lnTo>
                    <a:pt x="566" y="1797"/>
                  </a:lnTo>
                  <a:lnTo>
                    <a:pt x="566" y="1796"/>
                  </a:lnTo>
                  <a:lnTo>
                    <a:pt x="566" y="1794"/>
                  </a:lnTo>
                  <a:lnTo>
                    <a:pt x="566" y="1793"/>
                  </a:lnTo>
                  <a:lnTo>
                    <a:pt x="565" y="1793"/>
                  </a:lnTo>
                  <a:lnTo>
                    <a:pt x="565" y="1794"/>
                  </a:lnTo>
                  <a:lnTo>
                    <a:pt x="565" y="1796"/>
                  </a:lnTo>
                  <a:lnTo>
                    <a:pt x="565" y="1794"/>
                  </a:lnTo>
                  <a:lnTo>
                    <a:pt x="563" y="1794"/>
                  </a:lnTo>
                  <a:lnTo>
                    <a:pt x="563" y="1796"/>
                  </a:lnTo>
                  <a:lnTo>
                    <a:pt x="563" y="1797"/>
                  </a:lnTo>
                  <a:lnTo>
                    <a:pt x="563" y="1796"/>
                  </a:lnTo>
                  <a:lnTo>
                    <a:pt x="563" y="1794"/>
                  </a:lnTo>
                  <a:lnTo>
                    <a:pt x="563" y="1796"/>
                  </a:lnTo>
                  <a:lnTo>
                    <a:pt x="563" y="1794"/>
                  </a:lnTo>
                  <a:lnTo>
                    <a:pt x="562" y="1794"/>
                  </a:lnTo>
                  <a:lnTo>
                    <a:pt x="562" y="1793"/>
                  </a:lnTo>
                  <a:lnTo>
                    <a:pt x="562" y="1791"/>
                  </a:lnTo>
                  <a:lnTo>
                    <a:pt x="562" y="1789"/>
                  </a:lnTo>
                  <a:lnTo>
                    <a:pt x="562" y="1788"/>
                  </a:lnTo>
                  <a:lnTo>
                    <a:pt x="563" y="1788"/>
                  </a:lnTo>
                  <a:lnTo>
                    <a:pt x="562" y="1788"/>
                  </a:lnTo>
                  <a:lnTo>
                    <a:pt x="562" y="1786"/>
                  </a:lnTo>
                  <a:lnTo>
                    <a:pt x="560" y="1784"/>
                  </a:lnTo>
                  <a:lnTo>
                    <a:pt x="562" y="1783"/>
                  </a:lnTo>
                  <a:lnTo>
                    <a:pt x="562" y="1781"/>
                  </a:lnTo>
                  <a:lnTo>
                    <a:pt x="563" y="1781"/>
                  </a:lnTo>
                  <a:lnTo>
                    <a:pt x="562" y="1781"/>
                  </a:lnTo>
                  <a:lnTo>
                    <a:pt x="562" y="1780"/>
                  </a:lnTo>
                  <a:lnTo>
                    <a:pt x="562" y="1778"/>
                  </a:lnTo>
                  <a:lnTo>
                    <a:pt x="562" y="1776"/>
                  </a:lnTo>
                  <a:lnTo>
                    <a:pt x="560" y="1778"/>
                  </a:lnTo>
                  <a:lnTo>
                    <a:pt x="560" y="1780"/>
                  </a:lnTo>
                  <a:lnTo>
                    <a:pt x="560" y="1781"/>
                  </a:lnTo>
                  <a:lnTo>
                    <a:pt x="560" y="1783"/>
                  </a:lnTo>
                  <a:lnTo>
                    <a:pt x="560" y="1784"/>
                  </a:lnTo>
                  <a:lnTo>
                    <a:pt x="560" y="1786"/>
                  </a:lnTo>
                  <a:lnTo>
                    <a:pt x="560" y="1788"/>
                  </a:lnTo>
                  <a:lnTo>
                    <a:pt x="560" y="1789"/>
                  </a:lnTo>
                  <a:lnTo>
                    <a:pt x="560" y="1791"/>
                  </a:lnTo>
                  <a:lnTo>
                    <a:pt x="560" y="1793"/>
                  </a:lnTo>
                  <a:lnTo>
                    <a:pt x="560" y="1794"/>
                  </a:lnTo>
                  <a:lnTo>
                    <a:pt x="558" y="1794"/>
                  </a:lnTo>
                  <a:lnTo>
                    <a:pt x="560" y="1794"/>
                  </a:lnTo>
                  <a:lnTo>
                    <a:pt x="560" y="1796"/>
                  </a:lnTo>
                  <a:lnTo>
                    <a:pt x="558" y="1797"/>
                  </a:lnTo>
                  <a:lnTo>
                    <a:pt x="558" y="1796"/>
                  </a:lnTo>
                  <a:lnTo>
                    <a:pt x="558" y="1797"/>
                  </a:lnTo>
                  <a:lnTo>
                    <a:pt x="557" y="1797"/>
                  </a:lnTo>
                  <a:lnTo>
                    <a:pt x="557" y="1796"/>
                  </a:lnTo>
                  <a:lnTo>
                    <a:pt x="557" y="1794"/>
                  </a:lnTo>
                  <a:lnTo>
                    <a:pt x="557" y="1791"/>
                  </a:lnTo>
                  <a:lnTo>
                    <a:pt x="558" y="1791"/>
                  </a:lnTo>
                  <a:lnTo>
                    <a:pt x="558" y="1789"/>
                  </a:lnTo>
                  <a:lnTo>
                    <a:pt x="557" y="1789"/>
                  </a:lnTo>
                  <a:lnTo>
                    <a:pt x="557" y="1788"/>
                  </a:lnTo>
                  <a:lnTo>
                    <a:pt x="555" y="1786"/>
                  </a:lnTo>
                  <a:lnTo>
                    <a:pt x="555" y="1784"/>
                  </a:lnTo>
                  <a:lnTo>
                    <a:pt x="555" y="1781"/>
                  </a:lnTo>
                  <a:lnTo>
                    <a:pt x="553" y="1780"/>
                  </a:lnTo>
                  <a:lnTo>
                    <a:pt x="553" y="1778"/>
                  </a:lnTo>
                  <a:lnTo>
                    <a:pt x="552" y="1778"/>
                  </a:lnTo>
                  <a:lnTo>
                    <a:pt x="552" y="1776"/>
                  </a:lnTo>
                  <a:lnTo>
                    <a:pt x="550" y="1776"/>
                  </a:lnTo>
                  <a:lnTo>
                    <a:pt x="550" y="1775"/>
                  </a:lnTo>
                  <a:lnTo>
                    <a:pt x="552" y="1775"/>
                  </a:lnTo>
                  <a:lnTo>
                    <a:pt x="552" y="1776"/>
                  </a:lnTo>
                  <a:lnTo>
                    <a:pt x="552" y="1775"/>
                  </a:lnTo>
                  <a:lnTo>
                    <a:pt x="550" y="1775"/>
                  </a:lnTo>
                  <a:lnTo>
                    <a:pt x="550" y="1773"/>
                  </a:lnTo>
                  <a:lnTo>
                    <a:pt x="552" y="1771"/>
                  </a:lnTo>
                  <a:lnTo>
                    <a:pt x="550" y="1771"/>
                  </a:lnTo>
                  <a:lnTo>
                    <a:pt x="552" y="1771"/>
                  </a:lnTo>
                  <a:lnTo>
                    <a:pt x="550" y="1771"/>
                  </a:lnTo>
                  <a:lnTo>
                    <a:pt x="550" y="1770"/>
                  </a:lnTo>
                  <a:lnTo>
                    <a:pt x="552" y="1770"/>
                  </a:lnTo>
                  <a:lnTo>
                    <a:pt x="552" y="1768"/>
                  </a:lnTo>
                  <a:lnTo>
                    <a:pt x="550" y="1768"/>
                  </a:lnTo>
                  <a:lnTo>
                    <a:pt x="552" y="1768"/>
                  </a:lnTo>
                  <a:lnTo>
                    <a:pt x="550" y="1768"/>
                  </a:lnTo>
                  <a:lnTo>
                    <a:pt x="552" y="1768"/>
                  </a:lnTo>
                  <a:lnTo>
                    <a:pt x="550" y="1768"/>
                  </a:lnTo>
                  <a:lnTo>
                    <a:pt x="550" y="1767"/>
                  </a:lnTo>
                  <a:lnTo>
                    <a:pt x="550" y="1765"/>
                  </a:lnTo>
                  <a:lnTo>
                    <a:pt x="550" y="1763"/>
                  </a:lnTo>
                  <a:lnTo>
                    <a:pt x="552" y="1763"/>
                  </a:lnTo>
                  <a:lnTo>
                    <a:pt x="550" y="1763"/>
                  </a:lnTo>
                  <a:lnTo>
                    <a:pt x="552" y="1763"/>
                  </a:lnTo>
                  <a:lnTo>
                    <a:pt x="550" y="1762"/>
                  </a:lnTo>
                  <a:lnTo>
                    <a:pt x="552" y="1762"/>
                  </a:lnTo>
                  <a:lnTo>
                    <a:pt x="553" y="1762"/>
                  </a:lnTo>
                  <a:lnTo>
                    <a:pt x="553" y="1763"/>
                  </a:lnTo>
                  <a:lnTo>
                    <a:pt x="553" y="1762"/>
                  </a:lnTo>
                  <a:lnTo>
                    <a:pt x="552" y="1762"/>
                  </a:lnTo>
                  <a:lnTo>
                    <a:pt x="550" y="1760"/>
                  </a:lnTo>
                  <a:lnTo>
                    <a:pt x="552" y="1760"/>
                  </a:lnTo>
                  <a:lnTo>
                    <a:pt x="552" y="1758"/>
                  </a:lnTo>
                  <a:lnTo>
                    <a:pt x="553" y="1757"/>
                  </a:lnTo>
                  <a:lnTo>
                    <a:pt x="552" y="1757"/>
                  </a:lnTo>
                  <a:lnTo>
                    <a:pt x="553" y="1757"/>
                  </a:lnTo>
                  <a:lnTo>
                    <a:pt x="555" y="1755"/>
                  </a:lnTo>
                  <a:lnTo>
                    <a:pt x="557" y="1754"/>
                  </a:lnTo>
                  <a:lnTo>
                    <a:pt x="557" y="1752"/>
                  </a:lnTo>
                  <a:lnTo>
                    <a:pt x="557" y="1750"/>
                  </a:lnTo>
                  <a:lnTo>
                    <a:pt x="558" y="1750"/>
                  </a:lnTo>
                  <a:lnTo>
                    <a:pt x="557" y="1750"/>
                  </a:lnTo>
                  <a:lnTo>
                    <a:pt x="558" y="1750"/>
                  </a:lnTo>
                  <a:lnTo>
                    <a:pt x="558" y="1749"/>
                  </a:lnTo>
                  <a:lnTo>
                    <a:pt x="558" y="1747"/>
                  </a:lnTo>
                  <a:lnTo>
                    <a:pt x="560" y="1747"/>
                  </a:lnTo>
                  <a:lnTo>
                    <a:pt x="562" y="1745"/>
                  </a:lnTo>
                  <a:lnTo>
                    <a:pt x="563" y="1745"/>
                  </a:lnTo>
                  <a:lnTo>
                    <a:pt x="563" y="1744"/>
                  </a:lnTo>
                  <a:lnTo>
                    <a:pt x="565" y="1744"/>
                  </a:lnTo>
                  <a:lnTo>
                    <a:pt x="566" y="1745"/>
                  </a:lnTo>
                  <a:lnTo>
                    <a:pt x="565" y="1747"/>
                  </a:lnTo>
                  <a:lnTo>
                    <a:pt x="566" y="1747"/>
                  </a:lnTo>
                  <a:lnTo>
                    <a:pt x="566" y="1749"/>
                  </a:lnTo>
                  <a:lnTo>
                    <a:pt x="568" y="1749"/>
                  </a:lnTo>
                  <a:lnTo>
                    <a:pt x="568" y="1750"/>
                  </a:lnTo>
                  <a:lnTo>
                    <a:pt x="570" y="1749"/>
                  </a:lnTo>
                  <a:lnTo>
                    <a:pt x="570" y="1747"/>
                  </a:lnTo>
                  <a:lnTo>
                    <a:pt x="568" y="1745"/>
                  </a:lnTo>
                  <a:lnTo>
                    <a:pt x="568" y="1747"/>
                  </a:lnTo>
                  <a:lnTo>
                    <a:pt x="566" y="1745"/>
                  </a:lnTo>
                  <a:lnTo>
                    <a:pt x="568" y="1745"/>
                  </a:lnTo>
                  <a:lnTo>
                    <a:pt x="568" y="1744"/>
                  </a:lnTo>
                  <a:lnTo>
                    <a:pt x="566" y="1744"/>
                  </a:lnTo>
                  <a:lnTo>
                    <a:pt x="566" y="1742"/>
                  </a:lnTo>
                  <a:lnTo>
                    <a:pt x="568" y="1742"/>
                  </a:lnTo>
                  <a:lnTo>
                    <a:pt x="568" y="1741"/>
                  </a:lnTo>
                  <a:lnTo>
                    <a:pt x="568" y="1739"/>
                  </a:lnTo>
                  <a:lnTo>
                    <a:pt x="570" y="1737"/>
                  </a:lnTo>
                  <a:lnTo>
                    <a:pt x="570" y="1736"/>
                  </a:lnTo>
                  <a:lnTo>
                    <a:pt x="570" y="1737"/>
                  </a:lnTo>
                  <a:lnTo>
                    <a:pt x="571" y="1736"/>
                  </a:lnTo>
                  <a:lnTo>
                    <a:pt x="573" y="1734"/>
                  </a:lnTo>
                  <a:lnTo>
                    <a:pt x="575" y="1734"/>
                  </a:lnTo>
                  <a:lnTo>
                    <a:pt x="575" y="1732"/>
                  </a:lnTo>
                  <a:lnTo>
                    <a:pt x="575" y="1734"/>
                  </a:lnTo>
                  <a:lnTo>
                    <a:pt x="575" y="1736"/>
                  </a:lnTo>
                  <a:lnTo>
                    <a:pt x="576" y="1736"/>
                  </a:lnTo>
                  <a:lnTo>
                    <a:pt x="575" y="1737"/>
                  </a:lnTo>
                  <a:lnTo>
                    <a:pt x="575" y="1739"/>
                  </a:lnTo>
                  <a:lnTo>
                    <a:pt x="575" y="1742"/>
                  </a:lnTo>
                  <a:lnTo>
                    <a:pt x="575" y="1744"/>
                  </a:lnTo>
                  <a:lnTo>
                    <a:pt x="575" y="1745"/>
                  </a:lnTo>
                  <a:lnTo>
                    <a:pt x="573" y="1745"/>
                  </a:lnTo>
                  <a:lnTo>
                    <a:pt x="573" y="1747"/>
                  </a:lnTo>
                  <a:lnTo>
                    <a:pt x="573" y="1749"/>
                  </a:lnTo>
                  <a:lnTo>
                    <a:pt x="573" y="1752"/>
                  </a:lnTo>
                  <a:lnTo>
                    <a:pt x="573" y="1754"/>
                  </a:lnTo>
                  <a:lnTo>
                    <a:pt x="573" y="1755"/>
                  </a:lnTo>
                  <a:lnTo>
                    <a:pt x="575" y="1755"/>
                  </a:lnTo>
                  <a:lnTo>
                    <a:pt x="573" y="1757"/>
                  </a:lnTo>
                  <a:lnTo>
                    <a:pt x="573" y="1758"/>
                  </a:lnTo>
                  <a:lnTo>
                    <a:pt x="571" y="1758"/>
                  </a:lnTo>
                  <a:lnTo>
                    <a:pt x="571" y="1760"/>
                  </a:lnTo>
                  <a:lnTo>
                    <a:pt x="571" y="1762"/>
                  </a:lnTo>
                  <a:lnTo>
                    <a:pt x="570" y="1762"/>
                  </a:lnTo>
                  <a:lnTo>
                    <a:pt x="570" y="1763"/>
                  </a:lnTo>
                  <a:lnTo>
                    <a:pt x="570" y="1762"/>
                  </a:lnTo>
                  <a:lnTo>
                    <a:pt x="568" y="1762"/>
                  </a:lnTo>
                  <a:lnTo>
                    <a:pt x="568" y="1760"/>
                  </a:lnTo>
                  <a:lnTo>
                    <a:pt x="568" y="1758"/>
                  </a:lnTo>
                  <a:lnTo>
                    <a:pt x="568" y="1760"/>
                  </a:lnTo>
                  <a:lnTo>
                    <a:pt x="568" y="1762"/>
                  </a:lnTo>
                  <a:lnTo>
                    <a:pt x="566" y="1762"/>
                  </a:lnTo>
                  <a:lnTo>
                    <a:pt x="568" y="1762"/>
                  </a:lnTo>
                  <a:lnTo>
                    <a:pt x="568" y="1763"/>
                  </a:lnTo>
                  <a:lnTo>
                    <a:pt x="566" y="1763"/>
                  </a:lnTo>
                  <a:lnTo>
                    <a:pt x="568" y="1763"/>
                  </a:lnTo>
                  <a:lnTo>
                    <a:pt x="568" y="1765"/>
                  </a:lnTo>
                  <a:lnTo>
                    <a:pt x="568" y="1767"/>
                  </a:lnTo>
                  <a:lnTo>
                    <a:pt x="566" y="1767"/>
                  </a:lnTo>
                  <a:lnTo>
                    <a:pt x="568" y="1768"/>
                  </a:lnTo>
                  <a:lnTo>
                    <a:pt x="568" y="1767"/>
                  </a:lnTo>
                  <a:lnTo>
                    <a:pt x="568" y="1765"/>
                  </a:lnTo>
                  <a:lnTo>
                    <a:pt x="568" y="1763"/>
                  </a:lnTo>
                  <a:lnTo>
                    <a:pt x="570" y="1763"/>
                  </a:lnTo>
                  <a:lnTo>
                    <a:pt x="571" y="1763"/>
                  </a:lnTo>
                  <a:lnTo>
                    <a:pt x="573" y="1762"/>
                  </a:lnTo>
                  <a:lnTo>
                    <a:pt x="573" y="1760"/>
                  </a:lnTo>
                  <a:lnTo>
                    <a:pt x="575" y="1760"/>
                  </a:lnTo>
                  <a:lnTo>
                    <a:pt x="575" y="1762"/>
                  </a:lnTo>
                  <a:lnTo>
                    <a:pt x="575" y="1760"/>
                  </a:lnTo>
                  <a:lnTo>
                    <a:pt x="575" y="1758"/>
                  </a:lnTo>
                  <a:lnTo>
                    <a:pt x="575" y="1760"/>
                  </a:lnTo>
                  <a:lnTo>
                    <a:pt x="576" y="1760"/>
                  </a:lnTo>
                  <a:lnTo>
                    <a:pt x="575" y="1758"/>
                  </a:lnTo>
                  <a:lnTo>
                    <a:pt x="576" y="1758"/>
                  </a:lnTo>
                  <a:lnTo>
                    <a:pt x="576" y="1757"/>
                  </a:lnTo>
                  <a:lnTo>
                    <a:pt x="576" y="1755"/>
                  </a:lnTo>
                  <a:lnTo>
                    <a:pt x="576" y="1754"/>
                  </a:lnTo>
                  <a:lnTo>
                    <a:pt x="578" y="1754"/>
                  </a:lnTo>
                  <a:lnTo>
                    <a:pt x="578" y="1752"/>
                  </a:lnTo>
                  <a:lnTo>
                    <a:pt x="576" y="1752"/>
                  </a:lnTo>
                  <a:lnTo>
                    <a:pt x="576" y="1750"/>
                  </a:lnTo>
                  <a:lnTo>
                    <a:pt x="576" y="1749"/>
                  </a:lnTo>
                  <a:lnTo>
                    <a:pt x="576" y="1747"/>
                  </a:lnTo>
                  <a:lnTo>
                    <a:pt x="576" y="1745"/>
                  </a:lnTo>
                  <a:lnTo>
                    <a:pt x="576" y="1744"/>
                  </a:lnTo>
                  <a:lnTo>
                    <a:pt x="576" y="1742"/>
                  </a:lnTo>
                  <a:lnTo>
                    <a:pt x="578" y="1742"/>
                  </a:lnTo>
                  <a:lnTo>
                    <a:pt x="579" y="1741"/>
                  </a:lnTo>
                  <a:lnTo>
                    <a:pt x="579" y="1739"/>
                  </a:lnTo>
                  <a:lnTo>
                    <a:pt x="581" y="1741"/>
                  </a:lnTo>
                  <a:lnTo>
                    <a:pt x="583" y="1742"/>
                  </a:lnTo>
                  <a:lnTo>
                    <a:pt x="584" y="1742"/>
                  </a:lnTo>
                  <a:lnTo>
                    <a:pt x="586" y="1742"/>
                  </a:lnTo>
                  <a:lnTo>
                    <a:pt x="586" y="1744"/>
                  </a:lnTo>
                  <a:lnTo>
                    <a:pt x="588" y="1744"/>
                  </a:lnTo>
                  <a:lnTo>
                    <a:pt x="589" y="1744"/>
                  </a:lnTo>
                  <a:lnTo>
                    <a:pt x="589" y="1745"/>
                  </a:lnTo>
                  <a:lnTo>
                    <a:pt x="591" y="1745"/>
                  </a:lnTo>
                  <a:lnTo>
                    <a:pt x="592" y="1745"/>
                  </a:lnTo>
                  <a:lnTo>
                    <a:pt x="592" y="1747"/>
                  </a:lnTo>
                  <a:lnTo>
                    <a:pt x="592" y="1749"/>
                  </a:lnTo>
                  <a:lnTo>
                    <a:pt x="592" y="1750"/>
                  </a:lnTo>
                  <a:lnTo>
                    <a:pt x="592" y="1752"/>
                  </a:lnTo>
                  <a:lnTo>
                    <a:pt x="591" y="1752"/>
                  </a:lnTo>
                  <a:lnTo>
                    <a:pt x="589" y="1752"/>
                  </a:lnTo>
                  <a:lnTo>
                    <a:pt x="591" y="1752"/>
                  </a:lnTo>
                  <a:lnTo>
                    <a:pt x="594" y="1752"/>
                  </a:lnTo>
                  <a:lnTo>
                    <a:pt x="596" y="1752"/>
                  </a:lnTo>
                  <a:lnTo>
                    <a:pt x="594" y="1750"/>
                  </a:lnTo>
                  <a:lnTo>
                    <a:pt x="594" y="1749"/>
                  </a:lnTo>
                  <a:lnTo>
                    <a:pt x="592" y="1747"/>
                  </a:lnTo>
                  <a:lnTo>
                    <a:pt x="594" y="1747"/>
                  </a:lnTo>
                  <a:lnTo>
                    <a:pt x="596" y="1745"/>
                  </a:lnTo>
                  <a:lnTo>
                    <a:pt x="597" y="1745"/>
                  </a:lnTo>
                  <a:lnTo>
                    <a:pt x="599" y="1745"/>
                  </a:lnTo>
                  <a:lnTo>
                    <a:pt x="599" y="1747"/>
                  </a:lnTo>
                  <a:lnTo>
                    <a:pt x="601" y="1747"/>
                  </a:lnTo>
                  <a:lnTo>
                    <a:pt x="602" y="1747"/>
                  </a:lnTo>
                  <a:lnTo>
                    <a:pt x="601" y="1745"/>
                  </a:lnTo>
                  <a:lnTo>
                    <a:pt x="601" y="1747"/>
                  </a:lnTo>
                  <a:lnTo>
                    <a:pt x="601" y="1745"/>
                  </a:lnTo>
                  <a:lnTo>
                    <a:pt x="602" y="1745"/>
                  </a:lnTo>
                  <a:lnTo>
                    <a:pt x="602" y="1744"/>
                  </a:lnTo>
                  <a:lnTo>
                    <a:pt x="604" y="1744"/>
                  </a:lnTo>
                  <a:lnTo>
                    <a:pt x="604" y="1742"/>
                  </a:lnTo>
                  <a:lnTo>
                    <a:pt x="602" y="1742"/>
                  </a:lnTo>
                  <a:lnTo>
                    <a:pt x="601" y="1742"/>
                  </a:lnTo>
                  <a:lnTo>
                    <a:pt x="601" y="1744"/>
                  </a:lnTo>
                  <a:lnTo>
                    <a:pt x="599" y="1744"/>
                  </a:lnTo>
                  <a:lnTo>
                    <a:pt x="597" y="1744"/>
                  </a:lnTo>
                  <a:lnTo>
                    <a:pt x="597" y="1745"/>
                  </a:lnTo>
                  <a:lnTo>
                    <a:pt x="596" y="1745"/>
                  </a:lnTo>
                  <a:lnTo>
                    <a:pt x="594" y="1745"/>
                  </a:lnTo>
                  <a:lnTo>
                    <a:pt x="592" y="1744"/>
                  </a:lnTo>
                  <a:lnTo>
                    <a:pt x="594" y="1744"/>
                  </a:lnTo>
                  <a:lnTo>
                    <a:pt x="592" y="1744"/>
                  </a:lnTo>
                  <a:lnTo>
                    <a:pt x="592" y="1742"/>
                  </a:lnTo>
                  <a:lnTo>
                    <a:pt x="592" y="1741"/>
                  </a:lnTo>
                  <a:lnTo>
                    <a:pt x="594" y="1741"/>
                  </a:lnTo>
                  <a:lnTo>
                    <a:pt x="594" y="1739"/>
                  </a:lnTo>
                  <a:lnTo>
                    <a:pt x="596" y="1739"/>
                  </a:lnTo>
                  <a:lnTo>
                    <a:pt x="596" y="1737"/>
                  </a:lnTo>
                  <a:lnTo>
                    <a:pt x="597" y="1737"/>
                  </a:lnTo>
                  <a:lnTo>
                    <a:pt x="599" y="1737"/>
                  </a:lnTo>
                  <a:lnTo>
                    <a:pt x="599" y="1736"/>
                  </a:lnTo>
                  <a:lnTo>
                    <a:pt x="599" y="1734"/>
                  </a:lnTo>
                  <a:lnTo>
                    <a:pt x="601" y="1734"/>
                  </a:lnTo>
                  <a:lnTo>
                    <a:pt x="602" y="1734"/>
                  </a:lnTo>
                  <a:lnTo>
                    <a:pt x="602" y="1732"/>
                  </a:lnTo>
                  <a:lnTo>
                    <a:pt x="604" y="1734"/>
                  </a:lnTo>
                  <a:lnTo>
                    <a:pt x="605" y="1734"/>
                  </a:lnTo>
                  <a:lnTo>
                    <a:pt x="604" y="1732"/>
                  </a:lnTo>
                  <a:lnTo>
                    <a:pt x="605" y="1732"/>
                  </a:lnTo>
                  <a:lnTo>
                    <a:pt x="605" y="1731"/>
                  </a:lnTo>
                  <a:lnTo>
                    <a:pt x="604" y="1731"/>
                  </a:lnTo>
                  <a:lnTo>
                    <a:pt x="604" y="1729"/>
                  </a:lnTo>
                  <a:lnTo>
                    <a:pt x="605" y="1729"/>
                  </a:lnTo>
                  <a:lnTo>
                    <a:pt x="605" y="1731"/>
                  </a:lnTo>
                  <a:lnTo>
                    <a:pt x="607" y="1731"/>
                  </a:lnTo>
                  <a:lnTo>
                    <a:pt x="607" y="1732"/>
                  </a:lnTo>
                  <a:lnTo>
                    <a:pt x="605" y="1732"/>
                  </a:lnTo>
                  <a:lnTo>
                    <a:pt x="607" y="1734"/>
                  </a:lnTo>
                  <a:lnTo>
                    <a:pt x="609" y="1734"/>
                  </a:lnTo>
                  <a:lnTo>
                    <a:pt x="609" y="1732"/>
                  </a:lnTo>
                  <a:lnTo>
                    <a:pt x="610" y="1734"/>
                  </a:lnTo>
                  <a:lnTo>
                    <a:pt x="612" y="1732"/>
                  </a:lnTo>
                  <a:lnTo>
                    <a:pt x="614" y="1734"/>
                  </a:lnTo>
                  <a:lnTo>
                    <a:pt x="615" y="1734"/>
                  </a:lnTo>
                  <a:lnTo>
                    <a:pt x="617" y="1734"/>
                  </a:lnTo>
                  <a:lnTo>
                    <a:pt x="617" y="1732"/>
                  </a:lnTo>
                  <a:lnTo>
                    <a:pt x="618" y="1732"/>
                  </a:lnTo>
                  <a:lnTo>
                    <a:pt x="618" y="1731"/>
                  </a:lnTo>
                  <a:lnTo>
                    <a:pt x="618" y="1729"/>
                  </a:lnTo>
                  <a:lnTo>
                    <a:pt x="620" y="1729"/>
                  </a:lnTo>
                  <a:lnTo>
                    <a:pt x="620" y="1728"/>
                  </a:lnTo>
                  <a:lnTo>
                    <a:pt x="622" y="1728"/>
                  </a:lnTo>
                  <a:lnTo>
                    <a:pt x="623" y="1726"/>
                  </a:lnTo>
                  <a:lnTo>
                    <a:pt x="625" y="1726"/>
                  </a:lnTo>
                  <a:lnTo>
                    <a:pt x="625" y="1724"/>
                  </a:lnTo>
                  <a:lnTo>
                    <a:pt x="627" y="1723"/>
                  </a:lnTo>
                  <a:lnTo>
                    <a:pt x="628" y="1721"/>
                  </a:lnTo>
                  <a:lnTo>
                    <a:pt x="630" y="1721"/>
                  </a:lnTo>
                  <a:lnTo>
                    <a:pt x="631" y="1721"/>
                  </a:lnTo>
                  <a:lnTo>
                    <a:pt x="633" y="1721"/>
                  </a:lnTo>
                  <a:lnTo>
                    <a:pt x="633" y="1719"/>
                  </a:lnTo>
                  <a:lnTo>
                    <a:pt x="635" y="1719"/>
                  </a:lnTo>
                  <a:lnTo>
                    <a:pt x="636" y="1719"/>
                  </a:lnTo>
                  <a:lnTo>
                    <a:pt x="636" y="1718"/>
                  </a:lnTo>
                  <a:lnTo>
                    <a:pt x="636" y="1716"/>
                  </a:lnTo>
                  <a:lnTo>
                    <a:pt x="638" y="1716"/>
                  </a:lnTo>
                  <a:lnTo>
                    <a:pt x="636" y="1716"/>
                  </a:lnTo>
                  <a:lnTo>
                    <a:pt x="635" y="1718"/>
                  </a:lnTo>
                  <a:lnTo>
                    <a:pt x="633" y="1719"/>
                  </a:lnTo>
                  <a:lnTo>
                    <a:pt x="631" y="1719"/>
                  </a:lnTo>
                  <a:lnTo>
                    <a:pt x="630" y="1719"/>
                  </a:lnTo>
                  <a:lnTo>
                    <a:pt x="628" y="1721"/>
                  </a:lnTo>
                  <a:lnTo>
                    <a:pt x="627" y="1721"/>
                  </a:lnTo>
                  <a:lnTo>
                    <a:pt x="625" y="1723"/>
                  </a:lnTo>
                  <a:lnTo>
                    <a:pt x="623" y="1723"/>
                  </a:lnTo>
                  <a:lnTo>
                    <a:pt x="623" y="1724"/>
                  </a:lnTo>
                  <a:lnTo>
                    <a:pt x="622" y="1724"/>
                  </a:lnTo>
                  <a:lnTo>
                    <a:pt x="622" y="1726"/>
                  </a:lnTo>
                  <a:lnTo>
                    <a:pt x="620" y="1726"/>
                  </a:lnTo>
                  <a:lnTo>
                    <a:pt x="620" y="1728"/>
                  </a:lnTo>
                  <a:lnTo>
                    <a:pt x="618" y="1728"/>
                  </a:lnTo>
                  <a:lnTo>
                    <a:pt x="617" y="1728"/>
                  </a:lnTo>
                  <a:lnTo>
                    <a:pt x="618" y="1728"/>
                  </a:lnTo>
                  <a:lnTo>
                    <a:pt x="617" y="1728"/>
                  </a:lnTo>
                  <a:lnTo>
                    <a:pt x="615" y="1729"/>
                  </a:lnTo>
                  <a:lnTo>
                    <a:pt x="615" y="1731"/>
                  </a:lnTo>
                  <a:lnTo>
                    <a:pt x="614" y="1731"/>
                  </a:lnTo>
                  <a:lnTo>
                    <a:pt x="614" y="1732"/>
                  </a:lnTo>
                  <a:lnTo>
                    <a:pt x="612" y="1731"/>
                  </a:lnTo>
                  <a:lnTo>
                    <a:pt x="610" y="1732"/>
                  </a:lnTo>
                  <a:lnTo>
                    <a:pt x="609" y="1731"/>
                  </a:lnTo>
                  <a:lnTo>
                    <a:pt x="607" y="1729"/>
                  </a:lnTo>
                  <a:lnTo>
                    <a:pt x="607" y="1728"/>
                  </a:lnTo>
                  <a:lnTo>
                    <a:pt x="607" y="1726"/>
                  </a:lnTo>
                  <a:lnTo>
                    <a:pt x="607" y="1724"/>
                  </a:lnTo>
                  <a:lnTo>
                    <a:pt x="609" y="1724"/>
                  </a:lnTo>
                  <a:lnTo>
                    <a:pt x="609" y="1723"/>
                  </a:lnTo>
                  <a:lnTo>
                    <a:pt x="609" y="1721"/>
                  </a:lnTo>
                  <a:lnTo>
                    <a:pt x="609" y="1719"/>
                  </a:lnTo>
                  <a:lnTo>
                    <a:pt x="609" y="1718"/>
                  </a:lnTo>
                  <a:lnTo>
                    <a:pt x="609" y="1719"/>
                  </a:lnTo>
                  <a:lnTo>
                    <a:pt x="609" y="1718"/>
                  </a:lnTo>
                  <a:lnTo>
                    <a:pt x="610" y="1716"/>
                  </a:lnTo>
                  <a:lnTo>
                    <a:pt x="609" y="1716"/>
                  </a:lnTo>
                  <a:lnTo>
                    <a:pt x="607" y="1718"/>
                  </a:lnTo>
                  <a:lnTo>
                    <a:pt x="607" y="1719"/>
                  </a:lnTo>
                  <a:lnTo>
                    <a:pt x="607" y="1721"/>
                  </a:lnTo>
                  <a:lnTo>
                    <a:pt x="607" y="1723"/>
                  </a:lnTo>
                  <a:lnTo>
                    <a:pt x="605" y="1724"/>
                  </a:lnTo>
                  <a:lnTo>
                    <a:pt x="605" y="1726"/>
                  </a:lnTo>
                  <a:lnTo>
                    <a:pt x="604" y="1726"/>
                  </a:lnTo>
                  <a:lnTo>
                    <a:pt x="602" y="1726"/>
                  </a:lnTo>
                  <a:lnTo>
                    <a:pt x="602" y="1728"/>
                  </a:lnTo>
                  <a:lnTo>
                    <a:pt x="601" y="1728"/>
                  </a:lnTo>
                  <a:lnTo>
                    <a:pt x="601" y="1729"/>
                  </a:lnTo>
                  <a:lnTo>
                    <a:pt x="599" y="1728"/>
                  </a:lnTo>
                  <a:lnTo>
                    <a:pt x="597" y="1726"/>
                  </a:lnTo>
                  <a:lnTo>
                    <a:pt x="596" y="1724"/>
                  </a:lnTo>
                  <a:lnTo>
                    <a:pt x="596" y="1723"/>
                  </a:lnTo>
                  <a:lnTo>
                    <a:pt x="596" y="1721"/>
                  </a:lnTo>
                  <a:lnTo>
                    <a:pt x="594" y="1721"/>
                  </a:lnTo>
                  <a:lnTo>
                    <a:pt x="594" y="1719"/>
                  </a:lnTo>
                  <a:lnTo>
                    <a:pt x="592" y="1719"/>
                  </a:lnTo>
                  <a:lnTo>
                    <a:pt x="591" y="1719"/>
                  </a:lnTo>
                  <a:lnTo>
                    <a:pt x="589" y="1719"/>
                  </a:lnTo>
                  <a:lnTo>
                    <a:pt x="588" y="1719"/>
                  </a:lnTo>
                  <a:lnTo>
                    <a:pt x="588" y="1718"/>
                  </a:lnTo>
                  <a:lnTo>
                    <a:pt x="586" y="1718"/>
                  </a:lnTo>
                  <a:lnTo>
                    <a:pt x="588" y="1718"/>
                  </a:lnTo>
                  <a:lnTo>
                    <a:pt x="586" y="1716"/>
                  </a:lnTo>
                  <a:lnTo>
                    <a:pt x="588" y="1716"/>
                  </a:lnTo>
                  <a:lnTo>
                    <a:pt x="588" y="1718"/>
                  </a:lnTo>
                  <a:lnTo>
                    <a:pt x="588" y="1716"/>
                  </a:lnTo>
                  <a:lnTo>
                    <a:pt x="589" y="1715"/>
                  </a:lnTo>
                  <a:lnTo>
                    <a:pt x="589" y="1716"/>
                  </a:lnTo>
                  <a:lnTo>
                    <a:pt x="591" y="1715"/>
                  </a:lnTo>
                  <a:lnTo>
                    <a:pt x="591" y="1713"/>
                  </a:lnTo>
                  <a:lnTo>
                    <a:pt x="592" y="1713"/>
                  </a:lnTo>
                  <a:lnTo>
                    <a:pt x="592" y="1715"/>
                  </a:lnTo>
                  <a:lnTo>
                    <a:pt x="592" y="1713"/>
                  </a:lnTo>
                  <a:lnTo>
                    <a:pt x="594" y="1713"/>
                  </a:lnTo>
                  <a:lnTo>
                    <a:pt x="594" y="1711"/>
                  </a:lnTo>
                  <a:lnTo>
                    <a:pt x="594" y="1710"/>
                  </a:lnTo>
                  <a:lnTo>
                    <a:pt x="594" y="1708"/>
                  </a:lnTo>
                  <a:lnTo>
                    <a:pt x="596" y="1706"/>
                  </a:lnTo>
                  <a:lnTo>
                    <a:pt x="597" y="1705"/>
                  </a:lnTo>
                  <a:lnTo>
                    <a:pt x="599" y="1705"/>
                  </a:lnTo>
                  <a:lnTo>
                    <a:pt x="599" y="1706"/>
                  </a:lnTo>
                  <a:lnTo>
                    <a:pt x="601" y="1706"/>
                  </a:lnTo>
                  <a:lnTo>
                    <a:pt x="601" y="1705"/>
                  </a:lnTo>
                  <a:lnTo>
                    <a:pt x="602" y="1705"/>
                  </a:lnTo>
                  <a:lnTo>
                    <a:pt x="602" y="1703"/>
                  </a:lnTo>
                  <a:lnTo>
                    <a:pt x="604" y="1703"/>
                  </a:lnTo>
                  <a:lnTo>
                    <a:pt x="605" y="1703"/>
                  </a:lnTo>
                  <a:lnTo>
                    <a:pt x="605" y="1702"/>
                  </a:lnTo>
                  <a:lnTo>
                    <a:pt x="605" y="1703"/>
                  </a:lnTo>
                  <a:lnTo>
                    <a:pt x="607" y="1703"/>
                  </a:lnTo>
                  <a:lnTo>
                    <a:pt x="609" y="1703"/>
                  </a:lnTo>
                  <a:lnTo>
                    <a:pt x="609" y="1702"/>
                  </a:lnTo>
                  <a:lnTo>
                    <a:pt x="609" y="1703"/>
                  </a:lnTo>
                  <a:lnTo>
                    <a:pt x="610" y="1703"/>
                  </a:lnTo>
                  <a:lnTo>
                    <a:pt x="610" y="1702"/>
                  </a:lnTo>
                  <a:lnTo>
                    <a:pt x="610" y="1700"/>
                  </a:lnTo>
                  <a:lnTo>
                    <a:pt x="612" y="1700"/>
                  </a:lnTo>
                  <a:lnTo>
                    <a:pt x="612" y="1698"/>
                  </a:lnTo>
                  <a:lnTo>
                    <a:pt x="610" y="1698"/>
                  </a:lnTo>
                  <a:lnTo>
                    <a:pt x="610" y="1697"/>
                  </a:lnTo>
                  <a:lnTo>
                    <a:pt x="610" y="1695"/>
                  </a:lnTo>
                  <a:lnTo>
                    <a:pt x="612" y="1693"/>
                  </a:lnTo>
                  <a:lnTo>
                    <a:pt x="612" y="1692"/>
                  </a:lnTo>
                  <a:lnTo>
                    <a:pt x="614" y="1690"/>
                  </a:lnTo>
                  <a:lnTo>
                    <a:pt x="614" y="1689"/>
                  </a:lnTo>
                  <a:lnTo>
                    <a:pt x="614" y="1687"/>
                  </a:lnTo>
                  <a:lnTo>
                    <a:pt x="615" y="1687"/>
                  </a:lnTo>
                  <a:lnTo>
                    <a:pt x="617" y="1685"/>
                  </a:lnTo>
                  <a:lnTo>
                    <a:pt x="618" y="1685"/>
                  </a:lnTo>
                  <a:lnTo>
                    <a:pt x="620" y="1684"/>
                  </a:lnTo>
                  <a:lnTo>
                    <a:pt x="623" y="1684"/>
                  </a:lnTo>
                  <a:lnTo>
                    <a:pt x="623" y="1682"/>
                  </a:lnTo>
                  <a:lnTo>
                    <a:pt x="625" y="1682"/>
                  </a:lnTo>
                  <a:lnTo>
                    <a:pt x="627" y="1682"/>
                  </a:lnTo>
                  <a:lnTo>
                    <a:pt x="628" y="1682"/>
                  </a:lnTo>
                  <a:lnTo>
                    <a:pt x="628" y="1680"/>
                  </a:lnTo>
                  <a:lnTo>
                    <a:pt x="630" y="1680"/>
                  </a:lnTo>
                  <a:lnTo>
                    <a:pt x="631" y="1680"/>
                  </a:lnTo>
                  <a:lnTo>
                    <a:pt x="633" y="1680"/>
                  </a:lnTo>
                  <a:lnTo>
                    <a:pt x="635" y="1679"/>
                  </a:lnTo>
                  <a:lnTo>
                    <a:pt x="633" y="1679"/>
                  </a:lnTo>
                  <a:lnTo>
                    <a:pt x="633" y="1676"/>
                  </a:lnTo>
                  <a:lnTo>
                    <a:pt x="635" y="1674"/>
                  </a:lnTo>
                  <a:lnTo>
                    <a:pt x="633" y="1674"/>
                  </a:lnTo>
                  <a:lnTo>
                    <a:pt x="631" y="1676"/>
                  </a:lnTo>
                  <a:lnTo>
                    <a:pt x="631" y="1677"/>
                  </a:lnTo>
                  <a:lnTo>
                    <a:pt x="630" y="1679"/>
                  </a:lnTo>
                  <a:lnTo>
                    <a:pt x="628" y="1679"/>
                  </a:lnTo>
                  <a:lnTo>
                    <a:pt x="627" y="1680"/>
                  </a:lnTo>
                  <a:lnTo>
                    <a:pt x="625" y="1680"/>
                  </a:lnTo>
                  <a:lnTo>
                    <a:pt x="623" y="1682"/>
                  </a:lnTo>
                  <a:lnTo>
                    <a:pt x="622" y="1682"/>
                  </a:lnTo>
                  <a:lnTo>
                    <a:pt x="622" y="1680"/>
                  </a:lnTo>
                  <a:lnTo>
                    <a:pt x="623" y="1680"/>
                  </a:lnTo>
                  <a:lnTo>
                    <a:pt x="625" y="1679"/>
                  </a:lnTo>
                  <a:lnTo>
                    <a:pt x="623" y="1679"/>
                  </a:lnTo>
                  <a:lnTo>
                    <a:pt x="623" y="1677"/>
                  </a:lnTo>
                  <a:lnTo>
                    <a:pt x="622" y="1677"/>
                  </a:lnTo>
                  <a:lnTo>
                    <a:pt x="622" y="1676"/>
                  </a:lnTo>
                  <a:lnTo>
                    <a:pt x="620" y="1674"/>
                  </a:lnTo>
                  <a:lnTo>
                    <a:pt x="620" y="1672"/>
                  </a:lnTo>
                  <a:lnTo>
                    <a:pt x="620" y="1671"/>
                  </a:lnTo>
                  <a:lnTo>
                    <a:pt x="618" y="1669"/>
                  </a:lnTo>
                  <a:lnTo>
                    <a:pt x="620" y="1669"/>
                  </a:lnTo>
                  <a:lnTo>
                    <a:pt x="620" y="1667"/>
                  </a:lnTo>
                  <a:lnTo>
                    <a:pt x="622" y="1667"/>
                  </a:lnTo>
                  <a:lnTo>
                    <a:pt x="622" y="1666"/>
                  </a:lnTo>
                  <a:lnTo>
                    <a:pt x="623" y="1666"/>
                  </a:lnTo>
                  <a:lnTo>
                    <a:pt x="625" y="1666"/>
                  </a:lnTo>
                  <a:lnTo>
                    <a:pt x="627" y="1666"/>
                  </a:lnTo>
                  <a:lnTo>
                    <a:pt x="627" y="1664"/>
                  </a:lnTo>
                  <a:lnTo>
                    <a:pt x="627" y="1662"/>
                  </a:lnTo>
                  <a:lnTo>
                    <a:pt x="628" y="1662"/>
                  </a:lnTo>
                  <a:lnTo>
                    <a:pt x="628" y="1661"/>
                  </a:lnTo>
                  <a:lnTo>
                    <a:pt x="630" y="1661"/>
                  </a:lnTo>
                  <a:lnTo>
                    <a:pt x="630" y="1659"/>
                  </a:lnTo>
                  <a:lnTo>
                    <a:pt x="630" y="1658"/>
                  </a:lnTo>
                  <a:lnTo>
                    <a:pt x="631" y="1658"/>
                  </a:lnTo>
                  <a:lnTo>
                    <a:pt x="631" y="1656"/>
                  </a:lnTo>
                  <a:lnTo>
                    <a:pt x="630" y="1656"/>
                  </a:lnTo>
                  <a:lnTo>
                    <a:pt x="630" y="1654"/>
                  </a:lnTo>
                  <a:lnTo>
                    <a:pt x="631" y="1654"/>
                  </a:lnTo>
                  <a:lnTo>
                    <a:pt x="633" y="1654"/>
                  </a:lnTo>
                  <a:lnTo>
                    <a:pt x="633" y="1653"/>
                  </a:lnTo>
                  <a:lnTo>
                    <a:pt x="635" y="1654"/>
                  </a:lnTo>
                  <a:lnTo>
                    <a:pt x="635" y="1653"/>
                  </a:lnTo>
                  <a:lnTo>
                    <a:pt x="636" y="1653"/>
                  </a:lnTo>
                  <a:lnTo>
                    <a:pt x="638" y="1651"/>
                  </a:lnTo>
                  <a:lnTo>
                    <a:pt x="638" y="1649"/>
                  </a:lnTo>
                  <a:lnTo>
                    <a:pt x="640" y="1648"/>
                  </a:lnTo>
                  <a:lnTo>
                    <a:pt x="640" y="1649"/>
                  </a:lnTo>
                  <a:lnTo>
                    <a:pt x="638" y="1649"/>
                  </a:lnTo>
                  <a:lnTo>
                    <a:pt x="640" y="1649"/>
                  </a:lnTo>
                  <a:lnTo>
                    <a:pt x="641" y="1649"/>
                  </a:lnTo>
                  <a:lnTo>
                    <a:pt x="641" y="1648"/>
                  </a:lnTo>
                  <a:lnTo>
                    <a:pt x="640" y="1648"/>
                  </a:lnTo>
                  <a:lnTo>
                    <a:pt x="640" y="1646"/>
                  </a:lnTo>
                  <a:lnTo>
                    <a:pt x="640" y="1645"/>
                  </a:lnTo>
                  <a:lnTo>
                    <a:pt x="641" y="1645"/>
                  </a:lnTo>
                  <a:lnTo>
                    <a:pt x="643" y="1645"/>
                  </a:lnTo>
                  <a:lnTo>
                    <a:pt x="644" y="1645"/>
                  </a:lnTo>
                  <a:lnTo>
                    <a:pt x="646" y="1645"/>
                  </a:lnTo>
                  <a:lnTo>
                    <a:pt x="648" y="1645"/>
                  </a:lnTo>
                  <a:lnTo>
                    <a:pt x="648" y="1643"/>
                  </a:lnTo>
                  <a:lnTo>
                    <a:pt x="649" y="1643"/>
                  </a:lnTo>
                  <a:lnTo>
                    <a:pt x="651" y="1643"/>
                  </a:lnTo>
                  <a:lnTo>
                    <a:pt x="651" y="1641"/>
                  </a:lnTo>
                  <a:lnTo>
                    <a:pt x="651" y="1640"/>
                  </a:lnTo>
                  <a:lnTo>
                    <a:pt x="653" y="1640"/>
                  </a:lnTo>
                  <a:lnTo>
                    <a:pt x="653" y="1638"/>
                  </a:lnTo>
                  <a:lnTo>
                    <a:pt x="654" y="1638"/>
                  </a:lnTo>
                  <a:lnTo>
                    <a:pt x="654" y="1636"/>
                  </a:lnTo>
                  <a:lnTo>
                    <a:pt x="656" y="1636"/>
                  </a:lnTo>
                  <a:lnTo>
                    <a:pt x="657" y="1636"/>
                  </a:lnTo>
                  <a:lnTo>
                    <a:pt x="659" y="1638"/>
                  </a:lnTo>
                  <a:lnTo>
                    <a:pt x="661" y="1638"/>
                  </a:lnTo>
                  <a:lnTo>
                    <a:pt x="661" y="1640"/>
                  </a:lnTo>
                  <a:lnTo>
                    <a:pt x="662" y="1640"/>
                  </a:lnTo>
                  <a:lnTo>
                    <a:pt x="662" y="1641"/>
                  </a:lnTo>
                  <a:lnTo>
                    <a:pt x="661" y="1643"/>
                  </a:lnTo>
                  <a:lnTo>
                    <a:pt x="661" y="1645"/>
                  </a:lnTo>
                  <a:lnTo>
                    <a:pt x="659" y="1646"/>
                  </a:lnTo>
                  <a:lnTo>
                    <a:pt x="659" y="1648"/>
                  </a:lnTo>
                  <a:lnTo>
                    <a:pt x="659" y="1649"/>
                  </a:lnTo>
                  <a:lnTo>
                    <a:pt x="659" y="1651"/>
                  </a:lnTo>
                  <a:lnTo>
                    <a:pt x="657" y="1651"/>
                  </a:lnTo>
                  <a:lnTo>
                    <a:pt x="657" y="1654"/>
                  </a:lnTo>
                  <a:lnTo>
                    <a:pt x="657" y="1656"/>
                  </a:lnTo>
                  <a:lnTo>
                    <a:pt x="656" y="1659"/>
                  </a:lnTo>
                  <a:lnTo>
                    <a:pt x="654" y="1659"/>
                  </a:lnTo>
                  <a:lnTo>
                    <a:pt x="654" y="1662"/>
                  </a:lnTo>
                  <a:lnTo>
                    <a:pt x="654" y="1664"/>
                  </a:lnTo>
                  <a:lnTo>
                    <a:pt x="654" y="1666"/>
                  </a:lnTo>
                  <a:lnTo>
                    <a:pt x="654" y="1667"/>
                  </a:lnTo>
                  <a:lnTo>
                    <a:pt x="654" y="1669"/>
                  </a:lnTo>
                  <a:lnTo>
                    <a:pt x="653" y="1671"/>
                  </a:lnTo>
                  <a:lnTo>
                    <a:pt x="653" y="1672"/>
                  </a:lnTo>
                  <a:lnTo>
                    <a:pt x="653" y="1674"/>
                  </a:lnTo>
                  <a:lnTo>
                    <a:pt x="653" y="1676"/>
                  </a:lnTo>
                  <a:lnTo>
                    <a:pt x="651" y="1677"/>
                  </a:lnTo>
                  <a:lnTo>
                    <a:pt x="651" y="1679"/>
                  </a:lnTo>
                  <a:lnTo>
                    <a:pt x="651" y="1680"/>
                  </a:lnTo>
                  <a:lnTo>
                    <a:pt x="651" y="1682"/>
                  </a:lnTo>
                  <a:lnTo>
                    <a:pt x="651" y="1684"/>
                  </a:lnTo>
                  <a:lnTo>
                    <a:pt x="651" y="1685"/>
                  </a:lnTo>
                  <a:lnTo>
                    <a:pt x="649" y="1685"/>
                  </a:lnTo>
                  <a:lnTo>
                    <a:pt x="651" y="1685"/>
                  </a:lnTo>
                  <a:lnTo>
                    <a:pt x="651" y="1687"/>
                  </a:lnTo>
                  <a:lnTo>
                    <a:pt x="651" y="1689"/>
                  </a:lnTo>
                  <a:lnTo>
                    <a:pt x="651" y="1687"/>
                  </a:lnTo>
                  <a:lnTo>
                    <a:pt x="651" y="1685"/>
                  </a:lnTo>
                  <a:lnTo>
                    <a:pt x="651" y="1684"/>
                  </a:lnTo>
                  <a:lnTo>
                    <a:pt x="653" y="1684"/>
                  </a:lnTo>
                  <a:lnTo>
                    <a:pt x="653" y="1682"/>
                  </a:lnTo>
                  <a:lnTo>
                    <a:pt x="653" y="1680"/>
                  </a:lnTo>
                  <a:lnTo>
                    <a:pt x="653" y="1679"/>
                  </a:lnTo>
                  <a:lnTo>
                    <a:pt x="654" y="1679"/>
                  </a:lnTo>
                  <a:lnTo>
                    <a:pt x="653" y="1677"/>
                  </a:lnTo>
                  <a:lnTo>
                    <a:pt x="654" y="1676"/>
                  </a:lnTo>
                  <a:lnTo>
                    <a:pt x="654" y="1674"/>
                  </a:lnTo>
                  <a:lnTo>
                    <a:pt x="654" y="1672"/>
                  </a:lnTo>
                  <a:lnTo>
                    <a:pt x="656" y="1671"/>
                  </a:lnTo>
                  <a:lnTo>
                    <a:pt x="656" y="1669"/>
                  </a:lnTo>
                  <a:lnTo>
                    <a:pt x="656" y="1667"/>
                  </a:lnTo>
                  <a:lnTo>
                    <a:pt x="657" y="1666"/>
                  </a:lnTo>
                  <a:lnTo>
                    <a:pt x="657" y="1664"/>
                  </a:lnTo>
                  <a:lnTo>
                    <a:pt x="657" y="1662"/>
                  </a:lnTo>
                  <a:lnTo>
                    <a:pt x="657" y="1661"/>
                  </a:lnTo>
                  <a:lnTo>
                    <a:pt x="657" y="1659"/>
                  </a:lnTo>
                  <a:lnTo>
                    <a:pt x="657" y="1658"/>
                  </a:lnTo>
                  <a:lnTo>
                    <a:pt x="659" y="1658"/>
                  </a:lnTo>
                  <a:lnTo>
                    <a:pt x="659" y="1656"/>
                  </a:lnTo>
                  <a:lnTo>
                    <a:pt x="661" y="1653"/>
                  </a:lnTo>
                  <a:lnTo>
                    <a:pt x="661" y="1651"/>
                  </a:lnTo>
                  <a:lnTo>
                    <a:pt x="661" y="1648"/>
                  </a:lnTo>
                  <a:lnTo>
                    <a:pt x="662" y="1646"/>
                  </a:lnTo>
                  <a:lnTo>
                    <a:pt x="664" y="1643"/>
                  </a:lnTo>
                  <a:lnTo>
                    <a:pt x="666" y="1645"/>
                  </a:lnTo>
                  <a:lnTo>
                    <a:pt x="666" y="1643"/>
                  </a:lnTo>
                  <a:lnTo>
                    <a:pt x="666" y="1641"/>
                  </a:lnTo>
                  <a:lnTo>
                    <a:pt x="667" y="1641"/>
                  </a:lnTo>
                  <a:lnTo>
                    <a:pt x="669" y="1638"/>
                  </a:lnTo>
                  <a:lnTo>
                    <a:pt x="669" y="1636"/>
                  </a:lnTo>
                  <a:lnTo>
                    <a:pt x="671" y="1636"/>
                  </a:lnTo>
                  <a:lnTo>
                    <a:pt x="672" y="1635"/>
                  </a:lnTo>
                  <a:lnTo>
                    <a:pt x="674" y="1633"/>
                  </a:lnTo>
                  <a:lnTo>
                    <a:pt x="674" y="1632"/>
                  </a:lnTo>
                  <a:lnTo>
                    <a:pt x="675" y="1632"/>
                  </a:lnTo>
                  <a:lnTo>
                    <a:pt x="677" y="1632"/>
                  </a:lnTo>
                  <a:lnTo>
                    <a:pt x="679" y="1633"/>
                  </a:lnTo>
                  <a:lnTo>
                    <a:pt x="680" y="1632"/>
                  </a:lnTo>
                  <a:lnTo>
                    <a:pt x="682" y="1632"/>
                  </a:lnTo>
                  <a:lnTo>
                    <a:pt x="684" y="1632"/>
                  </a:lnTo>
                  <a:lnTo>
                    <a:pt x="685" y="1630"/>
                  </a:lnTo>
                  <a:lnTo>
                    <a:pt x="687" y="1630"/>
                  </a:lnTo>
                  <a:lnTo>
                    <a:pt x="688" y="1632"/>
                  </a:lnTo>
                  <a:lnTo>
                    <a:pt x="690" y="1632"/>
                  </a:lnTo>
                  <a:lnTo>
                    <a:pt x="690" y="1633"/>
                  </a:lnTo>
                  <a:lnTo>
                    <a:pt x="692" y="1633"/>
                  </a:lnTo>
                  <a:lnTo>
                    <a:pt x="692" y="1632"/>
                  </a:lnTo>
                  <a:lnTo>
                    <a:pt x="693" y="1632"/>
                  </a:lnTo>
                  <a:lnTo>
                    <a:pt x="693" y="1630"/>
                  </a:lnTo>
                  <a:lnTo>
                    <a:pt x="695" y="1630"/>
                  </a:lnTo>
                  <a:lnTo>
                    <a:pt x="697" y="1630"/>
                  </a:lnTo>
                  <a:lnTo>
                    <a:pt x="697" y="1628"/>
                  </a:lnTo>
                  <a:lnTo>
                    <a:pt x="695" y="1630"/>
                  </a:lnTo>
                  <a:lnTo>
                    <a:pt x="693" y="1630"/>
                  </a:lnTo>
                  <a:lnTo>
                    <a:pt x="692" y="1630"/>
                  </a:lnTo>
                  <a:lnTo>
                    <a:pt x="690" y="1630"/>
                  </a:lnTo>
                  <a:lnTo>
                    <a:pt x="688" y="1628"/>
                  </a:lnTo>
                  <a:lnTo>
                    <a:pt x="687" y="1628"/>
                  </a:lnTo>
                  <a:lnTo>
                    <a:pt x="684" y="1628"/>
                  </a:lnTo>
                  <a:lnTo>
                    <a:pt x="682" y="1630"/>
                  </a:lnTo>
                  <a:lnTo>
                    <a:pt x="680" y="1628"/>
                  </a:lnTo>
                  <a:lnTo>
                    <a:pt x="682" y="1627"/>
                  </a:lnTo>
                  <a:lnTo>
                    <a:pt x="684" y="1625"/>
                  </a:lnTo>
                  <a:lnTo>
                    <a:pt x="684" y="1623"/>
                  </a:lnTo>
                  <a:lnTo>
                    <a:pt x="685" y="1622"/>
                  </a:lnTo>
                  <a:lnTo>
                    <a:pt x="685" y="1620"/>
                  </a:lnTo>
                  <a:lnTo>
                    <a:pt x="687" y="1620"/>
                  </a:lnTo>
                  <a:lnTo>
                    <a:pt x="687" y="1619"/>
                  </a:lnTo>
                  <a:lnTo>
                    <a:pt x="688" y="1617"/>
                  </a:lnTo>
                  <a:lnTo>
                    <a:pt x="690" y="1617"/>
                  </a:lnTo>
                  <a:lnTo>
                    <a:pt x="688" y="1615"/>
                  </a:lnTo>
                  <a:lnTo>
                    <a:pt x="688" y="1617"/>
                  </a:lnTo>
                  <a:lnTo>
                    <a:pt x="687" y="1617"/>
                  </a:lnTo>
                  <a:lnTo>
                    <a:pt x="687" y="1619"/>
                  </a:lnTo>
                  <a:lnTo>
                    <a:pt x="685" y="1619"/>
                  </a:lnTo>
                  <a:lnTo>
                    <a:pt x="685" y="1620"/>
                  </a:lnTo>
                  <a:lnTo>
                    <a:pt x="684" y="1622"/>
                  </a:lnTo>
                  <a:lnTo>
                    <a:pt x="684" y="1623"/>
                  </a:lnTo>
                  <a:lnTo>
                    <a:pt x="682" y="1623"/>
                  </a:lnTo>
                  <a:lnTo>
                    <a:pt x="680" y="1623"/>
                  </a:lnTo>
                  <a:lnTo>
                    <a:pt x="682" y="1622"/>
                  </a:lnTo>
                  <a:lnTo>
                    <a:pt x="682" y="1620"/>
                  </a:lnTo>
                  <a:lnTo>
                    <a:pt x="682" y="1619"/>
                  </a:lnTo>
                  <a:lnTo>
                    <a:pt x="684" y="1619"/>
                  </a:lnTo>
                  <a:lnTo>
                    <a:pt x="684" y="1617"/>
                  </a:lnTo>
                  <a:lnTo>
                    <a:pt x="682" y="1619"/>
                  </a:lnTo>
                  <a:lnTo>
                    <a:pt x="680" y="1619"/>
                  </a:lnTo>
                  <a:lnTo>
                    <a:pt x="680" y="1620"/>
                  </a:lnTo>
                  <a:lnTo>
                    <a:pt x="680" y="1622"/>
                  </a:lnTo>
                  <a:lnTo>
                    <a:pt x="680" y="1623"/>
                  </a:lnTo>
                  <a:lnTo>
                    <a:pt x="680" y="1625"/>
                  </a:lnTo>
                  <a:lnTo>
                    <a:pt x="680" y="1627"/>
                  </a:lnTo>
                  <a:lnTo>
                    <a:pt x="680" y="1628"/>
                  </a:lnTo>
                  <a:lnTo>
                    <a:pt x="679" y="1628"/>
                  </a:lnTo>
                  <a:lnTo>
                    <a:pt x="679" y="1630"/>
                  </a:lnTo>
                  <a:lnTo>
                    <a:pt x="677" y="1630"/>
                  </a:lnTo>
                  <a:lnTo>
                    <a:pt x="675" y="1630"/>
                  </a:lnTo>
                  <a:lnTo>
                    <a:pt x="674" y="1630"/>
                  </a:lnTo>
                  <a:lnTo>
                    <a:pt x="672" y="1630"/>
                  </a:lnTo>
                  <a:lnTo>
                    <a:pt x="672" y="1632"/>
                  </a:lnTo>
                  <a:lnTo>
                    <a:pt x="671" y="1632"/>
                  </a:lnTo>
                  <a:lnTo>
                    <a:pt x="669" y="1632"/>
                  </a:lnTo>
                  <a:lnTo>
                    <a:pt x="669" y="1633"/>
                  </a:lnTo>
                  <a:lnTo>
                    <a:pt x="669" y="1635"/>
                  </a:lnTo>
                  <a:lnTo>
                    <a:pt x="667" y="1635"/>
                  </a:lnTo>
                  <a:lnTo>
                    <a:pt x="666" y="1635"/>
                  </a:lnTo>
                  <a:lnTo>
                    <a:pt x="666" y="1636"/>
                  </a:lnTo>
                  <a:lnTo>
                    <a:pt x="664" y="1636"/>
                  </a:lnTo>
                  <a:lnTo>
                    <a:pt x="664" y="1638"/>
                  </a:lnTo>
                  <a:lnTo>
                    <a:pt x="662" y="1636"/>
                  </a:lnTo>
                  <a:lnTo>
                    <a:pt x="662" y="1635"/>
                  </a:lnTo>
                  <a:lnTo>
                    <a:pt x="661" y="1635"/>
                  </a:lnTo>
                  <a:lnTo>
                    <a:pt x="661" y="1633"/>
                  </a:lnTo>
                  <a:lnTo>
                    <a:pt x="661" y="1632"/>
                  </a:lnTo>
                  <a:lnTo>
                    <a:pt x="662" y="1630"/>
                  </a:lnTo>
                  <a:lnTo>
                    <a:pt x="664" y="1628"/>
                  </a:lnTo>
                  <a:lnTo>
                    <a:pt x="666" y="1625"/>
                  </a:lnTo>
                  <a:lnTo>
                    <a:pt x="667" y="1625"/>
                  </a:lnTo>
                  <a:lnTo>
                    <a:pt x="667" y="1623"/>
                  </a:lnTo>
                  <a:lnTo>
                    <a:pt x="666" y="1625"/>
                  </a:lnTo>
                  <a:lnTo>
                    <a:pt x="664" y="1627"/>
                  </a:lnTo>
                  <a:lnTo>
                    <a:pt x="664" y="1628"/>
                  </a:lnTo>
                  <a:lnTo>
                    <a:pt x="662" y="1628"/>
                  </a:lnTo>
                  <a:lnTo>
                    <a:pt x="661" y="1630"/>
                  </a:lnTo>
                  <a:lnTo>
                    <a:pt x="659" y="1632"/>
                  </a:lnTo>
                  <a:lnTo>
                    <a:pt x="659" y="1633"/>
                  </a:lnTo>
                  <a:lnTo>
                    <a:pt x="657" y="1633"/>
                  </a:lnTo>
                  <a:lnTo>
                    <a:pt x="656" y="1633"/>
                  </a:lnTo>
                  <a:lnTo>
                    <a:pt x="654" y="1633"/>
                  </a:lnTo>
                  <a:lnTo>
                    <a:pt x="653" y="1633"/>
                  </a:lnTo>
                  <a:lnTo>
                    <a:pt x="651" y="1635"/>
                  </a:lnTo>
                  <a:lnTo>
                    <a:pt x="649" y="1635"/>
                  </a:lnTo>
                  <a:lnTo>
                    <a:pt x="648" y="1636"/>
                  </a:lnTo>
                  <a:lnTo>
                    <a:pt x="646" y="1636"/>
                  </a:lnTo>
                  <a:lnTo>
                    <a:pt x="644" y="1636"/>
                  </a:lnTo>
                  <a:lnTo>
                    <a:pt x="644" y="1638"/>
                  </a:lnTo>
                  <a:lnTo>
                    <a:pt x="643" y="1638"/>
                  </a:lnTo>
                  <a:lnTo>
                    <a:pt x="641" y="1638"/>
                  </a:lnTo>
                  <a:lnTo>
                    <a:pt x="640" y="1640"/>
                  </a:lnTo>
                  <a:lnTo>
                    <a:pt x="638" y="1641"/>
                  </a:lnTo>
                  <a:lnTo>
                    <a:pt x="636" y="1641"/>
                  </a:lnTo>
                  <a:lnTo>
                    <a:pt x="635" y="1641"/>
                  </a:lnTo>
                  <a:lnTo>
                    <a:pt x="633" y="1640"/>
                  </a:lnTo>
                  <a:lnTo>
                    <a:pt x="633" y="1638"/>
                  </a:lnTo>
                  <a:lnTo>
                    <a:pt x="631" y="1636"/>
                  </a:lnTo>
                  <a:lnTo>
                    <a:pt x="631" y="1635"/>
                  </a:lnTo>
                  <a:lnTo>
                    <a:pt x="631" y="1633"/>
                  </a:lnTo>
                  <a:lnTo>
                    <a:pt x="631" y="1630"/>
                  </a:lnTo>
                  <a:lnTo>
                    <a:pt x="630" y="1630"/>
                  </a:lnTo>
                  <a:lnTo>
                    <a:pt x="630" y="1632"/>
                  </a:lnTo>
                  <a:lnTo>
                    <a:pt x="631" y="1633"/>
                  </a:lnTo>
                  <a:lnTo>
                    <a:pt x="631" y="1636"/>
                  </a:lnTo>
                  <a:lnTo>
                    <a:pt x="631" y="1638"/>
                  </a:lnTo>
                  <a:lnTo>
                    <a:pt x="633" y="1640"/>
                  </a:lnTo>
                  <a:lnTo>
                    <a:pt x="633" y="1641"/>
                  </a:lnTo>
                  <a:lnTo>
                    <a:pt x="635" y="1643"/>
                  </a:lnTo>
                  <a:lnTo>
                    <a:pt x="633" y="1643"/>
                  </a:lnTo>
                  <a:lnTo>
                    <a:pt x="633" y="1645"/>
                  </a:lnTo>
                  <a:lnTo>
                    <a:pt x="631" y="1645"/>
                  </a:lnTo>
                  <a:lnTo>
                    <a:pt x="631" y="1643"/>
                  </a:lnTo>
                  <a:lnTo>
                    <a:pt x="630" y="1643"/>
                  </a:lnTo>
                  <a:lnTo>
                    <a:pt x="630" y="1641"/>
                  </a:lnTo>
                  <a:lnTo>
                    <a:pt x="628" y="1643"/>
                  </a:lnTo>
                  <a:lnTo>
                    <a:pt x="630" y="1643"/>
                  </a:lnTo>
                  <a:lnTo>
                    <a:pt x="630" y="1645"/>
                  </a:lnTo>
                  <a:lnTo>
                    <a:pt x="628" y="1645"/>
                  </a:lnTo>
                  <a:lnTo>
                    <a:pt x="627" y="1645"/>
                  </a:lnTo>
                  <a:lnTo>
                    <a:pt x="625" y="1645"/>
                  </a:lnTo>
                  <a:lnTo>
                    <a:pt x="625" y="1643"/>
                  </a:lnTo>
                  <a:lnTo>
                    <a:pt x="625" y="1645"/>
                  </a:lnTo>
                  <a:lnTo>
                    <a:pt x="627" y="1645"/>
                  </a:lnTo>
                  <a:lnTo>
                    <a:pt x="627" y="1646"/>
                  </a:lnTo>
                  <a:lnTo>
                    <a:pt x="627" y="1648"/>
                  </a:lnTo>
                  <a:lnTo>
                    <a:pt x="627" y="1646"/>
                  </a:lnTo>
                  <a:lnTo>
                    <a:pt x="628" y="1646"/>
                  </a:lnTo>
                  <a:lnTo>
                    <a:pt x="628" y="1648"/>
                  </a:lnTo>
                  <a:lnTo>
                    <a:pt x="630" y="1648"/>
                  </a:lnTo>
                  <a:lnTo>
                    <a:pt x="630" y="1649"/>
                  </a:lnTo>
                  <a:lnTo>
                    <a:pt x="628" y="1651"/>
                  </a:lnTo>
                  <a:lnTo>
                    <a:pt x="627" y="1651"/>
                  </a:lnTo>
                  <a:lnTo>
                    <a:pt x="627" y="1653"/>
                  </a:lnTo>
                  <a:lnTo>
                    <a:pt x="627" y="1654"/>
                  </a:lnTo>
                  <a:lnTo>
                    <a:pt x="627" y="1656"/>
                  </a:lnTo>
                  <a:lnTo>
                    <a:pt x="628" y="1656"/>
                  </a:lnTo>
                  <a:lnTo>
                    <a:pt x="628" y="1658"/>
                  </a:lnTo>
                  <a:lnTo>
                    <a:pt x="627" y="1658"/>
                  </a:lnTo>
                  <a:lnTo>
                    <a:pt x="627" y="1659"/>
                  </a:lnTo>
                  <a:lnTo>
                    <a:pt x="625" y="1661"/>
                  </a:lnTo>
                  <a:lnTo>
                    <a:pt x="625" y="1662"/>
                  </a:lnTo>
                  <a:lnTo>
                    <a:pt x="623" y="1662"/>
                  </a:lnTo>
                  <a:lnTo>
                    <a:pt x="623" y="1661"/>
                  </a:lnTo>
                  <a:lnTo>
                    <a:pt x="623" y="1659"/>
                  </a:lnTo>
                  <a:lnTo>
                    <a:pt x="623" y="1661"/>
                  </a:lnTo>
                  <a:lnTo>
                    <a:pt x="622" y="1661"/>
                  </a:lnTo>
                  <a:lnTo>
                    <a:pt x="620" y="1661"/>
                  </a:lnTo>
                  <a:lnTo>
                    <a:pt x="618" y="1659"/>
                  </a:lnTo>
                  <a:lnTo>
                    <a:pt x="617" y="1659"/>
                  </a:lnTo>
                  <a:lnTo>
                    <a:pt x="617" y="1658"/>
                  </a:lnTo>
                  <a:lnTo>
                    <a:pt x="615" y="1658"/>
                  </a:lnTo>
                  <a:lnTo>
                    <a:pt x="615" y="1659"/>
                  </a:lnTo>
                  <a:lnTo>
                    <a:pt x="614" y="1661"/>
                  </a:lnTo>
                  <a:lnTo>
                    <a:pt x="614" y="1662"/>
                  </a:lnTo>
                  <a:lnTo>
                    <a:pt x="614" y="1664"/>
                  </a:lnTo>
                  <a:lnTo>
                    <a:pt x="612" y="1664"/>
                  </a:lnTo>
                  <a:lnTo>
                    <a:pt x="612" y="1666"/>
                  </a:lnTo>
                  <a:lnTo>
                    <a:pt x="610" y="1666"/>
                  </a:lnTo>
                  <a:lnTo>
                    <a:pt x="610" y="1667"/>
                  </a:lnTo>
                  <a:lnTo>
                    <a:pt x="610" y="1669"/>
                  </a:lnTo>
                  <a:lnTo>
                    <a:pt x="610" y="1671"/>
                  </a:lnTo>
                  <a:lnTo>
                    <a:pt x="609" y="1672"/>
                  </a:lnTo>
                  <a:lnTo>
                    <a:pt x="610" y="1672"/>
                  </a:lnTo>
                  <a:lnTo>
                    <a:pt x="609" y="1672"/>
                  </a:lnTo>
                  <a:lnTo>
                    <a:pt x="609" y="1674"/>
                  </a:lnTo>
                  <a:lnTo>
                    <a:pt x="607" y="1674"/>
                  </a:lnTo>
                  <a:lnTo>
                    <a:pt x="607" y="1672"/>
                  </a:lnTo>
                  <a:lnTo>
                    <a:pt x="605" y="1672"/>
                  </a:lnTo>
                  <a:lnTo>
                    <a:pt x="605" y="1674"/>
                  </a:lnTo>
                  <a:lnTo>
                    <a:pt x="605" y="1676"/>
                  </a:lnTo>
                  <a:lnTo>
                    <a:pt x="605" y="1677"/>
                  </a:lnTo>
                  <a:lnTo>
                    <a:pt x="605" y="1679"/>
                  </a:lnTo>
                  <a:lnTo>
                    <a:pt x="605" y="1680"/>
                  </a:lnTo>
                  <a:lnTo>
                    <a:pt x="607" y="1682"/>
                  </a:lnTo>
                  <a:lnTo>
                    <a:pt x="605" y="1684"/>
                  </a:lnTo>
                  <a:lnTo>
                    <a:pt x="607" y="1684"/>
                  </a:lnTo>
                  <a:lnTo>
                    <a:pt x="607" y="1685"/>
                  </a:lnTo>
                  <a:lnTo>
                    <a:pt x="605" y="1685"/>
                  </a:lnTo>
                  <a:lnTo>
                    <a:pt x="605" y="1687"/>
                  </a:lnTo>
                  <a:lnTo>
                    <a:pt x="607" y="1687"/>
                  </a:lnTo>
                  <a:lnTo>
                    <a:pt x="605" y="1689"/>
                  </a:lnTo>
                  <a:lnTo>
                    <a:pt x="605" y="1690"/>
                  </a:lnTo>
                  <a:lnTo>
                    <a:pt x="605" y="1692"/>
                  </a:lnTo>
                  <a:lnTo>
                    <a:pt x="604" y="1693"/>
                  </a:lnTo>
                  <a:lnTo>
                    <a:pt x="602" y="1695"/>
                  </a:lnTo>
                  <a:lnTo>
                    <a:pt x="601" y="1697"/>
                  </a:lnTo>
                  <a:lnTo>
                    <a:pt x="599" y="1698"/>
                  </a:lnTo>
                  <a:lnTo>
                    <a:pt x="597" y="1698"/>
                  </a:lnTo>
                  <a:lnTo>
                    <a:pt x="599" y="1697"/>
                  </a:lnTo>
                  <a:lnTo>
                    <a:pt x="597" y="1697"/>
                  </a:lnTo>
                  <a:lnTo>
                    <a:pt x="599" y="1697"/>
                  </a:lnTo>
                  <a:lnTo>
                    <a:pt x="597" y="1697"/>
                  </a:lnTo>
                  <a:lnTo>
                    <a:pt x="597" y="1695"/>
                  </a:lnTo>
                  <a:lnTo>
                    <a:pt x="599" y="1695"/>
                  </a:lnTo>
                  <a:lnTo>
                    <a:pt x="599" y="1693"/>
                  </a:lnTo>
                  <a:lnTo>
                    <a:pt x="597" y="1693"/>
                  </a:lnTo>
                  <a:lnTo>
                    <a:pt x="597" y="1695"/>
                  </a:lnTo>
                  <a:lnTo>
                    <a:pt x="597" y="1693"/>
                  </a:lnTo>
                  <a:lnTo>
                    <a:pt x="597" y="1695"/>
                  </a:lnTo>
                  <a:lnTo>
                    <a:pt x="597" y="1697"/>
                  </a:lnTo>
                  <a:lnTo>
                    <a:pt x="596" y="1697"/>
                  </a:lnTo>
                  <a:lnTo>
                    <a:pt x="596" y="1698"/>
                  </a:lnTo>
                  <a:lnTo>
                    <a:pt x="594" y="1698"/>
                  </a:lnTo>
                  <a:lnTo>
                    <a:pt x="594" y="1697"/>
                  </a:lnTo>
                  <a:lnTo>
                    <a:pt x="594" y="1695"/>
                  </a:lnTo>
                  <a:lnTo>
                    <a:pt x="594" y="1693"/>
                  </a:lnTo>
                  <a:lnTo>
                    <a:pt x="594" y="1695"/>
                  </a:lnTo>
                  <a:lnTo>
                    <a:pt x="592" y="1695"/>
                  </a:lnTo>
                  <a:lnTo>
                    <a:pt x="592" y="1693"/>
                  </a:lnTo>
                  <a:lnTo>
                    <a:pt x="591" y="1693"/>
                  </a:lnTo>
                  <a:lnTo>
                    <a:pt x="592" y="1693"/>
                  </a:lnTo>
                  <a:lnTo>
                    <a:pt x="591" y="1693"/>
                  </a:lnTo>
                  <a:lnTo>
                    <a:pt x="591" y="1692"/>
                  </a:lnTo>
                  <a:lnTo>
                    <a:pt x="592" y="1692"/>
                  </a:lnTo>
                  <a:lnTo>
                    <a:pt x="591" y="1692"/>
                  </a:lnTo>
                  <a:lnTo>
                    <a:pt x="592" y="1692"/>
                  </a:lnTo>
                  <a:lnTo>
                    <a:pt x="591" y="1692"/>
                  </a:lnTo>
                  <a:lnTo>
                    <a:pt x="591" y="1690"/>
                  </a:lnTo>
                  <a:lnTo>
                    <a:pt x="591" y="1689"/>
                  </a:lnTo>
                  <a:lnTo>
                    <a:pt x="591" y="1687"/>
                  </a:lnTo>
                  <a:lnTo>
                    <a:pt x="591" y="1689"/>
                  </a:lnTo>
                  <a:lnTo>
                    <a:pt x="591" y="1685"/>
                  </a:lnTo>
                  <a:lnTo>
                    <a:pt x="592" y="1684"/>
                  </a:lnTo>
                  <a:lnTo>
                    <a:pt x="594" y="1687"/>
                  </a:lnTo>
                  <a:lnTo>
                    <a:pt x="594" y="1685"/>
                  </a:lnTo>
                  <a:lnTo>
                    <a:pt x="596" y="1685"/>
                  </a:lnTo>
                  <a:lnTo>
                    <a:pt x="597" y="1685"/>
                  </a:lnTo>
                  <a:lnTo>
                    <a:pt x="597" y="1687"/>
                  </a:lnTo>
                  <a:lnTo>
                    <a:pt x="597" y="1689"/>
                  </a:lnTo>
                  <a:lnTo>
                    <a:pt x="597" y="1687"/>
                  </a:lnTo>
                  <a:lnTo>
                    <a:pt x="599" y="1687"/>
                  </a:lnTo>
                  <a:lnTo>
                    <a:pt x="599" y="1685"/>
                  </a:lnTo>
                  <a:lnTo>
                    <a:pt x="599" y="1684"/>
                  </a:lnTo>
                  <a:lnTo>
                    <a:pt x="601" y="1682"/>
                  </a:lnTo>
                  <a:lnTo>
                    <a:pt x="599" y="1684"/>
                  </a:lnTo>
                  <a:lnTo>
                    <a:pt x="597" y="1685"/>
                  </a:lnTo>
                  <a:lnTo>
                    <a:pt x="597" y="1684"/>
                  </a:lnTo>
                  <a:lnTo>
                    <a:pt x="597" y="1682"/>
                  </a:lnTo>
                  <a:lnTo>
                    <a:pt x="596" y="1685"/>
                  </a:lnTo>
                  <a:lnTo>
                    <a:pt x="594" y="1685"/>
                  </a:lnTo>
                  <a:lnTo>
                    <a:pt x="594" y="1684"/>
                  </a:lnTo>
                  <a:lnTo>
                    <a:pt x="594" y="1682"/>
                  </a:lnTo>
                  <a:lnTo>
                    <a:pt x="592" y="1682"/>
                  </a:lnTo>
                  <a:lnTo>
                    <a:pt x="594" y="1680"/>
                  </a:lnTo>
                  <a:lnTo>
                    <a:pt x="592" y="1680"/>
                  </a:lnTo>
                  <a:lnTo>
                    <a:pt x="594" y="1680"/>
                  </a:lnTo>
                  <a:lnTo>
                    <a:pt x="592" y="1680"/>
                  </a:lnTo>
                  <a:lnTo>
                    <a:pt x="594" y="1679"/>
                  </a:lnTo>
                  <a:lnTo>
                    <a:pt x="592" y="1679"/>
                  </a:lnTo>
                  <a:lnTo>
                    <a:pt x="594" y="1679"/>
                  </a:lnTo>
                  <a:lnTo>
                    <a:pt x="594" y="1677"/>
                  </a:lnTo>
                  <a:lnTo>
                    <a:pt x="594" y="1679"/>
                  </a:lnTo>
                  <a:lnTo>
                    <a:pt x="592" y="1679"/>
                  </a:lnTo>
                  <a:lnTo>
                    <a:pt x="594" y="1677"/>
                  </a:lnTo>
                  <a:lnTo>
                    <a:pt x="596" y="1677"/>
                  </a:lnTo>
                  <a:lnTo>
                    <a:pt x="596" y="1676"/>
                  </a:lnTo>
                  <a:lnTo>
                    <a:pt x="594" y="1676"/>
                  </a:lnTo>
                  <a:lnTo>
                    <a:pt x="594" y="1674"/>
                  </a:lnTo>
                  <a:lnTo>
                    <a:pt x="592" y="1674"/>
                  </a:lnTo>
                  <a:lnTo>
                    <a:pt x="592" y="1672"/>
                  </a:lnTo>
                  <a:lnTo>
                    <a:pt x="592" y="1671"/>
                  </a:lnTo>
                  <a:lnTo>
                    <a:pt x="594" y="1671"/>
                  </a:lnTo>
                  <a:lnTo>
                    <a:pt x="594" y="1669"/>
                  </a:lnTo>
                  <a:lnTo>
                    <a:pt x="596" y="1669"/>
                  </a:lnTo>
                  <a:lnTo>
                    <a:pt x="594" y="1669"/>
                  </a:lnTo>
                  <a:lnTo>
                    <a:pt x="592" y="1669"/>
                  </a:lnTo>
                  <a:lnTo>
                    <a:pt x="591" y="1669"/>
                  </a:lnTo>
                  <a:lnTo>
                    <a:pt x="591" y="1667"/>
                  </a:lnTo>
                  <a:lnTo>
                    <a:pt x="591" y="1669"/>
                  </a:lnTo>
                  <a:lnTo>
                    <a:pt x="591" y="1671"/>
                  </a:lnTo>
                  <a:lnTo>
                    <a:pt x="591" y="1672"/>
                  </a:lnTo>
                  <a:lnTo>
                    <a:pt x="589" y="1672"/>
                  </a:lnTo>
                  <a:lnTo>
                    <a:pt x="591" y="1672"/>
                  </a:lnTo>
                  <a:lnTo>
                    <a:pt x="589" y="1672"/>
                  </a:lnTo>
                  <a:lnTo>
                    <a:pt x="588" y="1674"/>
                  </a:lnTo>
                  <a:lnTo>
                    <a:pt x="586" y="1674"/>
                  </a:lnTo>
                  <a:lnTo>
                    <a:pt x="584" y="1674"/>
                  </a:lnTo>
                  <a:lnTo>
                    <a:pt x="583" y="1674"/>
                  </a:lnTo>
                  <a:lnTo>
                    <a:pt x="584" y="1674"/>
                  </a:lnTo>
                  <a:lnTo>
                    <a:pt x="583" y="1674"/>
                  </a:lnTo>
                  <a:lnTo>
                    <a:pt x="584" y="1674"/>
                  </a:lnTo>
                  <a:lnTo>
                    <a:pt x="583" y="1674"/>
                  </a:lnTo>
                  <a:lnTo>
                    <a:pt x="583" y="1672"/>
                  </a:lnTo>
                  <a:lnTo>
                    <a:pt x="583" y="1671"/>
                  </a:lnTo>
                  <a:lnTo>
                    <a:pt x="584" y="1671"/>
                  </a:lnTo>
                  <a:lnTo>
                    <a:pt x="584" y="1669"/>
                  </a:lnTo>
                  <a:lnTo>
                    <a:pt x="584" y="1667"/>
                  </a:lnTo>
                  <a:lnTo>
                    <a:pt x="584" y="1669"/>
                  </a:lnTo>
                  <a:lnTo>
                    <a:pt x="584" y="1667"/>
                  </a:lnTo>
                  <a:lnTo>
                    <a:pt x="584" y="1666"/>
                  </a:lnTo>
                  <a:lnTo>
                    <a:pt x="586" y="1666"/>
                  </a:lnTo>
                  <a:lnTo>
                    <a:pt x="588" y="1664"/>
                  </a:lnTo>
                  <a:lnTo>
                    <a:pt x="589" y="1662"/>
                  </a:lnTo>
                  <a:lnTo>
                    <a:pt x="591" y="1662"/>
                  </a:lnTo>
                  <a:lnTo>
                    <a:pt x="592" y="1662"/>
                  </a:lnTo>
                  <a:lnTo>
                    <a:pt x="594" y="1662"/>
                  </a:lnTo>
                  <a:lnTo>
                    <a:pt x="596" y="1661"/>
                  </a:lnTo>
                  <a:lnTo>
                    <a:pt x="594" y="1659"/>
                  </a:lnTo>
                  <a:lnTo>
                    <a:pt x="594" y="1661"/>
                  </a:lnTo>
                  <a:lnTo>
                    <a:pt x="592" y="1661"/>
                  </a:lnTo>
                  <a:lnTo>
                    <a:pt x="591" y="1659"/>
                  </a:lnTo>
                  <a:lnTo>
                    <a:pt x="591" y="1661"/>
                  </a:lnTo>
                  <a:lnTo>
                    <a:pt x="589" y="1661"/>
                  </a:lnTo>
                  <a:lnTo>
                    <a:pt x="589" y="1659"/>
                  </a:lnTo>
                  <a:lnTo>
                    <a:pt x="588" y="1661"/>
                  </a:lnTo>
                  <a:lnTo>
                    <a:pt x="586" y="1661"/>
                  </a:lnTo>
                  <a:lnTo>
                    <a:pt x="588" y="1659"/>
                  </a:lnTo>
                  <a:lnTo>
                    <a:pt x="589" y="1658"/>
                  </a:lnTo>
                  <a:lnTo>
                    <a:pt x="589" y="1656"/>
                  </a:lnTo>
                  <a:lnTo>
                    <a:pt x="589" y="1654"/>
                  </a:lnTo>
                  <a:lnTo>
                    <a:pt x="589" y="1656"/>
                  </a:lnTo>
                  <a:lnTo>
                    <a:pt x="588" y="1656"/>
                  </a:lnTo>
                  <a:lnTo>
                    <a:pt x="588" y="1658"/>
                  </a:lnTo>
                  <a:lnTo>
                    <a:pt x="586" y="1659"/>
                  </a:lnTo>
                  <a:lnTo>
                    <a:pt x="584" y="1661"/>
                  </a:lnTo>
                  <a:lnTo>
                    <a:pt x="584" y="1659"/>
                  </a:lnTo>
                  <a:lnTo>
                    <a:pt x="584" y="1658"/>
                  </a:lnTo>
                  <a:lnTo>
                    <a:pt x="586" y="1656"/>
                  </a:lnTo>
                  <a:lnTo>
                    <a:pt x="588" y="1656"/>
                  </a:lnTo>
                  <a:lnTo>
                    <a:pt x="588" y="1654"/>
                  </a:lnTo>
                  <a:lnTo>
                    <a:pt x="588" y="1656"/>
                  </a:lnTo>
                  <a:lnTo>
                    <a:pt x="588" y="1654"/>
                  </a:lnTo>
                  <a:lnTo>
                    <a:pt x="589" y="1653"/>
                  </a:lnTo>
                  <a:lnTo>
                    <a:pt x="588" y="1653"/>
                  </a:lnTo>
                  <a:lnTo>
                    <a:pt x="589" y="1651"/>
                  </a:lnTo>
                  <a:lnTo>
                    <a:pt x="589" y="1653"/>
                  </a:lnTo>
                  <a:lnTo>
                    <a:pt x="589" y="1651"/>
                  </a:lnTo>
                  <a:lnTo>
                    <a:pt x="589" y="1649"/>
                  </a:lnTo>
                  <a:lnTo>
                    <a:pt x="589" y="1648"/>
                  </a:lnTo>
                  <a:lnTo>
                    <a:pt x="589" y="1646"/>
                  </a:lnTo>
                  <a:lnTo>
                    <a:pt x="591" y="1646"/>
                  </a:lnTo>
                  <a:lnTo>
                    <a:pt x="592" y="1645"/>
                  </a:lnTo>
                  <a:lnTo>
                    <a:pt x="592" y="1643"/>
                  </a:lnTo>
                  <a:lnTo>
                    <a:pt x="594" y="1643"/>
                  </a:lnTo>
                  <a:lnTo>
                    <a:pt x="596" y="1643"/>
                  </a:lnTo>
                  <a:lnTo>
                    <a:pt x="596" y="1641"/>
                  </a:lnTo>
                  <a:lnTo>
                    <a:pt x="596" y="1643"/>
                  </a:lnTo>
                  <a:lnTo>
                    <a:pt x="597" y="1641"/>
                  </a:lnTo>
                  <a:lnTo>
                    <a:pt x="597" y="1640"/>
                  </a:lnTo>
                  <a:lnTo>
                    <a:pt x="599" y="1640"/>
                  </a:lnTo>
                  <a:lnTo>
                    <a:pt x="597" y="1638"/>
                  </a:lnTo>
                  <a:lnTo>
                    <a:pt x="596" y="1640"/>
                  </a:lnTo>
                  <a:lnTo>
                    <a:pt x="596" y="1638"/>
                  </a:lnTo>
                  <a:lnTo>
                    <a:pt x="594" y="1638"/>
                  </a:lnTo>
                  <a:lnTo>
                    <a:pt x="594" y="1640"/>
                  </a:lnTo>
                  <a:lnTo>
                    <a:pt x="594" y="1641"/>
                  </a:lnTo>
                  <a:lnTo>
                    <a:pt x="592" y="1641"/>
                  </a:lnTo>
                  <a:lnTo>
                    <a:pt x="591" y="1645"/>
                  </a:lnTo>
                  <a:lnTo>
                    <a:pt x="591" y="1646"/>
                  </a:lnTo>
                  <a:lnTo>
                    <a:pt x="589" y="1646"/>
                  </a:lnTo>
                  <a:lnTo>
                    <a:pt x="589" y="1645"/>
                  </a:lnTo>
                  <a:lnTo>
                    <a:pt x="589" y="1643"/>
                  </a:lnTo>
                  <a:lnTo>
                    <a:pt x="591" y="1641"/>
                  </a:lnTo>
                  <a:lnTo>
                    <a:pt x="589" y="1641"/>
                  </a:lnTo>
                  <a:lnTo>
                    <a:pt x="589" y="1643"/>
                  </a:lnTo>
                  <a:lnTo>
                    <a:pt x="589" y="1645"/>
                  </a:lnTo>
                  <a:lnTo>
                    <a:pt x="589" y="1646"/>
                  </a:lnTo>
                  <a:lnTo>
                    <a:pt x="588" y="1646"/>
                  </a:lnTo>
                  <a:lnTo>
                    <a:pt x="588" y="1648"/>
                  </a:lnTo>
                  <a:lnTo>
                    <a:pt x="588" y="1649"/>
                  </a:lnTo>
                  <a:lnTo>
                    <a:pt x="586" y="1654"/>
                  </a:lnTo>
                  <a:lnTo>
                    <a:pt x="584" y="1656"/>
                  </a:lnTo>
                  <a:lnTo>
                    <a:pt x="583" y="1658"/>
                  </a:lnTo>
                  <a:lnTo>
                    <a:pt x="583" y="1659"/>
                  </a:lnTo>
                  <a:lnTo>
                    <a:pt x="583" y="1661"/>
                  </a:lnTo>
                  <a:lnTo>
                    <a:pt x="581" y="1662"/>
                  </a:lnTo>
                  <a:lnTo>
                    <a:pt x="579" y="1664"/>
                  </a:lnTo>
                  <a:lnTo>
                    <a:pt x="581" y="1664"/>
                  </a:lnTo>
                  <a:lnTo>
                    <a:pt x="579" y="1666"/>
                  </a:lnTo>
                  <a:lnTo>
                    <a:pt x="579" y="1667"/>
                  </a:lnTo>
                  <a:lnTo>
                    <a:pt x="578" y="1667"/>
                  </a:lnTo>
                  <a:lnTo>
                    <a:pt x="576" y="1667"/>
                  </a:lnTo>
                  <a:lnTo>
                    <a:pt x="575" y="1667"/>
                  </a:lnTo>
                  <a:lnTo>
                    <a:pt x="575" y="1669"/>
                  </a:lnTo>
                  <a:lnTo>
                    <a:pt x="573" y="1671"/>
                  </a:lnTo>
                  <a:lnTo>
                    <a:pt x="575" y="1671"/>
                  </a:lnTo>
                  <a:lnTo>
                    <a:pt x="573" y="1672"/>
                  </a:lnTo>
                  <a:lnTo>
                    <a:pt x="575" y="1672"/>
                  </a:lnTo>
                  <a:lnTo>
                    <a:pt x="573" y="1672"/>
                  </a:lnTo>
                  <a:lnTo>
                    <a:pt x="573" y="1676"/>
                  </a:lnTo>
                  <a:lnTo>
                    <a:pt x="571" y="1676"/>
                  </a:lnTo>
                  <a:lnTo>
                    <a:pt x="571" y="1674"/>
                  </a:lnTo>
                  <a:lnTo>
                    <a:pt x="571" y="1672"/>
                  </a:lnTo>
                  <a:lnTo>
                    <a:pt x="571" y="1674"/>
                  </a:lnTo>
                  <a:lnTo>
                    <a:pt x="571" y="1676"/>
                  </a:lnTo>
                  <a:lnTo>
                    <a:pt x="571" y="1674"/>
                  </a:lnTo>
                  <a:lnTo>
                    <a:pt x="571" y="1676"/>
                  </a:lnTo>
                  <a:lnTo>
                    <a:pt x="571" y="1674"/>
                  </a:lnTo>
                  <a:lnTo>
                    <a:pt x="570" y="1674"/>
                  </a:lnTo>
                  <a:lnTo>
                    <a:pt x="570" y="1672"/>
                  </a:lnTo>
                  <a:lnTo>
                    <a:pt x="570" y="1674"/>
                  </a:lnTo>
                  <a:lnTo>
                    <a:pt x="570" y="1672"/>
                  </a:lnTo>
                  <a:lnTo>
                    <a:pt x="571" y="1672"/>
                  </a:lnTo>
                  <a:lnTo>
                    <a:pt x="570" y="1672"/>
                  </a:lnTo>
                  <a:lnTo>
                    <a:pt x="568" y="1672"/>
                  </a:lnTo>
                  <a:lnTo>
                    <a:pt x="568" y="1671"/>
                  </a:lnTo>
                  <a:lnTo>
                    <a:pt x="568" y="1669"/>
                  </a:lnTo>
                  <a:lnTo>
                    <a:pt x="568" y="1671"/>
                  </a:lnTo>
                  <a:lnTo>
                    <a:pt x="570" y="1671"/>
                  </a:lnTo>
                  <a:lnTo>
                    <a:pt x="570" y="1669"/>
                  </a:lnTo>
                  <a:lnTo>
                    <a:pt x="570" y="1667"/>
                  </a:lnTo>
                  <a:lnTo>
                    <a:pt x="570" y="1669"/>
                  </a:lnTo>
                  <a:lnTo>
                    <a:pt x="570" y="1667"/>
                  </a:lnTo>
                  <a:lnTo>
                    <a:pt x="570" y="1669"/>
                  </a:lnTo>
                  <a:lnTo>
                    <a:pt x="568" y="1669"/>
                  </a:lnTo>
                  <a:lnTo>
                    <a:pt x="566" y="1667"/>
                  </a:lnTo>
                  <a:lnTo>
                    <a:pt x="566" y="1666"/>
                  </a:lnTo>
                  <a:lnTo>
                    <a:pt x="565" y="1666"/>
                  </a:lnTo>
                  <a:lnTo>
                    <a:pt x="565" y="1667"/>
                  </a:lnTo>
                  <a:lnTo>
                    <a:pt x="565" y="1666"/>
                  </a:lnTo>
                  <a:lnTo>
                    <a:pt x="565" y="1664"/>
                  </a:lnTo>
                  <a:lnTo>
                    <a:pt x="566" y="1666"/>
                  </a:lnTo>
                  <a:lnTo>
                    <a:pt x="565" y="1664"/>
                  </a:lnTo>
                  <a:lnTo>
                    <a:pt x="566" y="1664"/>
                  </a:lnTo>
                  <a:lnTo>
                    <a:pt x="566" y="1662"/>
                  </a:lnTo>
                  <a:lnTo>
                    <a:pt x="566" y="1664"/>
                  </a:lnTo>
                  <a:lnTo>
                    <a:pt x="568" y="1664"/>
                  </a:lnTo>
                  <a:lnTo>
                    <a:pt x="568" y="1662"/>
                  </a:lnTo>
                  <a:lnTo>
                    <a:pt x="570" y="1664"/>
                  </a:lnTo>
                  <a:lnTo>
                    <a:pt x="570" y="1662"/>
                  </a:lnTo>
                  <a:lnTo>
                    <a:pt x="568" y="1662"/>
                  </a:lnTo>
                  <a:lnTo>
                    <a:pt x="568" y="1661"/>
                  </a:lnTo>
                  <a:lnTo>
                    <a:pt x="566" y="1661"/>
                  </a:lnTo>
                  <a:lnTo>
                    <a:pt x="565" y="1661"/>
                  </a:lnTo>
                  <a:lnTo>
                    <a:pt x="565" y="1662"/>
                  </a:lnTo>
                  <a:lnTo>
                    <a:pt x="563" y="1662"/>
                  </a:lnTo>
                  <a:lnTo>
                    <a:pt x="563" y="1661"/>
                  </a:lnTo>
                  <a:lnTo>
                    <a:pt x="563" y="1662"/>
                  </a:lnTo>
                  <a:lnTo>
                    <a:pt x="563" y="1661"/>
                  </a:lnTo>
                  <a:lnTo>
                    <a:pt x="563" y="1662"/>
                  </a:lnTo>
                  <a:lnTo>
                    <a:pt x="562" y="1662"/>
                  </a:lnTo>
                  <a:lnTo>
                    <a:pt x="562" y="1664"/>
                  </a:lnTo>
                  <a:lnTo>
                    <a:pt x="560" y="1664"/>
                  </a:lnTo>
                  <a:lnTo>
                    <a:pt x="560" y="1662"/>
                  </a:lnTo>
                  <a:lnTo>
                    <a:pt x="560" y="1664"/>
                  </a:lnTo>
                  <a:lnTo>
                    <a:pt x="560" y="1662"/>
                  </a:lnTo>
                  <a:lnTo>
                    <a:pt x="560" y="1661"/>
                  </a:lnTo>
                  <a:lnTo>
                    <a:pt x="562" y="1661"/>
                  </a:lnTo>
                  <a:lnTo>
                    <a:pt x="563" y="1661"/>
                  </a:lnTo>
                  <a:lnTo>
                    <a:pt x="562" y="1659"/>
                  </a:lnTo>
                  <a:lnTo>
                    <a:pt x="563" y="1659"/>
                  </a:lnTo>
                  <a:lnTo>
                    <a:pt x="563" y="1658"/>
                  </a:lnTo>
                  <a:lnTo>
                    <a:pt x="565" y="1658"/>
                  </a:lnTo>
                  <a:lnTo>
                    <a:pt x="566" y="1656"/>
                  </a:lnTo>
                  <a:lnTo>
                    <a:pt x="566" y="1654"/>
                  </a:lnTo>
                  <a:lnTo>
                    <a:pt x="565" y="1654"/>
                  </a:lnTo>
                  <a:lnTo>
                    <a:pt x="565" y="1656"/>
                  </a:lnTo>
                  <a:lnTo>
                    <a:pt x="563" y="1656"/>
                  </a:lnTo>
                  <a:lnTo>
                    <a:pt x="562" y="1654"/>
                  </a:lnTo>
                  <a:lnTo>
                    <a:pt x="562" y="1656"/>
                  </a:lnTo>
                  <a:lnTo>
                    <a:pt x="562" y="1654"/>
                  </a:lnTo>
                  <a:lnTo>
                    <a:pt x="562" y="1656"/>
                  </a:lnTo>
                  <a:lnTo>
                    <a:pt x="563" y="1656"/>
                  </a:lnTo>
                  <a:lnTo>
                    <a:pt x="562" y="1656"/>
                  </a:lnTo>
                  <a:lnTo>
                    <a:pt x="562" y="1658"/>
                  </a:lnTo>
                  <a:lnTo>
                    <a:pt x="562" y="1659"/>
                  </a:lnTo>
                  <a:lnTo>
                    <a:pt x="562" y="1658"/>
                  </a:lnTo>
                  <a:lnTo>
                    <a:pt x="560" y="1658"/>
                  </a:lnTo>
                  <a:lnTo>
                    <a:pt x="558" y="1658"/>
                  </a:lnTo>
                  <a:lnTo>
                    <a:pt x="560" y="1658"/>
                  </a:lnTo>
                  <a:lnTo>
                    <a:pt x="558" y="1659"/>
                  </a:lnTo>
                  <a:lnTo>
                    <a:pt x="560" y="1658"/>
                  </a:lnTo>
                  <a:lnTo>
                    <a:pt x="560" y="1659"/>
                  </a:lnTo>
                  <a:lnTo>
                    <a:pt x="558" y="1659"/>
                  </a:lnTo>
                  <a:lnTo>
                    <a:pt x="558" y="1658"/>
                  </a:lnTo>
                  <a:lnTo>
                    <a:pt x="560" y="1656"/>
                  </a:lnTo>
                  <a:lnTo>
                    <a:pt x="558" y="1656"/>
                  </a:lnTo>
                  <a:lnTo>
                    <a:pt x="560" y="1656"/>
                  </a:lnTo>
                  <a:lnTo>
                    <a:pt x="560" y="1654"/>
                  </a:lnTo>
                  <a:lnTo>
                    <a:pt x="560" y="1656"/>
                  </a:lnTo>
                  <a:lnTo>
                    <a:pt x="558" y="1656"/>
                  </a:lnTo>
                  <a:lnTo>
                    <a:pt x="558" y="1654"/>
                  </a:lnTo>
                  <a:lnTo>
                    <a:pt x="557" y="1653"/>
                  </a:lnTo>
                  <a:lnTo>
                    <a:pt x="557" y="1651"/>
                  </a:lnTo>
                  <a:lnTo>
                    <a:pt x="557" y="1649"/>
                  </a:lnTo>
                  <a:lnTo>
                    <a:pt x="558" y="1649"/>
                  </a:lnTo>
                  <a:lnTo>
                    <a:pt x="557" y="1648"/>
                  </a:lnTo>
                  <a:lnTo>
                    <a:pt x="558" y="1648"/>
                  </a:lnTo>
                  <a:lnTo>
                    <a:pt x="560" y="1646"/>
                  </a:lnTo>
                  <a:lnTo>
                    <a:pt x="560" y="1648"/>
                  </a:lnTo>
                  <a:lnTo>
                    <a:pt x="560" y="1646"/>
                  </a:lnTo>
                  <a:lnTo>
                    <a:pt x="562" y="1648"/>
                  </a:lnTo>
                  <a:lnTo>
                    <a:pt x="562" y="1646"/>
                  </a:lnTo>
                  <a:lnTo>
                    <a:pt x="560" y="1645"/>
                  </a:lnTo>
                  <a:lnTo>
                    <a:pt x="560" y="1643"/>
                  </a:lnTo>
                  <a:lnTo>
                    <a:pt x="558" y="1643"/>
                  </a:lnTo>
                  <a:lnTo>
                    <a:pt x="560" y="1643"/>
                  </a:lnTo>
                  <a:lnTo>
                    <a:pt x="560" y="1645"/>
                  </a:lnTo>
                  <a:lnTo>
                    <a:pt x="560" y="1646"/>
                  </a:lnTo>
                  <a:lnTo>
                    <a:pt x="558" y="1646"/>
                  </a:lnTo>
                  <a:lnTo>
                    <a:pt x="558" y="1645"/>
                  </a:lnTo>
                  <a:lnTo>
                    <a:pt x="558" y="1646"/>
                  </a:lnTo>
                  <a:lnTo>
                    <a:pt x="557" y="1646"/>
                  </a:lnTo>
                  <a:lnTo>
                    <a:pt x="557" y="1645"/>
                  </a:lnTo>
                  <a:lnTo>
                    <a:pt x="555" y="1643"/>
                  </a:lnTo>
                  <a:lnTo>
                    <a:pt x="557" y="1643"/>
                  </a:lnTo>
                  <a:lnTo>
                    <a:pt x="557" y="1641"/>
                  </a:lnTo>
                  <a:lnTo>
                    <a:pt x="557" y="1643"/>
                  </a:lnTo>
                  <a:lnTo>
                    <a:pt x="555" y="1643"/>
                  </a:lnTo>
                  <a:lnTo>
                    <a:pt x="557" y="1643"/>
                  </a:lnTo>
                  <a:lnTo>
                    <a:pt x="555" y="1641"/>
                  </a:lnTo>
                  <a:lnTo>
                    <a:pt x="557" y="1641"/>
                  </a:lnTo>
                  <a:lnTo>
                    <a:pt x="555" y="1640"/>
                  </a:lnTo>
                  <a:lnTo>
                    <a:pt x="557" y="1638"/>
                  </a:lnTo>
                  <a:lnTo>
                    <a:pt x="558" y="1638"/>
                  </a:lnTo>
                  <a:lnTo>
                    <a:pt x="558" y="1636"/>
                  </a:lnTo>
                  <a:lnTo>
                    <a:pt x="560" y="1636"/>
                  </a:lnTo>
                  <a:lnTo>
                    <a:pt x="562" y="1636"/>
                  </a:lnTo>
                  <a:lnTo>
                    <a:pt x="563" y="1636"/>
                  </a:lnTo>
                  <a:lnTo>
                    <a:pt x="565" y="1636"/>
                  </a:lnTo>
                  <a:lnTo>
                    <a:pt x="565" y="1638"/>
                  </a:lnTo>
                  <a:lnTo>
                    <a:pt x="566" y="1638"/>
                  </a:lnTo>
                  <a:lnTo>
                    <a:pt x="566" y="1640"/>
                  </a:lnTo>
                  <a:lnTo>
                    <a:pt x="568" y="1640"/>
                  </a:lnTo>
                  <a:lnTo>
                    <a:pt x="568" y="1638"/>
                  </a:lnTo>
                  <a:lnTo>
                    <a:pt x="566" y="1640"/>
                  </a:lnTo>
                  <a:lnTo>
                    <a:pt x="566" y="1638"/>
                  </a:lnTo>
                  <a:lnTo>
                    <a:pt x="565" y="1636"/>
                  </a:lnTo>
                  <a:lnTo>
                    <a:pt x="566" y="1636"/>
                  </a:lnTo>
                  <a:lnTo>
                    <a:pt x="565" y="1636"/>
                  </a:lnTo>
                  <a:lnTo>
                    <a:pt x="566" y="1636"/>
                  </a:lnTo>
                  <a:lnTo>
                    <a:pt x="566" y="1635"/>
                  </a:lnTo>
                  <a:lnTo>
                    <a:pt x="566" y="1633"/>
                  </a:lnTo>
                  <a:lnTo>
                    <a:pt x="565" y="1633"/>
                  </a:lnTo>
                  <a:lnTo>
                    <a:pt x="565" y="1632"/>
                  </a:lnTo>
                  <a:lnTo>
                    <a:pt x="563" y="1632"/>
                  </a:lnTo>
                  <a:lnTo>
                    <a:pt x="565" y="1630"/>
                  </a:lnTo>
                  <a:lnTo>
                    <a:pt x="563" y="1630"/>
                  </a:lnTo>
                  <a:lnTo>
                    <a:pt x="565" y="1630"/>
                  </a:lnTo>
                  <a:lnTo>
                    <a:pt x="566" y="1632"/>
                  </a:lnTo>
                  <a:lnTo>
                    <a:pt x="566" y="1630"/>
                  </a:lnTo>
                  <a:lnTo>
                    <a:pt x="565" y="1630"/>
                  </a:lnTo>
                  <a:lnTo>
                    <a:pt x="565" y="1628"/>
                  </a:lnTo>
                  <a:lnTo>
                    <a:pt x="563" y="1628"/>
                  </a:lnTo>
                  <a:lnTo>
                    <a:pt x="563" y="1627"/>
                  </a:lnTo>
                  <a:lnTo>
                    <a:pt x="563" y="1625"/>
                  </a:lnTo>
                  <a:lnTo>
                    <a:pt x="563" y="1622"/>
                  </a:lnTo>
                  <a:lnTo>
                    <a:pt x="563" y="1620"/>
                  </a:lnTo>
                  <a:lnTo>
                    <a:pt x="565" y="1620"/>
                  </a:lnTo>
                  <a:lnTo>
                    <a:pt x="565" y="1619"/>
                  </a:lnTo>
                  <a:lnTo>
                    <a:pt x="566" y="1619"/>
                  </a:lnTo>
                  <a:lnTo>
                    <a:pt x="568" y="1619"/>
                  </a:lnTo>
                  <a:lnTo>
                    <a:pt x="570" y="1620"/>
                  </a:lnTo>
                  <a:lnTo>
                    <a:pt x="571" y="1620"/>
                  </a:lnTo>
                  <a:lnTo>
                    <a:pt x="571" y="1622"/>
                  </a:lnTo>
                  <a:lnTo>
                    <a:pt x="573" y="1623"/>
                  </a:lnTo>
                  <a:lnTo>
                    <a:pt x="575" y="1625"/>
                  </a:lnTo>
                  <a:lnTo>
                    <a:pt x="575" y="1627"/>
                  </a:lnTo>
                  <a:lnTo>
                    <a:pt x="576" y="1628"/>
                  </a:lnTo>
                  <a:lnTo>
                    <a:pt x="576" y="1630"/>
                  </a:lnTo>
                  <a:lnTo>
                    <a:pt x="576" y="1632"/>
                  </a:lnTo>
                  <a:lnTo>
                    <a:pt x="576" y="1633"/>
                  </a:lnTo>
                  <a:lnTo>
                    <a:pt x="578" y="1633"/>
                  </a:lnTo>
                  <a:lnTo>
                    <a:pt x="576" y="1632"/>
                  </a:lnTo>
                  <a:lnTo>
                    <a:pt x="576" y="1628"/>
                  </a:lnTo>
                  <a:lnTo>
                    <a:pt x="578" y="1630"/>
                  </a:lnTo>
                  <a:lnTo>
                    <a:pt x="578" y="1632"/>
                  </a:lnTo>
                  <a:lnTo>
                    <a:pt x="579" y="1632"/>
                  </a:lnTo>
                  <a:lnTo>
                    <a:pt x="579" y="1633"/>
                  </a:lnTo>
                  <a:lnTo>
                    <a:pt x="581" y="1635"/>
                  </a:lnTo>
                  <a:lnTo>
                    <a:pt x="583" y="1633"/>
                  </a:lnTo>
                  <a:lnTo>
                    <a:pt x="584" y="1633"/>
                  </a:lnTo>
                  <a:lnTo>
                    <a:pt x="586" y="1633"/>
                  </a:lnTo>
                  <a:lnTo>
                    <a:pt x="588" y="1633"/>
                  </a:lnTo>
                  <a:lnTo>
                    <a:pt x="589" y="1633"/>
                  </a:lnTo>
                  <a:lnTo>
                    <a:pt x="589" y="1632"/>
                  </a:lnTo>
                  <a:lnTo>
                    <a:pt x="589" y="1630"/>
                  </a:lnTo>
                  <a:lnTo>
                    <a:pt x="591" y="1628"/>
                  </a:lnTo>
                  <a:lnTo>
                    <a:pt x="592" y="1628"/>
                  </a:lnTo>
                  <a:lnTo>
                    <a:pt x="592" y="1630"/>
                  </a:lnTo>
                  <a:lnTo>
                    <a:pt x="594" y="1630"/>
                  </a:lnTo>
                  <a:lnTo>
                    <a:pt x="596" y="1630"/>
                  </a:lnTo>
                  <a:lnTo>
                    <a:pt x="597" y="1630"/>
                  </a:lnTo>
                  <a:lnTo>
                    <a:pt x="597" y="1628"/>
                  </a:lnTo>
                  <a:lnTo>
                    <a:pt x="597" y="1627"/>
                  </a:lnTo>
                  <a:lnTo>
                    <a:pt x="597" y="1625"/>
                  </a:lnTo>
                  <a:lnTo>
                    <a:pt x="596" y="1622"/>
                  </a:lnTo>
                  <a:lnTo>
                    <a:pt x="596" y="1620"/>
                  </a:lnTo>
                  <a:lnTo>
                    <a:pt x="596" y="1619"/>
                  </a:lnTo>
                  <a:lnTo>
                    <a:pt x="596" y="1617"/>
                  </a:lnTo>
                  <a:lnTo>
                    <a:pt x="597" y="1617"/>
                  </a:lnTo>
                  <a:lnTo>
                    <a:pt x="596" y="1615"/>
                  </a:lnTo>
                  <a:lnTo>
                    <a:pt x="597" y="1615"/>
                  </a:lnTo>
                  <a:lnTo>
                    <a:pt x="597" y="1614"/>
                  </a:lnTo>
                  <a:lnTo>
                    <a:pt x="597" y="1612"/>
                  </a:lnTo>
                  <a:lnTo>
                    <a:pt x="597" y="1610"/>
                  </a:lnTo>
                  <a:lnTo>
                    <a:pt x="597" y="1606"/>
                  </a:lnTo>
                  <a:lnTo>
                    <a:pt x="599" y="1604"/>
                  </a:lnTo>
                  <a:lnTo>
                    <a:pt x="599" y="1602"/>
                  </a:lnTo>
                  <a:lnTo>
                    <a:pt x="599" y="1601"/>
                  </a:lnTo>
                  <a:lnTo>
                    <a:pt x="599" y="1599"/>
                  </a:lnTo>
                  <a:lnTo>
                    <a:pt x="599" y="1597"/>
                  </a:lnTo>
                  <a:lnTo>
                    <a:pt x="599" y="1596"/>
                  </a:lnTo>
                  <a:lnTo>
                    <a:pt x="601" y="1596"/>
                  </a:lnTo>
                  <a:lnTo>
                    <a:pt x="602" y="1594"/>
                  </a:lnTo>
                  <a:lnTo>
                    <a:pt x="602" y="1593"/>
                  </a:lnTo>
                  <a:lnTo>
                    <a:pt x="604" y="1591"/>
                  </a:lnTo>
                  <a:lnTo>
                    <a:pt x="602" y="1591"/>
                  </a:lnTo>
                  <a:lnTo>
                    <a:pt x="604" y="1591"/>
                  </a:lnTo>
                  <a:lnTo>
                    <a:pt x="602" y="1591"/>
                  </a:lnTo>
                  <a:lnTo>
                    <a:pt x="602" y="1593"/>
                  </a:lnTo>
                  <a:lnTo>
                    <a:pt x="601" y="1593"/>
                  </a:lnTo>
                  <a:lnTo>
                    <a:pt x="601" y="1594"/>
                  </a:lnTo>
                  <a:lnTo>
                    <a:pt x="601" y="1596"/>
                  </a:lnTo>
                  <a:lnTo>
                    <a:pt x="599" y="1596"/>
                  </a:lnTo>
                  <a:lnTo>
                    <a:pt x="597" y="1596"/>
                  </a:lnTo>
                  <a:lnTo>
                    <a:pt x="597" y="1594"/>
                  </a:lnTo>
                  <a:lnTo>
                    <a:pt x="596" y="1594"/>
                  </a:lnTo>
                  <a:lnTo>
                    <a:pt x="594" y="1594"/>
                  </a:lnTo>
                  <a:lnTo>
                    <a:pt x="594" y="1593"/>
                  </a:lnTo>
                  <a:lnTo>
                    <a:pt x="594" y="1591"/>
                  </a:lnTo>
                  <a:lnTo>
                    <a:pt x="596" y="1589"/>
                  </a:lnTo>
                  <a:lnTo>
                    <a:pt x="597" y="1589"/>
                  </a:lnTo>
                  <a:lnTo>
                    <a:pt x="597" y="1588"/>
                  </a:lnTo>
                  <a:lnTo>
                    <a:pt x="597" y="1586"/>
                  </a:lnTo>
                  <a:lnTo>
                    <a:pt x="599" y="1588"/>
                  </a:lnTo>
                  <a:lnTo>
                    <a:pt x="599" y="1586"/>
                  </a:lnTo>
                  <a:lnTo>
                    <a:pt x="597" y="1586"/>
                  </a:lnTo>
                  <a:lnTo>
                    <a:pt x="596" y="1586"/>
                  </a:lnTo>
                  <a:lnTo>
                    <a:pt x="596" y="1589"/>
                  </a:lnTo>
                  <a:lnTo>
                    <a:pt x="594" y="1589"/>
                  </a:lnTo>
                  <a:lnTo>
                    <a:pt x="594" y="1591"/>
                  </a:lnTo>
                  <a:lnTo>
                    <a:pt x="592" y="1591"/>
                  </a:lnTo>
                  <a:lnTo>
                    <a:pt x="592" y="1593"/>
                  </a:lnTo>
                  <a:lnTo>
                    <a:pt x="591" y="1593"/>
                  </a:lnTo>
                  <a:lnTo>
                    <a:pt x="589" y="1594"/>
                  </a:lnTo>
                  <a:lnTo>
                    <a:pt x="588" y="1594"/>
                  </a:lnTo>
                  <a:lnTo>
                    <a:pt x="586" y="1594"/>
                  </a:lnTo>
                  <a:lnTo>
                    <a:pt x="586" y="1596"/>
                  </a:lnTo>
                  <a:lnTo>
                    <a:pt x="586" y="1597"/>
                  </a:lnTo>
                  <a:lnTo>
                    <a:pt x="586" y="1599"/>
                  </a:lnTo>
                  <a:lnTo>
                    <a:pt x="588" y="1599"/>
                  </a:lnTo>
                  <a:lnTo>
                    <a:pt x="588" y="1601"/>
                  </a:lnTo>
                  <a:lnTo>
                    <a:pt x="588" y="1602"/>
                  </a:lnTo>
                  <a:lnTo>
                    <a:pt x="586" y="1604"/>
                  </a:lnTo>
                  <a:lnTo>
                    <a:pt x="584" y="1604"/>
                  </a:lnTo>
                  <a:lnTo>
                    <a:pt x="584" y="1606"/>
                  </a:lnTo>
                  <a:lnTo>
                    <a:pt x="583" y="1604"/>
                  </a:lnTo>
                  <a:lnTo>
                    <a:pt x="581" y="1604"/>
                  </a:lnTo>
                  <a:lnTo>
                    <a:pt x="581" y="1606"/>
                  </a:lnTo>
                  <a:lnTo>
                    <a:pt x="579" y="1606"/>
                  </a:lnTo>
                  <a:lnTo>
                    <a:pt x="579" y="1607"/>
                  </a:lnTo>
                  <a:lnTo>
                    <a:pt x="578" y="1607"/>
                  </a:lnTo>
                  <a:lnTo>
                    <a:pt x="578" y="1609"/>
                  </a:lnTo>
                  <a:lnTo>
                    <a:pt x="576" y="1609"/>
                  </a:lnTo>
                  <a:lnTo>
                    <a:pt x="575" y="1609"/>
                  </a:lnTo>
                  <a:lnTo>
                    <a:pt x="575" y="1607"/>
                  </a:lnTo>
                  <a:lnTo>
                    <a:pt x="575" y="1609"/>
                  </a:lnTo>
                  <a:lnTo>
                    <a:pt x="575" y="1607"/>
                  </a:lnTo>
                  <a:lnTo>
                    <a:pt x="575" y="1609"/>
                  </a:lnTo>
                  <a:lnTo>
                    <a:pt x="575" y="1610"/>
                  </a:lnTo>
                  <a:lnTo>
                    <a:pt x="573" y="1610"/>
                  </a:lnTo>
                  <a:lnTo>
                    <a:pt x="573" y="1609"/>
                  </a:lnTo>
                  <a:lnTo>
                    <a:pt x="571" y="1609"/>
                  </a:lnTo>
                  <a:lnTo>
                    <a:pt x="573" y="1610"/>
                  </a:lnTo>
                  <a:lnTo>
                    <a:pt x="571" y="1610"/>
                  </a:lnTo>
                  <a:lnTo>
                    <a:pt x="573" y="1612"/>
                  </a:lnTo>
                  <a:lnTo>
                    <a:pt x="571" y="1612"/>
                  </a:lnTo>
                  <a:lnTo>
                    <a:pt x="570" y="1612"/>
                  </a:lnTo>
                  <a:lnTo>
                    <a:pt x="568" y="1614"/>
                  </a:lnTo>
                  <a:lnTo>
                    <a:pt x="566" y="1615"/>
                  </a:lnTo>
                  <a:lnTo>
                    <a:pt x="565" y="1615"/>
                  </a:lnTo>
                  <a:lnTo>
                    <a:pt x="565" y="1614"/>
                  </a:lnTo>
                  <a:lnTo>
                    <a:pt x="562" y="1612"/>
                  </a:lnTo>
                  <a:lnTo>
                    <a:pt x="562" y="1610"/>
                  </a:lnTo>
                  <a:lnTo>
                    <a:pt x="562" y="1612"/>
                  </a:lnTo>
                  <a:lnTo>
                    <a:pt x="560" y="1612"/>
                  </a:lnTo>
                  <a:lnTo>
                    <a:pt x="560" y="1610"/>
                  </a:lnTo>
                  <a:lnTo>
                    <a:pt x="558" y="1610"/>
                  </a:lnTo>
                  <a:lnTo>
                    <a:pt x="558" y="1609"/>
                  </a:lnTo>
                  <a:lnTo>
                    <a:pt x="557" y="1607"/>
                  </a:lnTo>
                  <a:lnTo>
                    <a:pt x="557" y="1606"/>
                  </a:lnTo>
                  <a:lnTo>
                    <a:pt x="555" y="1606"/>
                  </a:lnTo>
                  <a:lnTo>
                    <a:pt x="553" y="1606"/>
                  </a:lnTo>
                  <a:lnTo>
                    <a:pt x="552" y="1606"/>
                  </a:lnTo>
                  <a:lnTo>
                    <a:pt x="552" y="1604"/>
                  </a:lnTo>
                  <a:lnTo>
                    <a:pt x="552" y="1602"/>
                  </a:lnTo>
                  <a:lnTo>
                    <a:pt x="550" y="1602"/>
                  </a:lnTo>
                  <a:lnTo>
                    <a:pt x="549" y="1602"/>
                  </a:lnTo>
                  <a:lnTo>
                    <a:pt x="549" y="1601"/>
                  </a:lnTo>
                  <a:lnTo>
                    <a:pt x="547" y="1601"/>
                  </a:lnTo>
                  <a:lnTo>
                    <a:pt x="547" y="1599"/>
                  </a:lnTo>
                  <a:lnTo>
                    <a:pt x="545" y="1599"/>
                  </a:lnTo>
                  <a:lnTo>
                    <a:pt x="547" y="1599"/>
                  </a:lnTo>
                  <a:lnTo>
                    <a:pt x="545" y="1599"/>
                  </a:lnTo>
                  <a:lnTo>
                    <a:pt x="547" y="1599"/>
                  </a:lnTo>
                  <a:lnTo>
                    <a:pt x="547" y="1597"/>
                  </a:lnTo>
                  <a:lnTo>
                    <a:pt x="545" y="1597"/>
                  </a:lnTo>
                  <a:lnTo>
                    <a:pt x="544" y="1596"/>
                  </a:lnTo>
                  <a:lnTo>
                    <a:pt x="542" y="1596"/>
                  </a:lnTo>
                  <a:lnTo>
                    <a:pt x="542" y="1594"/>
                  </a:lnTo>
                  <a:lnTo>
                    <a:pt x="542" y="1593"/>
                  </a:lnTo>
                  <a:lnTo>
                    <a:pt x="540" y="1593"/>
                  </a:lnTo>
                  <a:lnTo>
                    <a:pt x="542" y="1593"/>
                  </a:lnTo>
                  <a:lnTo>
                    <a:pt x="540" y="1593"/>
                  </a:lnTo>
                  <a:lnTo>
                    <a:pt x="542" y="1593"/>
                  </a:lnTo>
                  <a:lnTo>
                    <a:pt x="540" y="1591"/>
                  </a:lnTo>
                  <a:lnTo>
                    <a:pt x="540" y="1593"/>
                  </a:lnTo>
                  <a:lnTo>
                    <a:pt x="539" y="1593"/>
                  </a:lnTo>
                  <a:lnTo>
                    <a:pt x="539" y="1591"/>
                  </a:lnTo>
                  <a:lnTo>
                    <a:pt x="540" y="1591"/>
                  </a:lnTo>
                  <a:lnTo>
                    <a:pt x="539" y="1591"/>
                  </a:lnTo>
                  <a:lnTo>
                    <a:pt x="539" y="1589"/>
                  </a:lnTo>
                  <a:lnTo>
                    <a:pt x="537" y="1589"/>
                  </a:lnTo>
                  <a:lnTo>
                    <a:pt x="537" y="1588"/>
                  </a:lnTo>
                  <a:lnTo>
                    <a:pt x="539" y="1588"/>
                  </a:lnTo>
                  <a:lnTo>
                    <a:pt x="539" y="1589"/>
                  </a:lnTo>
                  <a:lnTo>
                    <a:pt x="539" y="1588"/>
                  </a:lnTo>
                  <a:lnTo>
                    <a:pt x="540" y="1589"/>
                  </a:lnTo>
                  <a:lnTo>
                    <a:pt x="542" y="1591"/>
                  </a:lnTo>
                  <a:lnTo>
                    <a:pt x="542" y="1589"/>
                  </a:lnTo>
                  <a:lnTo>
                    <a:pt x="540" y="1589"/>
                  </a:lnTo>
                  <a:lnTo>
                    <a:pt x="542" y="1589"/>
                  </a:lnTo>
                  <a:lnTo>
                    <a:pt x="540" y="1589"/>
                  </a:lnTo>
                  <a:lnTo>
                    <a:pt x="540" y="1588"/>
                  </a:lnTo>
                  <a:lnTo>
                    <a:pt x="539" y="1588"/>
                  </a:lnTo>
                  <a:lnTo>
                    <a:pt x="539" y="1586"/>
                  </a:lnTo>
                  <a:lnTo>
                    <a:pt x="537" y="1586"/>
                  </a:lnTo>
                  <a:lnTo>
                    <a:pt x="537" y="1584"/>
                  </a:lnTo>
                  <a:lnTo>
                    <a:pt x="539" y="1586"/>
                  </a:lnTo>
                  <a:lnTo>
                    <a:pt x="539" y="1584"/>
                  </a:lnTo>
                  <a:lnTo>
                    <a:pt x="539" y="1586"/>
                  </a:lnTo>
                  <a:lnTo>
                    <a:pt x="540" y="1588"/>
                  </a:lnTo>
                  <a:lnTo>
                    <a:pt x="540" y="1586"/>
                  </a:lnTo>
                  <a:lnTo>
                    <a:pt x="539" y="1584"/>
                  </a:lnTo>
                  <a:lnTo>
                    <a:pt x="540" y="1584"/>
                  </a:lnTo>
                  <a:lnTo>
                    <a:pt x="540" y="1586"/>
                  </a:lnTo>
                  <a:lnTo>
                    <a:pt x="540" y="1584"/>
                  </a:lnTo>
                  <a:lnTo>
                    <a:pt x="539" y="1584"/>
                  </a:lnTo>
                  <a:lnTo>
                    <a:pt x="540" y="1584"/>
                  </a:lnTo>
                  <a:lnTo>
                    <a:pt x="542" y="1584"/>
                  </a:lnTo>
                  <a:lnTo>
                    <a:pt x="542" y="1586"/>
                  </a:lnTo>
                  <a:lnTo>
                    <a:pt x="544" y="1588"/>
                  </a:lnTo>
                  <a:lnTo>
                    <a:pt x="544" y="1586"/>
                  </a:lnTo>
                  <a:lnTo>
                    <a:pt x="545" y="1588"/>
                  </a:lnTo>
                  <a:lnTo>
                    <a:pt x="547" y="1588"/>
                  </a:lnTo>
                  <a:lnTo>
                    <a:pt x="550" y="1589"/>
                  </a:lnTo>
                  <a:lnTo>
                    <a:pt x="550" y="1591"/>
                  </a:lnTo>
                  <a:lnTo>
                    <a:pt x="550" y="1594"/>
                  </a:lnTo>
                  <a:lnTo>
                    <a:pt x="552" y="1594"/>
                  </a:lnTo>
                  <a:lnTo>
                    <a:pt x="552" y="1596"/>
                  </a:lnTo>
                  <a:lnTo>
                    <a:pt x="552" y="1597"/>
                  </a:lnTo>
                  <a:lnTo>
                    <a:pt x="553" y="1597"/>
                  </a:lnTo>
                  <a:lnTo>
                    <a:pt x="553" y="1599"/>
                  </a:lnTo>
                  <a:lnTo>
                    <a:pt x="553" y="1601"/>
                  </a:lnTo>
                  <a:lnTo>
                    <a:pt x="555" y="1601"/>
                  </a:lnTo>
                  <a:lnTo>
                    <a:pt x="555" y="1599"/>
                  </a:lnTo>
                  <a:lnTo>
                    <a:pt x="553" y="1599"/>
                  </a:lnTo>
                  <a:lnTo>
                    <a:pt x="553" y="1597"/>
                  </a:lnTo>
                  <a:lnTo>
                    <a:pt x="553" y="1596"/>
                  </a:lnTo>
                  <a:lnTo>
                    <a:pt x="552" y="1596"/>
                  </a:lnTo>
                  <a:lnTo>
                    <a:pt x="552" y="1594"/>
                  </a:lnTo>
                  <a:lnTo>
                    <a:pt x="550" y="1593"/>
                  </a:lnTo>
                  <a:lnTo>
                    <a:pt x="552" y="1593"/>
                  </a:lnTo>
                  <a:lnTo>
                    <a:pt x="553" y="1594"/>
                  </a:lnTo>
                  <a:lnTo>
                    <a:pt x="555" y="1596"/>
                  </a:lnTo>
                  <a:lnTo>
                    <a:pt x="553" y="1596"/>
                  </a:lnTo>
                  <a:lnTo>
                    <a:pt x="553" y="1594"/>
                  </a:lnTo>
                  <a:lnTo>
                    <a:pt x="553" y="1596"/>
                  </a:lnTo>
                  <a:lnTo>
                    <a:pt x="555" y="1596"/>
                  </a:lnTo>
                  <a:lnTo>
                    <a:pt x="553" y="1597"/>
                  </a:lnTo>
                  <a:lnTo>
                    <a:pt x="555" y="1597"/>
                  </a:lnTo>
                  <a:lnTo>
                    <a:pt x="553" y="1599"/>
                  </a:lnTo>
                  <a:lnTo>
                    <a:pt x="555" y="1601"/>
                  </a:lnTo>
                  <a:lnTo>
                    <a:pt x="557" y="1601"/>
                  </a:lnTo>
                  <a:lnTo>
                    <a:pt x="557" y="1602"/>
                  </a:lnTo>
                  <a:lnTo>
                    <a:pt x="557" y="1601"/>
                  </a:lnTo>
                  <a:lnTo>
                    <a:pt x="558" y="1602"/>
                  </a:lnTo>
                  <a:lnTo>
                    <a:pt x="558" y="1604"/>
                  </a:lnTo>
                  <a:lnTo>
                    <a:pt x="560" y="1604"/>
                  </a:lnTo>
                  <a:lnTo>
                    <a:pt x="560" y="1606"/>
                  </a:lnTo>
                  <a:lnTo>
                    <a:pt x="560" y="1607"/>
                  </a:lnTo>
                  <a:lnTo>
                    <a:pt x="560" y="1609"/>
                  </a:lnTo>
                  <a:lnTo>
                    <a:pt x="562" y="1610"/>
                  </a:lnTo>
                  <a:lnTo>
                    <a:pt x="562" y="1609"/>
                  </a:lnTo>
                  <a:lnTo>
                    <a:pt x="562" y="1607"/>
                  </a:lnTo>
                  <a:lnTo>
                    <a:pt x="560" y="1606"/>
                  </a:lnTo>
                  <a:lnTo>
                    <a:pt x="560" y="1604"/>
                  </a:lnTo>
                  <a:lnTo>
                    <a:pt x="560" y="1602"/>
                  </a:lnTo>
                  <a:lnTo>
                    <a:pt x="558" y="1602"/>
                  </a:lnTo>
                  <a:lnTo>
                    <a:pt x="558" y="1601"/>
                  </a:lnTo>
                  <a:lnTo>
                    <a:pt x="557" y="1601"/>
                  </a:lnTo>
                  <a:lnTo>
                    <a:pt x="555" y="1599"/>
                  </a:lnTo>
                  <a:lnTo>
                    <a:pt x="555" y="1597"/>
                  </a:lnTo>
                  <a:lnTo>
                    <a:pt x="555" y="1596"/>
                  </a:lnTo>
                  <a:lnTo>
                    <a:pt x="557" y="1596"/>
                  </a:lnTo>
                  <a:lnTo>
                    <a:pt x="558" y="1596"/>
                  </a:lnTo>
                  <a:lnTo>
                    <a:pt x="560" y="1599"/>
                  </a:lnTo>
                  <a:lnTo>
                    <a:pt x="562" y="1601"/>
                  </a:lnTo>
                  <a:lnTo>
                    <a:pt x="562" y="1602"/>
                  </a:lnTo>
                  <a:lnTo>
                    <a:pt x="563" y="1604"/>
                  </a:lnTo>
                  <a:lnTo>
                    <a:pt x="565" y="1604"/>
                  </a:lnTo>
                  <a:lnTo>
                    <a:pt x="563" y="1602"/>
                  </a:lnTo>
                  <a:lnTo>
                    <a:pt x="563" y="1601"/>
                  </a:lnTo>
                  <a:lnTo>
                    <a:pt x="562" y="1601"/>
                  </a:lnTo>
                  <a:lnTo>
                    <a:pt x="563" y="1599"/>
                  </a:lnTo>
                  <a:lnTo>
                    <a:pt x="562" y="1599"/>
                  </a:lnTo>
                  <a:lnTo>
                    <a:pt x="563" y="1599"/>
                  </a:lnTo>
                  <a:lnTo>
                    <a:pt x="562" y="1596"/>
                  </a:lnTo>
                  <a:lnTo>
                    <a:pt x="560" y="1596"/>
                  </a:lnTo>
                  <a:lnTo>
                    <a:pt x="560" y="1594"/>
                  </a:lnTo>
                  <a:lnTo>
                    <a:pt x="558" y="1593"/>
                  </a:lnTo>
                  <a:lnTo>
                    <a:pt x="557" y="1593"/>
                  </a:lnTo>
                  <a:lnTo>
                    <a:pt x="555" y="1591"/>
                  </a:lnTo>
                  <a:lnTo>
                    <a:pt x="555" y="1589"/>
                  </a:lnTo>
                  <a:lnTo>
                    <a:pt x="553" y="1589"/>
                  </a:lnTo>
                  <a:lnTo>
                    <a:pt x="553" y="1588"/>
                  </a:lnTo>
                  <a:lnTo>
                    <a:pt x="552" y="1588"/>
                  </a:lnTo>
                  <a:lnTo>
                    <a:pt x="550" y="1586"/>
                  </a:lnTo>
                  <a:lnTo>
                    <a:pt x="550" y="1584"/>
                  </a:lnTo>
                  <a:lnTo>
                    <a:pt x="552" y="1584"/>
                  </a:lnTo>
                  <a:lnTo>
                    <a:pt x="552" y="1583"/>
                  </a:lnTo>
                  <a:lnTo>
                    <a:pt x="552" y="1581"/>
                  </a:lnTo>
                  <a:lnTo>
                    <a:pt x="550" y="1581"/>
                  </a:lnTo>
                  <a:lnTo>
                    <a:pt x="550" y="1583"/>
                  </a:lnTo>
                  <a:lnTo>
                    <a:pt x="547" y="1580"/>
                  </a:lnTo>
                  <a:lnTo>
                    <a:pt x="549" y="1581"/>
                  </a:lnTo>
                  <a:lnTo>
                    <a:pt x="549" y="1583"/>
                  </a:lnTo>
                  <a:lnTo>
                    <a:pt x="550" y="1583"/>
                  </a:lnTo>
                  <a:lnTo>
                    <a:pt x="550" y="1584"/>
                  </a:lnTo>
                  <a:lnTo>
                    <a:pt x="549" y="1583"/>
                  </a:lnTo>
                  <a:lnTo>
                    <a:pt x="547" y="1583"/>
                  </a:lnTo>
                  <a:lnTo>
                    <a:pt x="547" y="1581"/>
                  </a:lnTo>
                  <a:lnTo>
                    <a:pt x="545" y="1580"/>
                  </a:lnTo>
                  <a:lnTo>
                    <a:pt x="544" y="1578"/>
                  </a:lnTo>
                  <a:lnTo>
                    <a:pt x="544" y="1576"/>
                  </a:lnTo>
                  <a:lnTo>
                    <a:pt x="545" y="1578"/>
                  </a:lnTo>
                  <a:lnTo>
                    <a:pt x="545" y="1576"/>
                  </a:lnTo>
                  <a:lnTo>
                    <a:pt x="544" y="1576"/>
                  </a:lnTo>
                  <a:lnTo>
                    <a:pt x="545" y="1576"/>
                  </a:lnTo>
                  <a:lnTo>
                    <a:pt x="545" y="1575"/>
                  </a:lnTo>
                  <a:lnTo>
                    <a:pt x="545" y="1576"/>
                  </a:lnTo>
                  <a:lnTo>
                    <a:pt x="547" y="1576"/>
                  </a:lnTo>
                  <a:lnTo>
                    <a:pt x="547" y="1575"/>
                  </a:lnTo>
                  <a:lnTo>
                    <a:pt x="547" y="1576"/>
                  </a:lnTo>
                  <a:lnTo>
                    <a:pt x="547" y="1575"/>
                  </a:lnTo>
                  <a:lnTo>
                    <a:pt x="549" y="1575"/>
                  </a:lnTo>
                  <a:lnTo>
                    <a:pt x="549" y="1576"/>
                  </a:lnTo>
                  <a:lnTo>
                    <a:pt x="549" y="1575"/>
                  </a:lnTo>
                  <a:lnTo>
                    <a:pt x="550" y="1576"/>
                  </a:lnTo>
                  <a:lnTo>
                    <a:pt x="550" y="1575"/>
                  </a:lnTo>
                  <a:lnTo>
                    <a:pt x="550" y="1576"/>
                  </a:lnTo>
                  <a:lnTo>
                    <a:pt x="552" y="1576"/>
                  </a:lnTo>
                  <a:lnTo>
                    <a:pt x="552" y="1578"/>
                  </a:lnTo>
                  <a:lnTo>
                    <a:pt x="553" y="1578"/>
                  </a:lnTo>
                  <a:lnTo>
                    <a:pt x="552" y="1578"/>
                  </a:lnTo>
                  <a:lnTo>
                    <a:pt x="553" y="1578"/>
                  </a:lnTo>
                  <a:lnTo>
                    <a:pt x="553" y="1580"/>
                  </a:lnTo>
                  <a:lnTo>
                    <a:pt x="553" y="1581"/>
                  </a:lnTo>
                  <a:lnTo>
                    <a:pt x="555" y="1581"/>
                  </a:lnTo>
                  <a:lnTo>
                    <a:pt x="555" y="1583"/>
                  </a:lnTo>
                  <a:lnTo>
                    <a:pt x="555" y="1581"/>
                  </a:lnTo>
                  <a:lnTo>
                    <a:pt x="553" y="1580"/>
                  </a:lnTo>
                  <a:lnTo>
                    <a:pt x="555" y="1580"/>
                  </a:lnTo>
                  <a:lnTo>
                    <a:pt x="553" y="1580"/>
                  </a:lnTo>
                  <a:lnTo>
                    <a:pt x="555" y="1580"/>
                  </a:lnTo>
                  <a:lnTo>
                    <a:pt x="555" y="1581"/>
                  </a:lnTo>
                  <a:lnTo>
                    <a:pt x="557" y="1581"/>
                  </a:lnTo>
                  <a:lnTo>
                    <a:pt x="558" y="1581"/>
                  </a:lnTo>
                  <a:lnTo>
                    <a:pt x="557" y="1581"/>
                  </a:lnTo>
                  <a:lnTo>
                    <a:pt x="558" y="1581"/>
                  </a:lnTo>
                  <a:lnTo>
                    <a:pt x="560" y="1583"/>
                  </a:lnTo>
                  <a:lnTo>
                    <a:pt x="558" y="1583"/>
                  </a:lnTo>
                  <a:lnTo>
                    <a:pt x="560" y="1583"/>
                  </a:lnTo>
                  <a:lnTo>
                    <a:pt x="560" y="1584"/>
                  </a:lnTo>
                  <a:lnTo>
                    <a:pt x="562" y="1584"/>
                  </a:lnTo>
                  <a:lnTo>
                    <a:pt x="563" y="1586"/>
                  </a:lnTo>
                  <a:lnTo>
                    <a:pt x="565" y="1586"/>
                  </a:lnTo>
                  <a:lnTo>
                    <a:pt x="566" y="1586"/>
                  </a:lnTo>
                  <a:lnTo>
                    <a:pt x="566" y="1588"/>
                  </a:lnTo>
                  <a:lnTo>
                    <a:pt x="566" y="1589"/>
                  </a:lnTo>
                  <a:lnTo>
                    <a:pt x="566" y="1588"/>
                  </a:lnTo>
                  <a:lnTo>
                    <a:pt x="568" y="1588"/>
                  </a:lnTo>
                  <a:lnTo>
                    <a:pt x="570" y="1588"/>
                  </a:lnTo>
                  <a:lnTo>
                    <a:pt x="570" y="1589"/>
                  </a:lnTo>
                  <a:lnTo>
                    <a:pt x="571" y="1591"/>
                  </a:lnTo>
                  <a:lnTo>
                    <a:pt x="571" y="1593"/>
                  </a:lnTo>
                  <a:lnTo>
                    <a:pt x="571" y="1594"/>
                  </a:lnTo>
                  <a:lnTo>
                    <a:pt x="570" y="1593"/>
                  </a:lnTo>
                  <a:lnTo>
                    <a:pt x="570" y="1594"/>
                  </a:lnTo>
                  <a:lnTo>
                    <a:pt x="571" y="1594"/>
                  </a:lnTo>
                  <a:lnTo>
                    <a:pt x="571" y="1596"/>
                  </a:lnTo>
                  <a:lnTo>
                    <a:pt x="571" y="1597"/>
                  </a:lnTo>
                  <a:lnTo>
                    <a:pt x="571" y="1599"/>
                  </a:lnTo>
                  <a:lnTo>
                    <a:pt x="573" y="1599"/>
                  </a:lnTo>
                  <a:lnTo>
                    <a:pt x="573" y="1601"/>
                  </a:lnTo>
                  <a:lnTo>
                    <a:pt x="575" y="1602"/>
                  </a:lnTo>
                  <a:lnTo>
                    <a:pt x="575" y="1601"/>
                  </a:lnTo>
                  <a:lnTo>
                    <a:pt x="573" y="1601"/>
                  </a:lnTo>
                  <a:lnTo>
                    <a:pt x="573" y="1599"/>
                  </a:lnTo>
                  <a:lnTo>
                    <a:pt x="571" y="1597"/>
                  </a:lnTo>
                  <a:lnTo>
                    <a:pt x="573" y="1596"/>
                  </a:lnTo>
                  <a:lnTo>
                    <a:pt x="573" y="1597"/>
                  </a:lnTo>
                  <a:lnTo>
                    <a:pt x="575" y="1599"/>
                  </a:lnTo>
                  <a:lnTo>
                    <a:pt x="576" y="1601"/>
                  </a:lnTo>
                  <a:lnTo>
                    <a:pt x="576" y="1602"/>
                  </a:lnTo>
                  <a:lnTo>
                    <a:pt x="578" y="1602"/>
                  </a:lnTo>
                  <a:lnTo>
                    <a:pt x="579" y="1604"/>
                  </a:lnTo>
                  <a:lnTo>
                    <a:pt x="578" y="1602"/>
                  </a:lnTo>
                  <a:lnTo>
                    <a:pt x="579" y="1602"/>
                  </a:lnTo>
                  <a:lnTo>
                    <a:pt x="578" y="1602"/>
                  </a:lnTo>
                  <a:lnTo>
                    <a:pt x="576" y="1599"/>
                  </a:lnTo>
                  <a:lnTo>
                    <a:pt x="575" y="1597"/>
                  </a:lnTo>
                  <a:lnTo>
                    <a:pt x="575" y="1596"/>
                  </a:lnTo>
                  <a:lnTo>
                    <a:pt x="573" y="1596"/>
                  </a:lnTo>
                  <a:lnTo>
                    <a:pt x="575" y="1596"/>
                  </a:lnTo>
                  <a:lnTo>
                    <a:pt x="575" y="1594"/>
                  </a:lnTo>
                  <a:lnTo>
                    <a:pt x="576" y="1594"/>
                  </a:lnTo>
                  <a:lnTo>
                    <a:pt x="576" y="1596"/>
                  </a:lnTo>
                  <a:lnTo>
                    <a:pt x="578" y="1597"/>
                  </a:lnTo>
                  <a:lnTo>
                    <a:pt x="579" y="1599"/>
                  </a:lnTo>
                  <a:lnTo>
                    <a:pt x="579" y="1597"/>
                  </a:lnTo>
                  <a:lnTo>
                    <a:pt x="578" y="1596"/>
                  </a:lnTo>
                  <a:lnTo>
                    <a:pt x="578" y="1594"/>
                  </a:lnTo>
                  <a:lnTo>
                    <a:pt x="576" y="1594"/>
                  </a:lnTo>
                  <a:lnTo>
                    <a:pt x="576" y="1593"/>
                  </a:lnTo>
                  <a:lnTo>
                    <a:pt x="578" y="1593"/>
                  </a:lnTo>
                  <a:lnTo>
                    <a:pt x="579" y="1593"/>
                  </a:lnTo>
                  <a:lnTo>
                    <a:pt x="578" y="1593"/>
                  </a:lnTo>
                  <a:lnTo>
                    <a:pt x="576" y="1593"/>
                  </a:lnTo>
                  <a:lnTo>
                    <a:pt x="576" y="1591"/>
                  </a:lnTo>
                  <a:lnTo>
                    <a:pt x="575" y="1591"/>
                  </a:lnTo>
                  <a:lnTo>
                    <a:pt x="575" y="1589"/>
                  </a:lnTo>
                  <a:lnTo>
                    <a:pt x="576" y="1589"/>
                  </a:lnTo>
                  <a:lnTo>
                    <a:pt x="575" y="1588"/>
                  </a:lnTo>
                  <a:lnTo>
                    <a:pt x="575" y="1589"/>
                  </a:lnTo>
                  <a:lnTo>
                    <a:pt x="573" y="1589"/>
                  </a:lnTo>
                  <a:lnTo>
                    <a:pt x="575" y="1589"/>
                  </a:lnTo>
                  <a:lnTo>
                    <a:pt x="575" y="1588"/>
                  </a:lnTo>
                  <a:lnTo>
                    <a:pt x="575" y="1586"/>
                  </a:lnTo>
                  <a:lnTo>
                    <a:pt x="573" y="1588"/>
                  </a:lnTo>
                  <a:lnTo>
                    <a:pt x="571" y="1586"/>
                  </a:lnTo>
                  <a:lnTo>
                    <a:pt x="573" y="1584"/>
                  </a:lnTo>
                  <a:lnTo>
                    <a:pt x="571" y="1584"/>
                  </a:lnTo>
                  <a:lnTo>
                    <a:pt x="571" y="1586"/>
                  </a:lnTo>
                  <a:lnTo>
                    <a:pt x="570" y="1586"/>
                  </a:lnTo>
                  <a:lnTo>
                    <a:pt x="568" y="1586"/>
                  </a:lnTo>
                  <a:lnTo>
                    <a:pt x="568" y="1584"/>
                  </a:lnTo>
                  <a:lnTo>
                    <a:pt x="566" y="1584"/>
                  </a:lnTo>
                  <a:lnTo>
                    <a:pt x="566" y="1583"/>
                  </a:lnTo>
                  <a:lnTo>
                    <a:pt x="566" y="1581"/>
                  </a:lnTo>
                  <a:lnTo>
                    <a:pt x="568" y="1581"/>
                  </a:lnTo>
                  <a:lnTo>
                    <a:pt x="568" y="1580"/>
                  </a:lnTo>
                  <a:lnTo>
                    <a:pt x="570" y="1578"/>
                  </a:lnTo>
                  <a:lnTo>
                    <a:pt x="570" y="1580"/>
                  </a:lnTo>
                  <a:lnTo>
                    <a:pt x="571" y="1578"/>
                  </a:lnTo>
                  <a:lnTo>
                    <a:pt x="571" y="1576"/>
                  </a:lnTo>
                  <a:lnTo>
                    <a:pt x="573" y="1576"/>
                  </a:lnTo>
                  <a:lnTo>
                    <a:pt x="575" y="1576"/>
                  </a:lnTo>
                  <a:lnTo>
                    <a:pt x="575" y="1575"/>
                  </a:lnTo>
                  <a:lnTo>
                    <a:pt x="573" y="1575"/>
                  </a:lnTo>
                  <a:lnTo>
                    <a:pt x="573" y="1573"/>
                  </a:lnTo>
                  <a:lnTo>
                    <a:pt x="573" y="1571"/>
                  </a:lnTo>
                  <a:lnTo>
                    <a:pt x="575" y="1571"/>
                  </a:lnTo>
                  <a:lnTo>
                    <a:pt x="575" y="1570"/>
                  </a:lnTo>
                  <a:lnTo>
                    <a:pt x="576" y="1570"/>
                  </a:lnTo>
                  <a:lnTo>
                    <a:pt x="578" y="1570"/>
                  </a:lnTo>
                  <a:lnTo>
                    <a:pt x="581" y="1570"/>
                  </a:lnTo>
                  <a:lnTo>
                    <a:pt x="583" y="1568"/>
                  </a:lnTo>
                  <a:lnTo>
                    <a:pt x="583" y="1570"/>
                  </a:lnTo>
                  <a:lnTo>
                    <a:pt x="584" y="1571"/>
                  </a:lnTo>
                  <a:lnTo>
                    <a:pt x="584" y="1570"/>
                  </a:lnTo>
                  <a:lnTo>
                    <a:pt x="584" y="1571"/>
                  </a:lnTo>
                  <a:lnTo>
                    <a:pt x="586" y="1570"/>
                  </a:lnTo>
                  <a:lnTo>
                    <a:pt x="588" y="1570"/>
                  </a:lnTo>
                  <a:lnTo>
                    <a:pt x="589" y="1570"/>
                  </a:lnTo>
                  <a:lnTo>
                    <a:pt x="588" y="1570"/>
                  </a:lnTo>
                  <a:lnTo>
                    <a:pt x="586" y="1570"/>
                  </a:lnTo>
                  <a:lnTo>
                    <a:pt x="584" y="1570"/>
                  </a:lnTo>
                  <a:lnTo>
                    <a:pt x="584" y="1568"/>
                  </a:lnTo>
                  <a:lnTo>
                    <a:pt x="583" y="1568"/>
                  </a:lnTo>
                  <a:lnTo>
                    <a:pt x="583" y="1567"/>
                  </a:lnTo>
                  <a:lnTo>
                    <a:pt x="584" y="1567"/>
                  </a:lnTo>
                  <a:lnTo>
                    <a:pt x="584" y="1565"/>
                  </a:lnTo>
                  <a:lnTo>
                    <a:pt x="586" y="1565"/>
                  </a:lnTo>
                  <a:lnTo>
                    <a:pt x="586" y="1563"/>
                  </a:lnTo>
                  <a:lnTo>
                    <a:pt x="584" y="1563"/>
                  </a:lnTo>
                  <a:lnTo>
                    <a:pt x="584" y="1565"/>
                  </a:lnTo>
                  <a:lnTo>
                    <a:pt x="583" y="1565"/>
                  </a:lnTo>
                  <a:lnTo>
                    <a:pt x="583" y="1567"/>
                  </a:lnTo>
                  <a:lnTo>
                    <a:pt x="581" y="1567"/>
                  </a:lnTo>
                  <a:lnTo>
                    <a:pt x="583" y="1567"/>
                  </a:lnTo>
                  <a:lnTo>
                    <a:pt x="583" y="1568"/>
                  </a:lnTo>
                  <a:lnTo>
                    <a:pt x="583" y="1567"/>
                  </a:lnTo>
                  <a:lnTo>
                    <a:pt x="581" y="1567"/>
                  </a:lnTo>
                  <a:lnTo>
                    <a:pt x="581" y="1568"/>
                  </a:lnTo>
                  <a:lnTo>
                    <a:pt x="579" y="1568"/>
                  </a:lnTo>
                  <a:lnTo>
                    <a:pt x="578" y="1568"/>
                  </a:lnTo>
                  <a:lnTo>
                    <a:pt x="576" y="1568"/>
                  </a:lnTo>
                  <a:lnTo>
                    <a:pt x="575" y="1568"/>
                  </a:lnTo>
                  <a:lnTo>
                    <a:pt x="573" y="1570"/>
                  </a:lnTo>
                  <a:lnTo>
                    <a:pt x="573" y="1571"/>
                  </a:lnTo>
                  <a:lnTo>
                    <a:pt x="573" y="1573"/>
                  </a:lnTo>
                  <a:lnTo>
                    <a:pt x="571" y="1575"/>
                  </a:lnTo>
                  <a:lnTo>
                    <a:pt x="570" y="1575"/>
                  </a:lnTo>
                  <a:lnTo>
                    <a:pt x="570" y="1576"/>
                  </a:lnTo>
                  <a:lnTo>
                    <a:pt x="570" y="1578"/>
                  </a:lnTo>
                  <a:lnTo>
                    <a:pt x="568" y="1576"/>
                  </a:lnTo>
                  <a:lnTo>
                    <a:pt x="568" y="1575"/>
                  </a:lnTo>
                  <a:lnTo>
                    <a:pt x="566" y="1575"/>
                  </a:lnTo>
                  <a:lnTo>
                    <a:pt x="565" y="1575"/>
                  </a:lnTo>
                  <a:lnTo>
                    <a:pt x="566" y="1575"/>
                  </a:lnTo>
                  <a:lnTo>
                    <a:pt x="566" y="1576"/>
                  </a:lnTo>
                  <a:lnTo>
                    <a:pt x="568" y="1576"/>
                  </a:lnTo>
                  <a:lnTo>
                    <a:pt x="566" y="1576"/>
                  </a:lnTo>
                  <a:lnTo>
                    <a:pt x="566" y="1578"/>
                  </a:lnTo>
                  <a:lnTo>
                    <a:pt x="566" y="1580"/>
                  </a:lnTo>
                  <a:lnTo>
                    <a:pt x="565" y="1580"/>
                  </a:lnTo>
                  <a:lnTo>
                    <a:pt x="565" y="1578"/>
                  </a:lnTo>
                  <a:lnTo>
                    <a:pt x="565" y="1576"/>
                  </a:lnTo>
                  <a:lnTo>
                    <a:pt x="565" y="1575"/>
                  </a:lnTo>
                  <a:lnTo>
                    <a:pt x="563" y="1575"/>
                  </a:lnTo>
                  <a:lnTo>
                    <a:pt x="563" y="1573"/>
                  </a:lnTo>
                  <a:lnTo>
                    <a:pt x="563" y="1575"/>
                  </a:lnTo>
                  <a:lnTo>
                    <a:pt x="562" y="1575"/>
                  </a:lnTo>
                  <a:lnTo>
                    <a:pt x="562" y="1576"/>
                  </a:lnTo>
                  <a:lnTo>
                    <a:pt x="562" y="1578"/>
                  </a:lnTo>
                  <a:lnTo>
                    <a:pt x="562" y="1576"/>
                  </a:lnTo>
                  <a:lnTo>
                    <a:pt x="562" y="1575"/>
                  </a:lnTo>
                  <a:lnTo>
                    <a:pt x="562" y="1573"/>
                  </a:lnTo>
                  <a:lnTo>
                    <a:pt x="562" y="1575"/>
                  </a:lnTo>
                  <a:lnTo>
                    <a:pt x="560" y="1575"/>
                  </a:lnTo>
                  <a:lnTo>
                    <a:pt x="560" y="1576"/>
                  </a:lnTo>
                  <a:lnTo>
                    <a:pt x="558" y="1576"/>
                  </a:lnTo>
                  <a:lnTo>
                    <a:pt x="558" y="1575"/>
                  </a:lnTo>
                  <a:lnTo>
                    <a:pt x="560" y="1575"/>
                  </a:lnTo>
                  <a:lnTo>
                    <a:pt x="558" y="1575"/>
                  </a:lnTo>
                  <a:lnTo>
                    <a:pt x="558" y="1573"/>
                  </a:lnTo>
                  <a:lnTo>
                    <a:pt x="560" y="1573"/>
                  </a:lnTo>
                  <a:lnTo>
                    <a:pt x="560" y="1571"/>
                  </a:lnTo>
                  <a:lnTo>
                    <a:pt x="560" y="1573"/>
                  </a:lnTo>
                  <a:lnTo>
                    <a:pt x="560" y="1571"/>
                  </a:lnTo>
                  <a:lnTo>
                    <a:pt x="558" y="1573"/>
                  </a:lnTo>
                  <a:lnTo>
                    <a:pt x="558" y="1575"/>
                  </a:lnTo>
                  <a:lnTo>
                    <a:pt x="558" y="1573"/>
                  </a:lnTo>
                  <a:lnTo>
                    <a:pt x="558" y="1575"/>
                  </a:lnTo>
                  <a:lnTo>
                    <a:pt x="558" y="1573"/>
                  </a:lnTo>
                  <a:lnTo>
                    <a:pt x="557" y="1573"/>
                  </a:lnTo>
                  <a:lnTo>
                    <a:pt x="555" y="1573"/>
                  </a:lnTo>
                  <a:lnTo>
                    <a:pt x="555" y="1571"/>
                  </a:lnTo>
                  <a:lnTo>
                    <a:pt x="555" y="1573"/>
                  </a:lnTo>
                  <a:lnTo>
                    <a:pt x="553" y="1573"/>
                  </a:lnTo>
                  <a:lnTo>
                    <a:pt x="553" y="1571"/>
                  </a:lnTo>
                  <a:lnTo>
                    <a:pt x="553" y="1570"/>
                  </a:lnTo>
                  <a:lnTo>
                    <a:pt x="552" y="1570"/>
                  </a:lnTo>
                  <a:lnTo>
                    <a:pt x="553" y="1568"/>
                  </a:lnTo>
                  <a:lnTo>
                    <a:pt x="552" y="1567"/>
                  </a:lnTo>
                  <a:lnTo>
                    <a:pt x="553" y="1567"/>
                  </a:lnTo>
                  <a:lnTo>
                    <a:pt x="552" y="1567"/>
                  </a:lnTo>
                  <a:lnTo>
                    <a:pt x="552" y="1565"/>
                  </a:lnTo>
                  <a:lnTo>
                    <a:pt x="552" y="1567"/>
                  </a:lnTo>
                  <a:lnTo>
                    <a:pt x="552" y="1565"/>
                  </a:lnTo>
                  <a:lnTo>
                    <a:pt x="552" y="1563"/>
                  </a:lnTo>
                  <a:lnTo>
                    <a:pt x="552" y="1562"/>
                  </a:lnTo>
                  <a:lnTo>
                    <a:pt x="552" y="1560"/>
                  </a:lnTo>
                  <a:lnTo>
                    <a:pt x="552" y="1558"/>
                  </a:lnTo>
                  <a:lnTo>
                    <a:pt x="550" y="1558"/>
                  </a:lnTo>
                  <a:lnTo>
                    <a:pt x="550" y="1557"/>
                  </a:lnTo>
                  <a:lnTo>
                    <a:pt x="550" y="1555"/>
                  </a:lnTo>
                  <a:lnTo>
                    <a:pt x="549" y="1555"/>
                  </a:lnTo>
                  <a:lnTo>
                    <a:pt x="550" y="1555"/>
                  </a:lnTo>
                  <a:lnTo>
                    <a:pt x="550" y="1554"/>
                  </a:lnTo>
                  <a:lnTo>
                    <a:pt x="552" y="1554"/>
                  </a:lnTo>
                  <a:lnTo>
                    <a:pt x="550" y="1554"/>
                  </a:lnTo>
                  <a:lnTo>
                    <a:pt x="552" y="1554"/>
                  </a:lnTo>
                  <a:lnTo>
                    <a:pt x="553" y="1554"/>
                  </a:lnTo>
                  <a:lnTo>
                    <a:pt x="553" y="1555"/>
                  </a:lnTo>
                  <a:lnTo>
                    <a:pt x="555" y="1555"/>
                  </a:lnTo>
                  <a:lnTo>
                    <a:pt x="557" y="1555"/>
                  </a:lnTo>
                  <a:lnTo>
                    <a:pt x="558" y="1555"/>
                  </a:lnTo>
                  <a:lnTo>
                    <a:pt x="558" y="1557"/>
                  </a:lnTo>
                  <a:lnTo>
                    <a:pt x="558" y="1558"/>
                  </a:lnTo>
                  <a:lnTo>
                    <a:pt x="557" y="1558"/>
                  </a:lnTo>
                  <a:lnTo>
                    <a:pt x="558" y="1558"/>
                  </a:lnTo>
                  <a:lnTo>
                    <a:pt x="558" y="1560"/>
                  </a:lnTo>
                  <a:lnTo>
                    <a:pt x="558" y="1562"/>
                  </a:lnTo>
                  <a:lnTo>
                    <a:pt x="557" y="1562"/>
                  </a:lnTo>
                  <a:lnTo>
                    <a:pt x="557" y="1563"/>
                  </a:lnTo>
                  <a:lnTo>
                    <a:pt x="557" y="1565"/>
                  </a:lnTo>
                  <a:lnTo>
                    <a:pt x="557" y="1567"/>
                  </a:lnTo>
                  <a:lnTo>
                    <a:pt x="557" y="1568"/>
                  </a:lnTo>
                  <a:lnTo>
                    <a:pt x="557" y="1567"/>
                  </a:lnTo>
                  <a:lnTo>
                    <a:pt x="558" y="1567"/>
                  </a:lnTo>
                  <a:lnTo>
                    <a:pt x="558" y="1565"/>
                  </a:lnTo>
                  <a:lnTo>
                    <a:pt x="558" y="1563"/>
                  </a:lnTo>
                  <a:lnTo>
                    <a:pt x="558" y="1562"/>
                  </a:lnTo>
                  <a:lnTo>
                    <a:pt x="558" y="1560"/>
                  </a:lnTo>
                  <a:lnTo>
                    <a:pt x="558" y="1558"/>
                  </a:lnTo>
                  <a:lnTo>
                    <a:pt x="560" y="1558"/>
                  </a:lnTo>
                  <a:lnTo>
                    <a:pt x="558" y="1557"/>
                  </a:lnTo>
                  <a:lnTo>
                    <a:pt x="558" y="1555"/>
                  </a:lnTo>
                  <a:lnTo>
                    <a:pt x="560" y="1555"/>
                  </a:lnTo>
                  <a:lnTo>
                    <a:pt x="560" y="1554"/>
                  </a:lnTo>
                  <a:lnTo>
                    <a:pt x="562" y="1554"/>
                  </a:lnTo>
                  <a:lnTo>
                    <a:pt x="563" y="1554"/>
                  </a:lnTo>
                  <a:lnTo>
                    <a:pt x="562" y="1554"/>
                  </a:lnTo>
                  <a:lnTo>
                    <a:pt x="563" y="1554"/>
                  </a:lnTo>
                  <a:lnTo>
                    <a:pt x="563" y="1552"/>
                  </a:lnTo>
                  <a:lnTo>
                    <a:pt x="562" y="1552"/>
                  </a:lnTo>
                  <a:lnTo>
                    <a:pt x="563" y="1550"/>
                  </a:lnTo>
                  <a:lnTo>
                    <a:pt x="562" y="1550"/>
                  </a:lnTo>
                  <a:lnTo>
                    <a:pt x="563" y="1549"/>
                  </a:lnTo>
                  <a:lnTo>
                    <a:pt x="562" y="1549"/>
                  </a:lnTo>
                  <a:lnTo>
                    <a:pt x="562" y="1550"/>
                  </a:lnTo>
                  <a:lnTo>
                    <a:pt x="562" y="1552"/>
                  </a:lnTo>
                  <a:lnTo>
                    <a:pt x="562" y="1554"/>
                  </a:lnTo>
                  <a:lnTo>
                    <a:pt x="558" y="1554"/>
                  </a:lnTo>
                  <a:lnTo>
                    <a:pt x="557" y="1554"/>
                  </a:lnTo>
                  <a:lnTo>
                    <a:pt x="558" y="1554"/>
                  </a:lnTo>
                  <a:lnTo>
                    <a:pt x="557" y="1554"/>
                  </a:lnTo>
                  <a:lnTo>
                    <a:pt x="557" y="1552"/>
                  </a:lnTo>
                  <a:lnTo>
                    <a:pt x="555" y="1552"/>
                  </a:lnTo>
                  <a:lnTo>
                    <a:pt x="557" y="1552"/>
                  </a:lnTo>
                  <a:lnTo>
                    <a:pt x="557" y="1550"/>
                  </a:lnTo>
                  <a:lnTo>
                    <a:pt x="555" y="1550"/>
                  </a:lnTo>
                  <a:lnTo>
                    <a:pt x="555" y="1552"/>
                  </a:lnTo>
                  <a:lnTo>
                    <a:pt x="553" y="1552"/>
                  </a:lnTo>
                  <a:lnTo>
                    <a:pt x="552" y="1550"/>
                  </a:lnTo>
                  <a:lnTo>
                    <a:pt x="553" y="1550"/>
                  </a:lnTo>
                  <a:lnTo>
                    <a:pt x="552" y="1549"/>
                  </a:lnTo>
                  <a:lnTo>
                    <a:pt x="552" y="1547"/>
                  </a:lnTo>
                  <a:lnTo>
                    <a:pt x="553" y="1547"/>
                  </a:lnTo>
                  <a:lnTo>
                    <a:pt x="553" y="1545"/>
                  </a:lnTo>
                  <a:lnTo>
                    <a:pt x="552" y="1545"/>
                  </a:lnTo>
                  <a:lnTo>
                    <a:pt x="553" y="1545"/>
                  </a:lnTo>
                  <a:lnTo>
                    <a:pt x="552" y="1544"/>
                  </a:lnTo>
                  <a:lnTo>
                    <a:pt x="553" y="1544"/>
                  </a:lnTo>
                  <a:lnTo>
                    <a:pt x="553" y="1542"/>
                  </a:lnTo>
                  <a:lnTo>
                    <a:pt x="553" y="1544"/>
                  </a:lnTo>
                  <a:lnTo>
                    <a:pt x="553" y="1542"/>
                  </a:lnTo>
                  <a:lnTo>
                    <a:pt x="553" y="1541"/>
                  </a:lnTo>
                  <a:lnTo>
                    <a:pt x="555" y="1541"/>
                  </a:lnTo>
                  <a:lnTo>
                    <a:pt x="557" y="1539"/>
                  </a:lnTo>
                  <a:lnTo>
                    <a:pt x="558" y="1539"/>
                  </a:lnTo>
                  <a:lnTo>
                    <a:pt x="560" y="1539"/>
                  </a:lnTo>
                  <a:lnTo>
                    <a:pt x="562" y="1539"/>
                  </a:lnTo>
                  <a:lnTo>
                    <a:pt x="562" y="1537"/>
                  </a:lnTo>
                  <a:lnTo>
                    <a:pt x="562" y="1539"/>
                  </a:lnTo>
                  <a:lnTo>
                    <a:pt x="563" y="1539"/>
                  </a:lnTo>
                  <a:lnTo>
                    <a:pt x="562" y="1539"/>
                  </a:lnTo>
                  <a:lnTo>
                    <a:pt x="563" y="1539"/>
                  </a:lnTo>
                  <a:lnTo>
                    <a:pt x="563" y="1537"/>
                  </a:lnTo>
                  <a:lnTo>
                    <a:pt x="563" y="1539"/>
                  </a:lnTo>
                  <a:lnTo>
                    <a:pt x="565" y="1539"/>
                  </a:lnTo>
                  <a:lnTo>
                    <a:pt x="566" y="1541"/>
                  </a:lnTo>
                  <a:lnTo>
                    <a:pt x="568" y="1541"/>
                  </a:lnTo>
                  <a:lnTo>
                    <a:pt x="570" y="1541"/>
                  </a:lnTo>
                  <a:lnTo>
                    <a:pt x="571" y="1541"/>
                  </a:lnTo>
                  <a:lnTo>
                    <a:pt x="571" y="1542"/>
                  </a:lnTo>
                  <a:lnTo>
                    <a:pt x="571" y="1544"/>
                  </a:lnTo>
                  <a:lnTo>
                    <a:pt x="573" y="1544"/>
                  </a:lnTo>
                  <a:lnTo>
                    <a:pt x="573" y="1545"/>
                  </a:lnTo>
                  <a:lnTo>
                    <a:pt x="575" y="1545"/>
                  </a:lnTo>
                  <a:lnTo>
                    <a:pt x="576" y="1545"/>
                  </a:lnTo>
                  <a:lnTo>
                    <a:pt x="578" y="1547"/>
                  </a:lnTo>
                  <a:lnTo>
                    <a:pt x="579" y="1547"/>
                  </a:lnTo>
                  <a:lnTo>
                    <a:pt x="581" y="1547"/>
                  </a:lnTo>
                  <a:lnTo>
                    <a:pt x="583" y="1547"/>
                  </a:lnTo>
                  <a:lnTo>
                    <a:pt x="583" y="1549"/>
                  </a:lnTo>
                  <a:lnTo>
                    <a:pt x="583" y="1550"/>
                  </a:lnTo>
                  <a:lnTo>
                    <a:pt x="583" y="1552"/>
                  </a:lnTo>
                  <a:lnTo>
                    <a:pt x="583" y="1554"/>
                  </a:lnTo>
                  <a:lnTo>
                    <a:pt x="584" y="1554"/>
                  </a:lnTo>
                  <a:lnTo>
                    <a:pt x="584" y="1550"/>
                  </a:lnTo>
                  <a:lnTo>
                    <a:pt x="584" y="1549"/>
                  </a:lnTo>
                  <a:lnTo>
                    <a:pt x="584" y="1547"/>
                  </a:lnTo>
                  <a:lnTo>
                    <a:pt x="584" y="1545"/>
                  </a:lnTo>
                  <a:lnTo>
                    <a:pt x="584" y="1544"/>
                  </a:lnTo>
                  <a:lnTo>
                    <a:pt x="586" y="1544"/>
                  </a:lnTo>
                  <a:lnTo>
                    <a:pt x="586" y="1542"/>
                  </a:lnTo>
                  <a:lnTo>
                    <a:pt x="588" y="1542"/>
                  </a:lnTo>
                  <a:lnTo>
                    <a:pt x="591" y="1542"/>
                  </a:lnTo>
                  <a:lnTo>
                    <a:pt x="591" y="1541"/>
                  </a:lnTo>
                  <a:lnTo>
                    <a:pt x="592" y="1541"/>
                  </a:lnTo>
                  <a:lnTo>
                    <a:pt x="592" y="1539"/>
                  </a:lnTo>
                  <a:lnTo>
                    <a:pt x="594" y="1539"/>
                  </a:lnTo>
                  <a:lnTo>
                    <a:pt x="594" y="1541"/>
                  </a:lnTo>
                  <a:lnTo>
                    <a:pt x="594" y="1542"/>
                  </a:lnTo>
                  <a:lnTo>
                    <a:pt x="596" y="1542"/>
                  </a:lnTo>
                  <a:lnTo>
                    <a:pt x="597" y="1544"/>
                  </a:lnTo>
                  <a:lnTo>
                    <a:pt x="599" y="1544"/>
                  </a:lnTo>
                  <a:lnTo>
                    <a:pt x="597" y="1542"/>
                  </a:lnTo>
                  <a:lnTo>
                    <a:pt x="596" y="1541"/>
                  </a:lnTo>
                  <a:lnTo>
                    <a:pt x="594" y="1541"/>
                  </a:lnTo>
                  <a:lnTo>
                    <a:pt x="594" y="1539"/>
                  </a:lnTo>
                  <a:lnTo>
                    <a:pt x="596" y="1539"/>
                  </a:lnTo>
                  <a:lnTo>
                    <a:pt x="596" y="1537"/>
                  </a:lnTo>
                  <a:lnTo>
                    <a:pt x="597" y="1537"/>
                  </a:lnTo>
                  <a:lnTo>
                    <a:pt x="597" y="1539"/>
                  </a:lnTo>
                  <a:lnTo>
                    <a:pt x="599" y="1539"/>
                  </a:lnTo>
                  <a:lnTo>
                    <a:pt x="599" y="1537"/>
                  </a:lnTo>
                  <a:lnTo>
                    <a:pt x="599" y="1539"/>
                  </a:lnTo>
                  <a:lnTo>
                    <a:pt x="601" y="1539"/>
                  </a:lnTo>
                  <a:lnTo>
                    <a:pt x="601" y="1537"/>
                  </a:lnTo>
                  <a:lnTo>
                    <a:pt x="602" y="1539"/>
                  </a:lnTo>
                  <a:lnTo>
                    <a:pt x="602" y="1537"/>
                  </a:lnTo>
                  <a:lnTo>
                    <a:pt x="604" y="1537"/>
                  </a:lnTo>
                  <a:lnTo>
                    <a:pt x="605" y="1537"/>
                  </a:lnTo>
                  <a:lnTo>
                    <a:pt x="605" y="1536"/>
                  </a:lnTo>
                  <a:lnTo>
                    <a:pt x="607" y="1534"/>
                  </a:lnTo>
                  <a:lnTo>
                    <a:pt x="607" y="1536"/>
                  </a:lnTo>
                  <a:lnTo>
                    <a:pt x="609" y="1536"/>
                  </a:lnTo>
                  <a:lnTo>
                    <a:pt x="609" y="1537"/>
                  </a:lnTo>
                  <a:lnTo>
                    <a:pt x="609" y="1541"/>
                  </a:lnTo>
                  <a:lnTo>
                    <a:pt x="607" y="1541"/>
                  </a:lnTo>
                  <a:lnTo>
                    <a:pt x="607" y="1542"/>
                  </a:lnTo>
                  <a:lnTo>
                    <a:pt x="607" y="1544"/>
                  </a:lnTo>
                  <a:lnTo>
                    <a:pt x="605" y="1545"/>
                  </a:lnTo>
                  <a:lnTo>
                    <a:pt x="607" y="1545"/>
                  </a:lnTo>
                  <a:lnTo>
                    <a:pt x="607" y="1544"/>
                  </a:lnTo>
                  <a:lnTo>
                    <a:pt x="607" y="1542"/>
                  </a:lnTo>
                  <a:lnTo>
                    <a:pt x="609" y="1542"/>
                  </a:lnTo>
                  <a:lnTo>
                    <a:pt x="609" y="1541"/>
                  </a:lnTo>
                  <a:lnTo>
                    <a:pt x="610" y="1539"/>
                  </a:lnTo>
                  <a:lnTo>
                    <a:pt x="612" y="1539"/>
                  </a:lnTo>
                  <a:lnTo>
                    <a:pt x="612" y="1537"/>
                  </a:lnTo>
                  <a:lnTo>
                    <a:pt x="610" y="1537"/>
                  </a:lnTo>
                  <a:lnTo>
                    <a:pt x="610" y="1536"/>
                  </a:lnTo>
                  <a:lnTo>
                    <a:pt x="612" y="1536"/>
                  </a:lnTo>
                  <a:lnTo>
                    <a:pt x="614" y="1536"/>
                  </a:lnTo>
                  <a:lnTo>
                    <a:pt x="614" y="1534"/>
                  </a:lnTo>
                  <a:lnTo>
                    <a:pt x="615" y="1534"/>
                  </a:lnTo>
                  <a:lnTo>
                    <a:pt x="617" y="1534"/>
                  </a:lnTo>
                  <a:lnTo>
                    <a:pt x="620" y="1534"/>
                  </a:lnTo>
                  <a:lnTo>
                    <a:pt x="620" y="1536"/>
                  </a:lnTo>
                  <a:lnTo>
                    <a:pt x="622" y="1536"/>
                  </a:lnTo>
                  <a:lnTo>
                    <a:pt x="623" y="1537"/>
                  </a:lnTo>
                  <a:lnTo>
                    <a:pt x="623" y="1539"/>
                  </a:lnTo>
                  <a:lnTo>
                    <a:pt x="625" y="1537"/>
                  </a:lnTo>
                  <a:lnTo>
                    <a:pt x="627" y="1539"/>
                  </a:lnTo>
                  <a:lnTo>
                    <a:pt x="628" y="1537"/>
                  </a:lnTo>
                  <a:lnTo>
                    <a:pt x="630" y="1537"/>
                  </a:lnTo>
                  <a:lnTo>
                    <a:pt x="631" y="1537"/>
                  </a:lnTo>
                  <a:lnTo>
                    <a:pt x="633" y="1537"/>
                  </a:lnTo>
                  <a:lnTo>
                    <a:pt x="635" y="1537"/>
                  </a:lnTo>
                  <a:lnTo>
                    <a:pt x="635" y="1539"/>
                  </a:lnTo>
                  <a:lnTo>
                    <a:pt x="636" y="1539"/>
                  </a:lnTo>
                  <a:lnTo>
                    <a:pt x="636" y="1541"/>
                  </a:lnTo>
                  <a:lnTo>
                    <a:pt x="638" y="1539"/>
                  </a:lnTo>
                  <a:lnTo>
                    <a:pt x="640" y="1541"/>
                  </a:lnTo>
                  <a:lnTo>
                    <a:pt x="641" y="1541"/>
                  </a:lnTo>
                  <a:lnTo>
                    <a:pt x="641" y="1542"/>
                  </a:lnTo>
                  <a:lnTo>
                    <a:pt x="643" y="1542"/>
                  </a:lnTo>
                  <a:lnTo>
                    <a:pt x="643" y="1544"/>
                  </a:lnTo>
                  <a:lnTo>
                    <a:pt x="643" y="1545"/>
                  </a:lnTo>
                  <a:lnTo>
                    <a:pt x="641" y="1545"/>
                  </a:lnTo>
                  <a:lnTo>
                    <a:pt x="641" y="1547"/>
                  </a:lnTo>
                  <a:lnTo>
                    <a:pt x="641" y="1549"/>
                  </a:lnTo>
                  <a:lnTo>
                    <a:pt x="640" y="1549"/>
                  </a:lnTo>
                  <a:lnTo>
                    <a:pt x="640" y="1550"/>
                  </a:lnTo>
                  <a:lnTo>
                    <a:pt x="641" y="1549"/>
                  </a:lnTo>
                  <a:lnTo>
                    <a:pt x="643" y="1547"/>
                  </a:lnTo>
                  <a:lnTo>
                    <a:pt x="644" y="1544"/>
                  </a:lnTo>
                  <a:lnTo>
                    <a:pt x="646" y="1545"/>
                  </a:lnTo>
                  <a:lnTo>
                    <a:pt x="648" y="1544"/>
                  </a:lnTo>
                  <a:lnTo>
                    <a:pt x="648" y="1545"/>
                  </a:lnTo>
                  <a:lnTo>
                    <a:pt x="649" y="1545"/>
                  </a:lnTo>
                  <a:lnTo>
                    <a:pt x="649" y="1547"/>
                  </a:lnTo>
                  <a:lnTo>
                    <a:pt x="648" y="1549"/>
                  </a:lnTo>
                  <a:lnTo>
                    <a:pt x="648" y="1550"/>
                  </a:lnTo>
                  <a:lnTo>
                    <a:pt x="648" y="1552"/>
                  </a:lnTo>
                  <a:lnTo>
                    <a:pt x="646" y="1552"/>
                  </a:lnTo>
                  <a:lnTo>
                    <a:pt x="644" y="1554"/>
                  </a:lnTo>
                  <a:lnTo>
                    <a:pt x="646" y="1554"/>
                  </a:lnTo>
                  <a:lnTo>
                    <a:pt x="648" y="1554"/>
                  </a:lnTo>
                  <a:lnTo>
                    <a:pt x="649" y="1554"/>
                  </a:lnTo>
                  <a:lnTo>
                    <a:pt x="649" y="1552"/>
                  </a:lnTo>
                  <a:lnTo>
                    <a:pt x="648" y="1552"/>
                  </a:lnTo>
                  <a:lnTo>
                    <a:pt x="649" y="1550"/>
                  </a:lnTo>
                  <a:lnTo>
                    <a:pt x="651" y="1549"/>
                  </a:lnTo>
                  <a:lnTo>
                    <a:pt x="651" y="1547"/>
                  </a:lnTo>
                  <a:lnTo>
                    <a:pt x="651" y="1545"/>
                  </a:lnTo>
                  <a:lnTo>
                    <a:pt x="653" y="1544"/>
                  </a:lnTo>
                  <a:lnTo>
                    <a:pt x="656" y="1544"/>
                  </a:lnTo>
                  <a:lnTo>
                    <a:pt x="656" y="1542"/>
                  </a:lnTo>
                  <a:lnTo>
                    <a:pt x="657" y="1542"/>
                  </a:lnTo>
                  <a:lnTo>
                    <a:pt x="657" y="1541"/>
                  </a:lnTo>
                  <a:lnTo>
                    <a:pt x="659" y="1541"/>
                  </a:lnTo>
                  <a:lnTo>
                    <a:pt x="661" y="1541"/>
                  </a:lnTo>
                  <a:lnTo>
                    <a:pt x="661" y="1542"/>
                  </a:lnTo>
                  <a:lnTo>
                    <a:pt x="662" y="1542"/>
                  </a:lnTo>
                  <a:lnTo>
                    <a:pt x="662" y="1541"/>
                  </a:lnTo>
                  <a:lnTo>
                    <a:pt x="662" y="1539"/>
                  </a:lnTo>
                  <a:lnTo>
                    <a:pt x="662" y="1537"/>
                  </a:lnTo>
                  <a:lnTo>
                    <a:pt x="664" y="1537"/>
                  </a:lnTo>
                  <a:lnTo>
                    <a:pt x="664" y="1536"/>
                  </a:lnTo>
                  <a:lnTo>
                    <a:pt x="664" y="1534"/>
                  </a:lnTo>
                  <a:lnTo>
                    <a:pt x="664" y="1532"/>
                  </a:lnTo>
                  <a:lnTo>
                    <a:pt x="666" y="1532"/>
                  </a:lnTo>
                  <a:lnTo>
                    <a:pt x="666" y="1531"/>
                  </a:lnTo>
                  <a:lnTo>
                    <a:pt x="667" y="1531"/>
                  </a:lnTo>
                  <a:lnTo>
                    <a:pt x="667" y="1532"/>
                  </a:lnTo>
                  <a:lnTo>
                    <a:pt x="669" y="1534"/>
                  </a:lnTo>
                  <a:lnTo>
                    <a:pt x="671" y="1534"/>
                  </a:lnTo>
                  <a:lnTo>
                    <a:pt x="674" y="1534"/>
                  </a:lnTo>
                  <a:lnTo>
                    <a:pt x="675" y="1534"/>
                  </a:lnTo>
                  <a:lnTo>
                    <a:pt x="675" y="1536"/>
                  </a:lnTo>
                  <a:lnTo>
                    <a:pt x="677" y="1536"/>
                  </a:lnTo>
                  <a:lnTo>
                    <a:pt x="679" y="1536"/>
                  </a:lnTo>
                  <a:lnTo>
                    <a:pt x="680" y="1536"/>
                  </a:lnTo>
                  <a:lnTo>
                    <a:pt x="682" y="1537"/>
                  </a:lnTo>
                  <a:lnTo>
                    <a:pt x="682" y="1539"/>
                  </a:lnTo>
                  <a:lnTo>
                    <a:pt x="682" y="1541"/>
                  </a:lnTo>
                  <a:lnTo>
                    <a:pt x="682" y="1542"/>
                  </a:lnTo>
                  <a:lnTo>
                    <a:pt x="682" y="1544"/>
                  </a:lnTo>
                  <a:lnTo>
                    <a:pt x="684" y="1544"/>
                  </a:lnTo>
                  <a:lnTo>
                    <a:pt x="685" y="1545"/>
                  </a:lnTo>
                  <a:lnTo>
                    <a:pt x="687" y="1545"/>
                  </a:lnTo>
                  <a:lnTo>
                    <a:pt x="687" y="1544"/>
                  </a:lnTo>
                  <a:lnTo>
                    <a:pt x="688" y="1544"/>
                  </a:lnTo>
                  <a:lnTo>
                    <a:pt x="688" y="1545"/>
                  </a:lnTo>
                  <a:lnTo>
                    <a:pt x="690" y="1545"/>
                  </a:lnTo>
                  <a:lnTo>
                    <a:pt x="690" y="1547"/>
                  </a:lnTo>
                  <a:lnTo>
                    <a:pt x="692" y="1547"/>
                  </a:lnTo>
                  <a:lnTo>
                    <a:pt x="692" y="1549"/>
                  </a:lnTo>
                  <a:lnTo>
                    <a:pt x="690" y="1550"/>
                  </a:lnTo>
                  <a:lnTo>
                    <a:pt x="692" y="1552"/>
                  </a:lnTo>
                  <a:lnTo>
                    <a:pt x="692" y="1554"/>
                  </a:lnTo>
                  <a:lnTo>
                    <a:pt x="692" y="1555"/>
                  </a:lnTo>
                  <a:lnTo>
                    <a:pt x="692" y="1557"/>
                  </a:lnTo>
                  <a:lnTo>
                    <a:pt x="693" y="1557"/>
                  </a:lnTo>
                  <a:lnTo>
                    <a:pt x="692" y="1558"/>
                  </a:lnTo>
                  <a:lnTo>
                    <a:pt x="692" y="1560"/>
                  </a:lnTo>
                  <a:lnTo>
                    <a:pt x="690" y="1560"/>
                  </a:lnTo>
                  <a:lnTo>
                    <a:pt x="688" y="1560"/>
                  </a:lnTo>
                  <a:lnTo>
                    <a:pt x="688" y="1562"/>
                  </a:lnTo>
                  <a:lnTo>
                    <a:pt x="687" y="1562"/>
                  </a:lnTo>
                  <a:lnTo>
                    <a:pt x="685" y="1562"/>
                  </a:lnTo>
                  <a:lnTo>
                    <a:pt x="685" y="1563"/>
                  </a:lnTo>
                  <a:lnTo>
                    <a:pt x="685" y="1565"/>
                  </a:lnTo>
                  <a:lnTo>
                    <a:pt x="684" y="1565"/>
                  </a:lnTo>
                  <a:lnTo>
                    <a:pt x="682" y="1565"/>
                  </a:lnTo>
                  <a:lnTo>
                    <a:pt x="680" y="1567"/>
                  </a:lnTo>
                  <a:lnTo>
                    <a:pt x="680" y="1568"/>
                  </a:lnTo>
                  <a:lnTo>
                    <a:pt x="680" y="1570"/>
                  </a:lnTo>
                  <a:lnTo>
                    <a:pt x="679" y="1571"/>
                  </a:lnTo>
                  <a:lnTo>
                    <a:pt x="679" y="1573"/>
                  </a:lnTo>
                  <a:lnTo>
                    <a:pt x="680" y="1570"/>
                  </a:lnTo>
                  <a:lnTo>
                    <a:pt x="680" y="1568"/>
                  </a:lnTo>
                  <a:lnTo>
                    <a:pt x="680" y="1567"/>
                  </a:lnTo>
                  <a:lnTo>
                    <a:pt x="682" y="1565"/>
                  </a:lnTo>
                  <a:lnTo>
                    <a:pt x="684" y="1565"/>
                  </a:lnTo>
                  <a:lnTo>
                    <a:pt x="685" y="1565"/>
                  </a:lnTo>
                  <a:lnTo>
                    <a:pt x="685" y="1563"/>
                  </a:lnTo>
                  <a:lnTo>
                    <a:pt x="687" y="1563"/>
                  </a:lnTo>
                  <a:lnTo>
                    <a:pt x="688" y="1562"/>
                  </a:lnTo>
                  <a:lnTo>
                    <a:pt x="690" y="1562"/>
                  </a:lnTo>
                  <a:lnTo>
                    <a:pt x="692" y="1560"/>
                  </a:lnTo>
                  <a:lnTo>
                    <a:pt x="693" y="1560"/>
                  </a:lnTo>
                  <a:lnTo>
                    <a:pt x="693" y="1558"/>
                  </a:lnTo>
                  <a:lnTo>
                    <a:pt x="693" y="1560"/>
                  </a:lnTo>
                  <a:lnTo>
                    <a:pt x="695" y="1562"/>
                  </a:lnTo>
                  <a:lnTo>
                    <a:pt x="697" y="1563"/>
                  </a:lnTo>
                  <a:lnTo>
                    <a:pt x="697" y="1565"/>
                  </a:lnTo>
                  <a:lnTo>
                    <a:pt x="698" y="1565"/>
                  </a:lnTo>
                  <a:lnTo>
                    <a:pt x="700" y="1565"/>
                  </a:lnTo>
                  <a:lnTo>
                    <a:pt x="700" y="1567"/>
                  </a:lnTo>
                  <a:lnTo>
                    <a:pt x="700" y="1568"/>
                  </a:lnTo>
                  <a:lnTo>
                    <a:pt x="700" y="1570"/>
                  </a:lnTo>
                  <a:lnTo>
                    <a:pt x="698" y="1573"/>
                  </a:lnTo>
                  <a:lnTo>
                    <a:pt x="698" y="1576"/>
                  </a:lnTo>
                  <a:lnTo>
                    <a:pt x="697" y="1576"/>
                  </a:lnTo>
                  <a:lnTo>
                    <a:pt x="698" y="1576"/>
                  </a:lnTo>
                  <a:lnTo>
                    <a:pt x="700" y="1575"/>
                  </a:lnTo>
                  <a:lnTo>
                    <a:pt x="700" y="1573"/>
                  </a:lnTo>
                  <a:lnTo>
                    <a:pt x="701" y="1573"/>
                  </a:lnTo>
                  <a:lnTo>
                    <a:pt x="701" y="1571"/>
                  </a:lnTo>
                  <a:lnTo>
                    <a:pt x="703" y="1570"/>
                  </a:lnTo>
                  <a:lnTo>
                    <a:pt x="703" y="1568"/>
                  </a:lnTo>
                  <a:lnTo>
                    <a:pt x="703" y="1567"/>
                  </a:lnTo>
                  <a:lnTo>
                    <a:pt x="703" y="1565"/>
                  </a:lnTo>
                  <a:lnTo>
                    <a:pt x="701" y="1565"/>
                  </a:lnTo>
                  <a:lnTo>
                    <a:pt x="701" y="1563"/>
                  </a:lnTo>
                  <a:lnTo>
                    <a:pt x="700" y="1563"/>
                  </a:lnTo>
                  <a:lnTo>
                    <a:pt x="698" y="1563"/>
                  </a:lnTo>
                  <a:lnTo>
                    <a:pt x="697" y="1562"/>
                  </a:lnTo>
                  <a:lnTo>
                    <a:pt x="695" y="1560"/>
                  </a:lnTo>
                  <a:lnTo>
                    <a:pt x="695" y="1558"/>
                  </a:lnTo>
                  <a:lnTo>
                    <a:pt x="695" y="1557"/>
                  </a:lnTo>
                  <a:lnTo>
                    <a:pt x="693" y="1555"/>
                  </a:lnTo>
                  <a:lnTo>
                    <a:pt x="693" y="1554"/>
                  </a:lnTo>
                  <a:lnTo>
                    <a:pt x="693" y="1552"/>
                  </a:lnTo>
                  <a:lnTo>
                    <a:pt x="693" y="1550"/>
                  </a:lnTo>
                  <a:lnTo>
                    <a:pt x="693" y="1549"/>
                  </a:lnTo>
                  <a:lnTo>
                    <a:pt x="693" y="1547"/>
                  </a:lnTo>
                  <a:lnTo>
                    <a:pt x="693" y="1545"/>
                  </a:lnTo>
                  <a:lnTo>
                    <a:pt x="692" y="1544"/>
                  </a:lnTo>
                  <a:lnTo>
                    <a:pt x="693" y="1544"/>
                  </a:lnTo>
                  <a:lnTo>
                    <a:pt x="693" y="1542"/>
                  </a:lnTo>
                  <a:lnTo>
                    <a:pt x="695" y="1541"/>
                  </a:lnTo>
                  <a:lnTo>
                    <a:pt x="697" y="1542"/>
                  </a:lnTo>
                  <a:lnTo>
                    <a:pt x="698" y="1542"/>
                  </a:lnTo>
                  <a:lnTo>
                    <a:pt x="700" y="1542"/>
                  </a:lnTo>
                  <a:lnTo>
                    <a:pt x="700" y="1541"/>
                  </a:lnTo>
                  <a:lnTo>
                    <a:pt x="701" y="1541"/>
                  </a:lnTo>
                  <a:lnTo>
                    <a:pt x="705" y="1541"/>
                  </a:lnTo>
                  <a:lnTo>
                    <a:pt x="706" y="1541"/>
                  </a:lnTo>
                  <a:lnTo>
                    <a:pt x="706" y="1539"/>
                  </a:lnTo>
                  <a:lnTo>
                    <a:pt x="708" y="1537"/>
                  </a:lnTo>
                  <a:lnTo>
                    <a:pt x="708" y="1536"/>
                  </a:lnTo>
                  <a:lnTo>
                    <a:pt x="710" y="1537"/>
                  </a:lnTo>
                  <a:lnTo>
                    <a:pt x="713" y="1539"/>
                  </a:lnTo>
                  <a:lnTo>
                    <a:pt x="713" y="1541"/>
                  </a:lnTo>
                  <a:lnTo>
                    <a:pt x="714" y="1541"/>
                  </a:lnTo>
                  <a:lnTo>
                    <a:pt x="716" y="1539"/>
                  </a:lnTo>
                  <a:lnTo>
                    <a:pt x="716" y="1541"/>
                  </a:lnTo>
                  <a:lnTo>
                    <a:pt x="718" y="1541"/>
                  </a:lnTo>
                  <a:lnTo>
                    <a:pt x="718" y="1542"/>
                  </a:lnTo>
                  <a:lnTo>
                    <a:pt x="721" y="1544"/>
                  </a:lnTo>
                  <a:lnTo>
                    <a:pt x="723" y="1542"/>
                  </a:lnTo>
                  <a:lnTo>
                    <a:pt x="723" y="1544"/>
                  </a:lnTo>
                  <a:lnTo>
                    <a:pt x="724" y="1544"/>
                  </a:lnTo>
                  <a:lnTo>
                    <a:pt x="723" y="1542"/>
                  </a:lnTo>
                  <a:lnTo>
                    <a:pt x="721" y="1542"/>
                  </a:lnTo>
                  <a:lnTo>
                    <a:pt x="719" y="1541"/>
                  </a:lnTo>
                  <a:lnTo>
                    <a:pt x="719" y="1539"/>
                  </a:lnTo>
                  <a:lnTo>
                    <a:pt x="719" y="1537"/>
                  </a:lnTo>
                  <a:lnTo>
                    <a:pt x="718" y="1537"/>
                  </a:lnTo>
                  <a:lnTo>
                    <a:pt x="716" y="1537"/>
                  </a:lnTo>
                  <a:lnTo>
                    <a:pt x="719" y="1536"/>
                  </a:lnTo>
                  <a:lnTo>
                    <a:pt x="721" y="1536"/>
                  </a:lnTo>
                  <a:lnTo>
                    <a:pt x="721" y="1534"/>
                  </a:lnTo>
                  <a:lnTo>
                    <a:pt x="723" y="1534"/>
                  </a:lnTo>
                  <a:lnTo>
                    <a:pt x="723" y="1532"/>
                  </a:lnTo>
                  <a:lnTo>
                    <a:pt x="724" y="1532"/>
                  </a:lnTo>
                  <a:lnTo>
                    <a:pt x="726" y="1531"/>
                  </a:lnTo>
                  <a:lnTo>
                    <a:pt x="727" y="1531"/>
                  </a:lnTo>
                  <a:lnTo>
                    <a:pt x="729" y="1531"/>
                  </a:lnTo>
                  <a:lnTo>
                    <a:pt x="731" y="1531"/>
                  </a:lnTo>
                  <a:lnTo>
                    <a:pt x="732" y="1531"/>
                  </a:lnTo>
                  <a:lnTo>
                    <a:pt x="734" y="1531"/>
                  </a:lnTo>
                  <a:lnTo>
                    <a:pt x="736" y="1529"/>
                  </a:lnTo>
                  <a:lnTo>
                    <a:pt x="737" y="1528"/>
                  </a:lnTo>
                  <a:lnTo>
                    <a:pt x="737" y="1526"/>
                  </a:lnTo>
                  <a:lnTo>
                    <a:pt x="739" y="1528"/>
                  </a:lnTo>
                  <a:lnTo>
                    <a:pt x="740" y="1528"/>
                  </a:lnTo>
                  <a:lnTo>
                    <a:pt x="740" y="1526"/>
                  </a:lnTo>
                  <a:lnTo>
                    <a:pt x="740" y="1524"/>
                  </a:lnTo>
                  <a:lnTo>
                    <a:pt x="739" y="1524"/>
                  </a:lnTo>
                  <a:lnTo>
                    <a:pt x="739" y="1526"/>
                  </a:lnTo>
                  <a:lnTo>
                    <a:pt x="739" y="1524"/>
                  </a:lnTo>
                  <a:lnTo>
                    <a:pt x="737" y="1524"/>
                  </a:lnTo>
                  <a:lnTo>
                    <a:pt x="736" y="1524"/>
                  </a:lnTo>
                  <a:lnTo>
                    <a:pt x="736" y="1526"/>
                  </a:lnTo>
                  <a:lnTo>
                    <a:pt x="734" y="1528"/>
                  </a:lnTo>
                  <a:lnTo>
                    <a:pt x="732" y="1528"/>
                  </a:lnTo>
                  <a:lnTo>
                    <a:pt x="731" y="1528"/>
                  </a:lnTo>
                  <a:lnTo>
                    <a:pt x="729" y="1529"/>
                  </a:lnTo>
                  <a:lnTo>
                    <a:pt x="727" y="1528"/>
                  </a:lnTo>
                  <a:lnTo>
                    <a:pt x="726" y="1528"/>
                  </a:lnTo>
                  <a:lnTo>
                    <a:pt x="724" y="1529"/>
                  </a:lnTo>
                  <a:lnTo>
                    <a:pt x="723" y="1529"/>
                  </a:lnTo>
                  <a:lnTo>
                    <a:pt x="721" y="1529"/>
                  </a:lnTo>
                  <a:lnTo>
                    <a:pt x="719" y="1529"/>
                  </a:lnTo>
                  <a:lnTo>
                    <a:pt x="718" y="1528"/>
                  </a:lnTo>
                  <a:lnTo>
                    <a:pt x="719" y="1528"/>
                  </a:lnTo>
                  <a:lnTo>
                    <a:pt x="718" y="1526"/>
                  </a:lnTo>
                  <a:lnTo>
                    <a:pt x="718" y="1524"/>
                  </a:lnTo>
                  <a:lnTo>
                    <a:pt x="718" y="1519"/>
                  </a:lnTo>
                  <a:lnTo>
                    <a:pt x="716" y="1519"/>
                  </a:lnTo>
                  <a:lnTo>
                    <a:pt x="716" y="1518"/>
                  </a:lnTo>
                  <a:lnTo>
                    <a:pt x="714" y="1516"/>
                  </a:lnTo>
                  <a:lnTo>
                    <a:pt x="713" y="1514"/>
                  </a:lnTo>
                  <a:lnTo>
                    <a:pt x="716" y="1513"/>
                  </a:lnTo>
                  <a:lnTo>
                    <a:pt x="718" y="1513"/>
                  </a:lnTo>
                  <a:lnTo>
                    <a:pt x="718" y="1511"/>
                  </a:lnTo>
                  <a:lnTo>
                    <a:pt x="719" y="1511"/>
                  </a:lnTo>
                  <a:lnTo>
                    <a:pt x="719" y="1510"/>
                  </a:lnTo>
                  <a:lnTo>
                    <a:pt x="719" y="1506"/>
                  </a:lnTo>
                  <a:lnTo>
                    <a:pt x="721" y="1505"/>
                  </a:lnTo>
                  <a:lnTo>
                    <a:pt x="721" y="1503"/>
                  </a:lnTo>
                  <a:lnTo>
                    <a:pt x="723" y="1503"/>
                  </a:lnTo>
                  <a:lnTo>
                    <a:pt x="723" y="1501"/>
                  </a:lnTo>
                  <a:lnTo>
                    <a:pt x="724" y="1501"/>
                  </a:lnTo>
                  <a:lnTo>
                    <a:pt x="726" y="1500"/>
                  </a:lnTo>
                  <a:lnTo>
                    <a:pt x="726" y="1498"/>
                  </a:lnTo>
                  <a:lnTo>
                    <a:pt x="726" y="1497"/>
                  </a:lnTo>
                  <a:lnTo>
                    <a:pt x="727" y="1495"/>
                  </a:lnTo>
                  <a:lnTo>
                    <a:pt x="729" y="1493"/>
                  </a:lnTo>
                  <a:lnTo>
                    <a:pt x="731" y="1493"/>
                  </a:lnTo>
                  <a:lnTo>
                    <a:pt x="732" y="1492"/>
                  </a:lnTo>
                  <a:lnTo>
                    <a:pt x="734" y="1490"/>
                  </a:lnTo>
                  <a:lnTo>
                    <a:pt x="734" y="1488"/>
                  </a:lnTo>
                  <a:lnTo>
                    <a:pt x="734" y="1487"/>
                  </a:lnTo>
                  <a:lnTo>
                    <a:pt x="732" y="1488"/>
                  </a:lnTo>
                  <a:lnTo>
                    <a:pt x="732" y="1490"/>
                  </a:lnTo>
                  <a:lnTo>
                    <a:pt x="731" y="1490"/>
                  </a:lnTo>
                  <a:lnTo>
                    <a:pt x="729" y="1492"/>
                  </a:lnTo>
                  <a:lnTo>
                    <a:pt x="729" y="1493"/>
                  </a:lnTo>
                  <a:lnTo>
                    <a:pt x="727" y="1493"/>
                  </a:lnTo>
                  <a:lnTo>
                    <a:pt x="726" y="1495"/>
                  </a:lnTo>
                  <a:lnTo>
                    <a:pt x="724" y="1495"/>
                  </a:lnTo>
                  <a:lnTo>
                    <a:pt x="724" y="1497"/>
                  </a:lnTo>
                  <a:lnTo>
                    <a:pt x="723" y="1497"/>
                  </a:lnTo>
                  <a:lnTo>
                    <a:pt x="723" y="1500"/>
                  </a:lnTo>
                  <a:lnTo>
                    <a:pt x="721" y="1500"/>
                  </a:lnTo>
                  <a:lnTo>
                    <a:pt x="719" y="1501"/>
                  </a:lnTo>
                  <a:lnTo>
                    <a:pt x="718" y="1501"/>
                  </a:lnTo>
                  <a:lnTo>
                    <a:pt x="718" y="1503"/>
                  </a:lnTo>
                  <a:lnTo>
                    <a:pt x="716" y="1501"/>
                  </a:lnTo>
                  <a:lnTo>
                    <a:pt x="714" y="1501"/>
                  </a:lnTo>
                  <a:lnTo>
                    <a:pt x="713" y="1501"/>
                  </a:lnTo>
                  <a:lnTo>
                    <a:pt x="713" y="1500"/>
                  </a:lnTo>
                  <a:lnTo>
                    <a:pt x="713" y="1501"/>
                  </a:lnTo>
                  <a:lnTo>
                    <a:pt x="713" y="1503"/>
                  </a:lnTo>
                  <a:lnTo>
                    <a:pt x="714" y="1503"/>
                  </a:lnTo>
                  <a:lnTo>
                    <a:pt x="714" y="1505"/>
                  </a:lnTo>
                  <a:lnTo>
                    <a:pt x="716" y="1505"/>
                  </a:lnTo>
                  <a:lnTo>
                    <a:pt x="716" y="1508"/>
                  </a:lnTo>
                  <a:lnTo>
                    <a:pt x="714" y="1511"/>
                  </a:lnTo>
                  <a:lnTo>
                    <a:pt x="713" y="1511"/>
                  </a:lnTo>
                  <a:lnTo>
                    <a:pt x="711" y="1513"/>
                  </a:lnTo>
                  <a:lnTo>
                    <a:pt x="710" y="1514"/>
                  </a:lnTo>
                  <a:lnTo>
                    <a:pt x="710" y="1516"/>
                  </a:lnTo>
                  <a:lnTo>
                    <a:pt x="711" y="1518"/>
                  </a:lnTo>
                  <a:lnTo>
                    <a:pt x="713" y="1519"/>
                  </a:lnTo>
                  <a:lnTo>
                    <a:pt x="714" y="1519"/>
                  </a:lnTo>
                  <a:lnTo>
                    <a:pt x="714" y="1521"/>
                  </a:lnTo>
                  <a:lnTo>
                    <a:pt x="714" y="1524"/>
                  </a:lnTo>
                  <a:lnTo>
                    <a:pt x="716" y="1526"/>
                  </a:lnTo>
                  <a:lnTo>
                    <a:pt x="714" y="1528"/>
                  </a:lnTo>
                  <a:lnTo>
                    <a:pt x="716" y="1529"/>
                  </a:lnTo>
                  <a:lnTo>
                    <a:pt x="718" y="1531"/>
                  </a:lnTo>
                  <a:lnTo>
                    <a:pt x="719" y="1532"/>
                  </a:lnTo>
                  <a:lnTo>
                    <a:pt x="718" y="1532"/>
                  </a:lnTo>
                  <a:lnTo>
                    <a:pt x="716" y="1534"/>
                  </a:lnTo>
                  <a:lnTo>
                    <a:pt x="714" y="1534"/>
                  </a:lnTo>
                  <a:lnTo>
                    <a:pt x="714" y="1536"/>
                  </a:lnTo>
                  <a:lnTo>
                    <a:pt x="713" y="1536"/>
                  </a:lnTo>
                  <a:lnTo>
                    <a:pt x="711" y="1534"/>
                  </a:lnTo>
                  <a:lnTo>
                    <a:pt x="710" y="1534"/>
                  </a:lnTo>
                  <a:lnTo>
                    <a:pt x="708" y="1532"/>
                  </a:lnTo>
                  <a:lnTo>
                    <a:pt x="710" y="1532"/>
                  </a:lnTo>
                  <a:lnTo>
                    <a:pt x="708" y="1531"/>
                  </a:lnTo>
                  <a:lnTo>
                    <a:pt x="708" y="1532"/>
                  </a:lnTo>
                  <a:lnTo>
                    <a:pt x="706" y="1534"/>
                  </a:lnTo>
                  <a:lnTo>
                    <a:pt x="705" y="1532"/>
                  </a:lnTo>
                  <a:lnTo>
                    <a:pt x="703" y="1534"/>
                  </a:lnTo>
                  <a:lnTo>
                    <a:pt x="703" y="1536"/>
                  </a:lnTo>
                  <a:lnTo>
                    <a:pt x="703" y="1537"/>
                  </a:lnTo>
                  <a:lnTo>
                    <a:pt x="701" y="1537"/>
                  </a:lnTo>
                  <a:lnTo>
                    <a:pt x="698" y="1537"/>
                  </a:lnTo>
                  <a:lnTo>
                    <a:pt x="697" y="1537"/>
                  </a:lnTo>
                  <a:lnTo>
                    <a:pt x="695" y="1537"/>
                  </a:lnTo>
                  <a:lnTo>
                    <a:pt x="693" y="1537"/>
                  </a:lnTo>
                  <a:lnTo>
                    <a:pt x="693" y="1539"/>
                  </a:lnTo>
                  <a:lnTo>
                    <a:pt x="692" y="1539"/>
                  </a:lnTo>
                  <a:lnTo>
                    <a:pt x="690" y="1541"/>
                  </a:lnTo>
                  <a:lnTo>
                    <a:pt x="690" y="1542"/>
                  </a:lnTo>
                  <a:lnTo>
                    <a:pt x="688" y="1541"/>
                  </a:lnTo>
                  <a:lnTo>
                    <a:pt x="687" y="1541"/>
                  </a:lnTo>
                  <a:lnTo>
                    <a:pt x="687" y="1539"/>
                  </a:lnTo>
                  <a:lnTo>
                    <a:pt x="687" y="1537"/>
                  </a:lnTo>
                  <a:lnTo>
                    <a:pt x="685" y="1537"/>
                  </a:lnTo>
                  <a:lnTo>
                    <a:pt x="685" y="1536"/>
                  </a:lnTo>
                  <a:lnTo>
                    <a:pt x="687" y="1536"/>
                  </a:lnTo>
                  <a:lnTo>
                    <a:pt x="688" y="1534"/>
                  </a:lnTo>
                  <a:lnTo>
                    <a:pt x="688" y="1536"/>
                  </a:lnTo>
                  <a:lnTo>
                    <a:pt x="690" y="1536"/>
                  </a:lnTo>
                  <a:lnTo>
                    <a:pt x="690" y="1534"/>
                  </a:lnTo>
                  <a:lnTo>
                    <a:pt x="690" y="1536"/>
                  </a:lnTo>
                  <a:lnTo>
                    <a:pt x="692" y="1534"/>
                  </a:lnTo>
                  <a:lnTo>
                    <a:pt x="693" y="1532"/>
                  </a:lnTo>
                  <a:lnTo>
                    <a:pt x="693" y="1531"/>
                  </a:lnTo>
                  <a:lnTo>
                    <a:pt x="695" y="1529"/>
                  </a:lnTo>
                  <a:lnTo>
                    <a:pt x="697" y="1529"/>
                  </a:lnTo>
                  <a:lnTo>
                    <a:pt x="698" y="1529"/>
                  </a:lnTo>
                  <a:lnTo>
                    <a:pt x="700" y="1529"/>
                  </a:lnTo>
                  <a:lnTo>
                    <a:pt x="701" y="1529"/>
                  </a:lnTo>
                  <a:lnTo>
                    <a:pt x="703" y="1529"/>
                  </a:lnTo>
                  <a:lnTo>
                    <a:pt x="703" y="1528"/>
                  </a:lnTo>
                  <a:lnTo>
                    <a:pt x="701" y="1528"/>
                  </a:lnTo>
                  <a:lnTo>
                    <a:pt x="700" y="1528"/>
                  </a:lnTo>
                  <a:lnTo>
                    <a:pt x="700" y="1526"/>
                  </a:lnTo>
                  <a:lnTo>
                    <a:pt x="700" y="1524"/>
                  </a:lnTo>
                  <a:lnTo>
                    <a:pt x="700" y="1523"/>
                  </a:lnTo>
                  <a:lnTo>
                    <a:pt x="701" y="1523"/>
                  </a:lnTo>
                  <a:lnTo>
                    <a:pt x="701" y="1521"/>
                  </a:lnTo>
                  <a:lnTo>
                    <a:pt x="703" y="1521"/>
                  </a:lnTo>
                  <a:lnTo>
                    <a:pt x="703" y="1519"/>
                  </a:lnTo>
                  <a:lnTo>
                    <a:pt x="701" y="1519"/>
                  </a:lnTo>
                  <a:lnTo>
                    <a:pt x="701" y="1521"/>
                  </a:lnTo>
                  <a:lnTo>
                    <a:pt x="700" y="1521"/>
                  </a:lnTo>
                  <a:lnTo>
                    <a:pt x="700" y="1523"/>
                  </a:lnTo>
                  <a:lnTo>
                    <a:pt x="700" y="1524"/>
                  </a:lnTo>
                  <a:lnTo>
                    <a:pt x="698" y="1524"/>
                  </a:lnTo>
                  <a:lnTo>
                    <a:pt x="698" y="1526"/>
                  </a:lnTo>
                  <a:lnTo>
                    <a:pt x="697" y="1528"/>
                  </a:lnTo>
                  <a:lnTo>
                    <a:pt x="695" y="1528"/>
                  </a:lnTo>
                  <a:lnTo>
                    <a:pt x="695" y="1529"/>
                  </a:lnTo>
                  <a:lnTo>
                    <a:pt x="693" y="1529"/>
                  </a:lnTo>
                  <a:lnTo>
                    <a:pt x="692" y="1531"/>
                  </a:lnTo>
                  <a:lnTo>
                    <a:pt x="690" y="1532"/>
                  </a:lnTo>
                  <a:lnTo>
                    <a:pt x="690" y="1534"/>
                  </a:lnTo>
                  <a:lnTo>
                    <a:pt x="688" y="1534"/>
                  </a:lnTo>
                  <a:lnTo>
                    <a:pt x="687" y="1534"/>
                  </a:lnTo>
                  <a:lnTo>
                    <a:pt x="685" y="1534"/>
                  </a:lnTo>
                  <a:lnTo>
                    <a:pt x="684" y="1531"/>
                  </a:lnTo>
                  <a:lnTo>
                    <a:pt x="682" y="1531"/>
                  </a:lnTo>
                  <a:lnTo>
                    <a:pt x="682" y="1532"/>
                  </a:lnTo>
                  <a:lnTo>
                    <a:pt x="682" y="1531"/>
                  </a:lnTo>
                  <a:lnTo>
                    <a:pt x="680" y="1531"/>
                  </a:lnTo>
                  <a:lnTo>
                    <a:pt x="680" y="1529"/>
                  </a:lnTo>
                  <a:lnTo>
                    <a:pt x="677" y="1529"/>
                  </a:lnTo>
                  <a:lnTo>
                    <a:pt x="677" y="1531"/>
                  </a:lnTo>
                  <a:lnTo>
                    <a:pt x="675" y="1529"/>
                  </a:lnTo>
                  <a:lnTo>
                    <a:pt x="674" y="1531"/>
                  </a:lnTo>
                  <a:lnTo>
                    <a:pt x="674" y="1529"/>
                  </a:lnTo>
                  <a:lnTo>
                    <a:pt x="672" y="1531"/>
                  </a:lnTo>
                  <a:lnTo>
                    <a:pt x="672" y="1529"/>
                  </a:lnTo>
                  <a:lnTo>
                    <a:pt x="671" y="1529"/>
                  </a:lnTo>
                  <a:lnTo>
                    <a:pt x="671" y="1528"/>
                  </a:lnTo>
                  <a:lnTo>
                    <a:pt x="669" y="1526"/>
                  </a:lnTo>
                  <a:lnTo>
                    <a:pt x="667" y="1526"/>
                  </a:lnTo>
                  <a:lnTo>
                    <a:pt x="666" y="1526"/>
                  </a:lnTo>
                  <a:lnTo>
                    <a:pt x="664" y="1526"/>
                  </a:lnTo>
                  <a:lnTo>
                    <a:pt x="662" y="1526"/>
                  </a:lnTo>
                  <a:lnTo>
                    <a:pt x="662" y="1524"/>
                  </a:lnTo>
                  <a:lnTo>
                    <a:pt x="662" y="1523"/>
                  </a:lnTo>
                  <a:lnTo>
                    <a:pt x="662" y="1521"/>
                  </a:lnTo>
                  <a:lnTo>
                    <a:pt x="664" y="1521"/>
                  </a:lnTo>
                  <a:lnTo>
                    <a:pt x="666" y="1519"/>
                  </a:lnTo>
                  <a:lnTo>
                    <a:pt x="667" y="1518"/>
                  </a:lnTo>
                  <a:lnTo>
                    <a:pt x="669" y="1516"/>
                  </a:lnTo>
                  <a:lnTo>
                    <a:pt x="669" y="1514"/>
                  </a:lnTo>
                  <a:lnTo>
                    <a:pt x="669" y="1513"/>
                  </a:lnTo>
                  <a:lnTo>
                    <a:pt x="671" y="1511"/>
                  </a:lnTo>
                  <a:lnTo>
                    <a:pt x="671" y="1510"/>
                  </a:lnTo>
                  <a:lnTo>
                    <a:pt x="672" y="1508"/>
                  </a:lnTo>
                  <a:lnTo>
                    <a:pt x="674" y="1508"/>
                  </a:lnTo>
                  <a:lnTo>
                    <a:pt x="674" y="1506"/>
                  </a:lnTo>
                  <a:lnTo>
                    <a:pt x="674" y="1505"/>
                  </a:lnTo>
                  <a:lnTo>
                    <a:pt x="675" y="1503"/>
                  </a:lnTo>
                  <a:lnTo>
                    <a:pt x="675" y="1500"/>
                  </a:lnTo>
                  <a:lnTo>
                    <a:pt x="675" y="1498"/>
                  </a:lnTo>
                  <a:lnTo>
                    <a:pt x="675" y="1497"/>
                  </a:lnTo>
                  <a:lnTo>
                    <a:pt x="675" y="1498"/>
                  </a:lnTo>
                  <a:lnTo>
                    <a:pt x="674" y="1498"/>
                  </a:lnTo>
                  <a:lnTo>
                    <a:pt x="674" y="1500"/>
                  </a:lnTo>
                  <a:lnTo>
                    <a:pt x="674" y="1503"/>
                  </a:lnTo>
                  <a:lnTo>
                    <a:pt x="672" y="1505"/>
                  </a:lnTo>
                  <a:lnTo>
                    <a:pt x="672" y="1506"/>
                  </a:lnTo>
                  <a:lnTo>
                    <a:pt x="671" y="1508"/>
                  </a:lnTo>
                  <a:lnTo>
                    <a:pt x="671" y="1510"/>
                  </a:lnTo>
                  <a:lnTo>
                    <a:pt x="669" y="1510"/>
                  </a:lnTo>
                  <a:lnTo>
                    <a:pt x="667" y="1513"/>
                  </a:lnTo>
                  <a:lnTo>
                    <a:pt x="667" y="1514"/>
                  </a:lnTo>
                  <a:lnTo>
                    <a:pt x="667" y="1516"/>
                  </a:lnTo>
                  <a:lnTo>
                    <a:pt x="664" y="1516"/>
                  </a:lnTo>
                  <a:lnTo>
                    <a:pt x="664" y="1518"/>
                  </a:lnTo>
                  <a:lnTo>
                    <a:pt x="662" y="1519"/>
                  </a:lnTo>
                  <a:lnTo>
                    <a:pt x="661" y="1516"/>
                  </a:lnTo>
                  <a:lnTo>
                    <a:pt x="661" y="1514"/>
                  </a:lnTo>
                  <a:lnTo>
                    <a:pt x="661" y="1513"/>
                  </a:lnTo>
                  <a:lnTo>
                    <a:pt x="661" y="1516"/>
                  </a:lnTo>
                  <a:lnTo>
                    <a:pt x="659" y="1516"/>
                  </a:lnTo>
                  <a:lnTo>
                    <a:pt x="657" y="1516"/>
                  </a:lnTo>
                  <a:lnTo>
                    <a:pt x="657" y="1518"/>
                  </a:lnTo>
                  <a:lnTo>
                    <a:pt x="659" y="1518"/>
                  </a:lnTo>
                  <a:lnTo>
                    <a:pt x="659" y="1519"/>
                  </a:lnTo>
                  <a:lnTo>
                    <a:pt x="661" y="1519"/>
                  </a:lnTo>
                  <a:lnTo>
                    <a:pt x="661" y="1521"/>
                  </a:lnTo>
                  <a:lnTo>
                    <a:pt x="659" y="1523"/>
                  </a:lnTo>
                  <a:lnTo>
                    <a:pt x="661" y="1524"/>
                  </a:lnTo>
                  <a:lnTo>
                    <a:pt x="661" y="1526"/>
                  </a:lnTo>
                  <a:lnTo>
                    <a:pt x="661" y="1524"/>
                  </a:lnTo>
                  <a:lnTo>
                    <a:pt x="659" y="1524"/>
                  </a:lnTo>
                  <a:lnTo>
                    <a:pt x="657" y="1524"/>
                  </a:lnTo>
                  <a:lnTo>
                    <a:pt x="656" y="1523"/>
                  </a:lnTo>
                  <a:lnTo>
                    <a:pt x="656" y="1524"/>
                  </a:lnTo>
                  <a:lnTo>
                    <a:pt x="657" y="1524"/>
                  </a:lnTo>
                  <a:lnTo>
                    <a:pt x="659" y="1524"/>
                  </a:lnTo>
                  <a:lnTo>
                    <a:pt x="659" y="1526"/>
                  </a:lnTo>
                  <a:lnTo>
                    <a:pt x="659" y="1528"/>
                  </a:lnTo>
                  <a:lnTo>
                    <a:pt x="659" y="1529"/>
                  </a:lnTo>
                  <a:lnTo>
                    <a:pt x="659" y="1531"/>
                  </a:lnTo>
                  <a:lnTo>
                    <a:pt x="659" y="1532"/>
                  </a:lnTo>
                  <a:lnTo>
                    <a:pt x="659" y="1534"/>
                  </a:lnTo>
                  <a:lnTo>
                    <a:pt x="659" y="1536"/>
                  </a:lnTo>
                  <a:lnTo>
                    <a:pt x="657" y="1536"/>
                  </a:lnTo>
                  <a:lnTo>
                    <a:pt x="656" y="1536"/>
                  </a:lnTo>
                  <a:lnTo>
                    <a:pt x="654" y="1536"/>
                  </a:lnTo>
                  <a:lnTo>
                    <a:pt x="654" y="1537"/>
                  </a:lnTo>
                  <a:lnTo>
                    <a:pt x="654" y="1539"/>
                  </a:lnTo>
                  <a:lnTo>
                    <a:pt x="653" y="1539"/>
                  </a:lnTo>
                  <a:lnTo>
                    <a:pt x="651" y="1539"/>
                  </a:lnTo>
                  <a:lnTo>
                    <a:pt x="649" y="1539"/>
                  </a:lnTo>
                  <a:lnTo>
                    <a:pt x="648" y="1539"/>
                  </a:lnTo>
                  <a:lnTo>
                    <a:pt x="646" y="1539"/>
                  </a:lnTo>
                  <a:lnTo>
                    <a:pt x="646" y="1537"/>
                  </a:lnTo>
                  <a:lnTo>
                    <a:pt x="644" y="1537"/>
                  </a:lnTo>
                  <a:lnTo>
                    <a:pt x="644" y="1536"/>
                  </a:lnTo>
                  <a:lnTo>
                    <a:pt x="643" y="1536"/>
                  </a:lnTo>
                  <a:lnTo>
                    <a:pt x="641" y="1536"/>
                  </a:lnTo>
                  <a:lnTo>
                    <a:pt x="640" y="1536"/>
                  </a:lnTo>
                  <a:lnTo>
                    <a:pt x="638" y="1532"/>
                  </a:lnTo>
                  <a:lnTo>
                    <a:pt x="636" y="1531"/>
                  </a:lnTo>
                  <a:lnTo>
                    <a:pt x="635" y="1531"/>
                  </a:lnTo>
                  <a:lnTo>
                    <a:pt x="636" y="1528"/>
                  </a:lnTo>
                  <a:lnTo>
                    <a:pt x="635" y="1529"/>
                  </a:lnTo>
                  <a:lnTo>
                    <a:pt x="635" y="1531"/>
                  </a:lnTo>
                  <a:lnTo>
                    <a:pt x="633" y="1531"/>
                  </a:lnTo>
                  <a:lnTo>
                    <a:pt x="631" y="1532"/>
                  </a:lnTo>
                  <a:lnTo>
                    <a:pt x="630" y="1531"/>
                  </a:lnTo>
                  <a:lnTo>
                    <a:pt x="628" y="1532"/>
                  </a:lnTo>
                  <a:lnTo>
                    <a:pt x="627" y="1532"/>
                  </a:lnTo>
                  <a:lnTo>
                    <a:pt x="625" y="1532"/>
                  </a:lnTo>
                  <a:lnTo>
                    <a:pt x="623" y="1531"/>
                  </a:lnTo>
                  <a:lnTo>
                    <a:pt x="622" y="1531"/>
                  </a:lnTo>
                  <a:lnTo>
                    <a:pt x="622" y="1529"/>
                  </a:lnTo>
                  <a:lnTo>
                    <a:pt x="623" y="1529"/>
                  </a:lnTo>
                  <a:lnTo>
                    <a:pt x="623" y="1528"/>
                  </a:lnTo>
                  <a:lnTo>
                    <a:pt x="625" y="1528"/>
                  </a:lnTo>
                  <a:lnTo>
                    <a:pt x="627" y="1528"/>
                  </a:lnTo>
                  <a:lnTo>
                    <a:pt x="627" y="1524"/>
                  </a:lnTo>
                  <a:lnTo>
                    <a:pt x="627" y="1523"/>
                  </a:lnTo>
                  <a:lnTo>
                    <a:pt x="625" y="1524"/>
                  </a:lnTo>
                  <a:lnTo>
                    <a:pt x="625" y="1526"/>
                  </a:lnTo>
                  <a:lnTo>
                    <a:pt x="622" y="1528"/>
                  </a:lnTo>
                  <a:lnTo>
                    <a:pt x="620" y="1529"/>
                  </a:lnTo>
                  <a:lnTo>
                    <a:pt x="618" y="1529"/>
                  </a:lnTo>
                  <a:lnTo>
                    <a:pt x="617" y="1529"/>
                  </a:lnTo>
                  <a:lnTo>
                    <a:pt x="615" y="1529"/>
                  </a:lnTo>
                  <a:lnTo>
                    <a:pt x="614" y="1529"/>
                  </a:lnTo>
                  <a:lnTo>
                    <a:pt x="612" y="1529"/>
                  </a:lnTo>
                  <a:lnTo>
                    <a:pt x="609" y="1529"/>
                  </a:lnTo>
                  <a:lnTo>
                    <a:pt x="609" y="1528"/>
                  </a:lnTo>
                  <a:lnTo>
                    <a:pt x="609" y="1526"/>
                  </a:lnTo>
                  <a:lnTo>
                    <a:pt x="610" y="1524"/>
                  </a:lnTo>
                  <a:lnTo>
                    <a:pt x="610" y="1523"/>
                  </a:lnTo>
                  <a:lnTo>
                    <a:pt x="609" y="1523"/>
                  </a:lnTo>
                  <a:lnTo>
                    <a:pt x="609" y="1524"/>
                  </a:lnTo>
                  <a:lnTo>
                    <a:pt x="607" y="1524"/>
                  </a:lnTo>
                  <a:lnTo>
                    <a:pt x="607" y="1528"/>
                  </a:lnTo>
                  <a:lnTo>
                    <a:pt x="607" y="1529"/>
                  </a:lnTo>
                  <a:lnTo>
                    <a:pt x="605" y="1529"/>
                  </a:lnTo>
                  <a:lnTo>
                    <a:pt x="604" y="1528"/>
                  </a:lnTo>
                  <a:lnTo>
                    <a:pt x="604" y="1529"/>
                  </a:lnTo>
                  <a:lnTo>
                    <a:pt x="604" y="1528"/>
                  </a:lnTo>
                  <a:lnTo>
                    <a:pt x="602" y="1528"/>
                  </a:lnTo>
                  <a:lnTo>
                    <a:pt x="602" y="1529"/>
                  </a:lnTo>
                  <a:lnTo>
                    <a:pt x="602" y="1531"/>
                  </a:lnTo>
                  <a:lnTo>
                    <a:pt x="601" y="1532"/>
                  </a:lnTo>
                  <a:lnTo>
                    <a:pt x="599" y="1532"/>
                  </a:lnTo>
                  <a:lnTo>
                    <a:pt x="599" y="1531"/>
                  </a:lnTo>
                  <a:lnTo>
                    <a:pt x="597" y="1531"/>
                  </a:lnTo>
                  <a:lnTo>
                    <a:pt x="596" y="1532"/>
                  </a:lnTo>
                  <a:lnTo>
                    <a:pt x="596" y="1531"/>
                  </a:lnTo>
                  <a:lnTo>
                    <a:pt x="594" y="1529"/>
                  </a:lnTo>
                  <a:lnTo>
                    <a:pt x="594" y="1531"/>
                  </a:lnTo>
                  <a:lnTo>
                    <a:pt x="594" y="1532"/>
                  </a:lnTo>
                  <a:lnTo>
                    <a:pt x="592" y="1532"/>
                  </a:lnTo>
                  <a:lnTo>
                    <a:pt x="591" y="1534"/>
                  </a:lnTo>
                  <a:lnTo>
                    <a:pt x="591" y="1536"/>
                  </a:lnTo>
                  <a:lnTo>
                    <a:pt x="589" y="1536"/>
                  </a:lnTo>
                  <a:lnTo>
                    <a:pt x="588" y="1537"/>
                  </a:lnTo>
                  <a:lnTo>
                    <a:pt x="586" y="1536"/>
                  </a:lnTo>
                  <a:lnTo>
                    <a:pt x="586" y="1537"/>
                  </a:lnTo>
                  <a:lnTo>
                    <a:pt x="584" y="1537"/>
                  </a:lnTo>
                  <a:lnTo>
                    <a:pt x="583" y="1539"/>
                  </a:lnTo>
                  <a:lnTo>
                    <a:pt x="581" y="1541"/>
                  </a:lnTo>
                  <a:lnTo>
                    <a:pt x="579" y="1541"/>
                  </a:lnTo>
                  <a:lnTo>
                    <a:pt x="578" y="1541"/>
                  </a:lnTo>
                  <a:lnTo>
                    <a:pt x="578" y="1539"/>
                  </a:lnTo>
                  <a:lnTo>
                    <a:pt x="578" y="1537"/>
                  </a:lnTo>
                  <a:lnTo>
                    <a:pt x="576" y="1537"/>
                  </a:lnTo>
                  <a:lnTo>
                    <a:pt x="575" y="1536"/>
                  </a:lnTo>
                  <a:lnTo>
                    <a:pt x="576" y="1534"/>
                  </a:lnTo>
                  <a:lnTo>
                    <a:pt x="575" y="1534"/>
                  </a:lnTo>
                  <a:lnTo>
                    <a:pt x="575" y="1532"/>
                  </a:lnTo>
                  <a:lnTo>
                    <a:pt x="576" y="1532"/>
                  </a:lnTo>
                  <a:lnTo>
                    <a:pt x="576" y="1531"/>
                  </a:lnTo>
                  <a:lnTo>
                    <a:pt x="575" y="1531"/>
                  </a:lnTo>
                  <a:lnTo>
                    <a:pt x="575" y="1532"/>
                  </a:lnTo>
                  <a:lnTo>
                    <a:pt x="571" y="1534"/>
                  </a:lnTo>
                  <a:lnTo>
                    <a:pt x="571" y="1532"/>
                  </a:lnTo>
                  <a:lnTo>
                    <a:pt x="570" y="1532"/>
                  </a:lnTo>
                  <a:lnTo>
                    <a:pt x="570" y="1534"/>
                  </a:lnTo>
                  <a:lnTo>
                    <a:pt x="570" y="1536"/>
                  </a:lnTo>
                  <a:lnTo>
                    <a:pt x="568" y="1536"/>
                  </a:lnTo>
                  <a:lnTo>
                    <a:pt x="568" y="1534"/>
                  </a:lnTo>
                  <a:lnTo>
                    <a:pt x="568" y="1536"/>
                  </a:lnTo>
                  <a:lnTo>
                    <a:pt x="566" y="1536"/>
                  </a:lnTo>
                  <a:lnTo>
                    <a:pt x="566" y="1534"/>
                  </a:lnTo>
                  <a:lnTo>
                    <a:pt x="566" y="1532"/>
                  </a:lnTo>
                  <a:lnTo>
                    <a:pt x="568" y="1532"/>
                  </a:lnTo>
                  <a:lnTo>
                    <a:pt x="566" y="1532"/>
                  </a:lnTo>
                  <a:lnTo>
                    <a:pt x="565" y="1531"/>
                  </a:lnTo>
                  <a:lnTo>
                    <a:pt x="565" y="1529"/>
                  </a:lnTo>
                  <a:lnTo>
                    <a:pt x="565" y="1531"/>
                  </a:lnTo>
                  <a:lnTo>
                    <a:pt x="563" y="1529"/>
                  </a:lnTo>
                  <a:lnTo>
                    <a:pt x="563" y="1528"/>
                  </a:lnTo>
                  <a:lnTo>
                    <a:pt x="562" y="1528"/>
                  </a:lnTo>
                  <a:lnTo>
                    <a:pt x="562" y="1526"/>
                  </a:lnTo>
                  <a:lnTo>
                    <a:pt x="560" y="1526"/>
                  </a:lnTo>
                  <a:lnTo>
                    <a:pt x="558" y="1526"/>
                  </a:lnTo>
                  <a:lnTo>
                    <a:pt x="557" y="1524"/>
                  </a:lnTo>
                  <a:lnTo>
                    <a:pt x="557" y="1523"/>
                  </a:lnTo>
                  <a:lnTo>
                    <a:pt x="558" y="1523"/>
                  </a:lnTo>
                  <a:lnTo>
                    <a:pt x="558" y="1521"/>
                  </a:lnTo>
                  <a:lnTo>
                    <a:pt x="560" y="1521"/>
                  </a:lnTo>
                  <a:lnTo>
                    <a:pt x="562" y="1519"/>
                  </a:lnTo>
                  <a:lnTo>
                    <a:pt x="563" y="1521"/>
                  </a:lnTo>
                  <a:lnTo>
                    <a:pt x="565" y="1521"/>
                  </a:lnTo>
                  <a:lnTo>
                    <a:pt x="566" y="1523"/>
                  </a:lnTo>
                  <a:lnTo>
                    <a:pt x="568" y="1524"/>
                  </a:lnTo>
                  <a:lnTo>
                    <a:pt x="570" y="1526"/>
                  </a:lnTo>
                  <a:lnTo>
                    <a:pt x="571" y="1526"/>
                  </a:lnTo>
                  <a:lnTo>
                    <a:pt x="573" y="1526"/>
                  </a:lnTo>
                  <a:lnTo>
                    <a:pt x="573" y="1524"/>
                  </a:lnTo>
                  <a:lnTo>
                    <a:pt x="571" y="1524"/>
                  </a:lnTo>
                  <a:lnTo>
                    <a:pt x="570" y="1524"/>
                  </a:lnTo>
                  <a:lnTo>
                    <a:pt x="570" y="1523"/>
                  </a:lnTo>
                  <a:lnTo>
                    <a:pt x="571" y="1523"/>
                  </a:lnTo>
                  <a:lnTo>
                    <a:pt x="573" y="1524"/>
                  </a:lnTo>
                  <a:lnTo>
                    <a:pt x="575" y="1523"/>
                  </a:lnTo>
                  <a:lnTo>
                    <a:pt x="573" y="1523"/>
                  </a:lnTo>
                  <a:lnTo>
                    <a:pt x="571" y="1521"/>
                  </a:lnTo>
                  <a:lnTo>
                    <a:pt x="570" y="1519"/>
                  </a:lnTo>
                  <a:lnTo>
                    <a:pt x="568" y="1519"/>
                  </a:lnTo>
                  <a:lnTo>
                    <a:pt x="566" y="1518"/>
                  </a:lnTo>
                  <a:lnTo>
                    <a:pt x="565" y="1518"/>
                  </a:lnTo>
                  <a:lnTo>
                    <a:pt x="563" y="1518"/>
                  </a:lnTo>
                  <a:lnTo>
                    <a:pt x="560" y="1518"/>
                  </a:lnTo>
                  <a:lnTo>
                    <a:pt x="557" y="1518"/>
                  </a:lnTo>
                  <a:lnTo>
                    <a:pt x="553" y="1518"/>
                  </a:lnTo>
                  <a:lnTo>
                    <a:pt x="553" y="1516"/>
                  </a:lnTo>
                  <a:lnTo>
                    <a:pt x="555" y="1516"/>
                  </a:lnTo>
                  <a:lnTo>
                    <a:pt x="553" y="1516"/>
                  </a:lnTo>
                  <a:lnTo>
                    <a:pt x="555" y="1516"/>
                  </a:lnTo>
                  <a:lnTo>
                    <a:pt x="555" y="1514"/>
                  </a:lnTo>
                  <a:lnTo>
                    <a:pt x="557" y="1514"/>
                  </a:lnTo>
                  <a:lnTo>
                    <a:pt x="557" y="1516"/>
                  </a:lnTo>
                  <a:lnTo>
                    <a:pt x="557" y="1514"/>
                  </a:lnTo>
                  <a:lnTo>
                    <a:pt x="558" y="1514"/>
                  </a:lnTo>
                  <a:lnTo>
                    <a:pt x="560" y="1516"/>
                  </a:lnTo>
                  <a:lnTo>
                    <a:pt x="558" y="1516"/>
                  </a:lnTo>
                  <a:lnTo>
                    <a:pt x="560" y="1516"/>
                  </a:lnTo>
                  <a:lnTo>
                    <a:pt x="560" y="1514"/>
                  </a:lnTo>
                  <a:lnTo>
                    <a:pt x="560" y="1513"/>
                  </a:lnTo>
                  <a:lnTo>
                    <a:pt x="560" y="1514"/>
                  </a:lnTo>
                  <a:lnTo>
                    <a:pt x="558" y="1514"/>
                  </a:lnTo>
                  <a:lnTo>
                    <a:pt x="557" y="1514"/>
                  </a:lnTo>
                  <a:lnTo>
                    <a:pt x="555" y="1514"/>
                  </a:lnTo>
                  <a:lnTo>
                    <a:pt x="553" y="1514"/>
                  </a:lnTo>
                  <a:lnTo>
                    <a:pt x="553" y="1513"/>
                  </a:lnTo>
                  <a:lnTo>
                    <a:pt x="555" y="1513"/>
                  </a:lnTo>
                  <a:lnTo>
                    <a:pt x="555" y="1511"/>
                  </a:lnTo>
                  <a:lnTo>
                    <a:pt x="553" y="1511"/>
                  </a:lnTo>
                  <a:lnTo>
                    <a:pt x="555" y="1511"/>
                  </a:lnTo>
                  <a:lnTo>
                    <a:pt x="555" y="1510"/>
                  </a:lnTo>
                  <a:lnTo>
                    <a:pt x="555" y="1511"/>
                  </a:lnTo>
                  <a:lnTo>
                    <a:pt x="553" y="1511"/>
                  </a:lnTo>
                  <a:lnTo>
                    <a:pt x="553" y="1513"/>
                  </a:lnTo>
                  <a:lnTo>
                    <a:pt x="552" y="1513"/>
                  </a:lnTo>
                  <a:lnTo>
                    <a:pt x="550" y="1513"/>
                  </a:lnTo>
                  <a:lnTo>
                    <a:pt x="549" y="1513"/>
                  </a:lnTo>
                  <a:lnTo>
                    <a:pt x="550" y="1513"/>
                  </a:lnTo>
                  <a:lnTo>
                    <a:pt x="549" y="1513"/>
                  </a:lnTo>
                  <a:lnTo>
                    <a:pt x="550" y="1513"/>
                  </a:lnTo>
                  <a:lnTo>
                    <a:pt x="550" y="1511"/>
                  </a:lnTo>
                  <a:lnTo>
                    <a:pt x="549" y="1511"/>
                  </a:lnTo>
                  <a:lnTo>
                    <a:pt x="550" y="1511"/>
                  </a:lnTo>
                  <a:lnTo>
                    <a:pt x="552" y="1511"/>
                  </a:lnTo>
                  <a:lnTo>
                    <a:pt x="552" y="1510"/>
                  </a:lnTo>
                  <a:lnTo>
                    <a:pt x="552" y="1508"/>
                  </a:lnTo>
                  <a:lnTo>
                    <a:pt x="553" y="1508"/>
                  </a:lnTo>
                  <a:lnTo>
                    <a:pt x="555" y="1508"/>
                  </a:lnTo>
                  <a:lnTo>
                    <a:pt x="557" y="1508"/>
                  </a:lnTo>
                  <a:lnTo>
                    <a:pt x="555" y="1508"/>
                  </a:lnTo>
                  <a:lnTo>
                    <a:pt x="555" y="1506"/>
                  </a:lnTo>
                  <a:lnTo>
                    <a:pt x="557" y="1506"/>
                  </a:lnTo>
                  <a:lnTo>
                    <a:pt x="558" y="1506"/>
                  </a:lnTo>
                  <a:lnTo>
                    <a:pt x="557" y="1505"/>
                  </a:lnTo>
                  <a:lnTo>
                    <a:pt x="558" y="1505"/>
                  </a:lnTo>
                  <a:lnTo>
                    <a:pt x="558" y="1506"/>
                  </a:lnTo>
                  <a:lnTo>
                    <a:pt x="560" y="1506"/>
                  </a:lnTo>
                  <a:lnTo>
                    <a:pt x="560" y="1508"/>
                  </a:lnTo>
                  <a:lnTo>
                    <a:pt x="562" y="1506"/>
                  </a:lnTo>
                  <a:lnTo>
                    <a:pt x="560" y="1506"/>
                  </a:lnTo>
                  <a:lnTo>
                    <a:pt x="562" y="1506"/>
                  </a:lnTo>
                  <a:lnTo>
                    <a:pt x="562" y="1508"/>
                  </a:lnTo>
                  <a:lnTo>
                    <a:pt x="563" y="1506"/>
                  </a:lnTo>
                  <a:lnTo>
                    <a:pt x="562" y="1506"/>
                  </a:lnTo>
                  <a:lnTo>
                    <a:pt x="562" y="1505"/>
                  </a:lnTo>
                  <a:lnTo>
                    <a:pt x="562" y="1506"/>
                  </a:lnTo>
                  <a:lnTo>
                    <a:pt x="563" y="1506"/>
                  </a:lnTo>
                  <a:lnTo>
                    <a:pt x="562" y="1505"/>
                  </a:lnTo>
                  <a:lnTo>
                    <a:pt x="563" y="1505"/>
                  </a:lnTo>
                  <a:lnTo>
                    <a:pt x="562" y="1505"/>
                  </a:lnTo>
                  <a:lnTo>
                    <a:pt x="563" y="1505"/>
                  </a:lnTo>
                  <a:lnTo>
                    <a:pt x="565" y="1505"/>
                  </a:lnTo>
                  <a:lnTo>
                    <a:pt x="565" y="1506"/>
                  </a:lnTo>
                  <a:lnTo>
                    <a:pt x="566" y="1506"/>
                  </a:lnTo>
                  <a:lnTo>
                    <a:pt x="568" y="1506"/>
                  </a:lnTo>
                  <a:lnTo>
                    <a:pt x="570" y="1506"/>
                  </a:lnTo>
                  <a:lnTo>
                    <a:pt x="568" y="1506"/>
                  </a:lnTo>
                  <a:lnTo>
                    <a:pt x="568" y="1505"/>
                  </a:lnTo>
                  <a:lnTo>
                    <a:pt x="568" y="1503"/>
                  </a:lnTo>
                  <a:lnTo>
                    <a:pt x="568" y="1501"/>
                  </a:lnTo>
                  <a:lnTo>
                    <a:pt x="568" y="1500"/>
                  </a:lnTo>
                  <a:lnTo>
                    <a:pt x="570" y="1500"/>
                  </a:lnTo>
                  <a:lnTo>
                    <a:pt x="571" y="1500"/>
                  </a:lnTo>
                  <a:lnTo>
                    <a:pt x="573" y="1500"/>
                  </a:lnTo>
                  <a:lnTo>
                    <a:pt x="575" y="1501"/>
                  </a:lnTo>
                  <a:lnTo>
                    <a:pt x="575" y="1503"/>
                  </a:lnTo>
                  <a:lnTo>
                    <a:pt x="576" y="1503"/>
                  </a:lnTo>
                  <a:lnTo>
                    <a:pt x="576" y="1505"/>
                  </a:lnTo>
                  <a:lnTo>
                    <a:pt x="578" y="1505"/>
                  </a:lnTo>
                  <a:lnTo>
                    <a:pt x="578" y="1506"/>
                  </a:lnTo>
                  <a:lnTo>
                    <a:pt x="578" y="1505"/>
                  </a:lnTo>
                  <a:lnTo>
                    <a:pt x="576" y="1503"/>
                  </a:lnTo>
                  <a:lnTo>
                    <a:pt x="576" y="1501"/>
                  </a:lnTo>
                  <a:lnTo>
                    <a:pt x="575" y="1501"/>
                  </a:lnTo>
                  <a:lnTo>
                    <a:pt x="575" y="1500"/>
                  </a:lnTo>
                  <a:lnTo>
                    <a:pt x="573" y="1500"/>
                  </a:lnTo>
                  <a:lnTo>
                    <a:pt x="575" y="1500"/>
                  </a:lnTo>
                  <a:lnTo>
                    <a:pt x="575" y="1498"/>
                  </a:lnTo>
                  <a:lnTo>
                    <a:pt x="576" y="1500"/>
                  </a:lnTo>
                  <a:lnTo>
                    <a:pt x="578" y="1500"/>
                  </a:lnTo>
                  <a:lnTo>
                    <a:pt x="579" y="1500"/>
                  </a:lnTo>
                  <a:lnTo>
                    <a:pt x="579" y="1498"/>
                  </a:lnTo>
                  <a:lnTo>
                    <a:pt x="581" y="1498"/>
                  </a:lnTo>
                  <a:lnTo>
                    <a:pt x="583" y="1498"/>
                  </a:lnTo>
                  <a:lnTo>
                    <a:pt x="581" y="1498"/>
                  </a:lnTo>
                  <a:lnTo>
                    <a:pt x="581" y="1497"/>
                  </a:lnTo>
                  <a:lnTo>
                    <a:pt x="583" y="1497"/>
                  </a:lnTo>
                  <a:lnTo>
                    <a:pt x="584" y="1497"/>
                  </a:lnTo>
                  <a:lnTo>
                    <a:pt x="584" y="1498"/>
                  </a:lnTo>
                  <a:lnTo>
                    <a:pt x="586" y="1498"/>
                  </a:lnTo>
                  <a:lnTo>
                    <a:pt x="588" y="1498"/>
                  </a:lnTo>
                  <a:lnTo>
                    <a:pt x="589" y="1498"/>
                  </a:lnTo>
                  <a:lnTo>
                    <a:pt x="591" y="1498"/>
                  </a:lnTo>
                  <a:lnTo>
                    <a:pt x="592" y="1498"/>
                  </a:lnTo>
                  <a:lnTo>
                    <a:pt x="592" y="1500"/>
                  </a:lnTo>
                  <a:lnTo>
                    <a:pt x="594" y="1498"/>
                  </a:lnTo>
                  <a:lnTo>
                    <a:pt x="594" y="1500"/>
                  </a:lnTo>
                  <a:lnTo>
                    <a:pt x="594" y="1498"/>
                  </a:lnTo>
                  <a:lnTo>
                    <a:pt x="596" y="1500"/>
                  </a:lnTo>
                  <a:lnTo>
                    <a:pt x="597" y="1498"/>
                  </a:lnTo>
                  <a:lnTo>
                    <a:pt x="599" y="1498"/>
                  </a:lnTo>
                  <a:lnTo>
                    <a:pt x="599" y="1500"/>
                  </a:lnTo>
                  <a:lnTo>
                    <a:pt x="601" y="1500"/>
                  </a:lnTo>
                  <a:lnTo>
                    <a:pt x="601" y="1498"/>
                  </a:lnTo>
                  <a:lnTo>
                    <a:pt x="599" y="1498"/>
                  </a:lnTo>
                  <a:lnTo>
                    <a:pt x="597" y="1498"/>
                  </a:lnTo>
                  <a:lnTo>
                    <a:pt x="596" y="1498"/>
                  </a:lnTo>
                  <a:lnTo>
                    <a:pt x="594" y="1498"/>
                  </a:lnTo>
                  <a:lnTo>
                    <a:pt x="592" y="1498"/>
                  </a:lnTo>
                  <a:lnTo>
                    <a:pt x="591" y="1498"/>
                  </a:lnTo>
                  <a:lnTo>
                    <a:pt x="591" y="1497"/>
                  </a:lnTo>
                  <a:lnTo>
                    <a:pt x="589" y="1497"/>
                  </a:lnTo>
                  <a:lnTo>
                    <a:pt x="588" y="1497"/>
                  </a:lnTo>
                  <a:lnTo>
                    <a:pt x="586" y="1497"/>
                  </a:lnTo>
                  <a:lnTo>
                    <a:pt x="584" y="1497"/>
                  </a:lnTo>
                  <a:lnTo>
                    <a:pt x="583" y="1495"/>
                  </a:lnTo>
                  <a:lnTo>
                    <a:pt x="581" y="1497"/>
                  </a:lnTo>
                  <a:lnTo>
                    <a:pt x="579" y="1497"/>
                  </a:lnTo>
                  <a:lnTo>
                    <a:pt x="578" y="1497"/>
                  </a:lnTo>
                  <a:lnTo>
                    <a:pt x="576" y="1497"/>
                  </a:lnTo>
                  <a:lnTo>
                    <a:pt x="575" y="1497"/>
                  </a:lnTo>
                  <a:lnTo>
                    <a:pt x="575" y="1498"/>
                  </a:lnTo>
                  <a:lnTo>
                    <a:pt x="573" y="1498"/>
                  </a:lnTo>
                  <a:lnTo>
                    <a:pt x="570" y="1498"/>
                  </a:lnTo>
                  <a:lnTo>
                    <a:pt x="568" y="1498"/>
                  </a:lnTo>
                  <a:lnTo>
                    <a:pt x="566" y="1498"/>
                  </a:lnTo>
                  <a:lnTo>
                    <a:pt x="566" y="1500"/>
                  </a:lnTo>
                  <a:lnTo>
                    <a:pt x="566" y="1501"/>
                  </a:lnTo>
                  <a:lnTo>
                    <a:pt x="565" y="1501"/>
                  </a:lnTo>
                  <a:lnTo>
                    <a:pt x="563" y="1501"/>
                  </a:lnTo>
                  <a:lnTo>
                    <a:pt x="563" y="1503"/>
                  </a:lnTo>
                  <a:lnTo>
                    <a:pt x="562" y="1503"/>
                  </a:lnTo>
                  <a:lnTo>
                    <a:pt x="560" y="1503"/>
                  </a:lnTo>
                  <a:lnTo>
                    <a:pt x="558" y="1503"/>
                  </a:lnTo>
                  <a:lnTo>
                    <a:pt x="558" y="1501"/>
                  </a:lnTo>
                  <a:lnTo>
                    <a:pt x="558" y="1500"/>
                  </a:lnTo>
                  <a:lnTo>
                    <a:pt x="558" y="1501"/>
                  </a:lnTo>
                  <a:lnTo>
                    <a:pt x="560" y="1500"/>
                  </a:lnTo>
                  <a:lnTo>
                    <a:pt x="562" y="1500"/>
                  </a:lnTo>
                  <a:lnTo>
                    <a:pt x="560" y="1500"/>
                  </a:lnTo>
                  <a:lnTo>
                    <a:pt x="558" y="1500"/>
                  </a:lnTo>
                  <a:lnTo>
                    <a:pt x="557" y="1500"/>
                  </a:lnTo>
                  <a:lnTo>
                    <a:pt x="557" y="1498"/>
                  </a:lnTo>
                  <a:lnTo>
                    <a:pt x="557" y="1497"/>
                  </a:lnTo>
                  <a:lnTo>
                    <a:pt x="557" y="1495"/>
                  </a:lnTo>
                  <a:lnTo>
                    <a:pt x="557" y="1493"/>
                  </a:lnTo>
                  <a:lnTo>
                    <a:pt x="557" y="1492"/>
                  </a:lnTo>
                  <a:lnTo>
                    <a:pt x="557" y="1493"/>
                  </a:lnTo>
                  <a:lnTo>
                    <a:pt x="558" y="1492"/>
                  </a:lnTo>
                  <a:lnTo>
                    <a:pt x="560" y="1492"/>
                  </a:lnTo>
                  <a:lnTo>
                    <a:pt x="562" y="1492"/>
                  </a:lnTo>
                  <a:lnTo>
                    <a:pt x="562" y="1495"/>
                  </a:lnTo>
                  <a:lnTo>
                    <a:pt x="562" y="1493"/>
                  </a:lnTo>
                  <a:lnTo>
                    <a:pt x="562" y="1492"/>
                  </a:lnTo>
                  <a:lnTo>
                    <a:pt x="562" y="1490"/>
                  </a:lnTo>
                  <a:lnTo>
                    <a:pt x="563" y="1490"/>
                  </a:lnTo>
                  <a:lnTo>
                    <a:pt x="563" y="1488"/>
                  </a:lnTo>
                  <a:lnTo>
                    <a:pt x="565" y="1488"/>
                  </a:lnTo>
                  <a:lnTo>
                    <a:pt x="566" y="1488"/>
                  </a:lnTo>
                  <a:lnTo>
                    <a:pt x="565" y="1488"/>
                  </a:lnTo>
                  <a:lnTo>
                    <a:pt x="563" y="1488"/>
                  </a:lnTo>
                  <a:lnTo>
                    <a:pt x="562" y="1488"/>
                  </a:lnTo>
                  <a:lnTo>
                    <a:pt x="560" y="1488"/>
                  </a:lnTo>
                  <a:lnTo>
                    <a:pt x="558" y="1490"/>
                  </a:lnTo>
                  <a:lnTo>
                    <a:pt x="557" y="1490"/>
                  </a:lnTo>
                  <a:lnTo>
                    <a:pt x="555" y="1490"/>
                  </a:lnTo>
                  <a:lnTo>
                    <a:pt x="555" y="1492"/>
                  </a:lnTo>
                  <a:lnTo>
                    <a:pt x="553" y="1490"/>
                  </a:lnTo>
                  <a:lnTo>
                    <a:pt x="553" y="1488"/>
                  </a:lnTo>
                  <a:lnTo>
                    <a:pt x="553" y="1490"/>
                  </a:lnTo>
                  <a:lnTo>
                    <a:pt x="553" y="1488"/>
                  </a:lnTo>
                  <a:lnTo>
                    <a:pt x="555" y="1488"/>
                  </a:lnTo>
                  <a:lnTo>
                    <a:pt x="555" y="1487"/>
                  </a:lnTo>
                  <a:lnTo>
                    <a:pt x="557" y="1487"/>
                  </a:lnTo>
                  <a:lnTo>
                    <a:pt x="558" y="1487"/>
                  </a:lnTo>
                  <a:lnTo>
                    <a:pt x="558" y="1485"/>
                  </a:lnTo>
                  <a:lnTo>
                    <a:pt x="560" y="1485"/>
                  </a:lnTo>
                  <a:lnTo>
                    <a:pt x="562" y="1485"/>
                  </a:lnTo>
                  <a:lnTo>
                    <a:pt x="563" y="1484"/>
                  </a:lnTo>
                  <a:lnTo>
                    <a:pt x="563" y="1485"/>
                  </a:lnTo>
                  <a:lnTo>
                    <a:pt x="565" y="1484"/>
                  </a:lnTo>
                  <a:lnTo>
                    <a:pt x="565" y="1485"/>
                  </a:lnTo>
                  <a:lnTo>
                    <a:pt x="566" y="1485"/>
                  </a:lnTo>
                  <a:lnTo>
                    <a:pt x="566" y="1484"/>
                  </a:lnTo>
                  <a:lnTo>
                    <a:pt x="568" y="1484"/>
                  </a:lnTo>
                  <a:lnTo>
                    <a:pt x="568" y="1485"/>
                  </a:lnTo>
                  <a:lnTo>
                    <a:pt x="570" y="1485"/>
                  </a:lnTo>
                  <a:lnTo>
                    <a:pt x="571" y="1485"/>
                  </a:lnTo>
                  <a:lnTo>
                    <a:pt x="571" y="1484"/>
                  </a:lnTo>
                  <a:lnTo>
                    <a:pt x="571" y="1482"/>
                  </a:lnTo>
                  <a:lnTo>
                    <a:pt x="573" y="1482"/>
                  </a:lnTo>
                  <a:lnTo>
                    <a:pt x="571" y="1482"/>
                  </a:lnTo>
                  <a:lnTo>
                    <a:pt x="571" y="1480"/>
                  </a:lnTo>
                  <a:lnTo>
                    <a:pt x="573" y="1480"/>
                  </a:lnTo>
                  <a:lnTo>
                    <a:pt x="573" y="1482"/>
                  </a:lnTo>
                  <a:lnTo>
                    <a:pt x="575" y="1482"/>
                  </a:lnTo>
                  <a:lnTo>
                    <a:pt x="573" y="1482"/>
                  </a:lnTo>
                  <a:lnTo>
                    <a:pt x="575" y="1482"/>
                  </a:lnTo>
                  <a:lnTo>
                    <a:pt x="576" y="1484"/>
                  </a:lnTo>
                  <a:lnTo>
                    <a:pt x="578" y="1484"/>
                  </a:lnTo>
                  <a:lnTo>
                    <a:pt x="579" y="1485"/>
                  </a:lnTo>
                  <a:lnTo>
                    <a:pt x="579" y="1484"/>
                  </a:lnTo>
                  <a:lnTo>
                    <a:pt x="581" y="1485"/>
                  </a:lnTo>
                  <a:lnTo>
                    <a:pt x="581" y="1484"/>
                  </a:lnTo>
                  <a:lnTo>
                    <a:pt x="578" y="1482"/>
                  </a:lnTo>
                  <a:lnTo>
                    <a:pt x="579" y="1482"/>
                  </a:lnTo>
                  <a:lnTo>
                    <a:pt x="581" y="1482"/>
                  </a:lnTo>
                  <a:lnTo>
                    <a:pt x="583" y="1482"/>
                  </a:lnTo>
                  <a:lnTo>
                    <a:pt x="584" y="1484"/>
                  </a:lnTo>
                  <a:lnTo>
                    <a:pt x="584" y="1485"/>
                  </a:lnTo>
                  <a:lnTo>
                    <a:pt x="586" y="1485"/>
                  </a:lnTo>
                  <a:lnTo>
                    <a:pt x="588" y="1485"/>
                  </a:lnTo>
                  <a:lnTo>
                    <a:pt x="588" y="1487"/>
                  </a:lnTo>
                  <a:lnTo>
                    <a:pt x="586" y="1487"/>
                  </a:lnTo>
                  <a:lnTo>
                    <a:pt x="588" y="1487"/>
                  </a:lnTo>
                  <a:lnTo>
                    <a:pt x="592" y="1488"/>
                  </a:lnTo>
                  <a:lnTo>
                    <a:pt x="596" y="1488"/>
                  </a:lnTo>
                  <a:lnTo>
                    <a:pt x="594" y="1487"/>
                  </a:lnTo>
                  <a:lnTo>
                    <a:pt x="596" y="1487"/>
                  </a:lnTo>
                  <a:lnTo>
                    <a:pt x="597" y="1485"/>
                  </a:lnTo>
                  <a:lnTo>
                    <a:pt x="597" y="1487"/>
                  </a:lnTo>
                  <a:lnTo>
                    <a:pt x="599" y="1487"/>
                  </a:lnTo>
                  <a:lnTo>
                    <a:pt x="599" y="1485"/>
                  </a:lnTo>
                  <a:lnTo>
                    <a:pt x="601" y="1485"/>
                  </a:lnTo>
                  <a:lnTo>
                    <a:pt x="601" y="1484"/>
                  </a:lnTo>
                  <a:lnTo>
                    <a:pt x="602" y="1484"/>
                  </a:lnTo>
                  <a:lnTo>
                    <a:pt x="604" y="1484"/>
                  </a:lnTo>
                  <a:lnTo>
                    <a:pt x="602" y="1482"/>
                  </a:lnTo>
                  <a:lnTo>
                    <a:pt x="604" y="1482"/>
                  </a:lnTo>
                  <a:lnTo>
                    <a:pt x="605" y="1482"/>
                  </a:lnTo>
                  <a:lnTo>
                    <a:pt x="607" y="1482"/>
                  </a:lnTo>
                  <a:lnTo>
                    <a:pt x="609" y="1484"/>
                  </a:lnTo>
                  <a:lnTo>
                    <a:pt x="610" y="1484"/>
                  </a:lnTo>
                  <a:lnTo>
                    <a:pt x="610" y="1485"/>
                  </a:lnTo>
                  <a:lnTo>
                    <a:pt x="612" y="1487"/>
                  </a:lnTo>
                  <a:lnTo>
                    <a:pt x="614" y="1487"/>
                  </a:lnTo>
                  <a:lnTo>
                    <a:pt x="612" y="1487"/>
                  </a:lnTo>
                  <a:lnTo>
                    <a:pt x="612" y="1485"/>
                  </a:lnTo>
                  <a:lnTo>
                    <a:pt x="610" y="1485"/>
                  </a:lnTo>
                  <a:lnTo>
                    <a:pt x="610" y="1484"/>
                  </a:lnTo>
                  <a:lnTo>
                    <a:pt x="612" y="1484"/>
                  </a:lnTo>
                  <a:lnTo>
                    <a:pt x="610" y="1484"/>
                  </a:lnTo>
                  <a:lnTo>
                    <a:pt x="612" y="1482"/>
                  </a:lnTo>
                  <a:lnTo>
                    <a:pt x="610" y="1482"/>
                  </a:lnTo>
                  <a:lnTo>
                    <a:pt x="609" y="1480"/>
                  </a:lnTo>
                  <a:lnTo>
                    <a:pt x="607" y="1480"/>
                  </a:lnTo>
                  <a:lnTo>
                    <a:pt x="605" y="1480"/>
                  </a:lnTo>
                  <a:lnTo>
                    <a:pt x="605" y="1479"/>
                  </a:lnTo>
                  <a:lnTo>
                    <a:pt x="605" y="1480"/>
                  </a:lnTo>
                  <a:lnTo>
                    <a:pt x="604" y="1480"/>
                  </a:lnTo>
                  <a:lnTo>
                    <a:pt x="602" y="1480"/>
                  </a:lnTo>
                  <a:lnTo>
                    <a:pt x="602" y="1482"/>
                  </a:lnTo>
                  <a:lnTo>
                    <a:pt x="601" y="1482"/>
                  </a:lnTo>
                  <a:lnTo>
                    <a:pt x="599" y="1482"/>
                  </a:lnTo>
                  <a:lnTo>
                    <a:pt x="599" y="1484"/>
                  </a:lnTo>
                  <a:lnTo>
                    <a:pt x="597" y="1484"/>
                  </a:lnTo>
                  <a:lnTo>
                    <a:pt x="597" y="1485"/>
                  </a:lnTo>
                  <a:lnTo>
                    <a:pt x="596" y="1485"/>
                  </a:lnTo>
                  <a:lnTo>
                    <a:pt x="594" y="1485"/>
                  </a:lnTo>
                  <a:lnTo>
                    <a:pt x="592" y="1485"/>
                  </a:lnTo>
                  <a:lnTo>
                    <a:pt x="591" y="1487"/>
                  </a:lnTo>
                  <a:lnTo>
                    <a:pt x="591" y="1485"/>
                  </a:lnTo>
                  <a:lnTo>
                    <a:pt x="589" y="1485"/>
                  </a:lnTo>
                  <a:lnTo>
                    <a:pt x="588" y="1485"/>
                  </a:lnTo>
                  <a:lnTo>
                    <a:pt x="586" y="1485"/>
                  </a:lnTo>
                  <a:lnTo>
                    <a:pt x="586" y="1484"/>
                  </a:lnTo>
                  <a:lnTo>
                    <a:pt x="586" y="1485"/>
                  </a:lnTo>
                  <a:lnTo>
                    <a:pt x="586" y="1484"/>
                  </a:lnTo>
                  <a:lnTo>
                    <a:pt x="588" y="1484"/>
                  </a:lnTo>
                  <a:lnTo>
                    <a:pt x="588" y="1485"/>
                  </a:lnTo>
                  <a:lnTo>
                    <a:pt x="588" y="1484"/>
                  </a:lnTo>
                  <a:lnTo>
                    <a:pt x="588" y="1482"/>
                  </a:lnTo>
                  <a:lnTo>
                    <a:pt x="589" y="1482"/>
                  </a:lnTo>
                  <a:lnTo>
                    <a:pt x="589" y="1480"/>
                  </a:lnTo>
                  <a:lnTo>
                    <a:pt x="589" y="1482"/>
                  </a:lnTo>
                  <a:lnTo>
                    <a:pt x="589" y="1480"/>
                  </a:lnTo>
                  <a:lnTo>
                    <a:pt x="588" y="1480"/>
                  </a:lnTo>
                  <a:lnTo>
                    <a:pt x="588" y="1482"/>
                  </a:lnTo>
                  <a:lnTo>
                    <a:pt x="588" y="1480"/>
                  </a:lnTo>
                  <a:lnTo>
                    <a:pt x="586" y="1480"/>
                  </a:lnTo>
                  <a:lnTo>
                    <a:pt x="584" y="1480"/>
                  </a:lnTo>
                  <a:lnTo>
                    <a:pt x="583" y="1480"/>
                  </a:lnTo>
                  <a:lnTo>
                    <a:pt x="581" y="1480"/>
                  </a:lnTo>
                  <a:lnTo>
                    <a:pt x="579" y="1480"/>
                  </a:lnTo>
                  <a:lnTo>
                    <a:pt x="578" y="1480"/>
                  </a:lnTo>
                  <a:lnTo>
                    <a:pt x="576" y="1480"/>
                  </a:lnTo>
                  <a:lnTo>
                    <a:pt x="576" y="1479"/>
                  </a:lnTo>
                  <a:lnTo>
                    <a:pt x="575" y="1479"/>
                  </a:lnTo>
                  <a:lnTo>
                    <a:pt x="573" y="1479"/>
                  </a:lnTo>
                  <a:lnTo>
                    <a:pt x="571" y="1479"/>
                  </a:lnTo>
                  <a:lnTo>
                    <a:pt x="571" y="1477"/>
                  </a:lnTo>
                  <a:lnTo>
                    <a:pt x="570" y="1477"/>
                  </a:lnTo>
                  <a:lnTo>
                    <a:pt x="571" y="1477"/>
                  </a:lnTo>
                  <a:lnTo>
                    <a:pt x="570" y="1477"/>
                  </a:lnTo>
                  <a:lnTo>
                    <a:pt x="568" y="1477"/>
                  </a:lnTo>
                  <a:lnTo>
                    <a:pt x="568" y="1475"/>
                  </a:lnTo>
                  <a:lnTo>
                    <a:pt x="566" y="1475"/>
                  </a:lnTo>
                  <a:lnTo>
                    <a:pt x="568" y="1475"/>
                  </a:lnTo>
                  <a:lnTo>
                    <a:pt x="568" y="1474"/>
                  </a:lnTo>
                  <a:lnTo>
                    <a:pt x="568" y="1475"/>
                  </a:lnTo>
                  <a:lnTo>
                    <a:pt x="568" y="1474"/>
                  </a:lnTo>
                  <a:lnTo>
                    <a:pt x="566" y="1474"/>
                  </a:lnTo>
                  <a:lnTo>
                    <a:pt x="568" y="1474"/>
                  </a:lnTo>
                  <a:lnTo>
                    <a:pt x="566" y="1472"/>
                  </a:lnTo>
                  <a:lnTo>
                    <a:pt x="568" y="1474"/>
                  </a:lnTo>
                  <a:lnTo>
                    <a:pt x="568" y="1472"/>
                  </a:lnTo>
                  <a:lnTo>
                    <a:pt x="568" y="1471"/>
                  </a:lnTo>
                  <a:lnTo>
                    <a:pt x="571" y="1471"/>
                  </a:lnTo>
                  <a:lnTo>
                    <a:pt x="571" y="1472"/>
                  </a:lnTo>
                  <a:lnTo>
                    <a:pt x="573" y="1472"/>
                  </a:lnTo>
                  <a:lnTo>
                    <a:pt x="575" y="1472"/>
                  </a:lnTo>
                  <a:lnTo>
                    <a:pt x="576" y="1472"/>
                  </a:lnTo>
                  <a:lnTo>
                    <a:pt x="575" y="1471"/>
                  </a:lnTo>
                  <a:lnTo>
                    <a:pt x="578" y="1472"/>
                  </a:lnTo>
                  <a:lnTo>
                    <a:pt x="579" y="1472"/>
                  </a:lnTo>
                  <a:lnTo>
                    <a:pt x="579" y="1471"/>
                  </a:lnTo>
                  <a:lnTo>
                    <a:pt x="581" y="1471"/>
                  </a:lnTo>
                  <a:lnTo>
                    <a:pt x="581" y="1472"/>
                  </a:lnTo>
                  <a:lnTo>
                    <a:pt x="583" y="1472"/>
                  </a:lnTo>
                  <a:lnTo>
                    <a:pt x="583" y="1471"/>
                  </a:lnTo>
                  <a:lnTo>
                    <a:pt x="581" y="1471"/>
                  </a:lnTo>
                  <a:lnTo>
                    <a:pt x="579" y="1471"/>
                  </a:lnTo>
                  <a:lnTo>
                    <a:pt x="578" y="1471"/>
                  </a:lnTo>
                  <a:lnTo>
                    <a:pt x="578" y="1469"/>
                  </a:lnTo>
                  <a:lnTo>
                    <a:pt x="576" y="1469"/>
                  </a:lnTo>
                  <a:lnTo>
                    <a:pt x="575" y="1469"/>
                  </a:lnTo>
                  <a:lnTo>
                    <a:pt x="575" y="1467"/>
                  </a:lnTo>
                  <a:lnTo>
                    <a:pt x="575" y="1469"/>
                  </a:lnTo>
                  <a:lnTo>
                    <a:pt x="575" y="1467"/>
                  </a:lnTo>
                  <a:lnTo>
                    <a:pt x="573" y="1467"/>
                  </a:lnTo>
                  <a:lnTo>
                    <a:pt x="573" y="1466"/>
                  </a:lnTo>
                  <a:lnTo>
                    <a:pt x="571" y="1466"/>
                  </a:lnTo>
                  <a:lnTo>
                    <a:pt x="570" y="1466"/>
                  </a:lnTo>
                  <a:lnTo>
                    <a:pt x="568" y="1464"/>
                  </a:lnTo>
                  <a:lnTo>
                    <a:pt x="570" y="1464"/>
                  </a:lnTo>
                  <a:lnTo>
                    <a:pt x="571" y="1464"/>
                  </a:lnTo>
                  <a:lnTo>
                    <a:pt x="573" y="1464"/>
                  </a:lnTo>
                  <a:lnTo>
                    <a:pt x="575" y="1464"/>
                  </a:lnTo>
                  <a:lnTo>
                    <a:pt x="576" y="1464"/>
                  </a:lnTo>
                  <a:lnTo>
                    <a:pt x="578" y="1464"/>
                  </a:lnTo>
                  <a:lnTo>
                    <a:pt x="581" y="1464"/>
                  </a:lnTo>
                  <a:lnTo>
                    <a:pt x="583" y="1466"/>
                  </a:lnTo>
                  <a:lnTo>
                    <a:pt x="583" y="1464"/>
                  </a:lnTo>
                  <a:lnTo>
                    <a:pt x="583" y="1466"/>
                  </a:lnTo>
                  <a:lnTo>
                    <a:pt x="584" y="1466"/>
                  </a:lnTo>
                  <a:lnTo>
                    <a:pt x="583" y="1466"/>
                  </a:lnTo>
                  <a:lnTo>
                    <a:pt x="581" y="1466"/>
                  </a:lnTo>
                  <a:lnTo>
                    <a:pt x="581" y="1467"/>
                  </a:lnTo>
                  <a:lnTo>
                    <a:pt x="579" y="1467"/>
                  </a:lnTo>
                  <a:lnTo>
                    <a:pt x="579" y="1466"/>
                  </a:lnTo>
                  <a:lnTo>
                    <a:pt x="579" y="1467"/>
                  </a:lnTo>
                  <a:lnTo>
                    <a:pt x="581" y="1469"/>
                  </a:lnTo>
                  <a:lnTo>
                    <a:pt x="581" y="1467"/>
                  </a:lnTo>
                  <a:lnTo>
                    <a:pt x="581" y="1469"/>
                  </a:lnTo>
                  <a:lnTo>
                    <a:pt x="579" y="1467"/>
                  </a:lnTo>
                  <a:lnTo>
                    <a:pt x="581" y="1467"/>
                  </a:lnTo>
                  <a:lnTo>
                    <a:pt x="583" y="1467"/>
                  </a:lnTo>
                  <a:lnTo>
                    <a:pt x="583" y="1469"/>
                  </a:lnTo>
                  <a:lnTo>
                    <a:pt x="586" y="1469"/>
                  </a:lnTo>
                  <a:lnTo>
                    <a:pt x="588" y="1469"/>
                  </a:lnTo>
                  <a:lnTo>
                    <a:pt x="586" y="1469"/>
                  </a:lnTo>
                  <a:lnTo>
                    <a:pt x="588" y="1467"/>
                  </a:lnTo>
                  <a:lnTo>
                    <a:pt x="588" y="1466"/>
                  </a:lnTo>
                  <a:lnTo>
                    <a:pt x="588" y="1467"/>
                  </a:lnTo>
                  <a:lnTo>
                    <a:pt x="586" y="1467"/>
                  </a:lnTo>
                  <a:lnTo>
                    <a:pt x="586" y="1466"/>
                  </a:lnTo>
                  <a:lnTo>
                    <a:pt x="584" y="1466"/>
                  </a:lnTo>
                  <a:lnTo>
                    <a:pt x="586" y="1466"/>
                  </a:lnTo>
                  <a:lnTo>
                    <a:pt x="584" y="1466"/>
                  </a:lnTo>
                  <a:lnTo>
                    <a:pt x="586" y="1466"/>
                  </a:lnTo>
                  <a:lnTo>
                    <a:pt x="584" y="1464"/>
                  </a:lnTo>
                  <a:lnTo>
                    <a:pt x="583" y="1464"/>
                  </a:lnTo>
                  <a:lnTo>
                    <a:pt x="579" y="1462"/>
                  </a:lnTo>
                  <a:lnTo>
                    <a:pt x="578" y="1462"/>
                  </a:lnTo>
                  <a:lnTo>
                    <a:pt x="576" y="1462"/>
                  </a:lnTo>
                  <a:lnTo>
                    <a:pt x="575" y="1462"/>
                  </a:lnTo>
                  <a:lnTo>
                    <a:pt x="573" y="1462"/>
                  </a:lnTo>
                  <a:lnTo>
                    <a:pt x="571" y="1462"/>
                  </a:lnTo>
                  <a:lnTo>
                    <a:pt x="570" y="1462"/>
                  </a:lnTo>
                  <a:lnTo>
                    <a:pt x="568" y="1462"/>
                  </a:lnTo>
                  <a:lnTo>
                    <a:pt x="568" y="1464"/>
                  </a:lnTo>
                  <a:lnTo>
                    <a:pt x="568" y="1462"/>
                  </a:lnTo>
                  <a:lnTo>
                    <a:pt x="566" y="1464"/>
                  </a:lnTo>
                  <a:lnTo>
                    <a:pt x="563" y="1464"/>
                  </a:lnTo>
                  <a:lnTo>
                    <a:pt x="562" y="1464"/>
                  </a:lnTo>
                  <a:lnTo>
                    <a:pt x="560" y="1464"/>
                  </a:lnTo>
                  <a:lnTo>
                    <a:pt x="560" y="1466"/>
                  </a:lnTo>
                  <a:lnTo>
                    <a:pt x="558" y="1466"/>
                  </a:lnTo>
                  <a:lnTo>
                    <a:pt x="557" y="1466"/>
                  </a:lnTo>
                  <a:lnTo>
                    <a:pt x="558" y="1466"/>
                  </a:lnTo>
                  <a:lnTo>
                    <a:pt x="557" y="1466"/>
                  </a:lnTo>
                  <a:lnTo>
                    <a:pt x="557" y="1464"/>
                  </a:lnTo>
                  <a:lnTo>
                    <a:pt x="557" y="1462"/>
                  </a:lnTo>
                  <a:lnTo>
                    <a:pt x="558" y="1462"/>
                  </a:lnTo>
                  <a:lnTo>
                    <a:pt x="560" y="1462"/>
                  </a:lnTo>
                  <a:lnTo>
                    <a:pt x="560" y="1464"/>
                  </a:lnTo>
                  <a:lnTo>
                    <a:pt x="560" y="1462"/>
                  </a:lnTo>
                  <a:lnTo>
                    <a:pt x="562" y="1462"/>
                  </a:lnTo>
                  <a:lnTo>
                    <a:pt x="562" y="1461"/>
                  </a:lnTo>
                  <a:lnTo>
                    <a:pt x="562" y="1462"/>
                  </a:lnTo>
                  <a:lnTo>
                    <a:pt x="562" y="1461"/>
                  </a:lnTo>
                  <a:lnTo>
                    <a:pt x="563" y="1462"/>
                  </a:lnTo>
                  <a:lnTo>
                    <a:pt x="565" y="1462"/>
                  </a:lnTo>
                  <a:lnTo>
                    <a:pt x="566" y="1462"/>
                  </a:lnTo>
                  <a:lnTo>
                    <a:pt x="565" y="1462"/>
                  </a:lnTo>
                  <a:lnTo>
                    <a:pt x="566" y="1462"/>
                  </a:lnTo>
                  <a:lnTo>
                    <a:pt x="568" y="1462"/>
                  </a:lnTo>
                  <a:lnTo>
                    <a:pt x="570" y="1462"/>
                  </a:lnTo>
                  <a:lnTo>
                    <a:pt x="570" y="1461"/>
                  </a:lnTo>
                  <a:lnTo>
                    <a:pt x="571" y="1461"/>
                  </a:lnTo>
                  <a:lnTo>
                    <a:pt x="571" y="1462"/>
                  </a:lnTo>
                  <a:lnTo>
                    <a:pt x="573" y="1461"/>
                  </a:lnTo>
                  <a:lnTo>
                    <a:pt x="573" y="1462"/>
                  </a:lnTo>
                  <a:lnTo>
                    <a:pt x="573" y="1461"/>
                  </a:lnTo>
                  <a:lnTo>
                    <a:pt x="575" y="1462"/>
                  </a:lnTo>
                  <a:lnTo>
                    <a:pt x="575" y="1461"/>
                  </a:lnTo>
                  <a:lnTo>
                    <a:pt x="576" y="1462"/>
                  </a:lnTo>
                  <a:lnTo>
                    <a:pt x="576" y="1461"/>
                  </a:lnTo>
                  <a:lnTo>
                    <a:pt x="578" y="1461"/>
                  </a:lnTo>
                  <a:lnTo>
                    <a:pt x="579" y="1461"/>
                  </a:lnTo>
                  <a:lnTo>
                    <a:pt x="581" y="1461"/>
                  </a:lnTo>
                  <a:lnTo>
                    <a:pt x="583" y="1461"/>
                  </a:lnTo>
                  <a:lnTo>
                    <a:pt x="583" y="1459"/>
                  </a:lnTo>
                  <a:lnTo>
                    <a:pt x="584" y="1459"/>
                  </a:lnTo>
                  <a:lnTo>
                    <a:pt x="584" y="1458"/>
                  </a:lnTo>
                  <a:lnTo>
                    <a:pt x="583" y="1459"/>
                  </a:lnTo>
                  <a:lnTo>
                    <a:pt x="584" y="1459"/>
                  </a:lnTo>
                  <a:lnTo>
                    <a:pt x="583" y="1459"/>
                  </a:lnTo>
                  <a:lnTo>
                    <a:pt x="581" y="1459"/>
                  </a:lnTo>
                  <a:lnTo>
                    <a:pt x="579" y="1459"/>
                  </a:lnTo>
                  <a:lnTo>
                    <a:pt x="578" y="1459"/>
                  </a:lnTo>
                  <a:lnTo>
                    <a:pt x="578" y="1461"/>
                  </a:lnTo>
                  <a:lnTo>
                    <a:pt x="576" y="1461"/>
                  </a:lnTo>
                  <a:lnTo>
                    <a:pt x="575" y="1461"/>
                  </a:lnTo>
                  <a:lnTo>
                    <a:pt x="575" y="1459"/>
                  </a:lnTo>
                  <a:lnTo>
                    <a:pt x="575" y="1461"/>
                  </a:lnTo>
                  <a:lnTo>
                    <a:pt x="571" y="1461"/>
                  </a:lnTo>
                  <a:lnTo>
                    <a:pt x="573" y="1459"/>
                  </a:lnTo>
                  <a:lnTo>
                    <a:pt x="571" y="1459"/>
                  </a:lnTo>
                  <a:lnTo>
                    <a:pt x="570" y="1459"/>
                  </a:lnTo>
                  <a:lnTo>
                    <a:pt x="568" y="1459"/>
                  </a:lnTo>
                  <a:lnTo>
                    <a:pt x="566" y="1459"/>
                  </a:lnTo>
                  <a:lnTo>
                    <a:pt x="565" y="1459"/>
                  </a:lnTo>
                  <a:lnTo>
                    <a:pt x="565" y="1458"/>
                  </a:lnTo>
                  <a:lnTo>
                    <a:pt x="563" y="1458"/>
                  </a:lnTo>
                  <a:lnTo>
                    <a:pt x="562" y="1458"/>
                  </a:lnTo>
                  <a:lnTo>
                    <a:pt x="560" y="1459"/>
                  </a:lnTo>
                  <a:lnTo>
                    <a:pt x="558" y="1459"/>
                  </a:lnTo>
                  <a:lnTo>
                    <a:pt x="558" y="1458"/>
                  </a:lnTo>
                  <a:lnTo>
                    <a:pt x="558" y="1459"/>
                  </a:lnTo>
                  <a:lnTo>
                    <a:pt x="557" y="1458"/>
                  </a:lnTo>
                  <a:lnTo>
                    <a:pt x="558" y="1459"/>
                  </a:lnTo>
                  <a:lnTo>
                    <a:pt x="557" y="1459"/>
                  </a:lnTo>
                  <a:lnTo>
                    <a:pt x="557" y="1458"/>
                  </a:lnTo>
                  <a:lnTo>
                    <a:pt x="557" y="1456"/>
                  </a:lnTo>
                  <a:lnTo>
                    <a:pt x="558" y="1456"/>
                  </a:lnTo>
                  <a:lnTo>
                    <a:pt x="557" y="1456"/>
                  </a:lnTo>
                  <a:lnTo>
                    <a:pt x="557" y="1454"/>
                  </a:lnTo>
                  <a:lnTo>
                    <a:pt x="555" y="1453"/>
                  </a:lnTo>
                  <a:lnTo>
                    <a:pt x="555" y="1451"/>
                  </a:lnTo>
                  <a:lnTo>
                    <a:pt x="555" y="1449"/>
                  </a:lnTo>
                  <a:lnTo>
                    <a:pt x="557" y="1449"/>
                  </a:lnTo>
                  <a:lnTo>
                    <a:pt x="557" y="1448"/>
                  </a:lnTo>
                  <a:lnTo>
                    <a:pt x="555" y="1446"/>
                  </a:lnTo>
                  <a:lnTo>
                    <a:pt x="555" y="1445"/>
                  </a:lnTo>
                  <a:lnTo>
                    <a:pt x="557" y="1445"/>
                  </a:lnTo>
                  <a:lnTo>
                    <a:pt x="557" y="1446"/>
                  </a:lnTo>
                  <a:lnTo>
                    <a:pt x="558" y="1446"/>
                  </a:lnTo>
                  <a:lnTo>
                    <a:pt x="558" y="1445"/>
                  </a:lnTo>
                  <a:lnTo>
                    <a:pt x="557" y="1445"/>
                  </a:lnTo>
                  <a:lnTo>
                    <a:pt x="557" y="1443"/>
                  </a:lnTo>
                  <a:lnTo>
                    <a:pt x="560" y="1441"/>
                  </a:lnTo>
                  <a:lnTo>
                    <a:pt x="562" y="1441"/>
                  </a:lnTo>
                  <a:lnTo>
                    <a:pt x="563" y="1441"/>
                  </a:lnTo>
                  <a:lnTo>
                    <a:pt x="565" y="1443"/>
                  </a:lnTo>
                  <a:lnTo>
                    <a:pt x="565" y="1445"/>
                  </a:lnTo>
                  <a:lnTo>
                    <a:pt x="565" y="1446"/>
                  </a:lnTo>
                  <a:lnTo>
                    <a:pt x="565" y="1448"/>
                  </a:lnTo>
                  <a:lnTo>
                    <a:pt x="566" y="1448"/>
                  </a:lnTo>
                  <a:lnTo>
                    <a:pt x="566" y="1445"/>
                  </a:lnTo>
                  <a:lnTo>
                    <a:pt x="566" y="1443"/>
                  </a:lnTo>
                  <a:lnTo>
                    <a:pt x="566" y="1445"/>
                  </a:lnTo>
                  <a:lnTo>
                    <a:pt x="568" y="1445"/>
                  </a:lnTo>
                  <a:lnTo>
                    <a:pt x="568" y="1446"/>
                  </a:lnTo>
                  <a:lnTo>
                    <a:pt x="570" y="1446"/>
                  </a:lnTo>
                  <a:lnTo>
                    <a:pt x="570" y="1448"/>
                  </a:lnTo>
                  <a:lnTo>
                    <a:pt x="568" y="1449"/>
                  </a:lnTo>
                  <a:lnTo>
                    <a:pt x="570" y="1449"/>
                  </a:lnTo>
                  <a:lnTo>
                    <a:pt x="570" y="1448"/>
                  </a:lnTo>
                  <a:lnTo>
                    <a:pt x="570" y="1446"/>
                  </a:lnTo>
                  <a:lnTo>
                    <a:pt x="571" y="1446"/>
                  </a:lnTo>
                  <a:lnTo>
                    <a:pt x="573" y="1446"/>
                  </a:lnTo>
                  <a:lnTo>
                    <a:pt x="571" y="1445"/>
                  </a:lnTo>
                  <a:lnTo>
                    <a:pt x="570" y="1445"/>
                  </a:lnTo>
                  <a:lnTo>
                    <a:pt x="568" y="1445"/>
                  </a:lnTo>
                  <a:lnTo>
                    <a:pt x="568" y="1443"/>
                  </a:lnTo>
                  <a:lnTo>
                    <a:pt x="568" y="1441"/>
                  </a:lnTo>
                  <a:lnTo>
                    <a:pt x="570" y="1441"/>
                  </a:lnTo>
                  <a:lnTo>
                    <a:pt x="570" y="1440"/>
                  </a:lnTo>
                  <a:lnTo>
                    <a:pt x="570" y="1441"/>
                  </a:lnTo>
                  <a:lnTo>
                    <a:pt x="571" y="1441"/>
                  </a:lnTo>
                  <a:lnTo>
                    <a:pt x="573" y="1441"/>
                  </a:lnTo>
                  <a:lnTo>
                    <a:pt x="575" y="1441"/>
                  </a:lnTo>
                  <a:lnTo>
                    <a:pt x="576" y="1440"/>
                  </a:lnTo>
                  <a:lnTo>
                    <a:pt x="576" y="1441"/>
                  </a:lnTo>
                  <a:lnTo>
                    <a:pt x="578" y="1441"/>
                  </a:lnTo>
                  <a:lnTo>
                    <a:pt x="578" y="1440"/>
                  </a:lnTo>
                  <a:lnTo>
                    <a:pt x="576" y="1440"/>
                  </a:lnTo>
                  <a:lnTo>
                    <a:pt x="576" y="1438"/>
                  </a:lnTo>
                  <a:lnTo>
                    <a:pt x="575" y="1440"/>
                  </a:lnTo>
                  <a:lnTo>
                    <a:pt x="573" y="1440"/>
                  </a:lnTo>
                  <a:lnTo>
                    <a:pt x="571" y="1440"/>
                  </a:lnTo>
                  <a:lnTo>
                    <a:pt x="570" y="1440"/>
                  </a:lnTo>
                  <a:lnTo>
                    <a:pt x="568" y="1440"/>
                  </a:lnTo>
                  <a:lnTo>
                    <a:pt x="568" y="1441"/>
                  </a:lnTo>
                  <a:lnTo>
                    <a:pt x="566" y="1441"/>
                  </a:lnTo>
                  <a:lnTo>
                    <a:pt x="566" y="1440"/>
                  </a:lnTo>
                  <a:lnTo>
                    <a:pt x="566" y="1441"/>
                  </a:lnTo>
                  <a:lnTo>
                    <a:pt x="566" y="1440"/>
                  </a:lnTo>
                  <a:lnTo>
                    <a:pt x="565" y="1441"/>
                  </a:lnTo>
                  <a:lnTo>
                    <a:pt x="565" y="1440"/>
                  </a:lnTo>
                  <a:lnTo>
                    <a:pt x="565" y="1438"/>
                  </a:lnTo>
                  <a:lnTo>
                    <a:pt x="566" y="1438"/>
                  </a:lnTo>
                  <a:lnTo>
                    <a:pt x="568" y="1435"/>
                  </a:lnTo>
                  <a:lnTo>
                    <a:pt x="570" y="1435"/>
                  </a:lnTo>
                  <a:lnTo>
                    <a:pt x="570" y="1433"/>
                  </a:lnTo>
                  <a:lnTo>
                    <a:pt x="571" y="1433"/>
                  </a:lnTo>
                  <a:lnTo>
                    <a:pt x="573" y="1435"/>
                  </a:lnTo>
                  <a:lnTo>
                    <a:pt x="575" y="1433"/>
                  </a:lnTo>
                  <a:lnTo>
                    <a:pt x="576" y="1433"/>
                  </a:lnTo>
                  <a:lnTo>
                    <a:pt x="578" y="1433"/>
                  </a:lnTo>
                  <a:lnTo>
                    <a:pt x="579" y="1432"/>
                  </a:lnTo>
                  <a:lnTo>
                    <a:pt x="581" y="1432"/>
                  </a:lnTo>
                  <a:lnTo>
                    <a:pt x="579" y="1432"/>
                  </a:lnTo>
                  <a:lnTo>
                    <a:pt x="579" y="1430"/>
                  </a:lnTo>
                  <a:lnTo>
                    <a:pt x="581" y="1430"/>
                  </a:lnTo>
                  <a:lnTo>
                    <a:pt x="583" y="1430"/>
                  </a:lnTo>
                  <a:lnTo>
                    <a:pt x="584" y="1430"/>
                  </a:lnTo>
                  <a:lnTo>
                    <a:pt x="586" y="1430"/>
                  </a:lnTo>
                  <a:lnTo>
                    <a:pt x="584" y="1430"/>
                  </a:lnTo>
                  <a:lnTo>
                    <a:pt x="583" y="1428"/>
                  </a:lnTo>
                  <a:lnTo>
                    <a:pt x="581" y="1428"/>
                  </a:lnTo>
                  <a:lnTo>
                    <a:pt x="579" y="1428"/>
                  </a:lnTo>
                  <a:lnTo>
                    <a:pt x="579" y="1427"/>
                  </a:lnTo>
                  <a:lnTo>
                    <a:pt x="581" y="1427"/>
                  </a:lnTo>
                  <a:lnTo>
                    <a:pt x="579" y="1427"/>
                  </a:lnTo>
                  <a:lnTo>
                    <a:pt x="581" y="1425"/>
                  </a:lnTo>
                  <a:lnTo>
                    <a:pt x="583" y="1425"/>
                  </a:lnTo>
                  <a:lnTo>
                    <a:pt x="581" y="1425"/>
                  </a:lnTo>
                  <a:lnTo>
                    <a:pt x="581" y="1423"/>
                  </a:lnTo>
                  <a:lnTo>
                    <a:pt x="581" y="1425"/>
                  </a:lnTo>
                  <a:lnTo>
                    <a:pt x="579" y="1427"/>
                  </a:lnTo>
                  <a:lnTo>
                    <a:pt x="578" y="1427"/>
                  </a:lnTo>
                  <a:lnTo>
                    <a:pt x="578" y="1425"/>
                  </a:lnTo>
                  <a:lnTo>
                    <a:pt x="576" y="1425"/>
                  </a:lnTo>
                  <a:lnTo>
                    <a:pt x="575" y="1425"/>
                  </a:lnTo>
                  <a:lnTo>
                    <a:pt x="573" y="1423"/>
                  </a:lnTo>
                  <a:lnTo>
                    <a:pt x="575" y="1423"/>
                  </a:lnTo>
                  <a:lnTo>
                    <a:pt x="576" y="1423"/>
                  </a:lnTo>
                  <a:lnTo>
                    <a:pt x="578" y="1423"/>
                  </a:lnTo>
                  <a:lnTo>
                    <a:pt x="579" y="1423"/>
                  </a:lnTo>
                  <a:lnTo>
                    <a:pt x="581" y="1423"/>
                  </a:lnTo>
                  <a:lnTo>
                    <a:pt x="583" y="1423"/>
                  </a:lnTo>
                  <a:lnTo>
                    <a:pt x="584" y="1423"/>
                  </a:lnTo>
                  <a:lnTo>
                    <a:pt x="584" y="1422"/>
                  </a:lnTo>
                  <a:lnTo>
                    <a:pt x="586" y="1422"/>
                  </a:lnTo>
                  <a:lnTo>
                    <a:pt x="586" y="1420"/>
                  </a:lnTo>
                  <a:lnTo>
                    <a:pt x="588" y="1420"/>
                  </a:lnTo>
                  <a:lnTo>
                    <a:pt x="589" y="1420"/>
                  </a:lnTo>
                  <a:lnTo>
                    <a:pt x="591" y="1422"/>
                  </a:lnTo>
                  <a:lnTo>
                    <a:pt x="592" y="1422"/>
                  </a:lnTo>
                  <a:lnTo>
                    <a:pt x="594" y="1422"/>
                  </a:lnTo>
                  <a:lnTo>
                    <a:pt x="596" y="1422"/>
                  </a:lnTo>
                  <a:lnTo>
                    <a:pt x="597" y="1422"/>
                  </a:lnTo>
                  <a:lnTo>
                    <a:pt x="596" y="1423"/>
                  </a:lnTo>
                  <a:lnTo>
                    <a:pt x="597" y="1425"/>
                  </a:lnTo>
                  <a:lnTo>
                    <a:pt x="597" y="1423"/>
                  </a:lnTo>
                  <a:lnTo>
                    <a:pt x="599" y="1423"/>
                  </a:lnTo>
                  <a:lnTo>
                    <a:pt x="601" y="1423"/>
                  </a:lnTo>
                  <a:lnTo>
                    <a:pt x="602" y="1423"/>
                  </a:lnTo>
                  <a:lnTo>
                    <a:pt x="604" y="1425"/>
                  </a:lnTo>
                  <a:lnTo>
                    <a:pt x="605" y="1425"/>
                  </a:lnTo>
                  <a:lnTo>
                    <a:pt x="607" y="1425"/>
                  </a:lnTo>
                  <a:lnTo>
                    <a:pt x="609" y="1427"/>
                  </a:lnTo>
                  <a:lnTo>
                    <a:pt x="610" y="1430"/>
                  </a:lnTo>
                  <a:lnTo>
                    <a:pt x="612" y="1430"/>
                  </a:lnTo>
                  <a:lnTo>
                    <a:pt x="612" y="1432"/>
                  </a:lnTo>
                  <a:lnTo>
                    <a:pt x="610" y="1430"/>
                  </a:lnTo>
                  <a:lnTo>
                    <a:pt x="610" y="1432"/>
                  </a:lnTo>
                  <a:lnTo>
                    <a:pt x="609" y="1432"/>
                  </a:lnTo>
                  <a:lnTo>
                    <a:pt x="607" y="1432"/>
                  </a:lnTo>
                  <a:lnTo>
                    <a:pt x="605" y="1432"/>
                  </a:lnTo>
                  <a:lnTo>
                    <a:pt x="604" y="1433"/>
                  </a:lnTo>
                  <a:lnTo>
                    <a:pt x="605" y="1433"/>
                  </a:lnTo>
                  <a:lnTo>
                    <a:pt x="604" y="1433"/>
                  </a:lnTo>
                  <a:lnTo>
                    <a:pt x="604" y="1435"/>
                  </a:lnTo>
                  <a:lnTo>
                    <a:pt x="602" y="1435"/>
                  </a:lnTo>
                  <a:lnTo>
                    <a:pt x="604" y="1436"/>
                  </a:lnTo>
                  <a:lnTo>
                    <a:pt x="604" y="1435"/>
                  </a:lnTo>
                  <a:lnTo>
                    <a:pt x="605" y="1435"/>
                  </a:lnTo>
                  <a:lnTo>
                    <a:pt x="605" y="1433"/>
                  </a:lnTo>
                  <a:lnTo>
                    <a:pt x="609" y="1432"/>
                  </a:lnTo>
                  <a:lnTo>
                    <a:pt x="612" y="1432"/>
                  </a:lnTo>
                  <a:lnTo>
                    <a:pt x="614" y="1432"/>
                  </a:lnTo>
                  <a:lnTo>
                    <a:pt x="615" y="1432"/>
                  </a:lnTo>
                  <a:lnTo>
                    <a:pt x="617" y="1432"/>
                  </a:lnTo>
                  <a:lnTo>
                    <a:pt x="617" y="1430"/>
                  </a:lnTo>
                  <a:lnTo>
                    <a:pt x="618" y="1430"/>
                  </a:lnTo>
                  <a:lnTo>
                    <a:pt x="620" y="1430"/>
                  </a:lnTo>
                  <a:lnTo>
                    <a:pt x="622" y="1430"/>
                  </a:lnTo>
                  <a:lnTo>
                    <a:pt x="623" y="1430"/>
                  </a:lnTo>
                  <a:lnTo>
                    <a:pt x="623" y="1432"/>
                  </a:lnTo>
                  <a:lnTo>
                    <a:pt x="627" y="1432"/>
                  </a:lnTo>
                  <a:lnTo>
                    <a:pt x="627" y="1433"/>
                  </a:lnTo>
                  <a:lnTo>
                    <a:pt x="625" y="1435"/>
                  </a:lnTo>
                  <a:lnTo>
                    <a:pt x="625" y="1436"/>
                  </a:lnTo>
                  <a:lnTo>
                    <a:pt x="625" y="1438"/>
                  </a:lnTo>
                  <a:lnTo>
                    <a:pt x="625" y="1440"/>
                  </a:lnTo>
                  <a:lnTo>
                    <a:pt x="623" y="1441"/>
                  </a:lnTo>
                  <a:lnTo>
                    <a:pt x="623" y="1443"/>
                  </a:lnTo>
                  <a:lnTo>
                    <a:pt x="622" y="1445"/>
                  </a:lnTo>
                  <a:lnTo>
                    <a:pt x="622" y="1446"/>
                  </a:lnTo>
                  <a:lnTo>
                    <a:pt x="620" y="1446"/>
                  </a:lnTo>
                  <a:lnTo>
                    <a:pt x="620" y="1448"/>
                  </a:lnTo>
                  <a:lnTo>
                    <a:pt x="622" y="1448"/>
                  </a:lnTo>
                  <a:lnTo>
                    <a:pt x="622" y="1446"/>
                  </a:lnTo>
                  <a:lnTo>
                    <a:pt x="623" y="1446"/>
                  </a:lnTo>
                  <a:lnTo>
                    <a:pt x="623" y="1445"/>
                  </a:lnTo>
                  <a:lnTo>
                    <a:pt x="625" y="1443"/>
                  </a:lnTo>
                  <a:lnTo>
                    <a:pt x="625" y="1441"/>
                  </a:lnTo>
                  <a:lnTo>
                    <a:pt x="625" y="1440"/>
                  </a:lnTo>
                  <a:lnTo>
                    <a:pt x="625" y="1438"/>
                  </a:lnTo>
                  <a:lnTo>
                    <a:pt x="627" y="1438"/>
                  </a:lnTo>
                  <a:lnTo>
                    <a:pt x="625" y="1438"/>
                  </a:lnTo>
                  <a:lnTo>
                    <a:pt x="627" y="1436"/>
                  </a:lnTo>
                  <a:lnTo>
                    <a:pt x="627" y="1435"/>
                  </a:lnTo>
                  <a:lnTo>
                    <a:pt x="627" y="1433"/>
                  </a:lnTo>
                  <a:lnTo>
                    <a:pt x="628" y="1433"/>
                  </a:lnTo>
                  <a:lnTo>
                    <a:pt x="630" y="1433"/>
                  </a:lnTo>
                  <a:lnTo>
                    <a:pt x="631" y="1436"/>
                  </a:lnTo>
                  <a:lnTo>
                    <a:pt x="633" y="1438"/>
                  </a:lnTo>
                  <a:lnTo>
                    <a:pt x="635" y="1440"/>
                  </a:lnTo>
                  <a:lnTo>
                    <a:pt x="635" y="1441"/>
                  </a:lnTo>
                  <a:lnTo>
                    <a:pt x="635" y="1443"/>
                  </a:lnTo>
                  <a:lnTo>
                    <a:pt x="636" y="1443"/>
                  </a:lnTo>
                  <a:lnTo>
                    <a:pt x="638" y="1443"/>
                  </a:lnTo>
                  <a:lnTo>
                    <a:pt x="638" y="1445"/>
                  </a:lnTo>
                  <a:lnTo>
                    <a:pt x="640" y="1445"/>
                  </a:lnTo>
                  <a:lnTo>
                    <a:pt x="640" y="1443"/>
                  </a:lnTo>
                  <a:lnTo>
                    <a:pt x="641" y="1443"/>
                  </a:lnTo>
                  <a:lnTo>
                    <a:pt x="640" y="1443"/>
                  </a:lnTo>
                  <a:lnTo>
                    <a:pt x="640" y="1441"/>
                  </a:lnTo>
                  <a:lnTo>
                    <a:pt x="638" y="1440"/>
                  </a:lnTo>
                  <a:lnTo>
                    <a:pt x="636" y="1440"/>
                  </a:lnTo>
                  <a:lnTo>
                    <a:pt x="636" y="1438"/>
                  </a:lnTo>
                  <a:lnTo>
                    <a:pt x="635" y="1436"/>
                  </a:lnTo>
                  <a:lnTo>
                    <a:pt x="633" y="1436"/>
                  </a:lnTo>
                  <a:lnTo>
                    <a:pt x="633" y="1435"/>
                  </a:lnTo>
                  <a:lnTo>
                    <a:pt x="633" y="1433"/>
                  </a:lnTo>
                  <a:lnTo>
                    <a:pt x="635" y="1433"/>
                  </a:lnTo>
                  <a:lnTo>
                    <a:pt x="635" y="1435"/>
                  </a:lnTo>
                  <a:lnTo>
                    <a:pt x="636" y="1435"/>
                  </a:lnTo>
                  <a:lnTo>
                    <a:pt x="638" y="1435"/>
                  </a:lnTo>
                  <a:lnTo>
                    <a:pt x="640" y="1435"/>
                  </a:lnTo>
                  <a:lnTo>
                    <a:pt x="641" y="1435"/>
                  </a:lnTo>
                  <a:lnTo>
                    <a:pt x="643" y="1433"/>
                  </a:lnTo>
                  <a:lnTo>
                    <a:pt x="644" y="1433"/>
                  </a:lnTo>
                  <a:lnTo>
                    <a:pt x="648" y="1433"/>
                  </a:lnTo>
                  <a:lnTo>
                    <a:pt x="649" y="1435"/>
                  </a:lnTo>
                  <a:lnTo>
                    <a:pt x="651" y="1435"/>
                  </a:lnTo>
                  <a:lnTo>
                    <a:pt x="651" y="1436"/>
                  </a:lnTo>
                  <a:lnTo>
                    <a:pt x="653" y="1436"/>
                  </a:lnTo>
                  <a:lnTo>
                    <a:pt x="653" y="1438"/>
                  </a:lnTo>
                  <a:lnTo>
                    <a:pt x="654" y="1438"/>
                  </a:lnTo>
                  <a:lnTo>
                    <a:pt x="656" y="1438"/>
                  </a:lnTo>
                  <a:lnTo>
                    <a:pt x="657" y="1440"/>
                  </a:lnTo>
                  <a:lnTo>
                    <a:pt x="659" y="1440"/>
                  </a:lnTo>
                  <a:lnTo>
                    <a:pt x="662" y="1440"/>
                  </a:lnTo>
                  <a:lnTo>
                    <a:pt x="664" y="1438"/>
                  </a:lnTo>
                  <a:lnTo>
                    <a:pt x="666" y="1436"/>
                  </a:lnTo>
                  <a:lnTo>
                    <a:pt x="669" y="1435"/>
                  </a:lnTo>
                  <a:lnTo>
                    <a:pt x="669" y="1433"/>
                  </a:lnTo>
                  <a:lnTo>
                    <a:pt x="667" y="1432"/>
                  </a:lnTo>
                  <a:lnTo>
                    <a:pt x="669" y="1432"/>
                  </a:lnTo>
                  <a:lnTo>
                    <a:pt x="671" y="1430"/>
                  </a:lnTo>
                  <a:lnTo>
                    <a:pt x="672" y="1430"/>
                  </a:lnTo>
                  <a:lnTo>
                    <a:pt x="672" y="1432"/>
                  </a:lnTo>
                  <a:lnTo>
                    <a:pt x="674" y="1432"/>
                  </a:lnTo>
                  <a:lnTo>
                    <a:pt x="677" y="1432"/>
                  </a:lnTo>
                  <a:lnTo>
                    <a:pt x="679" y="1433"/>
                  </a:lnTo>
                  <a:lnTo>
                    <a:pt x="682" y="1435"/>
                  </a:lnTo>
                  <a:lnTo>
                    <a:pt x="682" y="1436"/>
                  </a:lnTo>
                  <a:lnTo>
                    <a:pt x="682" y="1435"/>
                  </a:lnTo>
                  <a:lnTo>
                    <a:pt x="684" y="1435"/>
                  </a:lnTo>
                  <a:lnTo>
                    <a:pt x="684" y="1433"/>
                  </a:lnTo>
                  <a:lnTo>
                    <a:pt x="684" y="1432"/>
                  </a:lnTo>
                  <a:lnTo>
                    <a:pt x="685" y="1432"/>
                  </a:lnTo>
                  <a:lnTo>
                    <a:pt x="684" y="1432"/>
                  </a:lnTo>
                  <a:lnTo>
                    <a:pt x="682" y="1432"/>
                  </a:lnTo>
                  <a:lnTo>
                    <a:pt x="680" y="1430"/>
                  </a:lnTo>
                  <a:lnTo>
                    <a:pt x="679" y="1430"/>
                  </a:lnTo>
                  <a:lnTo>
                    <a:pt x="675" y="1430"/>
                  </a:lnTo>
                  <a:lnTo>
                    <a:pt x="675" y="1428"/>
                  </a:lnTo>
                  <a:lnTo>
                    <a:pt x="675" y="1427"/>
                  </a:lnTo>
                  <a:lnTo>
                    <a:pt x="677" y="1427"/>
                  </a:lnTo>
                  <a:lnTo>
                    <a:pt x="675" y="1427"/>
                  </a:lnTo>
                  <a:lnTo>
                    <a:pt x="675" y="1428"/>
                  </a:lnTo>
                  <a:lnTo>
                    <a:pt x="674" y="1428"/>
                  </a:lnTo>
                  <a:lnTo>
                    <a:pt x="672" y="1428"/>
                  </a:lnTo>
                  <a:lnTo>
                    <a:pt x="671" y="1428"/>
                  </a:lnTo>
                  <a:lnTo>
                    <a:pt x="669" y="1428"/>
                  </a:lnTo>
                  <a:lnTo>
                    <a:pt x="667" y="1428"/>
                  </a:lnTo>
                  <a:lnTo>
                    <a:pt x="666" y="1428"/>
                  </a:lnTo>
                  <a:lnTo>
                    <a:pt x="666" y="1430"/>
                  </a:lnTo>
                  <a:lnTo>
                    <a:pt x="664" y="1432"/>
                  </a:lnTo>
                  <a:lnTo>
                    <a:pt x="662" y="1435"/>
                  </a:lnTo>
                  <a:lnTo>
                    <a:pt x="662" y="1436"/>
                  </a:lnTo>
                  <a:lnTo>
                    <a:pt x="661" y="1436"/>
                  </a:lnTo>
                  <a:lnTo>
                    <a:pt x="656" y="1436"/>
                  </a:lnTo>
                  <a:lnTo>
                    <a:pt x="654" y="1435"/>
                  </a:lnTo>
                  <a:lnTo>
                    <a:pt x="653" y="1435"/>
                  </a:lnTo>
                  <a:lnTo>
                    <a:pt x="653" y="1433"/>
                  </a:lnTo>
                  <a:lnTo>
                    <a:pt x="651" y="1432"/>
                  </a:lnTo>
                  <a:lnTo>
                    <a:pt x="649" y="1432"/>
                  </a:lnTo>
                  <a:lnTo>
                    <a:pt x="648" y="1432"/>
                  </a:lnTo>
                  <a:lnTo>
                    <a:pt x="646" y="1432"/>
                  </a:lnTo>
                  <a:lnTo>
                    <a:pt x="643" y="1432"/>
                  </a:lnTo>
                  <a:lnTo>
                    <a:pt x="641" y="1432"/>
                  </a:lnTo>
                  <a:lnTo>
                    <a:pt x="640" y="1432"/>
                  </a:lnTo>
                  <a:lnTo>
                    <a:pt x="638" y="1432"/>
                  </a:lnTo>
                  <a:lnTo>
                    <a:pt x="636" y="1433"/>
                  </a:lnTo>
                  <a:lnTo>
                    <a:pt x="636" y="1432"/>
                  </a:lnTo>
                  <a:lnTo>
                    <a:pt x="635" y="1432"/>
                  </a:lnTo>
                  <a:lnTo>
                    <a:pt x="633" y="1430"/>
                  </a:lnTo>
                  <a:lnTo>
                    <a:pt x="631" y="1430"/>
                  </a:lnTo>
                  <a:lnTo>
                    <a:pt x="631" y="1428"/>
                  </a:lnTo>
                  <a:lnTo>
                    <a:pt x="630" y="1428"/>
                  </a:lnTo>
                  <a:lnTo>
                    <a:pt x="628" y="1428"/>
                  </a:lnTo>
                  <a:lnTo>
                    <a:pt x="625" y="1428"/>
                  </a:lnTo>
                  <a:lnTo>
                    <a:pt x="623" y="1428"/>
                  </a:lnTo>
                  <a:lnTo>
                    <a:pt x="622" y="1427"/>
                  </a:lnTo>
                  <a:lnTo>
                    <a:pt x="620" y="1427"/>
                  </a:lnTo>
                  <a:lnTo>
                    <a:pt x="620" y="1428"/>
                  </a:lnTo>
                  <a:lnTo>
                    <a:pt x="618" y="1427"/>
                  </a:lnTo>
                  <a:lnTo>
                    <a:pt x="618" y="1428"/>
                  </a:lnTo>
                  <a:lnTo>
                    <a:pt x="618" y="1427"/>
                  </a:lnTo>
                  <a:lnTo>
                    <a:pt x="617" y="1428"/>
                  </a:lnTo>
                  <a:lnTo>
                    <a:pt x="614" y="1430"/>
                  </a:lnTo>
                  <a:lnTo>
                    <a:pt x="614" y="1428"/>
                  </a:lnTo>
                  <a:lnTo>
                    <a:pt x="612" y="1428"/>
                  </a:lnTo>
                  <a:lnTo>
                    <a:pt x="612" y="1427"/>
                  </a:lnTo>
                  <a:lnTo>
                    <a:pt x="612" y="1425"/>
                  </a:lnTo>
                  <a:lnTo>
                    <a:pt x="610" y="1425"/>
                  </a:lnTo>
                  <a:lnTo>
                    <a:pt x="609" y="1425"/>
                  </a:lnTo>
                  <a:lnTo>
                    <a:pt x="610" y="1423"/>
                  </a:lnTo>
                  <a:lnTo>
                    <a:pt x="615" y="1423"/>
                  </a:lnTo>
                  <a:lnTo>
                    <a:pt x="617" y="1423"/>
                  </a:lnTo>
                  <a:lnTo>
                    <a:pt x="618" y="1425"/>
                  </a:lnTo>
                  <a:lnTo>
                    <a:pt x="620" y="1423"/>
                  </a:lnTo>
                  <a:lnTo>
                    <a:pt x="622" y="1423"/>
                  </a:lnTo>
                  <a:lnTo>
                    <a:pt x="627" y="1425"/>
                  </a:lnTo>
                  <a:lnTo>
                    <a:pt x="627" y="1423"/>
                  </a:lnTo>
                  <a:lnTo>
                    <a:pt x="627" y="1422"/>
                  </a:lnTo>
                  <a:lnTo>
                    <a:pt x="625" y="1422"/>
                  </a:lnTo>
                  <a:lnTo>
                    <a:pt x="622" y="1422"/>
                  </a:lnTo>
                  <a:lnTo>
                    <a:pt x="620" y="1422"/>
                  </a:lnTo>
                  <a:lnTo>
                    <a:pt x="618" y="1422"/>
                  </a:lnTo>
                  <a:lnTo>
                    <a:pt x="617" y="1422"/>
                  </a:lnTo>
                  <a:lnTo>
                    <a:pt x="615" y="1422"/>
                  </a:lnTo>
                  <a:lnTo>
                    <a:pt x="614" y="1422"/>
                  </a:lnTo>
                  <a:lnTo>
                    <a:pt x="614" y="1420"/>
                  </a:lnTo>
                  <a:lnTo>
                    <a:pt x="612" y="1422"/>
                  </a:lnTo>
                  <a:lnTo>
                    <a:pt x="612" y="1420"/>
                  </a:lnTo>
                  <a:lnTo>
                    <a:pt x="610" y="1422"/>
                  </a:lnTo>
                  <a:lnTo>
                    <a:pt x="609" y="1422"/>
                  </a:lnTo>
                  <a:lnTo>
                    <a:pt x="607" y="1422"/>
                  </a:lnTo>
                  <a:lnTo>
                    <a:pt x="605" y="1422"/>
                  </a:lnTo>
                  <a:lnTo>
                    <a:pt x="604" y="1422"/>
                  </a:lnTo>
                  <a:lnTo>
                    <a:pt x="602" y="1420"/>
                  </a:lnTo>
                  <a:lnTo>
                    <a:pt x="601" y="1420"/>
                  </a:lnTo>
                  <a:lnTo>
                    <a:pt x="599" y="1420"/>
                  </a:lnTo>
                  <a:lnTo>
                    <a:pt x="597" y="1420"/>
                  </a:lnTo>
                  <a:lnTo>
                    <a:pt x="597" y="1419"/>
                  </a:lnTo>
                  <a:lnTo>
                    <a:pt x="596" y="1419"/>
                  </a:lnTo>
                  <a:lnTo>
                    <a:pt x="594" y="1419"/>
                  </a:lnTo>
                  <a:lnTo>
                    <a:pt x="592" y="1419"/>
                  </a:lnTo>
                  <a:lnTo>
                    <a:pt x="591" y="1419"/>
                  </a:lnTo>
                  <a:lnTo>
                    <a:pt x="591" y="1417"/>
                  </a:lnTo>
                  <a:lnTo>
                    <a:pt x="589" y="1417"/>
                  </a:lnTo>
                  <a:lnTo>
                    <a:pt x="588" y="1417"/>
                  </a:lnTo>
                  <a:lnTo>
                    <a:pt x="586" y="1417"/>
                  </a:lnTo>
                  <a:lnTo>
                    <a:pt x="586" y="1419"/>
                  </a:lnTo>
                  <a:lnTo>
                    <a:pt x="586" y="1417"/>
                  </a:lnTo>
                  <a:lnTo>
                    <a:pt x="586" y="1419"/>
                  </a:lnTo>
                  <a:lnTo>
                    <a:pt x="584" y="1419"/>
                  </a:lnTo>
                  <a:lnTo>
                    <a:pt x="584" y="1420"/>
                  </a:lnTo>
                  <a:lnTo>
                    <a:pt x="583" y="1420"/>
                  </a:lnTo>
                  <a:lnTo>
                    <a:pt x="584" y="1420"/>
                  </a:lnTo>
                  <a:lnTo>
                    <a:pt x="584" y="1419"/>
                  </a:lnTo>
                  <a:lnTo>
                    <a:pt x="583" y="1420"/>
                  </a:lnTo>
                  <a:lnTo>
                    <a:pt x="581" y="1420"/>
                  </a:lnTo>
                  <a:lnTo>
                    <a:pt x="579" y="1420"/>
                  </a:lnTo>
                  <a:lnTo>
                    <a:pt x="576" y="1420"/>
                  </a:lnTo>
                  <a:lnTo>
                    <a:pt x="575" y="1419"/>
                  </a:lnTo>
                  <a:lnTo>
                    <a:pt x="575" y="1420"/>
                  </a:lnTo>
                  <a:lnTo>
                    <a:pt x="573" y="1420"/>
                  </a:lnTo>
                  <a:lnTo>
                    <a:pt x="573" y="1422"/>
                  </a:lnTo>
                  <a:lnTo>
                    <a:pt x="571" y="1422"/>
                  </a:lnTo>
                  <a:lnTo>
                    <a:pt x="571" y="1420"/>
                  </a:lnTo>
                  <a:lnTo>
                    <a:pt x="571" y="1422"/>
                  </a:lnTo>
                  <a:lnTo>
                    <a:pt x="571" y="1420"/>
                  </a:lnTo>
                  <a:lnTo>
                    <a:pt x="570" y="1420"/>
                  </a:lnTo>
                  <a:lnTo>
                    <a:pt x="571" y="1420"/>
                  </a:lnTo>
                  <a:lnTo>
                    <a:pt x="570" y="1420"/>
                  </a:lnTo>
                  <a:lnTo>
                    <a:pt x="570" y="1419"/>
                  </a:lnTo>
                  <a:lnTo>
                    <a:pt x="571" y="1420"/>
                  </a:lnTo>
                  <a:lnTo>
                    <a:pt x="571" y="1419"/>
                  </a:lnTo>
                  <a:lnTo>
                    <a:pt x="571" y="1420"/>
                  </a:lnTo>
                  <a:lnTo>
                    <a:pt x="573" y="1419"/>
                  </a:lnTo>
                  <a:lnTo>
                    <a:pt x="571" y="1419"/>
                  </a:lnTo>
                  <a:lnTo>
                    <a:pt x="573" y="1419"/>
                  </a:lnTo>
                  <a:lnTo>
                    <a:pt x="571" y="1419"/>
                  </a:lnTo>
                  <a:lnTo>
                    <a:pt x="570" y="1419"/>
                  </a:lnTo>
                  <a:lnTo>
                    <a:pt x="568" y="1419"/>
                  </a:lnTo>
                  <a:lnTo>
                    <a:pt x="568" y="1417"/>
                  </a:lnTo>
                  <a:lnTo>
                    <a:pt x="570" y="1417"/>
                  </a:lnTo>
                  <a:lnTo>
                    <a:pt x="570" y="1415"/>
                  </a:lnTo>
                  <a:lnTo>
                    <a:pt x="570" y="1414"/>
                  </a:lnTo>
                  <a:lnTo>
                    <a:pt x="571" y="1414"/>
                  </a:lnTo>
                  <a:lnTo>
                    <a:pt x="571" y="1412"/>
                  </a:lnTo>
                  <a:lnTo>
                    <a:pt x="571" y="1410"/>
                  </a:lnTo>
                  <a:lnTo>
                    <a:pt x="571" y="1409"/>
                  </a:lnTo>
                  <a:lnTo>
                    <a:pt x="573" y="1409"/>
                  </a:lnTo>
                  <a:lnTo>
                    <a:pt x="575" y="1409"/>
                  </a:lnTo>
                  <a:lnTo>
                    <a:pt x="573" y="1409"/>
                  </a:lnTo>
                  <a:lnTo>
                    <a:pt x="573" y="1412"/>
                  </a:lnTo>
                  <a:lnTo>
                    <a:pt x="575" y="1414"/>
                  </a:lnTo>
                  <a:lnTo>
                    <a:pt x="575" y="1415"/>
                  </a:lnTo>
                  <a:lnTo>
                    <a:pt x="575" y="1417"/>
                  </a:lnTo>
                  <a:lnTo>
                    <a:pt x="576" y="1417"/>
                  </a:lnTo>
                  <a:lnTo>
                    <a:pt x="575" y="1415"/>
                  </a:lnTo>
                  <a:lnTo>
                    <a:pt x="576" y="1415"/>
                  </a:lnTo>
                  <a:lnTo>
                    <a:pt x="575" y="1414"/>
                  </a:lnTo>
                  <a:lnTo>
                    <a:pt x="575" y="1412"/>
                  </a:lnTo>
                  <a:lnTo>
                    <a:pt x="575" y="1410"/>
                  </a:lnTo>
                  <a:lnTo>
                    <a:pt x="576" y="1410"/>
                  </a:lnTo>
                  <a:lnTo>
                    <a:pt x="578" y="1409"/>
                  </a:lnTo>
                  <a:lnTo>
                    <a:pt x="578" y="1410"/>
                  </a:lnTo>
                  <a:lnTo>
                    <a:pt x="578" y="1412"/>
                  </a:lnTo>
                  <a:lnTo>
                    <a:pt x="579" y="1414"/>
                  </a:lnTo>
                  <a:lnTo>
                    <a:pt x="581" y="1414"/>
                  </a:lnTo>
                  <a:lnTo>
                    <a:pt x="581" y="1412"/>
                  </a:lnTo>
                  <a:lnTo>
                    <a:pt x="579" y="1412"/>
                  </a:lnTo>
                  <a:lnTo>
                    <a:pt x="581" y="1412"/>
                  </a:lnTo>
                  <a:lnTo>
                    <a:pt x="579" y="1412"/>
                  </a:lnTo>
                  <a:lnTo>
                    <a:pt x="579" y="1410"/>
                  </a:lnTo>
                  <a:lnTo>
                    <a:pt x="578" y="1410"/>
                  </a:lnTo>
                  <a:lnTo>
                    <a:pt x="578" y="1409"/>
                  </a:lnTo>
                  <a:lnTo>
                    <a:pt x="579" y="1409"/>
                  </a:lnTo>
                  <a:lnTo>
                    <a:pt x="578" y="1409"/>
                  </a:lnTo>
                  <a:lnTo>
                    <a:pt x="579" y="1409"/>
                  </a:lnTo>
                  <a:lnTo>
                    <a:pt x="579" y="1410"/>
                  </a:lnTo>
                  <a:lnTo>
                    <a:pt x="581" y="1409"/>
                  </a:lnTo>
                  <a:lnTo>
                    <a:pt x="581" y="1410"/>
                  </a:lnTo>
                  <a:lnTo>
                    <a:pt x="583" y="1410"/>
                  </a:lnTo>
                  <a:lnTo>
                    <a:pt x="583" y="1409"/>
                  </a:lnTo>
                  <a:lnTo>
                    <a:pt x="583" y="1407"/>
                  </a:lnTo>
                  <a:lnTo>
                    <a:pt x="584" y="1406"/>
                  </a:lnTo>
                  <a:lnTo>
                    <a:pt x="584" y="1404"/>
                  </a:lnTo>
                  <a:lnTo>
                    <a:pt x="584" y="1402"/>
                  </a:lnTo>
                  <a:lnTo>
                    <a:pt x="586" y="1402"/>
                  </a:lnTo>
                  <a:lnTo>
                    <a:pt x="584" y="1404"/>
                  </a:lnTo>
                  <a:lnTo>
                    <a:pt x="586" y="1404"/>
                  </a:lnTo>
                  <a:lnTo>
                    <a:pt x="588" y="1404"/>
                  </a:lnTo>
                  <a:lnTo>
                    <a:pt x="588" y="1406"/>
                  </a:lnTo>
                  <a:lnTo>
                    <a:pt x="589" y="1406"/>
                  </a:lnTo>
                  <a:lnTo>
                    <a:pt x="589" y="1404"/>
                  </a:lnTo>
                  <a:lnTo>
                    <a:pt x="588" y="1402"/>
                  </a:lnTo>
                  <a:lnTo>
                    <a:pt x="586" y="1402"/>
                  </a:lnTo>
                  <a:lnTo>
                    <a:pt x="584" y="1402"/>
                  </a:lnTo>
                  <a:lnTo>
                    <a:pt x="584" y="1401"/>
                  </a:lnTo>
                  <a:lnTo>
                    <a:pt x="584" y="1399"/>
                  </a:lnTo>
                  <a:lnTo>
                    <a:pt x="583" y="1397"/>
                  </a:lnTo>
                  <a:lnTo>
                    <a:pt x="583" y="1396"/>
                  </a:lnTo>
                  <a:lnTo>
                    <a:pt x="581" y="1396"/>
                  </a:lnTo>
                  <a:lnTo>
                    <a:pt x="579" y="1396"/>
                  </a:lnTo>
                  <a:lnTo>
                    <a:pt x="579" y="1393"/>
                  </a:lnTo>
                  <a:lnTo>
                    <a:pt x="578" y="1393"/>
                  </a:lnTo>
                  <a:lnTo>
                    <a:pt x="576" y="1393"/>
                  </a:lnTo>
                  <a:lnTo>
                    <a:pt x="575" y="1393"/>
                  </a:lnTo>
                  <a:lnTo>
                    <a:pt x="573" y="1393"/>
                  </a:lnTo>
                  <a:lnTo>
                    <a:pt x="571" y="1393"/>
                  </a:lnTo>
                  <a:lnTo>
                    <a:pt x="570" y="1393"/>
                  </a:lnTo>
                  <a:lnTo>
                    <a:pt x="570" y="1391"/>
                  </a:lnTo>
                  <a:lnTo>
                    <a:pt x="570" y="1389"/>
                  </a:lnTo>
                  <a:lnTo>
                    <a:pt x="570" y="1388"/>
                  </a:lnTo>
                  <a:lnTo>
                    <a:pt x="571" y="1389"/>
                  </a:lnTo>
                  <a:lnTo>
                    <a:pt x="573" y="1389"/>
                  </a:lnTo>
                  <a:lnTo>
                    <a:pt x="571" y="1388"/>
                  </a:lnTo>
                  <a:lnTo>
                    <a:pt x="571" y="1386"/>
                  </a:lnTo>
                  <a:lnTo>
                    <a:pt x="570" y="1384"/>
                  </a:lnTo>
                  <a:lnTo>
                    <a:pt x="570" y="1383"/>
                  </a:lnTo>
                  <a:lnTo>
                    <a:pt x="568" y="1383"/>
                  </a:lnTo>
                  <a:lnTo>
                    <a:pt x="570" y="1383"/>
                  </a:lnTo>
                  <a:lnTo>
                    <a:pt x="570" y="1381"/>
                  </a:lnTo>
                  <a:lnTo>
                    <a:pt x="570" y="1379"/>
                  </a:lnTo>
                  <a:lnTo>
                    <a:pt x="570" y="1378"/>
                  </a:lnTo>
                  <a:lnTo>
                    <a:pt x="570" y="1379"/>
                  </a:lnTo>
                  <a:lnTo>
                    <a:pt x="571" y="1379"/>
                  </a:lnTo>
                  <a:lnTo>
                    <a:pt x="571" y="1378"/>
                  </a:lnTo>
                  <a:lnTo>
                    <a:pt x="573" y="1378"/>
                  </a:lnTo>
                  <a:lnTo>
                    <a:pt x="573" y="1379"/>
                  </a:lnTo>
                  <a:lnTo>
                    <a:pt x="575" y="1379"/>
                  </a:lnTo>
                  <a:lnTo>
                    <a:pt x="576" y="1379"/>
                  </a:lnTo>
                  <a:lnTo>
                    <a:pt x="575" y="1378"/>
                  </a:lnTo>
                  <a:lnTo>
                    <a:pt x="575" y="1376"/>
                  </a:lnTo>
                  <a:lnTo>
                    <a:pt x="576" y="1376"/>
                  </a:lnTo>
                  <a:lnTo>
                    <a:pt x="575" y="1376"/>
                  </a:lnTo>
                  <a:lnTo>
                    <a:pt x="576" y="1376"/>
                  </a:lnTo>
                  <a:lnTo>
                    <a:pt x="576" y="1378"/>
                  </a:lnTo>
                  <a:lnTo>
                    <a:pt x="578" y="1378"/>
                  </a:lnTo>
                  <a:lnTo>
                    <a:pt x="578" y="1376"/>
                  </a:lnTo>
                  <a:lnTo>
                    <a:pt x="578" y="1378"/>
                  </a:lnTo>
                  <a:lnTo>
                    <a:pt x="579" y="1379"/>
                  </a:lnTo>
                  <a:lnTo>
                    <a:pt x="579" y="1381"/>
                  </a:lnTo>
                  <a:lnTo>
                    <a:pt x="581" y="1381"/>
                  </a:lnTo>
                  <a:lnTo>
                    <a:pt x="581" y="1383"/>
                  </a:lnTo>
                  <a:lnTo>
                    <a:pt x="583" y="1384"/>
                  </a:lnTo>
                  <a:lnTo>
                    <a:pt x="581" y="1384"/>
                  </a:lnTo>
                  <a:lnTo>
                    <a:pt x="583" y="1384"/>
                  </a:lnTo>
                  <a:lnTo>
                    <a:pt x="581" y="1384"/>
                  </a:lnTo>
                  <a:lnTo>
                    <a:pt x="583" y="1384"/>
                  </a:lnTo>
                  <a:lnTo>
                    <a:pt x="583" y="1383"/>
                  </a:lnTo>
                  <a:lnTo>
                    <a:pt x="584" y="1383"/>
                  </a:lnTo>
                  <a:lnTo>
                    <a:pt x="584" y="1384"/>
                  </a:lnTo>
                  <a:lnTo>
                    <a:pt x="584" y="1386"/>
                  </a:lnTo>
                  <a:lnTo>
                    <a:pt x="583" y="1386"/>
                  </a:lnTo>
                  <a:lnTo>
                    <a:pt x="584" y="1386"/>
                  </a:lnTo>
                  <a:lnTo>
                    <a:pt x="584" y="1388"/>
                  </a:lnTo>
                  <a:lnTo>
                    <a:pt x="583" y="1388"/>
                  </a:lnTo>
                  <a:lnTo>
                    <a:pt x="583" y="1389"/>
                  </a:lnTo>
                  <a:lnTo>
                    <a:pt x="584" y="1389"/>
                  </a:lnTo>
                  <a:lnTo>
                    <a:pt x="584" y="1391"/>
                  </a:lnTo>
                  <a:lnTo>
                    <a:pt x="586" y="1393"/>
                  </a:lnTo>
                  <a:lnTo>
                    <a:pt x="586" y="1394"/>
                  </a:lnTo>
                  <a:lnTo>
                    <a:pt x="588" y="1394"/>
                  </a:lnTo>
                  <a:lnTo>
                    <a:pt x="588" y="1396"/>
                  </a:lnTo>
                  <a:lnTo>
                    <a:pt x="589" y="1396"/>
                  </a:lnTo>
                  <a:lnTo>
                    <a:pt x="589" y="1397"/>
                  </a:lnTo>
                  <a:lnTo>
                    <a:pt x="591" y="1396"/>
                  </a:lnTo>
                  <a:lnTo>
                    <a:pt x="591" y="1397"/>
                  </a:lnTo>
                  <a:lnTo>
                    <a:pt x="592" y="1399"/>
                  </a:lnTo>
                  <a:lnTo>
                    <a:pt x="592" y="1401"/>
                  </a:lnTo>
                  <a:lnTo>
                    <a:pt x="594" y="1399"/>
                  </a:lnTo>
                  <a:lnTo>
                    <a:pt x="592" y="1401"/>
                  </a:lnTo>
                  <a:lnTo>
                    <a:pt x="594" y="1402"/>
                  </a:lnTo>
                  <a:lnTo>
                    <a:pt x="594" y="1404"/>
                  </a:lnTo>
                  <a:lnTo>
                    <a:pt x="594" y="1406"/>
                  </a:lnTo>
                  <a:lnTo>
                    <a:pt x="592" y="1406"/>
                  </a:lnTo>
                  <a:lnTo>
                    <a:pt x="594" y="1406"/>
                  </a:lnTo>
                  <a:lnTo>
                    <a:pt x="592" y="1407"/>
                  </a:lnTo>
                  <a:lnTo>
                    <a:pt x="594" y="1407"/>
                  </a:lnTo>
                  <a:lnTo>
                    <a:pt x="594" y="1406"/>
                  </a:lnTo>
                  <a:lnTo>
                    <a:pt x="596" y="1404"/>
                  </a:lnTo>
                  <a:lnTo>
                    <a:pt x="596" y="1402"/>
                  </a:lnTo>
                  <a:lnTo>
                    <a:pt x="597" y="1404"/>
                  </a:lnTo>
                  <a:lnTo>
                    <a:pt x="597" y="1402"/>
                  </a:lnTo>
                  <a:lnTo>
                    <a:pt x="596" y="1402"/>
                  </a:lnTo>
                  <a:lnTo>
                    <a:pt x="596" y="1401"/>
                  </a:lnTo>
                  <a:lnTo>
                    <a:pt x="596" y="1402"/>
                  </a:lnTo>
                  <a:lnTo>
                    <a:pt x="597" y="1402"/>
                  </a:lnTo>
                  <a:lnTo>
                    <a:pt x="597" y="1401"/>
                  </a:lnTo>
                  <a:lnTo>
                    <a:pt x="597" y="1399"/>
                  </a:lnTo>
                  <a:lnTo>
                    <a:pt x="597" y="1397"/>
                  </a:lnTo>
                  <a:lnTo>
                    <a:pt x="599" y="1397"/>
                  </a:lnTo>
                  <a:lnTo>
                    <a:pt x="599" y="1399"/>
                  </a:lnTo>
                  <a:lnTo>
                    <a:pt x="601" y="1399"/>
                  </a:lnTo>
                  <a:lnTo>
                    <a:pt x="601" y="1397"/>
                  </a:lnTo>
                  <a:lnTo>
                    <a:pt x="602" y="1397"/>
                  </a:lnTo>
                  <a:lnTo>
                    <a:pt x="601" y="1399"/>
                  </a:lnTo>
                  <a:lnTo>
                    <a:pt x="602" y="1397"/>
                  </a:lnTo>
                  <a:lnTo>
                    <a:pt x="602" y="1399"/>
                  </a:lnTo>
                  <a:lnTo>
                    <a:pt x="602" y="1401"/>
                  </a:lnTo>
                  <a:lnTo>
                    <a:pt x="602" y="1402"/>
                  </a:lnTo>
                  <a:lnTo>
                    <a:pt x="604" y="1402"/>
                  </a:lnTo>
                  <a:lnTo>
                    <a:pt x="604" y="1401"/>
                  </a:lnTo>
                  <a:lnTo>
                    <a:pt x="602" y="1401"/>
                  </a:lnTo>
                  <a:lnTo>
                    <a:pt x="604" y="1399"/>
                  </a:lnTo>
                  <a:lnTo>
                    <a:pt x="604" y="1397"/>
                  </a:lnTo>
                  <a:lnTo>
                    <a:pt x="602" y="1397"/>
                  </a:lnTo>
                  <a:lnTo>
                    <a:pt x="601" y="1397"/>
                  </a:lnTo>
                  <a:lnTo>
                    <a:pt x="601" y="1396"/>
                  </a:lnTo>
                  <a:lnTo>
                    <a:pt x="601" y="1394"/>
                  </a:lnTo>
                  <a:lnTo>
                    <a:pt x="599" y="1394"/>
                  </a:lnTo>
                  <a:lnTo>
                    <a:pt x="596" y="1394"/>
                  </a:lnTo>
                  <a:lnTo>
                    <a:pt x="594" y="1394"/>
                  </a:lnTo>
                  <a:lnTo>
                    <a:pt x="592" y="1394"/>
                  </a:lnTo>
                  <a:lnTo>
                    <a:pt x="592" y="1393"/>
                  </a:lnTo>
                  <a:lnTo>
                    <a:pt x="591" y="1393"/>
                  </a:lnTo>
                  <a:lnTo>
                    <a:pt x="591" y="1391"/>
                  </a:lnTo>
                  <a:lnTo>
                    <a:pt x="589" y="1389"/>
                  </a:lnTo>
                  <a:lnTo>
                    <a:pt x="591" y="1389"/>
                  </a:lnTo>
                  <a:lnTo>
                    <a:pt x="591" y="1388"/>
                  </a:lnTo>
                  <a:lnTo>
                    <a:pt x="591" y="1386"/>
                  </a:lnTo>
                  <a:lnTo>
                    <a:pt x="592" y="1386"/>
                  </a:lnTo>
                  <a:lnTo>
                    <a:pt x="592" y="1384"/>
                  </a:lnTo>
                  <a:lnTo>
                    <a:pt x="592" y="1383"/>
                  </a:lnTo>
                  <a:lnTo>
                    <a:pt x="594" y="1381"/>
                  </a:lnTo>
                  <a:lnTo>
                    <a:pt x="596" y="1381"/>
                  </a:lnTo>
                  <a:lnTo>
                    <a:pt x="596" y="1379"/>
                  </a:lnTo>
                  <a:lnTo>
                    <a:pt x="597" y="1381"/>
                  </a:lnTo>
                  <a:lnTo>
                    <a:pt x="599" y="1383"/>
                  </a:lnTo>
                  <a:lnTo>
                    <a:pt x="601" y="1384"/>
                  </a:lnTo>
                  <a:lnTo>
                    <a:pt x="602" y="1386"/>
                  </a:lnTo>
                  <a:lnTo>
                    <a:pt x="604" y="1386"/>
                  </a:lnTo>
                  <a:lnTo>
                    <a:pt x="604" y="1384"/>
                  </a:lnTo>
                  <a:lnTo>
                    <a:pt x="605" y="1384"/>
                  </a:lnTo>
                  <a:lnTo>
                    <a:pt x="607" y="1388"/>
                  </a:lnTo>
                  <a:lnTo>
                    <a:pt x="607" y="1389"/>
                  </a:lnTo>
                  <a:lnTo>
                    <a:pt x="609" y="1389"/>
                  </a:lnTo>
                  <a:lnTo>
                    <a:pt x="607" y="1391"/>
                  </a:lnTo>
                  <a:lnTo>
                    <a:pt x="607" y="1393"/>
                  </a:lnTo>
                  <a:lnTo>
                    <a:pt x="609" y="1394"/>
                  </a:lnTo>
                  <a:lnTo>
                    <a:pt x="610" y="1396"/>
                  </a:lnTo>
                  <a:lnTo>
                    <a:pt x="612" y="1397"/>
                  </a:lnTo>
                  <a:lnTo>
                    <a:pt x="612" y="1396"/>
                  </a:lnTo>
                  <a:lnTo>
                    <a:pt x="612" y="1394"/>
                  </a:lnTo>
                  <a:lnTo>
                    <a:pt x="610" y="1394"/>
                  </a:lnTo>
                  <a:lnTo>
                    <a:pt x="609" y="1393"/>
                  </a:lnTo>
                  <a:lnTo>
                    <a:pt x="609" y="1391"/>
                  </a:lnTo>
                  <a:lnTo>
                    <a:pt x="609" y="1389"/>
                  </a:lnTo>
                  <a:lnTo>
                    <a:pt x="609" y="1386"/>
                  </a:lnTo>
                  <a:lnTo>
                    <a:pt x="609" y="1384"/>
                  </a:lnTo>
                  <a:lnTo>
                    <a:pt x="610" y="1384"/>
                  </a:lnTo>
                  <a:lnTo>
                    <a:pt x="612" y="1384"/>
                  </a:lnTo>
                  <a:lnTo>
                    <a:pt x="612" y="1383"/>
                  </a:lnTo>
                  <a:lnTo>
                    <a:pt x="614" y="1383"/>
                  </a:lnTo>
                  <a:lnTo>
                    <a:pt x="615" y="1383"/>
                  </a:lnTo>
                  <a:lnTo>
                    <a:pt x="617" y="1383"/>
                  </a:lnTo>
                  <a:lnTo>
                    <a:pt x="617" y="1381"/>
                  </a:lnTo>
                  <a:lnTo>
                    <a:pt x="618" y="1381"/>
                  </a:lnTo>
                  <a:lnTo>
                    <a:pt x="620" y="1381"/>
                  </a:lnTo>
                  <a:lnTo>
                    <a:pt x="622" y="1381"/>
                  </a:lnTo>
                  <a:lnTo>
                    <a:pt x="623" y="1381"/>
                  </a:lnTo>
                  <a:lnTo>
                    <a:pt x="625" y="1383"/>
                  </a:lnTo>
                  <a:lnTo>
                    <a:pt x="625" y="1384"/>
                  </a:lnTo>
                  <a:lnTo>
                    <a:pt x="627" y="1386"/>
                  </a:lnTo>
                  <a:lnTo>
                    <a:pt x="627" y="1388"/>
                  </a:lnTo>
                  <a:lnTo>
                    <a:pt x="627" y="1389"/>
                  </a:lnTo>
                  <a:lnTo>
                    <a:pt x="625" y="1389"/>
                  </a:lnTo>
                  <a:lnTo>
                    <a:pt x="627" y="1389"/>
                  </a:lnTo>
                  <a:lnTo>
                    <a:pt x="625" y="1389"/>
                  </a:lnTo>
                  <a:lnTo>
                    <a:pt x="625" y="1393"/>
                  </a:lnTo>
                  <a:lnTo>
                    <a:pt x="627" y="1393"/>
                  </a:lnTo>
                  <a:lnTo>
                    <a:pt x="625" y="1393"/>
                  </a:lnTo>
                  <a:lnTo>
                    <a:pt x="627" y="1394"/>
                  </a:lnTo>
                  <a:lnTo>
                    <a:pt x="625" y="1394"/>
                  </a:lnTo>
                  <a:lnTo>
                    <a:pt x="625" y="1396"/>
                  </a:lnTo>
                  <a:lnTo>
                    <a:pt x="623" y="1396"/>
                  </a:lnTo>
                  <a:lnTo>
                    <a:pt x="623" y="1397"/>
                  </a:lnTo>
                  <a:lnTo>
                    <a:pt x="623" y="1399"/>
                  </a:lnTo>
                  <a:lnTo>
                    <a:pt x="622" y="1401"/>
                  </a:lnTo>
                  <a:lnTo>
                    <a:pt x="622" y="1402"/>
                  </a:lnTo>
                  <a:lnTo>
                    <a:pt x="620" y="1402"/>
                  </a:lnTo>
                  <a:lnTo>
                    <a:pt x="620" y="1404"/>
                  </a:lnTo>
                  <a:lnTo>
                    <a:pt x="618" y="1406"/>
                  </a:lnTo>
                  <a:lnTo>
                    <a:pt x="618" y="1407"/>
                  </a:lnTo>
                  <a:lnTo>
                    <a:pt x="618" y="1409"/>
                  </a:lnTo>
                  <a:lnTo>
                    <a:pt x="620" y="1407"/>
                  </a:lnTo>
                  <a:lnTo>
                    <a:pt x="620" y="1406"/>
                  </a:lnTo>
                  <a:lnTo>
                    <a:pt x="622" y="1404"/>
                  </a:lnTo>
                  <a:lnTo>
                    <a:pt x="623" y="1402"/>
                  </a:lnTo>
                  <a:lnTo>
                    <a:pt x="623" y="1401"/>
                  </a:lnTo>
                  <a:lnTo>
                    <a:pt x="625" y="1401"/>
                  </a:lnTo>
                  <a:lnTo>
                    <a:pt x="625" y="1399"/>
                  </a:lnTo>
                  <a:lnTo>
                    <a:pt x="627" y="1397"/>
                  </a:lnTo>
                  <a:lnTo>
                    <a:pt x="627" y="1396"/>
                  </a:lnTo>
                  <a:lnTo>
                    <a:pt x="628" y="1394"/>
                  </a:lnTo>
                  <a:lnTo>
                    <a:pt x="628" y="1393"/>
                  </a:lnTo>
                  <a:lnTo>
                    <a:pt x="628" y="1391"/>
                  </a:lnTo>
                  <a:lnTo>
                    <a:pt x="627" y="1391"/>
                  </a:lnTo>
                  <a:lnTo>
                    <a:pt x="628" y="1389"/>
                  </a:lnTo>
                  <a:lnTo>
                    <a:pt x="630" y="1391"/>
                  </a:lnTo>
                  <a:lnTo>
                    <a:pt x="631" y="1393"/>
                  </a:lnTo>
                  <a:lnTo>
                    <a:pt x="631" y="1394"/>
                  </a:lnTo>
                  <a:lnTo>
                    <a:pt x="633" y="1394"/>
                  </a:lnTo>
                  <a:lnTo>
                    <a:pt x="633" y="1396"/>
                  </a:lnTo>
                  <a:lnTo>
                    <a:pt x="635" y="1396"/>
                  </a:lnTo>
                  <a:lnTo>
                    <a:pt x="635" y="1397"/>
                  </a:lnTo>
                  <a:lnTo>
                    <a:pt x="635" y="1399"/>
                  </a:lnTo>
                  <a:lnTo>
                    <a:pt x="635" y="1401"/>
                  </a:lnTo>
                  <a:lnTo>
                    <a:pt x="633" y="1401"/>
                  </a:lnTo>
                  <a:lnTo>
                    <a:pt x="635" y="1402"/>
                  </a:lnTo>
                  <a:lnTo>
                    <a:pt x="635" y="1401"/>
                  </a:lnTo>
                  <a:lnTo>
                    <a:pt x="636" y="1399"/>
                  </a:lnTo>
                  <a:lnTo>
                    <a:pt x="638" y="1399"/>
                  </a:lnTo>
                  <a:lnTo>
                    <a:pt x="640" y="1399"/>
                  </a:lnTo>
                  <a:lnTo>
                    <a:pt x="640" y="1401"/>
                  </a:lnTo>
                  <a:lnTo>
                    <a:pt x="640" y="1399"/>
                  </a:lnTo>
                  <a:lnTo>
                    <a:pt x="641" y="1399"/>
                  </a:lnTo>
                  <a:lnTo>
                    <a:pt x="643" y="1399"/>
                  </a:lnTo>
                  <a:lnTo>
                    <a:pt x="643" y="1401"/>
                  </a:lnTo>
                  <a:lnTo>
                    <a:pt x="644" y="1401"/>
                  </a:lnTo>
                  <a:lnTo>
                    <a:pt x="644" y="1399"/>
                  </a:lnTo>
                  <a:lnTo>
                    <a:pt x="646" y="1401"/>
                  </a:lnTo>
                  <a:lnTo>
                    <a:pt x="646" y="1402"/>
                  </a:lnTo>
                  <a:lnTo>
                    <a:pt x="648" y="1402"/>
                  </a:lnTo>
                  <a:lnTo>
                    <a:pt x="648" y="1401"/>
                  </a:lnTo>
                  <a:lnTo>
                    <a:pt x="648" y="1399"/>
                  </a:lnTo>
                  <a:lnTo>
                    <a:pt x="648" y="1401"/>
                  </a:lnTo>
                  <a:lnTo>
                    <a:pt x="649" y="1401"/>
                  </a:lnTo>
                  <a:lnTo>
                    <a:pt x="649" y="1402"/>
                  </a:lnTo>
                  <a:lnTo>
                    <a:pt x="651" y="1402"/>
                  </a:lnTo>
                  <a:lnTo>
                    <a:pt x="651" y="1401"/>
                  </a:lnTo>
                  <a:lnTo>
                    <a:pt x="649" y="1399"/>
                  </a:lnTo>
                  <a:lnTo>
                    <a:pt x="648" y="1399"/>
                  </a:lnTo>
                  <a:lnTo>
                    <a:pt x="646" y="1399"/>
                  </a:lnTo>
                  <a:lnTo>
                    <a:pt x="646" y="1401"/>
                  </a:lnTo>
                  <a:lnTo>
                    <a:pt x="646" y="1399"/>
                  </a:lnTo>
                  <a:lnTo>
                    <a:pt x="644" y="1399"/>
                  </a:lnTo>
                  <a:lnTo>
                    <a:pt x="643" y="1397"/>
                  </a:lnTo>
                  <a:lnTo>
                    <a:pt x="641" y="1397"/>
                  </a:lnTo>
                  <a:lnTo>
                    <a:pt x="640" y="1397"/>
                  </a:lnTo>
                  <a:lnTo>
                    <a:pt x="638" y="1396"/>
                  </a:lnTo>
                  <a:lnTo>
                    <a:pt x="638" y="1394"/>
                  </a:lnTo>
                  <a:lnTo>
                    <a:pt x="636" y="1394"/>
                  </a:lnTo>
                  <a:lnTo>
                    <a:pt x="636" y="1393"/>
                  </a:lnTo>
                  <a:lnTo>
                    <a:pt x="635" y="1393"/>
                  </a:lnTo>
                  <a:lnTo>
                    <a:pt x="635" y="1391"/>
                  </a:lnTo>
                  <a:lnTo>
                    <a:pt x="635" y="1389"/>
                  </a:lnTo>
                  <a:lnTo>
                    <a:pt x="633" y="1389"/>
                  </a:lnTo>
                  <a:lnTo>
                    <a:pt x="633" y="1388"/>
                  </a:lnTo>
                  <a:lnTo>
                    <a:pt x="631" y="1388"/>
                  </a:lnTo>
                  <a:lnTo>
                    <a:pt x="631" y="1386"/>
                  </a:lnTo>
                  <a:lnTo>
                    <a:pt x="630" y="1386"/>
                  </a:lnTo>
                  <a:lnTo>
                    <a:pt x="630" y="1384"/>
                  </a:lnTo>
                  <a:lnTo>
                    <a:pt x="630" y="1383"/>
                  </a:lnTo>
                  <a:lnTo>
                    <a:pt x="628" y="1383"/>
                  </a:lnTo>
                  <a:lnTo>
                    <a:pt x="627" y="1381"/>
                  </a:lnTo>
                  <a:lnTo>
                    <a:pt x="628" y="1381"/>
                  </a:lnTo>
                  <a:lnTo>
                    <a:pt x="627" y="1379"/>
                  </a:lnTo>
                  <a:lnTo>
                    <a:pt x="625" y="1378"/>
                  </a:lnTo>
                  <a:lnTo>
                    <a:pt x="627" y="1378"/>
                  </a:lnTo>
                  <a:lnTo>
                    <a:pt x="628" y="1378"/>
                  </a:lnTo>
                  <a:lnTo>
                    <a:pt x="630" y="1378"/>
                  </a:lnTo>
                  <a:lnTo>
                    <a:pt x="630" y="1379"/>
                  </a:lnTo>
                  <a:lnTo>
                    <a:pt x="630" y="1381"/>
                  </a:lnTo>
                  <a:lnTo>
                    <a:pt x="631" y="1381"/>
                  </a:lnTo>
                  <a:lnTo>
                    <a:pt x="631" y="1383"/>
                  </a:lnTo>
                  <a:lnTo>
                    <a:pt x="633" y="1381"/>
                  </a:lnTo>
                  <a:lnTo>
                    <a:pt x="633" y="1383"/>
                  </a:lnTo>
                  <a:lnTo>
                    <a:pt x="636" y="1383"/>
                  </a:lnTo>
                  <a:lnTo>
                    <a:pt x="636" y="1384"/>
                  </a:lnTo>
                  <a:lnTo>
                    <a:pt x="638" y="1384"/>
                  </a:lnTo>
                  <a:lnTo>
                    <a:pt x="638" y="1383"/>
                  </a:lnTo>
                  <a:lnTo>
                    <a:pt x="638" y="1381"/>
                  </a:lnTo>
                  <a:lnTo>
                    <a:pt x="636" y="1381"/>
                  </a:lnTo>
                  <a:lnTo>
                    <a:pt x="635" y="1379"/>
                  </a:lnTo>
                  <a:lnTo>
                    <a:pt x="631" y="1379"/>
                  </a:lnTo>
                  <a:lnTo>
                    <a:pt x="631" y="1378"/>
                  </a:lnTo>
                  <a:lnTo>
                    <a:pt x="631" y="1376"/>
                  </a:lnTo>
                  <a:lnTo>
                    <a:pt x="630" y="1376"/>
                  </a:lnTo>
                  <a:lnTo>
                    <a:pt x="630" y="1375"/>
                  </a:lnTo>
                  <a:lnTo>
                    <a:pt x="628" y="1375"/>
                  </a:lnTo>
                  <a:lnTo>
                    <a:pt x="628" y="1373"/>
                  </a:lnTo>
                  <a:lnTo>
                    <a:pt x="630" y="1371"/>
                  </a:lnTo>
                  <a:lnTo>
                    <a:pt x="631" y="1371"/>
                  </a:lnTo>
                  <a:lnTo>
                    <a:pt x="633" y="1370"/>
                  </a:lnTo>
                  <a:lnTo>
                    <a:pt x="635" y="1368"/>
                  </a:lnTo>
                  <a:lnTo>
                    <a:pt x="636" y="1368"/>
                  </a:lnTo>
                  <a:lnTo>
                    <a:pt x="638" y="1365"/>
                  </a:lnTo>
                  <a:lnTo>
                    <a:pt x="640" y="1365"/>
                  </a:lnTo>
                  <a:lnTo>
                    <a:pt x="641" y="1365"/>
                  </a:lnTo>
                  <a:lnTo>
                    <a:pt x="643" y="1363"/>
                  </a:lnTo>
                  <a:lnTo>
                    <a:pt x="644" y="1363"/>
                  </a:lnTo>
                  <a:lnTo>
                    <a:pt x="646" y="1362"/>
                  </a:lnTo>
                  <a:lnTo>
                    <a:pt x="646" y="1360"/>
                  </a:lnTo>
                  <a:lnTo>
                    <a:pt x="648" y="1360"/>
                  </a:lnTo>
                  <a:lnTo>
                    <a:pt x="649" y="1360"/>
                  </a:lnTo>
                  <a:lnTo>
                    <a:pt x="651" y="1360"/>
                  </a:lnTo>
                  <a:lnTo>
                    <a:pt x="651" y="1358"/>
                  </a:lnTo>
                  <a:lnTo>
                    <a:pt x="653" y="1358"/>
                  </a:lnTo>
                  <a:lnTo>
                    <a:pt x="654" y="1358"/>
                  </a:lnTo>
                  <a:lnTo>
                    <a:pt x="656" y="1358"/>
                  </a:lnTo>
                  <a:lnTo>
                    <a:pt x="656" y="1360"/>
                  </a:lnTo>
                  <a:lnTo>
                    <a:pt x="656" y="1362"/>
                  </a:lnTo>
                  <a:lnTo>
                    <a:pt x="657" y="1363"/>
                  </a:lnTo>
                  <a:lnTo>
                    <a:pt x="657" y="1365"/>
                  </a:lnTo>
                  <a:lnTo>
                    <a:pt x="659" y="1366"/>
                  </a:lnTo>
                  <a:lnTo>
                    <a:pt x="657" y="1366"/>
                  </a:lnTo>
                  <a:lnTo>
                    <a:pt x="659" y="1368"/>
                  </a:lnTo>
                  <a:lnTo>
                    <a:pt x="659" y="1370"/>
                  </a:lnTo>
                  <a:lnTo>
                    <a:pt x="659" y="1371"/>
                  </a:lnTo>
                  <a:lnTo>
                    <a:pt x="659" y="1373"/>
                  </a:lnTo>
                  <a:lnTo>
                    <a:pt x="659" y="1375"/>
                  </a:lnTo>
                  <a:lnTo>
                    <a:pt x="661" y="1375"/>
                  </a:lnTo>
                  <a:lnTo>
                    <a:pt x="662" y="1376"/>
                  </a:lnTo>
                  <a:lnTo>
                    <a:pt x="662" y="1378"/>
                  </a:lnTo>
                  <a:lnTo>
                    <a:pt x="664" y="1379"/>
                  </a:lnTo>
                  <a:lnTo>
                    <a:pt x="664" y="1381"/>
                  </a:lnTo>
                  <a:lnTo>
                    <a:pt x="662" y="1381"/>
                  </a:lnTo>
                  <a:lnTo>
                    <a:pt x="662" y="1383"/>
                  </a:lnTo>
                  <a:lnTo>
                    <a:pt x="664" y="1383"/>
                  </a:lnTo>
                  <a:lnTo>
                    <a:pt x="664" y="1384"/>
                  </a:lnTo>
                  <a:lnTo>
                    <a:pt x="666" y="1386"/>
                  </a:lnTo>
                  <a:lnTo>
                    <a:pt x="667" y="1388"/>
                  </a:lnTo>
                  <a:lnTo>
                    <a:pt x="667" y="1389"/>
                  </a:lnTo>
                  <a:lnTo>
                    <a:pt x="669" y="1391"/>
                  </a:lnTo>
                  <a:lnTo>
                    <a:pt x="669" y="1393"/>
                  </a:lnTo>
                  <a:lnTo>
                    <a:pt x="667" y="1394"/>
                  </a:lnTo>
                  <a:lnTo>
                    <a:pt x="667" y="1396"/>
                  </a:lnTo>
                  <a:lnTo>
                    <a:pt x="666" y="1396"/>
                  </a:lnTo>
                  <a:lnTo>
                    <a:pt x="666" y="1397"/>
                  </a:lnTo>
                  <a:lnTo>
                    <a:pt x="667" y="1397"/>
                  </a:lnTo>
                  <a:lnTo>
                    <a:pt x="667" y="1396"/>
                  </a:lnTo>
                  <a:lnTo>
                    <a:pt x="669" y="1394"/>
                  </a:lnTo>
                  <a:lnTo>
                    <a:pt x="671" y="1393"/>
                  </a:lnTo>
                  <a:lnTo>
                    <a:pt x="671" y="1389"/>
                  </a:lnTo>
                  <a:lnTo>
                    <a:pt x="669" y="1388"/>
                  </a:lnTo>
                  <a:lnTo>
                    <a:pt x="669" y="1386"/>
                  </a:lnTo>
                  <a:lnTo>
                    <a:pt x="667" y="1384"/>
                  </a:lnTo>
                  <a:lnTo>
                    <a:pt x="671" y="1383"/>
                  </a:lnTo>
                  <a:lnTo>
                    <a:pt x="672" y="1384"/>
                  </a:lnTo>
                  <a:lnTo>
                    <a:pt x="674" y="1384"/>
                  </a:lnTo>
                  <a:lnTo>
                    <a:pt x="674" y="1386"/>
                  </a:lnTo>
                  <a:lnTo>
                    <a:pt x="674" y="1384"/>
                  </a:lnTo>
                  <a:lnTo>
                    <a:pt x="674" y="1383"/>
                  </a:lnTo>
                  <a:lnTo>
                    <a:pt x="672" y="1383"/>
                  </a:lnTo>
                  <a:lnTo>
                    <a:pt x="671" y="1383"/>
                  </a:lnTo>
                  <a:lnTo>
                    <a:pt x="669" y="1383"/>
                  </a:lnTo>
                  <a:lnTo>
                    <a:pt x="666" y="1383"/>
                  </a:lnTo>
                  <a:lnTo>
                    <a:pt x="667" y="1381"/>
                  </a:lnTo>
                  <a:lnTo>
                    <a:pt x="666" y="1379"/>
                  </a:lnTo>
                  <a:lnTo>
                    <a:pt x="666" y="1378"/>
                  </a:lnTo>
                  <a:lnTo>
                    <a:pt x="664" y="1376"/>
                  </a:lnTo>
                  <a:lnTo>
                    <a:pt x="664" y="1375"/>
                  </a:lnTo>
                  <a:lnTo>
                    <a:pt x="664" y="1373"/>
                  </a:lnTo>
                  <a:lnTo>
                    <a:pt x="662" y="1373"/>
                  </a:lnTo>
                  <a:lnTo>
                    <a:pt x="662" y="1371"/>
                  </a:lnTo>
                  <a:lnTo>
                    <a:pt x="662" y="1370"/>
                  </a:lnTo>
                  <a:lnTo>
                    <a:pt x="662" y="1368"/>
                  </a:lnTo>
                  <a:lnTo>
                    <a:pt x="661" y="1368"/>
                  </a:lnTo>
                  <a:lnTo>
                    <a:pt x="661" y="1366"/>
                  </a:lnTo>
                  <a:lnTo>
                    <a:pt x="661" y="1365"/>
                  </a:lnTo>
                  <a:lnTo>
                    <a:pt x="661" y="1363"/>
                  </a:lnTo>
                  <a:lnTo>
                    <a:pt x="659" y="1360"/>
                  </a:lnTo>
                  <a:lnTo>
                    <a:pt x="661" y="1358"/>
                  </a:lnTo>
                  <a:lnTo>
                    <a:pt x="659" y="1357"/>
                  </a:lnTo>
                  <a:lnTo>
                    <a:pt x="661" y="1355"/>
                  </a:lnTo>
                  <a:lnTo>
                    <a:pt x="662" y="1355"/>
                  </a:lnTo>
                  <a:lnTo>
                    <a:pt x="664" y="1355"/>
                  </a:lnTo>
                  <a:lnTo>
                    <a:pt x="666" y="1355"/>
                  </a:lnTo>
                  <a:lnTo>
                    <a:pt x="667" y="1355"/>
                  </a:lnTo>
                  <a:lnTo>
                    <a:pt x="669" y="1357"/>
                  </a:lnTo>
                  <a:lnTo>
                    <a:pt x="669" y="1358"/>
                  </a:lnTo>
                  <a:lnTo>
                    <a:pt x="669" y="1360"/>
                  </a:lnTo>
                  <a:lnTo>
                    <a:pt x="671" y="1360"/>
                  </a:lnTo>
                  <a:lnTo>
                    <a:pt x="671" y="1362"/>
                  </a:lnTo>
                  <a:lnTo>
                    <a:pt x="671" y="1363"/>
                  </a:lnTo>
                  <a:lnTo>
                    <a:pt x="671" y="1365"/>
                  </a:lnTo>
                  <a:lnTo>
                    <a:pt x="671" y="1363"/>
                  </a:lnTo>
                  <a:lnTo>
                    <a:pt x="671" y="1362"/>
                  </a:lnTo>
                  <a:lnTo>
                    <a:pt x="671" y="1360"/>
                  </a:lnTo>
                  <a:lnTo>
                    <a:pt x="671" y="1358"/>
                  </a:lnTo>
                  <a:lnTo>
                    <a:pt x="671" y="1357"/>
                  </a:lnTo>
                  <a:lnTo>
                    <a:pt x="671" y="1355"/>
                  </a:lnTo>
                  <a:lnTo>
                    <a:pt x="671" y="1353"/>
                  </a:lnTo>
                  <a:lnTo>
                    <a:pt x="669" y="1353"/>
                  </a:lnTo>
                  <a:lnTo>
                    <a:pt x="671" y="1353"/>
                  </a:lnTo>
                  <a:lnTo>
                    <a:pt x="671" y="1352"/>
                  </a:lnTo>
                  <a:lnTo>
                    <a:pt x="672" y="1352"/>
                  </a:lnTo>
                  <a:lnTo>
                    <a:pt x="674" y="1350"/>
                  </a:lnTo>
                  <a:lnTo>
                    <a:pt x="675" y="1350"/>
                  </a:lnTo>
                  <a:lnTo>
                    <a:pt x="679" y="1350"/>
                  </a:lnTo>
                  <a:lnTo>
                    <a:pt x="679" y="1349"/>
                  </a:lnTo>
                  <a:lnTo>
                    <a:pt x="680" y="1349"/>
                  </a:lnTo>
                  <a:lnTo>
                    <a:pt x="682" y="1349"/>
                  </a:lnTo>
                  <a:lnTo>
                    <a:pt x="682" y="1350"/>
                  </a:lnTo>
                  <a:lnTo>
                    <a:pt x="684" y="1350"/>
                  </a:lnTo>
                  <a:lnTo>
                    <a:pt x="685" y="1352"/>
                  </a:lnTo>
                  <a:lnTo>
                    <a:pt x="687" y="1350"/>
                  </a:lnTo>
                  <a:lnTo>
                    <a:pt x="688" y="1352"/>
                  </a:lnTo>
                  <a:lnTo>
                    <a:pt x="690" y="1352"/>
                  </a:lnTo>
                  <a:lnTo>
                    <a:pt x="692" y="1352"/>
                  </a:lnTo>
                  <a:lnTo>
                    <a:pt x="692" y="1353"/>
                  </a:lnTo>
                  <a:lnTo>
                    <a:pt x="693" y="1355"/>
                  </a:lnTo>
                  <a:lnTo>
                    <a:pt x="693" y="1357"/>
                  </a:lnTo>
                  <a:lnTo>
                    <a:pt x="692" y="1358"/>
                  </a:lnTo>
                  <a:lnTo>
                    <a:pt x="692" y="1360"/>
                  </a:lnTo>
                  <a:lnTo>
                    <a:pt x="692" y="1362"/>
                  </a:lnTo>
                  <a:lnTo>
                    <a:pt x="692" y="1363"/>
                  </a:lnTo>
                  <a:lnTo>
                    <a:pt x="693" y="1363"/>
                  </a:lnTo>
                  <a:lnTo>
                    <a:pt x="693" y="1365"/>
                  </a:lnTo>
                  <a:lnTo>
                    <a:pt x="693" y="1366"/>
                  </a:lnTo>
                  <a:lnTo>
                    <a:pt x="693" y="1368"/>
                  </a:lnTo>
                  <a:lnTo>
                    <a:pt x="695" y="1368"/>
                  </a:lnTo>
                  <a:lnTo>
                    <a:pt x="695" y="1370"/>
                  </a:lnTo>
                  <a:lnTo>
                    <a:pt x="695" y="1371"/>
                  </a:lnTo>
                  <a:lnTo>
                    <a:pt x="697" y="1371"/>
                  </a:lnTo>
                  <a:lnTo>
                    <a:pt x="697" y="1373"/>
                  </a:lnTo>
                  <a:lnTo>
                    <a:pt x="698" y="1373"/>
                  </a:lnTo>
                  <a:lnTo>
                    <a:pt x="698" y="1375"/>
                  </a:lnTo>
                  <a:lnTo>
                    <a:pt x="698" y="1376"/>
                  </a:lnTo>
                  <a:lnTo>
                    <a:pt x="698" y="1378"/>
                  </a:lnTo>
                  <a:lnTo>
                    <a:pt x="698" y="1379"/>
                  </a:lnTo>
                  <a:lnTo>
                    <a:pt x="698" y="1381"/>
                  </a:lnTo>
                  <a:lnTo>
                    <a:pt x="698" y="1383"/>
                  </a:lnTo>
                  <a:lnTo>
                    <a:pt x="698" y="1384"/>
                  </a:lnTo>
                  <a:lnTo>
                    <a:pt x="698" y="1386"/>
                  </a:lnTo>
                  <a:lnTo>
                    <a:pt x="698" y="1388"/>
                  </a:lnTo>
                  <a:lnTo>
                    <a:pt x="698" y="1389"/>
                  </a:lnTo>
                  <a:lnTo>
                    <a:pt x="697" y="1389"/>
                  </a:lnTo>
                  <a:lnTo>
                    <a:pt x="697" y="1391"/>
                  </a:lnTo>
                  <a:lnTo>
                    <a:pt x="695" y="1391"/>
                  </a:lnTo>
                  <a:lnTo>
                    <a:pt x="693" y="1393"/>
                  </a:lnTo>
                  <a:lnTo>
                    <a:pt x="693" y="1394"/>
                  </a:lnTo>
                  <a:lnTo>
                    <a:pt x="693" y="1396"/>
                  </a:lnTo>
                  <a:lnTo>
                    <a:pt x="692" y="1397"/>
                  </a:lnTo>
                  <a:lnTo>
                    <a:pt x="690" y="1399"/>
                  </a:lnTo>
                  <a:lnTo>
                    <a:pt x="688" y="1401"/>
                  </a:lnTo>
                  <a:lnTo>
                    <a:pt x="688" y="1402"/>
                  </a:lnTo>
                  <a:lnTo>
                    <a:pt x="688" y="1401"/>
                  </a:lnTo>
                  <a:lnTo>
                    <a:pt x="690" y="1401"/>
                  </a:lnTo>
                  <a:lnTo>
                    <a:pt x="692" y="1399"/>
                  </a:lnTo>
                  <a:lnTo>
                    <a:pt x="693" y="1399"/>
                  </a:lnTo>
                  <a:lnTo>
                    <a:pt x="695" y="1399"/>
                  </a:lnTo>
                  <a:lnTo>
                    <a:pt x="697" y="1401"/>
                  </a:lnTo>
                  <a:lnTo>
                    <a:pt x="698" y="1402"/>
                  </a:lnTo>
                  <a:lnTo>
                    <a:pt x="700" y="1402"/>
                  </a:lnTo>
                  <a:lnTo>
                    <a:pt x="701" y="1401"/>
                  </a:lnTo>
                  <a:lnTo>
                    <a:pt x="703" y="1401"/>
                  </a:lnTo>
                  <a:lnTo>
                    <a:pt x="705" y="1399"/>
                  </a:lnTo>
                  <a:lnTo>
                    <a:pt x="705" y="1397"/>
                  </a:lnTo>
                  <a:lnTo>
                    <a:pt x="706" y="1397"/>
                  </a:lnTo>
                  <a:lnTo>
                    <a:pt x="708" y="1397"/>
                  </a:lnTo>
                  <a:lnTo>
                    <a:pt x="708" y="1399"/>
                  </a:lnTo>
                  <a:lnTo>
                    <a:pt x="710" y="1399"/>
                  </a:lnTo>
                  <a:lnTo>
                    <a:pt x="710" y="1401"/>
                  </a:lnTo>
                  <a:lnTo>
                    <a:pt x="711" y="1401"/>
                  </a:lnTo>
                  <a:lnTo>
                    <a:pt x="711" y="1399"/>
                  </a:lnTo>
                  <a:lnTo>
                    <a:pt x="710" y="1399"/>
                  </a:lnTo>
                  <a:lnTo>
                    <a:pt x="710" y="1397"/>
                  </a:lnTo>
                  <a:lnTo>
                    <a:pt x="708" y="1397"/>
                  </a:lnTo>
                  <a:lnTo>
                    <a:pt x="706" y="1396"/>
                  </a:lnTo>
                  <a:lnTo>
                    <a:pt x="705" y="1396"/>
                  </a:lnTo>
                  <a:lnTo>
                    <a:pt x="705" y="1397"/>
                  </a:lnTo>
                  <a:lnTo>
                    <a:pt x="705" y="1399"/>
                  </a:lnTo>
                  <a:lnTo>
                    <a:pt x="703" y="1399"/>
                  </a:lnTo>
                  <a:lnTo>
                    <a:pt x="701" y="1401"/>
                  </a:lnTo>
                  <a:lnTo>
                    <a:pt x="700" y="1401"/>
                  </a:lnTo>
                  <a:lnTo>
                    <a:pt x="698" y="1401"/>
                  </a:lnTo>
                  <a:lnTo>
                    <a:pt x="697" y="1399"/>
                  </a:lnTo>
                  <a:lnTo>
                    <a:pt x="697" y="1397"/>
                  </a:lnTo>
                  <a:lnTo>
                    <a:pt x="695" y="1397"/>
                  </a:lnTo>
                  <a:lnTo>
                    <a:pt x="695" y="1396"/>
                  </a:lnTo>
                  <a:lnTo>
                    <a:pt x="697" y="1394"/>
                  </a:lnTo>
                  <a:lnTo>
                    <a:pt x="697" y="1393"/>
                  </a:lnTo>
                  <a:lnTo>
                    <a:pt x="698" y="1393"/>
                  </a:lnTo>
                  <a:lnTo>
                    <a:pt x="700" y="1391"/>
                  </a:lnTo>
                  <a:lnTo>
                    <a:pt x="700" y="1389"/>
                  </a:lnTo>
                  <a:lnTo>
                    <a:pt x="700" y="1388"/>
                  </a:lnTo>
                  <a:lnTo>
                    <a:pt x="700" y="1386"/>
                  </a:lnTo>
                  <a:lnTo>
                    <a:pt x="700" y="1384"/>
                  </a:lnTo>
                  <a:lnTo>
                    <a:pt x="701" y="1383"/>
                  </a:lnTo>
                  <a:lnTo>
                    <a:pt x="701" y="1381"/>
                  </a:lnTo>
                  <a:lnTo>
                    <a:pt x="700" y="1381"/>
                  </a:lnTo>
                  <a:lnTo>
                    <a:pt x="700" y="1379"/>
                  </a:lnTo>
                  <a:lnTo>
                    <a:pt x="700" y="1376"/>
                  </a:lnTo>
                  <a:lnTo>
                    <a:pt x="700" y="1375"/>
                  </a:lnTo>
                  <a:lnTo>
                    <a:pt x="701" y="1375"/>
                  </a:lnTo>
                  <a:lnTo>
                    <a:pt x="703" y="1375"/>
                  </a:lnTo>
                  <a:lnTo>
                    <a:pt x="705" y="1375"/>
                  </a:lnTo>
                  <a:lnTo>
                    <a:pt x="706" y="1375"/>
                  </a:lnTo>
                  <a:lnTo>
                    <a:pt x="708" y="1375"/>
                  </a:lnTo>
                  <a:lnTo>
                    <a:pt x="710" y="1376"/>
                  </a:lnTo>
                  <a:lnTo>
                    <a:pt x="711" y="1376"/>
                  </a:lnTo>
                  <a:lnTo>
                    <a:pt x="713" y="1376"/>
                  </a:lnTo>
                  <a:lnTo>
                    <a:pt x="713" y="1378"/>
                  </a:lnTo>
                  <a:lnTo>
                    <a:pt x="714" y="1378"/>
                  </a:lnTo>
                  <a:lnTo>
                    <a:pt x="714" y="1376"/>
                  </a:lnTo>
                  <a:lnTo>
                    <a:pt x="714" y="1375"/>
                  </a:lnTo>
                  <a:lnTo>
                    <a:pt x="716" y="1375"/>
                  </a:lnTo>
                  <a:lnTo>
                    <a:pt x="716" y="1373"/>
                  </a:lnTo>
                  <a:lnTo>
                    <a:pt x="716" y="1375"/>
                  </a:lnTo>
                  <a:lnTo>
                    <a:pt x="718" y="1375"/>
                  </a:lnTo>
                  <a:lnTo>
                    <a:pt x="719" y="1375"/>
                  </a:lnTo>
                  <a:lnTo>
                    <a:pt x="719" y="1373"/>
                  </a:lnTo>
                  <a:lnTo>
                    <a:pt x="721" y="1373"/>
                  </a:lnTo>
                  <a:lnTo>
                    <a:pt x="721" y="1375"/>
                  </a:lnTo>
                  <a:lnTo>
                    <a:pt x="723" y="1376"/>
                  </a:lnTo>
                  <a:lnTo>
                    <a:pt x="724" y="1378"/>
                  </a:lnTo>
                  <a:lnTo>
                    <a:pt x="724" y="1379"/>
                  </a:lnTo>
                  <a:lnTo>
                    <a:pt x="726" y="1379"/>
                  </a:lnTo>
                  <a:lnTo>
                    <a:pt x="726" y="1381"/>
                  </a:lnTo>
                  <a:lnTo>
                    <a:pt x="726" y="1379"/>
                  </a:lnTo>
                  <a:lnTo>
                    <a:pt x="727" y="1379"/>
                  </a:lnTo>
                  <a:lnTo>
                    <a:pt x="727" y="1378"/>
                  </a:lnTo>
                  <a:lnTo>
                    <a:pt x="726" y="1378"/>
                  </a:lnTo>
                  <a:lnTo>
                    <a:pt x="724" y="1376"/>
                  </a:lnTo>
                  <a:lnTo>
                    <a:pt x="723" y="1375"/>
                  </a:lnTo>
                  <a:lnTo>
                    <a:pt x="723" y="1373"/>
                  </a:lnTo>
                  <a:lnTo>
                    <a:pt x="721" y="1373"/>
                  </a:lnTo>
                  <a:lnTo>
                    <a:pt x="719" y="1373"/>
                  </a:lnTo>
                  <a:lnTo>
                    <a:pt x="718" y="1373"/>
                  </a:lnTo>
                  <a:lnTo>
                    <a:pt x="716" y="1371"/>
                  </a:lnTo>
                  <a:lnTo>
                    <a:pt x="714" y="1371"/>
                  </a:lnTo>
                  <a:lnTo>
                    <a:pt x="713" y="1373"/>
                  </a:lnTo>
                  <a:lnTo>
                    <a:pt x="711" y="1373"/>
                  </a:lnTo>
                  <a:lnTo>
                    <a:pt x="710" y="1373"/>
                  </a:lnTo>
                  <a:lnTo>
                    <a:pt x="708" y="1371"/>
                  </a:lnTo>
                  <a:lnTo>
                    <a:pt x="706" y="1371"/>
                  </a:lnTo>
                  <a:lnTo>
                    <a:pt x="705" y="1371"/>
                  </a:lnTo>
                  <a:lnTo>
                    <a:pt x="705" y="1370"/>
                  </a:lnTo>
                  <a:lnTo>
                    <a:pt x="703" y="1370"/>
                  </a:lnTo>
                  <a:lnTo>
                    <a:pt x="701" y="1370"/>
                  </a:lnTo>
                  <a:lnTo>
                    <a:pt x="698" y="1370"/>
                  </a:lnTo>
                  <a:lnTo>
                    <a:pt x="698" y="1368"/>
                  </a:lnTo>
                  <a:lnTo>
                    <a:pt x="697" y="1368"/>
                  </a:lnTo>
                  <a:lnTo>
                    <a:pt x="697" y="1366"/>
                  </a:lnTo>
                  <a:lnTo>
                    <a:pt x="697" y="1365"/>
                  </a:lnTo>
                  <a:lnTo>
                    <a:pt x="695" y="1363"/>
                  </a:lnTo>
                  <a:lnTo>
                    <a:pt x="695" y="1362"/>
                  </a:lnTo>
                  <a:lnTo>
                    <a:pt x="695" y="1360"/>
                  </a:lnTo>
                  <a:lnTo>
                    <a:pt x="697" y="1360"/>
                  </a:lnTo>
                  <a:lnTo>
                    <a:pt x="698" y="1360"/>
                  </a:lnTo>
                  <a:lnTo>
                    <a:pt x="698" y="1358"/>
                  </a:lnTo>
                  <a:lnTo>
                    <a:pt x="697" y="1358"/>
                  </a:lnTo>
                  <a:lnTo>
                    <a:pt x="697" y="1357"/>
                  </a:lnTo>
                  <a:lnTo>
                    <a:pt x="695" y="1357"/>
                  </a:lnTo>
                  <a:lnTo>
                    <a:pt x="695" y="1355"/>
                  </a:lnTo>
                  <a:lnTo>
                    <a:pt x="695" y="1353"/>
                  </a:lnTo>
                  <a:lnTo>
                    <a:pt x="695" y="1352"/>
                  </a:lnTo>
                  <a:lnTo>
                    <a:pt x="693" y="1352"/>
                  </a:lnTo>
                  <a:lnTo>
                    <a:pt x="693" y="1350"/>
                  </a:lnTo>
                  <a:lnTo>
                    <a:pt x="692" y="1350"/>
                  </a:lnTo>
                  <a:lnTo>
                    <a:pt x="692" y="1349"/>
                  </a:lnTo>
                  <a:lnTo>
                    <a:pt x="692" y="1347"/>
                  </a:lnTo>
                  <a:lnTo>
                    <a:pt x="690" y="1347"/>
                  </a:lnTo>
                  <a:lnTo>
                    <a:pt x="688" y="1347"/>
                  </a:lnTo>
                  <a:lnTo>
                    <a:pt x="687" y="1347"/>
                  </a:lnTo>
                  <a:lnTo>
                    <a:pt x="685" y="1347"/>
                  </a:lnTo>
                  <a:lnTo>
                    <a:pt x="684" y="1347"/>
                  </a:lnTo>
                  <a:lnTo>
                    <a:pt x="685" y="1347"/>
                  </a:lnTo>
                  <a:lnTo>
                    <a:pt x="687" y="1345"/>
                  </a:lnTo>
                  <a:lnTo>
                    <a:pt x="687" y="1344"/>
                  </a:lnTo>
                  <a:lnTo>
                    <a:pt x="685" y="1344"/>
                  </a:lnTo>
                  <a:lnTo>
                    <a:pt x="684" y="1345"/>
                  </a:lnTo>
                  <a:lnTo>
                    <a:pt x="682" y="1345"/>
                  </a:lnTo>
                  <a:lnTo>
                    <a:pt x="680" y="1345"/>
                  </a:lnTo>
                  <a:lnTo>
                    <a:pt x="680" y="1344"/>
                  </a:lnTo>
                  <a:lnTo>
                    <a:pt x="682" y="1344"/>
                  </a:lnTo>
                  <a:lnTo>
                    <a:pt x="682" y="1342"/>
                  </a:lnTo>
                  <a:lnTo>
                    <a:pt x="680" y="1344"/>
                  </a:lnTo>
                  <a:lnTo>
                    <a:pt x="679" y="1344"/>
                  </a:lnTo>
                  <a:lnTo>
                    <a:pt x="679" y="1345"/>
                  </a:lnTo>
                  <a:lnTo>
                    <a:pt x="677" y="1345"/>
                  </a:lnTo>
                  <a:lnTo>
                    <a:pt x="677" y="1347"/>
                  </a:lnTo>
                  <a:lnTo>
                    <a:pt x="675" y="1347"/>
                  </a:lnTo>
                  <a:lnTo>
                    <a:pt x="675" y="1345"/>
                  </a:lnTo>
                  <a:lnTo>
                    <a:pt x="674" y="1345"/>
                  </a:lnTo>
                  <a:lnTo>
                    <a:pt x="674" y="1347"/>
                  </a:lnTo>
                  <a:lnTo>
                    <a:pt x="672" y="1347"/>
                  </a:lnTo>
                  <a:lnTo>
                    <a:pt x="672" y="1349"/>
                  </a:lnTo>
                  <a:lnTo>
                    <a:pt x="671" y="1349"/>
                  </a:lnTo>
                  <a:lnTo>
                    <a:pt x="669" y="1350"/>
                  </a:lnTo>
                  <a:lnTo>
                    <a:pt x="667" y="1350"/>
                  </a:lnTo>
                  <a:lnTo>
                    <a:pt x="666" y="1350"/>
                  </a:lnTo>
                  <a:lnTo>
                    <a:pt x="664" y="1350"/>
                  </a:lnTo>
                  <a:lnTo>
                    <a:pt x="662" y="1350"/>
                  </a:lnTo>
                  <a:lnTo>
                    <a:pt x="661" y="1350"/>
                  </a:lnTo>
                  <a:lnTo>
                    <a:pt x="659" y="1350"/>
                  </a:lnTo>
                  <a:lnTo>
                    <a:pt x="659" y="1352"/>
                  </a:lnTo>
                  <a:lnTo>
                    <a:pt x="657" y="1352"/>
                  </a:lnTo>
                  <a:lnTo>
                    <a:pt x="659" y="1352"/>
                  </a:lnTo>
                  <a:lnTo>
                    <a:pt x="659" y="1350"/>
                  </a:lnTo>
                  <a:lnTo>
                    <a:pt x="657" y="1350"/>
                  </a:lnTo>
                  <a:lnTo>
                    <a:pt x="656" y="1350"/>
                  </a:lnTo>
                  <a:lnTo>
                    <a:pt x="657" y="1352"/>
                  </a:lnTo>
                  <a:lnTo>
                    <a:pt x="656" y="1352"/>
                  </a:lnTo>
                  <a:lnTo>
                    <a:pt x="654" y="1352"/>
                  </a:lnTo>
                  <a:lnTo>
                    <a:pt x="654" y="1353"/>
                  </a:lnTo>
                  <a:lnTo>
                    <a:pt x="653" y="1353"/>
                  </a:lnTo>
                  <a:lnTo>
                    <a:pt x="651" y="1353"/>
                  </a:lnTo>
                  <a:lnTo>
                    <a:pt x="649" y="1353"/>
                  </a:lnTo>
                  <a:lnTo>
                    <a:pt x="648" y="1353"/>
                  </a:lnTo>
                  <a:lnTo>
                    <a:pt x="646" y="1353"/>
                  </a:lnTo>
                  <a:lnTo>
                    <a:pt x="644" y="1355"/>
                  </a:lnTo>
                  <a:lnTo>
                    <a:pt x="643" y="1355"/>
                  </a:lnTo>
                  <a:lnTo>
                    <a:pt x="640" y="1353"/>
                  </a:lnTo>
                  <a:lnTo>
                    <a:pt x="638" y="1352"/>
                  </a:lnTo>
                  <a:lnTo>
                    <a:pt x="636" y="1350"/>
                  </a:lnTo>
                  <a:lnTo>
                    <a:pt x="636" y="1349"/>
                  </a:lnTo>
                  <a:lnTo>
                    <a:pt x="636" y="1347"/>
                  </a:lnTo>
                  <a:lnTo>
                    <a:pt x="640" y="1349"/>
                  </a:lnTo>
                  <a:lnTo>
                    <a:pt x="641" y="1349"/>
                  </a:lnTo>
                  <a:lnTo>
                    <a:pt x="643" y="1349"/>
                  </a:lnTo>
                  <a:lnTo>
                    <a:pt x="644" y="1349"/>
                  </a:lnTo>
                  <a:lnTo>
                    <a:pt x="644" y="1347"/>
                  </a:lnTo>
                  <a:lnTo>
                    <a:pt x="646" y="1347"/>
                  </a:lnTo>
                  <a:lnTo>
                    <a:pt x="648" y="1347"/>
                  </a:lnTo>
                  <a:lnTo>
                    <a:pt x="648" y="1349"/>
                  </a:lnTo>
                  <a:lnTo>
                    <a:pt x="649" y="1349"/>
                  </a:lnTo>
                  <a:lnTo>
                    <a:pt x="649" y="1347"/>
                  </a:lnTo>
                  <a:lnTo>
                    <a:pt x="651" y="1349"/>
                  </a:lnTo>
                  <a:lnTo>
                    <a:pt x="653" y="1349"/>
                  </a:lnTo>
                  <a:lnTo>
                    <a:pt x="651" y="1349"/>
                  </a:lnTo>
                  <a:lnTo>
                    <a:pt x="651" y="1350"/>
                  </a:lnTo>
                  <a:lnTo>
                    <a:pt x="653" y="1350"/>
                  </a:lnTo>
                  <a:lnTo>
                    <a:pt x="654" y="1350"/>
                  </a:lnTo>
                  <a:lnTo>
                    <a:pt x="656" y="1350"/>
                  </a:lnTo>
                  <a:lnTo>
                    <a:pt x="656" y="1349"/>
                  </a:lnTo>
                  <a:lnTo>
                    <a:pt x="656" y="1347"/>
                  </a:lnTo>
                  <a:lnTo>
                    <a:pt x="656" y="1345"/>
                  </a:lnTo>
                  <a:lnTo>
                    <a:pt x="653" y="1345"/>
                  </a:lnTo>
                  <a:lnTo>
                    <a:pt x="649" y="1345"/>
                  </a:lnTo>
                  <a:lnTo>
                    <a:pt x="649" y="1344"/>
                  </a:lnTo>
                  <a:lnTo>
                    <a:pt x="648" y="1345"/>
                  </a:lnTo>
                  <a:lnTo>
                    <a:pt x="648" y="1344"/>
                  </a:lnTo>
                  <a:lnTo>
                    <a:pt x="646" y="1344"/>
                  </a:lnTo>
                  <a:lnTo>
                    <a:pt x="644" y="1344"/>
                  </a:lnTo>
                  <a:lnTo>
                    <a:pt x="643" y="1344"/>
                  </a:lnTo>
                  <a:lnTo>
                    <a:pt x="641" y="1344"/>
                  </a:lnTo>
                  <a:lnTo>
                    <a:pt x="640" y="1344"/>
                  </a:lnTo>
                  <a:lnTo>
                    <a:pt x="641" y="1344"/>
                  </a:lnTo>
                  <a:lnTo>
                    <a:pt x="641" y="1345"/>
                  </a:lnTo>
                  <a:lnTo>
                    <a:pt x="643" y="1345"/>
                  </a:lnTo>
                  <a:lnTo>
                    <a:pt x="644" y="1345"/>
                  </a:lnTo>
                  <a:lnTo>
                    <a:pt x="643" y="1345"/>
                  </a:lnTo>
                  <a:lnTo>
                    <a:pt x="641" y="1345"/>
                  </a:lnTo>
                  <a:lnTo>
                    <a:pt x="640" y="1345"/>
                  </a:lnTo>
                  <a:lnTo>
                    <a:pt x="638" y="1345"/>
                  </a:lnTo>
                  <a:lnTo>
                    <a:pt x="640" y="1344"/>
                  </a:lnTo>
                  <a:lnTo>
                    <a:pt x="638" y="1344"/>
                  </a:lnTo>
                  <a:lnTo>
                    <a:pt x="640" y="1344"/>
                  </a:lnTo>
                  <a:lnTo>
                    <a:pt x="641" y="1344"/>
                  </a:lnTo>
                  <a:lnTo>
                    <a:pt x="643" y="1344"/>
                  </a:lnTo>
                  <a:lnTo>
                    <a:pt x="643" y="1342"/>
                  </a:lnTo>
                  <a:lnTo>
                    <a:pt x="644" y="1342"/>
                  </a:lnTo>
                  <a:lnTo>
                    <a:pt x="646" y="1342"/>
                  </a:lnTo>
                  <a:lnTo>
                    <a:pt x="648" y="1342"/>
                  </a:lnTo>
                  <a:lnTo>
                    <a:pt x="649" y="1342"/>
                  </a:lnTo>
                  <a:lnTo>
                    <a:pt x="649" y="1344"/>
                  </a:lnTo>
                  <a:lnTo>
                    <a:pt x="651" y="1344"/>
                  </a:lnTo>
                  <a:lnTo>
                    <a:pt x="649" y="1344"/>
                  </a:lnTo>
                  <a:lnTo>
                    <a:pt x="651" y="1344"/>
                  </a:lnTo>
                  <a:lnTo>
                    <a:pt x="653" y="1344"/>
                  </a:lnTo>
                  <a:lnTo>
                    <a:pt x="654" y="1344"/>
                  </a:lnTo>
                  <a:lnTo>
                    <a:pt x="656" y="1344"/>
                  </a:lnTo>
                  <a:lnTo>
                    <a:pt x="657" y="1344"/>
                  </a:lnTo>
                  <a:lnTo>
                    <a:pt x="657" y="1342"/>
                  </a:lnTo>
                  <a:lnTo>
                    <a:pt x="659" y="1342"/>
                  </a:lnTo>
                  <a:lnTo>
                    <a:pt x="661" y="1342"/>
                  </a:lnTo>
                  <a:lnTo>
                    <a:pt x="662" y="1342"/>
                  </a:lnTo>
                  <a:lnTo>
                    <a:pt x="664" y="1340"/>
                  </a:lnTo>
                  <a:lnTo>
                    <a:pt x="666" y="1340"/>
                  </a:lnTo>
                  <a:lnTo>
                    <a:pt x="667" y="1340"/>
                  </a:lnTo>
                  <a:lnTo>
                    <a:pt x="669" y="1339"/>
                  </a:lnTo>
                  <a:lnTo>
                    <a:pt x="669" y="1340"/>
                  </a:lnTo>
                  <a:lnTo>
                    <a:pt x="667" y="1340"/>
                  </a:lnTo>
                  <a:lnTo>
                    <a:pt x="669" y="1340"/>
                  </a:lnTo>
                  <a:lnTo>
                    <a:pt x="671" y="1340"/>
                  </a:lnTo>
                  <a:lnTo>
                    <a:pt x="671" y="1342"/>
                  </a:lnTo>
                  <a:lnTo>
                    <a:pt x="672" y="1340"/>
                  </a:lnTo>
                  <a:lnTo>
                    <a:pt x="674" y="1342"/>
                  </a:lnTo>
                  <a:lnTo>
                    <a:pt x="674" y="1340"/>
                  </a:lnTo>
                  <a:lnTo>
                    <a:pt x="674" y="1339"/>
                  </a:lnTo>
                  <a:lnTo>
                    <a:pt x="675" y="1339"/>
                  </a:lnTo>
                  <a:lnTo>
                    <a:pt x="674" y="1337"/>
                  </a:lnTo>
                  <a:lnTo>
                    <a:pt x="672" y="1337"/>
                  </a:lnTo>
                  <a:lnTo>
                    <a:pt x="669" y="1339"/>
                  </a:lnTo>
                  <a:lnTo>
                    <a:pt x="667" y="1339"/>
                  </a:lnTo>
                  <a:lnTo>
                    <a:pt x="666" y="1339"/>
                  </a:lnTo>
                  <a:lnTo>
                    <a:pt x="664" y="1339"/>
                  </a:lnTo>
                  <a:lnTo>
                    <a:pt x="664" y="1337"/>
                  </a:lnTo>
                  <a:lnTo>
                    <a:pt x="666" y="1337"/>
                  </a:lnTo>
                  <a:lnTo>
                    <a:pt x="667" y="1337"/>
                  </a:lnTo>
                  <a:lnTo>
                    <a:pt x="671" y="1337"/>
                  </a:lnTo>
                  <a:lnTo>
                    <a:pt x="672" y="1337"/>
                  </a:lnTo>
                  <a:lnTo>
                    <a:pt x="672" y="1336"/>
                  </a:lnTo>
                  <a:lnTo>
                    <a:pt x="671" y="1334"/>
                  </a:lnTo>
                  <a:lnTo>
                    <a:pt x="669" y="1334"/>
                  </a:lnTo>
                  <a:lnTo>
                    <a:pt x="669" y="1336"/>
                  </a:lnTo>
                  <a:lnTo>
                    <a:pt x="667" y="1336"/>
                  </a:lnTo>
                  <a:lnTo>
                    <a:pt x="666" y="1336"/>
                  </a:lnTo>
                  <a:lnTo>
                    <a:pt x="664" y="1336"/>
                  </a:lnTo>
                  <a:lnTo>
                    <a:pt x="661" y="1336"/>
                  </a:lnTo>
                  <a:lnTo>
                    <a:pt x="659" y="1336"/>
                  </a:lnTo>
                  <a:lnTo>
                    <a:pt x="657" y="1336"/>
                  </a:lnTo>
                  <a:lnTo>
                    <a:pt x="654" y="1336"/>
                  </a:lnTo>
                  <a:lnTo>
                    <a:pt x="653" y="1336"/>
                  </a:lnTo>
                  <a:lnTo>
                    <a:pt x="651" y="1336"/>
                  </a:lnTo>
                  <a:lnTo>
                    <a:pt x="649" y="1336"/>
                  </a:lnTo>
                  <a:lnTo>
                    <a:pt x="651" y="1336"/>
                  </a:lnTo>
                  <a:lnTo>
                    <a:pt x="653" y="1334"/>
                  </a:lnTo>
                  <a:lnTo>
                    <a:pt x="651" y="1332"/>
                  </a:lnTo>
                  <a:lnTo>
                    <a:pt x="653" y="1332"/>
                  </a:lnTo>
                  <a:lnTo>
                    <a:pt x="651" y="1332"/>
                  </a:lnTo>
                  <a:lnTo>
                    <a:pt x="653" y="1331"/>
                  </a:lnTo>
                  <a:lnTo>
                    <a:pt x="651" y="1331"/>
                  </a:lnTo>
                  <a:lnTo>
                    <a:pt x="651" y="1329"/>
                  </a:lnTo>
                  <a:lnTo>
                    <a:pt x="651" y="1327"/>
                  </a:lnTo>
                  <a:lnTo>
                    <a:pt x="653" y="1327"/>
                  </a:lnTo>
                  <a:lnTo>
                    <a:pt x="653" y="1326"/>
                  </a:lnTo>
                  <a:lnTo>
                    <a:pt x="654" y="1326"/>
                  </a:lnTo>
                  <a:lnTo>
                    <a:pt x="656" y="1324"/>
                  </a:lnTo>
                  <a:lnTo>
                    <a:pt x="657" y="1324"/>
                  </a:lnTo>
                  <a:lnTo>
                    <a:pt x="659" y="1324"/>
                  </a:lnTo>
                  <a:lnTo>
                    <a:pt x="659" y="1326"/>
                  </a:lnTo>
                  <a:lnTo>
                    <a:pt x="661" y="1324"/>
                  </a:lnTo>
                  <a:lnTo>
                    <a:pt x="662" y="1324"/>
                  </a:lnTo>
                  <a:lnTo>
                    <a:pt x="664" y="1324"/>
                  </a:lnTo>
                  <a:lnTo>
                    <a:pt x="664" y="1326"/>
                  </a:lnTo>
                  <a:lnTo>
                    <a:pt x="664" y="1324"/>
                  </a:lnTo>
                  <a:lnTo>
                    <a:pt x="664" y="1327"/>
                  </a:lnTo>
                  <a:lnTo>
                    <a:pt x="664" y="1329"/>
                  </a:lnTo>
                  <a:lnTo>
                    <a:pt x="664" y="1331"/>
                  </a:lnTo>
                  <a:lnTo>
                    <a:pt x="664" y="1329"/>
                  </a:lnTo>
                  <a:lnTo>
                    <a:pt x="666" y="1329"/>
                  </a:lnTo>
                  <a:lnTo>
                    <a:pt x="664" y="1327"/>
                  </a:lnTo>
                  <a:lnTo>
                    <a:pt x="666" y="1327"/>
                  </a:lnTo>
                  <a:lnTo>
                    <a:pt x="666" y="1326"/>
                  </a:lnTo>
                  <a:lnTo>
                    <a:pt x="664" y="1324"/>
                  </a:lnTo>
                  <a:lnTo>
                    <a:pt x="666" y="1324"/>
                  </a:lnTo>
                  <a:lnTo>
                    <a:pt x="667" y="1324"/>
                  </a:lnTo>
                  <a:lnTo>
                    <a:pt x="669" y="1324"/>
                  </a:lnTo>
                  <a:lnTo>
                    <a:pt x="672" y="1323"/>
                  </a:lnTo>
                  <a:lnTo>
                    <a:pt x="672" y="1324"/>
                  </a:lnTo>
                  <a:lnTo>
                    <a:pt x="672" y="1327"/>
                  </a:lnTo>
                  <a:lnTo>
                    <a:pt x="674" y="1327"/>
                  </a:lnTo>
                  <a:lnTo>
                    <a:pt x="672" y="1327"/>
                  </a:lnTo>
                  <a:lnTo>
                    <a:pt x="674" y="1327"/>
                  </a:lnTo>
                  <a:lnTo>
                    <a:pt x="674" y="1329"/>
                  </a:lnTo>
                  <a:lnTo>
                    <a:pt x="674" y="1331"/>
                  </a:lnTo>
                  <a:lnTo>
                    <a:pt x="674" y="1332"/>
                  </a:lnTo>
                  <a:lnTo>
                    <a:pt x="675" y="1332"/>
                  </a:lnTo>
                  <a:lnTo>
                    <a:pt x="674" y="1331"/>
                  </a:lnTo>
                  <a:lnTo>
                    <a:pt x="675" y="1331"/>
                  </a:lnTo>
                  <a:lnTo>
                    <a:pt x="675" y="1329"/>
                  </a:lnTo>
                  <a:lnTo>
                    <a:pt x="675" y="1327"/>
                  </a:lnTo>
                  <a:lnTo>
                    <a:pt x="675" y="1326"/>
                  </a:lnTo>
                  <a:lnTo>
                    <a:pt x="675" y="1324"/>
                  </a:lnTo>
                  <a:lnTo>
                    <a:pt x="675" y="1323"/>
                  </a:lnTo>
                  <a:lnTo>
                    <a:pt x="677" y="1323"/>
                  </a:lnTo>
                  <a:lnTo>
                    <a:pt x="677" y="1324"/>
                  </a:lnTo>
                  <a:lnTo>
                    <a:pt x="679" y="1326"/>
                  </a:lnTo>
                  <a:lnTo>
                    <a:pt x="679" y="1324"/>
                  </a:lnTo>
                  <a:lnTo>
                    <a:pt x="679" y="1323"/>
                  </a:lnTo>
                  <a:lnTo>
                    <a:pt x="680" y="1321"/>
                  </a:lnTo>
                  <a:lnTo>
                    <a:pt x="682" y="1321"/>
                  </a:lnTo>
                  <a:lnTo>
                    <a:pt x="684" y="1321"/>
                  </a:lnTo>
                  <a:lnTo>
                    <a:pt x="684" y="1319"/>
                  </a:lnTo>
                  <a:lnTo>
                    <a:pt x="685" y="1319"/>
                  </a:lnTo>
                  <a:lnTo>
                    <a:pt x="687" y="1319"/>
                  </a:lnTo>
                  <a:lnTo>
                    <a:pt x="688" y="1321"/>
                  </a:lnTo>
                  <a:lnTo>
                    <a:pt x="688" y="1323"/>
                  </a:lnTo>
                  <a:lnTo>
                    <a:pt x="690" y="1323"/>
                  </a:lnTo>
                  <a:lnTo>
                    <a:pt x="692" y="1324"/>
                  </a:lnTo>
                  <a:lnTo>
                    <a:pt x="692" y="1326"/>
                  </a:lnTo>
                  <a:lnTo>
                    <a:pt x="693" y="1326"/>
                  </a:lnTo>
                  <a:lnTo>
                    <a:pt x="693" y="1327"/>
                  </a:lnTo>
                  <a:lnTo>
                    <a:pt x="695" y="1329"/>
                  </a:lnTo>
                  <a:lnTo>
                    <a:pt x="695" y="1331"/>
                  </a:lnTo>
                  <a:lnTo>
                    <a:pt x="697" y="1329"/>
                  </a:lnTo>
                  <a:lnTo>
                    <a:pt x="695" y="1327"/>
                  </a:lnTo>
                  <a:lnTo>
                    <a:pt x="697" y="1326"/>
                  </a:lnTo>
                  <a:lnTo>
                    <a:pt x="695" y="1326"/>
                  </a:lnTo>
                  <a:lnTo>
                    <a:pt x="697" y="1326"/>
                  </a:lnTo>
                  <a:lnTo>
                    <a:pt x="697" y="1324"/>
                  </a:lnTo>
                  <a:lnTo>
                    <a:pt x="697" y="1323"/>
                  </a:lnTo>
                  <a:lnTo>
                    <a:pt x="695" y="1323"/>
                  </a:lnTo>
                  <a:lnTo>
                    <a:pt x="695" y="1321"/>
                  </a:lnTo>
                  <a:lnTo>
                    <a:pt x="697" y="1321"/>
                  </a:lnTo>
                  <a:lnTo>
                    <a:pt x="698" y="1319"/>
                  </a:lnTo>
                  <a:lnTo>
                    <a:pt x="700" y="1319"/>
                  </a:lnTo>
                  <a:lnTo>
                    <a:pt x="701" y="1319"/>
                  </a:lnTo>
                  <a:lnTo>
                    <a:pt x="700" y="1321"/>
                  </a:lnTo>
                  <a:lnTo>
                    <a:pt x="701" y="1321"/>
                  </a:lnTo>
                  <a:lnTo>
                    <a:pt x="703" y="1319"/>
                  </a:lnTo>
                  <a:lnTo>
                    <a:pt x="705" y="1321"/>
                  </a:lnTo>
                  <a:lnTo>
                    <a:pt x="706" y="1321"/>
                  </a:lnTo>
                  <a:lnTo>
                    <a:pt x="706" y="1323"/>
                  </a:lnTo>
                  <a:lnTo>
                    <a:pt x="706" y="1324"/>
                  </a:lnTo>
                  <a:lnTo>
                    <a:pt x="706" y="1326"/>
                  </a:lnTo>
                  <a:lnTo>
                    <a:pt x="708" y="1331"/>
                  </a:lnTo>
                  <a:lnTo>
                    <a:pt x="708" y="1332"/>
                  </a:lnTo>
                  <a:lnTo>
                    <a:pt x="710" y="1334"/>
                  </a:lnTo>
                  <a:lnTo>
                    <a:pt x="708" y="1336"/>
                  </a:lnTo>
                  <a:lnTo>
                    <a:pt x="708" y="1337"/>
                  </a:lnTo>
                  <a:lnTo>
                    <a:pt x="710" y="1337"/>
                  </a:lnTo>
                  <a:lnTo>
                    <a:pt x="708" y="1337"/>
                  </a:lnTo>
                  <a:lnTo>
                    <a:pt x="710" y="1337"/>
                  </a:lnTo>
                  <a:lnTo>
                    <a:pt x="708" y="1337"/>
                  </a:lnTo>
                  <a:lnTo>
                    <a:pt x="708" y="1339"/>
                  </a:lnTo>
                  <a:lnTo>
                    <a:pt x="710" y="1339"/>
                  </a:lnTo>
                  <a:lnTo>
                    <a:pt x="710" y="1337"/>
                  </a:lnTo>
                  <a:lnTo>
                    <a:pt x="710" y="1336"/>
                  </a:lnTo>
                  <a:lnTo>
                    <a:pt x="710" y="1334"/>
                  </a:lnTo>
                  <a:lnTo>
                    <a:pt x="710" y="1332"/>
                  </a:lnTo>
                  <a:lnTo>
                    <a:pt x="710" y="1331"/>
                  </a:lnTo>
                  <a:lnTo>
                    <a:pt x="710" y="1329"/>
                  </a:lnTo>
                  <a:lnTo>
                    <a:pt x="710" y="1327"/>
                  </a:lnTo>
                  <a:lnTo>
                    <a:pt x="710" y="1326"/>
                  </a:lnTo>
                  <a:lnTo>
                    <a:pt x="710" y="1324"/>
                  </a:lnTo>
                  <a:lnTo>
                    <a:pt x="711" y="1324"/>
                  </a:lnTo>
                  <a:lnTo>
                    <a:pt x="713" y="1324"/>
                  </a:lnTo>
                  <a:lnTo>
                    <a:pt x="713" y="1326"/>
                  </a:lnTo>
                  <a:lnTo>
                    <a:pt x="714" y="1327"/>
                  </a:lnTo>
                  <a:lnTo>
                    <a:pt x="716" y="1327"/>
                  </a:lnTo>
                  <a:lnTo>
                    <a:pt x="716" y="1326"/>
                  </a:lnTo>
                  <a:lnTo>
                    <a:pt x="718" y="1326"/>
                  </a:lnTo>
                  <a:lnTo>
                    <a:pt x="719" y="1327"/>
                  </a:lnTo>
                  <a:lnTo>
                    <a:pt x="721" y="1327"/>
                  </a:lnTo>
                  <a:lnTo>
                    <a:pt x="723" y="1327"/>
                  </a:lnTo>
                  <a:lnTo>
                    <a:pt x="724" y="1327"/>
                  </a:lnTo>
                  <a:lnTo>
                    <a:pt x="724" y="1329"/>
                  </a:lnTo>
                  <a:lnTo>
                    <a:pt x="724" y="1331"/>
                  </a:lnTo>
                  <a:lnTo>
                    <a:pt x="726" y="1332"/>
                  </a:lnTo>
                  <a:lnTo>
                    <a:pt x="726" y="1334"/>
                  </a:lnTo>
                  <a:lnTo>
                    <a:pt x="727" y="1334"/>
                  </a:lnTo>
                  <a:lnTo>
                    <a:pt x="729" y="1337"/>
                  </a:lnTo>
                  <a:lnTo>
                    <a:pt x="729" y="1339"/>
                  </a:lnTo>
                  <a:lnTo>
                    <a:pt x="731" y="1339"/>
                  </a:lnTo>
                  <a:lnTo>
                    <a:pt x="732" y="1337"/>
                  </a:lnTo>
                  <a:lnTo>
                    <a:pt x="734" y="1337"/>
                  </a:lnTo>
                  <a:lnTo>
                    <a:pt x="734" y="1339"/>
                  </a:lnTo>
                  <a:lnTo>
                    <a:pt x="736" y="1339"/>
                  </a:lnTo>
                  <a:lnTo>
                    <a:pt x="736" y="1342"/>
                  </a:lnTo>
                  <a:lnTo>
                    <a:pt x="736" y="1344"/>
                  </a:lnTo>
                  <a:lnTo>
                    <a:pt x="737" y="1344"/>
                  </a:lnTo>
                  <a:lnTo>
                    <a:pt x="737" y="1342"/>
                  </a:lnTo>
                  <a:lnTo>
                    <a:pt x="737" y="1339"/>
                  </a:lnTo>
                  <a:lnTo>
                    <a:pt x="739" y="1339"/>
                  </a:lnTo>
                  <a:lnTo>
                    <a:pt x="739" y="1337"/>
                  </a:lnTo>
                  <a:lnTo>
                    <a:pt x="742" y="1337"/>
                  </a:lnTo>
                  <a:lnTo>
                    <a:pt x="744" y="1337"/>
                  </a:lnTo>
                  <a:lnTo>
                    <a:pt x="744" y="1336"/>
                  </a:lnTo>
                  <a:lnTo>
                    <a:pt x="745" y="1336"/>
                  </a:lnTo>
                  <a:lnTo>
                    <a:pt x="747" y="1337"/>
                  </a:lnTo>
                  <a:lnTo>
                    <a:pt x="747" y="1336"/>
                  </a:lnTo>
                  <a:lnTo>
                    <a:pt x="745" y="1336"/>
                  </a:lnTo>
                  <a:lnTo>
                    <a:pt x="744" y="1336"/>
                  </a:lnTo>
                  <a:lnTo>
                    <a:pt x="745" y="1336"/>
                  </a:lnTo>
                  <a:lnTo>
                    <a:pt x="744" y="1336"/>
                  </a:lnTo>
                  <a:lnTo>
                    <a:pt x="744" y="1334"/>
                  </a:lnTo>
                  <a:lnTo>
                    <a:pt x="745" y="1334"/>
                  </a:lnTo>
                  <a:lnTo>
                    <a:pt x="747" y="1334"/>
                  </a:lnTo>
                  <a:lnTo>
                    <a:pt x="749" y="1334"/>
                  </a:lnTo>
                  <a:lnTo>
                    <a:pt x="750" y="1334"/>
                  </a:lnTo>
                  <a:lnTo>
                    <a:pt x="752" y="1334"/>
                  </a:lnTo>
                  <a:lnTo>
                    <a:pt x="752" y="1332"/>
                  </a:lnTo>
                  <a:lnTo>
                    <a:pt x="750" y="1334"/>
                  </a:lnTo>
                  <a:lnTo>
                    <a:pt x="749" y="1332"/>
                  </a:lnTo>
                  <a:lnTo>
                    <a:pt x="745" y="1332"/>
                  </a:lnTo>
                  <a:lnTo>
                    <a:pt x="744" y="1334"/>
                  </a:lnTo>
                  <a:lnTo>
                    <a:pt x="742" y="1334"/>
                  </a:lnTo>
                  <a:lnTo>
                    <a:pt x="740" y="1334"/>
                  </a:lnTo>
                  <a:lnTo>
                    <a:pt x="739" y="1336"/>
                  </a:lnTo>
                  <a:lnTo>
                    <a:pt x="737" y="1336"/>
                  </a:lnTo>
                  <a:lnTo>
                    <a:pt x="736" y="1336"/>
                  </a:lnTo>
                  <a:lnTo>
                    <a:pt x="736" y="1334"/>
                  </a:lnTo>
                  <a:lnTo>
                    <a:pt x="734" y="1334"/>
                  </a:lnTo>
                  <a:lnTo>
                    <a:pt x="732" y="1334"/>
                  </a:lnTo>
                  <a:lnTo>
                    <a:pt x="731" y="1334"/>
                  </a:lnTo>
                  <a:lnTo>
                    <a:pt x="731" y="1332"/>
                  </a:lnTo>
                  <a:lnTo>
                    <a:pt x="731" y="1331"/>
                  </a:lnTo>
                  <a:lnTo>
                    <a:pt x="729" y="1331"/>
                  </a:lnTo>
                  <a:lnTo>
                    <a:pt x="727" y="1329"/>
                  </a:lnTo>
                  <a:lnTo>
                    <a:pt x="727" y="1327"/>
                  </a:lnTo>
                  <a:lnTo>
                    <a:pt x="727" y="1326"/>
                  </a:lnTo>
                  <a:lnTo>
                    <a:pt x="727" y="1324"/>
                  </a:lnTo>
                  <a:lnTo>
                    <a:pt x="729" y="1324"/>
                  </a:lnTo>
                  <a:lnTo>
                    <a:pt x="731" y="1324"/>
                  </a:lnTo>
                  <a:lnTo>
                    <a:pt x="731" y="1323"/>
                  </a:lnTo>
                  <a:lnTo>
                    <a:pt x="732" y="1323"/>
                  </a:lnTo>
                  <a:lnTo>
                    <a:pt x="732" y="1324"/>
                  </a:lnTo>
                  <a:lnTo>
                    <a:pt x="734" y="1324"/>
                  </a:lnTo>
                  <a:lnTo>
                    <a:pt x="734" y="1326"/>
                  </a:lnTo>
                  <a:lnTo>
                    <a:pt x="734" y="1327"/>
                  </a:lnTo>
                  <a:lnTo>
                    <a:pt x="734" y="1329"/>
                  </a:lnTo>
                  <a:lnTo>
                    <a:pt x="734" y="1331"/>
                  </a:lnTo>
                  <a:lnTo>
                    <a:pt x="736" y="1331"/>
                  </a:lnTo>
                  <a:lnTo>
                    <a:pt x="737" y="1331"/>
                  </a:lnTo>
                  <a:lnTo>
                    <a:pt x="737" y="1329"/>
                  </a:lnTo>
                  <a:lnTo>
                    <a:pt x="736" y="1327"/>
                  </a:lnTo>
                  <a:lnTo>
                    <a:pt x="737" y="1327"/>
                  </a:lnTo>
                  <a:lnTo>
                    <a:pt x="736" y="1326"/>
                  </a:lnTo>
                  <a:lnTo>
                    <a:pt x="736" y="1324"/>
                  </a:lnTo>
                  <a:lnTo>
                    <a:pt x="734" y="1324"/>
                  </a:lnTo>
                  <a:lnTo>
                    <a:pt x="734" y="1323"/>
                  </a:lnTo>
                  <a:lnTo>
                    <a:pt x="734" y="1321"/>
                  </a:lnTo>
                  <a:lnTo>
                    <a:pt x="734" y="1319"/>
                  </a:lnTo>
                  <a:lnTo>
                    <a:pt x="736" y="1319"/>
                  </a:lnTo>
                  <a:lnTo>
                    <a:pt x="737" y="1318"/>
                  </a:lnTo>
                  <a:lnTo>
                    <a:pt x="739" y="1318"/>
                  </a:lnTo>
                  <a:lnTo>
                    <a:pt x="740" y="1318"/>
                  </a:lnTo>
                  <a:lnTo>
                    <a:pt x="742" y="1318"/>
                  </a:lnTo>
                  <a:lnTo>
                    <a:pt x="742" y="1316"/>
                  </a:lnTo>
                  <a:lnTo>
                    <a:pt x="745" y="1316"/>
                  </a:lnTo>
                  <a:lnTo>
                    <a:pt x="747" y="1316"/>
                  </a:lnTo>
                  <a:lnTo>
                    <a:pt x="747" y="1314"/>
                  </a:lnTo>
                  <a:lnTo>
                    <a:pt x="749" y="1314"/>
                  </a:lnTo>
                  <a:lnTo>
                    <a:pt x="750" y="1313"/>
                  </a:lnTo>
                  <a:lnTo>
                    <a:pt x="752" y="1313"/>
                  </a:lnTo>
                  <a:lnTo>
                    <a:pt x="755" y="1311"/>
                  </a:lnTo>
                  <a:lnTo>
                    <a:pt x="757" y="1311"/>
                  </a:lnTo>
                  <a:lnTo>
                    <a:pt x="758" y="1311"/>
                  </a:lnTo>
                  <a:lnTo>
                    <a:pt x="760" y="1311"/>
                  </a:lnTo>
                  <a:lnTo>
                    <a:pt x="762" y="1311"/>
                  </a:lnTo>
                  <a:lnTo>
                    <a:pt x="762" y="1313"/>
                  </a:lnTo>
                  <a:lnTo>
                    <a:pt x="763" y="1313"/>
                  </a:lnTo>
                  <a:lnTo>
                    <a:pt x="763" y="1311"/>
                  </a:lnTo>
                  <a:lnTo>
                    <a:pt x="763" y="1310"/>
                  </a:lnTo>
                  <a:lnTo>
                    <a:pt x="765" y="1310"/>
                  </a:lnTo>
                  <a:lnTo>
                    <a:pt x="766" y="1310"/>
                  </a:lnTo>
                  <a:lnTo>
                    <a:pt x="768" y="1310"/>
                  </a:lnTo>
                  <a:lnTo>
                    <a:pt x="768" y="1311"/>
                  </a:lnTo>
                  <a:lnTo>
                    <a:pt x="770" y="1311"/>
                  </a:lnTo>
                  <a:lnTo>
                    <a:pt x="770" y="1313"/>
                  </a:lnTo>
                  <a:lnTo>
                    <a:pt x="773" y="1314"/>
                  </a:lnTo>
                  <a:lnTo>
                    <a:pt x="775" y="1316"/>
                  </a:lnTo>
                  <a:lnTo>
                    <a:pt x="775" y="1318"/>
                  </a:lnTo>
                  <a:lnTo>
                    <a:pt x="776" y="1318"/>
                  </a:lnTo>
                  <a:lnTo>
                    <a:pt x="776" y="1319"/>
                  </a:lnTo>
                  <a:lnTo>
                    <a:pt x="776" y="1318"/>
                  </a:lnTo>
                  <a:lnTo>
                    <a:pt x="776" y="1319"/>
                  </a:lnTo>
                  <a:lnTo>
                    <a:pt x="776" y="1318"/>
                  </a:lnTo>
                  <a:lnTo>
                    <a:pt x="776" y="1316"/>
                  </a:lnTo>
                  <a:lnTo>
                    <a:pt x="776" y="1314"/>
                  </a:lnTo>
                  <a:lnTo>
                    <a:pt x="775" y="1314"/>
                  </a:lnTo>
                  <a:lnTo>
                    <a:pt x="775" y="1313"/>
                  </a:lnTo>
                  <a:lnTo>
                    <a:pt x="775" y="1311"/>
                  </a:lnTo>
                  <a:lnTo>
                    <a:pt x="773" y="1311"/>
                  </a:lnTo>
                  <a:lnTo>
                    <a:pt x="771" y="1311"/>
                  </a:lnTo>
                  <a:lnTo>
                    <a:pt x="770" y="1311"/>
                  </a:lnTo>
                  <a:lnTo>
                    <a:pt x="771" y="1310"/>
                  </a:lnTo>
                  <a:lnTo>
                    <a:pt x="770" y="1310"/>
                  </a:lnTo>
                  <a:lnTo>
                    <a:pt x="768" y="1310"/>
                  </a:lnTo>
                  <a:lnTo>
                    <a:pt x="768" y="1308"/>
                  </a:lnTo>
                  <a:lnTo>
                    <a:pt x="771" y="1306"/>
                  </a:lnTo>
                  <a:lnTo>
                    <a:pt x="771" y="1305"/>
                  </a:lnTo>
                  <a:lnTo>
                    <a:pt x="768" y="1306"/>
                  </a:lnTo>
                  <a:lnTo>
                    <a:pt x="766" y="1306"/>
                  </a:lnTo>
                  <a:lnTo>
                    <a:pt x="765" y="1306"/>
                  </a:lnTo>
                  <a:lnTo>
                    <a:pt x="763" y="1306"/>
                  </a:lnTo>
                  <a:lnTo>
                    <a:pt x="762" y="1306"/>
                  </a:lnTo>
                  <a:lnTo>
                    <a:pt x="760" y="1306"/>
                  </a:lnTo>
                  <a:lnTo>
                    <a:pt x="755" y="1308"/>
                  </a:lnTo>
                  <a:lnTo>
                    <a:pt x="755" y="1310"/>
                  </a:lnTo>
                  <a:lnTo>
                    <a:pt x="753" y="1310"/>
                  </a:lnTo>
                  <a:lnTo>
                    <a:pt x="752" y="1310"/>
                  </a:lnTo>
                  <a:lnTo>
                    <a:pt x="750" y="1310"/>
                  </a:lnTo>
                  <a:lnTo>
                    <a:pt x="750" y="1311"/>
                  </a:lnTo>
                  <a:lnTo>
                    <a:pt x="747" y="1311"/>
                  </a:lnTo>
                  <a:lnTo>
                    <a:pt x="744" y="1313"/>
                  </a:lnTo>
                  <a:lnTo>
                    <a:pt x="742" y="1313"/>
                  </a:lnTo>
                  <a:lnTo>
                    <a:pt x="740" y="1314"/>
                  </a:lnTo>
                  <a:lnTo>
                    <a:pt x="737" y="1314"/>
                  </a:lnTo>
                  <a:lnTo>
                    <a:pt x="737" y="1316"/>
                  </a:lnTo>
                  <a:lnTo>
                    <a:pt x="736" y="1316"/>
                  </a:lnTo>
                  <a:lnTo>
                    <a:pt x="734" y="1316"/>
                  </a:lnTo>
                  <a:lnTo>
                    <a:pt x="731" y="1318"/>
                  </a:lnTo>
                  <a:lnTo>
                    <a:pt x="731" y="1316"/>
                  </a:lnTo>
                  <a:lnTo>
                    <a:pt x="729" y="1316"/>
                  </a:lnTo>
                  <a:lnTo>
                    <a:pt x="727" y="1316"/>
                  </a:lnTo>
                  <a:lnTo>
                    <a:pt x="726" y="1316"/>
                  </a:lnTo>
                  <a:lnTo>
                    <a:pt x="724" y="1316"/>
                  </a:lnTo>
                  <a:lnTo>
                    <a:pt x="724" y="1314"/>
                  </a:lnTo>
                  <a:lnTo>
                    <a:pt x="726" y="1314"/>
                  </a:lnTo>
                  <a:lnTo>
                    <a:pt x="727" y="1313"/>
                  </a:lnTo>
                  <a:lnTo>
                    <a:pt x="727" y="1314"/>
                  </a:lnTo>
                  <a:lnTo>
                    <a:pt x="729" y="1313"/>
                  </a:lnTo>
                  <a:lnTo>
                    <a:pt x="727" y="1313"/>
                  </a:lnTo>
                  <a:lnTo>
                    <a:pt x="729" y="1313"/>
                  </a:lnTo>
                  <a:lnTo>
                    <a:pt x="729" y="1311"/>
                  </a:lnTo>
                  <a:lnTo>
                    <a:pt x="727" y="1311"/>
                  </a:lnTo>
                  <a:lnTo>
                    <a:pt x="729" y="1311"/>
                  </a:lnTo>
                  <a:lnTo>
                    <a:pt x="729" y="1310"/>
                  </a:lnTo>
                  <a:lnTo>
                    <a:pt x="727" y="1310"/>
                  </a:lnTo>
                  <a:lnTo>
                    <a:pt x="726" y="1310"/>
                  </a:lnTo>
                  <a:lnTo>
                    <a:pt x="729" y="1308"/>
                  </a:lnTo>
                  <a:lnTo>
                    <a:pt x="731" y="1306"/>
                  </a:lnTo>
                  <a:lnTo>
                    <a:pt x="732" y="1306"/>
                  </a:lnTo>
                  <a:lnTo>
                    <a:pt x="736" y="1306"/>
                  </a:lnTo>
                  <a:lnTo>
                    <a:pt x="737" y="1305"/>
                  </a:lnTo>
                  <a:lnTo>
                    <a:pt x="739" y="1305"/>
                  </a:lnTo>
                  <a:lnTo>
                    <a:pt x="742" y="1303"/>
                  </a:lnTo>
                  <a:lnTo>
                    <a:pt x="744" y="1305"/>
                  </a:lnTo>
                  <a:lnTo>
                    <a:pt x="745" y="1305"/>
                  </a:lnTo>
                  <a:lnTo>
                    <a:pt x="747" y="1305"/>
                  </a:lnTo>
                  <a:lnTo>
                    <a:pt x="747" y="1303"/>
                  </a:lnTo>
                  <a:lnTo>
                    <a:pt x="749" y="1303"/>
                  </a:lnTo>
                  <a:lnTo>
                    <a:pt x="749" y="1301"/>
                  </a:lnTo>
                  <a:lnTo>
                    <a:pt x="749" y="1303"/>
                  </a:lnTo>
                  <a:lnTo>
                    <a:pt x="747" y="1303"/>
                  </a:lnTo>
                  <a:lnTo>
                    <a:pt x="745" y="1303"/>
                  </a:lnTo>
                  <a:lnTo>
                    <a:pt x="747" y="1301"/>
                  </a:lnTo>
                  <a:lnTo>
                    <a:pt x="745" y="1301"/>
                  </a:lnTo>
                  <a:lnTo>
                    <a:pt x="745" y="1303"/>
                  </a:lnTo>
                  <a:lnTo>
                    <a:pt x="745" y="1301"/>
                  </a:lnTo>
                  <a:lnTo>
                    <a:pt x="744" y="1301"/>
                  </a:lnTo>
                  <a:lnTo>
                    <a:pt x="742" y="1303"/>
                  </a:lnTo>
                  <a:lnTo>
                    <a:pt x="740" y="1303"/>
                  </a:lnTo>
                  <a:lnTo>
                    <a:pt x="739" y="1303"/>
                  </a:lnTo>
                  <a:lnTo>
                    <a:pt x="737" y="1303"/>
                  </a:lnTo>
                  <a:lnTo>
                    <a:pt x="736" y="1303"/>
                  </a:lnTo>
                  <a:lnTo>
                    <a:pt x="734" y="1303"/>
                  </a:lnTo>
                  <a:lnTo>
                    <a:pt x="731" y="1305"/>
                  </a:lnTo>
                  <a:lnTo>
                    <a:pt x="729" y="1305"/>
                  </a:lnTo>
                  <a:lnTo>
                    <a:pt x="727" y="1306"/>
                  </a:lnTo>
                  <a:lnTo>
                    <a:pt x="724" y="1306"/>
                  </a:lnTo>
                  <a:lnTo>
                    <a:pt x="723" y="1306"/>
                  </a:lnTo>
                  <a:lnTo>
                    <a:pt x="721" y="1308"/>
                  </a:lnTo>
                  <a:lnTo>
                    <a:pt x="719" y="1308"/>
                  </a:lnTo>
                  <a:lnTo>
                    <a:pt x="718" y="1308"/>
                  </a:lnTo>
                  <a:lnTo>
                    <a:pt x="716" y="1308"/>
                  </a:lnTo>
                  <a:lnTo>
                    <a:pt x="714" y="1308"/>
                  </a:lnTo>
                  <a:lnTo>
                    <a:pt x="714" y="1310"/>
                  </a:lnTo>
                  <a:lnTo>
                    <a:pt x="713" y="1310"/>
                  </a:lnTo>
                  <a:lnTo>
                    <a:pt x="711" y="1310"/>
                  </a:lnTo>
                  <a:lnTo>
                    <a:pt x="710" y="1310"/>
                  </a:lnTo>
                  <a:lnTo>
                    <a:pt x="708" y="1310"/>
                  </a:lnTo>
                  <a:lnTo>
                    <a:pt x="706" y="1310"/>
                  </a:lnTo>
                  <a:lnTo>
                    <a:pt x="703" y="1310"/>
                  </a:lnTo>
                  <a:lnTo>
                    <a:pt x="701" y="1310"/>
                  </a:lnTo>
                  <a:lnTo>
                    <a:pt x="700" y="1310"/>
                  </a:lnTo>
                  <a:lnTo>
                    <a:pt x="701" y="1310"/>
                  </a:lnTo>
                  <a:lnTo>
                    <a:pt x="700" y="1310"/>
                  </a:lnTo>
                  <a:lnTo>
                    <a:pt x="700" y="1308"/>
                  </a:lnTo>
                  <a:lnTo>
                    <a:pt x="701" y="1306"/>
                  </a:lnTo>
                  <a:lnTo>
                    <a:pt x="700" y="1306"/>
                  </a:lnTo>
                  <a:lnTo>
                    <a:pt x="701" y="1306"/>
                  </a:lnTo>
                  <a:lnTo>
                    <a:pt x="701" y="1305"/>
                  </a:lnTo>
                  <a:lnTo>
                    <a:pt x="700" y="1305"/>
                  </a:lnTo>
                  <a:lnTo>
                    <a:pt x="700" y="1303"/>
                  </a:lnTo>
                  <a:lnTo>
                    <a:pt x="700" y="1301"/>
                  </a:lnTo>
                  <a:lnTo>
                    <a:pt x="701" y="1301"/>
                  </a:lnTo>
                  <a:lnTo>
                    <a:pt x="700" y="1301"/>
                  </a:lnTo>
                  <a:lnTo>
                    <a:pt x="700" y="1300"/>
                  </a:lnTo>
                  <a:lnTo>
                    <a:pt x="701" y="1300"/>
                  </a:lnTo>
                  <a:lnTo>
                    <a:pt x="701" y="1298"/>
                  </a:lnTo>
                  <a:lnTo>
                    <a:pt x="703" y="1298"/>
                  </a:lnTo>
                  <a:lnTo>
                    <a:pt x="703" y="1297"/>
                  </a:lnTo>
                  <a:lnTo>
                    <a:pt x="703" y="1298"/>
                  </a:lnTo>
                  <a:lnTo>
                    <a:pt x="701" y="1298"/>
                  </a:lnTo>
                  <a:lnTo>
                    <a:pt x="701" y="1297"/>
                  </a:lnTo>
                  <a:lnTo>
                    <a:pt x="701" y="1298"/>
                  </a:lnTo>
                  <a:lnTo>
                    <a:pt x="703" y="1297"/>
                  </a:lnTo>
                  <a:lnTo>
                    <a:pt x="701" y="1297"/>
                  </a:lnTo>
                  <a:lnTo>
                    <a:pt x="703" y="1297"/>
                  </a:lnTo>
                  <a:lnTo>
                    <a:pt x="703" y="1295"/>
                  </a:lnTo>
                  <a:lnTo>
                    <a:pt x="705" y="1295"/>
                  </a:lnTo>
                  <a:lnTo>
                    <a:pt x="703" y="1297"/>
                  </a:lnTo>
                  <a:lnTo>
                    <a:pt x="705" y="1297"/>
                  </a:lnTo>
                  <a:lnTo>
                    <a:pt x="703" y="1297"/>
                  </a:lnTo>
                  <a:lnTo>
                    <a:pt x="705" y="1297"/>
                  </a:lnTo>
                  <a:lnTo>
                    <a:pt x="706" y="1295"/>
                  </a:lnTo>
                  <a:lnTo>
                    <a:pt x="706" y="1297"/>
                  </a:lnTo>
                  <a:lnTo>
                    <a:pt x="708" y="1295"/>
                  </a:lnTo>
                  <a:lnTo>
                    <a:pt x="708" y="1297"/>
                  </a:lnTo>
                  <a:lnTo>
                    <a:pt x="710" y="1295"/>
                  </a:lnTo>
                  <a:lnTo>
                    <a:pt x="710" y="1297"/>
                  </a:lnTo>
                  <a:lnTo>
                    <a:pt x="708" y="1297"/>
                  </a:lnTo>
                  <a:lnTo>
                    <a:pt x="706" y="1297"/>
                  </a:lnTo>
                  <a:lnTo>
                    <a:pt x="708" y="1297"/>
                  </a:lnTo>
                  <a:lnTo>
                    <a:pt x="708" y="1298"/>
                  </a:lnTo>
                  <a:lnTo>
                    <a:pt x="710" y="1297"/>
                  </a:lnTo>
                  <a:lnTo>
                    <a:pt x="711" y="1297"/>
                  </a:lnTo>
                  <a:lnTo>
                    <a:pt x="713" y="1297"/>
                  </a:lnTo>
                  <a:lnTo>
                    <a:pt x="713" y="1298"/>
                  </a:lnTo>
                  <a:lnTo>
                    <a:pt x="713" y="1300"/>
                  </a:lnTo>
                  <a:lnTo>
                    <a:pt x="714" y="1300"/>
                  </a:lnTo>
                  <a:lnTo>
                    <a:pt x="716" y="1298"/>
                  </a:lnTo>
                  <a:lnTo>
                    <a:pt x="718" y="1300"/>
                  </a:lnTo>
                  <a:lnTo>
                    <a:pt x="718" y="1298"/>
                  </a:lnTo>
                  <a:lnTo>
                    <a:pt x="716" y="1298"/>
                  </a:lnTo>
                  <a:lnTo>
                    <a:pt x="714" y="1298"/>
                  </a:lnTo>
                  <a:lnTo>
                    <a:pt x="713" y="1297"/>
                  </a:lnTo>
                  <a:lnTo>
                    <a:pt x="714" y="1297"/>
                  </a:lnTo>
                  <a:lnTo>
                    <a:pt x="714" y="1295"/>
                  </a:lnTo>
                  <a:lnTo>
                    <a:pt x="713" y="1295"/>
                  </a:lnTo>
                  <a:lnTo>
                    <a:pt x="713" y="1293"/>
                  </a:lnTo>
                  <a:lnTo>
                    <a:pt x="711" y="1292"/>
                  </a:lnTo>
                  <a:lnTo>
                    <a:pt x="710" y="1293"/>
                  </a:lnTo>
                  <a:lnTo>
                    <a:pt x="706" y="1293"/>
                  </a:lnTo>
                  <a:lnTo>
                    <a:pt x="705" y="1295"/>
                  </a:lnTo>
                  <a:lnTo>
                    <a:pt x="705" y="1293"/>
                  </a:lnTo>
                  <a:lnTo>
                    <a:pt x="705" y="1295"/>
                  </a:lnTo>
                  <a:lnTo>
                    <a:pt x="705" y="1293"/>
                  </a:lnTo>
                  <a:lnTo>
                    <a:pt x="703" y="1293"/>
                  </a:lnTo>
                  <a:lnTo>
                    <a:pt x="701" y="1295"/>
                  </a:lnTo>
                  <a:lnTo>
                    <a:pt x="701" y="1293"/>
                  </a:lnTo>
                  <a:lnTo>
                    <a:pt x="703" y="1293"/>
                  </a:lnTo>
                  <a:lnTo>
                    <a:pt x="703" y="1292"/>
                  </a:lnTo>
                  <a:lnTo>
                    <a:pt x="703" y="1290"/>
                  </a:lnTo>
                  <a:lnTo>
                    <a:pt x="701" y="1292"/>
                  </a:lnTo>
                  <a:lnTo>
                    <a:pt x="701" y="1290"/>
                  </a:lnTo>
                  <a:lnTo>
                    <a:pt x="701" y="1288"/>
                  </a:lnTo>
                  <a:lnTo>
                    <a:pt x="700" y="1288"/>
                  </a:lnTo>
                  <a:lnTo>
                    <a:pt x="700" y="1287"/>
                  </a:lnTo>
                  <a:lnTo>
                    <a:pt x="701" y="1285"/>
                  </a:lnTo>
                  <a:lnTo>
                    <a:pt x="700" y="1285"/>
                  </a:lnTo>
                  <a:lnTo>
                    <a:pt x="700" y="1287"/>
                  </a:lnTo>
                  <a:lnTo>
                    <a:pt x="700" y="1285"/>
                  </a:lnTo>
                  <a:lnTo>
                    <a:pt x="700" y="1287"/>
                  </a:lnTo>
                  <a:lnTo>
                    <a:pt x="698" y="1287"/>
                  </a:lnTo>
                  <a:lnTo>
                    <a:pt x="698" y="1285"/>
                  </a:lnTo>
                  <a:lnTo>
                    <a:pt x="700" y="1285"/>
                  </a:lnTo>
                  <a:lnTo>
                    <a:pt x="698" y="1285"/>
                  </a:lnTo>
                  <a:lnTo>
                    <a:pt x="700" y="1285"/>
                  </a:lnTo>
                  <a:lnTo>
                    <a:pt x="698" y="1285"/>
                  </a:lnTo>
                  <a:lnTo>
                    <a:pt x="697" y="1285"/>
                  </a:lnTo>
                  <a:lnTo>
                    <a:pt x="698" y="1285"/>
                  </a:lnTo>
                  <a:lnTo>
                    <a:pt x="697" y="1284"/>
                  </a:lnTo>
                  <a:lnTo>
                    <a:pt x="697" y="1285"/>
                  </a:lnTo>
                  <a:lnTo>
                    <a:pt x="697" y="1284"/>
                  </a:lnTo>
                  <a:lnTo>
                    <a:pt x="697" y="1285"/>
                  </a:lnTo>
                  <a:lnTo>
                    <a:pt x="697" y="1284"/>
                  </a:lnTo>
                  <a:lnTo>
                    <a:pt x="695" y="1284"/>
                  </a:lnTo>
                  <a:lnTo>
                    <a:pt x="697" y="1284"/>
                  </a:lnTo>
                  <a:lnTo>
                    <a:pt x="698" y="1282"/>
                  </a:lnTo>
                  <a:lnTo>
                    <a:pt x="700" y="1282"/>
                  </a:lnTo>
                  <a:lnTo>
                    <a:pt x="698" y="1282"/>
                  </a:lnTo>
                  <a:lnTo>
                    <a:pt x="698" y="1280"/>
                  </a:lnTo>
                  <a:lnTo>
                    <a:pt x="700" y="1280"/>
                  </a:lnTo>
                  <a:lnTo>
                    <a:pt x="700" y="1282"/>
                  </a:lnTo>
                  <a:lnTo>
                    <a:pt x="700" y="1280"/>
                  </a:lnTo>
                  <a:lnTo>
                    <a:pt x="698" y="1280"/>
                  </a:lnTo>
                  <a:lnTo>
                    <a:pt x="700" y="1280"/>
                  </a:lnTo>
                  <a:lnTo>
                    <a:pt x="701" y="1279"/>
                  </a:lnTo>
                  <a:lnTo>
                    <a:pt x="701" y="1280"/>
                  </a:lnTo>
                  <a:lnTo>
                    <a:pt x="701" y="1279"/>
                  </a:lnTo>
                  <a:lnTo>
                    <a:pt x="703" y="1279"/>
                  </a:lnTo>
                  <a:lnTo>
                    <a:pt x="701" y="1279"/>
                  </a:lnTo>
                  <a:lnTo>
                    <a:pt x="703" y="1279"/>
                  </a:lnTo>
                  <a:lnTo>
                    <a:pt x="703" y="1277"/>
                  </a:lnTo>
                  <a:lnTo>
                    <a:pt x="703" y="1279"/>
                  </a:lnTo>
                  <a:lnTo>
                    <a:pt x="703" y="1277"/>
                  </a:lnTo>
                  <a:lnTo>
                    <a:pt x="703" y="1279"/>
                  </a:lnTo>
                  <a:lnTo>
                    <a:pt x="705" y="1277"/>
                  </a:lnTo>
                  <a:lnTo>
                    <a:pt x="703" y="1277"/>
                  </a:lnTo>
                  <a:lnTo>
                    <a:pt x="705" y="1277"/>
                  </a:lnTo>
                  <a:lnTo>
                    <a:pt x="705" y="1275"/>
                  </a:lnTo>
                  <a:lnTo>
                    <a:pt x="706" y="1275"/>
                  </a:lnTo>
                  <a:lnTo>
                    <a:pt x="705" y="1275"/>
                  </a:lnTo>
                  <a:lnTo>
                    <a:pt x="706" y="1275"/>
                  </a:lnTo>
                  <a:lnTo>
                    <a:pt x="708" y="1275"/>
                  </a:lnTo>
                  <a:lnTo>
                    <a:pt x="708" y="1277"/>
                  </a:lnTo>
                  <a:lnTo>
                    <a:pt x="710" y="1275"/>
                  </a:lnTo>
                  <a:lnTo>
                    <a:pt x="708" y="1275"/>
                  </a:lnTo>
                  <a:lnTo>
                    <a:pt x="710" y="1274"/>
                  </a:lnTo>
                  <a:lnTo>
                    <a:pt x="708" y="1274"/>
                  </a:lnTo>
                  <a:lnTo>
                    <a:pt x="710" y="1274"/>
                  </a:lnTo>
                  <a:lnTo>
                    <a:pt x="710" y="1272"/>
                  </a:lnTo>
                  <a:lnTo>
                    <a:pt x="710" y="1274"/>
                  </a:lnTo>
                  <a:lnTo>
                    <a:pt x="710" y="1272"/>
                  </a:lnTo>
                  <a:lnTo>
                    <a:pt x="711" y="1272"/>
                  </a:lnTo>
                  <a:lnTo>
                    <a:pt x="711" y="1274"/>
                  </a:lnTo>
                  <a:lnTo>
                    <a:pt x="713" y="1274"/>
                  </a:lnTo>
                  <a:lnTo>
                    <a:pt x="713" y="1272"/>
                  </a:lnTo>
                  <a:lnTo>
                    <a:pt x="711" y="1272"/>
                  </a:lnTo>
                  <a:lnTo>
                    <a:pt x="713" y="1272"/>
                  </a:lnTo>
                  <a:lnTo>
                    <a:pt x="714" y="1272"/>
                  </a:lnTo>
                  <a:lnTo>
                    <a:pt x="716" y="1272"/>
                  </a:lnTo>
                  <a:lnTo>
                    <a:pt x="718" y="1272"/>
                  </a:lnTo>
                  <a:lnTo>
                    <a:pt x="716" y="1272"/>
                  </a:lnTo>
                  <a:lnTo>
                    <a:pt x="718" y="1272"/>
                  </a:lnTo>
                  <a:lnTo>
                    <a:pt x="718" y="1271"/>
                  </a:lnTo>
                  <a:lnTo>
                    <a:pt x="718" y="1272"/>
                  </a:lnTo>
                  <a:lnTo>
                    <a:pt x="718" y="1271"/>
                  </a:lnTo>
                  <a:lnTo>
                    <a:pt x="719" y="1271"/>
                  </a:lnTo>
                  <a:lnTo>
                    <a:pt x="721" y="1271"/>
                  </a:lnTo>
                  <a:lnTo>
                    <a:pt x="723" y="1271"/>
                  </a:lnTo>
                  <a:lnTo>
                    <a:pt x="724" y="1271"/>
                  </a:lnTo>
                  <a:lnTo>
                    <a:pt x="724" y="1269"/>
                  </a:lnTo>
                  <a:lnTo>
                    <a:pt x="726" y="1269"/>
                  </a:lnTo>
                  <a:lnTo>
                    <a:pt x="726" y="1271"/>
                  </a:lnTo>
                  <a:lnTo>
                    <a:pt x="726" y="1269"/>
                  </a:lnTo>
                  <a:lnTo>
                    <a:pt x="724" y="1271"/>
                  </a:lnTo>
                  <a:lnTo>
                    <a:pt x="723" y="1271"/>
                  </a:lnTo>
                  <a:lnTo>
                    <a:pt x="723" y="1272"/>
                  </a:lnTo>
                  <a:lnTo>
                    <a:pt x="723" y="1271"/>
                  </a:lnTo>
                  <a:lnTo>
                    <a:pt x="723" y="1272"/>
                  </a:lnTo>
                  <a:lnTo>
                    <a:pt x="724" y="1272"/>
                  </a:lnTo>
                  <a:lnTo>
                    <a:pt x="724" y="1274"/>
                  </a:lnTo>
                  <a:lnTo>
                    <a:pt x="724" y="1275"/>
                  </a:lnTo>
                  <a:lnTo>
                    <a:pt x="726" y="1275"/>
                  </a:lnTo>
                  <a:lnTo>
                    <a:pt x="727" y="1277"/>
                  </a:lnTo>
                  <a:lnTo>
                    <a:pt x="729" y="1277"/>
                  </a:lnTo>
                  <a:lnTo>
                    <a:pt x="729" y="1279"/>
                  </a:lnTo>
                  <a:lnTo>
                    <a:pt x="731" y="1277"/>
                  </a:lnTo>
                  <a:lnTo>
                    <a:pt x="731" y="1279"/>
                  </a:lnTo>
                  <a:lnTo>
                    <a:pt x="731" y="1280"/>
                  </a:lnTo>
                  <a:lnTo>
                    <a:pt x="732" y="1280"/>
                  </a:lnTo>
                  <a:lnTo>
                    <a:pt x="732" y="1284"/>
                  </a:lnTo>
                  <a:lnTo>
                    <a:pt x="732" y="1285"/>
                  </a:lnTo>
                  <a:lnTo>
                    <a:pt x="732" y="1287"/>
                  </a:lnTo>
                  <a:lnTo>
                    <a:pt x="732" y="1285"/>
                  </a:lnTo>
                  <a:lnTo>
                    <a:pt x="734" y="1287"/>
                  </a:lnTo>
                  <a:lnTo>
                    <a:pt x="734" y="1285"/>
                  </a:lnTo>
                  <a:lnTo>
                    <a:pt x="736" y="1285"/>
                  </a:lnTo>
                  <a:lnTo>
                    <a:pt x="737" y="1285"/>
                  </a:lnTo>
                  <a:lnTo>
                    <a:pt x="737" y="1284"/>
                  </a:lnTo>
                  <a:lnTo>
                    <a:pt x="739" y="1284"/>
                  </a:lnTo>
                  <a:lnTo>
                    <a:pt x="742" y="1284"/>
                  </a:lnTo>
                  <a:lnTo>
                    <a:pt x="742" y="1282"/>
                  </a:lnTo>
                  <a:lnTo>
                    <a:pt x="740" y="1282"/>
                  </a:lnTo>
                  <a:lnTo>
                    <a:pt x="742" y="1280"/>
                  </a:lnTo>
                  <a:lnTo>
                    <a:pt x="744" y="1279"/>
                  </a:lnTo>
                  <a:lnTo>
                    <a:pt x="745" y="1279"/>
                  </a:lnTo>
                  <a:lnTo>
                    <a:pt x="747" y="1277"/>
                  </a:lnTo>
                  <a:lnTo>
                    <a:pt x="750" y="1277"/>
                  </a:lnTo>
                  <a:lnTo>
                    <a:pt x="752" y="1277"/>
                  </a:lnTo>
                  <a:lnTo>
                    <a:pt x="753" y="1277"/>
                  </a:lnTo>
                  <a:lnTo>
                    <a:pt x="753" y="1279"/>
                  </a:lnTo>
                  <a:lnTo>
                    <a:pt x="755" y="1279"/>
                  </a:lnTo>
                  <a:lnTo>
                    <a:pt x="753" y="1279"/>
                  </a:lnTo>
                  <a:lnTo>
                    <a:pt x="753" y="1280"/>
                  </a:lnTo>
                  <a:lnTo>
                    <a:pt x="752" y="1280"/>
                  </a:lnTo>
                  <a:lnTo>
                    <a:pt x="752" y="1282"/>
                  </a:lnTo>
                  <a:lnTo>
                    <a:pt x="750" y="1284"/>
                  </a:lnTo>
                  <a:lnTo>
                    <a:pt x="749" y="1284"/>
                  </a:lnTo>
                  <a:lnTo>
                    <a:pt x="749" y="1285"/>
                  </a:lnTo>
                  <a:lnTo>
                    <a:pt x="747" y="1287"/>
                  </a:lnTo>
                  <a:lnTo>
                    <a:pt x="750" y="1285"/>
                  </a:lnTo>
                  <a:lnTo>
                    <a:pt x="752" y="1284"/>
                  </a:lnTo>
                  <a:lnTo>
                    <a:pt x="755" y="1282"/>
                  </a:lnTo>
                  <a:lnTo>
                    <a:pt x="757" y="1280"/>
                  </a:lnTo>
                  <a:lnTo>
                    <a:pt x="758" y="1280"/>
                  </a:lnTo>
                  <a:lnTo>
                    <a:pt x="760" y="1280"/>
                  </a:lnTo>
                  <a:lnTo>
                    <a:pt x="762" y="1279"/>
                  </a:lnTo>
                  <a:lnTo>
                    <a:pt x="763" y="1279"/>
                  </a:lnTo>
                  <a:lnTo>
                    <a:pt x="765" y="1279"/>
                  </a:lnTo>
                  <a:lnTo>
                    <a:pt x="766" y="1277"/>
                  </a:lnTo>
                  <a:lnTo>
                    <a:pt x="768" y="1277"/>
                  </a:lnTo>
                  <a:lnTo>
                    <a:pt x="770" y="1279"/>
                  </a:lnTo>
                  <a:lnTo>
                    <a:pt x="770" y="1277"/>
                  </a:lnTo>
                  <a:lnTo>
                    <a:pt x="771" y="1279"/>
                  </a:lnTo>
                  <a:lnTo>
                    <a:pt x="771" y="1280"/>
                  </a:lnTo>
                  <a:lnTo>
                    <a:pt x="773" y="1280"/>
                  </a:lnTo>
                  <a:lnTo>
                    <a:pt x="773" y="1282"/>
                  </a:lnTo>
                  <a:lnTo>
                    <a:pt x="775" y="1284"/>
                  </a:lnTo>
                  <a:lnTo>
                    <a:pt x="775" y="1285"/>
                  </a:lnTo>
                  <a:lnTo>
                    <a:pt x="776" y="1285"/>
                  </a:lnTo>
                  <a:lnTo>
                    <a:pt x="775" y="1287"/>
                  </a:lnTo>
                  <a:lnTo>
                    <a:pt x="775" y="1288"/>
                  </a:lnTo>
                  <a:lnTo>
                    <a:pt x="775" y="1290"/>
                  </a:lnTo>
                  <a:lnTo>
                    <a:pt x="775" y="1293"/>
                  </a:lnTo>
                  <a:lnTo>
                    <a:pt x="776" y="1295"/>
                  </a:lnTo>
                  <a:lnTo>
                    <a:pt x="776" y="1297"/>
                  </a:lnTo>
                  <a:lnTo>
                    <a:pt x="776" y="1298"/>
                  </a:lnTo>
                  <a:lnTo>
                    <a:pt x="776" y="1300"/>
                  </a:lnTo>
                  <a:lnTo>
                    <a:pt x="778" y="1300"/>
                  </a:lnTo>
                  <a:lnTo>
                    <a:pt x="779" y="1301"/>
                  </a:lnTo>
                  <a:lnTo>
                    <a:pt x="781" y="1303"/>
                  </a:lnTo>
                  <a:lnTo>
                    <a:pt x="783" y="1303"/>
                  </a:lnTo>
                  <a:lnTo>
                    <a:pt x="784" y="1305"/>
                  </a:lnTo>
                  <a:lnTo>
                    <a:pt x="786" y="1305"/>
                  </a:lnTo>
                  <a:lnTo>
                    <a:pt x="788" y="1305"/>
                  </a:lnTo>
                  <a:lnTo>
                    <a:pt x="788" y="1306"/>
                  </a:lnTo>
                  <a:lnTo>
                    <a:pt x="789" y="1306"/>
                  </a:lnTo>
                  <a:lnTo>
                    <a:pt x="789" y="1308"/>
                  </a:lnTo>
                  <a:lnTo>
                    <a:pt x="791" y="1308"/>
                  </a:lnTo>
                  <a:lnTo>
                    <a:pt x="792" y="1308"/>
                  </a:lnTo>
                  <a:lnTo>
                    <a:pt x="792" y="1310"/>
                  </a:lnTo>
                  <a:lnTo>
                    <a:pt x="794" y="1310"/>
                  </a:lnTo>
                  <a:lnTo>
                    <a:pt x="794" y="1313"/>
                  </a:lnTo>
                  <a:lnTo>
                    <a:pt x="796" y="1314"/>
                  </a:lnTo>
                  <a:lnTo>
                    <a:pt x="796" y="1313"/>
                  </a:lnTo>
                  <a:lnTo>
                    <a:pt x="797" y="1313"/>
                  </a:lnTo>
                  <a:lnTo>
                    <a:pt x="799" y="1313"/>
                  </a:lnTo>
                  <a:lnTo>
                    <a:pt x="799" y="1314"/>
                  </a:lnTo>
                  <a:lnTo>
                    <a:pt x="801" y="1314"/>
                  </a:lnTo>
                  <a:lnTo>
                    <a:pt x="801" y="1316"/>
                  </a:lnTo>
                  <a:lnTo>
                    <a:pt x="801" y="1318"/>
                  </a:lnTo>
                  <a:lnTo>
                    <a:pt x="802" y="1319"/>
                  </a:lnTo>
                  <a:lnTo>
                    <a:pt x="801" y="1319"/>
                  </a:lnTo>
                  <a:lnTo>
                    <a:pt x="802" y="1319"/>
                  </a:lnTo>
                  <a:lnTo>
                    <a:pt x="802" y="1321"/>
                  </a:lnTo>
                  <a:lnTo>
                    <a:pt x="804" y="1321"/>
                  </a:lnTo>
                  <a:lnTo>
                    <a:pt x="802" y="1321"/>
                  </a:lnTo>
                  <a:lnTo>
                    <a:pt x="802" y="1319"/>
                  </a:lnTo>
                  <a:lnTo>
                    <a:pt x="804" y="1319"/>
                  </a:lnTo>
                  <a:lnTo>
                    <a:pt x="804" y="1321"/>
                  </a:lnTo>
                  <a:lnTo>
                    <a:pt x="804" y="1319"/>
                  </a:lnTo>
                  <a:lnTo>
                    <a:pt x="804" y="1318"/>
                  </a:lnTo>
                  <a:lnTo>
                    <a:pt x="804" y="1316"/>
                  </a:lnTo>
                  <a:lnTo>
                    <a:pt x="804" y="1314"/>
                  </a:lnTo>
                  <a:lnTo>
                    <a:pt x="804" y="1313"/>
                  </a:lnTo>
                  <a:lnTo>
                    <a:pt x="801" y="1311"/>
                  </a:lnTo>
                  <a:lnTo>
                    <a:pt x="799" y="1310"/>
                  </a:lnTo>
                  <a:lnTo>
                    <a:pt x="797" y="1310"/>
                  </a:lnTo>
                  <a:lnTo>
                    <a:pt x="797" y="1308"/>
                  </a:lnTo>
                  <a:lnTo>
                    <a:pt x="797" y="1310"/>
                  </a:lnTo>
                  <a:lnTo>
                    <a:pt x="796" y="1310"/>
                  </a:lnTo>
                  <a:lnTo>
                    <a:pt x="797" y="1310"/>
                  </a:lnTo>
                  <a:lnTo>
                    <a:pt x="796" y="1308"/>
                  </a:lnTo>
                  <a:lnTo>
                    <a:pt x="797" y="1308"/>
                  </a:lnTo>
                  <a:lnTo>
                    <a:pt x="796" y="1308"/>
                  </a:lnTo>
                  <a:lnTo>
                    <a:pt x="797" y="1308"/>
                  </a:lnTo>
                  <a:lnTo>
                    <a:pt x="796" y="1306"/>
                  </a:lnTo>
                  <a:lnTo>
                    <a:pt x="794" y="1306"/>
                  </a:lnTo>
                  <a:lnTo>
                    <a:pt x="792" y="1305"/>
                  </a:lnTo>
                  <a:lnTo>
                    <a:pt x="791" y="1305"/>
                  </a:lnTo>
                  <a:lnTo>
                    <a:pt x="789" y="1303"/>
                  </a:lnTo>
                  <a:lnTo>
                    <a:pt x="789" y="1301"/>
                  </a:lnTo>
                  <a:lnTo>
                    <a:pt x="788" y="1301"/>
                  </a:lnTo>
                  <a:lnTo>
                    <a:pt x="786" y="1301"/>
                  </a:lnTo>
                  <a:lnTo>
                    <a:pt x="786" y="1300"/>
                  </a:lnTo>
                  <a:lnTo>
                    <a:pt x="786" y="1301"/>
                  </a:lnTo>
                  <a:lnTo>
                    <a:pt x="784" y="1301"/>
                  </a:lnTo>
                  <a:lnTo>
                    <a:pt x="783" y="1300"/>
                  </a:lnTo>
                  <a:lnTo>
                    <a:pt x="783" y="1298"/>
                  </a:lnTo>
                  <a:lnTo>
                    <a:pt x="781" y="1298"/>
                  </a:lnTo>
                  <a:lnTo>
                    <a:pt x="779" y="1297"/>
                  </a:lnTo>
                  <a:lnTo>
                    <a:pt x="779" y="1295"/>
                  </a:lnTo>
                  <a:lnTo>
                    <a:pt x="778" y="1295"/>
                  </a:lnTo>
                  <a:lnTo>
                    <a:pt x="778" y="1293"/>
                  </a:lnTo>
                  <a:lnTo>
                    <a:pt x="779" y="1292"/>
                  </a:lnTo>
                  <a:lnTo>
                    <a:pt x="778" y="1290"/>
                  </a:lnTo>
                  <a:lnTo>
                    <a:pt x="778" y="1288"/>
                  </a:lnTo>
                  <a:lnTo>
                    <a:pt x="779" y="1287"/>
                  </a:lnTo>
                  <a:lnTo>
                    <a:pt x="779" y="1288"/>
                  </a:lnTo>
                  <a:lnTo>
                    <a:pt x="779" y="1287"/>
                  </a:lnTo>
                  <a:lnTo>
                    <a:pt x="781" y="1287"/>
                  </a:lnTo>
                  <a:lnTo>
                    <a:pt x="781" y="1285"/>
                  </a:lnTo>
                  <a:lnTo>
                    <a:pt x="779" y="1287"/>
                  </a:lnTo>
                  <a:lnTo>
                    <a:pt x="778" y="1287"/>
                  </a:lnTo>
                  <a:lnTo>
                    <a:pt x="778" y="1285"/>
                  </a:lnTo>
                  <a:lnTo>
                    <a:pt x="778" y="1284"/>
                  </a:lnTo>
                  <a:lnTo>
                    <a:pt x="778" y="1282"/>
                  </a:lnTo>
                  <a:lnTo>
                    <a:pt x="778" y="1280"/>
                  </a:lnTo>
                  <a:lnTo>
                    <a:pt x="776" y="1280"/>
                  </a:lnTo>
                  <a:lnTo>
                    <a:pt x="775" y="1279"/>
                  </a:lnTo>
                  <a:lnTo>
                    <a:pt x="773" y="1279"/>
                  </a:lnTo>
                  <a:lnTo>
                    <a:pt x="773" y="1277"/>
                  </a:lnTo>
                  <a:lnTo>
                    <a:pt x="771" y="1277"/>
                  </a:lnTo>
                  <a:lnTo>
                    <a:pt x="771" y="1275"/>
                  </a:lnTo>
                  <a:lnTo>
                    <a:pt x="770" y="1274"/>
                  </a:lnTo>
                  <a:lnTo>
                    <a:pt x="768" y="1274"/>
                  </a:lnTo>
                  <a:lnTo>
                    <a:pt x="768" y="1272"/>
                  </a:lnTo>
                  <a:lnTo>
                    <a:pt x="768" y="1271"/>
                  </a:lnTo>
                  <a:lnTo>
                    <a:pt x="770" y="1271"/>
                  </a:lnTo>
                  <a:lnTo>
                    <a:pt x="768" y="1269"/>
                  </a:lnTo>
                  <a:lnTo>
                    <a:pt x="766" y="1269"/>
                  </a:lnTo>
                  <a:lnTo>
                    <a:pt x="768" y="1267"/>
                  </a:lnTo>
                  <a:lnTo>
                    <a:pt x="766" y="1267"/>
                  </a:lnTo>
                  <a:lnTo>
                    <a:pt x="766" y="1269"/>
                  </a:lnTo>
                  <a:lnTo>
                    <a:pt x="765" y="1269"/>
                  </a:lnTo>
                  <a:lnTo>
                    <a:pt x="765" y="1271"/>
                  </a:lnTo>
                  <a:lnTo>
                    <a:pt x="766" y="1271"/>
                  </a:lnTo>
                  <a:lnTo>
                    <a:pt x="766" y="1269"/>
                  </a:lnTo>
                  <a:lnTo>
                    <a:pt x="768" y="1269"/>
                  </a:lnTo>
                  <a:lnTo>
                    <a:pt x="768" y="1271"/>
                  </a:lnTo>
                  <a:lnTo>
                    <a:pt x="766" y="1272"/>
                  </a:lnTo>
                  <a:lnTo>
                    <a:pt x="765" y="1272"/>
                  </a:lnTo>
                  <a:lnTo>
                    <a:pt x="765" y="1274"/>
                  </a:lnTo>
                  <a:lnTo>
                    <a:pt x="763" y="1274"/>
                  </a:lnTo>
                  <a:lnTo>
                    <a:pt x="762" y="1274"/>
                  </a:lnTo>
                  <a:lnTo>
                    <a:pt x="760" y="1274"/>
                  </a:lnTo>
                  <a:lnTo>
                    <a:pt x="762" y="1274"/>
                  </a:lnTo>
                  <a:lnTo>
                    <a:pt x="762" y="1272"/>
                  </a:lnTo>
                  <a:lnTo>
                    <a:pt x="762" y="1271"/>
                  </a:lnTo>
                  <a:lnTo>
                    <a:pt x="762" y="1269"/>
                  </a:lnTo>
                  <a:lnTo>
                    <a:pt x="763" y="1269"/>
                  </a:lnTo>
                  <a:lnTo>
                    <a:pt x="763" y="1267"/>
                  </a:lnTo>
                  <a:lnTo>
                    <a:pt x="762" y="1267"/>
                  </a:lnTo>
                  <a:lnTo>
                    <a:pt x="763" y="1267"/>
                  </a:lnTo>
                  <a:lnTo>
                    <a:pt x="765" y="1267"/>
                  </a:lnTo>
                  <a:lnTo>
                    <a:pt x="766" y="1267"/>
                  </a:lnTo>
                  <a:lnTo>
                    <a:pt x="768" y="1266"/>
                  </a:lnTo>
                  <a:lnTo>
                    <a:pt x="766" y="1266"/>
                  </a:lnTo>
                  <a:lnTo>
                    <a:pt x="768" y="1264"/>
                  </a:lnTo>
                  <a:lnTo>
                    <a:pt x="766" y="1264"/>
                  </a:lnTo>
                  <a:lnTo>
                    <a:pt x="768" y="1264"/>
                  </a:lnTo>
                  <a:lnTo>
                    <a:pt x="766" y="1262"/>
                  </a:lnTo>
                  <a:lnTo>
                    <a:pt x="766" y="1261"/>
                  </a:lnTo>
                  <a:lnTo>
                    <a:pt x="768" y="1261"/>
                  </a:lnTo>
                  <a:lnTo>
                    <a:pt x="770" y="1259"/>
                  </a:lnTo>
                  <a:lnTo>
                    <a:pt x="771" y="1259"/>
                  </a:lnTo>
                  <a:lnTo>
                    <a:pt x="770" y="1259"/>
                  </a:lnTo>
                  <a:lnTo>
                    <a:pt x="771" y="1259"/>
                  </a:lnTo>
                  <a:lnTo>
                    <a:pt x="771" y="1258"/>
                  </a:lnTo>
                  <a:lnTo>
                    <a:pt x="773" y="1258"/>
                  </a:lnTo>
                  <a:lnTo>
                    <a:pt x="775" y="1258"/>
                  </a:lnTo>
                  <a:lnTo>
                    <a:pt x="776" y="1258"/>
                  </a:lnTo>
                  <a:lnTo>
                    <a:pt x="776" y="1259"/>
                  </a:lnTo>
                  <a:lnTo>
                    <a:pt x="776" y="1261"/>
                  </a:lnTo>
                  <a:lnTo>
                    <a:pt x="778" y="1261"/>
                  </a:lnTo>
                  <a:lnTo>
                    <a:pt x="778" y="1262"/>
                  </a:lnTo>
                  <a:lnTo>
                    <a:pt x="778" y="1264"/>
                  </a:lnTo>
                  <a:lnTo>
                    <a:pt x="776" y="1266"/>
                  </a:lnTo>
                  <a:lnTo>
                    <a:pt x="776" y="1267"/>
                  </a:lnTo>
                  <a:lnTo>
                    <a:pt x="778" y="1267"/>
                  </a:lnTo>
                  <a:lnTo>
                    <a:pt x="778" y="1269"/>
                  </a:lnTo>
                  <a:lnTo>
                    <a:pt x="779" y="1269"/>
                  </a:lnTo>
                  <a:lnTo>
                    <a:pt x="781" y="1271"/>
                  </a:lnTo>
                  <a:lnTo>
                    <a:pt x="781" y="1272"/>
                  </a:lnTo>
                  <a:lnTo>
                    <a:pt x="783" y="1272"/>
                  </a:lnTo>
                  <a:lnTo>
                    <a:pt x="784" y="1274"/>
                  </a:lnTo>
                  <a:lnTo>
                    <a:pt x="786" y="1274"/>
                  </a:lnTo>
                  <a:lnTo>
                    <a:pt x="786" y="1275"/>
                  </a:lnTo>
                  <a:lnTo>
                    <a:pt x="784" y="1275"/>
                  </a:lnTo>
                  <a:lnTo>
                    <a:pt x="784" y="1277"/>
                  </a:lnTo>
                  <a:lnTo>
                    <a:pt x="786" y="1277"/>
                  </a:lnTo>
                  <a:lnTo>
                    <a:pt x="786" y="1275"/>
                  </a:lnTo>
                  <a:lnTo>
                    <a:pt x="788" y="1275"/>
                  </a:lnTo>
                  <a:lnTo>
                    <a:pt x="788" y="1277"/>
                  </a:lnTo>
                  <a:lnTo>
                    <a:pt x="789" y="1277"/>
                  </a:lnTo>
                  <a:lnTo>
                    <a:pt x="789" y="1279"/>
                  </a:lnTo>
                  <a:lnTo>
                    <a:pt x="791" y="1279"/>
                  </a:lnTo>
                  <a:lnTo>
                    <a:pt x="791" y="1280"/>
                  </a:lnTo>
                  <a:lnTo>
                    <a:pt x="789" y="1280"/>
                  </a:lnTo>
                  <a:lnTo>
                    <a:pt x="789" y="1282"/>
                  </a:lnTo>
                  <a:lnTo>
                    <a:pt x="788" y="1282"/>
                  </a:lnTo>
                  <a:lnTo>
                    <a:pt x="788" y="1284"/>
                  </a:lnTo>
                  <a:lnTo>
                    <a:pt x="788" y="1285"/>
                  </a:lnTo>
                  <a:lnTo>
                    <a:pt x="789" y="1285"/>
                  </a:lnTo>
                  <a:lnTo>
                    <a:pt x="789" y="1287"/>
                  </a:lnTo>
                  <a:lnTo>
                    <a:pt x="789" y="1288"/>
                  </a:lnTo>
                  <a:lnTo>
                    <a:pt x="791" y="1288"/>
                  </a:lnTo>
                  <a:lnTo>
                    <a:pt x="791" y="1290"/>
                  </a:lnTo>
                  <a:lnTo>
                    <a:pt x="789" y="1290"/>
                  </a:lnTo>
                  <a:lnTo>
                    <a:pt x="789" y="1292"/>
                  </a:lnTo>
                  <a:lnTo>
                    <a:pt x="788" y="1292"/>
                  </a:lnTo>
                  <a:lnTo>
                    <a:pt x="788" y="1293"/>
                  </a:lnTo>
                  <a:lnTo>
                    <a:pt x="789" y="1293"/>
                  </a:lnTo>
                  <a:lnTo>
                    <a:pt x="788" y="1293"/>
                  </a:lnTo>
                  <a:lnTo>
                    <a:pt x="789" y="1293"/>
                  </a:lnTo>
                  <a:lnTo>
                    <a:pt x="789" y="1292"/>
                  </a:lnTo>
                  <a:lnTo>
                    <a:pt x="791" y="1292"/>
                  </a:lnTo>
                  <a:lnTo>
                    <a:pt x="791" y="1290"/>
                  </a:lnTo>
                  <a:lnTo>
                    <a:pt x="792" y="1290"/>
                  </a:lnTo>
                  <a:lnTo>
                    <a:pt x="794" y="1292"/>
                  </a:lnTo>
                  <a:lnTo>
                    <a:pt x="796" y="1292"/>
                  </a:lnTo>
                  <a:lnTo>
                    <a:pt x="796" y="1293"/>
                  </a:lnTo>
                  <a:lnTo>
                    <a:pt x="796" y="1295"/>
                  </a:lnTo>
                  <a:lnTo>
                    <a:pt x="797" y="1297"/>
                  </a:lnTo>
                  <a:lnTo>
                    <a:pt x="799" y="1297"/>
                  </a:lnTo>
                  <a:lnTo>
                    <a:pt x="801" y="1297"/>
                  </a:lnTo>
                  <a:lnTo>
                    <a:pt x="801" y="1298"/>
                  </a:lnTo>
                  <a:lnTo>
                    <a:pt x="802" y="1297"/>
                  </a:lnTo>
                  <a:lnTo>
                    <a:pt x="802" y="1295"/>
                  </a:lnTo>
                  <a:lnTo>
                    <a:pt x="801" y="1293"/>
                  </a:lnTo>
                  <a:lnTo>
                    <a:pt x="797" y="1292"/>
                  </a:lnTo>
                  <a:lnTo>
                    <a:pt x="797" y="1290"/>
                  </a:lnTo>
                  <a:lnTo>
                    <a:pt x="796" y="1290"/>
                  </a:lnTo>
                  <a:lnTo>
                    <a:pt x="796" y="1288"/>
                  </a:lnTo>
                  <a:lnTo>
                    <a:pt x="797" y="1290"/>
                  </a:lnTo>
                  <a:lnTo>
                    <a:pt x="799" y="1290"/>
                  </a:lnTo>
                  <a:lnTo>
                    <a:pt x="801" y="1292"/>
                  </a:lnTo>
                  <a:lnTo>
                    <a:pt x="801" y="1293"/>
                  </a:lnTo>
                  <a:lnTo>
                    <a:pt x="802" y="1293"/>
                  </a:lnTo>
                  <a:lnTo>
                    <a:pt x="804" y="1293"/>
                  </a:lnTo>
                  <a:lnTo>
                    <a:pt x="805" y="1293"/>
                  </a:lnTo>
                  <a:lnTo>
                    <a:pt x="807" y="1293"/>
                  </a:lnTo>
                  <a:lnTo>
                    <a:pt x="807" y="1295"/>
                  </a:lnTo>
                  <a:lnTo>
                    <a:pt x="809" y="1297"/>
                  </a:lnTo>
                  <a:lnTo>
                    <a:pt x="809" y="1298"/>
                  </a:lnTo>
                  <a:lnTo>
                    <a:pt x="810" y="1298"/>
                  </a:lnTo>
                  <a:lnTo>
                    <a:pt x="812" y="1298"/>
                  </a:lnTo>
                  <a:lnTo>
                    <a:pt x="812" y="1300"/>
                  </a:lnTo>
                  <a:lnTo>
                    <a:pt x="814" y="1300"/>
                  </a:lnTo>
                  <a:lnTo>
                    <a:pt x="812" y="1300"/>
                  </a:lnTo>
                  <a:lnTo>
                    <a:pt x="814" y="1300"/>
                  </a:lnTo>
                  <a:lnTo>
                    <a:pt x="814" y="1298"/>
                  </a:lnTo>
                  <a:lnTo>
                    <a:pt x="812" y="1298"/>
                  </a:lnTo>
                  <a:lnTo>
                    <a:pt x="810" y="1297"/>
                  </a:lnTo>
                  <a:lnTo>
                    <a:pt x="809" y="1297"/>
                  </a:lnTo>
                  <a:lnTo>
                    <a:pt x="810" y="1297"/>
                  </a:lnTo>
                  <a:lnTo>
                    <a:pt x="809" y="1297"/>
                  </a:lnTo>
                  <a:lnTo>
                    <a:pt x="809" y="1295"/>
                  </a:lnTo>
                  <a:lnTo>
                    <a:pt x="809" y="1293"/>
                  </a:lnTo>
                  <a:lnTo>
                    <a:pt x="809" y="1292"/>
                  </a:lnTo>
                  <a:lnTo>
                    <a:pt x="807" y="1290"/>
                  </a:lnTo>
                  <a:lnTo>
                    <a:pt x="804" y="1292"/>
                  </a:lnTo>
                  <a:lnTo>
                    <a:pt x="804" y="1290"/>
                  </a:lnTo>
                  <a:lnTo>
                    <a:pt x="802" y="1290"/>
                  </a:lnTo>
                  <a:lnTo>
                    <a:pt x="802" y="1288"/>
                  </a:lnTo>
                  <a:lnTo>
                    <a:pt x="801" y="1288"/>
                  </a:lnTo>
                  <a:lnTo>
                    <a:pt x="799" y="1288"/>
                  </a:lnTo>
                  <a:lnTo>
                    <a:pt x="799" y="1287"/>
                  </a:lnTo>
                  <a:lnTo>
                    <a:pt x="799" y="1285"/>
                  </a:lnTo>
                  <a:lnTo>
                    <a:pt x="797" y="1284"/>
                  </a:lnTo>
                  <a:lnTo>
                    <a:pt x="796" y="1284"/>
                  </a:lnTo>
                  <a:lnTo>
                    <a:pt x="797" y="1284"/>
                  </a:lnTo>
                  <a:lnTo>
                    <a:pt x="796" y="1282"/>
                  </a:lnTo>
                  <a:lnTo>
                    <a:pt x="796" y="1280"/>
                  </a:lnTo>
                  <a:lnTo>
                    <a:pt x="797" y="1280"/>
                  </a:lnTo>
                  <a:lnTo>
                    <a:pt x="801" y="1280"/>
                  </a:lnTo>
                  <a:lnTo>
                    <a:pt x="802" y="1280"/>
                  </a:lnTo>
                  <a:lnTo>
                    <a:pt x="804" y="1280"/>
                  </a:lnTo>
                  <a:lnTo>
                    <a:pt x="805" y="1279"/>
                  </a:lnTo>
                  <a:lnTo>
                    <a:pt x="807" y="1279"/>
                  </a:lnTo>
                  <a:lnTo>
                    <a:pt x="809" y="1279"/>
                  </a:lnTo>
                  <a:lnTo>
                    <a:pt x="810" y="1279"/>
                  </a:lnTo>
                  <a:lnTo>
                    <a:pt x="812" y="1279"/>
                  </a:lnTo>
                  <a:lnTo>
                    <a:pt x="814" y="1277"/>
                  </a:lnTo>
                  <a:lnTo>
                    <a:pt x="812" y="1277"/>
                  </a:lnTo>
                  <a:lnTo>
                    <a:pt x="812" y="1279"/>
                  </a:lnTo>
                  <a:lnTo>
                    <a:pt x="810" y="1279"/>
                  </a:lnTo>
                  <a:lnTo>
                    <a:pt x="812" y="1279"/>
                  </a:lnTo>
                  <a:lnTo>
                    <a:pt x="810" y="1277"/>
                  </a:lnTo>
                  <a:lnTo>
                    <a:pt x="810" y="1275"/>
                  </a:lnTo>
                  <a:lnTo>
                    <a:pt x="812" y="1275"/>
                  </a:lnTo>
                  <a:lnTo>
                    <a:pt x="810" y="1275"/>
                  </a:lnTo>
                  <a:lnTo>
                    <a:pt x="809" y="1275"/>
                  </a:lnTo>
                  <a:lnTo>
                    <a:pt x="805" y="1275"/>
                  </a:lnTo>
                  <a:lnTo>
                    <a:pt x="805" y="1277"/>
                  </a:lnTo>
                  <a:lnTo>
                    <a:pt x="804" y="1277"/>
                  </a:lnTo>
                  <a:lnTo>
                    <a:pt x="802" y="1279"/>
                  </a:lnTo>
                  <a:lnTo>
                    <a:pt x="801" y="1279"/>
                  </a:lnTo>
                  <a:lnTo>
                    <a:pt x="799" y="1279"/>
                  </a:lnTo>
                  <a:lnTo>
                    <a:pt x="799" y="1277"/>
                  </a:lnTo>
                  <a:lnTo>
                    <a:pt x="799" y="1275"/>
                  </a:lnTo>
                  <a:lnTo>
                    <a:pt x="801" y="1275"/>
                  </a:lnTo>
                  <a:lnTo>
                    <a:pt x="802" y="1274"/>
                  </a:lnTo>
                  <a:lnTo>
                    <a:pt x="804" y="1274"/>
                  </a:lnTo>
                  <a:lnTo>
                    <a:pt x="805" y="1272"/>
                  </a:lnTo>
                  <a:lnTo>
                    <a:pt x="807" y="1272"/>
                  </a:lnTo>
                  <a:lnTo>
                    <a:pt x="807" y="1271"/>
                  </a:lnTo>
                  <a:lnTo>
                    <a:pt x="805" y="1271"/>
                  </a:lnTo>
                  <a:lnTo>
                    <a:pt x="805" y="1272"/>
                  </a:lnTo>
                  <a:lnTo>
                    <a:pt x="804" y="1272"/>
                  </a:lnTo>
                  <a:lnTo>
                    <a:pt x="802" y="1272"/>
                  </a:lnTo>
                  <a:lnTo>
                    <a:pt x="802" y="1274"/>
                  </a:lnTo>
                  <a:lnTo>
                    <a:pt x="801" y="1274"/>
                  </a:lnTo>
                  <a:lnTo>
                    <a:pt x="801" y="1275"/>
                  </a:lnTo>
                  <a:lnTo>
                    <a:pt x="801" y="1274"/>
                  </a:lnTo>
                  <a:lnTo>
                    <a:pt x="801" y="1275"/>
                  </a:lnTo>
                  <a:lnTo>
                    <a:pt x="799" y="1275"/>
                  </a:lnTo>
                  <a:lnTo>
                    <a:pt x="797" y="1275"/>
                  </a:lnTo>
                  <a:lnTo>
                    <a:pt x="796" y="1277"/>
                  </a:lnTo>
                  <a:lnTo>
                    <a:pt x="794" y="1279"/>
                  </a:lnTo>
                  <a:lnTo>
                    <a:pt x="792" y="1279"/>
                  </a:lnTo>
                  <a:lnTo>
                    <a:pt x="792" y="1277"/>
                  </a:lnTo>
                  <a:lnTo>
                    <a:pt x="791" y="1275"/>
                  </a:lnTo>
                  <a:lnTo>
                    <a:pt x="789" y="1275"/>
                  </a:lnTo>
                  <a:lnTo>
                    <a:pt x="789" y="1274"/>
                  </a:lnTo>
                  <a:lnTo>
                    <a:pt x="791" y="1274"/>
                  </a:lnTo>
                  <a:lnTo>
                    <a:pt x="791" y="1272"/>
                  </a:lnTo>
                  <a:lnTo>
                    <a:pt x="792" y="1272"/>
                  </a:lnTo>
                  <a:lnTo>
                    <a:pt x="794" y="1272"/>
                  </a:lnTo>
                  <a:lnTo>
                    <a:pt x="797" y="1272"/>
                  </a:lnTo>
                  <a:lnTo>
                    <a:pt x="799" y="1272"/>
                  </a:lnTo>
                  <a:lnTo>
                    <a:pt x="801" y="1272"/>
                  </a:lnTo>
                  <a:lnTo>
                    <a:pt x="801" y="1271"/>
                  </a:lnTo>
                  <a:lnTo>
                    <a:pt x="799" y="1271"/>
                  </a:lnTo>
                  <a:lnTo>
                    <a:pt x="797" y="1272"/>
                  </a:lnTo>
                  <a:lnTo>
                    <a:pt x="796" y="1272"/>
                  </a:lnTo>
                  <a:lnTo>
                    <a:pt x="794" y="1272"/>
                  </a:lnTo>
                  <a:lnTo>
                    <a:pt x="794" y="1271"/>
                  </a:lnTo>
                  <a:lnTo>
                    <a:pt x="792" y="1271"/>
                  </a:lnTo>
                  <a:lnTo>
                    <a:pt x="791" y="1271"/>
                  </a:lnTo>
                  <a:lnTo>
                    <a:pt x="791" y="1272"/>
                  </a:lnTo>
                  <a:lnTo>
                    <a:pt x="789" y="1272"/>
                  </a:lnTo>
                  <a:lnTo>
                    <a:pt x="788" y="1272"/>
                  </a:lnTo>
                  <a:lnTo>
                    <a:pt x="786" y="1271"/>
                  </a:lnTo>
                  <a:lnTo>
                    <a:pt x="784" y="1271"/>
                  </a:lnTo>
                  <a:lnTo>
                    <a:pt x="784" y="1269"/>
                  </a:lnTo>
                  <a:lnTo>
                    <a:pt x="783" y="1269"/>
                  </a:lnTo>
                  <a:lnTo>
                    <a:pt x="784" y="1267"/>
                  </a:lnTo>
                  <a:lnTo>
                    <a:pt x="784" y="1266"/>
                  </a:lnTo>
                  <a:lnTo>
                    <a:pt x="784" y="1264"/>
                  </a:lnTo>
                  <a:lnTo>
                    <a:pt x="783" y="1262"/>
                  </a:lnTo>
                  <a:lnTo>
                    <a:pt x="781" y="1262"/>
                  </a:lnTo>
                  <a:lnTo>
                    <a:pt x="781" y="1261"/>
                  </a:lnTo>
                  <a:lnTo>
                    <a:pt x="781" y="1259"/>
                  </a:lnTo>
                  <a:lnTo>
                    <a:pt x="779" y="1258"/>
                  </a:lnTo>
                  <a:lnTo>
                    <a:pt x="779" y="1256"/>
                  </a:lnTo>
                  <a:lnTo>
                    <a:pt x="779" y="1254"/>
                  </a:lnTo>
                  <a:lnTo>
                    <a:pt x="781" y="1254"/>
                  </a:lnTo>
                  <a:lnTo>
                    <a:pt x="783" y="1254"/>
                  </a:lnTo>
                  <a:lnTo>
                    <a:pt x="784" y="1253"/>
                  </a:lnTo>
                  <a:lnTo>
                    <a:pt x="784" y="1254"/>
                  </a:lnTo>
                  <a:lnTo>
                    <a:pt x="784" y="1253"/>
                  </a:lnTo>
                  <a:lnTo>
                    <a:pt x="784" y="1254"/>
                  </a:lnTo>
                  <a:lnTo>
                    <a:pt x="784" y="1256"/>
                  </a:lnTo>
                  <a:lnTo>
                    <a:pt x="786" y="1256"/>
                  </a:lnTo>
                  <a:lnTo>
                    <a:pt x="786" y="1258"/>
                  </a:lnTo>
                  <a:lnTo>
                    <a:pt x="786" y="1259"/>
                  </a:lnTo>
                  <a:lnTo>
                    <a:pt x="788" y="1259"/>
                  </a:lnTo>
                  <a:lnTo>
                    <a:pt x="789" y="1259"/>
                  </a:lnTo>
                  <a:lnTo>
                    <a:pt x="789" y="1261"/>
                  </a:lnTo>
                  <a:lnTo>
                    <a:pt x="788" y="1261"/>
                  </a:lnTo>
                  <a:lnTo>
                    <a:pt x="788" y="1262"/>
                  </a:lnTo>
                  <a:lnTo>
                    <a:pt x="789" y="1262"/>
                  </a:lnTo>
                  <a:lnTo>
                    <a:pt x="791" y="1262"/>
                  </a:lnTo>
                  <a:lnTo>
                    <a:pt x="789" y="1261"/>
                  </a:lnTo>
                  <a:lnTo>
                    <a:pt x="791" y="1261"/>
                  </a:lnTo>
                  <a:lnTo>
                    <a:pt x="791" y="1259"/>
                  </a:lnTo>
                  <a:lnTo>
                    <a:pt x="791" y="1261"/>
                  </a:lnTo>
                  <a:lnTo>
                    <a:pt x="789" y="1259"/>
                  </a:lnTo>
                  <a:lnTo>
                    <a:pt x="789" y="1258"/>
                  </a:lnTo>
                  <a:lnTo>
                    <a:pt x="791" y="1258"/>
                  </a:lnTo>
                  <a:lnTo>
                    <a:pt x="789" y="1258"/>
                  </a:lnTo>
                  <a:lnTo>
                    <a:pt x="788" y="1256"/>
                  </a:lnTo>
                  <a:lnTo>
                    <a:pt x="786" y="1256"/>
                  </a:lnTo>
                  <a:lnTo>
                    <a:pt x="786" y="1254"/>
                  </a:lnTo>
                  <a:lnTo>
                    <a:pt x="784" y="1254"/>
                  </a:lnTo>
                  <a:lnTo>
                    <a:pt x="784" y="1253"/>
                  </a:lnTo>
                  <a:lnTo>
                    <a:pt x="786" y="1253"/>
                  </a:lnTo>
                  <a:lnTo>
                    <a:pt x="788" y="1253"/>
                  </a:lnTo>
                  <a:lnTo>
                    <a:pt x="789" y="1253"/>
                  </a:lnTo>
                  <a:lnTo>
                    <a:pt x="791" y="1253"/>
                  </a:lnTo>
                  <a:lnTo>
                    <a:pt x="792" y="1254"/>
                  </a:lnTo>
                  <a:lnTo>
                    <a:pt x="794" y="1254"/>
                  </a:lnTo>
                  <a:lnTo>
                    <a:pt x="796" y="1254"/>
                  </a:lnTo>
                  <a:lnTo>
                    <a:pt x="797" y="1254"/>
                  </a:lnTo>
                  <a:lnTo>
                    <a:pt x="799" y="1254"/>
                  </a:lnTo>
                  <a:lnTo>
                    <a:pt x="801" y="1254"/>
                  </a:lnTo>
                  <a:lnTo>
                    <a:pt x="802" y="1254"/>
                  </a:lnTo>
                  <a:lnTo>
                    <a:pt x="802" y="1256"/>
                  </a:lnTo>
                  <a:lnTo>
                    <a:pt x="804" y="1254"/>
                  </a:lnTo>
                  <a:lnTo>
                    <a:pt x="805" y="1256"/>
                  </a:lnTo>
                  <a:lnTo>
                    <a:pt x="807" y="1256"/>
                  </a:lnTo>
                  <a:lnTo>
                    <a:pt x="807" y="1258"/>
                  </a:lnTo>
                  <a:lnTo>
                    <a:pt x="809" y="1258"/>
                  </a:lnTo>
                  <a:lnTo>
                    <a:pt x="809" y="1261"/>
                  </a:lnTo>
                  <a:lnTo>
                    <a:pt x="810" y="1261"/>
                  </a:lnTo>
                  <a:lnTo>
                    <a:pt x="810" y="1259"/>
                  </a:lnTo>
                  <a:lnTo>
                    <a:pt x="810" y="1258"/>
                  </a:lnTo>
                  <a:lnTo>
                    <a:pt x="809" y="1258"/>
                  </a:lnTo>
                  <a:lnTo>
                    <a:pt x="809" y="1256"/>
                  </a:lnTo>
                  <a:lnTo>
                    <a:pt x="807" y="1256"/>
                  </a:lnTo>
                  <a:lnTo>
                    <a:pt x="805" y="1256"/>
                  </a:lnTo>
                  <a:lnTo>
                    <a:pt x="807" y="1256"/>
                  </a:lnTo>
                  <a:lnTo>
                    <a:pt x="805" y="1256"/>
                  </a:lnTo>
                  <a:lnTo>
                    <a:pt x="805" y="1254"/>
                  </a:lnTo>
                  <a:lnTo>
                    <a:pt x="805" y="1253"/>
                  </a:lnTo>
                  <a:lnTo>
                    <a:pt x="805" y="1251"/>
                  </a:lnTo>
                  <a:lnTo>
                    <a:pt x="807" y="1249"/>
                  </a:lnTo>
                  <a:lnTo>
                    <a:pt x="809" y="1249"/>
                  </a:lnTo>
                  <a:lnTo>
                    <a:pt x="810" y="1249"/>
                  </a:lnTo>
                  <a:lnTo>
                    <a:pt x="814" y="1248"/>
                  </a:lnTo>
                  <a:lnTo>
                    <a:pt x="815" y="1248"/>
                  </a:lnTo>
                  <a:lnTo>
                    <a:pt x="817" y="1248"/>
                  </a:lnTo>
                  <a:lnTo>
                    <a:pt x="819" y="1248"/>
                  </a:lnTo>
                  <a:lnTo>
                    <a:pt x="820" y="1248"/>
                  </a:lnTo>
                  <a:lnTo>
                    <a:pt x="822" y="1248"/>
                  </a:lnTo>
                  <a:lnTo>
                    <a:pt x="822" y="1246"/>
                  </a:lnTo>
                  <a:lnTo>
                    <a:pt x="823" y="1248"/>
                  </a:lnTo>
                  <a:lnTo>
                    <a:pt x="823" y="1246"/>
                  </a:lnTo>
                  <a:lnTo>
                    <a:pt x="825" y="1246"/>
                  </a:lnTo>
                  <a:lnTo>
                    <a:pt x="827" y="1246"/>
                  </a:lnTo>
                  <a:lnTo>
                    <a:pt x="830" y="1246"/>
                  </a:lnTo>
                  <a:lnTo>
                    <a:pt x="832" y="1246"/>
                  </a:lnTo>
                  <a:lnTo>
                    <a:pt x="833" y="1246"/>
                  </a:lnTo>
                  <a:lnTo>
                    <a:pt x="833" y="1245"/>
                  </a:lnTo>
                  <a:lnTo>
                    <a:pt x="832" y="1245"/>
                  </a:lnTo>
                  <a:lnTo>
                    <a:pt x="828" y="1245"/>
                  </a:lnTo>
                  <a:lnTo>
                    <a:pt x="827" y="1246"/>
                  </a:lnTo>
                  <a:lnTo>
                    <a:pt x="827" y="1245"/>
                  </a:lnTo>
                  <a:lnTo>
                    <a:pt x="825" y="1246"/>
                  </a:lnTo>
                  <a:lnTo>
                    <a:pt x="823" y="1246"/>
                  </a:lnTo>
                  <a:lnTo>
                    <a:pt x="817" y="1246"/>
                  </a:lnTo>
                  <a:lnTo>
                    <a:pt x="815" y="1246"/>
                  </a:lnTo>
                  <a:lnTo>
                    <a:pt x="814" y="1246"/>
                  </a:lnTo>
                  <a:lnTo>
                    <a:pt x="812" y="1246"/>
                  </a:lnTo>
                  <a:lnTo>
                    <a:pt x="810" y="1248"/>
                  </a:lnTo>
                  <a:lnTo>
                    <a:pt x="810" y="1246"/>
                  </a:lnTo>
                  <a:lnTo>
                    <a:pt x="809" y="1246"/>
                  </a:lnTo>
                  <a:lnTo>
                    <a:pt x="809" y="1245"/>
                  </a:lnTo>
                  <a:lnTo>
                    <a:pt x="807" y="1246"/>
                  </a:lnTo>
                  <a:lnTo>
                    <a:pt x="807" y="1245"/>
                  </a:lnTo>
                  <a:lnTo>
                    <a:pt x="809" y="1245"/>
                  </a:lnTo>
                  <a:lnTo>
                    <a:pt x="807" y="1243"/>
                  </a:lnTo>
                  <a:lnTo>
                    <a:pt x="807" y="1241"/>
                  </a:lnTo>
                  <a:lnTo>
                    <a:pt x="807" y="1240"/>
                  </a:lnTo>
                  <a:lnTo>
                    <a:pt x="805" y="1240"/>
                  </a:lnTo>
                  <a:lnTo>
                    <a:pt x="805" y="1238"/>
                  </a:lnTo>
                  <a:lnTo>
                    <a:pt x="804" y="1238"/>
                  </a:lnTo>
                  <a:lnTo>
                    <a:pt x="804" y="1236"/>
                  </a:lnTo>
                  <a:lnTo>
                    <a:pt x="804" y="1235"/>
                  </a:lnTo>
                  <a:lnTo>
                    <a:pt x="802" y="1235"/>
                  </a:lnTo>
                  <a:lnTo>
                    <a:pt x="802" y="1233"/>
                  </a:lnTo>
                  <a:lnTo>
                    <a:pt x="802" y="1231"/>
                  </a:lnTo>
                  <a:lnTo>
                    <a:pt x="802" y="1233"/>
                  </a:lnTo>
                  <a:lnTo>
                    <a:pt x="804" y="1233"/>
                  </a:lnTo>
                  <a:lnTo>
                    <a:pt x="804" y="1231"/>
                  </a:lnTo>
                  <a:lnTo>
                    <a:pt x="804" y="1230"/>
                  </a:lnTo>
                  <a:lnTo>
                    <a:pt x="804" y="1231"/>
                  </a:lnTo>
                  <a:lnTo>
                    <a:pt x="804" y="1230"/>
                  </a:lnTo>
                  <a:lnTo>
                    <a:pt x="805" y="1230"/>
                  </a:lnTo>
                  <a:lnTo>
                    <a:pt x="804" y="1230"/>
                  </a:lnTo>
                  <a:lnTo>
                    <a:pt x="805" y="1231"/>
                  </a:lnTo>
                  <a:lnTo>
                    <a:pt x="805" y="1230"/>
                  </a:lnTo>
                  <a:lnTo>
                    <a:pt x="807" y="1230"/>
                  </a:lnTo>
                  <a:lnTo>
                    <a:pt x="809" y="1230"/>
                  </a:lnTo>
                  <a:lnTo>
                    <a:pt x="809" y="1228"/>
                  </a:lnTo>
                  <a:lnTo>
                    <a:pt x="810" y="1228"/>
                  </a:lnTo>
                  <a:lnTo>
                    <a:pt x="812" y="1228"/>
                  </a:lnTo>
                  <a:lnTo>
                    <a:pt x="814" y="1228"/>
                  </a:lnTo>
                  <a:lnTo>
                    <a:pt x="814" y="1227"/>
                  </a:lnTo>
                  <a:lnTo>
                    <a:pt x="815" y="1227"/>
                  </a:lnTo>
                  <a:lnTo>
                    <a:pt x="815" y="1228"/>
                  </a:lnTo>
                  <a:lnTo>
                    <a:pt x="817" y="1227"/>
                  </a:lnTo>
                  <a:lnTo>
                    <a:pt x="819" y="1227"/>
                  </a:lnTo>
                  <a:lnTo>
                    <a:pt x="820" y="1225"/>
                  </a:lnTo>
                  <a:lnTo>
                    <a:pt x="822" y="1225"/>
                  </a:lnTo>
                  <a:lnTo>
                    <a:pt x="823" y="1225"/>
                  </a:lnTo>
                  <a:lnTo>
                    <a:pt x="825" y="1225"/>
                  </a:lnTo>
                  <a:lnTo>
                    <a:pt x="823" y="1225"/>
                  </a:lnTo>
                  <a:lnTo>
                    <a:pt x="822" y="1225"/>
                  </a:lnTo>
                  <a:lnTo>
                    <a:pt x="820" y="1225"/>
                  </a:lnTo>
                  <a:lnTo>
                    <a:pt x="819" y="1225"/>
                  </a:lnTo>
                  <a:lnTo>
                    <a:pt x="817" y="1225"/>
                  </a:lnTo>
                  <a:lnTo>
                    <a:pt x="815" y="1225"/>
                  </a:lnTo>
                  <a:lnTo>
                    <a:pt x="817" y="1223"/>
                  </a:lnTo>
                  <a:lnTo>
                    <a:pt x="815" y="1223"/>
                  </a:lnTo>
                  <a:lnTo>
                    <a:pt x="815" y="1222"/>
                  </a:lnTo>
                  <a:lnTo>
                    <a:pt x="814" y="1220"/>
                  </a:lnTo>
                  <a:lnTo>
                    <a:pt x="814" y="1218"/>
                  </a:lnTo>
                  <a:lnTo>
                    <a:pt x="812" y="1218"/>
                  </a:lnTo>
                  <a:lnTo>
                    <a:pt x="812" y="1217"/>
                  </a:lnTo>
                  <a:lnTo>
                    <a:pt x="814" y="1215"/>
                  </a:lnTo>
                  <a:lnTo>
                    <a:pt x="815" y="1215"/>
                  </a:lnTo>
                  <a:lnTo>
                    <a:pt x="817" y="1215"/>
                  </a:lnTo>
                  <a:lnTo>
                    <a:pt x="819" y="1215"/>
                  </a:lnTo>
                  <a:lnTo>
                    <a:pt x="819" y="1214"/>
                  </a:lnTo>
                  <a:lnTo>
                    <a:pt x="820" y="1214"/>
                  </a:lnTo>
                  <a:lnTo>
                    <a:pt x="822" y="1214"/>
                  </a:lnTo>
                  <a:lnTo>
                    <a:pt x="823" y="1214"/>
                  </a:lnTo>
                  <a:lnTo>
                    <a:pt x="825" y="1214"/>
                  </a:lnTo>
                  <a:lnTo>
                    <a:pt x="827" y="1214"/>
                  </a:lnTo>
                  <a:lnTo>
                    <a:pt x="827" y="1215"/>
                  </a:lnTo>
                  <a:lnTo>
                    <a:pt x="827" y="1217"/>
                  </a:lnTo>
                  <a:lnTo>
                    <a:pt x="828" y="1217"/>
                  </a:lnTo>
                  <a:lnTo>
                    <a:pt x="828" y="1218"/>
                  </a:lnTo>
                  <a:lnTo>
                    <a:pt x="830" y="1218"/>
                  </a:lnTo>
                  <a:lnTo>
                    <a:pt x="828" y="1218"/>
                  </a:lnTo>
                  <a:lnTo>
                    <a:pt x="828" y="1217"/>
                  </a:lnTo>
                  <a:lnTo>
                    <a:pt x="828" y="1215"/>
                  </a:lnTo>
                  <a:lnTo>
                    <a:pt x="827" y="1215"/>
                  </a:lnTo>
                  <a:lnTo>
                    <a:pt x="828" y="1215"/>
                  </a:lnTo>
                  <a:lnTo>
                    <a:pt x="828" y="1217"/>
                  </a:lnTo>
                  <a:lnTo>
                    <a:pt x="830" y="1215"/>
                  </a:lnTo>
                  <a:lnTo>
                    <a:pt x="828" y="1215"/>
                  </a:lnTo>
                  <a:lnTo>
                    <a:pt x="830" y="1215"/>
                  </a:lnTo>
                  <a:lnTo>
                    <a:pt x="830" y="1214"/>
                  </a:lnTo>
                  <a:lnTo>
                    <a:pt x="832" y="1214"/>
                  </a:lnTo>
                  <a:lnTo>
                    <a:pt x="832" y="1215"/>
                  </a:lnTo>
                  <a:lnTo>
                    <a:pt x="833" y="1215"/>
                  </a:lnTo>
                  <a:lnTo>
                    <a:pt x="832" y="1217"/>
                  </a:lnTo>
                  <a:lnTo>
                    <a:pt x="833" y="1217"/>
                  </a:lnTo>
                  <a:lnTo>
                    <a:pt x="835" y="1215"/>
                  </a:lnTo>
                  <a:lnTo>
                    <a:pt x="835" y="1217"/>
                  </a:lnTo>
                  <a:lnTo>
                    <a:pt x="835" y="1215"/>
                  </a:lnTo>
                  <a:lnTo>
                    <a:pt x="836" y="1217"/>
                  </a:lnTo>
                  <a:lnTo>
                    <a:pt x="835" y="1215"/>
                  </a:lnTo>
                  <a:lnTo>
                    <a:pt x="836" y="1215"/>
                  </a:lnTo>
                  <a:lnTo>
                    <a:pt x="835" y="1215"/>
                  </a:lnTo>
                  <a:lnTo>
                    <a:pt x="835" y="1214"/>
                  </a:lnTo>
                  <a:lnTo>
                    <a:pt x="833" y="1214"/>
                  </a:lnTo>
                  <a:lnTo>
                    <a:pt x="833" y="1215"/>
                  </a:lnTo>
                  <a:lnTo>
                    <a:pt x="833" y="1214"/>
                  </a:lnTo>
                  <a:lnTo>
                    <a:pt x="835" y="1214"/>
                  </a:lnTo>
                  <a:lnTo>
                    <a:pt x="835" y="1212"/>
                  </a:lnTo>
                  <a:lnTo>
                    <a:pt x="833" y="1212"/>
                  </a:lnTo>
                  <a:lnTo>
                    <a:pt x="835" y="1210"/>
                  </a:lnTo>
                  <a:lnTo>
                    <a:pt x="835" y="1209"/>
                  </a:lnTo>
                  <a:lnTo>
                    <a:pt x="836" y="1209"/>
                  </a:lnTo>
                  <a:lnTo>
                    <a:pt x="836" y="1210"/>
                  </a:lnTo>
                  <a:lnTo>
                    <a:pt x="838" y="1210"/>
                  </a:lnTo>
                  <a:lnTo>
                    <a:pt x="840" y="1210"/>
                  </a:lnTo>
                  <a:lnTo>
                    <a:pt x="840" y="1212"/>
                  </a:lnTo>
                  <a:lnTo>
                    <a:pt x="841" y="1212"/>
                  </a:lnTo>
                  <a:lnTo>
                    <a:pt x="841" y="1214"/>
                  </a:lnTo>
                  <a:lnTo>
                    <a:pt x="843" y="1214"/>
                  </a:lnTo>
                  <a:lnTo>
                    <a:pt x="841" y="1214"/>
                  </a:lnTo>
                  <a:lnTo>
                    <a:pt x="841" y="1215"/>
                  </a:lnTo>
                  <a:lnTo>
                    <a:pt x="843" y="1214"/>
                  </a:lnTo>
                  <a:lnTo>
                    <a:pt x="845" y="1215"/>
                  </a:lnTo>
                  <a:lnTo>
                    <a:pt x="845" y="1217"/>
                  </a:lnTo>
                  <a:lnTo>
                    <a:pt x="845" y="1218"/>
                  </a:lnTo>
                  <a:lnTo>
                    <a:pt x="845" y="1220"/>
                  </a:lnTo>
                  <a:lnTo>
                    <a:pt x="846" y="1220"/>
                  </a:lnTo>
                  <a:lnTo>
                    <a:pt x="846" y="1222"/>
                  </a:lnTo>
                  <a:lnTo>
                    <a:pt x="845" y="1223"/>
                  </a:lnTo>
                  <a:lnTo>
                    <a:pt x="843" y="1223"/>
                  </a:lnTo>
                  <a:lnTo>
                    <a:pt x="843" y="1225"/>
                  </a:lnTo>
                  <a:lnTo>
                    <a:pt x="845" y="1227"/>
                  </a:lnTo>
                  <a:lnTo>
                    <a:pt x="843" y="1227"/>
                  </a:lnTo>
                  <a:lnTo>
                    <a:pt x="841" y="1228"/>
                  </a:lnTo>
                  <a:lnTo>
                    <a:pt x="840" y="1230"/>
                  </a:lnTo>
                  <a:lnTo>
                    <a:pt x="841" y="1230"/>
                  </a:lnTo>
                  <a:lnTo>
                    <a:pt x="841" y="1231"/>
                  </a:lnTo>
                  <a:lnTo>
                    <a:pt x="841" y="1233"/>
                  </a:lnTo>
                  <a:lnTo>
                    <a:pt x="843" y="1233"/>
                  </a:lnTo>
                  <a:lnTo>
                    <a:pt x="843" y="1231"/>
                  </a:lnTo>
                  <a:lnTo>
                    <a:pt x="843" y="1230"/>
                  </a:lnTo>
                  <a:lnTo>
                    <a:pt x="845" y="1230"/>
                  </a:lnTo>
                  <a:lnTo>
                    <a:pt x="845" y="1228"/>
                  </a:lnTo>
                  <a:lnTo>
                    <a:pt x="846" y="1228"/>
                  </a:lnTo>
                  <a:lnTo>
                    <a:pt x="848" y="1227"/>
                  </a:lnTo>
                  <a:lnTo>
                    <a:pt x="849" y="1227"/>
                  </a:lnTo>
                  <a:lnTo>
                    <a:pt x="851" y="1227"/>
                  </a:lnTo>
                  <a:lnTo>
                    <a:pt x="851" y="1225"/>
                  </a:lnTo>
                  <a:lnTo>
                    <a:pt x="853" y="1225"/>
                  </a:lnTo>
                  <a:lnTo>
                    <a:pt x="853" y="1223"/>
                  </a:lnTo>
                  <a:lnTo>
                    <a:pt x="853" y="1225"/>
                  </a:lnTo>
                  <a:lnTo>
                    <a:pt x="853" y="1223"/>
                  </a:lnTo>
                  <a:lnTo>
                    <a:pt x="854" y="1223"/>
                  </a:lnTo>
                  <a:lnTo>
                    <a:pt x="856" y="1223"/>
                  </a:lnTo>
                  <a:lnTo>
                    <a:pt x="858" y="1223"/>
                  </a:lnTo>
                  <a:lnTo>
                    <a:pt x="859" y="1223"/>
                  </a:lnTo>
                  <a:lnTo>
                    <a:pt x="859" y="1222"/>
                  </a:lnTo>
                  <a:lnTo>
                    <a:pt x="861" y="1222"/>
                  </a:lnTo>
                  <a:lnTo>
                    <a:pt x="862" y="1222"/>
                  </a:lnTo>
                  <a:lnTo>
                    <a:pt x="864" y="1220"/>
                  </a:lnTo>
                  <a:lnTo>
                    <a:pt x="866" y="1220"/>
                  </a:lnTo>
                  <a:lnTo>
                    <a:pt x="867" y="1220"/>
                  </a:lnTo>
                  <a:lnTo>
                    <a:pt x="867" y="1218"/>
                  </a:lnTo>
                  <a:lnTo>
                    <a:pt x="866" y="1218"/>
                  </a:lnTo>
                  <a:lnTo>
                    <a:pt x="864" y="1220"/>
                  </a:lnTo>
                  <a:lnTo>
                    <a:pt x="862" y="1220"/>
                  </a:lnTo>
                  <a:lnTo>
                    <a:pt x="861" y="1220"/>
                  </a:lnTo>
                  <a:lnTo>
                    <a:pt x="859" y="1222"/>
                  </a:lnTo>
                  <a:lnTo>
                    <a:pt x="856" y="1222"/>
                  </a:lnTo>
                  <a:lnTo>
                    <a:pt x="853" y="1222"/>
                  </a:lnTo>
                  <a:lnTo>
                    <a:pt x="851" y="1222"/>
                  </a:lnTo>
                  <a:lnTo>
                    <a:pt x="849" y="1222"/>
                  </a:lnTo>
                  <a:lnTo>
                    <a:pt x="849" y="1220"/>
                  </a:lnTo>
                  <a:lnTo>
                    <a:pt x="851" y="1220"/>
                  </a:lnTo>
                  <a:lnTo>
                    <a:pt x="849" y="1218"/>
                  </a:lnTo>
                  <a:lnTo>
                    <a:pt x="849" y="1220"/>
                  </a:lnTo>
                  <a:lnTo>
                    <a:pt x="848" y="1218"/>
                  </a:lnTo>
                  <a:lnTo>
                    <a:pt x="848" y="1217"/>
                  </a:lnTo>
                  <a:lnTo>
                    <a:pt x="846" y="1217"/>
                  </a:lnTo>
                  <a:lnTo>
                    <a:pt x="846" y="1215"/>
                  </a:lnTo>
                  <a:lnTo>
                    <a:pt x="848" y="1215"/>
                  </a:lnTo>
                  <a:lnTo>
                    <a:pt x="846" y="1214"/>
                  </a:lnTo>
                  <a:lnTo>
                    <a:pt x="848" y="1214"/>
                  </a:lnTo>
                  <a:lnTo>
                    <a:pt x="848" y="1212"/>
                  </a:lnTo>
                  <a:lnTo>
                    <a:pt x="849" y="1212"/>
                  </a:lnTo>
                  <a:lnTo>
                    <a:pt x="849" y="1214"/>
                  </a:lnTo>
                  <a:lnTo>
                    <a:pt x="851" y="1212"/>
                  </a:lnTo>
                  <a:lnTo>
                    <a:pt x="853" y="1212"/>
                  </a:lnTo>
                  <a:lnTo>
                    <a:pt x="854" y="1214"/>
                  </a:lnTo>
                  <a:lnTo>
                    <a:pt x="854" y="1212"/>
                  </a:lnTo>
                  <a:lnTo>
                    <a:pt x="856" y="1212"/>
                  </a:lnTo>
                  <a:lnTo>
                    <a:pt x="856" y="1210"/>
                  </a:lnTo>
                  <a:lnTo>
                    <a:pt x="856" y="1212"/>
                  </a:lnTo>
                  <a:lnTo>
                    <a:pt x="858" y="1210"/>
                  </a:lnTo>
                  <a:lnTo>
                    <a:pt x="859" y="1210"/>
                  </a:lnTo>
                  <a:lnTo>
                    <a:pt x="861" y="1210"/>
                  </a:lnTo>
                  <a:lnTo>
                    <a:pt x="861" y="1209"/>
                  </a:lnTo>
                  <a:lnTo>
                    <a:pt x="862" y="1209"/>
                  </a:lnTo>
                  <a:lnTo>
                    <a:pt x="864" y="1209"/>
                  </a:lnTo>
                  <a:lnTo>
                    <a:pt x="866" y="1209"/>
                  </a:lnTo>
                  <a:lnTo>
                    <a:pt x="867" y="1209"/>
                  </a:lnTo>
                  <a:lnTo>
                    <a:pt x="867" y="1207"/>
                  </a:lnTo>
                  <a:lnTo>
                    <a:pt x="866" y="1207"/>
                  </a:lnTo>
                  <a:lnTo>
                    <a:pt x="867" y="1207"/>
                  </a:lnTo>
                  <a:lnTo>
                    <a:pt x="866" y="1207"/>
                  </a:lnTo>
                  <a:lnTo>
                    <a:pt x="867" y="1205"/>
                  </a:lnTo>
                  <a:lnTo>
                    <a:pt x="867" y="1207"/>
                  </a:lnTo>
                  <a:lnTo>
                    <a:pt x="867" y="1205"/>
                  </a:lnTo>
                  <a:lnTo>
                    <a:pt x="869" y="1205"/>
                  </a:lnTo>
                  <a:lnTo>
                    <a:pt x="866" y="1205"/>
                  </a:lnTo>
                  <a:lnTo>
                    <a:pt x="866" y="1207"/>
                  </a:lnTo>
                  <a:lnTo>
                    <a:pt x="864" y="1207"/>
                  </a:lnTo>
                  <a:lnTo>
                    <a:pt x="862" y="1207"/>
                  </a:lnTo>
                  <a:lnTo>
                    <a:pt x="862" y="1209"/>
                  </a:lnTo>
                  <a:lnTo>
                    <a:pt x="861" y="1209"/>
                  </a:lnTo>
                  <a:lnTo>
                    <a:pt x="859" y="1209"/>
                  </a:lnTo>
                  <a:lnTo>
                    <a:pt x="858" y="1209"/>
                  </a:lnTo>
                  <a:lnTo>
                    <a:pt x="858" y="1210"/>
                  </a:lnTo>
                  <a:lnTo>
                    <a:pt x="858" y="1209"/>
                  </a:lnTo>
                  <a:lnTo>
                    <a:pt x="858" y="1210"/>
                  </a:lnTo>
                  <a:lnTo>
                    <a:pt x="858" y="1209"/>
                  </a:lnTo>
                  <a:lnTo>
                    <a:pt x="858" y="1207"/>
                  </a:lnTo>
                  <a:lnTo>
                    <a:pt x="856" y="1207"/>
                  </a:lnTo>
                  <a:lnTo>
                    <a:pt x="854" y="1207"/>
                  </a:lnTo>
                  <a:lnTo>
                    <a:pt x="856" y="1205"/>
                  </a:lnTo>
                  <a:lnTo>
                    <a:pt x="854" y="1205"/>
                  </a:lnTo>
                  <a:lnTo>
                    <a:pt x="854" y="1204"/>
                  </a:lnTo>
                  <a:lnTo>
                    <a:pt x="853" y="1204"/>
                  </a:lnTo>
                  <a:lnTo>
                    <a:pt x="854" y="1205"/>
                  </a:lnTo>
                  <a:lnTo>
                    <a:pt x="853" y="1205"/>
                  </a:lnTo>
                  <a:lnTo>
                    <a:pt x="854" y="1205"/>
                  </a:lnTo>
                  <a:lnTo>
                    <a:pt x="854" y="1207"/>
                  </a:lnTo>
                  <a:lnTo>
                    <a:pt x="853" y="1209"/>
                  </a:lnTo>
                  <a:lnTo>
                    <a:pt x="854" y="1209"/>
                  </a:lnTo>
                  <a:lnTo>
                    <a:pt x="856" y="1207"/>
                  </a:lnTo>
                  <a:lnTo>
                    <a:pt x="856" y="1209"/>
                  </a:lnTo>
                  <a:lnTo>
                    <a:pt x="858" y="1209"/>
                  </a:lnTo>
                  <a:lnTo>
                    <a:pt x="856" y="1209"/>
                  </a:lnTo>
                  <a:lnTo>
                    <a:pt x="858" y="1209"/>
                  </a:lnTo>
                  <a:lnTo>
                    <a:pt x="856" y="1209"/>
                  </a:lnTo>
                  <a:lnTo>
                    <a:pt x="856" y="1210"/>
                  </a:lnTo>
                  <a:lnTo>
                    <a:pt x="854" y="1210"/>
                  </a:lnTo>
                  <a:lnTo>
                    <a:pt x="853" y="1210"/>
                  </a:lnTo>
                  <a:lnTo>
                    <a:pt x="851" y="1210"/>
                  </a:lnTo>
                  <a:lnTo>
                    <a:pt x="849" y="1210"/>
                  </a:lnTo>
                  <a:lnTo>
                    <a:pt x="849" y="1209"/>
                  </a:lnTo>
                  <a:lnTo>
                    <a:pt x="848" y="1209"/>
                  </a:lnTo>
                  <a:lnTo>
                    <a:pt x="846" y="1209"/>
                  </a:lnTo>
                  <a:lnTo>
                    <a:pt x="848" y="1209"/>
                  </a:lnTo>
                  <a:lnTo>
                    <a:pt x="846" y="1207"/>
                  </a:lnTo>
                  <a:lnTo>
                    <a:pt x="846" y="1205"/>
                  </a:lnTo>
                  <a:lnTo>
                    <a:pt x="845" y="1205"/>
                  </a:lnTo>
                  <a:lnTo>
                    <a:pt x="845" y="1204"/>
                  </a:lnTo>
                  <a:lnTo>
                    <a:pt x="846" y="1204"/>
                  </a:lnTo>
                  <a:lnTo>
                    <a:pt x="848" y="1204"/>
                  </a:lnTo>
                  <a:lnTo>
                    <a:pt x="846" y="1202"/>
                  </a:lnTo>
                  <a:lnTo>
                    <a:pt x="848" y="1202"/>
                  </a:lnTo>
                  <a:lnTo>
                    <a:pt x="849" y="1202"/>
                  </a:lnTo>
                  <a:lnTo>
                    <a:pt x="849" y="1201"/>
                  </a:lnTo>
                  <a:lnTo>
                    <a:pt x="851" y="1201"/>
                  </a:lnTo>
                  <a:lnTo>
                    <a:pt x="851" y="1202"/>
                  </a:lnTo>
                  <a:lnTo>
                    <a:pt x="853" y="1202"/>
                  </a:lnTo>
                  <a:lnTo>
                    <a:pt x="851" y="1204"/>
                  </a:lnTo>
                  <a:lnTo>
                    <a:pt x="853" y="1204"/>
                  </a:lnTo>
                  <a:lnTo>
                    <a:pt x="853" y="1202"/>
                  </a:lnTo>
                  <a:lnTo>
                    <a:pt x="851" y="1201"/>
                  </a:lnTo>
                  <a:lnTo>
                    <a:pt x="854" y="1199"/>
                  </a:lnTo>
                  <a:lnTo>
                    <a:pt x="854" y="1201"/>
                  </a:lnTo>
                  <a:lnTo>
                    <a:pt x="856" y="1201"/>
                  </a:lnTo>
                  <a:lnTo>
                    <a:pt x="856" y="1199"/>
                  </a:lnTo>
                  <a:lnTo>
                    <a:pt x="858" y="1197"/>
                  </a:lnTo>
                  <a:lnTo>
                    <a:pt x="858" y="1196"/>
                  </a:lnTo>
                  <a:lnTo>
                    <a:pt x="858" y="1197"/>
                  </a:lnTo>
                  <a:lnTo>
                    <a:pt x="859" y="1196"/>
                  </a:lnTo>
                  <a:lnTo>
                    <a:pt x="858" y="1196"/>
                  </a:lnTo>
                  <a:lnTo>
                    <a:pt x="859" y="1196"/>
                  </a:lnTo>
                  <a:lnTo>
                    <a:pt x="861" y="1196"/>
                  </a:lnTo>
                  <a:lnTo>
                    <a:pt x="859" y="1196"/>
                  </a:lnTo>
                  <a:lnTo>
                    <a:pt x="861" y="1196"/>
                  </a:lnTo>
                  <a:lnTo>
                    <a:pt x="861" y="1194"/>
                  </a:lnTo>
                  <a:lnTo>
                    <a:pt x="861" y="1196"/>
                  </a:lnTo>
                  <a:lnTo>
                    <a:pt x="862" y="1196"/>
                  </a:lnTo>
                  <a:lnTo>
                    <a:pt x="861" y="1196"/>
                  </a:lnTo>
                  <a:lnTo>
                    <a:pt x="861" y="1197"/>
                  </a:lnTo>
                  <a:lnTo>
                    <a:pt x="861" y="1199"/>
                  </a:lnTo>
                  <a:lnTo>
                    <a:pt x="861" y="1201"/>
                  </a:lnTo>
                  <a:lnTo>
                    <a:pt x="861" y="1202"/>
                  </a:lnTo>
                  <a:lnTo>
                    <a:pt x="862" y="1202"/>
                  </a:lnTo>
                  <a:lnTo>
                    <a:pt x="862" y="1204"/>
                  </a:lnTo>
                  <a:lnTo>
                    <a:pt x="862" y="1202"/>
                  </a:lnTo>
                  <a:lnTo>
                    <a:pt x="862" y="1201"/>
                  </a:lnTo>
                  <a:lnTo>
                    <a:pt x="862" y="1199"/>
                  </a:lnTo>
                  <a:lnTo>
                    <a:pt x="864" y="1197"/>
                  </a:lnTo>
                  <a:lnTo>
                    <a:pt x="864" y="1196"/>
                  </a:lnTo>
                  <a:lnTo>
                    <a:pt x="866" y="1196"/>
                  </a:lnTo>
                  <a:lnTo>
                    <a:pt x="864" y="1196"/>
                  </a:lnTo>
                  <a:lnTo>
                    <a:pt x="866" y="1196"/>
                  </a:lnTo>
                  <a:lnTo>
                    <a:pt x="866" y="1194"/>
                  </a:lnTo>
                  <a:lnTo>
                    <a:pt x="867" y="1192"/>
                  </a:lnTo>
                  <a:lnTo>
                    <a:pt x="867" y="1194"/>
                  </a:lnTo>
                  <a:lnTo>
                    <a:pt x="869" y="1194"/>
                  </a:lnTo>
                  <a:lnTo>
                    <a:pt x="871" y="1194"/>
                  </a:lnTo>
                  <a:lnTo>
                    <a:pt x="872" y="1194"/>
                  </a:lnTo>
                  <a:lnTo>
                    <a:pt x="872" y="1196"/>
                  </a:lnTo>
                  <a:lnTo>
                    <a:pt x="872" y="1197"/>
                  </a:lnTo>
                  <a:lnTo>
                    <a:pt x="872" y="1199"/>
                  </a:lnTo>
                  <a:lnTo>
                    <a:pt x="872" y="1197"/>
                  </a:lnTo>
                  <a:lnTo>
                    <a:pt x="872" y="1196"/>
                  </a:lnTo>
                  <a:lnTo>
                    <a:pt x="872" y="1194"/>
                  </a:lnTo>
                  <a:lnTo>
                    <a:pt x="871" y="1194"/>
                  </a:lnTo>
                  <a:lnTo>
                    <a:pt x="872" y="1192"/>
                  </a:lnTo>
                  <a:lnTo>
                    <a:pt x="872" y="1191"/>
                  </a:lnTo>
                  <a:lnTo>
                    <a:pt x="871" y="1191"/>
                  </a:lnTo>
                  <a:lnTo>
                    <a:pt x="869" y="1191"/>
                  </a:lnTo>
                  <a:lnTo>
                    <a:pt x="869" y="1192"/>
                  </a:lnTo>
                  <a:lnTo>
                    <a:pt x="867" y="1192"/>
                  </a:lnTo>
                  <a:lnTo>
                    <a:pt x="867" y="1191"/>
                  </a:lnTo>
                  <a:lnTo>
                    <a:pt x="869" y="1191"/>
                  </a:lnTo>
                  <a:lnTo>
                    <a:pt x="869" y="1189"/>
                  </a:lnTo>
                  <a:lnTo>
                    <a:pt x="871" y="1189"/>
                  </a:lnTo>
                  <a:lnTo>
                    <a:pt x="872" y="1188"/>
                  </a:lnTo>
                  <a:lnTo>
                    <a:pt x="874" y="1188"/>
                  </a:lnTo>
                  <a:lnTo>
                    <a:pt x="874" y="1186"/>
                  </a:lnTo>
                  <a:lnTo>
                    <a:pt x="875" y="1186"/>
                  </a:lnTo>
                  <a:lnTo>
                    <a:pt x="877" y="1186"/>
                  </a:lnTo>
                  <a:lnTo>
                    <a:pt x="879" y="1186"/>
                  </a:lnTo>
                  <a:lnTo>
                    <a:pt x="879" y="1184"/>
                  </a:lnTo>
                  <a:lnTo>
                    <a:pt x="880" y="1183"/>
                  </a:lnTo>
                  <a:lnTo>
                    <a:pt x="880" y="1184"/>
                  </a:lnTo>
                  <a:lnTo>
                    <a:pt x="880" y="1183"/>
                  </a:lnTo>
                  <a:lnTo>
                    <a:pt x="882" y="1183"/>
                  </a:lnTo>
                  <a:lnTo>
                    <a:pt x="884" y="1183"/>
                  </a:lnTo>
                  <a:lnTo>
                    <a:pt x="884" y="1184"/>
                  </a:lnTo>
                  <a:lnTo>
                    <a:pt x="884" y="1186"/>
                  </a:lnTo>
                  <a:lnTo>
                    <a:pt x="882" y="1188"/>
                  </a:lnTo>
                  <a:lnTo>
                    <a:pt x="884" y="1186"/>
                  </a:lnTo>
                  <a:lnTo>
                    <a:pt x="884" y="1188"/>
                  </a:lnTo>
                  <a:lnTo>
                    <a:pt x="884" y="1189"/>
                  </a:lnTo>
                  <a:lnTo>
                    <a:pt x="885" y="1191"/>
                  </a:lnTo>
                  <a:lnTo>
                    <a:pt x="884" y="1191"/>
                  </a:lnTo>
                  <a:lnTo>
                    <a:pt x="884" y="1192"/>
                  </a:lnTo>
                  <a:lnTo>
                    <a:pt x="885" y="1192"/>
                  </a:lnTo>
                  <a:lnTo>
                    <a:pt x="887" y="1194"/>
                  </a:lnTo>
                  <a:lnTo>
                    <a:pt x="887" y="1196"/>
                  </a:lnTo>
                  <a:lnTo>
                    <a:pt x="888" y="1196"/>
                  </a:lnTo>
                  <a:lnTo>
                    <a:pt x="888" y="1197"/>
                  </a:lnTo>
                  <a:lnTo>
                    <a:pt x="888" y="1199"/>
                  </a:lnTo>
                  <a:lnTo>
                    <a:pt x="888" y="1201"/>
                  </a:lnTo>
                  <a:lnTo>
                    <a:pt x="887" y="1201"/>
                  </a:lnTo>
                  <a:lnTo>
                    <a:pt x="888" y="1202"/>
                  </a:lnTo>
                  <a:lnTo>
                    <a:pt x="888" y="1204"/>
                  </a:lnTo>
                  <a:lnTo>
                    <a:pt x="890" y="1204"/>
                  </a:lnTo>
                  <a:lnTo>
                    <a:pt x="890" y="1202"/>
                  </a:lnTo>
                  <a:lnTo>
                    <a:pt x="890" y="1204"/>
                  </a:lnTo>
                  <a:lnTo>
                    <a:pt x="890" y="1205"/>
                  </a:lnTo>
                  <a:lnTo>
                    <a:pt x="892" y="1205"/>
                  </a:lnTo>
                  <a:lnTo>
                    <a:pt x="892" y="1207"/>
                  </a:lnTo>
                  <a:lnTo>
                    <a:pt x="893" y="1207"/>
                  </a:lnTo>
                  <a:lnTo>
                    <a:pt x="893" y="1209"/>
                  </a:lnTo>
                  <a:lnTo>
                    <a:pt x="895" y="1209"/>
                  </a:lnTo>
                  <a:lnTo>
                    <a:pt x="895" y="1210"/>
                  </a:lnTo>
                  <a:lnTo>
                    <a:pt x="897" y="1210"/>
                  </a:lnTo>
                  <a:lnTo>
                    <a:pt x="898" y="1212"/>
                  </a:lnTo>
                  <a:lnTo>
                    <a:pt x="898" y="1214"/>
                  </a:lnTo>
                  <a:lnTo>
                    <a:pt x="898" y="1215"/>
                  </a:lnTo>
                  <a:lnTo>
                    <a:pt x="898" y="1217"/>
                  </a:lnTo>
                  <a:lnTo>
                    <a:pt x="897" y="1217"/>
                  </a:lnTo>
                  <a:lnTo>
                    <a:pt x="897" y="1218"/>
                  </a:lnTo>
                  <a:lnTo>
                    <a:pt x="897" y="1222"/>
                  </a:lnTo>
                  <a:lnTo>
                    <a:pt x="895" y="1222"/>
                  </a:lnTo>
                  <a:lnTo>
                    <a:pt x="895" y="1223"/>
                  </a:lnTo>
                  <a:lnTo>
                    <a:pt x="893" y="1225"/>
                  </a:lnTo>
                  <a:lnTo>
                    <a:pt x="890" y="1227"/>
                  </a:lnTo>
                  <a:lnTo>
                    <a:pt x="888" y="1228"/>
                  </a:lnTo>
                  <a:lnTo>
                    <a:pt x="888" y="1230"/>
                  </a:lnTo>
                  <a:lnTo>
                    <a:pt x="888" y="1231"/>
                  </a:lnTo>
                  <a:lnTo>
                    <a:pt x="890" y="1230"/>
                  </a:lnTo>
                  <a:lnTo>
                    <a:pt x="890" y="1231"/>
                  </a:lnTo>
                  <a:lnTo>
                    <a:pt x="890" y="1230"/>
                  </a:lnTo>
                  <a:lnTo>
                    <a:pt x="892" y="1230"/>
                  </a:lnTo>
                  <a:lnTo>
                    <a:pt x="893" y="1228"/>
                  </a:lnTo>
                  <a:lnTo>
                    <a:pt x="895" y="1227"/>
                  </a:lnTo>
                  <a:lnTo>
                    <a:pt x="897" y="1227"/>
                  </a:lnTo>
                  <a:lnTo>
                    <a:pt x="897" y="1225"/>
                  </a:lnTo>
                  <a:lnTo>
                    <a:pt x="898" y="1225"/>
                  </a:lnTo>
                  <a:lnTo>
                    <a:pt x="900" y="1225"/>
                  </a:lnTo>
                  <a:lnTo>
                    <a:pt x="901" y="1225"/>
                  </a:lnTo>
                  <a:lnTo>
                    <a:pt x="903" y="1225"/>
                  </a:lnTo>
                  <a:lnTo>
                    <a:pt x="903" y="1227"/>
                  </a:lnTo>
                  <a:lnTo>
                    <a:pt x="905" y="1227"/>
                  </a:lnTo>
                  <a:lnTo>
                    <a:pt x="905" y="1228"/>
                  </a:lnTo>
                  <a:lnTo>
                    <a:pt x="906" y="1228"/>
                  </a:lnTo>
                  <a:lnTo>
                    <a:pt x="908" y="1228"/>
                  </a:lnTo>
                  <a:lnTo>
                    <a:pt x="910" y="1230"/>
                  </a:lnTo>
                  <a:lnTo>
                    <a:pt x="911" y="1230"/>
                  </a:lnTo>
                  <a:lnTo>
                    <a:pt x="913" y="1230"/>
                  </a:lnTo>
                  <a:lnTo>
                    <a:pt x="913" y="1228"/>
                  </a:lnTo>
                  <a:lnTo>
                    <a:pt x="914" y="1227"/>
                  </a:lnTo>
                  <a:lnTo>
                    <a:pt x="916" y="1227"/>
                  </a:lnTo>
                  <a:lnTo>
                    <a:pt x="916" y="1228"/>
                  </a:lnTo>
                  <a:lnTo>
                    <a:pt x="918" y="1228"/>
                  </a:lnTo>
                  <a:lnTo>
                    <a:pt x="918" y="1230"/>
                  </a:lnTo>
                  <a:lnTo>
                    <a:pt x="918" y="1228"/>
                  </a:lnTo>
                  <a:lnTo>
                    <a:pt x="916" y="1228"/>
                  </a:lnTo>
                  <a:lnTo>
                    <a:pt x="916" y="1227"/>
                  </a:lnTo>
                  <a:lnTo>
                    <a:pt x="914" y="1227"/>
                  </a:lnTo>
                  <a:lnTo>
                    <a:pt x="913" y="1225"/>
                  </a:lnTo>
                  <a:lnTo>
                    <a:pt x="913" y="1227"/>
                  </a:lnTo>
                  <a:lnTo>
                    <a:pt x="911" y="1225"/>
                  </a:lnTo>
                  <a:lnTo>
                    <a:pt x="911" y="1227"/>
                  </a:lnTo>
                  <a:lnTo>
                    <a:pt x="910" y="1225"/>
                  </a:lnTo>
                  <a:lnTo>
                    <a:pt x="908" y="1225"/>
                  </a:lnTo>
                  <a:lnTo>
                    <a:pt x="906" y="1225"/>
                  </a:lnTo>
                  <a:lnTo>
                    <a:pt x="906" y="1223"/>
                  </a:lnTo>
                  <a:lnTo>
                    <a:pt x="905" y="1222"/>
                  </a:lnTo>
                  <a:lnTo>
                    <a:pt x="903" y="1220"/>
                  </a:lnTo>
                  <a:lnTo>
                    <a:pt x="905" y="1218"/>
                  </a:lnTo>
                  <a:lnTo>
                    <a:pt x="903" y="1218"/>
                  </a:lnTo>
                  <a:lnTo>
                    <a:pt x="905" y="1217"/>
                  </a:lnTo>
                  <a:lnTo>
                    <a:pt x="906" y="1215"/>
                  </a:lnTo>
                  <a:lnTo>
                    <a:pt x="906" y="1214"/>
                  </a:lnTo>
                  <a:lnTo>
                    <a:pt x="910" y="1214"/>
                  </a:lnTo>
                  <a:lnTo>
                    <a:pt x="910" y="1212"/>
                  </a:lnTo>
                  <a:lnTo>
                    <a:pt x="911" y="1212"/>
                  </a:lnTo>
                  <a:lnTo>
                    <a:pt x="911" y="1210"/>
                  </a:lnTo>
                  <a:lnTo>
                    <a:pt x="913" y="1210"/>
                  </a:lnTo>
                  <a:lnTo>
                    <a:pt x="914" y="1210"/>
                  </a:lnTo>
                  <a:lnTo>
                    <a:pt x="916" y="1210"/>
                  </a:lnTo>
                  <a:lnTo>
                    <a:pt x="918" y="1210"/>
                  </a:lnTo>
                  <a:lnTo>
                    <a:pt x="919" y="1210"/>
                  </a:lnTo>
                  <a:lnTo>
                    <a:pt x="921" y="1210"/>
                  </a:lnTo>
                  <a:lnTo>
                    <a:pt x="923" y="1212"/>
                  </a:lnTo>
                  <a:lnTo>
                    <a:pt x="923" y="1214"/>
                  </a:lnTo>
                  <a:lnTo>
                    <a:pt x="924" y="1214"/>
                  </a:lnTo>
                  <a:lnTo>
                    <a:pt x="926" y="1212"/>
                  </a:lnTo>
                  <a:lnTo>
                    <a:pt x="927" y="1212"/>
                  </a:lnTo>
                  <a:lnTo>
                    <a:pt x="927" y="1210"/>
                  </a:lnTo>
                  <a:lnTo>
                    <a:pt x="929" y="1210"/>
                  </a:lnTo>
                  <a:lnTo>
                    <a:pt x="931" y="1212"/>
                  </a:lnTo>
                  <a:lnTo>
                    <a:pt x="932" y="1212"/>
                  </a:lnTo>
                  <a:lnTo>
                    <a:pt x="932" y="1214"/>
                  </a:lnTo>
                  <a:lnTo>
                    <a:pt x="934" y="1214"/>
                  </a:lnTo>
                  <a:lnTo>
                    <a:pt x="936" y="1214"/>
                  </a:lnTo>
                  <a:lnTo>
                    <a:pt x="937" y="1212"/>
                  </a:lnTo>
                  <a:lnTo>
                    <a:pt x="939" y="1212"/>
                  </a:lnTo>
                  <a:lnTo>
                    <a:pt x="940" y="1212"/>
                  </a:lnTo>
                  <a:lnTo>
                    <a:pt x="942" y="1212"/>
                  </a:lnTo>
                  <a:lnTo>
                    <a:pt x="944" y="1212"/>
                  </a:lnTo>
                  <a:lnTo>
                    <a:pt x="945" y="1212"/>
                  </a:lnTo>
                  <a:lnTo>
                    <a:pt x="945" y="1214"/>
                  </a:lnTo>
                  <a:lnTo>
                    <a:pt x="947" y="1214"/>
                  </a:lnTo>
                  <a:lnTo>
                    <a:pt x="947" y="1212"/>
                  </a:lnTo>
                  <a:lnTo>
                    <a:pt x="947" y="1214"/>
                  </a:lnTo>
                  <a:lnTo>
                    <a:pt x="947" y="1212"/>
                  </a:lnTo>
                  <a:lnTo>
                    <a:pt x="949" y="1214"/>
                  </a:lnTo>
                  <a:lnTo>
                    <a:pt x="950" y="1214"/>
                  </a:lnTo>
                  <a:lnTo>
                    <a:pt x="950" y="1215"/>
                  </a:lnTo>
                  <a:lnTo>
                    <a:pt x="952" y="1215"/>
                  </a:lnTo>
                  <a:lnTo>
                    <a:pt x="952" y="1214"/>
                  </a:lnTo>
                  <a:lnTo>
                    <a:pt x="952" y="1212"/>
                  </a:lnTo>
                  <a:lnTo>
                    <a:pt x="953" y="1212"/>
                  </a:lnTo>
                  <a:lnTo>
                    <a:pt x="955" y="1212"/>
                  </a:lnTo>
                  <a:lnTo>
                    <a:pt x="953" y="1212"/>
                  </a:lnTo>
                  <a:lnTo>
                    <a:pt x="955" y="1212"/>
                  </a:lnTo>
                  <a:lnTo>
                    <a:pt x="955" y="1210"/>
                  </a:lnTo>
                  <a:lnTo>
                    <a:pt x="957" y="1210"/>
                  </a:lnTo>
                  <a:lnTo>
                    <a:pt x="958" y="1210"/>
                  </a:lnTo>
                  <a:lnTo>
                    <a:pt x="960" y="1210"/>
                  </a:lnTo>
                  <a:lnTo>
                    <a:pt x="958" y="1210"/>
                  </a:lnTo>
                  <a:lnTo>
                    <a:pt x="958" y="1209"/>
                  </a:lnTo>
                  <a:lnTo>
                    <a:pt x="958" y="1210"/>
                  </a:lnTo>
                  <a:lnTo>
                    <a:pt x="957" y="1210"/>
                  </a:lnTo>
                  <a:lnTo>
                    <a:pt x="958" y="1209"/>
                  </a:lnTo>
                  <a:lnTo>
                    <a:pt x="957" y="1209"/>
                  </a:lnTo>
                  <a:lnTo>
                    <a:pt x="958" y="1209"/>
                  </a:lnTo>
                  <a:lnTo>
                    <a:pt x="958" y="1207"/>
                  </a:lnTo>
                  <a:lnTo>
                    <a:pt x="958" y="1209"/>
                  </a:lnTo>
                  <a:lnTo>
                    <a:pt x="958" y="1207"/>
                  </a:lnTo>
                  <a:lnTo>
                    <a:pt x="957" y="1209"/>
                  </a:lnTo>
                  <a:lnTo>
                    <a:pt x="957" y="1207"/>
                  </a:lnTo>
                  <a:lnTo>
                    <a:pt x="955" y="1207"/>
                  </a:lnTo>
                  <a:lnTo>
                    <a:pt x="953" y="1207"/>
                  </a:lnTo>
                  <a:lnTo>
                    <a:pt x="952" y="1207"/>
                  </a:lnTo>
                  <a:lnTo>
                    <a:pt x="950" y="1205"/>
                  </a:lnTo>
                  <a:lnTo>
                    <a:pt x="950" y="1204"/>
                  </a:lnTo>
                  <a:lnTo>
                    <a:pt x="949" y="1204"/>
                  </a:lnTo>
                  <a:lnTo>
                    <a:pt x="949" y="1202"/>
                  </a:lnTo>
                  <a:lnTo>
                    <a:pt x="949" y="1201"/>
                  </a:lnTo>
                  <a:lnTo>
                    <a:pt x="949" y="1199"/>
                  </a:lnTo>
                  <a:lnTo>
                    <a:pt x="950" y="1197"/>
                  </a:lnTo>
                  <a:lnTo>
                    <a:pt x="952" y="1197"/>
                  </a:lnTo>
                  <a:lnTo>
                    <a:pt x="953" y="1197"/>
                  </a:lnTo>
                  <a:lnTo>
                    <a:pt x="955" y="1197"/>
                  </a:lnTo>
                  <a:lnTo>
                    <a:pt x="957" y="1197"/>
                  </a:lnTo>
                  <a:lnTo>
                    <a:pt x="958" y="1196"/>
                  </a:lnTo>
                  <a:lnTo>
                    <a:pt x="960" y="1194"/>
                  </a:lnTo>
                  <a:lnTo>
                    <a:pt x="958" y="1194"/>
                  </a:lnTo>
                  <a:lnTo>
                    <a:pt x="957" y="1194"/>
                  </a:lnTo>
                  <a:lnTo>
                    <a:pt x="955" y="1194"/>
                  </a:lnTo>
                  <a:lnTo>
                    <a:pt x="955" y="1192"/>
                  </a:lnTo>
                  <a:lnTo>
                    <a:pt x="957" y="1191"/>
                  </a:lnTo>
                  <a:lnTo>
                    <a:pt x="955" y="1191"/>
                  </a:lnTo>
                  <a:lnTo>
                    <a:pt x="957" y="1191"/>
                  </a:lnTo>
                  <a:lnTo>
                    <a:pt x="958" y="1191"/>
                  </a:lnTo>
                  <a:lnTo>
                    <a:pt x="958" y="1189"/>
                  </a:lnTo>
                  <a:lnTo>
                    <a:pt x="957" y="1191"/>
                  </a:lnTo>
                  <a:lnTo>
                    <a:pt x="957" y="1189"/>
                  </a:lnTo>
                  <a:lnTo>
                    <a:pt x="958" y="1189"/>
                  </a:lnTo>
                  <a:lnTo>
                    <a:pt x="960" y="1189"/>
                  </a:lnTo>
                  <a:lnTo>
                    <a:pt x="958" y="1188"/>
                  </a:lnTo>
                  <a:lnTo>
                    <a:pt x="960" y="1188"/>
                  </a:lnTo>
                  <a:lnTo>
                    <a:pt x="958" y="1188"/>
                  </a:lnTo>
                  <a:lnTo>
                    <a:pt x="960" y="1188"/>
                  </a:lnTo>
                  <a:lnTo>
                    <a:pt x="958" y="1188"/>
                  </a:lnTo>
                  <a:lnTo>
                    <a:pt x="958" y="1186"/>
                  </a:lnTo>
                  <a:lnTo>
                    <a:pt x="958" y="1188"/>
                  </a:lnTo>
                  <a:lnTo>
                    <a:pt x="957" y="1188"/>
                  </a:lnTo>
                  <a:lnTo>
                    <a:pt x="955" y="1189"/>
                  </a:lnTo>
                  <a:lnTo>
                    <a:pt x="953" y="1191"/>
                  </a:lnTo>
                  <a:lnTo>
                    <a:pt x="952" y="1191"/>
                  </a:lnTo>
                  <a:lnTo>
                    <a:pt x="952" y="1192"/>
                  </a:lnTo>
                  <a:lnTo>
                    <a:pt x="950" y="1192"/>
                  </a:lnTo>
                  <a:lnTo>
                    <a:pt x="949" y="1194"/>
                  </a:lnTo>
                  <a:lnTo>
                    <a:pt x="949" y="1192"/>
                  </a:lnTo>
                  <a:lnTo>
                    <a:pt x="947" y="1192"/>
                  </a:lnTo>
                  <a:lnTo>
                    <a:pt x="947" y="1194"/>
                  </a:lnTo>
                  <a:lnTo>
                    <a:pt x="945" y="1194"/>
                  </a:lnTo>
                  <a:lnTo>
                    <a:pt x="945" y="1196"/>
                  </a:lnTo>
                  <a:lnTo>
                    <a:pt x="944" y="1196"/>
                  </a:lnTo>
                  <a:lnTo>
                    <a:pt x="944" y="1197"/>
                  </a:lnTo>
                  <a:lnTo>
                    <a:pt x="942" y="1197"/>
                  </a:lnTo>
                  <a:lnTo>
                    <a:pt x="940" y="1197"/>
                  </a:lnTo>
                  <a:lnTo>
                    <a:pt x="940" y="1196"/>
                  </a:lnTo>
                  <a:lnTo>
                    <a:pt x="942" y="1196"/>
                  </a:lnTo>
                  <a:lnTo>
                    <a:pt x="944" y="1194"/>
                  </a:lnTo>
                  <a:lnTo>
                    <a:pt x="944" y="1192"/>
                  </a:lnTo>
                  <a:lnTo>
                    <a:pt x="944" y="1191"/>
                  </a:lnTo>
                  <a:lnTo>
                    <a:pt x="945" y="1189"/>
                  </a:lnTo>
                  <a:lnTo>
                    <a:pt x="945" y="1188"/>
                  </a:lnTo>
                  <a:lnTo>
                    <a:pt x="945" y="1186"/>
                  </a:lnTo>
                  <a:lnTo>
                    <a:pt x="947" y="1186"/>
                  </a:lnTo>
                  <a:lnTo>
                    <a:pt x="949" y="1184"/>
                  </a:lnTo>
                  <a:lnTo>
                    <a:pt x="950" y="1184"/>
                  </a:lnTo>
                  <a:lnTo>
                    <a:pt x="952" y="1184"/>
                  </a:lnTo>
                  <a:lnTo>
                    <a:pt x="953" y="1184"/>
                  </a:lnTo>
                  <a:lnTo>
                    <a:pt x="953" y="1183"/>
                  </a:lnTo>
                  <a:lnTo>
                    <a:pt x="955" y="1183"/>
                  </a:lnTo>
                  <a:lnTo>
                    <a:pt x="953" y="1183"/>
                  </a:lnTo>
                  <a:lnTo>
                    <a:pt x="955" y="1183"/>
                  </a:lnTo>
                  <a:lnTo>
                    <a:pt x="955" y="1181"/>
                  </a:lnTo>
                  <a:lnTo>
                    <a:pt x="957" y="1179"/>
                  </a:lnTo>
                  <a:lnTo>
                    <a:pt x="957" y="1178"/>
                  </a:lnTo>
                  <a:lnTo>
                    <a:pt x="958" y="1178"/>
                  </a:lnTo>
                  <a:lnTo>
                    <a:pt x="958" y="1176"/>
                  </a:lnTo>
                  <a:lnTo>
                    <a:pt x="960" y="1176"/>
                  </a:lnTo>
                  <a:lnTo>
                    <a:pt x="960" y="1175"/>
                  </a:lnTo>
                  <a:lnTo>
                    <a:pt x="962" y="1175"/>
                  </a:lnTo>
                  <a:lnTo>
                    <a:pt x="963" y="1175"/>
                  </a:lnTo>
                  <a:lnTo>
                    <a:pt x="965" y="1175"/>
                  </a:lnTo>
                  <a:lnTo>
                    <a:pt x="965" y="1173"/>
                  </a:lnTo>
                  <a:lnTo>
                    <a:pt x="963" y="1173"/>
                  </a:lnTo>
                  <a:lnTo>
                    <a:pt x="965" y="1173"/>
                  </a:lnTo>
                  <a:lnTo>
                    <a:pt x="967" y="1173"/>
                  </a:lnTo>
                  <a:lnTo>
                    <a:pt x="967" y="1175"/>
                  </a:lnTo>
                  <a:lnTo>
                    <a:pt x="968" y="1175"/>
                  </a:lnTo>
                  <a:lnTo>
                    <a:pt x="970" y="1175"/>
                  </a:lnTo>
                  <a:lnTo>
                    <a:pt x="968" y="1173"/>
                  </a:lnTo>
                  <a:lnTo>
                    <a:pt x="970" y="1173"/>
                  </a:lnTo>
                  <a:lnTo>
                    <a:pt x="970" y="1175"/>
                  </a:lnTo>
                  <a:lnTo>
                    <a:pt x="971" y="1173"/>
                  </a:lnTo>
                  <a:lnTo>
                    <a:pt x="973" y="1173"/>
                  </a:lnTo>
                  <a:lnTo>
                    <a:pt x="973" y="1171"/>
                  </a:lnTo>
                  <a:lnTo>
                    <a:pt x="975" y="1173"/>
                  </a:lnTo>
                  <a:lnTo>
                    <a:pt x="976" y="1173"/>
                  </a:lnTo>
                  <a:lnTo>
                    <a:pt x="978" y="1171"/>
                  </a:lnTo>
                  <a:lnTo>
                    <a:pt x="976" y="1170"/>
                  </a:lnTo>
                  <a:lnTo>
                    <a:pt x="976" y="1168"/>
                  </a:lnTo>
                  <a:lnTo>
                    <a:pt x="976" y="1166"/>
                  </a:lnTo>
                  <a:lnTo>
                    <a:pt x="978" y="1166"/>
                  </a:lnTo>
                  <a:lnTo>
                    <a:pt x="980" y="1166"/>
                  </a:lnTo>
                  <a:lnTo>
                    <a:pt x="981" y="1165"/>
                  </a:lnTo>
                  <a:lnTo>
                    <a:pt x="983" y="1166"/>
                  </a:lnTo>
                  <a:lnTo>
                    <a:pt x="983" y="1168"/>
                  </a:lnTo>
                  <a:lnTo>
                    <a:pt x="981" y="1168"/>
                  </a:lnTo>
                  <a:lnTo>
                    <a:pt x="983" y="1168"/>
                  </a:lnTo>
                  <a:lnTo>
                    <a:pt x="983" y="1166"/>
                  </a:lnTo>
                  <a:lnTo>
                    <a:pt x="984" y="1166"/>
                  </a:lnTo>
                  <a:lnTo>
                    <a:pt x="984" y="1165"/>
                  </a:lnTo>
                  <a:lnTo>
                    <a:pt x="984" y="1163"/>
                  </a:lnTo>
                  <a:lnTo>
                    <a:pt x="986" y="1163"/>
                  </a:lnTo>
                  <a:lnTo>
                    <a:pt x="986" y="1165"/>
                  </a:lnTo>
                  <a:lnTo>
                    <a:pt x="986" y="1163"/>
                  </a:lnTo>
                  <a:lnTo>
                    <a:pt x="988" y="1163"/>
                  </a:lnTo>
                  <a:lnTo>
                    <a:pt x="989" y="1163"/>
                  </a:lnTo>
                  <a:lnTo>
                    <a:pt x="991" y="1165"/>
                  </a:lnTo>
                  <a:lnTo>
                    <a:pt x="991" y="1163"/>
                  </a:lnTo>
                  <a:lnTo>
                    <a:pt x="991" y="1162"/>
                  </a:lnTo>
                  <a:lnTo>
                    <a:pt x="993" y="1162"/>
                  </a:lnTo>
                  <a:lnTo>
                    <a:pt x="991" y="1162"/>
                  </a:lnTo>
                  <a:lnTo>
                    <a:pt x="991" y="1160"/>
                  </a:lnTo>
                  <a:lnTo>
                    <a:pt x="993" y="1160"/>
                  </a:lnTo>
                  <a:lnTo>
                    <a:pt x="994" y="1160"/>
                  </a:lnTo>
                  <a:lnTo>
                    <a:pt x="994" y="1162"/>
                  </a:lnTo>
                  <a:lnTo>
                    <a:pt x="994" y="1160"/>
                  </a:lnTo>
                  <a:lnTo>
                    <a:pt x="993" y="1160"/>
                  </a:lnTo>
                  <a:lnTo>
                    <a:pt x="993" y="1158"/>
                  </a:lnTo>
                  <a:lnTo>
                    <a:pt x="991" y="1158"/>
                  </a:lnTo>
                  <a:lnTo>
                    <a:pt x="989" y="1157"/>
                  </a:lnTo>
                  <a:lnTo>
                    <a:pt x="991" y="1157"/>
                  </a:lnTo>
                  <a:lnTo>
                    <a:pt x="991" y="1155"/>
                  </a:lnTo>
                  <a:lnTo>
                    <a:pt x="989" y="1155"/>
                  </a:lnTo>
                  <a:lnTo>
                    <a:pt x="989" y="1153"/>
                  </a:lnTo>
                  <a:lnTo>
                    <a:pt x="988" y="1153"/>
                  </a:lnTo>
                  <a:lnTo>
                    <a:pt x="988" y="1155"/>
                  </a:lnTo>
                  <a:lnTo>
                    <a:pt x="986" y="1155"/>
                  </a:lnTo>
                  <a:lnTo>
                    <a:pt x="984" y="1155"/>
                  </a:lnTo>
                  <a:lnTo>
                    <a:pt x="983" y="1155"/>
                  </a:lnTo>
                  <a:lnTo>
                    <a:pt x="983" y="1153"/>
                  </a:lnTo>
                  <a:lnTo>
                    <a:pt x="983" y="1152"/>
                  </a:lnTo>
                  <a:lnTo>
                    <a:pt x="983" y="1150"/>
                  </a:lnTo>
                  <a:lnTo>
                    <a:pt x="984" y="1152"/>
                  </a:lnTo>
                  <a:lnTo>
                    <a:pt x="986" y="1152"/>
                  </a:lnTo>
                  <a:lnTo>
                    <a:pt x="986" y="1150"/>
                  </a:lnTo>
                  <a:lnTo>
                    <a:pt x="988" y="1149"/>
                  </a:lnTo>
                  <a:lnTo>
                    <a:pt x="988" y="1147"/>
                  </a:lnTo>
                  <a:lnTo>
                    <a:pt x="986" y="1147"/>
                  </a:lnTo>
                  <a:lnTo>
                    <a:pt x="986" y="1145"/>
                  </a:lnTo>
                  <a:lnTo>
                    <a:pt x="986" y="1144"/>
                  </a:lnTo>
                  <a:lnTo>
                    <a:pt x="988" y="1144"/>
                  </a:lnTo>
                  <a:lnTo>
                    <a:pt x="986" y="1142"/>
                  </a:lnTo>
                  <a:lnTo>
                    <a:pt x="988" y="1142"/>
                  </a:lnTo>
                  <a:lnTo>
                    <a:pt x="986" y="1142"/>
                  </a:lnTo>
                  <a:lnTo>
                    <a:pt x="986" y="1140"/>
                  </a:lnTo>
                  <a:lnTo>
                    <a:pt x="988" y="1140"/>
                  </a:lnTo>
                  <a:lnTo>
                    <a:pt x="988" y="1139"/>
                  </a:lnTo>
                  <a:lnTo>
                    <a:pt x="986" y="1140"/>
                  </a:lnTo>
                  <a:lnTo>
                    <a:pt x="984" y="1140"/>
                  </a:lnTo>
                  <a:lnTo>
                    <a:pt x="986" y="1140"/>
                  </a:lnTo>
                  <a:lnTo>
                    <a:pt x="984" y="1140"/>
                  </a:lnTo>
                  <a:lnTo>
                    <a:pt x="986" y="1142"/>
                  </a:lnTo>
                  <a:lnTo>
                    <a:pt x="984" y="1142"/>
                  </a:lnTo>
                  <a:lnTo>
                    <a:pt x="983" y="1144"/>
                  </a:lnTo>
                  <a:lnTo>
                    <a:pt x="984" y="1144"/>
                  </a:lnTo>
                  <a:lnTo>
                    <a:pt x="984" y="1145"/>
                  </a:lnTo>
                  <a:lnTo>
                    <a:pt x="984" y="1147"/>
                  </a:lnTo>
                  <a:lnTo>
                    <a:pt x="983" y="1149"/>
                  </a:lnTo>
                  <a:lnTo>
                    <a:pt x="983" y="1150"/>
                  </a:lnTo>
                  <a:lnTo>
                    <a:pt x="981" y="1150"/>
                  </a:lnTo>
                  <a:lnTo>
                    <a:pt x="980" y="1150"/>
                  </a:lnTo>
                  <a:lnTo>
                    <a:pt x="980" y="1152"/>
                  </a:lnTo>
                  <a:lnTo>
                    <a:pt x="980" y="1150"/>
                  </a:lnTo>
                  <a:lnTo>
                    <a:pt x="978" y="1150"/>
                  </a:lnTo>
                  <a:lnTo>
                    <a:pt x="976" y="1152"/>
                  </a:lnTo>
                  <a:lnTo>
                    <a:pt x="978" y="1152"/>
                  </a:lnTo>
                  <a:lnTo>
                    <a:pt x="976" y="1152"/>
                  </a:lnTo>
                  <a:lnTo>
                    <a:pt x="975" y="1153"/>
                  </a:lnTo>
                  <a:lnTo>
                    <a:pt x="973" y="1153"/>
                  </a:lnTo>
                  <a:lnTo>
                    <a:pt x="973" y="1155"/>
                  </a:lnTo>
                  <a:lnTo>
                    <a:pt x="973" y="1153"/>
                  </a:lnTo>
                  <a:lnTo>
                    <a:pt x="973" y="1155"/>
                  </a:lnTo>
                  <a:lnTo>
                    <a:pt x="971" y="1155"/>
                  </a:lnTo>
                  <a:lnTo>
                    <a:pt x="970" y="1155"/>
                  </a:lnTo>
                  <a:lnTo>
                    <a:pt x="968" y="1153"/>
                  </a:lnTo>
                  <a:lnTo>
                    <a:pt x="968" y="1152"/>
                  </a:lnTo>
                  <a:lnTo>
                    <a:pt x="968" y="1150"/>
                  </a:lnTo>
                  <a:lnTo>
                    <a:pt x="968" y="1149"/>
                  </a:lnTo>
                  <a:lnTo>
                    <a:pt x="968" y="1147"/>
                  </a:lnTo>
                  <a:lnTo>
                    <a:pt x="970" y="1145"/>
                  </a:lnTo>
                  <a:lnTo>
                    <a:pt x="971" y="1144"/>
                  </a:lnTo>
                  <a:lnTo>
                    <a:pt x="971" y="1145"/>
                  </a:lnTo>
                  <a:lnTo>
                    <a:pt x="973" y="1144"/>
                  </a:lnTo>
                  <a:lnTo>
                    <a:pt x="971" y="1145"/>
                  </a:lnTo>
                  <a:lnTo>
                    <a:pt x="973" y="1145"/>
                  </a:lnTo>
                  <a:lnTo>
                    <a:pt x="975" y="1144"/>
                  </a:lnTo>
                  <a:lnTo>
                    <a:pt x="976" y="1144"/>
                  </a:lnTo>
                  <a:lnTo>
                    <a:pt x="976" y="1140"/>
                  </a:lnTo>
                  <a:lnTo>
                    <a:pt x="978" y="1140"/>
                  </a:lnTo>
                  <a:lnTo>
                    <a:pt x="976" y="1140"/>
                  </a:lnTo>
                  <a:lnTo>
                    <a:pt x="978" y="1139"/>
                  </a:lnTo>
                  <a:lnTo>
                    <a:pt x="980" y="1139"/>
                  </a:lnTo>
                  <a:lnTo>
                    <a:pt x="980" y="1137"/>
                  </a:lnTo>
                  <a:lnTo>
                    <a:pt x="981" y="1137"/>
                  </a:lnTo>
                  <a:lnTo>
                    <a:pt x="981" y="1136"/>
                  </a:lnTo>
                  <a:lnTo>
                    <a:pt x="981" y="1134"/>
                  </a:lnTo>
                  <a:lnTo>
                    <a:pt x="983" y="1136"/>
                  </a:lnTo>
                  <a:lnTo>
                    <a:pt x="981" y="1136"/>
                  </a:lnTo>
                  <a:lnTo>
                    <a:pt x="983" y="1136"/>
                  </a:lnTo>
                  <a:lnTo>
                    <a:pt x="983" y="1137"/>
                  </a:lnTo>
                  <a:lnTo>
                    <a:pt x="984" y="1136"/>
                  </a:lnTo>
                  <a:lnTo>
                    <a:pt x="986" y="1136"/>
                  </a:lnTo>
                  <a:lnTo>
                    <a:pt x="988" y="1136"/>
                  </a:lnTo>
                  <a:lnTo>
                    <a:pt x="988" y="1134"/>
                  </a:lnTo>
                  <a:lnTo>
                    <a:pt x="989" y="1134"/>
                  </a:lnTo>
                  <a:lnTo>
                    <a:pt x="989" y="1136"/>
                  </a:lnTo>
                  <a:lnTo>
                    <a:pt x="989" y="1134"/>
                  </a:lnTo>
                  <a:lnTo>
                    <a:pt x="991" y="1134"/>
                  </a:lnTo>
                  <a:lnTo>
                    <a:pt x="991" y="1132"/>
                  </a:lnTo>
                  <a:lnTo>
                    <a:pt x="993" y="1131"/>
                  </a:lnTo>
                  <a:lnTo>
                    <a:pt x="994" y="1131"/>
                  </a:lnTo>
                  <a:lnTo>
                    <a:pt x="994" y="1129"/>
                  </a:lnTo>
                  <a:lnTo>
                    <a:pt x="993" y="1129"/>
                  </a:lnTo>
                  <a:lnTo>
                    <a:pt x="991" y="1129"/>
                  </a:lnTo>
                  <a:lnTo>
                    <a:pt x="991" y="1127"/>
                  </a:lnTo>
                  <a:lnTo>
                    <a:pt x="989" y="1127"/>
                  </a:lnTo>
                  <a:lnTo>
                    <a:pt x="988" y="1129"/>
                  </a:lnTo>
                  <a:lnTo>
                    <a:pt x="986" y="1129"/>
                  </a:lnTo>
                  <a:lnTo>
                    <a:pt x="984" y="1129"/>
                  </a:lnTo>
                  <a:lnTo>
                    <a:pt x="986" y="1127"/>
                  </a:lnTo>
                  <a:lnTo>
                    <a:pt x="988" y="1127"/>
                  </a:lnTo>
                  <a:lnTo>
                    <a:pt x="986" y="1127"/>
                  </a:lnTo>
                  <a:lnTo>
                    <a:pt x="984" y="1127"/>
                  </a:lnTo>
                  <a:lnTo>
                    <a:pt x="986" y="1127"/>
                  </a:lnTo>
                  <a:lnTo>
                    <a:pt x="986" y="1126"/>
                  </a:lnTo>
                  <a:lnTo>
                    <a:pt x="984" y="1126"/>
                  </a:lnTo>
                  <a:lnTo>
                    <a:pt x="984" y="1127"/>
                  </a:lnTo>
                  <a:lnTo>
                    <a:pt x="983" y="1127"/>
                  </a:lnTo>
                  <a:lnTo>
                    <a:pt x="983" y="1126"/>
                  </a:lnTo>
                  <a:lnTo>
                    <a:pt x="983" y="1127"/>
                  </a:lnTo>
                  <a:lnTo>
                    <a:pt x="983" y="1126"/>
                  </a:lnTo>
                  <a:lnTo>
                    <a:pt x="981" y="1126"/>
                  </a:lnTo>
                  <a:lnTo>
                    <a:pt x="980" y="1127"/>
                  </a:lnTo>
                  <a:lnTo>
                    <a:pt x="978" y="1127"/>
                  </a:lnTo>
                  <a:lnTo>
                    <a:pt x="978" y="1126"/>
                  </a:lnTo>
                  <a:lnTo>
                    <a:pt x="978" y="1124"/>
                  </a:lnTo>
                  <a:lnTo>
                    <a:pt x="978" y="1123"/>
                  </a:lnTo>
                  <a:lnTo>
                    <a:pt x="978" y="1121"/>
                  </a:lnTo>
                  <a:lnTo>
                    <a:pt x="980" y="1121"/>
                  </a:lnTo>
                  <a:lnTo>
                    <a:pt x="981" y="1121"/>
                  </a:lnTo>
                  <a:lnTo>
                    <a:pt x="981" y="1119"/>
                  </a:lnTo>
                  <a:lnTo>
                    <a:pt x="984" y="1118"/>
                  </a:lnTo>
                  <a:lnTo>
                    <a:pt x="986" y="1118"/>
                  </a:lnTo>
                  <a:lnTo>
                    <a:pt x="986" y="1116"/>
                  </a:lnTo>
                  <a:lnTo>
                    <a:pt x="988" y="1116"/>
                  </a:lnTo>
                  <a:lnTo>
                    <a:pt x="986" y="1116"/>
                  </a:lnTo>
                  <a:lnTo>
                    <a:pt x="986" y="1114"/>
                  </a:lnTo>
                  <a:lnTo>
                    <a:pt x="984" y="1116"/>
                  </a:lnTo>
                  <a:lnTo>
                    <a:pt x="983" y="1116"/>
                  </a:lnTo>
                  <a:lnTo>
                    <a:pt x="983" y="1114"/>
                  </a:lnTo>
                  <a:lnTo>
                    <a:pt x="983" y="1116"/>
                  </a:lnTo>
                  <a:lnTo>
                    <a:pt x="983" y="1118"/>
                  </a:lnTo>
                  <a:lnTo>
                    <a:pt x="983" y="1116"/>
                  </a:lnTo>
                  <a:lnTo>
                    <a:pt x="984" y="1118"/>
                  </a:lnTo>
                  <a:lnTo>
                    <a:pt x="983" y="1119"/>
                  </a:lnTo>
                  <a:lnTo>
                    <a:pt x="981" y="1119"/>
                  </a:lnTo>
                  <a:lnTo>
                    <a:pt x="980" y="1121"/>
                  </a:lnTo>
                  <a:lnTo>
                    <a:pt x="978" y="1121"/>
                  </a:lnTo>
                  <a:lnTo>
                    <a:pt x="976" y="1121"/>
                  </a:lnTo>
                  <a:lnTo>
                    <a:pt x="978" y="1123"/>
                  </a:lnTo>
                  <a:lnTo>
                    <a:pt x="976" y="1123"/>
                  </a:lnTo>
                  <a:lnTo>
                    <a:pt x="976" y="1124"/>
                  </a:lnTo>
                  <a:lnTo>
                    <a:pt x="976" y="1126"/>
                  </a:lnTo>
                  <a:lnTo>
                    <a:pt x="976" y="1127"/>
                  </a:lnTo>
                  <a:lnTo>
                    <a:pt x="978" y="1127"/>
                  </a:lnTo>
                  <a:lnTo>
                    <a:pt x="976" y="1129"/>
                  </a:lnTo>
                  <a:lnTo>
                    <a:pt x="976" y="1131"/>
                  </a:lnTo>
                  <a:lnTo>
                    <a:pt x="975" y="1131"/>
                  </a:lnTo>
                  <a:lnTo>
                    <a:pt x="975" y="1132"/>
                  </a:lnTo>
                  <a:lnTo>
                    <a:pt x="973" y="1132"/>
                  </a:lnTo>
                  <a:lnTo>
                    <a:pt x="971" y="1134"/>
                  </a:lnTo>
                  <a:lnTo>
                    <a:pt x="970" y="1134"/>
                  </a:lnTo>
                  <a:lnTo>
                    <a:pt x="968" y="1136"/>
                  </a:lnTo>
                  <a:lnTo>
                    <a:pt x="967" y="1136"/>
                  </a:lnTo>
                  <a:lnTo>
                    <a:pt x="965" y="1137"/>
                  </a:lnTo>
                  <a:lnTo>
                    <a:pt x="965" y="1139"/>
                  </a:lnTo>
                  <a:lnTo>
                    <a:pt x="963" y="1139"/>
                  </a:lnTo>
                  <a:lnTo>
                    <a:pt x="963" y="1140"/>
                  </a:lnTo>
                  <a:lnTo>
                    <a:pt x="962" y="1142"/>
                  </a:lnTo>
                  <a:lnTo>
                    <a:pt x="960" y="1144"/>
                  </a:lnTo>
                  <a:lnTo>
                    <a:pt x="958" y="1145"/>
                  </a:lnTo>
                  <a:lnTo>
                    <a:pt x="957" y="1147"/>
                  </a:lnTo>
                  <a:lnTo>
                    <a:pt x="953" y="1149"/>
                  </a:lnTo>
                  <a:lnTo>
                    <a:pt x="950" y="1150"/>
                  </a:lnTo>
                  <a:lnTo>
                    <a:pt x="947" y="1152"/>
                  </a:lnTo>
                  <a:lnTo>
                    <a:pt x="945" y="1153"/>
                  </a:lnTo>
                  <a:lnTo>
                    <a:pt x="944" y="1155"/>
                  </a:lnTo>
                  <a:lnTo>
                    <a:pt x="939" y="1158"/>
                  </a:lnTo>
                  <a:lnTo>
                    <a:pt x="939" y="1160"/>
                  </a:lnTo>
                  <a:lnTo>
                    <a:pt x="937" y="1160"/>
                  </a:lnTo>
                  <a:lnTo>
                    <a:pt x="939" y="1160"/>
                  </a:lnTo>
                  <a:lnTo>
                    <a:pt x="937" y="1160"/>
                  </a:lnTo>
                  <a:lnTo>
                    <a:pt x="939" y="1160"/>
                  </a:lnTo>
                  <a:lnTo>
                    <a:pt x="940" y="1158"/>
                  </a:lnTo>
                  <a:lnTo>
                    <a:pt x="942" y="1158"/>
                  </a:lnTo>
                  <a:lnTo>
                    <a:pt x="942" y="1157"/>
                  </a:lnTo>
                  <a:lnTo>
                    <a:pt x="944" y="1157"/>
                  </a:lnTo>
                  <a:lnTo>
                    <a:pt x="942" y="1155"/>
                  </a:lnTo>
                  <a:lnTo>
                    <a:pt x="944" y="1155"/>
                  </a:lnTo>
                  <a:lnTo>
                    <a:pt x="942" y="1155"/>
                  </a:lnTo>
                  <a:lnTo>
                    <a:pt x="944" y="1155"/>
                  </a:lnTo>
                  <a:lnTo>
                    <a:pt x="945" y="1155"/>
                  </a:lnTo>
                  <a:lnTo>
                    <a:pt x="947" y="1153"/>
                  </a:lnTo>
                  <a:lnTo>
                    <a:pt x="949" y="1153"/>
                  </a:lnTo>
                  <a:lnTo>
                    <a:pt x="950" y="1153"/>
                  </a:lnTo>
                  <a:lnTo>
                    <a:pt x="952" y="1152"/>
                  </a:lnTo>
                  <a:lnTo>
                    <a:pt x="953" y="1152"/>
                  </a:lnTo>
                  <a:lnTo>
                    <a:pt x="953" y="1150"/>
                  </a:lnTo>
                  <a:lnTo>
                    <a:pt x="955" y="1149"/>
                  </a:lnTo>
                  <a:lnTo>
                    <a:pt x="957" y="1147"/>
                  </a:lnTo>
                  <a:lnTo>
                    <a:pt x="958" y="1147"/>
                  </a:lnTo>
                  <a:lnTo>
                    <a:pt x="960" y="1145"/>
                  </a:lnTo>
                  <a:lnTo>
                    <a:pt x="962" y="1145"/>
                  </a:lnTo>
                  <a:lnTo>
                    <a:pt x="962" y="1147"/>
                  </a:lnTo>
                  <a:lnTo>
                    <a:pt x="963" y="1147"/>
                  </a:lnTo>
                  <a:lnTo>
                    <a:pt x="965" y="1149"/>
                  </a:lnTo>
                  <a:lnTo>
                    <a:pt x="965" y="1147"/>
                  </a:lnTo>
                  <a:lnTo>
                    <a:pt x="965" y="1149"/>
                  </a:lnTo>
                  <a:lnTo>
                    <a:pt x="967" y="1149"/>
                  </a:lnTo>
                  <a:lnTo>
                    <a:pt x="967" y="1150"/>
                  </a:lnTo>
                  <a:lnTo>
                    <a:pt x="967" y="1152"/>
                  </a:lnTo>
                  <a:lnTo>
                    <a:pt x="968" y="1153"/>
                  </a:lnTo>
                  <a:lnTo>
                    <a:pt x="968" y="1155"/>
                  </a:lnTo>
                  <a:lnTo>
                    <a:pt x="967" y="1155"/>
                  </a:lnTo>
                  <a:lnTo>
                    <a:pt x="967" y="1157"/>
                  </a:lnTo>
                  <a:lnTo>
                    <a:pt x="965" y="1157"/>
                  </a:lnTo>
                  <a:lnTo>
                    <a:pt x="965" y="1158"/>
                  </a:lnTo>
                  <a:lnTo>
                    <a:pt x="963" y="1158"/>
                  </a:lnTo>
                  <a:lnTo>
                    <a:pt x="965" y="1158"/>
                  </a:lnTo>
                  <a:lnTo>
                    <a:pt x="963" y="1160"/>
                  </a:lnTo>
                  <a:lnTo>
                    <a:pt x="965" y="1160"/>
                  </a:lnTo>
                  <a:lnTo>
                    <a:pt x="963" y="1162"/>
                  </a:lnTo>
                  <a:lnTo>
                    <a:pt x="963" y="1163"/>
                  </a:lnTo>
                  <a:lnTo>
                    <a:pt x="963" y="1165"/>
                  </a:lnTo>
                  <a:lnTo>
                    <a:pt x="962" y="1165"/>
                  </a:lnTo>
                  <a:lnTo>
                    <a:pt x="962" y="1166"/>
                  </a:lnTo>
                  <a:lnTo>
                    <a:pt x="962" y="1168"/>
                  </a:lnTo>
                  <a:lnTo>
                    <a:pt x="958" y="1170"/>
                  </a:lnTo>
                  <a:lnTo>
                    <a:pt x="957" y="1170"/>
                  </a:lnTo>
                  <a:lnTo>
                    <a:pt x="957" y="1171"/>
                  </a:lnTo>
                  <a:lnTo>
                    <a:pt x="955" y="1171"/>
                  </a:lnTo>
                  <a:lnTo>
                    <a:pt x="953" y="1173"/>
                  </a:lnTo>
                  <a:lnTo>
                    <a:pt x="952" y="1173"/>
                  </a:lnTo>
                  <a:lnTo>
                    <a:pt x="950" y="1173"/>
                  </a:lnTo>
                  <a:lnTo>
                    <a:pt x="949" y="1175"/>
                  </a:lnTo>
                  <a:lnTo>
                    <a:pt x="947" y="1175"/>
                  </a:lnTo>
                  <a:lnTo>
                    <a:pt x="944" y="1176"/>
                  </a:lnTo>
                  <a:lnTo>
                    <a:pt x="944" y="1178"/>
                  </a:lnTo>
                  <a:lnTo>
                    <a:pt x="942" y="1178"/>
                  </a:lnTo>
                  <a:lnTo>
                    <a:pt x="940" y="1178"/>
                  </a:lnTo>
                  <a:lnTo>
                    <a:pt x="940" y="1179"/>
                  </a:lnTo>
                  <a:lnTo>
                    <a:pt x="939" y="1179"/>
                  </a:lnTo>
                  <a:lnTo>
                    <a:pt x="939" y="1181"/>
                  </a:lnTo>
                  <a:lnTo>
                    <a:pt x="939" y="1183"/>
                  </a:lnTo>
                  <a:lnTo>
                    <a:pt x="937" y="1183"/>
                  </a:lnTo>
                  <a:lnTo>
                    <a:pt x="936" y="1184"/>
                  </a:lnTo>
                  <a:lnTo>
                    <a:pt x="936" y="1186"/>
                  </a:lnTo>
                  <a:lnTo>
                    <a:pt x="934" y="1186"/>
                  </a:lnTo>
                  <a:lnTo>
                    <a:pt x="932" y="1188"/>
                  </a:lnTo>
                  <a:lnTo>
                    <a:pt x="931" y="1188"/>
                  </a:lnTo>
                  <a:lnTo>
                    <a:pt x="931" y="1189"/>
                  </a:lnTo>
                  <a:lnTo>
                    <a:pt x="929" y="1189"/>
                  </a:lnTo>
                  <a:lnTo>
                    <a:pt x="929" y="1191"/>
                  </a:lnTo>
                  <a:lnTo>
                    <a:pt x="927" y="1191"/>
                  </a:lnTo>
                  <a:lnTo>
                    <a:pt x="926" y="1192"/>
                  </a:lnTo>
                  <a:lnTo>
                    <a:pt x="927" y="1194"/>
                  </a:lnTo>
                  <a:lnTo>
                    <a:pt x="926" y="1194"/>
                  </a:lnTo>
                  <a:lnTo>
                    <a:pt x="924" y="1192"/>
                  </a:lnTo>
                  <a:lnTo>
                    <a:pt x="923" y="1192"/>
                  </a:lnTo>
                  <a:lnTo>
                    <a:pt x="923" y="1194"/>
                  </a:lnTo>
                  <a:lnTo>
                    <a:pt x="921" y="1194"/>
                  </a:lnTo>
                  <a:lnTo>
                    <a:pt x="919" y="1196"/>
                  </a:lnTo>
                  <a:lnTo>
                    <a:pt x="918" y="1196"/>
                  </a:lnTo>
                  <a:lnTo>
                    <a:pt x="916" y="1196"/>
                  </a:lnTo>
                  <a:lnTo>
                    <a:pt x="914" y="1196"/>
                  </a:lnTo>
                  <a:lnTo>
                    <a:pt x="913" y="1196"/>
                  </a:lnTo>
                  <a:lnTo>
                    <a:pt x="913" y="1197"/>
                  </a:lnTo>
                  <a:lnTo>
                    <a:pt x="913" y="1199"/>
                  </a:lnTo>
                  <a:lnTo>
                    <a:pt x="911" y="1199"/>
                  </a:lnTo>
                  <a:lnTo>
                    <a:pt x="910" y="1201"/>
                  </a:lnTo>
                  <a:lnTo>
                    <a:pt x="910" y="1202"/>
                  </a:lnTo>
                  <a:lnTo>
                    <a:pt x="908" y="1204"/>
                  </a:lnTo>
                  <a:lnTo>
                    <a:pt x="906" y="1204"/>
                  </a:lnTo>
                  <a:lnTo>
                    <a:pt x="905" y="1204"/>
                  </a:lnTo>
                  <a:lnTo>
                    <a:pt x="903" y="1205"/>
                  </a:lnTo>
                  <a:lnTo>
                    <a:pt x="901" y="1204"/>
                  </a:lnTo>
                  <a:lnTo>
                    <a:pt x="900" y="1205"/>
                  </a:lnTo>
                  <a:lnTo>
                    <a:pt x="898" y="1205"/>
                  </a:lnTo>
                  <a:lnTo>
                    <a:pt x="898" y="1204"/>
                  </a:lnTo>
                  <a:lnTo>
                    <a:pt x="897" y="1204"/>
                  </a:lnTo>
                  <a:lnTo>
                    <a:pt x="895" y="1202"/>
                  </a:lnTo>
                  <a:lnTo>
                    <a:pt x="893" y="1199"/>
                  </a:lnTo>
                  <a:lnTo>
                    <a:pt x="895" y="1197"/>
                  </a:lnTo>
                  <a:lnTo>
                    <a:pt x="895" y="1196"/>
                  </a:lnTo>
                  <a:lnTo>
                    <a:pt x="893" y="1196"/>
                  </a:lnTo>
                  <a:lnTo>
                    <a:pt x="893" y="1194"/>
                  </a:lnTo>
                  <a:lnTo>
                    <a:pt x="893" y="1192"/>
                  </a:lnTo>
                  <a:lnTo>
                    <a:pt x="895" y="1192"/>
                  </a:lnTo>
                  <a:lnTo>
                    <a:pt x="895" y="1191"/>
                  </a:lnTo>
                  <a:lnTo>
                    <a:pt x="893" y="1191"/>
                  </a:lnTo>
                  <a:lnTo>
                    <a:pt x="892" y="1191"/>
                  </a:lnTo>
                  <a:lnTo>
                    <a:pt x="890" y="1191"/>
                  </a:lnTo>
                  <a:lnTo>
                    <a:pt x="890" y="1189"/>
                  </a:lnTo>
                  <a:lnTo>
                    <a:pt x="888" y="1189"/>
                  </a:lnTo>
                  <a:lnTo>
                    <a:pt x="890" y="1189"/>
                  </a:lnTo>
                  <a:lnTo>
                    <a:pt x="888" y="1188"/>
                  </a:lnTo>
                  <a:lnTo>
                    <a:pt x="888" y="1186"/>
                  </a:lnTo>
                  <a:lnTo>
                    <a:pt x="887" y="1186"/>
                  </a:lnTo>
                  <a:lnTo>
                    <a:pt x="888" y="1184"/>
                  </a:lnTo>
                  <a:lnTo>
                    <a:pt x="890" y="1184"/>
                  </a:lnTo>
                  <a:lnTo>
                    <a:pt x="890" y="1183"/>
                  </a:lnTo>
                  <a:lnTo>
                    <a:pt x="888" y="1183"/>
                  </a:lnTo>
                  <a:lnTo>
                    <a:pt x="888" y="1181"/>
                  </a:lnTo>
                  <a:lnTo>
                    <a:pt x="887" y="1181"/>
                  </a:lnTo>
                  <a:lnTo>
                    <a:pt x="888" y="1179"/>
                  </a:lnTo>
                  <a:lnTo>
                    <a:pt x="887" y="1179"/>
                  </a:lnTo>
                  <a:lnTo>
                    <a:pt x="888" y="1179"/>
                  </a:lnTo>
                  <a:lnTo>
                    <a:pt x="888" y="1178"/>
                  </a:lnTo>
                  <a:lnTo>
                    <a:pt x="888" y="1176"/>
                  </a:lnTo>
                  <a:lnTo>
                    <a:pt x="890" y="1176"/>
                  </a:lnTo>
                  <a:lnTo>
                    <a:pt x="890" y="1178"/>
                  </a:lnTo>
                  <a:lnTo>
                    <a:pt x="892" y="1178"/>
                  </a:lnTo>
                  <a:lnTo>
                    <a:pt x="892" y="1176"/>
                  </a:lnTo>
                  <a:lnTo>
                    <a:pt x="893" y="1175"/>
                  </a:lnTo>
                  <a:lnTo>
                    <a:pt x="895" y="1175"/>
                  </a:lnTo>
                  <a:lnTo>
                    <a:pt x="897" y="1175"/>
                  </a:lnTo>
                  <a:lnTo>
                    <a:pt x="897" y="1176"/>
                  </a:lnTo>
                  <a:lnTo>
                    <a:pt x="897" y="1175"/>
                  </a:lnTo>
                  <a:lnTo>
                    <a:pt x="895" y="1175"/>
                  </a:lnTo>
                  <a:lnTo>
                    <a:pt x="897" y="1173"/>
                  </a:lnTo>
                  <a:lnTo>
                    <a:pt x="898" y="1171"/>
                  </a:lnTo>
                  <a:lnTo>
                    <a:pt x="898" y="1173"/>
                  </a:lnTo>
                  <a:lnTo>
                    <a:pt x="900" y="1173"/>
                  </a:lnTo>
                  <a:lnTo>
                    <a:pt x="898" y="1173"/>
                  </a:lnTo>
                  <a:lnTo>
                    <a:pt x="900" y="1173"/>
                  </a:lnTo>
                  <a:lnTo>
                    <a:pt x="901" y="1171"/>
                  </a:lnTo>
                  <a:lnTo>
                    <a:pt x="901" y="1173"/>
                  </a:lnTo>
                  <a:lnTo>
                    <a:pt x="901" y="1171"/>
                  </a:lnTo>
                  <a:lnTo>
                    <a:pt x="903" y="1173"/>
                  </a:lnTo>
                  <a:lnTo>
                    <a:pt x="903" y="1171"/>
                  </a:lnTo>
                  <a:lnTo>
                    <a:pt x="905" y="1170"/>
                  </a:lnTo>
                  <a:lnTo>
                    <a:pt x="906" y="1168"/>
                  </a:lnTo>
                  <a:lnTo>
                    <a:pt x="908" y="1168"/>
                  </a:lnTo>
                  <a:lnTo>
                    <a:pt x="906" y="1168"/>
                  </a:lnTo>
                  <a:lnTo>
                    <a:pt x="905" y="1168"/>
                  </a:lnTo>
                  <a:lnTo>
                    <a:pt x="903" y="1170"/>
                  </a:lnTo>
                  <a:lnTo>
                    <a:pt x="901" y="1171"/>
                  </a:lnTo>
                  <a:lnTo>
                    <a:pt x="900" y="1170"/>
                  </a:lnTo>
                  <a:lnTo>
                    <a:pt x="901" y="1170"/>
                  </a:lnTo>
                  <a:lnTo>
                    <a:pt x="901" y="1168"/>
                  </a:lnTo>
                  <a:lnTo>
                    <a:pt x="903" y="1166"/>
                  </a:lnTo>
                  <a:lnTo>
                    <a:pt x="905" y="1166"/>
                  </a:lnTo>
                  <a:lnTo>
                    <a:pt x="905" y="1165"/>
                  </a:lnTo>
                  <a:lnTo>
                    <a:pt x="903" y="1165"/>
                  </a:lnTo>
                  <a:lnTo>
                    <a:pt x="905" y="1165"/>
                  </a:lnTo>
                  <a:lnTo>
                    <a:pt x="906" y="1165"/>
                  </a:lnTo>
                  <a:lnTo>
                    <a:pt x="906" y="1163"/>
                  </a:lnTo>
                  <a:lnTo>
                    <a:pt x="908" y="1163"/>
                  </a:lnTo>
                  <a:lnTo>
                    <a:pt x="906" y="1163"/>
                  </a:lnTo>
                  <a:lnTo>
                    <a:pt x="905" y="1165"/>
                  </a:lnTo>
                  <a:lnTo>
                    <a:pt x="901" y="1166"/>
                  </a:lnTo>
                  <a:lnTo>
                    <a:pt x="900" y="1166"/>
                  </a:lnTo>
                  <a:lnTo>
                    <a:pt x="898" y="1166"/>
                  </a:lnTo>
                  <a:lnTo>
                    <a:pt x="897" y="1166"/>
                  </a:lnTo>
                  <a:lnTo>
                    <a:pt x="897" y="1168"/>
                  </a:lnTo>
                  <a:lnTo>
                    <a:pt x="897" y="1166"/>
                  </a:lnTo>
                  <a:lnTo>
                    <a:pt x="895" y="1168"/>
                  </a:lnTo>
                  <a:lnTo>
                    <a:pt x="893" y="1168"/>
                  </a:lnTo>
                  <a:lnTo>
                    <a:pt x="893" y="1170"/>
                  </a:lnTo>
                  <a:lnTo>
                    <a:pt x="892" y="1170"/>
                  </a:lnTo>
                  <a:lnTo>
                    <a:pt x="892" y="1171"/>
                  </a:lnTo>
                  <a:lnTo>
                    <a:pt x="890" y="1173"/>
                  </a:lnTo>
                  <a:lnTo>
                    <a:pt x="890" y="1171"/>
                  </a:lnTo>
                  <a:lnTo>
                    <a:pt x="888" y="1171"/>
                  </a:lnTo>
                  <a:lnTo>
                    <a:pt x="888" y="1173"/>
                  </a:lnTo>
                  <a:lnTo>
                    <a:pt x="887" y="1173"/>
                  </a:lnTo>
                  <a:lnTo>
                    <a:pt x="885" y="1175"/>
                  </a:lnTo>
                  <a:lnTo>
                    <a:pt x="884" y="1175"/>
                  </a:lnTo>
                  <a:lnTo>
                    <a:pt x="884" y="1176"/>
                  </a:lnTo>
                  <a:lnTo>
                    <a:pt x="882" y="1175"/>
                  </a:lnTo>
                  <a:lnTo>
                    <a:pt x="880" y="1175"/>
                  </a:lnTo>
                  <a:lnTo>
                    <a:pt x="879" y="1175"/>
                  </a:lnTo>
                  <a:lnTo>
                    <a:pt x="879" y="1176"/>
                  </a:lnTo>
                  <a:lnTo>
                    <a:pt x="879" y="1178"/>
                  </a:lnTo>
                  <a:lnTo>
                    <a:pt x="877" y="1178"/>
                  </a:lnTo>
                  <a:lnTo>
                    <a:pt x="875" y="1178"/>
                  </a:lnTo>
                  <a:lnTo>
                    <a:pt x="874" y="1179"/>
                  </a:lnTo>
                  <a:lnTo>
                    <a:pt x="872" y="1181"/>
                  </a:lnTo>
                  <a:lnTo>
                    <a:pt x="872" y="1183"/>
                  </a:lnTo>
                  <a:lnTo>
                    <a:pt x="872" y="1181"/>
                  </a:lnTo>
                  <a:lnTo>
                    <a:pt x="871" y="1181"/>
                  </a:lnTo>
                  <a:lnTo>
                    <a:pt x="871" y="1179"/>
                  </a:lnTo>
                  <a:lnTo>
                    <a:pt x="872" y="1179"/>
                  </a:lnTo>
                  <a:lnTo>
                    <a:pt x="872" y="1178"/>
                  </a:lnTo>
                  <a:lnTo>
                    <a:pt x="872" y="1176"/>
                  </a:lnTo>
                  <a:lnTo>
                    <a:pt x="872" y="1175"/>
                  </a:lnTo>
                  <a:lnTo>
                    <a:pt x="872" y="1173"/>
                  </a:lnTo>
                  <a:lnTo>
                    <a:pt x="871" y="1173"/>
                  </a:lnTo>
                  <a:lnTo>
                    <a:pt x="869" y="1173"/>
                  </a:lnTo>
                  <a:lnTo>
                    <a:pt x="871" y="1173"/>
                  </a:lnTo>
                  <a:lnTo>
                    <a:pt x="869" y="1173"/>
                  </a:lnTo>
                  <a:lnTo>
                    <a:pt x="871" y="1173"/>
                  </a:lnTo>
                  <a:lnTo>
                    <a:pt x="871" y="1171"/>
                  </a:lnTo>
                  <a:lnTo>
                    <a:pt x="872" y="1171"/>
                  </a:lnTo>
                  <a:lnTo>
                    <a:pt x="874" y="1171"/>
                  </a:lnTo>
                  <a:lnTo>
                    <a:pt x="875" y="1171"/>
                  </a:lnTo>
                  <a:lnTo>
                    <a:pt x="875" y="1170"/>
                  </a:lnTo>
                  <a:lnTo>
                    <a:pt x="877" y="1170"/>
                  </a:lnTo>
                  <a:lnTo>
                    <a:pt x="879" y="1170"/>
                  </a:lnTo>
                  <a:lnTo>
                    <a:pt x="879" y="1168"/>
                  </a:lnTo>
                  <a:lnTo>
                    <a:pt x="880" y="1168"/>
                  </a:lnTo>
                  <a:lnTo>
                    <a:pt x="880" y="1166"/>
                  </a:lnTo>
                  <a:lnTo>
                    <a:pt x="882" y="1166"/>
                  </a:lnTo>
                  <a:lnTo>
                    <a:pt x="884" y="1166"/>
                  </a:lnTo>
                  <a:lnTo>
                    <a:pt x="885" y="1165"/>
                  </a:lnTo>
                  <a:lnTo>
                    <a:pt x="887" y="1166"/>
                  </a:lnTo>
                  <a:lnTo>
                    <a:pt x="887" y="1165"/>
                  </a:lnTo>
                  <a:lnTo>
                    <a:pt x="885" y="1165"/>
                  </a:lnTo>
                  <a:lnTo>
                    <a:pt x="882" y="1166"/>
                  </a:lnTo>
                  <a:lnTo>
                    <a:pt x="880" y="1166"/>
                  </a:lnTo>
                  <a:lnTo>
                    <a:pt x="877" y="1166"/>
                  </a:lnTo>
                  <a:lnTo>
                    <a:pt x="875" y="1166"/>
                  </a:lnTo>
                  <a:lnTo>
                    <a:pt x="874" y="1166"/>
                  </a:lnTo>
                  <a:lnTo>
                    <a:pt x="872" y="1166"/>
                  </a:lnTo>
                  <a:lnTo>
                    <a:pt x="872" y="1165"/>
                  </a:lnTo>
                  <a:lnTo>
                    <a:pt x="872" y="1163"/>
                  </a:lnTo>
                  <a:lnTo>
                    <a:pt x="874" y="1163"/>
                  </a:lnTo>
                  <a:lnTo>
                    <a:pt x="874" y="1162"/>
                  </a:lnTo>
                  <a:lnTo>
                    <a:pt x="875" y="1162"/>
                  </a:lnTo>
                  <a:lnTo>
                    <a:pt x="875" y="1160"/>
                  </a:lnTo>
                  <a:lnTo>
                    <a:pt x="877" y="1160"/>
                  </a:lnTo>
                  <a:lnTo>
                    <a:pt x="879" y="1158"/>
                  </a:lnTo>
                  <a:lnTo>
                    <a:pt x="877" y="1158"/>
                  </a:lnTo>
                  <a:lnTo>
                    <a:pt x="879" y="1158"/>
                  </a:lnTo>
                  <a:lnTo>
                    <a:pt x="879" y="1157"/>
                  </a:lnTo>
                  <a:lnTo>
                    <a:pt x="879" y="1158"/>
                  </a:lnTo>
                  <a:lnTo>
                    <a:pt x="879" y="1157"/>
                  </a:lnTo>
                  <a:lnTo>
                    <a:pt x="877" y="1157"/>
                  </a:lnTo>
                  <a:lnTo>
                    <a:pt x="877" y="1158"/>
                  </a:lnTo>
                  <a:lnTo>
                    <a:pt x="875" y="1158"/>
                  </a:lnTo>
                  <a:lnTo>
                    <a:pt x="875" y="1157"/>
                  </a:lnTo>
                  <a:lnTo>
                    <a:pt x="877" y="1157"/>
                  </a:lnTo>
                  <a:lnTo>
                    <a:pt x="875" y="1157"/>
                  </a:lnTo>
                  <a:lnTo>
                    <a:pt x="877" y="1157"/>
                  </a:lnTo>
                  <a:lnTo>
                    <a:pt x="877" y="1155"/>
                  </a:lnTo>
                  <a:lnTo>
                    <a:pt x="879" y="1157"/>
                  </a:lnTo>
                  <a:lnTo>
                    <a:pt x="879" y="1155"/>
                  </a:lnTo>
                  <a:lnTo>
                    <a:pt x="880" y="1153"/>
                  </a:lnTo>
                  <a:lnTo>
                    <a:pt x="882" y="1153"/>
                  </a:lnTo>
                  <a:lnTo>
                    <a:pt x="882" y="1152"/>
                  </a:lnTo>
                  <a:lnTo>
                    <a:pt x="884" y="1152"/>
                  </a:lnTo>
                  <a:lnTo>
                    <a:pt x="882" y="1152"/>
                  </a:lnTo>
                  <a:lnTo>
                    <a:pt x="884" y="1152"/>
                  </a:lnTo>
                  <a:lnTo>
                    <a:pt x="885" y="1152"/>
                  </a:lnTo>
                  <a:lnTo>
                    <a:pt x="885" y="1153"/>
                  </a:lnTo>
                  <a:lnTo>
                    <a:pt x="884" y="1153"/>
                  </a:lnTo>
                  <a:lnTo>
                    <a:pt x="885" y="1153"/>
                  </a:lnTo>
                  <a:lnTo>
                    <a:pt x="885" y="1152"/>
                  </a:lnTo>
                  <a:lnTo>
                    <a:pt x="887" y="1152"/>
                  </a:lnTo>
                  <a:lnTo>
                    <a:pt x="888" y="1152"/>
                  </a:lnTo>
                  <a:lnTo>
                    <a:pt x="888" y="1153"/>
                  </a:lnTo>
                  <a:lnTo>
                    <a:pt x="887" y="1153"/>
                  </a:lnTo>
                  <a:lnTo>
                    <a:pt x="888" y="1155"/>
                  </a:lnTo>
                  <a:lnTo>
                    <a:pt x="887" y="1155"/>
                  </a:lnTo>
                  <a:lnTo>
                    <a:pt x="885" y="1155"/>
                  </a:lnTo>
                  <a:lnTo>
                    <a:pt x="884" y="1155"/>
                  </a:lnTo>
                  <a:lnTo>
                    <a:pt x="882" y="1157"/>
                  </a:lnTo>
                  <a:lnTo>
                    <a:pt x="880" y="1157"/>
                  </a:lnTo>
                  <a:lnTo>
                    <a:pt x="880" y="1158"/>
                  </a:lnTo>
                  <a:lnTo>
                    <a:pt x="880" y="1157"/>
                  </a:lnTo>
                  <a:lnTo>
                    <a:pt x="882" y="1158"/>
                  </a:lnTo>
                  <a:lnTo>
                    <a:pt x="882" y="1157"/>
                  </a:lnTo>
                  <a:lnTo>
                    <a:pt x="884" y="1157"/>
                  </a:lnTo>
                  <a:lnTo>
                    <a:pt x="885" y="1157"/>
                  </a:lnTo>
                  <a:lnTo>
                    <a:pt x="887" y="1157"/>
                  </a:lnTo>
                  <a:lnTo>
                    <a:pt x="887" y="1155"/>
                  </a:lnTo>
                  <a:lnTo>
                    <a:pt x="888" y="1155"/>
                  </a:lnTo>
                  <a:lnTo>
                    <a:pt x="888" y="1153"/>
                  </a:lnTo>
                  <a:lnTo>
                    <a:pt x="890" y="1153"/>
                  </a:lnTo>
                  <a:lnTo>
                    <a:pt x="890" y="1155"/>
                  </a:lnTo>
                  <a:lnTo>
                    <a:pt x="890" y="1153"/>
                  </a:lnTo>
                  <a:lnTo>
                    <a:pt x="892" y="1153"/>
                  </a:lnTo>
                  <a:lnTo>
                    <a:pt x="892" y="1152"/>
                  </a:lnTo>
                  <a:lnTo>
                    <a:pt x="892" y="1153"/>
                  </a:lnTo>
                  <a:lnTo>
                    <a:pt x="890" y="1153"/>
                  </a:lnTo>
                  <a:lnTo>
                    <a:pt x="892" y="1153"/>
                  </a:lnTo>
                  <a:lnTo>
                    <a:pt x="892" y="1152"/>
                  </a:lnTo>
                  <a:lnTo>
                    <a:pt x="890" y="1153"/>
                  </a:lnTo>
                  <a:lnTo>
                    <a:pt x="890" y="1152"/>
                  </a:lnTo>
                  <a:lnTo>
                    <a:pt x="890" y="1150"/>
                  </a:lnTo>
                  <a:lnTo>
                    <a:pt x="888" y="1150"/>
                  </a:lnTo>
                  <a:lnTo>
                    <a:pt x="890" y="1150"/>
                  </a:lnTo>
                  <a:lnTo>
                    <a:pt x="890" y="1149"/>
                  </a:lnTo>
                  <a:lnTo>
                    <a:pt x="892" y="1149"/>
                  </a:lnTo>
                  <a:lnTo>
                    <a:pt x="892" y="1147"/>
                  </a:lnTo>
                  <a:lnTo>
                    <a:pt x="893" y="1147"/>
                  </a:lnTo>
                  <a:lnTo>
                    <a:pt x="893" y="1149"/>
                  </a:lnTo>
                  <a:lnTo>
                    <a:pt x="895" y="1147"/>
                  </a:lnTo>
                  <a:lnTo>
                    <a:pt x="897" y="1147"/>
                  </a:lnTo>
                  <a:lnTo>
                    <a:pt x="895" y="1150"/>
                  </a:lnTo>
                  <a:lnTo>
                    <a:pt x="895" y="1149"/>
                  </a:lnTo>
                  <a:lnTo>
                    <a:pt x="895" y="1150"/>
                  </a:lnTo>
                  <a:lnTo>
                    <a:pt x="897" y="1150"/>
                  </a:lnTo>
                  <a:lnTo>
                    <a:pt x="897" y="1149"/>
                  </a:lnTo>
                  <a:lnTo>
                    <a:pt x="898" y="1149"/>
                  </a:lnTo>
                  <a:lnTo>
                    <a:pt x="898" y="1147"/>
                  </a:lnTo>
                  <a:lnTo>
                    <a:pt x="900" y="1147"/>
                  </a:lnTo>
                  <a:lnTo>
                    <a:pt x="901" y="1145"/>
                  </a:lnTo>
                  <a:lnTo>
                    <a:pt x="903" y="1145"/>
                  </a:lnTo>
                  <a:lnTo>
                    <a:pt x="905" y="1144"/>
                  </a:lnTo>
                  <a:lnTo>
                    <a:pt x="906" y="1144"/>
                  </a:lnTo>
                  <a:lnTo>
                    <a:pt x="908" y="1144"/>
                  </a:lnTo>
                  <a:lnTo>
                    <a:pt x="906" y="1142"/>
                  </a:lnTo>
                  <a:lnTo>
                    <a:pt x="908" y="1142"/>
                  </a:lnTo>
                  <a:lnTo>
                    <a:pt x="910" y="1142"/>
                  </a:lnTo>
                  <a:lnTo>
                    <a:pt x="910" y="1140"/>
                  </a:lnTo>
                  <a:lnTo>
                    <a:pt x="911" y="1140"/>
                  </a:lnTo>
                  <a:lnTo>
                    <a:pt x="911" y="1142"/>
                  </a:lnTo>
                  <a:lnTo>
                    <a:pt x="913" y="1142"/>
                  </a:lnTo>
                  <a:lnTo>
                    <a:pt x="914" y="1142"/>
                  </a:lnTo>
                  <a:lnTo>
                    <a:pt x="914" y="1140"/>
                  </a:lnTo>
                  <a:lnTo>
                    <a:pt x="913" y="1140"/>
                  </a:lnTo>
                  <a:lnTo>
                    <a:pt x="913" y="1139"/>
                  </a:lnTo>
                  <a:lnTo>
                    <a:pt x="914" y="1139"/>
                  </a:lnTo>
                  <a:lnTo>
                    <a:pt x="913" y="1139"/>
                  </a:lnTo>
                  <a:lnTo>
                    <a:pt x="911" y="1139"/>
                  </a:lnTo>
                  <a:lnTo>
                    <a:pt x="913" y="1137"/>
                  </a:lnTo>
                  <a:lnTo>
                    <a:pt x="911" y="1137"/>
                  </a:lnTo>
                  <a:lnTo>
                    <a:pt x="911" y="1139"/>
                  </a:lnTo>
                  <a:lnTo>
                    <a:pt x="910" y="1139"/>
                  </a:lnTo>
                  <a:lnTo>
                    <a:pt x="910" y="1140"/>
                  </a:lnTo>
                  <a:lnTo>
                    <a:pt x="908" y="1140"/>
                  </a:lnTo>
                  <a:lnTo>
                    <a:pt x="906" y="1140"/>
                  </a:lnTo>
                  <a:lnTo>
                    <a:pt x="906" y="1139"/>
                  </a:lnTo>
                  <a:lnTo>
                    <a:pt x="906" y="1140"/>
                  </a:lnTo>
                  <a:lnTo>
                    <a:pt x="905" y="1140"/>
                  </a:lnTo>
                  <a:lnTo>
                    <a:pt x="905" y="1142"/>
                  </a:lnTo>
                  <a:lnTo>
                    <a:pt x="906" y="1142"/>
                  </a:lnTo>
                  <a:lnTo>
                    <a:pt x="905" y="1142"/>
                  </a:lnTo>
                  <a:lnTo>
                    <a:pt x="906" y="1140"/>
                  </a:lnTo>
                  <a:lnTo>
                    <a:pt x="906" y="1142"/>
                  </a:lnTo>
                  <a:lnTo>
                    <a:pt x="905" y="1142"/>
                  </a:lnTo>
                  <a:lnTo>
                    <a:pt x="905" y="1144"/>
                  </a:lnTo>
                  <a:lnTo>
                    <a:pt x="903" y="1144"/>
                  </a:lnTo>
                  <a:lnTo>
                    <a:pt x="903" y="1142"/>
                  </a:lnTo>
                  <a:lnTo>
                    <a:pt x="901" y="1142"/>
                  </a:lnTo>
                  <a:lnTo>
                    <a:pt x="901" y="1144"/>
                  </a:lnTo>
                  <a:lnTo>
                    <a:pt x="900" y="1144"/>
                  </a:lnTo>
                  <a:lnTo>
                    <a:pt x="900" y="1145"/>
                  </a:lnTo>
                  <a:lnTo>
                    <a:pt x="898" y="1145"/>
                  </a:lnTo>
                  <a:lnTo>
                    <a:pt x="898" y="1144"/>
                  </a:lnTo>
                  <a:lnTo>
                    <a:pt x="900" y="1144"/>
                  </a:lnTo>
                  <a:lnTo>
                    <a:pt x="898" y="1145"/>
                  </a:lnTo>
                  <a:lnTo>
                    <a:pt x="900" y="1145"/>
                  </a:lnTo>
                  <a:lnTo>
                    <a:pt x="898" y="1147"/>
                  </a:lnTo>
                  <a:lnTo>
                    <a:pt x="897" y="1145"/>
                  </a:lnTo>
                  <a:lnTo>
                    <a:pt x="895" y="1145"/>
                  </a:lnTo>
                  <a:lnTo>
                    <a:pt x="897" y="1145"/>
                  </a:lnTo>
                  <a:lnTo>
                    <a:pt x="897" y="1144"/>
                  </a:lnTo>
                  <a:lnTo>
                    <a:pt x="898" y="1144"/>
                  </a:lnTo>
                  <a:lnTo>
                    <a:pt x="897" y="1144"/>
                  </a:lnTo>
                  <a:lnTo>
                    <a:pt x="897" y="1145"/>
                  </a:lnTo>
                  <a:lnTo>
                    <a:pt x="897" y="1144"/>
                  </a:lnTo>
                  <a:lnTo>
                    <a:pt x="898" y="1144"/>
                  </a:lnTo>
                  <a:lnTo>
                    <a:pt x="900" y="1142"/>
                  </a:lnTo>
                  <a:lnTo>
                    <a:pt x="901" y="1142"/>
                  </a:lnTo>
                  <a:lnTo>
                    <a:pt x="901" y="1140"/>
                  </a:lnTo>
                  <a:lnTo>
                    <a:pt x="903" y="1140"/>
                  </a:lnTo>
                  <a:lnTo>
                    <a:pt x="905" y="1139"/>
                  </a:lnTo>
                  <a:lnTo>
                    <a:pt x="905" y="1140"/>
                  </a:lnTo>
                  <a:lnTo>
                    <a:pt x="906" y="1139"/>
                  </a:lnTo>
                  <a:lnTo>
                    <a:pt x="906" y="1137"/>
                  </a:lnTo>
                  <a:lnTo>
                    <a:pt x="905" y="1137"/>
                  </a:lnTo>
                  <a:lnTo>
                    <a:pt x="905" y="1139"/>
                  </a:lnTo>
                  <a:lnTo>
                    <a:pt x="903" y="1139"/>
                  </a:lnTo>
                  <a:lnTo>
                    <a:pt x="905" y="1137"/>
                  </a:lnTo>
                  <a:lnTo>
                    <a:pt x="906" y="1137"/>
                  </a:lnTo>
                  <a:lnTo>
                    <a:pt x="906" y="1136"/>
                  </a:lnTo>
                  <a:lnTo>
                    <a:pt x="905" y="1137"/>
                  </a:lnTo>
                  <a:lnTo>
                    <a:pt x="906" y="1136"/>
                  </a:lnTo>
                  <a:lnTo>
                    <a:pt x="903" y="1137"/>
                  </a:lnTo>
                  <a:lnTo>
                    <a:pt x="901" y="1137"/>
                  </a:lnTo>
                  <a:lnTo>
                    <a:pt x="903" y="1137"/>
                  </a:lnTo>
                  <a:lnTo>
                    <a:pt x="901" y="1137"/>
                  </a:lnTo>
                  <a:lnTo>
                    <a:pt x="900" y="1136"/>
                  </a:lnTo>
                  <a:lnTo>
                    <a:pt x="900" y="1137"/>
                  </a:lnTo>
                  <a:lnTo>
                    <a:pt x="901" y="1137"/>
                  </a:lnTo>
                  <a:lnTo>
                    <a:pt x="900" y="1139"/>
                  </a:lnTo>
                  <a:lnTo>
                    <a:pt x="898" y="1139"/>
                  </a:lnTo>
                  <a:lnTo>
                    <a:pt x="897" y="1139"/>
                  </a:lnTo>
                  <a:lnTo>
                    <a:pt x="897" y="1140"/>
                  </a:lnTo>
                  <a:lnTo>
                    <a:pt x="895" y="1140"/>
                  </a:lnTo>
                  <a:lnTo>
                    <a:pt x="897" y="1139"/>
                  </a:lnTo>
                  <a:lnTo>
                    <a:pt x="897" y="1137"/>
                  </a:lnTo>
                  <a:lnTo>
                    <a:pt x="897" y="1139"/>
                  </a:lnTo>
                  <a:lnTo>
                    <a:pt x="897" y="1137"/>
                  </a:lnTo>
                  <a:lnTo>
                    <a:pt x="898" y="1137"/>
                  </a:lnTo>
                  <a:lnTo>
                    <a:pt x="898" y="1136"/>
                  </a:lnTo>
                  <a:lnTo>
                    <a:pt x="898" y="1137"/>
                  </a:lnTo>
                  <a:lnTo>
                    <a:pt x="898" y="1136"/>
                  </a:lnTo>
                  <a:lnTo>
                    <a:pt x="900" y="1136"/>
                  </a:lnTo>
                  <a:lnTo>
                    <a:pt x="900" y="1134"/>
                  </a:lnTo>
                  <a:lnTo>
                    <a:pt x="900" y="1132"/>
                  </a:lnTo>
                  <a:lnTo>
                    <a:pt x="901" y="1132"/>
                  </a:lnTo>
                  <a:lnTo>
                    <a:pt x="903" y="1134"/>
                  </a:lnTo>
                  <a:lnTo>
                    <a:pt x="903" y="1132"/>
                  </a:lnTo>
                  <a:lnTo>
                    <a:pt x="901" y="1132"/>
                  </a:lnTo>
                  <a:lnTo>
                    <a:pt x="900" y="1131"/>
                  </a:lnTo>
                  <a:lnTo>
                    <a:pt x="901" y="1131"/>
                  </a:lnTo>
                  <a:lnTo>
                    <a:pt x="900" y="1129"/>
                  </a:lnTo>
                  <a:lnTo>
                    <a:pt x="901" y="1129"/>
                  </a:lnTo>
                  <a:lnTo>
                    <a:pt x="901" y="1127"/>
                  </a:lnTo>
                  <a:lnTo>
                    <a:pt x="903" y="1129"/>
                  </a:lnTo>
                  <a:lnTo>
                    <a:pt x="903" y="1131"/>
                  </a:lnTo>
                  <a:lnTo>
                    <a:pt x="905" y="1129"/>
                  </a:lnTo>
                  <a:lnTo>
                    <a:pt x="903" y="1129"/>
                  </a:lnTo>
                  <a:lnTo>
                    <a:pt x="905" y="1129"/>
                  </a:lnTo>
                  <a:lnTo>
                    <a:pt x="903" y="1129"/>
                  </a:lnTo>
                  <a:lnTo>
                    <a:pt x="903" y="1127"/>
                  </a:lnTo>
                  <a:lnTo>
                    <a:pt x="901" y="1127"/>
                  </a:lnTo>
                  <a:lnTo>
                    <a:pt x="903" y="1127"/>
                  </a:lnTo>
                  <a:lnTo>
                    <a:pt x="903" y="1126"/>
                  </a:lnTo>
                  <a:lnTo>
                    <a:pt x="903" y="1127"/>
                  </a:lnTo>
                  <a:lnTo>
                    <a:pt x="903" y="1126"/>
                  </a:lnTo>
                  <a:lnTo>
                    <a:pt x="905" y="1126"/>
                  </a:lnTo>
                  <a:lnTo>
                    <a:pt x="905" y="1124"/>
                  </a:lnTo>
                  <a:lnTo>
                    <a:pt x="903" y="1124"/>
                  </a:lnTo>
                  <a:lnTo>
                    <a:pt x="903" y="1123"/>
                  </a:lnTo>
                  <a:lnTo>
                    <a:pt x="901" y="1121"/>
                  </a:lnTo>
                  <a:lnTo>
                    <a:pt x="900" y="1119"/>
                  </a:lnTo>
                  <a:lnTo>
                    <a:pt x="901" y="1119"/>
                  </a:lnTo>
                  <a:lnTo>
                    <a:pt x="901" y="1121"/>
                  </a:lnTo>
                  <a:lnTo>
                    <a:pt x="901" y="1119"/>
                  </a:lnTo>
                  <a:lnTo>
                    <a:pt x="901" y="1118"/>
                  </a:lnTo>
                  <a:lnTo>
                    <a:pt x="903" y="1118"/>
                  </a:lnTo>
                  <a:lnTo>
                    <a:pt x="905" y="1118"/>
                  </a:lnTo>
                  <a:lnTo>
                    <a:pt x="908" y="1119"/>
                  </a:lnTo>
                  <a:lnTo>
                    <a:pt x="908" y="1121"/>
                  </a:lnTo>
                  <a:lnTo>
                    <a:pt x="908" y="1123"/>
                  </a:lnTo>
                  <a:lnTo>
                    <a:pt x="910" y="1121"/>
                  </a:lnTo>
                  <a:lnTo>
                    <a:pt x="911" y="1121"/>
                  </a:lnTo>
                  <a:lnTo>
                    <a:pt x="911" y="1119"/>
                  </a:lnTo>
                  <a:lnTo>
                    <a:pt x="911" y="1121"/>
                  </a:lnTo>
                  <a:lnTo>
                    <a:pt x="911" y="1119"/>
                  </a:lnTo>
                  <a:lnTo>
                    <a:pt x="913" y="1119"/>
                  </a:lnTo>
                  <a:lnTo>
                    <a:pt x="913" y="1118"/>
                  </a:lnTo>
                  <a:lnTo>
                    <a:pt x="914" y="1118"/>
                  </a:lnTo>
                  <a:lnTo>
                    <a:pt x="916" y="1118"/>
                  </a:lnTo>
                  <a:lnTo>
                    <a:pt x="916" y="1116"/>
                  </a:lnTo>
                  <a:lnTo>
                    <a:pt x="914" y="1116"/>
                  </a:lnTo>
                  <a:lnTo>
                    <a:pt x="914" y="1118"/>
                  </a:lnTo>
                  <a:lnTo>
                    <a:pt x="913" y="1118"/>
                  </a:lnTo>
                  <a:lnTo>
                    <a:pt x="911" y="1118"/>
                  </a:lnTo>
                  <a:lnTo>
                    <a:pt x="910" y="1116"/>
                  </a:lnTo>
                  <a:lnTo>
                    <a:pt x="908" y="1116"/>
                  </a:lnTo>
                  <a:lnTo>
                    <a:pt x="908" y="1114"/>
                  </a:lnTo>
                  <a:lnTo>
                    <a:pt x="908" y="1113"/>
                  </a:lnTo>
                  <a:lnTo>
                    <a:pt x="910" y="1113"/>
                  </a:lnTo>
                  <a:lnTo>
                    <a:pt x="910" y="1111"/>
                  </a:lnTo>
                  <a:lnTo>
                    <a:pt x="911" y="1111"/>
                  </a:lnTo>
                  <a:lnTo>
                    <a:pt x="911" y="1110"/>
                  </a:lnTo>
                  <a:lnTo>
                    <a:pt x="910" y="1108"/>
                  </a:lnTo>
                  <a:lnTo>
                    <a:pt x="911" y="1106"/>
                  </a:lnTo>
                  <a:lnTo>
                    <a:pt x="911" y="1108"/>
                  </a:lnTo>
                  <a:lnTo>
                    <a:pt x="913" y="1110"/>
                  </a:lnTo>
                  <a:lnTo>
                    <a:pt x="911" y="1110"/>
                  </a:lnTo>
                  <a:lnTo>
                    <a:pt x="913" y="1110"/>
                  </a:lnTo>
                  <a:lnTo>
                    <a:pt x="913" y="1111"/>
                  </a:lnTo>
                  <a:lnTo>
                    <a:pt x="914" y="1111"/>
                  </a:lnTo>
                  <a:lnTo>
                    <a:pt x="914" y="1110"/>
                  </a:lnTo>
                  <a:lnTo>
                    <a:pt x="913" y="1110"/>
                  </a:lnTo>
                  <a:lnTo>
                    <a:pt x="913" y="1108"/>
                  </a:lnTo>
                  <a:lnTo>
                    <a:pt x="914" y="1108"/>
                  </a:lnTo>
                  <a:lnTo>
                    <a:pt x="913" y="1108"/>
                  </a:lnTo>
                  <a:lnTo>
                    <a:pt x="914" y="1106"/>
                  </a:lnTo>
                  <a:lnTo>
                    <a:pt x="913" y="1106"/>
                  </a:lnTo>
                  <a:lnTo>
                    <a:pt x="911" y="1106"/>
                  </a:lnTo>
                  <a:lnTo>
                    <a:pt x="911" y="1105"/>
                  </a:lnTo>
                  <a:lnTo>
                    <a:pt x="913" y="1105"/>
                  </a:lnTo>
                  <a:lnTo>
                    <a:pt x="913" y="1103"/>
                  </a:lnTo>
                  <a:lnTo>
                    <a:pt x="914" y="1103"/>
                  </a:lnTo>
                  <a:lnTo>
                    <a:pt x="914" y="1105"/>
                  </a:lnTo>
                  <a:lnTo>
                    <a:pt x="916" y="1106"/>
                  </a:lnTo>
                  <a:lnTo>
                    <a:pt x="916" y="1105"/>
                  </a:lnTo>
                  <a:lnTo>
                    <a:pt x="916" y="1106"/>
                  </a:lnTo>
                  <a:lnTo>
                    <a:pt x="916" y="1105"/>
                  </a:lnTo>
                  <a:lnTo>
                    <a:pt x="916" y="1103"/>
                  </a:lnTo>
                  <a:lnTo>
                    <a:pt x="918" y="1103"/>
                  </a:lnTo>
                  <a:lnTo>
                    <a:pt x="918" y="1105"/>
                  </a:lnTo>
                  <a:lnTo>
                    <a:pt x="919" y="1105"/>
                  </a:lnTo>
                  <a:lnTo>
                    <a:pt x="918" y="1105"/>
                  </a:lnTo>
                  <a:lnTo>
                    <a:pt x="918" y="1103"/>
                  </a:lnTo>
                  <a:lnTo>
                    <a:pt x="919" y="1103"/>
                  </a:lnTo>
                  <a:lnTo>
                    <a:pt x="918" y="1103"/>
                  </a:lnTo>
                  <a:lnTo>
                    <a:pt x="918" y="1101"/>
                  </a:lnTo>
                  <a:lnTo>
                    <a:pt x="919" y="1101"/>
                  </a:lnTo>
                  <a:lnTo>
                    <a:pt x="919" y="1103"/>
                  </a:lnTo>
                  <a:lnTo>
                    <a:pt x="919" y="1101"/>
                  </a:lnTo>
                  <a:lnTo>
                    <a:pt x="921" y="1103"/>
                  </a:lnTo>
                  <a:lnTo>
                    <a:pt x="923" y="1103"/>
                  </a:lnTo>
                  <a:lnTo>
                    <a:pt x="923" y="1105"/>
                  </a:lnTo>
                  <a:lnTo>
                    <a:pt x="923" y="1106"/>
                  </a:lnTo>
                  <a:lnTo>
                    <a:pt x="924" y="1106"/>
                  </a:lnTo>
                  <a:lnTo>
                    <a:pt x="924" y="1105"/>
                  </a:lnTo>
                  <a:lnTo>
                    <a:pt x="924" y="1103"/>
                  </a:lnTo>
                  <a:lnTo>
                    <a:pt x="924" y="1101"/>
                  </a:lnTo>
                  <a:lnTo>
                    <a:pt x="923" y="1101"/>
                  </a:lnTo>
                  <a:lnTo>
                    <a:pt x="921" y="1101"/>
                  </a:lnTo>
                  <a:lnTo>
                    <a:pt x="918" y="1100"/>
                  </a:lnTo>
                  <a:lnTo>
                    <a:pt x="916" y="1100"/>
                  </a:lnTo>
                  <a:lnTo>
                    <a:pt x="918" y="1098"/>
                  </a:lnTo>
                  <a:lnTo>
                    <a:pt x="916" y="1098"/>
                  </a:lnTo>
                  <a:lnTo>
                    <a:pt x="918" y="1098"/>
                  </a:lnTo>
                  <a:lnTo>
                    <a:pt x="918" y="1097"/>
                  </a:lnTo>
                  <a:lnTo>
                    <a:pt x="919" y="1097"/>
                  </a:lnTo>
                  <a:lnTo>
                    <a:pt x="921" y="1097"/>
                  </a:lnTo>
                  <a:lnTo>
                    <a:pt x="921" y="1095"/>
                  </a:lnTo>
                  <a:lnTo>
                    <a:pt x="923" y="1095"/>
                  </a:lnTo>
                  <a:lnTo>
                    <a:pt x="921" y="1095"/>
                  </a:lnTo>
                  <a:lnTo>
                    <a:pt x="923" y="1093"/>
                  </a:lnTo>
                  <a:lnTo>
                    <a:pt x="921" y="1093"/>
                  </a:lnTo>
                  <a:lnTo>
                    <a:pt x="923" y="1093"/>
                  </a:lnTo>
                  <a:lnTo>
                    <a:pt x="923" y="1092"/>
                  </a:lnTo>
                  <a:lnTo>
                    <a:pt x="924" y="1092"/>
                  </a:lnTo>
                  <a:lnTo>
                    <a:pt x="924" y="1093"/>
                  </a:lnTo>
                  <a:lnTo>
                    <a:pt x="926" y="1095"/>
                  </a:lnTo>
                  <a:lnTo>
                    <a:pt x="926" y="1093"/>
                  </a:lnTo>
                  <a:lnTo>
                    <a:pt x="924" y="1093"/>
                  </a:lnTo>
                  <a:lnTo>
                    <a:pt x="924" y="1092"/>
                  </a:lnTo>
                  <a:lnTo>
                    <a:pt x="926" y="1092"/>
                  </a:lnTo>
                  <a:lnTo>
                    <a:pt x="924" y="1090"/>
                  </a:lnTo>
                  <a:lnTo>
                    <a:pt x="926" y="1090"/>
                  </a:lnTo>
                  <a:lnTo>
                    <a:pt x="924" y="1090"/>
                  </a:lnTo>
                  <a:lnTo>
                    <a:pt x="926" y="1090"/>
                  </a:lnTo>
                  <a:lnTo>
                    <a:pt x="927" y="1090"/>
                  </a:lnTo>
                  <a:lnTo>
                    <a:pt x="927" y="1092"/>
                  </a:lnTo>
                  <a:lnTo>
                    <a:pt x="929" y="1092"/>
                  </a:lnTo>
                  <a:lnTo>
                    <a:pt x="927" y="1092"/>
                  </a:lnTo>
                  <a:lnTo>
                    <a:pt x="929" y="1090"/>
                  </a:lnTo>
                  <a:lnTo>
                    <a:pt x="927" y="1090"/>
                  </a:lnTo>
                  <a:lnTo>
                    <a:pt x="929" y="1090"/>
                  </a:lnTo>
                  <a:lnTo>
                    <a:pt x="931" y="1090"/>
                  </a:lnTo>
                  <a:lnTo>
                    <a:pt x="931" y="1088"/>
                  </a:lnTo>
                  <a:lnTo>
                    <a:pt x="929" y="1088"/>
                  </a:lnTo>
                  <a:lnTo>
                    <a:pt x="927" y="1090"/>
                  </a:lnTo>
                  <a:lnTo>
                    <a:pt x="927" y="1088"/>
                  </a:lnTo>
                  <a:lnTo>
                    <a:pt x="929" y="1088"/>
                  </a:lnTo>
                  <a:lnTo>
                    <a:pt x="927" y="1088"/>
                  </a:lnTo>
                  <a:lnTo>
                    <a:pt x="927" y="1087"/>
                  </a:lnTo>
                  <a:lnTo>
                    <a:pt x="929" y="1087"/>
                  </a:lnTo>
                  <a:lnTo>
                    <a:pt x="927" y="1087"/>
                  </a:lnTo>
                  <a:lnTo>
                    <a:pt x="927" y="1085"/>
                  </a:lnTo>
                  <a:lnTo>
                    <a:pt x="929" y="1085"/>
                  </a:lnTo>
                  <a:lnTo>
                    <a:pt x="929" y="1083"/>
                  </a:lnTo>
                  <a:lnTo>
                    <a:pt x="927" y="1083"/>
                  </a:lnTo>
                  <a:lnTo>
                    <a:pt x="927" y="1082"/>
                  </a:lnTo>
                  <a:lnTo>
                    <a:pt x="929" y="1082"/>
                  </a:lnTo>
                  <a:lnTo>
                    <a:pt x="931" y="1083"/>
                  </a:lnTo>
                  <a:lnTo>
                    <a:pt x="932" y="1083"/>
                  </a:lnTo>
                  <a:lnTo>
                    <a:pt x="931" y="1083"/>
                  </a:lnTo>
                  <a:lnTo>
                    <a:pt x="931" y="1082"/>
                  </a:lnTo>
                  <a:lnTo>
                    <a:pt x="929" y="1082"/>
                  </a:lnTo>
                  <a:lnTo>
                    <a:pt x="929" y="1080"/>
                  </a:lnTo>
                  <a:lnTo>
                    <a:pt x="931" y="1080"/>
                  </a:lnTo>
                  <a:lnTo>
                    <a:pt x="931" y="1082"/>
                  </a:lnTo>
                  <a:lnTo>
                    <a:pt x="932" y="1082"/>
                  </a:lnTo>
                  <a:lnTo>
                    <a:pt x="932" y="1083"/>
                  </a:lnTo>
                  <a:lnTo>
                    <a:pt x="934" y="1083"/>
                  </a:lnTo>
                  <a:lnTo>
                    <a:pt x="936" y="1085"/>
                  </a:lnTo>
                  <a:lnTo>
                    <a:pt x="934" y="1083"/>
                  </a:lnTo>
                  <a:lnTo>
                    <a:pt x="934" y="1082"/>
                  </a:lnTo>
                  <a:lnTo>
                    <a:pt x="932" y="1082"/>
                  </a:lnTo>
                  <a:lnTo>
                    <a:pt x="932" y="1080"/>
                  </a:lnTo>
                  <a:lnTo>
                    <a:pt x="932" y="1079"/>
                  </a:lnTo>
                  <a:lnTo>
                    <a:pt x="934" y="1079"/>
                  </a:lnTo>
                  <a:lnTo>
                    <a:pt x="936" y="1079"/>
                  </a:lnTo>
                  <a:lnTo>
                    <a:pt x="937" y="1080"/>
                  </a:lnTo>
                  <a:lnTo>
                    <a:pt x="937" y="1082"/>
                  </a:lnTo>
                  <a:lnTo>
                    <a:pt x="939" y="1082"/>
                  </a:lnTo>
                  <a:lnTo>
                    <a:pt x="937" y="1083"/>
                  </a:lnTo>
                  <a:lnTo>
                    <a:pt x="939" y="1083"/>
                  </a:lnTo>
                  <a:lnTo>
                    <a:pt x="939" y="1082"/>
                  </a:lnTo>
                  <a:lnTo>
                    <a:pt x="939" y="1083"/>
                  </a:lnTo>
                  <a:lnTo>
                    <a:pt x="939" y="1082"/>
                  </a:lnTo>
                  <a:lnTo>
                    <a:pt x="940" y="1082"/>
                  </a:lnTo>
                  <a:lnTo>
                    <a:pt x="942" y="1082"/>
                  </a:lnTo>
                  <a:lnTo>
                    <a:pt x="942" y="1080"/>
                  </a:lnTo>
                  <a:lnTo>
                    <a:pt x="940" y="1080"/>
                  </a:lnTo>
                  <a:lnTo>
                    <a:pt x="939" y="1080"/>
                  </a:lnTo>
                  <a:lnTo>
                    <a:pt x="939" y="1079"/>
                  </a:lnTo>
                  <a:lnTo>
                    <a:pt x="939" y="1077"/>
                  </a:lnTo>
                  <a:lnTo>
                    <a:pt x="937" y="1077"/>
                  </a:lnTo>
                  <a:lnTo>
                    <a:pt x="936" y="1077"/>
                  </a:lnTo>
                  <a:lnTo>
                    <a:pt x="936" y="1075"/>
                  </a:lnTo>
                  <a:lnTo>
                    <a:pt x="934" y="1074"/>
                  </a:lnTo>
                  <a:lnTo>
                    <a:pt x="932" y="1075"/>
                  </a:lnTo>
                  <a:lnTo>
                    <a:pt x="931" y="1075"/>
                  </a:lnTo>
                  <a:lnTo>
                    <a:pt x="931" y="1077"/>
                  </a:lnTo>
                  <a:lnTo>
                    <a:pt x="929" y="1075"/>
                  </a:lnTo>
                  <a:lnTo>
                    <a:pt x="931" y="1075"/>
                  </a:lnTo>
                  <a:lnTo>
                    <a:pt x="929" y="1075"/>
                  </a:lnTo>
                  <a:lnTo>
                    <a:pt x="927" y="1074"/>
                  </a:lnTo>
                  <a:lnTo>
                    <a:pt x="929" y="1074"/>
                  </a:lnTo>
                  <a:lnTo>
                    <a:pt x="929" y="1072"/>
                  </a:lnTo>
                  <a:lnTo>
                    <a:pt x="931" y="1072"/>
                  </a:lnTo>
                  <a:lnTo>
                    <a:pt x="931" y="1070"/>
                  </a:lnTo>
                  <a:lnTo>
                    <a:pt x="932" y="1070"/>
                  </a:lnTo>
                  <a:lnTo>
                    <a:pt x="932" y="1069"/>
                  </a:lnTo>
                  <a:lnTo>
                    <a:pt x="934" y="1070"/>
                  </a:lnTo>
                  <a:lnTo>
                    <a:pt x="936" y="1072"/>
                  </a:lnTo>
                  <a:lnTo>
                    <a:pt x="937" y="1074"/>
                  </a:lnTo>
                  <a:lnTo>
                    <a:pt x="937" y="1075"/>
                  </a:lnTo>
                  <a:lnTo>
                    <a:pt x="939" y="1075"/>
                  </a:lnTo>
                  <a:lnTo>
                    <a:pt x="939" y="1077"/>
                  </a:lnTo>
                  <a:lnTo>
                    <a:pt x="940" y="1075"/>
                  </a:lnTo>
                  <a:lnTo>
                    <a:pt x="939" y="1074"/>
                  </a:lnTo>
                  <a:lnTo>
                    <a:pt x="939" y="1072"/>
                  </a:lnTo>
                  <a:lnTo>
                    <a:pt x="939" y="1074"/>
                  </a:lnTo>
                  <a:lnTo>
                    <a:pt x="939" y="1072"/>
                  </a:lnTo>
                  <a:lnTo>
                    <a:pt x="937" y="1072"/>
                  </a:lnTo>
                  <a:lnTo>
                    <a:pt x="937" y="1070"/>
                  </a:lnTo>
                  <a:lnTo>
                    <a:pt x="937" y="1072"/>
                  </a:lnTo>
                  <a:lnTo>
                    <a:pt x="936" y="1070"/>
                  </a:lnTo>
                  <a:lnTo>
                    <a:pt x="934" y="1070"/>
                  </a:lnTo>
                  <a:lnTo>
                    <a:pt x="934" y="1069"/>
                  </a:lnTo>
                  <a:lnTo>
                    <a:pt x="936" y="1069"/>
                  </a:lnTo>
                  <a:lnTo>
                    <a:pt x="937" y="1069"/>
                  </a:lnTo>
                  <a:lnTo>
                    <a:pt x="936" y="1069"/>
                  </a:lnTo>
                  <a:lnTo>
                    <a:pt x="937" y="1069"/>
                  </a:lnTo>
                  <a:lnTo>
                    <a:pt x="937" y="1067"/>
                  </a:lnTo>
                  <a:lnTo>
                    <a:pt x="937" y="1069"/>
                  </a:lnTo>
                  <a:lnTo>
                    <a:pt x="937" y="1067"/>
                  </a:lnTo>
                  <a:lnTo>
                    <a:pt x="939" y="1066"/>
                  </a:lnTo>
                  <a:lnTo>
                    <a:pt x="939" y="1067"/>
                  </a:lnTo>
                  <a:lnTo>
                    <a:pt x="939" y="1069"/>
                  </a:lnTo>
                  <a:lnTo>
                    <a:pt x="940" y="1069"/>
                  </a:lnTo>
                  <a:lnTo>
                    <a:pt x="940" y="1070"/>
                  </a:lnTo>
                  <a:lnTo>
                    <a:pt x="942" y="1070"/>
                  </a:lnTo>
                  <a:lnTo>
                    <a:pt x="940" y="1070"/>
                  </a:lnTo>
                  <a:lnTo>
                    <a:pt x="942" y="1070"/>
                  </a:lnTo>
                  <a:lnTo>
                    <a:pt x="942" y="1072"/>
                  </a:lnTo>
                  <a:lnTo>
                    <a:pt x="944" y="1072"/>
                  </a:lnTo>
                  <a:lnTo>
                    <a:pt x="945" y="1072"/>
                  </a:lnTo>
                  <a:lnTo>
                    <a:pt x="947" y="1072"/>
                  </a:lnTo>
                  <a:lnTo>
                    <a:pt x="947" y="1074"/>
                  </a:lnTo>
                  <a:lnTo>
                    <a:pt x="947" y="1075"/>
                  </a:lnTo>
                  <a:lnTo>
                    <a:pt x="947" y="1077"/>
                  </a:lnTo>
                  <a:lnTo>
                    <a:pt x="949" y="1079"/>
                  </a:lnTo>
                  <a:lnTo>
                    <a:pt x="949" y="1077"/>
                  </a:lnTo>
                  <a:lnTo>
                    <a:pt x="950" y="1077"/>
                  </a:lnTo>
                  <a:lnTo>
                    <a:pt x="950" y="1079"/>
                  </a:lnTo>
                  <a:lnTo>
                    <a:pt x="952" y="1079"/>
                  </a:lnTo>
                  <a:lnTo>
                    <a:pt x="952" y="1077"/>
                  </a:lnTo>
                  <a:lnTo>
                    <a:pt x="950" y="1077"/>
                  </a:lnTo>
                  <a:lnTo>
                    <a:pt x="952" y="1077"/>
                  </a:lnTo>
                  <a:lnTo>
                    <a:pt x="952" y="1075"/>
                  </a:lnTo>
                  <a:lnTo>
                    <a:pt x="950" y="1075"/>
                  </a:lnTo>
                  <a:lnTo>
                    <a:pt x="949" y="1074"/>
                  </a:lnTo>
                  <a:lnTo>
                    <a:pt x="950" y="1074"/>
                  </a:lnTo>
                  <a:lnTo>
                    <a:pt x="950" y="1072"/>
                  </a:lnTo>
                  <a:lnTo>
                    <a:pt x="949" y="1072"/>
                  </a:lnTo>
                  <a:lnTo>
                    <a:pt x="950" y="1072"/>
                  </a:lnTo>
                  <a:lnTo>
                    <a:pt x="950" y="1070"/>
                  </a:lnTo>
                  <a:lnTo>
                    <a:pt x="950" y="1069"/>
                  </a:lnTo>
                  <a:lnTo>
                    <a:pt x="949" y="1070"/>
                  </a:lnTo>
                  <a:lnTo>
                    <a:pt x="949" y="1069"/>
                  </a:lnTo>
                  <a:lnTo>
                    <a:pt x="949" y="1070"/>
                  </a:lnTo>
                  <a:lnTo>
                    <a:pt x="947" y="1070"/>
                  </a:lnTo>
                  <a:lnTo>
                    <a:pt x="945" y="1069"/>
                  </a:lnTo>
                  <a:lnTo>
                    <a:pt x="947" y="1069"/>
                  </a:lnTo>
                  <a:lnTo>
                    <a:pt x="947" y="1070"/>
                  </a:lnTo>
                  <a:lnTo>
                    <a:pt x="945" y="1070"/>
                  </a:lnTo>
                  <a:lnTo>
                    <a:pt x="944" y="1070"/>
                  </a:lnTo>
                  <a:lnTo>
                    <a:pt x="944" y="1069"/>
                  </a:lnTo>
                  <a:lnTo>
                    <a:pt x="944" y="1070"/>
                  </a:lnTo>
                  <a:lnTo>
                    <a:pt x="944" y="1069"/>
                  </a:lnTo>
                  <a:lnTo>
                    <a:pt x="942" y="1069"/>
                  </a:lnTo>
                  <a:lnTo>
                    <a:pt x="940" y="1069"/>
                  </a:lnTo>
                  <a:lnTo>
                    <a:pt x="940" y="1067"/>
                  </a:lnTo>
                  <a:lnTo>
                    <a:pt x="942" y="1067"/>
                  </a:lnTo>
                  <a:lnTo>
                    <a:pt x="942" y="1066"/>
                  </a:lnTo>
                  <a:lnTo>
                    <a:pt x="944" y="1066"/>
                  </a:lnTo>
                  <a:lnTo>
                    <a:pt x="944" y="1064"/>
                  </a:lnTo>
                  <a:lnTo>
                    <a:pt x="945" y="1064"/>
                  </a:lnTo>
                  <a:lnTo>
                    <a:pt x="945" y="1066"/>
                  </a:lnTo>
                  <a:lnTo>
                    <a:pt x="945" y="1067"/>
                  </a:lnTo>
                  <a:lnTo>
                    <a:pt x="945" y="1066"/>
                  </a:lnTo>
                  <a:lnTo>
                    <a:pt x="947" y="1067"/>
                  </a:lnTo>
                  <a:lnTo>
                    <a:pt x="947" y="1066"/>
                  </a:lnTo>
                  <a:lnTo>
                    <a:pt x="947" y="1064"/>
                  </a:lnTo>
                  <a:lnTo>
                    <a:pt x="949" y="1064"/>
                  </a:lnTo>
                  <a:lnTo>
                    <a:pt x="949" y="1066"/>
                  </a:lnTo>
                  <a:lnTo>
                    <a:pt x="949" y="1064"/>
                  </a:lnTo>
                  <a:lnTo>
                    <a:pt x="947" y="1062"/>
                  </a:lnTo>
                  <a:lnTo>
                    <a:pt x="947" y="1061"/>
                  </a:lnTo>
                  <a:lnTo>
                    <a:pt x="947" y="1062"/>
                  </a:lnTo>
                  <a:lnTo>
                    <a:pt x="949" y="1061"/>
                  </a:lnTo>
                  <a:lnTo>
                    <a:pt x="949" y="1059"/>
                  </a:lnTo>
                  <a:lnTo>
                    <a:pt x="950" y="1059"/>
                  </a:lnTo>
                  <a:lnTo>
                    <a:pt x="952" y="1059"/>
                  </a:lnTo>
                  <a:lnTo>
                    <a:pt x="953" y="1059"/>
                  </a:lnTo>
                  <a:lnTo>
                    <a:pt x="953" y="1061"/>
                  </a:lnTo>
                  <a:lnTo>
                    <a:pt x="955" y="1061"/>
                  </a:lnTo>
                  <a:lnTo>
                    <a:pt x="953" y="1061"/>
                  </a:lnTo>
                  <a:lnTo>
                    <a:pt x="955" y="1061"/>
                  </a:lnTo>
                  <a:lnTo>
                    <a:pt x="955" y="1062"/>
                  </a:lnTo>
                  <a:lnTo>
                    <a:pt x="955" y="1064"/>
                  </a:lnTo>
                  <a:lnTo>
                    <a:pt x="955" y="1066"/>
                  </a:lnTo>
                  <a:lnTo>
                    <a:pt x="955" y="1064"/>
                  </a:lnTo>
                  <a:lnTo>
                    <a:pt x="957" y="1064"/>
                  </a:lnTo>
                  <a:lnTo>
                    <a:pt x="955" y="1062"/>
                  </a:lnTo>
                  <a:lnTo>
                    <a:pt x="955" y="1061"/>
                  </a:lnTo>
                  <a:lnTo>
                    <a:pt x="955" y="1059"/>
                  </a:lnTo>
                  <a:lnTo>
                    <a:pt x="957" y="1061"/>
                  </a:lnTo>
                  <a:lnTo>
                    <a:pt x="957" y="1059"/>
                  </a:lnTo>
                  <a:lnTo>
                    <a:pt x="957" y="1057"/>
                  </a:lnTo>
                  <a:lnTo>
                    <a:pt x="958" y="1059"/>
                  </a:lnTo>
                  <a:lnTo>
                    <a:pt x="960" y="1061"/>
                  </a:lnTo>
                  <a:lnTo>
                    <a:pt x="962" y="1061"/>
                  </a:lnTo>
                  <a:lnTo>
                    <a:pt x="962" y="1059"/>
                  </a:lnTo>
                  <a:lnTo>
                    <a:pt x="960" y="1059"/>
                  </a:lnTo>
                  <a:lnTo>
                    <a:pt x="960" y="1061"/>
                  </a:lnTo>
                  <a:lnTo>
                    <a:pt x="960" y="1059"/>
                  </a:lnTo>
                  <a:lnTo>
                    <a:pt x="958" y="1057"/>
                  </a:lnTo>
                  <a:lnTo>
                    <a:pt x="960" y="1057"/>
                  </a:lnTo>
                  <a:lnTo>
                    <a:pt x="960" y="1056"/>
                  </a:lnTo>
                  <a:lnTo>
                    <a:pt x="960" y="1054"/>
                  </a:lnTo>
                  <a:lnTo>
                    <a:pt x="960" y="1053"/>
                  </a:lnTo>
                  <a:lnTo>
                    <a:pt x="958" y="1053"/>
                  </a:lnTo>
                  <a:lnTo>
                    <a:pt x="958" y="1051"/>
                  </a:lnTo>
                  <a:lnTo>
                    <a:pt x="957" y="1051"/>
                  </a:lnTo>
                  <a:lnTo>
                    <a:pt x="957" y="1049"/>
                  </a:lnTo>
                  <a:lnTo>
                    <a:pt x="955" y="1049"/>
                  </a:lnTo>
                  <a:lnTo>
                    <a:pt x="957" y="1048"/>
                  </a:lnTo>
                  <a:lnTo>
                    <a:pt x="958" y="1048"/>
                  </a:lnTo>
                  <a:lnTo>
                    <a:pt x="958" y="1046"/>
                  </a:lnTo>
                  <a:lnTo>
                    <a:pt x="958" y="1044"/>
                  </a:lnTo>
                  <a:lnTo>
                    <a:pt x="960" y="1044"/>
                  </a:lnTo>
                  <a:lnTo>
                    <a:pt x="962" y="1046"/>
                  </a:lnTo>
                  <a:lnTo>
                    <a:pt x="962" y="1048"/>
                  </a:lnTo>
                  <a:lnTo>
                    <a:pt x="963" y="1048"/>
                  </a:lnTo>
                  <a:lnTo>
                    <a:pt x="965" y="1049"/>
                  </a:lnTo>
                  <a:lnTo>
                    <a:pt x="967" y="1051"/>
                  </a:lnTo>
                  <a:lnTo>
                    <a:pt x="968" y="1051"/>
                  </a:lnTo>
                  <a:lnTo>
                    <a:pt x="967" y="1051"/>
                  </a:lnTo>
                  <a:lnTo>
                    <a:pt x="967" y="1053"/>
                  </a:lnTo>
                  <a:lnTo>
                    <a:pt x="967" y="1054"/>
                  </a:lnTo>
                  <a:lnTo>
                    <a:pt x="967" y="1056"/>
                  </a:lnTo>
                  <a:lnTo>
                    <a:pt x="967" y="1057"/>
                  </a:lnTo>
                  <a:lnTo>
                    <a:pt x="968" y="1057"/>
                  </a:lnTo>
                  <a:lnTo>
                    <a:pt x="968" y="1056"/>
                  </a:lnTo>
                  <a:lnTo>
                    <a:pt x="970" y="1057"/>
                  </a:lnTo>
                  <a:lnTo>
                    <a:pt x="970" y="1059"/>
                  </a:lnTo>
                  <a:lnTo>
                    <a:pt x="971" y="1061"/>
                  </a:lnTo>
                  <a:lnTo>
                    <a:pt x="973" y="1061"/>
                  </a:lnTo>
                  <a:lnTo>
                    <a:pt x="973" y="1062"/>
                  </a:lnTo>
                  <a:lnTo>
                    <a:pt x="975" y="1062"/>
                  </a:lnTo>
                  <a:lnTo>
                    <a:pt x="973" y="1064"/>
                  </a:lnTo>
                  <a:lnTo>
                    <a:pt x="975" y="1064"/>
                  </a:lnTo>
                  <a:lnTo>
                    <a:pt x="975" y="1066"/>
                  </a:lnTo>
                  <a:lnTo>
                    <a:pt x="973" y="1067"/>
                  </a:lnTo>
                  <a:lnTo>
                    <a:pt x="973" y="1069"/>
                  </a:lnTo>
                  <a:lnTo>
                    <a:pt x="975" y="1069"/>
                  </a:lnTo>
                  <a:lnTo>
                    <a:pt x="975" y="1067"/>
                  </a:lnTo>
                  <a:lnTo>
                    <a:pt x="976" y="1067"/>
                  </a:lnTo>
                  <a:lnTo>
                    <a:pt x="978" y="1067"/>
                  </a:lnTo>
                  <a:lnTo>
                    <a:pt x="980" y="1067"/>
                  </a:lnTo>
                  <a:lnTo>
                    <a:pt x="980" y="1066"/>
                  </a:lnTo>
                  <a:lnTo>
                    <a:pt x="978" y="1067"/>
                  </a:lnTo>
                  <a:lnTo>
                    <a:pt x="978" y="1066"/>
                  </a:lnTo>
                  <a:lnTo>
                    <a:pt x="980" y="1066"/>
                  </a:lnTo>
                  <a:lnTo>
                    <a:pt x="981" y="1066"/>
                  </a:lnTo>
                  <a:lnTo>
                    <a:pt x="980" y="1066"/>
                  </a:lnTo>
                  <a:lnTo>
                    <a:pt x="980" y="1067"/>
                  </a:lnTo>
                  <a:lnTo>
                    <a:pt x="981" y="1067"/>
                  </a:lnTo>
                  <a:lnTo>
                    <a:pt x="981" y="1069"/>
                  </a:lnTo>
                  <a:lnTo>
                    <a:pt x="983" y="1069"/>
                  </a:lnTo>
                  <a:lnTo>
                    <a:pt x="981" y="1069"/>
                  </a:lnTo>
                  <a:lnTo>
                    <a:pt x="983" y="1069"/>
                  </a:lnTo>
                  <a:lnTo>
                    <a:pt x="983" y="1067"/>
                  </a:lnTo>
                  <a:lnTo>
                    <a:pt x="981" y="1067"/>
                  </a:lnTo>
                  <a:lnTo>
                    <a:pt x="981" y="1066"/>
                  </a:lnTo>
                  <a:lnTo>
                    <a:pt x="983" y="1066"/>
                  </a:lnTo>
                  <a:lnTo>
                    <a:pt x="984" y="1066"/>
                  </a:lnTo>
                  <a:lnTo>
                    <a:pt x="983" y="1066"/>
                  </a:lnTo>
                  <a:lnTo>
                    <a:pt x="983" y="1067"/>
                  </a:lnTo>
                  <a:lnTo>
                    <a:pt x="984" y="1067"/>
                  </a:lnTo>
                  <a:lnTo>
                    <a:pt x="984" y="1069"/>
                  </a:lnTo>
                  <a:lnTo>
                    <a:pt x="983" y="1069"/>
                  </a:lnTo>
                  <a:lnTo>
                    <a:pt x="983" y="1070"/>
                  </a:lnTo>
                  <a:lnTo>
                    <a:pt x="983" y="1072"/>
                  </a:lnTo>
                  <a:lnTo>
                    <a:pt x="983" y="1074"/>
                  </a:lnTo>
                  <a:lnTo>
                    <a:pt x="983" y="1075"/>
                  </a:lnTo>
                  <a:lnTo>
                    <a:pt x="981" y="1077"/>
                  </a:lnTo>
                  <a:lnTo>
                    <a:pt x="980" y="1077"/>
                  </a:lnTo>
                  <a:lnTo>
                    <a:pt x="980" y="1079"/>
                  </a:lnTo>
                  <a:lnTo>
                    <a:pt x="980" y="1080"/>
                  </a:lnTo>
                  <a:lnTo>
                    <a:pt x="978" y="1080"/>
                  </a:lnTo>
                  <a:lnTo>
                    <a:pt x="978" y="1082"/>
                  </a:lnTo>
                  <a:lnTo>
                    <a:pt x="976" y="1083"/>
                  </a:lnTo>
                  <a:lnTo>
                    <a:pt x="976" y="1087"/>
                  </a:lnTo>
                  <a:lnTo>
                    <a:pt x="976" y="1088"/>
                  </a:lnTo>
                  <a:lnTo>
                    <a:pt x="978" y="1087"/>
                  </a:lnTo>
                  <a:lnTo>
                    <a:pt x="978" y="1085"/>
                  </a:lnTo>
                  <a:lnTo>
                    <a:pt x="978" y="1083"/>
                  </a:lnTo>
                  <a:lnTo>
                    <a:pt x="980" y="1083"/>
                  </a:lnTo>
                  <a:lnTo>
                    <a:pt x="980" y="1082"/>
                  </a:lnTo>
                  <a:lnTo>
                    <a:pt x="978" y="1082"/>
                  </a:lnTo>
                  <a:lnTo>
                    <a:pt x="980" y="1080"/>
                  </a:lnTo>
                  <a:lnTo>
                    <a:pt x="981" y="1079"/>
                  </a:lnTo>
                  <a:lnTo>
                    <a:pt x="983" y="1079"/>
                  </a:lnTo>
                  <a:lnTo>
                    <a:pt x="983" y="1077"/>
                  </a:lnTo>
                  <a:lnTo>
                    <a:pt x="983" y="1075"/>
                  </a:lnTo>
                  <a:lnTo>
                    <a:pt x="984" y="1075"/>
                  </a:lnTo>
                  <a:lnTo>
                    <a:pt x="984" y="1074"/>
                  </a:lnTo>
                  <a:lnTo>
                    <a:pt x="986" y="1074"/>
                  </a:lnTo>
                  <a:lnTo>
                    <a:pt x="986" y="1075"/>
                  </a:lnTo>
                  <a:lnTo>
                    <a:pt x="986" y="1074"/>
                  </a:lnTo>
                  <a:lnTo>
                    <a:pt x="986" y="1072"/>
                  </a:lnTo>
                  <a:lnTo>
                    <a:pt x="984" y="1072"/>
                  </a:lnTo>
                  <a:lnTo>
                    <a:pt x="984" y="1070"/>
                  </a:lnTo>
                  <a:lnTo>
                    <a:pt x="986" y="1070"/>
                  </a:lnTo>
                  <a:lnTo>
                    <a:pt x="986" y="1069"/>
                  </a:lnTo>
                  <a:lnTo>
                    <a:pt x="988" y="1067"/>
                  </a:lnTo>
                  <a:lnTo>
                    <a:pt x="988" y="1069"/>
                  </a:lnTo>
                  <a:lnTo>
                    <a:pt x="989" y="1069"/>
                  </a:lnTo>
                  <a:lnTo>
                    <a:pt x="991" y="1069"/>
                  </a:lnTo>
                  <a:lnTo>
                    <a:pt x="993" y="1069"/>
                  </a:lnTo>
                  <a:lnTo>
                    <a:pt x="993" y="1067"/>
                  </a:lnTo>
                  <a:lnTo>
                    <a:pt x="994" y="1067"/>
                  </a:lnTo>
                  <a:lnTo>
                    <a:pt x="994" y="1066"/>
                  </a:lnTo>
                  <a:lnTo>
                    <a:pt x="996" y="1066"/>
                  </a:lnTo>
                  <a:lnTo>
                    <a:pt x="994" y="1066"/>
                  </a:lnTo>
                  <a:lnTo>
                    <a:pt x="996" y="1066"/>
                  </a:lnTo>
                  <a:lnTo>
                    <a:pt x="996" y="1064"/>
                  </a:lnTo>
                  <a:lnTo>
                    <a:pt x="997" y="1064"/>
                  </a:lnTo>
                  <a:lnTo>
                    <a:pt x="999" y="1064"/>
                  </a:lnTo>
                  <a:lnTo>
                    <a:pt x="1001" y="1062"/>
                  </a:lnTo>
                  <a:lnTo>
                    <a:pt x="1002" y="1062"/>
                  </a:lnTo>
                  <a:lnTo>
                    <a:pt x="1004" y="1064"/>
                  </a:lnTo>
                  <a:lnTo>
                    <a:pt x="1006" y="1064"/>
                  </a:lnTo>
                  <a:lnTo>
                    <a:pt x="1007" y="1064"/>
                  </a:lnTo>
                  <a:lnTo>
                    <a:pt x="1007" y="1066"/>
                  </a:lnTo>
                  <a:lnTo>
                    <a:pt x="1009" y="1066"/>
                  </a:lnTo>
                  <a:lnTo>
                    <a:pt x="1010" y="1066"/>
                  </a:lnTo>
                  <a:lnTo>
                    <a:pt x="1010" y="1067"/>
                  </a:lnTo>
                  <a:lnTo>
                    <a:pt x="1012" y="1067"/>
                  </a:lnTo>
                  <a:lnTo>
                    <a:pt x="1014" y="1067"/>
                  </a:lnTo>
                  <a:lnTo>
                    <a:pt x="1015" y="1067"/>
                  </a:lnTo>
                  <a:lnTo>
                    <a:pt x="1017" y="1067"/>
                  </a:lnTo>
                  <a:lnTo>
                    <a:pt x="1019" y="1067"/>
                  </a:lnTo>
                  <a:lnTo>
                    <a:pt x="1020" y="1066"/>
                  </a:lnTo>
                  <a:lnTo>
                    <a:pt x="1020" y="1064"/>
                  </a:lnTo>
                  <a:lnTo>
                    <a:pt x="1020" y="1062"/>
                  </a:lnTo>
                  <a:lnTo>
                    <a:pt x="1019" y="1062"/>
                  </a:lnTo>
                  <a:lnTo>
                    <a:pt x="1020" y="1061"/>
                  </a:lnTo>
                  <a:lnTo>
                    <a:pt x="1022" y="1061"/>
                  </a:lnTo>
                  <a:lnTo>
                    <a:pt x="1023" y="1061"/>
                  </a:lnTo>
                  <a:lnTo>
                    <a:pt x="1023" y="1059"/>
                  </a:lnTo>
                  <a:lnTo>
                    <a:pt x="1025" y="1059"/>
                  </a:lnTo>
                  <a:lnTo>
                    <a:pt x="1023" y="1059"/>
                  </a:lnTo>
                  <a:lnTo>
                    <a:pt x="1025" y="1059"/>
                  </a:lnTo>
                  <a:lnTo>
                    <a:pt x="1023" y="1059"/>
                  </a:lnTo>
                  <a:lnTo>
                    <a:pt x="1022" y="1061"/>
                  </a:lnTo>
                  <a:lnTo>
                    <a:pt x="1022" y="1059"/>
                  </a:lnTo>
                  <a:lnTo>
                    <a:pt x="1022" y="1061"/>
                  </a:lnTo>
                  <a:lnTo>
                    <a:pt x="1020" y="1061"/>
                  </a:lnTo>
                  <a:lnTo>
                    <a:pt x="1019" y="1062"/>
                  </a:lnTo>
                  <a:lnTo>
                    <a:pt x="1020" y="1062"/>
                  </a:lnTo>
                  <a:lnTo>
                    <a:pt x="1020" y="1064"/>
                  </a:lnTo>
                  <a:lnTo>
                    <a:pt x="1020" y="1066"/>
                  </a:lnTo>
                  <a:lnTo>
                    <a:pt x="1019" y="1066"/>
                  </a:lnTo>
                  <a:lnTo>
                    <a:pt x="1019" y="1067"/>
                  </a:lnTo>
                  <a:lnTo>
                    <a:pt x="1017" y="1067"/>
                  </a:lnTo>
                  <a:lnTo>
                    <a:pt x="1015" y="1067"/>
                  </a:lnTo>
                  <a:lnTo>
                    <a:pt x="1015" y="1066"/>
                  </a:lnTo>
                  <a:lnTo>
                    <a:pt x="1015" y="1067"/>
                  </a:lnTo>
                  <a:lnTo>
                    <a:pt x="1014" y="1067"/>
                  </a:lnTo>
                  <a:lnTo>
                    <a:pt x="1012" y="1067"/>
                  </a:lnTo>
                  <a:lnTo>
                    <a:pt x="1010" y="1066"/>
                  </a:lnTo>
                  <a:lnTo>
                    <a:pt x="1009" y="1064"/>
                  </a:lnTo>
                  <a:lnTo>
                    <a:pt x="1007" y="1064"/>
                  </a:lnTo>
                  <a:lnTo>
                    <a:pt x="1006" y="1064"/>
                  </a:lnTo>
                  <a:lnTo>
                    <a:pt x="1004" y="1064"/>
                  </a:lnTo>
                  <a:lnTo>
                    <a:pt x="1002" y="1062"/>
                  </a:lnTo>
                  <a:lnTo>
                    <a:pt x="1001" y="1062"/>
                  </a:lnTo>
                  <a:lnTo>
                    <a:pt x="999" y="1062"/>
                  </a:lnTo>
                  <a:lnTo>
                    <a:pt x="999" y="1064"/>
                  </a:lnTo>
                  <a:lnTo>
                    <a:pt x="997" y="1064"/>
                  </a:lnTo>
                  <a:lnTo>
                    <a:pt x="996" y="1064"/>
                  </a:lnTo>
                  <a:lnTo>
                    <a:pt x="994" y="1066"/>
                  </a:lnTo>
                  <a:lnTo>
                    <a:pt x="993" y="1066"/>
                  </a:lnTo>
                  <a:lnTo>
                    <a:pt x="993" y="1064"/>
                  </a:lnTo>
                  <a:lnTo>
                    <a:pt x="993" y="1066"/>
                  </a:lnTo>
                  <a:lnTo>
                    <a:pt x="991" y="1066"/>
                  </a:lnTo>
                  <a:lnTo>
                    <a:pt x="991" y="1067"/>
                  </a:lnTo>
                  <a:lnTo>
                    <a:pt x="989" y="1066"/>
                  </a:lnTo>
                  <a:lnTo>
                    <a:pt x="989" y="1064"/>
                  </a:lnTo>
                  <a:lnTo>
                    <a:pt x="989" y="1062"/>
                  </a:lnTo>
                  <a:lnTo>
                    <a:pt x="991" y="1062"/>
                  </a:lnTo>
                  <a:lnTo>
                    <a:pt x="991" y="1061"/>
                  </a:lnTo>
                  <a:lnTo>
                    <a:pt x="989" y="1061"/>
                  </a:lnTo>
                  <a:lnTo>
                    <a:pt x="989" y="1059"/>
                  </a:lnTo>
                  <a:lnTo>
                    <a:pt x="991" y="1057"/>
                  </a:lnTo>
                  <a:lnTo>
                    <a:pt x="993" y="1057"/>
                  </a:lnTo>
                  <a:lnTo>
                    <a:pt x="994" y="1057"/>
                  </a:lnTo>
                  <a:lnTo>
                    <a:pt x="996" y="1057"/>
                  </a:lnTo>
                  <a:lnTo>
                    <a:pt x="996" y="1056"/>
                  </a:lnTo>
                  <a:lnTo>
                    <a:pt x="994" y="1056"/>
                  </a:lnTo>
                  <a:lnTo>
                    <a:pt x="994" y="1054"/>
                  </a:lnTo>
                  <a:lnTo>
                    <a:pt x="994" y="1056"/>
                  </a:lnTo>
                  <a:lnTo>
                    <a:pt x="993" y="1056"/>
                  </a:lnTo>
                  <a:lnTo>
                    <a:pt x="993" y="1054"/>
                  </a:lnTo>
                  <a:lnTo>
                    <a:pt x="994" y="1054"/>
                  </a:lnTo>
                  <a:lnTo>
                    <a:pt x="993" y="1054"/>
                  </a:lnTo>
                  <a:lnTo>
                    <a:pt x="993" y="1053"/>
                  </a:lnTo>
                  <a:lnTo>
                    <a:pt x="994" y="1053"/>
                  </a:lnTo>
                  <a:lnTo>
                    <a:pt x="994" y="1051"/>
                  </a:lnTo>
                  <a:lnTo>
                    <a:pt x="994" y="1053"/>
                  </a:lnTo>
                  <a:lnTo>
                    <a:pt x="994" y="1051"/>
                  </a:lnTo>
                  <a:lnTo>
                    <a:pt x="993" y="1051"/>
                  </a:lnTo>
                  <a:lnTo>
                    <a:pt x="993" y="1053"/>
                  </a:lnTo>
                  <a:lnTo>
                    <a:pt x="991" y="1053"/>
                  </a:lnTo>
                  <a:lnTo>
                    <a:pt x="989" y="1053"/>
                  </a:lnTo>
                  <a:lnTo>
                    <a:pt x="989" y="1054"/>
                  </a:lnTo>
                  <a:lnTo>
                    <a:pt x="988" y="1053"/>
                  </a:lnTo>
                  <a:lnTo>
                    <a:pt x="986" y="1053"/>
                  </a:lnTo>
                  <a:lnTo>
                    <a:pt x="984" y="1053"/>
                  </a:lnTo>
                  <a:lnTo>
                    <a:pt x="984" y="1051"/>
                  </a:lnTo>
                  <a:lnTo>
                    <a:pt x="983" y="1051"/>
                  </a:lnTo>
                  <a:lnTo>
                    <a:pt x="983" y="1049"/>
                  </a:lnTo>
                  <a:lnTo>
                    <a:pt x="984" y="1048"/>
                  </a:lnTo>
                  <a:lnTo>
                    <a:pt x="984" y="1046"/>
                  </a:lnTo>
                  <a:lnTo>
                    <a:pt x="984" y="1048"/>
                  </a:lnTo>
                  <a:lnTo>
                    <a:pt x="984" y="1046"/>
                  </a:lnTo>
                  <a:lnTo>
                    <a:pt x="986" y="1046"/>
                  </a:lnTo>
                  <a:lnTo>
                    <a:pt x="984" y="1046"/>
                  </a:lnTo>
                  <a:lnTo>
                    <a:pt x="984" y="1044"/>
                  </a:lnTo>
                  <a:lnTo>
                    <a:pt x="984" y="1043"/>
                  </a:lnTo>
                  <a:lnTo>
                    <a:pt x="984" y="1041"/>
                  </a:lnTo>
                  <a:lnTo>
                    <a:pt x="984" y="1040"/>
                  </a:lnTo>
                  <a:lnTo>
                    <a:pt x="984" y="1041"/>
                  </a:lnTo>
                  <a:lnTo>
                    <a:pt x="986" y="1041"/>
                  </a:lnTo>
                  <a:lnTo>
                    <a:pt x="984" y="1041"/>
                  </a:lnTo>
                  <a:lnTo>
                    <a:pt x="984" y="1043"/>
                  </a:lnTo>
                  <a:lnTo>
                    <a:pt x="986" y="1043"/>
                  </a:lnTo>
                  <a:lnTo>
                    <a:pt x="986" y="1044"/>
                  </a:lnTo>
                  <a:lnTo>
                    <a:pt x="986" y="1043"/>
                  </a:lnTo>
                  <a:lnTo>
                    <a:pt x="986" y="1041"/>
                  </a:lnTo>
                  <a:lnTo>
                    <a:pt x="986" y="1043"/>
                  </a:lnTo>
                  <a:lnTo>
                    <a:pt x="988" y="1043"/>
                  </a:lnTo>
                  <a:lnTo>
                    <a:pt x="988" y="1044"/>
                  </a:lnTo>
                  <a:lnTo>
                    <a:pt x="989" y="1044"/>
                  </a:lnTo>
                  <a:lnTo>
                    <a:pt x="989" y="1046"/>
                  </a:lnTo>
                  <a:lnTo>
                    <a:pt x="991" y="1046"/>
                  </a:lnTo>
                  <a:lnTo>
                    <a:pt x="991" y="1048"/>
                  </a:lnTo>
                  <a:lnTo>
                    <a:pt x="993" y="1048"/>
                  </a:lnTo>
                  <a:lnTo>
                    <a:pt x="991" y="1048"/>
                  </a:lnTo>
                  <a:lnTo>
                    <a:pt x="991" y="1049"/>
                  </a:lnTo>
                  <a:lnTo>
                    <a:pt x="991" y="1051"/>
                  </a:lnTo>
                  <a:lnTo>
                    <a:pt x="993" y="1051"/>
                  </a:lnTo>
                  <a:lnTo>
                    <a:pt x="993" y="1049"/>
                  </a:lnTo>
                  <a:lnTo>
                    <a:pt x="994" y="1049"/>
                  </a:lnTo>
                  <a:lnTo>
                    <a:pt x="994" y="1051"/>
                  </a:lnTo>
                  <a:lnTo>
                    <a:pt x="996" y="1051"/>
                  </a:lnTo>
                  <a:lnTo>
                    <a:pt x="996" y="1053"/>
                  </a:lnTo>
                  <a:lnTo>
                    <a:pt x="996" y="1051"/>
                  </a:lnTo>
                  <a:lnTo>
                    <a:pt x="997" y="1051"/>
                  </a:lnTo>
                  <a:lnTo>
                    <a:pt x="997" y="1053"/>
                  </a:lnTo>
                  <a:lnTo>
                    <a:pt x="997" y="1054"/>
                  </a:lnTo>
                  <a:lnTo>
                    <a:pt x="996" y="1054"/>
                  </a:lnTo>
                  <a:lnTo>
                    <a:pt x="996" y="1053"/>
                  </a:lnTo>
                  <a:lnTo>
                    <a:pt x="996" y="1054"/>
                  </a:lnTo>
                  <a:lnTo>
                    <a:pt x="997" y="1054"/>
                  </a:lnTo>
                  <a:lnTo>
                    <a:pt x="999" y="1053"/>
                  </a:lnTo>
                  <a:lnTo>
                    <a:pt x="999" y="1051"/>
                  </a:lnTo>
                  <a:lnTo>
                    <a:pt x="1001" y="1049"/>
                  </a:lnTo>
                  <a:lnTo>
                    <a:pt x="1002" y="1049"/>
                  </a:lnTo>
                  <a:lnTo>
                    <a:pt x="1004" y="1049"/>
                  </a:lnTo>
                  <a:lnTo>
                    <a:pt x="1004" y="1048"/>
                  </a:lnTo>
                  <a:lnTo>
                    <a:pt x="1006" y="1048"/>
                  </a:lnTo>
                  <a:lnTo>
                    <a:pt x="1007" y="1048"/>
                  </a:lnTo>
                  <a:lnTo>
                    <a:pt x="1009" y="1048"/>
                  </a:lnTo>
                  <a:lnTo>
                    <a:pt x="1010" y="1048"/>
                  </a:lnTo>
                  <a:lnTo>
                    <a:pt x="1010" y="1046"/>
                  </a:lnTo>
                  <a:lnTo>
                    <a:pt x="1009" y="1046"/>
                  </a:lnTo>
                  <a:lnTo>
                    <a:pt x="1007" y="1046"/>
                  </a:lnTo>
                  <a:lnTo>
                    <a:pt x="1006" y="1046"/>
                  </a:lnTo>
                  <a:lnTo>
                    <a:pt x="1004" y="1046"/>
                  </a:lnTo>
                  <a:lnTo>
                    <a:pt x="1002" y="1048"/>
                  </a:lnTo>
                  <a:lnTo>
                    <a:pt x="1001" y="1048"/>
                  </a:lnTo>
                  <a:lnTo>
                    <a:pt x="1001" y="1049"/>
                  </a:lnTo>
                  <a:lnTo>
                    <a:pt x="999" y="1049"/>
                  </a:lnTo>
                  <a:lnTo>
                    <a:pt x="999" y="1048"/>
                  </a:lnTo>
                  <a:lnTo>
                    <a:pt x="1001" y="1048"/>
                  </a:lnTo>
                  <a:lnTo>
                    <a:pt x="999" y="1048"/>
                  </a:lnTo>
                  <a:lnTo>
                    <a:pt x="1001" y="1046"/>
                  </a:lnTo>
                  <a:lnTo>
                    <a:pt x="999" y="1046"/>
                  </a:lnTo>
                  <a:lnTo>
                    <a:pt x="1001" y="1046"/>
                  </a:lnTo>
                  <a:lnTo>
                    <a:pt x="1001" y="1044"/>
                  </a:lnTo>
                  <a:lnTo>
                    <a:pt x="1001" y="1043"/>
                  </a:lnTo>
                  <a:lnTo>
                    <a:pt x="999" y="1043"/>
                  </a:lnTo>
                  <a:lnTo>
                    <a:pt x="997" y="1044"/>
                  </a:lnTo>
                  <a:lnTo>
                    <a:pt x="996" y="1044"/>
                  </a:lnTo>
                  <a:lnTo>
                    <a:pt x="996" y="1046"/>
                  </a:lnTo>
                  <a:lnTo>
                    <a:pt x="997" y="1046"/>
                  </a:lnTo>
                  <a:lnTo>
                    <a:pt x="997" y="1044"/>
                  </a:lnTo>
                  <a:lnTo>
                    <a:pt x="999" y="1044"/>
                  </a:lnTo>
                  <a:lnTo>
                    <a:pt x="999" y="1046"/>
                  </a:lnTo>
                  <a:lnTo>
                    <a:pt x="999" y="1048"/>
                  </a:lnTo>
                  <a:lnTo>
                    <a:pt x="997" y="1049"/>
                  </a:lnTo>
                  <a:lnTo>
                    <a:pt x="996" y="1049"/>
                  </a:lnTo>
                  <a:lnTo>
                    <a:pt x="996" y="1051"/>
                  </a:lnTo>
                  <a:lnTo>
                    <a:pt x="996" y="1049"/>
                  </a:lnTo>
                  <a:lnTo>
                    <a:pt x="996" y="1051"/>
                  </a:lnTo>
                  <a:lnTo>
                    <a:pt x="994" y="1051"/>
                  </a:lnTo>
                  <a:lnTo>
                    <a:pt x="994" y="1049"/>
                  </a:lnTo>
                  <a:lnTo>
                    <a:pt x="994" y="1051"/>
                  </a:lnTo>
                  <a:lnTo>
                    <a:pt x="994" y="1049"/>
                  </a:lnTo>
                  <a:lnTo>
                    <a:pt x="993" y="1049"/>
                  </a:lnTo>
                  <a:lnTo>
                    <a:pt x="993" y="1048"/>
                  </a:lnTo>
                  <a:lnTo>
                    <a:pt x="991" y="1048"/>
                  </a:lnTo>
                  <a:lnTo>
                    <a:pt x="991" y="1046"/>
                  </a:lnTo>
                  <a:lnTo>
                    <a:pt x="989" y="1046"/>
                  </a:lnTo>
                  <a:lnTo>
                    <a:pt x="989" y="1044"/>
                  </a:lnTo>
                  <a:lnTo>
                    <a:pt x="989" y="1043"/>
                  </a:lnTo>
                  <a:lnTo>
                    <a:pt x="989" y="1044"/>
                  </a:lnTo>
                  <a:lnTo>
                    <a:pt x="988" y="1044"/>
                  </a:lnTo>
                  <a:lnTo>
                    <a:pt x="988" y="1043"/>
                  </a:lnTo>
                  <a:lnTo>
                    <a:pt x="988" y="1041"/>
                  </a:lnTo>
                  <a:lnTo>
                    <a:pt x="986" y="1041"/>
                  </a:lnTo>
                  <a:lnTo>
                    <a:pt x="988" y="1041"/>
                  </a:lnTo>
                  <a:lnTo>
                    <a:pt x="988" y="1038"/>
                  </a:lnTo>
                  <a:lnTo>
                    <a:pt x="986" y="1038"/>
                  </a:lnTo>
                  <a:lnTo>
                    <a:pt x="986" y="1036"/>
                  </a:lnTo>
                  <a:lnTo>
                    <a:pt x="986" y="1035"/>
                  </a:lnTo>
                  <a:lnTo>
                    <a:pt x="986" y="1033"/>
                  </a:lnTo>
                  <a:lnTo>
                    <a:pt x="986" y="1035"/>
                  </a:lnTo>
                  <a:lnTo>
                    <a:pt x="988" y="1035"/>
                  </a:lnTo>
                  <a:lnTo>
                    <a:pt x="988" y="1033"/>
                  </a:lnTo>
                  <a:lnTo>
                    <a:pt x="988" y="1035"/>
                  </a:lnTo>
                  <a:lnTo>
                    <a:pt x="988" y="1033"/>
                  </a:lnTo>
                  <a:lnTo>
                    <a:pt x="989" y="1033"/>
                  </a:lnTo>
                  <a:lnTo>
                    <a:pt x="989" y="1031"/>
                  </a:lnTo>
                  <a:lnTo>
                    <a:pt x="988" y="1031"/>
                  </a:lnTo>
                  <a:lnTo>
                    <a:pt x="986" y="1031"/>
                  </a:lnTo>
                  <a:lnTo>
                    <a:pt x="986" y="1030"/>
                  </a:lnTo>
                  <a:lnTo>
                    <a:pt x="988" y="1030"/>
                  </a:lnTo>
                  <a:lnTo>
                    <a:pt x="991" y="1028"/>
                  </a:lnTo>
                  <a:lnTo>
                    <a:pt x="993" y="1028"/>
                  </a:lnTo>
                  <a:lnTo>
                    <a:pt x="993" y="1027"/>
                  </a:lnTo>
                  <a:lnTo>
                    <a:pt x="994" y="1027"/>
                  </a:lnTo>
                  <a:lnTo>
                    <a:pt x="994" y="1025"/>
                  </a:lnTo>
                  <a:lnTo>
                    <a:pt x="994" y="1023"/>
                  </a:lnTo>
                  <a:lnTo>
                    <a:pt x="994" y="1025"/>
                  </a:lnTo>
                  <a:lnTo>
                    <a:pt x="994" y="1023"/>
                  </a:lnTo>
                  <a:lnTo>
                    <a:pt x="996" y="1023"/>
                  </a:lnTo>
                  <a:lnTo>
                    <a:pt x="997" y="1025"/>
                  </a:lnTo>
                  <a:lnTo>
                    <a:pt x="999" y="1025"/>
                  </a:lnTo>
                  <a:lnTo>
                    <a:pt x="1001" y="1027"/>
                  </a:lnTo>
                  <a:lnTo>
                    <a:pt x="1002" y="1025"/>
                  </a:lnTo>
                  <a:lnTo>
                    <a:pt x="1001" y="1025"/>
                  </a:lnTo>
                  <a:lnTo>
                    <a:pt x="999" y="1025"/>
                  </a:lnTo>
                  <a:lnTo>
                    <a:pt x="1001" y="1025"/>
                  </a:lnTo>
                  <a:lnTo>
                    <a:pt x="999" y="1025"/>
                  </a:lnTo>
                  <a:lnTo>
                    <a:pt x="1001" y="1025"/>
                  </a:lnTo>
                  <a:lnTo>
                    <a:pt x="999" y="1025"/>
                  </a:lnTo>
                  <a:lnTo>
                    <a:pt x="1001" y="1023"/>
                  </a:lnTo>
                  <a:lnTo>
                    <a:pt x="1001" y="1022"/>
                  </a:lnTo>
                  <a:lnTo>
                    <a:pt x="999" y="1022"/>
                  </a:lnTo>
                  <a:lnTo>
                    <a:pt x="999" y="1023"/>
                  </a:lnTo>
                  <a:lnTo>
                    <a:pt x="999" y="1022"/>
                  </a:lnTo>
                  <a:lnTo>
                    <a:pt x="997" y="1023"/>
                  </a:lnTo>
                  <a:lnTo>
                    <a:pt x="996" y="1022"/>
                  </a:lnTo>
                  <a:lnTo>
                    <a:pt x="996" y="1023"/>
                  </a:lnTo>
                  <a:lnTo>
                    <a:pt x="996" y="1022"/>
                  </a:lnTo>
                  <a:lnTo>
                    <a:pt x="997" y="1022"/>
                  </a:lnTo>
                  <a:lnTo>
                    <a:pt x="996" y="1022"/>
                  </a:lnTo>
                  <a:lnTo>
                    <a:pt x="997" y="1022"/>
                  </a:lnTo>
                  <a:lnTo>
                    <a:pt x="999" y="1020"/>
                  </a:lnTo>
                  <a:lnTo>
                    <a:pt x="999" y="1022"/>
                  </a:lnTo>
                  <a:lnTo>
                    <a:pt x="999" y="1020"/>
                  </a:lnTo>
                  <a:lnTo>
                    <a:pt x="1001" y="1022"/>
                  </a:lnTo>
                  <a:lnTo>
                    <a:pt x="1001" y="1020"/>
                  </a:lnTo>
                  <a:lnTo>
                    <a:pt x="1002" y="1020"/>
                  </a:lnTo>
                  <a:lnTo>
                    <a:pt x="1002" y="1022"/>
                  </a:lnTo>
                  <a:lnTo>
                    <a:pt x="1002" y="1020"/>
                  </a:lnTo>
                  <a:lnTo>
                    <a:pt x="1002" y="1022"/>
                  </a:lnTo>
                  <a:lnTo>
                    <a:pt x="1004" y="1022"/>
                  </a:lnTo>
                  <a:lnTo>
                    <a:pt x="1006" y="1020"/>
                  </a:lnTo>
                  <a:lnTo>
                    <a:pt x="1006" y="1018"/>
                  </a:lnTo>
                  <a:lnTo>
                    <a:pt x="1007" y="1018"/>
                  </a:lnTo>
                  <a:lnTo>
                    <a:pt x="1007" y="1020"/>
                  </a:lnTo>
                  <a:lnTo>
                    <a:pt x="1007" y="1022"/>
                  </a:lnTo>
                  <a:lnTo>
                    <a:pt x="1007" y="1020"/>
                  </a:lnTo>
                  <a:lnTo>
                    <a:pt x="1009" y="1020"/>
                  </a:lnTo>
                  <a:lnTo>
                    <a:pt x="1010" y="1020"/>
                  </a:lnTo>
                  <a:lnTo>
                    <a:pt x="1012" y="1020"/>
                  </a:lnTo>
                  <a:lnTo>
                    <a:pt x="1010" y="1018"/>
                  </a:lnTo>
                  <a:lnTo>
                    <a:pt x="1012" y="1018"/>
                  </a:lnTo>
                  <a:lnTo>
                    <a:pt x="1014" y="1018"/>
                  </a:lnTo>
                  <a:lnTo>
                    <a:pt x="1014" y="1017"/>
                  </a:lnTo>
                  <a:lnTo>
                    <a:pt x="1015" y="1017"/>
                  </a:lnTo>
                  <a:lnTo>
                    <a:pt x="1014" y="1017"/>
                  </a:lnTo>
                  <a:lnTo>
                    <a:pt x="1012" y="1017"/>
                  </a:lnTo>
                  <a:lnTo>
                    <a:pt x="1010" y="1017"/>
                  </a:lnTo>
                  <a:lnTo>
                    <a:pt x="1010" y="1015"/>
                  </a:lnTo>
                  <a:lnTo>
                    <a:pt x="1010" y="1017"/>
                  </a:lnTo>
                  <a:lnTo>
                    <a:pt x="1009" y="1017"/>
                  </a:lnTo>
                  <a:lnTo>
                    <a:pt x="1007" y="1017"/>
                  </a:lnTo>
                  <a:lnTo>
                    <a:pt x="1007" y="1015"/>
                  </a:lnTo>
                  <a:lnTo>
                    <a:pt x="1006" y="1015"/>
                  </a:lnTo>
                  <a:lnTo>
                    <a:pt x="1004" y="1015"/>
                  </a:lnTo>
                  <a:lnTo>
                    <a:pt x="1002" y="1015"/>
                  </a:lnTo>
                  <a:lnTo>
                    <a:pt x="1004" y="1014"/>
                  </a:lnTo>
                  <a:lnTo>
                    <a:pt x="1002" y="1015"/>
                  </a:lnTo>
                  <a:lnTo>
                    <a:pt x="1004" y="1014"/>
                  </a:lnTo>
                  <a:lnTo>
                    <a:pt x="1002" y="1014"/>
                  </a:lnTo>
                  <a:lnTo>
                    <a:pt x="1002" y="1015"/>
                  </a:lnTo>
                  <a:lnTo>
                    <a:pt x="1002" y="1014"/>
                  </a:lnTo>
                  <a:lnTo>
                    <a:pt x="1001" y="1015"/>
                  </a:lnTo>
                  <a:lnTo>
                    <a:pt x="999" y="1015"/>
                  </a:lnTo>
                  <a:lnTo>
                    <a:pt x="1001" y="1014"/>
                  </a:lnTo>
                  <a:lnTo>
                    <a:pt x="1002" y="1014"/>
                  </a:lnTo>
                  <a:lnTo>
                    <a:pt x="1004" y="1014"/>
                  </a:lnTo>
                  <a:lnTo>
                    <a:pt x="1004" y="1012"/>
                  </a:lnTo>
                  <a:lnTo>
                    <a:pt x="1006" y="1012"/>
                  </a:lnTo>
                  <a:lnTo>
                    <a:pt x="1007" y="1012"/>
                  </a:lnTo>
                  <a:lnTo>
                    <a:pt x="1009" y="1012"/>
                  </a:lnTo>
                  <a:lnTo>
                    <a:pt x="1010" y="1010"/>
                  </a:lnTo>
                  <a:lnTo>
                    <a:pt x="1010" y="1012"/>
                  </a:lnTo>
                  <a:lnTo>
                    <a:pt x="1010" y="1010"/>
                  </a:lnTo>
                  <a:lnTo>
                    <a:pt x="1009" y="1010"/>
                  </a:lnTo>
                  <a:lnTo>
                    <a:pt x="1009" y="1012"/>
                  </a:lnTo>
                  <a:lnTo>
                    <a:pt x="1007" y="1012"/>
                  </a:lnTo>
                  <a:lnTo>
                    <a:pt x="1009" y="1010"/>
                  </a:lnTo>
                  <a:lnTo>
                    <a:pt x="1010" y="1010"/>
                  </a:lnTo>
                  <a:lnTo>
                    <a:pt x="1010" y="1009"/>
                  </a:lnTo>
                  <a:lnTo>
                    <a:pt x="1012" y="1009"/>
                  </a:lnTo>
                  <a:lnTo>
                    <a:pt x="1012" y="1007"/>
                  </a:lnTo>
                  <a:lnTo>
                    <a:pt x="1010" y="1007"/>
                  </a:lnTo>
                  <a:lnTo>
                    <a:pt x="1010" y="1009"/>
                  </a:lnTo>
                  <a:lnTo>
                    <a:pt x="1010" y="1007"/>
                  </a:lnTo>
                  <a:lnTo>
                    <a:pt x="1009" y="1009"/>
                  </a:lnTo>
                  <a:lnTo>
                    <a:pt x="1009" y="1010"/>
                  </a:lnTo>
                  <a:lnTo>
                    <a:pt x="1007" y="1010"/>
                  </a:lnTo>
                  <a:lnTo>
                    <a:pt x="1006" y="1010"/>
                  </a:lnTo>
                  <a:lnTo>
                    <a:pt x="1004" y="1012"/>
                  </a:lnTo>
                  <a:lnTo>
                    <a:pt x="1004" y="1010"/>
                  </a:lnTo>
                  <a:lnTo>
                    <a:pt x="1002" y="1012"/>
                  </a:lnTo>
                  <a:lnTo>
                    <a:pt x="1004" y="1012"/>
                  </a:lnTo>
                  <a:lnTo>
                    <a:pt x="1002" y="1012"/>
                  </a:lnTo>
                  <a:lnTo>
                    <a:pt x="1002" y="1010"/>
                  </a:lnTo>
                  <a:lnTo>
                    <a:pt x="1002" y="1009"/>
                  </a:lnTo>
                  <a:lnTo>
                    <a:pt x="1004" y="1007"/>
                  </a:lnTo>
                  <a:lnTo>
                    <a:pt x="1006" y="1007"/>
                  </a:lnTo>
                  <a:lnTo>
                    <a:pt x="1004" y="1007"/>
                  </a:lnTo>
                  <a:lnTo>
                    <a:pt x="1004" y="1005"/>
                  </a:lnTo>
                  <a:lnTo>
                    <a:pt x="1006" y="1005"/>
                  </a:lnTo>
                  <a:lnTo>
                    <a:pt x="1007" y="1005"/>
                  </a:lnTo>
                  <a:lnTo>
                    <a:pt x="1007" y="1004"/>
                  </a:lnTo>
                  <a:lnTo>
                    <a:pt x="1009" y="1004"/>
                  </a:lnTo>
                  <a:lnTo>
                    <a:pt x="1012" y="1002"/>
                  </a:lnTo>
                  <a:lnTo>
                    <a:pt x="1012" y="1001"/>
                  </a:lnTo>
                  <a:lnTo>
                    <a:pt x="1014" y="1001"/>
                  </a:lnTo>
                  <a:lnTo>
                    <a:pt x="1014" y="1002"/>
                  </a:lnTo>
                  <a:lnTo>
                    <a:pt x="1015" y="1001"/>
                  </a:lnTo>
                  <a:lnTo>
                    <a:pt x="1017" y="999"/>
                  </a:lnTo>
                  <a:lnTo>
                    <a:pt x="1019" y="999"/>
                  </a:lnTo>
                  <a:lnTo>
                    <a:pt x="1019" y="997"/>
                  </a:lnTo>
                  <a:lnTo>
                    <a:pt x="1020" y="997"/>
                  </a:lnTo>
                  <a:lnTo>
                    <a:pt x="1022" y="997"/>
                  </a:lnTo>
                  <a:lnTo>
                    <a:pt x="1023" y="997"/>
                  </a:lnTo>
                  <a:lnTo>
                    <a:pt x="1025" y="996"/>
                  </a:lnTo>
                  <a:lnTo>
                    <a:pt x="1027" y="996"/>
                  </a:lnTo>
                  <a:lnTo>
                    <a:pt x="1027" y="994"/>
                  </a:lnTo>
                  <a:lnTo>
                    <a:pt x="1028" y="994"/>
                  </a:lnTo>
                  <a:lnTo>
                    <a:pt x="1028" y="992"/>
                  </a:lnTo>
                  <a:lnTo>
                    <a:pt x="1032" y="992"/>
                  </a:lnTo>
                  <a:lnTo>
                    <a:pt x="1032" y="994"/>
                  </a:lnTo>
                  <a:lnTo>
                    <a:pt x="1033" y="994"/>
                  </a:lnTo>
                  <a:lnTo>
                    <a:pt x="1035" y="996"/>
                  </a:lnTo>
                  <a:lnTo>
                    <a:pt x="1033" y="996"/>
                  </a:lnTo>
                  <a:lnTo>
                    <a:pt x="1033" y="997"/>
                  </a:lnTo>
                  <a:lnTo>
                    <a:pt x="1035" y="996"/>
                  </a:lnTo>
                  <a:lnTo>
                    <a:pt x="1035" y="997"/>
                  </a:lnTo>
                  <a:lnTo>
                    <a:pt x="1035" y="996"/>
                  </a:lnTo>
                  <a:lnTo>
                    <a:pt x="1035" y="997"/>
                  </a:lnTo>
                  <a:lnTo>
                    <a:pt x="1036" y="997"/>
                  </a:lnTo>
                  <a:lnTo>
                    <a:pt x="1035" y="996"/>
                  </a:lnTo>
                  <a:lnTo>
                    <a:pt x="1036" y="996"/>
                  </a:lnTo>
                  <a:lnTo>
                    <a:pt x="1038" y="996"/>
                  </a:lnTo>
                  <a:lnTo>
                    <a:pt x="1040" y="996"/>
                  </a:lnTo>
                  <a:lnTo>
                    <a:pt x="1040" y="997"/>
                  </a:lnTo>
                  <a:lnTo>
                    <a:pt x="1041" y="997"/>
                  </a:lnTo>
                  <a:lnTo>
                    <a:pt x="1043" y="997"/>
                  </a:lnTo>
                  <a:lnTo>
                    <a:pt x="1045" y="997"/>
                  </a:lnTo>
                  <a:lnTo>
                    <a:pt x="1046" y="999"/>
                  </a:lnTo>
                  <a:lnTo>
                    <a:pt x="1048" y="1002"/>
                  </a:lnTo>
                  <a:lnTo>
                    <a:pt x="1049" y="1002"/>
                  </a:lnTo>
                  <a:lnTo>
                    <a:pt x="1049" y="1004"/>
                  </a:lnTo>
                  <a:lnTo>
                    <a:pt x="1049" y="1002"/>
                  </a:lnTo>
                  <a:lnTo>
                    <a:pt x="1051" y="1002"/>
                  </a:lnTo>
                  <a:lnTo>
                    <a:pt x="1049" y="1002"/>
                  </a:lnTo>
                  <a:lnTo>
                    <a:pt x="1049" y="1001"/>
                  </a:lnTo>
                  <a:lnTo>
                    <a:pt x="1048" y="1001"/>
                  </a:lnTo>
                  <a:lnTo>
                    <a:pt x="1048" y="999"/>
                  </a:lnTo>
                  <a:lnTo>
                    <a:pt x="1046" y="997"/>
                  </a:lnTo>
                  <a:lnTo>
                    <a:pt x="1045" y="996"/>
                  </a:lnTo>
                  <a:lnTo>
                    <a:pt x="1043" y="996"/>
                  </a:lnTo>
                  <a:lnTo>
                    <a:pt x="1041" y="996"/>
                  </a:lnTo>
                  <a:lnTo>
                    <a:pt x="1041" y="994"/>
                  </a:lnTo>
                  <a:lnTo>
                    <a:pt x="1040" y="994"/>
                  </a:lnTo>
                  <a:lnTo>
                    <a:pt x="1038" y="994"/>
                  </a:lnTo>
                  <a:lnTo>
                    <a:pt x="1036" y="994"/>
                  </a:lnTo>
                  <a:lnTo>
                    <a:pt x="1036" y="996"/>
                  </a:lnTo>
                  <a:lnTo>
                    <a:pt x="1035" y="994"/>
                  </a:lnTo>
                  <a:lnTo>
                    <a:pt x="1035" y="996"/>
                  </a:lnTo>
                  <a:lnTo>
                    <a:pt x="1035" y="994"/>
                  </a:lnTo>
                  <a:lnTo>
                    <a:pt x="1033" y="992"/>
                  </a:lnTo>
                  <a:lnTo>
                    <a:pt x="1032" y="992"/>
                  </a:lnTo>
                  <a:lnTo>
                    <a:pt x="1030" y="992"/>
                  </a:lnTo>
                  <a:lnTo>
                    <a:pt x="1030" y="991"/>
                  </a:lnTo>
                  <a:lnTo>
                    <a:pt x="1028" y="992"/>
                  </a:lnTo>
                  <a:lnTo>
                    <a:pt x="1027" y="992"/>
                  </a:lnTo>
                  <a:lnTo>
                    <a:pt x="1025" y="991"/>
                  </a:lnTo>
                  <a:lnTo>
                    <a:pt x="1025" y="992"/>
                  </a:lnTo>
                  <a:lnTo>
                    <a:pt x="1023" y="992"/>
                  </a:lnTo>
                  <a:lnTo>
                    <a:pt x="1025" y="994"/>
                  </a:lnTo>
                  <a:lnTo>
                    <a:pt x="1023" y="994"/>
                  </a:lnTo>
                  <a:lnTo>
                    <a:pt x="1023" y="996"/>
                  </a:lnTo>
                  <a:lnTo>
                    <a:pt x="1022" y="996"/>
                  </a:lnTo>
                  <a:lnTo>
                    <a:pt x="1020" y="996"/>
                  </a:lnTo>
                  <a:lnTo>
                    <a:pt x="1020" y="994"/>
                  </a:lnTo>
                  <a:lnTo>
                    <a:pt x="1019" y="996"/>
                  </a:lnTo>
                  <a:lnTo>
                    <a:pt x="1017" y="997"/>
                  </a:lnTo>
                  <a:lnTo>
                    <a:pt x="1015" y="999"/>
                  </a:lnTo>
                  <a:lnTo>
                    <a:pt x="1014" y="999"/>
                  </a:lnTo>
                  <a:lnTo>
                    <a:pt x="1012" y="1001"/>
                  </a:lnTo>
                  <a:lnTo>
                    <a:pt x="1010" y="1001"/>
                  </a:lnTo>
                  <a:lnTo>
                    <a:pt x="1009" y="1002"/>
                  </a:lnTo>
                  <a:lnTo>
                    <a:pt x="1007" y="1004"/>
                  </a:lnTo>
                  <a:lnTo>
                    <a:pt x="1004" y="1005"/>
                  </a:lnTo>
                  <a:lnTo>
                    <a:pt x="1002" y="1005"/>
                  </a:lnTo>
                  <a:lnTo>
                    <a:pt x="1002" y="1007"/>
                  </a:lnTo>
                  <a:lnTo>
                    <a:pt x="1002" y="1005"/>
                  </a:lnTo>
                  <a:lnTo>
                    <a:pt x="1001" y="1007"/>
                  </a:lnTo>
                  <a:lnTo>
                    <a:pt x="999" y="1007"/>
                  </a:lnTo>
                  <a:lnTo>
                    <a:pt x="1001" y="1009"/>
                  </a:lnTo>
                  <a:lnTo>
                    <a:pt x="1002" y="1007"/>
                  </a:lnTo>
                  <a:lnTo>
                    <a:pt x="1001" y="1010"/>
                  </a:lnTo>
                  <a:lnTo>
                    <a:pt x="1001" y="1012"/>
                  </a:lnTo>
                  <a:lnTo>
                    <a:pt x="999" y="1014"/>
                  </a:lnTo>
                  <a:lnTo>
                    <a:pt x="996" y="1014"/>
                  </a:lnTo>
                  <a:lnTo>
                    <a:pt x="996" y="1015"/>
                  </a:lnTo>
                  <a:lnTo>
                    <a:pt x="994" y="1015"/>
                  </a:lnTo>
                  <a:lnTo>
                    <a:pt x="993" y="1015"/>
                  </a:lnTo>
                  <a:lnTo>
                    <a:pt x="991" y="1015"/>
                  </a:lnTo>
                  <a:lnTo>
                    <a:pt x="989" y="1017"/>
                  </a:lnTo>
                  <a:lnTo>
                    <a:pt x="991" y="1017"/>
                  </a:lnTo>
                  <a:lnTo>
                    <a:pt x="991" y="1018"/>
                  </a:lnTo>
                  <a:lnTo>
                    <a:pt x="986" y="1018"/>
                  </a:lnTo>
                  <a:lnTo>
                    <a:pt x="988" y="1018"/>
                  </a:lnTo>
                  <a:lnTo>
                    <a:pt x="989" y="1018"/>
                  </a:lnTo>
                  <a:lnTo>
                    <a:pt x="991" y="1018"/>
                  </a:lnTo>
                  <a:lnTo>
                    <a:pt x="989" y="1018"/>
                  </a:lnTo>
                  <a:lnTo>
                    <a:pt x="991" y="1018"/>
                  </a:lnTo>
                  <a:lnTo>
                    <a:pt x="989" y="1018"/>
                  </a:lnTo>
                  <a:lnTo>
                    <a:pt x="989" y="1020"/>
                  </a:lnTo>
                  <a:lnTo>
                    <a:pt x="988" y="1020"/>
                  </a:lnTo>
                  <a:lnTo>
                    <a:pt x="988" y="1022"/>
                  </a:lnTo>
                  <a:lnTo>
                    <a:pt x="986" y="1022"/>
                  </a:lnTo>
                  <a:lnTo>
                    <a:pt x="988" y="1022"/>
                  </a:lnTo>
                  <a:lnTo>
                    <a:pt x="986" y="1023"/>
                  </a:lnTo>
                  <a:lnTo>
                    <a:pt x="984" y="1025"/>
                  </a:lnTo>
                  <a:lnTo>
                    <a:pt x="981" y="1025"/>
                  </a:lnTo>
                  <a:lnTo>
                    <a:pt x="980" y="1027"/>
                  </a:lnTo>
                  <a:lnTo>
                    <a:pt x="978" y="1027"/>
                  </a:lnTo>
                  <a:lnTo>
                    <a:pt x="976" y="1027"/>
                  </a:lnTo>
                  <a:lnTo>
                    <a:pt x="975" y="1028"/>
                  </a:lnTo>
                  <a:lnTo>
                    <a:pt x="975" y="1027"/>
                  </a:lnTo>
                  <a:lnTo>
                    <a:pt x="976" y="1027"/>
                  </a:lnTo>
                  <a:lnTo>
                    <a:pt x="978" y="1027"/>
                  </a:lnTo>
                  <a:lnTo>
                    <a:pt x="978" y="1025"/>
                  </a:lnTo>
                  <a:lnTo>
                    <a:pt x="980" y="1025"/>
                  </a:lnTo>
                  <a:lnTo>
                    <a:pt x="978" y="1025"/>
                  </a:lnTo>
                  <a:lnTo>
                    <a:pt x="978" y="1027"/>
                  </a:lnTo>
                  <a:lnTo>
                    <a:pt x="976" y="1027"/>
                  </a:lnTo>
                  <a:lnTo>
                    <a:pt x="975" y="1027"/>
                  </a:lnTo>
                  <a:lnTo>
                    <a:pt x="975" y="1025"/>
                  </a:lnTo>
                  <a:lnTo>
                    <a:pt x="973" y="1027"/>
                  </a:lnTo>
                  <a:lnTo>
                    <a:pt x="973" y="1025"/>
                  </a:lnTo>
                  <a:lnTo>
                    <a:pt x="975" y="1025"/>
                  </a:lnTo>
                  <a:lnTo>
                    <a:pt x="976" y="1023"/>
                  </a:lnTo>
                  <a:lnTo>
                    <a:pt x="978" y="1023"/>
                  </a:lnTo>
                  <a:lnTo>
                    <a:pt x="980" y="1023"/>
                  </a:lnTo>
                  <a:lnTo>
                    <a:pt x="981" y="1023"/>
                  </a:lnTo>
                  <a:lnTo>
                    <a:pt x="981" y="1022"/>
                  </a:lnTo>
                  <a:lnTo>
                    <a:pt x="983" y="1023"/>
                  </a:lnTo>
                  <a:lnTo>
                    <a:pt x="983" y="1022"/>
                  </a:lnTo>
                  <a:lnTo>
                    <a:pt x="984" y="1022"/>
                  </a:lnTo>
                  <a:lnTo>
                    <a:pt x="984" y="1020"/>
                  </a:lnTo>
                  <a:lnTo>
                    <a:pt x="986" y="1018"/>
                  </a:lnTo>
                  <a:lnTo>
                    <a:pt x="986" y="1017"/>
                  </a:lnTo>
                  <a:lnTo>
                    <a:pt x="988" y="1017"/>
                  </a:lnTo>
                  <a:lnTo>
                    <a:pt x="988" y="1015"/>
                  </a:lnTo>
                  <a:lnTo>
                    <a:pt x="989" y="1015"/>
                  </a:lnTo>
                  <a:lnTo>
                    <a:pt x="988" y="1015"/>
                  </a:lnTo>
                  <a:lnTo>
                    <a:pt x="986" y="1017"/>
                  </a:lnTo>
                  <a:lnTo>
                    <a:pt x="983" y="1017"/>
                  </a:lnTo>
                  <a:lnTo>
                    <a:pt x="981" y="1017"/>
                  </a:lnTo>
                  <a:lnTo>
                    <a:pt x="981" y="1015"/>
                  </a:lnTo>
                  <a:lnTo>
                    <a:pt x="980" y="1015"/>
                  </a:lnTo>
                  <a:lnTo>
                    <a:pt x="981" y="1015"/>
                  </a:lnTo>
                  <a:lnTo>
                    <a:pt x="981" y="1014"/>
                  </a:lnTo>
                  <a:lnTo>
                    <a:pt x="980" y="1015"/>
                  </a:lnTo>
                  <a:lnTo>
                    <a:pt x="980" y="1017"/>
                  </a:lnTo>
                  <a:lnTo>
                    <a:pt x="978" y="1017"/>
                  </a:lnTo>
                  <a:lnTo>
                    <a:pt x="978" y="1015"/>
                  </a:lnTo>
                  <a:lnTo>
                    <a:pt x="976" y="1017"/>
                  </a:lnTo>
                  <a:lnTo>
                    <a:pt x="976" y="1015"/>
                  </a:lnTo>
                  <a:lnTo>
                    <a:pt x="978" y="1015"/>
                  </a:lnTo>
                  <a:lnTo>
                    <a:pt x="976" y="1015"/>
                  </a:lnTo>
                  <a:lnTo>
                    <a:pt x="978" y="1014"/>
                  </a:lnTo>
                  <a:lnTo>
                    <a:pt x="976" y="1014"/>
                  </a:lnTo>
                  <a:lnTo>
                    <a:pt x="978" y="1014"/>
                  </a:lnTo>
                  <a:lnTo>
                    <a:pt x="976" y="1014"/>
                  </a:lnTo>
                  <a:lnTo>
                    <a:pt x="978" y="1012"/>
                  </a:lnTo>
                  <a:lnTo>
                    <a:pt x="980" y="1012"/>
                  </a:lnTo>
                  <a:lnTo>
                    <a:pt x="978" y="1012"/>
                  </a:lnTo>
                  <a:lnTo>
                    <a:pt x="980" y="1012"/>
                  </a:lnTo>
                  <a:lnTo>
                    <a:pt x="980" y="1010"/>
                  </a:lnTo>
                  <a:lnTo>
                    <a:pt x="980" y="1012"/>
                  </a:lnTo>
                  <a:lnTo>
                    <a:pt x="978" y="1012"/>
                  </a:lnTo>
                  <a:lnTo>
                    <a:pt x="978" y="1010"/>
                  </a:lnTo>
                  <a:lnTo>
                    <a:pt x="980" y="1010"/>
                  </a:lnTo>
                  <a:lnTo>
                    <a:pt x="980" y="1009"/>
                  </a:lnTo>
                  <a:lnTo>
                    <a:pt x="980" y="1010"/>
                  </a:lnTo>
                  <a:lnTo>
                    <a:pt x="978" y="1009"/>
                  </a:lnTo>
                  <a:lnTo>
                    <a:pt x="980" y="1009"/>
                  </a:lnTo>
                  <a:lnTo>
                    <a:pt x="978" y="1009"/>
                  </a:lnTo>
                  <a:lnTo>
                    <a:pt x="980" y="1009"/>
                  </a:lnTo>
                  <a:lnTo>
                    <a:pt x="978" y="1009"/>
                  </a:lnTo>
                  <a:lnTo>
                    <a:pt x="978" y="1007"/>
                  </a:lnTo>
                  <a:lnTo>
                    <a:pt x="980" y="1007"/>
                  </a:lnTo>
                  <a:lnTo>
                    <a:pt x="980" y="1005"/>
                  </a:lnTo>
                  <a:lnTo>
                    <a:pt x="981" y="1005"/>
                  </a:lnTo>
                  <a:lnTo>
                    <a:pt x="981" y="1004"/>
                  </a:lnTo>
                  <a:lnTo>
                    <a:pt x="983" y="1004"/>
                  </a:lnTo>
                  <a:lnTo>
                    <a:pt x="983" y="1002"/>
                  </a:lnTo>
                  <a:lnTo>
                    <a:pt x="984" y="1002"/>
                  </a:lnTo>
                  <a:lnTo>
                    <a:pt x="984" y="1001"/>
                  </a:lnTo>
                  <a:lnTo>
                    <a:pt x="986" y="1001"/>
                  </a:lnTo>
                  <a:lnTo>
                    <a:pt x="986" y="999"/>
                  </a:lnTo>
                  <a:lnTo>
                    <a:pt x="988" y="999"/>
                  </a:lnTo>
                  <a:lnTo>
                    <a:pt x="989" y="997"/>
                  </a:lnTo>
                  <a:lnTo>
                    <a:pt x="989" y="999"/>
                  </a:lnTo>
                  <a:lnTo>
                    <a:pt x="989" y="997"/>
                  </a:lnTo>
                  <a:lnTo>
                    <a:pt x="989" y="999"/>
                  </a:lnTo>
                  <a:lnTo>
                    <a:pt x="991" y="999"/>
                  </a:lnTo>
                  <a:lnTo>
                    <a:pt x="993" y="999"/>
                  </a:lnTo>
                  <a:lnTo>
                    <a:pt x="991" y="999"/>
                  </a:lnTo>
                  <a:lnTo>
                    <a:pt x="991" y="1001"/>
                  </a:lnTo>
                  <a:lnTo>
                    <a:pt x="993" y="1001"/>
                  </a:lnTo>
                  <a:lnTo>
                    <a:pt x="991" y="1001"/>
                  </a:lnTo>
                  <a:lnTo>
                    <a:pt x="993" y="1001"/>
                  </a:lnTo>
                  <a:lnTo>
                    <a:pt x="993" y="1002"/>
                  </a:lnTo>
                  <a:lnTo>
                    <a:pt x="993" y="1001"/>
                  </a:lnTo>
                  <a:lnTo>
                    <a:pt x="993" y="1002"/>
                  </a:lnTo>
                  <a:lnTo>
                    <a:pt x="994" y="1002"/>
                  </a:lnTo>
                  <a:lnTo>
                    <a:pt x="994" y="1004"/>
                  </a:lnTo>
                  <a:lnTo>
                    <a:pt x="996" y="1004"/>
                  </a:lnTo>
                  <a:lnTo>
                    <a:pt x="994" y="1004"/>
                  </a:lnTo>
                  <a:lnTo>
                    <a:pt x="996" y="1004"/>
                  </a:lnTo>
                  <a:lnTo>
                    <a:pt x="997" y="1004"/>
                  </a:lnTo>
                  <a:lnTo>
                    <a:pt x="996" y="1004"/>
                  </a:lnTo>
                  <a:lnTo>
                    <a:pt x="996" y="1002"/>
                  </a:lnTo>
                  <a:lnTo>
                    <a:pt x="996" y="1001"/>
                  </a:lnTo>
                  <a:lnTo>
                    <a:pt x="997" y="1001"/>
                  </a:lnTo>
                  <a:lnTo>
                    <a:pt x="997" y="1002"/>
                  </a:lnTo>
                  <a:lnTo>
                    <a:pt x="997" y="1001"/>
                  </a:lnTo>
                  <a:lnTo>
                    <a:pt x="997" y="999"/>
                  </a:lnTo>
                  <a:lnTo>
                    <a:pt x="999" y="999"/>
                  </a:lnTo>
                  <a:lnTo>
                    <a:pt x="999" y="997"/>
                  </a:lnTo>
                  <a:lnTo>
                    <a:pt x="997" y="999"/>
                  </a:lnTo>
                  <a:lnTo>
                    <a:pt x="996" y="1001"/>
                  </a:lnTo>
                  <a:lnTo>
                    <a:pt x="994" y="1002"/>
                  </a:lnTo>
                  <a:lnTo>
                    <a:pt x="993" y="1001"/>
                  </a:lnTo>
                  <a:lnTo>
                    <a:pt x="993" y="999"/>
                  </a:lnTo>
                  <a:lnTo>
                    <a:pt x="991" y="999"/>
                  </a:lnTo>
                  <a:lnTo>
                    <a:pt x="991" y="997"/>
                  </a:lnTo>
                  <a:lnTo>
                    <a:pt x="991" y="996"/>
                  </a:lnTo>
                  <a:lnTo>
                    <a:pt x="993" y="996"/>
                  </a:lnTo>
                  <a:lnTo>
                    <a:pt x="993" y="994"/>
                  </a:lnTo>
                  <a:lnTo>
                    <a:pt x="994" y="994"/>
                  </a:lnTo>
                  <a:lnTo>
                    <a:pt x="996" y="994"/>
                  </a:lnTo>
                  <a:lnTo>
                    <a:pt x="996" y="996"/>
                  </a:lnTo>
                  <a:lnTo>
                    <a:pt x="997" y="996"/>
                  </a:lnTo>
                  <a:lnTo>
                    <a:pt x="997" y="994"/>
                  </a:lnTo>
                  <a:lnTo>
                    <a:pt x="999" y="994"/>
                  </a:lnTo>
                  <a:lnTo>
                    <a:pt x="999" y="996"/>
                  </a:lnTo>
                  <a:lnTo>
                    <a:pt x="999" y="997"/>
                  </a:lnTo>
                  <a:lnTo>
                    <a:pt x="1001" y="997"/>
                  </a:lnTo>
                  <a:lnTo>
                    <a:pt x="1001" y="996"/>
                  </a:lnTo>
                  <a:lnTo>
                    <a:pt x="1001" y="994"/>
                  </a:lnTo>
                  <a:lnTo>
                    <a:pt x="999" y="994"/>
                  </a:lnTo>
                  <a:lnTo>
                    <a:pt x="999" y="992"/>
                  </a:lnTo>
                  <a:lnTo>
                    <a:pt x="1001" y="992"/>
                  </a:lnTo>
                  <a:lnTo>
                    <a:pt x="1002" y="992"/>
                  </a:lnTo>
                  <a:lnTo>
                    <a:pt x="1002" y="994"/>
                  </a:lnTo>
                  <a:lnTo>
                    <a:pt x="1002" y="992"/>
                  </a:lnTo>
                  <a:lnTo>
                    <a:pt x="1002" y="994"/>
                  </a:lnTo>
                  <a:lnTo>
                    <a:pt x="1002" y="996"/>
                  </a:lnTo>
                  <a:lnTo>
                    <a:pt x="1002" y="994"/>
                  </a:lnTo>
                  <a:lnTo>
                    <a:pt x="1002" y="996"/>
                  </a:lnTo>
                  <a:lnTo>
                    <a:pt x="1002" y="994"/>
                  </a:lnTo>
                  <a:lnTo>
                    <a:pt x="1004" y="994"/>
                  </a:lnTo>
                  <a:lnTo>
                    <a:pt x="1006" y="994"/>
                  </a:lnTo>
                  <a:lnTo>
                    <a:pt x="1006" y="992"/>
                  </a:lnTo>
                  <a:lnTo>
                    <a:pt x="1007" y="992"/>
                  </a:lnTo>
                  <a:lnTo>
                    <a:pt x="1007" y="991"/>
                  </a:lnTo>
                  <a:lnTo>
                    <a:pt x="1009" y="991"/>
                  </a:lnTo>
                  <a:lnTo>
                    <a:pt x="1007" y="991"/>
                  </a:lnTo>
                  <a:lnTo>
                    <a:pt x="1007" y="989"/>
                  </a:lnTo>
                  <a:lnTo>
                    <a:pt x="1007" y="991"/>
                  </a:lnTo>
                  <a:lnTo>
                    <a:pt x="1007" y="989"/>
                  </a:lnTo>
                  <a:lnTo>
                    <a:pt x="1006" y="989"/>
                  </a:lnTo>
                  <a:lnTo>
                    <a:pt x="1006" y="991"/>
                  </a:lnTo>
                  <a:lnTo>
                    <a:pt x="1006" y="992"/>
                  </a:lnTo>
                  <a:lnTo>
                    <a:pt x="1004" y="991"/>
                  </a:lnTo>
                  <a:lnTo>
                    <a:pt x="1002" y="991"/>
                  </a:lnTo>
                  <a:lnTo>
                    <a:pt x="1001" y="991"/>
                  </a:lnTo>
                  <a:lnTo>
                    <a:pt x="999" y="991"/>
                  </a:lnTo>
                  <a:lnTo>
                    <a:pt x="997" y="991"/>
                  </a:lnTo>
                  <a:lnTo>
                    <a:pt x="999" y="989"/>
                  </a:lnTo>
                  <a:lnTo>
                    <a:pt x="999" y="988"/>
                  </a:lnTo>
                  <a:lnTo>
                    <a:pt x="1001" y="988"/>
                  </a:lnTo>
                  <a:lnTo>
                    <a:pt x="1002" y="986"/>
                  </a:lnTo>
                  <a:lnTo>
                    <a:pt x="1002" y="988"/>
                  </a:lnTo>
                  <a:lnTo>
                    <a:pt x="1004" y="986"/>
                  </a:lnTo>
                  <a:lnTo>
                    <a:pt x="1006" y="986"/>
                  </a:lnTo>
                  <a:lnTo>
                    <a:pt x="1006" y="988"/>
                  </a:lnTo>
                  <a:lnTo>
                    <a:pt x="1007" y="988"/>
                  </a:lnTo>
                  <a:lnTo>
                    <a:pt x="1009" y="988"/>
                  </a:lnTo>
                  <a:lnTo>
                    <a:pt x="1009" y="989"/>
                  </a:lnTo>
                  <a:lnTo>
                    <a:pt x="1010" y="988"/>
                  </a:lnTo>
                  <a:lnTo>
                    <a:pt x="1009" y="988"/>
                  </a:lnTo>
                  <a:lnTo>
                    <a:pt x="1009" y="986"/>
                  </a:lnTo>
                  <a:lnTo>
                    <a:pt x="1010" y="986"/>
                  </a:lnTo>
                  <a:lnTo>
                    <a:pt x="1010" y="984"/>
                  </a:lnTo>
                  <a:lnTo>
                    <a:pt x="1012" y="984"/>
                  </a:lnTo>
                  <a:lnTo>
                    <a:pt x="1012" y="986"/>
                  </a:lnTo>
                  <a:lnTo>
                    <a:pt x="1012" y="984"/>
                  </a:lnTo>
                  <a:lnTo>
                    <a:pt x="1014" y="984"/>
                  </a:lnTo>
                  <a:lnTo>
                    <a:pt x="1014" y="983"/>
                  </a:lnTo>
                  <a:lnTo>
                    <a:pt x="1015" y="981"/>
                  </a:lnTo>
                  <a:lnTo>
                    <a:pt x="1017" y="981"/>
                  </a:lnTo>
                  <a:lnTo>
                    <a:pt x="1017" y="979"/>
                  </a:lnTo>
                  <a:lnTo>
                    <a:pt x="1019" y="979"/>
                  </a:lnTo>
                  <a:lnTo>
                    <a:pt x="1019" y="978"/>
                  </a:lnTo>
                  <a:lnTo>
                    <a:pt x="1017" y="978"/>
                  </a:lnTo>
                  <a:lnTo>
                    <a:pt x="1015" y="979"/>
                  </a:lnTo>
                  <a:lnTo>
                    <a:pt x="1015" y="981"/>
                  </a:lnTo>
                  <a:lnTo>
                    <a:pt x="1014" y="981"/>
                  </a:lnTo>
                  <a:lnTo>
                    <a:pt x="1012" y="983"/>
                  </a:lnTo>
                  <a:lnTo>
                    <a:pt x="1010" y="983"/>
                  </a:lnTo>
                  <a:lnTo>
                    <a:pt x="1010" y="984"/>
                  </a:lnTo>
                  <a:lnTo>
                    <a:pt x="1009" y="984"/>
                  </a:lnTo>
                  <a:lnTo>
                    <a:pt x="1009" y="986"/>
                  </a:lnTo>
                  <a:lnTo>
                    <a:pt x="1007" y="986"/>
                  </a:lnTo>
                  <a:lnTo>
                    <a:pt x="1006" y="986"/>
                  </a:lnTo>
                  <a:lnTo>
                    <a:pt x="1006" y="984"/>
                  </a:lnTo>
                  <a:lnTo>
                    <a:pt x="1007" y="984"/>
                  </a:lnTo>
                  <a:lnTo>
                    <a:pt x="1007" y="983"/>
                  </a:lnTo>
                  <a:lnTo>
                    <a:pt x="1007" y="981"/>
                  </a:lnTo>
                  <a:lnTo>
                    <a:pt x="1007" y="979"/>
                  </a:lnTo>
                  <a:lnTo>
                    <a:pt x="1009" y="979"/>
                  </a:lnTo>
                  <a:lnTo>
                    <a:pt x="1009" y="978"/>
                  </a:lnTo>
                  <a:lnTo>
                    <a:pt x="1010" y="978"/>
                  </a:lnTo>
                  <a:lnTo>
                    <a:pt x="1010" y="976"/>
                  </a:lnTo>
                  <a:lnTo>
                    <a:pt x="1012" y="976"/>
                  </a:lnTo>
                  <a:lnTo>
                    <a:pt x="1012" y="975"/>
                  </a:lnTo>
                  <a:lnTo>
                    <a:pt x="1010" y="976"/>
                  </a:lnTo>
                  <a:lnTo>
                    <a:pt x="1010" y="975"/>
                  </a:lnTo>
                  <a:lnTo>
                    <a:pt x="1012" y="975"/>
                  </a:lnTo>
                  <a:lnTo>
                    <a:pt x="1012" y="973"/>
                  </a:lnTo>
                  <a:lnTo>
                    <a:pt x="1014" y="971"/>
                  </a:lnTo>
                  <a:lnTo>
                    <a:pt x="1014" y="970"/>
                  </a:lnTo>
                  <a:lnTo>
                    <a:pt x="1015" y="970"/>
                  </a:lnTo>
                  <a:lnTo>
                    <a:pt x="1015" y="968"/>
                  </a:lnTo>
                  <a:lnTo>
                    <a:pt x="1015" y="970"/>
                  </a:lnTo>
                  <a:lnTo>
                    <a:pt x="1015" y="968"/>
                  </a:lnTo>
                  <a:lnTo>
                    <a:pt x="1017" y="966"/>
                  </a:lnTo>
                  <a:lnTo>
                    <a:pt x="1019" y="966"/>
                  </a:lnTo>
                  <a:lnTo>
                    <a:pt x="1020" y="965"/>
                  </a:lnTo>
                  <a:lnTo>
                    <a:pt x="1020" y="963"/>
                  </a:lnTo>
                  <a:lnTo>
                    <a:pt x="1022" y="963"/>
                  </a:lnTo>
                  <a:lnTo>
                    <a:pt x="1022" y="965"/>
                  </a:lnTo>
                  <a:lnTo>
                    <a:pt x="1023" y="965"/>
                  </a:lnTo>
                  <a:lnTo>
                    <a:pt x="1023" y="966"/>
                  </a:lnTo>
                  <a:lnTo>
                    <a:pt x="1023" y="968"/>
                  </a:lnTo>
                  <a:lnTo>
                    <a:pt x="1022" y="970"/>
                  </a:lnTo>
                  <a:lnTo>
                    <a:pt x="1022" y="971"/>
                  </a:lnTo>
                  <a:lnTo>
                    <a:pt x="1020" y="971"/>
                  </a:lnTo>
                  <a:lnTo>
                    <a:pt x="1022" y="971"/>
                  </a:lnTo>
                  <a:lnTo>
                    <a:pt x="1020" y="973"/>
                  </a:lnTo>
                  <a:lnTo>
                    <a:pt x="1022" y="971"/>
                  </a:lnTo>
                  <a:lnTo>
                    <a:pt x="1022" y="973"/>
                  </a:lnTo>
                  <a:lnTo>
                    <a:pt x="1022" y="975"/>
                  </a:lnTo>
                  <a:lnTo>
                    <a:pt x="1020" y="976"/>
                  </a:lnTo>
                  <a:lnTo>
                    <a:pt x="1022" y="975"/>
                  </a:lnTo>
                  <a:lnTo>
                    <a:pt x="1022" y="973"/>
                  </a:lnTo>
                  <a:lnTo>
                    <a:pt x="1023" y="973"/>
                  </a:lnTo>
                  <a:lnTo>
                    <a:pt x="1022" y="975"/>
                  </a:lnTo>
                  <a:lnTo>
                    <a:pt x="1023" y="975"/>
                  </a:lnTo>
                  <a:lnTo>
                    <a:pt x="1023" y="976"/>
                  </a:lnTo>
                  <a:lnTo>
                    <a:pt x="1025" y="976"/>
                  </a:lnTo>
                  <a:lnTo>
                    <a:pt x="1027" y="976"/>
                  </a:lnTo>
                  <a:lnTo>
                    <a:pt x="1025" y="976"/>
                  </a:lnTo>
                  <a:lnTo>
                    <a:pt x="1025" y="975"/>
                  </a:lnTo>
                  <a:lnTo>
                    <a:pt x="1027" y="975"/>
                  </a:lnTo>
                  <a:lnTo>
                    <a:pt x="1025" y="973"/>
                  </a:lnTo>
                  <a:lnTo>
                    <a:pt x="1025" y="971"/>
                  </a:lnTo>
                  <a:lnTo>
                    <a:pt x="1027" y="968"/>
                  </a:lnTo>
                  <a:lnTo>
                    <a:pt x="1027" y="970"/>
                  </a:lnTo>
                  <a:lnTo>
                    <a:pt x="1027" y="971"/>
                  </a:lnTo>
                  <a:lnTo>
                    <a:pt x="1028" y="971"/>
                  </a:lnTo>
                  <a:lnTo>
                    <a:pt x="1030" y="970"/>
                  </a:lnTo>
                  <a:lnTo>
                    <a:pt x="1032" y="970"/>
                  </a:lnTo>
                  <a:lnTo>
                    <a:pt x="1030" y="970"/>
                  </a:lnTo>
                  <a:lnTo>
                    <a:pt x="1028" y="970"/>
                  </a:lnTo>
                  <a:lnTo>
                    <a:pt x="1028" y="968"/>
                  </a:lnTo>
                  <a:lnTo>
                    <a:pt x="1028" y="966"/>
                  </a:lnTo>
                  <a:lnTo>
                    <a:pt x="1028" y="965"/>
                  </a:lnTo>
                  <a:lnTo>
                    <a:pt x="1028" y="963"/>
                  </a:lnTo>
                  <a:lnTo>
                    <a:pt x="1028" y="962"/>
                  </a:lnTo>
                  <a:lnTo>
                    <a:pt x="1028" y="960"/>
                  </a:lnTo>
                  <a:lnTo>
                    <a:pt x="1030" y="960"/>
                  </a:lnTo>
                  <a:lnTo>
                    <a:pt x="1032" y="958"/>
                  </a:lnTo>
                  <a:lnTo>
                    <a:pt x="1033" y="957"/>
                  </a:lnTo>
                  <a:lnTo>
                    <a:pt x="1035" y="957"/>
                  </a:lnTo>
                  <a:lnTo>
                    <a:pt x="1036" y="958"/>
                  </a:lnTo>
                  <a:lnTo>
                    <a:pt x="1036" y="960"/>
                  </a:lnTo>
                  <a:lnTo>
                    <a:pt x="1038" y="960"/>
                  </a:lnTo>
                  <a:lnTo>
                    <a:pt x="1038" y="962"/>
                  </a:lnTo>
                  <a:lnTo>
                    <a:pt x="1038" y="963"/>
                  </a:lnTo>
                  <a:lnTo>
                    <a:pt x="1040" y="963"/>
                  </a:lnTo>
                  <a:lnTo>
                    <a:pt x="1040" y="966"/>
                  </a:lnTo>
                  <a:lnTo>
                    <a:pt x="1038" y="966"/>
                  </a:lnTo>
                  <a:lnTo>
                    <a:pt x="1040" y="966"/>
                  </a:lnTo>
                  <a:lnTo>
                    <a:pt x="1038" y="966"/>
                  </a:lnTo>
                  <a:lnTo>
                    <a:pt x="1038" y="968"/>
                  </a:lnTo>
                  <a:lnTo>
                    <a:pt x="1038" y="970"/>
                  </a:lnTo>
                  <a:lnTo>
                    <a:pt x="1036" y="970"/>
                  </a:lnTo>
                  <a:lnTo>
                    <a:pt x="1036" y="971"/>
                  </a:lnTo>
                  <a:lnTo>
                    <a:pt x="1038" y="970"/>
                  </a:lnTo>
                  <a:lnTo>
                    <a:pt x="1040" y="970"/>
                  </a:lnTo>
                  <a:lnTo>
                    <a:pt x="1041" y="970"/>
                  </a:lnTo>
                  <a:lnTo>
                    <a:pt x="1043" y="971"/>
                  </a:lnTo>
                  <a:lnTo>
                    <a:pt x="1041" y="971"/>
                  </a:lnTo>
                  <a:lnTo>
                    <a:pt x="1041" y="973"/>
                  </a:lnTo>
                  <a:lnTo>
                    <a:pt x="1041" y="975"/>
                  </a:lnTo>
                  <a:lnTo>
                    <a:pt x="1040" y="975"/>
                  </a:lnTo>
                  <a:lnTo>
                    <a:pt x="1040" y="976"/>
                  </a:lnTo>
                  <a:lnTo>
                    <a:pt x="1036" y="978"/>
                  </a:lnTo>
                  <a:lnTo>
                    <a:pt x="1035" y="978"/>
                  </a:lnTo>
                  <a:lnTo>
                    <a:pt x="1033" y="978"/>
                  </a:lnTo>
                  <a:lnTo>
                    <a:pt x="1033" y="979"/>
                  </a:lnTo>
                  <a:lnTo>
                    <a:pt x="1032" y="979"/>
                  </a:lnTo>
                  <a:lnTo>
                    <a:pt x="1030" y="979"/>
                  </a:lnTo>
                  <a:lnTo>
                    <a:pt x="1028" y="979"/>
                  </a:lnTo>
                  <a:lnTo>
                    <a:pt x="1028" y="978"/>
                  </a:lnTo>
                  <a:lnTo>
                    <a:pt x="1027" y="978"/>
                  </a:lnTo>
                  <a:lnTo>
                    <a:pt x="1025" y="978"/>
                  </a:lnTo>
                  <a:lnTo>
                    <a:pt x="1023" y="978"/>
                  </a:lnTo>
                  <a:lnTo>
                    <a:pt x="1022" y="978"/>
                  </a:lnTo>
                  <a:lnTo>
                    <a:pt x="1020" y="978"/>
                  </a:lnTo>
                  <a:lnTo>
                    <a:pt x="1022" y="978"/>
                  </a:lnTo>
                  <a:lnTo>
                    <a:pt x="1022" y="979"/>
                  </a:lnTo>
                  <a:lnTo>
                    <a:pt x="1023" y="978"/>
                  </a:lnTo>
                  <a:lnTo>
                    <a:pt x="1025" y="978"/>
                  </a:lnTo>
                  <a:lnTo>
                    <a:pt x="1027" y="978"/>
                  </a:lnTo>
                  <a:lnTo>
                    <a:pt x="1030" y="979"/>
                  </a:lnTo>
                  <a:lnTo>
                    <a:pt x="1028" y="981"/>
                  </a:lnTo>
                  <a:lnTo>
                    <a:pt x="1030" y="981"/>
                  </a:lnTo>
                  <a:lnTo>
                    <a:pt x="1032" y="981"/>
                  </a:lnTo>
                  <a:lnTo>
                    <a:pt x="1033" y="981"/>
                  </a:lnTo>
                  <a:lnTo>
                    <a:pt x="1032" y="981"/>
                  </a:lnTo>
                  <a:lnTo>
                    <a:pt x="1033" y="981"/>
                  </a:lnTo>
                  <a:lnTo>
                    <a:pt x="1033" y="979"/>
                  </a:lnTo>
                  <a:lnTo>
                    <a:pt x="1035" y="979"/>
                  </a:lnTo>
                  <a:lnTo>
                    <a:pt x="1036" y="978"/>
                  </a:lnTo>
                  <a:lnTo>
                    <a:pt x="1038" y="978"/>
                  </a:lnTo>
                  <a:lnTo>
                    <a:pt x="1036" y="979"/>
                  </a:lnTo>
                  <a:lnTo>
                    <a:pt x="1038" y="979"/>
                  </a:lnTo>
                  <a:lnTo>
                    <a:pt x="1038" y="978"/>
                  </a:lnTo>
                  <a:lnTo>
                    <a:pt x="1040" y="978"/>
                  </a:lnTo>
                  <a:lnTo>
                    <a:pt x="1041" y="978"/>
                  </a:lnTo>
                  <a:lnTo>
                    <a:pt x="1041" y="976"/>
                  </a:lnTo>
                  <a:lnTo>
                    <a:pt x="1043" y="975"/>
                  </a:lnTo>
                  <a:lnTo>
                    <a:pt x="1045" y="975"/>
                  </a:lnTo>
                  <a:lnTo>
                    <a:pt x="1045" y="973"/>
                  </a:lnTo>
                  <a:lnTo>
                    <a:pt x="1046" y="973"/>
                  </a:lnTo>
                  <a:lnTo>
                    <a:pt x="1046" y="975"/>
                  </a:lnTo>
                  <a:lnTo>
                    <a:pt x="1046" y="973"/>
                  </a:lnTo>
                  <a:lnTo>
                    <a:pt x="1046" y="975"/>
                  </a:lnTo>
                  <a:lnTo>
                    <a:pt x="1048" y="976"/>
                  </a:lnTo>
                  <a:lnTo>
                    <a:pt x="1049" y="976"/>
                  </a:lnTo>
                  <a:lnTo>
                    <a:pt x="1049" y="975"/>
                  </a:lnTo>
                  <a:lnTo>
                    <a:pt x="1049" y="976"/>
                  </a:lnTo>
                  <a:lnTo>
                    <a:pt x="1049" y="975"/>
                  </a:lnTo>
                  <a:lnTo>
                    <a:pt x="1051" y="975"/>
                  </a:lnTo>
                  <a:lnTo>
                    <a:pt x="1051" y="973"/>
                  </a:lnTo>
                  <a:lnTo>
                    <a:pt x="1051" y="971"/>
                  </a:lnTo>
                  <a:lnTo>
                    <a:pt x="1049" y="973"/>
                  </a:lnTo>
                  <a:lnTo>
                    <a:pt x="1049" y="975"/>
                  </a:lnTo>
                  <a:lnTo>
                    <a:pt x="1048" y="975"/>
                  </a:lnTo>
                  <a:lnTo>
                    <a:pt x="1048" y="973"/>
                  </a:lnTo>
                  <a:lnTo>
                    <a:pt x="1046" y="973"/>
                  </a:lnTo>
                  <a:lnTo>
                    <a:pt x="1046" y="971"/>
                  </a:lnTo>
                  <a:lnTo>
                    <a:pt x="1048" y="973"/>
                  </a:lnTo>
                  <a:lnTo>
                    <a:pt x="1048" y="971"/>
                  </a:lnTo>
                  <a:lnTo>
                    <a:pt x="1049" y="971"/>
                  </a:lnTo>
                  <a:lnTo>
                    <a:pt x="1051" y="970"/>
                  </a:lnTo>
                  <a:lnTo>
                    <a:pt x="1053" y="970"/>
                  </a:lnTo>
                  <a:lnTo>
                    <a:pt x="1054" y="968"/>
                  </a:lnTo>
                  <a:lnTo>
                    <a:pt x="1056" y="968"/>
                  </a:lnTo>
                  <a:lnTo>
                    <a:pt x="1058" y="968"/>
                  </a:lnTo>
                  <a:lnTo>
                    <a:pt x="1058" y="966"/>
                  </a:lnTo>
                  <a:lnTo>
                    <a:pt x="1059" y="965"/>
                  </a:lnTo>
                  <a:lnTo>
                    <a:pt x="1059" y="966"/>
                  </a:lnTo>
                  <a:lnTo>
                    <a:pt x="1059" y="965"/>
                  </a:lnTo>
                  <a:lnTo>
                    <a:pt x="1061" y="963"/>
                  </a:lnTo>
                  <a:lnTo>
                    <a:pt x="1062" y="963"/>
                  </a:lnTo>
                  <a:lnTo>
                    <a:pt x="1062" y="962"/>
                  </a:lnTo>
                  <a:lnTo>
                    <a:pt x="1064" y="960"/>
                  </a:lnTo>
                  <a:lnTo>
                    <a:pt x="1066" y="958"/>
                  </a:lnTo>
                  <a:lnTo>
                    <a:pt x="1067" y="958"/>
                  </a:lnTo>
                  <a:lnTo>
                    <a:pt x="1066" y="957"/>
                  </a:lnTo>
                  <a:lnTo>
                    <a:pt x="1067" y="957"/>
                  </a:lnTo>
                  <a:lnTo>
                    <a:pt x="1067" y="955"/>
                  </a:lnTo>
                  <a:lnTo>
                    <a:pt x="1069" y="955"/>
                  </a:lnTo>
                  <a:lnTo>
                    <a:pt x="1069" y="953"/>
                  </a:lnTo>
                  <a:lnTo>
                    <a:pt x="1071" y="952"/>
                  </a:lnTo>
                  <a:lnTo>
                    <a:pt x="1072" y="950"/>
                  </a:lnTo>
                  <a:lnTo>
                    <a:pt x="1072" y="948"/>
                  </a:lnTo>
                  <a:lnTo>
                    <a:pt x="1072" y="947"/>
                  </a:lnTo>
                  <a:lnTo>
                    <a:pt x="1075" y="945"/>
                  </a:lnTo>
                  <a:lnTo>
                    <a:pt x="1075" y="944"/>
                  </a:lnTo>
                  <a:lnTo>
                    <a:pt x="1077" y="942"/>
                  </a:lnTo>
                  <a:lnTo>
                    <a:pt x="1079" y="940"/>
                  </a:lnTo>
                  <a:lnTo>
                    <a:pt x="1079" y="939"/>
                  </a:lnTo>
                  <a:lnTo>
                    <a:pt x="1077" y="939"/>
                  </a:lnTo>
                  <a:lnTo>
                    <a:pt x="1075" y="939"/>
                  </a:lnTo>
                  <a:lnTo>
                    <a:pt x="1075" y="940"/>
                  </a:lnTo>
                  <a:lnTo>
                    <a:pt x="1074" y="942"/>
                  </a:lnTo>
                  <a:lnTo>
                    <a:pt x="1072" y="944"/>
                  </a:lnTo>
                  <a:lnTo>
                    <a:pt x="1072" y="945"/>
                  </a:lnTo>
                  <a:lnTo>
                    <a:pt x="1071" y="945"/>
                  </a:lnTo>
                  <a:lnTo>
                    <a:pt x="1071" y="947"/>
                  </a:lnTo>
                  <a:lnTo>
                    <a:pt x="1071" y="948"/>
                  </a:lnTo>
                  <a:lnTo>
                    <a:pt x="1069" y="950"/>
                  </a:lnTo>
                  <a:lnTo>
                    <a:pt x="1067" y="952"/>
                  </a:lnTo>
                  <a:lnTo>
                    <a:pt x="1067" y="953"/>
                  </a:lnTo>
                  <a:lnTo>
                    <a:pt x="1066" y="953"/>
                  </a:lnTo>
                  <a:lnTo>
                    <a:pt x="1066" y="955"/>
                  </a:lnTo>
                  <a:lnTo>
                    <a:pt x="1064" y="957"/>
                  </a:lnTo>
                  <a:lnTo>
                    <a:pt x="1062" y="958"/>
                  </a:lnTo>
                  <a:lnTo>
                    <a:pt x="1061" y="958"/>
                  </a:lnTo>
                  <a:lnTo>
                    <a:pt x="1059" y="960"/>
                  </a:lnTo>
                  <a:lnTo>
                    <a:pt x="1059" y="962"/>
                  </a:lnTo>
                  <a:lnTo>
                    <a:pt x="1058" y="962"/>
                  </a:lnTo>
                  <a:lnTo>
                    <a:pt x="1056" y="963"/>
                  </a:lnTo>
                  <a:lnTo>
                    <a:pt x="1054" y="965"/>
                  </a:lnTo>
                  <a:lnTo>
                    <a:pt x="1053" y="966"/>
                  </a:lnTo>
                  <a:lnTo>
                    <a:pt x="1051" y="968"/>
                  </a:lnTo>
                  <a:lnTo>
                    <a:pt x="1049" y="966"/>
                  </a:lnTo>
                  <a:lnTo>
                    <a:pt x="1048" y="966"/>
                  </a:lnTo>
                  <a:lnTo>
                    <a:pt x="1045" y="966"/>
                  </a:lnTo>
                  <a:lnTo>
                    <a:pt x="1043" y="965"/>
                  </a:lnTo>
                  <a:lnTo>
                    <a:pt x="1043" y="963"/>
                  </a:lnTo>
                  <a:lnTo>
                    <a:pt x="1043" y="962"/>
                  </a:lnTo>
                  <a:lnTo>
                    <a:pt x="1046" y="960"/>
                  </a:lnTo>
                  <a:lnTo>
                    <a:pt x="1048" y="960"/>
                  </a:lnTo>
                  <a:lnTo>
                    <a:pt x="1049" y="960"/>
                  </a:lnTo>
                  <a:lnTo>
                    <a:pt x="1051" y="960"/>
                  </a:lnTo>
                  <a:lnTo>
                    <a:pt x="1051" y="958"/>
                  </a:lnTo>
                  <a:lnTo>
                    <a:pt x="1053" y="958"/>
                  </a:lnTo>
                  <a:lnTo>
                    <a:pt x="1051" y="958"/>
                  </a:lnTo>
                  <a:lnTo>
                    <a:pt x="1049" y="958"/>
                  </a:lnTo>
                  <a:lnTo>
                    <a:pt x="1049" y="957"/>
                  </a:lnTo>
                  <a:lnTo>
                    <a:pt x="1048" y="957"/>
                  </a:lnTo>
                  <a:lnTo>
                    <a:pt x="1046" y="957"/>
                  </a:lnTo>
                  <a:lnTo>
                    <a:pt x="1048" y="957"/>
                  </a:lnTo>
                  <a:lnTo>
                    <a:pt x="1048" y="955"/>
                  </a:lnTo>
                  <a:lnTo>
                    <a:pt x="1048" y="953"/>
                  </a:lnTo>
                  <a:lnTo>
                    <a:pt x="1046" y="953"/>
                  </a:lnTo>
                  <a:lnTo>
                    <a:pt x="1048" y="953"/>
                  </a:lnTo>
                  <a:lnTo>
                    <a:pt x="1046" y="953"/>
                  </a:lnTo>
                  <a:lnTo>
                    <a:pt x="1048" y="953"/>
                  </a:lnTo>
                  <a:lnTo>
                    <a:pt x="1046" y="953"/>
                  </a:lnTo>
                  <a:lnTo>
                    <a:pt x="1045" y="953"/>
                  </a:lnTo>
                  <a:lnTo>
                    <a:pt x="1045" y="955"/>
                  </a:lnTo>
                  <a:lnTo>
                    <a:pt x="1043" y="955"/>
                  </a:lnTo>
                  <a:lnTo>
                    <a:pt x="1041" y="955"/>
                  </a:lnTo>
                  <a:lnTo>
                    <a:pt x="1041" y="953"/>
                  </a:lnTo>
                  <a:lnTo>
                    <a:pt x="1043" y="953"/>
                  </a:lnTo>
                  <a:lnTo>
                    <a:pt x="1045" y="952"/>
                  </a:lnTo>
                  <a:lnTo>
                    <a:pt x="1046" y="952"/>
                  </a:lnTo>
                  <a:lnTo>
                    <a:pt x="1048" y="952"/>
                  </a:lnTo>
                  <a:lnTo>
                    <a:pt x="1048" y="950"/>
                  </a:lnTo>
                  <a:lnTo>
                    <a:pt x="1046" y="950"/>
                  </a:lnTo>
                  <a:lnTo>
                    <a:pt x="1045" y="950"/>
                  </a:lnTo>
                  <a:lnTo>
                    <a:pt x="1046" y="950"/>
                  </a:lnTo>
                  <a:lnTo>
                    <a:pt x="1048" y="950"/>
                  </a:lnTo>
                  <a:lnTo>
                    <a:pt x="1049" y="950"/>
                  </a:lnTo>
                  <a:lnTo>
                    <a:pt x="1048" y="950"/>
                  </a:lnTo>
                  <a:lnTo>
                    <a:pt x="1048" y="948"/>
                  </a:lnTo>
                  <a:lnTo>
                    <a:pt x="1048" y="950"/>
                  </a:lnTo>
                  <a:lnTo>
                    <a:pt x="1048" y="948"/>
                  </a:lnTo>
                  <a:lnTo>
                    <a:pt x="1046" y="948"/>
                  </a:lnTo>
                  <a:lnTo>
                    <a:pt x="1045" y="950"/>
                  </a:lnTo>
                  <a:lnTo>
                    <a:pt x="1043" y="950"/>
                  </a:lnTo>
                  <a:lnTo>
                    <a:pt x="1045" y="950"/>
                  </a:lnTo>
                  <a:lnTo>
                    <a:pt x="1043" y="950"/>
                  </a:lnTo>
                  <a:lnTo>
                    <a:pt x="1045" y="948"/>
                  </a:lnTo>
                  <a:lnTo>
                    <a:pt x="1043" y="948"/>
                  </a:lnTo>
                  <a:lnTo>
                    <a:pt x="1043" y="950"/>
                  </a:lnTo>
                  <a:lnTo>
                    <a:pt x="1041" y="950"/>
                  </a:lnTo>
                  <a:lnTo>
                    <a:pt x="1040" y="950"/>
                  </a:lnTo>
                  <a:lnTo>
                    <a:pt x="1040" y="952"/>
                  </a:lnTo>
                  <a:lnTo>
                    <a:pt x="1038" y="952"/>
                  </a:lnTo>
                  <a:lnTo>
                    <a:pt x="1038" y="953"/>
                  </a:lnTo>
                  <a:lnTo>
                    <a:pt x="1038" y="955"/>
                  </a:lnTo>
                  <a:lnTo>
                    <a:pt x="1036" y="955"/>
                  </a:lnTo>
                  <a:lnTo>
                    <a:pt x="1036" y="953"/>
                  </a:lnTo>
                  <a:lnTo>
                    <a:pt x="1038" y="952"/>
                  </a:lnTo>
                  <a:lnTo>
                    <a:pt x="1038" y="950"/>
                  </a:lnTo>
                  <a:lnTo>
                    <a:pt x="1038" y="952"/>
                  </a:lnTo>
                  <a:lnTo>
                    <a:pt x="1040" y="952"/>
                  </a:lnTo>
                  <a:lnTo>
                    <a:pt x="1040" y="950"/>
                  </a:lnTo>
                  <a:lnTo>
                    <a:pt x="1040" y="948"/>
                  </a:lnTo>
                  <a:lnTo>
                    <a:pt x="1041" y="948"/>
                  </a:lnTo>
                  <a:lnTo>
                    <a:pt x="1041" y="947"/>
                  </a:lnTo>
                  <a:lnTo>
                    <a:pt x="1041" y="945"/>
                  </a:lnTo>
                  <a:lnTo>
                    <a:pt x="1043" y="944"/>
                  </a:lnTo>
                  <a:lnTo>
                    <a:pt x="1045" y="942"/>
                  </a:lnTo>
                  <a:lnTo>
                    <a:pt x="1046" y="942"/>
                  </a:lnTo>
                  <a:lnTo>
                    <a:pt x="1048" y="942"/>
                  </a:lnTo>
                  <a:lnTo>
                    <a:pt x="1048" y="940"/>
                  </a:lnTo>
                  <a:lnTo>
                    <a:pt x="1049" y="940"/>
                  </a:lnTo>
                  <a:lnTo>
                    <a:pt x="1048" y="940"/>
                  </a:lnTo>
                  <a:lnTo>
                    <a:pt x="1049" y="939"/>
                  </a:lnTo>
                  <a:lnTo>
                    <a:pt x="1048" y="939"/>
                  </a:lnTo>
                  <a:lnTo>
                    <a:pt x="1048" y="940"/>
                  </a:lnTo>
                  <a:lnTo>
                    <a:pt x="1046" y="940"/>
                  </a:lnTo>
                  <a:lnTo>
                    <a:pt x="1046" y="942"/>
                  </a:lnTo>
                  <a:lnTo>
                    <a:pt x="1046" y="940"/>
                  </a:lnTo>
                  <a:lnTo>
                    <a:pt x="1045" y="940"/>
                  </a:lnTo>
                  <a:lnTo>
                    <a:pt x="1046" y="940"/>
                  </a:lnTo>
                  <a:lnTo>
                    <a:pt x="1046" y="939"/>
                  </a:lnTo>
                  <a:lnTo>
                    <a:pt x="1048" y="939"/>
                  </a:lnTo>
                  <a:lnTo>
                    <a:pt x="1046" y="937"/>
                  </a:lnTo>
                  <a:lnTo>
                    <a:pt x="1048" y="937"/>
                  </a:lnTo>
                  <a:lnTo>
                    <a:pt x="1048" y="935"/>
                  </a:lnTo>
                  <a:lnTo>
                    <a:pt x="1049" y="935"/>
                  </a:lnTo>
                  <a:lnTo>
                    <a:pt x="1049" y="934"/>
                  </a:lnTo>
                  <a:lnTo>
                    <a:pt x="1048" y="935"/>
                  </a:lnTo>
                  <a:lnTo>
                    <a:pt x="1049" y="934"/>
                  </a:lnTo>
                  <a:lnTo>
                    <a:pt x="1048" y="934"/>
                  </a:lnTo>
                  <a:lnTo>
                    <a:pt x="1046" y="935"/>
                  </a:lnTo>
                  <a:lnTo>
                    <a:pt x="1045" y="937"/>
                  </a:lnTo>
                  <a:lnTo>
                    <a:pt x="1043" y="939"/>
                  </a:lnTo>
                  <a:lnTo>
                    <a:pt x="1043" y="940"/>
                  </a:lnTo>
                  <a:lnTo>
                    <a:pt x="1041" y="940"/>
                  </a:lnTo>
                  <a:lnTo>
                    <a:pt x="1040" y="940"/>
                  </a:lnTo>
                  <a:lnTo>
                    <a:pt x="1038" y="942"/>
                  </a:lnTo>
                  <a:lnTo>
                    <a:pt x="1038" y="940"/>
                  </a:lnTo>
                  <a:lnTo>
                    <a:pt x="1038" y="942"/>
                  </a:lnTo>
                  <a:lnTo>
                    <a:pt x="1036" y="942"/>
                  </a:lnTo>
                  <a:lnTo>
                    <a:pt x="1035" y="942"/>
                  </a:lnTo>
                  <a:lnTo>
                    <a:pt x="1036" y="940"/>
                  </a:lnTo>
                  <a:lnTo>
                    <a:pt x="1035" y="940"/>
                  </a:lnTo>
                  <a:lnTo>
                    <a:pt x="1035" y="942"/>
                  </a:lnTo>
                  <a:lnTo>
                    <a:pt x="1035" y="944"/>
                  </a:lnTo>
                  <a:lnTo>
                    <a:pt x="1036" y="944"/>
                  </a:lnTo>
                  <a:lnTo>
                    <a:pt x="1036" y="945"/>
                  </a:lnTo>
                  <a:lnTo>
                    <a:pt x="1036" y="947"/>
                  </a:lnTo>
                  <a:lnTo>
                    <a:pt x="1036" y="948"/>
                  </a:lnTo>
                  <a:lnTo>
                    <a:pt x="1035" y="950"/>
                  </a:lnTo>
                  <a:lnTo>
                    <a:pt x="1033" y="952"/>
                  </a:lnTo>
                  <a:lnTo>
                    <a:pt x="1033" y="953"/>
                  </a:lnTo>
                  <a:lnTo>
                    <a:pt x="1032" y="953"/>
                  </a:lnTo>
                  <a:lnTo>
                    <a:pt x="1030" y="955"/>
                  </a:lnTo>
                  <a:lnTo>
                    <a:pt x="1028" y="955"/>
                  </a:lnTo>
                  <a:lnTo>
                    <a:pt x="1027" y="957"/>
                  </a:lnTo>
                  <a:lnTo>
                    <a:pt x="1025" y="958"/>
                  </a:lnTo>
                  <a:lnTo>
                    <a:pt x="1023" y="957"/>
                  </a:lnTo>
                  <a:lnTo>
                    <a:pt x="1025" y="957"/>
                  </a:lnTo>
                  <a:lnTo>
                    <a:pt x="1025" y="955"/>
                  </a:lnTo>
                  <a:lnTo>
                    <a:pt x="1027" y="955"/>
                  </a:lnTo>
                  <a:lnTo>
                    <a:pt x="1027" y="953"/>
                  </a:lnTo>
                  <a:lnTo>
                    <a:pt x="1027" y="952"/>
                  </a:lnTo>
                  <a:lnTo>
                    <a:pt x="1028" y="952"/>
                  </a:lnTo>
                  <a:lnTo>
                    <a:pt x="1028" y="950"/>
                  </a:lnTo>
                  <a:lnTo>
                    <a:pt x="1027" y="950"/>
                  </a:lnTo>
                  <a:lnTo>
                    <a:pt x="1028" y="948"/>
                  </a:lnTo>
                  <a:lnTo>
                    <a:pt x="1028" y="947"/>
                  </a:lnTo>
                  <a:lnTo>
                    <a:pt x="1027" y="947"/>
                  </a:lnTo>
                  <a:lnTo>
                    <a:pt x="1028" y="947"/>
                  </a:lnTo>
                  <a:lnTo>
                    <a:pt x="1028" y="945"/>
                  </a:lnTo>
                  <a:lnTo>
                    <a:pt x="1030" y="945"/>
                  </a:lnTo>
                  <a:lnTo>
                    <a:pt x="1028" y="945"/>
                  </a:lnTo>
                  <a:lnTo>
                    <a:pt x="1028" y="944"/>
                  </a:lnTo>
                  <a:lnTo>
                    <a:pt x="1030" y="944"/>
                  </a:lnTo>
                  <a:lnTo>
                    <a:pt x="1028" y="944"/>
                  </a:lnTo>
                  <a:lnTo>
                    <a:pt x="1027" y="944"/>
                  </a:lnTo>
                  <a:lnTo>
                    <a:pt x="1027" y="942"/>
                  </a:lnTo>
                  <a:lnTo>
                    <a:pt x="1028" y="942"/>
                  </a:lnTo>
                  <a:lnTo>
                    <a:pt x="1027" y="942"/>
                  </a:lnTo>
                  <a:lnTo>
                    <a:pt x="1028" y="940"/>
                  </a:lnTo>
                  <a:lnTo>
                    <a:pt x="1028" y="939"/>
                  </a:lnTo>
                  <a:lnTo>
                    <a:pt x="1027" y="939"/>
                  </a:lnTo>
                  <a:lnTo>
                    <a:pt x="1028" y="939"/>
                  </a:lnTo>
                  <a:lnTo>
                    <a:pt x="1028" y="937"/>
                  </a:lnTo>
                  <a:lnTo>
                    <a:pt x="1028" y="935"/>
                  </a:lnTo>
                  <a:lnTo>
                    <a:pt x="1030" y="935"/>
                  </a:lnTo>
                  <a:lnTo>
                    <a:pt x="1030" y="934"/>
                  </a:lnTo>
                  <a:lnTo>
                    <a:pt x="1030" y="935"/>
                  </a:lnTo>
                  <a:lnTo>
                    <a:pt x="1032" y="935"/>
                  </a:lnTo>
                  <a:lnTo>
                    <a:pt x="1032" y="934"/>
                  </a:lnTo>
                  <a:lnTo>
                    <a:pt x="1032" y="935"/>
                  </a:lnTo>
                  <a:lnTo>
                    <a:pt x="1033" y="935"/>
                  </a:lnTo>
                  <a:lnTo>
                    <a:pt x="1033" y="937"/>
                  </a:lnTo>
                  <a:lnTo>
                    <a:pt x="1032" y="937"/>
                  </a:lnTo>
                  <a:lnTo>
                    <a:pt x="1033" y="937"/>
                  </a:lnTo>
                  <a:lnTo>
                    <a:pt x="1033" y="935"/>
                  </a:lnTo>
                  <a:lnTo>
                    <a:pt x="1032" y="934"/>
                  </a:lnTo>
                  <a:lnTo>
                    <a:pt x="1033" y="934"/>
                  </a:lnTo>
                  <a:lnTo>
                    <a:pt x="1035" y="934"/>
                  </a:lnTo>
                  <a:lnTo>
                    <a:pt x="1035" y="932"/>
                  </a:lnTo>
                  <a:lnTo>
                    <a:pt x="1035" y="934"/>
                  </a:lnTo>
                  <a:lnTo>
                    <a:pt x="1036" y="934"/>
                  </a:lnTo>
                  <a:lnTo>
                    <a:pt x="1036" y="932"/>
                  </a:lnTo>
                  <a:lnTo>
                    <a:pt x="1036" y="931"/>
                  </a:lnTo>
                  <a:lnTo>
                    <a:pt x="1036" y="932"/>
                  </a:lnTo>
                  <a:lnTo>
                    <a:pt x="1035" y="932"/>
                  </a:lnTo>
                  <a:lnTo>
                    <a:pt x="1033" y="932"/>
                  </a:lnTo>
                  <a:lnTo>
                    <a:pt x="1033" y="934"/>
                  </a:lnTo>
                  <a:lnTo>
                    <a:pt x="1032" y="934"/>
                  </a:lnTo>
                  <a:lnTo>
                    <a:pt x="1032" y="932"/>
                  </a:lnTo>
                  <a:lnTo>
                    <a:pt x="1030" y="932"/>
                  </a:lnTo>
                  <a:lnTo>
                    <a:pt x="1030" y="931"/>
                  </a:lnTo>
                  <a:lnTo>
                    <a:pt x="1032" y="931"/>
                  </a:lnTo>
                  <a:lnTo>
                    <a:pt x="1032" y="929"/>
                  </a:lnTo>
                  <a:lnTo>
                    <a:pt x="1033" y="927"/>
                  </a:lnTo>
                  <a:lnTo>
                    <a:pt x="1032" y="927"/>
                  </a:lnTo>
                  <a:lnTo>
                    <a:pt x="1033" y="927"/>
                  </a:lnTo>
                  <a:lnTo>
                    <a:pt x="1036" y="924"/>
                  </a:lnTo>
                  <a:lnTo>
                    <a:pt x="1038" y="924"/>
                  </a:lnTo>
                  <a:lnTo>
                    <a:pt x="1038" y="922"/>
                  </a:lnTo>
                  <a:lnTo>
                    <a:pt x="1040" y="922"/>
                  </a:lnTo>
                  <a:lnTo>
                    <a:pt x="1040" y="921"/>
                  </a:lnTo>
                  <a:lnTo>
                    <a:pt x="1041" y="921"/>
                  </a:lnTo>
                  <a:lnTo>
                    <a:pt x="1041" y="919"/>
                  </a:lnTo>
                  <a:lnTo>
                    <a:pt x="1041" y="921"/>
                  </a:lnTo>
                  <a:lnTo>
                    <a:pt x="1041" y="919"/>
                  </a:lnTo>
                  <a:lnTo>
                    <a:pt x="1040" y="921"/>
                  </a:lnTo>
                  <a:lnTo>
                    <a:pt x="1040" y="919"/>
                  </a:lnTo>
                  <a:lnTo>
                    <a:pt x="1040" y="918"/>
                  </a:lnTo>
                  <a:lnTo>
                    <a:pt x="1041" y="918"/>
                  </a:lnTo>
                  <a:lnTo>
                    <a:pt x="1041" y="916"/>
                  </a:lnTo>
                  <a:lnTo>
                    <a:pt x="1040" y="918"/>
                  </a:lnTo>
                  <a:lnTo>
                    <a:pt x="1040" y="919"/>
                  </a:lnTo>
                  <a:lnTo>
                    <a:pt x="1038" y="919"/>
                  </a:lnTo>
                  <a:lnTo>
                    <a:pt x="1038" y="921"/>
                  </a:lnTo>
                  <a:lnTo>
                    <a:pt x="1036" y="921"/>
                  </a:lnTo>
                  <a:lnTo>
                    <a:pt x="1038" y="921"/>
                  </a:lnTo>
                  <a:lnTo>
                    <a:pt x="1038" y="919"/>
                  </a:lnTo>
                  <a:lnTo>
                    <a:pt x="1040" y="918"/>
                  </a:lnTo>
                  <a:lnTo>
                    <a:pt x="1038" y="918"/>
                  </a:lnTo>
                  <a:lnTo>
                    <a:pt x="1038" y="919"/>
                  </a:lnTo>
                  <a:lnTo>
                    <a:pt x="1040" y="916"/>
                  </a:lnTo>
                  <a:lnTo>
                    <a:pt x="1038" y="918"/>
                  </a:lnTo>
                  <a:lnTo>
                    <a:pt x="1038" y="919"/>
                  </a:lnTo>
                  <a:lnTo>
                    <a:pt x="1036" y="919"/>
                  </a:lnTo>
                  <a:lnTo>
                    <a:pt x="1036" y="921"/>
                  </a:lnTo>
                  <a:lnTo>
                    <a:pt x="1036" y="919"/>
                  </a:lnTo>
                  <a:lnTo>
                    <a:pt x="1035" y="919"/>
                  </a:lnTo>
                  <a:lnTo>
                    <a:pt x="1035" y="921"/>
                  </a:lnTo>
                  <a:lnTo>
                    <a:pt x="1035" y="919"/>
                  </a:lnTo>
                  <a:lnTo>
                    <a:pt x="1035" y="918"/>
                  </a:lnTo>
                  <a:lnTo>
                    <a:pt x="1036" y="918"/>
                  </a:lnTo>
                  <a:lnTo>
                    <a:pt x="1036" y="916"/>
                  </a:lnTo>
                  <a:lnTo>
                    <a:pt x="1038" y="914"/>
                  </a:lnTo>
                  <a:lnTo>
                    <a:pt x="1036" y="916"/>
                  </a:lnTo>
                  <a:lnTo>
                    <a:pt x="1036" y="918"/>
                  </a:lnTo>
                  <a:lnTo>
                    <a:pt x="1036" y="916"/>
                  </a:lnTo>
                  <a:lnTo>
                    <a:pt x="1035" y="918"/>
                  </a:lnTo>
                  <a:lnTo>
                    <a:pt x="1033" y="918"/>
                  </a:lnTo>
                  <a:lnTo>
                    <a:pt x="1033" y="919"/>
                  </a:lnTo>
                  <a:lnTo>
                    <a:pt x="1033" y="921"/>
                  </a:lnTo>
                  <a:lnTo>
                    <a:pt x="1035" y="921"/>
                  </a:lnTo>
                  <a:lnTo>
                    <a:pt x="1033" y="921"/>
                  </a:lnTo>
                  <a:lnTo>
                    <a:pt x="1033" y="922"/>
                  </a:lnTo>
                  <a:lnTo>
                    <a:pt x="1032" y="922"/>
                  </a:lnTo>
                  <a:lnTo>
                    <a:pt x="1033" y="922"/>
                  </a:lnTo>
                  <a:lnTo>
                    <a:pt x="1032" y="924"/>
                  </a:lnTo>
                  <a:lnTo>
                    <a:pt x="1032" y="922"/>
                  </a:lnTo>
                  <a:lnTo>
                    <a:pt x="1032" y="924"/>
                  </a:lnTo>
                  <a:lnTo>
                    <a:pt x="1032" y="922"/>
                  </a:lnTo>
                  <a:lnTo>
                    <a:pt x="1033" y="921"/>
                  </a:lnTo>
                  <a:lnTo>
                    <a:pt x="1032" y="922"/>
                  </a:lnTo>
                  <a:lnTo>
                    <a:pt x="1032" y="921"/>
                  </a:lnTo>
                  <a:lnTo>
                    <a:pt x="1033" y="919"/>
                  </a:lnTo>
                  <a:lnTo>
                    <a:pt x="1033" y="918"/>
                  </a:lnTo>
                  <a:lnTo>
                    <a:pt x="1035" y="916"/>
                  </a:lnTo>
                  <a:lnTo>
                    <a:pt x="1033" y="916"/>
                  </a:lnTo>
                  <a:lnTo>
                    <a:pt x="1035" y="914"/>
                  </a:lnTo>
                  <a:lnTo>
                    <a:pt x="1035" y="913"/>
                  </a:lnTo>
                  <a:lnTo>
                    <a:pt x="1035" y="911"/>
                  </a:lnTo>
                  <a:lnTo>
                    <a:pt x="1035" y="913"/>
                  </a:lnTo>
                  <a:lnTo>
                    <a:pt x="1033" y="913"/>
                  </a:lnTo>
                  <a:lnTo>
                    <a:pt x="1035" y="913"/>
                  </a:lnTo>
                  <a:lnTo>
                    <a:pt x="1035" y="911"/>
                  </a:lnTo>
                  <a:lnTo>
                    <a:pt x="1035" y="909"/>
                  </a:lnTo>
                  <a:lnTo>
                    <a:pt x="1035" y="911"/>
                  </a:lnTo>
                  <a:lnTo>
                    <a:pt x="1035" y="909"/>
                  </a:lnTo>
                  <a:lnTo>
                    <a:pt x="1035" y="908"/>
                  </a:lnTo>
                  <a:lnTo>
                    <a:pt x="1036" y="906"/>
                  </a:lnTo>
                  <a:lnTo>
                    <a:pt x="1035" y="906"/>
                  </a:lnTo>
                  <a:lnTo>
                    <a:pt x="1035" y="908"/>
                  </a:lnTo>
                  <a:lnTo>
                    <a:pt x="1035" y="906"/>
                  </a:lnTo>
                  <a:lnTo>
                    <a:pt x="1035" y="908"/>
                  </a:lnTo>
                  <a:lnTo>
                    <a:pt x="1033" y="909"/>
                  </a:lnTo>
                  <a:lnTo>
                    <a:pt x="1033" y="908"/>
                  </a:lnTo>
                  <a:lnTo>
                    <a:pt x="1035" y="908"/>
                  </a:lnTo>
                  <a:lnTo>
                    <a:pt x="1035" y="906"/>
                  </a:lnTo>
                  <a:lnTo>
                    <a:pt x="1035" y="908"/>
                  </a:lnTo>
                  <a:lnTo>
                    <a:pt x="1033" y="908"/>
                  </a:lnTo>
                  <a:lnTo>
                    <a:pt x="1033" y="906"/>
                  </a:lnTo>
                  <a:lnTo>
                    <a:pt x="1035" y="906"/>
                  </a:lnTo>
                  <a:lnTo>
                    <a:pt x="1035" y="905"/>
                  </a:lnTo>
                  <a:lnTo>
                    <a:pt x="1036" y="903"/>
                  </a:lnTo>
                  <a:lnTo>
                    <a:pt x="1038" y="903"/>
                  </a:lnTo>
                  <a:lnTo>
                    <a:pt x="1038" y="905"/>
                  </a:lnTo>
                  <a:lnTo>
                    <a:pt x="1038" y="903"/>
                  </a:lnTo>
                  <a:lnTo>
                    <a:pt x="1038" y="905"/>
                  </a:lnTo>
                  <a:lnTo>
                    <a:pt x="1040" y="905"/>
                  </a:lnTo>
                  <a:lnTo>
                    <a:pt x="1040" y="906"/>
                  </a:lnTo>
                  <a:lnTo>
                    <a:pt x="1038" y="908"/>
                  </a:lnTo>
                  <a:lnTo>
                    <a:pt x="1040" y="908"/>
                  </a:lnTo>
                  <a:lnTo>
                    <a:pt x="1040" y="909"/>
                  </a:lnTo>
                  <a:lnTo>
                    <a:pt x="1040" y="911"/>
                  </a:lnTo>
                  <a:lnTo>
                    <a:pt x="1041" y="911"/>
                  </a:lnTo>
                  <a:lnTo>
                    <a:pt x="1041" y="913"/>
                  </a:lnTo>
                  <a:lnTo>
                    <a:pt x="1043" y="913"/>
                  </a:lnTo>
                  <a:lnTo>
                    <a:pt x="1043" y="914"/>
                  </a:lnTo>
                  <a:lnTo>
                    <a:pt x="1045" y="914"/>
                  </a:lnTo>
                  <a:lnTo>
                    <a:pt x="1046" y="916"/>
                  </a:lnTo>
                  <a:lnTo>
                    <a:pt x="1046" y="918"/>
                  </a:lnTo>
                  <a:lnTo>
                    <a:pt x="1048" y="918"/>
                  </a:lnTo>
                  <a:lnTo>
                    <a:pt x="1048" y="919"/>
                  </a:lnTo>
                  <a:lnTo>
                    <a:pt x="1048" y="921"/>
                  </a:lnTo>
                  <a:lnTo>
                    <a:pt x="1046" y="922"/>
                  </a:lnTo>
                  <a:lnTo>
                    <a:pt x="1046" y="924"/>
                  </a:lnTo>
                  <a:lnTo>
                    <a:pt x="1046" y="926"/>
                  </a:lnTo>
                  <a:lnTo>
                    <a:pt x="1048" y="926"/>
                  </a:lnTo>
                  <a:lnTo>
                    <a:pt x="1048" y="927"/>
                  </a:lnTo>
                  <a:lnTo>
                    <a:pt x="1046" y="926"/>
                  </a:lnTo>
                  <a:lnTo>
                    <a:pt x="1046" y="927"/>
                  </a:lnTo>
                  <a:lnTo>
                    <a:pt x="1048" y="927"/>
                  </a:lnTo>
                  <a:lnTo>
                    <a:pt x="1048" y="926"/>
                  </a:lnTo>
                  <a:lnTo>
                    <a:pt x="1048" y="927"/>
                  </a:lnTo>
                  <a:lnTo>
                    <a:pt x="1049" y="927"/>
                  </a:lnTo>
                  <a:lnTo>
                    <a:pt x="1049" y="929"/>
                  </a:lnTo>
                  <a:lnTo>
                    <a:pt x="1051" y="929"/>
                  </a:lnTo>
                  <a:lnTo>
                    <a:pt x="1051" y="931"/>
                  </a:lnTo>
                  <a:lnTo>
                    <a:pt x="1051" y="932"/>
                  </a:lnTo>
                  <a:lnTo>
                    <a:pt x="1051" y="931"/>
                  </a:lnTo>
                  <a:lnTo>
                    <a:pt x="1051" y="932"/>
                  </a:lnTo>
                  <a:lnTo>
                    <a:pt x="1051" y="931"/>
                  </a:lnTo>
                  <a:lnTo>
                    <a:pt x="1051" y="929"/>
                  </a:lnTo>
                  <a:lnTo>
                    <a:pt x="1049" y="929"/>
                  </a:lnTo>
                  <a:lnTo>
                    <a:pt x="1049" y="927"/>
                  </a:lnTo>
                  <a:lnTo>
                    <a:pt x="1051" y="927"/>
                  </a:lnTo>
                  <a:lnTo>
                    <a:pt x="1048" y="926"/>
                  </a:lnTo>
                  <a:lnTo>
                    <a:pt x="1048" y="924"/>
                  </a:lnTo>
                  <a:lnTo>
                    <a:pt x="1049" y="924"/>
                  </a:lnTo>
                  <a:lnTo>
                    <a:pt x="1048" y="924"/>
                  </a:lnTo>
                  <a:lnTo>
                    <a:pt x="1048" y="922"/>
                  </a:lnTo>
                  <a:lnTo>
                    <a:pt x="1048" y="921"/>
                  </a:lnTo>
                  <a:lnTo>
                    <a:pt x="1049" y="921"/>
                  </a:lnTo>
                  <a:lnTo>
                    <a:pt x="1049" y="922"/>
                  </a:lnTo>
                  <a:lnTo>
                    <a:pt x="1048" y="922"/>
                  </a:lnTo>
                  <a:lnTo>
                    <a:pt x="1049" y="922"/>
                  </a:lnTo>
                  <a:lnTo>
                    <a:pt x="1051" y="922"/>
                  </a:lnTo>
                  <a:lnTo>
                    <a:pt x="1053" y="922"/>
                  </a:lnTo>
                  <a:lnTo>
                    <a:pt x="1051" y="922"/>
                  </a:lnTo>
                  <a:lnTo>
                    <a:pt x="1051" y="921"/>
                  </a:lnTo>
                  <a:lnTo>
                    <a:pt x="1053" y="922"/>
                  </a:lnTo>
                  <a:lnTo>
                    <a:pt x="1054" y="922"/>
                  </a:lnTo>
                  <a:lnTo>
                    <a:pt x="1054" y="924"/>
                  </a:lnTo>
                  <a:lnTo>
                    <a:pt x="1054" y="926"/>
                  </a:lnTo>
                  <a:lnTo>
                    <a:pt x="1054" y="927"/>
                  </a:lnTo>
                  <a:lnTo>
                    <a:pt x="1053" y="929"/>
                  </a:lnTo>
                  <a:lnTo>
                    <a:pt x="1054" y="929"/>
                  </a:lnTo>
                  <a:lnTo>
                    <a:pt x="1054" y="927"/>
                  </a:lnTo>
                  <a:lnTo>
                    <a:pt x="1056" y="927"/>
                  </a:lnTo>
                  <a:lnTo>
                    <a:pt x="1056" y="929"/>
                  </a:lnTo>
                  <a:lnTo>
                    <a:pt x="1054" y="927"/>
                  </a:lnTo>
                  <a:lnTo>
                    <a:pt x="1054" y="926"/>
                  </a:lnTo>
                  <a:lnTo>
                    <a:pt x="1056" y="927"/>
                  </a:lnTo>
                  <a:lnTo>
                    <a:pt x="1056" y="926"/>
                  </a:lnTo>
                  <a:lnTo>
                    <a:pt x="1054" y="924"/>
                  </a:lnTo>
                  <a:lnTo>
                    <a:pt x="1054" y="922"/>
                  </a:lnTo>
                  <a:lnTo>
                    <a:pt x="1056" y="922"/>
                  </a:lnTo>
                  <a:lnTo>
                    <a:pt x="1056" y="924"/>
                  </a:lnTo>
                  <a:lnTo>
                    <a:pt x="1056" y="922"/>
                  </a:lnTo>
                  <a:lnTo>
                    <a:pt x="1056" y="924"/>
                  </a:lnTo>
                  <a:lnTo>
                    <a:pt x="1058" y="926"/>
                  </a:lnTo>
                  <a:lnTo>
                    <a:pt x="1058" y="927"/>
                  </a:lnTo>
                  <a:lnTo>
                    <a:pt x="1059" y="929"/>
                  </a:lnTo>
                  <a:lnTo>
                    <a:pt x="1061" y="931"/>
                  </a:lnTo>
                  <a:lnTo>
                    <a:pt x="1062" y="932"/>
                  </a:lnTo>
                  <a:lnTo>
                    <a:pt x="1062" y="934"/>
                  </a:lnTo>
                  <a:lnTo>
                    <a:pt x="1064" y="934"/>
                  </a:lnTo>
                  <a:lnTo>
                    <a:pt x="1062" y="934"/>
                  </a:lnTo>
                  <a:lnTo>
                    <a:pt x="1062" y="932"/>
                  </a:lnTo>
                  <a:lnTo>
                    <a:pt x="1062" y="931"/>
                  </a:lnTo>
                  <a:lnTo>
                    <a:pt x="1061" y="929"/>
                  </a:lnTo>
                  <a:lnTo>
                    <a:pt x="1059" y="927"/>
                  </a:lnTo>
                  <a:lnTo>
                    <a:pt x="1058" y="926"/>
                  </a:lnTo>
                  <a:lnTo>
                    <a:pt x="1058" y="924"/>
                  </a:lnTo>
                  <a:lnTo>
                    <a:pt x="1059" y="926"/>
                  </a:lnTo>
                  <a:lnTo>
                    <a:pt x="1059" y="924"/>
                  </a:lnTo>
                  <a:lnTo>
                    <a:pt x="1059" y="922"/>
                  </a:lnTo>
                  <a:lnTo>
                    <a:pt x="1061" y="922"/>
                  </a:lnTo>
                  <a:lnTo>
                    <a:pt x="1062" y="921"/>
                  </a:lnTo>
                  <a:lnTo>
                    <a:pt x="1064" y="921"/>
                  </a:lnTo>
                  <a:lnTo>
                    <a:pt x="1066" y="921"/>
                  </a:lnTo>
                  <a:lnTo>
                    <a:pt x="1067" y="919"/>
                  </a:lnTo>
                  <a:lnTo>
                    <a:pt x="1067" y="921"/>
                  </a:lnTo>
                  <a:lnTo>
                    <a:pt x="1067" y="919"/>
                  </a:lnTo>
                  <a:lnTo>
                    <a:pt x="1066" y="919"/>
                  </a:lnTo>
                  <a:lnTo>
                    <a:pt x="1064" y="919"/>
                  </a:lnTo>
                  <a:lnTo>
                    <a:pt x="1062" y="921"/>
                  </a:lnTo>
                  <a:lnTo>
                    <a:pt x="1059" y="921"/>
                  </a:lnTo>
                  <a:lnTo>
                    <a:pt x="1058" y="921"/>
                  </a:lnTo>
                  <a:lnTo>
                    <a:pt x="1056" y="921"/>
                  </a:lnTo>
                  <a:lnTo>
                    <a:pt x="1056" y="919"/>
                  </a:lnTo>
                  <a:lnTo>
                    <a:pt x="1058" y="919"/>
                  </a:lnTo>
                  <a:lnTo>
                    <a:pt x="1059" y="918"/>
                  </a:lnTo>
                  <a:lnTo>
                    <a:pt x="1058" y="918"/>
                  </a:lnTo>
                  <a:lnTo>
                    <a:pt x="1056" y="919"/>
                  </a:lnTo>
                  <a:lnTo>
                    <a:pt x="1054" y="918"/>
                  </a:lnTo>
                  <a:lnTo>
                    <a:pt x="1054" y="916"/>
                  </a:lnTo>
                  <a:lnTo>
                    <a:pt x="1054" y="914"/>
                  </a:lnTo>
                  <a:lnTo>
                    <a:pt x="1053" y="914"/>
                  </a:lnTo>
                  <a:lnTo>
                    <a:pt x="1054" y="913"/>
                  </a:lnTo>
                  <a:lnTo>
                    <a:pt x="1054" y="911"/>
                  </a:lnTo>
                  <a:lnTo>
                    <a:pt x="1056" y="913"/>
                  </a:lnTo>
                  <a:lnTo>
                    <a:pt x="1058" y="911"/>
                  </a:lnTo>
                  <a:lnTo>
                    <a:pt x="1056" y="911"/>
                  </a:lnTo>
                  <a:lnTo>
                    <a:pt x="1054" y="911"/>
                  </a:lnTo>
                  <a:lnTo>
                    <a:pt x="1054" y="909"/>
                  </a:lnTo>
                  <a:lnTo>
                    <a:pt x="1054" y="908"/>
                  </a:lnTo>
                  <a:lnTo>
                    <a:pt x="1054" y="906"/>
                  </a:lnTo>
                  <a:lnTo>
                    <a:pt x="1054" y="905"/>
                  </a:lnTo>
                  <a:lnTo>
                    <a:pt x="1053" y="905"/>
                  </a:lnTo>
                  <a:lnTo>
                    <a:pt x="1054" y="903"/>
                  </a:lnTo>
                  <a:lnTo>
                    <a:pt x="1053" y="903"/>
                  </a:lnTo>
                  <a:lnTo>
                    <a:pt x="1053" y="905"/>
                  </a:lnTo>
                  <a:lnTo>
                    <a:pt x="1053" y="906"/>
                  </a:lnTo>
                  <a:lnTo>
                    <a:pt x="1053" y="908"/>
                  </a:lnTo>
                  <a:lnTo>
                    <a:pt x="1053" y="909"/>
                  </a:lnTo>
                  <a:lnTo>
                    <a:pt x="1051" y="913"/>
                  </a:lnTo>
                  <a:lnTo>
                    <a:pt x="1049" y="914"/>
                  </a:lnTo>
                  <a:lnTo>
                    <a:pt x="1048" y="913"/>
                  </a:lnTo>
                  <a:lnTo>
                    <a:pt x="1048" y="911"/>
                  </a:lnTo>
                  <a:lnTo>
                    <a:pt x="1049" y="909"/>
                  </a:lnTo>
                  <a:lnTo>
                    <a:pt x="1049" y="908"/>
                  </a:lnTo>
                  <a:lnTo>
                    <a:pt x="1051" y="908"/>
                  </a:lnTo>
                  <a:lnTo>
                    <a:pt x="1051" y="906"/>
                  </a:lnTo>
                  <a:lnTo>
                    <a:pt x="1051" y="905"/>
                  </a:lnTo>
                  <a:lnTo>
                    <a:pt x="1051" y="903"/>
                  </a:lnTo>
                  <a:lnTo>
                    <a:pt x="1051" y="905"/>
                  </a:lnTo>
                  <a:lnTo>
                    <a:pt x="1049" y="906"/>
                  </a:lnTo>
                  <a:lnTo>
                    <a:pt x="1049" y="908"/>
                  </a:lnTo>
                  <a:lnTo>
                    <a:pt x="1048" y="911"/>
                  </a:lnTo>
                  <a:lnTo>
                    <a:pt x="1046" y="911"/>
                  </a:lnTo>
                  <a:lnTo>
                    <a:pt x="1045" y="911"/>
                  </a:lnTo>
                  <a:lnTo>
                    <a:pt x="1045" y="909"/>
                  </a:lnTo>
                  <a:lnTo>
                    <a:pt x="1043" y="909"/>
                  </a:lnTo>
                  <a:lnTo>
                    <a:pt x="1043" y="908"/>
                  </a:lnTo>
                  <a:lnTo>
                    <a:pt x="1043" y="906"/>
                  </a:lnTo>
                  <a:lnTo>
                    <a:pt x="1043" y="905"/>
                  </a:lnTo>
                  <a:lnTo>
                    <a:pt x="1045" y="905"/>
                  </a:lnTo>
                  <a:lnTo>
                    <a:pt x="1045" y="903"/>
                  </a:lnTo>
                  <a:lnTo>
                    <a:pt x="1043" y="903"/>
                  </a:lnTo>
                  <a:lnTo>
                    <a:pt x="1043" y="905"/>
                  </a:lnTo>
                  <a:lnTo>
                    <a:pt x="1041" y="903"/>
                  </a:lnTo>
                  <a:lnTo>
                    <a:pt x="1041" y="901"/>
                  </a:lnTo>
                  <a:lnTo>
                    <a:pt x="1041" y="900"/>
                  </a:lnTo>
                  <a:lnTo>
                    <a:pt x="1041" y="898"/>
                  </a:lnTo>
                  <a:lnTo>
                    <a:pt x="1041" y="896"/>
                  </a:lnTo>
                  <a:lnTo>
                    <a:pt x="1041" y="898"/>
                  </a:lnTo>
                  <a:lnTo>
                    <a:pt x="1040" y="898"/>
                  </a:lnTo>
                  <a:lnTo>
                    <a:pt x="1041" y="895"/>
                  </a:lnTo>
                  <a:lnTo>
                    <a:pt x="1043" y="893"/>
                  </a:lnTo>
                  <a:lnTo>
                    <a:pt x="1043" y="892"/>
                  </a:lnTo>
                  <a:lnTo>
                    <a:pt x="1043" y="890"/>
                  </a:lnTo>
                  <a:lnTo>
                    <a:pt x="1045" y="887"/>
                  </a:lnTo>
                  <a:lnTo>
                    <a:pt x="1046" y="887"/>
                  </a:lnTo>
                  <a:lnTo>
                    <a:pt x="1046" y="885"/>
                  </a:lnTo>
                  <a:lnTo>
                    <a:pt x="1048" y="883"/>
                  </a:lnTo>
                  <a:lnTo>
                    <a:pt x="1048" y="882"/>
                  </a:lnTo>
                  <a:lnTo>
                    <a:pt x="1049" y="882"/>
                  </a:lnTo>
                  <a:lnTo>
                    <a:pt x="1051" y="882"/>
                  </a:lnTo>
                  <a:lnTo>
                    <a:pt x="1053" y="883"/>
                  </a:lnTo>
                  <a:lnTo>
                    <a:pt x="1054" y="883"/>
                  </a:lnTo>
                  <a:lnTo>
                    <a:pt x="1054" y="885"/>
                  </a:lnTo>
                  <a:lnTo>
                    <a:pt x="1054" y="887"/>
                  </a:lnTo>
                  <a:lnTo>
                    <a:pt x="1056" y="887"/>
                  </a:lnTo>
                  <a:lnTo>
                    <a:pt x="1058" y="887"/>
                  </a:lnTo>
                  <a:lnTo>
                    <a:pt x="1058" y="888"/>
                  </a:lnTo>
                  <a:lnTo>
                    <a:pt x="1056" y="890"/>
                  </a:lnTo>
                  <a:lnTo>
                    <a:pt x="1056" y="892"/>
                  </a:lnTo>
                  <a:lnTo>
                    <a:pt x="1056" y="893"/>
                  </a:lnTo>
                  <a:lnTo>
                    <a:pt x="1056" y="892"/>
                  </a:lnTo>
                  <a:lnTo>
                    <a:pt x="1056" y="890"/>
                  </a:lnTo>
                  <a:lnTo>
                    <a:pt x="1058" y="890"/>
                  </a:lnTo>
                  <a:lnTo>
                    <a:pt x="1058" y="892"/>
                  </a:lnTo>
                  <a:lnTo>
                    <a:pt x="1058" y="890"/>
                  </a:lnTo>
                  <a:lnTo>
                    <a:pt x="1058" y="892"/>
                  </a:lnTo>
                  <a:lnTo>
                    <a:pt x="1058" y="893"/>
                  </a:lnTo>
                  <a:lnTo>
                    <a:pt x="1059" y="893"/>
                  </a:lnTo>
                  <a:lnTo>
                    <a:pt x="1061" y="893"/>
                  </a:lnTo>
                  <a:lnTo>
                    <a:pt x="1061" y="895"/>
                  </a:lnTo>
                  <a:lnTo>
                    <a:pt x="1062" y="893"/>
                  </a:lnTo>
                  <a:lnTo>
                    <a:pt x="1062" y="895"/>
                  </a:lnTo>
                  <a:lnTo>
                    <a:pt x="1064" y="895"/>
                  </a:lnTo>
                  <a:lnTo>
                    <a:pt x="1064" y="896"/>
                  </a:lnTo>
                  <a:lnTo>
                    <a:pt x="1064" y="895"/>
                  </a:lnTo>
                  <a:lnTo>
                    <a:pt x="1066" y="895"/>
                  </a:lnTo>
                  <a:lnTo>
                    <a:pt x="1064" y="895"/>
                  </a:lnTo>
                  <a:lnTo>
                    <a:pt x="1064" y="893"/>
                  </a:lnTo>
                  <a:lnTo>
                    <a:pt x="1064" y="895"/>
                  </a:lnTo>
                  <a:lnTo>
                    <a:pt x="1062" y="893"/>
                  </a:lnTo>
                  <a:lnTo>
                    <a:pt x="1061" y="893"/>
                  </a:lnTo>
                  <a:lnTo>
                    <a:pt x="1059" y="893"/>
                  </a:lnTo>
                  <a:lnTo>
                    <a:pt x="1058" y="893"/>
                  </a:lnTo>
                  <a:lnTo>
                    <a:pt x="1058" y="892"/>
                  </a:lnTo>
                  <a:lnTo>
                    <a:pt x="1058" y="890"/>
                  </a:lnTo>
                  <a:lnTo>
                    <a:pt x="1059" y="890"/>
                  </a:lnTo>
                  <a:lnTo>
                    <a:pt x="1059" y="888"/>
                  </a:lnTo>
                  <a:lnTo>
                    <a:pt x="1059" y="887"/>
                  </a:lnTo>
                  <a:lnTo>
                    <a:pt x="1058" y="887"/>
                  </a:lnTo>
                  <a:lnTo>
                    <a:pt x="1056" y="887"/>
                  </a:lnTo>
                  <a:lnTo>
                    <a:pt x="1056" y="885"/>
                  </a:lnTo>
                  <a:lnTo>
                    <a:pt x="1054" y="883"/>
                  </a:lnTo>
                  <a:lnTo>
                    <a:pt x="1054" y="882"/>
                  </a:lnTo>
                  <a:lnTo>
                    <a:pt x="1053" y="880"/>
                  </a:lnTo>
                  <a:lnTo>
                    <a:pt x="1051" y="880"/>
                  </a:lnTo>
                  <a:lnTo>
                    <a:pt x="1051" y="879"/>
                  </a:lnTo>
                  <a:lnTo>
                    <a:pt x="1053" y="879"/>
                  </a:lnTo>
                  <a:lnTo>
                    <a:pt x="1053" y="877"/>
                  </a:lnTo>
                  <a:lnTo>
                    <a:pt x="1054" y="875"/>
                  </a:lnTo>
                  <a:lnTo>
                    <a:pt x="1054" y="874"/>
                  </a:lnTo>
                  <a:lnTo>
                    <a:pt x="1054" y="872"/>
                  </a:lnTo>
                  <a:lnTo>
                    <a:pt x="1056" y="870"/>
                  </a:lnTo>
                  <a:lnTo>
                    <a:pt x="1058" y="870"/>
                  </a:lnTo>
                  <a:lnTo>
                    <a:pt x="1059" y="870"/>
                  </a:lnTo>
                  <a:lnTo>
                    <a:pt x="1059" y="872"/>
                  </a:lnTo>
                  <a:lnTo>
                    <a:pt x="1059" y="874"/>
                  </a:lnTo>
                  <a:lnTo>
                    <a:pt x="1059" y="875"/>
                  </a:lnTo>
                  <a:lnTo>
                    <a:pt x="1061" y="875"/>
                  </a:lnTo>
                  <a:lnTo>
                    <a:pt x="1061" y="874"/>
                  </a:lnTo>
                  <a:lnTo>
                    <a:pt x="1061" y="875"/>
                  </a:lnTo>
                  <a:lnTo>
                    <a:pt x="1061" y="874"/>
                  </a:lnTo>
                  <a:lnTo>
                    <a:pt x="1061" y="875"/>
                  </a:lnTo>
                  <a:lnTo>
                    <a:pt x="1061" y="874"/>
                  </a:lnTo>
                  <a:lnTo>
                    <a:pt x="1059" y="872"/>
                  </a:lnTo>
                  <a:lnTo>
                    <a:pt x="1059" y="870"/>
                  </a:lnTo>
                  <a:lnTo>
                    <a:pt x="1061" y="872"/>
                  </a:lnTo>
                  <a:lnTo>
                    <a:pt x="1062" y="872"/>
                  </a:lnTo>
                  <a:lnTo>
                    <a:pt x="1061" y="870"/>
                  </a:lnTo>
                  <a:lnTo>
                    <a:pt x="1059" y="869"/>
                  </a:lnTo>
                  <a:lnTo>
                    <a:pt x="1059" y="867"/>
                  </a:lnTo>
                  <a:lnTo>
                    <a:pt x="1059" y="866"/>
                  </a:lnTo>
                  <a:lnTo>
                    <a:pt x="1059" y="867"/>
                  </a:lnTo>
                  <a:lnTo>
                    <a:pt x="1059" y="869"/>
                  </a:lnTo>
                  <a:lnTo>
                    <a:pt x="1058" y="869"/>
                  </a:lnTo>
                  <a:lnTo>
                    <a:pt x="1056" y="869"/>
                  </a:lnTo>
                  <a:lnTo>
                    <a:pt x="1054" y="870"/>
                  </a:lnTo>
                  <a:lnTo>
                    <a:pt x="1054" y="869"/>
                  </a:lnTo>
                  <a:lnTo>
                    <a:pt x="1054" y="867"/>
                  </a:lnTo>
                  <a:lnTo>
                    <a:pt x="1054" y="866"/>
                  </a:lnTo>
                  <a:lnTo>
                    <a:pt x="1056" y="864"/>
                  </a:lnTo>
                  <a:lnTo>
                    <a:pt x="1056" y="866"/>
                  </a:lnTo>
                  <a:lnTo>
                    <a:pt x="1056" y="864"/>
                  </a:lnTo>
                  <a:lnTo>
                    <a:pt x="1056" y="862"/>
                  </a:lnTo>
                  <a:lnTo>
                    <a:pt x="1056" y="861"/>
                  </a:lnTo>
                  <a:lnTo>
                    <a:pt x="1056" y="859"/>
                  </a:lnTo>
                  <a:lnTo>
                    <a:pt x="1056" y="857"/>
                  </a:lnTo>
                  <a:lnTo>
                    <a:pt x="1056" y="856"/>
                  </a:lnTo>
                  <a:lnTo>
                    <a:pt x="1058" y="856"/>
                  </a:lnTo>
                  <a:lnTo>
                    <a:pt x="1058" y="854"/>
                  </a:lnTo>
                  <a:lnTo>
                    <a:pt x="1059" y="853"/>
                  </a:lnTo>
                  <a:lnTo>
                    <a:pt x="1061" y="853"/>
                  </a:lnTo>
                  <a:lnTo>
                    <a:pt x="1061" y="854"/>
                  </a:lnTo>
                  <a:lnTo>
                    <a:pt x="1061" y="853"/>
                  </a:lnTo>
                  <a:lnTo>
                    <a:pt x="1061" y="851"/>
                  </a:lnTo>
                  <a:lnTo>
                    <a:pt x="1061" y="853"/>
                  </a:lnTo>
                  <a:lnTo>
                    <a:pt x="1062" y="851"/>
                  </a:lnTo>
                  <a:lnTo>
                    <a:pt x="1064" y="849"/>
                  </a:lnTo>
                  <a:lnTo>
                    <a:pt x="1066" y="848"/>
                  </a:lnTo>
                  <a:lnTo>
                    <a:pt x="1067" y="848"/>
                  </a:lnTo>
                  <a:lnTo>
                    <a:pt x="1067" y="846"/>
                  </a:lnTo>
                  <a:lnTo>
                    <a:pt x="1067" y="848"/>
                  </a:lnTo>
                  <a:lnTo>
                    <a:pt x="1069" y="846"/>
                  </a:lnTo>
                  <a:lnTo>
                    <a:pt x="1069" y="848"/>
                  </a:lnTo>
                  <a:lnTo>
                    <a:pt x="1069" y="849"/>
                  </a:lnTo>
                  <a:lnTo>
                    <a:pt x="1071" y="848"/>
                  </a:lnTo>
                  <a:lnTo>
                    <a:pt x="1071" y="849"/>
                  </a:lnTo>
                  <a:lnTo>
                    <a:pt x="1072" y="849"/>
                  </a:lnTo>
                  <a:lnTo>
                    <a:pt x="1072" y="851"/>
                  </a:lnTo>
                  <a:lnTo>
                    <a:pt x="1074" y="851"/>
                  </a:lnTo>
                  <a:lnTo>
                    <a:pt x="1074" y="853"/>
                  </a:lnTo>
                  <a:lnTo>
                    <a:pt x="1074" y="854"/>
                  </a:lnTo>
                  <a:lnTo>
                    <a:pt x="1074" y="853"/>
                  </a:lnTo>
                  <a:lnTo>
                    <a:pt x="1074" y="854"/>
                  </a:lnTo>
                  <a:lnTo>
                    <a:pt x="1075" y="854"/>
                  </a:lnTo>
                  <a:lnTo>
                    <a:pt x="1075" y="853"/>
                  </a:lnTo>
                  <a:lnTo>
                    <a:pt x="1077" y="853"/>
                  </a:lnTo>
                  <a:lnTo>
                    <a:pt x="1079" y="854"/>
                  </a:lnTo>
                  <a:lnTo>
                    <a:pt x="1080" y="854"/>
                  </a:lnTo>
                  <a:lnTo>
                    <a:pt x="1080" y="856"/>
                  </a:lnTo>
                  <a:lnTo>
                    <a:pt x="1080" y="857"/>
                  </a:lnTo>
                  <a:lnTo>
                    <a:pt x="1082" y="857"/>
                  </a:lnTo>
                  <a:lnTo>
                    <a:pt x="1082" y="859"/>
                  </a:lnTo>
                  <a:lnTo>
                    <a:pt x="1084" y="859"/>
                  </a:lnTo>
                  <a:lnTo>
                    <a:pt x="1084" y="857"/>
                  </a:lnTo>
                  <a:lnTo>
                    <a:pt x="1085" y="857"/>
                  </a:lnTo>
                  <a:lnTo>
                    <a:pt x="1085" y="859"/>
                  </a:lnTo>
                  <a:lnTo>
                    <a:pt x="1085" y="861"/>
                  </a:lnTo>
                  <a:lnTo>
                    <a:pt x="1087" y="862"/>
                  </a:lnTo>
                  <a:lnTo>
                    <a:pt x="1087" y="864"/>
                  </a:lnTo>
                  <a:lnTo>
                    <a:pt x="1088" y="864"/>
                  </a:lnTo>
                  <a:lnTo>
                    <a:pt x="1088" y="866"/>
                  </a:lnTo>
                  <a:lnTo>
                    <a:pt x="1088" y="867"/>
                  </a:lnTo>
                  <a:lnTo>
                    <a:pt x="1088" y="866"/>
                  </a:lnTo>
                  <a:lnTo>
                    <a:pt x="1090" y="867"/>
                  </a:lnTo>
                  <a:lnTo>
                    <a:pt x="1090" y="869"/>
                  </a:lnTo>
                  <a:lnTo>
                    <a:pt x="1090" y="870"/>
                  </a:lnTo>
                  <a:lnTo>
                    <a:pt x="1092" y="872"/>
                  </a:lnTo>
                  <a:lnTo>
                    <a:pt x="1092" y="874"/>
                  </a:lnTo>
                  <a:lnTo>
                    <a:pt x="1092" y="872"/>
                  </a:lnTo>
                  <a:lnTo>
                    <a:pt x="1092" y="874"/>
                  </a:lnTo>
                  <a:lnTo>
                    <a:pt x="1092" y="875"/>
                  </a:lnTo>
                  <a:lnTo>
                    <a:pt x="1092" y="877"/>
                  </a:lnTo>
                  <a:lnTo>
                    <a:pt x="1092" y="875"/>
                  </a:lnTo>
                  <a:lnTo>
                    <a:pt x="1092" y="874"/>
                  </a:lnTo>
                  <a:lnTo>
                    <a:pt x="1092" y="872"/>
                  </a:lnTo>
                  <a:lnTo>
                    <a:pt x="1090" y="872"/>
                  </a:lnTo>
                  <a:lnTo>
                    <a:pt x="1090" y="870"/>
                  </a:lnTo>
                  <a:lnTo>
                    <a:pt x="1090" y="869"/>
                  </a:lnTo>
                  <a:lnTo>
                    <a:pt x="1090" y="867"/>
                  </a:lnTo>
                  <a:lnTo>
                    <a:pt x="1090" y="866"/>
                  </a:lnTo>
                  <a:lnTo>
                    <a:pt x="1088" y="866"/>
                  </a:lnTo>
                  <a:lnTo>
                    <a:pt x="1088" y="864"/>
                  </a:lnTo>
                  <a:lnTo>
                    <a:pt x="1088" y="862"/>
                  </a:lnTo>
                  <a:lnTo>
                    <a:pt x="1088" y="861"/>
                  </a:lnTo>
                  <a:lnTo>
                    <a:pt x="1087" y="861"/>
                  </a:lnTo>
                  <a:lnTo>
                    <a:pt x="1087" y="859"/>
                  </a:lnTo>
                  <a:lnTo>
                    <a:pt x="1087" y="857"/>
                  </a:lnTo>
                  <a:lnTo>
                    <a:pt x="1087" y="856"/>
                  </a:lnTo>
                  <a:lnTo>
                    <a:pt x="1087" y="854"/>
                  </a:lnTo>
                  <a:lnTo>
                    <a:pt x="1085" y="854"/>
                  </a:lnTo>
                  <a:lnTo>
                    <a:pt x="1085" y="853"/>
                  </a:lnTo>
                  <a:lnTo>
                    <a:pt x="1085" y="851"/>
                  </a:lnTo>
                  <a:lnTo>
                    <a:pt x="1085" y="849"/>
                  </a:lnTo>
                  <a:lnTo>
                    <a:pt x="1084" y="851"/>
                  </a:lnTo>
                  <a:lnTo>
                    <a:pt x="1084" y="853"/>
                  </a:lnTo>
                  <a:lnTo>
                    <a:pt x="1082" y="853"/>
                  </a:lnTo>
                  <a:lnTo>
                    <a:pt x="1080" y="853"/>
                  </a:lnTo>
                  <a:lnTo>
                    <a:pt x="1080" y="851"/>
                  </a:lnTo>
                  <a:lnTo>
                    <a:pt x="1080" y="849"/>
                  </a:lnTo>
                  <a:lnTo>
                    <a:pt x="1079" y="851"/>
                  </a:lnTo>
                  <a:lnTo>
                    <a:pt x="1077" y="851"/>
                  </a:lnTo>
                  <a:lnTo>
                    <a:pt x="1075" y="851"/>
                  </a:lnTo>
                  <a:lnTo>
                    <a:pt x="1075" y="849"/>
                  </a:lnTo>
                  <a:lnTo>
                    <a:pt x="1074" y="848"/>
                  </a:lnTo>
                  <a:lnTo>
                    <a:pt x="1072" y="848"/>
                  </a:lnTo>
                  <a:lnTo>
                    <a:pt x="1071" y="848"/>
                  </a:lnTo>
                  <a:lnTo>
                    <a:pt x="1071" y="846"/>
                  </a:lnTo>
                  <a:lnTo>
                    <a:pt x="1071" y="844"/>
                  </a:lnTo>
                  <a:lnTo>
                    <a:pt x="1072" y="844"/>
                  </a:lnTo>
                  <a:lnTo>
                    <a:pt x="1072" y="843"/>
                  </a:lnTo>
                  <a:lnTo>
                    <a:pt x="1074" y="843"/>
                  </a:lnTo>
                  <a:lnTo>
                    <a:pt x="1074" y="841"/>
                  </a:lnTo>
                  <a:lnTo>
                    <a:pt x="1074" y="840"/>
                  </a:lnTo>
                  <a:lnTo>
                    <a:pt x="1072" y="840"/>
                  </a:lnTo>
                  <a:lnTo>
                    <a:pt x="1072" y="838"/>
                  </a:lnTo>
                  <a:lnTo>
                    <a:pt x="1074" y="838"/>
                  </a:lnTo>
                  <a:lnTo>
                    <a:pt x="1074" y="836"/>
                  </a:lnTo>
                  <a:lnTo>
                    <a:pt x="1075" y="835"/>
                  </a:lnTo>
                  <a:lnTo>
                    <a:pt x="1077" y="835"/>
                  </a:lnTo>
                  <a:lnTo>
                    <a:pt x="1077" y="833"/>
                  </a:lnTo>
                  <a:lnTo>
                    <a:pt x="1079" y="833"/>
                  </a:lnTo>
                  <a:lnTo>
                    <a:pt x="1079" y="831"/>
                  </a:lnTo>
                  <a:lnTo>
                    <a:pt x="1077" y="833"/>
                  </a:lnTo>
                  <a:lnTo>
                    <a:pt x="1077" y="831"/>
                  </a:lnTo>
                  <a:lnTo>
                    <a:pt x="1075" y="833"/>
                  </a:lnTo>
                  <a:lnTo>
                    <a:pt x="1074" y="833"/>
                  </a:lnTo>
                  <a:lnTo>
                    <a:pt x="1074" y="835"/>
                  </a:lnTo>
                  <a:lnTo>
                    <a:pt x="1072" y="835"/>
                  </a:lnTo>
                  <a:lnTo>
                    <a:pt x="1071" y="835"/>
                  </a:lnTo>
                  <a:lnTo>
                    <a:pt x="1071" y="836"/>
                  </a:lnTo>
                  <a:lnTo>
                    <a:pt x="1069" y="836"/>
                  </a:lnTo>
                  <a:lnTo>
                    <a:pt x="1067" y="836"/>
                  </a:lnTo>
                  <a:lnTo>
                    <a:pt x="1066" y="836"/>
                  </a:lnTo>
                  <a:lnTo>
                    <a:pt x="1064" y="836"/>
                  </a:lnTo>
                  <a:lnTo>
                    <a:pt x="1062" y="836"/>
                  </a:lnTo>
                  <a:lnTo>
                    <a:pt x="1059" y="838"/>
                  </a:lnTo>
                  <a:lnTo>
                    <a:pt x="1058" y="838"/>
                  </a:lnTo>
                  <a:lnTo>
                    <a:pt x="1058" y="840"/>
                  </a:lnTo>
                  <a:lnTo>
                    <a:pt x="1056" y="840"/>
                  </a:lnTo>
                  <a:lnTo>
                    <a:pt x="1056" y="838"/>
                  </a:lnTo>
                  <a:lnTo>
                    <a:pt x="1058" y="838"/>
                  </a:lnTo>
                  <a:lnTo>
                    <a:pt x="1056" y="838"/>
                  </a:lnTo>
                  <a:lnTo>
                    <a:pt x="1058" y="838"/>
                  </a:lnTo>
                  <a:lnTo>
                    <a:pt x="1061" y="836"/>
                  </a:lnTo>
                  <a:lnTo>
                    <a:pt x="1066" y="833"/>
                  </a:lnTo>
                  <a:lnTo>
                    <a:pt x="1064" y="835"/>
                  </a:lnTo>
                  <a:lnTo>
                    <a:pt x="1062" y="835"/>
                  </a:lnTo>
                  <a:lnTo>
                    <a:pt x="1061" y="835"/>
                  </a:lnTo>
                  <a:lnTo>
                    <a:pt x="1058" y="836"/>
                  </a:lnTo>
                  <a:lnTo>
                    <a:pt x="1056" y="838"/>
                  </a:lnTo>
                  <a:lnTo>
                    <a:pt x="1058" y="836"/>
                  </a:lnTo>
                  <a:lnTo>
                    <a:pt x="1059" y="836"/>
                  </a:lnTo>
                  <a:lnTo>
                    <a:pt x="1061" y="835"/>
                  </a:lnTo>
                  <a:lnTo>
                    <a:pt x="1059" y="835"/>
                  </a:lnTo>
                  <a:lnTo>
                    <a:pt x="1058" y="835"/>
                  </a:lnTo>
                  <a:lnTo>
                    <a:pt x="1058" y="833"/>
                  </a:lnTo>
                  <a:lnTo>
                    <a:pt x="1058" y="831"/>
                  </a:lnTo>
                  <a:lnTo>
                    <a:pt x="1059" y="831"/>
                  </a:lnTo>
                  <a:lnTo>
                    <a:pt x="1061" y="830"/>
                  </a:lnTo>
                  <a:lnTo>
                    <a:pt x="1061" y="828"/>
                  </a:lnTo>
                  <a:lnTo>
                    <a:pt x="1062" y="828"/>
                  </a:lnTo>
                  <a:lnTo>
                    <a:pt x="1064" y="827"/>
                  </a:lnTo>
                  <a:lnTo>
                    <a:pt x="1066" y="827"/>
                  </a:lnTo>
                  <a:lnTo>
                    <a:pt x="1066" y="825"/>
                  </a:lnTo>
                  <a:lnTo>
                    <a:pt x="1067" y="825"/>
                  </a:lnTo>
                  <a:lnTo>
                    <a:pt x="1067" y="823"/>
                  </a:lnTo>
                  <a:lnTo>
                    <a:pt x="1069" y="823"/>
                  </a:lnTo>
                  <a:lnTo>
                    <a:pt x="1071" y="823"/>
                  </a:lnTo>
                  <a:lnTo>
                    <a:pt x="1072" y="822"/>
                  </a:lnTo>
                  <a:lnTo>
                    <a:pt x="1075" y="822"/>
                  </a:lnTo>
                  <a:lnTo>
                    <a:pt x="1074" y="822"/>
                  </a:lnTo>
                  <a:lnTo>
                    <a:pt x="1075" y="822"/>
                  </a:lnTo>
                  <a:lnTo>
                    <a:pt x="1077" y="820"/>
                  </a:lnTo>
                  <a:lnTo>
                    <a:pt x="1079" y="820"/>
                  </a:lnTo>
                  <a:lnTo>
                    <a:pt x="1080" y="820"/>
                  </a:lnTo>
                  <a:lnTo>
                    <a:pt x="1079" y="822"/>
                  </a:lnTo>
                  <a:lnTo>
                    <a:pt x="1080" y="822"/>
                  </a:lnTo>
                  <a:lnTo>
                    <a:pt x="1082" y="820"/>
                  </a:lnTo>
                  <a:lnTo>
                    <a:pt x="1080" y="820"/>
                  </a:lnTo>
                  <a:lnTo>
                    <a:pt x="1082" y="818"/>
                  </a:lnTo>
                  <a:lnTo>
                    <a:pt x="1085" y="818"/>
                  </a:lnTo>
                  <a:lnTo>
                    <a:pt x="1085" y="817"/>
                  </a:lnTo>
                  <a:lnTo>
                    <a:pt x="1087" y="817"/>
                  </a:lnTo>
                  <a:lnTo>
                    <a:pt x="1088" y="815"/>
                  </a:lnTo>
                  <a:lnTo>
                    <a:pt x="1090" y="815"/>
                  </a:lnTo>
                  <a:lnTo>
                    <a:pt x="1088" y="815"/>
                  </a:lnTo>
                  <a:lnTo>
                    <a:pt x="1088" y="814"/>
                  </a:lnTo>
                  <a:lnTo>
                    <a:pt x="1090" y="812"/>
                  </a:lnTo>
                  <a:lnTo>
                    <a:pt x="1092" y="810"/>
                  </a:lnTo>
                  <a:lnTo>
                    <a:pt x="1093" y="810"/>
                  </a:lnTo>
                  <a:lnTo>
                    <a:pt x="1095" y="809"/>
                  </a:lnTo>
                  <a:lnTo>
                    <a:pt x="1097" y="810"/>
                  </a:lnTo>
                  <a:lnTo>
                    <a:pt x="1098" y="810"/>
                  </a:lnTo>
                  <a:lnTo>
                    <a:pt x="1100" y="809"/>
                  </a:lnTo>
                  <a:lnTo>
                    <a:pt x="1101" y="809"/>
                  </a:lnTo>
                  <a:lnTo>
                    <a:pt x="1105" y="809"/>
                  </a:lnTo>
                  <a:lnTo>
                    <a:pt x="1105" y="807"/>
                  </a:lnTo>
                  <a:lnTo>
                    <a:pt x="1106" y="807"/>
                  </a:lnTo>
                  <a:lnTo>
                    <a:pt x="1108" y="809"/>
                  </a:lnTo>
                  <a:lnTo>
                    <a:pt x="1108" y="807"/>
                  </a:lnTo>
                  <a:lnTo>
                    <a:pt x="1110" y="807"/>
                  </a:lnTo>
                  <a:lnTo>
                    <a:pt x="1110" y="809"/>
                  </a:lnTo>
                  <a:lnTo>
                    <a:pt x="1108" y="809"/>
                  </a:lnTo>
                  <a:lnTo>
                    <a:pt x="1110" y="809"/>
                  </a:lnTo>
                  <a:lnTo>
                    <a:pt x="1110" y="810"/>
                  </a:lnTo>
                  <a:lnTo>
                    <a:pt x="1108" y="812"/>
                  </a:lnTo>
                  <a:lnTo>
                    <a:pt x="1106" y="812"/>
                  </a:lnTo>
                  <a:lnTo>
                    <a:pt x="1106" y="814"/>
                  </a:lnTo>
                  <a:lnTo>
                    <a:pt x="1105" y="814"/>
                  </a:lnTo>
                  <a:lnTo>
                    <a:pt x="1103" y="814"/>
                  </a:lnTo>
                  <a:lnTo>
                    <a:pt x="1105" y="814"/>
                  </a:lnTo>
                  <a:lnTo>
                    <a:pt x="1106" y="814"/>
                  </a:lnTo>
                  <a:lnTo>
                    <a:pt x="1108" y="814"/>
                  </a:lnTo>
                  <a:lnTo>
                    <a:pt x="1108" y="812"/>
                  </a:lnTo>
                  <a:lnTo>
                    <a:pt x="1108" y="814"/>
                  </a:lnTo>
                  <a:lnTo>
                    <a:pt x="1110" y="812"/>
                  </a:lnTo>
                  <a:lnTo>
                    <a:pt x="1110" y="814"/>
                  </a:lnTo>
                  <a:lnTo>
                    <a:pt x="1111" y="812"/>
                  </a:lnTo>
                  <a:lnTo>
                    <a:pt x="1110" y="815"/>
                  </a:lnTo>
                  <a:lnTo>
                    <a:pt x="1110" y="817"/>
                  </a:lnTo>
                  <a:lnTo>
                    <a:pt x="1110" y="818"/>
                  </a:lnTo>
                  <a:lnTo>
                    <a:pt x="1108" y="818"/>
                  </a:lnTo>
                  <a:lnTo>
                    <a:pt x="1108" y="820"/>
                  </a:lnTo>
                  <a:lnTo>
                    <a:pt x="1108" y="822"/>
                  </a:lnTo>
                  <a:lnTo>
                    <a:pt x="1108" y="823"/>
                  </a:lnTo>
                  <a:lnTo>
                    <a:pt x="1108" y="825"/>
                  </a:lnTo>
                  <a:lnTo>
                    <a:pt x="1108" y="827"/>
                  </a:lnTo>
                  <a:lnTo>
                    <a:pt x="1108" y="825"/>
                  </a:lnTo>
                  <a:lnTo>
                    <a:pt x="1110" y="823"/>
                  </a:lnTo>
                  <a:lnTo>
                    <a:pt x="1110" y="822"/>
                  </a:lnTo>
                  <a:lnTo>
                    <a:pt x="1111" y="820"/>
                  </a:lnTo>
                  <a:lnTo>
                    <a:pt x="1111" y="818"/>
                  </a:lnTo>
                  <a:lnTo>
                    <a:pt x="1113" y="818"/>
                  </a:lnTo>
                  <a:lnTo>
                    <a:pt x="1115" y="818"/>
                  </a:lnTo>
                  <a:lnTo>
                    <a:pt x="1116" y="818"/>
                  </a:lnTo>
                  <a:lnTo>
                    <a:pt x="1118" y="817"/>
                  </a:lnTo>
                  <a:lnTo>
                    <a:pt x="1119" y="817"/>
                  </a:lnTo>
                  <a:lnTo>
                    <a:pt x="1119" y="815"/>
                  </a:lnTo>
                  <a:lnTo>
                    <a:pt x="1119" y="817"/>
                  </a:lnTo>
                  <a:lnTo>
                    <a:pt x="1121" y="817"/>
                  </a:lnTo>
                  <a:lnTo>
                    <a:pt x="1121" y="818"/>
                  </a:lnTo>
                  <a:lnTo>
                    <a:pt x="1123" y="817"/>
                  </a:lnTo>
                  <a:lnTo>
                    <a:pt x="1121" y="818"/>
                  </a:lnTo>
                  <a:lnTo>
                    <a:pt x="1123" y="820"/>
                  </a:lnTo>
                  <a:lnTo>
                    <a:pt x="1123" y="822"/>
                  </a:lnTo>
                  <a:lnTo>
                    <a:pt x="1123" y="823"/>
                  </a:lnTo>
                  <a:lnTo>
                    <a:pt x="1123" y="825"/>
                  </a:lnTo>
                  <a:lnTo>
                    <a:pt x="1123" y="823"/>
                  </a:lnTo>
                  <a:lnTo>
                    <a:pt x="1123" y="822"/>
                  </a:lnTo>
                  <a:lnTo>
                    <a:pt x="1123" y="820"/>
                  </a:lnTo>
                  <a:lnTo>
                    <a:pt x="1123" y="818"/>
                  </a:lnTo>
                  <a:lnTo>
                    <a:pt x="1121" y="818"/>
                  </a:lnTo>
                  <a:lnTo>
                    <a:pt x="1123" y="818"/>
                  </a:lnTo>
                  <a:lnTo>
                    <a:pt x="1123" y="820"/>
                  </a:lnTo>
                  <a:lnTo>
                    <a:pt x="1124" y="820"/>
                  </a:lnTo>
                  <a:lnTo>
                    <a:pt x="1124" y="818"/>
                  </a:lnTo>
                  <a:lnTo>
                    <a:pt x="1124" y="817"/>
                  </a:lnTo>
                  <a:lnTo>
                    <a:pt x="1124" y="815"/>
                  </a:lnTo>
                  <a:lnTo>
                    <a:pt x="1123" y="815"/>
                  </a:lnTo>
                  <a:lnTo>
                    <a:pt x="1121" y="814"/>
                  </a:lnTo>
                  <a:lnTo>
                    <a:pt x="1119" y="814"/>
                  </a:lnTo>
                  <a:lnTo>
                    <a:pt x="1118" y="815"/>
                  </a:lnTo>
                  <a:lnTo>
                    <a:pt x="1116" y="815"/>
                  </a:lnTo>
                  <a:lnTo>
                    <a:pt x="1115" y="815"/>
                  </a:lnTo>
                  <a:lnTo>
                    <a:pt x="1115" y="814"/>
                  </a:lnTo>
                  <a:lnTo>
                    <a:pt x="1113" y="814"/>
                  </a:lnTo>
                  <a:lnTo>
                    <a:pt x="1113" y="815"/>
                  </a:lnTo>
                  <a:lnTo>
                    <a:pt x="1111" y="815"/>
                  </a:lnTo>
                  <a:lnTo>
                    <a:pt x="1111" y="814"/>
                  </a:lnTo>
                  <a:lnTo>
                    <a:pt x="1113" y="812"/>
                  </a:lnTo>
                  <a:lnTo>
                    <a:pt x="1113" y="810"/>
                  </a:lnTo>
                  <a:lnTo>
                    <a:pt x="1111" y="810"/>
                  </a:lnTo>
                  <a:lnTo>
                    <a:pt x="1113" y="810"/>
                  </a:lnTo>
                  <a:lnTo>
                    <a:pt x="1113" y="809"/>
                  </a:lnTo>
                  <a:lnTo>
                    <a:pt x="1111" y="810"/>
                  </a:lnTo>
                  <a:lnTo>
                    <a:pt x="1110" y="809"/>
                  </a:lnTo>
                  <a:lnTo>
                    <a:pt x="1111" y="809"/>
                  </a:lnTo>
                  <a:lnTo>
                    <a:pt x="1113" y="809"/>
                  </a:lnTo>
                  <a:lnTo>
                    <a:pt x="1113" y="807"/>
                  </a:lnTo>
                  <a:lnTo>
                    <a:pt x="1113" y="809"/>
                  </a:lnTo>
                  <a:lnTo>
                    <a:pt x="1115" y="809"/>
                  </a:lnTo>
                  <a:lnTo>
                    <a:pt x="1115" y="807"/>
                  </a:lnTo>
                  <a:lnTo>
                    <a:pt x="1116" y="807"/>
                  </a:lnTo>
                  <a:lnTo>
                    <a:pt x="1118" y="805"/>
                  </a:lnTo>
                  <a:lnTo>
                    <a:pt x="1119" y="805"/>
                  </a:lnTo>
                  <a:lnTo>
                    <a:pt x="1121" y="805"/>
                  </a:lnTo>
                  <a:lnTo>
                    <a:pt x="1123" y="807"/>
                  </a:lnTo>
                  <a:lnTo>
                    <a:pt x="1123" y="809"/>
                  </a:lnTo>
                  <a:lnTo>
                    <a:pt x="1121" y="810"/>
                  </a:lnTo>
                  <a:lnTo>
                    <a:pt x="1121" y="812"/>
                  </a:lnTo>
                  <a:lnTo>
                    <a:pt x="1119" y="814"/>
                  </a:lnTo>
                  <a:lnTo>
                    <a:pt x="1121" y="814"/>
                  </a:lnTo>
                  <a:lnTo>
                    <a:pt x="1121" y="812"/>
                  </a:lnTo>
                  <a:lnTo>
                    <a:pt x="1123" y="810"/>
                  </a:lnTo>
                  <a:lnTo>
                    <a:pt x="1124" y="810"/>
                  </a:lnTo>
                  <a:lnTo>
                    <a:pt x="1124" y="809"/>
                  </a:lnTo>
                  <a:lnTo>
                    <a:pt x="1124" y="807"/>
                  </a:lnTo>
                  <a:lnTo>
                    <a:pt x="1126" y="807"/>
                  </a:lnTo>
                  <a:lnTo>
                    <a:pt x="1128" y="807"/>
                  </a:lnTo>
                  <a:lnTo>
                    <a:pt x="1129" y="807"/>
                  </a:lnTo>
                  <a:lnTo>
                    <a:pt x="1129" y="805"/>
                  </a:lnTo>
                  <a:lnTo>
                    <a:pt x="1131" y="805"/>
                  </a:lnTo>
                  <a:lnTo>
                    <a:pt x="1131" y="804"/>
                  </a:lnTo>
                  <a:lnTo>
                    <a:pt x="1132" y="804"/>
                  </a:lnTo>
                  <a:lnTo>
                    <a:pt x="1131" y="804"/>
                  </a:lnTo>
                  <a:lnTo>
                    <a:pt x="1131" y="802"/>
                  </a:lnTo>
                  <a:lnTo>
                    <a:pt x="1132" y="802"/>
                  </a:lnTo>
                  <a:lnTo>
                    <a:pt x="1132" y="800"/>
                  </a:lnTo>
                  <a:lnTo>
                    <a:pt x="1134" y="800"/>
                  </a:lnTo>
                  <a:lnTo>
                    <a:pt x="1136" y="800"/>
                  </a:lnTo>
                  <a:lnTo>
                    <a:pt x="1136" y="799"/>
                  </a:lnTo>
                  <a:lnTo>
                    <a:pt x="1137" y="799"/>
                  </a:lnTo>
                  <a:lnTo>
                    <a:pt x="1137" y="797"/>
                  </a:lnTo>
                  <a:lnTo>
                    <a:pt x="1139" y="797"/>
                  </a:lnTo>
                  <a:lnTo>
                    <a:pt x="1139" y="796"/>
                  </a:lnTo>
                  <a:lnTo>
                    <a:pt x="1141" y="796"/>
                  </a:lnTo>
                  <a:lnTo>
                    <a:pt x="1141" y="794"/>
                  </a:lnTo>
                  <a:lnTo>
                    <a:pt x="1141" y="792"/>
                  </a:lnTo>
                  <a:lnTo>
                    <a:pt x="1141" y="791"/>
                  </a:lnTo>
                  <a:lnTo>
                    <a:pt x="1142" y="792"/>
                  </a:lnTo>
                  <a:lnTo>
                    <a:pt x="1142" y="794"/>
                  </a:lnTo>
                  <a:lnTo>
                    <a:pt x="1144" y="792"/>
                  </a:lnTo>
                  <a:lnTo>
                    <a:pt x="1142" y="792"/>
                  </a:lnTo>
                  <a:lnTo>
                    <a:pt x="1142" y="791"/>
                  </a:lnTo>
                  <a:lnTo>
                    <a:pt x="1141" y="791"/>
                  </a:lnTo>
                  <a:lnTo>
                    <a:pt x="1139" y="791"/>
                  </a:lnTo>
                  <a:lnTo>
                    <a:pt x="1139" y="792"/>
                  </a:lnTo>
                  <a:lnTo>
                    <a:pt x="1137" y="792"/>
                  </a:lnTo>
                  <a:lnTo>
                    <a:pt x="1137" y="794"/>
                  </a:lnTo>
                  <a:lnTo>
                    <a:pt x="1134" y="796"/>
                  </a:lnTo>
                  <a:lnTo>
                    <a:pt x="1132" y="796"/>
                  </a:lnTo>
                  <a:lnTo>
                    <a:pt x="1131" y="796"/>
                  </a:lnTo>
                  <a:lnTo>
                    <a:pt x="1131" y="797"/>
                  </a:lnTo>
                  <a:lnTo>
                    <a:pt x="1131" y="796"/>
                  </a:lnTo>
                  <a:lnTo>
                    <a:pt x="1129" y="797"/>
                  </a:lnTo>
                  <a:lnTo>
                    <a:pt x="1128" y="797"/>
                  </a:lnTo>
                  <a:lnTo>
                    <a:pt x="1128" y="799"/>
                  </a:lnTo>
                  <a:lnTo>
                    <a:pt x="1128" y="800"/>
                  </a:lnTo>
                  <a:lnTo>
                    <a:pt x="1128" y="802"/>
                  </a:lnTo>
                  <a:lnTo>
                    <a:pt x="1126" y="802"/>
                  </a:lnTo>
                  <a:lnTo>
                    <a:pt x="1126" y="800"/>
                  </a:lnTo>
                  <a:lnTo>
                    <a:pt x="1124" y="802"/>
                  </a:lnTo>
                  <a:lnTo>
                    <a:pt x="1123" y="802"/>
                  </a:lnTo>
                  <a:lnTo>
                    <a:pt x="1123" y="800"/>
                  </a:lnTo>
                  <a:lnTo>
                    <a:pt x="1121" y="802"/>
                  </a:lnTo>
                  <a:lnTo>
                    <a:pt x="1119" y="802"/>
                  </a:lnTo>
                  <a:lnTo>
                    <a:pt x="1119" y="804"/>
                  </a:lnTo>
                  <a:lnTo>
                    <a:pt x="1118" y="804"/>
                  </a:lnTo>
                  <a:lnTo>
                    <a:pt x="1119" y="804"/>
                  </a:lnTo>
                  <a:lnTo>
                    <a:pt x="1118" y="804"/>
                  </a:lnTo>
                  <a:lnTo>
                    <a:pt x="1118" y="802"/>
                  </a:lnTo>
                  <a:lnTo>
                    <a:pt x="1119" y="800"/>
                  </a:lnTo>
                  <a:lnTo>
                    <a:pt x="1119" y="799"/>
                  </a:lnTo>
                  <a:lnTo>
                    <a:pt x="1118" y="799"/>
                  </a:lnTo>
                  <a:lnTo>
                    <a:pt x="1119" y="799"/>
                  </a:lnTo>
                  <a:lnTo>
                    <a:pt x="1119" y="800"/>
                  </a:lnTo>
                  <a:lnTo>
                    <a:pt x="1118" y="802"/>
                  </a:lnTo>
                  <a:lnTo>
                    <a:pt x="1116" y="802"/>
                  </a:lnTo>
                  <a:lnTo>
                    <a:pt x="1118" y="802"/>
                  </a:lnTo>
                  <a:lnTo>
                    <a:pt x="1118" y="804"/>
                  </a:lnTo>
                  <a:lnTo>
                    <a:pt x="1116" y="804"/>
                  </a:lnTo>
                  <a:lnTo>
                    <a:pt x="1115" y="805"/>
                  </a:lnTo>
                  <a:lnTo>
                    <a:pt x="1113" y="807"/>
                  </a:lnTo>
                  <a:lnTo>
                    <a:pt x="1111" y="807"/>
                  </a:lnTo>
                  <a:lnTo>
                    <a:pt x="1110" y="807"/>
                  </a:lnTo>
                  <a:lnTo>
                    <a:pt x="1110" y="805"/>
                  </a:lnTo>
                  <a:lnTo>
                    <a:pt x="1108" y="805"/>
                  </a:lnTo>
                  <a:lnTo>
                    <a:pt x="1108" y="804"/>
                  </a:lnTo>
                  <a:lnTo>
                    <a:pt x="1110" y="802"/>
                  </a:lnTo>
                  <a:lnTo>
                    <a:pt x="1111" y="800"/>
                  </a:lnTo>
                  <a:lnTo>
                    <a:pt x="1110" y="800"/>
                  </a:lnTo>
                  <a:lnTo>
                    <a:pt x="1110" y="799"/>
                  </a:lnTo>
                  <a:lnTo>
                    <a:pt x="1108" y="800"/>
                  </a:lnTo>
                  <a:lnTo>
                    <a:pt x="1108" y="802"/>
                  </a:lnTo>
                  <a:lnTo>
                    <a:pt x="1105" y="804"/>
                  </a:lnTo>
                  <a:lnTo>
                    <a:pt x="1103" y="805"/>
                  </a:lnTo>
                  <a:lnTo>
                    <a:pt x="1101" y="807"/>
                  </a:lnTo>
                  <a:lnTo>
                    <a:pt x="1100" y="807"/>
                  </a:lnTo>
                  <a:lnTo>
                    <a:pt x="1098" y="809"/>
                  </a:lnTo>
                  <a:lnTo>
                    <a:pt x="1097" y="807"/>
                  </a:lnTo>
                  <a:lnTo>
                    <a:pt x="1095" y="805"/>
                  </a:lnTo>
                  <a:lnTo>
                    <a:pt x="1093" y="807"/>
                  </a:lnTo>
                  <a:lnTo>
                    <a:pt x="1092" y="809"/>
                  </a:lnTo>
                  <a:lnTo>
                    <a:pt x="1090" y="809"/>
                  </a:lnTo>
                  <a:lnTo>
                    <a:pt x="1090" y="810"/>
                  </a:lnTo>
                  <a:lnTo>
                    <a:pt x="1088" y="810"/>
                  </a:lnTo>
                  <a:lnTo>
                    <a:pt x="1088" y="812"/>
                  </a:lnTo>
                  <a:lnTo>
                    <a:pt x="1087" y="812"/>
                  </a:lnTo>
                  <a:lnTo>
                    <a:pt x="1087" y="814"/>
                  </a:lnTo>
                  <a:lnTo>
                    <a:pt x="1085" y="815"/>
                  </a:lnTo>
                  <a:lnTo>
                    <a:pt x="1084" y="815"/>
                  </a:lnTo>
                  <a:lnTo>
                    <a:pt x="1082" y="815"/>
                  </a:lnTo>
                  <a:lnTo>
                    <a:pt x="1080" y="817"/>
                  </a:lnTo>
                  <a:lnTo>
                    <a:pt x="1079" y="817"/>
                  </a:lnTo>
                  <a:lnTo>
                    <a:pt x="1079" y="818"/>
                  </a:lnTo>
                  <a:lnTo>
                    <a:pt x="1077" y="818"/>
                  </a:lnTo>
                  <a:lnTo>
                    <a:pt x="1077" y="817"/>
                  </a:lnTo>
                  <a:lnTo>
                    <a:pt x="1075" y="817"/>
                  </a:lnTo>
                  <a:lnTo>
                    <a:pt x="1075" y="815"/>
                  </a:lnTo>
                  <a:lnTo>
                    <a:pt x="1075" y="814"/>
                  </a:lnTo>
                  <a:lnTo>
                    <a:pt x="1077" y="814"/>
                  </a:lnTo>
                  <a:lnTo>
                    <a:pt x="1079" y="814"/>
                  </a:lnTo>
                  <a:lnTo>
                    <a:pt x="1079" y="812"/>
                  </a:lnTo>
                  <a:lnTo>
                    <a:pt x="1080" y="810"/>
                  </a:lnTo>
                  <a:lnTo>
                    <a:pt x="1080" y="809"/>
                  </a:lnTo>
                  <a:lnTo>
                    <a:pt x="1082" y="809"/>
                  </a:lnTo>
                  <a:lnTo>
                    <a:pt x="1082" y="807"/>
                  </a:lnTo>
                  <a:lnTo>
                    <a:pt x="1084" y="807"/>
                  </a:lnTo>
                  <a:lnTo>
                    <a:pt x="1085" y="805"/>
                  </a:lnTo>
                  <a:lnTo>
                    <a:pt x="1084" y="805"/>
                  </a:lnTo>
                  <a:lnTo>
                    <a:pt x="1082" y="807"/>
                  </a:lnTo>
                  <a:lnTo>
                    <a:pt x="1082" y="805"/>
                  </a:lnTo>
                  <a:lnTo>
                    <a:pt x="1084" y="805"/>
                  </a:lnTo>
                  <a:lnTo>
                    <a:pt x="1085" y="804"/>
                  </a:lnTo>
                  <a:lnTo>
                    <a:pt x="1085" y="802"/>
                  </a:lnTo>
                  <a:lnTo>
                    <a:pt x="1088" y="802"/>
                  </a:lnTo>
                  <a:lnTo>
                    <a:pt x="1090" y="802"/>
                  </a:lnTo>
                  <a:lnTo>
                    <a:pt x="1092" y="800"/>
                  </a:lnTo>
                  <a:lnTo>
                    <a:pt x="1095" y="799"/>
                  </a:lnTo>
                  <a:lnTo>
                    <a:pt x="1097" y="799"/>
                  </a:lnTo>
                  <a:lnTo>
                    <a:pt x="1098" y="799"/>
                  </a:lnTo>
                  <a:lnTo>
                    <a:pt x="1100" y="799"/>
                  </a:lnTo>
                  <a:lnTo>
                    <a:pt x="1101" y="799"/>
                  </a:lnTo>
                  <a:lnTo>
                    <a:pt x="1103" y="797"/>
                  </a:lnTo>
                  <a:lnTo>
                    <a:pt x="1105" y="797"/>
                  </a:lnTo>
                  <a:lnTo>
                    <a:pt x="1106" y="797"/>
                  </a:lnTo>
                  <a:lnTo>
                    <a:pt x="1108" y="797"/>
                  </a:lnTo>
                  <a:lnTo>
                    <a:pt x="1106" y="797"/>
                  </a:lnTo>
                  <a:lnTo>
                    <a:pt x="1105" y="796"/>
                  </a:lnTo>
                  <a:lnTo>
                    <a:pt x="1103" y="796"/>
                  </a:lnTo>
                  <a:lnTo>
                    <a:pt x="1101" y="796"/>
                  </a:lnTo>
                  <a:lnTo>
                    <a:pt x="1100" y="796"/>
                  </a:lnTo>
                  <a:lnTo>
                    <a:pt x="1100" y="794"/>
                  </a:lnTo>
                  <a:lnTo>
                    <a:pt x="1101" y="792"/>
                  </a:lnTo>
                  <a:lnTo>
                    <a:pt x="1103" y="792"/>
                  </a:lnTo>
                  <a:lnTo>
                    <a:pt x="1101" y="792"/>
                  </a:lnTo>
                  <a:lnTo>
                    <a:pt x="1100" y="792"/>
                  </a:lnTo>
                  <a:lnTo>
                    <a:pt x="1098" y="792"/>
                  </a:lnTo>
                  <a:lnTo>
                    <a:pt x="1098" y="794"/>
                  </a:lnTo>
                  <a:lnTo>
                    <a:pt x="1097" y="794"/>
                  </a:lnTo>
                  <a:lnTo>
                    <a:pt x="1095" y="796"/>
                  </a:lnTo>
                  <a:lnTo>
                    <a:pt x="1093" y="796"/>
                  </a:lnTo>
                  <a:lnTo>
                    <a:pt x="1088" y="799"/>
                  </a:lnTo>
                  <a:lnTo>
                    <a:pt x="1085" y="799"/>
                  </a:lnTo>
                  <a:lnTo>
                    <a:pt x="1082" y="799"/>
                  </a:lnTo>
                  <a:lnTo>
                    <a:pt x="1080" y="799"/>
                  </a:lnTo>
                  <a:lnTo>
                    <a:pt x="1082" y="797"/>
                  </a:lnTo>
                  <a:lnTo>
                    <a:pt x="1084" y="797"/>
                  </a:lnTo>
                  <a:lnTo>
                    <a:pt x="1084" y="796"/>
                  </a:lnTo>
                  <a:lnTo>
                    <a:pt x="1082" y="796"/>
                  </a:lnTo>
                  <a:lnTo>
                    <a:pt x="1080" y="797"/>
                  </a:lnTo>
                  <a:lnTo>
                    <a:pt x="1080" y="799"/>
                  </a:lnTo>
                  <a:lnTo>
                    <a:pt x="1079" y="797"/>
                  </a:lnTo>
                  <a:lnTo>
                    <a:pt x="1077" y="797"/>
                  </a:lnTo>
                  <a:lnTo>
                    <a:pt x="1075" y="796"/>
                  </a:lnTo>
                  <a:lnTo>
                    <a:pt x="1074" y="796"/>
                  </a:lnTo>
                  <a:lnTo>
                    <a:pt x="1074" y="794"/>
                  </a:lnTo>
                  <a:lnTo>
                    <a:pt x="1075" y="794"/>
                  </a:lnTo>
                  <a:lnTo>
                    <a:pt x="1074" y="794"/>
                  </a:lnTo>
                  <a:lnTo>
                    <a:pt x="1074" y="792"/>
                  </a:lnTo>
                  <a:lnTo>
                    <a:pt x="1074" y="791"/>
                  </a:lnTo>
                  <a:lnTo>
                    <a:pt x="1075" y="791"/>
                  </a:lnTo>
                  <a:lnTo>
                    <a:pt x="1077" y="791"/>
                  </a:lnTo>
                  <a:lnTo>
                    <a:pt x="1079" y="789"/>
                  </a:lnTo>
                  <a:lnTo>
                    <a:pt x="1080" y="787"/>
                  </a:lnTo>
                  <a:lnTo>
                    <a:pt x="1082" y="786"/>
                  </a:lnTo>
                  <a:lnTo>
                    <a:pt x="1084" y="786"/>
                  </a:lnTo>
                  <a:lnTo>
                    <a:pt x="1084" y="784"/>
                  </a:lnTo>
                  <a:lnTo>
                    <a:pt x="1082" y="781"/>
                  </a:lnTo>
                  <a:lnTo>
                    <a:pt x="1082" y="779"/>
                  </a:lnTo>
                  <a:lnTo>
                    <a:pt x="1080" y="779"/>
                  </a:lnTo>
                  <a:lnTo>
                    <a:pt x="1079" y="778"/>
                  </a:lnTo>
                  <a:lnTo>
                    <a:pt x="1079" y="776"/>
                  </a:lnTo>
                  <a:lnTo>
                    <a:pt x="1080" y="776"/>
                  </a:lnTo>
                  <a:lnTo>
                    <a:pt x="1082" y="776"/>
                  </a:lnTo>
                  <a:lnTo>
                    <a:pt x="1084" y="776"/>
                  </a:lnTo>
                  <a:lnTo>
                    <a:pt x="1082" y="776"/>
                  </a:lnTo>
                  <a:lnTo>
                    <a:pt x="1079" y="774"/>
                  </a:lnTo>
                  <a:lnTo>
                    <a:pt x="1079" y="773"/>
                  </a:lnTo>
                  <a:lnTo>
                    <a:pt x="1079" y="771"/>
                  </a:lnTo>
                  <a:lnTo>
                    <a:pt x="1079" y="773"/>
                  </a:lnTo>
                  <a:lnTo>
                    <a:pt x="1079" y="771"/>
                  </a:lnTo>
                  <a:lnTo>
                    <a:pt x="1077" y="773"/>
                  </a:lnTo>
                  <a:lnTo>
                    <a:pt x="1077" y="771"/>
                  </a:lnTo>
                  <a:lnTo>
                    <a:pt x="1075" y="773"/>
                  </a:lnTo>
                  <a:lnTo>
                    <a:pt x="1075" y="771"/>
                  </a:lnTo>
                  <a:lnTo>
                    <a:pt x="1075" y="770"/>
                  </a:lnTo>
                  <a:lnTo>
                    <a:pt x="1074" y="770"/>
                  </a:lnTo>
                  <a:lnTo>
                    <a:pt x="1074" y="771"/>
                  </a:lnTo>
                  <a:lnTo>
                    <a:pt x="1074" y="770"/>
                  </a:lnTo>
                  <a:lnTo>
                    <a:pt x="1072" y="770"/>
                  </a:lnTo>
                  <a:lnTo>
                    <a:pt x="1072" y="768"/>
                  </a:lnTo>
                  <a:lnTo>
                    <a:pt x="1072" y="766"/>
                  </a:lnTo>
                  <a:lnTo>
                    <a:pt x="1074" y="766"/>
                  </a:lnTo>
                  <a:lnTo>
                    <a:pt x="1074" y="768"/>
                  </a:lnTo>
                  <a:lnTo>
                    <a:pt x="1075" y="766"/>
                  </a:lnTo>
                  <a:lnTo>
                    <a:pt x="1075" y="765"/>
                  </a:lnTo>
                  <a:lnTo>
                    <a:pt x="1077" y="765"/>
                  </a:lnTo>
                  <a:lnTo>
                    <a:pt x="1079" y="765"/>
                  </a:lnTo>
                  <a:lnTo>
                    <a:pt x="1080" y="765"/>
                  </a:lnTo>
                  <a:lnTo>
                    <a:pt x="1080" y="766"/>
                  </a:lnTo>
                  <a:lnTo>
                    <a:pt x="1082" y="766"/>
                  </a:lnTo>
                  <a:lnTo>
                    <a:pt x="1084" y="768"/>
                  </a:lnTo>
                  <a:lnTo>
                    <a:pt x="1084" y="766"/>
                  </a:lnTo>
                  <a:lnTo>
                    <a:pt x="1085" y="768"/>
                  </a:lnTo>
                  <a:lnTo>
                    <a:pt x="1085" y="770"/>
                  </a:lnTo>
                  <a:lnTo>
                    <a:pt x="1085" y="771"/>
                  </a:lnTo>
                  <a:lnTo>
                    <a:pt x="1087" y="773"/>
                  </a:lnTo>
                  <a:lnTo>
                    <a:pt x="1088" y="774"/>
                  </a:lnTo>
                  <a:lnTo>
                    <a:pt x="1087" y="774"/>
                  </a:lnTo>
                  <a:lnTo>
                    <a:pt x="1087" y="776"/>
                  </a:lnTo>
                  <a:lnTo>
                    <a:pt x="1085" y="778"/>
                  </a:lnTo>
                  <a:lnTo>
                    <a:pt x="1087" y="778"/>
                  </a:lnTo>
                  <a:lnTo>
                    <a:pt x="1088" y="778"/>
                  </a:lnTo>
                  <a:lnTo>
                    <a:pt x="1090" y="778"/>
                  </a:lnTo>
                  <a:lnTo>
                    <a:pt x="1092" y="778"/>
                  </a:lnTo>
                  <a:lnTo>
                    <a:pt x="1092" y="776"/>
                  </a:lnTo>
                  <a:lnTo>
                    <a:pt x="1093" y="776"/>
                  </a:lnTo>
                  <a:lnTo>
                    <a:pt x="1095" y="776"/>
                  </a:lnTo>
                  <a:lnTo>
                    <a:pt x="1097" y="774"/>
                  </a:lnTo>
                  <a:lnTo>
                    <a:pt x="1098" y="774"/>
                  </a:lnTo>
                  <a:lnTo>
                    <a:pt x="1095" y="774"/>
                  </a:lnTo>
                  <a:lnTo>
                    <a:pt x="1097" y="774"/>
                  </a:lnTo>
                  <a:lnTo>
                    <a:pt x="1095" y="774"/>
                  </a:lnTo>
                  <a:lnTo>
                    <a:pt x="1093" y="774"/>
                  </a:lnTo>
                  <a:lnTo>
                    <a:pt x="1092" y="774"/>
                  </a:lnTo>
                  <a:lnTo>
                    <a:pt x="1090" y="776"/>
                  </a:lnTo>
                  <a:lnTo>
                    <a:pt x="1088" y="776"/>
                  </a:lnTo>
                  <a:lnTo>
                    <a:pt x="1088" y="774"/>
                  </a:lnTo>
                  <a:lnTo>
                    <a:pt x="1090" y="774"/>
                  </a:lnTo>
                  <a:lnTo>
                    <a:pt x="1090" y="773"/>
                  </a:lnTo>
                  <a:lnTo>
                    <a:pt x="1088" y="773"/>
                  </a:lnTo>
                  <a:lnTo>
                    <a:pt x="1090" y="773"/>
                  </a:lnTo>
                  <a:lnTo>
                    <a:pt x="1090" y="771"/>
                  </a:lnTo>
                  <a:lnTo>
                    <a:pt x="1090" y="770"/>
                  </a:lnTo>
                  <a:lnTo>
                    <a:pt x="1092" y="770"/>
                  </a:lnTo>
                  <a:lnTo>
                    <a:pt x="1090" y="770"/>
                  </a:lnTo>
                  <a:lnTo>
                    <a:pt x="1090" y="768"/>
                  </a:lnTo>
                  <a:lnTo>
                    <a:pt x="1088" y="768"/>
                  </a:lnTo>
                  <a:lnTo>
                    <a:pt x="1088" y="766"/>
                  </a:lnTo>
                  <a:lnTo>
                    <a:pt x="1090" y="766"/>
                  </a:lnTo>
                  <a:lnTo>
                    <a:pt x="1092" y="766"/>
                  </a:lnTo>
                  <a:lnTo>
                    <a:pt x="1092" y="765"/>
                  </a:lnTo>
                  <a:lnTo>
                    <a:pt x="1093" y="765"/>
                  </a:lnTo>
                  <a:lnTo>
                    <a:pt x="1095" y="765"/>
                  </a:lnTo>
                  <a:lnTo>
                    <a:pt x="1097" y="765"/>
                  </a:lnTo>
                  <a:lnTo>
                    <a:pt x="1098" y="763"/>
                  </a:lnTo>
                  <a:lnTo>
                    <a:pt x="1101" y="763"/>
                  </a:lnTo>
                  <a:lnTo>
                    <a:pt x="1105" y="763"/>
                  </a:lnTo>
                  <a:lnTo>
                    <a:pt x="1105" y="765"/>
                  </a:lnTo>
                  <a:lnTo>
                    <a:pt x="1106" y="765"/>
                  </a:lnTo>
                  <a:lnTo>
                    <a:pt x="1108" y="765"/>
                  </a:lnTo>
                  <a:lnTo>
                    <a:pt x="1108" y="766"/>
                  </a:lnTo>
                  <a:lnTo>
                    <a:pt x="1110" y="766"/>
                  </a:lnTo>
                  <a:lnTo>
                    <a:pt x="1111" y="768"/>
                  </a:lnTo>
                  <a:lnTo>
                    <a:pt x="1111" y="766"/>
                  </a:lnTo>
                  <a:lnTo>
                    <a:pt x="1111" y="765"/>
                  </a:lnTo>
                  <a:lnTo>
                    <a:pt x="1110" y="765"/>
                  </a:lnTo>
                  <a:lnTo>
                    <a:pt x="1108" y="763"/>
                  </a:lnTo>
                  <a:lnTo>
                    <a:pt x="1106" y="763"/>
                  </a:lnTo>
                  <a:lnTo>
                    <a:pt x="1105" y="761"/>
                  </a:lnTo>
                  <a:lnTo>
                    <a:pt x="1103" y="761"/>
                  </a:lnTo>
                  <a:lnTo>
                    <a:pt x="1101" y="761"/>
                  </a:lnTo>
                  <a:lnTo>
                    <a:pt x="1100" y="761"/>
                  </a:lnTo>
                  <a:lnTo>
                    <a:pt x="1100" y="760"/>
                  </a:lnTo>
                  <a:lnTo>
                    <a:pt x="1101" y="760"/>
                  </a:lnTo>
                  <a:lnTo>
                    <a:pt x="1101" y="758"/>
                  </a:lnTo>
                  <a:lnTo>
                    <a:pt x="1103" y="758"/>
                  </a:lnTo>
                  <a:lnTo>
                    <a:pt x="1105" y="757"/>
                  </a:lnTo>
                  <a:lnTo>
                    <a:pt x="1105" y="755"/>
                  </a:lnTo>
                  <a:lnTo>
                    <a:pt x="1106" y="755"/>
                  </a:lnTo>
                  <a:lnTo>
                    <a:pt x="1108" y="755"/>
                  </a:lnTo>
                  <a:lnTo>
                    <a:pt x="1110" y="755"/>
                  </a:lnTo>
                  <a:lnTo>
                    <a:pt x="1111" y="755"/>
                  </a:lnTo>
                  <a:lnTo>
                    <a:pt x="1113" y="755"/>
                  </a:lnTo>
                  <a:lnTo>
                    <a:pt x="1115" y="755"/>
                  </a:lnTo>
                  <a:lnTo>
                    <a:pt x="1115" y="753"/>
                  </a:lnTo>
                  <a:lnTo>
                    <a:pt x="1113" y="753"/>
                  </a:lnTo>
                  <a:lnTo>
                    <a:pt x="1110" y="753"/>
                  </a:lnTo>
                  <a:lnTo>
                    <a:pt x="1108" y="753"/>
                  </a:lnTo>
                  <a:lnTo>
                    <a:pt x="1108" y="755"/>
                  </a:lnTo>
                  <a:lnTo>
                    <a:pt x="1106" y="753"/>
                  </a:lnTo>
                  <a:lnTo>
                    <a:pt x="1106" y="755"/>
                  </a:lnTo>
                  <a:lnTo>
                    <a:pt x="1105" y="755"/>
                  </a:lnTo>
                  <a:lnTo>
                    <a:pt x="1103" y="757"/>
                  </a:lnTo>
                  <a:lnTo>
                    <a:pt x="1101" y="757"/>
                  </a:lnTo>
                  <a:lnTo>
                    <a:pt x="1100" y="758"/>
                  </a:lnTo>
                  <a:lnTo>
                    <a:pt x="1100" y="760"/>
                  </a:lnTo>
                  <a:lnTo>
                    <a:pt x="1098" y="761"/>
                  </a:lnTo>
                  <a:lnTo>
                    <a:pt x="1097" y="761"/>
                  </a:lnTo>
                  <a:lnTo>
                    <a:pt x="1093" y="761"/>
                  </a:lnTo>
                  <a:lnTo>
                    <a:pt x="1092" y="761"/>
                  </a:lnTo>
                  <a:lnTo>
                    <a:pt x="1090" y="763"/>
                  </a:lnTo>
                  <a:lnTo>
                    <a:pt x="1087" y="763"/>
                  </a:lnTo>
                  <a:lnTo>
                    <a:pt x="1085" y="763"/>
                  </a:lnTo>
                  <a:lnTo>
                    <a:pt x="1084" y="763"/>
                  </a:lnTo>
                  <a:lnTo>
                    <a:pt x="1084" y="761"/>
                  </a:lnTo>
                  <a:lnTo>
                    <a:pt x="1084" y="760"/>
                  </a:lnTo>
                  <a:lnTo>
                    <a:pt x="1085" y="761"/>
                  </a:lnTo>
                  <a:lnTo>
                    <a:pt x="1085" y="760"/>
                  </a:lnTo>
                  <a:lnTo>
                    <a:pt x="1085" y="757"/>
                  </a:lnTo>
                  <a:lnTo>
                    <a:pt x="1087" y="757"/>
                  </a:lnTo>
                  <a:lnTo>
                    <a:pt x="1085" y="755"/>
                  </a:lnTo>
                  <a:lnTo>
                    <a:pt x="1087" y="755"/>
                  </a:lnTo>
                  <a:lnTo>
                    <a:pt x="1087" y="753"/>
                  </a:lnTo>
                  <a:lnTo>
                    <a:pt x="1088" y="753"/>
                  </a:lnTo>
                  <a:lnTo>
                    <a:pt x="1088" y="755"/>
                  </a:lnTo>
                  <a:lnTo>
                    <a:pt x="1088" y="753"/>
                  </a:lnTo>
                  <a:lnTo>
                    <a:pt x="1088" y="755"/>
                  </a:lnTo>
                  <a:lnTo>
                    <a:pt x="1088" y="753"/>
                  </a:lnTo>
                  <a:lnTo>
                    <a:pt x="1088" y="752"/>
                  </a:lnTo>
                  <a:lnTo>
                    <a:pt x="1088" y="753"/>
                  </a:lnTo>
                  <a:lnTo>
                    <a:pt x="1090" y="753"/>
                  </a:lnTo>
                  <a:lnTo>
                    <a:pt x="1090" y="752"/>
                  </a:lnTo>
                  <a:lnTo>
                    <a:pt x="1092" y="752"/>
                  </a:lnTo>
                  <a:lnTo>
                    <a:pt x="1093" y="752"/>
                  </a:lnTo>
                  <a:lnTo>
                    <a:pt x="1095" y="752"/>
                  </a:lnTo>
                  <a:lnTo>
                    <a:pt x="1093" y="752"/>
                  </a:lnTo>
                  <a:lnTo>
                    <a:pt x="1093" y="750"/>
                  </a:lnTo>
                  <a:lnTo>
                    <a:pt x="1092" y="750"/>
                  </a:lnTo>
                  <a:lnTo>
                    <a:pt x="1090" y="750"/>
                  </a:lnTo>
                  <a:lnTo>
                    <a:pt x="1088" y="750"/>
                  </a:lnTo>
                  <a:lnTo>
                    <a:pt x="1087" y="752"/>
                  </a:lnTo>
                  <a:lnTo>
                    <a:pt x="1085" y="752"/>
                  </a:lnTo>
                  <a:lnTo>
                    <a:pt x="1084" y="752"/>
                  </a:lnTo>
                  <a:lnTo>
                    <a:pt x="1084" y="750"/>
                  </a:lnTo>
                  <a:lnTo>
                    <a:pt x="1084" y="748"/>
                  </a:lnTo>
                  <a:lnTo>
                    <a:pt x="1084" y="750"/>
                  </a:lnTo>
                  <a:lnTo>
                    <a:pt x="1082" y="748"/>
                  </a:lnTo>
                  <a:lnTo>
                    <a:pt x="1082" y="747"/>
                  </a:lnTo>
                  <a:lnTo>
                    <a:pt x="1084" y="747"/>
                  </a:lnTo>
                  <a:lnTo>
                    <a:pt x="1085" y="745"/>
                  </a:lnTo>
                  <a:lnTo>
                    <a:pt x="1085" y="747"/>
                  </a:lnTo>
                  <a:lnTo>
                    <a:pt x="1087" y="747"/>
                  </a:lnTo>
                  <a:lnTo>
                    <a:pt x="1088" y="747"/>
                  </a:lnTo>
                  <a:lnTo>
                    <a:pt x="1090" y="747"/>
                  </a:lnTo>
                  <a:lnTo>
                    <a:pt x="1092" y="747"/>
                  </a:lnTo>
                  <a:lnTo>
                    <a:pt x="1093" y="747"/>
                  </a:lnTo>
                  <a:lnTo>
                    <a:pt x="1095" y="747"/>
                  </a:lnTo>
                  <a:lnTo>
                    <a:pt x="1095" y="748"/>
                  </a:lnTo>
                  <a:lnTo>
                    <a:pt x="1095" y="747"/>
                  </a:lnTo>
                  <a:lnTo>
                    <a:pt x="1095" y="748"/>
                  </a:lnTo>
                  <a:lnTo>
                    <a:pt x="1097" y="748"/>
                  </a:lnTo>
                  <a:lnTo>
                    <a:pt x="1097" y="747"/>
                  </a:lnTo>
                  <a:lnTo>
                    <a:pt x="1098" y="747"/>
                  </a:lnTo>
                  <a:lnTo>
                    <a:pt x="1100" y="747"/>
                  </a:lnTo>
                  <a:lnTo>
                    <a:pt x="1101" y="748"/>
                  </a:lnTo>
                  <a:lnTo>
                    <a:pt x="1103" y="748"/>
                  </a:lnTo>
                  <a:lnTo>
                    <a:pt x="1101" y="748"/>
                  </a:lnTo>
                  <a:lnTo>
                    <a:pt x="1103" y="748"/>
                  </a:lnTo>
                  <a:lnTo>
                    <a:pt x="1103" y="750"/>
                  </a:lnTo>
                  <a:lnTo>
                    <a:pt x="1105" y="748"/>
                  </a:lnTo>
                  <a:lnTo>
                    <a:pt x="1103" y="748"/>
                  </a:lnTo>
                  <a:lnTo>
                    <a:pt x="1103" y="747"/>
                  </a:lnTo>
                  <a:lnTo>
                    <a:pt x="1103" y="745"/>
                  </a:lnTo>
                  <a:lnTo>
                    <a:pt x="1101" y="745"/>
                  </a:lnTo>
                  <a:lnTo>
                    <a:pt x="1100" y="745"/>
                  </a:lnTo>
                  <a:lnTo>
                    <a:pt x="1098" y="745"/>
                  </a:lnTo>
                  <a:lnTo>
                    <a:pt x="1098" y="744"/>
                  </a:lnTo>
                  <a:lnTo>
                    <a:pt x="1097" y="744"/>
                  </a:lnTo>
                  <a:lnTo>
                    <a:pt x="1095" y="744"/>
                  </a:lnTo>
                  <a:lnTo>
                    <a:pt x="1097" y="744"/>
                  </a:lnTo>
                  <a:lnTo>
                    <a:pt x="1095" y="744"/>
                  </a:lnTo>
                  <a:lnTo>
                    <a:pt x="1097" y="744"/>
                  </a:lnTo>
                  <a:lnTo>
                    <a:pt x="1095" y="744"/>
                  </a:lnTo>
                  <a:lnTo>
                    <a:pt x="1093" y="744"/>
                  </a:lnTo>
                  <a:lnTo>
                    <a:pt x="1092" y="744"/>
                  </a:lnTo>
                  <a:lnTo>
                    <a:pt x="1090" y="744"/>
                  </a:lnTo>
                  <a:lnTo>
                    <a:pt x="1088" y="744"/>
                  </a:lnTo>
                  <a:lnTo>
                    <a:pt x="1088" y="742"/>
                  </a:lnTo>
                  <a:lnTo>
                    <a:pt x="1087" y="742"/>
                  </a:lnTo>
                  <a:lnTo>
                    <a:pt x="1088" y="742"/>
                  </a:lnTo>
                  <a:lnTo>
                    <a:pt x="1088" y="740"/>
                  </a:lnTo>
                  <a:lnTo>
                    <a:pt x="1087" y="740"/>
                  </a:lnTo>
                  <a:lnTo>
                    <a:pt x="1085" y="740"/>
                  </a:lnTo>
                  <a:lnTo>
                    <a:pt x="1085" y="739"/>
                  </a:lnTo>
                  <a:lnTo>
                    <a:pt x="1085" y="740"/>
                  </a:lnTo>
                  <a:lnTo>
                    <a:pt x="1085" y="739"/>
                  </a:lnTo>
                  <a:lnTo>
                    <a:pt x="1085" y="740"/>
                  </a:lnTo>
                  <a:lnTo>
                    <a:pt x="1084" y="740"/>
                  </a:lnTo>
                  <a:lnTo>
                    <a:pt x="1085" y="740"/>
                  </a:lnTo>
                  <a:lnTo>
                    <a:pt x="1084" y="740"/>
                  </a:lnTo>
                  <a:lnTo>
                    <a:pt x="1084" y="739"/>
                  </a:lnTo>
                  <a:lnTo>
                    <a:pt x="1084" y="740"/>
                  </a:lnTo>
                  <a:lnTo>
                    <a:pt x="1084" y="739"/>
                  </a:lnTo>
                  <a:lnTo>
                    <a:pt x="1085" y="739"/>
                  </a:lnTo>
                  <a:lnTo>
                    <a:pt x="1087" y="737"/>
                  </a:lnTo>
                  <a:lnTo>
                    <a:pt x="1088" y="737"/>
                  </a:lnTo>
                  <a:lnTo>
                    <a:pt x="1090" y="737"/>
                  </a:lnTo>
                  <a:lnTo>
                    <a:pt x="1092" y="737"/>
                  </a:lnTo>
                  <a:lnTo>
                    <a:pt x="1093" y="737"/>
                  </a:lnTo>
                  <a:lnTo>
                    <a:pt x="1095" y="737"/>
                  </a:lnTo>
                  <a:lnTo>
                    <a:pt x="1097" y="737"/>
                  </a:lnTo>
                  <a:lnTo>
                    <a:pt x="1098" y="737"/>
                  </a:lnTo>
                  <a:lnTo>
                    <a:pt x="1098" y="739"/>
                  </a:lnTo>
                  <a:lnTo>
                    <a:pt x="1100" y="740"/>
                  </a:lnTo>
                  <a:lnTo>
                    <a:pt x="1100" y="739"/>
                  </a:lnTo>
                  <a:lnTo>
                    <a:pt x="1101" y="739"/>
                  </a:lnTo>
                  <a:lnTo>
                    <a:pt x="1101" y="737"/>
                  </a:lnTo>
                  <a:lnTo>
                    <a:pt x="1101" y="739"/>
                  </a:lnTo>
                  <a:lnTo>
                    <a:pt x="1101" y="740"/>
                  </a:lnTo>
                  <a:lnTo>
                    <a:pt x="1103" y="742"/>
                  </a:lnTo>
                  <a:lnTo>
                    <a:pt x="1105" y="742"/>
                  </a:lnTo>
                  <a:lnTo>
                    <a:pt x="1106" y="742"/>
                  </a:lnTo>
                  <a:lnTo>
                    <a:pt x="1108" y="742"/>
                  </a:lnTo>
                  <a:lnTo>
                    <a:pt x="1111" y="742"/>
                  </a:lnTo>
                  <a:lnTo>
                    <a:pt x="1113" y="740"/>
                  </a:lnTo>
                  <a:lnTo>
                    <a:pt x="1111" y="739"/>
                  </a:lnTo>
                  <a:lnTo>
                    <a:pt x="1113" y="739"/>
                  </a:lnTo>
                  <a:lnTo>
                    <a:pt x="1115" y="739"/>
                  </a:lnTo>
                  <a:lnTo>
                    <a:pt x="1115" y="737"/>
                  </a:lnTo>
                  <a:lnTo>
                    <a:pt x="1116" y="737"/>
                  </a:lnTo>
                  <a:lnTo>
                    <a:pt x="1118" y="737"/>
                  </a:lnTo>
                  <a:lnTo>
                    <a:pt x="1121" y="737"/>
                  </a:lnTo>
                  <a:lnTo>
                    <a:pt x="1123" y="737"/>
                  </a:lnTo>
                  <a:lnTo>
                    <a:pt x="1123" y="735"/>
                  </a:lnTo>
                  <a:lnTo>
                    <a:pt x="1121" y="735"/>
                  </a:lnTo>
                  <a:lnTo>
                    <a:pt x="1119" y="737"/>
                  </a:lnTo>
                  <a:lnTo>
                    <a:pt x="1118" y="737"/>
                  </a:lnTo>
                  <a:lnTo>
                    <a:pt x="1116" y="735"/>
                  </a:lnTo>
                  <a:lnTo>
                    <a:pt x="1115" y="737"/>
                  </a:lnTo>
                  <a:lnTo>
                    <a:pt x="1113" y="737"/>
                  </a:lnTo>
                  <a:lnTo>
                    <a:pt x="1111" y="739"/>
                  </a:lnTo>
                  <a:lnTo>
                    <a:pt x="1111" y="737"/>
                  </a:lnTo>
                  <a:lnTo>
                    <a:pt x="1110" y="739"/>
                  </a:lnTo>
                  <a:lnTo>
                    <a:pt x="1108" y="740"/>
                  </a:lnTo>
                  <a:lnTo>
                    <a:pt x="1108" y="739"/>
                  </a:lnTo>
                  <a:lnTo>
                    <a:pt x="1106" y="739"/>
                  </a:lnTo>
                  <a:lnTo>
                    <a:pt x="1106" y="740"/>
                  </a:lnTo>
                  <a:lnTo>
                    <a:pt x="1105" y="740"/>
                  </a:lnTo>
                  <a:lnTo>
                    <a:pt x="1105" y="739"/>
                  </a:lnTo>
                  <a:lnTo>
                    <a:pt x="1103" y="739"/>
                  </a:lnTo>
                  <a:lnTo>
                    <a:pt x="1103" y="737"/>
                  </a:lnTo>
                  <a:lnTo>
                    <a:pt x="1103" y="735"/>
                  </a:lnTo>
                  <a:lnTo>
                    <a:pt x="1101" y="735"/>
                  </a:lnTo>
                  <a:lnTo>
                    <a:pt x="1100" y="737"/>
                  </a:lnTo>
                  <a:lnTo>
                    <a:pt x="1098" y="735"/>
                  </a:lnTo>
                  <a:lnTo>
                    <a:pt x="1100" y="735"/>
                  </a:lnTo>
                  <a:lnTo>
                    <a:pt x="1101" y="735"/>
                  </a:lnTo>
                  <a:lnTo>
                    <a:pt x="1101" y="734"/>
                  </a:lnTo>
                  <a:lnTo>
                    <a:pt x="1103" y="735"/>
                  </a:lnTo>
                  <a:lnTo>
                    <a:pt x="1103" y="734"/>
                  </a:lnTo>
                  <a:lnTo>
                    <a:pt x="1105" y="734"/>
                  </a:lnTo>
                  <a:lnTo>
                    <a:pt x="1105" y="732"/>
                  </a:lnTo>
                  <a:lnTo>
                    <a:pt x="1105" y="734"/>
                  </a:lnTo>
                  <a:lnTo>
                    <a:pt x="1105" y="732"/>
                  </a:lnTo>
                  <a:lnTo>
                    <a:pt x="1106" y="732"/>
                  </a:lnTo>
                  <a:lnTo>
                    <a:pt x="1108" y="732"/>
                  </a:lnTo>
                  <a:lnTo>
                    <a:pt x="1110" y="732"/>
                  </a:lnTo>
                  <a:lnTo>
                    <a:pt x="1111" y="732"/>
                  </a:lnTo>
                  <a:lnTo>
                    <a:pt x="1111" y="734"/>
                  </a:lnTo>
                  <a:lnTo>
                    <a:pt x="1115" y="734"/>
                  </a:lnTo>
                  <a:lnTo>
                    <a:pt x="1115" y="732"/>
                  </a:lnTo>
                  <a:lnTo>
                    <a:pt x="1111" y="732"/>
                  </a:lnTo>
                  <a:lnTo>
                    <a:pt x="1110" y="732"/>
                  </a:lnTo>
                  <a:lnTo>
                    <a:pt x="1106" y="731"/>
                  </a:lnTo>
                  <a:lnTo>
                    <a:pt x="1105" y="731"/>
                  </a:lnTo>
                  <a:lnTo>
                    <a:pt x="1105" y="732"/>
                  </a:lnTo>
                  <a:lnTo>
                    <a:pt x="1101" y="732"/>
                  </a:lnTo>
                  <a:lnTo>
                    <a:pt x="1103" y="731"/>
                  </a:lnTo>
                  <a:lnTo>
                    <a:pt x="1101" y="731"/>
                  </a:lnTo>
                  <a:lnTo>
                    <a:pt x="1100" y="731"/>
                  </a:lnTo>
                  <a:lnTo>
                    <a:pt x="1101" y="731"/>
                  </a:lnTo>
                  <a:lnTo>
                    <a:pt x="1100" y="731"/>
                  </a:lnTo>
                  <a:lnTo>
                    <a:pt x="1101" y="729"/>
                  </a:lnTo>
                  <a:lnTo>
                    <a:pt x="1100" y="729"/>
                  </a:lnTo>
                  <a:lnTo>
                    <a:pt x="1100" y="727"/>
                  </a:lnTo>
                  <a:lnTo>
                    <a:pt x="1100" y="729"/>
                  </a:lnTo>
                  <a:lnTo>
                    <a:pt x="1100" y="727"/>
                  </a:lnTo>
                  <a:lnTo>
                    <a:pt x="1101" y="727"/>
                  </a:lnTo>
                  <a:lnTo>
                    <a:pt x="1103" y="727"/>
                  </a:lnTo>
                  <a:lnTo>
                    <a:pt x="1105" y="726"/>
                  </a:lnTo>
                  <a:lnTo>
                    <a:pt x="1106" y="726"/>
                  </a:lnTo>
                  <a:lnTo>
                    <a:pt x="1108" y="726"/>
                  </a:lnTo>
                  <a:lnTo>
                    <a:pt x="1110" y="726"/>
                  </a:lnTo>
                  <a:lnTo>
                    <a:pt x="1111" y="726"/>
                  </a:lnTo>
                  <a:lnTo>
                    <a:pt x="1111" y="724"/>
                  </a:lnTo>
                  <a:lnTo>
                    <a:pt x="1111" y="726"/>
                  </a:lnTo>
                  <a:lnTo>
                    <a:pt x="1113" y="726"/>
                  </a:lnTo>
                  <a:lnTo>
                    <a:pt x="1115" y="726"/>
                  </a:lnTo>
                  <a:lnTo>
                    <a:pt x="1118" y="727"/>
                  </a:lnTo>
                  <a:lnTo>
                    <a:pt x="1121" y="727"/>
                  </a:lnTo>
                  <a:lnTo>
                    <a:pt x="1123" y="727"/>
                  </a:lnTo>
                  <a:lnTo>
                    <a:pt x="1124" y="727"/>
                  </a:lnTo>
                  <a:lnTo>
                    <a:pt x="1126" y="726"/>
                  </a:lnTo>
                  <a:lnTo>
                    <a:pt x="1128" y="726"/>
                  </a:lnTo>
                  <a:lnTo>
                    <a:pt x="1128" y="724"/>
                  </a:lnTo>
                  <a:lnTo>
                    <a:pt x="1126" y="726"/>
                  </a:lnTo>
                  <a:lnTo>
                    <a:pt x="1126" y="724"/>
                  </a:lnTo>
                  <a:lnTo>
                    <a:pt x="1124" y="726"/>
                  </a:lnTo>
                  <a:lnTo>
                    <a:pt x="1123" y="726"/>
                  </a:lnTo>
                  <a:lnTo>
                    <a:pt x="1121" y="724"/>
                  </a:lnTo>
                  <a:lnTo>
                    <a:pt x="1118" y="726"/>
                  </a:lnTo>
                  <a:lnTo>
                    <a:pt x="1118" y="724"/>
                  </a:lnTo>
                  <a:lnTo>
                    <a:pt x="1116" y="724"/>
                  </a:lnTo>
                  <a:lnTo>
                    <a:pt x="1115" y="722"/>
                  </a:lnTo>
                  <a:lnTo>
                    <a:pt x="1113" y="722"/>
                  </a:lnTo>
                  <a:lnTo>
                    <a:pt x="1115" y="722"/>
                  </a:lnTo>
                  <a:lnTo>
                    <a:pt x="1115" y="721"/>
                  </a:lnTo>
                  <a:lnTo>
                    <a:pt x="1113" y="721"/>
                  </a:lnTo>
                  <a:lnTo>
                    <a:pt x="1111" y="722"/>
                  </a:lnTo>
                  <a:lnTo>
                    <a:pt x="1110" y="722"/>
                  </a:lnTo>
                  <a:lnTo>
                    <a:pt x="1113" y="721"/>
                  </a:lnTo>
                  <a:lnTo>
                    <a:pt x="1111" y="721"/>
                  </a:lnTo>
                  <a:lnTo>
                    <a:pt x="1110" y="719"/>
                  </a:lnTo>
                  <a:lnTo>
                    <a:pt x="1111" y="719"/>
                  </a:lnTo>
                  <a:lnTo>
                    <a:pt x="1111" y="718"/>
                  </a:lnTo>
                  <a:lnTo>
                    <a:pt x="1111" y="716"/>
                  </a:lnTo>
                  <a:lnTo>
                    <a:pt x="1110" y="716"/>
                  </a:lnTo>
                  <a:lnTo>
                    <a:pt x="1108" y="716"/>
                  </a:lnTo>
                  <a:lnTo>
                    <a:pt x="1108" y="714"/>
                  </a:lnTo>
                  <a:lnTo>
                    <a:pt x="1106" y="713"/>
                  </a:lnTo>
                  <a:lnTo>
                    <a:pt x="1106" y="711"/>
                  </a:lnTo>
                  <a:lnTo>
                    <a:pt x="1105" y="711"/>
                  </a:lnTo>
                  <a:lnTo>
                    <a:pt x="1105" y="713"/>
                  </a:lnTo>
                  <a:lnTo>
                    <a:pt x="1105" y="711"/>
                  </a:lnTo>
                  <a:lnTo>
                    <a:pt x="1103" y="713"/>
                  </a:lnTo>
                  <a:lnTo>
                    <a:pt x="1101" y="713"/>
                  </a:lnTo>
                  <a:lnTo>
                    <a:pt x="1101" y="711"/>
                  </a:lnTo>
                  <a:lnTo>
                    <a:pt x="1101" y="709"/>
                  </a:lnTo>
                  <a:lnTo>
                    <a:pt x="1101" y="708"/>
                  </a:lnTo>
                  <a:lnTo>
                    <a:pt x="1101" y="709"/>
                  </a:lnTo>
                  <a:lnTo>
                    <a:pt x="1100" y="709"/>
                  </a:lnTo>
                  <a:lnTo>
                    <a:pt x="1100" y="708"/>
                  </a:lnTo>
                  <a:lnTo>
                    <a:pt x="1101" y="708"/>
                  </a:lnTo>
                  <a:lnTo>
                    <a:pt x="1100" y="708"/>
                  </a:lnTo>
                  <a:lnTo>
                    <a:pt x="1098" y="708"/>
                  </a:lnTo>
                  <a:lnTo>
                    <a:pt x="1098" y="706"/>
                  </a:lnTo>
                  <a:lnTo>
                    <a:pt x="1098" y="705"/>
                  </a:lnTo>
                  <a:lnTo>
                    <a:pt x="1100" y="706"/>
                  </a:lnTo>
                  <a:lnTo>
                    <a:pt x="1101" y="705"/>
                  </a:lnTo>
                  <a:lnTo>
                    <a:pt x="1101" y="706"/>
                  </a:lnTo>
                  <a:lnTo>
                    <a:pt x="1101" y="708"/>
                  </a:lnTo>
                  <a:lnTo>
                    <a:pt x="1103" y="706"/>
                  </a:lnTo>
                  <a:lnTo>
                    <a:pt x="1105" y="706"/>
                  </a:lnTo>
                  <a:lnTo>
                    <a:pt x="1106" y="706"/>
                  </a:lnTo>
                  <a:lnTo>
                    <a:pt x="1108" y="706"/>
                  </a:lnTo>
                  <a:lnTo>
                    <a:pt x="1110" y="706"/>
                  </a:lnTo>
                  <a:lnTo>
                    <a:pt x="1111" y="706"/>
                  </a:lnTo>
                  <a:lnTo>
                    <a:pt x="1113" y="706"/>
                  </a:lnTo>
                  <a:lnTo>
                    <a:pt x="1113" y="705"/>
                  </a:lnTo>
                  <a:lnTo>
                    <a:pt x="1115" y="705"/>
                  </a:lnTo>
                  <a:lnTo>
                    <a:pt x="1116" y="703"/>
                  </a:lnTo>
                  <a:lnTo>
                    <a:pt x="1115" y="703"/>
                  </a:lnTo>
                  <a:lnTo>
                    <a:pt x="1113" y="703"/>
                  </a:lnTo>
                  <a:lnTo>
                    <a:pt x="1111" y="703"/>
                  </a:lnTo>
                  <a:lnTo>
                    <a:pt x="1111" y="701"/>
                  </a:lnTo>
                  <a:lnTo>
                    <a:pt x="1113" y="701"/>
                  </a:lnTo>
                  <a:lnTo>
                    <a:pt x="1115" y="701"/>
                  </a:lnTo>
                  <a:lnTo>
                    <a:pt x="1116" y="700"/>
                  </a:lnTo>
                  <a:lnTo>
                    <a:pt x="1118" y="700"/>
                  </a:lnTo>
                  <a:lnTo>
                    <a:pt x="1119" y="701"/>
                  </a:lnTo>
                  <a:lnTo>
                    <a:pt x="1119" y="700"/>
                  </a:lnTo>
                  <a:lnTo>
                    <a:pt x="1119" y="698"/>
                  </a:lnTo>
                  <a:lnTo>
                    <a:pt x="1121" y="698"/>
                  </a:lnTo>
                  <a:lnTo>
                    <a:pt x="1121" y="696"/>
                  </a:lnTo>
                  <a:lnTo>
                    <a:pt x="1123" y="696"/>
                  </a:lnTo>
                  <a:lnTo>
                    <a:pt x="1124" y="696"/>
                  </a:lnTo>
                  <a:lnTo>
                    <a:pt x="1126" y="696"/>
                  </a:lnTo>
                  <a:lnTo>
                    <a:pt x="1126" y="698"/>
                  </a:lnTo>
                  <a:lnTo>
                    <a:pt x="1126" y="700"/>
                  </a:lnTo>
                  <a:lnTo>
                    <a:pt x="1124" y="700"/>
                  </a:lnTo>
                  <a:lnTo>
                    <a:pt x="1124" y="701"/>
                  </a:lnTo>
                  <a:lnTo>
                    <a:pt x="1124" y="703"/>
                  </a:lnTo>
                  <a:lnTo>
                    <a:pt x="1123" y="703"/>
                  </a:lnTo>
                  <a:lnTo>
                    <a:pt x="1121" y="701"/>
                  </a:lnTo>
                  <a:lnTo>
                    <a:pt x="1121" y="703"/>
                  </a:lnTo>
                  <a:lnTo>
                    <a:pt x="1121" y="705"/>
                  </a:lnTo>
                  <a:lnTo>
                    <a:pt x="1123" y="705"/>
                  </a:lnTo>
                  <a:lnTo>
                    <a:pt x="1124" y="705"/>
                  </a:lnTo>
                  <a:lnTo>
                    <a:pt x="1124" y="703"/>
                  </a:lnTo>
                  <a:lnTo>
                    <a:pt x="1126" y="701"/>
                  </a:lnTo>
                  <a:lnTo>
                    <a:pt x="1126" y="700"/>
                  </a:lnTo>
                  <a:lnTo>
                    <a:pt x="1128" y="700"/>
                  </a:lnTo>
                  <a:lnTo>
                    <a:pt x="1128" y="701"/>
                  </a:lnTo>
                  <a:lnTo>
                    <a:pt x="1128" y="703"/>
                  </a:lnTo>
                  <a:lnTo>
                    <a:pt x="1128" y="701"/>
                  </a:lnTo>
                  <a:lnTo>
                    <a:pt x="1129" y="700"/>
                  </a:lnTo>
                  <a:lnTo>
                    <a:pt x="1128" y="700"/>
                  </a:lnTo>
                  <a:lnTo>
                    <a:pt x="1129" y="698"/>
                  </a:lnTo>
                  <a:lnTo>
                    <a:pt x="1129" y="700"/>
                  </a:lnTo>
                  <a:lnTo>
                    <a:pt x="1129" y="698"/>
                  </a:lnTo>
                  <a:lnTo>
                    <a:pt x="1129" y="700"/>
                  </a:lnTo>
                  <a:lnTo>
                    <a:pt x="1131" y="698"/>
                  </a:lnTo>
                  <a:lnTo>
                    <a:pt x="1129" y="698"/>
                  </a:lnTo>
                  <a:lnTo>
                    <a:pt x="1129" y="696"/>
                  </a:lnTo>
                  <a:lnTo>
                    <a:pt x="1129" y="695"/>
                  </a:lnTo>
                  <a:lnTo>
                    <a:pt x="1129" y="696"/>
                  </a:lnTo>
                  <a:lnTo>
                    <a:pt x="1128" y="695"/>
                  </a:lnTo>
                  <a:lnTo>
                    <a:pt x="1128" y="693"/>
                  </a:lnTo>
                  <a:lnTo>
                    <a:pt x="1128" y="692"/>
                  </a:lnTo>
                  <a:lnTo>
                    <a:pt x="1128" y="693"/>
                  </a:lnTo>
                  <a:lnTo>
                    <a:pt x="1128" y="688"/>
                  </a:lnTo>
                  <a:lnTo>
                    <a:pt x="1128" y="690"/>
                  </a:lnTo>
                  <a:lnTo>
                    <a:pt x="1128" y="692"/>
                  </a:lnTo>
                  <a:lnTo>
                    <a:pt x="1128" y="690"/>
                  </a:lnTo>
                  <a:lnTo>
                    <a:pt x="1128" y="692"/>
                  </a:lnTo>
                  <a:lnTo>
                    <a:pt x="1129" y="692"/>
                  </a:lnTo>
                  <a:lnTo>
                    <a:pt x="1128" y="688"/>
                  </a:lnTo>
                  <a:lnTo>
                    <a:pt x="1128" y="687"/>
                  </a:lnTo>
                  <a:lnTo>
                    <a:pt x="1129" y="687"/>
                  </a:lnTo>
                  <a:lnTo>
                    <a:pt x="1128" y="687"/>
                  </a:lnTo>
                  <a:lnTo>
                    <a:pt x="1129" y="687"/>
                  </a:lnTo>
                  <a:lnTo>
                    <a:pt x="1129" y="685"/>
                  </a:lnTo>
                  <a:lnTo>
                    <a:pt x="1129" y="687"/>
                  </a:lnTo>
                  <a:lnTo>
                    <a:pt x="1131" y="688"/>
                  </a:lnTo>
                  <a:lnTo>
                    <a:pt x="1132" y="688"/>
                  </a:lnTo>
                  <a:lnTo>
                    <a:pt x="1132" y="690"/>
                  </a:lnTo>
                  <a:lnTo>
                    <a:pt x="1132" y="692"/>
                  </a:lnTo>
                  <a:lnTo>
                    <a:pt x="1132" y="693"/>
                  </a:lnTo>
                  <a:lnTo>
                    <a:pt x="1134" y="695"/>
                  </a:lnTo>
                  <a:lnTo>
                    <a:pt x="1134" y="696"/>
                  </a:lnTo>
                  <a:lnTo>
                    <a:pt x="1134" y="698"/>
                  </a:lnTo>
                  <a:lnTo>
                    <a:pt x="1136" y="696"/>
                  </a:lnTo>
                  <a:lnTo>
                    <a:pt x="1136" y="698"/>
                  </a:lnTo>
                  <a:lnTo>
                    <a:pt x="1136" y="700"/>
                  </a:lnTo>
                  <a:lnTo>
                    <a:pt x="1136" y="698"/>
                  </a:lnTo>
                  <a:lnTo>
                    <a:pt x="1137" y="696"/>
                  </a:lnTo>
                  <a:lnTo>
                    <a:pt x="1137" y="698"/>
                  </a:lnTo>
                  <a:lnTo>
                    <a:pt x="1139" y="698"/>
                  </a:lnTo>
                  <a:lnTo>
                    <a:pt x="1141" y="696"/>
                  </a:lnTo>
                  <a:lnTo>
                    <a:pt x="1139" y="696"/>
                  </a:lnTo>
                  <a:lnTo>
                    <a:pt x="1141" y="695"/>
                  </a:lnTo>
                  <a:lnTo>
                    <a:pt x="1141" y="693"/>
                  </a:lnTo>
                  <a:lnTo>
                    <a:pt x="1141" y="692"/>
                  </a:lnTo>
                  <a:lnTo>
                    <a:pt x="1141" y="690"/>
                  </a:lnTo>
                  <a:lnTo>
                    <a:pt x="1142" y="688"/>
                  </a:lnTo>
                  <a:lnTo>
                    <a:pt x="1141" y="688"/>
                  </a:lnTo>
                  <a:lnTo>
                    <a:pt x="1141" y="687"/>
                  </a:lnTo>
                  <a:lnTo>
                    <a:pt x="1139" y="687"/>
                  </a:lnTo>
                  <a:lnTo>
                    <a:pt x="1139" y="685"/>
                  </a:lnTo>
                  <a:lnTo>
                    <a:pt x="1141" y="687"/>
                  </a:lnTo>
                  <a:lnTo>
                    <a:pt x="1141" y="685"/>
                  </a:lnTo>
                  <a:lnTo>
                    <a:pt x="1142" y="685"/>
                  </a:lnTo>
                  <a:lnTo>
                    <a:pt x="1142" y="687"/>
                  </a:lnTo>
                  <a:lnTo>
                    <a:pt x="1144" y="687"/>
                  </a:lnTo>
                  <a:lnTo>
                    <a:pt x="1144" y="685"/>
                  </a:lnTo>
                  <a:lnTo>
                    <a:pt x="1145" y="685"/>
                  </a:lnTo>
                  <a:lnTo>
                    <a:pt x="1147" y="685"/>
                  </a:lnTo>
                  <a:lnTo>
                    <a:pt x="1149" y="685"/>
                  </a:lnTo>
                  <a:lnTo>
                    <a:pt x="1147" y="683"/>
                  </a:lnTo>
                  <a:lnTo>
                    <a:pt x="1149" y="683"/>
                  </a:lnTo>
                  <a:lnTo>
                    <a:pt x="1149" y="685"/>
                  </a:lnTo>
                  <a:lnTo>
                    <a:pt x="1150" y="683"/>
                  </a:lnTo>
                  <a:lnTo>
                    <a:pt x="1150" y="685"/>
                  </a:lnTo>
                  <a:lnTo>
                    <a:pt x="1154" y="687"/>
                  </a:lnTo>
                  <a:lnTo>
                    <a:pt x="1154" y="688"/>
                  </a:lnTo>
                  <a:lnTo>
                    <a:pt x="1154" y="687"/>
                  </a:lnTo>
                  <a:lnTo>
                    <a:pt x="1155" y="687"/>
                  </a:lnTo>
                  <a:lnTo>
                    <a:pt x="1157" y="688"/>
                  </a:lnTo>
                  <a:lnTo>
                    <a:pt x="1158" y="688"/>
                  </a:lnTo>
                  <a:lnTo>
                    <a:pt x="1158" y="690"/>
                  </a:lnTo>
                  <a:lnTo>
                    <a:pt x="1160" y="690"/>
                  </a:lnTo>
                  <a:lnTo>
                    <a:pt x="1158" y="690"/>
                  </a:lnTo>
                  <a:lnTo>
                    <a:pt x="1158" y="692"/>
                  </a:lnTo>
                  <a:lnTo>
                    <a:pt x="1158" y="693"/>
                  </a:lnTo>
                  <a:lnTo>
                    <a:pt x="1157" y="693"/>
                  </a:lnTo>
                  <a:lnTo>
                    <a:pt x="1158" y="693"/>
                  </a:lnTo>
                  <a:lnTo>
                    <a:pt x="1158" y="692"/>
                  </a:lnTo>
                  <a:lnTo>
                    <a:pt x="1158" y="690"/>
                  </a:lnTo>
                  <a:lnTo>
                    <a:pt x="1158" y="692"/>
                  </a:lnTo>
                  <a:lnTo>
                    <a:pt x="1160" y="690"/>
                  </a:lnTo>
                  <a:lnTo>
                    <a:pt x="1160" y="692"/>
                  </a:lnTo>
                  <a:lnTo>
                    <a:pt x="1160" y="690"/>
                  </a:lnTo>
                  <a:lnTo>
                    <a:pt x="1160" y="692"/>
                  </a:lnTo>
                  <a:lnTo>
                    <a:pt x="1160" y="690"/>
                  </a:lnTo>
                  <a:lnTo>
                    <a:pt x="1160" y="688"/>
                  </a:lnTo>
                  <a:lnTo>
                    <a:pt x="1160" y="687"/>
                  </a:lnTo>
                  <a:lnTo>
                    <a:pt x="1158" y="685"/>
                  </a:lnTo>
                  <a:lnTo>
                    <a:pt x="1157" y="685"/>
                  </a:lnTo>
                  <a:lnTo>
                    <a:pt x="1155" y="685"/>
                  </a:lnTo>
                  <a:lnTo>
                    <a:pt x="1154" y="685"/>
                  </a:lnTo>
                  <a:lnTo>
                    <a:pt x="1154" y="687"/>
                  </a:lnTo>
                  <a:lnTo>
                    <a:pt x="1152" y="685"/>
                  </a:lnTo>
                  <a:lnTo>
                    <a:pt x="1150" y="685"/>
                  </a:lnTo>
                  <a:lnTo>
                    <a:pt x="1150" y="683"/>
                  </a:lnTo>
                  <a:lnTo>
                    <a:pt x="1152" y="683"/>
                  </a:lnTo>
                  <a:lnTo>
                    <a:pt x="1150" y="683"/>
                  </a:lnTo>
                  <a:lnTo>
                    <a:pt x="1149" y="683"/>
                  </a:lnTo>
                  <a:lnTo>
                    <a:pt x="1149" y="682"/>
                  </a:lnTo>
                  <a:lnTo>
                    <a:pt x="1145" y="685"/>
                  </a:lnTo>
                  <a:lnTo>
                    <a:pt x="1144" y="685"/>
                  </a:lnTo>
                  <a:lnTo>
                    <a:pt x="1142" y="683"/>
                  </a:lnTo>
                  <a:lnTo>
                    <a:pt x="1144" y="683"/>
                  </a:lnTo>
                  <a:lnTo>
                    <a:pt x="1142" y="683"/>
                  </a:lnTo>
                  <a:lnTo>
                    <a:pt x="1141" y="683"/>
                  </a:lnTo>
                  <a:lnTo>
                    <a:pt x="1141" y="685"/>
                  </a:lnTo>
                  <a:lnTo>
                    <a:pt x="1139" y="683"/>
                  </a:lnTo>
                  <a:lnTo>
                    <a:pt x="1141" y="683"/>
                  </a:lnTo>
                  <a:lnTo>
                    <a:pt x="1141" y="682"/>
                  </a:lnTo>
                  <a:lnTo>
                    <a:pt x="1141" y="680"/>
                  </a:lnTo>
                  <a:lnTo>
                    <a:pt x="1142" y="682"/>
                  </a:lnTo>
                  <a:lnTo>
                    <a:pt x="1142" y="679"/>
                  </a:lnTo>
                  <a:lnTo>
                    <a:pt x="1142" y="680"/>
                  </a:lnTo>
                  <a:lnTo>
                    <a:pt x="1144" y="679"/>
                  </a:lnTo>
                  <a:lnTo>
                    <a:pt x="1142" y="679"/>
                  </a:lnTo>
                  <a:lnTo>
                    <a:pt x="1144" y="677"/>
                  </a:lnTo>
                  <a:lnTo>
                    <a:pt x="1144" y="675"/>
                  </a:lnTo>
                  <a:lnTo>
                    <a:pt x="1144" y="674"/>
                  </a:lnTo>
                  <a:lnTo>
                    <a:pt x="1144" y="672"/>
                  </a:lnTo>
                  <a:lnTo>
                    <a:pt x="1145" y="670"/>
                  </a:lnTo>
                  <a:lnTo>
                    <a:pt x="1145" y="672"/>
                  </a:lnTo>
                  <a:lnTo>
                    <a:pt x="1147" y="670"/>
                  </a:lnTo>
                  <a:lnTo>
                    <a:pt x="1149" y="669"/>
                  </a:lnTo>
                  <a:lnTo>
                    <a:pt x="1150" y="669"/>
                  </a:lnTo>
                  <a:lnTo>
                    <a:pt x="1150" y="667"/>
                  </a:lnTo>
                  <a:lnTo>
                    <a:pt x="1150" y="669"/>
                  </a:lnTo>
                  <a:lnTo>
                    <a:pt x="1150" y="667"/>
                  </a:lnTo>
                  <a:lnTo>
                    <a:pt x="1150" y="669"/>
                  </a:lnTo>
                  <a:lnTo>
                    <a:pt x="1152" y="667"/>
                  </a:lnTo>
                  <a:lnTo>
                    <a:pt x="1152" y="669"/>
                  </a:lnTo>
                  <a:lnTo>
                    <a:pt x="1150" y="670"/>
                  </a:lnTo>
                  <a:lnTo>
                    <a:pt x="1152" y="670"/>
                  </a:lnTo>
                  <a:lnTo>
                    <a:pt x="1154" y="669"/>
                  </a:lnTo>
                  <a:lnTo>
                    <a:pt x="1154" y="670"/>
                  </a:lnTo>
                  <a:lnTo>
                    <a:pt x="1154" y="669"/>
                  </a:lnTo>
                  <a:lnTo>
                    <a:pt x="1154" y="670"/>
                  </a:lnTo>
                  <a:lnTo>
                    <a:pt x="1155" y="669"/>
                  </a:lnTo>
                  <a:lnTo>
                    <a:pt x="1155" y="670"/>
                  </a:lnTo>
                  <a:lnTo>
                    <a:pt x="1157" y="670"/>
                  </a:lnTo>
                  <a:lnTo>
                    <a:pt x="1157" y="669"/>
                  </a:lnTo>
                  <a:lnTo>
                    <a:pt x="1158" y="667"/>
                  </a:lnTo>
                  <a:lnTo>
                    <a:pt x="1160" y="667"/>
                  </a:lnTo>
                  <a:lnTo>
                    <a:pt x="1160" y="669"/>
                  </a:lnTo>
                  <a:lnTo>
                    <a:pt x="1162" y="669"/>
                  </a:lnTo>
                  <a:lnTo>
                    <a:pt x="1163" y="670"/>
                  </a:lnTo>
                  <a:lnTo>
                    <a:pt x="1163" y="669"/>
                  </a:lnTo>
                  <a:lnTo>
                    <a:pt x="1165" y="669"/>
                  </a:lnTo>
                  <a:lnTo>
                    <a:pt x="1167" y="667"/>
                  </a:lnTo>
                  <a:lnTo>
                    <a:pt x="1165" y="669"/>
                  </a:lnTo>
                  <a:lnTo>
                    <a:pt x="1165" y="667"/>
                  </a:lnTo>
                  <a:lnTo>
                    <a:pt x="1163" y="669"/>
                  </a:lnTo>
                  <a:lnTo>
                    <a:pt x="1162" y="667"/>
                  </a:lnTo>
                  <a:lnTo>
                    <a:pt x="1162" y="669"/>
                  </a:lnTo>
                  <a:lnTo>
                    <a:pt x="1160" y="667"/>
                  </a:lnTo>
                  <a:lnTo>
                    <a:pt x="1160" y="665"/>
                  </a:lnTo>
                  <a:lnTo>
                    <a:pt x="1158" y="667"/>
                  </a:lnTo>
                  <a:lnTo>
                    <a:pt x="1157" y="667"/>
                  </a:lnTo>
                  <a:lnTo>
                    <a:pt x="1155" y="667"/>
                  </a:lnTo>
                  <a:lnTo>
                    <a:pt x="1154" y="667"/>
                  </a:lnTo>
                  <a:lnTo>
                    <a:pt x="1154" y="665"/>
                  </a:lnTo>
                  <a:lnTo>
                    <a:pt x="1152" y="665"/>
                  </a:lnTo>
                  <a:lnTo>
                    <a:pt x="1150" y="667"/>
                  </a:lnTo>
                  <a:lnTo>
                    <a:pt x="1149" y="667"/>
                  </a:lnTo>
                  <a:lnTo>
                    <a:pt x="1147" y="669"/>
                  </a:lnTo>
                  <a:lnTo>
                    <a:pt x="1145" y="670"/>
                  </a:lnTo>
                  <a:lnTo>
                    <a:pt x="1145" y="669"/>
                  </a:lnTo>
                  <a:lnTo>
                    <a:pt x="1144" y="667"/>
                  </a:lnTo>
                  <a:lnTo>
                    <a:pt x="1145" y="665"/>
                  </a:lnTo>
                  <a:lnTo>
                    <a:pt x="1145" y="667"/>
                  </a:lnTo>
                  <a:lnTo>
                    <a:pt x="1145" y="665"/>
                  </a:lnTo>
                  <a:lnTo>
                    <a:pt x="1147" y="665"/>
                  </a:lnTo>
                  <a:lnTo>
                    <a:pt x="1147" y="664"/>
                  </a:lnTo>
                  <a:lnTo>
                    <a:pt x="1149" y="664"/>
                  </a:lnTo>
                  <a:lnTo>
                    <a:pt x="1150" y="662"/>
                  </a:lnTo>
                  <a:lnTo>
                    <a:pt x="1152" y="662"/>
                  </a:lnTo>
                  <a:lnTo>
                    <a:pt x="1154" y="662"/>
                  </a:lnTo>
                  <a:lnTo>
                    <a:pt x="1152" y="662"/>
                  </a:lnTo>
                  <a:lnTo>
                    <a:pt x="1154" y="662"/>
                  </a:lnTo>
                  <a:lnTo>
                    <a:pt x="1155" y="662"/>
                  </a:lnTo>
                  <a:lnTo>
                    <a:pt x="1157" y="662"/>
                  </a:lnTo>
                  <a:lnTo>
                    <a:pt x="1157" y="661"/>
                  </a:lnTo>
                  <a:lnTo>
                    <a:pt x="1158" y="662"/>
                  </a:lnTo>
                  <a:lnTo>
                    <a:pt x="1158" y="664"/>
                  </a:lnTo>
                  <a:lnTo>
                    <a:pt x="1155" y="665"/>
                  </a:lnTo>
                  <a:lnTo>
                    <a:pt x="1154" y="665"/>
                  </a:lnTo>
                  <a:lnTo>
                    <a:pt x="1157" y="664"/>
                  </a:lnTo>
                  <a:lnTo>
                    <a:pt x="1158" y="664"/>
                  </a:lnTo>
                  <a:lnTo>
                    <a:pt x="1160" y="664"/>
                  </a:lnTo>
                  <a:lnTo>
                    <a:pt x="1162" y="664"/>
                  </a:lnTo>
                  <a:lnTo>
                    <a:pt x="1163" y="664"/>
                  </a:lnTo>
                  <a:lnTo>
                    <a:pt x="1163" y="665"/>
                  </a:lnTo>
                  <a:lnTo>
                    <a:pt x="1163" y="664"/>
                  </a:lnTo>
                  <a:lnTo>
                    <a:pt x="1165" y="665"/>
                  </a:lnTo>
                  <a:lnTo>
                    <a:pt x="1165" y="664"/>
                  </a:lnTo>
                  <a:lnTo>
                    <a:pt x="1167" y="664"/>
                  </a:lnTo>
                  <a:lnTo>
                    <a:pt x="1167" y="662"/>
                  </a:lnTo>
                  <a:lnTo>
                    <a:pt x="1168" y="661"/>
                  </a:lnTo>
                  <a:lnTo>
                    <a:pt x="1170" y="661"/>
                  </a:lnTo>
                  <a:lnTo>
                    <a:pt x="1171" y="661"/>
                  </a:lnTo>
                  <a:lnTo>
                    <a:pt x="1171" y="662"/>
                  </a:lnTo>
                  <a:lnTo>
                    <a:pt x="1173" y="662"/>
                  </a:lnTo>
                  <a:lnTo>
                    <a:pt x="1175" y="662"/>
                  </a:lnTo>
                  <a:lnTo>
                    <a:pt x="1175" y="661"/>
                  </a:lnTo>
                  <a:lnTo>
                    <a:pt x="1176" y="661"/>
                  </a:lnTo>
                  <a:lnTo>
                    <a:pt x="1178" y="659"/>
                  </a:lnTo>
                  <a:lnTo>
                    <a:pt x="1180" y="659"/>
                  </a:lnTo>
                  <a:lnTo>
                    <a:pt x="1181" y="659"/>
                  </a:lnTo>
                  <a:lnTo>
                    <a:pt x="1181" y="661"/>
                  </a:lnTo>
                  <a:lnTo>
                    <a:pt x="1180" y="661"/>
                  </a:lnTo>
                  <a:lnTo>
                    <a:pt x="1178" y="662"/>
                  </a:lnTo>
                  <a:lnTo>
                    <a:pt x="1178" y="664"/>
                  </a:lnTo>
                  <a:lnTo>
                    <a:pt x="1180" y="664"/>
                  </a:lnTo>
                  <a:lnTo>
                    <a:pt x="1178" y="665"/>
                  </a:lnTo>
                  <a:lnTo>
                    <a:pt x="1178" y="664"/>
                  </a:lnTo>
                  <a:lnTo>
                    <a:pt x="1178" y="665"/>
                  </a:lnTo>
                  <a:lnTo>
                    <a:pt x="1176" y="667"/>
                  </a:lnTo>
                  <a:lnTo>
                    <a:pt x="1175" y="669"/>
                  </a:lnTo>
                  <a:lnTo>
                    <a:pt x="1176" y="669"/>
                  </a:lnTo>
                  <a:lnTo>
                    <a:pt x="1175" y="670"/>
                  </a:lnTo>
                  <a:lnTo>
                    <a:pt x="1175" y="672"/>
                  </a:lnTo>
                  <a:lnTo>
                    <a:pt x="1176" y="672"/>
                  </a:lnTo>
                  <a:lnTo>
                    <a:pt x="1178" y="672"/>
                  </a:lnTo>
                  <a:lnTo>
                    <a:pt x="1178" y="674"/>
                  </a:lnTo>
                  <a:lnTo>
                    <a:pt x="1180" y="675"/>
                  </a:lnTo>
                  <a:lnTo>
                    <a:pt x="1180" y="677"/>
                  </a:lnTo>
                  <a:lnTo>
                    <a:pt x="1181" y="677"/>
                  </a:lnTo>
                  <a:lnTo>
                    <a:pt x="1181" y="675"/>
                  </a:lnTo>
                  <a:lnTo>
                    <a:pt x="1181" y="674"/>
                  </a:lnTo>
                  <a:lnTo>
                    <a:pt x="1180" y="674"/>
                  </a:lnTo>
                  <a:lnTo>
                    <a:pt x="1180" y="672"/>
                  </a:lnTo>
                  <a:lnTo>
                    <a:pt x="1178" y="670"/>
                  </a:lnTo>
                  <a:lnTo>
                    <a:pt x="1176" y="670"/>
                  </a:lnTo>
                  <a:lnTo>
                    <a:pt x="1178" y="667"/>
                  </a:lnTo>
                  <a:lnTo>
                    <a:pt x="1180" y="665"/>
                  </a:lnTo>
                  <a:lnTo>
                    <a:pt x="1180" y="664"/>
                  </a:lnTo>
                  <a:lnTo>
                    <a:pt x="1181" y="664"/>
                  </a:lnTo>
                  <a:lnTo>
                    <a:pt x="1181" y="662"/>
                  </a:lnTo>
                  <a:lnTo>
                    <a:pt x="1181" y="664"/>
                  </a:lnTo>
                  <a:lnTo>
                    <a:pt x="1181" y="662"/>
                  </a:lnTo>
                  <a:lnTo>
                    <a:pt x="1181" y="661"/>
                  </a:lnTo>
                  <a:lnTo>
                    <a:pt x="1183" y="661"/>
                  </a:lnTo>
                  <a:lnTo>
                    <a:pt x="1184" y="661"/>
                  </a:lnTo>
                  <a:lnTo>
                    <a:pt x="1184" y="659"/>
                  </a:lnTo>
                  <a:lnTo>
                    <a:pt x="1186" y="661"/>
                  </a:lnTo>
                  <a:lnTo>
                    <a:pt x="1188" y="661"/>
                  </a:lnTo>
                  <a:lnTo>
                    <a:pt x="1188" y="662"/>
                  </a:lnTo>
                  <a:lnTo>
                    <a:pt x="1188" y="664"/>
                  </a:lnTo>
                  <a:lnTo>
                    <a:pt x="1189" y="664"/>
                  </a:lnTo>
                  <a:lnTo>
                    <a:pt x="1189" y="662"/>
                  </a:lnTo>
                  <a:lnTo>
                    <a:pt x="1191" y="662"/>
                  </a:lnTo>
                  <a:lnTo>
                    <a:pt x="1193" y="661"/>
                  </a:lnTo>
                  <a:lnTo>
                    <a:pt x="1194" y="662"/>
                  </a:lnTo>
                  <a:lnTo>
                    <a:pt x="1196" y="664"/>
                  </a:lnTo>
                  <a:lnTo>
                    <a:pt x="1197" y="664"/>
                  </a:lnTo>
                  <a:lnTo>
                    <a:pt x="1197" y="665"/>
                  </a:lnTo>
                  <a:lnTo>
                    <a:pt x="1199" y="665"/>
                  </a:lnTo>
                  <a:lnTo>
                    <a:pt x="1201" y="665"/>
                  </a:lnTo>
                  <a:lnTo>
                    <a:pt x="1202" y="665"/>
                  </a:lnTo>
                  <a:lnTo>
                    <a:pt x="1204" y="665"/>
                  </a:lnTo>
                  <a:lnTo>
                    <a:pt x="1204" y="667"/>
                  </a:lnTo>
                  <a:lnTo>
                    <a:pt x="1204" y="669"/>
                  </a:lnTo>
                  <a:lnTo>
                    <a:pt x="1204" y="670"/>
                  </a:lnTo>
                  <a:lnTo>
                    <a:pt x="1204" y="672"/>
                  </a:lnTo>
                  <a:lnTo>
                    <a:pt x="1204" y="674"/>
                  </a:lnTo>
                  <a:lnTo>
                    <a:pt x="1204" y="672"/>
                  </a:lnTo>
                  <a:lnTo>
                    <a:pt x="1206" y="672"/>
                  </a:lnTo>
                  <a:lnTo>
                    <a:pt x="1204" y="674"/>
                  </a:lnTo>
                  <a:lnTo>
                    <a:pt x="1204" y="675"/>
                  </a:lnTo>
                  <a:lnTo>
                    <a:pt x="1204" y="677"/>
                  </a:lnTo>
                  <a:lnTo>
                    <a:pt x="1206" y="677"/>
                  </a:lnTo>
                  <a:lnTo>
                    <a:pt x="1206" y="679"/>
                  </a:lnTo>
                  <a:lnTo>
                    <a:pt x="1204" y="680"/>
                  </a:lnTo>
                  <a:lnTo>
                    <a:pt x="1206" y="679"/>
                  </a:lnTo>
                  <a:lnTo>
                    <a:pt x="1206" y="677"/>
                  </a:lnTo>
                  <a:lnTo>
                    <a:pt x="1207" y="679"/>
                  </a:lnTo>
                  <a:lnTo>
                    <a:pt x="1209" y="679"/>
                  </a:lnTo>
                  <a:lnTo>
                    <a:pt x="1209" y="677"/>
                  </a:lnTo>
                  <a:lnTo>
                    <a:pt x="1207" y="677"/>
                  </a:lnTo>
                  <a:lnTo>
                    <a:pt x="1206" y="675"/>
                  </a:lnTo>
                  <a:lnTo>
                    <a:pt x="1207" y="675"/>
                  </a:lnTo>
                  <a:lnTo>
                    <a:pt x="1207" y="674"/>
                  </a:lnTo>
                  <a:lnTo>
                    <a:pt x="1207" y="672"/>
                  </a:lnTo>
                  <a:lnTo>
                    <a:pt x="1206" y="672"/>
                  </a:lnTo>
                  <a:lnTo>
                    <a:pt x="1206" y="670"/>
                  </a:lnTo>
                  <a:lnTo>
                    <a:pt x="1207" y="670"/>
                  </a:lnTo>
                  <a:lnTo>
                    <a:pt x="1207" y="669"/>
                  </a:lnTo>
                  <a:lnTo>
                    <a:pt x="1209" y="669"/>
                  </a:lnTo>
                  <a:lnTo>
                    <a:pt x="1209" y="667"/>
                  </a:lnTo>
                  <a:lnTo>
                    <a:pt x="1207" y="667"/>
                  </a:lnTo>
                  <a:lnTo>
                    <a:pt x="1207" y="665"/>
                  </a:lnTo>
                  <a:lnTo>
                    <a:pt x="1207" y="664"/>
                  </a:lnTo>
                  <a:lnTo>
                    <a:pt x="1206" y="664"/>
                  </a:lnTo>
                  <a:lnTo>
                    <a:pt x="1206" y="662"/>
                  </a:lnTo>
                  <a:lnTo>
                    <a:pt x="1204" y="662"/>
                  </a:lnTo>
                  <a:lnTo>
                    <a:pt x="1202" y="662"/>
                  </a:lnTo>
                  <a:lnTo>
                    <a:pt x="1202" y="661"/>
                  </a:lnTo>
                  <a:lnTo>
                    <a:pt x="1204" y="661"/>
                  </a:lnTo>
                  <a:lnTo>
                    <a:pt x="1202" y="661"/>
                  </a:lnTo>
                  <a:lnTo>
                    <a:pt x="1201" y="661"/>
                  </a:lnTo>
                  <a:lnTo>
                    <a:pt x="1201" y="659"/>
                  </a:lnTo>
                  <a:lnTo>
                    <a:pt x="1202" y="659"/>
                  </a:lnTo>
                  <a:lnTo>
                    <a:pt x="1202" y="657"/>
                  </a:lnTo>
                  <a:lnTo>
                    <a:pt x="1204" y="657"/>
                  </a:lnTo>
                  <a:lnTo>
                    <a:pt x="1204" y="656"/>
                  </a:lnTo>
                  <a:lnTo>
                    <a:pt x="1204" y="654"/>
                  </a:lnTo>
                  <a:lnTo>
                    <a:pt x="1202" y="656"/>
                  </a:lnTo>
                  <a:lnTo>
                    <a:pt x="1201" y="657"/>
                  </a:lnTo>
                  <a:lnTo>
                    <a:pt x="1199" y="657"/>
                  </a:lnTo>
                  <a:lnTo>
                    <a:pt x="1199" y="659"/>
                  </a:lnTo>
                  <a:lnTo>
                    <a:pt x="1197" y="659"/>
                  </a:lnTo>
                  <a:lnTo>
                    <a:pt x="1197" y="661"/>
                  </a:lnTo>
                  <a:lnTo>
                    <a:pt x="1196" y="659"/>
                  </a:lnTo>
                  <a:lnTo>
                    <a:pt x="1194" y="659"/>
                  </a:lnTo>
                  <a:lnTo>
                    <a:pt x="1196" y="657"/>
                  </a:lnTo>
                  <a:lnTo>
                    <a:pt x="1197" y="657"/>
                  </a:lnTo>
                  <a:lnTo>
                    <a:pt x="1199" y="657"/>
                  </a:lnTo>
                  <a:lnTo>
                    <a:pt x="1199" y="656"/>
                  </a:lnTo>
                  <a:lnTo>
                    <a:pt x="1199" y="654"/>
                  </a:lnTo>
                  <a:lnTo>
                    <a:pt x="1197" y="654"/>
                  </a:lnTo>
                  <a:lnTo>
                    <a:pt x="1196" y="654"/>
                  </a:lnTo>
                  <a:lnTo>
                    <a:pt x="1196" y="656"/>
                  </a:lnTo>
                  <a:lnTo>
                    <a:pt x="1196" y="654"/>
                  </a:lnTo>
                  <a:lnTo>
                    <a:pt x="1194" y="654"/>
                  </a:lnTo>
                  <a:lnTo>
                    <a:pt x="1193" y="654"/>
                  </a:lnTo>
                  <a:lnTo>
                    <a:pt x="1193" y="656"/>
                  </a:lnTo>
                  <a:lnTo>
                    <a:pt x="1191" y="656"/>
                  </a:lnTo>
                  <a:lnTo>
                    <a:pt x="1191" y="657"/>
                  </a:lnTo>
                  <a:lnTo>
                    <a:pt x="1189" y="657"/>
                  </a:lnTo>
                  <a:lnTo>
                    <a:pt x="1188" y="656"/>
                  </a:lnTo>
                  <a:lnTo>
                    <a:pt x="1186" y="654"/>
                  </a:lnTo>
                  <a:lnTo>
                    <a:pt x="1184" y="654"/>
                  </a:lnTo>
                  <a:lnTo>
                    <a:pt x="1183" y="656"/>
                  </a:lnTo>
                  <a:lnTo>
                    <a:pt x="1183" y="654"/>
                  </a:lnTo>
                  <a:lnTo>
                    <a:pt x="1184" y="652"/>
                  </a:lnTo>
                  <a:lnTo>
                    <a:pt x="1184" y="654"/>
                  </a:lnTo>
                  <a:lnTo>
                    <a:pt x="1186" y="654"/>
                  </a:lnTo>
                  <a:lnTo>
                    <a:pt x="1186" y="652"/>
                  </a:lnTo>
                  <a:lnTo>
                    <a:pt x="1188" y="652"/>
                  </a:lnTo>
                  <a:lnTo>
                    <a:pt x="1188" y="651"/>
                  </a:lnTo>
                  <a:lnTo>
                    <a:pt x="1188" y="652"/>
                  </a:lnTo>
                  <a:lnTo>
                    <a:pt x="1188" y="651"/>
                  </a:lnTo>
                  <a:lnTo>
                    <a:pt x="1189" y="652"/>
                  </a:lnTo>
                  <a:lnTo>
                    <a:pt x="1189" y="651"/>
                  </a:lnTo>
                  <a:lnTo>
                    <a:pt x="1188" y="651"/>
                  </a:lnTo>
                  <a:lnTo>
                    <a:pt x="1188" y="649"/>
                  </a:lnTo>
                  <a:lnTo>
                    <a:pt x="1189" y="648"/>
                  </a:lnTo>
                  <a:lnTo>
                    <a:pt x="1189" y="646"/>
                  </a:lnTo>
                  <a:lnTo>
                    <a:pt x="1188" y="646"/>
                  </a:lnTo>
                  <a:lnTo>
                    <a:pt x="1186" y="646"/>
                  </a:lnTo>
                  <a:lnTo>
                    <a:pt x="1186" y="648"/>
                  </a:lnTo>
                  <a:lnTo>
                    <a:pt x="1184" y="648"/>
                  </a:lnTo>
                  <a:lnTo>
                    <a:pt x="1183" y="648"/>
                  </a:lnTo>
                  <a:lnTo>
                    <a:pt x="1181" y="648"/>
                  </a:lnTo>
                  <a:lnTo>
                    <a:pt x="1181" y="649"/>
                  </a:lnTo>
                  <a:lnTo>
                    <a:pt x="1180" y="649"/>
                  </a:lnTo>
                  <a:lnTo>
                    <a:pt x="1180" y="651"/>
                  </a:lnTo>
                  <a:lnTo>
                    <a:pt x="1181" y="652"/>
                  </a:lnTo>
                  <a:lnTo>
                    <a:pt x="1181" y="651"/>
                  </a:lnTo>
                  <a:lnTo>
                    <a:pt x="1181" y="652"/>
                  </a:lnTo>
                  <a:lnTo>
                    <a:pt x="1180" y="652"/>
                  </a:lnTo>
                  <a:lnTo>
                    <a:pt x="1178" y="652"/>
                  </a:lnTo>
                  <a:lnTo>
                    <a:pt x="1176" y="652"/>
                  </a:lnTo>
                  <a:lnTo>
                    <a:pt x="1175" y="652"/>
                  </a:lnTo>
                  <a:lnTo>
                    <a:pt x="1173" y="652"/>
                  </a:lnTo>
                  <a:lnTo>
                    <a:pt x="1171" y="652"/>
                  </a:lnTo>
                  <a:lnTo>
                    <a:pt x="1170" y="652"/>
                  </a:lnTo>
                  <a:lnTo>
                    <a:pt x="1168" y="654"/>
                  </a:lnTo>
                  <a:lnTo>
                    <a:pt x="1170" y="654"/>
                  </a:lnTo>
                  <a:lnTo>
                    <a:pt x="1171" y="654"/>
                  </a:lnTo>
                  <a:lnTo>
                    <a:pt x="1173" y="654"/>
                  </a:lnTo>
                  <a:lnTo>
                    <a:pt x="1171" y="654"/>
                  </a:lnTo>
                  <a:lnTo>
                    <a:pt x="1173" y="654"/>
                  </a:lnTo>
                  <a:lnTo>
                    <a:pt x="1171" y="654"/>
                  </a:lnTo>
                  <a:lnTo>
                    <a:pt x="1171" y="656"/>
                  </a:lnTo>
                  <a:lnTo>
                    <a:pt x="1170" y="656"/>
                  </a:lnTo>
                  <a:lnTo>
                    <a:pt x="1168" y="657"/>
                  </a:lnTo>
                  <a:lnTo>
                    <a:pt x="1167" y="659"/>
                  </a:lnTo>
                  <a:lnTo>
                    <a:pt x="1167" y="661"/>
                  </a:lnTo>
                  <a:lnTo>
                    <a:pt x="1165" y="661"/>
                  </a:lnTo>
                  <a:lnTo>
                    <a:pt x="1165" y="662"/>
                  </a:lnTo>
                  <a:lnTo>
                    <a:pt x="1163" y="664"/>
                  </a:lnTo>
                  <a:lnTo>
                    <a:pt x="1162" y="664"/>
                  </a:lnTo>
                  <a:lnTo>
                    <a:pt x="1162" y="662"/>
                  </a:lnTo>
                  <a:lnTo>
                    <a:pt x="1160" y="662"/>
                  </a:lnTo>
                  <a:lnTo>
                    <a:pt x="1158" y="662"/>
                  </a:lnTo>
                  <a:lnTo>
                    <a:pt x="1158" y="661"/>
                  </a:lnTo>
                  <a:lnTo>
                    <a:pt x="1160" y="661"/>
                  </a:lnTo>
                  <a:lnTo>
                    <a:pt x="1162" y="661"/>
                  </a:lnTo>
                  <a:lnTo>
                    <a:pt x="1163" y="661"/>
                  </a:lnTo>
                  <a:lnTo>
                    <a:pt x="1165" y="661"/>
                  </a:lnTo>
                  <a:lnTo>
                    <a:pt x="1163" y="661"/>
                  </a:lnTo>
                  <a:lnTo>
                    <a:pt x="1165" y="661"/>
                  </a:lnTo>
                  <a:lnTo>
                    <a:pt x="1163" y="659"/>
                  </a:lnTo>
                  <a:lnTo>
                    <a:pt x="1163" y="657"/>
                  </a:lnTo>
                  <a:lnTo>
                    <a:pt x="1165" y="657"/>
                  </a:lnTo>
                  <a:lnTo>
                    <a:pt x="1163" y="657"/>
                  </a:lnTo>
                  <a:lnTo>
                    <a:pt x="1163" y="656"/>
                  </a:lnTo>
                  <a:lnTo>
                    <a:pt x="1165" y="656"/>
                  </a:lnTo>
                  <a:lnTo>
                    <a:pt x="1165" y="654"/>
                  </a:lnTo>
                  <a:lnTo>
                    <a:pt x="1163" y="654"/>
                  </a:lnTo>
                  <a:lnTo>
                    <a:pt x="1163" y="652"/>
                  </a:lnTo>
                  <a:lnTo>
                    <a:pt x="1165" y="652"/>
                  </a:lnTo>
                  <a:lnTo>
                    <a:pt x="1165" y="651"/>
                  </a:lnTo>
                  <a:lnTo>
                    <a:pt x="1163" y="652"/>
                  </a:lnTo>
                  <a:lnTo>
                    <a:pt x="1162" y="652"/>
                  </a:lnTo>
                  <a:lnTo>
                    <a:pt x="1160" y="654"/>
                  </a:lnTo>
                  <a:lnTo>
                    <a:pt x="1158" y="654"/>
                  </a:lnTo>
                  <a:lnTo>
                    <a:pt x="1160" y="654"/>
                  </a:lnTo>
                  <a:lnTo>
                    <a:pt x="1158" y="654"/>
                  </a:lnTo>
                  <a:lnTo>
                    <a:pt x="1158" y="656"/>
                  </a:lnTo>
                  <a:lnTo>
                    <a:pt x="1157" y="656"/>
                  </a:lnTo>
                  <a:lnTo>
                    <a:pt x="1155" y="656"/>
                  </a:lnTo>
                  <a:lnTo>
                    <a:pt x="1154" y="656"/>
                  </a:lnTo>
                  <a:lnTo>
                    <a:pt x="1152" y="657"/>
                  </a:lnTo>
                  <a:lnTo>
                    <a:pt x="1150" y="657"/>
                  </a:lnTo>
                  <a:lnTo>
                    <a:pt x="1149" y="657"/>
                  </a:lnTo>
                  <a:lnTo>
                    <a:pt x="1147" y="657"/>
                  </a:lnTo>
                  <a:lnTo>
                    <a:pt x="1149" y="657"/>
                  </a:lnTo>
                  <a:lnTo>
                    <a:pt x="1147" y="657"/>
                  </a:lnTo>
                  <a:lnTo>
                    <a:pt x="1147" y="659"/>
                  </a:lnTo>
                  <a:lnTo>
                    <a:pt x="1147" y="657"/>
                  </a:lnTo>
                  <a:lnTo>
                    <a:pt x="1145" y="659"/>
                  </a:lnTo>
                  <a:lnTo>
                    <a:pt x="1144" y="659"/>
                  </a:lnTo>
                  <a:lnTo>
                    <a:pt x="1142" y="661"/>
                  </a:lnTo>
                  <a:lnTo>
                    <a:pt x="1142" y="659"/>
                  </a:lnTo>
                  <a:lnTo>
                    <a:pt x="1142" y="661"/>
                  </a:lnTo>
                  <a:lnTo>
                    <a:pt x="1142" y="659"/>
                  </a:lnTo>
                  <a:lnTo>
                    <a:pt x="1144" y="657"/>
                  </a:lnTo>
                  <a:lnTo>
                    <a:pt x="1144" y="656"/>
                  </a:lnTo>
                  <a:lnTo>
                    <a:pt x="1145" y="656"/>
                  </a:lnTo>
                  <a:lnTo>
                    <a:pt x="1147" y="654"/>
                  </a:lnTo>
                  <a:lnTo>
                    <a:pt x="1145" y="654"/>
                  </a:lnTo>
                  <a:lnTo>
                    <a:pt x="1144" y="656"/>
                  </a:lnTo>
                  <a:lnTo>
                    <a:pt x="1145" y="656"/>
                  </a:lnTo>
                  <a:lnTo>
                    <a:pt x="1145" y="654"/>
                  </a:lnTo>
                  <a:lnTo>
                    <a:pt x="1145" y="652"/>
                  </a:lnTo>
                  <a:lnTo>
                    <a:pt x="1145" y="654"/>
                  </a:lnTo>
                  <a:lnTo>
                    <a:pt x="1145" y="652"/>
                  </a:lnTo>
                  <a:lnTo>
                    <a:pt x="1147" y="652"/>
                  </a:lnTo>
                  <a:lnTo>
                    <a:pt x="1149" y="652"/>
                  </a:lnTo>
                  <a:lnTo>
                    <a:pt x="1149" y="651"/>
                  </a:lnTo>
                  <a:lnTo>
                    <a:pt x="1149" y="649"/>
                  </a:lnTo>
                  <a:lnTo>
                    <a:pt x="1150" y="649"/>
                  </a:lnTo>
                  <a:lnTo>
                    <a:pt x="1150" y="648"/>
                  </a:lnTo>
                  <a:lnTo>
                    <a:pt x="1152" y="648"/>
                  </a:lnTo>
                  <a:lnTo>
                    <a:pt x="1152" y="646"/>
                  </a:lnTo>
                  <a:lnTo>
                    <a:pt x="1152" y="648"/>
                  </a:lnTo>
                  <a:lnTo>
                    <a:pt x="1152" y="646"/>
                  </a:lnTo>
                  <a:lnTo>
                    <a:pt x="1154" y="646"/>
                  </a:lnTo>
                  <a:lnTo>
                    <a:pt x="1155" y="644"/>
                  </a:lnTo>
                  <a:lnTo>
                    <a:pt x="1155" y="643"/>
                  </a:lnTo>
                  <a:lnTo>
                    <a:pt x="1157" y="641"/>
                  </a:lnTo>
                  <a:lnTo>
                    <a:pt x="1155" y="641"/>
                  </a:lnTo>
                  <a:lnTo>
                    <a:pt x="1157" y="641"/>
                  </a:lnTo>
                  <a:lnTo>
                    <a:pt x="1158" y="641"/>
                  </a:lnTo>
                  <a:lnTo>
                    <a:pt x="1158" y="639"/>
                  </a:lnTo>
                  <a:lnTo>
                    <a:pt x="1157" y="639"/>
                  </a:lnTo>
                  <a:lnTo>
                    <a:pt x="1158" y="639"/>
                  </a:lnTo>
                  <a:lnTo>
                    <a:pt x="1158" y="638"/>
                  </a:lnTo>
                  <a:lnTo>
                    <a:pt x="1157" y="638"/>
                  </a:lnTo>
                  <a:lnTo>
                    <a:pt x="1155" y="638"/>
                  </a:lnTo>
                  <a:lnTo>
                    <a:pt x="1155" y="636"/>
                  </a:lnTo>
                  <a:lnTo>
                    <a:pt x="1157" y="636"/>
                  </a:lnTo>
                  <a:lnTo>
                    <a:pt x="1158" y="636"/>
                  </a:lnTo>
                  <a:lnTo>
                    <a:pt x="1157" y="636"/>
                  </a:lnTo>
                  <a:lnTo>
                    <a:pt x="1157" y="635"/>
                  </a:lnTo>
                  <a:lnTo>
                    <a:pt x="1158" y="635"/>
                  </a:lnTo>
                  <a:lnTo>
                    <a:pt x="1158" y="633"/>
                  </a:lnTo>
                  <a:lnTo>
                    <a:pt x="1160" y="633"/>
                  </a:lnTo>
                  <a:lnTo>
                    <a:pt x="1160" y="631"/>
                  </a:lnTo>
                  <a:lnTo>
                    <a:pt x="1162" y="631"/>
                  </a:lnTo>
                  <a:lnTo>
                    <a:pt x="1162" y="633"/>
                  </a:lnTo>
                  <a:lnTo>
                    <a:pt x="1163" y="631"/>
                  </a:lnTo>
                  <a:lnTo>
                    <a:pt x="1165" y="633"/>
                  </a:lnTo>
                  <a:lnTo>
                    <a:pt x="1163" y="633"/>
                  </a:lnTo>
                  <a:lnTo>
                    <a:pt x="1165" y="633"/>
                  </a:lnTo>
                  <a:lnTo>
                    <a:pt x="1167" y="633"/>
                  </a:lnTo>
                  <a:lnTo>
                    <a:pt x="1167" y="631"/>
                  </a:lnTo>
                  <a:lnTo>
                    <a:pt x="1168" y="631"/>
                  </a:lnTo>
                  <a:lnTo>
                    <a:pt x="1170" y="633"/>
                  </a:lnTo>
                  <a:lnTo>
                    <a:pt x="1171" y="633"/>
                  </a:lnTo>
                  <a:lnTo>
                    <a:pt x="1170" y="635"/>
                  </a:lnTo>
                  <a:lnTo>
                    <a:pt x="1170" y="636"/>
                  </a:lnTo>
                  <a:lnTo>
                    <a:pt x="1170" y="638"/>
                  </a:lnTo>
                  <a:lnTo>
                    <a:pt x="1168" y="639"/>
                  </a:lnTo>
                  <a:lnTo>
                    <a:pt x="1170" y="639"/>
                  </a:lnTo>
                  <a:lnTo>
                    <a:pt x="1171" y="639"/>
                  </a:lnTo>
                  <a:lnTo>
                    <a:pt x="1171" y="638"/>
                  </a:lnTo>
                  <a:lnTo>
                    <a:pt x="1171" y="636"/>
                  </a:lnTo>
                  <a:lnTo>
                    <a:pt x="1171" y="635"/>
                  </a:lnTo>
                  <a:lnTo>
                    <a:pt x="1173" y="633"/>
                  </a:lnTo>
                  <a:lnTo>
                    <a:pt x="1175" y="633"/>
                  </a:lnTo>
                  <a:lnTo>
                    <a:pt x="1176" y="633"/>
                  </a:lnTo>
                  <a:lnTo>
                    <a:pt x="1175" y="633"/>
                  </a:lnTo>
                  <a:lnTo>
                    <a:pt x="1176" y="630"/>
                  </a:lnTo>
                  <a:lnTo>
                    <a:pt x="1178" y="630"/>
                  </a:lnTo>
                  <a:lnTo>
                    <a:pt x="1180" y="630"/>
                  </a:lnTo>
                  <a:lnTo>
                    <a:pt x="1181" y="630"/>
                  </a:lnTo>
                  <a:lnTo>
                    <a:pt x="1181" y="628"/>
                  </a:lnTo>
                  <a:lnTo>
                    <a:pt x="1180" y="628"/>
                  </a:lnTo>
                  <a:lnTo>
                    <a:pt x="1176" y="630"/>
                  </a:lnTo>
                  <a:lnTo>
                    <a:pt x="1175" y="630"/>
                  </a:lnTo>
                  <a:lnTo>
                    <a:pt x="1173" y="630"/>
                  </a:lnTo>
                  <a:lnTo>
                    <a:pt x="1171" y="630"/>
                  </a:lnTo>
                  <a:lnTo>
                    <a:pt x="1170" y="630"/>
                  </a:lnTo>
                  <a:lnTo>
                    <a:pt x="1168" y="630"/>
                  </a:lnTo>
                  <a:lnTo>
                    <a:pt x="1167" y="630"/>
                  </a:lnTo>
                  <a:lnTo>
                    <a:pt x="1165" y="630"/>
                  </a:lnTo>
                  <a:lnTo>
                    <a:pt x="1162" y="631"/>
                  </a:lnTo>
                  <a:lnTo>
                    <a:pt x="1162" y="630"/>
                  </a:lnTo>
                  <a:lnTo>
                    <a:pt x="1160" y="628"/>
                  </a:lnTo>
                  <a:lnTo>
                    <a:pt x="1158" y="628"/>
                  </a:lnTo>
                  <a:lnTo>
                    <a:pt x="1160" y="625"/>
                  </a:lnTo>
                  <a:lnTo>
                    <a:pt x="1160" y="623"/>
                  </a:lnTo>
                  <a:lnTo>
                    <a:pt x="1162" y="625"/>
                  </a:lnTo>
                  <a:lnTo>
                    <a:pt x="1162" y="623"/>
                  </a:lnTo>
                  <a:lnTo>
                    <a:pt x="1163" y="623"/>
                  </a:lnTo>
                  <a:lnTo>
                    <a:pt x="1163" y="622"/>
                  </a:lnTo>
                  <a:lnTo>
                    <a:pt x="1165" y="620"/>
                  </a:lnTo>
                  <a:lnTo>
                    <a:pt x="1167" y="620"/>
                  </a:lnTo>
                  <a:lnTo>
                    <a:pt x="1167" y="618"/>
                  </a:lnTo>
                  <a:lnTo>
                    <a:pt x="1168" y="618"/>
                  </a:lnTo>
                  <a:lnTo>
                    <a:pt x="1168" y="617"/>
                  </a:lnTo>
                  <a:lnTo>
                    <a:pt x="1168" y="615"/>
                  </a:lnTo>
                  <a:lnTo>
                    <a:pt x="1168" y="617"/>
                  </a:lnTo>
                  <a:lnTo>
                    <a:pt x="1170" y="615"/>
                  </a:lnTo>
                  <a:lnTo>
                    <a:pt x="1170" y="617"/>
                  </a:lnTo>
                  <a:lnTo>
                    <a:pt x="1170" y="615"/>
                  </a:lnTo>
                  <a:lnTo>
                    <a:pt x="1171" y="613"/>
                  </a:lnTo>
                  <a:lnTo>
                    <a:pt x="1170" y="613"/>
                  </a:lnTo>
                  <a:lnTo>
                    <a:pt x="1170" y="615"/>
                  </a:lnTo>
                  <a:lnTo>
                    <a:pt x="1170" y="613"/>
                  </a:lnTo>
                  <a:lnTo>
                    <a:pt x="1171" y="613"/>
                  </a:lnTo>
                  <a:lnTo>
                    <a:pt x="1173" y="612"/>
                  </a:lnTo>
                  <a:lnTo>
                    <a:pt x="1175" y="612"/>
                  </a:lnTo>
                  <a:lnTo>
                    <a:pt x="1176" y="610"/>
                  </a:lnTo>
                  <a:lnTo>
                    <a:pt x="1178" y="610"/>
                  </a:lnTo>
                  <a:lnTo>
                    <a:pt x="1180" y="610"/>
                  </a:lnTo>
                  <a:lnTo>
                    <a:pt x="1180" y="609"/>
                  </a:lnTo>
                  <a:lnTo>
                    <a:pt x="1181" y="609"/>
                  </a:lnTo>
                  <a:lnTo>
                    <a:pt x="1181" y="610"/>
                  </a:lnTo>
                  <a:lnTo>
                    <a:pt x="1183" y="610"/>
                  </a:lnTo>
                  <a:lnTo>
                    <a:pt x="1183" y="612"/>
                  </a:lnTo>
                  <a:lnTo>
                    <a:pt x="1183" y="613"/>
                  </a:lnTo>
                  <a:lnTo>
                    <a:pt x="1183" y="612"/>
                  </a:lnTo>
                  <a:lnTo>
                    <a:pt x="1184" y="612"/>
                  </a:lnTo>
                  <a:lnTo>
                    <a:pt x="1184" y="613"/>
                  </a:lnTo>
                  <a:lnTo>
                    <a:pt x="1184" y="615"/>
                  </a:lnTo>
                  <a:lnTo>
                    <a:pt x="1183" y="617"/>
                  </a:lnTo>
                  <a:lnTo>
                    <a:pt x="1181" y="617"/>
                  </a:lnTo>
                  <a:lnTo>
                    <a:pt x="1181" y="615"/>
                  </a:lnTo>
                  <a:lnTo>
                    <a:pt x="1180" y="615"/>
                  </a:lnTo>
                  <a:lnTo>
                    <a:pt x="1180" y="613"/>
                  </a:lnTo>
                  <a:lnTo>
                    <a:pt x="1178" y="612"/>
                  </a:lnTo>
                  <a:lnTo>
                    <a:pt x="1176" y="612"/>
                  </a:lnTo>
                  <a:lnTo>
                    <a:pt x="1176" y="613"/>
                  </a:lnTo>
                  <a:lnTo>
                    <a:pt x="1176" y="615"/>
                  </a:lnTo>
                  <a:lnTo>
                    <a:pt x="1178" y="615"/>
                  </a:lnTo>
                  <a:lnTo>
                    <a:pt x="1178" y="613"/>
                  </a:lnTo>
                  <a:lnTo>
                    <a:pt x="1178" y="615"/>
                  </a:lnTo>
                  <a:lnTo>
                    <a:pt x="1178" y="617"/>
                  </a:lnTo>
                  <a:lnTo>
                    <a:pt x="1180" y="617"/>
                  </a:lnTo>
                  <a:lnTo>
                    <a:pt x="1181" y="618"/>
                  </a:lnTo>
                  <a:lnTo>
                    <a:pt x="1180" y="620"/>
                  </a:lnTo>
                  <a:lnTo>
                    <a:pt x="1180" y="622"/>
                  </a:lnTo>
                  <a:lnTo>
                    <a:pt x="1178" y="622"/>
                  </a:lnTo>
                  <a:lnTo>
                    <a:pt x="1178" y="623"/>
                  </a:lnTo>
                  <a:lnTo>
                    <a:pt x="1176" y="623"/>
                  </a:lnTo>
                  <a:lnTo>
                    <a:pt x="1175" y="623"/>
                  </a:lnTo>
                  <a:lnTo>
                    <a:pt x="1175" y="625"/>
                  </a:lnTo>
                  <a:lnTo>
                    <a:pt x="1173" y="625"/>
                  </a:lnTo>
                  <a:lnTo>
                    <a:pt x="1175" y="625"/>
                  </a:lnTo>
                  <a:lnTo>
                    <a:pt x="1176" y="625"/>
                  </a:lnTo>
                  <a:lnTo>
                    <a:pt x="1178" y="625"/>
                  </a:lnTo>
                  <a:lnTo>
                    <a:pt x="1178" y="623"/>
                  </a:lnTo>
                  <a:lnTo>
                    <a:pt x="1180" y="623"/>
                  </a:lnTo>
                  <a:lnTo>
                    <a:pt x="1180" y="622"/>
                  </a:lnTo>
                  <a:lnTo>
                    <a:pt x="1181" y="620"/>
                  </a:lnTo>
                  <a:lnTo>
                    <a:pt x="1183" y="622"/>
                  </a:lnTo>
                  <a:lnTo>
                    <a:pt x="1183" y="620"/>
                  </a:lnTo>
                  <a:lnTo>
                    <a:pt x="1184" y="618"/>
                  </a:lnTo>
                  <a:lnTo>
                    <a:pt x="1186" y="617"/>
                  </a:lnTo>
                  <a:lnTo>
                    <a:pt x="1188" y="617"/>
                  </a:lnTo>
                  <a:lnTo>
                    <a:pt x="1188" y="618"/>
                  </a:lnTo>
                  <a:lnTo>
                    <a:pt x="1188" y="620"/>
                  </a:lnTo>
                  <a:lnTo>
                    <a:pt x="1189" y="620"/>
                  </a:lnTo>
                  <a:lnTo>
                    <a:pt x="1191" y="620"/>
                  </a:lnTo>
                  <a:lnTo>
                    <a:pt x="1191" y="622"/>
                  </a:lnTo>
                  <a:lnTo>
                    <a:pt x="1189" y="622"/>
                  </a:lnTo>
                  <a:lnTo>
                    <a:pt x="1188" y="622"/>
                  </a:lnTo>
                  <a:lnTo>
                    <a:pt x="1186" y="622"/>
                  </a:lnTo>
                  <a:lnTo>
                    <a:pt x="1186" y="623"/>
                  </a:lnTo>
                  <a:lnTo>
                    <a:pt x="1188" y="623"/>
                  </a:lnTo>
                  <a:lnTo>
                    <a:pt x="1188" y="625"/>
                  </a:lnTo>
                  <a:lnTo>
                    <a:pt x="1186" y="626"/>
                  </a:lnTo>
                  <a:lnTo>
                    <a:pt x="1186" y="628"/>
                  </a:lnTo>
                  <a:lnTo>
                    <a:pt x="1184" y="628"/>
                  </a:lnTo>
                  <a:lnTo>
                    <a:pt x="1186" y="628"/>
                  </a:lnTo>
                  <a:lnTo>
                    <a:pt x="1186" y="630"/>
                  </a:lnTo>
                  <a:lnTo>
                    <a:pt x="1186" y="631"/>
                  </a:lnTo>
                  <a:lnTo>
                    <a:pt x="1186" y="630"/>
                  </a:lnTo>
                  <a:lnTo>
                    <a:pt x="1186" y="628"/>
                  </a:lnTo>
                  <a:lnTo>
                    <a:pt x="1188" y="628"/>
                  </a:lnTo>
                  <a:lnTo>
                    <a:pt x="1189" y="626"/>
                  </a:lnTo>
                  <a:lnTo>
                    <a:pt x="1189" y="625"/>
                  </a:lnTo>
                  <a:lnTo>
                    <a:pt x="1189" y="623"/>
                  </a:lnTo>
                  <a:lnTo>
                    <a:pt x="1191" y="623"/>
                  </a:lnTo>
                  <a:lnTo>
                    <a:pt x="1191" y="622"/>
                  </a:lnTo>
                  <a:lnTo>
                    <a:pt x="1193" y="622"/>
                  </a:lnTo>
                  <a:lnTo>
                    <a:pt x="1193" y="620"/>
                  </a:lnTo>
                  <a:lnTo>
                    <a:pt x="1193" y="622"/>
                  </a:lnTo>
                  <a:lnTo>
                    <a:pt x="1193" y="620"/>
                  </a:lnTo>
                  <a:lnTo>
                    <a:pt x="1194" y="622"/>
                  </a:lnTo>
                  <a:lnTo>
                    <a:pt x="1196" y="622"/>
                  </a:lnTo>
                  <a:lnTo>
                    <a:pt x="1197" y="620"/>
                  </a:lnTo>
                  <a:lnTo>
                    <a:pt x="1197" y="622"/>
                  </a:lnTo>
                  <a:lnTo>
                    <a:pt x="1197" y="620"/>
                  </a:lnTo>
                  <a:lnTo>
                    <a:pt x="1197" y="622"/>
                  </a:lnTo>
                  <a:lnTo>
                    <a:pt x="1199" y="622"/>
                  </a:lnTo>
                  <a:lnTo>
                    <a:pt x="1201" y="622"/>
                  </a:lnTo>
                  <a:lnTo>
                    <a:pt x="1202" y="622"/>
                  </a:lnTo>
                  <a:lnTo>
                    <a:pt x="1202" y="623"/>
                  </a:lnTo>
                  <a:lnTo>
                    <a:pt x="1204" y="623"/>
                  </a:lnTo>
                  <a:lnTo>
                    <a:pt x="1204" y="625"/>
                  </a:lnTo>
                  <a:lnTo>
                    <a:pt x="1204" y="626"/>
                  </a:lnTo>
                  <a:lnTo>
                    <a:pt x="1204" y="628"/>
                  </a:lnTo>
                  <a:lnTo>
                    <a:pt x="1206" y="630"/>
                  </a:lnTo>
                  <a:lnTo>
                    <a:pt x="1207" y="630"/>
                  </a:lnTo>
                  <a:lnTo>
                    <a:pt x="1207" y="631"/>
                  </a:lnTo>
                  <a:lnTo>
                    <a:pt x="1207" y="633"/>
                  </a:lnTo>
                  <a:lnTo>
                    <a:pt x="1209" y="633"/>
                  </a:lnTo>
                  <a:lnTo>
                    <a:pt x="1209" y="635"/>
                  </a:lnTo>
                  <a:lnTo>
                    <a:pt x="1209" y="636"/>
                  </a:lnTo>
                  <a:lnTo>
                    <a:pt x="1209" y="638"/>
                  </a:lnTo>
                  <a:lnTo>
                    <a:pt x="1209" y="639"/>
                  </a:lnTo>
                  <a:lnTo>
                    <a:pt x="1209" y="638"/>
                  </a:lnTo>
                  <a:lnTo>
                    <a:pt x="1210" y="638"/>
                  </a:lnTo>
                  <a:lnTo>
                    <a:pt x="1212" y="639"/>
                  </a:lnTo>
                  <a:lnTo>
                    <a:pt x="1210" y="639"/>
                  </a:lnTo>
                  <a:lnTo>
                    <a:pt x="1210" y="641"/>
                  </a:lnTo>
                  <a:lnTo>
                    <a:pt x="1212" y="639"/>
                  </a:lnTo>
                  <a:lnTo>
                    <a:pt x="1212" y="641"/>
                  </a:lnTo>
                  <a:lnTo>
                    <a:pt x="1214" y="639"/>
                  </a:lnTo>
                  <a:lnTo>
                    <a:pt x="1214" y="638"/>
                  </a:lnTo>
                  <a:lnTo>
                    <a:pt x="1212" y="638"/>
                  </a:lnTo>
                  <a:lnTo>
                    <a:pt x="1212" y="636"/>
                  </a:lnTo>
                  <a:lnTo>
                    <a:pt x="1212" y="635"/>
                  </a:lnTo>
                  <a:lnTo>
                    <a:pt x="1214" y="633"/>
                  </a:lnTo>
                  <a:lnTo>
                    <a:pt x="1215" y="633"/>
                  </a:lnTo>
                  <a:lnTo>
                    <a:pt x="1214" y="633"/>
                  </a:lnTo>
                  <a:lnTo>
                    <a:pt x="1215" y="633"/>
                  </a:lnTo>
                  <a:lnTo>
                    <a:pt x="1215" y="631"/>
                  </a:lnTo>
                  <a:lnTo>
                    <a:pt x="1214" y="633"/>
                  </a:lnTo>
                  <a:lnTo>
                    <a:pt x="1210" y="633"/>
                  </a:lnTo>
                  <a:lnTo>
                    <a:pt x="1210" y="631"/>
                  </a:lnTo>
                  <a:lnTo>
                    <a:pt x="1209" y="631"/>
                  </a:lnTo>
                  <a:lnTo>
                    <a:pt x="1209" y="630"/>
                  </a:lnTo>
                  <a:lnTo>
                    <a:pt x="1207" y="630"/>
                  </a:lnTo>
                  <a:lnTo>
                    <a:pt x="1207" y="628"/>
                  </a:lnTo>
                  <a:lnTo>
                    <a:pt x="1207" y="626"/>
                  </a:lnTo>
                  <a:lnTo>
                    <a:pt x="1209" y="625"/>
                  </a:lnTo>
                  <a:lnTo>
                    <a:pt x="1210" y="623"/>
                  </a:lnTo>
                  <a:lnTo>
                    <a:pt x="1209" y="625"/>
                  </a:lnTo>
                  <a:lnTo>
                    <a:pt x="1207" y="625"/>
                  </a:lnTo>
                  <a:lnTo>
                    <a:pt x="1207" y="623"/>
                  </a:lnTo>
                  <a:lnTo>
                    <a:pt x="1207" y="622"/>
                  </a:lnTo>
                  <a:lnTo>
                    <a:pt x="1209" y="622"/>
                  </a:lnTo>
                  <a:lnTo>
                    <a:pt x="1209" y="620"/>
                  </a:lnTo>
                  <a:lnTo>
                    <a:pt x="1209" y="618"/>
                  </a:lnTo>
                  <a:lnTo>
                    <a:pt x="1210" y="617"/>
                  </a:lnTo>
                  <a:lnTo>
                    <a:pt x="1210" y="618"/>
                  </a:lnTo>
                  <a:lnTo>
                    <a:pt x="1210" y="617"/>
                  </a:lnTo>
                  <a:lnTo>
                    <a:pt x="1212" y="615"/>
                  </a:lnTo>
                  <a:lnTo>
                    <a:pt x="1212" y="613"/>
                  </a:lnTo>
                  <a:lnTo>
                    <a:pt x="1214" y="612"/>
                  </a:lnTo>
                  <a:lnTo>
                    <a:pt x="1215" y="612"/>
                  </a:lnTo>
                  <a:lnTo>
                    <a:pt x="1217" y="612"/>
                  </a:lnTo>
                  <a:lnTo>
                    <a:pt x="1219" y="610"/>
                  </a:lnTo>
                  <a:lnTo>
                    <a:pt x="1220" y="610"/>
                  </a:lnTo>
                  <a:lnTo>
                    <a:pt x="1220" y="609"/>
                  </a:lnTo>
                  <a:lnTo>
                    <a:pt x="1222" y="609"/>
                  </a:lnTo>
                  <a:lnTo>
                    <a:pt x="1223" y="609"/>
                  </a:lnTo>
                  <a:lnTo>
                    <a:pt x="1225" y="609"/>
                  </a:lnTo>
                  <a:lnTo>
                    <a:pt x="1225" y="607"/>
                  </a:lnTo>
                  <a:lnTo>
                    <a:pt x="1223" y="607"/>
                  </a:lnTo>
                  <a:lnTo>
                    <a:pt x="1225" y="607"/>
                  </a:lnTo>
                  <a:lnTo>
                    <a:pt x="1225" y="605"/>
                  </a:lnTo>
                  <a:lnTo>
                    <a:pt x="1223" y="605"/>
                  </a:lnTo>
                  <a:lnTo>
                    <a:pt x="1223" y="607"/>
                  </a:lnTo>
                  <a:lnTo>
                    <a:pt x="1222" y="607"/>
                  </a:lnTo>
                  <a:lnTo>
                    <a:pt x="1220" y="609"/>
                  </a:lnTo>
                  <a:lnTo>
                    <a:pt x="1219" y="609"/>
                  </a:lnTo>
                  <a:lnTo>
                    <a:pt x="1220" y="609"/>
                  </a:lnTo>
                  <a:lnTo>
                    <a:pt x="1219" y="609"/>
                  </a:lnTo>
                  <a:lnTo>
                    <a:pt x="1217" y="610"/>
                  </a:lnTo>
                  <a:lnTo>
                    <a:pt x="1215" y="610"/>
                  </a:lnTo>
                  <a:lnTo>
                    <a:pt x="1214" y="612"/>
                  </a:lnTo>
                  <a:lnTo>
                    <a:pt x="1212" y="612"/>
                  </a:lnTo>
                  <a:lnTo>
                    <a:pt x="1210" y="613"/>
                  </a:lnTo>
                  <a:lnTo>
                    <a:pt x="1210" y="615"/>
                  </a:lnTo>
                  <a:lnTo>
                    <a:pt x="1207" y="617"/>
                  </a:lnTo>
                  <a:lnTo>
                    <a:pt x="1206" y="618"/>
                  </a:lnTo>
                  <a:lnTo>
                    <a:pt x="1204" y="618"/>
                  </a:lnTo>
                  <a:lnTo>
                    <a:pt x="1204" y="617"/>
                  </a:lnTo>
                  <a:lnTo>
                    <a:pt x="1202" y="617"/>
                  </a:lnTo>
                  <a:lnTo>
                    <a:pt x="1202" y="615"/>
                  </a:lnTo>
                  <a:lnTo>
                    <a:pt x="1201" y="617"/>
                  </a:lnTo>
                  <a:lnTo>
                    <a:pt x="1199" y="617"/>
                  </a:lnTo>
                  <a:lnTo>
                    <a:pt x="1199" y="615"/>
                  </a:lnTo>
                  <a:lnTo>
                    <a:pt x="1197" y="617"/>
                  </a:lnTo>
                  <a:lnTo>
                    <a:pt x="1196" y="617"/>
                  </a:lnTo>
                  <a:lnTo>
                    <a:pt x="1194" y="617"/>
                  </a:lnTo>
                  <a:lnTo>
                    <a:pt x="1193" y="617"/>
                  </a:lnTo>
                  <a:lnTo>
                    <a:pt x="1191" y="615"/>
                  </a:lnTo>
                  <a:lnTo>
                    <a:pt x="1189" y="615"/>
                  </a:lnTo>
                  <a:lnTo>
                    <a:pt x="1188" y="613"/>
                  </a:lnTo>
                  <a:lnTo>
                    <a:pt x="1189" y="613"/>
                  </a:lnTo>
                  <a:lnTo>
                    <a:pt x="1188" y="612"/>
                  </a:lnTo>
                  <a:lnTo>
                    <a:pt x="1189" y="612"/>
                  </a:lnTo>
                  <a:lnTo>
                    <a:pt x="1188" y="610"/>
                  </a:lnTo>
                  <a:lnTo>
                    <a:pt x="1189" y="610"/>
                  </a:lnTo>
                  <a:lnTo>
                    <a:pt x="1188" y="610"/>
                  </a:lnTo>
                  <a:lnTo>
                    <a:pt x="1188" y="609"/>
                  </a:lnTo>
                  <a:lnTo>
                    <a:pt x="1189" y="609"/>
                  </a:lnTo>
                  <a:lnTo>
                    <a:pt x="1188" y="609"/>
                  </a:lnTo>
                  <a:lnTo>
                    <a:pt x="1188" y="607"/>
                  </a:lnTo>
                  <a:lnTo>
                    <a:pt x="1189" y="607"/>
                  </a:lnTo>
                  <a:lnTo>
                    <a:pt x="1191" y="607"/>
                  </a:lnTo>
                  <a:lnTo>
                    <a:pt x="1189" y="605"/>
                  </a:lnTo>
                  <a:lnTo>
                    <a:pt x="1191" y="605"/>
                  </a:lnTo>
                  <a:lnTo>
                    <a:pt x="1193" y="604"/>
                  </a:lnTo>
                  <a:lnTo>
                    <a:pt x="1194" y="605"/>
                  </a:lnTo>
                  <a:lnTo>
                    <a:pt x="1196" y="605"/>
                  </a:lnTo>
                  <a:lnTo>
                    <a:pt x="1196" y="607"/>
                  </a:lnTo>
                  <a:lnTo>
                    <a:pt x="1197" y="607"/>
                  </a:lnTo>
                  <a:lnTo>
                    <a:pt x="1199" y="607"/>
                  </a:lnTo>
                  <a:lnTo>
                    <a:pt x="1201" y="607"/>
                  </a:lnTo>
                  <a:lnTo>
                    <a:pt x="1199" y="607"/>
                  </a:lnTo>
                  <a:lnTo>
                    <a:pt x="1201" y="605"/>
                  </a:lnTo>
                  <a:lnTo>
                    <a:pt x="1199" y="605"/>
                  </a:lnTo>
                  <a:lnTo>
                    <a:pt x="1197" y="605"/>
                  </a:lnTo>
                  <a:lnTo>
                    <a:pt x="1196" y="605"/>
                  </a:lnTo>
                  <a:lnTo>
                    <a:pt x="1194" y="604"/>
                  </a:lnTo>
                  <a:lnTo>
                    <a:pt x="1193" y="602"/>
                  </a:lnTo>
                  <a:lnTo>
                    <a:pt x="1191" y="602"/>
                  </a:lnTo>
                  <a:lnTo>
                    <a:pt x="1189" y="604"/>
                  </a:lnTo>
                  <a:lnTo>
                    <a:pt x="1186" y="604"/>
                  </a:lnTo>
                  <a:lnTo>
                    <a:pt x="1184" y="604"/>
                  </a:lnTo>
                  <a:lnTo>
                    <a:pt x="1184" y="602"/>
                  </a:lnTo>
                  <a:lnTo>
                    <a:pt x="1186" y="602"/>
                  </a:lnTo>
                  <a:lnTo>
                    <a:pt x="1186" y="600"/>
                  </a:lnTo>
                  <a:lnTo>
                    <a:pt x="1186" y="599"/>
                  </a:lnTo>
                  <a:lnTo>
                    <a:pt x="1188" y="597"/>
                  </a:lnTo>
                  <a:lnTo>
                    <a:pt x="1188" y="596"/>
                  </a:lnTo>
                  <a:lnTo>
                    <a:pt x="1189" y="594"/>
                  </a:lnTo>
                  <a:lnTo>
                    <a:pt x="1191" y="594"/>
                  </a:lnTo>
                  <a:lnTo>
                    <a:pt x="1193" y="594"/>
                  </a:lnTo>
                  <a:lnTo>
                    <a:pt x="1194" y="594"/>
                  </a:lnTo>
                  <a:lnTo>
                    <a:pt x="1193" y="594"/>
                  </a:lnTo>
                  <a:lnTo>
                    <a:pt x="1189" y="594"/>
                  </a:lnTo>
                  <a:lnTo>
                    <a:pt x="1189" y="592"/>
                  </a:lnTo>
                  <a:lnTo>
                    <a:pt x="1189" y="591"/>
                  </a:lnTo>
                  <a:lnTo>
                    <a:pt x="1191" y="589"/>
                  </a:lnTo>
                  <a:lnTo>
                    <a:pt x="1191" y="591"/>
                  </a:lnTo>
                  <a:lnTo>
                    <a:pt x="1191" y="587"/>
                  </a:lnTo>
                  <a:lnTo>
                    <a:pt x="1193" y="587"/>
                  </a:lnTo>
                  <a:lnTo>
                    <a:pt x="1194" y="587"/>
                  </a:lnTo>
                  <a:lnTo>
                    <a:pt x="1194" y="589"/>
                  </a:lnTo>
                  <a:lnTo>
                    <a:pt x="1196" y="589"/>
                  </a:lnTo>
                  <a:lnTo>
                    <a:pt x="1197" y="591"/>
                  </a:lnTo>
                  <a:lnTo>
                    <a:pt x="1197" y="592"/>
                  </a:lnTo>
                  <a:lnTo>
                    <a:pt x="1199" y="592"/>
                  </a:lnTo>
                  <a:lnTo>
                    <a:pt x="1201" y="592"/>
                  </a:lnTo>
                  <a:lnTo>
                    <a:pt x="1202" y="592"/>
                  </a:lnTo>
                  <a:lnTo>
                    <a:pt x="1202" y="594"/>
                  </a:lnTo>
                  <a:lnTo>
                    <a:pt x="1204" y="594"/>
                  </a:lnTo>
                  <a:lnTo>
                    <a:pt x="1204" y="592"/>
                  </a:lnTo>
                  <a:lnTo>
                    <a:pt x="1202" y="592"/>
                  </a:lnTo>
                  <a:lnTo>
                    <a:pt x="1204" y="591"/>
                  </a:lnTo>
                  <a:lnTo>
                    <a:pt x="1206" y="591"/>
                  </a:lnTo>
                  <a:lnTo>
                    <a:pt x="1207" y="592"/>
                  </a:lnTo>
                  <a:lnTo>
                    <a:pt x="1209" y="592"/>
                  </a:lnTo>
                  <a:lnTo>
                    <a:pt x="1210" y="594"/>
                  </a:lnTo>
                  <a:lnTo>
                    <a:pt x="1210" y="592"/>
                  </a:lnTo>
                  <a:lnTo>
                    <a:pt x="1209" y="592"/>
                  </a:lnTo>
                  <a:lnTo>
                    <a:pt x="1209" y="591"/>
                  </a:lnTo>
                  <a:lnTo>
                    <a:pt x="1206" y="589"/>
                  </a:lnTo>
                  <a:lnTo>
                    <a:pt x="1204" y="589"/>
                  </a:lnTo>
                  <a:lnTo>
                    <a:pt x="1201" y="591"/>
                  </a:lnTo>
                  <a:lnTo>
                    <a:pt x="1201" y="589"/>
                  </a:lnTo>
                  <a:lnTo>
                    <a:pt x="1199" y="587"/>
                  </a:lnTo>
                  <a:lnTo>
                    <a:pt x="1197" y="587"/>
                  </a:lnTo>
                  <a:lnTo>
                    <a:pt x="1197" y="586"/>
                  </a:lnTo>
                  <a:lnTo>
                    <a:pt x="1197" y="584"/>
                  </a:lnTo>
                  <a:lnTo>
                    <a:pt x="1199" y="584"/>
                  </a:lnTo>
                  <a:lnTo>
                    <a:pt x="1201" y="584"/>
                  </a:lnTo>
                  <a:lnTo>
                    <a:pt x="1201" y="583"/>
                  </a:lnTo>
                  <a:lnTo>
                    <a:pt x="1202" y="583"/>
                  </a:lnTo>
                  <a:lnTo>
                    <a:pt x="1204" y="583"/>
                  </a:lnTo>
                  <a:lnTo>
                    <a:pt x="1206" y="583"/>
                  </a:lnTo>
                  <a:lnTo>
                    <a:pt x="1207" y="583"/>
                  </a:lnTo>
                  <a:lnTo>
                    <a:pt x="1209" y="583"/>
                  </a:lnTo>
                  <a:lnTo>
                    <a:pt x="1209" y="584"/>
                  </a:lnTo>
                  <a:lnTo>
                    <a:pt x="1210" y="584"/>
                  </a:lnTo>
                  <a:lnTo>
                    <a:pt x="1212" y="586"/>
                  </a:lnTo>
                  <a:lnTo>
                    <a:pt x="1214" y="586"/>
                  </a:lnTo>
                  <a:lnTo>
                    <a:pt x="1214" y="587"/>
                  </a:lnTo>
                  <a:lnTo>
                    <a:pt x="1214" y="586"/>
                  </a:lnTo>
                  <a:lnTo>
                    <a:pt x="1214" y="587"/>
                  </a:lnTo>
                  <a:lnTo>
                    <a:pt x="1217" y="587"/>
                  </a:lnTo>
                  <a:lnTo>
                    <a:pt x="1217" y="589"/>
                  </a:lnTo>
                  <a:lnTo>
                    <a:pt x="1217" y="591"/>
                  </a:lnTo>
                  <a:lnTo>
                    <a:pt x="1219" y="591"/>
                  </a:lnTo>
                  <a:lnTo>
                    <a:pt x="1219" y="592"/>
                  </a:lnTo>
                  <a:lnTo>
                    <a:pt x="1220" y="592"/>
                  </a:lnTo>
                  <a:lnTo>
                    <a:pt x="1222" y="592"/>
                  </a:lnTo>
                  <a:lnTo>
                    <a:pt x="1220" y="592"/>
                  </a:lnTo>
                  <a:lnTo>
                    <a:pt x="1220" y="591"/>
                  </a:lnTo>
                  <a:lnTo>
                    <a:pt x="1222" y="591"/>
                  </a:lnTo>
                  <a:lnTo>
                    <a:pt x="1222" y="589"/>
                  </a:lnTo>
                  <a:lnTo>
                    <a:pt x="1220" y="589"/>
                  </a:lnTo>
                  <a:lnTo>
                    <a:pt x="1220" y="591"/>
                  </a:lnTo>
                  <a:lnTo>
                    <a:pt x="1219" y="589"/>
                  </a:lnTo>
                  <a:lnTo>
                    <a:pt x="1219" y="587"/>
                  </a:lnTo>
                  <a:lnTo>
                    <a:pt x="1219" y="586"/>
                  </a:lnTo>
                  <a:lnTo>
                    <a:pt x="1217" y="584"/>
                  </a:lnTo>
                  <a:lnTo>
                    <a:pt x="1215" y="584"/>
                  </a:lnTo>
                  <a:lnTo>
                    <a:pt x="1214" y="584"/>
                  </a:lnTo>
                  <a:lnTo>
                    <a:pt x="1212" y="583"/>
                  </a:lnTo>
                  <a:lnTo>
                    <a:pt x="1210" y="581"/>
                  </a:lnTo>
                  <a:lnTo>
                    <a:pt x="1207" y="581"/>
                  </a:lnTo>
                  <a:lnTo>
                    <a:pt x="1207" y="579"/>
                  </a:lnTo>
                  <a:lnTo>
                    <a:pt x="1206" y="581"/>
                  </a:lnTo>
                  <a:lnTo>
                    <a:pt x="1204" y="579"/>
                  </a:lnTo>
                  <a:lnTo>
                    <a:pt x="1202" y="579"/>
                  </a:lnTo>
                  <a:lnTo>
                    <a:pt x="1201" y="579"/>
                  </a:lnTo>
                  <a:lnTo>
                    <a:pt x="1201" y="578"/>
                  </a:lnTo>
                  <a:lnTo>
                    <a:pt x="1199" y="578"/>
                  </a:lnTo>
                  <a:lnTo>
                    <a:pt x="1199" y="576"/>
                  </a:lnTo>
                  <a:lnTo>
                    <a:pt x="1197" y="578"/>
                  </a:lnTo>
                  <a:lnTo>
                    <a:pt x="1197" y="576"/>
                  </a:lnTo>
                  <a:lnTo>
                    <a:pt x="1196" y="576"/>
                  </a:lnTo>
                  <a:lnTo>
                    <a:pt x="1196" y="574"/>
                  </a:lnTo>
                  <a:lnTo>
                    <a:pt x="1197" y="573"/>
                  </a:lnTo>
                  <a:lnTo>
                    <a:pt x="1197" y="574"/>
                  </a:lnTo>
                  <a:lnTo>
                    <a:pt x="1196" y="574"/>
                  </a:lnTo>
                  <a:lnTo>
                    <a:pt x="1197" y="574"/>
                  </a:lnTo>
                  <a:lnTo>
                    <a:pt x="1197" y="573"/>
                  </a:lnTo>
                  <a:lnTo>
                    <a:pt x="1197" y="571"/>
                  </a:lnTo>
                  <a:lnTo>
                    <a:pt x="1197" y="570"/>
                  </a:lnTo>
                  <a:lnTo>
                    <a:pt x="1196" y="568"/>
                  </a:lnTo>
                  <a:lnTo>
                    <a:pt x="1196" y="570"/>
                  </a:lnTo>
                  <a:lnTo>
                    <a:pt x="1197" y="571"/>
                  </a:lnTo>
                  <a:lnTo>
                    <a:pt x="1196" y="571"/>
                  </a:lnTo>
                  <a:lnTo>
                    <a:pt x="1196" y="573"/>
                  </a:lnTo>
                  <a:lnTo>
                    <a:pt x="1196" y="571"/>
                  </a:lnTo>
                  <a:lnTo>
                    <a:pt x="1194" y="571"/>
                  </a:lnTo>
                  <a:lnTo>
                    <a:pt x="1194" y="570"/>
                  </a:lnTo>
                  <a:lnTo>
                    <a:pt x="1194" y="568"/>
                  </a:lnTo>
                  <a:lnTo>
                    <a:pt x="1193" y="568"/>
                  </a:lnTo>
                  <a:lnTo>
                    <a:pt x="1194" y="568"/>
                  </a:lnTo>
                  <a:lnTo>
                    <a:pt x="1194" y="570"/>
                  </a:lnTo>
                  <a:lnTo>
                    <a:pt x="1194" y="571"/>
                  </a:lnTo>
                  <a:lnTo>
                    <a:pt x="1194" y="573"/>
                  </a:lnTo>
                  <a:lnTo>
                    <a:pt x="1196" y="573"/>
                  </a:lnTo>
                  <a:lnTo>
                    <a:pt x="1194" y="578"/>
                  </a:lnTo>
                  <a:lnTo>
                    <a:pt x="1194" y="579"/>
                  </a:lnTo>
                  <a:lnTo>
                    <a:pt x="1193" y="579"/>
                  </a:lnTo>
                  <a:lnTo>
                    <a:pt x="1191" y="579"/>
                  </a:lnTo>
                  <a:lnTo>
                    <a:pt x="1191" y="581"/>
                  </a:lnTo>
                  <a:lnTo>
                    <a:pt x="1189" y="583"/>
                  </a:lnTo>
                  <a:lnTo>
                    <a:pt x="1188" y="583"/>
                  </a:lnTo>
                  <a:lnTo>
                    <a:pt x="1188" y="584"/>
                  </a:lnTo>
                  <a:lnTo>
                    <a:pt x="1186" y="586"/>
                  </a:lnTo>
                  <a:lnTo>
                    <a:pt x="1186" y="587"/>
                  </a:lnTo>
                  <a:lnTo>
                    <a:pt x="1184" y="591"/>
                  </a:lnTo>
                  <a:lnTo>
                    <a:pt x="1183" y="592"/>
                  </a:lnTo>
                  <a:lnTo>
                    <a:pt x="1183" y="591"/>
                  </a:lnTo>
                  <a:lnTo>
                    <a:pt x="1181" y="592"/>
                  </a:lnTo>
                  <a:lnTo>
                    <a:pt x="1180" y="594"/>
                  </a:lnTo>
                  <a:lnTo>
                    <a:pt x="1178" y="596"/>
                  </a:lnTo>
                  <a:lnTo>
                    <a:pt x="1176" y="597"/>
                  </a:lnTo>
                  <a:lnTo>
                    <a:pt x="1175" y="597"/>
                  </a:lnTo>
                  <a:lnTo>
                    <a:pt x="1173" y="599"/>
                  </a:lnTo>
                  <a:lnTo>
                    <a:pt x="1171" y="600"/>
                  </a:lnTo>
                  <a:lnTo>
                    <a:pt x="1170" y="600"/>
                  </a:lnTo>
                  <a:lnTo>
                    <a:pt x="1168" y="600"/>
                  </a:lnTo>
                  <a:lnTo>
                    <a:pt x="1167" y="600"/>
                  </a:lnTo>
                  <a:lnTo>
                    <a:pt x="1167" y="602"/>
                  </a:lnTo>
                  <a:lnTo>
                    <a:pt x="1167" y="600"/>
                  </a:lnTo>
                  <a:lnTo>
                    <a:pt x="1165" y="600"/>
                  </a:lnTo>
                  <a:lnTo>
                    <a:pt x="1163" y="600"/>
                  </a:lnTo>
                  <a:lnTo>
                    <a:pt x="1162" y="600"/>
                  </a:lnTo>
                  <a:lnTo>
                    <a:pt x="1162" y="599"/>
                  </a:lnTo>
                  <a:lnTo>
                    <a:pt x="1162" y="600"/>
                  </a:lnTo>
                  <a:lnTo>
                    <a:pt x="1162" y="599"/>
                  </a:lnTo>
                  <a:lnTo>
                    <a:pt x="1160" y="599"/>
                  </a:lnTo>
                  <a:lnTo>
                    <a:pt x="1162" y="597"/>
                  </a:lnTo>
                  <a:lnTo>
                    <a:pt x="1163" y="597"/>
                  </a:lnTo>
                  <a:lnTo>
                    <a:pt x="1165" y="596"/>
                  </a:lnTo>
                  <a:lnTo>
                    <a:pt x="1167" y="596"/>
                  </a:lnTo>
                  <a:lnTo>
                    <a:pt x="1167" y="594"/>
                  </a:lnTo>
                  <a:lnTo>
                    <a:pt x="1168" y="594"/>
                  </a:lnTo>
                  <a:lnTo>
                    <a:pt x="1170" y="594"/>
                  </a:lnTo>
                  <a:lnTo>
                    <a:pt x="1168" y="592"/>
                  </a:lnTo>
                  <a:lnTo>
                    <a:pt x="1167" y="592"/>
                  </a:lnTo>
                  <a:lnTo>
                    <a:pt x="1165" y="592"/>
                  </a:lnTo>
                  <a:lnTo>
                    <a:pt x="1167" y="592"/>
                  </a:lnTo>
                  <a:lnTo>
                    <a:pt x="1165" y="592"/>
                  </a:lnTo>
                  <a:lnTo>
                    <a:pt x="1163" y="592"/>
                  </a:lnTo>
                  <a:lnTo>
                    <a:pt x="1165" y="592"/>
                  </a:lnTo>
                  <a:lnTo>
                    <a:pt x="1165" y="591"/>
                  </a:lnTo>
                  <a:lnTo>
                    <a:pt x="1163" y="591"/>
                  </a:lnTo>
                  <a:lnTo>
                    <a:pt x="1163" y="592"/>
                  </a:lnTo>
                  <a:lnTo>
                    <a:pt x="1163" y="591"/>
                  </a:lnTo>
                  <a:lnTo>
                    <a:pt x="1163" y="592"/>
                  </a:lnTo>
                  <a:lnTo>
                    <a:pt x="1162" y="592"/>
                  </a:lnTo>
                  <a:lnTo>
                    <a:pt x="1163" y="591"/>
                  </a:lnTo>
                  <a:lnTo>
                    <a:pt x="1163" y="592"/>
                  </a:lnTo>
                  <a:lnTo>
                    <a:pt x="1163" y="591"/>
                  </a:lnTo>
                  <a:lnTo>
                    <a:pt x="1162" y="591"/>
                  </a:lnTo>
                  <a:lnTo>
                    <a:pt x="1162" y="592"/>
                  </a:lnTo>
                  <a:lnTo>
                    <a:pt x="1162" y="591"/>
                  </a:lnTo>
                  <a:lnTo>
                    <a:pt x="1163" y="589"/>
                  </a:lnTo>
                  <a:lnTo>
                    <a:pt x="1165" y="589"/>
                  </a:lnTo>
                  <a:lnTo>
                    <a:pt x="1165" y="591"/>
                  </a:lnTo>
                  <a:lnTo>
                    <a:pt x="1165" y="589"/>
                  </a:lnTo>
                  <a:lnTo>
                    <a:pt x="1167" y="589"/>
                  </a:lnTo>
                  <a:lnTo>
                    <a:pt x="1168" y="589"/>
                  </a:lnTo>
                  <a:lnTo>
                    <a:pt x="1171" y="587"/>
                  </a:lnTo>
                  <a:lnTo>
                    <a:pt x="1173" y="587"/>
                  </a:lnTo>
                  <a:lnTo>
                    <a:pt x="1175" y="587"/>
                  </a:lnTo>
                  <a:lnTo>
                    <a:pt x="1176" y="587"/>
                  </a:lnTo>
                  <a:lnTo>
                    <a:pt x="1178" y="587"/>
                  </a:lnTo>
                  <a:lnTo>
                    <a:pt x="1180" y="587"/>
                  </a:lnTo>
                  <a:lnTo>
                    <a:pt x="1180" y="586"/>
                  </a:lnTo>
                  <a:lnTo>
                    <a:pt x="1181" y="586"/>
                  </a:lnTo>
                  <a:lnTo>
                    <a:pt x="1181" y="584"/>
                  </a:lnTo>
                  <a:lnTo>
                    <a:pt x="1181" y="586"/>
                  </a:lnTo>
                  <a:lnTo>
                    <a:pt x="1178" y="586"/>
                  </a:lnTo>
                  <a:lnTo>
                    <a:pt x="1176" y="586"/>
                  </a:lnTo>
                  <a:lnTo>
                    <a:pt x="1175" y="586"/>
                  </a:lnTo>
                  <a:lnTo>
                    <a:pt x="1176" y="584"/>
                  </a:lnTo>
                  <a:lnTo>
                    <a:pt x="1175" y="584"/>
                  </a:lnTo>
                  <a:lnTo>
                    <a:pt x="1173" y="584"/>
                  </a:lnTo>
                  <a:lnTo>
                    <a:pt x="1175" y="584"/>
                  </a:lnTo>
                  <a:lnTo>
                    <a:pt x="1175" y="583"/>
                  </a:lnTo>
                  <a:lnTo>
                    <a:pt x="1176" y="581"/>
                  </a:lnTo>
                  <a:lnTo>
                    <a:pt x="1175" y="581"/>
                  </a:lnTo>
                  <a:lnTo>
                    <a:pt x="1171" y="583"/>
                  </a:lnTo>
                  <a:lnTo>
                    <a:pt x="1173" y="583"/>
                  </a:lnTo>
                  <a:lnTo>
                    <a:pt x="1171" y="583"/>
                  </a:lnTo>
                  <a:lnTo>
                    <a:pt x="1170" y="583"/>
                  </a:lnTo>
                  <a:lnTo>
                    <a:pt x="1168" y="584"/>
                  </a:lnTo>
                  <a:lnTo>
                    <a:pt x="1168" y="583"/>
                  </a:lnTo>
                  <a:lnTo>
                    <a:pt x="1167" y="584"/>
                  </a:lnTo>
                  <a:lnTo>
                    <a:pt x="1165" y="584"/>
                  </a:lnTo>
                  <a:lnTo>
                    <a:pt x="1165" y="586"/>
                  </a:lnTo>
                  <a:lnTo>
                    <a:pt x="1165" y="584"/>
                  </a:lnTo>
                  <a:lnTo>
                    <a:pt x="1167" y="583"/>
                  </a:lnTo>
                  <a:lnTo>
                    <a:pt x="1165" y="583"/>
                  </a:lnTo>
                  <a:lnTo>
                    <a:pt x="1167" y="583"/>
                  </a:lnTo>
                  <a:lnTo>
                    <a:pt x="1165" y="583"/>
                  </a:lnTo>
                  <a:lnTo>
                    <a:pt x="1165" y="581"/>
                  </a:lnTo>
                  <a:lnTo>
                    <a:pt x="1165" y="583"/>
                  </a:lnTo>
                  <a:lnTo>
                    <a:pt x="1165" y="581"/>
                  </a:lnTo>
                  <a:lnTo>
                    <a:pt x="1165" y="579"/>
                  </a:lnTo>
                  <a:lnTo>
                    <a:pt x="1165" y="581"/>
                  </a:lnTo>
                  <a:lnTo>
                    <a:pt x="1163" y="581"/>
                  </a:lnTo>
                  <a:lnTo>
                    <a:pt x="1163" y="583"/>
                  </a:lnTo>
                  <a:lnTo>
                    <a:pt x="1163" y="581"/>
                  </a:lnTo>
                  <a:lnTo>
                    <a:pt x="1163" y="583"/>
                  </a:lnTo>
                  <a:lnTo>
                    <a:pt x="1162" y="583"/>
                  </a:lnTo>
                  <a:lnTo>
                    <a:pt x="1162" y="581"/>
                  </a:lnTo>
                  <a:lnTo>
                    <a:pt x="1162" y="583"/>
                  </a:lnTo>
                  <a:lnTo>
                    <a:pt x="1162" y="581"/>
                  </a:lnTo>
                  <a:lnTo>
                    <a:pt x="1160" y="581"/>
                  </a:lnTo>
                  <a:lnTo>
                    <a:pt x="1162" y="581"/>
                  </a:lnTo>
                  <a:lnTo>
                    <a:pt x="1162" y="579"/>
                  </a:lnTo>
                  <a:lnTo>
                    <a:pt x="1162" y="581"/>
                  </a:lnTo>
                  <a:lnTo>
                    <a:pt x="1162" y="579"/>
                  </a:lnTo>
                  <a:lnTo>
                    <a:pt x="1162" y="581"/>
                  </a:lnTo>
                  <a:lnTo>
                    <a:pt x="1160" y="581"/>
                  </a:lnTo>
                  <a:lnTo>
                    <a:pt x="1160" y="579"/>
                  </a:lnTo>
                  <a:lnTo>
                    <a:pt x="1162" y="579"/>
                  </a:lnTo>
                  <a:lnTo>
                    <a:pt x="1162" y="578"/>
                  </a:lnTo>
                  <a:lnTo>
                    <a:pt x="1162" y="579"/>
                  </a:lnTo>
                  <a:lnTo>
                    <a:pt x="1160" y="579"/>
                  </a:lnTo>
                  <a:lnTo>
                    <a:pt x="1162" y="579"/>
                  </a:lnTo>
                  <a:lnTo>
                    <a:pt x="1160" y="579"/>
                  </a:lnTo>
                  <a:lnTo>
                    <a:pt x="1162" y="578"/>
                  </a:lnTo>
                  <a:lnTo>
                    <a:pt x="1160" y="579"/>
                  </a:lnTo>
                  <a:lnTo>
                    <a:pt x="1160" y="578"/>
                  </a:lnTo>
                  <a:lnTo>
                    <a:pt x="1160" y="579"/>
                  </a:lnTo>
                  <a:lnTo>
                    <a:pt x="1160" y="578"/>
                  </a:lnTo>
                  <a:lnTo>
                    <a:pt x="1162" y="578"/>
                  </a:lnTo>
                  <a:lnTo>
                    <a:pt x="1160" y="578"/>
                  </a:lnTo>
                  <a:lnTo>
                    <a:pt x="1160" y="576"/>
                  </a:lnTo>
                  <a:lnTo>
                    <a:pt x="1162" y="576"/>
                  </a:lnTo>
                  <a:lnTo>
                    <a:pt x="1163" y="576"/>
                  </a:lnTo>
                  <a:lnTo>
                    <a:pt x="1162" y="574"/>
                  </a:lnTo>
                  <a:lnTo>
                    <a:pt x="1163" y="574"/>
                  </a:lnTo>
                  <a:lnTo>
                    <a:pt x="1165" y="574"/>
                  </a:lnTo>
                  <a:lnTo>
                    <a:pt x="1167" y="576"/>
                  </a:lnTo>
                  <a:lnTo>
                    <a:pt x="1168" y="576"/>
                  </a:lnTo>
                  <a:lnTo>
                    <a:pt x="1167" y="574"/>
                  </a:lnTo>
                  <a:lnTo>
                    <a:pt x="1170" y="573"/>
                  </a:lnTo>
                  <a:lnTo>
                    <a:pt x="1171" y="573"/>
                  </a:lnTo>
                  <a:lnTo>
                    <a:pt x="1173" y="573"/>
                  </a:lnTo>
                  <a:lnTo>
                    <a:pt x="1175" y="571"/>
                  </a:lnTo>
                  <a:lnTo>
                    <a:pt x="1176" y="571"/>
                  </a:lnTo>
                  <a:lnTo>
                    <a:pt x="1178" y="571"/>
                  </a:lnTo>
                  <a:lnTo>
                    <a:pt x="1176" y="571"/>
                  </a:lnTo>
                  <a:lnTo>
                    <a:pt x="1178" y="571"/>
                  </a:lnTo>
                  <a:lnTo>
                    <a:pt x="1178" y="573"/>
                  </a:lnTo>
                  <a:lnTo>
                    <a:pt x="1180" y="571"/>
                  </a:lnTo>
                  <a:lnTo>
                    <a:pt x="1180" y="570"/>
                  </a:lnTo>
                  <a:lnTo>
                    <a:pt x="1178" y="570"/>
                  </a:lnTo>
                  <a:lnTo>
                    <a:pt x="1176" y="570"/>
                  </a:lnTo>
                  <a:lnTo>
                    <a:pt x="1175" y="570"/>
                  </a:lnTo>
                  <a:lnTo>
                    <a:pt x="1175" y="571"/>
                  </a:lnTo>
                  <a:lnTo>
                    <a:pt x="1171" y="571"/>
                  </a:lnTo>
                  <a:lnTo>
                    <a:pt x="1170" y="571"/>
                  </a:lnTo>
                  <a:lnTo>
                    <a:pt x="1168" y="573"/>
                  </a:lnTo>
                  <a:lnTo>
                    <a:pt x="1168" y="571"/>
                  </a:lnTo>
                  <a:lnTo>
                    <a:pt x="1168" y="573"/>
                  </a:lnTo>
                  <a:lnTo>
                    <a:pt x="1165" y="573"/>
                  </a:lnTo>
                  <a:lnTo>
                    <a:pt x="1163" y="573"/>
                  </a:lnTo>
                  <a:lnTo>
                    <a:pt x="1165" y="571"/>
                  </a:lnTo>
                  <a:lnTo>
                    <a:pt x="1167" y="571"/>
                  </a:lnTo>
                  <a:lnTo>
                    <a:pt x="1167" y="570"/>
                  </a:lnTo>
                  <a:lnTo>
                    <a:pt x="1165" y="570"/>
                  </a:lnTo>
                  <a:lnTo>
                    <a:pt x="1167" y="568"/>
                  </a:lnTo>
                  <a:lnTo>
                    <a:pt x="1168" y="568"/>
                  </a:lnTo>
                  <a:lnTo>
                    <a:pt x="1170" y="566"/>
                  </a:lnTo>
                  <a:lnTo>
                    <a:pt x="1171" y="566"/>
                  </a:lnTo>
                  <a:lnTo>
                    <a:pt x="1173" y="565"/>
                  </a:lnTo>
                  <a:lnTo>
                    <a:pt x="1176" y="565"/>
                  </a:lnTo>
                  <a:lnTo>
                    <a:pt x="1178" y="565"/>
                  </a:lnTo>
                  <a:lnTo>
                    <a:pt x="1178" y="566"/>
                  </a:lnTo>
                  <a:lnTo>
                    <a:pt x="1178" y="565"/>
                  </a:lnTo>
                  <a:lnTo>
                    <a:pt x="1178" y="566"/>
                  </a:lnTo>
                  <a:lnTo>
                    <a:pt x="1180" y="566"/>
                  </a:lnTo>
                  <a:lnTo>
                    <a:pt x="1181" y="566"/>
                  </a:lnTo>
                  <a:lnTo>
                    <a:pt x="1183" y="566"/>
                  </a:lnTo>
                  <a:lnTo>
                    <a:pt x="1183" y="565"/>
                  </a:lnTo>
                  <a:lnTo>
                    <a:pt x="1184" y="565"/>
                  </a:lnTo>
                  <a:lnTo>
                    <a:pt x="1186" y="565"/>
                  </a:lnTo>
                  <a:lnTo>
                    <a:pt x="1184" y="565"/>
                  </a:lnTo>
                  <a:lnTo>
                    <a:pt x="1184" y="566"/>
                  </a:lnTo>
                  <a:lnTo>
                    <a:pt x="1186" y="566"/>
                  </a:lnTo>
                  <a:lnTo>
                    <a:pt x="1188" y="566"/>
                  </a:lnTo>
                  <a:lnTo>
                    <a:pt x="1184" y="570"/>
                  </a:lnTo>
                  <a:lnTo>
                    <a:pt x="1184" y="571"/>
                  </a:lnTo>
                  <a:lnTo>
                    <a:pt x="1183" y="571"/>
                  </a:lnTo>
                  <a:lnTo>
                    <a:pt x="1183" y="573"/>
                  </a:lnTo>
                  <a:lnTo>
                    <a:pt x="1184" y="571"/>
                  </a:lnTo>
                  <a:lnTo>
                    <a:pt x="1186" y="570"/>
                  </a:lnTo>
                  <a:lnTo>
                    <a:pt x="1188" y="566"/>
                  </a:lnTo>
                  <a:lnTo>
                    <a:pt x="1188" y="565"/>
                  </a:lnTo>
                  <a:lnTo>
                    <a:pt x="1188" y="566"/>
                  </a:lnTo>
                  <a:lnTo>
                    <a:pt x="1188" y="565"/>
                  </a:lnTo>
                  <a:lnTo>
                    <a:pt x="1189" y="565"/>
                  </a:lnTo>
                  <a:lnTo>
                    <a:pt x="1189" y="563"/>
                  </a:lnTo>
                  <a:lnTo>
                    <a:pt x="1191" y="561"/>
                  </a:lnTo>
                  <a:lnTo>
                    <a:pt x="1191" y="563"/>
                  </a:lnTo>
                  <a:lnTo>
                    <a:pt x="1191" y="561"/>
                  </a:lnTo>
                  <a:lnTo>
                    <a:pt x="1193" y="561"/>
                  </a:lnTo>
                  <a:lnTo>
                    <a:pt x="1191" y="563"/>
                  </a:lnTo>
                  <a:lnTo>
                    <a:pt x="1191" y="565"/>
                  </a:lnTo>
                  <a:lnTo>
                    <a:pt x="1193" y="563"/>
                  </a:lnTo>
                  <a:lnTo>
                    <a:pt x="1194" y="561"/>
                  </a:lnTo>
                  <a:lnTo>
                    <a:pt x="1196" y="561"/>
                  </a:lnTo>
                  <a:lnTo>
                    <a:pt x="1197" y="560"/>
                  </a:lnTo>
                  <a:lnTo>
                    <a:pt x="1196" y="560"/>
                  </a:lnTo>
                  <a:lnTo>
                    <a:pt x="1197" y="560"/>
                  </a:lnTo>
                  <a:lnTo>
                    <a:pt x="1199" y="560"/>
                  </a:lnTo>
                  <a:lnTo>
                    <a:pt x="1199" y="558"/>
                  </a:lnTo>
                  <a:lnTo>
                    <a:pt x="1201" y="558"/>
                  </a:lnTo>
                  <a:lnTo>
                    <a:pt x="1202" y="558"/>
                  </a:lnTo>
                  <a:lnTo>
                    <a:pt x="1202" y="560"/>
                  </a:lnTo>
                  <a:lnTo>
                    <a:pt x="1204" y="560"/>
                  </a:lnTo>
                  <a:lnTo>
                    <a:pt x="1204" y="558"/>
                  </a:lnTo>
                  <a:lnTo>
                    <a:pt x="1204" y="557"/>
                  </a:lnTo>
                  <a:lnTo>
                    <a:pt x="1206" y="557"/>
                  </a:lnTo>
                  <a:lnTo>
                    <a:pt x="1207" y="557"/>
                  </a:lnTo>
                  <a:lnTo>
                    <a:pt x="1207" y="555"/>
                  </a:lnTo>
                  <a:lnTo>
                    <a:pt x="1207" y="557"/>
                  </a:lnTo>
                  <a:lnTo>
                    <a:pt x="1207" y="555"/>
                  </a:lnTo>
                  <a:lnTo>
                    <a:pt x="1210" y="553"/>
                  </a:lnTo>
                  <a:lnTo>
                    <a:pt x="1212" y="553"/>
                  </a:lnTo>
                  <a:lnTo>
                    <a:pt x="1214" y="553"/>
                  </a:lnTo>
                  <a:lnTo>
                    <a:pt x="1215" y="553"/>
                  </a:lnTo>
                  <a:lnTo>
                    <a:pt x="1217" y="555"/>
                  </a:lnTo>
                  <a:lnTo>
                    <a:pt x="1217" y="557"/>
                  </a:lnTo>
                  <a:lnTo>
                    <a:pt x="1219" y="557"/>
                  </a:lnTo>
                  <a:lnTo>
                    <a:pt x="1219" y="558"/>
                  </a:lnTo>
                  <a:lnTo>
                    <a:pt x="1219" y="560"/>
                  </a:lnTo>
                  <a:lnTo>
                    <a:pt x="1220" y="560"/>
                  </a:lnTo>
                  <a:lnTo>
                    <a:pt x="1220" y="561"/>
                  </a:lnTo>
                  <a:lnTo>
                    <a:pt x="1220" y="560"/>
                  </a:lnTo>
                  <a:lnTo>
                    <a:pt x="1220" y="558"/>
                  </a:lnTo>
                  <a:lnTo>
                    <a:pt x="1220" y="557"/>
                  </a:lnTo>
                  <a:lnTo>
                    <a:pt x="1220" y="555"/>
                  </a:lnTo>
                  <a:lnTo>
                    <a:pt x="1222" y="553"/>
                  </a:lnTo>
                  <a:lnTo>
                    <a:pt x="1222" y="552"/>
                  </a:lnTo>
                  <a:lnTo>
                    <a:pt x="1222" y="553"/>
                  </a:lnTo>
                  <a:lnTo>
                    <a:pt x="1220" y="552"/>
                  </a:lnTo>
                  <a:lnTo>
                    <a:pt x="1220" y="550"/>
                  </a:lnTo>
                  <a:lnTo>
                    <a:pt x="1222" y="550"/>
                  </a:lnTo>
                  <a:lnTo>
                    <a:pt x="1222" y="552"/>
                  </a:lnTo>
                  <a:lnTo>
                    <a:pt x="1223" y="552"/>
                  </a:lnTo>
                  <a:lnTo>
                    <a:pt x="1223" y="550"/>
                  </a:lnTo>
                  <a:lnTo>
                    <a:pt x="1222" y="550"/>
                  </a:lnTo>
                  <a:lnTo>
                    <a:pt x="1223" y="550"/>
                  </a:lnTo>
                  <a:lnTo>
                    <a:pt x="1225" y="552"/>
                  </a:lnTo>
                  <a:lnTo>
                    <a:pt x="1225" y="550"/>
                  </a:lnTo>
                  <a:lnTo>
                    <a:pt x="1223" y="550"/>
                  </a:lnTo>
                  <a:lnTo>
                    <a:pt x="1223" y="548"/>
                  </a:lnTo>
                  <a:lnTo>
                    <a:pt x="1225" y="548"/>
                  </a:lnTo>
                  <a:lnTo>
                    <a:pt x="1223" y="548"/>
                  </a:lnTo>
                  <a:lnTo>
                    <a:pt x="1223" y="547"/>
                  </a:lnTo>
                  <a:lnTo>
                    <a:pt x="1225" y="547"/>
                  </a:lnTo>
                  <a:lnTo>
                    <a:pt x="1225" y="545"/>
                  </a:lnTo>
                  <a:lnTo>
                    <a:pt x="1223" y="545"/>
                  </a:lnTo>
                  <a:lnTo>
                    <a:pt x="1222" y="545"/>
                  </a:lnTo>
                  <a:lnTo>
                    <a:pt x="1222" y="544"/>
                  </a:lnTo>
                  <a:lnTo>
                    <a:pt x="1220" y="544"/>
                  </a:lnTo>
                  <a:lnTo>
                    <a:pt x="1219" y="544"/>
                  </a:lnTo>
                  <a:lnTo>
                    <a:pt x="1217" y="544"/>
                  </a:lnTo>
                  <a:lnTo>
                    <a:pt x="1219" y="542"/>
                  </a:lnTo>
                  <a:lnTo>
                    <a:pt x="1217" y="542"/>
                  </a:lnTo>
                  <a:lnTo>
                    <a:pt x="1215" y="542"/>
                  </a:lnTo>
                  <a:lnTo>
                    <a:pt x="1215" y="540"/>
                  </a:lnTo>
                  <a:lnTo>
                    <a:pt x="1215" y="542"/>
                  </a:lnTo>
                  <a:lnTo>
                    <a:pt x="1214" y="542"/>
                  </a:lnTo>
                  <a:lnTo>
                    <a:pt x="1214" y="540"/>
                  </a:lnTo>
                  <a:lnTo>
                    <a:pt x="1212" y="542"/>
                  </a:lnTo>
                  <a:lnTo>
                    <a:pt x="1214" y="542"/>
                  </a:lnTo>
                  <a:lnTo>
                    <a:pt x="1212" y="542"/>
                  </a:lnTo>
                  <a:lnTo>
                    <a:pt x="1214" y="542"/>
                  </a:lnTo>
                  <a:lnTo>
                    <a:pt x="1214" y="544"/>
                  </a:lnTo>
                  <a:lnTo>
                    <a:pt x="1215" y="542"/>
                  </a:lnTo>
                  <a:lnTo>
                    <a:pt x="1217" y="542"/>
                  </a:lnTo>
                  <a:lnTo>
                    <a:pt x="1215" y="544"/>
                  </a:lnTo>
                  <a:lnTo>
                    <a:pt x="1214" y="544"/>
                  </a:lnTo>
                  <a:lnTo>
                    <a:pt x="1212" y="544"/>
                  </a:lnTo>
                  <a:lnTo>
                    <a:pt x="1210" y="544"/>
                  </a:lnTo>
                  <a:lnTo>
                    <a:pt x="1212" y="544"/>
                  </a:lnTo>
                  <a:lnTo>
                    <a:pt x="1212" y="542"/>
                  </a:lnTo>
                  <a:lnTo>
                    <a:pt x="1210" y="542"/>
                  </a:lnTo>
                  <a:lnTo>
                    <a:pt x="1209" y="542"/>
                  </a:lnTo>
                  <a:lnTo>
                    <a:pt x="1207" y="542"/>
                  </a:lnTo>
                  <a:lnTo>
                    <a:pt x="1206" y="544"/>
                  </a:lnTo>
                  <a:lnTo>
                    <a:pt x="1206" y="542"/>
                  </a:lnTo>
                  <a:lnTo>
                    <a:pt x="1206" y="544"/>
                  </a:lnTo>
                  <a:lnTo>
                    <a:pt x="1206" y="542"/>
                  </a:lnTo>
                  <a:lnTo>
                    <a:pt x="1204" y="542"/>
                  </a:lnTo>
                  <a:lnTo>
                    <a:pt x="1202" y="544"/>
                  </a:lnTo>
                  <a:lnTo>
                    <a:pt x="1202" y="542"/>
                  </a:lnTo>
                  <a:lnTo>
                    <a:pt x="1202" y="540"/>
                  </a:lnTo>
                  <a:lnTo>
                    <a:pt x="1202" y="542"/>
                  </a:lnTo>
                  <a:lnTo>
                    <a:pt x="1201" y="542"/>
                  </a:lnTo>
                  <a:lnTo>
                    <a:pt x="1202" y="542"/>
                  </a:lnTo>
                  <a:lnTo>
                    <a:pt x="1202" y="540"/>
                  </a:lnTo>
                  <a:lnTo>
                    <a:pt x="1202" y="539"/>
                  </a:lnTo>
                  <a:lnTo>
                    <a:pt x="1202" y="540"/>
                  </a:lnTo>
                  <a:lnTo>
                    <a:pt x="1204" y="539"/>
                  </a:lnTo>
                  <a:lnTo>
                    <a:pt x="1202" y="539"/>
                  </a:lnTo>
                  <a:lnTo>
                    <a:pt x="1202" y="537"/>
                  </a:lnTo>
                  <a:lnTo>
                    <a:pt x="1201" y="537"/>
                  </a:lnTo>
                  <a:lnTo>
                    <a:pt x="1199" y="537"/>
                  </a:lnTo>
                  <a:lnTo>
                    <a:pt x="1199" y="535"/>
                  </a:lnTo>
                  <a:lnTo>
                    <a:pt x="1199" y="537"/>
                  </a:lnTo>
                  <a:lnTo>
                    <a:pt x="1199" y="539"/>
                  </a:lnTo>
                  <a:lnTo>
                    <a:pt x="1199" y="540"/>
                  </a:lnTo>
                  <a:lnTo>
                    <a:pt x="1201" y="540"/>
                  </a:lnTo>
                  <a:lnTo>
                    <a:pt x="1201" y="542"/>
                  </a:lnTo>
                  <a:lnTo>
                    <a:pt x="1199" y="540"/>
                  </a:lnTo>
                  <a:lnTo>
                    <a:pt x="1199" y="542"/>
                  </a:lnTo>
                  <a:lnTo>
                    <a:pt x="1197" y="542"/>
                  </a:lnTo>
                  <a:lnTo>
                    <a:pt x="1199" y="542"/>
                  </a:lnTo>
                  <a:lnTo>
                    <a:pt x="1197" y="542"/>
                  </a:lnTo>
                  <a:lnTo>
                    <a:pt x="1196" y="542"/>
                  </a:lnTo>
                  <a:lnTo>
                    <a:pt x="1197" y="544"/>
                  </a:lnTo>
                  <a:lnTo>
                    <a:pt x="1196" y="544"/>
                  </a:lnTo>
                  <a:lnTo>
                    <a:pt x="1194" y="544"/>
                  </a:lnTo>
                  <a:lnTo>
                    <a:pt x="1194" y="545"/>
                  </a:lnTo>
                  <a:lnTo>
                    <a:pt x="1196" y="545"/>
                  </a:lnTo>
                  <a:lnTo>
                    <a:pt x="1196" y="547"/>
                  </a:lnTo>
                  <a:lnTo>
                    <a:pt x="1196" y="545"/>
                  </a:lnTo>
                  <a:lnTo>
                    <a:pt x="1196" y="547"/>
                  </a:lnTo>
                  <a:lnTo>
                    <a:pt x="1196" y="548"/>
                  </a:lnTo>
                  <a:lnTo>
                    <a:pt x="1194" y="548"/>
                  </a:lnTo>
                  <a:lnTo>
                    <a:pt x="1194" y="550"/>
                  </a:lnTo>
                  <a:lnTo>
                    <a:pt x="1193" y="550"/>
                  </a:lnTo>
                  <a:lnTo>
                    <a:pt x="1191" y="550"/>
                  </a:lnTo>
                  <a:lnTo>
                    <a:pt x="1191" y="548"/>
                  </a:lnTo>
                  <a:lnTo>
                    <a:pt x="1193" y="548"/>
                  </a:lnTo>
                  <a:lnTo>
                    <a:pt x="1191" y="548"/>
                  </a:lnTo>
                  <a:lnTo>
                    <a:pt x="1193" y="548"/>
                  </a:lnTo>
                  <a:lnTo>
                    <a:pt x="1191" y="547"/>
                  </a:lnTo>
                  <a:lnTo>
                    <a:pt x="1191" y="548"/>
                  </a:lnTo>
                  <a:lnTo>
                    <a:pt x="1189" y="548"/>
                  </a:lnTo>
                  <a:lnTo>
                    <a:pt x="1188" y="548"/>
                  </a:lnTo>
                  <a:lnTo>
                    <a:pt x="1188" y="547"/>
                  </a:lnTo>
                  <a:lnTo>
                    <a:pt x="1188" y="545"/>
                  </a:lnTo>
                  <a:lnTo>
                    <a:pt x="1186" y="544"/>
                  </a:lnTo>
                  <a:lnTo>
                    <a:pt x="1186" y="542"/>
                  </a:lnTo>
                  <a:lnTo>
                    <a:pt x="1188" y="542"/>
                  </a:lnTo>
                  <a:lnTo>
                    <a:pt x="1188" y="540"/>
                  </a:lnTo>
                  <a:lnTo>
                    <a:pt x="1188" y="542"/>
                  </a:lnTo>
                  <a:lnTo>
                    <a:pt x="1188" y="540"/>
                  </a:lnTo>
                  <a:lnTo>
                    <a:pt x="1188" y="542"/>
                  </a:lnTo>
                  <a:lnTo>
                    <a:pt x="1189" y="542"/>
                  </a:lnTo>
                  <a:lnTo>
                    <a:pt x="1189" y="540"/>
                  </a:lnTo>
                  <a:lnTo>
                    <a:pt x="1189" y="542"/>
                  </a:lnTo>
                  <a:lnTo>
                    <a:pt x="1189" y="540"/>
                  </a:lnTo>
                  <a:lnTo>
                    <a:pt x="1188" y="540"/>
                  </a:lnTo>
                  <a:lnTo>
                    <a:pt x="1189" y="540"/>
                  </a:lnTo>
                  <a:lnTo>
                    <a:pt x="1189" y="539"/>
                  </a:lnTo>
                  <a:lnTo>
                    <a:pt x="1188" y="540"/>
                  </a:lnTo>
                  <a:lnTo>
                    <a:pt x="1188" y="539"/>
                  </a:lnTo>
                  <a:lnTo>
                    <a:pt x="1189" y="539"/>
                  </a:lnTo>
                  <a:lnTo>
                    <a:pt x="1189" y="537"/>
                  </a:lnTo>
                  <a:lnTo>
                    <a:pt x="1189" y="535"/>
                  </a:lnTo>
                  <a:lnTo>
                    <a:pt x="1191" y="535"/>
                  </a:lnTo>
                  <a:lnTo>
                    <a:pt x="1191" y="534"/>
                  </a:lnTo>
                  <a:lnTo>
                    <a:pt x="1193" y="534"/>
                  </a:lnTo>
                  <a:lnTo>
                    <a:pt x="1193" y="532"/>
                  </a:lnTo>
                  <a:lnTo>
                    <a:pt x="1191" y="532"/>
                  </a:lnTo>
                  <a:lnTo>
                    <a:pt x="1191" y="531"/>
                  </a:lnTo>
                  <a:lnTo>
                    <a:pt x="1193" y="531"/>
                  </a:lnTo>
                  <a:lnTo>
                    <a:pt x="1193" y="532"/>
                  </a:lnTo>
                  <a:lnTo>
                    <a:pt x="1193" y="531"/>
                  </a:lnTo>
                  <a:lnTo>
                    <a:pt x="1193" y="529"/>
                  </a:lnTo>
                  <a:lnTo>
                    <a:pt x="1194" y="529"/>
                  </a:lnTo>
                  <a:lnTo>
                    <a:pt x="1196" y="529"/>
                  </a:lnTo>
                  <a:lnTo>
                    <a:pt x="1196" y="527"/>
                  </a:lnTo>
                  <a:lnTo>
                    <a:pt x="1197" y="527"/>
                  </a:lnTo>
                  <a:lnTo>
                    <a:pt x="1196" y="527"/>
                  </a:lnTo>
                  <a:lnTo>
                    <a:pt x="1197" y="527"/>
                  </a:lnTo>
                  <a:lnTo>
                    <a:pt x="1196" y="527"/>
                  </a:lnTo>
                  <a:lnTo>
                    <a:pt x="1196" y="529"/>
                  </a:lnTo>
                  <a:lnTo>
                    <a:pt x="1197" y="529"/>
                  </a:lnTo>
                  <a:lnTo>
                    <a:pt x="1197" y="527"/>
                  </a:lnTo>
                  <a:lnTo>
                    <a:pt x="1197" y="529"/>
                  </a:lnTo>
                  <a:lnTo>
                    <a:pt x="1197" y="527"/>
                  </a:lnTo>
                  <a:lnTo>
                    <a:pt x="1197" y="529"/>
                  </a:lnTo>
                  <a:lnTo>
                    <a:pt x="1199" y="529"/>
                  </a:lnTo>
                  <a:lnTo>
                    <a:pt x="1199" y="531"/>
                  </a:lnTo>
                  <a:lnTo>
                    <a:pt x="1197" y="531"/>
                  </a:lnTo>
                  <a:lnTo>
                    <a:pt x="1199" y="529"/>
                  </a:lnTo>
                  <a:lnTo>
                    <a:pt x="1197" y="529"/>
                  </a:lnTo>
                  <a:lnTo>
                    <a:pt x="1197" y="531"/>
                  </a:lnTo>
                  <a:lnTo>
                    <a:pt x="1197" y="532"/>
                  </a:lnTo>
                  <a:lnTo>
                    <a:pt x="1196" y="532"/>
                  </a:lnTo>
                  <a:lnTo>
                    <a:pt x="1197" y="532"/>
                  </a:lnTo>
                  <a:lnTo>
                    <a:pt x="1197" y="534"/>
                  </a:lnTo>
                  <a:lnTo>
                    <a:pt x="1199" y="534"/>
                  </a:lnTo>
                  <a:lnTo>
                    <a:pt x="1197" y="532"/>
                  </a:lnTo>
                  <a:lnTo>
                    <a:pt x="1199" y="532"/>
                  </a:lnTo>
                  <a:lnTo>
                    <a:pt x="1197" y="532"/>
                  </a:lnTo>
                  <a:lnTo>
                    <a:pt x="1199" y="532"/>
                  </a:lnTo>
                  <a:lnTo>
                    <a:pt x="1199" y="531"/>
                  </a:lnTo>
                  <a:lnTo>
                    <a:pt x="1201" y="531"/>
                  </a:lnTo>
                  <a:lnTo>
                    <a:pt x="1199" y="531"/>
                  </a:lnTo>
                  <a:lnTo>
                    <a:pt x="1201" y="531"/>
                  </a:lnTo>
                  <a:lnTo>
                    <a:pt x="1202" y="531"/>
                  </a:lnTo>
                  <a:lnTo>
                    <a:pt x="1201" y="531"/>
                  </a:lnTo>
                  <a:lnTo>
                    <a:pt x="1202" y="531"/>
                  </a:lnTo>
                  <a:lnTo>
                    <a:pt x="1202" y="529"/>
                  </a:lnTo>
                  <a:lnTo>
                    <a:pt x="1201" y="529"/>
                  </a:lnTo>
                  <a:lnTo>
                    <a:pt x="1199" y="529"/>
                  </a:lnTo>
                  <a:lnTo>
                    <a:pt x="1201" y="527"/>
                  </a:lnTo>
                  <a:lnTo>
                    <a:pt x="1201" y="529"/>
                  </a:lnTo>
                  <a:lnTo>
                    <a:pt x="1202" y="527"/>
                  </a:lnTo>
                  <a:lnTo>
                    <a:pt x="1202" y="529"/>
                  </a:lnTo>
                  <a:lnTo>
                    <a:pt x="1204" y="529"/>
                  </a:lnTo>
                  <a:lnTo>
                    <a:pt x="1204" y="527"/>
                  </a:lnTo>
                  <a:lnTo>
                    <a:pt x="1204" y="526"/>
                  </a:lnTo>
                  <a:lnTo>
                    <a:pt x="1202" y="526"/>
                  </a:lnTo>
                  <a:lnTo>
                    <a:pt x="1202" y="524"/>
                  </a:lnTo>
                  <a:lnTo>
                    <a:pt x="1204" y="524"/>
                  </a:lnTo>
                  <a:lnTo>
                    <a:pt x="1202" y="524"/>
                  </a:lnTo>
                  <a:lnTo>
                    <a:pt x="1201" y="524"/>
                  </a:lnTo>
                  <a:lnTo>
                    <a:pt x="1202" y="524"/>
                  </a:lnTo>
                  <a:lnTo>
                    <a:pt x="1202" y="522"/>
                  </a:lnTo>
                  <a:lnTo>
                    <a:pt x="1204" y="522"/>
                  </a:lnTo>
                  <a:lnTo>
                    <a:pt x="1206" y="522"/>
                  </a:lnTo>
                  <a:lnTo>
                    <a:pt x="1206" y="524"/>
                  </a:lnTo>
                  <a:lnTo>
                    <a:pt x="1204" y="524"/>
                  </a:lnTo>
                  <a:lnTo>
                    <a:pt x="1206" y="524"/>
                  </a:lnTo>
                  <a:lnTo>
                    <a:pt x="1207" y="524"/>
                  </a:lnTo>
                  <a:lnTo>
                    <a:pt x="1209" y="524"/>
                  </a:lnTo>
                  <a:lnTo>
                    <a:pt x="1209" y="526"/>
                  </a:lnTo>
                  <a:lnTo>
                    <a:pt x="1209" y="524"/>
                  </a:lnTo>
                  <a:lnTo>
                    <a:pt x="1207" y="526"/>
                  </a:lnTo>
                  <a:lnTo>
                    <a:pt x="1209" y="526"/>
                  </a:lnTo>
                  <a:lnTo>
                    <a:pt x="1209" y="527"/>
                  </a:lnTo>
                  <a:lnTo>
                    <a:pt x="1209" y="526"/>
                  </a:lnTo>
                  <a:lnTo>
                    <a:pt x="1209" y="527"/>
                  </a:lnTo>
                  <a:lnTo>
                    <a:pt x="1207" y="527"/>
                  </a:lnTo>
                  <a:lnTo>
                    <a:pt x="1207" y="529"/>
                  </a:lnTo>
                  <a:lnTo>
                    <a:pt x="1209" y="529"/>
                  </a:lnTo>
                  <a:lnTo>
                    <a:pt x="1209" y="531"/>
                  </a:lnTo>
                  <a:lnTo>
                    <a:pt x="1210" y="532"/>
                  </a:lnTo>
                  <a:lnTo>
                    <a:pt x="1209" y="532"/>
                  </a:lnTo>
                  <a:lnTo>
                    <a:pt x="1209" y="534"/>
                  </a:lnTo>
                  <a:lnTo>
                    <a:pt x="1207" y="534"/>
                  </a:lnTo>
                  <a:lnTo>
                    <a:pt x="1206" y="534"/>
                  </a:lnTo>
                  <a:lnTo>
                    <a:pt x="1204" y="534"/>
                  </a:lnTo>
                  <a:lnTo>
                    <a:pt x="1202" y="534"/>
                  </a:lnTo>
                  <a:lnTo>
                    <a:pt x="1204" y="534"/>
                  </a:lnTo>
                  <a:lnTo>
                    <a:pt x="1204" y="535"/>
                  </a:lnTo>
                  <a:lnTo>
                    <a:pt x="1206" y="535"/>
                  </a:lnTo>
                  <a:lnTo>
                    <a:pt x="1204" y="535"/>
                  </a:lnTo>
                  <a:lnTo>
                    <a:pt x="1206" y="537"/>
                  </a:lnTo>
                  <a:lnTo>
                    <a:pt x="1206" y="539"/>
                  </a:lnTo>
                  <a:lnTo>
                    <a:pt x="1204" y="539"/>
                  </a:lnTo>
                  <a:lnTo>
                    <a:pt x="1204" y="540"/>
                  </a:lnTo>
                  <a:lnTo>
                    <a:pt x="1204" y="539"/>
                  </a:lnTo>
                  <a:lnTo>
                    <a:pt x="1206" y="540"/>
                  </a:lnTo>
                  <a:lnTo>
                    <a:pt x="1206" y="539"/>
                  </a:lnTo>
                  <a:lnTo>
                    <a:pt x="1206" y="540"/>
                  </a:lnTo>
                  <a:lnTo>
                    <a:pt x="1206" y="539"/>
                  </a:lnTo>
                  <a:lnTo>
                    <a:pt x="1206" y="540"/>
                  </a:lnTo>
                  <a:lnTo>
                    <a:pt x="1206" y="542"/>
                  </a:lnTo>
                  <a:lnTo>
                    <a:pt x="1206" y="540"/>
                  </a:lnTo>
                  <a:lnTo>
                    <a:pt x="1207" y="540"/>
                  </a:lnTo>
                  <a:lnTo>
                    <a:pt x="1206" y="540"/>
                  </a:lnTo>
                  <a:lnTo>
                    <a:pt x="1207" y="540"/>
                  </a:lnTo>
                  <a:lnTo>
                    <a:pt x="1207" y="539"/>
                  </a:lnTo>
                  <a:lnTo>
                    <a:pt x="1206" y="539"/>
                  </a:lnTo>
                  <a:lnTo>
                    <a:pt x="1206" y="537"/>
                  </a:lnTo>
                  <a:lnTo>
                    <a:pt x="1207" y="537"/>
                  </a:lnTo>
                  <a:lnTo>
                    <a:pt x="1209" y="537"/>
                  </a:lnTo>
                  <a:lnTo>
                    <a:pt x="1209" y="535"/>
                  </a:lnTo>
                  <a:lnTo>
                    <a:pt x="1209" y="537"/>
                  </a:lnTo>
                  <a:lnTo>
                    <a:pt x="1210" y="537"/>
                  </a:lnTo>
                  <a:lnTo>
                    <a:pt x="1210" y="535"/>
                  </a:lnTo>
                  <a:lnTo>
                    <a:pt x="1210" y="534"/>
                  </a:lnTo>
                  <a:lnTo>
                    <a:pt x="1212" y="534"/>
                  </a:lnTo>
                  <a:lnTo>
                    <a:pt x="1210" y="534"/>
                  </a:lnTo>
                  <a:lnTo>
                    <a:pt x="1212" y="534"/>
                  </a:lnTo>
                  <a:lnTo>
                    <a:pt x="1214" y="535"/>
                  </a:lnTo>
                  <a:lnTo>
                    <a:pt x="1214" y="534"/>
                  </a:lnTo>
                  <a:lnTo>
                    <a:pt x="1214" y="532"/>
                  </a:lnTo>
                  <a:lnTo>
                    <a:pt x="1215" y="532"/>
                  </a:lnTo>
                  <a:lnTo>
                    <a:pt x="1214" y="532"/>
                  </a:lnTo>
                  <a:lnTo>
                    <a:pt x="1215" y="532"/>
                  </a:lnTo>
                  <a:lnTo>
                    <a:pt x="1217" y="532"/>
                  </a:lnTo>
                  <a:lnTo>
                    <a:pt x="1217" y="531"/>
                  </a:lnTo>
                  <a:lnTo>
                    <a:pt x="1219" y="529"/>
                  </a:lnTo>
                  <a:lnTo>
                    <a:pt x="1217" y="529"/>
                  </a:lnTo>
                  <a:lnTo>
                    <a:pt x="1217" y="527"/>
                  </a:lnTo>
                  <a:lnTo>
                    <a:pt x="1219" y="527"/>
                  </a:lnTo>
                  <a:lnTo>
                    <a:pt x="1217" y="527"/>
                  </a:lnTo>
                  <a:lnTo>
                    <a:pt x="1219" y="527"/>
                  </a:lnTo>
                  <a:lnTo>
                    <a:pt x="1219" y="526"/>
                  </a:lnTo>
                  <a:lnTo>
                    <a:pt x="1219" y="527"/>
                  </a:lnTo>
                  <a:lnTo>
                    <a:pt x="1220" y="527"/>
                  </a:lnTo>
                  <a:lnTo>
                    <a:pt x="1220" y="526"/>
                  </a:lnTo>
                  <a:lnTo>
                    <a:pt x="1219" y="526"/>
                  </a:lnTo>
                  <a:lnTo>
                    <a:pt x="1217" y="526"/>
                  </a:lnTo>
                  <a:lnTo>
                    <a:pt x="1217" y="524"/>
                  </a:lnTo>
                  <a:lnTo>
                    <a:pt x="1215" y="522"/>
                  </a:lnTo>
                  <a:lnTo>
                    <a:pt x="1215" y="519"/>
                  </a:lnTo>
                  <a:lnTo>
                    <a:pt x="1217" y="519"/>
                  </a:lnTo>
                  <a:lnTo>
                    <a:pt x="1219" y="521"/>
                  </a:lnTo>
                  <a:lnTo>
                    <a:pt x="1219" y="519"/>
                  </a:lnTo>
                  <a:lnTo>
                    <a:pt x="1220" y="519"/>
                  </a:lnTo>
                  <a:lnTo>
                    <a:pt x="1222" y="517"/>
                  </a:lnTo>
                  <a:lnTo>
                    <a:pt x="1220" y="517"/>
                  </a:lnTo>
                  <a:lnTo>
                    <a:pt x="1220" y="516"/>
                  </a:lnTo>
                  <a:lnTo>
                    <a:pt x="1220" y="514"/>
                  </a:lnTo>
                  <a:lnTo>
                    <a:pt x="1220" y="513"/>
                  </a:lnTo>
                  <a:lnTo>
                    <a:pt x="1219" y="513"/>
                  </a:lnTo>
                  <a:lnTo>
                    <a:pt x="1220" y="513"/>
                  </a:lnTo>
                  <a:lnTo>
                    <a:pt x="1219" y="513"/>
                  </a:lnTo>
                  <a:lnTo>
                    <a:pt x="1219" y="511"/>
                  </a:lnTo>
                  <a:lnTo>
                    <a:pt x="1219" y="513"/>
                  </a:lnTo>
                  <a:lnTo>
                    <a:pt x="1220" y="511"/>
                  </a:lnTo>
                  <a:lnTo>
                    <a:pt x="1219" y="511"/>
                  </a:lnTo>
                  <a:lnTo>
                    <a:pt x="1220" y="509"/>
                  </a:lnTo>
                  <a:lnTo>
                    <a:pt x="1222" y="509"/>
                  </a:lnTo>
                  <a:lnTo>
                    <a:pt x="1223" y="509"/>
                  </a:lnTo>
                  <a:lnTo>
                    <a:pt x="1223" y="511"/>
                  </a:lnTo>
                  <a:lnTo>
                    <a:pt x="1223" y="509"/>
                  </a:lnTo>
                  <a:lnTo>
                    <a:pt x="1225" y="509"/>
                  </a:lnTo>
                  <a:lnTo>
                    <a:pt x="1225" y="511"/>
                  </a:lnTo>
                  <a:lnTo>
                    <a:pt x="1223" y="511"/>
                  </a:lnTo>
                  <a:lnTo>
                    <a:pt x="1225" y="511"/>
                  </a:lnTo>
                  <a:lnTo>
                    <a:pt x="1227" y="511"/>
                  </a:lnTo>
                  <a:lnTo>
                    <a:pt x="1225" y="511"/>
                  </a:lnTo>
                  <a:lnTo>
                    <a:pt x="1225" y="513"/>
                  </a:lnTo>
                  <a:lnTo>
                    <a:pt x="1227" y="513"/>
                  </a:lnTo>
                  <a:lnTo>
                    <a:pt x="1227" y="514"/>
                  </a:lnTo>
                  <a:lnTo>
                    <a:pt x="1225" y="516"/>
                  </a:lnTo>
                  <a:lnTo>
                    <a:pt x="1227" y="516"/>
                  </a:lnTo>
                  <a:lnTo>
                    <a:pt x="1228" y="516"/>
                  </a:lnTo>
                  <a:lnTo>
                    <a:pt x="1228" y="517"/>
                  </a:lnTo>
                  <a:lnTo>
                    <a:pt x="1230" y="517"/>
                  </a:lnTo>
                  <a:lnTo>
                    <a:pt x="1228" y="517"/>
                  </a:lnTo>
                  <a:lnTo>
                    <a:pt x="1227" y="519"/>
                  </a:lnTo>
                  <a:lnTo>
                    <a:pt x="1225" y="519"/>
                  </a:lnTo>
                  <a:lnTo>
                    <a:pt x="1225" y="521"/>
                  </a:lnTo>
                  <a:lnTo>
                    <a:pt x="1225" y="519"/>
                  </a:lnTo>
                  <a:lnTo>
                    <a:pt x="1225" y="521"/>
                  </a:lnTo>
                  <a:lnTo>
                    <a:pt x="1225" y="522"/>
                  </a:lnTo>
                  <a:lnTo>
                    <a:pt x="1227" y="522"/>
                  </a:lnTo>
                  <a:lnTo>
                    <a:pt x="1227" y="521"/>
                  </a:lnTo>
                  <a:lnTo>
                    <a:pt x="1228" y="521"/>
                  </a:lnTo>
                  <a:lnTo>
                    <a:pt x="1228" y="522"/>
                  </a:lnTo>
                  <a:lnTo>
                    <a:pt x="1228" y="521"/>
                  </a:lnTo>
                  <a:lnTo>
                    <a:pt x="1228" y="522"/>
                  </a:lnTo>
                  <a:lnTo>
                    <a:pt x="1228" y="521"/>
                  </a:lnTo>
                  <a:lnTo>
                    <a:pt x="1228" y="522"/>
                  </a:lnTo>
                  <a:lnTo>
                    <a:pt x="1228" y="521"/>
                  </a:lnTo>
                  <a:lnTo>
                    <a:pt x="1230" y="521"/>
                  </a:lnTo>
                  <a:lnTo>
                    <a:pt x="1230" y="519"/>
                  </a:lnTo>
                  <a:lnTo>
                    <a:pt x="1232" y="521"/>
                  </a:lnTo>
                  <a:lnTo>
                    <a:pt x="1232" y="522"/>
                  </a:lnTo>
                  <a:lnTo>
                    <a:pt x="1232" y="524"/>
                  </a:lnTo>
                  <a:lnTo>
                    <a:pt x="1230" y="527"/>
                  </a:lnTo>
                  <a:lnTo>
                    <a:pt x="1230" y="529"/>
                  </a:lnTo>
                  <a:lnTo>
                    <a:pt x="1230" y="531"/>
                  </a:lnTo>
                  <a:lnTo>
                    <a:pt x="1230" y="532"/>
                  </a:lnTo>
                  <a:lnTo>
                    <a:pt x="1230" y="534"/>
                  </a:lnTo>
                  <a:lnTo>
                    <a:pt x="1232" y="534"/>
                  </a:lnTo>
                  <a:lnTo>
                    <a:pt x="1232" y="535"/>
                  </a:lnTo>
                  <a:lnTo>
                    <a:pt x="1230" y="535"/>
                  </a:lnTo>
                  <a:lnTo>
                    <a:pt x="1230" y="537"/>
                  </a:lnTo>
                  <a:lnTo>
                    <a:pt x="1230" y="539"/>
                  </a:lnTo>
                  <a:lnTo>
                    <a:pt x="1230" y="540"/>
                  </a:lnTo>
                  <a:lnTo>
                    <a:pt x="1228" y="540"/>
                  </a:lnTo>
                  <a:lnTo>
                    <a:pt x="1230" y="540"/>
                  </a:lnTo>
                  <a:lnTo>
                    <a:pt x="1230" y="542"/>
                  </a:lnTo>
                  <a:lnTo>
                    <a:pt x="1232" y="542"/>
                  </a:lnTo>
                  <a:lnTo>
                    <a:pt x="1233" y="544"/>
                  </a:lnTo>
                  <a:lnTo>
                    <a:pt x="1235" y="544"/>
                  </a:lnTo>
                  <a:lnTo>
                    <a:pt x="1235" y="545"/>
                  </a:lnTo>
                  <a:lnTo>
                    <a:pt x="1236" y="547"/>
                  </a:lnTo>
                  <a:lnTo>
                    <a:pt x="1236" y="548"/>
                  </a:lnTo>
                  <a:lnTo>
                    <a:pt x="1238" y="550"/>
                  </a:lnTo>
                  <a:lnTo>
                    <a:pt x="1238" y="552"/>
                  </a:lnTo>
                  <a:lnTo>
                    <a:pt x="1238" y="553"/>
                  </a:lnTo>
                  <a:lnTo>
                    <a:pt x="1238" y="555"/>
                  </a:lnTo>
                  <a:lnTo>
                    <a:pt x="1238" y="557"/>
                  </a:lnTo>
                  <a:lnTo>
                    <a:pt x="1238" y="558"/>
                  </a:lnTo>
                  <a:lnTo>
                    <a:pt x="1238" y="560"/>
                  </a:lnTo>
                  <a:lnTo>
                    <a:pt x="1238" y="561"/>
                  </a:lnTo>
                  <a:lnTo>
                    <a:pt x="1240" y="561"/>
                  </a:lnTo>
                  <a:lnTo>
                    <a:pt x="1241" y="561"/>
                  </a:lnTo>
                  <a:lnTo>
                    <a:pt x="1243" y="563"/>
                  </a:lnTo>
                  <a:lnTo>
                    <a:pt x="1245" y="563"/>
                  </a:lnTo>
                  <a:lnTo>
                    <a:pt x="1245" y="565"/>
                  </a:lnTo>
                  <a:lnTo>
                    <a:pt x="1246" y="565"/>
                  </a:lnTo>
                  <a:lnTo>
                    <a:pt x="1248" y="566"/>
                  </a:lnTo>
                  <a:lnTo>
                    <a:pt x="1249" y="568"/>
                  </a:lnTo>
                  <a:lnTo>
                    <a:pt x="1251" y="568"/>
                  </a:lnTo>
                  <a:lnTo>
                    <a:pt x="1253" y="570"/>
                  </a:lnTo>
                  <a:lnTo>
                    <a:pt x="1254" y="571"/>
                  </a:lnTo>
                  <a:lnTo>
                    <a:pt x="1256" y="571"/>
                  </a:lnTo>
                  <a:lnTo>
                    <a:pt x="1256" y="570"/>
                  </a:lnTo>
                  <a:lnTo>
                    <a:pt x="1254" y="570"/>
                  </a:lnTo>
                  <a:lnTo>
                    <a:pt x="1253" y="568"/>
                  </a:lnTo>
                  <a:lnTo>
                    <a:pt x="1251" y="568"/>
                  </a:lnTo>
                  <a:lnTo>
                    <a:pt x="1253" y="565"/>
                  </a:lnTo>
                  <a:lnTo>
                    <a:pt x="1251" y="565"/>
                  </a:lnTo>
                  <a:lnTo>
                    <a:pt x="1249" y="565"/>
                  </a:lnTo>
                  <a:lnTo>
                    <a:pt x="1248" y="563"/>
                  </a:lnTo>
                  <a:lnTo>
                    <a:pt x="1246" y="563"/>
                  </a:lnTo>
                  <a:lnTo>
                    <a:pt x="1246" y="561"/>
                  </a:lnTo>
                  <a:lnTo>
                    <a:pt x="1245" y="561"/>
                  </a:lnTo>
                  <a:lnTo>
                    <a:pt x="1243" y="561"/>
                  </a:lnTo>
                  <a:lnTo>
                    <a:pt x="1243" y="560"/>
                  </a:lnTo>
                  <a:lnTo>
                    <a:pt x="1241" y="560"/>
                  </a:lnTo>
                  <a:lnTo>
                    <a:pt x="1240" y="560"/>
                  </a:lnTo>
                  <a:lnTo>
                    <a:pt x="1241" y="558"/>
                  </a:lnTo>
                  <a:lnTo>
                    <a:pt x="1240" y="557"/>
                  </a:lnTo>
                  <a:lnTo>
                    <a:pt x="1241" y="555"/>
                  </a:lnTo>
                  <a:lnTo>
                    <a:pt x="1241" y="553"/>
                  </a:lnTo>
                  <a:lnTo>
                    <a:pt x="1241" y="552"/>
                  </a:lnTo>
                  <a:lnTo>
                    <a:pt x="1241" y="550"/>
                  </a:lnTo>
                  <a:lnTo>
                    <a:pt x="1241" y="548"/>
                  </a:lnTo>
                  <a:lnTo>
                    <a:pt x="1240" y="548"/>
                  </a:lnTo>
                  <a:lnTo>
                    <a:pt x="1241" y="548"/>
                  </a:lnTo>
                  <a:lnTo>
                    <a:pt x="1240" y="547"/>
                  </a:lnTo>
                  <a:lnTo>
                    <a:pt x="1238" y="545"/>
                  </a:lnTo>
                  <a:lnTo>
                    <a:pt x="1236" y="544"/>
                  </a:lnTo>
                  <a:lnTo>
                    <a:pt x="1238" y="544"/>
                  </a:lnTo>
                  <a:lnTo>
                    <a:pt x="1238" y="542"/>
                  </a:lnTo>
                  <a:lnTo>
                    <a:pt x="1238" y="540"/>
                  </a:lnTo>
                  <a:lnTo>
                    <a:pt x="1240" y="542"/>
                  </a:lnTo>
                  <a:lnTo>
                    <a:pt x="1241" y="542"/>
                  </a:lnTo>
                  <a:lnTo>
                    <a:pt x="1241" y="544"/>
                  </a:lnTo>
                  <a:lnTo>
                    <a:pt x="1243" y="545"/>
                  </a:lnTo>
                  <a:lnTo>
                    <a:pt x="1243" y="547"/>
                  </a:lnTo>
                  <a:lnTo>
                    <a:pt x="1245" y="548"/>
                  </a:lnTo>
                  <a:lnTo>
                    <a:pt x="1245" y="550"/>
                  </a:lnTo>
                  <a:lnTo>
                    <a:pt x="1248" y="553"/>
                  </a:lnTo>
                  <a:lnTo>
                    <a:pt x="1249" y="553"/>
                  </a:lnTo>
                  <a:lnTo>
                    <a:pt x="1249" y="555"/>
                  </a:lnTo>
                  <a:lnTo>
                    <a:pt x="1249" y="557"/>
                  </a:lnTo>
                  <a:lnTo>
                    <a:pt x="1251" y="557"/>
                  </a:lnTo>
                  <a:lnTo>
                    <a:pt x="1253" y="557"/>
                  </a:lnTo>
                  <a:lnTo>
                    <a:pt x="1251" y="557"/>
                  </a:lnTo>
                  <a:lnTo>
                    <a:pt x="1251" y="555"/>
                  </a:lnTo>
                  <a:lnTo>
                    <a:pt x="1251" y="553"/>
                  </a:lnTo>
                  <a:lnTo>
                    <a:pt x="1251" y="552"/>
                  </a:lnTo>
                  <a:lnTo>
                    <a:pt x="1253" y="552"/>
                  </a:lnTo>
                  <a:lnTo>
                    <a:pt x="1251" y="552"/>
                  </a:lnTo>
                  <a:lnTo>
                    <a:pt x="1249" y="552"/>
                  </a:lnTo>
                  <a:lnTo>
                    <a:pt x="1248" y="553"/>
                  </a:lnTo>
                  <a:lnTo>
                    <a:pt x="1248" y="552"/>
                  </a:lnTo>
                  <a:lnTo>
                    <a:pt x="1246" y="550"/>
                  </a:lnTo>
                  <a:lnTo>
                    <a:pt x="1245" y="548"/>
                  </a:lnTo>
                  <a:lnTo>
                    <a:pt x="1245" y="547"/>
                  </a:lnTo>
                  <a:lnTo>
                    <a:pt x="1245" y="545"/>
                  </a:lnTo>
                  <a:lnTo>
                    <a:pt x="1243" y="545"/>
                  </a:lnTo>
                  <a:lnTo>
                    <a:pt x="1245" y="545"/>
                  </a:lnTo>
                  <a:lnTo>
                    <a:pt x="1243" y="544"/>
                  </a:lnTo>
                  <a:lnTo>
                    <a:pt x="1243" y="542"/>
                  </a:lnTo>
                  <a:lnTo>
                    <a:pt x="1245" y="542"/>
                  </a:lnTo>
                  <a:lnTo>
                    <a:pt x="1246" y="544"/>
                  </a:lnTo>
                  <a:lnTo>
                    <a:pt x="1246" y="542"/>
                  </a:lnTo>
                  <a:lnTo>
                    <a:pt x="1248" y="542"/>
                  </a:lnTo>
                  <a:lnTo>
                    <a:pt x="1248" y="544"/>
                  </a:lnTo>
                  <a:lnTo>
                    <a:pt x="1249" y="545"/>
                  </a:lnTo>
                  <a:lnTo>
                    <a:pt x="1251" y="548"/>
                  </a:lnTo>
                  <a:lnTo>
                    <a:pt x="1251" y="550"/>
                  </a:lnTo>
                  <a:lnTo>
                    <a:pt x="1253" y="550"/>
                  </a:lnTo>
                  <a:lnTo>
                    <a:pt x="1254" y="550"/>
                  </a:lnTo>
                  <a:lnTo>
                    <a:pt x="1254" y="548"/>
                  </a:lnTo>
                  <a:lnTo>
                    <a:pt x="1256" y="548"/>
                  </a:lnTo>
                  <a:lnTo>
                    <a:pt x="1254" y="548"/>
                  </a:lnTo>
                  <a:lnTo>
                    <a:pt x="1253" y="548"/>
                  </a:lnTo>
                  <a:lnTo>
                    <a:pt x="1251" y="548"/>
                  </a:lnTo>
                  <a:lnTo>
                    <a:pt x="1253" y="548"/>
                  </a:lnTo>
                  <a:lnTo>
                    <a:pt x="1251" y="547"/>
                  </a:lnTo>
                  <a:lnTo>
                    <a:pt x="1251" y="545"/>
                  </a:lnTo>
                  <a:lnTo>
                    <a:pt x="1253" y="544"/>
                  </a:lnTo>
                  <a:lnTo>
                    <a:pt x="1253" y="542"/>
                  </a:lnTo>
                  <a:lnTo>
                    <a:pt x="1253" y="540"/>
                  </a:lnTo>
                  <a:lnTo>
                    <a:pt x="1251" y="542"/>
                  </a:lnTo>
                  <a:lnTo>
                    <a:pt x="1251" y="540"/>
                  </a:lnTo>
                  <a:lnTo>
                    <a:pt x="1249" y="540"/>
                  </a:lnTo>
                  <a:lnTo>
                    <a:pt x="1248" y="540"/>
                  </a:lnTo>
                  <a:lnTo>
                    <a:pt x="1246" y="540"/>
                  </a:lnTo>
                  <a:lnTo>
                    <a:pt x="1245" y="540"/>
                  </a:lnTo>
                  <a:lnTo>
                    <a:pt x="1245" y="539"/>
                  </a:lnTo>
                  <a:lnTo>
                    <a:pt x="1245" y="537"/>
                  </a:lnTo>
                  <a:lnTo>
                    <a:pt x="1246" y="535"/>
                  </a:lnTo>
                  <a:lnTo>
                    <a:pt x="1246" y="534"/>
                  </a:lnTo>
                  <a:lnTo>
                    <a:pt x="1246" y="532"/>
                  </a:lnTo>
                  <a:lnTo>
                    <a:pt x="1248" y="532"/>
                  </a:lnTo>
                  <a:lnTo>
                    <a:pt x="1248" y="531"/>
                  </a:lnTo>
                  <a:lnTo>
                    <a:pt x="1249" y="531"/>
                  </a:lnTo>
                  <a:lnTo>
                    <a:pt x="1249" y="529"/>
                  </a:lnTo>
                  <a:lnTo>
                    <a:pt x="1249" y="527"/>
                  </a:lnTo>
                  <a:lnTo>
                    <a:pt x="1251" y="527"/>
                  </a:lnTo>
                  <a:lnTo>
                    <a:pt x="1251" y="529"/>
                  </a:lnTo>
                  <a:lnTo>
                    <a:pt x="1253" y="531"/>
                  </a:lnTo>
                  <a:lnTo>
                    <a:pt x="1253" y="532"/>
                  </a:lnTo>
                  <a:lnTo>
                    <a:pt x="1254" y="534"/>
                  </a:lnTo>
                  <a:lnTo>
                    <a:pt x="1256" y="534"/>
                  </a:lnTo>
                  <a:lnTo>
                    <a:pt x="1258" y="534"/>
                  </a:lnTo>
                  <a:lnTo>
                    <a:pt x="1258" y="532"/>
                  </a:lnTo>
                  <a:lnTo>
                    <a:pt x="1259" y="532"/>
                  </a:lnTo>
                  <a:lnTo>
                    <a:pt x="1259" y="534"/>
                  </a:lnTo>
                  <a:lnTo>
                    <a:pt x="1261" y="535"/>
                  </a:lnTo>
                  <a:lnTo>
                    <a:pt x="1261" y="534"/>
                  </a:lnTo>
                  <a:lnTo>
                    <a:pt x="1263" y="534"/>
                  </a:lnTo>
                  <a:lnTo>
                    <a:pt x="1261" y="534"/>
                  </a:lnTo>
                  <a:lnTo>
                    <a:pt x="1259" y="532"/>
                  </a:lnTo>
                  <a:lnTo>
                    <a:pt x="1261" y="532"/>
                  </a:lnTo>
                  <a:lnTo>
                    <a:pt x="1263" y="532"/>
                  </a:lnTo>
                  <a:lnTo>
                    <a:pt x="1264" y="532"/>
                  </a:lnTo>
                  <a:lnTo>
                    <a:pt x="1263" y="532"/>
                  </a:lnTo>
                  <a:lnTo>
                    <a:pt x="1264" y="532"/>
                  </a:lnTo>
                  <a:lnTo>
                    <a:pt x="1263" y="531"/>
                  </a:lnTo>
                  <a:lnTo>
                    <a:pt x="1263" y="532"/>
                  </a:lnTo>
                  <a:lnTo>
                    <a:pt x="1261" y="531"/>
                  </a:lnTo>
                  <a:lnTo>
                    <a:pt x="1259" y="531"/>
                  </a:lnTo>
                  <a:lnTo>
                    <a:pt x="1259" y="532"/>
                  </a:lnTo>
                  <a:lnTo>
                    <a:pt x="1258" y="532"/>
                  </a:lnTo>
                  <a:lnTo>
                    <a:pt x="1254" y="531"/>
                  </a:lnTo>
                  <a:lnTo>
                    <a:pt x="1253" y="529"/>
                  </a:lnTo>
                  <a:lnTo>
                    <a:pt x="1253" y="527"/>
                  </a:lnTo>
                  <a:lnTo>
                    <a:pt x="1251" y="526"/>
                  </a:lnTo>
                  <a:lnTo>
                    <a:pt x="1249" y="527"/>
                  </a:lnTo>
                  <a:lnTo>
                    <a:pt x="1248" y="527"/>
                  </a:lnTo>
                  <a:lnTo>
                    <a:pt x="1248" y="529"/>
                  </a:lnTo>
                  <a:lnTo>
                    <a:pt x="1246" y="531"/>
                  </a:lnTo>
                  <a:lnTo>
                    <a:pt x="1246" y="532"/>
                  </a:lnTo>
                  <a:lnTo>
                    <a:pt x="1245" y="532"/>
                  </a:lnTo>
                  <a:lnTo>
                    <a:pt x="1243" y="532"/>
                  </a:lnTo>
                  <a:lnTo>
                    <a:pt x="1241" y="531"/>
                  </a:lnTo>
                  <a:lnTo>
                    <a:pt x="1240" y="529"/>
                  </a:lnTo>
                  <a:lnTo>
                    <a:pt x="1241" y="529"/>
                  </a:lnTo>
                  <a:lnTo>
                    <a:pt x="1240" y="529"/>
                  </a:lnTo>
                  <a:lnTo>
                    <a:pt x="1241" y="529"/>
                  </a:lnTo>
                  <a:lnTo>
                    <a:pt x="1240" y="527"/>
                  </a:lnTo>
                  <a:lnTo>
                    <a:pt x="1238" y="527"/>
                  </a:lnTo>
                  <a:lnTo>
                    <a:pt x="1236" y="527"/>
                  </a:lnTo>
                  <a:lnTo>
                    <a:pt x="1238" y="526"/>
                  </a:lnTo>
                  <a:lnTo>
                    <a:pt x="1238" y="524"/>
                  </a:lnTo>
                  <a:lnTo>
                    <a:pt x="1240" y="526"/>
                  </a:lnTo>
                  <a:lnTo>
                    <a:pt x="1241" y="526"/>
                  </a:lnTo>
                  <a:lnTo>
                    <a:pt x="1243" y="526"/>
                  </a:lnTo>
                  <a:lnTo>
                    <a:pt x="1241" y="524"/>
                  </a:lnTo>
                  <a:lnTo>
                    <a:pt x="1241" y="522"/>
                  </a:lnTo>
                  <a:lnTo>
                    <a:pt x="1243" y="522"/>
                  </a:lnTo>
                  <a:lnTo>
                    <a:pt x="1243" y="521"/>
                  </a:lnTo>
                  <a:lnTo>
                    <a:pt x="1245" y="522"/>
                  </a:lnTo>
                  <a:lnTo>
                    <a:pt x="1245" y="524"/>
                  </a:lnTo>
                  <a:lnTo>
                    <a:pt x="1246" y="524"/>
                  </a:lnTo>
                  <a:lnTo>
                    <a:pt x="1246" y="526"/>
                  </a:lnTo>
                  <a:lnTo>
                    <a:pt x="1246" y="524"/>
                  </a:lnTo>
                  <a:lnTo>
                    <a:pt x="1246" y="522"/>
                  </a:lnTo>
                  <a:lnTo>
                    <a:pt x="1246" y="521"/>
                  </a:lnTo>
                  <a:lnTo>
                    <a:pt x="1245" y="522"/>
                  </a:lnTo>
                  <a:lnTo>
                    <a:pt x="1245" y="521"/>
                  </a:lnTo>
                  <a:lnTo>
                    <a:pt x="1246" y="521"/>
                  </a:lnTo>
                  <a:lnTo>
                    <a:pt x="1248" y="521"/>
                  </a:lnTo>
                  <a:lnTo>
                    <a:pt x="1249" y="521"/>
                  </a:lnTo>
                  <a:lnTo>
                    <a:pt x="1249" y="522"/>
                  </a:lnTo>
                  <a:lnTo>
                    <a:pt x="1249" y="521"/>
                  </a:lnTo>
                  <a:lnTo>
                    <a:pt x="1249" y="519"/>
                  </a:lnTo>
                  <a:lnTo>
                    <a:pt x="1249" y="517"/>
                  </a:lnTo>
                  <a:lnTo>
                    <a:pt x="1248" y="517"/>
                  </a:lnTo>
                  <a:lnTo>
                    <a:pt x="1246" y="517"/>
                  </a:lnTo>
                  <a:lnTo>
                    <a:pt x="1245" y="516"/>
                  </a:lnTo>
                  <a:lnTo>
                    <a:pt x="1245" y="517"/>
                  </a:lnTo>
                  <a:lnTo>
                    <a:pt x="1245" y="516"/>
                  </a:lnTo>
                  <a:lnTo>
                    <a:pt x="1246" y="516"/>
                  </a:lnTo>
                  <a:lnTo>
                    <a:pt x="1248" y="517"/>
                  </a:lnTo>
                  <a:lnTo>
                    <a:pt x="1249" y="517"/>
                  </a:lnTo>
                  <a:lnTo>
                    <a:pt x="1251" y="519"/>
                  </a:lnTo>
                  <a:lnTo>
                    <a:pt x="1253" y="519"/>
                  </a:lnTo>
                  <a:lnTo>
                    <a:pt x="1254" y="519"/>
                  </a:lnTo>
                  <a:lnTo>
                    <a:pt x="1256" y="519"/>
                  </a:lnTo>
                  <a:lnTo>
                    <a:pt x="1256" y="517"/>
                  </a:lnTo>
                  <a:lnTo>
                    <a:pt x="1256" y="519"/>
                  </a:lnTo>
                  <a:lnTo>
                    <a:pt x="1254" y="519"/>
                  </a:lnTo>
                  <a:lnTo>
                    <a:pt x="1253" y="517"/>
                  </a:lnTo>
                  <a:lnTo>
                    <a:pt x="1251" y="517"/>
                  </a:lnTo>
                  <a:lnTo>
                    <a:pt x="1249" y="516"/>
                  </a:lnTo>
                  <a:lnTo>
                    <a:pt x="1248" y="516"/>
                  </a:lnTo>
                  <a:lnTo>
                    <a:pt x="1248" y="514"/>
                  </a:lnTo>
                  <a:lnTo>
                    <a:pt x="1248" y="513"/>
                  </a:lnTo>
                  <a:lnTo>
                    <a:pt x="1248" y="511"/>
                  </a:lnTo>
                  <a:lnTo>
                    <a:pt x="1246" y="511"/>
                  </a:lnTo>
                  <a:lnTo>
                    <a:pt x="1246" y="513"/>
                  </a:lnTo>
                  <a:lnTo>
                    <a:pt x="1248" y="513"/>
                  </a:lnTo>
                  <a:lnTo>
                    <a:pt x="1246" y="514"/>
                  </a:lnTo>
                  <a:lnTo>
                    <a:pt x="1245" y="514"/>
                  </a:lnTo>
                  <a:lnTo>
                    <a:pt x="1241" y="514"/>
                  </a:lnTo>
                  <a:lnTo>
                    <a:pt x="1240" y="514"/>
                  </a:lnTo>
                  <a:lnTo>
                    <a:pt x="1240" y="516"/>
                  </a:lnTo>
                  <a:lnTo>
                    <a:pt x="1238" y="516"/>
                  </a:lnTo>
                  <a:lnTo>
                    <a:pt x="1236" y="516"/>
                  </a:lnTo>
                  <a:lnTo>
                    <a:pt x="1235" y="516"/>
                  </a:lnTo>
                  <a:lnTo>
                    <a:pt x="1233" y="516"/>
                  </a:lnTo>
                  <a:lnTo>
                    <a:pt x="1233" y="514"/>
                  </a:lnTo>
                  <a:lnTo>
                    <a:pt x="1233" y="513"/>
                  </a:lnTo>
                  <a:lnTo>
                    <a:pt x="1235" y="513"/>
                  </a:lnTo>
                  <a:lnTo>
                    <a:pt x="1235" y="514"/>
                  </a:lnTo>
                  <a:lnTo>
                    <a:pt x="1235" y="513"/>
                  </a:lnTo>
                  <a:lnTo>
                    <a:pt x="1236" y="513"/>
                  </a:lnTo>
                  <a:lnTo>
                    <a:pt x="1238" y="513"/>
                  </a:lnTo>
                  <a:lnTo>
                    <a:pt x="1238" y="511"/>
                  </a:lnTo>
                  <a:lnTo>
                    <a:pt x="1240" y="511"/>
                  </a:lnTo>
                  <a:lnTo>
                    <a:pt x="1241" y="511"/>
                  </a:lnTo>
                  <a:lnTo>
                    <a:pt x="1241" y="509"/>
                  </a:lnTo>
                  <a:lnTo>
                    <a:pt x="1241" y="508"/>
                  </a:lnTo>
                  <a:lnTo>
                    <a:pt x="1240" y="508"/>
                  </a:lnTo>
                  <a:lnTo>
                    <a:pt x="1240" y="509"/>
                  </a:lnTo>
                  <a:lnTo>
                    <a:pt x="1238" y="509"/>
                  </a:lnTo>
                  <a:lnTo>
                    <a:pt x="1236" y="509"/>
                  </a:lnTo>
                  <a:lnTo>
                    <a:pt x="1236" y="508"/>
                  </a:lnTo>
                  <a:lnTo>
                    <a:pt x="1235" y="508"/>
                  </a:lnTo>
                  <a:lnTo>
                    <a:pt x="1235" y="506"/>
                  </a:lnTo>
                  <a:lnTo>
                    <a:pt x="1232" y="506"/>
                  </a:lnTo>
                  <a:lnTo>
                    <a:pt x="1230" y="506"/>
                  </a:lnTo>
                  <a:lnTo>
                    <a:pt x="1230" y="504"/>
                  </a:lnTo>
                  <a:lnTo>
                    <a:pt x="1230" y="503"/>
                  </a:lnTo>
                  <a:lnTo>
                    <a:pt x="1230" y="501"/>
                  </a:lnTo>
                  <a:lnTo>
                    <a:pt x="1232" y="501"/>
                  </a:lnTo>
                  <a:lnTo>
                    <a:pt x="1230" y="501"/>
                  </a:lnTo>
                  <a:lnTo>
                    <a:pt x="1232" y="501"/>
                  </a:lnTo>
                  <a:lnTo>
                    <a:pt x="1233" y="500"/>
                  </a:lnTo>
                  <a:lnTo>
                    <a:pt x="1235" y="500"/>
                  </a:lnTo>
                  <a:lnTo>
                    <a:pt x="1236" y="500"/>
                  </a:lnTo>
                  <a:lnTo>
                    <a:pt x="1235" y="500"/>
                  </a:lnTo>
                  <a:lnTo>
                    <a:pt x="1235" y="501"/>
                  </a:lnTo>
                  <a:lnTo>
                    <a:pt x="1236" y="501"/>
                  </a:lnTo>
                  <a:lnTo>
                    <a:pt x="1238" y="500"/>
                  </a:lnTo>
                  <a:lnTo>
                    <a:pt x="1240" y="501"/>
                  </a:lnTo>
                  <a:lnTo>
                    <a:pt x="1240" y="503"/>
                  </a:lnTo>
                  <a:lnTo>
                    <a:pt x="1241" y="503"/>
                  </a:lnTo>
                  <a:lnTo>
                    <a:pt x="1241" y="501"/>
                  </a:lnTo>
                  <a:lnTo>
                    <a:pt x="1243" y="501"/>
                  </a:lnTo>
                  <a:lnTo>
                    <a:pt x="1243" y="503"/>
                  </a:lnTo>
                  <a:lnTo>
                    <a:pt x="1245" y="503"/>
                  </a:lnTo>
                  <a:lnTo>
                    <a:pt x="1246" y="503"/>
                  </a:lnTo>
                  <a:lnTo>
                    <a:pt x="1246" y="504"/>
                  </a:lnTo>
                  <a:lnTo>
                    <a:pt x="1245" y="504"/>
                  </a:lnTo>
                  <a:lnTo>
                    <a:pt x="1243" y="504"/>
                  </a:lnTo>
                  <a:lnTo>
                    <a:pt x="1245" y="504"/>
                  </a:lnTo>
                  <a:lnTo>
                    <a:pt x="1246" y="504"/>
                  </a:lnTo>
                  <a:lnTo>
                    <a:pt x="1248" y="504"/>
                  </a:lnTo>
                  <a:lnTo>
                    <a:pt x="1246" y="504"/>
                  </a:lnTo>
                  <a:lnTo>
                    <a:pt x="1248" y="504"/>
                  </a:lnTo>
                  <a:lnTo>
                    <a:pt x="1249" y="504"/>
                  </a:lnTo>
                  <a:lnTo>
                    <a:pt x="1249" y="506"/>
                  </a:lnTo>
                  <a:lnTo>
                    <a:pt x="1251" y="506"/>
                  </a:lnTo>
                  <a:lnTo>
                    <a:pt x="1253" y="508"/>
                  </a:lnTo>
                  <a:lnTo>
                    <a:pt x="1253" y="509"/>
                  </a:lnTo>
                  <a:lnTo>
                    <a:pt x="1254" y="509"/>
                  </a:lnTo>
                  <a:lnTo>
                    <a:pt x="1254" y="511"/>
                  </a:lnTo>
                  <a:lnTo>
                    <a:pt x="1256" y="513"/>
                  </a:lnTo>
                  <a:lnTo>
                    <a:pt x="1256" y="516"/>
                  </a:lnTo>
                  <a:lnTo>
                    <a:pt x="1258" y="516"/>
                  </a:lnTo>
                  <a:lnTo>
                    <a:pt x="1259" y="517"/>
                  </a:lnTo>
                  <a:lnTo>
                    <a:pt x="1261" y="519"/>
                  </a:lnTo>
                  <a:lnTo>
                    <a:pt x="1263" y="521"/>
                  </a:lnTo>
                  <a:lnTo>
                    <a:pt x="1267" y="522"/>
                  </a:lnTo>
                  <a:lnTo>
                    <a:pt x="1267" y="521"/>
                  </a:lnTo>
                  <a:lnTo>
                    <a:pt x="1266" y="521"/>
                  </a:lnTo>
                  <a:lnTo>
                    <a:pt x="1264" y="519"/>
                  </a:lnTo>
                  <a:lnTo>
                    <a:pt x="1263" y="517"/>
                  </a:lnTo>
                  <a:lnTo>
                    <a:pt x="1259" y="516"/>
                  </a:lnTo>
                  <a:lnTo>
                    <a:pt x="1258" y="514"/>
                  </a:lnTo>
                  <a:lnTo>
                    <a:pt x="1258" y="513"/>
                  </a:lnTo>
                  <a:lnTo>
                    <a:pt x="1258" y="511"/>
                  </a:lnTo>
                  <a:lnTo>
                    <a:pt x="1256" y="511"/>
                  </a:lnTo>
                  <a:lnTo>
                    <a:pt x="1254" y="509"/>
                  </a:lnTo>
                  <a:lnTo>
                    <a:pt x="1254" y="508"/>
                  </a:lnTo>
                  <a:lnTo>
                    <a:pt x="1256" y="506"/>
                  </a:lnTo>
                  <a:lnTo>
                    <a:pt x="1256" y="504"/>
                  </a:lnTo>
                  <a:lnTo>
                    <a:pt x="1254" y="504"/>
                  </a:lnTo>
                  <a:lnTo>
                    <a:pt x="1253" y="504"/>
                  </a:lnTo>
                  <a:lnTo>
                    <a:pt x="1251" y="504"/>
                  </a:lnTo>
                  <a:lnTo>
                    <a:pt x="1251" y="503"/>
                  </a:lnTo>
                  <a:lnTo>
                    <a:pt x="1249" y="503"/>
                  </a:lnTo>
                  <a:lnTo>
                    <a:pt x="1248" y="503"/>
                  </a:lnTo>
                  <a:lnTo>
                    <a:pt x="1246" y="503"/>
                  </a:lnTo>
                  <a:lnTo>
                    <a:pt x="1246" y="501"/>
                  </a:lnTo>
                  <a:lnTo>
                    <a:pt x="1245" y="501"/>
                  </a:lnTo>
                  <a:lnTo>
                    <a:pt x="1243" y="501"/>
                  </a:lnTo>
                  <a:lnTo>
                    <a:pt x="1241" y="501"/>
                  </a:lnTo>
                  <a:lnTo>
                    <a:pt x="1241" y="500"/>
                  </a:lnTo>
                  <a:lnTo>
                    <a:pt x="1240" y="500"/>
                  </a:lnTo>
                  <a:lnTo>
                    <a:pt x="1241" y="500"/>
                  </a:lnTo>
                  <a:lnTo>
                    <a:pt x="1240" y="500"/>
                  </a:lnTo>
                  <a:lnTo>
                    <a:pt x="1240" y="498"/>
                  </a:lnTo>
                  <a:lnTo>
                    <a:pt x="1238" y="500"/>
                  </a:lnTo>
                  <a:lnTo>
                    <a:pt x="1236" y="500"/>
                  </a:lnTo>
                  <a:lnTo>
                    <a:pt x="1238" y="500"/>
                  </a:lnTo>
                  <a:lnTo>
                    <a:pt x="1236" y="500"/>
                  </a:lnTo>
                  <a:lnTo>
                    <a:pt x="1236" y="498"/>
                  </a:lnTo>
                  <a:lnTo>
                    <a:pt x="1236" y="496"/>
                  </a:lnTo>
                  <a:lnTo>
                    <a:pt x="1235" y="495"/>
                  </a:lnTo>
                  <a:lnTo>
                    <a:pt x="1236" y="495"/>
                  </a:lnTo>
                  <a:lnTo>
                    <a:pt x="1235" y="495"/>
                  </a:lnTo>
                  <a:lnTo>
                    <a:pt x="1235" y="493"/>
                  </a:lnTo>
                  <a:lnTo>
                    <a:pt x="1236" y="493"/>
                  </a:lnTo>
                  <a:lnTo>
                    <a:pt x="1238" y="491"/>
                  </a:lnTo>
                  <a:lnTo>
                    <a:pt x="1240" y="491"/>
                  </a:lnTo>
                  <a:lnTo>
                    <a:pt x="1241" y="491"/>
                  </a:lnTo>
                  <a:lnTo>
                    <a:pt x="1243" y="491"/>
                  </a:lnTo>
                  <a:lnTo>
                    <a:pt x="1243" y="490"/>
                  </a:lnTo>
                  <a:lnTo>
                    <a:pt x="1243" y="488"/>
                  </a:lnTo>
                  <a:lnTo>
                    <a:pt x="1245" y="488"/>
                  </a:lnTo>
                  <a:lnTo>
                    <a:pt x="1246" y="487"/>
                  </a:lnTo>
                  <a:lnTo>
                    <a:pt x="1248" y="487"/>
                  </a:lnTo>
                  <a:lnTo>
                    <a:pt x="1251" y="485"/>
                  </a:lnTo>
                  <a:lnTo>
                    <a:pt x="1253" y="485"/>
                  </a:lnTo>
                  <a:lnTo>
                    <a:pt x="1254" y="485"/>
                  </a:lnTo>
                  <a:lnTo>
                    <a:pt x="1256" y="485"/>
                  </a:lnTo>
                  <a:lnTo>
                    <a:pt x="1256" y="487"/>
                  </a:lnTo>
                  <a:lnTo>
                    <a:pt x="1256" y="485"/>
                  </a:lnTo>
                  <a:lnTo>
                    <a:pt x="1258" y="483"/>
                  </a:lnTo>
                  <a:lnTo>
                    <a:pt x="1259" y="483"/>
                  </a:lnTo>
                  <a:lnTo>
                    <a:pt x="1261" y="485"/>
                  </a:lnTo>
                  <a:lnTo>
                    <a:pt x="1263" y="485"/>
                  </a:lnTo>
                  <a:lnTo>
                    <a:pt x="1261" y="487"/>
                  </a:lnTo>
                  <a:lnTo>
                    <a:pt x="1263" y="487"/>
                  </a:lnTo>
                  <a:lnTo>
                    <a:pt x="1264" y="487"/>
                  </a:lnTo>
                  <a:lnTo>
                    <a:pt x="1266" y="487"/>
                  </a:lnTo>
                  <a:lnTo>
                    <a:pt x="1267" y="488"/>
                  </a:lnTo>
                  <a:lnTo>
                    <a:pt x="1269" y="488"/>
                  </a:lnTo>
                  <a:lnTo>
                    <a:pt x="1269" y="490"/>
                  </a:lnTo>
                  <a:lnTo>
                    <a:pt x="1269" y="491"/>
                  </a:lnTo>
                  <a:lnTo>
                    <a:pt x="1267" y="493"/>
                  </a:lnTo>
                  <a:lnTo>
                    <a:pt x="1266" y="495"/>
                  </a:lnTo>
                  <a:lnTo>
                    <a:pt x="1267" y="495"/>
                  </a:lnTo>
                  <a:lnTo>
                    <a:pt x="1269" y="493"/>
                  </a:lnTo>
                  <a:lnTo>
                    <a:pt x="1271" y="493"/>
                  </a:lnTo>
                  <a:lnTo>
                    <a:pt x="1272" y="493"/>
                  </a:lnTo>
                  <a:lnTo>
                    <a:pt x="1272" y="491"/>
                  </a:lnTo>
                  <a:lnTo>
                    <a:pt x="1274" y="491"/>
                  </a:lnTo>
                  <a:lnTo>
                    <a:pt x="1276" y="491"/>
                  </a:lnTo>
                  <a:lnTo>
                    <a:pt x="1277" y="490"/>
                  </a:lnTo>
                  <a:lnTo>
                    <a:pt x="1276" y="490"/>
                  </a:lnTo>
                  <a:lnTo>
                    <a:pt x="1276" y="488"/>
                  </a:lnTo>
                  <a:lnTo>
                    <a:pt x="1277" y="488"/>
                  </a:lnTo>
                  <a:lnTo>
                    <a:pt x="1276" y="488"/>
                  </a:lnTo>
                  <a:lnTo>
                    <a:pt x="1277" y="488"/>
                  </a:lnTo>
                  <a:lnTo>
                    <a:pt x="1279" y="487"/>
                  </a:lnTo>
                  <a:lnTo>
                    <a:pt x="1280" y="488"/>
                  </a:lnTo>
                  <a:lnTo>
                    <a:pt x="1280" y="487"/>
                  </a:lnTo>
                  <a:lnTo>
                    <a:pt x="1284" y="485"/>
                  </a:lnTo>
                  <a:lnTo>
                    <a:pt x="1284" y="487"/>
                  </a:lnTo>
                  <a:lnTo>
                    <a:pt x="1287" y="488"/>
                  </a:lnTo>
                  <a:lnTo>
                    <a:pt x="1287" y="490"/>
                  </a:lnTo>
                  <a:lnTo>
                    <a:pt x="1287" y="491"/>
                  </a:lnTo>
                  <a:lnTo>
                    <a:pt x="1287" y="493"/>
                  </a:lnTo>
                  <a:lnTo>
                    <a:pt x="1287" y="495"/>
                  </a:lnTo>
                  <a:lnTo>
                    <a:pt x="1289" y="496"/>
                  </a:lnTo>
                  <a:lnTo>
                    <a:pt x="1289" y="498"/>
                  </a:lnTo>
                  <a:lnTo>
                    <a:pt x="1290" y="498"/>
                  </a:lnTo>
                  <a:lnTo>
                    <a:pt x="1292" y="500"/>
                  </a:lnTo>
                  <a:lnTo>
                    <a:pt x="1293" y="501"/>
                  </a:lnTo>
                  <a:lnTo>
                    <a:pt x="1293" y="504"/>
                  </a:lnTo>
                  <a:lnTo>
                    <a:pt x="1293" y="506"/>
                  </a:lnTo>
                  <a:lnTo>
                    <a:pt x="1293" y="508"/>
                  </a:lnTo>
                  <a:lnTo>
                    <a:pt x="1293" y="509"/>
                  </a:lnTo>
                  <a:lnTo>
                    <a:pt x="1295" y="511"/>
                  </a:lnTo>
                  <a:lnTo>
                    <a:pt x="1295" y="513"/>
                  </a:lnTo>
                  <a:lnTo>
                    <a:pt x="1293" y="513"/>
                  </a:lnTo>
                  <a:lnTo>
                    <a:pt x="1295" y="513"/>
                  </a:lnTo>
                  <a:lnTo>
                    <a:pt x="1297" y="511"/>
                  </a:lnTo>
                  <a:lnTo>
                    <a:pt x="1297" y="509"/>
                  </a:lnTo>
                  <a:lnTo>
                    <a:pt x="1295" y="509"/>
                  </a:lnTo>
                  <a:lnTo>
                    <a:pt x="1295" y="508"/>
                  </a:lnTo>
                  <a:lnTo>
                    <a:pt x="1295" y="506"/>
                  </a:lnTo>
                  <a:lnTo>
                    <a:pt x="1295" y="503"/>
                  </a:lnTo>
                  <a:lnTo>
                    <a:pt x="1297" y="504"/>
                  </a:lnTo>
                  <a:lnTo>
                    <a:pt x="1298" y="503"/>
                  </a:lnTo>
                  <a:lnTo>
                    <a:pt x="1297" y="501"/>
                  </a:lnTo>
                  <a:lnTo>
                    <a:pt x="1295" y="500"/>
                  </a:lnTo>
                  <a:lnTo>
                    <a:pt x="1293" y="498"/>
                  </a:lnTo>
                  <a:lnTo>
                    <a:pt x="1292" y="496"/>
                  </a:lnTo>
                  <a:lnTo>
                    <a:pt x="1290" y="496"/>
                  </a:lnTo>
                  <a:lnTo>
                    <a:pt x="1289" y="496"/>
                  </a:lnTo>
                  <a:lnTo>
                    <a:pt x="1289" y="495"/>
                  </a:lnTo>
                  <a:lnTo>
                    <a:pt x="1290" y="495"/>
                  </a:lnTo>
                  <a:lnTo>
                    <a:pt x="1289" y="493"/>
                  </a:lnTo>
                  <a:lnTo>
                    <a:pt x="1290" y="491"/>
                  </a:lnTo>
                  <a:lnTo>
                    <a:pt x="1289" y="490"/>
                  </a:lnTo>
                  <a:lnTo>
                    <a:pt x="1287" y="488"/>
                  </a:lnTo>
                  <a:lnTo>
                    <a:pt x="1287" y="487"/>
                  </a:lnTo>
                  <a:lnTo>
                    <a:pt x="1287" y="485"/>
                  </a:lnTo>
                  <a:lnTo>
                    <a:pt x="1290" y="483"/>
                  </a:lnTo>
                  <a:lnTo>
                    <a:pt x="1290" y="482"/>
                  </a:lnTo>
                  <a:lnTo>
                    <a:pt x="1289" y="482"/>
                  </a:lnTo>
                  <a:lnTo>
                    <a:pt x="1290" y="480"/>
                  </a:lnTo>
                  <a:lnTo>
                    <a:pt x="1292" y="480"/>
                  </a:lnTo>
                  <a:lnTo>
                    <a:pt x="1293" y="480"/>
                  </a:lnTo>
                  <a:lnTo>
                    <a:pt x="1295" y="482"/>
                  </a:lnTo>
                  <a:lnTo>
                    <a:pt x="1297" y="483"/>
                  </a:lnTo>
                  <a:lnTo>
                    <a:pt x="1302" y="485"/>
                  </a:lnTo>
                  <a:lnTo>
                    <a:pt x="1303" y="487"/>
                  </a:lnTo>
                  <a:lnTo>
                    <a:pt x="1305" y="487"/>
                  </a:lnTo>
                  <a:lnTo>
                    <a:pt x="1306" y="487"/>
                  </a:lnTo>
                  <a:lnTo>
                    <a:pt x="1306" y="485"/>
                  </a:lnTo>
                  <a:lnTo>
                    <a:pt x="1303" y="485"/>
                  </a:lnTo>
                  <a:lnTo>
                    <a:pt x="1303" y="483"/>
                  </a:lnTo>
                  <a:lnTo>
                    <a:pt x="1302" y="483"/>
                  </a:lnTo>
                  <a:lnTo>
                    <a:pt x="1298" y="483"/>
                  </a:lnTo>
                  <a:lnTo>
                    <a:pt x="1298" y="482"/>
                  </a:lnTo>
                  <a:lnTo>
                    <a:pt x="1297" y="482"/>
                  </a:lnTo>
                  <a:lnTo>
                    <a:pt x="1295" y="482"/>
                  </a:lnTo>
                  <a:lnTo>
                    <a:pt x="1297" y="482"/>
                  </a:lnTo>
                  <a:lnTo>
                    <a:pt x="1297" y="480"/>
                  </a:lnTo>
                  <a:lnTo>
                    <a:pt x="1295" y="478"/>
                  </a:lnTo>
                  <a:lnTo>
                    <a:pt x="1293" y="480"/>
                  </a:lnTo>
                  <a:lnTo>
                    <a:pt x="1293" y="478"/>
                  </a:lnTo>
                  <a:lnTo>
                    <a:pt x="1293" y="477"/>
                  </a:lnTo>
                  <a:lnTo>
                    <a:pt x="1295" y="477"/>
                  </a:lnTo>
                  <a:lnTo>
                    <a:pt x="1297" y="477"/>
                  </a:lnTo>
                  <a:lnTo>
                    <a:pt x="1297" y="475"/>
                  </a:lnTo>
                  <a:lnTo>
                    <a:pt x="1298" y="475"/>
                  </a:lnTo>
                  <a:lnTo>
                    <a:pt x="1300" y="475"/>
                  </a:lnTo>
                  <a:lnTo>
                    <a:pt x="1302" y="475"/>
                  </a:lnTo>
                  <a:lnTo>
                    <a:pt x="1305" y="475"/>
                  </a:lnTo>
                  <a:lnTo>
                    <a:pt x="1306" y="475"/>
                  </a:lnTo>
                  <a:lnTo>
                    <a:pt x="1308" y="475"/>
                  </a:lnTo>
                  <a:lnTo>
                    <a:pt x="1308" y="477"/>
                  </a:lnTo>
                  <a:lnTo>
                    <a:pt x="1310" y="477"/>
                  </a:lnTo>
                  <a:lnTo>
                    <a:pt x="1311" y="475"/>
                  </a:lnTo>
                  <a:lnTo>
                    <a:pt x="1311" y="477"/>
                  </a:lnTo>
                  <a:lnTo>
                    <a:pt x="1313" y="477"/>
                  </a:lnTo>
                  <a:lnTo>
                    <a:pt x="1313" y="478"/>
                  </a:lnTo>
                  <a:lnTo>
                    <a:pt x="1315" y="478"/>
                  </a:lnTo>
                  <a:lnTo>
                    <a:pt x="1316" y="480"/>
                  </a:lnTo>
                  <a:lnTo>
                    <a:pt x="1318" y="480"/>
                  </a:lnTo>
                  <a:lnTo>
                    <a:pt x="1318" y="478"/>
                  </a:lnTo>
                  <a:lnTo>
                    <a:pt x="1319" y="478"/>
                  </a:lnTo>
                  <a:lnTo>
                    <a:pt x="1321" y="478"/>
                  </a:lnTo>
                  <a:lnTo>
                    <a:pt x="1318" y="478"/>
                  </a:lnTo>
                  <a:lnTo>
                    <a:pt x="1316" y="478"/>
                  </a:lnTo>
                  <a:lnTo>
                    <a:pt x="1315" y="478"/>
                  </a:lnTo>
                  <a:lnTo>
                    <a:pt x="1315" y="477"/>
                  </a:lnTo>
                  <a:lnTo>
                    <a:pt x="1311" y="475"/>
                  </a:lnTo>
                  <a:lnTo>
                    <a:pt x="1310" y="475"/>
                  </a:lnTo>
                  <a:lnTo>
                    <a:pt x="1310" y="474"/>
                  </a:lnTo>
                  <a:lnTo>
                    <a:pt x="1308" y="474"/>
                  </a:lnTo>
                  <a:lnTo>
                    <a:pt x="1308" y="472"/>
                  </a:lnTo>
                  <a:lnTo>
                    <a:pt x="1306" y="472"/>
                  </a:lnTo>
                  <a:lnTo>
                    <a:pt x="1305" y="472"/>
                  </a:lnTo>
                  <a:lnTo>
                    <a:pt x="1303" y="472"/>
                  </a:lnTo>
                  <a:lnTo>
                    <a:pt x="1302" y="472"/>
                  </a:lnTo>
                  <a:lnTo>
                    <a:pt x="1302" y="474"/>
                  </a:lnTo>
                  <a:lnTo>
                    <a:pt x="1300" y="472"/>
                  </a:lnTo>
                  <a:lnTo>
                    <a:pt x="1300" y="474"/>
                  </a:lnTo>
                  <a:lnTo>
                    <a:pt x="1298" y="474"/>
                  </a:lnTo>
                  <a:lnTo>
                    <a:pt x="1297" y="474"/>
                  </a:lnTo>
                  <a:lnTo>
                    <a:pt x="1298" y="472"/>
                  </a:lnTo>
                  <a:lnTo>
                    <a:pt x="1298" y="470"/>
                  </a:lnTo>
                  <a:lnTo>
                    <a:pt x="1300" y="470"/>
                  </a:lnTo>
                  <a:lnTo>
                    <a:pt x="1300" y="469"/>
                  </a:lnTo>
                  <a:lnTo>
                    <a:pt x="1300" y="467"/>
                  </a:lnTo>
                  <a:lnTo>
                    <a:pt x="1302" y="465"/>
                  </a:lnTo>
                  <a:lnTo>
                    <a:pt x="1302" y="464"/>
                  </a:lnTo>
                  <a:lnTo>
                    <a:pt x="1302" y="462"/>
                  </a:lnTo>
                  <a:lnTo>
                    <a:pt x="1300" y="462"/>
                  </a:lnTo>
                  <a:lnTo>
                    <a:pt x="1300" y="461"/>
                  </a:lnTo>
                  <a:lnTo>
                    <a:pt x="1300" y="462"/>
                  </a:lnTo>
                  <a:lnTo>
                    <a:pt x="1298" y="462"/>
                  </a:lnTo>
                  <a:lnTo>
                    <a:pt x="1298" y="464"/>
                  </a:lnTo>
                  <a:lnTo>
                    <a:pt x="1297" y="465"/>
                  </a:lnTo>
                  <a:lnTo>
                    <a:pt x="1293" y="465"/>
                  </a:lnTo>
                  <a:lnTo>
                    <a:pt x="1293" y="467"/>
                  </a:lnTo>
                  <a:lnTo>
                    <a:pt x="1292" y="469"/>
                  </a:lnTo>
                  <a:lnTo>
                    <a:pt x="1292" y="470"/>
                  </a:lnTo>
                  <a:lnTo>
                    <a:pt x="1290" y="472"/>
                  </a:lnTo>
                  <a:lnTo>
                    <a:pt x="1289" y="474"/>
                  </a:lnTo>
                  <a:lnTo>
                    <a:pt x="1285" y="475"/>
                  </a:lnTo>
                  <a:lnTo>
                    <a:pt x="1284" y="477"/>
                  </a:lnTo>
                  <a:lnTo>
                    <a:pt x="1280" y="477"/>
                  </a:lnTo>
                  <a:lnTo>
                    <a:pt x="1277" y="478"/>
                  </a:lnTo>
                  <a:lnTo>
                    <a:pt x="1276" y="478"/>
                  </a:lnTo>
                  <a:lnTo>
                    <a:pt x="1274" y="478"/>
                  </a:lnTo>
                  <a:lnTo>
                    <a:pt x="1274" y="477"/>
                  </a:lnTo>
                  <a:lnTo>
                    <a:pt x="1276" y="475"/>
                  </a:lnTo>
                  <a:lnTo>
                    <a:pt x="1276" y="474"/>
                  </a:lnTo>
                  <a:lnTo>
                    <a:pt x="1277" y="474"/>
                  </a:lnTo>
                  <a:lnTo>
                    <a:pt x="1276" y="472"/>
                  </a:lnTo>
                  <a:lnTo>
                    <a:pt x="1276" y="470"/>
                  </a:lnTo>
                  <a:lnTo>
                    <a:pt x="1274" y="470"/>
                  </a:lnTo>
                  <a:lnTo>
                    <a:pt x="1272" y="469"/>
                  </a:lnTo>
                  <a:lnTo>
                    <a:pt x="1271" y="469"/>
                  </a:lnTo>
                  <a:lnTo>
                    <a:pt x="1269" y="469"/>
                  </a:lnTo>
                  <a:lnTo>
                    <a:pt x="1269" y="470"/>
                  </a:lnTo>
                  <a:lnTo>
                    <a:pt x="1269" y="472"/>
                  </a:lnTo>
                  <a:lnTo>
                    <a:pt x="1267" y="472"/>
                  </a:lnTo>
                  <a:lnTo>
                    <a:pt x="1267" y="474"/>
                  </a:lnTo>
                  <a:lnTo>
                    <a:pt x="1267" y="475"/>
                  </a:lnTo>
                  <a:lnTo>
                    <a:pt x="1266" y="475"/>
                  </a:lnTo>
                  <a:lnTo>
                    <a:pt x="1266" y="477"/>
                  </a:lnTo>
                  <a:lnTo>
                    <a:pt x="1261" y="477"/>
                  </a:lnTo>
                  <a:lnTo>
                    <a:pt x="1261" y="478"/>
                  </a:lnTo>
                  <a:lnTo>
                    <a:pt x="1259" y="478"/>
                  </a:lnTo>
                  <a:lnTo>
                    <a:pt x="1258" y="480"/>
                  </a:lnTo>
                  <a:lnTo>
                    <a:pt x="1258" y="478"/>
                  </a:lnTo>
                  <a:lnTo>
                    <a:pt x="1256" y="478"/>
                  </a:lnTo>
                  <a:lnTo>
                    <a:pt x="1256" y="480"/>
                  </a:lnTo>
                  <a:lnTo>
                    <a:pt x="1254" y="480"/>
                  </a:lnTo>
                  <a:lnTo>
                    <a:pt x="1254" y="478"/>
                  </a:lnTo>
                  <a:lnTo>
                    <a:pt x="1254" y="480"/>
                  </a:lnTo>
                  <a:lnTo>
                    <a:pt x="1254" y="478"/>
                  </a:lnTo>
                  <a:lnTo>
                    <a:pt x="1254" y="480"/>
                  </a:lnTo>
                  <a:lnTo>
                    <a:pt x="1253" y="480"/>
                  </a:lnTo>
                  <a:lnTo>
                    <a:pt x="1251" y="480"/>
                  </a:lnTo>
                  <a:lnTo>
                    <a:pt x="1251" y="482"/>
                  </a:lnTo>
                  <a:lnTo>
                    <a:pt x="1249" y="482"/>
                  </a:lnTo>
                  <a:lnTo>
                    <a:pt x="1248" y="482"/>
                  </a:lnTo>
                  <a:lnTo>
                    <a:pt x="1246" y="482"/>
                  </a:lnTo>
                  <a:lnTo>
                    <a:pt x="1246" y="480"/>
                  </a:lnTo>
                  <a:lnTo>
                    <a:pt x="1248" y="478"/>
                  </a:lnTo>
                  <a:lnTo>
                    <a:pt x="1248" y="477"/>
                  </a:lnTo>
                  <a:lnTo>
                    <a:pt x="1248" y="475"/>
                  </a:lnTo>
                  <a:lnTo>
                    <a:pt x="1246" y="475"/>
                  </a:lnTo>
                  <a:lnTo>
                    <a:pt x="1246" y="474"/>
                  </a:lnTo>
                  <a:lnTo>
                    <a:pt x="1245" y="474"/>
                  </a:lnTo>
                  <a:lnTo>
                    <a:pt x="1243" y="474"/>
                  </a:lnTo>
                  <a:lnTo>
                    <a:pt x="1243" y="472"/>
                  </a:lnTo>
                  <a:lnTo>
                    <a:pt x="1243" y="470"/>
                  </a:lnTo>
                  <a:lnTo>
                    <a:pt x="1243" y="469"/>
                  </a:lnTo>
                  <a:lnTo>
                    <a:pt x="1241" y="469"/>
                  </a:lnTo>
                  <a:lnTo>
                    <a:pt x="1243" y="469"/>
                  </a:lnTo>
                  <a:lnTo>
                    <a:pt x="1245" y="469"/>
                  </a:lnTo>
                  <a:lnTo>
                    <a:pt x="1243" y="469"/>
                  </a:lnTo>
                  <a:lnTo>
                    <a:pt x="1243" y="467"/>
                  </a:lnTo>
                  <a:lnTo>
                    <a:pt x="1245" y="467"/>
                  </a:lnTo>
                  <a:lnTo>
                    <a:pt x="1246" y="465"/>
                  </a:lnTo>
                  <a:lnTo>
                    <a:pt x="1248" y="465"/>
                  </a:lnTo>
                  <a:lnTo>
                    <a:pt x="1248" y="467"/>
                  </a:lnTo>
                  <a:lnTo>
                    <a:pt x="1249" y="467"/>
                  </a:lnTo>
                  <a:lnTo>
                    <a:pt x="1249" y="469"/>
                  </a:lnTo>
                  <a:lnTo>
                    <a:pt x="1251" y="469"/>
                  </a:lnTo>
                  <a:lnTo>
                    <a:pt x="1251" y="467"/>
                  </a:lnTo>
                  <a:lnTo>
                    <a:pt x="1251" y="465"/>
                  </a:lnTo>
                  <a:lnTo>
                    <a:pt x="1253" y="465"/>
                  </a:lnTo>
                  <a:lnTo>
                    <a:pt x="1253" y="464"/>
                  </a:lnTo>
                  <a:lnTo>
                    <a:pt x="1251" y="465"/>
                  </a:lnTo>
                  <a:lnTo>
                    <a:pt x="1251" y="464"/>
                  </a:lnTo>
                  <a:lnTo>
                    <a:pt x="1249" y="464"/>
                  </a:lnTo>
                  <a:lnTo>
                    <a:pt x="1249" y="462"/>
                  </a:lnTo>
                  <a:lnTo>
                    <a:pt x="1248" y="462"/>
                  </a:lnTo>
                  <a:lnTo>
                    <a:pt x="1248" y="461"/>
                  </a:lnTo>
                  <a:lnTo>
                    <a:pt x="1248" y="459"/>
                  </a:lnTo>
                  <a:lnTo>
                    <a:pt x="1248" y="456"/>
                  </a:lnTo>
                  <a:lnTo>
                    <a:pt x="1249" y="456"/>
                  </a:lnTo>
                  <a:lnTo>
                    <a:pt x="1249" y="454"/>
                  </a:lnTo>
                  <a:lnTo>
                    <a:pt x="1249" y="452"/>
                  </a:lnTo>
                  <a:lnTo>
                    <a:pt x="1251" y="452"/>
                  </a:lnTo>
                  <a:lnTo>
                    <a:pt x="1253" y="451"/>
                  </a:lnTo>
                  <a:lnTo>
                    <a:pt x="1254" y="451"/>
                  </a:lnTo>
                  <a:lnTo>
                    <a:pt x="1254" y="452"/>
                  </a:lnTo>
                  <a:lnTo>
                    <a:pt x="1254" y="449"/>
                  </a:lnTo>
                  <a:lnTo>
                    <a:pt x="1256" y="448"/>
                  </a:lnTo>
                  <a:lnTo>
                    <a:pt x="1258" y="448"/>
                  </a:lnTo>
                  <a:lnTo>
                    <a:pt x="1259" y="446"/>
                  </a:lnTo>
                  <a:lnTo>
                    <a:pt x="1261" y="446"/>
                  </a:lnTo>
                  <a:lnTo>
                    <a:pt x="1263" y="446"/>
                  </a:lnTo>
                  <a:lnTo>
                    <a:pt x="1264" y="446"/>
                  </a:lnTo>
                  <a:lnTo>
                    <a:pt x="1266" y="443"/>
                  </a:lnTo>
                  <a:lnTo>
                    <a:pt x="1266" y="441"/>
                  </a:lnTo>
                  <a:lnTo>
                    <a:pt x="1267" y="441"/>
                  </a:lnTo>
                  <a:lnTo>
                    <a:pt x="1269" y="441"/>
                  </a:lnTo>
                  <a:lnTo>
                    <a:pt x="1271" y="441"/>
                  </a:lnTo>
                  <a:lnTo>
                    <a:pt x="1272" y="444"/>
                  </a:lnTo>
                  <a:lnTo>
                    <a:pt x="1272" y="446"/>
                  </a:lnTo>
                  <a:lnTo>
                    <a:pt x="1274" y="446"/>
                  </a:lnTo>
                  <a:lnTo>
                    <a:pt x="1276" y="446"/>
                  </a:lnTo>
                  <a:lnTo>
                    <a:pt x="1274" y="444"/>
                  </a:lnTo>
                  <a:lnTo>
                    <a:pt x="1274" y="443"/>
                  </a:lnTo>
                  <a:lnTo>
                    <a:pt x="1274" y="441"/>
                  </a:lnTo>
                  <a:lnTo>
                    <a:pt x="1277" y="439"/>
                  </a:lnTo>
                  <a:lnTo>
                    <a:pt x="1279" y="439"/>
                  </a:lnTo>
                  <a:lnTo>
                    <a:pt x="1282" y="436"/>
                  </a:lnTo>
                  <a:lnTo>
                    <a:pt x="1284" y="436"/>
                  </a:lnTo>
                  <a:lnTo>
                    <a:pt x="1284" y="438"/>
                  </a:lnTo>
                  <a:lnTo>
                    <a:pt x="1285" y="438"/>
                  </a:lnTo>
                  <a:lnTo>
                    <a:pt x="1287" y="438"/>
                  </a:lnTo>
                  <a:lnTo>
                    <a:pt x="1290" y="436"/>
                  </a:lnTo>
                  <a:lnTo>
                    <a:pt x="1290" y="438"/>
                  </a:lnTo>
                  <a:lnTo>
                    <a:pt x="1292" y="439"/>
                  </a:lnTo>
                  <a:lnTo>
                    <a:pt x="1292" y="441"/>
                  </a:lnTo>
                  <a:lnTo>
                    <a:pt x="1292" y="443"/>
                  </a:lnTo>
                  <a:lnTo>
                    <a:pt x="1293" y="443"/>
                  </a:lnTo>
                  <a:lnTo>
                    <a:pt x="1295" y="443"/>
                  </a:lnTo>
                  <a:lnTo>
                    <a:pt x="1297" y="443"/>
                  </a:lnTo>
                  <a:lnTo>
                    <a:pt x="1298" y="441"/>
                  </a:lnTo>
                  <a:lnTo>
                    <a:pt x="1300" y="441"/>
                  </a:lnTo>
                  <a:lnTo>
                    <a:pt x="1303" y="443"/>
                  </a:lnTo>
                  <a:lnTo>
                    <a:pt x="1305" y="444"/>
                  </a:lnTo>
                  <a:lnTo>
                    <a:pt x="1305" y="443"/>
                  </a:lnTo>
                  <a:lnTo>
                    <a:pt x="1303" y="441"/>
                  </a:lnTo>
                  <a:lnTo>
                    <a:pt x="1302" y="441"/>
                  </a:lnTo>
                  <a:lnTo>
                    <a:pt x="1300" y="441"/>
                  </a:lnTo>
                  <a:lnTo>
                    <a:pt x="1298" y="441"/>
                  </a:lnTo>
                  <a:lnTo>
                    <a:pt x="1298" y="443"/>
                  </a:lnTo>
                  <a:lnTo>
                    <a:pt x="1293" y="441"/>
                  </a:lnTo>
                  <a:lnTo>
                    <a:pt x="1293" y="439"/>
                  </a:lnTo>
                  <a:lnTo>
                    <a:pt x="1293" y="438"/>
                  </a:lnTo>
                  <a:lnTo>
                    <a:pt x="1293" y="436"/>
                  </a:lnTo>
                  <a:lnTo>
                    <a:pt x="1292" y="436"/>
                  </a:lnTo>
                  <a:lnTo>
                    <a:pt x="1290" y="435"/>
                  </a:lnTo>
                  <a:lnTo>
                    <a:pt x="1289" y="435"/>
                  </a:lnTo>
                  <a:lnTo>
                    <a:pt x="1287" y="436"/>
                  </a:lnTo>
                  <a:lnTo>
                    <a:pt x="1285" y="436"/>
                  </a:lnTo>
                  <a:lnTo>
                    <a:pt x="1285" y="435"/>
                  </a:lnTo>
                  <a:lnTo>
                    <a:pt x="1284" y="435"/>
                  </a:lnTo>
                  <a:lnTo>
                    <a:pt x="1282" y="435"/>
                  </a:lnTo>
                  <a:lnTo>
                    <a:pt x="1280" y="435"/>
                  </a:lnTo>
                  <a:lnTo>
                    <a:pt x="1280" y="433"/>
                  </a:lnTo>
                  <a:lnTo>
                    <a:pt x="1280" y="431"/>
                  </a:lnTo>
                  <a:lnTo>
                    <a:pt x="1282" y="431"/>
                  </a:lnTo>
                  <a:lnTo>
                    <a:pt x="1284" y="430"/>
                  </a:lnTo>
                  <a:lnTo>
                    <a:pt x="1285" y="430"/>
                  </a:lnTo>
                  <a:lnTo>
                    <a:pt x="1285" y="428"/>
                  </a:lnTo>
                  <a:lnTo>
                    <a:pt x="1287" y="428"/>
                  </a:lnTo>
                  <a:lnTo>
                    <a:pt x="1287" y="426"/>
                  </a:lnTo>
                  <a:lnTo>
                    <a:pt x="1289" y="425"/>
                  </a:lnTo>
                  <a:lnTo>
                    <a:pt x="1290" y="423"/>
                  </a:lnTo>
                  <a:lnTo>
                    <a:pt x="1292" y="423"/>
                  </a:lnTo>
                  <a:lnTo>
                    <a:pt x="1293" y="423"/>
                  </a:lnTo>
                  <a:lnTo>
                    <a:pt x="1295" y="425"/>
                  </a:lnTo>
                  <a:lnTo>
                    <a:pt x="1297" y="426"/>
                  </a:lnTo>
                  <a:lnTo>
                    <a:pt x="1300" y="428"/>
                  </a:lnTo>
                  <a:lnTo>
                    <a:pt x="1302" y="428"/>
                  </a:lnTo>
                  <a:lnTo>
                    <a:pt x="1305" y="428"/>
                  </a:lnTo>
                  <a:lnTo>
                    <a:pt x="1306" y="428"/>
                  </a:lnTo>
                  <a:lnTo>
                    <a:pt x="1308" y="430"/>
                  </a:lnTo>
                  <a:lnTo>
                    <a:pt x="1308" y="431"/>
                  </a:lnTo>
                  <a:lnTo>
                    <a:pt x="1310" y="431"/>
                  </a:lnTo>
                  <a:lnTo>
                    <a:pt x="1310" y="430"/>
                  </a:lnTo>
                  <a:lnTo>
                    <a:pt x="1310" y="428"/>
                  </a:lnTo>
                  <a:lnTo>
                    <a:pt x="1308" y="426"/>
                  </a:lnTo>
                  <a:lnTo>
                    <a:pt x="1306" y="426"/>
                  </a:lnTo>
                  <a:lnTo>
                    <a:pt x="1302" y="426"/>
                  </a:lnTo>
                  <a:lnTo>
                    <a:pt x="1300" y="425"/>
                  </a:lnTo>
                  <a:lnTo>
                    <a:pt x="1298" y="425"/>
                  </a:lnTo>
                  <a:lnTo>
                    <a:pt x="1295" y="423"/>
                  </a:lnTo>
                  <a:lnTo>
                    <a:pt x="1292" y="423"/>
                  </a:lnTo>
                  <a:lnTo>
                    <a:pt x="1292" y="422"/>
                  </a:lnTo>
                  <a:lnTo>
                    <a:pt x="1293" y="420"/>
                  </a:lnTo>
                  <a:lnTo>
                    <a:pt x="1295" y="417"/>
                  </a:lnTo>
                  <a:lnTo>
                    <a:pt x="1295" y="415"/>
                  </a:lnTo>
                  <a:lnTo>
                    <a:pt x="1297" y="415"/>
                  </a:lnTo>
                  <a:lnTo>
                    <a:pt x="1298" y="413"/>
                  </a:lnTo>
                  <a:lnTo>
                    <a:pt x="1298" y="412"/>
                  </a:lnTo>
                  <a:lnTo>
                    <a:pt x="1300" y="412"/>
                  </a:lnTo>
                  <a:lnTo>
                    <a:pt x="1302" y="412"/>
                  </a:lnTo>
                  <a:lnTo>
                    <a:pt x="1302" y="410"/>
                  </a:lnTo>
                  <a:lnTo>
                    <a:pt x="1303" y="410"/>
                  </a:lnTo>
                  <a:lnTo>
                    <a:pt x="1303" y="412"/>
                  </a:lnTo>
                  <a:lnTo>
                    <a:pt x="1303" y="413"/>
                  </a:lnTo>
                  <a:lnTo>
                    <a:pt x="1303" y="415"/>
                  </a:lnTo>
                  <a:lnTo>
                    <a:pt x="1306" y="415"/>
                  </a:lnTo>
                  <a:lnTo>
                    <a:pt x="1308" y="415"/>
                  </a:lnTo>
                  <a:lnTo>
                    <a:pt x="1310" y="415"/>
                  </a:lnTo>
                  <a:lnTo>
                    <a:pt x="1311" y="415"/>
                  </a:lnTo>
                  <a:lnTo>
                    <a:pt x="1310" y="415"/>
                  </a:lnTo>
                  <a:lnTo>
                    <a:pt x="1310" y="413"/>
                  </a:lnTo>
                  <a:lnTo>
                    <a:pt x="1308" y="413"/>
                  </a:lnTo>
                  <a:lnTo>
                    <a:pt x="1306" y="412"/>
                  </a:lnTo>
                  <a:lnTo>
                    <a:pt x="1306" y="410"/>
                  </a:lnTo>
                  <a:lnTo>
                    <a:pt x="1305" y="410"/>
                  </a:lnTo>
                  <a:lnTo>
                    <a:pt x="1303" y="409"/>
                  </a:lnTo>
                  <a:lnTo>
                    <a:pt x="1303" y="410"/>
                  </a:lnTo>
                  <a:lnTo>
                    <a:pt x="1302" y="409"/>
                  </a:lnTo>
                  <a:lnTo>
                    <a:pt x="1303" y="409"/>
                  </a:lnTo>
                  <a:lnTo>
                    <a:pt x="1303" y="407"/>
                  </a:lnTo>
                  <a:lnTo>
                    <a:pt x="1302" y="407"/>
                  </a:lnTo>
                  <a:lnTo>
                    <a:pt x="1300" y="407"/>
                  </a:lnTo>
                  <a:lnTo>
                    <a:pt x="1298" y="407"/>
                  </a:lnTo>
                  <a:lnTo>
                    <a:pt x="1298" y="409"/>
                  </a:lnTo>
                  <a:lnTo>
                    <a:pt x="1297" y="409"/>
                  </a:lnTo>
                  <a:lnTo>
                    <a:pt x="1295" y="410"/>
                  </a:lnTo>
                  <a:lnTo>
                    <a:pt x="1293" y="410"/>
                  </a:lnTo>
                  <a:lnTo>
                    <a:pt x="1293" y="412"/>
                  </a:lnTo>
                  <a:lnTo>
                    <a:pt x="1292" y="412"/>
                  </a:lnTo>
                  <a:lnTo>
                    <a:pt x="1290" y="412"/>
                  </a:lnTo>
                  <a:lnTo>
                    <a:pt x="1290" y="413"/>
                  </a:lnTo>
                  <a:lnTo>
                    <a:pt x="1289" y="412"/>
                  </a:lnTo>
                  <a:lnTo>
                    <a:pt x="1289" y="410"/>
                  </a:lnTo>
                  <a:lnTo>
                    <a:pt x="1290" y="409"/>
                  </a:lnTo>
                  <a:lnTo>
                    <a:pt x="1290" y="407"/>
                  </a:lnTo>
                  <a:lnTo>
                    <a:pt x="1289" y="405"/>
                  </a:lnTo>
                  <a:lnTo>
                    <a:pt x="1290" y="404"/>
                  </a:lnTo>
                  <a:lnTo>
                    <a:pt x="1292" y="404"/>
                  </a:lnTo>
                  <a:lnTo>
                    <a:pt x="1293" y="404"/>
                  </a:lnTo>
                  <a:lnTo>
                    <a:pt x="1293" y="402"/>
                  </a:lnTo>
                  <a:lnTo>
                    <a:pt x="1292" y="400"/>
                  </a:lnTo>
                  <a:lnTo>
                    <a:pt x="1290" y="400"/>
                  </a:lnTo>
                  <a:lnTo>
                    <a:pt x="1289" y="400"/>
                  </a:lnTo>
                  <a:lnTo>
                    <a:pt x="1289" y="399"/>
                  </a:lnTo>
                  <a:lnTo>
                    <a:pt x="1290" y="397"/>
                  </a:lnTo>
                  <a:lnTo>
                    <a:pt x="1292" y="396"/>
                  </a:lnTo>
                  <a:lnTo>
                    <a:pt x="1292" y="394"/>
                  </a:lnTo>
                  <a:lnTo>
                    <a:pt x="1292" y="392"/>
                  </a:lnTo>
                  <a:lnTo>
                    <a:pt x="1293" y="392"/>
                  </a:lnTo>
                  <a:lnTo>
                    <a:pt x="1295" y="391"/>
                  </a:lnTo>
                  <a:lnTo>
                    <a:pt x="1295" y="389"/>
                  </a:lnTo>
                  <a:lnTo>
                    <a:pt x="1297" y="389"/>
                  </a:lnTo>
                  <a:lnTo>
                    <a:pt x="1297" y="387"/>
                  </a:lnTo>
                  <a:lnTo>
                    <a:pt x="1297" y="386"/>
                  </a:lnTo>
                  <a:lnTo>
                    <a:pt x="1298" y="386"/>
                  </a:lnTo>
                  <a:lnTo>
                    <a:pt x="1298" y="384"/>
                  </a:lnTo>
                  <a:lnTo>
                    <a:pt x="1297" y="384"/>
                  </a:lnTo>
                  <a:lnTo>
                    <a:pt x="1295" y="384"/>
                  </a:lnTo>
                  <a:lnTo>
                    <a:pt x="1295" y="383"/>
                  </a:lnTo>
                  <a:lnTo>
                    <a:pt x="1297" y="381"/>
                  </a:lnTo>
                  <a:lnTo>
                    <a:pt x="1298" y="381"/>
                  </a:lnTo>
                  <a:lnTo>
                    <a:pt x="1298" y="379"/>
                  </a:lnTo>
                  <a:lnTo>
                    <a:pt x="1300" y="379"/>
                  </a:lnTo>
                  <a:lnTo>
                    <a:pt x="1302" y="381"/>
                  </a:lnTo>
                  <a:lnTo>
                    <a:pt x="1302" y="379"/>
                  </a:lnTo>
                  <a:lnTo>
                    <a:pt x="1303" y="379"/>
                  </a:lnTo>
                  <a:lnTo>
                    <a:pt x="1305" y="378"/>
                  </a:lnTo>
                  <a:lnTo>
                    <a:pt x="1306" y="378"/>
                  </a:lnTo>
                  <a:lnTo>
                    <a:pt x="1308" y="378"/>
                  </a:lnTo>
                  <a:lnTo>
                    <a:pt x="1308" y="376"/>
                  </a:lnTo>
                  <a:lnTo>
                    <a:pt x="1310" y="374"/>
                  </a:lnTo>
                  <a:lnTo>
                    <a:pt x="1311" y="374"/>
                  </a:lnTo>
                  <a:lnTo>
                    <a:pt x="1313" y="374"/>
                  </a:lnTo>
                  <a:lnTo>
                    <a:pt x="1315" y="374"/>
                  </a:lnTo>
                  <a:lnTo>
                    <a:pt x="1316" y="374"/>
                  </a:lnTo>
                  <a:lnTo>
                    <a:pt x="1316" y="376"/>
                  </a:lnTo>
                  <a:lnTo>
                    <a:pt x="1318" y="376"/>
                  </a:lnTo>
                  <a:lnTo>
                    <a:pt x="1318" y="374"/>
                  </a:lnTo>
                  <a:lnTo>
                    <a:pt x="1319" y="374"/>
                  </a:lnTo>
                  <a:lnTo>
                    <a:pt x="1321" y="374"/>
                  </a:lnTo>
                  <a:lnTo>
                    <a:pt x="1321" y="373"/>
                  </a:lnTo>
                  <a:lnTo>
                    <a:pt x="1321" y="371"/>
                  </a:lnTo>
                  <a:lnTo>
                    <a:pt x="1319" y="371"/>
                  </a:lnTo>
                  <a:lnTo>
                    <a:pt x="1319" y="373"/>
                  </a:lnTo>
                  <a:lnTo>
                    <a:pt x="1319" y="371"/>
                  </a:lnTo>
                  <a:lnTo>
                    <a:pt x="1318" y="371"/>
                  </a:lnTo>
                  <a:lnTo>
                    <a:pt x="1318" y="373"/>
                  </a:lnTo>
                  <a:lnTo>
                    <a:pt x="1316" y="371"/>
                  </a:lnTo>
                  <a:lnTo>
                    <a:pt x="1316" y="369"/>
                  </a:lnTo>
                  <a:lnTo>
                    <a:pt x="1318" y="369"/>
                  </a:lnTo>
                  <a:lnTo>
                    <a:pt x="1316" y="369"/>
                  </a:lnTo>
                  <a:lnTo>
                    <a:pt x="1315" y="369"/>
                  </a:lnTo>
                  <a:lnTo>
                    <a:pt x="1315" y="368"/>
                  </a:lnTo>
                  <a:lnTo>
                    <a:pt x="1316" y="366"/>
                  </a:lnTo>
                  <a:lnTo>
                    <a:pt x="1315" y="366"/>
                  </a:lnTo>
                  <a:lnTo>
                    <a:pt x="1316" y="365"/>
                  </a:lnTo>
                  <a:lnTo>
                    <a:pt x="1316" y="363"/>
                  </a:lnTo>
                  <a:lnTo>
                    <a:pt x="1316" y="361"/>
                  </a:lnTo>
                  <a:lnTo>
                    <a:pt x="1315" y="363"/>
                  </a:lnTo>
                  <a:lnTo>
                    <a:pt x="1315" y="361"/>
                  </a:lnTo>
                  <a:lnTo>
                    <a:pt x="1313" y="361"/>
                  </a:lnTo>
                  <a:lnTo>
                    <a:pt x="1311" y="363"/>
                  </a:lnTo>
                  <a:lnTo>
                    <a:pt x="1310" y="363"/>
                  </a:lnTo>
                  <a:lnTo>
                    <a:pt x="1310" y="361"/>
                  </a:lnTo>
                  <a:lnTo>
                    <a:pt x="1311" y="361"/>
                  </a:lnTo>
                  <a:lnTo>
                    <a:pt x="1311" y="360"/>
                  </a:lnTo>
                  <a:lnTo>
                    <a:pt x="1311" y="358"/>
                  </a:lnTo>
                  <a:lnTo>
                    <a:pt x="1310" y="356"/>
                  </a:lnTo>
                  <a:lnTo>
                    <a:pt x="1310" y="353"/>
                  </a:lnTo>
                  <a:lnTo>
                    <a:pt x="1310" y="352"/>
                  </a:lnTo>
                  <a:lnTo>
                    <a:pt x="1311" y="352"/>
                  </a:lnTo>
                  <a:lnTo>
                    <a:pt x="1311" y="350"/>
                  </a:lnTo>
                  <a:lnTo>
                    <a:pt x="1313" y="350"/>
                  </a:lnTo>
                  <a:lnTo>
                    <a:pt x="1313" y="348"/>
                  </a:lnTo>
                  <a:lnTo>
                    <a:pt x="1315" y="347"/>
                  </a:lnTo>
                  <a:lnTo>
                    <a:pt x="1315" y="345"/>
                  </a:lnTo>
                  <a:lnTo>
                    <a:pt x="1315" y="343"/>
                  </a:lnTo>
                  <a:lnTo>
                    <a:pt x="1315" y="342"/>
                  </a:lnTo>
                  <a:lnTo>
                    <a:pt x="1313" y="342"/>
                  </a:lnTo>
                  <a:lnTo>
                    <a:pt x="1315" y="340"/>
                  </a:lnTo>
                  <a:lnTo>
                    <a:pt x="1316" y="340"/>
                  </a:lnTo>
                  <a:lnTo>
                    <a:pt x="1318" y="340"/>
                  </a:lnTo>
                  <a:lnTo>
                    <a:pt x="1318" y="339"/>
                  </a:lnTo>
                  <a:lnTo>
                    <a:pt x="1316" y="339"/>
                  </a:lnTo>
                  <a:lnTo>
                    <a:pt x="1316" y="335"/>
                  </a:lnTo>
                  <a:lnTo>
                    <a:pt x="1316" y="334"/>
                  </a:lnTo>
                  <a:lnTo>
                    <a:pt x="1316" y="332"/>
                  </a:lnTo>
                  <a:lnTo>
                    <a:pt x="1315" y="332"/>
                  </a:lnTo>
                  <a:lnTo>
                    <a:pt x="1315" y="330"/>
                  </a:lnTo>
                  <a:lnTo>
                    <a:pt x="1315" y="329"/>
                  </a:lnTo>
                  <a:lnTo>
                    <a:pt x="1316" y="329"/>
                  </a:lnTo>
                  <a:lnTo>
                    <a:pt x="1318" y="329"/>
                  </a:lnTo>
                  <a:lnTo>
                    <a:pt x="1318" y="327"/>
                  </a:lnTo>
                  <a:lnTo>
                    <a:pt x="1319" y="327"/>
                  </a:lnTo>
                  <a:lnTo>
                    <a:pt x="1319" y="326"/>
                  </a:lnTo>
                  <a:lnTo>
                    <a:pt x="1321" y="326"/>
                  </a:lnTo>
                  <a:lnTo>
                    <a:pt x="1323" y="326"/>
                  </a:lnTo>
                  <a:lnTo>
                    <a:pt x="1323" y="327"/>
                  </a:lnTo>
                  <a:lnTo>
                    <a:pt x="1324" y="327"/>
                  </a:lnTo>
                  <a:lnTo>
                    <a:pt x="1324" y="329"/>
                  </a:lnTo>
                  <a:lnTo>
                    <a:pt x="1326" y="329"/>
                  </a:lnTo>
                  <a:lnTo>
                    <a:pt x="1326" y="327"/>
                  </a:lnTo>
                  <a:lnTo>
                    <a:pt x="1326" y="329"/>
                  </a:lnTo>
                  <a:lnTo>
                    <a:pt x="1326" y="330"/>
                  </a:lnTo>
                  <a:lnTo>
                    <a:pt x="1328" y="332"/>
                  </a:lnTo>
                  <a:lnTo>
                    <a:pt x="1326" y="332"/>
                  </a:lnTo>
                  <a:lnTo>
                    <a:pt x="1328" y="332"/>
                  </a:lnTo>
                  <a:lnTo>
                    <a:pt x="1326" y="334"/>
                  </a:lnTo>
                  <a:lnTo>
                    <a:pt x="1326" y="335"/>
                  </a:lnTo>
                  <a:lnTo>
                    <a:pt x="1328" y="335"/>
                  </a:lnTo>
                  <a:lnTo>
                    <a:pt x="1328" y="337"/>
                  </a:lnTo>
                  <a:lnTo>
                    <a:pt x="1326" y="337"/>
                  </a:lnTo>
                  <a:lnTo>
                    <a:pt x="1326" y="339"/>
                  </a:lnTo>
                  <a:lnTo>
                    <a:pt x="1326" y="340"/>
                  </a:lnTo>
                  <a:lnTo>
                    <a:pt x="1326" y="342"/>
                  </a:lnTo>
                  <a:lnTo>
                    <a:pt x="1326" y="340"/>
                  </a:lnTo>
                  <a:lnTo>
                    <a:pt x="1328" y="339"/>
                  </a:lnTo>
                  <a:lnTo>
                    <a:pt x="1328" y="337"/>
                  </a:lnTo>
                  <a:lnTo>
                    <a:pt x="1329" y="337"/>
                  </a:lnTo>
                  <a:lnTo>
                    <a:pt x="1331" y="337"/>
                  </a:lnTo>
                  <a:lnTo>
                    <a:pt x="1331" y="339"/>
                  </a:lnTo>
                  <a:lnTo>
                    <a:pt x="1332" y="339"/>
                  </a:lnTo>
                  <a:lnTo>
                    <a:pt x="1334" y="339"/>
                  </a:lnTo>
                  <a:lnTo>
                    <a:pt x="1334" y="340"/>
                  </a:lnTo>
                  <a:lnTo>
                    <a:pt x="1334" y="342"/>
                  </a:lnTo>
                  <a:lnTo>
                    <a:pt x="1334" y="343"/>
                  </a:lnTo>
                  <a:lnTo>
                    <a:pt x="1334" y="345"/>
                  </a:lnTo>
                  <a:lnTo>
                    <a:pt x="1336" y="347"/>
                  </a:lnTo>
                  <a:lnTo>
                    <a:pt x="1336" y="348"/>
                  </a:lnTo>
                  <a:lnTo>
                    <a:pt x="1336" y="350"/>
                  </a:lnTo>
                  <a:lnTo>
                    <a:pt x="1336" y="352"/>
                  </a:lnTo>
                  <a:lnTo>
                    <a:pt x="1336" y="353"/>
                  </a:lnTo>
                  <a:lnTo>
                    <a:pt x="1337" y="353"/>
                  </a:lnTo>
                  <a:lnTo>
                    <a:pt x="1337" y="355"/>
                  </a:lnTo>
                  <a:lnTo>
                    <a:pt x="1337" y="356"/>
                  </a:lnTo>
                  <a:lnTo>
                    <a:pt x="1336" y="358"/>
                  </a:lnTo>
                  <a:lnTo>
                    <a:pt x="1336" y="356"/>
                  </a:lnTo>
                  <a:lnTo>
                    <a:pt x="1336" y="358"/>
                  </a:lnTo>
                  <a:lnTo>
                    <a:pt x="1337" y="360"/>
                  </a:lnTo>
                  <a:lnTo>
                    <a:pt x="1336" y="363"/>
                  </a:lnTo>
                  <a:lnTo>
                    <a:pt x="1337" y="365"/>
                  </a:lnTo>
                  <a:lnTo>
                    <a:pt x="1339" y="365"/>
                  </a:lnTo>
                  <a:lnTo>
                    <a:pt x="1341" y="366"/>
                  </a:lnTo>
                  <a:lnTo>
                    <a:pt x="1342" y="368"/>
                  </a:lnTo>
                  <a:lnTo>
                    <a:pt x="1341" y="368"/>
                  </a:lnTo>
                  <a:lnTo>
                    <a:pt x="1342" y="369"/>
                  </a:lnTo>
                  <a:lnTo>
                    <a:pt x="1342" y="371"/>
                  </a:lnTo>
                  <a:lnTo>
                    <a:pt x="1344" y="371"/>
                  </a:lnTo>
                  <a:lnTo>
                    <a:pt x="1344" y="374"/>
                  </a:lnTo>
                  <a:lnTo>
                    <a:pt x="1345" y="374"/>
                  </a:lnTo>
                  <a:lnTo>
                    <a:pt x="1345" y="376"/>
                  </a:lnTo>
                  <a:lnTo>
                    <a:pt x="1345" y="378"/>
                  </a:lnTo>
                  <a:lnTo>
                    <a:pt x="1345" y="379"/>
                  </a:lnTo>
                  <a:lnTo>
                    <a:pt x="1344" y="381"/>
                  </a:lnTo>
                  <a:lnTo>
                    <a:pt x="1344" y="383"/>
                  </a:lnTo>
                  <a:lnTo>
                    <a:pt x="1344" y="381"/>
                  </a:lnTo>
                  <a:lnTo>
                    <a:pt x="1345" y="379"/>
                  </a:lnTo>
                  <a:lnTo>
                    <a:pt x="1345" y="378"/>
                  </a:lnTo>
                  <a:lnTo>
                    <a:pt x="1345" y="374"/>
                  </a:lnTo>
                  <a:lnTo>
                    <a:pt x="1344" y="374"/>
                  </a:lnTo>
                  <a:lnTo>
                    <a:pt x="1344" y="373"/>
                  </a:lnTo>
                  <a:lnTo>
                    <a:pt x="1344" y="371"/>
                  </a:lnTo>
                  <a:lnTo>
                    <a:pt x="1342" y="371"/>
                  </a:lnTo>
                  <a:lnTo>
                    <a:pt x="1342" y="368"/>
                  </a:lnTo>
                  <a:lnTo>
                    <a:pt x="1342" y="366"/>
                  </a:lnTo>
                  <a:lnTo>
                    <a:pt x="1341" y="365"/>
                  </a:lnTo>
                  <a:lnTo>
                    <a:pt x="1339" y="365"/>
                  </a:lnTo>
                  <a:lnTo>
                    <a:pt x="1337" y="363"/>
                  </a:lnTo>
                  <a:lnTo>
                    <a:pt x="1337" y="360"/>
                  </a:lnTo>
                  <a:lnTo>
                    <a:pt x="1337" y="358"/>
                  </a:lnTo>
                  <a:lnTo>
                    <a:pt x="1337" y="356"/>
                  </a:lnTo>
                  <a:lnTo>
                    <a:pt x="1337" y="355"/>
                  </a:lnTo>
                  <a:lnTo>
                    <a:pt x="1337" y="353"/>
                  </a:lnTo>
                  <a:lnTo>
                    <a:pt x="1339" y="353"/>
                  </a:lnTo>
                  <a:lnTo>
                    <a:pt x="1337" y="352"/>
                  </a:lnTo>
                  <a:lnTo>
                    <a:pt x="1339" y="350"/>
                  </a:lnTo>
                  <a:lnTo>
                    <a:pt x="1337" y="348"/>
                  </a:lnTo>
                  <a:lnTo>
                    <a:pt x="1337" y="347"/>
                  </a:lnTo>
                  <a:lnTo>
                    <a:pt x="1337" y="345"/>
                  </a:lnTo>
                  <a:lnTo>
                    <a:pt x="1337" y="343"/>
                  </a:lnTo>
                  <a:lnTo>
                    <a:pt x="1337" y="342"/>
                  </a:lnTo>
                  <a:lnTo>
                    <a:pt x="1339" y="342"/>
                  </a:lnTo>
                  <a:lnTo>
                    <a:pt x="1339" y="343"/>
                  </a:lnTo>
                  <a:lnTo>
                    <a:pt x="1339" y="345"/>
                  </a:lnTo>
                  <a:lnTo>
                    <a:pt x="1339" y="347"/>
                  </a:lnTo>
                  <a:lnTo>
                    <a:pt x="1341" y="348"/>
                  </a:lnTo>
                  <a:lnTo>
                    <a:pt x="1342" y="350"/>
                  </a:lnTo>
                  <a:lnTo>
                    <a:pt x="1344" y="352"/>
                  </a:lnTo>
                  <a:lnTo>
                    <a:pt x="1345" y="352"/>
                  </a:lnTo>
                  <a:lnTo>
                    <a:pt x="1347" y="352"/>
                  </a:lnTo>
                  <a:lnTo>
                    <a:pt x="1347" y="353"/>
                  </a:lnTo>
                  <a:lnTo>
                    <a:pt x="1347" y="355"/>
                  </a:lnTo>
                  <a:lnTo>
                    <a:pt x="1347" y="353"/>
                  </a:lnTo>
                  <a:lnTo>
                    <a:pt x="1347" y="352"/>
                  </a:lnTo>
                  <a:lnTo>
                    <a:pt x="1345" y="350"/>
                  </a:lnTo>
                  <a:lnTo>
                    <a:pt x="1344" y="348"/>
                  </a:lnTo>
                  <a:lnTo>
                    <a:pt x="1342" y="347"/>
                  </a:lnTo>
                  <a:lnTo>
                    <a:pt x="1344" y="347"/>
                  </a:lnTo>
                  <a:lnTo>
                    <a:pt x="1344" y="345"/>
                  </a:lnTo>
                  <a:lnTo>
                    <a:pt x="1345" y="345"/>
                  </a:lnTo>
                  <a:lnTo>
                    <a:pt x="1347" y="345"/>
                  </a:lnTo>
                  <a:lnTo>
                    <a:pt x="1349" y="345"/>
                  </a:lnTo>
                  <a:lnTo>
                    <a:pt x="1349" y="343"/>
                  </a:lnTo>
                  <a:lnTo>
                    <a:pt x="1350" y="343"/>
                  </a:lnTo>
                  <a:lnTo>
                    <a:pt x="1350" y="345"/>
                  </a:lnTo>
                  <a:lnTo>
                    <a:pt x="1352" y="345"/>
                  </a:lnTo>
                  <a:lnTo>
                    <a:pt x="1352" y="343"/>
                  </a:lnTo>
                  <a:lnTo>
                    <a:pt x="1354" y="343"/>
                  </a:lnTo>
                  <a:lnTo>
                    <a:pt x="1355" y="343"/>
                  </a:lnTo>
                  <a:lnTo>
                    <a:pt x="1355" y="345"/>
                  </a:lnTo>
                  <a:lnTo>
                    <a:pt x="1354" y="347"/>
                  </a:lnTo>
                  <a:lnTo>
                    <a:pt x="1355" y="347"/>
                  </a:lnTo>
                  <a:lnTo>
                    <a:pt x="1357" y="347"/>
                  </a:lnTo>
                  <a:lnTo>
                    <a:pt x="1358" y="347"/>
                  </a:lnTo>
                  <a:lnTo>
                    <a:pt x="1358" y="348"/>
                  </a:lnTo>
                  <a:lnTo>
                    <a:pt x="1360" y="348"/>
                  </a:lnTo>
                  <a:lnTo>
                    <a:pt x="1358" y="348"/>
                  </a:lnTo>
                  <a:lnTo>
                    <a:pt x="1360" y="348"/>
                  </a:lnTo>
                  <a:lnTo>
                    <a:pt x="1362" y="348"/>
                  </a:lnTo>
                  <a:lnTo>
                    <a:pt x="1362" y="347"/>
                  </a:lnTo>
                  <a:lnTo>
                    <a:pt x="1360" y="347"/>
                  </a:lnTo>
                  <a:lnTo>
                    <a:pt x="1358" y="345"/>
                  </a:lnTo>
                  <a:lnTo>
                    <a:pt x="1358" y="343"/>
                  </a:lnTo>
                  <a:lnTo>
                    <a:pt x="1357" y="343"/>
                  </a:lnTo>
                  <a:lnTo>
                    <a:pt x="1355" y="343"/>
                  </a:lnTo>
                  <a:lnTo>
                    <a:pt x="1354" y="343"/>
                  </a:lnTo>
                  <a:lnTo>
                    <a:pt x="1352" y="342"/>
                  </a:lnTo>
                  <a:lnTo>
                    <a:pt x="1352" y="343"/>
                  </a:lnTo>
                  <a:lnTo>
                    <a:pt x="1350" y="343"/>
                  </a:lnTo>
                  <a:lnTo>
                    <a:pt x="1350" y="342"/>
                  </a:lnTo>
                  <a:lnTo>
                    <a:pt x="1349" y="342"/>
                  </a:lnTo>
                  <a:lnTo>
                    <a:pt x="1347" y="342"/>
                  </a:lnTo>
                  <a:lnTo>
                    <a:pt x="1345" y="342"/>
                  </a:lnTo>
                  <a:lnTo>
                    <a:pt x="1344" y="340"/>
                  </a:lnTo>
                  <a:lnTo>
                    <a:pt x="1342" y="339"/>
                  </a:lnTo>
                  <a:lnTo>
                    <a:pt x="1341" y="339"/>
                  </a:lnTo>
                  <a:lnTo>
                    <a:pt x="1341" y="337"/>
                  </a:lnTo>
                  <a:lnTo>
                    <a:pt x="1339" y="337"/>
                  </a:lnTo>
                  <a:lnTo>
                    <a:pt x="1339" y="335"/>
                  </a:lnTo>
                  <a:lnTo>
                    <a:pt x="1339" y="334"/>
                  </a:lnTo>
                  <a:lnTo>
                    <a:pt x="1337" y="334"/>
                  </a:lnTo>
                  <a:lnTo>
                    <a:pt x="1337" y="332"/>
                  </a:lnTo>
                  <a:lnTo>
                    <a:pt x="1336" y="332"/>
                  </a:lnTo>
                  <a:lnTo>
                    <a:pt x="1334" y="330"/>
                  </a:lnTo>
                  <a:lnTo>
                    <a:pt x="1332" y="329"/>
                  </a:lnTo>
                  <a:lnTo>
                    <a:pt x="1332" y="330"/>
                  </a:lnTo>
                  <a:lnTo>
                    <a:pt x="1331" y="330"/>
                  </a:lnTo>
                  <a:lnTo>
                    <a:pt x="1331" y="329"/>
                  </a:lnTo>
                  <a:lnTo>
                    <a:pt x="1331" y="327"/>
                  </a:lnTo>
                  <a:lnTo>
                    <a:pt x="1331" y="326"/>
                  </a:lnTo>
                  <a:lnTo>
                    <a:pt x="1331" y="324"/>
                  </a:lnTo>
                  <a:lnTo>
                    <a:pt x="1331" y="322"/>
                  </a:lnTo>
                  <a:lnTo>
                    <a:pt x="1329" y="322"/>
                  </a:lnTo>
                  <a:lnTo>
                    <a:pt x="1329" y="321"/>
                  </a:lnTo>
                  <a:lnTo>
                    <a:pt x="1331" y="319"/>
                  </a:lnTo>
                  <a:lnTo>
                    <a:pt x="1332" y="319"/>
                  </a:lnTo>
                  <a:lnTo>
                    <a:pt x="1334" y="317"/>
                  </a:lnTo>
                  <a:lnTo>
                    <a:pt x="1336" y="317"/>
                  </a:lnTo>
                  <a:lnTo>
                    <a:pt x="1336" y="316"/>
                  </a:lnTo>
                  <a:lnTo>
                    <a:pt x="1337" y="316"/>
                  </a:lnTo>
                  <a:lnTo>
                    <a:pt x="1339" y="316"/>
                  </a:lnTo>
                  <a:lnTo>
                    <a:pt x="1341" y="316"/>
                  </a:lnTo>
                  <a:lnTo>
                    <a:pt x="1341" y="314"/>
                  </a:lnTo>
                  <a:lnTo>
                    <a:pt x="1342" y="314"/>
                  </a:lnTo>
                  <a:lnTo>
                    <a:pt x="1344" y="314"/>
                  </a:lnTo>
                  <a:lnTo>
                    <a:pt x="1345" y="314"/>
                  </a:lnTo>
                  <a:lnTo>
                    <a:pt x="1345" y="313"/>
                  </a:lnTo>
                  <a:lnTo>
                    <a:pt x="1347" y="313"/>
                  </a:lnTo>
                  <a:lnTo>
                    <a:pt x="1347" y="311"/>
                  </a:lnTo>
                  <a:lnTo>
                    <a:pt x="1349" y="311"/>
                  </a:lnTo>
                  <a:lnTo>
                    <a:pt x="1349" y="314"/>
                  </a:lnTo>
                  <a:lnTo>
                    <a:pt x="1350" y="314"/>
                  </a:lnTo>
                  <a:lnTo>
                    <a:pt x="1350" y="316"/>
                  </a:lnTo>
                  <a:lnTo>
                    <a:pt x="1350" y="317"/>
                  </a:lnTo>
                  <a:lnTo>
                    <a:pt x="1350" y="319"/>
                  </a:lnTo>
                  <a:lnTo>
                    <a:pt x="1350" y="321"/>
                  </a:lnTo>
                  <a:lnTo>
                    <a:pt x="1349" y="321"/>
                  </a:lnTo>
                  <a:lnTo>
                    <a:pt x="1350" y="322"/>
                  </a:lnTo>
                  <a:lnTo>
                    <a:pt x="1350" y="321"/>
                  </a:lnTo>
                  <a:lnTo>
                    <a:pt x="1352" y="321"/>
                  </a:lnTo>
                  <a:lnTo>
                    <a:pt x="1354" y="324"/>
                  </a:lnTo>
                  <a:lnTo>
                    <a:pt x="1354" y="326"/>
                  </a:lnTo>
                  <a:lnTo>
                    <a:pt x="1354" y="327"/>
                  </a:lnTo>
                  <a:lnTo>
                    <a:pt x="1355" y="327"/>
                  </a:lnTo>
                  <a:lnTo>
                    <a:pt x="1357" y="327"/>
                  </a:lnTo>
                  <a:lnTo>
                    <a:pt x="1355" y="329"/>
                  </a:lnTo>
                  <a:lnTo>
                    <a:pt x="1357" y="329"/>
                  </a:lnTo>
                  <a:lnTo>
                    <a:pt x="1358" y="329"/>
                  </a:lnTo>
                  <a:lnTo>
                    <a:pt x="1358" y="330"/>
                  </a:lnTo>
                  <a:lnTo>
                    <a:pt x="1358" y="332"/>
                  </a:lnTo>
                  <a:lnTo>
                    <a:pt x="1358" y="334"/>
                  </a:lnTo>
                  <a:lnTo>
                    <a:pt x="1360" y="334"/>
                  </a:lnTo>
                  <a:lnTo>
                    <a:pt x="1362" y="337"/>
                  </a:lnTo>
                  <a:lnTo>
                    <a:pt x="1365" y="339"/>
                  </a:lnTo>
                  <a:lnTo>
                    <a:pt x="1367" y="339"/>
                  </a:lnTo>
                  <a:lnTo>
                    <a:pt x="1368" y="340"/>
                  </a:lnTo>
                  <a:lnTo>
                    <a:pt x="1368" y="339"/>
                  </a:lnTo>
                  <a:lnTo>
                    <a:pt x="1370" y="339"/>
                  </a:lnTo>
                  <a:lnTo>
                    <a:pt x="1371" y="339"/>
                  </a:lnTo>
                  <a:lnTo>
                    <a:pt x="1373" y="339"/>
                  </a:lnTo>
                  <a:lnTo>
                    <a:pt x="1375" y="339"/>
                  </a:lnTo>
                  <a:lnTo>
                    <a:pt x="1376" y="339"/>
                  </a:lnTo>
                  <a:lnTo>
                    <a:pt x="1378" y="340"/>
                  </a:lnTo>
                  <a:lnTo>
                    <a:pt x="1378" y="342"/>
                  </a:lnTo>
                  <a:lnTo>
                    <a:pt x="1380" y="342"/>
                  </a:lnTo>
                  <a:lnTo>
                    <a:pt x="1378" y="343"/>
                  </a:lnTo>
                  <a:lnTo>
                    <a:pt x="1378" y="345"/>
                  </a:lnTo>
                  <a:lnTo>
                    <a:pt x="1376" y="347"/>
                  </a:lnTo>
                  <a:lnTo>
                    <a:pt x="1376" y="348"/>
                  </a:lnTo>
                  <a:lnTo>
                    <a:pt x="1376" y="350"/>
                  </a:lnTo>
                  <a:lnTo>
                    <a:pt x="1375" y="350"/>
                  </a:lnTo>
                  <a:lnTo>
                    <a:pt x="1375" y="352"/>
                  </a:lnTo>
                  <a:lnTo>
                    <a:pt x="1375" y="353"/>
                  </a:lnTo>
                  <a:lnTo>
                    <a:pt x="1375" y="355"/>
                  </a:lnTo>
                  <a:lnTo>
                    <a:pt x="1376" y="355"/>
                  </a:lnTo>
                  <a:lnTo>
                    <a:pt x="1378" y="355"/>
                  </a:lnTo>
                  <a:lnTo>
                    <a:pt x="1380" y="355"/>
                  </a:lnTo>
                  <a:lnTo>
                    <a:pt x="1378" y="355"/>
                  </a:lnTo>
                  <a:lnTo>
                    <a:pt x="1380" y="353"/>
                  </a:lnTo>
                  <a:lnTo>
                    <a:pt x="1381" y="353"/>
                  </a:lnTo>
                  <a:lnTo>
                    <a:pt x="1383" y="353"/>
                  </a:lnTo>
                  <a:lnTo>
                    <a:pt x="1384" y="353"/>
                  </a:lnTo>
                  <a:lnTo>
                    <a:pt x="1386" y="353"/>
                  </a:lnTo>
                  <a:lnTo>
                    <a:pt x="1386" y="355"/>
                  </a:lnTo>
                  <a:lnTo>
                    <a:pt x="1388" y="353"/>
                  </a:lnTo>
                  <a:lnTo>
                    <a:pt x="1388" y="355"/>
                  </a:lnTo>
                  <a:lnTo>
                    <a:pt x="1389" y="355"/>
                  </a:lnTo>
                  <a:lnTo>
                    <a:pt x="1391" y="355"/>
                  </a:lnTo>
                  <a:lnTo>
                    <a:pt x="1389" y="353"/>
                  </a:lnTo>
                  <a:lnTo>
                    <a:pt x="1388" y="353"/>
                  </a:lnTo>
                  <a:lnTo>
                    <a:pt x="1384" y="352"/>
                  </a:lnTo>
                  <a:lnTo>
                    <a:pt x="1384" y="350"/>
                  </a:lnTo>
                  <a:lnTo>
                    <a:pt x="1383" y="350"/>
                  </a:lnTo>
                  <a:lnTo>
                    <a:pt x="1383" y="348"/>
                  </a:lnTo>
                  <a:lnTo>
                    <a:pt x="1383" y="345"/>
                  </a:lnTo>
                  <a:lnTo>
                    <a:pt x="1383" y="343"/>
                  </a:lnTo>
                  <a:lnTo>
                    <a:pt x="1383" y="342"/>
                  </a:lnTo>
                  <a:lnTo>
                    <a:pt x="1383" y="340"/>
                  </a:lnTo>
                  <a:lnTo>
                    <a:pt x="1381" y="340"/>
                  </a:lnTo>
                  <a:lnTo>
                    <a:pt x="1381" y="339"/>
                  </a:lnTo>
                  <a:lnTo>
                    <a:pt x="1380" y="339"/>
                  </a:lnTo>
                  <a:lnTo>
                    <a:pt x="1380" y="337"/>
                  </a:lnTo>
                  <a:lnTo>
                    <a:pt x="1378" y="335"/>
                  </a:lnTo>
                  <a:lnTo>
                    <a:pt x="1378" y="334"/>
                  </a:lnTo>
                  <a:lnTo>
                    <a:pt x="1376" y="334"/>
                  </a:lnTo>
                  <a:lnTo>
                    <a:pt x="1375" y="334"/>
                  </a:lnTo>
                  <a:lnTo>
                    <a:pt x="1373" y="334"/>
                  </a:lnTo>
                  <a:lnTo>
                    <a:pt x="1370" y="334"/>
                  </a:lnTo>
                  <a:lnTo>
                    <a:pt x="1368" y="335"/>
                  </a:lnTo>
                  <a:lnTo>
                    <a:pt x="1367" y="335"/>
                  </a:lnTo>
                  <a:lnTo>
                    <a:pt x="1365" y="335"/>
                  </a:lnTo>
                  <a:lnTo>
                    <a:pt x="1365" y="334"/>
                  </a:lnTo>
                  <a:lnTo>
                    <a:pt x="1363" y="332"/>
                  </a:lnTo>
                  <a:lnTo>
                    <a:pt x="1362" y="329"/>
                  </a:lnTo>
                  <a:lnTo>
                    <a:pt x="1362" y="327"/>
                  </a:lnTo>
                  <a:lnTo>
                    <a:pt x="1360" y="327"/>
                  </a:lnTo>
                  <a:lnTo>
                    <a:pt x="1358" y="327"/>
                  </a:lnTo>
                  <a:lnTo>
                    <a:pt x="1358" y="326"/>
                  </a:lnTo>
                  <a:lnTo>
                    <a:pt x="1357" y="326"/>
                  </a:lnTo>
                  <a:lnTo>
                    <a:pt x="1357" y="324"/>
                  </a:lnTo>
                  <a:lnTo>
                    <a:pt x="1357" y="322"/>
                  </a:lnTo>
                  <a:lnTo>
                    <a:pt x="1357" y="319"/>
                  </a:lnTo>
                  <a:lnTo>
                    <a:pt x="1357" y="317"/>
                  </a:lnTo>
                  <a:lnTo>
                    <a:pt x="1358" y="317"/>
                  </a:lnTo>
                  <a:lnTo>
                    <a:pt x="1357" y="316"/>
                  </a:lnTo>
                  <a:lnTo>
                    <a:pt x="1358" y="316"/>
                  </a:lnTo>
                  <a:lnTo>
                    <a:pt x="1358" y="314"/>
                  </a:lnTo>
                  <a:lnTo>
                    <a:pt x="1360" y="314"/>
                  </a:lnTo>
                  <a:lnTo>
                    <a:pt x="1360" y="313"/>
                  </a:lnTo>
                  <a:lnTo>
                    <a:pt x="1360" y="311"/>
                  </a:lnTo>
                  <a:lnTo>
                    <a:pt x="1362" y="311"/>
                  </a:lnTo>
                  <a:lnTo>
                    <a:pt x="1363" y="309"/>
                  </a:lnTo>
                  <a:lnTo>
                    <a:pt x="1365" y="309"/>
                  </a:lnTo>
                  <a:lnTo>
                    <a:pt x="1365" y="311"/>
                  </a:lnTo>
                  <a:lnTo>
                    <a:pt x="1367" y="313"/>
                  </a:lnTo>
                  <a:lnTo>
                    <a:pt x="1368" y="313"/>
                  </a:lnTo>
                  <a:lnTo>
                    <a:pt x="1368" y="314"/>
                  </a:lnTo>
                  <a:lnTo>
                    <a:pt x="1370" y="314"/>
                  </a:lnTo>
                  <a:lnTo>
                    <a:pt x="1368" y="313"/>
                  </a:lnTo>
                  <a:lnTo>
                    <a:pt x="1367" y="311"/>
                  </a:lnTo>
                  <a:lnTo>
                    <a:pt x="1365" y="309"/>
                  </a:lnTo>
                  <a:lnTo>
                    <a:pt x="1365" y="308"/>
                  </a:lnTo>
                  <a:lnTo>
                    <a:pt x="1363" y="308"/>
                  </a:lnTo>
                  <a:lnTo>
                    <a:pt x="1363" y="309"/>
                  </a:lnTo>
                  <a:lnTo>
                    <a:pt x="1362" y="309"/>
                  </a:lnTo>
                  <a:lnTo>
                    <a:pt x="1360" y="309"/>
                  </a:lnTo>
                  <a:lnTo>
                    <a:pt x="1358" y="311"/>
                  </a:lnTo>
                  <a:lnTo>
                    <a:pt x="1358" y="313"/>
                  </a:lnTo>
                  <a:lnTo>
                    <a:pt x="1357" y="314"/>
                  </a:lnTo>
                  <a:lnTo>
                    <a:pt x="1355" y="313"/>
                  </a:lnTo>
                  <a:lnTo>
                    <a:pt x="1354" y="311"/>
                  </a:lnTo>
                  <a:lnTo>
                    <a:pt x="1354" y="313"/>
                  </a:lnTo>
                  <a:lnTo>
                    <a:pt x="1354" y="311"/>
                  </a:lnTo>
                  <a:lnTo>
                    <a:pt x="1354" y="309"/>
                  </a:lnTo>
                  <a:lnTo>
                    <a:pt x="1352" y="308"/>
                  </a:lnTo>
                  <a:lnTo>
                    <a:pt x="1352" y="304"/>
                  </a:lnTo>
                  <a:lnTo>
                    <a:pt x="1352" y="301"/>
                  </a:lnTo>
                  <a:lnTo>
                    <a:pt x="1354" y="298"/>
                  </a:lnTo>
                  <a:lnTo>
                    <a:pt x="1354" y="296"/>
                  </a:lnTo>
                  <a:lnTo>
                    <a:pt x="1355" y="298"/>
                  </a:lnTo>
                  <a:lnTo>
                    <a:pt x="1354" y="296"/>
                  </a:lnTo>
                  <a:lnTo>
                    <a:pt x="1355" y="296"/>
                  </a:lnTo>
                  <a:lnTo>
                    <a:pt x="1355" y="295"/>
                  </a:lnTo>
                  <a:lnTo>
                    <a:pt x="1357" y="293"/>
                  </a:lnTo>
                  <a:lnTo>
                    <a:pt x="1357" y="291"/>
                  </a:lnTo>
                  <a:lnTo>
                    <a:pt x="1357" y="288"/>
                  </a:lnTo>
                  <a:lnTo>
                    <a:pt x="1357" y="287"/>
                  </a:lnTo>
                  <a:lnTo>
                    <a:pt x="1357" y="285"/>
                  </a:lnTo>
                  <a:lnTo>
                    <a:pt x="1358" y="283"/>
                  </a:lnTo>
                  <a:lnTo>
                    <a:pt x="1358" y="282"/>
                  </a:lnTo>
                  <a:lnTo>
                    <a:pt x="1358" y="283"/>
                  </a:lnTo>
                  <a:lnTo>
                    <a:pt x="1358" y="282"/>
                  </a:lnTo>
                  <a:lnTo>
                    <a:pt x="1360" y="283"/>
                  </a:lnTo>
                  <a:lnTo>
                    <a:pt x="1362" y="280"/>
                  </a:lnTo>
                  <a:lnTo>
                    <a:pt x="1363" y="278"/>
                  </a:lnTo>
                  <a:lnTo>
                    <a:pt x="1365" y="278"/>
                  </a:lnTo>
                  <a:lnTo>
                    <a:pt x="1365" y="277"/>
                  </a:lnTo>
                  <a:lnTo>
                    <a:pt x="1367" y="277"/>
                  </a:lnTo>
                  <a:lnTo>
                    <a:pt x="1368" y="277"/>
                  </a:lnTo>
                  <a:lnTo>
                    <a:pt x="1370" y="277"/>
                  </a:lnTo>
                  <a:lnTo>
                    <a:pt x="1371" y="277"/>
                  </a:lnTo>
                  <a:lnTo>
                    <a:pt x="1373" y="275"/>
                  </a:lnTo>
                  <a:lnTo>
                    <a:pt x="1375" y="275"/>
                  </a:lnTo>
                  <a:lnTo>
                    <a:pt x="1375" y="274"/>
                  </a:lnTo>
                  <a:lnTo>
                    <a:pt x="1376" y="274"/>
                  </a:lnTo>
                  <a:lnTo>
                    <a:pt x="1378" y="272"/>
                  </a:lnTo>
                  <a:lnTo>
                    <a:pt x="1380" y="272"/>
                  </a:lnTo>
                  <a:lnTo>
                    <a:pt x="1381" y="272"/>
                  </a:lnTo>
                  <a:lnTo>
                    <a:pt x="1381" y="270"/>
                  </a:lnTo>
                  <a:lnTo>
                    <a:pt x="1383" y="270"/>
                  </a:lnTo>
                  <a:lnTo>
                    <a:pt x="1383" y="269"/>
                  </a:lnTo>
                  <a:lnTo>
                    <a:pt x="1384" y="269"/>
                  </a:lnTo>
                  <a:lnTo>
                    <a:pt x="1386" y="269"/>
                  </a:lnTo>
                  <a:lnTo>
                    <a:pt x="1388" y="270"/>
                  </a:lnTo>
                  <a:lnTo>
                    <a:pt x="1388" y="272"/>
                  </a:lnTo>
                  <a:lnTo>
                    <a:pt x="1388" y="274"/>
                  </a:lnTo>
                  <a:lnTo>
                    <a:pt x="1388" y="275"/>
                  </a:lnTo>
                  <a:lnTo>
                    <a:pt x="1386" y="277"/>
                  </a:lnTo>
                  <a:lnTo>
                    <a:pt x="1386" y="278"/>
                  </a:lnTo>
                  <a:lnTo>
                    <a:pt x="1388" y="280"/>
                  </a:lnTo>
                  <a:lnTo>
                    <a:pt x="1388" y="282"/>
                  </a:lnTo>
                  <a:lnTo>
                    <a:pt x="1388" y="283"/>
                  </a:lnTo>
                  <a:lnTo>
                    <a:pt x="1386" y="285"/>
                  </a:lnTo>
                  <a:lnTo>
                    <a:pt x="1386" y="290"/>
                  </a:lnTo>
                  <a:lnTo>
                    <a:pt x="1386" y="291"/>
                  </a:lnTo>
                  <a:lnTo>
                    <a:pt x="1386" y="290"/>
                  </a:lnTo>
                  <a:lnTo>
                    <a:pt x="1386" y="291"/>
                  </a:lnTo>
                  <a:lnTo>
                    <a:pt x="1384" y="291"/>
                  </a:lnTo>
                  <a:lnTo>
                    <a:pt x="1386" y="291"/>
                  </a:lnTo>
                  <a:lnTo>
                    <a:pt x="1386" y="290"/>
                  </a:lnTo>
                  <a:lnTo>
                    <a:pt x="1386" y="291"/>
                  </a:lnTo>
                  <a:lnTo>
                    <a:pt x="1388" y="291"/>
                  </a:lnTo>
                  <a:lnTo>
                    <a:pt x="1389" y="291"/>
                  </a:lnTo>
                  <a:lnTo>
                    <a:pt x="1391" y="293"/>
                  </a:lnTo>
                  <a:lnTo>
                    <a:pt x="1391" y="295"/>
                  </a:lnTo>
                  <a:lnTo>
                    <a:pt x="1391" y="296"/>
                  </a:lnTo>
                  <a:lnTo>
                    <a:pt x="1391" y="298"/>
                  </a:lnTo>
                  <a:lnTo>
                    <a:pt x="1391" y="301"/>
                  </a:lnTo>
                  <a:lnTo>
                    <a:pt x="1391" y="303"/>
                  </a:lnTo>
                  <a:lnTo>
                    <a:pt x="1391" y="304"/>
                  </a:lnTo>
                  <a:lnTo>
                    <a:pt x="1389" y="306"/>
                  </a:lnTo>
                  <a:lnTo>
                    <a:pt x="1389" y="308"/>
                  </a:lnTo>
                  <a:lnTo>
                    <a:pt x="1389" y="309"/>
                  </a:lnTo>
                  <a:lnTo>
                    <a:pt x="1389" y="311"/>
                  </a:lnTo>
                  <a:lnTo>
                    <a:pt x="1389" y="313"/>
                  </a:lnTo>
                  <a:lnTo>
                    <a:pt x="1389" y="314"/>
                  </a:lnTo>
                  <a:lnTo>
                    <a:pt x="1391" y="316"/>
                  </a:lnTo>
                  <a:lnTo>
                    <a:pt x="1391" y="317"/>
                  </a:lnTo>
                  <a:lnTo>
                    <a:pt x="1389" y="319"/>
                  </a:lnTo>
                  <a:lnTo>
                    <a:pt x="1388" y="322"/>
                  </a:lnTo>
                  <a:lnTo>
                    <a:pt x="1386" y="324"/>
                  </a:lnTo>
                  <a:lnTo>
                    <a:pt x="1386" y="327"/>
                  </a:lnTo>
                  <a:lnTo>
                    <a:pt x="1384" y="329"/>
                  </a:lnTo>
                  <a:lnTo>
                    <a:pt x="1384" y="330"/>
                  </a:lnTo>
                  <a:lnTo>
                    <a:pt x="1384" y="329"/>
                  </a:lnTo>
                  <a:lnTo>
                    <a:pt x="1386" y="329"/>
                  </a:lnTo>
                  <a:lnTo>
                    <a:pt x="1388" y="326"/>
                  </a:lnTo>
                  <a:lnTo>
                    <a:pt x="1389" y="324"/>
                  </a:lnTo>
                  <a:lnTo>
                    <a:pt x="1391" y="324"/>
                  </a:lnTo>
                  <a:lnTo>
                    <a:pt x="1391" y="326"/>
                  </a:lnTo>
                  <a:lnTo>
                    <a:pt x="1391" y="327"/>
                  </a:lnTo>
                  <a:lnTo>
                    <a:pt x="1393" y="327"/>
                  </a:lnTo>
                  <a:lnTo>
                    <a:pt x="1391" y="326"/>
                  </a:lnTo>
                  <a:lnTo>
                    <a:pt x="1393" y="324"/>
                  </a:lnTo>
                  <a:lnTo>
                    <a:pt x="1391" y="324"/>
                  </a:lnTo>
                  <a:lnTo>
                    <a:pt x="1393" y="324"/>
                  </a:lnTo>
                  <a:lnTo>
                    <a:pt x="1391" y="322"/>
                  </a:lnTo>
                  <a:lnTo>
                    <a:pt x="1391" y="321"/>
                  </a:lnTo>
                  <a:lnTo>
                    <a:pt x="1393" y="319"/>
                  </a:lnTo>
                  <a:lnTo>
                    <a:pt x="1393" y="317"/>
                  </a:lnTo>
                  <a:lnTo>
                    <a:pt x="1394" y="316"/>
                  </a:lnTo>
                  <a:lnTo>
                    <a:pt x="1394" y="314"/>
                  </a:lnTo>
                  <a:lnTo>
                    <a:pt x="1393" y="314"/>
                  </a:lnTo>
                  <a:lnTo>
                    <a:pt x="1393" y="313"/>
                  </a:lnTo>
                  <a:lnTo>
                    <a:pt x="1393" y="311"/>
                  </a:lnTo>
                  <a:lnTo>
                    <a:pt x="1393" y="309"/>
                  </a:lnTo>
                  <a:lnTo>
                    <a:pt x="1394" y="309"/>
                  </a:lnTo>
                  <a:lnTo>
                    <a:pt x="1394" y="308"/>
                  </a:lnTo>
                  <a:lnTo>
                    <a:pt x="1393" y="308"/>
                  </a:lnTo>
                  <a:lnTo>
                    <a:pt x="1393" y="306"/>
                  </a:lnTo>
                  <a:lnTo>
                    <a:pt x="1393" y="303"/>
                  </a:lnTo>
                  <a:lnTo>
                    <a:pt x="1394" y="301"/>
                  </a:lnTo>
                  <a:lnTo>
                    <a:pt x="1393" y="300"/>
                  </a:lnTo>
                  <a:lnTo>
                    <a:pt x="1391" y="300"/>
                  </a:lnTo>
                  <a:lnTo>
                    <a:pt x="1393" y="300"/>
                  </a:lnTo>
                  <a:lnTo>
                    <a:pt x="1391" y="300"/>
                  </a:lnTo>
                  <a:lnTo>
                    <a:pt x="1391" y="298"/>
                  </a:lnTo>
                  <a:lnTo>
                    <a:pt x="1393" y="298"/>
                  </a:lnTo>
                  <a:lnTo>
                    <a:pt x="1394" y="296"/>
                  </a:lnTo>
                  <a:lnTo>
                    <a:pt x="1396" y="298"/>
                  </a:lnTo>
                  <a:lnTo>
                    <a:pt x="1397" y="298"/>
                  </a:lnTo>
                  <a:lnTo>
                    <a:pt x="1399" y="298"/>
                  </a:lnTo>
                  <a:lnTo>
                    <a:pt x="1401" y="298"/>
                  </a:lnTo>
                  <a:lnTo>
                    <a:pt x="1401" y="300"/>
                  </a:lnTo>
                  <a:lnTo>
                    <a:pt x="1401" y="298"/>
                  </a:lnTo>
                  <a:lnTo>
                    <a:pt x="1402" y="300"/>
                  </a:lnTo>
                  <a:lnTo>
                    <a:pt x="1404" y="300"/>
                  </a:lnTo>
                  <a:lnTo>
                    <a:pt x="1406" y="300"/>
                  </a:lnTo>
                  <a:lnTo>
                    <a:pt x="1407" y="300"/>
                  </a:lnTo>
                  <a:lnTo>
                    <a:pt x="1409" y="300"/>
                  </a:lnTo>
                  <a:lnTo>
                    <a:pt x="1412" y="298"/>
                  </a:lnTo>
                  <a:lnTo>
                    <a:pt x="1414" y="298"/>
                  </a:lnTo>
                  <a:lnTo>
                    <a:pt x="1412" y="298"/>
                  </a:lnTo>
                  <a:lnTo>
                    <a:pt x="1411" y="298"/>
                  </a:lnTo>
                  <a:lnTo>
                    <a:pt x="1409" y="300"/>
                  </a:lnTo>
                  <a:lnTo>
                    <a:pt x="1407" y="300"/>
                  </a:lnTo>
                  <a:lnTo>
                    <a:pt x="1406" y="298"/>
                  </a:lnTo>
                  <a:lnTo>
                    <a:pt x="1404" y="298"/>
                  </a:lnTo>
                  <a:lnTo>
                    <a:pt x="1402" y="296"/>
                  </a:lnTo>
                  <a:lnTo>
                    <a:pt x="1401" y="296"/>
                  </a:lnTo>
                  <a:lnTo>
                    <a:pt x="1399" y="296"/>
                  </a:lnTo>
                  <a:lnTo>
                    <a:pt x="1397" y="296"/>
                  </a:lnTo>
                  <a:lnTo>
                    <a:pt x="1396" y="296"/>
                  </a:lnTo>
                  <a:lnTo>
                    <a:pt x="1396" y="293"/>
                  </a:lnTo>
                  <a:lnTo>
                    <a:pt x="1396" y="291"/>
                  </a:lnTo>
                  <a:lnTo>
                    <a:pt x="1394" y="290"/>
                  </a:lnTo>
                  <a:lnTo>
                    <a:pt x="1394" y="288"/>
                  </a:lnTo>
                  <a:lnTo>
                    <a:pt x="1393" y="288"/>
                  </a:lnTo>
                  <a:lnTo>
                    <a:pt x="1393" y="287"/>
                  </a:lnTo>
                  <a:lnTo>
                    <a:pt x="1393" y="285"/>
                  </a:lnTo>
                  <a:lnTo>
                    <a:pt x="1393" y="283"/>
                  </a:lnTo>
                  <a:lnTo>
                    <a:pt x="1393" y="282"/>
                  </a:lnTo>
                  <a:lnTo>
                    <a:pt x="1394" y="280"/>
                  </a:lnTo>
                  <a:lnTo>
                    <a:pt x="1394" y="278"/>
                  </a:lnTo>
                  <a:lnTo>
                    <a:pt x="1394" y="277"/>
                  </a:lnTo>
                  <a:lnTo>
                    <a:pt x="1394" y="275"/>
                  </a:lnTo>
                  <a:lnTo>
                    <a:pt x="1394" y="274"/>
                  </a:lnTo>
                  <a:lnTo>
                    <a:pt x="1396" y="274"/>
                  </a:lnTo>
                  <a:lnTo>
                    <a:pt x="1396" y="272"/>
                  </a:lnTo>
                  <a:lnTo>
                    <a:pt x="1396" y="270"/>
                  </a:lnTo>
                  <a:lnTo>
                    <a:pt x="1397" y="267"/>
                  </a:lnTo>
                  <a:lnTo>
                    <a:pt x="1397" y="265"/>
                  </a:lnTo>
                  <a:lnTo>
                    <a:pt x="1399" y="264"/>
                  </a:lnTo>
                  <a:lnTo>
                    <a:pt x="1399" y="262"/>
                  </a:lnTo>
                  <a:lnTo>
                    <a:pt x="1399" y="264"/>
                  </a:lnTo>
                  <a:lnTo>
                    <a:pt x="1399" y="265"/>
                  </a:lnTo>
                  <a:lnTo>
                    <a:pt x="1399" y="267"/>
                  </a:lnTo>
                  <a:lnTo>
                    <a:pt x="1399" y="269"/>
                  </a:lnTo>
                  <a:lnTo>
                    <a:pt x="1399" y="272"/>
                  </a:lnTo>
                  <a:lnTo>
                    <a:pt x="1399" y="274"/>
                  </a:lnTo>
                  <a:lnTo>
                    <a:pt x="1399" y="275"/>
                  </a:lnTo>
                  <a:lnTo>
                    <a:pt x="1401" y="275"/>
                  </a:lnTo>
                  <a:lnTo>
                    <a:pt x="1401" y="274"/>
                  </a:lnTo>
                  <a:lnTo>
                    <a:pt x="1401" y="272"/>
                  </a:lnTo>
                  <a:lnTo>
                    <a:pt x="1401" y="270"/>
                  </a:lnTo>
                  <a:lnTo>
                    <a:pt x="1401" y="269"/>
                  </a:lnTo>
                  <a:lnTo>
                    <a:pt x="1402" y="265"/>
                  </a:lnTo>
                  <a:lnTo>
                    <a:pt x="1402" y="264"/>
                  </a:lnTo>
                  <a:lnTo>
                    <a:pt x="1402" y="262"/>
                  </a:lnTo>
                  <a:lnTo>
                    <a:pt x="1402" y="261"/>
                  </a:lnTo>
                  <a:lnTo>
                    <a:pt x="1402" y="257"/>
                  </a:lnTo>
                  <a:lnTo>
                    <a:pt x="1404" y="254"/>
                  </a:lnTo>
                  <a:lnTo>
                    <a:pt x="1404" y="251"/>
                  </a:lnTo>
                  <a:lnTo>
                    <a:pt x="1404" y="249"/>
                  </a:lnTo>
                  <a:lnTo>
                    <a:pt x="1406" y="248"/>
                  </a:lnTo>
                  <a:lnTo>
                    <a:pt x="1406" y="249"/>
                  </a:lnTo>
                  <a:lnTo>
                    <a:pt x="1406" y="252"/>
                  </a:lnTo>
                  <a:lnTo>
                    <a:pt x="1406" y="254"/>
                  </a:lnTo>
                  <a:lnTo>
                    <a:pt x="1407" y="256"/>
                  </a:lnTo>
                  <a:lnTo>
                    <a:pt x="1407" y="257"/>
                  </a:lnTo>
                  <a:lnTo>
                    <a:pt x="1409" y="259"/>
                  </a:lnTo>
                  <a:lnTo>
                    <a:pt x="1409" y="261"/>
                  </a:lnTo>
                  <a:lnTo>
                    <a:pt x="1409" y="259"/>
                  </a:lnTo>
                  <a:lnTo>
                    <a:pt x="1409" y="257"/>
                  </a:lnTo>
                  <a:lnTo>
                    <a:pt x="1407" y="256"/>
                  </a:lnTo>
                  <a:lnTo>
                    <a:pt x="1407" y="254"/>
                  </a:lnTo>
                  <a:lnTo>
                    <a:pt x="1407" y="252"/>
                  </a:lnTo>
                  <a:lnTo>
                    <a:pt x="1407" y="251"/>
                  </a:lnTo>
                  <a:lnTo>
                    <a:pt x="1407" y="249"/>
                  </a:lnTo>
                  <a:lnTo>
                    <a:pt x="1407" y="248"/>
                  </a:lnTo>
                  <a:lnTo>
                    <a:pt x="1409" y="246"/>
                  </a:lnTo>
                  <a:lnTo>
                    <a:pt x="1409" y="244"/>
                  </a:lnTo>
                  <a:lnTo>
                    <a:pt x="1409" y="243"/>
                  </a:lnTo>
                  <a:lnTo>
                    <a:pt x="1411" y="243"/>
                  </a:lnTo>
                  <a:lnTo>
                    <a:pt x="1412" y="243"/>
                  </a:lnTo>
                  <a:lnTo>
                    <a:pt x="1412" y="244"/>
                  </a:lnTo>
                  <a:lnTo>
                    <a:pt x="1414" y="244"/>
                  </a:lnTo>
                  <a:lnTo>
                    <a:pt x="1414" y="246"/>
                  </a:lnTo>
                  <a:lnTo>
                    <a:pt x="1415" y="248"/>
                  </a:lnTo>
                  <a:lnTo>
                    <a:pt x="1415" y="249"/>
                  </a:lnTo>
                  <a:lnTo>
                    <a:pt x="1417" y="251"/>
                  </a:lnTo>
                  <a:lnTo>
                    <a:pt x="1417" y="252"/>
                  </a:lnTo>
                  <a:lnTo>
                    <a:pt x="1419" y="252"/>
                  </a:lnTo>
                  <a:lnTo>
                    <a:pt x="1419" y="254"/>
                  </a:lnTo>
                  <a:lnTo>
                    <a:pt x="1419" y="256"/>
                  </a:lnTo>
                  <a:lnTo>
                    <a:pt x="1419" y="257"/>
                  </a:lnTo>
                  <a:lnTo>
                    <a:pt x="1417" y="259"/>
                  </a:lnTo>
                  <a:lnTo>
                    <a:pt x="1417" y="261"/>
                  </a:lnTo>
                  <a:lnTo>
                    <a:pt x="1419" y="262"/>
                  </a:lnTo>
                  <a:lnTo>
                    <a:pt x="1419" y="264"/>
                  </a:lnTo>
                  <a:lnTo>
                    <a:pt x="1417" y="264"/>
                  </a:lnTo>
                  <a:lnTo>
                    <a:pt x="1417" y="265"/>
                  </a:lnTo>
                  <a:lnTo>
                    <a:pt x="1417" y="269"/>
                  </a:lnTo>
                  <a:lnTo>
                    <a:pt x="1417" y="274"/>
                  </a:lnTo>
                  <a:lnTo>
                    <a:pt x="1417" y="275"/>
                  </a:lnTo>
                  <a:lnTo>
                    <a:pt x="1417" y="277"/>
                  </a:lnTo>
                  <a:lnTo>
                    <a:pt x="1417" y="278"/>
                  </a:lnTo>
                  <a:lnTo>
                    <a:pt x="1415" y="278"/>
                  </a:lnTo>
                  <a:lnTo>
                    <a:pt x="1417" y="280"/>
                  </a:lnTo>
                  <a:lnTo>
                    <a:pt x="1417" y="282"/>
                  </a:lnTo>
                  <a:lnTo>
                    <a:pt x="1415" y="283"/>
                  </a:lnTo>
                  <a:lnTo>
                    <a:pt x="1417" y="283"/>
                  </a:lnTo>
                  <a:lnTo>
                    <a:pt x="1417" y="285"/>
                  </a:lnTo>
                  <a:lnTo>
                    <a:pt x="1417" y="287"/>
                  </a:lnTo>
                  <a:lnTo>
                    <a:pt x="1419" y="288"/>
                  </a:lnTo>
                  <a:lnTo>
                    <a:pt x="1420" y="288"/>
                  </a:lnTo>
                  <a:lnTo>
                    <a:pt x="1422" y="290"/>
                  </a:lnTo>
                  <a:lnTo>
                    <a:pt x="1422" y="293"/>
                  </a:lnTo>
                  <a:lnTo>
                    <a:pt x="1422" y="295"/>
                  </a:lnTo>
                  <a:lnTo>
                    <a:pt x="1422" y="296"/>
                  </a:lnTo>
                  <a:lnTo>
                    <a:pt x="1420" y="296"/>
                  </a:lnTo>
                  <a:lnTo>
                    <a:pt x="1420" y="298"/>
                  </a:lnTo>
                  <a:lnTo>
                    <a:pt x="1420" y="296"/>
                  </a:lnTo>
                  <a:lnTo>
                    <a:pt x="1419" y="296"/>
                  </a:lnTo>
                  <a:lnTo>
                    <a:pt x="1420" y="298"/>
                  </a:lnTo>
                  <a:lnTo>
                    <a:pt x="1419" y="298"/>
                  </a:lnTo>
                  <a:lnTo>
                    <a:pt x="1417" y="298"/>
                  </a:lnTo>
                  <a:lnTo>
                    <a:pt x="1417" y="300"/>
                  </a:lnTo>
                  <a:lnTo>
                    <a:pt x="1417" y="301"/>
                  </a:lnTo>
                  <a:lnTo>
                    <a:pt x="1419" y="303"/>
                  </a:lnTo>
                  <a:lnTo>
                    <a:pt x="1420" y="303"/>
                  </a:lnTo>
                  <a:lnTo>
                    <a:pt x="1419" y="304"/>
                  </a:lnTo>
                  <a:lnTo>
                    <a:pt x="1419" y="306"/>
                  </a:lnTo>
                  <a:lnTo>
                    <a:pt x="1419" y="308"/>
                  </a:lnTo>
                  <a:lnTo>
                    <a:pt x="1419" y="309"/>
                  </a:lnTo>
                  <a:lnTo>
                    <a:pt x="1419" y="311"/>
                  </a:lnTo>
                  <a:lnTo>
                    <a:pt x="1419" y="309"/>
                  </a:lnTo>
                  <a:lnTo>
                    <a:pt x="1420" y="309"/>
                  </a:lnTo>
                  <a:lnTo>
                    <a:pt x="1420" y="311"/>
                  </a:lnTo>
                  <a:lnTo>
                    <a:pt x="1420" y="313"/>
                  </a:lnTo>
                  <a:lnTo>
                    <a:pt x="1420" y="314"/>
                  </a:lnTo>
                  <a:lnTo>
                    <a:pt x="1420" y="316"/>
                  </a:lnTo>
                  <a:lnTo>
                    <a:pt x="1419" y="316"/>
                  </a:lnTo>
                  <a:lnTo>
                    <a:pt x="1419" y="314"/>
                  </a:lnTo>
                  <a:lnTo>
                    <a:pt x="1419" y="313"/>
                  </a:lnTo>
                  <a:lnTo>
                    <a:pt x="1417" y="313"/>
                  </a:lnTo>
                  <a:lnTo>
                    <a:pt x="1417" y="314"/>
                  </a:lnTo>
                  <a:lnTo>
                    <a:pt x="1417" y="316"/>
                  </a:lnTo>
                  <a:lnTo>
                    <a:pt x="1417" y="317"/>
                  </a:lnTo>
                  <a:lnTo>
                    <a:pt x="1417" y="319"/>
                  </a:lnTo>
                  <a:lnTo>
                    <a:pt x="1417" y="321"/>
                  </a:lnTo>
                  <a:lnTo>
                    <a:pt x="1417" y="322"/>
                  </a:lnTo>
                  <a:lnTo>
                    <a:pt x="1417" y="324"/>
                  </a:lnTo>
                  <a:lnTo>
                    <a:pt x="1415" y="326"/>
                  </a:lnTo>
                  <a:lnTo>
                    <a:pt x="1415" y="327"/>
                  </a:lnTo>
                  <a:lnTo>
                    <a:pt x="1414" y="329"/>
                  </a:lnTo>
                  <a:lnTo>
                    <a:pt x="1412" y="329"/>
                  </a:lnTo>
                  <a:lnTo>
                    <a:pt x="1412" y="330"/>
                  </a:lnTo>
                  <a:lnTo>
                    <a:pt x="1411" y="332"/>
                  </a:lnTo>
                  <a:lnTo>
                    <a:pt x="1409" y="334"/>
                  </a:lnTo>
                  <a:lnTo>
                    <a:pt x="1411" y="334"/>
                  </a:lnTo>
                  <a:lnTo>
                    <a:pt x="1411" y="335"/>
                  </a:lnTo>
                  <a:lnTo>
                    <a:pt x="1409" y="337"/>
                  </a:lnTo>
                  <a:lnTo>
                    <a:pt x="1409" y="340"/>
                  </a:lnTo>
                  <a:lnTo>
                    <a:pt x="1409" y="342"/>
                  </a:lnTo>
                  <a:lnTo>
                    <a:pt x="1407" y="343"/>
                  </a:lnTo>
                  <a:lnTo>
                    <a:pt x="1409" y="345"/>
                  </a:lnTo>
                  <a:lnTo>
                    <a:pt x="1407" y="345"/>
                  </a:lnTo>
                  <a:lnTo>
                    <a:pt x="1409" y="345"/>
                  </a:lnTo>
                  <a:lnTo>
                    <a:pt x="1409" y="343"/>
                  </a:lnTo>
                  <a:lnTo>
                    <a:pt x="1411" y="343"/>
                  </a:lnTo>
                  <a:lnTo>
                    <a:pt x="1411" y="342"/>
                  </a:lnTo>
                  <a:lnTo>
                    <a:pt x="1411" y="340"/>
                  </a:lnTo>
                  <a:lnTo>
                    <a:pt x="1412" y="339"/>
                  </a:lnTo>
                  <a:lnTo>
                    <a:pt x="1412" y="337"/>
                  </a:lnTo>
                  <a:lnTo>
                    <a:pt x="1412" y="335"/>
                  </a:lnTo>
                  <a:lnTo>
                    <a:pt x="1412" y="334"/>
                  </a:lnTo>
                  <a:lnTo>
                    <a:pt x="1414" y="334"/>
                  </a:lnTo>
                  <a:lnTo>
                    <a:pt x="1414" y="332"/>
                  </a:lnTo>
                  <a:lnTo>
                    <a:pt x="1415" y="330"/>
                  </a:lnTo>
                  <a:lnTo>
                    <a:pt x="1419" y="327"/>
                  </a:lnTo>
                  <a:lnTo>
                    <a:pt x="1420" y="326"/>
                  </a:lnTo>
                  <a:lnTo>
                    <a:pt x="1422" y="327"/>
                  </a:lnTo>
                  <a:lnTo>
                    <a:pt x="1422" y="326"/>
                  </a:lnTo>
                  <a:lnTo>
                    <a:pt x="1424" y="327"/>
                  </a:lnTo>
                  <a:lnTo>
                    <a:pt x="1424" y="326"/>
                  </a:lnTo>
                  <a:lnTo>
                    <a:pt x="1424" y="327"/>
                  </a:lnTo>
                  <a:lnTo>
                    <a:pt x="1424" y="326"/>
                  </a:lnTo>
                  <a:lnTo>
                    <a:pt x="1424" y="324"/>
                  </a:lnTo>
                  <a:lnTo>
                    <a:pt x="1424" y="322"/>
                  </a:lnTo>
                  <a:lnTo>
                    <a:pt x="1422" y="321"/>
                  </a:lnTo>
                  <a:lnTo>
                    <a:pt x="1424" y="321"/>
                  </a:lnTo>
                  <a:lnTo>
                    <a:pt x="1424" y="319"/>
                  </a:lnTo>
                  <a:lnTo>
                    <a:pt x="1424" y="317"/>
                  </a:lnTo>
                  <a:lnTo>
                    <a:pt x="1424" y="316"/>
                  </a:lnTo>
                  <a:lnTo>
                    <a:pt x="1425" y="314"/>
                  </a:lnTo>
                  <a:lnTo>
                    <a:pt x="1425" y="313"/>
                  </a:lnTo>
                  <a:lnTo>
                    <a:pt x="1425" y="311"/>
                  </a:lnTo>
                  <a:lnTo>
                    <a:pt x="1425" y="309"/>
                  </a:lnTo>
                  <a:lnTo>
                    <a:pt x="1425" y="308"/>
                  </a:lnTo>
                  <a:lnTo>
                    <a:pt x="1425" y="306"/>
                  </a:lnTo>
                  <a:lnTo>
                    <a:pt x="1425" y="304"/>
                  </a:lnTo>
                  <a:lnTo>
                    <a:pt x="1425" y="303"/>
                  </a:lnTo>
                  <a:lnTo>
                    <a:pt x="1427" y="301"/>
                  </a:lnTo>
                  <a:lnTo>
                    <a:pt x="1425" y="301"/>
                  </a:lnTo>
                  <a:lnTo>
                    <a:pt x="1427" y="300"/>
                  </a:lnTo>
                  <a:lnTo>
                    <a:pt x="1425" y="300"/>
                  </a:lnTo>
                  <a:lnTo>
                    <a:pt x="1425" y="298"/>
                  </a:lnTo>
                  <a:lnTo>
                    <a:pt x="1425" y="296"/>
                  </a:lnTo>
                  <a:lnTo>
                    <a:pt x="1427" y="295"/>
                  </a:lnTo>
                  <a:lnTo>
                    <a:pt x="1428" y="296"/>
                  </a:lnTo>
                  <a:lnTo>
                    <a:pt x="1432" y="296"/>
                  </a:lnTo>
                  <a:lnTo>
                    <a:pt x="1432" y="298"/>
                  </a:lnTo>
                  <a:lnTo>
                    <a:pt x="1433" y="298"/>
                  </a:lnTo>
                  <a:lnTo>
                    <a:pt x="1433" y="300"/>
                  </a:lnTo>
                  <a:lnTo>
                    <a:pt x="1433" y="301"/>
                  </a:lnTo>
                  <a:lnTo>
                    <a:pt x="1435" y="301"/>
                  </a:lnTo>
                  <a:lnTo>
                    <a:pt x="1435" y="300"/>
                  </a:lnTo>
                  <a:lnTo>
                    <a:pt x="1437" y="300"/>
                  </a:lnTo>
                  <a:lnTo>
                    <a:pt x="1437" y="301"/>
                  </a:lnTo>
                  <a:lnTo>
                    <a:pt x="1438" y="303"/>
                  </a:lnTo>
                  <a:lnTo>
                    <a:pt x="1438" y="304"/>
                  </a:lnTo>
                  <a:lnTo>
                    <a:pt x="1440" y="304"/>
                  </a:lnTo>
                  <a:lnTo>
                    <a:pt x="1441" y="304"/>
                  </a:lnTo>
                  <a:lnTo>
                    <a:pt x="1443" y="304"/>
                  </a:lnTo>
                  <a:lnTo>
                    <a:pt x="1445" y="303"/>
                  </a:lnTo>
                  <a:lnTo>
                    <a:pt x="1448" y="306"/>
                  </a:lnTo>
                  <a:lnTo>
                    <a:pt x="1450" y="306"/>
                  </a:lnTo>
                  <a:lnTo>
                    <a:pt x="1450" y="304"/>
                  </a:lnTo>
                  <a:lnTo>
                    <a:pt x="1448" y="304"/>
                  </a:lnTo>
                  <a:lnTo>
                    <a:pt x="1446" y="303"/>
                  </a:lnTo>
                  <a:lnTo>
                    <a:pt x="1445" y="303"/>
                  </a:lnTo>
                  <a:lnTo>
                    <a:pt x="1443" y="303"/>
                  </a:lnTo>
                  <a:lnTo>
                    <a:pt x="1441" y="303"/>
                  </a:lnTo>
                  <a:lnTo>
                    <a:pt x="1440" y="301"/>
                  </a:lnTo>
                  <a:lnTo>
                    <a:pt x="1437" y="298"/>
                  </a:lnTo>
                  <a:lnTo>
                    <a:pt x="1435" y="296"/>
                  </a:lnTo>
                  <a:lnTo>
                    <a:pt x="1435" y="295"/>
                  </a:lnTo>
                  <a:lnTo>
                    <a:pt x="1433" y="295"/>
                  </a:lnTo>
                  <a:lnTo>
                    <a:pt x="1433" y="293"/>
                  </a:lnTo>
                  <a:lnTo>
                    <a:pt x="1432" y="293"/>
                  </a:lnTo>
                  <a:lnTo>
                    <a:pt x="1430" y="291"/>
                  </a:lnTo>
                  <a:lnTo>
                    <a:pt x="1428" y="291"/>
                  </a:lnTo>
                  <a:lnTo>
                    <a:pt x="1428" y="290"/>
                  </a:lnTo>
                  <a:lnTo>
                    <a:pt x="1428" y="288"/>
                  </a:lnTo>
                  <a:lnTo>
                    <a:pt x="1427" y="288"/>
                  </a:lnTo>
                  <a:lnTo>
                    <a:pt x="1428" y="285"/>
                  </a:lnTo>
                  <a:lnTo>
                    <a:pt x="1427" y="285"/>
                  </a:lnTo>
                  <a:lnTo>
                    <a:pt x="1428" y="285"/>
                  </a:lnTo>
                  <a:lnTo>
                    <a:pt x="1428" y="283"/>
                  </a:lnTo>
                  <a:lnTo>
                    <a:pt x="1428" y="282"/>
                  </a:lnTo>
                  <a:lnTo>
                    <a:pt x="1430" y="278"/>
                  </a:lnTo>
                  <a:lnTo>
                    <a:pt x="1428" y="277"/>
                  </a:lnTo>
                  <a:lnTo>
                    <a:pt x="1428" y="275"/>
                  </a:lnTo>
                  <a:lnTo>
                    <a:pt x="1428" y="274"/>
                  </a:lnTo>
                  <a:lnTo>
                    <a:pt x="1427" y="274"/>
                  </a:lnTo>
                  <a:lnTo>
                    <a:pt x="1427" y="272"/>
                  </a:lnTo>
                  <a:lnTo>
                    <a:pt x="1425" y="272"/>
                  </a:lnTo>
                  <a:lnTo>
                    <a:pt x="1425" y="270"/>
                  </a:lnTo>
                  <a:lnTo>
                    <a:pt x="1427" y="270"/>
                  </a:lnTo>
                  <a:lnTo>
                    <a:pt x="1428" y="270"/>
                  </a:lnTo>
                  <a:lnTo>
                    <a:pt x="1428" y="269"/>
                  </a:lnTo>
                  <a:lnTo>
                    <a:pt x="1430" y="269"/>
                  </a:lnTo>
                  <a:lnTo>
                    <a:pt x="1433" y="265"/>
                  </a:lnTo>
                  <a:lnTo>
                    <a:pt x="1435" y="265"/>
                  </a:lnTo>
                  <a:lnTo>
                    <a:pt x="1437" y="265"/>
                  </a:lnTo>
                  <a:lnTo>
                    <a:pt x="1437" y="264"/>
                  </a:lnTo>
                  <a:lnTo>
                    <a:pt x="1437" y="262"/>
                  </a:lnTo>
                  <a:lnTo>
                    <a:pt x="1438" y="261"/>
                  </a:lnTo>
                  <a:lnTo>
                    <a:pt x="1440" y="259"/>
                  </a:lnTo>
                  <a:lnTo>
                    <a:pt x="1438" y="257"/>
                  </a:lnTo>
                  <a:lnTo>
                    <a:pt x="1440" y="257"/>
                  </a:lnTo>
                  <a:lnTo>
                    <a:pt x="1438" y="257"/>
                  </a:lnTo>
                  <a:lnTo>
                    <a:pt x="1438" y="256"/>
                  </a:lnTo>
                  <a:lnTo>
                    <a:pt x="1437" y="256"/>
                  </a:lnTo>
                  <a:lnTo>
                    <a:pt x="1437" y="254"/>
                  </a:lnTo>
                  <a:lnTo>
                    <a:pt x="1437" y="251"/>
                  </a:lnTo>
                  <a:lnTo>
                    <a:pt x="1438" y="251"/>
                  </a:lnTo>
                  <a:lnTo>
                    <a:pt x="1438" y="249"/>
                  </a:lnTo>
                  <a:lnTo>
                    <a:pt x="1440" y="249"/>
                  </a:lnTo>
                  <a:lnTo>
                    <a:pt x="1440" y="248"/>
                  </a:lnTo>
                  <a:lnTo>
                    <a:pt x="1440" y="246"/>
                  </a:lnTo>
                  <a:lnTo>
                    <a:pt x="1441" y="246"/>
                  </a:lnTo>
                  <a:lnTo>
                    <a:pt x="1443" y="244"/>
                  </a:lnTo>
                  <a:lnTo>
                    <a:pt x="1445" y="244"/>
                  </a:lnTo>
                  <a:lnTo>
                    <a:pt x="1445" y="243"/>
                  </a:lnTo>
                  <a:lnTo>
                    <a:pt x="1446" y="243"/>
                  </a:lnTo>
                  <a:lnTo>
                    <a:pt x="1446" y="241"/>
                  </a:lnTo>
                  <a:lnTo>
                    <a:pt x="1448" y="239"/>
                  </a:lnTo>
                  <a:lnTo>
                    <a:pt x="1450" y="239"/>
                  </a:lnTo>
                  <a:lnTo>
                    <a:pt x="1450" y="238"/>
                  </a:lnTo>
                  <a:lnTo>
                    <a:pt x="1450" y="239"/>
                  </a:lnTo>
                  <a:lnTo>
                    <a:pt x="1451" y="239"/>
                  </a:lnTo>
                  <a:lnTo>
                    <a:pt x="1450" y="239"/>
                  </a:lnTo>
                  <a:lnTo>
                    <a:pt x="1450" y="241"/>
                  </a:lnTo>
                  <a:lnTo>
                    <a:pt x="1448" y="243"/>
                  </a:lnTo>
                  <a:lnTo>
                    <a:pt x="1448" y="244"/>
                  </a:lnTo>
                  <a:lnTo>
                    <a:pt x="1446" y="244"/>
                  </a:lnTo>
                  <a:lnTo>
                    <a:pt x="1446" y="246"/>
                  </a:lnTo>
                  <a:lnTo>
                    <a:pt x="1446" y="248"/>
                  </a:lnTo>
                  <a:lnTo>
                    <a:pt x="1445" y="248"/>
                  </a:lnTo>
                  <a:lnTo>
                    <a:pt x="1445" y="249"/>
                  </a:lnTo>
                  <a:lnTo>
                    <a:pt x="1445" y="251"/>
                  </a:lnTo>
                  <a:lnTo>
                    <a:pt x="1445" y="252"/>
                  </a:lnTo>
                  <a:lnTo>
                    <a:pt x="1443" y="252"/>
                  </a:lnTo>
                  <a:lnTo>
                    <a:pt x="1443" y="254"/>
                  </a:lnTo>
                  <a:lnTo>
                    <a:pt x="1441" y="254"/>
                  </a:lnTo>
                  <a:lnTo>
                    <a:pt x="1441" y="256"/>
                  </a:lnTo>
                  <a:lnTo>
                    <a:pt x="1443" y="256"/>
                  </a:lnTo>
                  <a:lnTo>
                    <a:pt x="1445" y="256"/>
                  </a:lnTo>
                  <a:lnTo>
                    <a:pt x="1445" y="254"/>
                  </a:lnTo>
                  <a:lnTo>
                    <a:pt x="1446" y="254"/>
                  </a:lnTo>
                  <a:lnTo>
                    <a:pt x="1446" y="256"/>
                  </a:lnTo>
                  <a:lnTo>
                    <a:pt x="1448" y="256"/>
                  </a:lnTo>
                  <a:lnTo>
                    <a:pt x="1446" y="257"/>
                  </a:lnTo>
                  <a:lnTo>
                    <a:pt x="1445" y="257"/>
                  </a:lnTo>
                  <a:lnTo>
                    <a:pt x="1445" y="259"/>
                  </a:lnTo>
                  <a:lnTo>
                    <a:pt x="1446" y="259"/>
                  </a:lnTo>
                  <a:lnTo>
                    <a:pt x="1446" y="261"/>
                  </a:lnTo>
                  <a:lnTo>
                    <a:pt x="1446" y="262"/>
                  </a:lnTo>
                  <a:lnTo>
                    <a:pt x="1448" y="262"/>
                  </a:lnTo>
                  <a:lnTo>
                    <a:pt x="1448" y="264"/>
                  </a:lnTo>
                  <a:lnTo>
                    <a:pt x="1450" y="264"/>
                  </a:lnTo>
                  <a:lnTo>
                    <a:pt x="1450" y="265"/>
                  </a:lnTo>
                  <a:lnTo>
                    <a:pt x="1450" y="264"/>
                  </a:lnTo>
                  <a:lnTo>
                    <a:pt x="1451" y="264"/>
                  </a:lnTo>
                  <a:lnTo>
                    <a:pt x="1451" y="265"/>
                  </a:lnTo>
                  <a:lnTo>
                    <a:pt x="1453" y="267"/>
                  </a:lnTo>
                  <a:lnTo>
                    <a:pt x="1453" y="269"/>
                  </a:lnTo>
                  <a:lnTo>
                    <a:pt x="1454" y="269"/>
                  </a:lnTo>
                  <a:lnTo>
                    <a:pt x="1453" y="269"/>
                  </a:lnTo>
                  <a:lnTo>
                    <a:pt x="1453" y="267"/>
                  </a:lnTo>
                  <a:lnTo>
                    <a:pt x="1453" y="265"/>
                  </a:lnTo>
                  <a:lnTo>
                    <a:pt x="1451" y="264"/>
                  </a:lnTo>
                  <a:lnTo>
                    <a:pt x="1451" y="262"/>
                  </a:lnTo>
                  <a:lnTo>
                    <a:pt x="1453" y="262"/>
                  </a:lnTo>
                  <a:lnTo>
                    <a:pt x="1451" y="261"/>
                  </a:lnTo>
                  <a:lnTo>
                    <a:pt x="1450" y="261"/>
                  </a:lnTo>
                  <a:lnTo>
                    <a:pt x="1450" y="259"/>
                  </a:lnTo>
                  <a:lnTo>
                    <a:pt x="1450" y="257"/>
                  </a:lnTo>
                  <a:lnTo>
                    <a:pt x="1451" y="257"/>
                  </a:lnTo>
                  <a:lnTo>
                    <a:pt x="1453" y="256"/>
                  </a:lnTo>
                  <a:lnTo>
                    <a:pt x="1453" y="254"/>
                  </a:lnTo>
                  <a:lnTo>
                    <a:pt x="1451" y="254"/>
                  </a:lnTo>
                  <a:lnTo>
                    <a:pt x="1451" y="252"/>
                  </a:lnTo>
                  <a:lnTo>
                    <a:pt x="1451" y="251"/>
                  </a:lnTo>
                  <a:lnTo>
                    <a:pt x="1450" y="251"/>
                  </a:lnTo>
                  <a:lnTo>
                    <a:pt x="1451" y="251"/>
                  </a:lnTo>
                  <a:lnTo>
                    <a:pt x="1453" y="249"/>
                  </a:lnTo>
                  <a:lnTo>
                    <a:pt x="1454" y="249"/>
                  </a:lnTo>
                  <a:lnTo>
                    <a:pt x="1456" y="249"/>
                  </a:lnTo>
                  <a:lnTo>
                    <a:pt x="1458" y="249"/>
                  </a:lnTo>
                  <a:lnTo>
                    <a:pt x="1458" y="251"/>
                  </a:lnTo>
                  <a:lnTo>
                    <a:pt x="1459" y="251"/>
                  </a:lnTo>
                  <a:lnTo>
                    <a:pt x="1458" y="251"/>
                  </a:lnTo>
                  <a:lnTo>
                    <a:pt x="1458" y="252"/>
                  </a:lnTo>
                  <a:lnTo>
                    <a:pt x="1456" y="254"/>
                  </a:lnTo>
                  <a:lnTo>
                    <a:pt x="1458" y="254"/>
                  </a:lnTo>
                  <a:lnTo>
                    <a:pt x="1458" y="256"/>
                  </a:lnTo>
                  <a:lnTo>
                    <a:pt x="1456" y="256"/>
                  </a:lnTo>
                  <a:lnTo>
                    <a:pt x="1456" y="257"/>
                  </a:lnTo>
                  <a:lnTo>
                    <a:pt x="1456" y="259"/>
                  </a:lnTo>
                  <a:lnTo>
                    <a:pt x="1458" y="259"/>
                  </a:lnTo>
                  <a:lnTo>
                    <a:pt x="1458" y="261"/>
                  </a:lnTo>
                  <a:lnTo>
                    <a:pt x="1458" y="259"/>
                  </a:lnTo>
                  <a:lnTo>
                    <a:pt x="1458" y="257"/>
                  </a:lnTo>
                  <a:lnTo>
                    <a:pt x="1459" y="257"/>
                  </a:lnTo>
                  <a:lnTo>
                    <a:pt x="1459" y="256"/>
                  </a:lnTo>
                  <a:lnTo>
                    <a:pt x="1459" y="254"/>
                  </a:lnTo>
                  <a:lnTo>
                    <a:pt x="1461" y="252"/>
                  </a:lnTo>
                  <a:lnTo>
                    <a:pt x="1459" y="252"/>
                  </a:lnTo>
                  <a:lnTo>
                    <a:pt x="1461" y="252"/>
                  </a:lnTo>
                  <a:lnTo>
                    <a:pt x="1459" y="251"/>
                  </a:lnTo>
                  <a:lnTo>
                    <a:pt x="1458" y="249"/>
                  </a:lnTo>
                  <a:lnTo>
                    <a:pt x="1458" y="248"/>
                  </a:lnTo>
                  <a:lnTo>
                    <a:pt x="1458" y="246"/>
                  </a:lnTo>
                  <a:lnTo>
                    <a:pt x="1459" y="246"/>
                  </a:lnTo>
                  <a:lnTo>
                    <a:pt x="1461" y="246"/>
                  </a:lnTo>
                  <a:lnTo>
                    <a:pt x="1463" y="244"/>
                  </a:lnTo>
                  <a:lnTo>
                    <a:pt x="1463" y="246"/>
                  </a:lnTo>
                  <a:lnTo>
                    <a:pt x="1464" y="244"/>
                  </a:lnTo>
                  <a:lnTo>
                    <a:pt x="1464" y="243"/>
                  </a:lnTo>
                  <a:lnTo>
                    <a:pt x="1463" y="243"/>
                  </a:lnTo>
                  <a:lnTo>
                    <a:pt x="1459" y="243"/>
                  </a:lnTo>
                  <a:lnTo>
                    <a:pt x="1458" y="243"/>
                  </a:lnTo>
                  <a:lnTo>
                    <a:pt x="1456" y="241"/>
                  </a:lnTo>
                  <a:lnTo>
                    <a:pt x="1456" y="239"/>
                  </a:lnTo>
                  <a:lnTo>
                    <a:pt x="1456" y="238"/>
                  </a:lnTo>
                  <a:lnTo>
                    <a:pt x="1456" y="236"/>
                  </a:lnTo>
                  <a:lnTo>
                    <a:pt x="1456" y="234"/>
                  </a:lnTo>
                  <a:lnTo>
                    <a:pt x="1456" y="233"/>
                  </a:lnTo>
                  <a:lnTo>
                    <a:pt x="1456" y="231"/>
                  </a:lnTo>
                  <a:lnTo>
                    <a:pt x="1458" y="230"/>
                  </a:lnTo>
                  <a:lnTo>
                    <a:pt x="1459" y="230"/>
                  </a:lnTo>
                  <a:lnTo>
                    <a:pt x="1459" y="228"/>
                  </a:lnTo>
                  <a:lnTo>
                    <a:pt x="1461" y="228"/>
                  </a:lnTo>
                  <a:lnTo>
                    <a:pt x="1463" y="228"/>
                  </a:lnTo>
                  <a:lnTo>
                    <a:pt x="1464" y="228"/>
                  </a:lnTo>
                  <a:lnTo>
                    <a:pt x="1466" y="228"/>
                  </a:lnTo>
                  <a:lnTo>
                    <a:pt x="1467" y="228"/>
                  </a:lnTo>
                  <a:lnTo>
                    <a:pt x="1467" y="230"/>
                  </a:lnTo>
                  <a:lnTo>
                    <a:pt x="1469" y="230"/>
                  </a:lnTo>
                  <a:lnTo>
                    <a:pt x="1472" y="231"/>
                  </a:lnTo>
                  <a:lnTo>
                    <a:pt x="1472" y="233"/>
                  </a:lnTo>
                  <a:lnTo>
                    <a:pt x="1471" y="233"/>
                  </a:lnTo>
                  <a:lnTo>
                    <a:pt x="1472" y="234"/>
                  </a:lnTo>
                  <a:lnTo>
                    <a:pt x="1474" y="234"/>
                  </a:lnTo>
                  <a:lnTo>
                    <a:pt x="1474" y="236"/>
                  </a:lnTo>
                  <a:lnTo>
                    <a:pt x="1476" y="236"/>
                  </a:lnTo>
                  <a:lnTo>
                    <a:pt x="1474" y="238"/>
                  </a:lnTo>
                  <a:lnTo>
                    <a:pt x="1476" y="239"/>
                  </a:lnTo>
                  <a:lnTo>
                    <a:pt x="1476" y="241"/>
                  </a:lnTo>
                  <a:lnTo>
                    <a:pt x="1477" y="241"/>
                  </a:lnTo>
                  <a:lnTo>
                    <a:pt x="1479" y="241"/>
                  </a:lnTo>
                  <a:lnTo>
                    <a:pt x="1479" y="243"/>
                  </a:lnTo>
                  <a:lnTo>
                    <a:pt x="1484" y="244"/>
                  </a:lnTo>
                  <a:lnTo>
                    <a:pt x="1485" y="244"/>
                  </a:lnTo>
                  <a:lnTo>
                    <a:pt x="1487" y="244"/>
                  </a:lnTo>
                  <a:lnTo>
                    <a:pt x="1489" y="246"/>
                  </a:lnTo>
                  <a:lnTo>
                    <a:pt x="1489" y="248"/>
                  </a:lnTo>
                  <a:lnTo>
                    <a:pt x="1490" y="248"/>
                  </a:lnTo>
                  <a:lnTo>
                    <a:pt x="1492" y="249"/>
                  </a:lnTo>
                  <a:lnTo>
                    <a:pt x="1492" y="248"/>
                  </a:lnTo>
                  <a:lnTo>
                    <a:pt x="1493" y="248"/>
                  </a:lnTo>
                  <a:lnTo>
                    <a:pt x="1493" y="249"/>
                  </a:lnTo>
                  <a:lnTo>
                    <a:pt x="1492" y="249"/>
                  </a:lnTo>
                  <a:lnTo>
                    <a:pt x="1493" y="251"/>
                  </a:lnTo>
                  <a:lnTo>
                    <a:pt x="1495" y="252"/>
                  </a:lnTo>
                  <a:lnTo>
                    <a:pt x="1495" y="254"/>
                  </a:lnTo>
                  <a:lnTo>
                    <a:pt x="1497" y="256"/>
                  </a:lnTo>
                  <a:lnTo>
                    <a:pt x="1497" y="257"/>
                  </a:lnTo>
                  <a:lnTo>
                    <a:pt x="1498" y="257"/>
                  </a:lnTo>
                  <a:lnTo>
                    <a:pt x="1500" y="257"/>
                  </a:lnTo>
                  <a:lnTo>
                    <a:pt x="1502" y="257"/>
                  </a:lnTo>
                  <a:lnTo>
                    <a:pt x="1502" y="259"/>
                  </a:lnTo>
                  <a:lnTo>
                    <a:pt x="1503" y="259"/>
                  </a:lnTo>
                  <a:lnTo>
                    <a:pt x="1505" y="259"/>
                  </a:lnTo>
                  <a:lnTo>
                    <a:pt x="1503" y="261"/>
                  </a:lnTo>
                  <a:lnTo>
                    <a:pt x="1505" y="261"/>
                  </a:lnTo>
                  <a:lnTo>
                    <a:pt x="1503" y="261"/>
                  </a:lnTo>
                  <a:lnTo>
                    <a:pt x="1503" y="262"/>
                  </a:lnTo>
                  <a:lnTo>
                    <a:pt x="1502" y="262"/>
                  </a:lnTo>
                  <a:lnTo>
                    <a:pt x="1500" y="262"/>
                  </a:lnTo>
                  <a:lnTo>
                    <a:pt x="1502" y="262"/>
                  </a:lnTo>
                  <a:lnTo>
                    <a:pt x="1503" y="264"/>
                  </a:lnTo>
                  <a:lnTo>
                    <a:pt x="1503" y="262"/>
                  </a:lnTo>
                  <a:lnTo>
                    <a:pt x="1505" y="262"/>
                  </a:lnTo>
                  <a:lnTo>
                    <a:pt x="1505" y="264"/>
                  </a:lnTo>
                  <a:lnTo>
                    <a:pt x="1505" y="262"/>
                  </a:lnTo>
                  <a:lnTo>
                    <a:pt x="1506" y="261"/>
                  </a:lnTo>
                  <a:lnTo>
                    <a:pt x="1508" y="261"/>
                  </a:lnTo>
                  <a:lnTo>
                    <a:pt x="1508" y="259"/>
                  </a:lnTo>
                  <a:lnTo>
                    <a:pt x="1506" y="259"/>
                  </a:lnTo>
                  <a:lnTo>
                    <a:pt x="1505" y="257"/>
                  </a:lnTo>
                  <a:lnTo>
                    <a:pt x="1503" y="257"/>
                  </a:lnTo>
                  <a:lnTo>
                    <a:pt x="1502" y="257"/>
                  </a:lnTo>
                  <a:lnTo>
                    <a:pt x="1503" y="257"/>
                  </a:lnTo>
                  <a:lnTo>
                    <a:pt x="1505" y="257"/>
                  </a:lnTo>
                  <a:lnTo>
                    <a:pt x="1505" y="256"/>
                  </a:lnTo>
                  <a:lnTo>
                    <a:pt x="1502" y="252"/>
                  </a:lnTo>
                  <a:lnTo>
                    <a:pt x="1500" y="252"/>
                  </a:lnTo>
                  <a:lnTo>
                    <a:pt x="1498" y="251"/>
                  </a:lnTo>
                  <a:lnTo>
                    <a:pt x="1497" y="251"/>
                  </a:lnTo>
                  <a:lnTo>
                    <a:pt x="1498" y="251"/>
                  </a:lnTo>
                  <a:lnTo>
                    <a:pt x="1497" y="251"/>
                  </a:lnTo>
                  <a:lnTo>
                    <a:pt x="1497" y="252"/>
                  </a:lnTo>
                  <a:lnTo>
                    <a:pt x="1497" y="251"/>
                  </a:lnTo>
                  <a:lnTo>
                    <a:pt x="1495" y="251"/>
                  </a:lnTo>
                  <a:lnTo>
                    <a:pt x="1495" y="249"/>
                  </a:lnTo>
                  <a:lnTo>
                    <a:pt x="1493" y="249"/>
                  </a:lnTo>
                  <a:lnTo>
                    <a:pt x="1493" y="248"/>
                  </a:lnTo>
                  <a:lnTo>
                    <a:pt x="1495" y="248"/>
                  </a:lnTo>
                  <a:lnTo>
                    <a:pt x="1497" y="248"/>
                  </a:lnTo>
                  <a:lnTo>
                    <a:pt x="1498" y="248"/>
                  </a:lnTo>
                  <a:lnTo>
                    <a:pt x="1500" y="248"/>
                  </a:lnTo>
                  <a:lnTo>
                    <a:pt x="1500" y="246"/>
                  </a:lnTo>
                  <a:lnTo>
                    <a:pt x="1498" y="244"/>
                  </a:lnTo>
                  <a:lnTo>
                    <a:pt x="1497" y="244"/>
                  </a:lnTo>
                  <a:lnTo>
                    <a:pt x="1495" y="244"/>
                  </a:lnTo>
                  <a:lnTo>
                    <a:pt x="1493" y="243"/>
                  </a:lnTo>
                  <a:lnTo>
                    <a:pt x="1492" y="243"/>
                  </a:lnTo>
                  <a:lnTo>
                    <a:pt x="1492" y="241"/>
                  </a:lnTo>
                  <a:lnTo>
                    <a:pt x="1492" y="239"/>
                  </a:lnTo>
                  <a:lnTo>
                    <a:pt x="1490" y="239"/>
                  </a:lnTo>
                  <a:lnTo>
                    <a:pt x="1490" y="238"/>
                  </a:lnTo>
                  <a:lnTo>
                    <a:pt x="1490" y="236"/>
                  </a:lnTo>
                  <a:lnTo>
                    <a:pt x="1489" y="234"/>
                  </a:lnTo>
                  <a:lnTo>
                    <a:pt x="1490" y="233"/>
                  </a:lnTo>
                  <a:lnTo>
                    <a:pt x="1492" y="233"/>
                  </a:lnTo>
                  <a:lnTo>
                    <a:pt x="1492" y="231"/>
                  </a:lnTo>
                  <a:lnTo>
                    <a:pt x="1490" y="231"/>
                  </a:lnTo>
                  <a:lnTo>
                    <a:pt x="1489" y="231"/>
                  </a:lnTo>
                  <a:lnTo>
                    <a:pt x="1489" y="230"/>
                  </a:lnTo>
                  <a:lnTo>
                    <a:pt x="1489" y="228"/>
                  </a:lnTo>
                  <a:lnTo>
                    <a:pt x="1490" y="228"/>
                  </a:lnTo>
                  <a:lnTo>
                    <a:pt x="1492" y="228"/>
                  </a:lnTo>
                  <a:lnTo>
                    <a:pt x="1492" y="226"/>
                  </a:lnTo>
                  <a:lnTo>
                    <a:pt x="1493" y="226"/>
                  </a:lnTo>
                  <a:lnTo>
                    <a:pt x="1495" y="226"/>
                  </a:lnTo>
                  <a:lnTo>
                    <a:pt x="1495" y="228"/>
                  </a:lnTo>
                  <a:lnTo>
                    <a:pt x="1497" y="230"/>
                  </a:lnTo>
                  <a:lnTo>
                    <a:pt x="1497" y="231"/>
                  </a:lnTo>
                  <a:lnTo>
                    <a:pt x="1495" y="231"/>
                  </a:lnTo>
                  <a:lnTo>
                    <a:pt x="1497" y="231"/>
                  </a:lnTo>
                  <a:lnTo>
                    <a:pt x="1495" y="233"/>
                  </a:lnTo>
                  <a:lnTo>
                    <a:pt x="1497" y="233"/>
                  </a:lnTo>
                  <a:lnTo>
                    <a:pt x="1498" y="234"/>
                  </a:lnTo>
                  <a:lnTo>
                    <a:pt x="1498" y="233"/>
                  </a:lnTo>
                  <a:lnTo>
                    <a:pt x="1498" y="231"/>
                  </a:lnTo>
                  <a:lnTo>
                    <a:pt x="1497" y="231"/>
                  </a:lnTo>
                  <a:lnTo>
                    <a:pt x="1497" y="230"/>
                  </a:lnTo>
                  <a:lnTo>
                    <a:pt x="1497" y="228"/>
                  </a:lnTo>
                  <a:lnTo>
                    <a:pt x="1497" y="226"/>
                  </a:lnTo>
                  <a:lnTo>
                    <a:pt x="1497" y="225"/>
                  </a:lnTo>
                  <a:lnTo>
                    <a:pt x="1495" y="225"/>
                  </a:lnTo>
                  <a:lnTo>
                    <a:pt x="1495" y="223"/>
                  </a:lnTo>
                  <a:lnTo>
                    <a:pt x="1495" y="221"/>
                  </a:lnTo>
                  <a:lnTo>
                    <a:pt x="1497" y="221"/>
                  </a:lnTo>
                  <a:lnTo>
                    <a:pt x="1498" y="220"/>
                  </a:lnTo>
                  <a:lnTo>
                    <a:pt x="1497" y="220"/>
                  </a:lnTo>
                  <a:lnTo>
                    <a:pt x="1495" y="221"/>
                  </a:lnTo>
                  <a:lnTo>
                    <a:pt x="1493" y="221"/>
                  </a:lnTo>
                  <a:lnTo>
                    <a:pt x="1492" y="223"/>
                  </a:lnTo>
                  <a:lnTo>
                    <a:pt x="1490" y="225"/>
                  </a:lnTo>
                  <a:lnTo>
                    <a:pt x="1489" y="225"/>
                  </a:lnTo>
                  <a:lnTo>
                    <a:pt x="1487" y="225"/>
                  </a:lnTo>
                  <a:lnTo>
                    <a:pt x="1485" y="225"/>
                  </a:lnTo>
                  <a:lnTo>
                    <a:pt x="1485" y="223"/>
                  </a:lnTo>
                  <a:lnTo>
                    <a:pt x="1484" y="223"/>
                  </a:lnTo>
                  <a:lnTo>
                    <a:pt x="1482" y="221"/>
                  </a:lnTo>
                  <a:lnTo>
                    <a:pt x="1484" y="221"/>
                  </a:lnTo>
                  <a:lnTo>
                    <a:pt x="1484" y="220"/>
                  </a:lnTo>
                  <a:lnTo>
                    <a:pt x="1485" y="218"/>
                  </a:lnTo>
                  <a:lnTo>
                    <a:pt x="1487" y="218"/>
                  </a:lnTo>
                  <a:lnTo>
                    <a:pt x="1487" y="217"/>
                  </a:lnTo>
                  <a:lnTo>
                    <a:pt x="1489" y="217"/>
                  </a:lnTo>
                  <a:lnTo>
                    <a:pt x="1490" y="217"/>
                  </a:lnTo>
                  <a:lnTo>
                    <a:pt x="1492" y="217"/>
                  </a:lnTo>
                  <a:lnTo>
                    <a:pt x="1492" y="215"/>
                  </a:lnTo>
                  <a:lnTo>
                    <a:pt x="1492" y="213"/>
                  </a:lnTo>
                  <a:lnTo>
                    <a:pt x="1493" y="212"/>
                  </a:lnTo>
                  <a:lnTo>
                    <a:pt x="1493" y="210"/>
                  </a:lnTo>
                  <a:lnTo>
                    <a:pt x="1495" y="210"/>
                  </a:lnTo>
                  <a:lnTo>
                    <a:pt x="1495" y="208"/>
                  </a:lnTo>
                  <a:lnTo>
                    <a:pt x="1495" y="207"/>
                  </a:lnTo>
                  <a:lnTo>
                    <a:pt x="1493" y="207"/>
                  </a:lnTo>
                  <a:lnTo>
                    <a:pt x="1493" y="208"/>
                  </a:lnTo>
                  <a:lnTo>
                    <a:pt x="1493" y="210"/>
                  </a:lnTo>
                  <a:lnTo>
                    <a:pt x="1492" y="210"/>
                  </a:lnTo>
                  <a:lnTo>
                    <a:pt x="1492" y="212"/>
                  </a:lnTo>
                  <a:lnTo>
                    <a:pt x="1492" y="210"/>
                  </a:lnTo>
                  <a:lnTo>
                    <a:pt x="1492" y="212"/>
                  </a:lnTo>
                  <a:lnTo>
                    <a:pt x="1490" y="212"/>
                  </a:lnTo>
                  <a:lnTo>
                    <a:pt x="1490" y="213"/>
                  </a:lnTo>
                  <a:lnTo>
                    <a:pt x="1490" y="215"/>
                  </a:lnTo>
                  <a:lnTo>
                    <a:pt x="1489" y="215"/>
                  </a:lnTo>
                  <a:lnTo>
                    <a:pt x="1487" y="215"/>
                  </a:lnTo>
                  <a:lnTo>
                    <a:pt x="1485" y="217"/>
                  </a:lnTo>
                  <a:lnTo>
                    <a:pt x="1484" y="217"/>
                  </a:lnTo>
                  <a:lnTo>
                    <a:pt x="1484" y="215"/>
                  </a:lnTo>
                  <a:lnTo>
                    <a:pt x="1482" y="215"/>
                  </a:lnTo>
                  <a:lnTo>
                    <a:pt x="1482" y="217"/>
                  </a:lnTo>
                  <a:lnTo>
                    <a:pt x="1484" y="217"/>
                  </a:lnTo>
                  <a:lnTo>
                    <a:pt x="1484" y="218"/>
                  </a:lnTo>
                  <a:lnTo>
                    <a:pt x="1482" y="218"/>
                  </a:lnTo>
                  <a:lnTo>
                    <a:pt x="1480" y="220"/>
                  </a:lnTo>
                  <a:lnTo>
                    <a:pt x="1479" y="220"/>
                  </a:lnTo>
                  <a:lnTo>
                    <a:pt x="1477" y="220"/>
                  </a:lnTo>
                  <a:lnTo>
                    <a:pt x="1477" y="218"/>
                  </a:lnTo>
                  <a:lnTo>
                    <a:pt x="1476" y="218"/>
                  </a:lnTo>
                  <a:lnTo>
                    <a:pt x="1474" y="218"/>
                  </a:lnTo>
                  <a:lnTo>
                    <a:pt x="1472" y="217"/>
                  </a:lnTo>
                  <a:lnTo>
                    <a:pt x="1472" y="215"/>
                  </a:lnTo>
                  <a:lnTo>
                    <a:pt x="1471" y="213"/>
                  </a:lnTo>
                  <a:lnTo>
                    <a:pt x="1471" y="215"/>
                  </a:lnTo>
                  <a:lnTo>
                    <a:pt x="1471" y="217"/>
                  </a:lnTo>
                  <a:lnTo>
                    <a:pt x="1469" y="217"/>
                  </a:lnTo>
                  <a:lnTo>
                    <a:pt x="1467" y="217"/>
                  </a:lnTo>
                  <a:lnTo>
                    <a:pt x="1466" y="217"/>
                  </a:lnTo>
                  <a:lnTo>
                    <a:pt x="1466" y="215"/>
                  </a:lnTo>
                  <a:lnTo>
                    <a:pt x="1464" y="215"/>
                  </a:lnTo>
                  <a:lnTo>
                    <a:pt x="1464" y="213"/>
                  </a:lnTo>
                  <a:lnTo>
                    <a:pt x="1463" y="212"/>
                  </a:lnTo>
                  <a:lnTo>
                    <a:pt x="1461" y="210"/>
                  </a:lnTo>
                  <a:lnTo>
                    <a:pt x="1463" y="210"/>
                  </a:lnTo>
                  <a:lnTo>
                    <a:pt x="1463" y="208"/>
                  </a:lnTo>
                  <a:lnTo>
                    <a:pt x="1464" y="208"/>
                  </a:lnTo>
                  <a:lnTo>
                    <a:pt x="1464" y="207"/>
                  </a:lnTo>
                  <a:lnTo>
                    <a:pt x="1464" y="205"/>
                  </a:lnTo>
                  <a:lnTo>
                    <a:pt x="1463" y="207"/>
                  </a:lnTo>
                  <a:lnTo>
                    <a:pt x="1461" y="207"/>
                  </a:lnTo>
                  <a:lnTo>
                    <a:pt x="1459" y="208"/>
                  </a:lnTo>
                  <a:lnTo>
                    <a:pt x="1458" y="208"/>
                  </a:lnTo>
                  <a:lnTo>
                    <a:pt x="1456" y="208"/>
                  </a:lnTo>
                  <a:lnTo>
                    <a:pt x="1454" y="208"/>
                  </a:lnTo>
                  <a:lnTo>
                    <a:pt x="1454" y="207"/>
                  </a:lnTo>
                  <a:lnTo>
                    <a:pt x="1453" y="207"/>
                  </a:lnTo>
                  <a:lnTo>
                    <a:pt x="1453" y="205"/>
                  </a:lnTo>
                  <a:lnTo>
                    <a:pt x="1451" y="204"/>
                  </a:lnTo>
                  <a:lnTo>
                    <a:pt x="1451" y="202"/>
                  </a:lnTo>
                  <a:lnTo>
                    <a:pt x="1450" y="202"/>
                  </a:lnTo>
                  <a:lnTo>
                    <a:pt x="1450" y="204"/>
                  </a:lnTo>
                  <a:lnTo>
                    <a:pt x="1450" y="202"/>
                  </a:lnTo>
                  <a:lnTo>
                    <a:pt x="1450" y="200"/>
                  </a:lnTo>
                  <a:lnTo>
                    <a:pt x="1450" y="199"/>
                  </a:lnTo>
                  <a:lnTo>
                    <a:pt x="1451" y="199"/>
                  </a:lnTo>
                  <a:lnTo>
                    <a:pt x="1451" y="197"/>
                  </a:lnTo>
                  <a:lnTo>
                    <a:pt x="1453" y="197"/>
                  </a:lnTo>
                  <a:lnTo>
                    <a:pt x="1453" y="195"/>
                  </a:lnTo>
                  <a:lnTo>
                    <a:pt x="1454" y="195"/>
                  </a:lnTo>
                  <a:lnTo>
                    <a:pt x="1454" y="194"/>
                  </a:lnTo>
                  <a:lnTo>
                    <a:pt x="1456" y="194"/>
                  </a:lnTo>
                  <a:lnTo>
                    <a:pt x="1458" y="192"/>
                  </a:lnTo>
                  <a:lnTo>
                    <a:pt x="1459" y="192"/>
                  </a:lnTo>
                  <a:lnTo>
                    <a:pt x="1459" y="194"/>
                  </a:lnTo>
                  <a:lnTo>
                    <a:pt x="1459" y="195"/>
                  </a:lnTo>
                  <a:lnTo>
                    <a:pt x="1459" y="197"/>
                  </a:lnTo>
                  <a:lnTo>
                    <a:pt x="1461" y="199"/>
                  </a:lnTo>
                  <a:lnTo>
                    <a:pt x="1461" y="200"/>
                  </a:lnTo>
                  <a:lnTo>
                    <a:pt x="1463" y="200"/>
                  </a:lnTo>
                  <a:lnTo>
                    <a:pt x="1463" y="202"/>
                  </a:lnTo>
                  <a:lnTo>
                    <a:pt x="1464" y="202"/>
                  </a:lnTo>
                  <a:lnTo>
                    <a:pt x="1464" y="200"/>
                  </a:lnTo>
                  <a:lnTo>
                    <a:pt x="1463" y="199"/>
                  </a:lnTo>
                  <a:lnTo>
                    <a:pt x="1463" y="197"/>
                  </a:lnTo>
                  <a:lnTo>
                    <a:pt x="1463" y="195"/>
                  </a:lnTo>
                  <a:lnTo>
                    <a:pt x="1463" y="194"/>
                  </a:lnTo>
                  <a:lnTo>
                    <a:pt x="1463" y="192"/>
                  </a:lnTo>
                  <a:lnTo>
                    <a:pt x="1463" y="191"/>
                  </a:lnTo>
                  <a:lnTo>
                    <a:pt x="1461" y="189"/>
                  </a:lnTo>
                  <a:lnTo>
                    <a:pt x="1461" y="187"/>
                  </a:lnTo>
                  <a:lnTo>
                    <a:pt x="1461" y="186"/>
                  </a:lnTo>
                  <a:lnTo>
                    <a:pt x="1463" y="184"/>
                  </a:lnTo>
                  <a:lnTo>
                    <a:pt x="1464" y="184"/>
                  </a:lnTo>
                  <a:lnTo>
                    <a:pt x="1464" y="187"/>
                  </a:lnTo>
                  <a:lnTo>
                    <a:pt x="1466" y="189"/>
                  </a:lnTo>
                  <a:lnTo>
                    <a:pt x="1467" y="191"/>
                  </a:lnTo>
                  <a:lnTo>
                    <a:pt x="1467" y="192"/>
                  </a:lnTo>
                  <a:lnTo>
                    <a:pt x="1469" y="192"/>
                  </a:lnTo>
                  <a:lnTo>
                    <a:pt x="1471" y="194"/>
                  </a:lnTo>
                  <a:lnTo>
                    <a:pt x="1472" y="194"/>
                  </a:lnTo>
                  <a:lnTo>
                    <a:pt x="1474" y="195"/>
                  </a:lnTo>
                  <a:lnTo>
                    <a:pt x="1474" y="197"/>
                  </a:lnTo>
                  <a:lnTo>
                    <a:pt x="1476" y="197"/>
                  </a:lnTo>
                  <a:lnTo>
                    <a:pt x="1477" y="197"/>
                  </a:lnTo>
                  <a:lnTo>
                    <a:pt x="1477" y="199"/>
                  </a:lnTo>
                  <a:lnTo>
                    <a:pt x="1479" y="200"/>
                  </a:lnTo>
                  <a:lnTo>
                    <a:pt x="1479" y="202"/>
                  </a:lnTo>
                  <a:lnTo>
                    <a:pt x="1480" y="202"/>
                  </a:lnTo>
                  <a:lnTo>
                    <a:pt x="1480" y="204"/>
                  </a:lnTo>
                  <a:lnTo>
                    <a:pt x="1482" y="204"/>
                  </a:lnTo>
                  <a:lnTo>
                    <a:pt x="1482" y="205"/>
                  </a:lnTo>
                  <a:lnTo>
                    <a:pt x="1482" y="207"/>
                  </a:lnTo>
                  <a:lnTo>
                    <a:pt x="1484" y="207"/>
                  </a:lnTo>
                  <a:lnTo>
                    <a:pt x="1484" y="205"/>
                  </a:lnTo>
                  <a:lnTo>
                    <a:pt x="1482" y="205"/>
                  </a:lnTo>
                  <a:lnTo>
                    <a:pt x="1484" y="204"/>
                  </a:lnTo>
                  <a:lnTo>
                    <a:pt x="1482" y="204"/>
                  </a:lnTo>
                  <a:lnTo>
                    <a:pt x="1482" y="202"/>
                  </a:lnTo>
                  <a:lnTo>
                    <a:pt x="1480" y="200"/>
                  </a:lnTo>
                  <a:lnTo>
                    <a:pt x="1480" y="199"/>
                  </a:lnTo>
                  <a:lnTo>
                    <a:pt x="1479" y="199"/>
                  </a:lnTo>
                  <a:lnTo>
                    <a:pt x="1480" y="197"/>
                  </a:lnTo>
                  <a:lnTo>
                    <a:pt x="1482" y="197"/>
                  </a:lnTo>
                  <a:lnTo>
                    <a:pt x="1482" y="195"/>
                  </a:lnTo>
                  <a:lnTo>
                    <a:pt x="1480" y="197"/>
                  </a:lnTo>
                  <a:lnTo>
                    <a:pt x="1479" y="195"/>
                  </a:lnTo>
                  <a:lnTo>
                    <a:pt x="1477" y="194"/>
                  </a:lnTo>
                  <a:lnTo>
                    <a:pt x="1477" y="192"/>
                  </a:lnTo>
                  <a:lnTo>
                    <a:pt x="1477" y="191"/>
                  </a:lnTo>
                  <a:lnTo>
                    <a:pt x="1477" y="189"/>
                  </a:lnTo>
                  <a:lnTo>
                    <a:pt x="1479" y="189"/>
                  </a:lnTo>
                  <a:lnTo>
                    <a:pt x="1479" y="187"/>
                  </a:lnTo>
                  <a:lnTo>
                    <a:pt x="1480" y="184"/>
                  </a:lnTo>
                  <a:lnTo>
                    <a:pt x="1480" y="182"/>
                  </a:lnTo>
                  <a:lnTo>
                    <a:pt x="1482" y="181"/>
                  </a:lnTo>
                  <a:lnTo>
                    <a:pt x="1482" y="179"/>
                  </a:lnTo>
                  <a:lnTo>
                    <a:pt x="1484" y="179"/>
                  </a:lnTo>
                  <a:lnTo>
                    <a:pt x="1485" y="179"/>
                  </a:lnTo>
                  <a:lnTo>
                    <a:pt x="1485" y="181"/>
                  </a:lnTo>
                  <a:lnTo>
                    <a:pt x="1485" y="182"/>
                  </a:lnTo>
                  <a:lnTo>
                    <a:pt x="1487" y="182"/>
                  </a:lnTo>
                  <a:lnTo>
                    <a:pt x="1485" y="182"/>
                  </a:lnTo>
                  <a:lnTo>
                    <a:pt x="1484" y="186"/>
                  </a:lnTo>
                  <a:lnTo>
                    <a:pt x="1484" y="187"/>
                  </a:lnTo>
                  <a:lnTo>
                    <a:pt x="1485" y="186"/>
                  </a:lnTo>
                  <a:lnTo>
                    <a:pt x="1485" y="184"/>
                  </a:lnTo>
                  <a:lnTo>
                    <a:pt x="1487" y="184"/>
                  </a:lnTo>
                  <a:lnTo>
                    <a:pt x="1487" y="182"/>
                  </a:lnTo>
                  <a:lnTo>
                    <a:pt x="1487" y="181"/>
                  </a:lnTo>
                  <a:lnTo>
                    <a:pt x="1489" y="181"/>
                  </a:lnTo>
                  <a:lnTo>
                    <a:pt x="1490" y="181"/>
                  </a:lnTo>
                  <a:lnTo>
                    <a:pt x="1490" y="182"/>
                  </a:lnTo>
                  <a:lnTo>
                    <a:pt x="1490" y="184"/>
                  </a:lnTo>
                  <a:lnTo>
                    <a:pt x="1492" y="184"/>
                  </a:lnTo>
                  <a:lnTo>
                    <a:pt x="1490" y="186"/>
                  </a:lnTo>
                  <a:lnTo>
                    <a:pt x="1492" y="187"/>
                  </a:lnTo>
                  <a:lnTo>
                    <a:pt x="1492" y="189"/>
                  </a:lnTo>
                  <a:lnTo>
                    <a:pt x="1492" y="191"/>
                  </a:lnTo>
                  <a:lnTo>
                    <a:pt x="1492" y="192"/>
                  </a:lnTo>
                  <a:lnTo>
                    <a:pt x="1492" y="191"/>
                  </a:lnTo>
                  <a:lnTo>
                    <a:pt x="1493" y="191"/>
                  </a:lnTo>
                  <a:lnTo>
                    <a:pt x="1492" y="187"/>
                  </a:lnTo>
                  <a:lnTo>
                    <a:pt x="1492" y="186"/>
                  </a:lnTo>
                  <a:lnTo>
                    <a:pt x="1493" y="186"/>
                  </a:lnTo>
                  <a:lnTo>
                    <a:pt x="1493" y="184"/>
                  </a:lnTo>
                  <a:lnTo>
                    <a:pt x="1495" y="184"/>
                  </a:lnTo>
                  <a:lnTo>
                    <a:pt x="1495" y="182"/>
                  </a:lnTo>
                  <a:lnTo>
                    <a:pt x="1497" y="182"/>
                  </a:lnTo>
                  <a:lnTo>
                    <a:pt x="1498" y="182"/>
                  </a:lnTo>
                  <a:lnTo>
                    <a:pt x="1500" y="182"/>
                  </a:lnTo>
                  <a:lnTo>
                    <a:pt x="1500" y="184"/>
                  </a:lnTo>
                  <a:lnTo>
                    <a:pt x="1502" y="184"/>
                  </a:lnTo>
                  <a:lnTo>
                    <a:pt x="1502" y="186"/>
                  </a:lnTo>
                  <a:lnTo>
                    <a:pt x="1500" y="186"/>
                  </a:lnTo>
                  <a:lnTo>
                    <a:pt x="1500" y="187"/>
                  </a:lnTo>
                  <a:lnTo>
                    <a:pt x="1500" y="189"/>
                  </a:lnTo>
                  <a:lnTo>
                    <a:pt x="1502" y="189"/>
                  </a:lnTo>
                  <a:lnTo>
                    <a:pt x="1502" y="191"/>
                  </a:lnTo>
                  <a:lnTo>
                    <a:pt x="1500" y="191"/>
                  </a:lnTo>
                  <a:lnTo>
                    <a:pt x="1500" y="192"/>
                  </a:lnTo>
                  <a:lnTo>
                    <a:pt x="1498" y="192"/>
                  </a:lnTo>
                  <a:lnTo>
                    <a:pt x="1500" y="192"/>
                  </a:lnTo>
                  <a:lnTo>
                    <a:pt x="1502" y="192"/>
                  </a:lnTo>
                  <a:lnTo>
                    <a:pt x="1502" y="194"/>
                  </a:lnTo>
                  <a:lnTo>
                    <a:pt x="1502" y="195"/>
                  </a:lnTo>
                  <a:lnTo>
                    <a:pt x="1502" y="197"/>
                  </a:lnTo>
                  <a:lnTo>
                    <a:pt x="1502" y="199"/>
                  </a:lnTo>
                  <a:lnTo>
                    <a:pt x="1502" y="200"/>
                  </a:lnTo>
                  <a:lnTo>
                    <a:pt x="1502" y="202"/>
                  </a:lnTo>
                  <a:lnTo>
                    <a:pt x="1503" y="202"/>
                  </a:lnTo>
                  <a:lnTo>
                    <a:pt x="1502" y="204"/>
                  </a:lnTo>
                  <a:lnTo>
                    <a:pt x="1500" y="204"/>
                  </a:lnTo>
                  <a:lnTo>
                    <a:pt x="1500" y="205"/>
                  </a:lnTo>
                  <a:lnTo>
                    <a:pt x="1502" y="205"/>
                  </a:lnTo>
                  <a:lnTo>
                    <a:pt x="1503" y="205"/>
                  </a:lnTo>
                  <a:lnTo>
                    <a:pt x="1503" y="204"/>
                  </a:lnTo>
                  <a:lnTo>
                    <a:pt x="1505" y="204"/>
                  </a:lnTo>
                  <a:lnTo>
                    <a:pt x="1506" y="204"/>
                  </a:lnTo>
                  <a:lnTo>
                    <a:pt x="1506" y="205"/>
                  </a:lnTo>
                  <a:lnTo>
                    <a:pt x="1506" y="204"/>
                  </a:lnTo>
                  <a:lnTo>
                    <a:pt x="1506" y="202"/>
                  </a:lnTo>
                  <a:lnTo>
                    <a:pt x="1508" y="202"/>
                  </a:lnTo>
                  <a:lnTo>
                    <a:pt x="1510" y="202"/>
                  </a:lnTo>
                  <a:lnTo>
                    <a:pt x="1511" y="202"/>
                  </a:lnTo>
                  <a:lnTo>
                    <a:pt x="1511" y="204"/>
                  </a:lnTo>
                  <a:lnTo>
                    <a:pt x="1513" y="204"/>
                  </a:lnTo>
                  <a:lnTo>
                    <a:pt x="1515" y="204"/>
                  </a:lnTo>
                  <a:lnTo>
                    <a:pt x="1516" y="204"/>
                  </a:lnTo>
                  <a:lnTo>
                    <a:pt x="1518" y="205"/>
                  </a:lnTo>
                  <a:lnTo>
                    <a:pt x="1516" y="204"/>
                  </a:lnTo>
                  <a:lnTo>
                    <a:pt x="1516" y="202"/>
                  </a:lnTo>
                  <a:lnTo>
                    <a:pt x="1515" y="202"/>
                  </a:lnTo>
                  <a:lnTo>
                    <a:pt x="1513" y="200"/>
                  </a:lnTo>
                  <a:lnTo>
                    <a:pt x="1511" y="200"/>
                  </a:lnTo>
                  <a:lnTo>
                    <a:pt x="1510" y="200"/>
                  </a:lnTo>
                  <a:lnTo>
                    <a:pt x="1508" y="200"/>
                  </a:lnTo>
                  <a:lnTo>
                    <a:pt x="1506" y="200"/>
                  </a:lnTo>
                  <a:lnTo>
                    <a:pt x="1505" y="200"/>
                  </a:lnTo>
                  <a:lnTo>
                    <a:pt x="1503" y="200"/>
                  </a:lnTo>
                  <a:lnTo>
                    <a:pt x="1505" y="199"/>
                  </a:lnTo>
                  <a:lnTo>
                    <a:pt x="1505" y="197"/>
                  </a:lnTo>
                  <a:lnTo>
                    <a:pt x="1505" y="195"/>
                  </a:lnTo>
                  <a:lnTo>
                    <a:pt x="1505" y="194"/>
                  </a:lnTo>
                  <a:lnTo>
                    <a:pt x="1505" y="192"/>
                  </a:lnTo>
                  <a:lnTo>
                    <a:pt x="1505" y="189"/>
                  </a:lnTo>
                  <a:lnTo>
                    <a:pt x="1505" y="191"/>
                  </a:lnTo>
                  <a:lnTo>
                    <a:pt x="1505" y="189"/>
                  </a:lnTo>
                  <a:lnTo>
                    <a:pt x="1503" y="187"/>
                  </a:lnTo>
                  <a:lnTo>
                    <a:pt x="1505" y="186"/>
                  </a:lnTo>
                  <a:lnTo>
                    <a:pt x="1503" y="186"/>
                  </a:lnTo>
                  <a:lnTo>
                    <a:pt x="1505" y="186"/>
                  </a:lnTo>
                  <a:lnTo>
                    <a:pt x="1506" y="186"/>
                  </a:lnTo>
                  <a:lnTo>
                    <a:pt x="1510" y="186"/>
                  </a:lnTo>
                  <a:lnTo>
                    <a:pt x="1510" y="187"/>
                  </a:lnTo>
                  <a:lnTo>
                    <a:pt x="1511" y="187"/>
                  </a:lnTo>
                  <a:lnTo>
                    <a:pt x="1511" y="186"/>
                  </a:lnTo>
                  <a:lnTo>
                    <a:pt x="1513" y="187"/>
                  </a:lnTo>
                  <a:lnTo>
                    <a:pt x="1513" y="189"/>
                  </a:lnTo>
                  <a:lnTo>
                    <a:pt x="1515" y="187"/>
                  </a:lnTo>
                  <a:lnTo>
                    <a:pt x="1516" y="189"/>
                  </a:lnTo>
                  <a:lnTo>
                    <a:pt x="1518" y="189"/>
                  </a:lnTo>
                  <a:lnTo>
                    <a:pt x="1518" y="191"/>
                  </a:lnTo>
                  <a:lnTo>
                    <a:pt x="1516" y="191"/>
                  </a:lnTo>
                  <a:lnTo>
                    <a:pt x="1516" y="192"/>
                  </a:lnTo>
                  <a:lnTo>
                    <a:pt x="1518" y="191"/>
                  </a:lnTo>
                  <a:lnTo>
                    <a:pt x="1519" y="191"/>
                  </a:lnTo>
                  <a:lnTo>
                    <a:pt x="1519" y="189"/>
                  </a:lnTo>
                  <a:lnTo>
                    <a:pt x="1521" y="189"/>
                  </a:lnTo>
                  <a:lnTo>
                    <a:pt x="1523" y="189"/>
                  </a:lnTo>
                  <a:lnTo>
                    <a:pt x="1524" y="189"/>
                  </a:lnTo>
                  <a:lnTo>
                    <a:pt x="1526" y="189"/>
                  </a:lnTo>
                  <a:lnTo>
                    <a:pt x="1528" y="189"/>
                  </a:lnTo>
                  <a:lnTo>
                    <a:pt x="1531" y="187"/>
                  </a:lnTo>
                  <a:lnTo>
                    <a:pt x="1532" y="187"/>
                  </a:lnTo>
                  <a:lnTo>
                    <a:pt x="1532" y="189"/>
                  </a:lnTo>
                  <a:lnTo>
                    <a:pt x="1534" y="189"/>
                  </a:lnTo>
                  <a:lnTo>
                    <a:pt x="1536" y="189"/>
                  </a:lnTo>
                  <a:lnTo>
                    <a:pt x="1536" y="191"/>
                  </a:lnTo>
                  <a:lnTo>
                    <a:pt x="1536" y="192"/>
                  </a:lnTo>
                  <a:lnTo>
                    <a:pt x="1536" y="194"/>
                  </a:lnTo>
                  <a:lnTo>
                    <a:pt x="1536" y="195"/>
                  </a:lnTo>
                  <a:lnTo>
                    <a:pt x="1534" y="194"/>
                  </a:lnTo>
                  <a:lnTo>
                    <a:pt x="1534" y="195"/>
                  </a:lnTo>
                  <a:lnTo>
                    <a:pt x="1532" y="197"/>
                  </a:lnTo>
                  <a:lnTo>
                    <a:pt x="1532" y="199"/>
                  </a:lnTo>
                  <a:lnTo>
                    <a:pt x="1532" y="200"/>
                  </a:lnTo>
                  <a:lnTo>
                    <a:pt x="1531" y="200"/>
                  </a:lnTo>
                  <a:lnTo>
                    <a:pt x="1531" y="202"/>
                  </a:lnTo>
                  <a:lnTo>
                    <a:pt x="1529" y="202"/>
                  </a:lnTo>
                  <a:lnTo>
                    <a:pt x="1531" y="202"/>
                  </a:lnTo>
                  <a:lnTo>
                    <a:pt x="1532" y="202"/>
                  </a:lnTo>
                  <a:lnTo>
                    <a:pt x="1531" y="202"/>
                  </a:lnTo>
                  <a:lnTo>
                    <a:pt x="1532" y="202"/>
                  </a:lnTo>
                  <a:lnTo>
                    <a:pt x="1531" y="202"/>
                  </a:lnTo>
                  <a:lnTo>
                    <a:pt x="1531" y="204"/>
                  </a:lnTo>
                  <a:lnTo>
                    <a:pt x="1529" y="204"/>
                  </a:lnTo>
                  <a:lnTo>
                    <a:pt x="1529" y="205"/>
                  </a:lnTo>
                  <a:lnTo>
                    <a:pt x="1528" y="205"/>
                  </a:lnTo>
                  <a:lnTo>
                    <a:pt x="1526" y="205"/>
                  </a:lnTo>
                  <a:lnTo>
                    <a:pt x="1526" y="207"/>
                  </a:lnTo>
                  <a:lnTo>
                    <a:pt x="1524" y="207"/>
                  </a:lnTo>
                  <a:lnTo>
                    <a:pt x="1523" y="207"/>
                  </a:lnTo>
                  <a:lnTo>
                    <a:pt x="1523" y="208"/>
                  </a:lnTo>
                  <a:lnTo>
                    <a:pt x="1521" y="208"/>
                  </a:lnTo>
                  <a:lnTo>
                    <a:pt x="1519" y="210"/>
                  </a:lnTo>
                  <a:lnTo>
                    <a:pt x="1518" y="210"/>
                  </a:lnTo>
                  <a:lnTo>
                    <a:pt x="1516" y="210"/>
                  </a:lnTo>
                  <a:lnTo>
                    <a:pt x="1515" y="210"/>
                  </a:lnTo>
                  <a:lnTo>
                    <a:pt x="1513" y="210"/>
                  </a:lnTo>
                  <a:lnTo>
                    <a:pt x="1513" y="212"/>
                  </a:lnTo>
                  <a:lnTo>
                    <a:pt x="1511" y="212"/>
                  </a:lnTo>
                  <a:lnTo>
                    <a:pt x="1510" y="213"/>
                  </a:lnTo>
                  <a:lnTo>
                    <a:pt x="1510" y="215"/>
                  </a:lnTo>
                  <a:lnTo>
                    <a:pt x="1508" y="215"/>
                  </a:lnTo>
                  <a:lnTo>
                    <a:pt x="1506" y="217"/>
                  </a:lnTo>
                  <a:lnTo>
                    <a:pt x="1508" y="220"/>
                  </a:lnTo>
                  <a:lnTo>
                    <a:pt x="1510" y="218"/>
                  </a:lnTo>
                  <a:lnTo>
                    <a:pt x="1510" y="217"/>
                  </a:lnTo>
                  <a:lnTo>
                    <a:pt x="1511" y="215"/>
                  </a:lnTo>
                  <a:lnTo>
                    <a:pt x="1511" y="213"/>
                  </a:lnTo>
                  <a:lnTo>
                    <a:pt x="1513" y="213"/>
                  </a:lnTo>
                  <a:lnTo>
                    <a:pt x="1515" y="213"/>
                  </a:lnTo>
                  <a:lnTo>
                    <a:pt x="1516" y="213"/>
                  </a:lnTo>
                  <a:lnTo>
                    <a:pt x="1516" y="212"/>
                  </a:lnTo>
                  <a:lnTo>
                    <a:pt x="1518" y="212"/>
                  </a:lnTo>
                  <a:lnTo>
                    <a:pt x="1519" y="210"/>
                  </a:lnTo>
                  <a:lnTo>
                    <a:pt x="1521" y="210"/>
                  </a:lnTo>
                  <a:lnTo>
                    <a:pt x="1524" y="208"/>
                  </a:lnTo>
                  <a:lnTo>
                    <a:pt x="1526" y="208"/>
                  </a:lnTo>
                  <a:lnTo>
                    <a:pt x="1528" y="205"/>
                  </a:lnTo>
                  <a:lnTo>
                    <a:pt x="1529" y="205"/>
                  </a:lnTo>
                  <a:lnTo>
                    <a:pt x="1531" y="205"/>
                  </a:lnTo>
                  <a:lnTo>
                    <a:pt x="1532" y="204"/>
                  </a:lnTo>
                  <a:lnTo>
                    <a:pt x="1534" y="202"/>
                  </a:lnTo>
                  <a:lnTo>
                    <a:pt x="1534" y="200"/>
                  </a:lnTo>
                  <a:lnTo>
                    <a:pt x="1536" y="199"/>
                  </a:lnTo>
                  <a:lnTo>
                    <a:pt x="1537" y="197"/>
                  </a:lnTo>
                  <a:lnTo>
                    <a:pt x="1539" y="197"/>
                  </a:lnTo>
                  <a:lnTo>
                    <a:pt x="1539" y="195"/>
                  </a:lnTo>
                  <a:lnTo>
                    <a:pt x="1541" y="197"/>
                  </a:lnTo>
                  <a:lnTo>
                    <a:pt x="1539" y="197"/>
                  </a:lnTo>
                  <a:lnTo>
                    <a:pt x="1539" y="199"/>
                  </a:lnTo>
                  <a:lnTo>
                    <a:pt x="1539" y="200"/>
                  </a:lnTo>
                  <a:lnTo>
                    <a:pt x="1541" y="202"/>
                  </a:lnTo>
                  <a:lnTo>
                    <a:pt x="1539" y="202"/>
                  </a:lnTo>
                  <a:lnTo>
                    <a:pt x="1541" y="204"/>
                  </a:lnTo>
                  <a:lnTo>
                    <a:pt x="1541" y="205"/>
                  </a:lnTo>
                  <a:lnTo>
                    <a:pt x="1541" y="207"/>
                  </a:lnTo>
                  <a:lnTo>
                    <a:pt x="1541" y="208"/>
                  </a:lnTo>
                  <a:lnTo>
                    <a:pt x="1541" y="210"/>
                  </a:lnTo>
                  <a:lnTo>
                    <a:pt x="1539" y="210"/>
                  </a:lnTo>
                  <a:lnTo>
                    <a:pt x="1541" y="212"/>
                  </a:lnTo>
                  <a:lnTo>
                    <a:pt x="1542" y="212"/>
                  </a:lnTo>
                  <a:lnTo>
                    <a:pt x="1544" y="213"/>
                  </a:lnTo>
                  <a:lnTo>
                    <a:pt x="1545" y="213"/>
                  </a:lnTo>
                  <a:lnTo>
                    <a:pt x="1544" y="213"/>
                  </a:lnTo>
                  <a:lnTo>
                    <a:pt x="1545" y="213"/>
                  </a:lnTo>
                  <a:lnTo>
                    <a:pt x="1545" y="212"/>
                  </a:lnTo>
                  <a:lnTo>
                    <a:pt x="1545" y="210"/>
                  </a:lnTo>
                  <a:lnTo>
                    <a:pt x="1545" y="212"/>
                  </a:lnTo>
                  <a:lnTo>
                    <a:pt x="1549" y="215"/>
                  </a:lnTo>
                  <a:lnTo>
                    <a:pt x="1549" y="217"/>
                  </a:lnTo>
                  <a:lnTo>
                    <a:pt x="1549" y="218"/>
                  </a:lnTo>
                  <a:lnTo>
                    <a:pt x="1550" y="218"/>
                  </a:lnTo>
                  <a:lnTo>
                    <a:pt x="1550" y="220"/>
                  </a:lnTo>
                  <a:lnTo>
                    <a:pt x="1552" y="220"/>
                  </a:lnTo>
                  <a:lnTo>
                    <a:pt x="1550" y="220"/>
                  </a:lnTo>
                  <a:lnTo>
                    <a:pt x="1549" y="221"/>
                  </a:lnTo>
                  <a:lnTo>
                    <a:pt x="1549" y="223"/>
                  </a:lnTo>
                  <a:lnTo>
                    <a:pt x="1547" y="223"/>
                  </a:lnTo>
                  <a:lnTo>
                    <a:pt x="1547" y="225"/>
                  </a:lnTo>
                  <a:lnTo>
                    <a:pt x="1545" y="226"/>
                  </a:lnTo>
                  <a:lnTo>
                    <a:pt x="1545" y="228"/>
                  </a:lnTo>
                  <a:lnTo>
                    <a:pt x="1547" y="228"/>
                  </a:lnTo>
                  <a:lnTo>
                    <a:pt x="1545" y="226"/>
                  </a:lnTo>
                  <a:lnTo>
                    <a:pt x="1547" y="226"/>
                  </a:lnTo>
                  <a:lnTo>
                    <a:pt x="1549" y="225"/>
                  </a:lnTo>
                  <a:lnTo>
                    <a:pt x="1549" y="223"/>
                  </a:lnTo>
                  <a:lnTo>
                    <a:pt x="1550" y="223"/>
                  </a:lnTo>
                  <a:lnTo>
                    <a:pt x="1550" y="225"/>
                  </a:lnTo>
                  <a:lnTo>
                    <a:pt x="1550" y="223"/>
                  </a:lnTo>
                  <a:lnTo>
                    <a:pt x="1550" y="225"/>
                  </a:lnTo>
                  <a:lnTo>
                    <a:pt x="1550" y="223"/>
                  </a:lnTo>
                  <a:lnTo>
                    <a:pt x="1552" y="221"/>
                  </a:lnTo>
                  <a:lnTo>
                    <a:pt x="1554" y="221"/>
                  </a:lnTo>
                  <a:lnTo>
                    <a:pt x="1554" y="220"/>
                  </a:lnTo>
                  <a:lnTo>
                    <a:pt x="1555" y="220"/>
                  </a:lnTo>
                  <a:lnTo>
                    <a:pt x="1555" y="218"/>
                  </a:lnTo>
                  <a:lnTo>
                    <a:pt x="1557" y="218"/>
                  </a:lnTo>
                  <a:lnTo>
                    <a:pt x="1557" y="217"/>
                  </a:lnTo>
                  <a:lnTo>
                    <a:pt x="1555" y="215"/>
                  </a:lnTo>
                  <a:lnTo>
                    <a:pt x="1557" y="215"/>
                  </a:lnTo>
                  <a:lnTo>
                    <a:pt x="1559" y="215"/>
                  </a:lnTo>
                  <a:lnTo>
                    <a:pt x="1559" y="217"/>
                  </a:lnTo>
                  <a:lnTo>
                    <a:pt x="1560" y="217"/>
                  </a:lnTo>
                  <a:lnTo>
                    <a:pt x="1560" y="215"/>
                  </a:lnTo>
                  <a:lnTo>
                    <a:pt x="1562" y="215"/>
                  </a:lnTo>
                  <a:lnTo>
                    <a:pt x="1563" y="215"/>
                  </a:lnTo>
                  <a:lnTo>
                    <a:pt x="1562" y="215"/>
                  </a:lnTo>
                  <a:lnTo>
                    <a:pt x="1562" y="217"/>
                  </a:lnTo>
                  <a:lnTo>
                    <a:pt x="1563" y="217"/>
                  </a:lnTo>
                  <a:lnTo>
                    <a:pt x="1562" y="217"/>
                  </a:lnTo>
                  <a:lnTo>
                    <a:pt x="1562" y="218"/>
                  </a:lnTo>
                  <a:lnTo>
                    <a:pt x="1563" y="217"/>
                  </a:lnTo>
                  <a:lnTo>
                    <a:pt x="1565" y="217"/>
                  </a:lnTo>
                  <a:lnTo>
                    <a:pt x="1563" y="217"/>
                  </a:lnTo>
                  <a:lnTo>
                    <a:pt x="1563" y="215"/>
                  </a:lnTo>
                  <a:lnTo>
                    <a:pt x="1565" y="215"/>
                  </a:lnTo>
                  <a:lnTo>
                    <a:pt x="1565" y="213"/>
                  </a:lnTo>
                  <a:lnTo>
                    <a:pt x="1567" y="215"/>
                  </a:lnTo>
                  <a:lnTo>
                    <a:pt x="1567" y="213"/>
                  </a:lnTo>
                  <a:lnTo>
                    <a:pt x="1567" y="212"/>
                  </a:lnTo>
                  <a:lnTo>
                    <a:pt x="1568" y="210"/>
                  </a:lnTo>
                  <a:lnTo>
                    <a:pt x="1568" y="208"/>
                  </a:lnTo>
                  <a:lnTo>
                    <a:pt x="1567" y="208"/>
                  </a:lnTo>
                  <a:lnTo>
                    <a:pt x="1565" y="208"/>
                  </a:lnTo>
                  <a:lnTo>
                    <a:pt x="1563" y="208"/>
                  </a:lnTo>
                  <a:lnTo>
                    <a:pt x="1562" y="208"/>
                  </a:lnTo>
                  <a:lnTo>
                    <a:pt x="1560" y="210"/>
                  </a:lnTo>
                  <a:lnTo>
                    <a:pt x="1559" y="210"/>
                  </a:lnTo>
                  <a:lnTo>
                    <a:pt x="1559" y="208"/>
                  </a:lnTo>
                  <a:lnTo>
                    <a:pt x="1557" y="208"/>
                  </a:lnTo>
                  <a:lnTo>
                    <a:pt x="1555" y="208"/>
                  </a:lnTo>
                  <a:lnTo>
                    <a:pt x="1554" y="208"/>
                  </a:lnTo>
                  <a:lnTo>
                    <a:pt x="1554" y="207"/>
                  </a:lnTo>
                  <a:lnTo>
                    <a:pt x="1552" y="207"/>
                  </a:lnTo>
                  <a:lnTo>
                    <a:pt x="1550" y="207"/>
                  </a:lnTo>
                  <a:lnTo>
                    <a:pt x="1550" y="205"/>
                  </a:lnTo>
                  <a:lnTo>
                    <a:pt x="1549" y="205"/>
                  </a:lnTo>
                  <a:lnTo>
                    <a:pt x="1549" y="204"/>
                  </a:lnTo>
                  <a:lnTo>
                    <a:pt x="1547" y="204"/>
                  </a:lnTo>
                  <a:lnTo>
                    <a:pt x="1547" y="202"/>
                  </a:lnTo>
                  <a:lnTo>
                    <a:pt x="1549" y="202"/>
                  </a:lnTo>
                  <a:lnTo>
                    <a:pt x="1550" y="200"/>
                  </a:lnTo>
                  <a:lnTo>
                    <a:pt x="1552" y="199"/>
                  </a:lnTo>
                  <a:lnTo>
                    <a:pt x="1554" y="199"/>
                  </a:lnTo>
                  <a:lnTo>
                    <a:pt x="1555" y="199"/>
                  </a:lnTo>
                  <a:lnTo>
                    <a:pt x="1557" y="199"/>
                  </a:lnTo>
                  <a:lnTo>
                    <a:pt x="1557" y="197"/>
                  </a:lnTo>
                  <a:lnTo>
                    <a:pt x="1559" y="197"/>
                  </a:lnTo>
                  <a:lnTo>
                    <a:pt x="1559" y="195"/>
                  </a:lnTo>
                  <a:lnTo>
                    <a:pt x="1557" y="195"/>
                  </a:lnTo>
                  <a:lnTo>
                    <a:pt x="1555" y="194"/>
                  </a:lnTo>
                  <a:lnTo>
                    <a:pt x="1554" y="194"/>
                  </a:lnTo>
                  <a:lnTo>
                    <a:pt x="1554" y="192"/>
                  </a:lnTo>
                  <a:lnTo>
                    <a:pt x="1552" y="192"/>
                  </a:lnTo>
                  <a:lnTo>
                    <a:pt x="1552" y="191"/>
                  </a:lnTo>
                  <a:lnTo>
                    <a:pt x="1550" y="189"/>
                  </a:lnTo>
                  <a:lnTo>
                    <a:pt x="1552" y="189"/>
                  </a:lnTo>
                  <a:lnTo>
                    <a:pt x="1554" y="189"/>
                  </a:lnTo>
                  <a:lnTo>
                    <a:pt x="1555" y="187"/>
                  </a:lnTo>
                  <a:lnTo>
                    <a:pt x="1554" y="187"/>
                  </a:lnTo>
                  <a:lnTo>
                    <a:pt x="1552" y="187"/>
                  </a:lnTo>
                  <a:lnTo>
                    <a:pt x="1549" y="187"/>
                  </a:lnTo>
                  <a:lnTo>
                    <a:pt x="1547" y="187"/>
                  </a:lnTo>
                  <a:lnTo>
                    <a:pt x="1547" y="186"/>
                  </a:lnTo>
                  <a:lnTo>
                    <a:pt x="1545" y="184"/>
                  </a:lnTo>
                  <a:lnTo>
                    <a:pt x="1547" y="184"/>
                  </a:lnTo>
                  <a:lnTo>
                    <a:pt x="1547" y="182"/>
                  </a:lnTo>
                  <a:lnTo>
                    <a:pt x="1547" y="184"/>
                  </a:lnTo>
                  <a:lnTo>
                    <a:pt x="1549" y="184"/>
                  </a:lnTo>
                  <a:lnTo>
                    <a:pt x="1549" y="182"/>
                  </a:lnTo>
                  <a:lnTo>
                    <a:pt x="1550" y="182"/>
                  </a:lnTo>
                  <a:lnTo>
                    <a:pt x="1552" y="181"/>
                  </a:lnTo>
                  <a:lnTo>
                    <a:pt x="1554" y="181"/>
                  </a:lnTo>
                  <a:lnTo>
                    <a:pt x="1555" y="181"/>
                  </a:lnTo>
                  <a:lnTo>
                    <a:pt x="1555" y="179"/>
                  </a:lnTo>
                  <a:lnTo>
                    <a:pt x="1557" y="179"/>
                  </a:lnTo>
                  <a:lnTo>
                    <a:pt x="1557" y="178"/>
                  </a:lnTo>
                  <a:lnTo>
                    <a:pt x="1559" y="178"/>
                  </a:lnTo>
                  <a:lnTo>
                    <a:pt x="1560" y="178"/>
                  </a:lnTo>
                  <a:lnTo>
                    <a:pt x="1557" y="178"/>
                  </a:lnTo>
                  <a:lnTo>
                    <a:pt x="1555" y="178"/>
                  </a:lnTo>
                  <a:lnTo>
                    <a:pt x="1554" y="179"/>
                  </a:lnTo>
                  <a:lnTo>
                    <a:pt x="1554" y="178"/>
                  </a:lnTo>
                  <a:lnTo>
                    <a:pt x="1552" y="179"/>
                  </a:lnTo>
                  <a:lnTo>
                    <a:pt x="1550" y="179"/>
                  </a:lnTo>
                  <a:lnTo>
                    <a:pt x="1549" y="179"/>
                  </a:lnTo>
                  <a:lnTo>
                    <a:pt x="1547" y="179"/>
                  </a:lnTo>
                  <a:lnTo>
                    <a:pt x="1549" y="178"/>
                  </a:lnTo>
                  <a:lnTo>
                    <a:pt x="1550" y="178"/>
                  </a:lnTo>
                  <a:lnTo>
                    <a:pt x="1552" y="176"/>
                  </a:lnTo>
                  <a:lnTo>
                    <a:pt x="1554" y="176"/>
                  </a:lnTo>
                  <a:lnTo>
                    <a:pt x="1555" y="176"/>
                  </a:lnTo>
                  <a:lnTo>
                    <a:pt x="1554" y="174"/>
                  </a:lnTo>
                  <a:lnTo>
                    <a:pt x="1552" y="174"/>
                  </a:lnTo>
                  <a:lnTo>
                    <a:pt x="1552" y="173"/>
                  </a:lnTo>
                  <a:lnTo>
                    <a:pt x="1554" y="173"/>
                  </a:lnTo>
                  <a:lnTo>
                    <a:pt x="1555" y="173"/>
                  </a:lnTo>
                  <a:lnTo>
                    <a:pt x="1555" y="171"/>
                  </a:lnTo>
                  <a:lnTo>
                    <a:pt x="1557" y="173"/>
                  </a:lnTo>
                  <a:lnTo>
                    <a:pt x="1559" y="173"/>
                  </a:lnTo>
                  <a:lnTo>
                    <a:pt x="1560" y="171"/>
                  </a:lnTo>
                  <a:lnTo>
                    <a:pt x="1562" y="171"/>
                  </a:lnTo>
                  <a:lnTo>
                    <a:pt x="1563" y="169"/>
                  </a:lnTo>
                  <a:lnTo>
                    <a:pt x="1562" y="169"/>
                  </a:lnTo>
                  <a:lnTo>
                    <a:pt x="1560" y="171"/>
                  </a:lnTo>
                  <a:lnTo>
                    <a:pt x="1560" y="169"/>
                  </a:lnTo>
                  <a:lnTo>
                    <a:pt x="1559" y="169"/>
                  </a:lnTo>
                  <a:lnTo>
                    <a:pt x="1557" y="169"/>
                  </a:lnTo>
                  <a:lnTo>
                    <a:pt x="1557" y="168"/>
                  </a:lnTo>
                  <a:lnTo>
                    <a:pt x="1559" y="166"/>
                  </a:lnTo>
                  <a:lnTo>
                    <a:pt x="1557" y="166"/>
                  </a:lnTo>
                  <a:lnTo>
                    <a:pt x="1555" y="168"/>
                  </a:lnTo>
                  <a:lnTo>
                    <a:pt x="1555" y="169"/>
                  </a:lnTo>
                  <a:lnTo>
                    <a:pt x="1554" y="168"/>
                  </a:lnTo>
                  <a:lnTo>
                    <a:pt x="1555" y="166"/>
                  </a:lnTo>
                  <a:lnTo>
                    <a:pt x="1555" y="165"/>
                  </a:lnTo>
                  <a:lnTo>
                    <a:pt x="1555" y="163"/>
                  </a:lnTo>
                  <a:lnTo>
                    <a:pt x="1557" y="163"/>
                  </a:lnTo>
                  <a:lnTo>
                    <a:pt x="1557" y="161"/>
                  </a:lnTo>
                  <a:lnTo>
                    <a:pt x="1559" y="160"/>
                  </a:lnTo>
                  <a:lnTo>
                    <a:pt x="1559" y="158"/>
                  </a:lnTo>
                  <a:lnTo>
                    <a:pt x="1560" y="158"/>
                  </a:lnTo>
                  <a:lnTo>
                    <a:pt x="1560" y="156"/>
                  </a:lnTo>
                  <a:lnTo>
                    <a:pt x="1559" y="156"/>
                  </a:lnTo>
                  <a:lnTo>
                    <a:pt x="1560" y="155"/>
                  </a:lnTo>
                  <a:lnTo>
                    <a:pt x="1560" y="153"/>
                  </a:lnTo>
                  <a:lnTo>
                    <a:pt x="1562" y="153"/>
                  </a:lnTo>
                  <a:lnTo>
                    <a:pt x="1562" y="152"/>
                  </a:lnTo>
                  <a:lnTo>
                    <a:pt x="1563" y="152"/>
                  </a:lnTo>
                  <a:lnTo>
                    <a:pt x="1563" y="150"/>
                  </a:lnTo>
                  <a:lnTo>
                    <a:pt x="1565" y="148"/>
                  </a:lnTo>
                  <a:lnTo>
                    <a:pt x="1567" y="147"/>
                  </a:lnTo>
                  <a:lnTo>
                    <a:pt x="1568" y="147"/>
                  </a:lnTo>
                  <a:lnTo>
                    <a:pt x="1567" y="147"/>
                  </a:lnTo>
                  <a:lnTo>
                    <a:pt x="1567" y="145"/>
                  </a:lnTo>
                  <a:lnTo>
                    <a:pt x="1567" y="143"/>
                  </a:lnTo>
                  <a:lnTo>
                    <a:pt x="1567" y="142"/>
                  </a:lnTo>
                  <a:lnTo>
                    <a:pt x="1568" y="140"/>
                  </a:lnTo>
                  <a:lnTo>
                    <a:pt x="1568" y="139"/>
                  </a:lnTo>
                  <a:lnTo>
                    <a:pt x="1570" y="139"/>
                  </a:lnTo>
                  <a:lnTo>
                    <a:pt x="1572" y="139"/>
                  </a:lnTo>
                  <a:lnTo>
                    <a:pt x="1572" y="137"/>
                  </a:lnTo>
                  <a:lnTo>
                    <a:pt x="1573" y="135"/>
                  </a:lnTo>
                  <a:lnTo>
                    <a:pt x="1575" y="135"/>
                  </a:lnTo>
                  <a:lnTo>
                    <a:pt x="1575" y="137"/>
                  </a:lnTo>
                  <a:lnTo>
                    <a:pt x="1575" y="135"/>
                  </a:lnTo>
                  <a:lnTo>
                    <a:pt x="1576" y="135"/>
                  </a:lnTo>
                  <a:lnTo>
                    <a:pt x="1578" y="135"/>
                  </a:lnTo>
                  <a:lnTo>
                    <a:pt x="1580" y="135"/>
                  </a:lnTo>
                  <a:lnTo>
                    <a:pt x="1580" y="137"/>
                  </a:lnTo>
                  <a:lnTo>
                    <a:pt x="1581" y="137"/>
                  </a:lnTo>
                  <a:lnTo>
                    <a:pt x="1583" y="137"/>
                  </a:lnTo>
                  <a:lnTo>
                    <a:pt x="1585" y="137"/>
                  </a:lnTo>
                  <a:lnTo>
                    <a:pt x="1586" y="137"/>
                  </a:lnTo>
                  <a:lnTo>
                    <a:pt x="1588" y="137"/>
                  </a:lnTo>
                  <a:lnTo>
                    <a:pt x="1586" y="137"/>
                  </a:lnTo>
                  <a:lnTo>
                    <a:pt x="1588" y="137"/>
                  </a:lnTo>
                  <a:lnTo>
                    <a:pt x="1589" y="137"/>
                  </a:lnTo>
                  <a:lnTo>
                    <a:pt x="1589" y="139"/>
                  </a:lnTo>
                  <a:lnTo>
                    <a:pt x="1589" y="140"/>
                  </a:lnTo>
                  <a:lnTo>
                    <a:pt x="1591" y="140"/>
                  </a:lnTo>
                  <a:lnTo>
                    <a:pt x="1593" y="140"/>
                  </a:lnTo>
                  <a:lnTo>
                    <a:pt x="1593" y="142"/>
                  </a:lnTo>
                  <a:lnTo>
                    <a:pt x="1593" y="140"/>
                  </a:lnTo>
                  <a:lnTo>
                    <a:pt x="1591" y="139"/>
                  </a:lnTo>
                  <a:lnTo>
                    <a:pt x="1591" y="137"/>
                  </a:lnTo>
                  <a:lnTo>
                    <a:pt x="1591" y="135"/>
                  </a:lnTo>
                  <a:lnTo>
                    <a:pt x="1589" y="135"/>
                  </a:lnTo>
                  <a:lnTo>
                    <a:pt x="1588" y="134"/>
                  </a:lnTo>
                  <a:lnTo>
                    <a:pt x="1586" y="132"/>
                  </a:lnTo>
                  <a:lnTo>
                    <a:pt x="1585" y="132"/>
                  </a:lnTo>
                  <a:lnTo>
                    <a:pt x="1583" y="132"/>
                  </a:lnTo>
                  <a:lnTo>
                    <a:pt x="1581" y="132"/>
                  </a:lnTo>
                  <a:lnTo>
                    <a:pt x="1581" y="130"/>
                  </a:lnTo>
                  <a:lnTo>
                    <a:pt x="1580" y="132"/>
                  </a:lnTo>
                  <a:lnTo>
                    <a:pt x="1580" y="130"/>
                  </a:lnTo>
                  <a:lnTo>
                    <a:pt x="1578" y="130"/>
                  </a:lnTo>
                  <a:lnTo>
                    <a:pt x="1580" y="129"/>
                  </a:lnTo>
                  <a:lnTo>
                    <a:pt x="1580" y="127"/>
                  </a:lnTo>
                  <a:lnTo>
                    <a:pt x="1580" y="126"/>
                  </a:lnTo>
                  <a:lnTo>
                    <a:pt x="1581" y="126"/>
                  </a:lnTo>
                  <a:lnTo>
                    <a:pt x="1581" y="124"/>
                  </a:lnTo>
                  <a:lnTo>
                    <a:pt x="1581" y="122"/>
                  </a:lnTo>
                  <a:lnTo>
                    <a:pt x="1581" y="121"/>
                  </a:lnTo>
                  <a:lnTo>
                    <a:pt x="1583" y="121"/>
                  </a:lnTo>
                  <a:lnTo>
                    <a:pt x="1583" y="119"/>
                  </a:lnTo>
                  <a:lnTo>
                    <a:pt x="1583" y="117"/>
                  </a:lnTo>
                  <a:lnTo>
                    <a:pt x="1583" y="116"/>
                  </a:lnTo>
                  <a:lnTo>
                    <a:pt x="1581" y="116"/>
                  </a:lnTo>
                  <a:lnTo>
                    <a:pt x="1583" y="114"/>
                  </a:lnTo>
                  <a:lnTo>
                    <a:pt x="1581" y="113"/>
                  </a:lnTo>
                  <a:lnTo>
                    <a:pt x="1583" y="113"/>
                  </a:lnTo>
                  <a:lnTo>
                    <a:pt x="1585" y="113"/>
                  </a:lnTo>
                  <a:lnTo>
                    <a:pt x="1585" y="111"/>
                  </a:lnTo>
                  <a:lnTo>
                    <a:pt x="1583" y="111"/>
                  </a:lnTo>
                  <a:lnTo>
                    <a:pt x="1583" y="109"/>
                  </a:lnTo>
                  <a:lnTo>
                    <a:pt x="1583" y="108"/>
                  </a:lnTo>
                  <a:lnTo>
                    <a:pt x="1585" y="108"/>
                  </a:lnTo>
                  <a:lnTo>
                    <a:pt x="1585" y="109"/>
                  </a:lnTo>
                  <a:lnTo>
                    <a:pt x="1585" y="108"/>
                  </a:lnTo>
                  <a:lnTo>
                    <a:pt x="1586" y="106"/>
                  </a:lnTo>
                  <a:lnTo>
                    <a:pt x="1586" y="108"/>
                  </a:lnTo>
                  <a:lnTo>
                    <a:pt x="1588" y="108"/>
                  </a:lnTo>
                  <a:lnTo>
                    <a:pt x="1589" y="108"/>
                  </a:lnTo>
                  <a:lnTo>
                    <a:pt x="1591" y="108"/>
                  </a:lnTo>
                  <a:lnTo>
                    <a:pt x="1593" y="108"/>
                  </a:lnTo>
                  <a:lnTo>
                    <a:pt x="1593" y="109"/>
                  </a:lnTo>
                  <a:lnTo>
                    <a:pt x="1594" y="109"/>
                  </a:lnTo>
                  <a:lnTo>
                    <a:pt x="1596" y="111"/>
                  </a:lnTo>
                  <a:lnTo>
                    <a:pt x="1598" y="111"/>
                  </a:lnTo>
                  <a:lnTo>
                    <a:pt x="1598" y="113"/>
                  </a:lnTo>
                  <a:lnTo>
                    <a:pt x="1599" y="113"/>
                  </a:lnTo>
                  <a:lnTo>
                    <a:pt x="1599" y="114"/>
                  </a:lnTo>
                  <a:lnTo>
                    <a:pt x="1601" y="114"/>
                  </a:lnTo>
                  <a:lnTo>
                    <a:pt x="1602" y="114"/>
                  </a:lnTo>
                  <a:lnTo>
                    <a:pt x="1602" y="113"/>
                  </a:lnTo>
                  <a:lnTo>
                    <a:pt x="1604" y="113"/>
                  </a:lnTo>
                  <a:lnTo>
                    <a:pt x="1604" y="111"/>
                  </a:lnTo>
                  <a:lnTo>
                    <a:pt x="1602" y="111"/>
                  </a:lnTo>
                  <a:lnTo>
                    <a:pt x="1604" y="111"/>
                  </a:lnTo>
                  <a:lnTo>
                    <a:pt x="1602" y="111"/>
                  </a:lnTo>
                  <a:lnTo>
                    <a:pt x="1602" y="109"/>
                  </a:lnTo>
                  <a:lnTo>
                    <a:pt x="1601" y="108"/>
                  </a:lnTo>
                  <a:lnTo>
                    <a:pt x="1599" y="108"/>
                  </a:lnTo>
                  <a:lnTo>
                    <a:pt x="1599" y="106"/>
                  </a:lnTo>
                  <a:lnTo>
                    <a:pt x="1598" y="104"/>
                  </a:lnTo>
                  <a:lnTo>
                    <a:pt x="1598" y="103"/>
                  </a:lnTo>
                  <a:lnTo>
                    <a:pt x="1599" y="103"/>
                  </a:lnTo>
                  <a:lnTo>
                    <a:pt x="1601" y="103"/>
                  </a:lnTo>
                  <a:lnTo>
                    <a:pt x="1599" y="103"/>
                  </a:lnTo>
                  <a:lnTo>
                    <a:pt x="1598" y="103"/>
                  </a:lnTo>
                  <a:lnTo>
                    <a:pt x="1596" y="101"/>
                  </a:lnTo>
                  <a:lnTo>
                    <a:pt x="1596" y="103"/>
                  </a:lnTo>
                  <a:lnTo>
                    <a:pt x="1594" y="103"/>
                  </a:lnTo>
                  <a:lnTo>
                    <a:pt x="1594" y="101"/>
                  </a:lnTo>
                  <a:lnTo>
                    <a:pt x="1596" y="101"/>
                  </a:lnTo>
                  <a:lnTo>
                    <a:pt x="1594" y="101"/>
                  </a:lnTo>
                  <a:lnTo>
                    <a:pt x="1593" y="101"/>
                  </a:lnTo>
                  <a:lnTo>
                    <a:pt x="1593" y="100"/>
                  </a:lnTo>
                  <a:lnTo>
                    <a:pt x="1593" y="98"/>
                  </a:lnTo>
                  <a:lnTo>
                    <a:pt x="1593" y="96"/>
                  </a:lnTo>
                  <a:lnTo>
                    <a:pt x="1591" y="98"/>
                  </a:lnTo>
                  <a:lnTo>
                    <a:pt x="1589" y="98"/>
                  </a:lnTo>
                  <a:lnTo>
                    <a:pt x="1588" y="98"/>
                  </a:lnTo>
                  <a:lnTo>
                    <a:pt x="1586" y="98"/>
                  </a:lnTo>
                  <a:lnTo>
                    <a:pt x="1585" y="100"/>
                  </a:lnTo>
                  <a:lnTo>
                    <a:pt x="1585" y="98"/>
                  </a:lnTo>
                  <a:lnTo>
                    <a:pt x="1583" y="98"/>
                  </a:lnTo>
                  <a:lnTo>
                    <a:pt x="1585" y="98"/>
                  </a:lnTo>
                  <a:lnTo>
                    <a:pt x="1585" y="96"/>
                  </a:lnTo>
                  <a:lnTo>
                    <a:pt x="1583" y="96"/>
                  </a:lnTo>
                  <a:lnTo>
                    <a:pt x="1583" y="98"/>
                  </a:lnTo>
                  <a:lnTo>
                    <a:pt x="1581" y="98"/>
                  </a:lnTo>
                  <a:lnTo>
                    <a:pt x="1581" y="96"/>
                  </a:lnTo>
                  <a:lnTo>
                    <a:pt x="1580" y="96"/>
                  </a:lnTo>
                  <a:lnTo>
                    <a:pt x="1578" y="96"/>
                  </a:lnTo>
                  <a:lnTo>
                    <a:pt x="1578" y="95"/>
                  </a:lnTo>
                  <a:lnTo>
                    <a:pt x="1578" y="93"/>
                  </a:lnTo>
                  <a:lnTo>
                    <a:pt x="1578" y="91"/>
                  </a:lnTo>
                  <a:lnTo>
                    <a:pt x="1578" y="90"/>
                  </a:lnTo>
                  <a:lnTo>
                    <a:pt x="1576" y="88"/>
                  </a:lnTo>
                  <a:lnTo>
                    <a:pt x="1576" y="86"/>
                  </a:lnTo>
                  <a:lnTo>
                    <a:pt x="1578" y="85"/>
                  </a:lnTo>
                  <a:lnTo>
                    <a:pt x="1578" y="83"/>
                  </a:lnTo>
                  <a:lnTo>
                    <a:pt x="1578" y="85"/>
                  </a:lnTo>
                  <a:lnTo>
                    <a:pt x="1580" y="85"/>
                  </a:lnTo>
                  <a:lnTo>
                    <a:pt x="1580" y="83"/>
                  </a:lnTo>
                  <a:lnTo>
                    <a:pt x="1578" y="83"/>
                  </a:lnTo>
                  <a:lnTo>
                    <a:pt x="1580" y="82"/>
                  </a:lnTo>
                  <a:lnTo>
                    <a:pt x="1581" y="82"/>
                  </a:lnTo>
                  <a:lnTo>
                    <a:pt x="1583" y="82"/>
                  </a:lnTo>
                  <a:lnTo>
                    <a:pt x="1583" y="83"/>
                  </a:lnTo>
                  <a:lnTo>
                    <a:pt x="1583" y="85"/>
                  </a:lnTo>
                  <a:lnTo>
                    <a:pt x="1585" y="85"/>
                  </a:lnTo>
                  <a:lnTo>
                    <a:pt x="1585" y="86"/>
                  </a:lnTo>
                  <a:lnTo>
                    <a:pt x="1586" y="86"/>
                  </a:lnTo>
                  <a:lnTo>
                    <a:pt x="1585" y="86"/>
                  </a:lnTo>
                  <a:lnTo>
                    <a:pt x="1586" y="88"/>
                  </a:lnTo>
                  <a:lnTo>
                    <a:pt x="1589" y="88"/>
                  </a:lnTo>
                  <a:lnTo>
                    <a:pt x="1589" y="90"/>
                  </a:lnTo>
                  <a:lnTo>
                    <a:pt x="1593" y="90"/>
                  </a:lnTo>
                  <a:lnTo>
                    <a:pt x="1593" y="91"/>
                  </a:lnTo>
                  <a:lnTo>
                    <a:pt x="1594" y="91"/>
                  </a:lnTo>
                  <a:lnTo>
                    <a:pt x="1594" y="90"/>
                  </a:lnTo>
                  <a:lnTo>
                    <a:pt x="1596" y="90"/>
                  </a:lnTo>
                  <a:lnTo>
                    <a:pt x="1594" y="88"/>
                  </a:lnTo>
                  <a:lnTo>
                    <a:pt x="1594" y="86"/>
                  </a:lnTo>
                  <a:lnTo>
                    <a:pt x="1593" y="86"/>
                  </a:lnTo>
                  <a:lnTo>
                    <a:pt x="1591" y="86"/>
                  </a:lnTo>
                  <a:lnTo>
                    <a:pt x="1591" y="85"/>
                  </a:lnTo>
                  <a:lnTo>
                    <a:pt x="1593" y="85"/>
                  </a:lnTo>
                  <a:lnTo>
                    <a:pt x="1591" y="85"/>
                  </a:lnTo>
                  <a:lnTo>
                    <a:pt x="1591" y="83"/>
                  </a:lnTo>
                  <a:lnTo>
                    <a:pt x="1591" y="82"/>
                  </a:lnTo>
                  <a:lnTo>
                    <a:pt x="1589" y="82"/>
                  </a:lnTo>
                  <a:lnTo>
                    <a:pt x="1589" y="80"/>
                  </a:lnTo>
                  <a:lnTo>
                    <a:pt x="1591" y="80"/>
                  </a:lnTo>
                  <a:lnTo>
                    <a:pt x="1593" y="80"/>
                  </a:lnTo>
                  <a:lnTo>
                    <a:pt x="1593" y="78"/>
                  </a:lnTo>
                  <a:lnTo>
                    <a:pt x="1594" y="78"/>
                  </a:lnTo>
                  <a:lnTo>
                    <a:pt x="1596" y="80"/>
                  </a:lnTo>
                  <a:lnTo>
                    <a:pt x="1596" y="78"/>
                  </a:lnTo>
                  <a:lnTo>
                    <a:pt x="1594" y="77"/>
                  </a:lnTo>
                  <a:lnTo>
                    <a:pt x="1593" y="77"/>
                  </a:lnTo>
                  <a:lnTo>
                    <a:pt x="1589" y="77"/>
                  </a:lnTo>
                  <a:lnTo>
                    <a:pt x="1588" y="77"/>
                  </a:lnTo>
                  <a:lnTo>
                    <a:pt x="1588" y="75"/>
                  </a:lnTo>
                  <a:lnTo>
                    <a:pt x="1589" y="75"/>
                  </a:lnTo>
                  <a:lnTo>
                    <a:pt x="1589" y="73"/>
                  </a:lnTo>
                  <a:lnTo>
                    <a:pt x="1591" y="73"/>
                  </a:lnTo>
                  <a:lnTo>
                    <a:pt x="1589" y="73"/>
                  </a:lnTo>
                  <a:lnTo>
                    <a:pt x="1591" y="73"/>
                  </a:lnTo>
                  <a:lnTo>
                    <a:pt x="1589" y="72"/>
                  </a:lnTo>
                  <a:lnTo>
                    <a:pt x="1589" y="73"/>
                  </a:lnTo>
                  <a:lnTo>
                    <a:pt x="1588" y="73"/>
                  </a:lnTo>
                  <a:lnTo>
                    <a:pt x="1588" y="72"/>
                  </a:lnTo>
                  <a:lnTo>
                    <a:pt x="1586" y="70"/>
                  </a:lnTo>
                  <a:lnTo>
                    <a:pt x="1586" y="69"/>
                  </a:lnTo>
                  <a:lnTo>
                    <a:pt x="1588" y="69"/>
                  </a:lnTo>
                  <a:lnTo>
                    <a:pt x="1591" y="67"/>
                  </a:lnTo>
                  <a:lnTo>
                    <a:pt x="1589" y="67"/>
                  </a:lnTo>
                  <a:lnTo>
                    <a:pt x="1588" y="67"/>
                  </a:lnTo>
                  <a:lnTo>
                    <a:pt x="1586" y="67"/>
                  </a:lnTo>
                  <a:lnTo>
                    <a:pt x="1585" y="67"/>
                  </a:lnTo>
                  <a:lnTo>
                    <a:pt x="1586" y="65"/>
                  </a:lnTo>
                  <a:lnTo>
                    <a:pt x="1588" y="64"/>
                  </a:lnTo>
                  <a:lnTo>
                    <a:pt x="1588" y="62"/>
                  </a:lnTo>
                  <a:lnTo>
                    <a:pt x="1589" y="62"/>
                  </a:lnTo>
                  <a:lnTo>
                    <a:pt x="1588" y="62"/>
                  </a:lnTo>
                  <a:lnTo>
                    <a:pt x="1586" y="62"/>
                  </a:lnTo>
                  <a:lnTo>
                    <a:pt x="1586" y="60"/>
                  </a:lnTo>
                  <a:lnTo>
                    <a:pt x="1585" y="60"/>
                  </a:lnTo>
                  <a:lnTo>
                    <a:pt x="1585" y="59"/>
                  </a:lnTo>
                  <a:lnTo>
                    <a:pt x="1586" y="59"/>
                  </a:lnTo>
                  <a:lnTo>
                    <a:pt x="1589" y="59"/>
                  </a:lnTo>
                  <a:lnTo>
                    <a:pt x="1589" y="60"/>
                  </a:lnTo>
                  <a:lnTo>
                    <a:pt x="1591" y="60"/>
                  </a:lnTo>
                  <a:lnTo>
                    <a:pt x="1593" y="60"/>
                  </a:lnTo>
                  <a:lnTo>
                    <a:pt x="1591" y="60"/>
                  </a:lnTo>
                  <a:lnTo>
                    <a:pt x="1591" y="62"/>
                  </a:lnTo>
                  <a:lnTo>
                    <a:pt x="1589" y="62"/>
                  </a:lnTo>
                  <a:lnTo>
                    <a:pt x="1591" y="62"/>
                  </a:lnTo>
                  <a:lnTo>
                    <a:pt x="1593" y="62"/>
                  </a:lnTo>
                  <a:lnTo>
                    <a:pt x="1591" y="62"/>
                  </a:lnTo>
                  <a:lnTo>
                    <a:pt x="1591" y="64"/>
                  </a:lnTo>
                  <a:lnTo>
                    <a:pt x="1591" y="65"/>
                  </a:lnTo>
                  <a:lnTo>
                    <a:pt x="1593" y="65"/>
                  </a:lnTo>
                  <a:lnTo>
                    <a:pt x="1593" y="62"/>
                  </a:lnTo>
                  <a:lnTo>
                    <a:pt x="1594" y="64"/>
                  </a:lnTo>
                  <a:lnTo>
                    <a:pt x="1594" y="62"/>
                  </a:lnTo>
                  <a:lnTo>
                    <a:pt x="1596" y="60"/>
                  </a:lnTo>
                  <a:lnTo>
                    <a:pt x="1596" y="62"/>
                  </a:lnTo>
                  <a:lnTo>
                    <a:pt x="1596" y="64"/>
                  </a:lnTo>
                  <a:lnTo>
                    <a:pt x="1596" y="65"/>
                  </a:lnTo>
                  <a:lnTo>
                    <a:pt x="1598" y="65"/>
                  </a:lnTo>
                  <a:lnTo>
                    <a:pt x="1598" y="67"/>
                  </a:lnTo>
                  <a:lnTo>
                    <a:pt x="1599" y="67"/>
                  </a:lnTo>
                  <a:lnTo>
                    <a:pt x="1601" y="69"/>
                  </a:lnTo>
                  <a:lnTo>
                    <a:pt x="1601" y="70"/>
                  </a:lnTo>
                  <a:lnTo>
                    <a:pt x="1602" y="70"/>
                  </a:lnTo>
                  <a:lnTo>
                    <a:pt x="1601" y="70"/>
                  </a:lnTo>
                  <a:lnTo>
                    <a:pt x="1599" y="70"/>
                  </a:lnTo>
                  <a:lnTo>
                    <a:pt x="1599" y="72"/>
                  </a:lnTo>
                  <a:lnTo>
                    <a:pt x="1601" y="70"/>
                  </a:lnTo>
                  <a:lnTo>
                    <a:pt x="1602" y="69"/>
                  </a:lnTo>
                  <a:lnTo>
                    <a:pt x="1604" y="69"/>
                  </a:lnTo>
                  <a:lnTo>
                    <a:pt x="1606" y="70"/>
                  </a:lnTo>
                  <a:lnTo>
                    <a:pt x="1606" y="69"/>
                  </a:lnTo>
                  <a:lnTo>
                    <a:pt x="1604" y="67"/>
                  </a:lnTo>
                  <a:lnTo>
                    <a:pt x="1606" y="65"/>
                  </a:lnTo>
                  <a:lnTo>
                    <a:pt x="1606" y="64"/>
                  </a:lnTo>
                  <a:lnTo>
                    <a:pt x="1606" y="62"/>
                  </a:lnTo>
                  <a:lnTo>
                    <a:pt x="1604" y="62"/>
                  </a:lnTo>
                  <a:lnTo>
                    <a:pt x="1606" y="60"/>
                  </a:lnTo>
                  <a:lnTo>
                    <a:pt x="1607" y="60"/>
                  </a:lnTo>
                  <a:lnTo>
                    <a:pt x="1609" y="62"/>
                  </a:lnTo>
                  <a:lnTo>
                    <a:pt x="1609" y="64"/>
                  </a:lnTo>
                  <a:lnTo>
                    <a:pt x="1611" y="64"/>
                  </a:lnTo>
                  <a:lnTo>
                    <a:pt x="1609" y="64"/>
                  </a:lnTo>
                  <a:lnTo>
                    <a:pt x="1609" y="67"/>
                  </a:lnTo>
                  <a:lnTo>
                    <a:pt x="1607" y="70"/>
                  </a:lnTo>
                  <a:lnTo>
                    <a:pt x="1607" y="72"/>
                  </a:lnTo>
                  <a:lnTo>
                    <a:pt x="1606" y="73"/>
                  </a:lnTo>
                  <a:lnTo>
                    <a:pt x="1606" y="75"/>
                  </a:lnTo>
                  <a:lnTo>
                    <a:pt x="1604" y="75"/>
                  </a:lnTo>
                  <a:lnTo>
                    <a:pt x="1606" y="75"/>
                  </a:lnTo>
                  <a:lnTo>
                    <a:pt x="1607" y="75"/>
                  </a:lnTo>
                  <a:lnTo>
                    <a:pt x="1609" y="75"/>
                  </a:lnTo>
                  <a:lnTo>
                    <a:pt x="1611" y="75"/>
                  </a:lnTo>
                  <a:lnTo>
                    <a:pt x="1612" y="75"/>
                  </a:lnTo>
                  <a:lnTo>
                    <a:pt x="1611" y="73"/>
                  </a:lnTo>
                  <a:lnTo>
                    <a:pt x="1611" y="70"/>
                  </a:lnTo>
                  <a:lnTo>
                    <a:pt x="1612" y="69"/>
                  </a:lnTo>
                  <a:lnTo>
                    <a:pt x="1612" y="67"/>
                  </a:lnTo>
                  <a:lnTo>
                    <a:pt x="1614" y="67"/>
                  </a:lnTo>
                  <a:lnTo>
                    <a:pt x="1614" y="65"/>
                  </a:lnTo>
                  <a:lnTo>
                    <a:pt x="1615" y="69"/>
                  </a:lnTo>
                  <a:lnTo>
                    <a:pt x="1617" y="69"/>
                  </a:lnTo>
                  <a:lnTo>
                    <a:pt x="1615" y="69"/>
                  </a:lnTo>
                  <a:lnTo>
                    <a:pt x="1617" y="70"/>
                  </a:lnTo>
                  <a:lnTo>
                    <a:pt x="1617" y="69"/>
                  </a:lnTo>
                  <a:lnTo>
                    <a:pt x="1619" y="69"/>
                  </a:lnTo>
                  <a:lnTo>
                    <a:pt x="1619" y="70"/>
                  </a:lnTo>
                  <a:lnTo>
                    <a:pt x="1620" y="72"/>
                  </a:lnTo>
                  <a:lnTo>
                    <a:pt x="1620" y="73"/>
                  </a:lnTo>
                  <a:lnTo>
                    <a:pt x="1622" y="75"/>
                  </a:lnTo>
                  <a:lnTo>
                    <a:pt x="1622" y="77"/>
                  </a:lnTo>
                  <a:lnTo>
                    <a:pt x="1624" y="80"/>
                  </a:lnTo>
                  <a:lnTo>
                    <a:pt x="1624" y="82"/>
                  </a:lnTo>
                  <a:lnTo>
                    <a:pt x="1624" y="83"/>
                  </a:lnTo>
                  <a:lnTo>
                    <a:pt x="1624" y="82"/>
                  </a:lnTo>
                  <a:lnTo>
                    <a:pt x="1624" y="80"/>
                  </a:lnTo>
                  <a:lnTo>
                    <a:pt x="1625" y="82"/>
                  </a:lnTo>
                  <a:lnTo>
                    <a:pt x="1625" y="80"/>
                  </a:lnTo>
                  <a:lnTo>
                    <a:pt x="1625" y="78"/>
                  </a:lnTo>
                  <a:lnTo>
                    <a:pt x="1627" y="78"/>
                  </a:lnTo>
                  <a:lnTo>
                    <a:pt x="1627" y="80"/>
                  </a:lnTo>
                  <a:lnTo>
                    <a:pt x="1627" y="78"/>
                  </a:lnTo>
                  <a:lnTo>
                    <a:pt x="1627" y="77"/>
                  </a:lnTo>
                  <a:lnTo>
                    <a:pt x="1628" y="75"/>
                  </a:lnTo>
                  <a:lnTo>
                    <a:pt x="1627" y="73"/>
                  </a:lnTo>
                  <a:lnTo>
                    <a:pt x="1628" y="73"/>
                  </a:lnTo>
                  <a:lnTo>
                    <a:pt x="1627" y="73"/>
                  </a:lnTo>
                  <a:lnTo>
                    <a:pt x="1625" y="73"/>
                  </a:lnTo>
                  <a:lnTo>
                    <a:pt x="1625" y="72"/>
                  </a:lnTo>
                  <a:lnTo>
                    <a:pt x="1627" y="73"/>
                  </a:lnTo>
                  <a:lnTo>
                    <a:pt x="1627" y="72"/>
                  </a:lnTo>
                  <a:lnTo>
                    <a:pt x="1627" y="70"/>
                  </a:lnTo>
                  <a:lnTo>
                    <a:pt x="1628" y="69"/>
                  </a:lnTo>
                  <a:lnTo>
                    <a:pt x="1627" y="69"/>
                  </a:lnTo>
                  <a:lnTo>
                    <a:pt x="1627" y="67"/>
                  </a:lnTo>
                  <a:lnTo>
                    <a:pt x="1625" y="65"/>
                  </a:lnTo>
                  <a:lnTo>
                    <a:pt x="1625" y="64"/>
                  </a:lnTo>
                  <a:lnTo>
                    <a:pt x="1624" y="64"/>
                  </a:lnTo>
                  <a:lnTo>
                    <a:pt x="1622" y="62"/>
                  </a:lnTo>
                  <a:lnTo>
                    <a:pt x="1620" y="60"/>
                  </a:lnTo>
                  <a:lnTo>
                    <a:pt x="1620" y="59"/>
                  </a:lnTo>
                  <a:lnTo>
                    <a:pt x="1620" y="57"/>
                  </a:lnTo>
                  <a:lnTo>
                    <a:pt x="1622" y="57"/>
                  </a:lnTo>
                  <a:lnTo>
                    <a:pt x="1624" y="57"/>
                  </a:lnTo>
                  <a:lnTo>
                    <a:pt x="1624" y="59"/>
                  </a:lnTo>
                  <a:lnTo>
                    <a:pt x="1624" y="57"/>
                  </a:lnTo>
                  <a:lnTo>
                    <a:pt x="1627" y="59"/>
                  </a:lnTo>
                  <a:lnTo>
                    <a:pt x="1628" y="59"/>
                  </a:lnTo>
                  <a:lnTo>
                    <a:pt x="1628" y="60"/>
                  </a:lnTo>
                  <a:lnTo>
                    <a:pt x="1630" y="60"/>
                  </a:lnTo>
                  <a:lnTo>
                    <a:pt x="1632" y="62"/>
                  </a:lnTo>
                  <a:lnTo>
                    <a:pt x="1633" y="62"/>
                  </a:lnTo>
                  <a:lnTo>
                    <a:pt x="1633" y="64"/>
                  </a:lnTo>
                  <a:lnTo>
                    <a:pt x="1633" y="65"/>
                  </a:lnTo>
                  <a:lnTo>
                    <a:pt x="1633" y="67"/>
                  </a:lnTo>
                  <a:lnTo>
                    <a:pt x="1632" y="70"/>
                  </a:lnTo>
                  <a:lnTo>
                    <a:pt x="1630" y="70"/>
                  </a:lnTo>
                  <a:lnTo>
                    <a:pt x="1630" y="72"/>
                  </a:lnTo>
                  <a:lnTo>
                    <a:pt x="1632" y="72"/>
                  </a:lnTo>
                  <a:lnTo>
                    <a:pt x="1632" y="73"/>
                  </a:lnTo>
                  <a:lnTo>
                    <a:pt x="1632" y="72"/>
                  </a:lnTo>
                  <a:lnTo>
                    <a:pt x="1633" y="70"/>
                  </a:lnTo>
                  <a:lnTo>
                    <a:pt x="1633" y="69"/>
                  </a:lnTo>
                  <a:lnTo>
                    <a:pt x="1633" y="70"/>
                  </a:lnTo>
                  <a:lnTo>
                    <a:pt x="1633" y="72"/>
                  </a:lnTo>
                  <a:lnTo>
                    <a:pt x="1637" y="67"/>
                  </a:lnTo>
                  <a:lnTo>
                    <a:pt x="1635" y="67"/>
                  </a:lnTo>
                  <a:lnTo>
                    <a:pt x="1637" y="67"/>
                  </a:lnTo>
                  <a:lnTo>
                    <a:pt x="1637" y="65"/>
                  </a:lnTo>
                  <a:lnTo>
                    <a:pt x="1637" y="64"/>
                  </a:lnTo>
                  <a:lnTo>
                    <a:pt x="1638" y="64"/>
                  </a:lnTo>
                  <a:lnTo>
                    <a:pt x="1641" y="62"/>
                  </a:lnTo>
                  <a:lnTo>
                    <a:pt x="1643" y="64"/>
                  </a:lnTo>
                  <a:lnTo>
                    <a:pt x="1641" y="65"/>
                  </a:lnTo>
                  <a:lnTo>
                    <a:pt x="1643" y="65"/>
                  </a:lnTo>
                  <a:lnTo>
                    <a:pt x="1645" y="67"/>
                  </a:lnTo>
                  <a:lnTo>
                    <a:pt x="1645" y="69"/>
                  </a:lnTo>
                  <a:lnTo>
                    <a:pt x="1645" y="67"/>
                  </a:lnTo>
                  <a:lnTo>
                    <a:pt x="1645" y="65"/>
                  </a:lnTo>
                  <a:lnTo>
                    <a:pt x="1645" y="64"/>
                  </a:lnTo>
                  <a:lnTo>
                    <a:pt x="1646" y="64"/>
                  </a:lnTo>
                  <a:lnTo>
                    <a:pt x="1648" y="62"/>
                  </a:lnTo>
                  <a:lnTo>
                    <a:pt x="1650" y="62"/>
                  </a:lnTo>
                  <a:lnTo>
                    <a:pt x="1648" y="62"/>
                  </a:lnTo>
                  <a:lnTo>
                    <a:pt x="1650" y="62"/>
                  </a:lnTo>
                  <a:lnTo>
                    <a:pt x="1651" y="62"/>
                  </a:lnTo>
                  <a:lnTo>
                    <a:pt x="1650" y="62"/>
                  </a:lnTo>
                  <a:lnTo>
                    <a:pt x="1650" y="64"/>
                  </a:lnTo>
                  <a:lnTo>
                    <a:pt x="1650" y="65"/>
                  </a:lnTo>
                  <a:lnTo>
                    <a:pt x="1648" y="65"/>
                  </a:lnTo>
                  <a:lnTo>
                    <a:pt x="1648" y="67"/>
                  </a:lnTo>
                  <a:lnTo>
                    <a:pt x="1650" y="67"/>
                  </a:lnTo>
                  <a:lnTo>
                    <a:pt x="1651" y="65"/>
                  </a:lnTo>
                  <a:lnTo>
                    <a:pt x="1653" y="65"/>
                  </a:lnTo>
                  <a:lnTo>
                    <a:pt x="1653" y="67"/>
                  </a:lnTo>
                  <a:lnTo>
                    <a:pt x="1651" y="67"/>
                  </a:lnTo>
                  <a:lnTo>
                    <a:pt x="1651" y="69"/>
                  </a:lnTo>
                  <a:lnTo>
                    <a:pt x="1651" y="70"/>
                  </a:lnTo>
                  <a:lnTo>
                    <a:pt x="1650" y="70"/>
                  </a:lnTo>
                  <a:lnTo>
                    <a:pt x="1650" y="72"/>
                  </a:lnTo>
                  <a:lnTo>
                    <a:pt x="1648" y="73"/>
                  </a:lnTo>
                  <a:lnTo>
                    <a:pt x="1648" y="75"/>
                  </a:lnTo>
                  <a:lnTo>
                    <a:pt x="1648" y="77"/>
                  </a:lnTo>
                  <a:lnTo>
                    <a:pt x="1648" y="78"/>
                  </a:lnTo>
                  <a:lnTo>
                    <a:pt x="1648" y="80"/>
                  </a:lnTo>
                  <a:lnTo>
                    <a:pt x="1648" y="78"/>
                  </a:lnTo>
                  <a:lnTo>
                    <a:pt x="1646" y="78"/>
                  </a:lnTo>
                  <a:lnTo>
                    <a:pt x="1646" y="80"/>
                  </a:lnTo>
                  <a:lnTo>
                    <a:pt x="1645" y="82"/>
                  </a:lnTo>
                  <a:lnTo>
                    <a:pt x="1643" y="82"/>
                  </a:lnTo>
                  <a:lnTo>
                    <a:pt x="1643" y="83"/>
                  </a:lnTo>
                  <a:lnTo>
                    <a:pt x="1641" y="83"/>
                  </a:lnTo>
                  <a:lnTo>
                    <a:pt x="1643" y="85"/>
                  </a:lnTo>
                  <a:lnTo>
                    <a:pt x="1641" y="85"/>
                  </a:lnTo>
                  <a:lnTo>
                    <a:pt x="1643" y="85"/>
                  </a:lnTo>
                  <a:lnTo>
                    <a:pt x="1643" y="86"/>
                  </a:lnTo>
                  <a:lnTo>
                    <a:pt x="1645" y="86"/>
                  </a:lnTo>
                  <a:lnTo>
                    <a:pt x="1645" y="85"/>
                  </a:lnTo>
                  <a:lnTo>
                    <a:pt x="1646" y="86"/>
                  </a:lnTo>
                  <a:lnTo>
                    <a:pt x="1646" y="83"/>
                  </a:lnTo>
                  <a:lnTo>
                    <a:pt x="1646" y="85"/>
                  </a:lnTo>
                  <a:lnTo>
                    <a:pt x="1646" y="86"/>
                  </a:lnTo>
                  <a:lnTo>
                    <a:pt x="1646" y="88"/>
                  </a:lnTo>
                  <a:lnTo>
                    <a:pt x="1646" y="86"/>
                  </a:lnTo>
                  <a:lnTo>
                    <a:pt x="1645" y="86"/>
                  </a:lnTo>
                  <a:lnTo>
                    <a:pt x="1643" y="90"/>
                  </a:lnTo>
                  <a:lnTo>
                    <a:pt x="1641" y="93"/>
                  </a:lnTo>
                  <a:lnTo>
                    <a:pt x="1640" y="93"/>
                  </a:lnTo>
                  <a:lnTo>
                    <a:pt x="1640" y="95"/>
                  </a:lnTo>
                  <a:lnTo>
                    <a:pt x="1640" y="96"/>
                  </a:lnTo>
                  <a:lnTo>
                    <a:pt x="1638" y="98"/>
                  </a:lnTo>
                  <a:lnTo>
                    <a:pt x="1637" y="98"/>
                  </a:lnTo>
                  <a:lnTo>
                    <a:pt x="1637" y="100"/>
                  </a:lnTo>
                  <a:lnTo>
                    <a:pt x="1635" y="100"/>
                  </a:lnTo>
                  <a:lnTo>
                    <a:pt x="1637" y="100"/>
                  </a:lnTo>
                  <a:lnTo>
                    <a:pt x="1637" y="101"/>
                  </a:lnTo>
                  <a:lnTo>
                    <a:pt x="1637" y="103"/>
                  </a:lnTo>
                  <a:lnTo>
                    <a:pt x="1635" y="103"/>
                  </a:lnTo>
                  <a:lnTo>
                    <a:pt x="1637" y="103"/>
                  </a:lnTo>
                  <a:lnTo>
                    <a:pt x="1637" y="104"/>
                  </a:lnTo>
                  <a:lnTo>
                    <a:pt x="1635" y="106"/>
                  </a:lnTo>
                  <a:lnTo>
                    <a:pt x="1635" y="104"/>
                  </a:lnTo>
                  <a:lnTo>
                    <a:pt x="1635" y="106"/>
                  </a:lnTo>
                  <a:lnTo>
                    <a:pt x="1635" y="108"/>
                  </a:lnTo>
                  <a:lnTo>
                    <a:pt x="1633" y="111"/>
                  </a:lnTo>
                  <a:lnTo>
                    <a:pt x="1632" y="111"/>
                  </a:lnTo>
                  <a:lnTo>
                    <a:pt x="1632" y="113"/>
                  </a:lnTo>
                  <a:lnTo>
                    <a:pt x="1632" y="114"/>
                  </a:lnTo>
                  <a:lnTo>
                    <a:pt x="1632" y="116"/>
                  </a:lnTo>
                  <a:lnTo>
                    <a:pt x="1630" y="117"/>
                  </a:lnTo>
                  <a:lnTo>
                    <a:pt x="1628" y="119"/>
                  </a:lnTo>
                  <a:lnTo>
                    <a:pt x="1628" y="121"/>
                  </a:lnTo>
                  <a:lnTo>
                    <a:pt x="1627" y="121"/>
                  </a:lnTo>
                  <a:lnTo>
                    <a:pt x="1627" y="122"/>
                  </a:lnTo>
                  <a:lnTo>
                    <a:pt x="1627" y="124"/>
                  </a:lnTo>
                  <a:lnTo>
                    <a:pt x="1628" y="124"/>
                  </a:lnTo>
                  <a:lnTo>
                    <a:pt x="1628" y="122"/>
                  </a:lnTo>
                  <a:lnTo>
                    <a:pt x="1630" y="121"/>
                  </a:lnTo>
                  <a:lnTo>
                    <a:pt x="1632" y="121"/>
                  </a:lnTo>
                  <a:lnTo>
                    <a:pt x="1633" y="121"/>
                  </a:lnTo>
                  <a:lnTo>
                    <a:pt x="1633" y="122"/>
                  </a:lnTo>
                  <a:lnTo>
                    <a:pt x="1633" y="124"/>
                  </a:lnTo>
                  <a:lnTo>
                    <a:pt x="1632" y="126"/>
                  </a:lnTo>
                  <a:lnTo>
                    <a:pt x="1630" y="126"/>
                  </a:lnTo>
                  <a:lnTo>
                    <a:pt x="1628" y="126"/>
                  </a:lnTo>
                  <a:lnTo>
                    <a:pt x="1627" y="126"/>
                  </a:lnTo>
                  <a:lnTo>
                    <a:pt x="1627" y="127"/>
                  </a:lnTo>
                  <a:lnTo>
                    <a:pt x="1627" y="129"/>
                  </a:lnTo>
                  <a:lnTo>
                    <a:pt x="1628" y="130"/>
                  </a:lnTo>
                  <a:lnTo>
                    <a:pt x="1628" y="129"/>
                  </a:lnTo>
                  <a:lnTo>
                    <a:pt x="1632" y="129"/>
                  </a:lnTo>
                  <a:lnTo>
                    <a:pt x="1633" y="127"/>
                  </a:lnTo>
                  <a:lnTo>
                    <a:pt x="1635" y="127"/>
                  </a:lnTo>
                  <a:lnTo>
                    <a:pt x="1635" y="129"/>
                  </a:lnTo>
                  <a:lnTo>
                    <a:pt x="1637" y="129"/>
                  </a:lnTo>
                  <a:lnTo>
                    <a:pt x="1637" y="127"/>
                  </a:lnTo>
                  <a:lnTo>
                    <a:pt x="1638" y="129"/>
                  </a:lnTo>
                  <a:lnTo>
                    <a:pt x="1637" y="129"/>
                  </a:lnTo>
                  <a:lnTo>
                    <a:pt x="1635" y="129"/>
                  </a:lnTo>
                  <a:lnTo>
                    <a:pt x="1635" y="130"/>
                  </a:lnTo>
                  <a:lnTo>
                    <a:pt x="1635" y="132"/>
                  </a:lnTo>
                  <a:lnTo>
                    <a:pt x="1635" y="134"/>
                  </a:lnTo>
                  <a:lnTo>
                    <a:pt x="1633" y="135"/>
                  </a:lnTo>
                  <a:lnTo>
                    <a:pt x="1633" y="137"/>
                  </a:lnTo>
                  <a:lnTo>
                    <a:pt x="1635" y="137"/>
                  </a:lnTo>
                  <a:lnTo>
                    <a:pt x="1637" y="137"/>
                  </a:lnTo>
                  <a:lnTo>
                    <a:pt x="1637" y="135"/>
                  </a:lnTo>
                  <a:lnTo>
                    <a:pt x="1637" y="137"/>
                  </a:lnTo>
                  <a:lnTo>
                    <a:pt x="1638" y="137"/>
                  </a:lnTo>
                  <a:lnTo>
                    <a:pt x="1638" y="139"/>
                  </a:lnTo>
                  <a:lnTo>
                    <a:pt x="1638" y="140"/>
                  </a:lnTo>
                  <a:lnTo>
                    <a:pt x="1637" y="140"/>
                  </a:lnTo>
                  <a:lnTo>
                    <a:pt x="1637" y="139"/>
                  </a:lnTo>
                  <a:lnTo>
                    <a:pt x="1635" y="140"/>
                  </a:lnTo>
                  <a:lnTo>
                    <a:pt x="1635" y="139"/>
                  </a:lnTo>
                  <a:lnTo>
                    <a:pt x="1635" y="137"/>
                  </a:lnTo>
                  <a:lnTo>
                    <a:pt x="1633" y="139"/>
                  </a:lnTo>
                  <a:lnTo>
                    <a:pt x="1633" y="142"/>
                  </a:lnTo>
                  <a:lnTo>
                    <a:pt x="1632" y="142"/>
                  </a:lnTo>
                  <a:lnTo>
                    <a:pt x="1632" y="143"/>
                  </a:lnTo>
                  <a:lnTo>
                    <a:pt x="1632" y="145"/>
                  </a:lnTo>
                  <a:lnTo>
                    <a:pt x="1630" y="145"/>
                  </a:lnTo>
                  <a:lnTo>
                    <a:pt x="1630" y="147"/>
                  </a:lnTo>
                  <a:lnTo>
                    <a:pt x="1632" y="147"/>
                  </a:lnTo>
                  <a:lnTo>
                    <a:pt x="1632" y="145"/>
                  </a:lnTo>
                  <a:lnTo>
                    <a:pt x="1633" y="145"/>
                  </a:lnTo>
                  <a:lnTo>
                    <a:pt x="1633" y="143"/>
                  </a:lnTo>
                  <a:lnTo>
                    <a:pt x="1633" y="145"/>
                  </a:lnTo>
                  <a:lnTo>
                    <a:pt x="1633" y="147"/>
                  </a:lnTo>
                  <a:lnTo>
                    <a:pt x="1632" y="147"/>
                  </a:lnTo>
                  <a:lnTo>
                    <a:pt x="1632" y="148"/>
                  </a:lnTo>
                  <a:lnTo>
                    <a:pt x="1633" y="150"/>
                  </a:lnTo>
                  <a:lnTo>
                    <a:pt x="1632" y="152"/>
                  </a:lnTo>
                  <a:lnTo>
                    <a:pt x="1633" y="152"/>
                  </a:lnTo>
                  <a:lnTo>
                    <a:pt x="1635" y="148"/>
                  </a:lnTo>
                  <a:lnTo>
                    <a:pt x="1637" y="148"/>
                  </a:lnTo>
                  <a:lnTo>
                    <a:pt x="1638" y="148"/>
                  </a:lnTo>
                  <a:lnTo>
                    <a:pt x="1638" y="150"/>
                  </a:lnTo>
                  <a:lnTo>
                    <a:pt x="1638" y="152"/>
                  </a:lnTo>
                  <a:lnTo>
                    <a:pt x="1638" y="153"/>
                  </a:lnTo>
                  <a:lnTo>
                    <a:pt x="1638" y="155"/>
                  </a:lnTo>
                  <a:lnTo>
                    <a:pt x="1638" y="153"/>
                  </a:lnTo>
                  <a:lnTo>
                    <a:pt x="1637" y="155"/>
                  </a:lnTo>
                  <a:lnTo>
                    <a:pt x="1635" y="155"/>
                  </a:lnTo>
                  <a:lnTo>
                    <a:pt x="1637" y="156"/>
                  </a:lnTo>
                  <a:lnTo>
                    <a:pt x="1635" y="156"/>
                  </a:lnTo>
                  <a:lnTo>
                    <a:pt x="1635" y="158"/>
                  </a:lnTo>
                  <a:lnTo>
                    <a:pt x="1635" y="160"/>
                  </a:lnTo>
                  <a:lnTo>
                    <a:pt x="1633" y="160"/>
                  </a:lnTo>
                  <a:lnTo>
                    <a:pt x="1633" y="161"/>
                  </a:lnTo>
                  <a:lnTo>
                    <a:pt x="1632" y="161"/>
                  </a:lnTo>
                  <a:lnTo>
                    <a:pt x="1630" y="163"/>
                  </a:lnTo>
                  <a:lnTo>
                    <a:pt x="1630" y="165"/>
                  </a:lnTo>
                  <a:lnTo>
                    <a:pt x="1630" y="166"/>
                  </a:lnTo>
                  <a:lnTo>
                    <a:pt x="1630" y="168"/>
                  </a:lnTo>
                  <a:lnTo>
                    <a:pt x="1630" y="169"/>
                  </a:lnTo>
                  <a:lnTo>
                    <a:pt x="1630" y="171"/>
                  </a:lnTo>
                  <a:lnTo>
                    <a:pt x="1632" y="171"/>
                  </a:lnTo>
                  <a:lnTo>
                    <a:pt x="1630" y="171"/>
                  </a:lnTo>
                  <a:lnTo>
                    <a:pt x="1632" y="171"/>
                  </a:lnTo>
                  <a:lnTo>
                    <a:pt x="1632" y="173"/>
                  </a:lnTo>
                  <a:lnTo>
                    <a:pt x="1632" y="174"/>
                  </a:lnTo>
                  <a:lnTo>
                    <a:pt x="1632" y="176"/>
                  </a:lnTo>
                  <a:lnTo>
                    <a:pt x="1630" y="176"/>
                  </a:lnTo>
                  <a:lnTo>
                    <a:pt x="1632" y="176"/>
                  </a:lnTo>
                  <a:lnTo>
                    <a:pt x="1632" y="178"/>
                  </a:lnTo>
                  <a:lnTo>
                    <a:pt x="1632" y="179"/>
                  </a:lnTo>
                  <a:lnTo>
                    <a:pt x="1632" y="181"/>
                  </a:lnTo>
                  <a:lnTo>
                    <a:pt x="1633" y="181"/>
                  </a:lnTo>
                  <a:lnTo>
                    <a:pt x="1633" y="182"/>
                  </a:lnTo>
                  <a:lnTo>
                    <a:pt x="1633" y="184"/>
                  </a:lnTo>
                  <a:lnTo>
                    <a:pt x="1633" y="186"/>
                  </a:lnTo>
                  <a:lnTo>
                    <a:pt x="1635" y="186"/>
                  </a:lnTo>
                  <a:lnTo>
                    <a:pt x="1635" y="187"/>
                  </a:lnTo>
                  <a:lnTo>
                    <a:pt x="1635" y="186"/>
                  </a:lnTo>
                  <a:lnTo>
                    <a:pt x="1633" y="186"/>
                  </a:lnTo>
                  <a:lnTo>
                    <a:pt x="1633" y="184"/>
                  </a:lnTo>
                  <a:lnTo>
                    <a:pt x="1633" y="186"/>
                  </a:lnTo>
                  <a:lnTo>
                    <a:pt x="1637" y="186"/>
                  </a:lnTo>
                  <a:lnTo>
                    <a:pt x="1637" y="184"/>
                  </a:lnTo>
                  <a:lnTo>
                    <a:pt x="1637" y="186"/>
                  </a:lnTo>
                  <a:lnTo>
                    <a:pt x="1638" y="186"/>
                  </a:lnTo>
                  <a:lnTo>
                    <a:pt x="1638" y="187"/>
                  </a:lnTo>
                  <a:lnTo>
                    <a:pt x="1638" y="189"/>
                  </a:lnTo>
                  <a:lnTo>
                    <a:pt x="1640" y="189"/>
                  </a:lnTo>
                  <a:lnTo>
                    <a:pt x="1640" y="187"/>
                  </a:lnTo>
                  <a:lnTo>
                    <a:pt x="1638" y="189"/>
                  </a:lnTo>
                  <a:lnTo>
                    <a:pt x="1638" y="187"/>
                  </a:lnTo>
                  <a:lnTo>
                    <a:pt x="1640" y="187"/>
                  </a:lnTo>
                  <a:lnTo>
                    <a:pt x="1640" y="186"/>
                  </a:lnTo>
                  <a:lnTo>
                    <a:pt x="1640" y="184"/>
                  </a:lnTo>
                  <a:lnTo>
                    <a:pt x="1638" y="184"/>
                  </a:lnTo>
                  <a:lnTo>
                    <a:pt x="1638" y="182"/>
                  </a:lnTo>
                  <a:lnTo>
                    <a:pt x="1638" y="184"/>
                  </a:lnTo>
                  <a:lnTo>
                    <a:pt x="1637" y="182"/>
                  </a:lnTo>
                  <a:lnTo>
                    <a:pt x="1637" y="181"/>
                  </a:lnTo>
                  <a:lnTo>
                    <a:pt x="1635" y="181"/>
                  </a:lnTo>
                  <a:lnTo>
                    <a:pt x="1637" y="181"/>
                  </a:lnTo>
                  <a:lnTo>
                    <a:pt x="1635" y="181"/>
                  </a:lnTo>
                  <a:lnTo>
                    <a:pt x="1637" y="179"/>
                  </a:lnTo>
                  <a:lnTo>
                    <a:pt x="1635" y="179"/>
                  </a:lnTo>
                  <a:lnTo>
                    <a:pt x="1635" y="178"/>
                  </a:lnTo>
                  <a:lnTo>
                    <a:pt x="1637" y="178"/>
                  </a:lnTo>
                  <a:lnTo>
                    <a:pt x="1635" y="178"/>
                  </a:lnTo>
                  <a:lnTo>
                    <a:pt x="1637" y="178"/>
                  </a:lnTo>
                  <a:lnTo>
                    <a:pt x="1635" y="176"/>
                  </a:lnTo>
                  <a:lnTo>
                    <a:pt x="1637" y="176"/>
                  </a:lnTo>
                  <a:lnTo>
                    <a:pt x="1637" y="174"/>
                  </a:lnTo>
                  <a:lnTo>
                    <a:pt x="1638" y="174"/>
                  </a:lnTo>
                  <a:lnTo>
                    <a:pt x="1638" y="176"/>
                  </a:lnTo>
                  <a:lnTo>
                    <a:pt x="1638" y="174"/>
                  </a:lnTo>
                  <a:lnTo>
                    <a:pt x="1638" y="173"/>
                  </a:lnTo>
                  <a:lnTo>
                    <a:pt x="1638" y="171"/>
                  </a:lnTo>
                  <a:lnTo>
                    <a:pt x="1638" y="169"/>
                  </a:lnTo>
                  <a:lnTo>
                    <a:pt x="1640" y="169"/>
                  </a:lnTo>
                  <a:lnTo>
                    <a:pt x="1640" y="171"/>
                  </a:lnTo>
                  <a:lnTo>
                    <a:pt x="1638" y="173"/>
                  </a:lnTo>
                  <a:lnTo>
                    <a:pt x="1640" y="174"/>
                  </a:lnTo>
                  <a:lnTo>
                    <a:pt x="1640" y="176"/>
                  </a:lnTo>
                  <a:lnTo>
                    <a:pt x="1640" y="174"/>
                  </a:lnTo>
                  <a:lnTo>
                    <a:pt x="1638" y="174"/>
                  </a:lnTo>
                  <a:lnTo>
                    <a:pt x="1638" y="176"/>
                  </a:lnTo>
                  <a:lnTo>
                    <a:pt x="1640" y="179"/>
                  </a:lnTo>
                  <a:lnTo>
                    <a:pt x="1640" y="178"/>
                  </a:lnTo>
                  <a:lnTo>
                    <a:pt x="1641" y="176"/>
                  </a:lnTo>
                  <a:lnTo>
                    <a:pt x="1641" y="174"/>
                  </a:lnTo>
                  <a:lnTo>
                    <a:pt x="1643" y="176"/>
                  </a:lnTo>
                  <a:lnTo>
                    <a:pt x="1643" y="178"/>
                  </a:lnTo>
                  <a:lnTo>
                    <a:pt x="1641" y="178"/>
                  </a:lnTo>
                  <a:lnTo>
                    <a:pt x="1641" y="179"/>
                  </a:lnTo>
                  <a:lnTo>
                    <a:pt x="1640" y="179"/>
                  </a:lnTo>
                  <a:lnTo>
                    <a:pt x="1640" y="181"/>
                  </a:lnTo>
                  <a:lnTo>
                    <a:pt x="1640" y="179"/>
                  </a:lnTo>
                  <a:lnTo>
                    <a:pt x="1640" y="181"/>
                  </a:lnTo>
                  <a:lnTo>
                    <a:pt x="1640" y="182"/>
                  </a:lnTo>
                  <a:lnTo>
                    <a:pt x="1641" y="182"/>
                  </a:lnTo>
                  <a:lnTo>
                    <a:pt x="1641" y="184"/>
                  </a:lnTo>
                  <a:lnTo>
                    <a:pt x="1643" y="184"/>
                  </a:lnTo>
                  <a:lnTo>
                    <a:pt x="1645" y="186"/>
                  </a:lnTo>
                  <a:lnTo>
                    <a:pt x="1645" y="184"/>
                  </a:lnTo>
                  <a:lnTo>
                    <a:pt x="1646" y="184"/>
                  </a:lnTo>
                  <a:lnTo>
                    <a:pt x="1645" y="184"/>
                  </a:lnTo>
                  <a:lnTo>
                    <a:pt x="1646" y="184"/>
                  </a:lnTo>
                  <a:lnTo>
                    <a:pt x="1646" y="182"/>
                  </a:lnTo>
                  <a:lnTo>
                    <a:pt x="1646" y="181"/>
                  </a:lnTo>
                  <a:lnTo>
                    <a:pt x="1648" y="181"/>
                  </a:lnTo>
                  <a:lnTo>
                    <a:pt x="1648" y="179"/>
                  </a:lnTo>
                  <a:lnTo>
                    <a:pt x="1648" y="178"/>
                  </a:lnTo>
                  <a:lnTo>
                    <a:pt x="1648" y="174"/>
                  </a:lnTo>
                  <a:lnTo>
                    <a:pt x="1648" y="173"/>
                  </a:lnTo>
                  <a:lnTo>
                    <a:pt x="1648" y="171"/>
                  </a:lnTo>
                  <a:lnTo>
                    <a:pt x="1648" y="169"/>
                  </a:lnTo>
                  <a:lnTo>
                    <a:pt x="1648" y="168"/>
                  </a:lnTo>
                  <a:lnTo>
                    <a:pt x="1648" y="166"/>
                  </a:lnTo>
                  <a:lnTo>
                    <a:pt x="1648" y="165"/>
                  </a:lnTo>
                  <a:lnTo>
                    <a:pt x="1648" y="166"/>
                  </a:lnTo>
                  <a:lnTo>
                    <a:pt x="1650" y="166"/>
                  </a:lnTo>
                  <a:lnTo>
                    <a:pt x="1651" y="165"/>
                  </a:lnTo>
                  <a:lnTo>
                    <a:pt x="1651" y="163"/>
                  </a:lnTo>
                  <a:lnTo>
                    <a:pt x="1651" y="161"/>
                  </a:lnTo>
                  <a:lnTo>
                    <a:pt x="1651" y="160"/>
                  </a:lnTo>
                  <a:lnTo>
                    <a:pt x="1651" y="158"/>
                  </a:lnTo>
                  <a:lnTo>
                    <a:pt x="1651" y="156"/>
                  </a:lnTo>
                  <a:lnTo>
                    <a:pt x="1653" y="155"/>
                  </a:lnTo>
                  <a:lnTo>
                    <a:pt x="1654" y="153"/>
                  </a:lnTo>
                  <a:lnTo>
                    <a:pt x="1654" y="152"/>
                  </a:lnTo>
                  <a:lnTo>
                    <a:pt x="1654" y="150"/>
                  </a:lnTo>
                  <a:lnTo>
                    <a:pt x="1654" y="148"/>
                  </a:lnTo>
                  <a:lnTo>
                    <a:pt x="1654" y="147"/>
                  </a:lnTo>
                  <a:lnTo>
                    <a:pt x="1653" y="147"/>
                  </a:lnTo>
                  <a:lnTo>
                    <a:pt x="1653" y="148"/>
                  </a:lnTo>
                  <a:lnTo>
                    <a:pt x="1651" y="148"/>
                  </a:lnTo>
                  <a:lnTo>
                    <a:pt x="1650" y="147"/>
                  </a:lnTo>
                  <a:lnTo>
                    <a:pt x="1648" y="147"/>
                  </a:lnTo>
                  <a:lnTo>
                    <a:pt x="1648" y="145"/>
                  </a:lnTo>
                  <a:lnTo>
                    <a:pt x="1650" y="143"/>
                  </a:lnTo>
                  <a:lnTo>
                    <a:pt x="1648" y="142"/>
                  </a:lnTo>
                  <a:lnTo>
                    <a:pt x="1650" y="142"/>
                  </a:lnTo>
                  <a:lnTo>
                    <a:pt x="1648" y="142"/>
                  </a:lnTo>
                  <a:lnTo>
                    <a:pt x="1648" y="140"/>
                  </a:lnTo>
                  <a:lnTo>
                    <a:pt x="1650" y="140"/>
                  </a:lnTo>
                  <a:lnTo>
                    <a:pt x="1650" y="139"/>
                  </a:lnTo>
                  <a:lnTo>
                    <a:pt x="1651" y="137"/>
                  </a:lnTo>
                  <a:lnTo>
                    <a:pt x="1651" y="139"/>
                  </a:lnTo>
                  <a:lnTo>
                    <a:pt x="1651" y="137"/>
                  </a:lnTo>
                  <a:lnTo>
                    <a:pt x="1650" y="135"/>
                  </a:lnTo>
                  <a:lnTo>
                    <a:pt x="1651" y="135"/>
                  </a:lnTo>
                  <a:lnTo>
                    <a:pt x="1651" y="137"/>
                  </a:lnTo>
                  <a:lnTo>
                    <a:pt x="1653" y="137"/>
                  </a:lnTo>
                  <a:lnTo>
                    <a:pt x="1653" y="135"/>
                  </a:lnTo>
                  <a:lnTo>
                    <a:pt x="1653" y="134"/>
                  </a:lnTo>
                  <a:lnTo>
                    <a:pt x="1651" y="134"/>
                  </a:lnTo>
                  <a:lnTo>
                    <a:pt x="1653" y="134"/>
                  </a:lnTo>
                  <a:lnTo>
                    <a:pt x="1653" y="132"/>
                  </a:lnTo>
                  <a:lnTo>
                    <a:pt x="1653" y="130"/>
                  </a:lnTo>
                  <a:lnTo>
                    <a:pt x="1653" y="129"/>
                  </a:lnTo>
                  <a:lnTo>
                    <a:pt x="1654" y="129"/>
                  </a:lnTo>
                  <a:lnTo>
                    <a:pt x="1654" y="127"/>
                  </a:lnTo>
                  <a:lnTo>
                    <a:pt x="1653" y="127"/>
                  </a:lnTo>
                  <a:lnTo>
                    <a:pt x="1653" y="126"/>
                  </a:lnTo>
                  <a:lnTo>
                    <a:pt x="1654" y="126"/>
                  </a:lnTo>
                  <a:lnTo>
                    <a:pt x="1654" y="124"/>
                  </a:lnTo>
                  <a:lnTo>
                    <a:pt x="1654" y="122"/>
                  </a:lnTo>
                  <a:lnTo>
                    <a:pt x="1654" y="121"/>
                  </a:lnTo>
                  <a:lnTo>
                    <a:pt x="1656" y="119"/>
                  </a:lnTo>
                  <a:lnTo>
                    <a:pt x="1656" y="117"/>
                  </a:lnTo>
                  <a:lnTo>
                    <a:pt x="1658" y="117"/>
                  </a:lnTo>
                  <a:lnTo>
                    <a:pt x="1658" y="116"/>
                  </a:lnTo>
                  <a:lnTo>
                    <a:pt x="1658" y="114"/>
                  </a:lnTo>
                  <a:lnTo>
                    <a:pt x="1659" y="114"/>
                  </a:lnTo>
                  <a:lnTo>
                    <a:pt x="1659" y="113"/>
                  </a:lnTo>
                  <a:lnTo>
                    <a:pt x="1659" y="109"/>
                  </a:lnTo>
                  <a:lnTo>
                    <a:pt x="1661" y="108"/>
                  </a:lnTo>
                  <a:lnTo>
                    <a:pt x="1663" y="108"/>
                  </a:lnTo>
                  <a:lnTo>
                    <a:pt x="1663" y="106"/>
                  </a:lnTo>
                  <a:lnTo>
                    <a:pt x="1663" y="104"/>
                  </a:lnTo>
                  <a:lnTo>
                    <a:pt x="1664" y="103"/>
                  </a:lnTo>
                  <a:lnTo>
                    <a:pt x="1664" y="101"/>
                  </a:lnTo>
                  <a:lnTo>
                    <a:pt x="1666" y="101"/>
                  </a:lnTo>
                  <a:lnTo>
                    <a:pt x="1666" y="100"/>
                  </a:lnTo>
                  <a:lnTo>
                    <a:pt x="1664" y="100"/>
                  </a:lnTo>
                  <a:lnTo>
                    <a:pt x="1664" y="98"/>
                  </a:lnTo>
                  <a:lnTo>
                    <a:pt x="1664" y="96"/>
                  </a:lnTo>
                  <a:lnTo>
                    <a:pt x="1664" y="93"/>
                  </a:lnTo>
                  <a:lnTo>
                    <a:pt x="1664" y="91"/>
                  </a:lnTo>
                  <a:lnTo>
                    <a:pt x="1664" y="90"/>
                  </a:lnTo>
                  <a:lnTo>
                    <a:pt x="1666" y="88"/>
                  </a:lnTo>
                  <a:lnTo>
                    <a:pt x="1664" y="88"/>
                  </a:lnTo>
                  <a:lnTo>
                    <a:pt x="1664" y="86"/>
                  </a:lnTo>
                  <a:lnTo>
                    <a:pt x="1664" y="85"/>
                  </a:lnTo>
                  <a:lnTo>
                    <a:pt x="1664" y="83"/>
                  </a:lnTo>
                  <a:lnTo>
                    <a:pt x="1666" y="83"/>
                  </a:lnTo>
                  <a:lnTo>
                    <a:pt x="1667" y="83"/>
                  </a:lnTo>
                  <a:lnTo>
                    <a:pt x="1667" y="82"/>
                  </a:lnTo>
                  <a:lnTo>
                    <a:pt x="1667" y="80"/>
                  </a:lnTo>
                  <a:lnTo>
                    <a:pt x="1667" y="78"/>
                  </a:lnTo>
                  <a:lnTo>
                    <a:pt x="1666" y="78"/>
                  </a:lnTo>
                  <a:lnTo>
                    <a:pt x="1666" y="77"/>
                  </a:lnTo>
                  <a:lnTo>
                    <a:pt x="1667" y="77"/>
                  </a:lnTo>
                  <a:lnTo>
                    <a:pt x="1667" y="75"/>
                  </a:lnTo>
                  <a:lnTo>
                    <a:pt x="1669" y="75"/>
                  </a:lnTo>
                  <a:lnTo>
                    <a:pt x="1669" y="73"/>
                  </a:lnTo>
                  <a:lnTo>
                    <a:pt x="1671" y="73"/>
                  </a:lnTo>
                  <a:lnTo>
                    <a:pt x="1669" y="72"/>
                  </a:lnTo>
                  <a:lnTo>
                    <a:pt x="1671" y="72"/>
                  </a:lnTo>
                  <a:lnTo>
                    <a:pt x="1671" y="70"/>
                  </a:lnTo>
                  <a:lnTo>
                    <a:pt x="1671" y="69"/>
                  </a:lnTo>
                  <a:lnTo>
                    <a:pt x="1671" y="67"/>
                  </a:lnTo>
                  <a:lnTo>
                    <a:pt x="1672" y="65"/>
                  </a:lnTo>
                  <a:lnTo>
                    <a:pt x="1672" y="64"/>
                  </a:lnTo>
                  <a:lnTo>
                    <a:pt x="1674" y="60"/>
                  </a:lnTo>
                  <a:lnTo>
                    <a:pt x="1674" y="59"/>
                  </a:lnTo>
                  <a:lnTo>
                    <a:pt x="1676" y="57"/>
                  </a:lnTo>
                  <a:lnTo>
                    <a:pt x="1676" y="56"/>
                  </a:lnTo>
                  <a:lnTo>
                    <a:pt x="1676" y="54"/>
                  </a:lnTo>
                  <a:lnTo>
                    <a:pt x="1677" y="54"/>
                  </a:lnTo>
                  <a:lnTo>
                    <a:pt x="1677" y="52"/>
                  </a:lnTo>
                  <a:lnTo>
                    <a:pt x="1677" y="51"/>
                  </a:lnTo>
                  <a:lnTo>
                    <a:pt x="1679" y="49"/>
                  </a:lnTo>
                  <a:lnTo>
                    <a:pt x="1679" y="47"/>
                  </a:lnTo>
                  <a:lnTo>
                    <a:pt x="1680" y="46"/>
                  </a:lnTo>
                  <a:lnTo>
                    <a:pt x="1680" y="47"/>
                  </a:lnTo>
                  <a:lnTo>
                    <a:pt x="1680" y="46"/>
                  </a:lnTo>
                  <a:lnTo>
                    <a:pt x="1682" y="46"/>
                  </a:lnTo>
                  <a:lnTo>
                    <a:pt x="1682" y="44"/>
                  </a:lnTo>
                  <a:lnTo>
                    <a:pt x="1684" y="44"/>
                  </a:lnTo>
                  <a:lnTo>
                    <a:pt x="1685" y="43"/>
                  </a:lnTo>
                  <a:lnTo>
                    <a:pt x="1685" y="44"/>
                  </a:lnTo>
                  <a:lnTo>
                    <a:pt x="1685" y="46"/>
                  </a:lnTo>
                  <a:lnTo>
                    <a:pt x="1687" y="46"/>
                  </a:lnTo>
                  <a:lnTo>
                    <a:pt x="1687" y="47"/>
                  </a:lnTo>
                  <a:lnTo>
                    <a:pt x="1687" y="49"/>
                  </a:lnTo>
                  <a:lnTo>
                    <a:pt x="1687" y="51"/>
                  </a:lnTo>
                  <a:lnTo>
                    <a:pt x="1689" y="51"/>
                  </a:lnTo>
                  <a:lnTo>
                    <a:pt x="1689" y="52"/>
                  </a:lnTo>
                  <a:lnTo>
                    <a:pt x="1689" y="54"/>
                  </a:lnTo>
                  <a:lnTo>
                    <a:pt x="1689" y="56"/>
                  </a:lnTo>
                  <a:lnTo>
                    <a:pt x="1689" y="57"/>
                  </a:lnTo>
                  <a:lnTo>
                    <a:pt x="1687" y="59"/>
                  </a:lnTo>
                  <a:lnTo>
                    <a:pt x="1689" y="59"/>
                  </a:lnTo>
                  <a:lnTo>
                    <a:pt x="1689" y="60"/>
                  </a:lnTo>
                  <a:lnTo>
                    <a:pt x="1689" y="62"/>
                  </a:lnTo>
                  <a:lnTo>
                    <a:pt x="1690" y="62"/>
                  </a:lnTo>
                  <a:lnTo>
                    <a:pt x="1692" y="60"/>
                  </a:lnTo>
                  <a:lnTo>
                    <a:pt x="1692" y="62"/>
                  </a:lnTo>
                  <a:lnTo>
                    <a:pt x="1692" y="64"/>
                  </a:lnTo>
                  <a:lnTo>
                    <a:pt x="1692" y="65"/>
                  </a:lnTo>
                  <a:lnTo>
                    <a:pt x="1692" y="69"/>
                  </a:lnTo>
                  <a:lnTo>
                    <a:pt x="1692" y="70"/>
                  </a:lnTo>
                  <a:lnTo>
                    <a:pt x="1692" y="72"/>
                  </a:lnTo>
                  <a:lnTo>
                    <a:pt x="1693" y="73"/>
                  </a:lnTo>
                  <a:lnTo>
                    <a:pt x="1692" y="75"/>
                  </a:lnTo>
                  <a:lnTo>
                    <a:pt x="1692" y="77"/>
                  </a:lnTo>
                  <a:lnTo>
                    <a:pt x="1690" y="78"/>
                  </a:lnTo>
                  <a:lnTo>
                    <a:pt x="1690" y="80"/>
                  </a:lnTo>
                  <a:lnTo>
                    <a:pt x="1689" y="80"/>
                  </a:lnTo>
                  <a:lnTo>
                    <a:pt x="1689" y="82"/>
                  </a:lnTo>
                  <a:lnTo>
                    <a:pt x="1687" y="83"/>
                  </a:lnTo>
                  <a:lnTo>
                    <a:pt x="1685" y="83"/>
                  </a:lnTo>
                  <a:lnTo>
                    <a:pt x="1685" y="85"/>
                  </a:lnTo>
                  <a:lnTo>
                    <a:pt x="1684" y="85"/>
                  </a:lnTo>
                  <a:lnTo>
                    <a:pt x="1682" y="86"/>
                  </a:lnTo>
                  <a:lnTo>
                    <a:pt x="1682" y="88"/>
                  </a:lnTo>
                  <a:lnTo>
                    <a:pt x="1684" y="88"/>
                  </a:lnTo>
                  <a:lnTo>
                    <a:pt x="1682" y="88"/>
                  </a:lnTo>
                  <a:lnTo>
                    <a:pt x="1682" y="90"/>
                  </a:lnTo>
                  <a:lnTo>
                    <a:pt x="1680" y="90"/>
                  </a:lnTo>
                  <a:lnTo>
                    <a:pt x="1680" y="91"/>
                  </a:lnTo>
                  <a:lnTo>
                    <a:pt x="1680" y="90"/>
                  </a:lnTo>
                  <a:lnTo>
                    <a:pt x="1680" y="91"/>
                  </a:lnTo>
                  <a:lnTo>
                    <a:pt x="1682" y="91"/>
                  </a:lnTo>
                  <a:lnTo>
                    <a:pt x="1682" y="90"/>
                  </a:lnTo>
                  <a:lnTo>
                    <a:pt x="1682" y="88"/>
                  </a:lnTo>
                  <a:lnTo>
                    <a:pt x="1684" y="88"/>
                  </a:lnTo>
                  <a:lnTo>
                    <a:pt x="1685" y="88"/>
                  </a:lnTo>
                  <a:lnTo>
                    <a:pt x="1687" y="86"/>
                  </a:lnTo>
                  <a:lnTo>
                    <a:pt x="1689" y="86"/>
                  </a:lnTo>
                  <a:lnTo>
                    <a:pt x="1690" y="86"/>
                  </a:lnTo>
                  <a:lnTo>
                    <a:pt x="1690" y="85"/>
                  </a:lnTo>
                  <a:lnTo>
                    <a:pt x="1692" y="85"/>
                  </a:lnTo>
                  <a:lnTo>
                    <a:pt x="1692" y="83"/>
                  </a:lnTo>
                  <a:lnTo>
                    <a:pt x="1693" y="83"/>
                  </a:lnTo>
                  <a:lnTo>
                    <a:pt x="1693" y="85"/>
                  </a:lnTo>
                  <a:lnTo>
                    <a:pt x="1692" y="85"/>
                  </a:lnTo>
                  <a:lnTo>
                    <a:pt x="1692" y="86"/>
                  </a:lnTo>
                  <a:lnTo>
                    <a:pt x="1693" y="86"/>
                  </a:lnTo>
                  <a:lnTo>
                    <a:pt x="1693" y="88"/>
                  </a:lnTo>
                  <a:lnTo>
                    <a:pt x="1695" y="88"/>
                  </a:lnTo>
                  <a:lnTo>
                    <a:pt x="1695" y="90"/>
                  </a:lnTo>
                  <a:lnTo>
                    <a:pt x="1695" y="91"/>
                  </a:lnTo>
                  <a:lnTo>
                    <a:pt x="1693" y="91"/>
                  </a:lnTo>
                  <a:lnTo>
                    <a:pt x="1695" y="91"/>
                  </a:lnTo>
                  <a:lnTo>
                    <a:pt x="1695" y="93"/>
                  </a:lnTo>
                  <a:lnTo>
                    <a:pt x="1695" y="95"/>
                  </a:lnTo>
                  <a:lnTo>
                    <a:pt x="1695" y="98"/>
                  </a:lnTo>
                  <a:lnTo>
                    <a:pt x="1697" y="100"/>
                  </a:lnTo>
                  <a:lnTo>
                    <a:pt x="1697" y="101"/>
                  </a:lnTo>
                  <a:lnTo>
                    <a:pt x="1697" y="103"/>
                  </a:lnTo>
                  <a:lnTo>
                    <a:pt x="1697" y="104"/>
                  </a:lnTo>
                  <a:lnTo>
                    <a:pt x="1695" y="106"/>
                  </a:lnTo>
                  <a:lnTo>
                    <a:pt x="1695" y="108"/>
                  </a:lnTo>
                  <a:lnTo>
                    <a:pt x="1697" y="109"/>
                  </a:lnTo>
                  <a:lnTo>
                    <a:pt x="1697" y="111"/>
                  </a:lnTo>
                  <a:lnTo>
                    <a:pt x="1698" y="111"/>
                  </a:lnTo>
                  <a:lnTo>
                    <a:pt x="1698" y="113"/>
                  </a:lnTo>
                  <a:lnTo>
                    <a:pt x="1698" y="114"/>
                  </a:lnTo>
                  <a:lnTo>
                    <a:pt x="1698" y="116"/>
                  </a:lnTo>
                  <a:lnTo>
                    <a:pt x="1697" y="116"/>
                  </a:lnTo>
                  <a:lnTo>
                    <a:pt x="1697" y="117"/>
                  </a:lnTo>
                  <a:lnTo>
                    <a:pt x="1697" y="119"/>
                  </a:lnTo>
                  <a:lnTo>
                    <a:pt x="1697" y="121"/>
                  </a:lnTo>
                  <a:lnTo>
                    <a:pt x="1698" y="121"/>
                  </a:lnTo>
                  <a:lnTo>
                    <a:pt x="1698" y="122"/>
                  </a:lnTo>
                  <a:lnTo>
                    <a:pt x="1698" y="124"/>
                  </a:lnTo>
                  <a:lnTo>
                    <a:pt x="1700" y="124"/>
                  </a:lnTo>
                  <a:lnTo>
                    <a:pt x="1698" y="126"/>
                  </a:lnTo>
                  <a:lnTo>
                    <a:pt x="1698" y="127"/>
                  </a:lnTo>
                  <a:lnTo>
                    <a:pt x="1698" y="129"/>
                  </a:lnTo>
                  <a:lnTo>
                    <a:pt x="1698" y="130"/>
                  </a:lnTo>
                  <a:lnTo>
                    <a:pt x="1700" y="130"/>
                  </a:lnTo>
                  <a:lnTo>
                    <a:pt x="1700" y="129"/>
                  </a:lnTo>
                  <a:lnTo>
                    <a:pt x="1700" y="127"/>
                  </a:lnTo>
                  <a:lnTo>
                    <a:pt x="1700" y="126"/>
                  </a:lnTo>
                  <a:lnTo>
                    <a:pt x="1702" y="126"/>
                  </a:lnTo>
                  <a:lnTo>
                    <a:pt x="1702" y="124"/>
                  </a:lnTo>
                  <a:lnTo>
                    <a:pt x="1702" y="126"/>
                  </a:lnTo>
                  <a:lnTo>
                    <a:pt x="1703" y="126"/>
                  </a:lnTo>
                  <a:lnTo>
                    <a:pt x="1705" y="126"/>
                  </a:lnTo>
                  <a:lnTo>
                    <a:pt x="1705" y="124"/>
                  </a:lnTo>
                  <a:lnTo>
                    <a:pt x="1703" y="124"/>
                  </a:lnTo>
                  <a:lnTo>
                    <a:pt x="1703" y="122"/>
                  </a:lnTo>
                  <a:lnTo>
                    <a:pt x="1703" y="124"/>
                  </a:lnTo>
                  <a:lnTo>
                    <a:pt x="1703" y="122"/>
                  </a:lnTo>
                  <a:lnTo>
                    <a:pt x="1702" y="122"/>
                  </a:lnTo>
                  <a:lnTo>
                    <a:pt x="1702" y="121"/>
                  </a:lnTo>
                  <a:lnTo>
                    <a:pt x="1702" y="119"/>
                  </a:lnTo>
                  <a:lnTo>
                    <a:pt x="1702" y="117"/>
                  </a:lnTo>
                  <a:lnTo>
                    <a:pt x="1703" y="117"/>
                  </a:lnTo>
                  <a:lnTo>
                    <a:pt x="1703" y="119"/>
                  </a:lnTo>
                  <a:lnTo>
                    <a:pt x="1705" y="119"/>
                  </a:lnTo>
                  <a:lnTo>
                    <a:pt x="1707" y="121"/>
                  </a:lnTo>
                  <a:lnTo>
                    <a:pt x="1707" y="119"/>
                  </a:lnTo>
                  <a:lnTo>
                    <a:pt x="1708" y="119"/>
                  </a:lnTo>
                  <a:lnTo>
                    <a:pt x="1708" y="117"/>
                  </a:lnTo>
                  <a:lnTo>
                    <a:pt x="1707" y="116"/>
                  </a:lnTo>
                  <a:lnTo>
                    <a:pt x="1708" y="116"/>
                  </a:lnTo>
                  <a:lnTo>
                    <a:pt x="1708" y="114"/>
                  </a:lnTo>
                  <a:lnTo>
                    <a:pt x="1708" y="113"/>
                  </a:lnTo>
                  <a:lnTo>
                    <a:pt x="1708" y="111"/>
                  </a:lnTo>
                  <a:lnTo>
                    <a:pt x="1707" y="111"/>
                  </a:lnTo>
                  <a:lnTo>
                    <a:pt x="1707" y="109"/>
                  </a:lnTo>
                  <a:lnTo>
                    <a:pt x="1707" y="108"/>
                  </a:lnTo>
                  <a:lnTo>
                    <a:pt x="1707" y="109"/>
                  </a:lnTo>
                  <a:lnTo>
                    <a:pt x="1708" y="109"/>
                  </a:lnTo>
                  <a:lnTo>
                    <a:pt x="1708" y="108"/>
                  </a:lnTo>
                  <a:lnTo>
                    <a:pt x="1708" y="106"/>
                  </a:lnTo>
                  <a:lnTo>
                    <a:pt x="1710" y="106"/>
                  </a:lnTo>
                  <a:lnTo>
                    <a:pt x="1710" y="108"/>
                  </a:lnTo>
                  <a:lnTo>
                    <a:pt x="1710" y="109"/>
                  </a:lnTo>
                  <a:lnTo>
                    <a:pt x="1711" y="109"/>
                  </a:lnTo>
                  <a:lnTo>
                    <a:pt x="1713" y="109"/>
                  </a:lnTo>
                  <a:lnTo>
                    <a:pt x="1715" y="108"/>
                  </a:lnTo>
                  <a:lnTo>
                    <a:pt x="1715" y="106"/>
                  </a:lnTo>
                  <a:lnTo>
                    <a:pt x="1715" y="108"/>
                  </a:lnTo>
                  <a:lnTo>
                    <a:pt x="1716" y="108"/>
                  </a:lnTo>
                  <a:lnTo>
                    <a:pt x="1715" y="108"/>
                  </a:lnTo>
                  <a:lnTo>
                    <a:pt x="1715" y="109"/>
                  </a:lnTo>
                  <a:lnTo>
                    <a:pt x="1715" y="111"/>
                  </a:lnTo>
                  <a:lnTo>
                    <a:pt x="1716" y="111"/>
                  </a:lnTo>
                  <a:lnTo>
                    <a:pt x="1718" y="111"/>
                  </a:lnTo>
                  <a:lnTo>
                    <a:pt x="1718" y="109"/>
                  </a:lnTo>
                  <a:lnTo>
                    <a:pt x="1718" y="108"/>
                  </a:lnTo>
                  <a:lnTo>
                    <a:pt x="1720" y="106"/>
                  </a:lnTo>
                  <a:lnTo>
                    <a:pt x="1721" y="106"/>
                  </a:lnTo>
                  <a:lnTo>
                    <a:pt x="1723" y="106"/>
                  </a:lnTo>
                  <a:lnTo>
                    <a:pt x="1723" y="108"/>
                  </a:lnTo>
                  <a:lnTo>
                    <a:pt x="1723" y="106"/>
                  </a:lnTo>
                  <a:lnTo>
                    <a:pt x="1723" y="104"/>
                  </a:lnTo>
                  <a:lnTo>
                    <a:pt x="1721" y="104"/>
                  </a:lnTo>
                  <a:lnTo>
                    <a:pt x="1721" y="106"/>
                  </a:lnTo>
                  <a:lnTo>
                    <a:pt x="1720" y="106"/>
                  </a:lnTo>
                  <a:lnTo>
                    <a:pt x="1721" y="104"/>
                  </a:lnTo>
                  <a:lnTo>
                    <a:pt x="1720" y="104"/>
                  </a:lnTo>
                  <a:lnTo>
                    <a:pt x="1720" y="106"/>
                  </a:lnTo>
                  <a:lnTo>
                    <a:pt x="1720" y="104"/>
                  </a:lnTo>
                  <a:lnTo>
                    <a:pt x="1718" y="104"/>
                  </a:lnTo>
                  <a:lnTo>
                    <a:pt x="1718" y="103"/>
                  </a:lnTo>
                  <a:lnTo>
                    <a:pt x="1716" y="103"/>
                  </a:lnTo>
                  <a:lnTo>
                    <a:pt x="1716" y="101"/>
                  </a:lnTo>
                  <a:lnTo>
                    <a:pt x="1715" y="100"/>
                  </a:lnTo>
                  <a:lnTo>
                    <a:pt x="1713" y="98"/>
                  </a:lnTo>
                  <a:lnTo>
                    <a:pt x="1715" y="98"/>
                  </a:lnTo>
                  <a:lnTo>
                    <a:pt x="1716" y="96"/>
                  </a:lnTo>
                  <a:lnTo>
                    <a:pt x="1715" y="96"/>
                  </a:lnTo>
                  <a:lnTo>
                    <a:pt x="1715" y="95"/>
                  </a:lnTo>
                  <a:lnTo>
                    <a:pt x="1713" y="95"/>
                  </a:lnTo>
                  <a:lnTo>
                    <a:pt x="1711" y="95"/>
                  </a:lnTo>
                  <a:lnTo>
                    <a:pt x="1713" y="95"/>
                  </a:lnTo>
                  <a:lnTo>
                    <a:pt x="1713" y="93"/>
                  </a:lnTo>
                  <a:lnTo>
                    <a:pt x="1711" y="93"/>
                  </a:lnTo>
                  <a:lnTo>
                    <a:pt x="1713" y="93"/>
                  </a:lnTo>
                  <a:lnTo>
                    <a:pt x="1713" y="91"/>
                  </a:lnTo>
                  <a:lnTo>
                    <a:pt x="1713" y="90"/>
                  </a:lnTo>
                  <a:lnTo>
                    <a:pt x="1715" y="90"/>
                  </a:lnTo>
                  <a:lnTo>
                    <a:pt x="1715" y="88"/>
                  </a:lnTo>
                  <a:lnTo>
                    <a:pt x="1715" y="86"/>
                  </a:lnTo>
                  <a:lnTo>
                    <a:pt x="1716" y="86"/>
                  </a:lnTo>
                  <a:lnTo>
                    <a:pt x="1715" y="88"/>
                  </a:lnTo>
                  <a:lnTo>
                    <a:pt x="1716" y="88"/>
                  </a:lnTo>
                  <a:lnTo>
                    <a:pt x="1718" y="88"/>
                  </a:lnTo>
                  <a:lnTo>
                    <a:pt x="1720" y="88"/>
                  </a:lnTo>
                  <a:lnTo>
                    <a:pt x="1721" y="88"/>
                  </a:lnTo>
                  <a:lnTo>
                    <a:pt x="1723" y="88"/>
                  </a:lnTo>
                  <a:lnTo>
                    <a:pt x="1724" y="90"/>
                  </a:lnTo>
                  <a:lnTo>
                    <a:pt x="1726" y="90"/>
                  </a:lnTo>
                  <a:lnTo>
                    <a:pt x="1726" y="88"/>
                  </a:lnTo>
                  <a:lnTo>
                    <a:pt x="1728" y="88"/>
                  </a:lnTo>
                  <a:lnTo>
                    <a:pt x="1726" y="88"/>
                  </a:lnTo>
                  <a:lnTo>
                    <a:pt x="1724" y="88"/>
                  </a:lnTo>
                  <a:lnTo>
                    <a:pt x="1724" y="86"/>
                  </a:lnTo>
                  <a:lnTo>
                    <a:pt x="1723" y="86"/>
                  </a:lnTo>
                  <a:lnTo>
                    <a:pt x="1721" y="86"/>
                  </a:lnTo>
                  <a:lnTo>
                    <a:pt x="1721" y="85"/>
                  </a:lnTo>
                  <a:lnTo>
                    <a:pt x="1720" y="85"/>
                  </a:lnTo>
                  <a:lnTo>
                    <a:pt x="1718" y="85"/>
                  </a:lnTo>
                  <a:lnTo>
                    <a:pt x="1716" y="85"/>
                  </a:lnTo>
                  <a:lnTo>
                    <a:pt x="1716" y="83"/>
                  </a:lnTo>
                  <a:lnTo>
                    <a:pt x="1715" y="83"/>
                  </a:lnTo>
                  <a:lnTo>
                    <a:pt x="1715" y="82"/>
                  </a:lnTo>
                  <a:lnTo>
                    <a:pt x="1715" y="80"/>
                  </a:lnTo>
                  <a:lnTo>
                    <a:pt x="1716" y="80"/>
                  </a:lnTo>
                  <a:lnTo>
                    <a:pt x="1716" y="78"/>
                  </a:lnTo>
                  <a:lnTo>
                    <a:pt x="1718" y="80"/>
                  </a:lnTo>
                  <a:lnTo>
                    <a:pt x="1716" y="78"/>
                  </a:lnTo>
                  <a:lnTo>
                    <a:pt x="1715" y="78"/>
                  </a:lnTo>
                  <a:lnTo>
                    <a:pt x="1715" y="77"/>
                  </a:lnTo>
                  <a:lnTo>
                    <a:pt x="1716" y="77"/>
                  </a:lnTo>
                  <a:lnTo>
                    <a:pt x="1718" y="77"/>
                  </a:lnTo>
                  <a:lnTo>
                    <a:pt x="1718" y="78"/>
                  </a:lnTo>
                  <a:lnTo>
                    <a:pt x="1720" y="78"/>
                  </a:lnTo>
                  <a:lnTo>
                    <a:pt x="1718" y="78"/>
                  </a:lnTo>
                  <a:lnTo>
                    <a:pt x="1718" y="77"/>
                  </a:lnTo>
                  <a:lnTo>
                    <a:pt x="1716" y="75"/>
                  </a:lnTo>
                  <a:lnTo>
                    <a:pt x="1715" y="75"/>
                  </a:lnTo>
                  <a:lnTo>
                    <a:pt x="1713" y="77"/>
                  </a:lnTo>
                  <a:lnTo>
                    <a:pt x="1713" y="75"/>
                  </a:lnTo>
                  <a:lnTo>
                    <a:pt x="1713" y="73"/>
                  </a:lnTo>
                  <a:lnTo>
                    <a:pt x="1713" y="72"/>
                  </a:lnTo>
                  <a:lnTo>
                    <a:pt x="1713" y="70"/>
                  </a:lnTo>
                  <a:lnTo>
                    <a:pt x="1713" y="69"/>
                  </a:lnTo>
                  <a:lnTo>
                    <a:pt x="1713" y="67"/>
                  </a:lnTo>
                  <a:lnTo>
                    <a:pt x="1713" y="69"/>
                  </a:lnTo>
                  <a:lnTo>
                    <a:pt x="1715" y="69"/>
                  </a:lnTo>
                  <a:lnTo>
                    <a:pt x="1716" y="67"/>
                  </a:lnTo>
                  <a:lnTo>
                    <a:pt x="1718" y="67"/>
                  </a:lnTo>
                  <a:lnTo>
                    <a:pt x="1720" y="67"/>
                  </a:lnTo>
                  <a:lnTo>
                    <a:pt x="1721" y="67"/>
                  </a:lnTo>
                  <a:lnTo>
                    <a:pt x="1721" y="69"/>
                  </a:lnTo>
                  <a:lnTo>
                    <a:pt x="1723" y="69"/>
                  </a:lnTo>
                  <a:lnTo>
                    <a:pt x="1723" y="67"/>
                  </a:lnTo>
                  <a:lnTo>
                    <a:pt x="1723" y="65"/>
                  </a:lnTo>
                  <a:lnTo>
                    <a:pt x="1724" y="65"/>
                  </a:lnTo>
                  <a:lnTo>
                    <a:pt x="1723" y="65"/>
                  </a:lnTo>
                  <a:lnTo>
                    <a:pt x="1721" y="65"/>
                  </a:lnTo>
                  <a:lnTo>
                    <a:pt x="1721" y="64"/>
                  </a:lnTo>
                  <a:lnTo>
                    <a:pt x="1720" y="65"/>
                  </a:lnTo>
                  <a:lnTo>
                    <a:pt x="1720" y="64"/>
                  </a:lnTo>
                  <a:lnTo>
                    <a:pt x="1720" y="62"/>
                  </a:lnTo>
                  <a:lnTo>
                    <a:pt x="1718" y="60"/>
                  </a:lnTo>
                  <a:lnTo>
                    <a:pt x="1720" y="59"/>
                  </a:lnTo>
                  <a:lnTo>
                    <a:pt x="1718" y="59"/>
                  </a:lnTo>
                  <a:lnTo>
                    <a:pt x="1718" y="57"/>
                  </a:lnTo>
                  <a:lnTo>
                    <a:pt x="1718" y="56"/>
                  </a:lnTo>
                  <a:lnTo>
                    <a:pt x="1718" y="54"/>
                  </a:lnTo>
                  <a:lnTo>
                    <a:pt x="1720" y="54"/>
                  </a:lnTo>
                  <a:lnTo>
                    <a:pt x="1721" y="54"/>
                  </a:lnTo>
                  <a:lnTo>
                    <a:pt x="1724" y="54"/>
                  </a:lnTo>
                  <a:lnTo>
                    <a:pt x="1724" y="56"/>
                  </a:lnTo>
                  <a:lnTo>
                    <a:pt x="1726" y="56"/>
                  </a:lnTo>
                  <a:lnTo>
                    <a:pt x="1728" y="54"/>
                  </a:lnTo>
                  <a:lnTo>
                    <a:pt x="1728" y="56"/>
                  </a:lnTo>
                  <a:lnTo>
                    <a:pt x="1729" y="56"/>
                  </a:lnTo>
                  <a:lnTo>
                    <a:pt x="1731" y="56"/>
                  </a:lnTo>
                  <a:lnTo>
                    <a:pt x="1733" y="56"/>
                  </a:lnTo>
                  <a:lnTo>
                    <a:pt x="1734" y="54"/>
                  </a:lnTo>
                  <a:lnTo>
                    <a:pt x="1737" y="54"/>
                  </a:lnTo>
                  <a:lnTo>
                    <a:pt x="1734" y="54"/>
                  </a:lnTo>
                  <a:lnTo>
                    <a:pt x="1733" y="54"/>
                  </a:lnTo>
                  <a:lnTo>
                    <a:pt x="1729" y="54"/>
                  </a:lnTo>
                  <a:lnTo>
                    <a:pt x="1728" y="54"/>
                  </a:lnTo>
                  <a:lnTo>
                    <a:pt x="1726" y="54"/>
                  </a:lnTo>
                  <a:lnTo>
                    <a:pt x="1726" y="52"/>
                  </a:lnTo>
                  <a:lnTo>
                    <a:pt x="1724" y="52"/>
                  </a:lnTo>
                  <a:lnTo>
                    <a:pt x="1726" y="51"/>
                  </a:lnTo>
                  <a:lnTo>
                    <a:pt x="1724" y="51"/>
                  </a:lnTo>
                  <a:lnTo>
                    <a:pt x="1726" y="51"/>
                  </a:lnTo>
                  <a:lnTo>
                    <a:pt x="1726" y="49"/>
                  </a:lnTo>
                  <a:lnTo>
                    <a:pt x="1728" y="49"/>
                  </a:lnTo>
                  <a:lnTo>
                    <a:pt x="1726" y="49"/>
                  </a:lnTo>
                  <a:lnTo>
                    <a:pt x="1728" y="47"/>
                  </a:lnTo>
                  <a:lnTo>
                    <a:pt x="1726" y="47"/>
                  </a:lnTo>
                  <a:lnTo>
                    <a:pt x="1724" y="47"/>
                  </a:lnTo>
                  <a:lnTo>
                    <a:pt x="1724" y="46"/>
                  </a:lnTo>
                  <a:lnTo>
                    <a:pt x="1723" y="46"/>
                  </a:lnTo>
                  <a:lnTo>
                    <a:pt x="1721" y="46"/>
                  </a:lnTo>
                  <a:lnTo>
                    <a:pt x="1721" y="47"/>
                  </a:lnTo>
                  <a:lnTo>
                    <a:pt x="1720" y="47"/>
                  </a:lnTo>
                  <a:lnTo>
                    <a:pt x="1720" y="46"/>
                  </a:lnTo>
                  <a:lnTo>
                    <a:pt x="1720" y="44"/>
                  </a:lnTo>
                  <a:lnTo>
                    <a:pt x="1721" y="44"/>
                  </a:lnTo>
                  <a:lnTo>
                    <a:pt x="1721" y="43"/>
                  </a:lnTo>
                  <a:lnTo>
                    <a:pt x="1720" y="43"/>
                  </a:lnTo>
                  <a:lnTo>
                    <a:pt x="1720" y="41"/>
                  </a:lnTo>
                  <a:lnTo>
                    <a:pt x="1720" y="43"/>
                  </a:lnTo>
                  <a:lnTo>
                    <a:pt x="1720" y="44"/>
                  </a:lnTo>
                  <a:lnTo>
                    <a:pt x="1718" y="46"/>
                  </a:lnTo>
                  <a:lnTo>
                    <a:pt x="1716" y="46"/>
                  </a:lnTo>
                  <a:lnTo>
                    <a:pt x="1715" y="46"/>
                  </a:lnTo>
                  <a:lnTo>
                    <a:pt x="1715" y="47"/>
                  </a:lnTo>
                  <a:lnTo>
                    <a:pt x="1713" y="47"/>
                  </a:lnTo>
                  <a:lnTo>
                    <a:pt x="1713" y="46"/>
                  </a:lnTo>
                  <a:lnTo>
                    <a:pt x="1711" y="46"/>
                  </a:lnTo>
                  <a:lnTo>
                    <a:pt x="1711" y="47"/>
                  </a:lnTo>
                  <a:lnTo>
                    <a:pt x="1710" y="47"/>
                  </a:lnTo>
                  <a:lnTo>
                    <a:pt x="1708" y="47"/>
                  </a:lnTo>
                  <a:lnTo>
                    <a:pt x="1708" y="46"/>
                  </a:lnTo>
                  <a:lnTo>
                    <a:pt x="1707" y="46"/>
                  </a:lnTo>
                  <a:lnTo>
                    <a:pt x="1705" y="44"/>
                  </a:lnTo>
                  <a:lnTo>
                    <a:pt x="1705" y="43"/>
                  </a:lnTo>
                  <a:lnTo>
                    <a:pt x="1707" y="43"/>
                  </a:lnTo>
                  <a:lnTo>
                    <a:pt x="1705" y="41"/>
                  </a:lnTo>
                  <a:lnTo>
                    <a:pt x="1705" y="39"/>
                  </a:lnTo>
                  <a:lnTo>
                    <a:pt x="1705" y="38"/>
                  </a:lnTo>
                  <a:lnTo>
                    <a:pt x="1705" y="36"/>
                  </a:lnTo>
                  <a:lnTo>
                    <a:pt x="1707" y="36"/>
                  </a:lnTo>
                  <a:lnTo>
                    <a:pt x="1708" y="36"/>
                  </a:lnTo>
                  <a:lnTo>
                    <a:pt x="1708" y="38"/>
                  </a:lnTo>
                  <a:lnTo>
                    <a:pt x="1710" y="38"/>
                  </a:lnTo>
                  <a:lnTo>
                    <a:pt x="1711" y="38"/>
                  </a:lnTo>
                  <a:lnTo>
                    <a:pt x="1713" y="39"/>
                  </a:lnTo>
                  <a:lnTo>
                    <a:pt x="1715" y="39"/>
                  </a:lnTo>
                  <a:lnTo>
                    <a:pt x="1715" y="38"/>
                  </a:lnTo>
                  <a:lnTo>
                    <a:pt x="1715" y="39"/>
                  </a:lnTo>
                  <a:lnTo>
                    <a:pt x="1716" y="39"/>
                  </a:lnTo>
                  <a:lnTo>
                    <a:pt x="1716" y="38"/>
                  </a:lnTo>
                  <a:lnTo>
                    <a:pt x="1715" y="38"/>
                  </a:lnTo>
                  <a:lnTo>
                    <a:pt x="1713" y="36"/>
                  </a:lnTo>
                  <a:lnTo>
                    <a:pt x="1713" y="34"/>
                  </a:lnTo>
                  <a:lnTo>
                    <a:pt x="1711" y="34"/>
                  </a:lnTo>
                  <a:lnTo>
                    <a:pt x="1711" y="33"/>
                  </a:lnTo>
                  <a:lnTo>
                    <a:pt x="1710" y="33"/>
                  </a:lnTo>
                  <a:lnTo>
                    <a:pt x="1708" y="33"/>
                  </a:lnTo>
                  <a:lnTo>
                    <a:pt x="1707" y="31"/>
                  </a:lnTo>
                  <a:lnTo>
                    <a:pt x="1707" y="30"/>
                  </a:lnTo>
                  <a:lnTo>
                    <a:pt x="1707" y="28"/>
                  </a:lnTo>
                  <a:lnTo>
                    <a:pt x="1708" y="28"/>
                  </a:lnTo>
                  <a:lnTo>
                    <a:pt x="1708" y="26"/>
                  </a:lnTo>
                  <a:lnTo>
                    <a:pt x="1710" y="26"/>
                  </a:lnTo>
                  <a:lnTo>
                    <a:pt x="1710" y="28"/>
                  </a:lnTo>
                  <a:lnTo>
                    <a:pt x="1710" y="26"/>
                  </a:lnTo>
                  <a:lnTo>
                    <a:pt x="1711" y="26"/>
                  </a:lnTo>
                  <a:lnTo>
                    <a:pt x="1713" y="28"/>
                  </a:lnTo>
                  <a:lnTo>
                    <a:pt x="1715" y="28"/>
                  </a:lnTo>
                  <a:lnTo>
                    <a:pt x="1713" y="28"/>
                  </a:lnTo>
                  <a:lnTo>
                    <a:pt x="1715" y="30"/>
                  </a:lnTo>
                  <a:lnTo>
                    <a:pt x="1715" y="28"/>
                  </a:lnTo>
                  <a:lnTo>
                    <a:pt x="1716" y="28"/>
                  </a:lnTo>
                  <a:lnTo>
                    <a:pt x="1716" y="26"/>
                  </a:lnTo>
                  <a:lnTo>
                    <a:pt x="1718" y="28"/>
                  </a:lnTo>
                  <a:lnTo>
                    <a:pt x="1721" y="28"/>
                  </a:lnTo>
                  <a:lnTo>
                    <a:pt x="1721" y="30"/>
                  </a:lnTo>
                  <a:lnTo>
                    <a:pt x="1721" y="31"/>
                  </a:lnTo>
                  <a:lnTo>
                    <a:pt x="1723" y="34"/>
                  </a:lnTo>
                  <a:lnTo>
                    <a:pt x="1724" y="34"/>
                  </a:lnTo>
                  <a:lnTo>
                    <a:pt x="1724" y="33"/>
                  </a:lnTo>
                  <a:lnTo>
                    <a:pt x="1724" y="30"/>
                  </a:lnTo>
                  <a:lnTo>
                    <a:pt x="1723" y="30"/>
                  </a:lnTo>
                  <a:lnTo>
                    <a:pt x="1723" y="28"/>
                  </a:lnTo>
                  <a:lnTo>
                    <a:pt x="1723" y="26"/>
                  </a:lnTo>
                  <a:lnTo>
                    <a:pt x="1723" y="25"/>
                  </a:lnTo>
                  <a:lnTo>
                    <a:pt x="1721" y="25"/>
                  </a:lnTo>
                  <a:lnTo>
                    <a:pt x="1720" y="25"/>
                  </a:lnTo>
                  <a:lnTo>
                    <a:pt x="1718" y="23"/>
                  </a:lnTo>
                  <a:lnTo>
                    <a:pt x="1720" y="23"/>
                  </a:lnTo>
                  <a:lnTo>
                    <a:pt x="1718" y="23"/>
                  </a:lnTo>
                  <a:lnTo>
                    <a:pt x="1718" y="21"/>
                  </a:lnTo>
                  <a:lnTo>
                    <a:pt x="1718" y="20"/>
                  </a:lnTo>
                  <a:lnTo>
                    <a:pt x="1718" y="18"/>
                  </a:lnTo>
                  <a:lnTo>
                    <a:pt x="1716" y="18"/>
                  </a:lnTo>
                  <a:lnTo>
                    <a:pt x="1718" y="17"/>
                  </a:lnTo>
                  <a:lnTo>
                    <a:pt x="1718" y="15"/>
                  </a:lnTo>
                  <a:lnTo>
                    <a:pt x="1720" y="15"/>
                  </a:lnTo>
                  <a:lnTo>
                    <a:pt x="1720" y="13"/>
                  </a:lnTo>
                  <a:lnTo>
                    <a:pt x="1721" y="13"/>
                  </a:lnTo>
                  <a:lnTo>
                    <a:pt x="1723" y="15"/>
                  </a:lnTo>
                  <a:lnTo>
                    <a:pt x="1723" y="13"/>
                  </a:lnTo>
                  <a:lnTo>
                    <a:pt x="1721" y="12"/>
                  </a:lnTo>
                  <a:lnTo>
                    <a:pt x="1721" y="10"/>
                  </a:lnTo>
                  <a:lnTo>
                    <a:pt x="1723" y="10"/>
                  </a:lnTo>
                  <a:lnTo>
                    <a:pt x="1724" y="12"/>
                  </a:lnTo>
                  <a:lnTo>
                    <a:pt x="1726" y="12"/>
                  </a:lnTo>
                  <a:lnTo>
                    <a:pt x="1726" y="10"/>
                  </a:lnTo>
                  <a:lnTo>
                    <a:pt x="1728" y="12"/>
                  </a:lnTo>
                  <a:lnTo>
                    <a:pt x="1728" y="13"/>
                  </a:lnTo>
                  <a:lnTo>
                    <a:pt x="1728" y="15"/>
                  </a:lnTo>
                  <a:lnTo>
                    <a:pt x="1728" y="17"/>
                  </a:lnTo>
                  <a:lnTo>
                    <a:pt x="1726" y="18"/>
                  </a:lnTo>
                  <a:lnTo>
                    <a:pt x="1726" y="20"/>
                  </a:lnTo>
                  <a:lnTo>
                    <a:pt x="1728" y="18"/>
                  </a:lnTo>
                  <a:lnTo>
                    <a:pt x="1729" y="20"/>
                  </a:lnTo>
                  <a:lnTo>
                    <a:pt x="1728" y="20"/>
                  </a:lnTo>
                  <a:lnTo>
                    <a:pt x="1729" y="20"/>
                  </a:lnTo>
                  <a:lnTo>
                    <a:pt x="1731" y="17"/>
                  </a:lnTo>
                  <a:lnTo>
                    <a:pt x="1733" y="18"/>
                  </a:lnTo>
                  <a:lnTo>
                    <a:pt x="1733" y="20"/>
                  </a:lnTo>
                  <a:lnTo>
                    <a:pt x="1734" y="21"/>
                  </a:lnTo>
                  <a:lnTo>
                    <a:pt x="1734" y="20"/>
                  </a:lnTo>
                  <a:lnTo>
                    <a:pt x="1734" y="21"/>
                  </a:lnTo>
                  <a:lnTo>
                    <a:pt x="1734" y="20"/>
                  </a:lnTo>
                  <a:lnTo>
                    <a:pt x="1734" y="18"/>
                  </a:lnTo>
                  <a:lnTo>
                    <a:pt x="1736" y="18"/>
                  </a:lnTo>
                  <a:lnTo>
                    <a:pt x="1736" y="20"/>
                  </a:lnTo>
                  <a:lnTo>
                    <a:pt x="1737" y="20"/>
                  </a:lnTo>
                  <a:lnTo>
                    <a:pt x="1736" y="18"/>
                  </a:lnTo>
                  <a:lnTo>
                    <a:pt x="1737" y="18"/>
                  </a:lnTo>
                  <a:lnTo>
                    <a:pt x="1737" y="17"/>
                  </a:lnTo>
                  <a:lnTo>
                    <a:pt x="1737" y="15"/>
                  </a:lnTo>
                  <a:lnTo>
                    <a:pt x="1737" y="13"/>
                  </a:lnTo>
                  <a:lnTo>
                    <a:pt x="1739" y="13"/>
                  </a:lnTo>
                  <a:lnTo>
                    <a:pt x="1737" y="12"/>
                  </a:lnTo>
                  <a:lnTo>
                    <a:pt x="1739" y="12"/>
                  </a:lnTo>
                  <a:lnTo>
                    <a:pt x="1739" y="13"/>
                  </a:lnTo>
                  <a:lnTo>
                    <a:pt x="1739" y="15"/>
                  </a:lnTo>
                  <a:lnTo>
                    <a:pt x="1739" y="17"/>
                  </a:lnTo>
                  <a:lnTo>
                    <a:pt x="1741" y="17"/>
                  </a:lnTo>
                  <a:lnTo>
                    <a:pt x="1741" y="15"/>
                  </a:lnTo>
                  <a:lnTo>
                    <a:pt x="1741" y="13"/>
                  </a:lnTo>
                  <a:lnTo>
                    <a:pt x="1741" y="12"/>
                  </a:lnTo>
                  <a:lnTo>
                    <a:pt x="1742" y="10"/>
                  </a:lnTo>
                  <a:lnTo>
                    <a:pt x="1742" y="12"/>
                  </a:lnTo>
                  <a:lnTo>
                    <a:pt x="1744" y="13"/>
                  </a:lnTo>
                  <a:lnTo>
                    <a:pt x="1744" y="15"/>
                  </a:lnTo>
                  <a:lnTo>
                    <a:pt x="1744" y="17"/>
                  </a:lnTo>
                  <a:lnTo>
                    <a:pt x="1746" y="15"/>
                  </a:lnTo>
                  <a:lnTo>
                    <a:pt x="1746" y="12"/>
                  </a:lnTo>
                  <a:lnTo>
                    <a:pt x="1746" y="10"/>
                  </a:lnTo>
                  <a:lnTo>
                    <a:pt x="1747" y="8"/>
                  </a:lnTo>
                  <a:lnTo>
                    <a:pt x="1749" y="8"/>
                  </a:lnTo>
                  <a:lnTo>
                    <a:pt x="1750" y="8"/>
                  </a:lnTo>
                  <a:lnTo>
                    <a:pt x="1752" y="10"/>
                  </a:lnTo>
                  <a:lnTo>
                    <a:pt x="1752" y="12"/>
                  </a:lnTo>
                  <a:lnTo>
                    <a:pt x="1752" y="10"/>
                  </a:lnTo>
                  <a:lnTo>
                    <a:pt x="1752" y="12"/>
                  </a:lnTo>
                  <a:lnTo>
                    <a:pt x="1754" y="12"/>
                  </a:lnTo>
                  <a:lnTo>
                    <a:pt x="1752" y="12"/>
                  </a:lnTo>
                  <a:lnTo>
                    <a:pt x="1754" y="13"/>
                  </a:lnTo>
                  <a:lnTo>
                    <a:pt x="1754" y="15"/>
                  </a:lnTo>
                  <a:lnTo>
                    <a:pt x="1752" y="15"/>
                  </a:lnTo>
                  <a:lnTo>
                    <a:pt x="1752" y="17"/>
                  </a:lnTo>
                  <a:lnTo>
                    <a:pt x="1750" y="17"/>
                  </a:lnTo>
                  <a:lnTo>
                    <a:pt x="1749" y="17"/>
                  </a:lnTo>
                  <a:lnTo>
                    <a:pt x="1750" y="17"/>
                  </a:lnTo>
                  <a:lnTo>
                    <a:pt x="1752" y="17"/>
                  </a:lnTo>
                  <a:lnTo>
                    <a:pt x="1752" y="18"/>
                  </a:lnTo>
                  <a:lnTo>
                    <a:pt x="1752" y="20"/>
                  </a:lnTo>
                  <a:lnTo>
                    <a:pt x="1752" y="21"/>
                  </a:lnTo>
                  <a:lnTo>
                    <a:pt x="1752" y="23"/>
                  </a:lnTo>
                  <a:lnTo>
                    <a:pt x="1752" y="25"/>
                  </a:lnTo>
                  <a:lnTo>
                    <a:pt x="1752" y="23"/>
                  </a:lnTo>
                  <a:lnTo>
                    <a:pt x="1752" y="21"/>
                  </a:lnTo>
                  <a:lnTo>
                    <a:pt x="1752" y="20"/>
                  </a:lnTo>
                  <a:lnTo>
                    <a:pt x="1754" y="20"/>
                  </a:lnTo>
                  <a:lnTo>
                    <a:pt x="1754" y="25"/>
                  </a:lnTo>
                  <a:lnTo>
                    <a:pt x="1754" y="26"/>
                  </a:lnTo>
                  <a:lnTo>
                    <a:pt x="1754" y="25"/>
                  </a:lnTo>
                  <a:lnTo>
                    <a:pt x="1755" y="25"/>
                  </a:lnTo>
                  <a:lnTo>
                    <a:pt x="1754" y="23"/>
                  </a:lnTo>
                  <a:lnTo>
                    <a:pt x="1755" y="23"/>
                  </a:lnTo>
                  <a:lnTo>
                    <a:pt x="1755" y="25"/>
                  </a:lnTo>
                  <a:lnTo>
                    <a:pt x="1755" y="23"/>
                  </a:lnTo>
                  <a:lnTo>
                    <a:pt x="1757" y="23"/>
                  </a:lnTo>
                  <a:lnTo>
                    <a:pt x="1757" y="21"/>
                  </a:lnTo>
                  <a:lnTo>
                    <a:pt x="1757" y="20"/>
                  </a:lnTo>
                  <a:lnTo>
                    <a:pt x="1757" y="18"/>
                  </a:lnTo>
                  <a:lnTo>
                    <a:pt x="1757" y="20"/>
                  </a:lnTo>
                  <a:lnTo>
                    <a:pt x="1759" y="20"/>
                  </a:lnTo>
                  <a:lnTo>
                    <a:pt x="1757" y="20"/>
                  </a:lnTo>
                  <a:lnTo>
                    <a:pt x="1759" y="18"/>
                  </a:lnTo>
                  <a:lnTo>
                    <a:pt x="1760" y="18"/>
                  </a:lnTo>
                  <a:lnTo>
                    <a:pt x="1762" y="18"/>
                  </a:lnTo>
                  <a:lnTo>
                    <a:pt x="1763" y="18"/>
                  </a:lnTo>
                  <a:lnTo>
                    <a:pt x="1765" y="18"/>
                  </a:lnTo>
                  <a:lnTo>
                    <a:pt x="1767" y="18"/>
                  </a:lnTo>
                  <a:lnTo>
                    <a:pt x="1768" y="18"/>
                  </a:lnTo>
                  <a:lnTo>
                    <a:pt x="1768" y="20"/>
                  </a:lnTo>
                  <a:lnTo>
                    <a:pt x="1770" y="20"/>
                  </a:lnTo>
                  <a:lnTo>
                    <a:pt x="1770" y="21"/>
                  </a:lnTo>
                  <a:lnTo>
                    <a:pt x="1770" y="23"/>
                  </a:lnTo>
                  <a:lnTo>
                    <a:pt x="1770" y="25"/>
                  </a:lnTo>
                  <a:lnTo>
                    <a:pt x="1770" y="26"/>
                  </a:lnTo>
                  <a:lnTo>
                    <a:pt x="1770" y="28"/>
                  </a:lnTo>
                  <a:lnTo>
                    <a:pt x="1770" y="30"/>
                  </a:lnTo>
                  <a:lnTo>
                    <a:pt x="1768" y="30"/>
                  </a:lnTo>
                  <a:lnTo>
                    <a:pt x="1770" y="31"/>
                  </a:lnTo>
                  <a:lnTo>
                    <a:pt x="1770" y="33"/>
                  </a:lnTo>
                  <a:lnTo>
                    <a:pt x="1768" y="33"/>
                  </a:lnTo>
                  <a:lnTo>
                    <a:pt x="1768" y="34"/>
                  </a:lnTo>
                  <a:lnTo>
                    <a:pt x="1765" y="33"/>
                  </a:lnTo>
                  <a:lnTo>
                    <a:pt x="1763" y="34"/>
                  </a:lnTo>
                  <a:lnTo>
                    <a:pt x="1765" y="34"/>
                  </a:lnTo>
                  <a:lnTo>
                    <a:pt x="1767" y="34"/>
                  </a:lnTo>
                  <a:lnTo>
                    <a:pt x="1768" y="34"/>
                  </a:lnTo>
                  <a:lnTo>
                    <a:pt x="1770" y="34"/>
                  </a:lnTo>
                  <a:lnTo>
                    <a:pt x="1768" y="34"/>
                  </a:lnTo>
                  <a:lnTo>
                    <a:pt x="1768" y="36"/>
                  </a:lnTo>
                  <a:lnTo>
                    <a:pt x="1768" y="38"/>
                  </a:lnTo>
                  <a:lnTo>
                    <a:pt x="1767" y="39"/>
                  </a:lnTo>
                  <a:lnTo>
                    <a:pt x="1765" y="39"/>
                  </a:lnTo>
                  <a:lnTo>
                    <a:pt x="1765" y="41"/>
                  </a:lnTo>
                  <a:lnTo>
                    <a:pt x="1767" y="39"/>
                  </a:lnTo>
                  <a:lnTo>
                    <a:pt x="1767" y="41"/>
                  </a:lnTo>
                  <a:lnTo>
                    <a:pt x="1767" y="43"/>
                  </a:lnTo>
                  <a:lnTo>
                    <a:pt x="1765" y="43"/>
                  </a:lnTo>
                  <a:lnTo>
                    <a:pt x="1763" y="43"/>
                  </a:lnTo>
                  <a:lnTo>
                    <a:pt x="1762" y="43"/>
                  </a:lnTo>
                  <a:lnTo>
                    <a:pt x="1760" y="43"/>
                  </a:lnTo>
                  <a:lnTo>
                    <a:pt x="1762" y="43"/>
                  </a:lnTo>
                  <a:lnTo>
                    <a:pt x="1762" y="44"/>
                  </a:lnTo>
                  <a:lnTo>
                    <a:pt x="1763" y="44"/>
                  </a:lnTo>
                  <a:lnTo>
                    <a:pt x="1765" y="44"/>
                  </a:lnTo>
                  <a:lnTo>
                    <a:pt x="1765" y="46"/>
                  </a:lnTo>
                  <a:lnTo>
                    <a:pt x="1763" y="47"/>
                  </a:lnTo>
                  <a:lnTo>
                    <a:pt x="1763" y="49"/>
                  </a:lnTo>
                  <a:lnTo>
                    <a:pt x="1762" y="49"/>
                  </a:lnTo>
                  <a:lnTo>
                    <a:pt x="1760" y="49"/>
                  </a:lnTo>
                  <a:lnTo>
                    <a:pt x="1759" y="49"/>
                  </a:lnTo>
                  <a:lnTo>
                    <a:pt x="1757" y="49"/>
                  </a:lnTo>
                  <a:lnTo>
                    <a:pt x="1757" y="51"/>
                  </a:lnTo>
                  <a:lnTo>
                    <a:pt x="1755" y="49"/>
                  </a:lnTo>
                  <a:lnTo>
                    <a:pt x="1757" y="49"/>
                  </a:lnTo>
                  <a:lnTo>
                    <a:pt x="1755" y="49"/>
                  </a:lnTo>
                  <a:lnTo>
                    <a:pt x="1755" y="51"/>
                  </a:lnTo>
                  <a:lnTo>
                    <a:pt x="1754" y="51"/>
                  </a:lnTo>
                  <a:lnTo>
                    <a:pt x="1752" y="51"/>
                  </a:lnTo>
                  <a:lnTo>
                    <a:pt x="1752" y="49"/>
                  </a:lnTo>
                  <a:lnTo>
                    <a:pt x="1750" y="49"/>
                  </a:lnTo>
                  <a:lnTo>
                    <a:pt x="1752" y="47"/>
                  </a:lnTo>
                  <a:lnTo>
                    <a:pt x="1750" y="47"/>
                  </a:lnTo>
                  <a:lnTo>
                    <a:pt x="1750" y="49"/>
                  </a:lnTo>
                  <a:lnTo>
                    <a:pt x="1749" y="49"/>
                  </a:lnTo>
                  <a:lnTo>
                    <a:pt x="1750" y="51"/>
                  </a:lnTo>
                  <a:lnTo>
                    <a:pt x="1749" y="51"/>
                  </a:lnTo>
                  <a:lnTo>
                    <a:pt x="1750" y="51"/>
                  </a:lnTo>
                  <a:lnTo>
                    <a:pt x="1749" y="52"/>
                  </a:lnTo>
                  <a:lnTo>
                    <a:pt x="1747" y="52"/>
                  </a:lnTo>
                  <a:lnTo>
                    <a:pt x="1746" y="52"/>
                  </a:lnTo>
                  <a:lnTo>
                    <a:pt x="1744" y="52"/>
                  </a:lnTo>
                  <a:lnTo>
                    <a:pt x="1742" y="52"/>
                  </a:lnTo>
                  <a:lnTo>
                    <a:pt x="1742" y="54"/>
                  </a:lnTo>
                  <a:lnTo>
                    <a:pt x="1741" y="54"/>
                  </a:lnTo>
                  <a:lnTo>
                    <a:pt x="1739" y="54"/>
                  </a:lnTo>
                  <a:lnTo>
                    <a:pt x="1741" y="54"/>
                  </a:lnTo>
                  <a:lnTo>
                    <a:pt x="1742" y="56"/>
                  </a:lnTo>
                  <a:lnTo>
                    <a:pt x="1744" y="54"/>
                  </a:lnTo>
                  <a:lnTo>
                    <a:pt x="1744" y="56"/>
                  </a:lnTo>
                  <a:lnTo>
                    <a:pt x="1744" y="57"/>
                  </a:lnTo>
                  <a:lnTo>
                    <a:pt x="1744" y="59"/>
                  </a:lnTo>
                  <a:lnTo>
                    <a:pt x="1742" y="60"/>
                  </a:lnTo>
                  <a:lnTo>
                    <a:pt x="1744" y="60"/>
                  </a:lnTo>
                  <a:lnTo>
                    <a:pt x="1744" y="59"/>
                  </a:lnTo>
                  <a:lnTo>
                    <a:pt x="1746" y="57"/>
                  </a:lnTo>
                  <a:lnTo>
                    <a:pt x="1747" y="56"/>
                  </a:lnTo>
                  <a:lnTo>
                    <a:pt x="1749" y="56"/>
                  </a:lnTo>
                  <a:lnTo>
                    <a:pt x="1750" y="56"/>
                  </a:lnTo>
                  <a:lnTo>
                    <a:pt x="1752" y="56"/>
                  </a:lnTo>
                  <a:lnTo>
                    <a:pt x="1754" y="56"/>
                  </a:lnTo>
                  <a:lnTo>
                    <a:pt x="1754" y="57"/>
                  </a:lnTo>
                  <a:lnTo>
                    <a:pt x="1754" y="59"/>
                  </a:lnTo>
                  <a:lnTo>
                    <a:pt x="1755" y="57"/>
                  </a:lnTo>
                  <a:lnTo>
                    <a:pt x="1755" y="56"/>
                  </a:lnTo>
                  <a:lnTo>
                    <a:pt x="1757" y="56"/>
                  </a:lnTo>
                  <a:lnTo>
                    <a:pt x="1759" y="57"/>
                  </a:lnTo>
                  <a:lnTo>
                    <a:pt x="1760" y="57"/>
                  </a:lnTo>
                  <a:lnTo>
                    <a:pt x="1760" y="59"/>
                  </a:lnTo>
                  <a:lnTo>
                    <a:pt x="1760" y="60"/>
                  </a:lnTo>
                  <a:lnTo>
                    <a:pt x="1759" y="60"/>
                  </a:lnTo>
                  <a:lnTo>
                    <a:pt x="1759" y="62"/>
                  </a:lnTo>
                  <a:lnTo>
                    <a:pt x="1759" y="64"/>
                  </a:lnTo>
                  <a:lnTo>
                    <a:pt x="1757" y="64"/>
                  </a:lnTo>
                  <a:lnTo>
                    <a:pt x="1757" y="65"/>
                  </a:lnTo>
                  <a:lnTo>
                    <a:pt x="1755" y="65"/>
                  </a:lnTo>
                  <a:lnTo>
                    <a:pt x="1755" y="67"/>
                  </a:lnTo>
                  <a:lnTo>
                    <a:pt x="1754" y="67"/>
                  </a:lnTo>
                  <a:lnTo>
                    <a:pt x="1754" y="69"/>
                  </a:lnTo>
                  <a:lnTo>
                    <a:pt x="1752" y="69"/>
                  </a:lnTo>
                  <a:lnTo>
                    <a:pt x="1750" y="70"/>
                  </a:lnTo>
                  <a:lnTo>
                    <a:pt x="1750" y="72"/>
                  </a:lnTo>
                  <a:lnTo>
                    <a:pt x="1752" y="70"/>
                  </a:lnTo>
                  <a:lnTo>
                    <a:pt x="1752" y="72"/>
                  </a:lnTo>
                  <a:lnTo>
                    <a:pt x="1750" y="73"/>
                  </a:lnTo>
                  <a:lnTo>
                    <a:pt x="1750" y="75"/>
                  </a:lnTo>
                  <a:lnTo>
                    <a:pt x="1749" y="75"/>
                  </a:lnTo>
                  <a:lnTo>
                    <a:pt x="1747" y="75"/>
                  </a:lnTo>
                  <a:lnTo>
                    <a:pt x="1747" y="77"/>
                  </a:lnTo>
                  <a:lnTo>
                    <a:pt x="1746" y="77"/>
                  </a:lnTo>
                  <a:lnTo>
                    <a:pt x="1744" y="78"/>
                  </a:lnTo>
                  <a:lnTo>
                    <a:pt x="1742" y="80"/>
                  </a:lnTo>
                  <a:lnTo>
                    <a:pt x="1744" y="80"/>
                  </a:lnTo>
                  <a:lnTo>
                    <a:pt x="1746" y="78"/>
                  </a:lnTo>
                  <a:lnTo>
                    <a:pt x="1747" y="78"/>
                  </a:lnTo>
                  <a:lnTo>
                    <a:pt x="1749" y="78"/>
                  </a:lnTo>
                  <a:lnTo>
                    <a:pt x="1749" y="77"/>
                  </a:lnTo>
                  <a:lnTo>
                    <a:pt x="1750" y="77"/>
                  </a:lnTo>
                  <a:lnTo>
                    <a:pt x="1752" y="75"/>
                  </a:lnTo>
                  <a:lnTo>
                    <a:pt x="1754" y="75"/>
                  </a:lnTo>
                  <a:lnTo>
                    <a:pt x="1755" y="73"/>
                  </a:lnTo>
                  <a:lnTo>
                    <a:pt x="1757" y="70"/>
                  </a:lnTo>
                  <a:lnTo>
                    <a:pt x="1759" y="69"/>
                  </a:lnTo>
                  <a:lnTo>
                    <a:pt x="1760" y="69"/>
                  </a:lnTo>
                  <a:lnTo>
                    <a:pt x="1760" y="67"/>
                  </a:lnTo>
                  <a:lnTo>
                    <a:pt x="1762" y="65"/>
                  </a:lnTo>
                  <a:lnTo>
                    <a:pt x="1763" y="64"/>
                  </a:lnTo>
                  <a:lnTo>
                    <a:pt x="1763" y="62"/>
                  </a:lnTo>
                  <a:lnTo>
                    <a:pt x="1765" y="62"/>
                  </a:lnTo>
                  <a:lnTo>
                    <a:pt x="1765" y="60"/>
                  </a:lnTo>
                  <a:lnTo>
                    <a:pt x="1767" y="60"/>
                  </a:lnTo>
                  <a:lnTo>
                    <a:pt x="1767" y="59"/>
                  </a:lnTo>
                  <a:lnTo>
                    <a:pt x="1768" y="59"/>
                  </a:lnTo>
                  <a:lnTo>
                    <a:pt x="1770" y="60"/>
                  </a:lnTo>
                  <a:lnTo>
                    <a:pt x="1770" y="62"/>
                  </a:lnTo>
                  <a:lnTo>
                    <a:pt x="1770" y="64"/>
                  </a:lnTo>
                  <a:lnTo>
                    <a:pt x="1772" y="64"/>
                  </a:lnTo>
                  <a:lnTo>
                    <a:pt x="1772" y="65"/>
                  </a:lnTo>
                  <a:lnTo>
                    <a:pt x="1772" y="67"/>
                  </a:lnTo>
                  <a:lnTo>
                    <a:pt x="1770" y="69"/>
                  </a:lnTo>
                  <a:lnTo>
                    <a:pt x="1772" y="70"/>
                  </a:lnTo>
                  <a:lnTo>
                    <a:pt x="1770" y="72"/>
                  </a:lnTo>
                  <a:lnTo>
                    <a:pt x="1770" y="75"/>
                  </a:lnTo>
                  <a:lnTo>
                    <a:pt x="1768" y="77"/>
                  </a:lnTo>
                  <a:lnTo>
                    <a:pt x="1768" y="78"/>
                  </a:lnTo>
                  <a:lnTo>
                    <a:pt x="1767" y="80"/>
                  </a:lnTo>
                  <a:lnTo>
                    <a:pt x="1767" y="82"/>
                  </a:lnTo>
                  <a:lnTo>
                    <a:pt x="1765" y="83"/>
                  </a:lnTo>
                  <a:lnTo>
                    <a:pt x="1763" y="85"/>
                  </a:lnTo>
                  <a:lnTo>
                    <a:pt x="1763" y="86"/>
                  </a:lnTo>
                  <a:lnTo>
                    <a:pt x="1762" y="86"/>
                  </a:lnTo>
                  <a:lnTo>
                    <a:pt x="1762" y="88"/>
                  </a:lnTo>
                  <a:lnTo>
                    <a:pt x="1760" y="90"/>
                  </a:lnTo>
                  <a:lnTo>
                    <a:pt x="1759" y="91"/>
                  </a:lnTo>
                  <a:lnTo>
                    <a:pt x="1759" y="93"/>
                  </a:lnTo>
                  <a:lnTo>
                    <a:pt x="1757" y="95"/>
                  </a:lnTo>
                  <a:lnTo>
                    <a:pt x="1755" y="96"/>
                  </a:lnTo>
                  <a:lnTo>
                    <a:pt x="1757" y="96"/>
                  </a:lnTo>
                  <a:lnTo>
                    <a:pt x="1759" y="96"/>
                  </a:lnTo>
                  <a:lnTo>
                    <a:pt x="1757" y="96"/>
                  </a:lnTo>
                  <a:lnTo>
                    <a:pt x="1759" y="100"/>
                  </a:lnTo>
                  <a:lnTo>
                    <a:pt x="1759" y="101"/>
                  </a:lnTo>
                  <a:lnTo>
                    <a:pt x="1760" y="101"/>
                  </a:lnTo>
                  <a:lnTo>
                    <a:pt x="1760" y="103"/>
                  </a:lnTo>
                  <a:lnTo>
                    <a:pt x="1762" y="103"/>
                  </a:lnTo>
                  <a:lnTo>
                    <a:pt x="1760" y="101"/>
                  </a:lnTo>
                  <a:lnTo>
                    <a:pt x="1760" y="100"/>
                  </a:lnTo>
                  <a:lnTo>
                    <a:pt x="1760" y="98"/>
                  </a:lnTo>
                  <a:lnTo>
                    <a:pt x="1760" y="96"/>
                  </a:lnTo>
                  <a:lnTo>
                    <a:pt x="1760" y="95"/>
                  </a:lnTo>
                  <a:lnTo>
                    <a:pt x="1762" y="93"/>
                  </a:lnTo>
                  <a:lnTo>
                    <a:pt x="1763" y="91"/>
                  </a:lnTo>
                  <a:lnTo>
                    <a:pt x="1763" y="93"/>
                  </a:lnTo>
                  <a:lnTo>
                    <a:pt x="1762" y="95"/>
                  </a:lnTo>
                  <a:lnTo>
                    <a:pt x="1762" y="98"/>
                  </a:lnTo>
                  <a:lnTo>
                    <a:pt x="1763" y="95"/>
                  </a:lnTo>
                  <a:lnTo>
                    <a:pt x="1763" y="93"/>
                  </a:lnTo>
                  <a:lnTo>
                    <a:pt x="1765" y="95"/>
                  </a:lnTo>
                  <a:lnTo>
                    <a:pt x="1763" y="95"/>
                  </a:lnTo>
                  <a:lnTo>
                    <a:pt x="1765" y="95"/>
                  </a:lnTo>
                  <a:lnTo>
                    <a:pt x="1765" y="93"/>
                  </a:lnTo>
                  <a:lnTo>
                    <a:pt x="1767" y="91"/>
                  </a:lnTo>
                  <a:lnTo>
                    <a:pt x="1768" y="91"/>
                  </a:lnTo>
                  <a:lnTo>
                    <a:pt x="1770" y="88"/>
                  </a:lnTo>
                  <a:lnTo>
                    <a:pt x="1772" y="88"/>
                  </a:lnTo>
                  <a:lnTo>
                    <a:pt x="1773" y="88"/>
                  </a:lnTo>
                  <a:lnTo>
                    <a:pt x="1773" y="90"/>
                  </a:lnTo>
                  <a:lnTo>
                    <a:pt x="1772" y="91"/>
                  </a:lnTo>
                  <a:lnTo>
                    <a:pt x="1770" y="91"/>
                  </a:lnTo>
                  <a:lnTo>
                    <a:pt x="1770" y="95"/>
                  </a:lnTo>
                  <a:lnTo>
                    <a:pt x="1768" y="96"/>
                  </a:lnTo>
                  <a:lnTo>
                    <a:pt x="1768" y="98"/>
                  </a:lnTo>
                  <a:lnTo>
                    <a:pt x="1768" y="100"/>
                  </a:lnTo>
                  <a:lnTo>
                    <a:pt x="1768" y="101"/>
                  </a:lnTo>
                  <a:lnTo>
                    <a:pt x="1770" y="101"/>
                  </a:lnTo>
                  <a:lnTo>
                    <a:pt x="1770" y="100"/>
                  </a:lnTo>
                  <a:lnTo>
                    <a:pt x="1770" y="98"/>
                  </a:lnTo>
                  <a:lnTo>
                    <a:pt x="1770" y="96"/>
                  </a:lnTo>
                  <a:lnTo>
                    <a:pt x="1772" y="95"/>
                  </a:lnTo>
                  <a:lnTo>
                    <a:pt x="1772" y="93"/>
                  </a:lnTo>
                  <a:lnTo>
                    <a:pt x="1773" y="91"/>
                  </a:lnTo>
                  <a:lnTo>
                    <a:pt x="1775" y="90"/>
                  </a:lnTo>
                  <a:lnTo>
                    <a:pt x="1775" y="88"/>
                  </a:lnTo>
                  <a:lnTo>
                    <a:pt x="1775" y="86"/>
                  </a:lnTo>
                  <a:lnTo>
                    <a:pt x="1776" y="86"/>
                  </a:lnTo>
                  <a:lnTo>
                    <a:pt x="1778" y="86"/>
                  </a:lnTo>
                  <a:lnTo>
                    <a:pt x="1778" y="88"/>
                  </a:lnTo>
                  <a:lnTo>
                    <a:pt x="1778" y="86"/>
                  </a:lnTo>
                  <a:lnTo>
                    <a:pt x="1780" y="86"/>
                  </a:lnTo>
                  <a:lnTo>
                    <a:pt x="1780" y="85"/>
                  </a:lnTo>
                  <a:lnTo>
                    <a:pt x="1781" y="85"/>
                  </a:lnTo>
                  <a:lnTo>
                    <a:pt x="1781" y="86"/>
                  </a:lnTo>
                  <a:lnTo>
                    <a:pt x="1781" y="88"/>
                  </a:lnTo>
                  <a:lnTo>
                    <a:pt x="1780" y="90"/>
                  </a:lnTo>
                  <a:lnTo>
                    <a:pt x="1780" y="91"/>
                  </a:lnTo>
                  <a:lnTo>
                    <a:pt x="1780" y="90"/>
                  </a:lnTo>
                  <a:lnTo>
                    <a:pt x="1781" y="91"/>
                  </a:lnTo>
                  <a:lnTo>
                    <a:pt x="1780" y="93"/>
                  </a:lnTo>
                  <a:lnTo>
                    <a:pt x="1780" y="95"/>
                  </a:lnTo>
                  <a:lnTo>
                    <a:pt x="1780" y="96"/>
                  </a:lnTo>
                  <a:lnTo>
                    <a:pt x="1780" y="98"/>
                  </a:lnTo>
                  <a:lnTo>
                    <a:pt x="1780" y="100"/>
                  </a:lnTo>
                  <a:lnTo>
                    <a:pt x="1780" y="98"/>
                  </a:lnTo>
                  <a:lnTo>
                    <a:pt x="1780" y="100"/>
                  </a:lnTo>
                  <a:lnTo>
                    <a:pt x="1780" y="101"/>
                  </a:lnTo>
                  <a:lnTo>
                    <a:pt x="1778" y="101"/>
                  </a:lnTo>
                  <a:lnTo>
                    <a:pt x="1778" y="103"/>
                  </a:lnTo>
                  <a:lnTo>
                    <a:pt x="1778" y="104"/>
                  </a:lnTo>
                  <a:lnTo>
                    <a:pt x="1778" y="106"/>
                  </a:lnTo>
                  <a:lnTo>
                    <a:pt x="1778" y="108"/>
                  </a:lnTo>
                  <a:lnTo>
                    <a:pt x="1778" y="109"/>
                  </a:lnTo>
                  <a:lnTo>
                    <a:pt x="1780" y="111"/>
                  </a:lnTo>
                  <a:lnTo>
                    <a:pt x="1780" y="113"/>
                  </a:lnTo>
                  <a:lnTo>
                    <a:pt x="1780" y="114"/>
                  </a:lnTo>
                  <a:lnTo>
                    <a:pt x="1780" y="116"/>
                  </a:lnTo>
                  <a:lnTo>
                    <a:pt x="1780" y="117"/>
                  </a:lnTo>
                  <a:lnTo>
                    <a:pt x="1781" y="117"/>
                  </a:lnTo>
                  <a:lnTo>
                    <a:pt x="1781" y="119"/>
                  </a:lnTo>
                  <a:lnTo>
                    <a:pt x="1781" y="121"/>
                  </a:lnTo>
                  <a:lnTo>
                    <a:pt x="1781" y="124"/>
                  </a:lnTo>
                  <a:lnTo>
                    <a:pt x="1783" y="124"/>
                  </a:lnTo>
                  <a:lnTo>
                    <a:pt x="1783" y="126"/>
                  </a:lnTo>
                  <a:lnTo>
                    <a:pt x="1783" y="127"/>
                  </a:lnTo>
                  <a:lnTo>
                    <a:pt x="1783" y="129"/>
                  </a:lnTo>
                  <a:lnTo>
                    <a:pt x="1785" y="129"/>
                  </a:lnTo>
                  <a:lnTo>
                    <a:pt x="1785" y="130"/>
                  </a:lnTo>
                  <a:lnTo>
                    <a:pt x="1786" y="130"/>
                  </a:lnTo>
                  <a:lnTo>
                    <a:pt x="1785" y="130"/>
                  </a:lnTo>
                  <a:lnTo>
                    <a:pt x="1786" y="130"/>
                  </a:lnTo>
                  <a:lnTo>
                    <a:pt x="1786" y="132"/>
                  </a:lnTo>
                  <a:lnTo>
                    <a:pt x="1786" y="134"/>
                  </a:lnTo>
                  <a:lnTo>
                    <a:pt x="1788" y="134"/>
                  </a:lnTo>
                  <a:lnTo>
                    <a:pt x="1788" y="135"/>
                  </a:lnTo>
                  <a:lnTo>
                    <a:pt x="1788" y="137"/>
                  </a:lnTo>
                  <a:lnTo>
                    <a:pt x="1788" y="139"/>
                  </a:lnTo>
                  <a:lnTo>
                    <a:pt x="1788" y="140"/>
                  </a:lnTo>
                  <a:lnTo>
                    <a:pt x="1788" y="142"/>
                  </a:lnTo>
                  <a:lnTo>
                    <a:pt x="1788" y="143"/>
                  </a:lnTo>
                  <a:lnTo>
                    <a:pt x="1786" y="145"/>
                  </a:lnTo>
                  <a:lnTo>
                    <a:pt x="1785" y="147"/>
                  </a:lnTo>
                  <a:lnTo>
                    <a:pt x="1785" y="148"/>
                  </a:lnTo>
                  <a:lnTo>
                    <a:pt x="1785" y="150"/>
                  </a:lnTo>
                  <a:lnTo>
                    <a:pt x="1783" y="150"/>
                  </a:lnTo>
                  <a:lnTo>
                    <a:pt x="1781" y="150"/>
                  </a:lnTo>
                  <a:lnTo>
                    <a:pt x="1783" y="150"/>
                  </a:lnTo>
                  <a:lnTo>
                    <a:pt x="1785" y="150"/>
                  </a:lnTo>
                  <a:lnTo>
                    <a:pt x="1785" y="148"/>
                  </a:lnTo>
                  <a:lnTo>
                    <a:pt x="1786" y="148"/>
                  </a:lnTo>
                  <a:lnTo>
                    <a:pt x="1786" y="150"/>
                  </a:lnTo>
                  <a:lnTo>
                    <a:pt x="1786" y="148"/>
                  </a:lnTo>
                  <a:lnTo>
                    <a:pt x="1786" y="147"/>
                  </a:lnTo>
                  <a:lnTo>
                    <a:pt x="1786" y="145"/>
                  </a:lnTo>
                  <a:lnTo>
                    <a:pt x="1788" y="143"/>
                  </a:lnTo>
                  <a:lnTo>
                    <a:pt x="1788" y="139"/>
                  </a:lnTo>
                  <a:lnTo>
                    <a:pt x="1788" y="137"/>
                  </a:lnTo>
                  <a:lnTo>
                    <a:pt x="1788" y="135"/>
                  </a:lnTo>
                  <a:lnTo>
                    <a:pt x="1788" y="134"/>
                  </a:lnTo>
                  <a:lnTo>
                    <a:pt x="1786" y="134"/>
                  </a:lnTo>
                  <a:lnTo>
                    <a:pt x="1786" y="132"/>
                  </a:lnTo>
                  <a:lnTo>
                    <a:pt x="1786" y="130"/>
                  </a:lnTo>
                  <a:lnTo>
                    <a:pt x="1785" y="129"/>
                  </a:lnTo>
                  <a:lnTo>
                    <a:pt x="1785" y="127"/>
                  </a:lnTo>
                  <a:lnTo>
                    <a:pt x="1783" y="126"/>
                  </a:lnTo>
                  <a:lnTo>
                    <a:pt x="1783" y="124"/>
                  </a:lnTo>
                  <a:lnTo>
                    <a:pt x="1783" y="122"/>
                  </a:lnTo>
                  <a:lnTo>
                    <a:pt x="1783" y="124"/>
                  </a:lnTo>
                  <a:lnTo>
                    <a:pt x="1781" y="124"/>
                  </a:lnTo>
                  <a:lnTo>
                    <a:pt x="1783" y="122"/>
                  </a:lnTo>
                  <a:lnTo>
                    <a:pt x="1781" y="121"/>
                  </a:lnTo>
                  <a:lnTo>
                    <a:pt x="1783" y="122"/>
                  </a:lnTo>
                  <a:lnTo>
                    <a:pt x="1781" y="122"/>
                  </a:lnTo>
                  <a:lnTo>
                    <a:pt x="1781" y="121"/>
                  </a:lnTo>
                  <a:lnTo>
                    <a:pt x="1781" y="119"/>
                  </a:lnTo>
                  <a:lnTo>
                    <a:pt x="1781" y="117"/>
                  </a:lnTo>
                  <a:lnTo>
                    <a:pt x="1780" y="116"/>
                  </a:lnTo>
                  <a:lnTo>
                    <a:pt x="1781" y="114"/>
                  </a:lnTo>
                  <a:lnTo>
                    <a:pt x="1781" y="113"/>
                  </a:lnTo>
                  <a:lnTo>
                    <a:pt x="1780" y="113"/>
                  </a:lnTo>
                  <a:lnTo>
                    <a:pt x="1780" y="111"/>
                  </a:lnTo>
                  <a:lnTo>
                    <a:pt x="1780" y="109"/>
                  </a:lnTo>
                  <a:lnTo>
                    <a:pt x="1778" y="109"/>
                  </a:lnTo>
                  <a:lnTo>
                    <a:pt x="1780" y="109"/>
                  </a:lnTo>
                  <a:lnTo>
                    <a:pt x="1778" y="108"/>
                  </a:lnTo>
                  <a:lnTo>
                    <a:pt x="1778" y="106"/>
                  </a:lnTo>
                  <a:lnTo>
                    <a:pt x="1780" y="106"/>
                  </a:lnTo>
                  <a:lnTo>
                    <a:pt x="1780" y="108"/>
                  </a:lnTo>
                  <a:lnTo>
                    <a:pt x="1780" y="106"/>
                  </a:lnTo>
                  <a:lnTo>
                    <a:pt x="1778" y="104"/>
                  </a:lnTo>
                  <a:lnTo>
                    <a:pt x="1778" y="103"/>
                  </a:lnTo>
                  <a:lnTo>
                    <a:pt x="1780" y="101"/>
                  </a:lnTo>
                  <a:lnTo>
                    <a:pt x="1780" y="100"/>
                  </a:lnTo>
                  <a:lnTo>
                    <a:pt x="1781" y="98"/>
                  </a:lnTo>
                  <a:lnTo>
                    <a:pt x="1781" y="96"/>
                  </a:lnTo>
                  <a:lnTo>
                    <a:pt x="1781" y="95"/>
                  </a:lnTo>
                  <a:lnTo>
                    <a:pt x="1781" y="93"/>
                  </a:lnTo>
                  <a:lnTo>
                    <a:pt x="1781" y="91"/>
                  </a:lnTo>
                  <a:lnTo>
                    <a:pt x="1781" y="90"/>
                  </a:lnTo>
                  <a:lnTo>
                    <a:pt x="1781" y="88"/>
                  </a:lnTo>
                  <a:lnTo>
                    <a:pt x="1781" y="90"/>
                  </a:lnTo>
                  <a:lnTo>
                    <a:pt x="1781" y="88"/>
                  </a:lnTo>
                  <a:lnTo>
                    <a:pt x="1781" y="86"/>
                  </a:lnTo>
                  <a:lnTo>
                    <a:pt x="1783" y="86"/>
                  </a:lnTo>
                  <a:lnTo>
                    <a:pt x="1781" y="86"/>
                  </a:lnTo>
                  <a:lnTo>
                    <a:pt x="1781" y="85"/>
                  </a:lnTo>
                  <a:lnTo>
                    <a:pt x="1781" y="83"/>
                  </a:lnTo>
                  <a:lnTo>
                    <a:pt x="1783" y="83"/>
                  </a:lnTo>
                  <a:lnTo>
                    <a:pt x="1783" y="85"/>
                  </a:lnTo>
                  <a:lnTo>
                    <a:pt x="1783" y="86"/>
                  </a:lnTo>
                  <a:lnTo>
                    <a:pt x="1783" y="85"/>
                  </a:lnTo>
                  <a:lnTo>
                    <a:pt x="1783" y="83"/>
                  </a:lnTo>
                  <a:lnTo>
                    <a:pt x="1785" y="83"/>
                  </a:lnTo>
                  <a:lnTo>
                    <a:pt x="1785" y="85"/>
                  </a:lnTo>
                  <a:lnTo>
                    <a:pt x="1786" y="85"/>
                  </a:lnTo>
                  <a:lnTo>
                    <a:pt x="1786" y="88"/>
                  </a:lnTo>
                  <a:lnTo>
                    <a:pt x="1786" y="90"/>
                  </a:lnTo>
                  <a:lnTo>
                    <a:pt x="1786" y="91"/>
                  </a:lnTo>
                  <a:lnTo>
                    <a:pt x="1788" y="91"/>
                  </a:lnTo>
                  <a:lnTo>
                    <a:pt x="1788" y="93"/>
                  </a:lnTo>
                  <a:lnTo>
                    <a:pt x="1789" y="93"/>
                  </a:lnTo>
                  <a:lnTo>
                    <a:pt x="1789" y="91"/>
                  </a:lnTo>
                  <a:lnTo>
                    <a:pt x="1789" y="90"/>
                  </a:lnTo>
                  <a:lnTo>
                    <a:pt x="1788" y="90"/>
                  </a:lnTo>
                  <a:lnTo>
                    <a:pt x="1788" y="88"/>
                  </a:lnTo>
                  <a:lnTo>
                    <a:pt x="1788" y="86"/>
                  </a:lnTo>
                  <a:lnTo>
                    <a:pt x="1789" y="85"/>
                  </a:lnTo>
                  <a:lnTo>
                    <a:pt x="1789" y="83"/>
                  </a:lnTo>
                  <a:lnTo>
                    <a:pt x="1788" y="83"/>
                  </a:lnTo>
                  <a:lnTo>
                    <a:pt x="1788" y="85"/>
                  </a:lnTo>
                  <a:lnTo>
                    <a:pt x="1785" y="85"/>
                  </a:lnTo>
                  <a:lnTo>
                    <a:pt x="1785" y="83"/>
                  </a:lnTo>
                  <a:lnTo>
                    <a:pt x="1783" y="83"/>
                  </a:lnTo>
                  <a:lnTo>
                    <a:pt x="1783" y="82"/>
                  </a:lnTo>
                  <a:lnTo>
                    <a:pt x="1780" y="82"/>
                  </a:lnTo>
                  <a:lnTo>
                    <a:pt x="1781" y="80"/>
                  </a:lnTo>
                  <a:lnTo>
                    <a:pt x="1780" y="77"/>
                  </a:lnTo>
                  <a:lnTo>
                    <a:pt x="1781" y="75"/>
                  </a:lnTo>
                  <a:lnTo>
                    <a:pt x="1781" y="73"/>
                  </a:lnTo>
                  <a:lnTo>
                    <a:pt x="1781" y="72"/>
                  </a:lnTo>
                  <a:lnTo>
                    <a:pt x="1781" y="70"/>
                  </a:lnTo>
                  <a:lnTo>
                    <a:pt x="1781" y="69"/>
                  </a:lnTo>
                  <a:lnTo>
                    <a:pt x="1781" y="67"/>
                  </a:lnTo>
                  <a:lnTo>
                    <a:pt x="1781" y="64"/>
                  </a:lnTo>
                  <a:lnTo>
                    <a:pt x="1780" y="62"/>
                  </a:lnTo>
                  <a:lnTo>
                    <a:pt x="1780" y="60"/>
                  </a:lnTo>
                  <a:lnTo>
                    <a:pt x="1781" y="60"/>
                  </a:lnTo>
                  <a:lnTo>
                    <a:pt x="1783" y="60"/>
                  </a:lnTo>
                  <a:lnTo>
                    <a:pt x="1785" y="60"/>
                  </a:lnTo>
                  <a:lnTo>
                    <a:pt x="1785" y="59"/>
                  </a:lnTo>
                  <a:lnTo>
                    <a:pt x="1783" y="59"/>
                  </a:lnTo>
                  <a:lnTo>
                    <a:pt x="1781" y="59"/>
                  </a:lnTo>
                  <a:lnTo>
                    <a:pt x="1781" y="57"/>
                  </a:lnTo>
                  <a:lnTo>
                    <a:pt x="1778" y="54"/>
                  </a:lnTo>
                  <a:lnTo>
                    <a:pt x="1780" y="51"/>
                  </a:lnTo>
                  <a:lnTo>
                    <a:pt x="1781" y="47"/>
                  </a:lnTo>
                  <a:lnTo>
                    <a:pt x="1781" y="46"/>
                  </a:lnTo>
                  <a:lnTo>
                    <a:pt x="1783" y="46"/>
                  </a:lnTo>
                  <a:lnTo>
                    <a:pt x="1783" y="44"/>
                  </a:lnTo>
                  <a:lnTo>
                    <a:pt x="1781" y="43"/>
                  </a:lnTo>
                  <a:lnTo>
                    <a:pt x="1783" y="41"/>
                  </a:lnTo>
                  <a:lnTo>
                    <a:pt x="1781" y="41"/>
                  </a:lnTo>
                  <a:lnTo>
                    <a:pt x="1781" y="39"/>
                  </a:lnTo>
                  <a:lnTo>
                    <a:pt x="1783" y="39"/>
                  </a:lnTo>
                  <a:lnTo>
                    <a:pt x="1783" y="38"/>
                  </a:lnTo>
                  <a:lnTo>
                    <a:pt x="1783" y="36"/>
                  </a:lnTo>
                  <a:lnTo>
                    <a:pt x="1785" y="36"/>
                  </a:lnTo>
                  <a:lnTo>
                    <a:pt x="1783" y="34"/>
                  </a:lnTo>
                  <a:lnTo>
                    <a:pt x="1785" y="33"/>
                  </a:lnTo>
                  <a:lnTo>
                    <a:pt x="1785" y="31"/>
                  </a:lnTo>
                  <a:lnTo>
                    <a:pt x="1786" y="31"/>
                  </a:lnTo>
                  <a:lnTo>
                    <a:pt x="1786" y="30"/>
                  </a:lnTo>
                  <a:lnTo>
                    <a:pt x="1788" y="28"/>
                  </a:lnTo>
                  <a:lnTo>
                    <a:pt x="1789" y="28"/>
                  </a:lnTo>
                  <a:lnTo>
                    <a:pt x="1791" y="28"/>
                  </a:lnTo>
                  <a:lnTo>
                    <a:pt x="1791" y="26"/>
                  </a:lnTo>
                  <a:lnTo>
                    <a:pt x="1793" y="26"/>
                  </a:lnTo>
                  <a:lnTo>
                    <a:pt x="1793" y="28"/>
                  </a:lnTo>
                  <a:lnTo>
                    <a:pt x="1794" y="28"/>
                  </a:lnTo>
                  <a:lnTo>
                    <a:pt x="1793" y="28"/>
                  </a:lnTo>
                  <a:lnTo>
                    <a:pt x="1794" y="28"/>
                  </a:lnTo>
                  <a:lnTo>
                    <a:pt x="1796" y="26"/>
                  </a:lnTo>
                  <a:lnTo>
                    <a:pt x="1798" y="26"/>
                  </a:lnTo>
                  <a:lnTo>
                    <a:pt x="1799" y="26"/>
                  </a:lnTo>
                  <a:lnTo>
                    <a:pt x="1799" y="28"/>
                  </a:lnTo>
                  <a:lnTo>
                    <a:pt x="1799" y="30"/>
                  </a:lnTo>
                  <a:lnTo>
                    <a:pt x="1801" y="30"/>
                  </a:lnTo>
                  <a:lnTo>
                    <a:pt x="1801" y="28"/>
                  </a:lnTo>
                  <a:lnTo>
                    <a:pt x="1801" y="30"/>
                  </a:lnTo>
                  <a:lnTo>
                    <a:pt x="1802" y="30"/>
                  </a:lnTo>
                  <a:lnTo>
                    <a:pt x="1802" y="28"/>
                  </a:lnTo>
                  <a:lnTo>
                    <a:pt x="1802" y="30"/>
                  </a:lnTo>
                  <a:lnTo>
                    <a:pt x="1804" y="28"/>
                  </a:lnTo>
                  <a:lnTo>
                    <a:pt x="1806" y="28"/>
                  </a:lnTo>
                  <a:lnTo>
                    <a:pt x="1807" y="28"/>
                  </a:lnTo>
                  <a:lnTo>
                    <a:pt x="1807" y="30"/>
                  </a:lnTo>
                  <a:lnTo>
                    <a:pt x="1809" y="30"/>
                  </a:lnTo>
                  <a:lnTo>
                    <a:pt x="1809" y="31"/>
                  </a:lnTo>
                  <a:lnTo>
                    <a:pt x="1809" y="33"/>
                  </a:lnTo>
                  <a:lnTo>
                    <a:pt x="1809" y="34"/>
                  </a:lnTo>
                  <a:lnTo>
                    <a:pt x="1811" y="34"/>
                  </a:lnTo>
                  <a:lnTo>
                    <a:pt x="1812" y="34"/>
                  </a:lnTo>
                  <a:lnTo>
                    <a:pt x="1814" y="34"/>
                  </a:lnTo>
                  <a:lnTo>
                    <a:pt x="1815" y="34"/>
                  </a:lnTo>
                  <a:lnTo>
                    <a:pt x="1817" y="34"/>
                  </a:lnTo>
                  <a:lnTo>
                    <a:pt x="1815" y="36"/>
                  </a:lnTo>
                  <a:lnTo>
                    <a:pt x="1815" y="38"/>
                  </a:lnTo>
                  <a:lnTo>
                    <a:pt x="1814" y="39"/>
                  </a:lnTo>
                  <a:lnTo>
                    <a:pt x="1814" y="41"/>
                  </a:lnTo>
                  <a:lnTo>
                    <a:pt x="1812" y="41"/>
                  </a:lnTo>
                  <a:lnTo>
                    <a:pt x="1812" y="43"/>
                  </a:lnTo>
                  <a:lnTo>
                    <a:pt x="1812" y="44"/>
                  </a:lnTo>
                  <a:lnTo>
                    <a:pt x="1814" y="44"/>
                  </a:lnTo>
                  <a:lnTo>
                    <a:pt x="1815" y="43"/>
                  </a:lnTo>
                  <a:lnTo>
                    <a:pt x="1815" y="44"/>
                  </a:lnTo>
                  <a:lnTo>
                    <a:pt x="1815" y="43"/>
                  </a:lnTo>
                  <a:lnTo>
                    <a:pt x="1815" y="44"/>
                  </a:lnTo>
                  <a:lnTo>
                    <a:pt x="1817" y="44"/>
                  </a:lnTo>
                  <a:lnTo>
                    <a:pt x="1817" y="43"/>
                  </a:lnTo>
                  <a:lnTo>
                    <a:pt x="1819" y="43"/>
                  </a:lnTo>
                  <a:lnTo>
                    <a:pt x="1819" y="41"/>
                  </a:lnTo>
                  <a:lnTo>
                    <a:pt x="1820" y="41"/>
                  </a:lnTo>
                  <a:lnTo>
                    <a:pt x="1819" y="43"/>
                  </a:lnTo>
                  <a:lnTo>
                    <a:pt x="1817" y="44"/>
                  </a:lnTo>
                  <a:lnTo>
                    <a:pt x="1815" y="46"/>
                  </a:lnTo>
                  <a:lnTo>
                    <a:pt x="1815" y="44"/>
                  </a:lnTo>
                  <a:lnTo>
                    <a:pt x="1815" y="46"/>
                  </a:lnTo>
                  <a:lnTo>
                    <a:pt x="1814" y="46"/>
                  </a:lnTo>
                  <a:lnTo>
                    <a:pt x="1815" y="47"/>
                  </a:lnTo>
                  <a:lnTo>
                    <a:pt x="1815" y="46"/>
                  </a:lnTo>
                  <a:lnTo>
                    <a:pt x="1815" y="47"/>
                  </a:lnTo>
                  <a:lnTo>
                    <a:pt x="1817" y="47"/>
                  </a:lnTo>
                  <a:lnTo>
                    <a:pt x="1819" y="46"/>
                  </a:lnTo>
                  <a:lnTo>
                    <a:pt x="1819" y="47"/>
                  </a:lnTo>
                  <a:lnTo>
                    <a:pt x="1817" y="49"/>
                  </a:lnTo>
                  <a:lnTo>
                    <a:pt x="1817" y="51"/>
                  </a:lnTo>
                  <a:lnTo>
                    <a:pt x="1815" y="51"/>
                  </a:lnTo>
                  <a:lnTo>
                    <a:pt x="1815" y="52"/>
                  </a:lnTo>
                  <a:lnTo>
                    <a:pt x="1817" y="52"/>
                  </a:lnTo>
                  <a:lnTo>
                    <a:pt x="1815" y="54"/>
                  </a:lnTo>
                  <a:lnTo>
                    <a:pt x="1817" y="54"/>
                  </a:lnTo>
                  <a:lnTo>
                    <a:pt x="1819" y="52"/>
                  </a:lnTo>
                  <a:lnTo>
                    <a:pt x="1819" y="51"/>
                  </a:lnTo>
                  <a:lnTo>
                    <a:pt x="1819" y="49"/>
                  </a:lnTo>
                  <a:lnTo>
                    <a:pt x="1820" y="47"/>
                  </a:lnTo>
                  <a:lnTo>
                    <a:pt x="1820" y="46"/>
                  </a:lnTo>
                  <a:lnTo>
                    <a:pt x="1820" y="47"/>
                  </a:lnTo>
                  <a:lnTo>
                    <a:pt x="1822" y="47"/>
                  </a:lnTo>
                  <a:lnTo>
                    <a:pt x="1822" y="46"/>
                  </a:lnTo>
                  <a:lnTo>
                    <a:pt x="1825" y="44"/>
                  </a:lnTo>
                  <a:lnTo>
                    <a:pt x="1827" y="43"/>
                  </a:lnTo>
                  <a:lnTo>
                    <a:pt x="1828" y="43"/>
                  </a:lnTo>
                  <a:lnTo>
                    <a:pt x="1832" y="38"/>
                  </a:lnTo>
                  <a:lnTo>
                    <a:pt x="1833" y="38"/>
                  </a:lnTo>
                  <a:lnTo>
                    <a:pt x="1833" y="36"/>
                  </a:lnTo>
                  <a:lnTo>
                    <a:pt x="1835" y="38"/>
                  </a:lnTo>
                  <a:lnTo>
                    <a:pt x="1837" y="38"/>
                  </a:lnTo>
                  <a:lnTo>
                    <a:pt x="1837" y="36"/>
                  </a:lnTo>
                  <a:lnTo>
                    <a:pt x="1838" y="38"/>
                  </a:lnTo>
                  <a:lnTo>
                    <a:pt x="1838" y="39"/>
                  </a:lnTo>
                  <a:lnTo>
                    <a:pt x="1838" y="41"/>
                  </a:lnTo>
                  <a:lnTo>
                    <a:pt x="1840" y="41"/>
                  </a:lnTo>
                  <a:lnTo>
                    <a:pt x="1840" y="43"/>
                  </a:lnTo>
                  <a:lnTo>
                    <a:pt x="1840" y="44"/>
                  </a:lnTo>
                  <a:lnTo>
                    <a:pt x="1840" y="46"/>
                  </a:lnTo>
                  <a:lnTo>
                    <a:pt x="1840" y="47"/>
                  </a:lnTo>
                  <a:lnTo>
                    <a:pt x="1840" y="46"/>
                  </a:lnTo>
                  <a:lnTo>
                    <a:pt x="1840" y="47"/>
                  </a:lnTo>
                  <a:lnTo>
                    <a:pt x="1838" y="49"/>
                  </a:lnTo>
                  <a:lnTo>
                    <a:pt x="1838" y="51"/>
                  </a:lnTo>
                  <a:lnTo>
                    <a:pt x="1838" y="52"/>
                  </a:lnTo>
                  <a:lnTo>
                    <a:pt x="1837" y="52"/>
                  </a:lnTo>
                  <a:lnTo>
                    <a:pt x="1838" y="52"/>
                  </a:lnTo>
                  <a:lnTo>
                    <a:pt x="1837" y="52"/>
                  </a:lnTo>
                  <a:lnTo>
                    <a:pt x="1837" y="54"/>
                  </a:lnTo>
                  <a:lnTo>
                    <a:pt x="1838" y="52"/>
                  </a:lnTo>
                  <a:lnTo>
                    <a:pt x="1840" y="51"/>
                  </a:lnTo>
                  <a:lnTo>
                    <a:pt x="1841" y="51"/>
                  </a:lnTo>
                  <a:lnTo>
                    <a:pt x="1841" y="49"/>
                  </a:lnTo>
                  <a:lnTo>
                    <a:pt x="1843" y="49"/>
                  </a:lnTo>
                  <a:lnTo>
                    <a:pt x="1843" y="44"/>
                  </a:lnTo>
                  <a:lnTo>
                    <a:pt x="1843" y="43"/>
                  </a:lnTo>
                  <a:lnTo>
                    <a:pt x="1845" y="41"/>
                  </a:lnTo>
                  <a:lnTo>
                    <a:pt x="1845" y="39"/>
                  </a:lnTo>
                  <a:lnTo>
                    <a:pt x="1845" y="38"/>
                  </a:lnTo>
                  <a:lnTo>
                    <a:pt x="1846" y="38"/>
                  </a:lnTo>
                  <a:lnTo>
                    <a:pt x="1848" y="38"/>
                  </a:lnTo>
                  <a:lnTo>
                    <a:pt x="1848" y="36"/>
                  </a:lnTo>
                  <a:lnTo>
                    <a:pt x="1850" y="36"/>
                  </a:lnTo>
                  <a:lnTo>
                    <a:pt x="1851" y="36"/>
                  </a:lnTo>
                  <a:lnTo>
                    <a:pt x="1853" y="36"/>
                  </a:lnTo>
                  <a:lnTo>
                    <a:pt x="1853" y="38"/>
                  </a:lnTo>
                  <a:lnTo>
                    <a:pt x="1853" y="36"/>
                  </a:lnTo>
                  <a:lnTo>
                    <a:pt x="1855" y="38"/>
                  </a:lnTo>
                  <a:lnTo>
                    <a:pt x="1856" y="38"/>
                  </a:lnTo>
                  <a:lnTo>
                    <a:pt x="1855" y="38"/>
                  </a:lnTo>
                  <a:lnTo>
                    <a:pt x="1856" y="38"/>
                  </a:lnTo>
                  <a:lnTo>
                    <a:pt x="1858" y="38"/>
                  </a:lnTo>
                  <a:lnTo>
                    <a:pt x="1856" y="39"/>
                  </a:lnTo>
                  <a:lnTo>
                    <a:pt x="1858" y="39"/>
                  </a:lnTo>
                  <a:lnTo>
                    <a:pt x="1858" y="38"/>
                  </a:lnTo>
                  <a:lnTo>
                    <a:pt x="1859" y="38"/>
                  </a:lnTo>
                  <a:lnTo>
                    <a:pt x="1858" y="39"/>
                  </a:lnTo>
                  <a:lnTo>
                    <a:pt x="1858" y="41"/>
                  </a:lnTo>
                  <a:lnTo>
                    <a:pt x="1856" y="41"/>
                  </a:lnTo>
                  <a:lnTo>
                    <a:pt x="1856" y="43"/>
                  </a:lnTo>
                  <a:lnTo>
                    <a:pt x="1855" y="43"/>
                  </a:lnTo>
                  <a:lnTo>
                    <a:pt x="1855" y="44"/>
                  </a:lnTo>
                  <a:lnTo>
                    <a:pt x="1856" y="44"/>
                  </a:lnTo>
                  <a:lnTo>
                    <a:pt x="1858" y="43"/>
                  </a:lnTo>
                  <a:lnTo>
                    <a:pt x="1858" y="44"/>
                  </a:lnTo>
                  <a:lnTo>
                    <a:pt x="1858" y="43"/>
                  </a:lnTo>
                  <a:lnTo>
                    <a:pt x="1859" y="43"/>
                  </a:lnTo>
                  <a:close/>
                  <a:moveTo>
                    <a:pt x="994" y="1162"/>
                  </a:moveTo>
                  <a:lnTo>
                    <a:pt x="996" y="1162"/>
                  </a:lnTo>
                  <a:lnTo>
                    <a:pt x="994" y="1162"/>
                  </a:lnTo>
                  <a:close/>
                  <a:moveTo>
                    <a:pt x="62" y="2"/>
                  </a:moveTo>
                  <a:lnTo>
                    <a:pt x="64" y="2"/>
                  </a:lnTo>
                  <a:lnTo>
                    <a:pt x="65" y="2"/>
                  </a:lnTo>
                  <a:lnTo>
                    <a:pt x="65" y="4"/>
                  </a:lnTo>
                  <a:lnTo>
                    <a:pt x="65" y="5"/>
                  </a:lnTo>
                  <a:lnTo>
                    <a:pt x="64" y="5"/>
                  </a:lnTo>
                  <a:lnTo>
                    <a:pt x="62" y="7"/>
                  </a:lnTo>
                  <a:lnTo>
                    <a:pt x="62" y="8"/>
                  </a:lnTo>
                  <a:lnTo>
                    <a:pt x="61" y="8"/>
                  </a:lnTo>
                  <a:lnTo>
                    <a:pt x="61" y="10"/>
                  </a:lnTo>
                  <a:lnTo>
                    <a:pt x="59" y="12"/>
                  </a:lnTo>
                  <a:lnTo>
                    <a:pt x="59" y="13"/>
                  </a:lnTo>
                  <a:lnTo>
                    <a:pt x="59" y="15"/>
                  </a:lnTo>
                  <a:lnTo>
                    <a:pt x="59" y="18"/>
                  </a:lnTo>
                  <a:lnTo>
                    <a:pt x="57" y="21"/>
                  </a:lnTo>
                  <a:lnTo>
                    <a:pt x="56" y="21"/>
                  </a:lnTo>
                  <a:lnTo>
                    <a:pt x="54" y="23"/>
                  </a:lnTo>
                  <a:lnTo>
                    <a:pt x="52" y="21"/>
                  </a:lnTo>
                  <a:lnTo>
                    <a:pt x="51" y="21"/>
                  </a:lnTo>
                  <a:lnTo>
                    <a:pt x="51" y="23"/>
                  </a:lnTo>
                  <a:lnTo>
                    <a:pt x="51" y="21"/>
                  </a:lnTo>
                  <a:lnTo>
                    <a:pt x="49" y="23"/>
                  </a:lnTo>
                  <a:lnTo>
                    <a:pt x="46" y="23"/>
                  </a:lnTo>
                  <a:lnTo>
                    <a:pt x="43" y="23"/>
                  </a:lnTo>
                  <a:lnTo>
                    <a:pt x="41" y="23"/>
                  </a:lnTo>
                  <a:lnTo>
                    <a:pt x="39" y="23"/>
                  </a:lnTo>
                  <a:lnTo>
                    <a:pt x="38" y="23"/>
                  </a:lnTo>
                  <a:lnTo>
                    <a:pt x="36" y="23"/>
                  </a:lnTo>
                  <a:lnTo>
                    <a:pt x="36" y="21"/>
                  </a:lnTo>
                  <a:lnTo>
                    <a:pt x="35" y="21"/>
                  </a:lnTo>
                  <a:lnTo>
                    <a:pt x="33" y="21"/>
                  </a:lnTo>
                  <a:lnTo>
                    <a:pt x="30" y="21"/>
                  </a:lnTo>
                  <a:lnTo>
                    <a:pt x="28" y="21"/>
                  </a:lnTo>
                  <a:lnTo>
                    <a:pt x="25" y="23"/>
                  </a:lnTo>
                  <a:lnTo>
                    <a:pt x="23" y="23"/>
                  </a:lnTo>
                  <a:lnTo>
                    <a:pt x="22" y="25"/>
                  </a:lnTo>
                  <a:lnTo>
                    <a:pt x="20" y="25"/>
                  </a:lnTo>
                  <a:lnTo>
                    <a:pt x="20" y="26"/>
                  </a:lnTo>
                  <a:lnTo>
                    <a:pt x="18" y="26"/>
                  </a:lnTo>
                  <a:lnTo>
                    <a:pt x="18" y="28"/>
                  </a:lnTo>
                  <a:lnTo>
                    <a:pt x="17" y="28"/>
                  </a:lnTo>
                  <a:lnTo>
                    <a:pt x="15" y="30"/>
                  </a:lnTo>
                  <a:lnTo>
                    <a:pt x="13" y="31"/>
                  </a:lnTo>
                  <a:lnTo>
                    <a:pt x="12" y="31"/>
                  </a:lnTo>
                  <a:lnTo>
                    <a:pt x="10" y="31"/>
                  </a:lnTo>
                  <a:lnTo>
                    <a:pt x="9" y="31"/>
                  </a:lnTo>
                  <a:lnTo>
                    <a:pt x="9" y="33"/>
                  </a:lnTo>
                  <a:lnTo>
                    <a:pt x="7" y="33"/>
                  </a:lnTo>
                  <a:lnTo>
                    <a:pt x="7" y="34"/>
                  </a:lnTo>
                  <a:lnTo>
                    <a:pt x="5" y="34"/>
                  </a:lnTo>
                  <a:lnTo>
                    <a:pt x="4" y="34"/>
                  </a:lnTo>
                  <a:lnTo>
                    <a:pt x="2" y="34"/>
                  </a:lnTo>
                  <a:lnTo>
                    <a:pt x="0" y="33"/>
                  </a:lnTo>
                  <a:lnTo>
                    <a:pt x="2" y="33"/>
                  </a:lnTo>
                  <a:lnTo>
                    <a:pt x="2" y="31"/>
                  </a:lnTo>
                  <a:lnTo>
                    <a:pt x="2" y="30"/>
                  </a:lnTo>
                  <a:lnTo>
                    <a:pt x="0" y="30"/>
                  </a:lnTo>
                  <a:lnTo>
                    <a:pt x="0" y="28"/>
                  </a:lnTo>
                  <a:lnTo>
                    <a:pt x="2" y="28"/>
                  </a:lnTo>
                  <a:lnTo>
                    <a:pt x="2" y="26"/>
                  </a:lnTo>
                  <a:lnTo>
                    <a:pt x="4" y="26"/>
                  </a:lnTo>
                  <a:lnTo>
                    <a:pt x="4" y="28"/>
                  </a:lnTo>
                  <a:lnTo>
                    <a:pt x="5" y="28"/>
                  </a:lnTo>
                  <a:lnTo>
                    <a:pt x="5" y="26"/>
                  </a:lnTo>
                  <a:lnTo>
                    <a:pt x="7" y="26"/>
                  </a:lnTo>
                  <a:lnTo>
                    <a:pt x="7" y="25"/>
                  </a:lnTo>
                  <a:lnTo>
                    <a:pt x="9" y="25"/>
                  </a:lnTo>
                  <a:lnTo>
                    <a:pt x="9" y="23"/>
                  </a:lnTo>
                  <a:lnTo>
                    <a:pt x="10" y="23"/>
                  </a:lnTo>
                  <a:lnTo>
                    <a:pt x="12" y="23"/>
                  </a:lnTo>
                  <a:lnTo>
                    <a:pt x="12" y="21"/>
                  </a:lnTo>
                  <a:lnTo>
                    <a:pt x="13" y="21"/>
                  </a:lnTo>
                  <a:lnTo>
                    <a:pt x="15" y="21"/>
                  </a:lnTo>
                  <a:lnTo>
                    <a:pt x="17" y="21"/>
                  </a:lnTo>
                  <a:lnTo>
                    <a:pt x="18" y="21"/>
                  </a:lnTo>
                  <a:lnTo>
                    <a:pt x="20" y="21"/>
                  </a:lnTo>
                  <a:lnTo>
                    <a:pt x="20" y="20"/>
                  </a:lnTo>
                  <a:lnTo>
                    <a:pt x="22" y="20"/>
                  </a:lnTo>
                  <a:lnTo>
                    <a:pt x="23" y="20"/>
                  </a:lnTo>
                  <a:lnTo>
                    <a:pt x="23" y="18"/>
                  </a:lnTo>
                  <a:lnTo>
                    <a:pt x="26" y="18"/>
                  </a:lnTo>
                  <a:lnTo>
                    <a:pt x="30" y="18"/>
                  </a:lnTo>
                  <a:lnTo>
                    <a:pt x="31" y="18"/>
                  </a:lnTo>
                  <a:lnTo>
                    <a:pt x="33" y="18"/>
                  </a:lnTo>
                  <a:lnTo>
                    <a:pt x="33" y="17"/>
                  </a:lnTo>
                  <a:lnTo>
                    <a:pt x="35" y="17"/>
                  </a:lnTo>
                  <a:lnTo>
                    <a:pt x="36" y="15"/>
                  </a:lnTo>
                  <a:lnTo>
                    <a:pt x="36" y="13"/>
                  </a:lnTo>
                  <a:lnTo>
                    <a:pt x="38" y="12"/>
                  </a:lnTo>
                  <a:lnTo>
                    <a:pt x="39" y="10"/>
                  </a:lnTo>
                  <a:lnTo>
                    <a:pt x="39" y="8"/>
                  </a:lnTo>
                  <a:lnTo>
                    <a:pt x="41" y="8"/>
                  </a:lnTo>
                  <a:lnTo>
                    <a:pt x="43" y="7"/>
                  </a:lnTo>
                  <a:lnTo>
                    <a:pt x="44" y="5"/>
                  </a:lnTo>
                  <a:lnTo>
                    <a:pt x="46" y="5"/>
                  </a:lnTo>
                  <a:lnTo>
                    <a:pt x="46" y="4"/>
                  </a:lnTo>
                  <a:lnTo>
                    <a:pt x="48" y="4"/>
                  </a:lnTo>
                  <a:lnTo>
                    <a:pt x="49" y="4"/>
                  </a:lnTo>
                  <a:lnTo>
                    <a:pt x="51" y="4"/>
                  </a:lnTo>
                  <a:lnTo>
                    <a:pt x="54" y="2"/>
                  </a:lnTo>
                  <a:lnTo>
                    <a:pt x="56" y="2"/>
                  </a:lnTo>
                  <a:lnTo>
                    <a:pt x="57" y="2"/>
                  </a:lnTo>
                  <a:lnTo>
                    <a:pt x="59" y="2"/>
                  </a:lnTo>
                  <a:lnTo>
                    <a:pt x="59" y="0"/>
                  </a:lnTo>
                  <a:lnTo>
                    <a:pt x="62" y="2"/>
                  </a:lnTo>
                  <a:close/>
                  <a:moveTo>
                    <a:pt x="984" y="1150"/>
                  </a:moveTo>
                  <a:lnTo>
                    <a:pt x="984" y="1149"/>
                  </a:lnTo>
                  <a:lnTo>
                    <a:pt x="984" y="1150"/>
                  </a:lnTo>
                  <a:close/>
                </a:path>
              </a:pathLst>
            </a:custGeom>
            <a:solidFill>
              <a:srgbClr val="0070C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1206" name="Freeform 52">
              <a:extLst>
                <a:ext uri="{FF2B5EF4-FFF2-40B4-BE49-F238E27FC236}">
                  <a16:creationId xmlns:a16="http://schemas.microsoft.com/office/drawing/2014/main" id="{A83A7823-D461-AA42-2339-0388596728A7}"/>
                </a:ext>
              </a:extLst>
            </p:cNvPr>
            <p:cNvSpPr>
              <a:spLocks noEditPoints="1"/>
            </p:cNvSpPr>
            <p:nvPr/>
          </p:nvSpPr>
          <p:spPr bwMode="auto">
            <a:xfrm>
              <a:off x="4560" y="3018"/>
              <a:ext cx="924" cy="785"/>
            </a:xfrm>
            <a:custGeom>
              <a:avLst/>
              <a:gdLst>
                <a:gd name="T0" fmla="*/ 433 w 924"/>
                <a:gd name="T1" fmla="*/ 71 h 785"/>
                <a:gd name="T2" fmla="*/ 568 w 924"/>
                <a:gd name="T3" fmla="*/ 39 h 785"/>
                <a:gd name="T4" fmla="*/ 729 w 924"/>
                <a:gd name="T5" fmla="*/ 10 h 785"/>
                <a:gd name="T6" fmla="*/ 779 w 924"/>
                <a:gd name="T7" fmla="*/ 57 h 785"/>
                <a:gd name="T8" fmla="*/ 840 w 924"/>
                <a:gd name="T9" fmla="*/ 182 h 785"/>
                <a:gd name="T10" fmla="*/ 810 w 924"/>
                <a:gd name="T11" fmla="*/ 307 h 785"/>
                <a:gd name="T12" fmla="*/ 844 w 924"/>
                <a:gd name="T13" fmla="*/ 325 h 785"/>
                <a:gd name="T14" fmla="*/ 843 w 924"/>
                <a:gd name="T15" fmla="*/ 374 h 785"/>
                <a:gd name="T16" fmla="*/ 866 w 924"/>
                <a:gd name="T17" fmla="*/ 413 h 785"/>
                <a:gd name="T18" fmla="*/ 877 w 924"/>
                <a:gd name="T19" fmla="*/ 444 h 785"/>
                <a:gd name="T20" fmla="*/ 901 w 924"/>
                <a:gd name="T21" fmla="*/ 475 h 785"/>
                <a:gd name="T22" fmla="*/ 906 w 924"/>
                <a:gd name="T23" fmla="*/ 497 h 785"/>
                <a:gd name="T24" fmla="*/ 893 w 924"/>
                <a:gd name="T25" fmla="*/ 563 h 785"/>
                <a:gd name="T26" fmla="*/ 818 w 924"/>
                <a:gd name="T27" fmla="*/ 699 h 785"/>
                <a:gd name="T28" fmla="*/ 853 w 924"/>
                <a:gd name="T29" fmla="*/ 763 h 785"/>
                <a:gd name="T30" fmla="*/ 789 w 924"/>
                <a:gd name="T31" fmla="*/ 756 h 785"/>
                <a:gd name="T32" fmla="*/ 706 w 924"/>
                <a:gd name="T33" fmla="*/ 732 h 785"/>
                <a:gd name="T34" fmla="*/ 654 w 924"/>
                <a:gd name="T35" fmla="*/ 751 h 785"/>
                <a:gd name="T36" fmla="*/ 597 w 924"/>
                <a:gd name="T37" fmla="*/ 761 h 785"/>
                <a:gd name="T38" fmla="*/ 560 w 924"/>
                <a:gd name="T39" fmla="*/ 764 h 785"/>
                <a:gd name="T40" fmla="*/ 506 w 924"/>
                <a:gd name="T41" fmla="*/ 748 h 785"/>
                <a:gd name="T42" fmla="*/ 466 w 924"/>
                <a:gd name="T43" fmla="*/ 740 h 785"/>
                <a:gd name="T44" fmla="*/ 420 w 924"/>
                <a:gd name="T45" fmla="*/ 698 h 785"/>
                <a:gd name="T46" fmla="*/ 384 w 924"/>
                <a:gd name="T47" fmla="*/ 689 h 785"/>
                <a:gd name="T48" fmla="*/ 358 w 924"/>
                <a:gd name="T49" fmla="*/ 662 h 785"/>
                <a:gd name="T50" fmla="*/ 305 w 924"/>
                <a:gd name="T51" fmla="*/ 644 h 785"/>
                <a:gd name="T52" fmla="*/ 272 w 924"/>
                <a:gd name="T53" fmla="*/ 676 h 785"/>
                <a:gd name="T54" fmla="*/ 222 w 924"/>
                <a:gd name="T55" fmla="*/ 655 h 785"/>
                <a:gd name="T56" fmla="*/ 209 w 924"/>
                <a:gd name="T57" fmla="*/ 616 h 785"/>
                <a:gd name="T58" fmla="*/ 145 w 924"/>
                <a:gd name="T59" fmla="*/ 600 h 785"/>
                <a:gd name="T60" fmla="*/ 100 w 924"/>
                <a:gd name="T61" fmla="*/ 572 h 785"/>
                <a:gd name="T62" fmla="*/ 91 w 924"/>
                <a:gd name="T63" fmla="*/ 572 h 785"/>
                <a:gd name="T64" fmla="*/ 98 w 924"/>
                <a:gd name="T65" fmla="*/ 532 h 785"/>
                <a:gd name="T66" fmla="*/ 67 w 924"/>
                <a:gd name="T67" fmla="*/ 496 h 785"/>
                <a:gd name="T68" fmla="*/ 62 w 924"/>
                <a:gd name="T69" fmla="*/ 447 h 785"/>
                <a:gd name="T70" fmla="*/ 48 w 924"/>
                <a:gd name="T71" fmla="*/ 387 h 785"/>
                <a:gd name="T72" fmla="*/ 25 w 924"/>
                <a:gd name="T73" fmla="*/ 327 h 785"/>
                <a:gd name="T74" fmla="*/ 28 w 924"/>
                <a:gd name="T75" fmla="*/ 258 h 785"/>
                <a:gd name="T76" fmla="*/ 43 w 924"/>
                <a:gd name="T77" fmla="*/ 213 h 785"/>
                <a:gd name="T78" fmla="*/ 41 w 924"/>
                <a:gd name="T79" fmla="*/ 161 h 785"/>
                <a:gd name="T80" fmla="*/ 106 w 924"/>
                <a:gd name="T81" fmla="*/ 117 h 785"/>
                <a:gd name="T82" fmla="*/ 220 w 924"/>
                <a:gd name="T83" fmla="*/ 45 h 785"/>
                <a:gd name="T84" fmla="*/ 370 w 924"/>
                <a:gd name="T85" fmla="*/ 18 h 785"/>
                <a:gd name="T86" fmla="*/ 348 w 924"/>
                <a:gd name="T87" fmla="*/ 23 h 785"/>
                <a:gd name="T88" fmla="*/ 370 w 924"/>
                <a:gd name="T89" fmla="*/ 60 h 785"/>
                <a:gd name="T90" fmla="*/ 394 w 924"/>
                <a:gd name="T91" fmla="*/ 62 h 785"/>
                <a:gd name="T92" fmla="*/ 396 w 924"/>
                <a:gd name="T93" fmla="*/ 148 h 785"/>
                <a:gd name="T94" fmla="*/ 355 w 924"/>
                <a:gd name="T95" fmla="*/ 226 h 785"/>
                <a:gd name="T96" fmla="*/ 407 w 924"/>
                <a:gd name="T97" fmla="*/ 270 h 785"/>
                <a:gd name="T98" fmla="*/ 423 w 924"/>
                <a:gd name="T99" fmla="*/ 289 h 785"/>
                <a:gd name="T100" fmla="*/ 350 w 924"/>
                <a:gd name="T101" fmla="*/ 249 h 785"/>
                <a:gd name="T102" fmla="*/ 392 w 924"/>
                <a:gd name="T103" fmla="*/ 171 h 785"/>
                <a:gd name="T104" fmla="*/ 396 w 924"/>
                <a:gd name="T105" fmla="*/ 75 h 785"/>
                <a:gd name="T106" fmla="*/ 418 w 924"/>
                <a:gd name="T107" fmla="*/ 62 h 785"/>
                <a:gd name="T108" fmla="*/ 400 w 924"/>
                <a:gd name="T109" fmla="*/ 114 h 785"/>
                <a:gd name="T110" fmla="*/ 39 w 924"/>
                <a:gd name="T111" fmla="*/ 221 h 785"/>
                <a:gd name="T112" fmla="*/ 26 w 924"/>
                <a:gd name="T113" fmla="*/ 255 h 785"/>
                <a:gd name="T114" fmla="*/ 46 w 924"/>
                <a:gd name="T115" fmla="*/ 145 h 785"/>
                <a:gd name="T116" fmla="*/ 18 w 924"/>
                <a:gd name="T117" fmla="*/ 162 h 785"/>
                <a:gd name="T118" fmla="*/ 7 w 924"/>
                <a:gd name="T119" fmla="*/ 166 h 785"/>
                <a:gd name="T120" fmla="*/ 371 w 924"/>
                <a:gd name="T121" fmla="*/ 57 h 785"/>
                <a:gd name="T122" fmla="*/ 48 w 924"/>
                <a:gd name="T123" fmla="*/ 153 h 785"/>
                <a:gd name="T124" fmla="*/ 12 w 924"/>
                <a:gd name="T125" fmla="*/ 167 h 7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924" h="785">
                  <a:moveTo>
                    <a:pt x="412" y="104"/>
                  </a:moveTo>
                  <a:lnTo>
                    <a:pt x="413" y="102"/>
                  </a:lnTo>
                  <a:lnTo>
                    <a:pt x="413" y="101"/>
                  </a:lnTo>
                  <a:lnTo>
                    <a:pt x="415" y="101"/>
                  </a:lnTo>
                  <a:lnTo>
                    <a:pt x="415" y="97"/>
                  </a:lnTo>
                  <a:lnTo>
                    <a:pt x="415" y="96"/>
                  </a:lnTo>
                  <a:lnTo>
                    <a:pt x="417" y="97"/>
                  </a:lnTo>
                  <a:lnTo>
                    <a:pt x="418" y="97"/>
                  </a:lnTo>
                  <a:lnTo>
                    <a:pt x="418" y="96"/>
                  </a:lnTo>
                  <a:lnTo>
                    <a:pt x="420" y="96"/>
                  </a:lnTo>
                  <a:lnTo>
                    <a:pt x="420" y="94"/>
                  </a:lnTo>
                  <a:lnTo>
                    <a:pt x="420" y="92"/>
                  </a:lnTo>
                  <a:lnTo>
                    <a:pt x="422" y="92"/>
                  </a:lnTo>
                  <a:lnTo>
                    <a:pt x="422" y="91"/>
                  </a:lnTo>
                  <a:lnTo>
                    <a:pt x="422" y="89"/>
                  </a:lnTo>
                  <a:lnTo>
                    <a:pt x="423" y="89"/>
                  </a:lnTo>
                  <a:lnTo>
                    <a:pt x="423" y="88"/>
                  </a:lnTo>
                  <a:lnTo>
                    <a:pt x="423" y="86"/>
                  </a:lnTo>
                  <a:lnTo>
                    <a:pt x="422" y="86"/>
                  </a:lnTo>
                  <a:lnTo>
                    <a:pt x="423" y="83"/>
                  </a:lnTo>
                  <a:lnTo>
                    <a:pt x="425" y="83"/>
                  </a:lnTo>
                  <a:lnTo>
                    <a:pt x="426" y="81"/>
                  </a:lnTo>
                  <a:lnTo>
                    <a:pt x="428" y="81"/>
                  </a:lnTo>
                  <a:lnTo>
                    <a:pt x="428" y="79"/>
                  </a:lnTo>
                  <a:lnTo>
                    <a:pt x="428" y="78"/>
                  </a:lnTo>
                  <a:lnTo>
                    <a:pt x="426" y="76"/>
                  </a:lnTo>
                  <a:lnTo>
                    <a:pt x="425" y="75"/>
                  </a:lnTo>
                  <a:lnTo>
                    <a:pt x="425" y="73"/>
                  </a:lnTo>
                  <a:lnTo>
                    <a:pt x="423" y="71"/>
                  </a:lnTo>
                  <a:lnTo>
                    <a:pt x="422" y="71"/>
                  </a:lnTo>
                  <a:lnTo>
                    <a:pt x="420" y="70"/>
                  </a:lnTo>
                  <a:lnTo>
                    <a:pt x="422" y="70"/>
                  </a:lnTo>
                  <a:lnTo>
                    <a:pt x="423" y="68"/>
                  </a:lnTo>
                  <a:lnTo>
                    <a:pt x="425" y="68"/>
                  </a:lnTo>
                  <a:lnTo>
                    <a:pt x="425" y="70"/>
                  </a:lnTo>
                  <a:lnTo>
                    <a:pt x="426" y="70"/>
                  </a:lnTo>
                  <a:lnTo>
                    <a:pt x="428" y="70"/>
                  </a:lnTo>
                  <a:lnTo>
                    <a:pt x="430" y="70"/>
                  </a:lnTo>
                  <a:lnTo>
                    <a:pt x="431" y="70"/>
                  </a:lnTo>
                  <a:lnTo>
                    <a:pt x="433" y="68"/>
                  </a:lnTo>
                  <a:lnTo>
                    <a:pt x="431" y="70"/>
                  </a:lnTo>
                  <a:lnTo>
                    <a:pt x="431" y="71"/>
                  </a:lnTo>
                  <a:lnTo>
                    <a:pt x="431" y="73"/>
                  </a:lnTo>
                  <a:lnTo>
                    <a:pt x="430" y="75"/>
                  </a:lnTo>
                  <a:lnTo>
                    <a:pt x="430" y="76"/>
                  </a:lnTo>
                  <a:lnTo>
                    <a:pt x="431" y="76"/>
                  </a:lnTo>
                  <a:lnTo>
                    <a:pt x="431" y="75"/>
                  </a:lnTo>
                  <a:lnTo>
                    <a:pt x="433" y="75"/>
                  </a:lnTo>
                  <a:lnTo>
                    <a:pt x="433" y="73"/>
                  </a:lnTo>
                  <a:lnTo>
                    <a:pt x="433" y="71"/>
                  </a:lnTo>
                  <a:lnTo>
                    <a:pt x="433" y="70"/>
                  </a:lnTo>
                  <a:lnTo>
                    <a:pt x="433" y="68"/>
                  </a:lnTo>
                  <a:lnTo>
                    <a:pt x="435" y="68"/>
                  </a:lnTo>
                  <a:lnTo>
                    <a:pt x="435" y="66"/>
                  </a:lnTo>
                  <a:lnTo>
                    <a:pt x="436" y="66"/>
                  </a:lnTo>
                  <a:lnTo>
                    <a:pt x="436" y="65"/>
                  </a:lnTo>
                  <a:lnTo>
                    <a:pt x="438" y="65"/>
                  </a:lnTo>
                  <a:lnTo>
                    <a:pt x="438" y="63"/>
                  </a:lnTo>
                  <a:lnTo>
                    <a:pt x="439" y="62"/>
                  </a:lnTo>
                  <a:lnTo>
                    <a:pt x="439" y="60"/>
                  </a:lnTo>
                  <a:lnTo>
                    <a:pt x="441" y="60"/>
                  </a:lnTo>
                  <a:lnTo>
                    <a:pt x="443" y="60"/>
                  </a:lnTo>
                  <a:lnTo>
                    <a:pt x="444" y="58"/>
                  </a:lnTo>
                  <a:lnTo>
                    <a:pt x="444" y="57"/>
                  </a:lnTo>
                  <a:lnTo>
                    <a:pt x="448" y="57"/>
                  </a:lnTo>
                  <a:lnTo>
                    <a:pt x="449" y="57"/>
                  </a:lnTo>
                  <a:lnTo>
                    <a:pt x="451" y="55"/>
                  </a:lnTo>
                  <a:lnTo>
                    <a:pt x="453" y="53"/>
                  </a:lnTo>
                  <a:lnTo>
                    <a:pt x="454" y="53"/>
                  </a:lnTo>
                  <a:lnTo>
                    <a:pt x="454" y="52"/>
                  </a:lnTo>
                  <a:lnTo>
                    <a:pt x="454" y="50"/>
                  </a:lnTo>
                  <a:lnTo>
                    <a:pt x="456" y="50"/>
                  </a:lnTo>
                  <a:lnTo>
                    <a:pt x="456" y="49"/>
                  </a:lnTo>
                  <a:lnTo>
                    <a:pt x="456" y="47"/>
                  </a:lnTo>
                  <a:lnTo>
                    <a:pt x="457" y="47"/>
                  </a:lnTo>
                  <a:lnTo>
                    <a:pt x="457" y="45"/>
                  </a:lnTo>
                  <a:lnTo>
                    <a:pt x="459" y="44"/>
                  </a:lnTo>
                  <a:lnTo>
                    <a:pt x="457" y="42"/>
                  </a:lnTo>
                  <a:lnTo>
                    <a:pt x="459" y="42"/>
                  </a:lnTo>
                  <a:lnTo>
                    <a:pt x="461" y="42"/>
                  </a:lnTo>
                  <a:lnTo>
                    <a:pt x="461" y="40"/>
                  </a:lnTo>
                  <a:lnTo>
                    <a:pt x="462" y="40"/>
                  </a:lnTo>
                  <a:lnTo>
                    <a:pt x="462" y="39"/>
                  </a:lnTo>
                  <a:lnTo>
                    <a:pt x="472" y="40"/>
                  </a:lnTo>
                  <a:lnTo>
                    <a:pt x="480" y="40"/>
                  </a:lnTo>
                  <a:lnTo>
                    <a:pt x="487" y="39"/>
                  </a:lnTo>
                  <a:lnTo>
                    <a:pt x="496" y="39"/>
                  </a:lnTo>
                  <a:lnTo>
                    <a:pt x="503" y="39"/>
                  </a:lnTo>
                  <a:lnTo>
                    <a:pt x="516" y="40"/>
                  </a:lnTo>
                  <a:lnTo>
                    <a:pt x="529" y="39"/>
                  </a:lnTo>
                  <a:lnTo>
                    <a:pt x="531" y="40"/>
                  </a:lnTo>
                  <a:lnTo>
                    <a:pt x="532" y="40"/>
                  </a:lnTo>
                  <a:lnTo>
                    <a:pt x="535" y="39"/>
                  </a:lnTo>
                  <a:lnTo>
                    <a:pt x="540" y="39"/>
                  </a:lnTo>
                  <a:lnTo>
                    <a:pt x="542" y="39"/>
                  </a:lnTo>
                  <a:lnTo>
                    <a:pt x="548" y="39"/>
                  </a:lnTo>
                  <a:lnTo>
                    <a:pt x="552" y="39"/>
                  </a:lnTo>
                  <a:lnTo>
                    <a:pt x="565" y="37"/>
                  </a:lnTo>
                  <a:lnTo>
                    <a:pt x="566" y="39"/>
                  </a:lnTo>
                  <a:lnTo>
                    <a:pt x="568" y="39"/>
                  </a:lnTo>
                  <a:lnTo>
                    <a:pt x="568" y="37"/>
                  </a:lnTo>
                  <a:lnTo>
                    <a:pt x="576" y="37"/>
                  </a:lnTo>
                  <a:lnTo>
                    <a:pt x="578" y="37"/>
                  </a:lnTo>
                  <a:lnTo>
                    <a:pt x="581" y="37"/>
                  </a:lnTo>
                  <a:lnTo>
                    <a:pt x="586" y="39"/>
                  </a:lnTo>
                  <a:lnTo>
                    <a:pt x="587" y="37"/>
                  </a:lnTo>
                  <a:lnTo>
                    <a:pt x="589" y="37"/>
                  </a:lnTo>
                  <a:lnTo>
                    <a:pt x="591" y="37"/>
                  </a:lnTo>
                  <a:lnTo>
                    <a:pt x="592" y="37"/>
                  </a:lnTo>
                  <a:lnTo>
                    <a:pt x="596" y="36"/>
                  </a:lnTo>
                  <a:lnTo>
                    <a:pt x="597" y="37"/>
                  </a:lnTo>
                  <a:lnTo>
                    <a:pt x="601" y="36"/>
                  </a:lnTo>
                  <a:lnTo>
                    <a:pt x="601" y="37"/>
                  </a:lnTo>
                  <a:lnTo>
                    <a:pt x="602" y="37"/>
                  </a:lnTo>
                  <a:lnTo>
                    <a:pt x="604" y="36"/>
                  </a:lnTo>
                  <a:lnTo>
                    <a:pt x="609" y="36"/>
                  </a:lnTo>
                  <a:lnTo>
                    <a:pt x="610" y="36"/>
                  </a:lnTo>
                  <a:lnTo>
                    <a:pt x="612" y="36"/>
                  </a:lnTo>
                  <a:lnTo>
                    <a:pt x="612" y="34"/>
                  </a:lnTo>
                  <a:lnTo>
                    <a:pt x="617" y="34"/>
                  </a:lnTo>
                  <a:lnTo>
                    <a:pt x="618" y="34"/>
                  </a:lnTo>
                  <a:lnTo>
                    <a:pt x="630" y="31"/>
                  </a:lnTo>
                  <a:lnTo>
                    <a:pt x="641" y="29"/>
                  </a:lnTo>
                  <a:lnTo>
                    <a:pt x="643" y="27"/>
                  </a:lnTo>
                  <a:lnTo>
                    <a:pt x="646" y="27"/>
                  </a:lnTo>
                  <a:lnTo>
                    <a:pt x="651" y="26"/>
                  </a:lnTo>
                  <a:lnTo>
                    <a:pt x="654" y="26"/>
                  </a:lnTo>
                  <a:lnTo>
                    <a:pt x="659" y="26"/>
                  </a:lnTo>
                  <a:lnTo>
                    <a:pt x="662" y="24"/>
                  </a:lnTo>
                  <a:lnTo>
                    <a:pt x="664" y="24"/>
                  </a:lnTo>
                  <a:lnTo>
                    <a:pt x="666" y="23"/>
                  </a:lnTo>
                  <a:lnTo>
                    <a:pt x="672" y="23"/>
                  </a:lnTo>
                  <a:lnTo>
                    <a:pt x="674" y="21"/>
                  </a:lnTo>
                  <a:lnTo>
                    <a:pt x="679" y="21"/>
                  </a:lnTo>
                  <a:lnTo>
                    <a:pt x="682" y="19"/>
                  </a:lnTo>
                  <a:lnTo>
                    <a:pt x="683" y="19"/>
                  </a:lnTo>
                  <a:lnTo>
                    <a:pt x="700" y="16"/>
                  </a:lnTo>
                  <a:lnTo>
                    <a:pt x="701" y="14"/>
                  </a:lnTo>
                  <a:lnTo>
                    <a:pt x="711" y="11"/>
                  </a:lnTo>
                  <a:lnTo>
                    <a:pt x="713" y="11"/>
                  </a:lnTo>
                  <a:lnTo>
                    <a:pt x="714" y="5"/>
                  </a:lnTo>
                  <a:lnTo>
                    <a:pt x="716" y="5"/>
                  </a:lnTo>
                  <a:lnTo>
                    <a:pt x="718" y="5"/>
                  </a:lnTo>
                  <a:lnTo>
                    <a:pt x="719" y="5"/>
                  </a:lnTo>
                  <a:lnTo>
                    <a:pt x="721" y="5"/>
                  </a:lnTo>
                  <a:lnTo>
                    <a:pt x="726" y="5"/>
                  </a:lnTo>
                  <a:lnTo>
                    <a:pt x="727" y="6"/>
                  </a:lnTo>
                  <a:lnTo>
                    <a:pt x="729" y="6"/>
                  </a:lnTo>
                  <a:lnTo>
                    <a:pt x="729" y="8"/>
                  </a:lnTo>
                  <a:lnTo>
                    <a:pt x="729" y="10"/>
                  </a:lnTo>
                  <a:lnTo>
                    <a:pt x="732" y="10"/>
                  </a:lnTo>
                  <a:lnTo>
                    <a:pt x="734" y="11"/>
                  </a:lnTo>
                  <a:lnTo>
                    <a:pt x="734" y="13"/>
                  </a:lnTo>
                  <a:lnTo>
                    <a:pt x="734" y="14"/>
                  </a:lnTo>
                  <a:lnTo>
                    <a:pt x="737" y="16"/>
                  </a:lnTo>
                  <a:lnTo>
                    <a:pt x="739" y="16"/>
                  </a:lnTo>
                  <a:lnTo>
                    <a:pt x="742" y="13"/>
                  </a:lnTo>
                  <a:lnTo>
                    <a:pt x="744" y="14"/>
                  </a:lnTo>
                  <a:lnTo>
                    <a:pt x="744" y="16"/>
                  </a:lnTo>
                  <a:lnTo>
                    <a:pt x="745" y="16"/>
                  </a:lnTo>
                  <a:lnTo>
                    <a:pt x="747" y="16"/>
                  </a:lnTo>
                  <a:lnTo>
                    <a:pt x="749" y="18"/>
                  </a:lnTo>
                  <a:lnTo>
                    <a:pt x="750" y="19"/>
                  </a:lnTo>
                  <a:lnTo>
                    <a:pt x="752" y="19"/>
                  </a:lnTo>
                  <a:lnTo>
                    <a:pt x="753" y="19"/>
                  </a:lnTo>
                  <a:lnTo>
                    <a:pt x="755" y="19"/>
                  </a:lnTo>
                  <a:lnTo>
                    <a:pt x="757" y="19"/>
                  </a:lnTo>
                  <a:lnTo>
                    <a:pt x="758" y="19"/>
                  </a:lnTo>
                  <a:lnTo>
                    <a:pt x="760" y="19"/>
                  </a:lnTo>
                  <a:lnTo>
                    <a:pt x="760" y="21"/>
                  </a:lnTo>
                  <a:lnTo>
                    <a:pt x="762" y="23"/>
                  </a:lnTo>
                  <a:lnTo>
                    <a:pt x="763" y="23"/>
                  </a:lnTo>
                  <a:lnTo>
                    <a:pt x="765" y="23"/>
                  </a:lnTo>
                  <a:lnTo>
                    <a:pt x="765" y="24"/>
                  </a:lnTo>
                  <a:lnTo>
                    <a:pt x="766" y="26"/>
                  </a:lnTo>
                  <a:lnTo>
                    <a:pt x="766" y="27"/>
                  </a:lnTo>
                  <a:lnTo>
                    <a:pt x="768" y="27"/>
                  </a:lnTo>
                  <a:lnTo>
                    <a:pt x="768" y="29"/>
                  </a:lnTo>
                  <a:lnTo>
                    <a:pt x="770" y="29"/>
                  </a:lnTo>
                  <a:lnTo>
                    <a:pt x="771" y="29"/>
                  </a:lnTo>
                  <a:lnTo>
                    <a:pt x="773" y="29"/>
                  </a:lnTo>
                  <a:lnTo>
                    <a:pt x="773" y="31"/>
                  </a:lnTo>
                  <a:lnTo>
                    <a:pt x="775" y="32"/>
                  </a:lnTo>
                  <a:lnTo>
                    <a:pt x="775" y="34"/>
                  </a:lnTo>
                  <a:lnTo>
                    <a:pt x="776" y="36"/>
                  </a:lnTo>
                  <a:lnTo>
                    <a:pt x="776" y="37"/>
                  </a:lnTo>
                  <a:lnTo>
                    <a:pt x="778" y="39"/>
                  </a:lnTo>
                  <a:lnTo>
                    <a:pt x="778" y="40"/>
                  </a:lnTo>
                  <a:lnTo>
                    <a:pt x="779" y="40"/>
                  </a:lnTo>
                  <a:lnTo>
                    <a:pt x="779" y="42"/>
                  </a:lnTo>
                  <a:lnTo>
                    <a:pt x="781" y="45"/>
                  </a:lnTo>
                  <a:lnTo>
                    <a:pt x="781" y="47"/>
                  </a:lnTo>
                  <a:lnTo>
                    <a:pt x="779" y="49"/>
                  </a:lnTo>
                  <a:lnTo>
                    <a:pt x="779" y="50"/>
                  </a:lnTo>
                  <a:lnTo>
                    <a:pt x="779" y="52"/>
                  </a:lnTo>
                  <a:lnTo>
                    <a:pt x="778" y="52"/>
                  </a:lnTo>
                  <a:lnTo>
                    <a:pt x="778" y="53"/>
                  </a:lnTo>
                  <a:lnTo>
                    <a:pt x="778" y="55"/>
                  </a:lnTo>
                  <a:lnTo>
                    <a:pt x="779" y="55"/>
                  </a:lnTo>
                  <a:lnTo>
                    <a:pt x="779" y="57"/>
                  </a:lnTo>
                  <a:lnTo>
                    <a:pt x="781" y="57"/>
                  </a:lnTo>
                  <a:lnTo>
                    <a:pt x="781" y="58"/>
                  </a:lnTo>
                  <a:lnTo>
                    <a:pt x="783" y="62"/>
                  </a:lnTo>
                  <a:lnTo>
                    <a:pt x="783" y="65"/>
                  </a:lnTo>
                  <a:lnTo>
                    <a:pt x="784" y="70"/>
                  </a:lnTo>
                  <a:lnTo>
                    <a:pt x="786" y="71"/>
                  </a:lnTo>
                  <a:lnTo>
                    <a:pt x="788" y="71"/>
                  </a:lnTo>
                  <a:lnTo>
                    <a:pt x="788" y="73"/>
                  </a:lnTo>
                  <a:lnTo>
                    <a:pt x="788" y="75"/>
                  </a:lnTo>
                  <a:lnTo>
                    <a:pt x="788" y="76"/>
                  </a:lnTo>
                  <a:lnTo>
                    <a:pt x="789" y="81"/>
                  </a:lnTo>
                  <a:lnTo>
                    <a:pt x="789" y="84"/>
                  </a:lnTo>
                  <a:lnTo>
                    <a:pt x="791" y="84"/>
                  </a:lnTo>
                  <a:lnTo>
                    <a:pt x="792" y="88"/>
                  </a:lnTo>
                  <a:lnTo>
                    <a:pt x="794" y="89"/>
                  </a:lnTo>
                  <a:lnTo>
                    <a:pt x="794" y="92"/>
                  </a:lnTo>
                  <a:lnTo>
                    <a:pt x="801" y="105"/>
                  </a:lnTo>
                  <a:lnTo>
                    <a:pt x="804" y="112"/>
                  </a:lnTo>
                  <a:lnTo>
                    <a:pt x="805" y="117"/>
                  </a:lnTo>
                  <a:lnTo>
                    <a:pt x="809" y="123"/>
                  </a:lnTo>
                  <a:lnTo>
                    <a:pt x="812" y="128"/>
                  </a:lnTo>
                  <a:lnTo>
                    <a:pt x="815" y="135"/>
                  </a:lnTo>
                  <a:lnTo>
                    <a:pt x="820" y="143"/>
                  </a:lnTo>
                  <a:lnTo>
                    <a:pt x="827" y="154"/>
                  </a:lnTo>
                  <a:lnTo>
                    <a:pt x="830" y="156"/>
                  </a:lnTo>
                  <a:lnTo>
                    <a:pt x="831" y="156"/>
                  </a:lnTo>
                  <a:lnTo>
                    <a:pt x="831" y="158"/>
                  </a:lnTo>
                  <a:lnTo>
                    <a:pt x="831" y="159"/>
                  </a:lnTo>
                  <a:lnTo>
                    <a:pt x="831" y="161"/>
                  </a:lnTo>
                  <a:lnTo>
                    <a:pt x="833" y="161"/>
                  </a:lnTo>
                  <a:lnTo>
                    <a:pt x="835" y="162"/>
                  </a:lnTo>
                  <a:lnTo>
                    <a:pt x="836" y="162"/>
                  </a:lnTo>
                  <a:lnTo>
                    <a:pt x="836" y="164"/>
                  </a:lnTo>
                  <a:lnTo>
                    <a:pt x="838" y="164"/>
                  </a:lnTo>
                  <a:lnTo>
                    <a:pt x="838" y="166"/>
                  </a:lnTo>
                  <a:lnTo>
                    <a:pt x="836" y="166"/>
                  </a:lnTo>
                  <a:lnTo>
                    <a:pt x="838" y="167"/>
                  </a:lnTo>
                  <a:lnTo>
                    <a:pt x="836" y="169"/>
                  </a:lnTo>
                  <a:lnTo>
                    <a:pt x="836" y="171"/>
                  </a:lnTo>
                  <a:lnTo>
                    <a:pt x="836" y="172"/>
                  </a:lnTo>
                  <a:lnTo>
                    <a:pt x="836" y="174"/>
                  </a:lnTo>
                  <a:lnTo>
                    <a:pt x="836" y="175"/>
                  </a:lnTo>
                  <a:lnTo>
                    <a:pt x="836" y="177"/>
                  </a:lnTo>
                  <a:lnTo>
                    <a:pt x="836" y="179"/>
                  </a:lnTo>
                  <a:lnTo>
                    <a:pt x="838" y="179"/>
                  </a:lnTo>
                  <a:lnTo>
                    <a:pt x="840" y="179"/>
                  </a:lnTo>
                  <a:lnTo>
                    <a:pt x="840" y="180"/>
                  </a:lnTo>
                  <a:lnTo>
                    <a:pt x="838" y="180"/>
                  </a:lnTo>
                  <a:lnTo>
                    <a:pt x="840" y="180"/>
                  </a:lnTo>
                  <a:lnTo>
                    <a:pt x="840" y="182"/>
                  </a:lnTo>
                  <a:lnTo>
                    <a:pt x="841" y="182"/>
                  </a:lnTo>
                  <a:lnTo>
                    <a:pt x="840" y="182"/>
                  </a:lnTo>
                  <a:lnTo>
                    <a:pt x="841" y="184"/>
                  </a:lnTo>
                  <a:lnTo>
                    <a:pt x="843" y="185"/>
                  </a:lnTo>
                  <a:lnTo>
                    <a:pt x="843" y="188"/>
                  </a:lnTo>
                  <a:lnTo>
                    <a:pt x="843" y="190"/>
                  </a:lnTo>
                  <a:lnTo>
                    <a:pt x="844" y="192"/>
                  </a:lnTo>
                  <a:lnTo>
                    <a:pt x="843" y="195"/>
                  </a:lnTo>
                  <a:lnTo>
                    <a:pt x="844" y="200"/>
                  </a:lnTo>
                  <a:lnTo>
                    <a:pt x="846" y="201"/>
                  </a:lnTo>
                  <a:lnTo>
                    <a:pt x="848" y="211"/>
                  </a:lnTo>
                  <a:lnTo>
                    <a:pt x="849" y="213"/>
                  </a:lnTo>
                  <a:lnTo>
                    <a:pt x="849" y="218"/>
                  </a:lnTo>
                  <a:lnTo>
                    <a:pt x="851" y="227"/>
                  </a:lnTo>
                  <a:lnTo>
                    <a:pt x="849" y="231"/>
                  </a:lnTo>
                  <a:lnTo>
                    <a:pt x="848" y="232"/>
                  </a:lnTo>
                  <a:lnTo>
                    <a:pt x="846" y="234"/>
                  </a:lnTo>
                  <a:lnTo>
                    <a:pt x="840" y="242"/>
                  </a:lnTo>
                  <a:lnTo>
                    <a:pt x="836" y="245"/>
                  </a:lnTo>
                  <a:lnTo>
                    <a:pt x="835" y="245"/>
                  </a:lnTo>
                  <a:lnTo>
                    <a:pt x="833" y="245"/>
                  </a:lnTo>
                  <a:lnTo>
                    <a:pt x="828" y="247"/>
                  </a:lnTo>
                  <a:lnTo>
                    <a:pt x="823" y="250"/>
                  </a:lnTo>
                  <a:lnTo>
                    <a:pt x="822" y="252"/>
                  </a:lnTo>
                  <a:lnTo>
                    <a:pt x="820" y="253"/>
                  </a:lnTo>
                  <a:lnTo>
                    <a:pt x="818" y="255"/>
                  </a:lnTo>
                  <a:lnTo>
                    <a:pt x="815" y="258"/>
                  </a:lnTo>
                  <a:lnTo>
                    <a:pt x="815" y="260"/>
                  </a:lnTo>
                  <a:lnTo>
                    <a:pt x="814" y="262"/>
                  </a:lnTo>
                  <a:lnTo>
                    <a:pt x="812" y="265"/>
                  </a:lnTo>
                  <a:lnTo>
                    <a:pt x="809" y="271"/>
                  </a:lnTo>
                  <a:lnTo>
                    <a:pt x="805" y="278"/>
                  </a:lnTo>
                  <a:lnTo>
                    <a:pt x="805" y="280"/>
                  </a:lnTo>
                  <a:lnTo>
                    <a:pt x="805" y="281"/>
                  </a:lnTo>
                  <a:lnTo>
                    <a:pt x="804" y="283"/>
                  </a:lnTo>
                  <a:lnTo>
                    <a:pt x="801" y="289"/>
                  </a:lnTo>
                  <a:lnTo>
                    <a:pt x="799" y="297"/>
                  </a:lnTo>
                  <a:lnTo>
                    <a:pt x="797" y="301"/>
                  </a:lnTo>
                  <a:lnTo>
                    <a:pt x="799" y="301"/>
                  </a:lnTo>
                  <a:lnTo>
                    <a:pt x="801" y="301"/>
                  </a:lnTo>
                  <a:lnTo>
                    <a:pt x="801" y="302"/>
                  </a:lnTo>
                  <a:lnTo>
                    <a:pt x="801" y="304"/>
                  </a:lnTo>
                  <a:lnTo>
                    <a:pt x="801" y="306"/>
                  </a:lnTo>
                  <a:lnTo>
                    <a:pt x="801" y="307"/>
                  </a:lnTo>
                  <a:lnTo>
                    <a:pt x="802" y="307"/>
                  </a:lnTo>
                  <a:lnTo>
                    <a:pt x="804" y="309"/>
                  </a:lnTo>
                  <a:lnTo>
                    <a:pt x="805" y="309"/>
                  </a:lnTo>
                  <a:lnTo>
                    <a:pt x="807" y="309"/>
                  </a:lnTo>
                  <a:lnTo>
                    <a:pt x="809" y="307"/>
                  </a:lnTo>
                  <a:lnTo>
                    <a:pt x="810" y="307"/>
                  </a:lnTo>
                  <a:lnTo>
                    <a:pt x="810" y="309"/>
                  </a:lnTo>
                  <a:lnTo>
                    <a:pt x="812" y="309"/>
                  </a:lnTo>
                  <a:lnTo>
                    <a:pt x="814" y="309"/>
                  </a:lnTo>
                  <a:lnTo>
                    <a:pt x="814" y="307"/>
                  </a:lnTo>
                  <a:lnTo>
                    <a:pt x="815" y="307"/>
                  </a:lnTo>
                  <a:lnTo>
                    <a:pt x="815" y="309"/>
                  </a:lnTo>
                  <a:lnTo>
                    <a:pt x="815" y="307"/>
                  </a:lnTo>
                  <a:lnTo>
                    <a:pt x="817" y="309"/>
                  </a:lnTo>
                  <a:lnTo>
                    <a:pt x="817" y="310"/>
                  </a:lnTo>
                  <a:lnTo>
                    <a:pt x="817" y="309"/>
                  </a:lnTo>
                  <a:lnTo>
                    <a:pt x="818" y="309"/>
                  </a:lnTo>
                  <a:lnTo>
                    <a:pt x="820" y="309"/>
                  </a:lnTo>
                  <a:lnTo>
                    <a:pt x="820" y="310"/>
                  </a:lnTo>
                  <a:lnTo>
                    <a:pt x="818" y="310"/>
                  </a:lnTo>
                  <a:lnTo>
                    <a:pt x="820" y="312"/>
                  </a:lnTo>
                  <a:lnTo>
                    <a:pt x="820" y="310"/>
                  </a:lnTo>
                  <a:lnTo>
                    <a:pt x="822" y="312"/>
                  </a:lnTo>
                  <a:lnTo>
                    <a:pt x="823" y="310"/>
                  </a:lnTo>
                  <a:lnTo>
                    <a:pt x="825" y="310"/>
                  </a:lnTo>
                  <a:lnTo>
                    <a:pt x="827" y="310"/>
                  </a:lnTo>
                  <a:lnTo>
                    <a:pt x="828" y="310"/>
                  </a:lnTo>
                  <a:lnTo>
                    <a:pt x="828" y="312"/>
                  </a:lnTo>
                  <a:lnTo>
                    <a:pt x="827" y="312"/>
                  </a:lnTo>
                  <a:lnTo>
                    <a:pt x="828" y="312"/>
                  </a:lnTo>
                  <a:lnTo>
                    <a:pt x="828" y="314"/>
                  </a:lnTo>
                  <a:lnTo>
                    <a:pt x="830" y="314"/>
                  </a:lnTo>
                  <a:lnTo>
                    <a:pt x="830" y="315"/>
                  </a:lnTo>
                  <a:lnTo>
                    <a:pt x="831" y="315"/>
                  </a:lnTo>
                  <a:lnTo>
                    <a:pt x="831" y="317"/>
                  </a:lnTo>
                  <a:lnTo>
                    <a:pt x="833" y="315"/>
                  </a:lnTo>
                  <a:lnTo>
                    <a:pt x="833" y="317"/>
                  </a:lnTo>
                  <a:lnTo>
                    <a:pt x="835" y="319"/>
                  </a:lnTo>
                  <a:lnTo>
                    <a:pt x="835" y="317"/>
                  </a:lnTo>
                  <a:lnTo>
                    <a:pt x="836" y="317"/>
                  </a:lnTo>
                  <a:lnTo>
                    <a:pt x="838" y="317"/>
                  </a:lnTo>
                  <a:lnTo>
                    <a:pt x="840" y="317"/>
                  </a:lnTo>
                  <a:lnTo>
                    <a:pt x="840" y="319"/>
                  </a:lnTo>
                  <a:lnTo>
                    <a:pt x="841" y="319"/>
                  </a:lnTo>
                  <a:lnTo>
                    <a:pt x="840" y="319"/>
                  </a:lnTo>
                  <a:lnTo>
                    <a:pt x="840" y="320"/>
                  </a:lnTo>
                  <a:lnTo>
                    <a:pt x="841" y="320"/>
                  </a:lnTo>
                  <a:lnTo>
                    <a:pt x="843" y="320"/>
                  </a:lnTo>
                  <a:lnTo>
                    <a:pt x="844" y="322"/>
                  </a:lnTo>
                  <a:lnTo>
                    <a:pt x="844" y="323"/>
                  </a:lnTo>
                  <a:lnTo>
                    <a:pt x="843" y="323"/>
                  </a:lnTo>
                  <a:lnTo>
                    <a:pt x="844" y="323"/>
                  </a:lnTo>
                  <a:lnTo>
                    <a:pt x="844" y="325"/>
                  </a:lnTo>
                  <a:lnTo>
                    <a:pt x="844" y="323"/>
                  </a:lnTo>
                  <a:lnTo>
                    <a:pt x="843" y="325"/>
                  </a:lnTo>
                  <a:lnTo>
                    <a:pt x="844" y="325"/>
                  </a:lnTo>
                  <a:lnTo>
                    <a:pt x="846" y="327"/>
                  </a:lnTo>
                  <a:lnTo>
                    <a:pt x="846" y="328"/>
                  </a:lnTo>
                  <a:lnTo>
                    <a:pt x="846" y="330"/>
                  </a:lnTo>
                  <a:lnTo>
                    <a:pt x="848" y="330"/>
                  </a:lnTo>
                  <a:lnTo>
                    <a:pt x="848" y="332"/>
                  </a:lnTo>
                  <a:lnTo>
                    <a:pt x="849" y="332"/>
                  </a:lnTo>
                  <a:lnTo>
                    <a:pt x="849" y="333"/>
                  </a:lnTo>
                  <a:lnTo>
                    <a:pt x="849" y="335"/>
                  </a:lnTo>
                  <a:lnTo>
                    <a:pt x="848" y="335"/>
                  </a:lnTo>
                  <a:lnTo>
                    <a:pt x="848" y="336"/>
                  </a:lnTo>
                  <a:lnTo>
                    <a:pt x="849" y="336"/>
                  </a:lnTo>
                  <a:lnTo>
                    <a:pt x="849" y="338"/>
                  </a:lnTo>
                  <a:lnTo>
                    <a:pt x="848" y="338"/>
                  </a:lnTo>
                  <a:lnTo>
                    <a:pt x="846" y="340"/>
                  </a:lnTo>
                  <a:lnTo>
                    <a:pt x="846" y="341"/>
                  </a:lnTo>
                  <a:lnTo>
                    <a:pt x="848" y="341"/>
                  </a:lnTo>
                  <a:lnTo>
                    <a:pt x="848" y="343"/>
                  </a:lnTo>
                  <a:lnTo>
                    <a:pt x="846" y="343"/>
                  </a:lnTo>
                  <a:lnTo>
                    <a:pt x="846" y="345"/>
                  </a:lnTo>
                  <a:lnTo>
                    <a:pt x="844" y="345"/>
                  </a:lnTo>
                  <a:lnTo>
                    <a:pt x="846" y="346"/>
                  </a:lnTo>
                  <a:lnTo>
                    <a:pt x="848" y="348"/>
                  </a:lnTo>
                  <a:lnTo>
                    <a:pt x="846" y="349"/>
                  </a:lnTo>
                  <a:lnTo>
                    <a:pt x="848" y="351"/>
                  </a:lnTo>
                  <a:lnTo>
                    <a:pt x="846" y="351"/>
                  </a:lnTo>
                  <a:lnTo>
                    <a:pt x="846" y="353"/>
                  </a:lnTo>
                  <a:lnTo>
                    <a:pt x="848" y="354"/>
                  </a:lnTo>
                  <a:lnTo>
                    <a:pt x="846" y="354"/>
                  </a:lnTo>
                  <a:lnTo>
                    <a:pt x="846" y="356"/>
                  </a:lnTo>
                  <a:lnTo>
                    <a:pt x="846" y="358"/>
                  </a:lnTo>
                  <a:lnTo>
                    <a:pt x="848" y="358"/>
                  </a:lnTo>
                  <a:lnTo>
                    <a:pt x="848" y="359"/>
                  </a:lnTo>
                  <a:lnTo>
                    <a:pt x="849" y="359"/>
                  </a:lnTo>
                  <a:lnTo>
                    <a:pt x="851" y="361"/>
                  </a:lnTo>
                  <a:lnTo>
                    <a:pt x="849" y="362"/>
                  </a:lnTo>
                  <a:lnTo>
                    <a:pt x="851" y="362"/>
                  </a:lnTo>
                  <a:lnTo>
                    <a:pt x="849" y="362"/>
                  </a:lnTo>
                  <a:lnTo>
                    <a:pt x="851" y="364"/>
                  </a:lnTo>
                  <a:lnTo>
                    <a:pt x="849" y="364"/>
                  </a:lnTo>
                  <a:lnTo>
                    <a:pt x="849" y="366"/>
                  </a:lnTo>
                  <a:lnTo>
                    <a:pt x="848" y="366"/>
                  </a:lnTo>
                  <a:lnTo>
                    <a:pt x="848" y="367"/>
                  </a:lnTo>
                  <a:lnTo>
                    <a:pt x="846" y="367"/>
                  </a:lnTo>
                  <a:lnTo>
                    <a:pt x="846" y="369"/>
                  </a:lnTo>
                  <a:lnTo>
                    <a:pt x="844" y="369"/>
                  </a:lnTo>
                  <a:lnTo>
                    <a:pt x="844" y="367"/>
                  </a:lnTo>
                  <a:lnTo>
                    <a:pt x="844" y="369"/>
                  </a:lnTo>
                  <a:lnTo>
                    <a:pt x="843" y="371"/>
                  </a:lnTo>
                  <a:lnTo>
                    <a:pt x="843" y="372"/>
                  </a:lnTo>
                  <a:lnTo>
                    <a:pt x="843" y="374"/>
                  </a:lnTo>
                  <a:lnTo>
                    <a:pt x="843" y="372"/>
                  </a:lnTo>
                  <a:lnTo>
                    <a:pt x="843" y="374"/>
                  </a:lnTo>
                  <a:lnTo>
                    <a:pt x="844" y="374"/>
                  </a:lnTo>
                  <a:lnTo>
                    <a:pt x="844" y="372"/>
                  </a:lnTo>
                  <a:lnTo>
                    <a:pt x="844" y="374"/>
                  </a:lnTo>
                  <a:lnTo>
                    <a:pt x="844" y="375"/>
                  </a:lnTo>
                  <a:lnTo>
                    <a:pt x="846" y="375"/>
                  </a:lnTo>
                  <a:lnTo>
                    <a:pt x="844" y="375"/>
                  </a:lnTo>
                  <a:lnTo>
                    <a:pt x="846" y="377"/>
                  </a:lnTo>
                  <a:lnTo>
                    <a:pt x="846" y="379"/>
                  </a:lnTo>
                  <a:lnTo>
                    <a:pt x="846" y="380"/>
                  </a:lnTo>
                  <a:lnTo>
                    <a:pt x="846" y="382"/>
                  </a:lnTo>
                  <a:lnTo>
                    <a:pt x="846" y="384"/>
                  </a:lnTo>
                  <a:lnTo>
                    <a:pt x="846" y="385"/>
                  </a:lnTo>
                  <a:lnTo>
                    <a:pt x="846" y="387"/>
                  </a:lnTo>
                  <a:lnTo>
                    <a:pt x="848" y="388"/>
                  </a:lnTo>
                  <a:lnTo>
                    <a:pt x="846" y="390"/>
                  </a:lnTo>
                  <a:lnTo>
                    <a:pt x="848" y="390"/>
                  </a:lnTo>
                  <a:lnTo>
                    <a:pt x="848" y="392"/>
                  </a:lnTo>
                  <a:lnTo>
                    <a:pt x="849" y="392"/>
                  </a:lnTo>
                  <a:lnTo>
                    <a:pt x="849" y="393"/>
                  </a:lnTo>
                  <a:lnTo>
                    <a:pt x="849" y="395"/>
                  </a:lnTo>
                  <a:lnTo>
                    <a:pt x="851" y="395"/>
                  </a:lnTo>
                  <a:lnTo>
                    <a:pt x="851" y="397"/>
                  </a:lnTo>
                  <a:lnTo>
                    <a:pt x="851" y="398"/>
                  </a:lnTo>
                  <a:lnTo>
                    <a:pt x="851" y="400"/>
                  </a:lnTo>
                  <a:lnTo>
                    <a:pt x="853" y="400"/>
                  </a:lnTo>
                  <a:lnTo>
                    <a:pt x="854" y="400"/>
                  </a:lnTo>
                  <a:lnTo>
                    <a:pt x="856" y="400"/>
                  </a:lnTo>
                  <a:lnTo>
                    <a:pt x="856" y="401"/>
                  </a:lnTo>
                  <a:lnTo>
                    <a:pt x="857" y="401"/>
                  </a:lnTo>
                  <a:lnTo>
                    <a:pt x="856" y="401"/>
                  </a:lnTo>
                  <a:lnTo>
                    <a:pt x="856" y="403"/>
                  </a:lnTo>
                  <a:lnTo>
                    <a:pt x="857" y="403"/>
                  </a:lnTo>
                  <a:lnTo>
                    <a:pt x="857" y="405"/>
                  </a:lnTo>
                  <a:lnTo>
                    <a:pt x="859" y="405"/>
                  </a:lnTo>
                  <a:lnTo>
                    <a:pt x="859" y="406"/>
                  </a:lnTo>
                  <a:lnTo>
                    <a:pt x="859" y="405"/>
                  </a:lnTo>
                  <a:lnTo>
                    <a:pt x="861" y="405"/>
                  </a:lnTo>
                  <a:lnTo>
                    <a:pt x="862" y="406"/>
                  </a:lnTo>
                  <a:lnTo>
                    <a:pt x="862" y="408"/>
                  </a:lnTo>
                  <a:lnTo>
                    <a:pt x="862" y="406"/>
                  </a:lnTo>
                  <a:lnTo>
                    <a:pt x="861" y="408"/>
                  </a:lnTo>
                  <a:lnTo>
                    <a:pt x="861" y="410"/>
                  </a:lnTo>
                  <a:lnTo>
                    <a:pt x="861" y="411"/>
                  </a:lnTo>
                  <a:lnTo>
                    <a:pt x="862" y="411"/>
                  </a:lnTo>
                  <a:lnTo>
                    <a:pt x="864" y="411"/>
                  </a:lnTo>
                  <a:lnTo>
                    <a:pt x="864" y="413"/>
                  </a:lnTo>
                  <a:lnTo>
                    <a:pt x="866" y="415"/>
                  </a:lnTo>
                  <a:lnTo>
                    <a:pt x="866" y="413"/>
                  </a:lnTo>
                  <a:lnTo>
                    <a:pt x="866" y="415"/>
                  </a:lnTo>
                  <a:lnTo>
                    <a:pt x="866" y="416"/>
                  </a:lnTo>
                  <a:lnTo>
                    <a:pt x="867" y="416"/>
                  </a:lnTo>
                  <a:lnTo>
                    <a:pt x="866" y="416"/>
                  </a:lnTo>
                  <a:lnTo>
                    <a:pt x="866" y="418"/>
                  </a:lnTo>
                  <a:lnTo>
                    <a:pt x="866" y="416"/>
                  </a:lnTo>
                  <a:lnTo>
                    <a:pt x="866" y="418"/>
                  </a:lnTo>
                  <a:lnTo>
                    <a:pt x="864" y="418"/>
                  </a:lnTo>
                  <a:lnTo>
                    <a:pt x="866" y="418"/>
                  </a:lnTo>
                  <a:lnTo>
                    <a:pt x="866" y="419"/>
                  </a:lnTo>
                  <a:lnTo>
                    <a:pt x="866" y="421"/>
                  </a:lnTo>
                  <a:lnTo>
                    <a:pt x="866" y="419"/>
                  </a:lnTo>
                  <a:lnTo>
                    <a:pt x="866" y="421"/>
                  </a:lnTo>
                  <a:lnTo>
                    <a:pt x="866" y="423"/>
                  </a:lnTo>
                  <a:lnTo>
                    <a:pt x="864" y="421"/>
                  </a:lnTo>
                  <a:lnTo>
                    <a:pt x="864" y="423"/>
                  </a:lnTo>
                  <a:lnTo>
                    <a:pt x="864" y="424"/>
                  </a:lnTo>
                  <a:lnTo>
                    <a:pt x="864" y="426"/>
                  </a:lnTo>
                  <a:lnTo>
                    <a:pt x="862" y="428"/>
                  </a:lnTo>
                  <a:lnTo>
                    <a:pt x="864" y="428"/>
                  </a:lnTo>
                  <a:lnTo>
                    <a:pt x="862" y="429"/>
                  </a:lnTo>
                  <a:lnTo>
                    <a:pt x="864" y="429"/>
                  </a:lnTo>
                  <a:lnTo>
                    <a:pt x="864" y="431"/>
                  </a:lnTo>
                  <a:lnTo>
                    <a:pt x="866" y="431"/>
                  </a:lnTo>
                  <a:lnTo>
                    <a:pt x="864" y="432"/>
                  </a:lnTo>
                  <a:lnTo>
                    <a:pt x="866" y="432"/>
                  </a:lnTo>
                  <a:lnTo>
                    <a:pt x="864" y="434"/>
                  </a:lnTo>
                  <a:lnTo>
                    <a:pt x="866" y="432"/>
                  </a:lnTo>
                  <a:lnTo>
                    <a:pt x="866" y="434"/>
                  </a:lnTo>
                  <a:lnTo>
                    <a:pt x="866" y="432"/>
                  </a:lnTo>
                  <a:lnTo>
                    <a:pt x="867" y="432"/>
                  </a:lnTo>
                  <a:lnTo>
                    <a:pt x="869" y="432"/>
                  </a:lnTo>
                  <a:lnTo>
                    <a:pt x="869" y="434"/>
                  </a:lnTo>
                  <a:lnTo>
                    <a:pt x="870" y="434"/>
                  </a:lnTo>
                  <a:lnTo>
                    <a:pt x="870" y="436"/>
                  </a:lnTo>
                  <a:lnTo>
                    <a:pt x="870" y="434"/>
                  </a:lnTo>
                  <a:lnTo>
                    <a:pt x="872" y="434"/>
                  </a:lnTo>
                  <a:lnTo>
                    <a:pt x="872" y="436"/>
                  </a:lnTo>
                  <a:lnTo>
                    <a:pt x="872" y="437"/>
                  </a:lnTo>
                  <a:lnTo>
                    <a:pt x="872" y="439"/>
                  </a:lnTo>
                  <a:lnTo>
                    <a:pt x="874" y="437"/>
                  </a:lnTo>
                  <a:lnTo>
                    <a:pt x="874" y="439"/>
                  </a:lnTo>
                  <a:lnTo>
                    <a:pt x="872" y="439"/>
                  </a:lnTo>
                  <a:lnTo>
                    <a:pt x="874" y="439"/>
                  </a:lnTo>
                  <a:lnTo>
                    <a:pt x="874" y="441"/>
                  </a:lnTo>
                  <a:lnTo>
                    <a:pt x="875" y="441"/>
                  </a:lnTo>
                  <a:lnTo>
                    <a:pt x="874" y="442"/>
                  </a:lnTo>
                  <a:lnTo>
                    <a:pt x="875" y="442"/>
                  </a:lnTo>
                  <a:lnTo>
                    <a:pt x="877" y="442"/>
                  </a:lnTo>
                  <a:lnTo>
                    <a:pt x="877" y="444"/>
                  </a:lnTo>
                  <a:lnTo>
                    <a:pt x="879" y="444"/>
                  </a:lnTo>
                  <a:lnTo>
                    <a:pt x="879" y="445"/>
                  </a:lnTo>
                  <a:lnTo>
                    <a:pt x="880" y="445"/>
                  </a:lnTo>
                  <a:lnTo>
                    <a:pt x="882" y="445"/>
                  </a:lnTo>
                  <a:lnTo>
                    <a:pt x="882" y="447"/>
                  </a:lnTo>
                  <a:lnTo>
                    <a:pt x="883" y="447"/>
                  </a:lnTo>
                  <a:lnTo>
                    <a:pt x="883" y="449"/>
                  </a:lnTo>
                  <a:lnTo>
                    <a:pt x="885" y="449"/>
                  </a:lnTo>
                  <a:lnTo>
                    <a:pt x="885" y="447"/>
                  </a:lnTo>
                  <a:lnTo>
                    <a:pt x="885" y="449"/>
                  </a:lnTo>
                  <a:lnTo>
                    <a:pt x="885" y="447"/>
                  </a:lnTo>
                  <a:lnTo>
                    <a:pt x="885" y="449"/>
                  </a:lnTo>
                  <a:lnTo>
                    <a:pt x="887" y="449"/>
                  </a:lnTo>
                  <a:lnTo>
                    <a:pt x="888" y="449"/>
                  </a:lnTo>
                  <a:lnTo>
                    <a:pt x="888" y="450"/>
                  </a:lnTo>
                  <a:lnTo>
                    <a:pt x="888" y="452"/>
                  </a:lnTo>
                  <a:lnTo>
                    <a:pt x="887" y="452"/>
                  </a:lnTo>
                  <a:lnTo>
                    <a:pt x="887" y="454"/>
                  </a:lnTo>
                  <a:lnTo>
                    <a:pt x="888" y="454"/>
                  </a:lnTo>
                  <a:lnTo>
                    <a:pt x="888" y="455"/>
                  </a:lnTo>
                  <a:lnTo>
                    <a:pt x="888" y="457"/>
                  </a:lnTo>
                  <a:lnTo>
                    <a:pt x="890" y="457"/>
                  </a:lnTo>
                  <a:lnTo>
                    <a:pt x="890" y="458"/>
                  </a:lnTo>
                  <a:lnTo>
                    <a:pt x="890" y="460"/>
                  </a:lnTo>
                  <a:lnTo>
                    <a:pt x="892" y="458"/>
                  </a:lnTo>
                  <a:lnTo>
                    <a:pt x="890" y="458"/>
                  </a:lnTo>
                  <a:lnTo>
                    <a:pt x="892" y="458"/>
                  </a:lnTo>
                  <a:lnTo>
                    <a:pt x="892" y="460"/>
                  </a:lnTo>
                  <a:lnTo>
                    <a:pt x="892" y="458"/>
                  </a:lnTo>
                  <a:lnTo>
                    <a:pt x="893" y="460"/>
                  </a:lnTo>
                  <a:lnTo>
                    <a:pt x="893" y="458"/>
                  </a:lnTo>
                  <a:lnTo>
                    <a:pt x="893" y="460"/>
                  </a:lnTo>
                  <a:lnTo>
                    <a:pt x="895" y="460"/>
                  </a:lnTo>
                  <a:lnTo>
                    <a:pt x="895" y="463"/>
                  </a:lnTo>
                  <a:lnTo>
                    <a:pt x="895" y="465"/>
                  </a:lnTo>
                  <a:lnTo>
                    <a:pt x="897" y="463"/>
                  </a:lnTo>
                  <a:lnTo>
                    <a:pt x="897" y="465"/>
                  </a:lnTo>
                  <a:lnTo>
                    <a:pt x="895" y="465"/>
                  </a:lnTo>
                  <a:lnTo>
                    <a:pt x="897" y="465"/>
                  </a:lnTo>
                  <a:lnTo>
                    <a:pt x="895" y="467"/>
                  </a:lnTo>
                  <a:lnTo>
                    <a:pt x="897" y="467"/>
                  </a:lnTo>
                  <a:lnTo>
                    <a:pt x="898" y="467"/>
                  </a:lnTo>
                  <a:lnTo>
                    <a:pt x="898" y="468"/>
                  </a:lnTo>
                  <a:lnTo>
                    <a:pt x="897" y="467"/>
                  </a:lnTo>
                  <a:lnTo>
                    <a:pt x="897" y="468"/>
                  </a:lnTo>
                  <a:lnTo>
                    <a:pt x="898" y="468"/>
                  </a:lnTo>
                  <a:lnTo>
                    <a:pt x="900" y="470"/>
                  </a:lnTo>
                  <a:lnTo>
                    <a:pt x="901" y="471"/>
                  </a:lnTo>
                  <a:lnTo>
                    <a:pt x="901" y="473"/>
                  </a:lnTo>
                  <a:lnTo>
                    <a:pt x="901" y="475"/>
                  </a:lnTo>
                  <a:lnTo>
                    <a:pt x="903" y="476"/>
                  </a:lnTo>
                  <a:lnTo>
                    <a:pt x="905" y="476"/>
                  </a:lnTo>
                  <a:lnTo>
                    <a:pt x="905" y="478"/>
                  </a:lnTo>
                  <a:lnTo>
                    <a:pt x="906" y="478"/>
                  </a:lnTo>
                  <a:lnTo>
                    <a:pt x="906" y="480"/>
                  </a:lnTo>
                  <a:lnTo>
                    <a:pt x="908" y="480"/>
                  </a:lnTo>
                  <a:lnTo>
                    <a:pt x="910" y="480"/>
                  </a:lnTo>
                  <a:lnTo>
                    <a:pt x="910" y="481"/>
                  </a:lnTo>
                  <a:lnTo>
                    <a:pt x="911" y="481"/>
                  </a:lnTo>
                  <a:lnTo>
                    <a:pt x="911" y="483"/>
                  </a:lnTo>
                  <a:lnTo>
                    <a:pt x="913" y="483"/>
                  </a:lnTo>
                  <a:lnTo>
                    <a:pt x="914" y="483"/>
                  </a:lnTo>
                  <a:lnTo>
                    <a:pt x="916" y="484"/>
                  </a:lnTo>
                  <a:lnTo>
                    <a:pt x="918" y="484"/>
                  </a:lnTo>
                  <a:lnTo>
                    <a:pt x="919" y="484"/>
                  </a:lnTo>
                  <a:lnTo>
                    <a:pt x="921" y="484"/>
                  </a:lnTo>
                  <a:lnTo>
                    <a:pt x="919" y="486"/>
                  </a:lnTo>
                  <a:lnTo>
                    <a:pt x="921" y="486"/>
                  </a:lnTo>
                  <a:lnTo>
                    <a:pt x="919" y="486"/>
                  </a:lnTo>
                  <a:lnTo>
                    <a:pt x="919" y="488"/>
                  </a:lnTo>
                  <a:lnTo>
                    <a:pt x="918" y="488"/>
                  </a:lnTo>
                  <a:lnTo>
                    <a:pt x="918" y="489"/>
                  </a:lnTo>
                  <a:lnTo>
                    <a:pt x="916" y="489"/>
                  </a:lnTo>
                  <a:lnTo>
                    <a:pt x="914" y="489"/>
                  </a:lnTo>
                  <a:lnTo>
                    <a:pt x="916" y="489"/>
                  </a:lnTo>
                  <a:lnTo>
                    <a:pt x="914" y="489"/>
                  </a:lnTo>
                  <a:lnTo>
                    <a:pt x="914" y="491"/>
                  </a:lnTo>
                  <a:lnTo>
                    <a:pt x="914" y="489"/>
                  </a:lnTo>
                  <a:lnTo>
                    <a:pt x="914" y="491"/>
                  </a:lnTo>
                  <a:lnTo>
                    <a:pt x="913" y="491"/>
                  </a:lnTo>
                  <a:lnTo>
                    <a:pt x="911" y="491"/>
                  </a:lnTo>
                  <a:lnTo>
                    <a:pt x="913" y="491"/>
                  </a:lnTo>
                  <a:lnTo>
                    <a:pt x="913" y="489"/>
                  </a:lnTo>
                  <a:lnTo>
                    <a:pt x="911" y="489"/>
                  </a:lnTo>
                  <a:lnTo>
                    <a:pt x="911" y="491"/>
                  </a:lnTo>
                  <a:lnTo>
                    <a:pt x="911" y="489"/>
                  </a:lnTo>
                  <a:lnTo>
                    <a:pt x="910" y="489"/>
                  </a:lnTo>
                  <a:lnTo>
                    <a:pt x="911" y="491"/>
                  </a:lnTo>
                  <a:lnTo>
                    <a:pt x="910" y="491"/>
                  </a:lnTo>
                  <a:lnTo>
                    <a:pt x="910" y="489"/>
                  </a:lnTo>
                  <a:lnTo>
                    <a:pt x="910" y="491"/>
                  </a:lnTo>
                  <a:lnTo>
                    <a:pt x="908" y="491"/>
                  </a:lnTo>
                  <a:lnTo>
                    <a:pt x="906" y="491"/>
                  </a:lnTo>
                  <a:lnTo>
                    <a:pt x="906" y="493"/>
                  </a:lnTo>
                  <a:lnTo>
                    <a:pt x="906" y="494"/>
                  </a:lnTo>
                  <a:lnTo>
                    <a:pt x="905" y="494"/>
                  </a:lnTo>
                  <a:lnTo>
                    <a:pt x="905" y="496"/>
                  </a:lnTo>
                  <a:lnTo>
                    <a:pt x="906" y="494"/>
                  </a:lnTo>
                  <a:lnTo>
                    <a:pt x="906" y="496"/>
                  </a:lnTo>
                  <a:lnTo>
                    <a:pt x="906" y="497"/>
                  </a:lnTo>
                  <a:lnTo>
                    <a:pt x="905" y="497"/>
                  </a:lnTo>
                  <a:lnTo>
                    <a:pt x="906" y="497"/>
                  </a:lnTo>
                  <a:lnTo>
                    <a:pt x="906" y="499"/>
                  </a:lnTo>
                  <a:lnTo>
                    <a:pt x="906" y="501"/>
                  </a:lnTo>
                  <a:lnTo>
                    <a:pt x="906" y="499"/>
                  </a:lnTo>
                  <a:lnTo>
                    <a:pt x="906" y="501"/>
                  </a:lnTo>
                  <a:lnTo>
                    <a:pt x="908" y="501"/>
                  </a:lnTo>
                  <a:lnTo>
                    <a:pt x="910" y="501"/>
                  </a:lnTo>
                  <a:lnTo>
                    <a:pt x="911" y="501"/>
                  </a:lnTo>
                  <a:lnTo>
                    <a:pt x="913" y="501"/>
                  </a:lnTo>
                  <a:lnTo>
                    <a:pt x="913" y="502"/>
                  </a:lnTo>
                  <a:lnTo>
                    <a:pt x="911" y="501"/>
                  </a:lnTo>
                  <a:lnTo>
                    <a:pt x="911" y="502"/>
                  </a:lnTo>
                  <a:lnTo>
                    <a:pt x="913" y="502"/>
                  </a:lnTo>
                  <a:lnTo>
                    <a:pt x="911" y="504"/>
                  </a:lnTo>
                  <a:lnTo>
                    <a:pt x="913" y="504"/>
                  </a:lnTo>
                  <a:lnTo>
                    <a:pt x="913" y="506"/>
                  </a:lnTo>
                  <a:lnTo>
                    <a:pt x="913" y="507"/>
                  </a:lnTo>
                  <a:lnTo>
                    <a:pt x="914" y="507"/>
                  </a:lnTo>
                  <a:lnTo>
                    <a:pt x="916" y="507"/>
                  </a:lnTo>
                  <a:lnTo>
                    <a:pt x="918" y="507"/>
                  </a:lnTo>
                  <a:lnTo>
                    <a:pt x="918" y="506"/>
                  </a:lnTo>
                  <a:lnTo>
                    <a:pt x="918" y="507"/>
                  </a:lnTo>
                  <a:lnTo>
                    <a:pt x="918" y="509"/>
                  </a:lnTo>
                  <a:lnTo>
                    <a:pt x="918" y="510"/>
                  </a:lnTo>
                  <a:lnTo>
                    <a:pt x="918" y="512"/>
                  </a:lnTo>
                  <a:lnTo>
                    <a:pt x="919" y="512"/>
                  </a:lnTo>
                  <a:lnTo>
                    <a:pt x="919" y="514"/>
                  </a:lnTo>
                  <a:lnTo>
                    <a:pt x="921" y="514"/>
                  </a:lnTo>
                  <a:lnTo>
                    <a:pt x="919" y="514"/>
                  </a:lnTo>
                  <a:lnTo>
                    <a:pt x="921" y="514"/>
                  </a:lnTo>
                  <a:lnTo>
                    <a:pt x="921" y="515"/>
                  </a:lnTo>
                  <a:lnTo>
                    <a:pt x="923" y="517"/>
                  </a:lnTo>
                  <a:lnTo>
                    <a:pt x="923" y="519"/>
                  </a:lnTo>
                  <a:lnTo>
                    <a:pt x="923" y="520"/>
                  </a:lnTo>
                  <a:lnTo>
                    <a:pt x="923" y="522"/>
                  </a:lnTo>
                  <a:lnTo>
                    <a:pt x="923" y="523"/>
                  </a:lnTo>
                  <a:lnTo>
                    <a:pt x="923" y="527"/>
                  </a:lnTo>
                  <a:lnTo>
                    <a:pt x="924" y="528"/>
                  </a:lnTo>
                  <a:lnTo>
                    <a:pt x="923" y="536"/>
                  </a:lnTo>
                  <a:lnTo>
                    <a:pt x="923" y="541"/>
                  </a:lnTo>
                  <a:lnTo>
                    <a:pt x="923" y="546"/>
                  </a:lnTo>
                  <a:lnTo>
                    <a:pt x="919" y="548"/>
                  </a:lnTo>
                  <a:lnTo>
                    <a:pt x="919" y="551"/>
                  </a:lnTo>
                  <a:lnTo>
                    <a:pt x="914" y="551"/>
                  </a:lnTo>
                  <a:lnTo>
                    <a:pt x="911" y="553"/>
                  </a:lnTo>
                  <a:lnTo>
                    <a:pt x="901" y="556"/>
                  </a:lnTo>
                  <a:lnTo>
                    <a:pt x="900" y="558"/>
                  </a:lnTo>
                  <a:lnTo>
                    <a:pt x="895" y="559"/>
                  </a:lnTo>
                  <a:lnTo>
                    <a:pt x="893" y="563"/>
                  </a:lnTo>
                  <a:lnTo>
                    <a:pt x="893" y="564"/>
                  </a:lnTo>
                  <a:lnTo>
                    <a:pt x="893" y="567"/>
                  </a:lnTo>
                  <a:lnTo>
                    <a:pt x="890" y="571"/>
                  </a:lnTo>
                  <a:lnTo>
                    <a:pt x="890" y="572"/>
                  </a:lnTo>
                  <a:lnTo>
                    <a:pt x="888" y="574"/>
                  </a:lnTo>
                  <a:lnTo>
                    <a:pt x="885" y="579"/>
                  </a:lnTo>
                  <a:lnTo>
                    <a:pt x="883" y="580"/>
                  </a:lnTo>
                  <a:lnTo>
                    <a:pt x="882" y="582"/>
                  </a:lnTo>
                  <a:lnTo>
                    <a:pt x="880" y="585"/>
                  </a:lnTo>
                  <a:lnTo>
                    <a:pt x="877" y="587"/>
                  </a:lnTo>
                  <a:lnTo>
                    <a:pt x="875" y="590"/>
                  </a:lnTo>
                  <a:lnTo>
                    <a:pt x="874" y="593"/>
                  </a:lnTo>
                  <a:lnTo>
                    <a:pt x="870" y="598"/>
                  </a:lnTo>
                  <a:lnTo>
                    <a:pt x="867" y="603"/>
                  </a:lnTo>
                  <a:lnTo>
                    <a:pt x="866" y="605"/>
                  </a:lnTo>
                  <a:lnTo>
                    <a:pt x="864" y="606"/>
                  </a:lnTo>
                  <a:lnTo>
                    <a:pt x="864" y="608"/>
                  </a:lnTo>
                  <a:lnTo>
                    <a:pt x="862" y="608"/>
                  </a:lnTo>
                  <a:lnTo>
                    <a:pt x="864" y="610"/>
                  </a:lnTo>
                  <a:lnTo>
                    <a:pt x="862" y="611"/>
                  </a:lnTo>
                  <a:lnTo>
                    <a:pt x="861" y="615"/>
                  </a:lnTo>
                  <a:lnTo>
                    <a:pt x="859" y="616"/>
                  </a:lnTo>
                  <a:lnTo>
                    <a:pt x="859" y="618"/>
                  </a:lnTo>
                  <a:lnTo>
                    <a:pt x="859" y="619"/>
                  </a:lnTo>
                  <a:lnTo>
                    <a:pt x="854" y="628"/>
                  </a:lnTo>
                  <a:lnTo>
                    <a:pt x="851" y="631"/>
                  </a:lnTo>
                  <a:lnTo>
                    <a:pt x="851" y="632"/>
                  </a:lnTo>
                  <a:lnTo>
                    <a:pt x="851" y="634"/>
                  </a:lnTo>
                  <a:lnTo>
                    <a:pt x="848" y="639"/>
                  </a:lnTo>
                  <a:lnTo>
                    <a:pt x="846" y="642"/>
                  </a:lnTo>
                  <a:lnTo>
                    <a:pt x="843" y="649"/>
                  </a:lnTo>
                  <a:lnTo>
                    <a:pt x="841" y="650"/>
                  </a:lnTo>
                  <a:lnTo>
                    <a:pt x="841" y="654"/>
                  </a:lnTo>
                  <a:lnTo>
                    <a:pt x="841" y="655"/>
                  </a:lnTo>
                  <a:lnTo>
                    <a:pt x="840" y="657"/>
                  </a:lnTo>
                  <a:lnTo>
                    <a:pt x="838" y="660"/>
                  </a:lnTo>
                  <a:lnTo>
                    <a:pt x="836" y="662"/>
                  </a:lnTo>
                  <a:lnTo>
                    <a:pt x="836" y="663"/>
                  </a:lnTo>
                  <a:lnTo>
                    <a:pt x="835" y="665"/>
                  </a:lnTo>
                  <a:lnTo>
                    <a:pt x="833" y="668"/>
                  </a:lnTo>
                  <a:lnTo>
                    <a:pt x="833" y="670"/>
                  </a:lnTo>
                  <a:lnTo>
                    <a:pt x="831" y="671"/>
                  </a:lnTo>
                  <a:lnTo>
                    <a:pt x="830" y="673"/>
                  </a:lnTo>
                  <a:lnTo>
                    <a:pt x="828" y="675"/>
                  </a:lnTo>
                  <a:lnTo>
                    <a:pt x="828" y="678"/>
                  </a:lnTo>
                  <a:lnTo>
                    <a:pt x="827" y="681"/>
                  </a:lnTo>
                  <a:lnTo>
                    <a:pt x="822" y="691"/>
                  </a:lnTo>
                  <a:lnTo>
                    <a:pt x="822" y="693"/>
                  </a:lnTo>
                  <a:lnTo>
                    <a:pt x="822" y="696"/>
                  </a:lnTo>
                  <a:lnTo>
                    <a:pt x="818" y="699"/>
                  </a:lnTo>
                  <a:lnTo>
                    <a:pt x="820" y="699"/>
                  </a:lnTo>
                  <a:lnTo>
                    <a:pt x="820" y="701"/>
                  </a:lnTo>
                  <a:lnTo>
                    <a:pt x="820" y="702"/>
                  </a:lnTo>
                  <a:lnTo>
                    <a:pt x="823" y="702"/>
                  </a:lnTo>
                  <a:lnTo>
                    <a:pt x="825" y="702"/>
                  </a:lnTo>
                  <a:lnTo>
                    <a:pt x="828" y="712"/>
                  </a:lnTo>
                  <a:lnTo>
                    <a:pt x="831" y="719"/>
                  </a:lnTo>
                  <a:lnTo>
                    <a:pt x="833" y="720"/>
                  </a:lnTo>
                  <a:lnTo>
                    <a:pt x="833" y="724"/>
                  </a:lnTo>
                  <a:lnTo>
                    <a:pt x="833" y="727"/>
                  </a:lnTo>
                  <a:lnTo>
                    <a:pt x="835" y="728"/>
                  </a:lnTo>
                  <a:lnTo>
                    <a:pt x="833" y="730"/>
                  </a:lnTo>
                  <a:lnTo>
                    <a:pt x="835" y="737"/>
                  </a:lnTo>
                  <a:lnTo>
                    <a:pt x="835" y="738"/>
                  </a:lnTo>
                  <a:lnTo>
                    <a:pt x="833" y="738"/>
                  </a:lnTo>
                  <a:lnTo>
                    <a:pt x="833" y="740"/>
                  </a:lnTo>
                  <a:lnTo>
                    <a:pt x="833" y="741"/>
                  </a:lnTo>
                  <a:lnTo>
                    <a:pt x="835" y="741"/>
                  </a:lnTo>
                  <a:lnTo>
                    <a:pt x="836" y="741"/>
                  </a:lnTo>
                  <a:lnTo>
                    <a:pt x="835" y="741"/>
                  </a:lnTo>
                  <a:lnTo>
                    <a:pt x="835" y="743"/>
                  </a:lnTo>
                  <a:lnTo>
                    <a:pt x="835" y="745"/>
                  </a:lnTo>
                  <a:lnTo>
                    <a:pt x="835" y="746"/>
                  </a:lnTo>
                  <a:lnTo>
                    <a:pt x="833" y="746"/>
                  </a:lnTo>
                  <a:lnTo>
                    <a:pt x="833" y="748"/>
                  </a:lnTo>
                  <a:lnTo>
                    <a:pt x="835" y="748"/>
                  </a:lnTo>
                  <a:lnTo>
                    <a:pt x="835" y="750"/>
                  </a:lnTo>
                  <a:lnTo>
                    <a:pt x="835" y="748"/>
                  </a:lnTo>
                  <a:lnTo>
                    <a:pt x="836" y="748"/>
                  </a:lnTo>
                  <a:lnTo>
                    <a:pt x="836" y="746"/>
                  </a:lnTo>
                  <a:lnTo>
                    <a:pt x="838" y="746"/>
                  </a:lnTo>
                  <a:lnTo>
                    <a:pt x="838" y="748"/>
                  </a:lnTo>
                  <a:lnTo>
                    <a:pt x="836" y="748"/>
                  </a:lnTo>
                  <a:lnTo>
                    <a:pt x="836" y="750"/>
                  </a:lnTo>
                  <a:lnTo>
                    <a:pt x="838" y="750"/>
                  </a:lnTo>
                  <a:lnTo>
                    <a:pt x="840" y="750"/>
                  </a:lnTo>
                  <a:lnTo>
                    <a:pt x="841" y="750"/>
                  </a:lnTo>
                  <a:lnTo>
                    <a:pt x="843" y="751"/>
                  </a:lnTo>
                  <a:lnTo>
                    <a:pt x="843" y="753"/>
                  </a:lnTo>
                  <a:lnTo>
                    <a:pt x="844" y="753"/>
                  </a:lnTo>
                  <a:lnTo>
                    <a:pt x="846" y="754"/>
                  </a:lnTo>
                  <a:lnTo>
                    <a:pt x="848" y="754"/>
                  </a:lnTo>
                  <a:lnTo>
                    <a:pt x="849" y="754"/>
                  </a:lnTo>
                  <a:lnTo>
                    <a:pt x="849" y="756"/>
                  </a:lnTo>
                  <a:lnTo>
                    <a:pt x="851" y="756"/>
                  </a:lnTo>
                  <a:lnTo>
                    <a:pt x="853" y="756"/>
                  </a:lnTo>
                  <a:lnTo>
                    <a:pt x="853" y="758"/>
                  </a:lnTo>
                  <a:lnTo>
                    <a:pt x="851" y="759"/>
                  </a:lnTo>
                  <a:lnTo>
                    <a:pt x="851" y="761"/>
                  </a:lnTo>
                  <a:lnTo>
                    <a:pt x="853" y="763"/>
                  </a:lnTo>
                  <a:lnTo>
                    <a:pt x="853" y="764"/>
                  </a:lnTo>
                  <a:lnTo>
                    <a:pt x="853" y="766"/>
                  </a:lnTo>
                  <a:lnTo>
                    <a:pt x="854" y="766"/>
                  </a:lnTo>
                  <a:lnTo>
                    <a:pt x="854" y="767"/>
                  </a:lnTo>
                  <a:lnTo>
                    <a:pt x="854" y="769"/>
                  </a:lnTo>
                  <a:lnTo>
                    <a:pt x="853" y="769"/>
                  </a:lnTo>
                  <a:lnTo>
                    <a:pt x="851" y="769"/>
                  </a:lnTo>
                  <a:lnTo>
                    <a:pt x="849" y="769"/>
                  </a:lnTo>
                  <a:lnTo>
                    <a:pt x="849" y="767"/>
                  </a:lnTo>
                  <a:lnTo>
                    <a:pt x="848" y="767"/>
                  </a:lnTo>
                  <a:lnTo>
                    <a:pt x="846" y="767"/>
                  </a:lnTo>
                  <a:lnTo>
                    <a:pt x="846" y="766"/>
                  </a:lnTo>
                  <a:lnTo>
                    <a:pt x="841" y="764"/>
                  </a:lnTo>
                  <a:lnTo>
                    <a:pt x="841" y="766"/>
                  </a:lnTo>
                  <a:lnTo>
                    <a:pt x="840" y="766"/>
                  </a:lnTo>
                  <a:lnTo>
                    <a:pt x="838" y="766"/>
                  </a:lnTo>
                  <a:lnTo>
                    <a:pt x="836" y="766"/>
                  </a:lnTo>
                  <a:lnTo>
                    <a:pt x="835" y="767"/>
                  </a:lnTo>
                  <a:lnTo>
                    <a:pt x="831" y="766"/>
                  </a:lnTo>
                  <a:lnTo>
                    <a:pt x="830" y="766"/>
                  </a:lnTo>
                  <a:lnTo>
                    <a:pt x="830" y="764"/>
                  </a:lnTo>
                  <a:lnTo>
                    <a:pt x="828" y="763"/>
                  </a:lnTo>
                  <a:lnTo>
                    <a:pt x="827" y="763"/>
                  </a:lnTo>
                  <a:lnTo>
                    <a:pt x="825" y="761"/>
                  </a:lnTo>
                  <a:lnTo>
                    <a:pt x="823" y="761"/>
                  </a:lnTo>
                  <a:lnTo>
                    <a:pt x="823" y="763"/>
                  </a:lnTo>
                  <a:lnTo>
                    <a:pt x="822" y="763"/>
                  </a:lnTo>
                  <a:lnTo>
                    <a:pt x="820" y="763"/>
                  </a:lnTo>
                  <a:lnTo>
                    <a:pt x="818" y="763"/>
                  </a:lnTo>
                  <a:lnTo>
                    <a:pt x="817" y="763"/>
                  </a:lnTo>
                  <a:lnTo>
                    <a:pt x="817" y="764"/>
                  </a:lnTo>
                  <a:lnTo>
                    <a:pt x="815" y="764"/>
                  </a:lnTo>
                  <a:lnTo>
                    <a:pt x="815" y="763"/>
                  </a:lnTo>
                  <a:lnTo>
                    <a:pt x="814" y="763"/>
                  </a:lnTo>
                  <a:lnTo>
                    <a:pt x="812" y="761"/>
                  </a:lnTo>
                  <a:lnTo>
                    <a:pt x="810" y="763"/>
                  </a:lnTo>
                  <a:lnTo>
                    <a:pt x="809" y="763"/>
                  </a:lnTo>
                  <a:lnTo>
                    <a:pt x="805" y="761"/>
                  </a:lnTo>
                  <a:lnTo>
                    <a:pt x="805" y="759"/>
                  </a:lnTo>
                  <a:lnTo>
                    <a:pt x="804" y="759"/>
                  </a:lnTo>
                  <a:lnTo>
                    <a:pt x="804" y="758"/>
                  </a:lnTo>
                  <a:lnTo>
                    <a:pt x="802" y="758"/>
                  </a:lnTo>
                  <a:lnTo>
                    <a:pt x="801" y="758"/>
                  </a:lnTo>
                  <a:lnTo>
                    <a:pt x="799" y="759"/>
                  </a:lnTo>
                  <a:lnTo>
                    <a:pt x="797" y="759"/>
                  </a:lnTo>
                  <a:lnTo>
                    <a:pt x="796" y="759"/>
                  </a:lnTo>
                  <a:lnTo>
                    <a:pt x="794" y="759"/>
                  </a:lnTo>
                  <a:lnTo>
                    <a:pt x="792" y="758"/>
                  </a:lnTo>
                  <a:lnTo>
                    <a:pt x="789" y="758"/>
                  </a:lnTo>
                  <a:lnTo>
                    <a:pt x="789" y="756"/>
                  </a:lnTo>
                  <a:lnTo>
                    <a:pt x="789" y="754"/>
                  </a:lnTo>
                  <a:lnTo>
                    <a:pt x="788" y="754"/>
                  </a:lnTo>
                  <a:lnTo>
                    <a:pt x="786" y="756"/>
                  </a:lnTo>
                  <a:lnTo>
                    <a:pt x="784" y="754"/>
                  </a:lnTo>
                  <a:lnTo>
                    <a:pt x="781" y="753"/>
                  </a:lnTo>
                  <a:lnTo>
                    <a:pt x="775" y="753"/>
                  </a:lnTo>
                  <a:lnTo>
                    <a:pt x="771" y="753"/>
                  </a:lnTo>
                  <a:lnTo>
                    <a:pt x="770" y="751"/>
                  </a:lnTo>
                  <a:lnTo>
                    <a:pt x="770" y="748"/>
                  </a:lnTo>
                  <a:lnTo>
                    <a:pt x="770" y="746"/>
                  </a:lnTo>
                  <a:lnTo>
                    <a:pt x="770" y="745"/>
                  </a:lnTo>
                  <a:lnTo>
                    <a:pt x="768" y="743"/>
                  </a:lnTo>
                  <a:lnTo>
                    <a:pt x="766" y="741"/>
                  </a:lnTo>
                  <a:lnTo>
                    <a:pt x="765" y="741"/>
                  </a:lnTo>
                  <a:lnTo>
                    <a:pt x="763" y="740"/>
                  </a:lnTo>
                  <a:lnTo>
                    <a:pt x="762" y="737"/>
                  </a:lnTo>
                  <a:lnTo>
                    <a:pt x="762" y="735"/>
                  </a:lnTo>
                  <a:lnTo>
                    <a:pt x="760" y="735"/>
                  </a:lnTo>
                  <a:lnTo>
                    <a:pt x="755" y="735"/>
                  </a:lnTo>
                  <a:lnTo>
                    <a:pt x="753" y="733"/>
                  </a:lnTo>
                  <a:lnTo>
                    <a:pt x="752" y="733"/>
                  </a:lnTo>
                  <a:lnTo>
                    <a:pt x="750" y="733"/>
                  </a:lnTo>
                  <a:lnTo>
                    <a:pt x="750" y="732"/>
                  </a:lnTo>
                  <a:lnTo>
                    <a:pt x="749" y="732"/>
                  </a:lnTo>
                  <a:lnTo>
                    <a:pt x="747" y="730"/>
                  </a:lnTo>
                  <a:lnTo>
                    <a:pt x="745" y="732"/>
                  </a:lnTo>
                  <a:lnTo>
                    <a:pt x="745" y="735"/>
                  </a:lnTo>
                  <a:lnTo>
                    <a:pt x="744" y="737"/>
                  </a:lnTo>
                  <a:lnTo>
                    <a:pt x="742" y="735"/>
                  </a:lnTo>
                  <a:lnTo>
                    <a:pt x="742" y="733"/>
                  </a:lnTo>
                  <a:lnTo>
                    <a:pt x="739" y="732"/>
                  </a:lnTo>
                  <a:lnTo>
                    <a:pt x="737" y="730"/>
                  </a:lnTo>
                  <a:lnTo>
                    <a:pt x="735" y="728"/>
                  </a:lnTo>
                  <a:lnTo>
                    <a:pt x="734" y="730"/>
                  </a:lnTo>
                  <a:lnTo>
                    <a:pt x="732" y="730"/>
                  </a:lnTo>
                  <a:lnTo>
                    <a:pt x="727" y="727"/>
                  </a:lnTo>
                  <a:lnTo>
                    <a:pt x="724" y="728"/>
                  </a:lnTo>
                  <a:lnTo>
                    <a:pt x="722" y="728"/>
                  </a:lnTo>
                  <a:lnTo>
                    <a:pt x="721" y="728"/>
                  </a:lnTo>
                  <a:lnTo>
                    <a:pt x="719" y="728"/>
                  </a:lnTo>
                  <a:lnTo>
                    <a:pt x="719" y="730"/>
                  </a:lnTo>
                  <a:lnTo>
                    <a:pt x="718" y="732"/>
                  </a:lnTo>
                  <a:lnTo>
                    <a:pt x="716" y="730"/>
                  </a:lnTo>
                  <a:lnTo>
                    <a:pt x="714" y="730"/>
                  </a:lnTo>
                  <a:lnTo>
                    <a:pt x="714" y="732"/>
                  </a:lnTo>
                  <a:lnTo>
                    <a:pt x="714" y="733"/>
                  </a:lnTo>
                  <a:lnTo>
                    <a:pt x="713" y="733"/>
                  </a:lnTo>
                  <a:lnTo>
                    <a:pt x="711" y="733"/>
                  </a:lnTo>
                  <a:lnTo>
                    <a:pt x="709" y="733"/>
                  </a:lnTo>
                  <a:lnTo>
                    <a:pt x="706" y="732"/>
                  </a:lnTo>
                  <a:lnTo>
                    <a:pt x="705" y="732"/>
                  </a:lnTo>
                  <a:lnTo>
                    <a:pt x="701" y="730"/>
                  </a:lnTo>
                  <a:lnTo>
                    <a:pt x="700" y="730"/>
                  </a:lnTo>
                  <a:lnTo>
                    <a:pt x="698" y="730"/>
                  </a:lnTo>
                  <a:lnTo>
                    <a:pt x="696" y="730"/>
                  </a:lnTo>
                  <a:lnTo>
                    <a:pt x="695" y="730"/>
                  </a:lnTo>
                  <a:lnTo>
                    <a:pt x="693" y="732"/>
                  </a:lnTo>
                  <a:lnTo>
                    <a:pt x="692" y="733"/>
                  </a:lnTo>
                  <a:lnTo>
                    <a:pt x="692" y="735"/>
                  </a:lnTo>
                  <a:lnTo>
                    <a:pt x="690" y="737"/>
                  </a:lnTo>
                  <a:lnTo>
                    <a:pt x="690" y="738"/>
                  </a:lnTo>
                  <a:lnTo>
                    <a:pt x="688" y="738"/>
                  </a:lnTo>
                  <a:lnTo>
                    <a:pt x="687" y="738"/>
                  </a:lnTo>
                  <a:lnTo>
                    <a:pt x="683" y="735"/>
                  </a:lnTo>
                  <a:lnTo>
                    <a:pt x="682" y="735"/>
                  </a:lnTo>
                  <a:lnTo>
                    <a:pt x="680" y="737"/>
                  </a:lnTo>
                  <a:lnTo>
                    <a:pt x="675" y="738"/>
                  </a:lnTo>
                  <a:lnTo>
                    <a:pt x="675" y="740"/>
                  </a:lnTo>
                  <a:lnTo>
                    <a:pt x="677" y="740"/>
                  </a:lnTo>
                  <a:lnTo>
                    <a:pt x="679" y="741"/>
                  </a:lnTo>
                  <a:lnTo>
                    <a:pt x="680" y="743"/>
                  </a:lnTo>
                  <a:lnTo>
                    <a:pt x="680" y="745"/>
                  </a:lnTo>
                  <a:lnTo>
                    <a:pt x="679" y="746"/>
                  </a:lnTo>
                  <a:lnTo>
                    <a:pt x="677" y="746"/>
                  </a:lnTo>
                  <a:lnTo>
                    <a:pt x="675" y="746"/>
                  </a:lnTo>
                  <a:lnTo>
                    <a:pt x="674" y="746"/>
                  </a:lnTo>
                  <a:lnTo>
                    <a:pt x="674" y="748"/>
                  </a:lnTo>
                  <a:lnTo>
                    <a:pt x="672" y="750"/>
                  </a:lnTo>
                  <a:lnTo>
                    <a:pt x="672" y="751"/>
                  </a:lnTo>
                  <a:lnTo>
                    <a:pt x="672" y="753"/>
                  </a:lnTo>
                  <a:lnTo>
                    <a:pt x="672" y="754"/>
                  </a:lnTo>
                  <a:lnTo>
                    <a:pt x="670" y="756"/>
                  </a:lnTo>
                  <a:lnTo>
                    <a:pt x="669" y="756"/>
                  </a:lnTo>
                  <a:lnTo>
                    <a:pt x="667" y="758"/>
                  </a:lnTo>
                  <a:lnTo>
                    <a:pt x="664" y="758"/>
                  </a:lnTo>
                  <a:lnTo>
                    <a:pt x="662" y="754"/>
                  </a:lnTo>
                  <a:lnTo>
                    <a:pt x="661" y="754"/>
                  </a:lnTo>
                  <a:lnTo>
                    <a:pt x="661" y="753"/>
                  </a:lnTo>
                  <a:lnTo>
                    <a:pt x="659" y="751"/>
                  </a:lnTo>
                  <a:lnTo>
                    <a:pt x="657" y="751"/>
                  </a:lnTo>
                  <a:lnTo>
                    <a:pt x="657" y="753"/>
                  </a:lnTo>
                  <a:lnTo>
                    <a:pt x="656" y="753"/>
                  </a:lnTo>
                  <a:lnTo>
                    <a:pt x="654" y="753"/>
                  </a:lnTo>
                  <a:lnTo>
                    <a:pt x="654" y="751"/>
                  </a:lnTo>
                  <a:lnTo>
                    <a:pt x="654" y="753"/>
                  </a:lnTo>
                  <a:lnTo>
                    <a:pt x="653" y="753"/>
                  </a:lnTo>
                  <a:lnTo>
                    <a:pt x="653" y="751"/>
                  </a:lnTo>
                  <a:lnTo>
                    <a:pt x="653" y="750"/>
                  </a:lnTo>
                  <a:lnTo>
                    <a:pt x="654" y="750"/>
                  </a:lnTo>
                  <a:lnTo>
                    <a:pt x="654" y="751"/>
                  </a:lnTo>
                  <a:lnTo>
                    <a:pt x="654" y="750"/>
                  </a:lnTo>
                  <a:lnTo>
                    <a:pt x="653" y="750"/>
                  </a:lnTo>
                  <a:lnTo>
                    <a:pt x="651" y="750"/>
                  </a:lnTo>
                  <a:lnTo>
                    <a:pt x="653" y="748"/>
                  </a:lnTo>
                  <a:lnTo>
                    <a:pt x="651" y="748"/>
                  </a:lnTo>
                  <a:lnTo>
                    <a:pt x="649" y="750"/>
                  </a:lnTo>
                  <a:lnTo>
                    <a:pt x="649" y="748"/>
                  </a:lnTo>
                  <a:lnTo>
                    <a:pt x="649" y="746"/>
                  </a:lnTo>
                  <a:lnTo>
                    <a:pt x="648" y="746"/>
                  </a:lnTo>
                  <a:lnTo>
                    <a:pt x="648" y="745"/>
                  </a:lnTo>
                  <a:lnTo>
                    <a:pt x="646" y="745"/>
                  </a:lnTo>
                  <a:lnTo>
                    <a:pt x="648" y="743"/>
                  </a:lnTo>
                  <a:lnTo>
                    <a:pt x="646" y="743"/>
                  </a:lnTo>
                  <a:lnTo>
                    <a:pt x="644" y="743"/>
                  </a:lnTo>
                  <a:lnTo>
                    <a:pt x="643" y="743"/>
                  </a:lnTo>
                  <a:lnTo>
                    <a:pt x="641" y="743"/>
                  </a:lnTo>
                  <a:lnTo>
                    <a:pt x="640" y="745"/>
                  </a:lnTo>
                  <a:lnTo>
                    <a:pt x="640" y="746"/>
                  </a:lnTo>
                  <a:lnTo>
                    <a:pt x="638" y="746"/>
                  </a:lnTo>
                  <a:lnTo>
                    <a:pt x="636" y="745"/>
                  </a:lnTo>
                  <a:lnTo>
                    <a:pt x="635" y="745"/>
                  </a:lnTo>
                  <a:lnTo>
                    <a:pt x="635" y="746"/>
                  </a:lnTo>
                  <a:lnTo>
                    <a:pt x="633" y="748"/>
                  </a:lnTo>
                  <a:lnTo>
                    <a:pt x="633" y="750"/>
                  </a:lnTo>
                  <a:lnTo>
                    <a:pt x="631" y="750"/>
                  </a:lnTo>
                  <a:lnTo>
                    <a:pt x="631" y="751"/>
                  </a:lnTo>
                  <a:lnTo>
                    <a:pt x="628" y="750"/>
                  </a:lnTo>
                  <a:lnTo>
                    <a:pt x="627" y="750"/>
                  </a:lnTo>
                  <a:lnTo>
                    <a:pt x="625" y="748"/>
                  </a:lnTo>
                  <a:lnTo>
                    <a:pt x="622" y="746"/>
                  </a:lnTo>
                  <a:lnTo>
                    <a:pt x="620" y="746"/>
                  </a:lnTo>
                  <a:lnTo>
                    <a:pt x="618" y="748"/>
                  </a:lnTo>
                  <a:lnTo>
                    <a:pt x="615" y="750"/>
                  </a:lnTo>
                  <a:lnTo>
                    <a:pt x="614" y="750"/>
                  </a:lnTo>
                  <a:lnTo>
                    <a:pt x="614" y="748"/>
                  </a:lnTo>
                  <a:lnTo>
                    <a:pt x="612" y="748"/>
                  </a:lnTo>
                  <a:lnTo>
                    <a:pt x="612" y="750"/>
                  </a:lnTo>
                  <a:lnTo>
                    <a:pt x="610" y="750"/>
                  </a:lnTo>
                  <a:lnTo>
                    <a:pt x="609" y="750"/>
                  </a:lnTo>
                  <a:lnTo>
                    <a:pt x="607" y="751"/>
                  </a:lnTo>
                  <a:lnTo>
                    <a:pt x="609" y="751"/>
                  </a:lnTo>
                  <a:lnTo>
                    <a:pt x="609" y="753"/>
                  </a:lnTo>
                  <a:lnTo>
                    <a:pt x="609" y="756"/>
                  </a:lnTo>
                  <a:lnTo>
                    <a:pt x="609" y="758"/>
                  </a:lnTo>
                  <a:lnTo>
                    <a:pt x="605" y="758"/>
                  </a:lnTo>
                  <a:lnTo>
                    <a:pt x="604" y="759"/>
                  </a:lnTo>
                  <a:lnTo>
                    <a:pt x="602" y="759"/>
                  </a:lnTo>
                  <a:lnTo>
                    <a:pt x="601" y="759"/>
                  </a:lnTo>
                  <a:lnTo>
                    <a:pt x="599" y="759"/>
                  </a:lnTo>
                  <a:lnTo>
                    <a:pt x="597" y="761"/>
                  </a:lnTo>
                  <a:lnTo>
                    <a:pt x="596" y="763"/>
                  </a:lnTo>
                  <a:lnTo>
                    <a:pt x="596" y="764"/>
                  </a:lnTo>
                  <a:lnTo>
                    <a:pt x="596" y="766"/>
                  </a:lnTo>
                  <a:lnTo>
                    <a:pt x="594" y="766"/>
                  </a:lnTo>
                  <a:lnTo>
                    <a:pt x="594" y="764"/>
                  </a:lnTo>
                  <a:lnTo>
                    <a:pt x="592" y="766"/>
                  </a:lnTo>
                  <a:lnTo>
                    <a:pt x="592" y="767"/>
                  </a:lnTo>
                  <a:lnTo>
                    <a:pt x="592" y="769"/>
                  </a:lnTo>
                  <a:lnTo>
                    <a:pt x="592" y="771"/>
                  </a:lnTo>
                  <a:lnTo>
                    <a:pt x="592" y="772"/>
                  </a:lnTo>
                  <a:lnTo>
                    <a:pt x="591" y="774"/>
                  </a:lnTo>
                  <a:lnTo>
                    <a:pt x="591" y="776"/>
                  </a:lnTo>
                  <a:lnTo>
                    <a:pt x="591" y="777"/>
                  </a:lnTo>
                  <a:lnTo>
                    <a:pt x="591" y="779"/>
                  </a:lnTo>
                  <a:lnTo>
                    <a:pt x="591" y="780"/>
                  </a:lnTo>
                  <a:lnTo>
                    <a:pt x="591" y="782"/>
                  </a:lnTo>
                  <a:lnTo>
                    <a:pt x="591" y="785"/>
                  </a:lnTo>
                  <a:lnTo>
                    <a:pt x="589" y="785"/>
                  </a:lnTo>
                  <a:lnTo>
                    <a:pt x="587" y="784"/>
                  </a:lnTo>
                  <a:lnTo>
                    <a:pt x="586" y="784"/>
                  </a:lnTo>
                  <a:lnTo>
                    <a:pt x="584" y="782"/>
                  </a:lnTo>
                  <a:lnTo>
                    <a:pt x="583" y="782"/>
                  </a:lnTo>
                  <a:lnTo>
                    <a:pt x="583" y="780"/>
                  </a:lnTo>
                  <a:lnTo>
                    <a:pt x="579" y="779"/>
                  </a:lnTo>
                  <a:lnTo>
                    <a:pt x="576" y="779"/>
                  </a:lnTo>
                  <a:lnTo>
                    <a:pt x="574" y="779"/>
                  </a:lnTo>
                  <a:lnTo>
                    <a:pt x="573" y="780"/>
                  </a:lnTo>
                  <a:lnTo>
                    <a:pt x="573" y="782"/>
                  </a:lnTo>
                  <a:lnTo>
                    <a:pt x="573" y="784"/>
                  </a:lnTo>
                  <a:lnTo>
                    <a:pt x="570" y="785"/>
                  </a:lnTo>
                  <a:lnTo>
                    <a:pt x="568" y="785"/>
                  </a:lnTo>
                  <a:lnTo>
                    <a:pt x="565" y="785"/>
                  </a:lnTo>
                  <a:lnTo>
                    <a:pt x="563" y="785"/>
                  </a:lnTo>
                  <a:lnTo>
                    <a:pt x="561" y="785"/>
                  </a:lnTo>
                  <a:lnTo>
                    <a:pt x="560" y="785"/>
                  </a:lnTo>
                  <a:lnTo>
                    <a:pt x="560" y="784"/>
                  </a:lnTo>
                  <a:lnTo>
                    <a:pt x="560" y="782"/>
                  </a:lnTo>
                  <a:lnTo>
                    <a:pt x="560" y="780"/>
                  </a:lnTo>
                  <a:lnTo>
                    <a:pt x="561" y="779"/>
                  </a:lnTo>
                  <a:lnTo>
                    <a:pt x="561" y="777"/>
                  </a:lnTo>
                  <a:lnTo>
                    <a:pt x="561" y="776"/>
                  </a:lnTo>
                  <a:lnTo>
                    <a:pt x="563" y="776"/>
                  </a:lnTo>
                  <a:lnTo>
                    <a:pt x="563" y="774"/>
                  </a:lnTo>
                  <a:lnTo>
                    <a:pt x="563" y="772"/>
                  </a:lnTo>
                  <a:lnTo>
                    <a:pt x="561" y="772"/>
                  </a:lnTo>
                  <a:lnTo>
                    <a:pt x="561" y="771"/>
                  </a:lnTo>
                  <a:lnTo>
                    <a:pt x="561" y="769"/>
                  </a:lnTo>
                  <a:lnTo>
                    <a:pt x="561" y="767"/>
                  </a:lnTo>
                  <a:lnTo>
                    <a:pt x="560" y="766"/>
                  </a:lnTo>
                  <a:lnTo>
                    <a:pt x="560" y="764"/>
                  </a:lnTo>
                  <a:lnTo>
                    <a:pt x="561" y="763"/>
                  </a:lnTo>
                  <a:lnTo>
                    <a:pt x="560" y="763"/>
                  </a:lnTo>
                  <a:lnTo>
                    <a:pt x="560" y="761"/>
                  </a:lnTo>
                  <a:lnTo>
                    <a:pt x="558" y="756"/>
                  </a:lnTo>
                  <a:lnTo>
                    <a:pt x="557" y="756"/>
                  </a:lnTo>
                  <a:lnTo>
                    <a:pt x="555" y="756"/>
                  </a:lnTo>
                  <a:lnTo>
                    <a:pt x="555" y="758"/>
                  </a:lnTo>
                  <a:lnTo>
                    <a:pt x="553" y="759"/>
                  </a:lnTo>
                  <a:lnTo>
                    <a:pt x="552" y="759"/>
                  </a:lnTo>
                  <a:lnTo>
                    <a:pt x="550" y="759"/>
                  </a:lnTo>
                  <a:lnTo>
                    <a:pt x="548" y="758"/>
                  </a:lnTo>
                  <a:lnTo>
                    <a:pt x="545" y="758"/>
                  </a:lnTo>
                  <a:lnTo>
                    <a:pt x="544" y="758"/>
                  </a:lnTo>
                  <a:lnTo>
                    <a:pt x="544" y="756"/>
                  </a:lnTo>
                  <a:lnTo>
                    <a:pt x="545" y="754"/>
                  </a:lnTo>
                  <a:lnTo>
                    <a:pt x="544" y="754"/>
                  </a:lnTo>
                  <a:lnTo>
                    <a:pt x="544" y="753"/>
                  </a:lnTo>
                  <a:lnTo>
                    <a:pt x="544" y="751"/>
                  </a:lnTo>
                  <a:lnTo>
                    <a:pt x="542" y="753"/>
                  </a:lnTo>
                  <a:lnTo>
                    <a:pt x="542" y="751"/>
                  </a:lnTo>
                  <a:lnTo>
                    <a:pt x="540" y="751"/>
                  </a:lnTo>
                  <a:lnTo>
                    <a:pt x="539" y="753"/>
                  </a:lnTo>
                  <a:lnTo>
                    <a:pt x="535" y="746"/>
                  </a:lnTo>
                  <a:lnTo>
                    <a:pt x="534" y="745"/>
                  </a:lnTo>
                  <a:lnTo>
                    <a:pt x="532" y="741"/>
                  </a:lnTo>
                  <a:lnTo>
                    <a:pt x="532" y="738"/>
                  </a:lnTo>
                  <a:lnTo>
                    <a:pt x="532" y="737"/>
                  </a:lnTo>
                  <a:lnTo>
                    <a:pt x="531" y="737"/>
                  </a:lnTo>
                  <a:lnTo>
                    <a:pt x="529" y="735"/>
                  </a:lnTo>
                  <a:lnTo>
                    <a:pt x="527" y="735"/>
                  </a:lnTo>
                  <a:lnTo>
                    <a:pt x="526" y="735"/>
                  </a:lnTo>
                  <a:lnTo>
                    <a:pt x="526" y="733"/>
                  </a:lnTo>
                  <a:lnTo>
                    <a:pt x="526" y="732"/>
                  </a:lnTo>
                  <a:lnTo>
                    <a:pt x="524" y="732"/>
                  </a:lnTo>
                  <a:lnTo>
                    <a:pt x="522" y="732"/>
                  </a:lnTo>
                  <a:lnTo>
                    <a:pt x="522" y="733"/>
                  </a:lnTo>
                  <a:lnTo>
                    <a:pt x="521" y="733"/>
                  </a:lnTo>
                  <a:lnTo>
                    <a:pt x="521" y="735"/>
                  </a:lnTo>
                  <a:lnTo>
                    <a:pt x="519" y="737"/>
                  </a:lnTo>
                  <a:lnTo>
                    <a:pt x="518" y="738"/>
                  </a:lnTo>
                  <a:lnTo>
                    <a:pt x="518" y="740"/>
                  </a:lnTo>
                  <a:lnTo>
                    <a:pt x="518" y="741"/>
                  </a:lnTo>
                  <a:lnTo>
                    <a:pt x="518" y="743"/>
                  </a:lnTo>
                  <a:lnTo>
                    <a:pt x="516" y="743"/>
                  </a:lnTo>
                  <a:lnTo>
                    <a:pt x="514" y="743"/>
                  </a:lnTo>
                  <a:lnTo>
                    <a:pt x="513" y="745"/>
                  </a:lnTo>
                  <a:lnTo>
                    <a:pt x="511" y="745"/>
                  </a:lnTo>
                  <a:lnTo>
                    <a:pt x="509" y="745"/>
                  </a:lnTo>
                  <a:lnTo>
                    <a:pt x="508" y="745"/>
                  </a:lnTo>
                  <a:lnTo>
                    <a:pt x="506" y="748"/>
                  </a:lnTo>
                  <a:lnTo>
                    <a:pt x="506" y="750"/>
                  </a:lnTo>
                  <a:lnTo>
                    <a:pt x="505" y="751"/>
                  </a:lnTo>
                  <a:lnTo>
                    <a:pt x="505" y="753"/>
                  </a:lnTo>
                  <a:lnTo>
                    <a:pt x="505" y="754"/>
                  </a:lnTo>
                  <a:lnTo>
                    <a:pt x="506" y="756"/>
                  </a:lnTo>
                  <a:lnTo>
                    <a:pt x="506" y="758"/>
                  </a:lnTo>
                  <a:lnTo>
                    <a:pt x="505" y="758"/>
                  </a:lnTo>
                  <a:lnTo>
                    <a:pt x="503" y="758"/>
                  </a:lnTo>
                  <a:lnTo>
                    <a:pt x="503" y="759"/>
                  </a:lnTo>
                  <a:lnTo>
                    <a:pt x="503" y="761"/>
                  </a:lnTo>
                  <a:lnTo>
                    <a:pt x="503" y="763"/>
                  </a:lnTo>
                  <a:lnTo>
                    <a:pt x="503" y="764"/>
                  </a:lnTo>
                  <a:lnTo>
                    <a:pt x="501" y="763"/>
                  </a:lnTo>
                  <a:lnTo>
                    <a:pt x="500" y="764"/>
                  </a:lnTo>
                  <a:lnTo>
                    <a:pt x="498" y="764"/>
                  </a:lnTo>
                  <a:lnTo>
                    <a:pt x="496" y="764"/>
                  </a:lnTo>
                  <a:lnTo>
                    <a:pt x="496" y="766"/>
                  </a:lnTo>
                  <a:lnTo>
                    <a:pt x="495" y="766"/>
                  </a:lnTo>
                  <a:lnTo>
                    <a:pt x="493" y="764"/>
                  </a:lnTo>
                  <a:lnTo>
                    <a:pt x="492" y="764"/>
                  </a:lnTo>
                  <a:lnTo>
                    <a:pt x="490" y="764"/>
                  </a:lnTo>
                  <a:lnTo>
                    <a:pt x="490" y="766"/>
                  </a:lnTo>
                  <a:lnTo>
                    <a:pt x="490" y="767"/>
                  </a:lnTo>
                  <a:lnTo>
                    <a:pt x="488" y="767"/>
                  </a:lnTo>
                  <a:lnTo>
                    <a:pt x="485" y="767"/>
                  </a:lnTo>
                  <a:lnTo>
                    <a:pt x="483" y="767"/>
                  </a:lnTo>
                  <a:lnTo>
                    <a:pt x="483" y="766"/>
                  </a:lnTo>
                  <a:lnTo>
                    <a:pt x="482" y="766"/>
                  </a:lnTo>
                  <a:lnTo>
                    <a:pt x="483" y="764"/>
                  </a:lnTo>
                  <a:lnTo>
                    <a:pt x="483" y="763"/>
                  </a:lnTo>
                  <a:lnTo>
                    <a:pt x="483" y="761"/>
                  </a:lnTo>
                  <a:lnTo>
                    <a:pt x="482" y="761"/>
                  </a:lnTo>
                  <a:lnTo>
                    <a:pt x="482" y="759"/>
                  </a:lnTo>
                  <a:lnTo>
                    <a:pt x="480" y="759"/>
                  </a:lnTo>
                  <a:lnTo>
                    <a:pt x="482" y="756"/>
                  </a:lnTo>
                  <a:lnTo>
                    <a:pt x="480" y="754"/>
                  </a:lnTo>
                  <a:lnTo>
                    <a:pt x="480" y="753"/>
                  </a:lnTo>
                  <a:lnTo>
                    <a:pt x="479" y="751"/>
                  </a:lnTo>
                  <a:lnTo>
                    <a:pt x="477" y="751"/>
                  </a:lnTo>
                  <a:lnTo>
                    <a:pt x="474" y="751"/>
                  </a:lnTo>
                  <a:lnTo>
                    <a:pt x="470" y="751"/>
                  </a:lnTo>
                  <a:lnTo>
                    <a:pt x="469" y="751"/>
                  </a:lnTo>
                  <a:lnTo>
                    <a:pt x="469" y="750"/>
                  </a:lnTo>
                  <a:lnTo>
                    <a:pt x="470" y="748"/>
                  </a:lnTo>
                  <a:lnTo>
                    <a:pt x="469" y="746"/>
                  </a:lnTo>
                  <a:lnTo>
                    <a:pt x="467" y="745"/>
                  </a:lnTo>
                  <a:lnTo>
                    <a:pt x="467" y="743"/>
                  </a:lnTo>
                  <a:lnTo>
                    <a:pt x="467" y="741"/>
                  </a:lnTo>
                  <a:lnTo>
                    <a:pt x="466" y="741"/>
                  </a:lnTo>
                  <a:lnTo>
                    <a:pt x="466" y="740"/>
                  </a:lnTo>
                  <a:lnTo>
                    <a:pt x="466" y="738"/>
                  </a:lnTo>
                  <a:lnTo>
                    <a:pt x="464" y="737"/>
                  </a:lnTo>
                  <a:lnTo>
                    <a:pt x="464" y="733"/>
                  </a:lnTo>
                  <a:lnTo>
                    <a:pt x="464" y="730"/>
                  </a:lnTo>
                  <a:lnTo>
                    <a:pt x="462" y="730"/>
                  </a:lnTo>
                  <a:lnTo>
                    <a:pt x="461" y="730"/>
                  </a:lnTo>
                  <a:lnTo>
                    <a:pt x="459" y="730"/>
                  </a:lnTo>
                  <a:lnTo>
                    <a:pt x="457" y="730"/>
                  </a:lnTo>
                  <a:lnTo>
                    <a:pt x="456" y="730"/>
                  </a:lnTo>
                  <a:lnTo>
                    <a:pt x="454" y="728"/>
                  </a:lnTo>
                  <a:lnTo>
                    <a:pt x="453" y="727"/>
                  </a:lnTo>
                  <a:lnTo>
                    <a:pt x="449" y="727"/>
                  </a:lnTo>
                  <a:lnTo>
                    <a:pt x="448" y="727"/>
                  </a:lnTo>
                  <a:lnTo>
                    <a:pt x="446" y="725"/>
                  </a:lnTo>
                  <a:lnTo>
                    <a:pt x="446" y="724"/>
                  </a:lnTo>
                  <a:lnTo>
                    <a:pt x="446" y="722"/>
                  </a:lnTo>
                  <a:lnTo>
                    <a:pt x="444" y="722"/>
                  </a:lnTo>
                  <a:lnTo>
                    <a:pt x="444" y="720"/>
                  </a:lnTo>
                  <a:lnTo>
                    <a:pt x="443" y="719"/>
                  </a:lnTo>
                  <a:lnTo>
                    <a:pt x="443" y="717"/>
                  </a:lnTo>
                  <a:lnTo>
                    <a:pt x="441" y="717"/>
                  </a:lnTo>
                  <a:lnTo>
                    <a:pt x="443" y="715"/>
                  </a:lnTo>
                  <a:lnTo>
                    <a:pt x="441" y="715"/>
                  </a:lnTo>
                  <a:lnTo>
                    <a:pt x="441" y="714"/>
                  </a:lnTo>
                  <a:lnTo>
                    <a:pt x="439" y="714"/>
                  </a:lnTo>
                  <a:lnTo>
                    <a:pt x="439" y="712"/>
                  </a:lnTo>
                  <a:lnTo>
                    <a:pt x="439" y="711"/>
                  </a:lnTo>
                  <a:lnTo>
                    <a:pt x="438" y="711"/>
                  </a:lnTo>
                  <a:lnTo>
                    <a:pt x="438" y="709"/>
                  </a:lnTo>
                  <a:lnTo>
                    <a:pt x="439" y="709"/>
                  </a:lnTo>
                  <a:lnTo>
                    <a:pt x="441" y="707"/>
                  </a:lnTo>
                  <a:lnTo>
                    <a:pt x="441" y="706"/>
                  </a:lnTo>
                  <a:lnTo>
                    <a:pt x="438" y="704"/>
                  </a:lnTo>
                  <a:lnTo>
                    <a:pt x="438" y="702"/>
                  </a:lnTo>
                  <a:lnTo>
                    <a:pt x="438" y="701"/>
                  </a:lnTo>
                  <a:lnTo>
                    <a:pt x="438" y="699"/>
                  </a:lnTo>
                  <a:lnTo>
                    <a:pt x="438" y="698"/>
                  </a:lnTo>
                  <a:lnTo>
                    <a:pt x="436" y="698"/>
                  </a:lnTo>
                  <a:lnTo>
                    <a:pt x="435" y="698"/>
                  </a:lnTo>
                  <a:lnTo>
                    <a:pt x="435" y="701"/>
                  </a:lnTo>
                  <a:lnTo>
                    <a:pt x="433" y="701"/>
                  </a:lnTo>
                  <a:lnTo>
                    <a:pt x="431" y="701"/>
                  </a:lnTo>
                  <a:lnTo>
                    <a:pt x="430" y="701"/>
                  </a:lnTo>
                  <a:lnTo>
                    <a:pt x="428" y="699"/>
                  </a:lnTo>
                  <a:lnTo>
                    <a:pt x="426" y="699"/>
                  </a:lnTo>
                  <a:lnTo>
                    <a:pt x="425" y="699"/>
                  </a:lnTo>
                  <a:lnTo>
                    <a:pt x="425" y="698"/>
                  </a:lnTo>
                  <a:lnTo>
                    <a:pt x="423" y="698"/>
                  </a:lnTo>
                  <a:lnTo>
                    <a:pt x="422" y="698"/>
                  </a:lnTo>
                  <a:lnTo>
                    <a:pt x="420" y="698"/>
                  </a:lnTo>
                  <a:lnTo>
                    <a:pt x="418" y="698"/>
                  </a:lnTo>
                  <a:lnTo>
                    <a:pt x="417" y="698"/>
                  </a:lnTo>
                  <a:lnTo>
                    <a:pt x="417" y="696"/>
                  </a:lnTo>
                  <a:lnTo>
                    <a:pt x="415" y="696"/>
                  </a:lnTo>
                  <a:lnTo>
                    <a:pt x="415" y="698"/>
                  </a:lnTo>
                  <a:lnTo>
                    <a:pt x="417" y="698"/>
                  </a:lnTo>
                  <a:lnTo>
                    <a:pt x="415" y="698"/>
                  </a:lnTo>
                  <a:lnTo>
                    <a:pt x="417" y="699"/>
                  </a:lnTo>
                  <a:lnTo>
                    <a:pt x="415" y="699"/>
                  </a:lnTo>
                  <a:lnTo>
                    <a:pt x="413" y="701"/>
                  </a:lnTo>
                  <a:lnTo>
                    <a:pt x="412" y="701"/>
                  </a:lnTo>
                  <a:lnTo>
                    <a:pt x="412" y="699"/>
                  </a:lnTo>
                  <a:lnTo>
                    <a:pt x="410" y="699"/>
                  </a:lnTo>
                  <a:lnTo>
                    <a:pt x="410" y="698"/>
                  </a:lnTo>
                  <a:lnTo>
                    <a:pt x="410" y="696"/>
                  </a:lnTo>
                  <a:lnTo>
                    <a:pt x="410" y="694"/>
                  </a:lnTo>
                  <a:lnTo>
                    <a:pt x="409" y="694"/>
                  </a:lnTo>
                  <a:lnTo>
                    <a:pt x="405" y="694"/>
                  </a:lnTo>
                  <a:lnTo>
                    <a:pt x="404" y="694"/>
                  </a:lnTo>
                  <a:lnTo>
                    <a:pt x="402" y="691"/>
                  </a:lnTo>
                  <a:lnTo>
                    <a:pt x="400" y="691"/>
                  </a:lnTo>
                  <a:lnTo>
                    <a:pt x="399" y="691"/>
                  </a:lnTo>
                  <a:lnTo>
                    <a:pt x="399" y="693"/>
                  </a:lnTo>
                  <a:lnTo>
                    <a:pt x="397" y="693"/>
                  </a:lnTo>
                  <a:lnTo>
                    <a:pt x="396" y="691"/>
                  </a:lnTo>
                  <a:lnTo>
                    <a:pt x="394" y="693"/>
                  </a:lnTo>
                  <a:lnTo>
                    <a:pt x="392" y="689"/>
                  </a:lnTo>
                  <a:lnTo>
                    <a:pt x="392" y="688"/>
                  </a:lnTo>
                  <a:lnTo>
                    <a:pt x="391" y="688"/>
                  </a:lnTo>
                  <a:lnTo>
                    <a:pt x="391" y="686"/>
                  </a:lnTo>
                  <a:lnTo>
                    <a:pt x="391" y="684"/>
                  </a:lnTo>
                  <a:lnTo>
                    <a:pt x="389" y="684"/>
                  </a:lnTo>
                  <a:lnTo>
                    <a:pt x="387" y="683"/>
                  </a:lnTo>
                  <a:lnTo>
                    <a:pt x="386" y="683"/>
                  </a:lnTo>
                  <a:lnTo>
                    <a:pt x="384" y="683"/>
                  </a:lnTo>
                  <a:lnTo>
                    <a:pt x="384" y="684"/>
                  </a:lnTo>
                  <a:lnTo>
                    <a:pt x="383" y="684"/>
                  </a:lnTo>
                  <a:lnTo>
                    <a:pt x="383" y="686"/>
                  </a:lnTo>
                  <a:lnTo>
                    <a:pt x="384" y="686"/>
                  </a:lnTo>
                  <a:lnTo>
                    <a:pt x="383" y="686"/>
                  </a:lnTo>
                  <a:lnTo>
                    <a:pt x="384" y="688"/>
                  </a:lnTo>
                  <a:lnTo>
                    <a:pt x="384" y="686"/>
                  </a:lnTo>
                  <a:lnTo>
                    <a:pt x="386" y="686"/>
                  </a:lnTo>
                  <a:lnTo>
                    <a:pt x="387" y="686"/>
                  </a:lnTo>
                  <a:lnTo>
                    <a:pt x="387" y="688"/>
                  </a:lnTo>
                  <a:lnTo>
                    <a:pt x="387" y="689"/>
                  </a:lnTo>
                  <a:lnTo>
                    <a:pt x="387" y="691"/>
                  </a:lnTo>
                  <a:lnTo>
                    <a:pt x="386" y="691"/>
                  </a:lnTo>
                  <a:lnTo>
                    <a:pt x="384" y="691"/>
                  </a:lnTo>
                  <a:lnTo>
                    <a:pt x="384" y="689"/>
                  </a:lnTo>
                  <a:lnTo>
                    <a:pt x="383" y="689"/>
                  </a:lnTo>
                  <a:lnTo>
                    <a:pt x="383" y="691"/>
                  </a:lnTo>
                  <a:lnTo>
                    <a:pt x="381" y="691"/>
                  </a:lnTo>
                  <a:lnTo>
                    <a:pt x="379" y="691"/>
                  </a:lnTo>
                  <a:lnTo>
                    <a:pt x="379" y="693"/>
                  </a:lnTo>
                  <a:lnTo>
                    <a:pt x="376" y="696"/>
                  </a:lnTo>
                  <a:lnTo>
                    <a:pt x="374" y="696"/>
                  </a:lnTo>
                  <a:lnTo>
                    <a:pt x="373" y="696"/>
                  </a:lnTo>
                  <a:lnTo>
                    <a:pt x="371" y="698"/>
                  </a:lnTo>
                  <a:lnTo>
                    <a:pt x="371" y="696"/>
                  </a:lnTo>
                  <a:lnTo>
                    <a:pt x="370" y="696"/>
                  </a:lnTo>
                  <a:lnTo>
                    <a:pt x="370" y="694"/>
                  </a:lnTo>
                  <a:lnTo>
                    <a:pt x="368" y="694"/>
                  </a:lnTo>
                  <a:lnTo>
                    <a:pt x="368" y="693"/>
                  </a:lnTo>
                  <a:lnTo>
                    <a:pt x="366" y="693"/>
                  </a:lnTo>
                  <a:lnTo>
                    <a:pt x="365" y="693"/>
                  </a:lnTo>
                  <a:lnTo>
                    <a:pt x="365" y="691"/>
                  </a:lnTo>
                  <a:lnTo>
                    <a:pt x="363" y="691"/>
                  </a:lnTo>
                  <a:lnTo>
                    <a:pt x="361" y="691"/>
                  </a:lnTo>
                  <a:lnTo>
                    <a:pt x="363" y="691"/>
                  </a:lnTo>
                  <a:lnTo>
                    <a:pt x="363" y="689"/>
                  </a:lnTo>
                  <a:lnTo>
                    <a:pt x="361" y="689"/>
                  </a:lnTo>
                  <a:lnTo>
                    <a:pt x="361" y="688"/>
                  </a:lnTo>
                  <a:lnTo>
                    <a:pt x="361" y="686"/>
                  </a:lnTo>
                  <a:lnTo>
                    <a:pt x="360" y="686"/>
                  </a:lnTo>
                  <a:lnTo>
                    <a:pt x="360" y="684"/>
                  </a:lnTo>
                  <a:lnTo>
                    <a:pt x="360" y="683"/>
                  </a:lnTo>
                  <a:lnTo>
                    <a:pt x="358" y="683"/>
                  </a:lnTo>
                  <a:lnTo>
                    <a:pt x="357" y="683"/>
                  </a:lnTo>
                  <a:lnTo>
                    <a:pt x="357" y="681"/>
                  </a:lnTo>
                  <a:lnTo>
                    <a:pt x="353" y="678"/>
                  </a:lnTo>
                  <a:lnTo>
                    <a:pt x="352" y="678"/>
                  </a:lnTo>
                  <a:lnTo>
                    <a:pt x="352" y="680"/>
                  </a:lnTo>
                  <a:lnTo>
                    <a:pt x="350" y="680"/>
                  </a:lnTo>
                  <a:lnTo>
                    <a:pt x="348" y="680"/>
                  </a:lnTo>
                  <a:lnTo>
                    <a:pt x="348" y="678"/>
                  </a:lnTo>
                  <a:lnTo>
                    <a:pt x="348" y="676"/>
                  </a:lnTo>
                  <a:lnTo>
                    <a:pt x="347" y="676"/>
                  </a:lnTo>
                  <a:lnTo>
                    <a:pt x="345" y="675"/>
                  </a:lnTo>
                  <a:lnTo>
                    <a:pt x="344" y="673"/>
                  </a:lnTo>
                  <a:lnTo>
                    <a:pt x="342" y="673"/>
                  </a:lnTo>
                  <a:lnTo>
                    <a:pt x="344" y="671"/>
                  </a:lnTo>
                  <a:lnTo>
                    <a:pt x="347" y="671"/>
                  </a:lnTo>
                  <a:lnTo>
                    <a:pt x="348" y="670"/>
                  </a:lnTo>
                  <a:lnTo>
                    <a:pt x="353" y="668"/>
                  </a:lnTo>
                  <a:lnTo>
                    <a:pt x="353" y="667"/>
                  </a:lnTo>
                  <a:lnTo>
                    <a:pt x="355" y="665"/>
                  </a:lnTo>
                  <a:lnTo>
                    <a:pt x="357" y="667"/>
                  </a:lnTo>
                  <a:lnTo>
                    <a:pt x="358" y="665"/>
                  </a:lnTo>
                  <a:lnTo>
                    <a:pt x="358" y="662"/>
                  </a:lnTo>
                  <a:lnTo>
                    <a:pt x="355" y="660"/>
                  </a:lnTo>
                  <a:lnTo>
                    <a:pt x="355" y="658"/>
                  </a:lnTo>
                  <a:lnTo>
                    <a:pt x="353" y="657"/>
                  </a:lnTo>
                  <a:lnTo>
                    <a:pt x="355" y="655"/>
                  </a:lnTo>
                  <a:lnTo>
                    <a:pt x="355" y="654"/>
                  </a:lnTo>
                  <a:lnTo>
                    <a:pt x="357" y="652"/>
                  </a:lnTo>
                  <a:lnTo>
                    <a:pt x="355" y="652"/>
                  </a:lnTo>
                  <a:lnTo>
                    <a:pt x="353" y="652"/>
                  </a:lnTo>
                  <a:lnTo>
                    <a:pt x="353" y="650"/>
                  </a:lnTo>
                  <a:lnTo>
                    <a:pt x="350" y="649"/>
                  </a:lnTo>
                  <a:lnTo>
                    <a:pt x="350" y="650"/>
                  </a:lnTo>
                  <a:lnTo>
                    <a:pt x="350" y="652"/>
                  </a:lnTo>
                  <a:lnTo>
                    <a:pt x="348" y="654"/>
                  </a:lnTo>
                  <a:lnTo>
                    <a:pt x="347" y="655"/>
                  </a:lnTo>
                  <a:lnTo>
                    <a:pt x="347" y="657"/>
                  </a:lnTo>
                  <a:lnTo>
                    <a:pt x="345" y="658"/>
                  </a:lnTo>
                  <a:lnTo>
                    <a:pt x="344" y="658"/>
                  </a:lnTo>
                  <a:lnTo>
                    <a:pt x="342" y="657"/>
                  </a:lnTo>
                  <a:lnTo>
                    <a:pt x="340" y="657"/>
                  </a:lnTo>
                  <a:lnTo>
                    <a:pt x="339" y="658"/>
                  </a:lnTo>
                  <a:lnTo>
                    <a:pt x="337" y="658"/>
                  </a:lnTo>
                  <a:lnTo>
                    <a:pt x="335" y="658"/>
                  </a:lnTo>
                  <a:lnTo>
                    <a:pt x="334" y="658"/>
                  </a:lnTo>
                  <a:lnTo>
                    <a:pt x="334" y="657"/>
                  </a:lnTo>
                  <a:lnTo>
                    <a:pt x="332" y="658"/>
                  </a:lnTo>
                  <a:lnTo>
                    <a:pt x="329" y="658"/>
                  </a:lnTo>
                  <a:lnTo>
                    <a:pt x="329" y="660"/>
                  </a:lnTo>
                  <a:lnTo>
                    <a:pt x="329" y="662"/>
                  </a:lnTo>
                  <a:lnTo>
                    <a:pt x="327" y="662"/>
                  </a:lnTo>
                  <a:lnTo>
                    <a:pt x="326" y="658"/>
                  </a:lnTo>
                  <a:lnTo>
                    <a:pt x="324" y="658"/>
                  </a:lnTo>
                  <a:lnTo>
                    <a:pt x="324" y="657"/>
                  </a:lnTo>
                  <a:lnTo>
                    <a:pt x="321" y="658"/>
                  </a:lnTo>
                  <a:lnTo>
                    <a:pt x="321" y="660"/>
                  </a:lnTo>
                  <a:lnTo>
                    <a:pt x="319" y="660"/>
                  </a:lnTo>
                  <a:lnTo>
                    <a:pt x="319" y="658"/>
                  </a:lnTo>
                  <a:lnTo>
                    <a:pt x="319" y="657"/>
                  </a:lnTo>
                  <a:lnTo>
                    <a:pt x="321" y="655"/>
                  </a:lnTo>
                  <a:lnTo>
                    <a:pt x="319" y="654"/>
                  </a:lnTo>
                  <a:lnTo>
                    <a:pt x="318" y="654"/>
                  </a:lnTo>
                  <a:lnTo>
                    <a:pt x="318" y="652"/>
                  </a:lnTo>
                  <a:lnTo>
                    <a:pt x="316" y="652"/>
                  </a:lnTo>
                  <a:lnTo>
                    <a:pt x="316" y="654"/>
                  </a:lnTo>
                  <a:lnTo>
                    <a:pt x="314" y="654"/>
                  </a:lnTo>
                  <a:lnTo>
                    <a:pt x="313" y="654"/>
                  </a:lnTo>
                  <a:lnTo>
                    <a:pt x="309" y="652"/>
                  </a:lnTo>
                  <a:lnTo>
                    <a:pt x="308" y="650"/>
                  </a:lnTo>
                  <a:lnTo>
                    <a:pt x="305" y="647"/>
                  </a:lnTo>
                  <a:lnTo>
                    <a:pt x="305" y="645"/>
                  </a:lnTo>
                  <a:lnTo>
                    <a:pt x="305" y="644"/>
                  </a:lnTo>
                  <a:lnTo>
                    <a:pt x="303" y="644"/>
                  </a:lnTo>
                  <a:lnTo>
                    <a:pt x="301" y="645"/>
                  </a:lnTo>
                  <a:lnTo>
                    <a:pt x="300" y="645"/>
                  </a:lnTo>
                  <a:lnTo>
                    <a:pt x="298" y="644"/>
                  </a:lnTo>
                  <a:lnTo>
                    <a:pt x="296" y="644"/>
                  </a:lnTo>
                  <a:lnTo>
                    <a:pt x="296" y="642"/>
                  </a:lnTo>
                  <a:lnTo>
                    <a:pt x="295" y="642"/>
                  </a:lnTo>
                  <a:lnTo>
                    <a:pt x="293" y="642"/>
                  </a:lnTo>
                  <a:lnTo>
                    <a:pt x="291" y="642"/>
                  </a:lnTo>
                  <a:lnTo>
                    <a:pt x="290" y="642"/>
                  </a:lnTo>
                  <a:lnTo>
                    <a:pt x="288" y="641"/>
                  </a:lnTo>
                  <a:lnTo>
                    <a:pt x="287" y="641"/>
                  </a:lnTo>
                  <a:lnTo>
                    <a:pt x="285" y="641"/>
                  </a:lnTo>
                  <a:lnTo>
                    <a:pt x="285" y="642"/>
                  </a:lnTo>
                  <a:lnTo>
                    <a:pt x="283" y="642"/>
                  </a:lnTo>
                  <a:lnTo>
                    <a:pt x="282" y="641"/>
                  </a:lnTo>
                  <a:lnTo>
                    <a:pt x="278" y="639"/>
                  </a:lnTo>
                  <a:lnTo>
                    <a:pt x="277" y="639"/>
                  </a:lnTo>
                  <a:lnTo>
                    <a:pt x="275" y="641"/>
                  </a:lnTo>
                  <a:lnTo>
                    <a:pt x="274" y="642"/>
                  </a:lnTo>
                  <a:lnTo>
                    <a:pt x="274" y="644"/>
                  </a:lnTo>
                  <a:lnTo>
                    <a:pt x="278" y="647"/>
                  </a:lnTo>
                  <a:lnTo>
                    <a:pt x="278" y="649"/>
                  </a:lnTo>
                  <a:lnTo>
                    <a:pt x="278" y="650"/>
                  </a:lnTo>
                  <a:lnTo>
                    <a:pt x="282" y="657"/>
                  </a:lnTo>
                  <a:lnTo>
                    <a:pt x="283" y="657"/>
                  </a:lnTo>
                  <a:lnTo>
                    <a:pt x="285" y="657"/>
                  </a:lnTo>
                  <a:lnTo>
                    <a:pt x="288" y="658"/>
                  </a:lnTo>
                  <a:lnTo>
                    <a:pt x="288" y="660"/>
                  </a:lnTo>
                  <a:lnTo>
                    <a:pt x="290" y="662"/>
                  </a:lnTo>
                  <a:lnTo>
                    <a:pt x="290" y="663"/>
                  </a:lnTo>
                  <a:lnTo>
                    <a:pt x="288" y="665"/>
                  </a:lnTo>
                  <a:lnTo>
                    <a:pt x="290" y="667"/>
                  </a:lnTo>
                  <a:lnTo>
                    <a:pt x="290" y="668"/>
                  </a:lnTo>
                  <a:lnTo>
                    <a:pt x="290" y="670"/>
                  </a:lnTo>
                  <a:lnTo>
                    <a:pt x="288" y="670"/>
                  </a:lnTo>
                  <a:lnTo>
                    <a:pt x="287" y="667"/>
                  </a:lnTo>
                  <a:lnTo>
                    <a:pt x="285" y="668"/>
                  </a:lnTo>
                  <a:lnTo>
                    <a:pt x="285" y="670"/>
                  </a:lnTo>
                  <a:lnTo>
                    <a:pt x="283" y="670"/>
                  </a:lnTo>
                  <a:lnTo>
                    <a:pt x="282" y="670"/>
                  </a:lnTo>
                  <a:lnTo>
                    <a:pt x="280" y="670"/>
                  </a:lnTo>
                  <a:lnTo>
                    <a:pt x="278" y="671"/>
                  </a:lnTo>
                  <a:lnTo>
                    <a:pt x="278" y="673"/>
                  </a:lnTo>
                  <a:lnTo>
                    <a:pt x="278" y="675"/>
                  </a:lnTo>
                  <a:lnTo>
                    <a:pt x="277" y="675"/>
                  </a:lnTo>
                  <a:lnTo>
                    <a:pt x="275" y="673"/>
                  </a:lnTo>
                  <a:lnTo>
                    <a:pt x="274" y="673"/>
                  </a:lnTo>
                  <a:lnTo>
                    <a:pt x="274" y="675"/>
                  </a:lnTo>
                  <a:lnTo>
                    <a:pt x="272" y="676"/>
                  </a:lnTo>
                  <a:lnTo>
                    <a:pt x="272" y="675"/>
                  </a:lnTo>
                  <a:lnTo>
                    <a:pt x="272" y="676"/>
                  </a:lnTo>
                  <a:lnTo>
                    <a:pt x="270" y="678"/>
                  </a:lnTo>
                  <a:lnTo>
                    <a:pt x="270" y="680"/>
                  </a:lnTo>
                  <a:lnTo>
                    <a:pt x="270" y="681"/>
                  </a:lnTo>
                  <a:lnTo>
                    <a:pt x="270" y="683"/>
                  </a:lnTo>
                  <a:lnTo>
                    <a:pt x="267" y="684"/>
                  </a:lnTo>
                  <a:lnTo>
                    <a:pt x="265" y="684"/>
                  </a:lnTo>
                  <a:lnTo>
                    <a:pt x="265" y="686"/>
                  </a:lnTo>
                  <a:lnTo>
                    <a:pt x="264" y="689"/>
                  </a:lnTo>
                  <a:lnTo>
                    <a:pt x="262" y="689"/>
                  </a:lnTo>
                  <a:lnTo>
                    <a:pt x="261" y="689"/>
                  </a:lnTo>
                  <a:lnTo>
                    <a:pt x="259" y="689"/>
                  </a:lnTo>
                  <a:lnTo>
                    <a:pt x="257" y="689"/>
                  </a:lnTo>
                  <a:lnTo>
                    <a:pt x="256" y="689"/>
                  </a:lnTo>
                  <a:lnTo>
                    <a:pt x="256" y="688"/>
                  </a:lnTo>
                  <a:lnTo>
                    <a:pt x="254" y="686"/>
                  </a:lnTo>
                  <a:lnTo>
                    <a:pt x="251" y="684"/>
                  </a:lnTo>
                  <a:lnTo>
                    <a:pt x="249" y="683"/>
                  </a:lnTo>
                  <a:lnTo>
                    <a:pt x="249" y="681"/>
                  </a:lnTo>
                  <a:lnTo>
                    <a:pt x="249" y="680"/>
                  </a:lnTo>
                  <a:lnTo>
                    <a:pt x="249" y="678"/>
                  </a:lnTo>
                  <a:lnTo>
                    <a:pt x="248" y="678"/>
                  </a:lnTo>
                  <a:lnTo>
                    <a:pt x="248" y="676"/>
                  </a:lnTo>
                  <a:lnTo>
                    <a:pt x="249" y="676"/>
                  </a:lnTo>
                  <a:lnTo>
                    <a:pt x="248" y="675"/>
                  </a:lnTo>
                  <a:lnTo>
                    <a:pt x="248" y="673"/>
                  </a:lnTo>
                  <a:lnTo>
                    <a:pt x="246" y="671"/>
                  </a:lnTo>
                  <a:lnTo>
                    <a:pt x="244" y="671"/>
                  </a:lnTo>
                  <a:lnTo>
                    <a:pt x="244" y="670"/>
                  </a:lnTo>
                  <a:lnTo>
                    <a:pt x="243" y="670"/>
                  </a:lnTo>
                  <a:lnTo>
                    <a:pt x="243" y="668"/>
                  </a:lnTo>
                  <a:lnTo>
                    <a:pt x="241" y="667"/>
                  </a:lnTo>
                  <a:lnTo>
                    <a:pt x="239" y="665"/>
                  </a:lnTo>
                  <a:lnTo>
                    <a:pt x="238" y="663"/>
                  </a:lnTo>
                  <a:lnTo>
                    <a:pt x="236" y="662"/>
                  </a:lnTo>
                  <a:lnTo>
                    <a:pt x="236" y="660"/>
                  </a:lnTo>
                  <a:lnTo>
                    <a:pt x="235" y="660"/>
                  </a:lnTo>
                  <a:lnTo>
                    <a:pt x="233" y="660"/>
                  </a:lnTo>
                  <a:lnTo>
                    <a:pt x="231" y="660"/>
                  </a:lnTo>
                  <a:lnTo>
                    <a:pt x="230" y="658"/>
                  </a:lnTo>
                  <a:lnTo>
                    <a:pt x="228" y="657"/>
                  </a:lnTo>
                  <a:lnTo>
                    <a:pt x="228" y="655"/>
                  </a:lnTo>
                  <a:lnTo>
                    <a:pt x="228" y="654"/>
                  </a:lnTo>
                  <a:lnTo>
                    <a:pt x="228" y="652"/>
                  </a:lnTo>
                  <a:lnTo>
                    <a:pt x="226" y="652"/>
                  </a:lnTo>
                  <a:lnTo>
                    <a:pt x="226" y="654"/>
                  </a:lnTo>
                  <a:lnTo>
                    <a:pt x="223" y="652"/>
                  </a:lnTo>
                  <a:lnTo>
                    <a:pt x="222" y="654"/>
                  </a:lnTo>
                  <a:lnTo>
                    <a:pt x="222" y="655"/>
                  </a:lnTo>
                  <a:lnTo>
                    <a:pt x="220" y="654"/>
                  </a:lnTo>
                  <a:lnTo>
                    <a:pt x="218" y="654"/>
                  </a:lnTo>
                  <a:lnTo>
                    <a:pt x="218" y="652"/>
                  </a:lnTo>
                  <a:lnTo>
                    <a:pt x="217" y="650"/>
                  </a:lnTo>
                  <a:lnTo>
                    <a:pt x="217" y="649"/>
                  </a:lnTo>
                  <a:lnTo>
                    <a:pt x="215" y="649"/>
                  </a:lnTo>
                  <a:lnTo>
                    <a:pt x="213" y="649"/>
                  </a:lnTo>
                  <a:lnTo>
                    <a:pt x="213" y="647"/>
                  </a:lnTo>
                  <a:lnTo>
                    <a:pt x="212" y="645"/>
                  </a:lnTo>
                  <a:lnTo>
                    <a:pt x="212" y="644"/>
                  </a:lnTo>
                  <a:lnTo>
                    <a:pt x="213" y="644"/>
                  </a:lnTo>
                  <a:lnTo>
                    <a:pt x="215" y="644"/>
                  </a:lnTo>
                  <a:lnTo>
                    <a:pt x="215" y="642"/>
                  </a:lnTo>
                  <a:lnTo>
                    <a:pt x="215" y="641"/>
                  </a:lnTo>
                  <a:lnTo>
                    <a:pt x="217" y="641"/>
                  </a:lnTo>
                  <a:lnTo>
                    <a:pt x="217" y="639"/>
                  </a:lnTo>
                  <a:lnTo>
                    <a:pt x="218" y="639"/>
                  </a:lnTo>
                  <a:lnTo>
                    <a:pt x="220" y="639"/>
                  </a:lnTo>
                  <a:lnTo>
                    <a:pt x="222" y="637"/>
                  </a:lnTo>
                  <a:lnTo>
                    <a:pt x="222" y="636"/>
                  </a:lnTo>
                  <a:lnTo>
                    <a:pt x="222" y="634"/>
                  </a:lnTo>
                  <a:lnTo>
                    <a:pt x="223" y="634"/>
                  </a:lnTo>
                  <a:lnTo>
                    <a:pt x="225" y="636"/>
                  </a:lnTo>
                  <a:lnTo>
                    <a:pt x="226" y="636"/>
                  </a:lnTo>
                  <a:lnTo>
                    <a:pt x="226" y="634"/>
                  </a:lnTo>
                  <a:lnTo>
                    <a:pt x="228" y="632"/>
                  </a:lnTo>
                  <a:lnTo>
                    <a:pt x="228" y="631"/>
                  </a:lnTo>
                  <a:lnTo>
                    <a:pt x="230" y="631"/>
                  </a:lnTo>
                  <a:lnTo>
                    <a:pt x="228" y="629"/>
                  </a:lnTo>
                  <a:lnTo>
                    <a:pt x="230" y="628"/>
                  </a:lnTo>
                  <a:lnTo>
                    <a:pt x="230" y="626"/>
                  </a:lnTo>
                  <a:lnTo>
                    <a:pt x="230" y="624"/>
                  </a:lnTo>
                  <a:lnTo>
                    <a:pt x="233" y="623"/>
                  </a:lnTo>
                  <a:lnTo>
                    <a:pt x="231" y="621"/>
                  </a:lnTo>
                  <a:lnTo>
                    <a:pt x="230" y="618"/>
                  </a:lnTo>
                  <a:lnTo>
                    <a:pt x="228" y="618"/>
                  </a:lnTo>
                  <a:lnTo>
                    <a:pt x="226" y="616"/>
                  </a:lnTo>
                  <a:lnTo>
                    <a:pt x="225" y="615"/>
                  </a:lnTo>
                  <a:lnTo>
                    <a:pt x="223" y="615"/>
                  </a:lnTo>
                  <a:lnTo>
                    <a:pt x="223" y="613"/>
                  </a:lnTo>
                  <a:lnTo>
                    <a:pt x="222" y="611"/>
                  </a:lnTo>
                  <a:lnTo>
                    <a:pt x="218" y="613"/>
                  </a:lnTo>
                  <a:lnTo>
                    <a:pt x="217" y="611"/>
                  </a:lnTo>
                  <a:lnTo>
                    <a:pt x="215" y="611"/>
                  </a:lnTo>
                  <a:lnTo>
                    <a:pt x="213" y="611"/>
                  </a:lnTo>
                  <a:lnTo>
                    <a:pt x="212" y="613"/>
                  </a:lnTo>
                  <a:lnTo>
                    <a:pt x="212" y="618"/>
                  </a:lnTo>
                  <a:lnTo>
                    <a:pt x="210" y="618"/>
                  </a:lnTo>
                  <a:lnTo>
                    <a:pt x="209" y="618"/>
                  </a:lnTo>
                  <a:lnTo>
                    <a:pt x="209" y="616"/>
                  </a:lnTo>
                  <a:lnTo>
                    <a:pt x="207" y="616"/>
                  </a:lnTo>
                  <a:lnTo>
                    <a:pt x="205" y="615"/>
                  </a:lnTo>
                  <a:lnTo>
                    <a:pt x="204" y="615"/>
                  </a:lnTo>
                  <a:lnTo>
                    <a:pt x="200" y="615"/>
                  </a:lnTo>
                  <a:lnTo>
                    <a:pt x="200" y="616"/>
                  </a:lnTo>
                  <a:lnTo>
                    <a:pt x="199" y="618"/>
                  </a:lnTo>
                  <a:lnTo>
                    <a:pt x="197" y="619"/>
                  </a:lnTo>
                  <a:lnTo>
                    <a:pt x="197" y="623"/>
                  </a:lnTo>
                  <a:lnTo>
                    <a:pt x="196" y="621"/>
                  </a:lnTo>
                  <a:lnTo>
                    <a:pt x="196" y="623"/>
                  </a:lnTo>
                  <a:lnTo>
                    <a:pt x="194" y="623"/>
                  </a:lnTo>
                  <a:lnTo>
                    <a:pt x="191" y="621"/>
                  </a:lnTo>
                  <a:lnTo>
                    <a:pt x="194" y="619"/>
                  </a:lnTo>
                  <a:lnTo>
                    <a:pt x="192" y="618"/>
                  </a:lnTo>
                  <a:lnTo>
                    <a:pt x="192" y="615"/>
                  </a:lnTo>
                  <a:lnTo>
                    <a:pt x="191" y="613"/>
                  </a:lnTo>
                  <a:lnTo>
                    <a:pt x="191" y="611"/>
                  </a:lnTo>
                  <a:lnTo>
                    <a:pt x="189" y="611"/>
                  </a:lnTo>
                  <a:lnTo>
                    <a:pt x="187" y="611"/>
                  </a:lnTo>
                  <a:lnTo>
                    <a:pt x="186" y="613"/>
                  </a:lnTo>
                  <a:lnTo>
                    <a:pt x="184" y="613"/>
                  </a:lnTo>
                  <a:lnTo>
                    <a:pt x="181" y="615"/>
                  </a:lnTo>
                  <a:lnTo>
                    <a:pt x="179" y="615"/>
                  </a:lnTo>
                  <a:lnTo>
                    <a:pt x="179" y="611"/>
                  </a:lnTo>
                  <a:lnTo>
                    <a:pt x="178" y="611"/>
                  </a:lnTo>
                  <a:lnTo>
                    <a:pt x="178" y="610"/>
                  </a:lnTo>
                  <a:lnTo>
                    <a:pt x="176" y="608"/>
                  </a:lnTo>
                  <a:lnTo>
                    <a:pt x="176" y="606"/>
                  </a:lnTo>
                  <a:lnTo>
                    <a:pt x="176" y="605"/>
                  </a:lnTo>
                  <a:lnTo>
                    <a:pt x="174" y="603"/>
                  </a:lnTo>
                  <a:lnTo>
                    <a:pt x="173" y="603"/>
                  </a:lnTo>
                  <a:lnTo>
                    <a:pt x="171" y="605"/>
                  </a:lnTo>
                  <a:lnTo>
                    <a:pt x="170" y="605"/>
                  </a:lnTo>
                  <a:lnTo>
                    <a:pt x="168" y="606"/>
                  </a:lnTo>
                  <a:lnTo>
                    <a:pt x="166" y="606"/>
                  </a:lnTo>
                  <a:lnTo>
                    <a:pt x="165" y="606"/>
                  </a:lnTo>
                  <a:lnTo>
                    <a:pt x="165" y="608"/>
                  </a:lnTo>
                  <a:lnTo>
                    <a:pt x="163" y="608"/>
                  </a:lnTo>
                  <a:lnTo>
                    <a:pt x="163" y="606"/>
                  </a:lnTo>
                  <a:lnTo>
                    <a:pt x="161" y="605"/>
                  </a:lnTo>
                  <a:lnTo>
                    <a:pt x="160" y="603"/>
                  </a:lnTo>
                  <a:lnTo>
                    <a:pt x="157" y="603"/>
                  </a:lnTo>
                  <a:lnTo>
                    <a:pt x="155" y="602"/>
                  </a:lnTo>
                  <a:lnTo>
                    <a:pt x="153" y="602"/>
                  </a:lnTo>
                  <a:lnTo>
                    <a:pt x="152" y="602"/>
                  </a:lnTo>
                  <a:lnTo>
                    <a:pt x="150" y="602"/>
                  </a:lnTo>
                  <a:lnTo>
                    <a:pt x="148" y="602"/>
                  </a:lnTo>
                  <a:lnTo>
                    <a:pt x="147" y="602"/>
                  </a:lnTo>
                  <a:lnTo>
                    <a:pt x="147" y="600"/>
                  </a:lnTo>
                  <a:lnTo>
                    <a:pt x="145" y="600"/>
                  </a:lnTo>
                  <a:lnTo>
                    <a:pt x="143" y="600"/>
                  </a:lnTo>
                  <a:lnTo>
                    <a:pt x="140" y="598"/>
                  </a:lnTo>
                  <a:lnTo>
                    <a:pt x="139" y="598"/>
                  </a:lnTo>
                  <a:lnTo>
                    <a:pt x="137" y="598"/>
                  </a:lnTo>
                  <a:lnTo>
                    <a:pt x="137" y="600"/>
                  </a:lnTo>
                  <a:lnTo>
                    <a:pt x="137" y="602"/>
                  </a:lnTo>
                  <a:lnTo>
                    <a:pt x="135" y="603"/>
                  </a:lnTo>
                  <a:lnTo>
                    <a:pt x="134" y="602"/>
                  </a:lnTo>
                  <a:lnTo>
                    <a:pt x="134" y="600"/>
                  </a:lnTo>
                  <a:lnTo>
                    <a:pt x="134" y="598"/>
                  </a:lnTo>
                  <a:lnTo>
                    <a:pt x="134" y="597"/>
                  </a:lnTo>
                  <a:lnTo>
                    <a:pt x="132" y="595"/>
                  </a:lnTo>
                  <a:lnTo>
                    <a:pt x="132" y="593"/>
                  </a:lnTo>
                  <a:lnTo>
                    <a:pt x="130" y="592"/>
                  </a:lnTo>
                  <a:lnTo>
                    <a:pt x="129" y="592"/>
                  </a:lnTo>
                  <a:lnTo>
                    <a:pt x="127" y="592"/>
                  </a:lnTo>
                  <a:lnTo>
                    <a:pt x="127" y="590"/>
                  </a:lnTo>
                  <a:lnTo>
                    <a:pt x="124" y="587"/>
                  </a:lnTo>
                  <a:lnTo>
                    <a:pt x="122" y="587"/>
                  </a:lnTo>
                  <a:lnTo>
                    <a:pt x="122" y="584"/>
                  </a:lnTo>
                  <a:lnTo>
                    <a:pt x="122" y="582"/>
                  </a:lnTo>
                  <a:lnTo>
                    <a:pt x="124" y="580"/>
                  </a:lnTo>
                  <a:lnTo>
                    <a:pt x="124" y="579"/>
                  </a:lnTo>
                  <a:lnTo>
                    <a:pt x="124" y="577"/>
                  </a:lnTo>
                  <a:lnTo>
                    <a:pt x="122" y="577"/>
                  </a:lnTo>
                  <a:lnTo>
                    <a:pt x="122" y="576"/>
                  </a:lnTo>
                  <a:lnTo>
                    <a:pt x="121" y="574"/>
                  </a:lnTo>
                  <a:lnTo>
                    <a:pt x="119" y="574"/>
                  </a:lnTo>
                  <a:lnTo>
                    <a:pt x="119" y="572"/>
                  </a:lnTo>
                  <a:lnTo>
                    <a:pt x="117" y="574"/>
                  </a:lnTo>
                  <a:lnTo>
                    <a:pt x="116" y="574"/>
                  </a:lnTo>
                  <a:lnTo>
                    <a:pt x="116" y="576"/>
                  </a:lnTo>
                  <a:lnTo>
                    <a:pt x="114" y="576"/>
                  </a:lnTo>
                  <a:lnTo>
                    <a:pt x="114" y="574"/>
                  </a:lnTo>
                  <a:lnTo>
                    <a:pt x="114" y="572"/>
                  </a:lnTo>
                  <a:lnTo>
                    <a:pt x="114" y="571"/>
                  </a:lnTo>
                  <a:lnTo>
                    <a:pt x="113" y="571"/>
                  </a:lnTo>
                  <a:lnTo>
                    <a:pt x="113" y="569"/>
                  </a:lnTo>
                  <a:lnTo>
                    <a:pt x="111" y="571"/>
                  </a:lnTo>
                  <a:lnTo>
                    <a:pt x="111" y="572"/>
                  </a:lnTo>
                  <a:lnTo>
                    <a:pt x="109" y="574"/>
                  </a:lnTo>
                  <a:lnTo>
                    <a:pt x="111" y="574"/>
                  </a:lnTo>
                  <a:lnTo>
                    <a:pt x="108" y="574"/>
                  </a:lnTo>
                  <a:lnTo>
                    <a:pt x="106" y="574"/>
                  </a:lnTo>
                  <a:lnTo>
                    <a:pt x="106" y="572"/>
                  </a:lnTo>
                  <a:lnTo>
                    <a:pt x="106" y="571"/>
                  </a:lnTo>
                  <a:lnTo>
                    <a:pt x="104" y="571"/>
                  </a:lnTo>
                  <a:lnTo>
                    <a:pt x="103" y="571"/>
                  </a:lnTo>
                  <a:lnTo>
                    <a:pt x="101" y="572"/>
                  </a:lnTo>
                  <a:lnTo>
                    <a:pt x="100" y="572"/>
                  </a:lnTo>
                  <a:lnTo>
                    <a:pt x="100" y="571"/>
                  </a:lnTo>
                  <a:lnTo>
                    <a:pt x="100" y="569"/>
                  </a:lnTo>
                  <a:lnTo>
                    <a:pt x="98" y="572"/>
                  </a:lnTo>
                  <a:lnTo>
                    <a:pt x="96" y="572"/>
                  </a:lnTo>
                  <a:lnTo>
                    <a:pt x="95" y="574"/>
                  </a:lnTo>
                  <a:lnTo>
                    <a:pt x="95" y="576"/>
                  </a:lnTo>
                  <a:lnTo>
                    <a:pt x="96" y="576"/>
                  </a:lnTo>
                  <a:lnTo>
                    <a:pt x="98" y="576"/>
                  </a:lnTo>
                  <a:lnTo>
                    <a:pt x="100" y="576"/>
                  </a:lnTo>
                  <a:lnTo>
                    <a:pt x="100" y="577"/>
                  </a:lnTo>
                  <a:lnTo>
                    <a:pt x="100" y="579"/>
                  </a:lnTo>
                  <a:lnTo>
                    <a:pt x="100" y="580"/>
                  </a:lnTo>
                  <a:lnTo>
                    <a:pt x="100" y="582"/>
                  </a:lnTo>
                  <a:lnTo>
                    <a:pt x="98" y="585"/>
                  </a:lnTo>
                  <a:lnTo>
                    <a:pt x="100" y="587"/>
                  </a:lnTo>
                  <a:lnTo>
                    <a:pt x="98" y="589"/>
                  </a:lnTo>
                  <a:lnTo>
                    <a:pt x="100" y="589"/>
                  </a:lnTo>
                  <a:lnTo>
                    <a:pt x="100" y="592"/>
                  </a:lnTo>
                  <a:lnTo>
                    <a:pt x="98" y="592"/>
                  </a:lnTo>
                  <a:lnTo>
                    <a:pt x="96" y="592"/>
                  </a:lnTo>
                  <a:lnTo>
                    <a:pt x="96" y="593"/>
                  </a:lnTo>
                  <a:lnTo>
                    <a:pt x="95" y="593"/>
                  </a:lnTo>
                  <a:lnTo>
                    <a:pt x="91" y="592"/>
                  </a:lnTo>
                  <a:lnTo>
                    <a:pt x="90" y="592"/>
                  </a:lnTo>
                  <a:lnTo>
                    <a:pt x="90" y="593"/>
                  </a:lnTo>
                  <a:lnTo>
                    <a:pt x="88" y="592"/>
                  </a:lnTo>
                  <a:lnTo>
                    <a:pt x="87" y="593"/>
                  </a:lnTo>
                  <a:lnTo>
                    <a:pt x="85" y="593"/>
                  </a:lnTo>
                  <a:lnTo>
                    <a:pt x="83" y="593"/>
                  </a:lnTo>
                  <a:lnTo>
                    <a:pt x="83" y="595"/>
                  </a:lnTo>
                  <a:lnTo>
                    <a:pt x="83" y="593"/>
                  </a:lnTo>
                  <a:lnTo>
                    <a:pt x="82" y="592"/>
                  </a:lnTo>
                  <a:lnTo>
                    <a:pt x="83" y="590"/>
                  </a:lnTo>
                  <a:lnTo>
                    <a:pt x="85" y="589"/>
                  </a:lnTo>
                  <a:lnTo>
                    <a:pt x="85" y="587"/>
                  </a:lnTo>
                  <a:lnTo>
                    <a:pt x="87" y="585"/>
                  </a:lnTo>
                  <a:lnTo>
                    <a:pt x="87" y="584"/>
                  </a:lnTo>
                  <a:lnTo>
                    <a:pt x="88" y="584"/>
                  </a:lnTo>
                  <a:lnTo>
                    <a:pt x="90" y="582"/>
                  </a:lnTo>
                  <a:lnTo>
                    <a:pt x="88" y="582"/>
                  </a:lnTo>
                  <a:lnTo>
                    <a:pt x="88" y="580"/>
                  </a:lnTo>
                  <a:lnTo>
                    <a:pt x="90" y="580"/>
                  </a:lnTo>
                  <a:lnTo>
                    <a:pt x="90" y="579"/>
                  </a:lnTo>
                  <a:lnTo>
                    <a:pt x="91" y="577"/>
                  </a:lnTo>
                  <a:lnTo>
                    <a:pt x="90" y="577"/>
                  </a:lnTo>
                  <a:lnTo>
                    <a:pt x="91" y="576"/>
                  </a:lnTo>
                  <a:lnTo>
                    <a:pt x="90" y="576"/>
                  </a:lnTo>
                  <a:lnTo>
                    <a:pt x="90" y="574"/>
                  </a:lnTo>
                  <a:lnTo>
                    <a:pt x="91" y="574"/>
                  </a:lnTo>
                  <a:lnTo>
                    <a:pt x="91" y="572"/>
                  </a:lnTo>
                  <a:lnTo>
                    <a:pt x="93" y="572"/>
                  </a:lnTo>
                  <a:lnTo>
                    <a:pt x="91" y="571"/>
                  </a:lnTo>
                  <a:lnTo>
                    <a:pt x="93" y="571"/>
                  </a:lnTo>
                  <a:lnTo>
                    <a:pt x="91" y="571"/>
                  </a:lnTo>
                  <a:lnTo>
                    <a:pt x="93" y="571"/>
                  </a:lnTo>
                  <a:lnTo>
                    <a:pt x="93" y="569"/>
                  </a:lnTo>
                  <a:lnTo>
                    <a:pt x="93" y="567"/>
                  </a:lnTo>
                  <a:lnTo>
                    <a:pt x="95" y="567"/>
                  </a:lnTo>
                  <a:lnTo>
                    <a:pt x="93" y="566"/>
                  </a:lnTo>
                  <a:lnTo>
                    <a:pt x="95" y="566"/>
                  </a:lnTo>
                  <a:lnTo>
                    <a:pt x="93" y="566"/>
                  </a:lnTo>
                  <a:lnTo>
                    <a:pt x="95" y="566"/>
                  </a:lnTo>
                  <a:lnTo>
                    <a:pt x="93" y="566"/>
                  </a:lnTo>
                  <a:lnTo>
                    <a:pt x="95" y="566"/>
                  </a:lnTo>
                  <a:lnTo>
                    <a:pt x="95" y="564"/>
                  </a:lnTo>
                  <a:lnTo>
                    <a:pt x="95" y="563"/>
                  </a:lnTo>
                  <a:lnTo>
                    <a:pt x="95" y="561"/>
                  </a:lnTo>
                  <a:lnTo>
                    <a:pt x="95" y="559"/>
                  </a:lnTo>
                  <a:lnTo>
                    <a:pt x="95" y="558"/>
                  </a:lnTo>
                  <a:lnTo>
                    <a:pt x="95" y="556"/>
                  </a:lnTo>
                  <a:lnTo>
                    <a:pt x="95" y="558"/>
                  </a:lnTo>
                  <a:lnTo>
                    <a:pt x="96" y="558"/>
                  </a:lnTo>
                  <a:lnTo>
                    <a:pt x="96" y="556"/>
                  </a:lnTo>
                  <a:lnTo>
                    <a:pt x="96" y="554"/>
                  </a:lnTo>
                  <a:lnTo>
                    <a:pt x="95" y="553"/>
                  </a:lnTo>
                  <a:lnTo>
                    <a:pt x="96" y="553"/>
                  </a:lnTo>
                  <a:lnTo>
                    <a:pt x="96" y="551"/>
                  </a:lnTo>
                  <a:lnTo>
                    <a:pt x="95" y="549"/>
                  </a:lnTo>
                  <a:lnTo>
                    <a:pt x="96" y="549"/>
                  </a:lnTo>
                  <a:lnTo>
                    <a:pt x="96" y="548"/>
                  </a:lnTo>
                  <a:lnTo>
                    <a:pt x="96" y="546"/>
                  </a:lnTo>
                  <a:lnTo>
                    <a:pt x="96" y="545"/>
                  </a:lnTo>
                  <a:lnTo>
                    <a:pt x="96" y="543"/>
                  </a:lnTo>
                  <a:lnTo>
                    <a:pt x="98" y="543"/>
                  </a:lnTo>
                  <a:lnTo>
                    <a:pt x="96" y="543"/>
                  </a:lnTo>
                  <a:lnTo>
                    <a:pt x="98" y="541"/>
                  </a:lnTo>
                  <a:lnTo>
                    <a:pt x="96" y="541"/>
                  </a:lnTo>
                  <a:lnTo>
                    <a:pt x="98" y="541"/>
                  </a:lnTo>
                  <a:lnTo>
                    <a:pt x="98" y="540"/>
                  </a:lnTo>
                  <a:lnTo>
                    <a:pt x="98" y="538"/>
                  </a:lnTo>
                  <a:lnTo>
                    <a:pt x="98" y="540"/>
                  </a:lnTo>
                  <a:lnTo>
                    <a:pt x="98" y="538"/>
                  </a:lnTo>
                  <a:lnTo>
                    <a:pt x="100" y="538"/>
                  </a:lnTo>
                  <a:lnTo>
                    <a:pt x="98" y="538"/>
                  </a:lnTo>
                  <a:lnTo>
                    <a:pt x="98" y="536"/>
                  </a:lnTo>
                  <a:lnTo>
                    <a:pt x="98" y="535"/>
                  </a:lnTo>
                  <a:lnTo>
                    <a:pt x="100" y="535"/>
                  </a:lnTo>
                  <a:lnTo>
                    <a:pt x="98" y="535"/>
                  </a:lnTo>
                  <a:lnTo>
                    <a:pt x="98" y="533"/>
                  </a:lnTo>
                  <a:lnTo>
                    <a:pt x="98" y="532"/>
                  </a:lnTo>
                  <a:lnTo>
                    <a:pt x="96" y="530"/>
                  </a:lnTo>
                  <a:lnTo>
                    <a:pt x="95" y="528"/>
                  </a:lnTo>
                  <a:lnTo>
                    <a:pt x="95" y="527"/>
                  </a:lnTo>
                  <a:lnTo>
                    <a:pt x="93" y="527"/>
                  </a:lnTo>
                  <a:lnTo>
                    <a:pt x="95" y="527"/>
                  </a:lnTo>
                  <a:lnTo>
                    <a:pt x="93" y="527"/>
                  </a:lnTo>
                  <a:lnTo>
                    <a:pt x="93" y="525"/>
                  </a:lnTo>
                  <a:lnTo>
                    <a:pt x="93" y="523"/>
                  </a:lnTo>
                  <a:lnTo>
                    <a:pt x="91" y="523"/>
                  </a:lnTo>
                  <a:lnTo>
                    <a:pt x="93" y="523"/>
                  </a:lnTo>
                  <a:lnTo>
                    <a:pt x="91" y="523"/>
                  </a:lnTo>
                  <a:lnTo>
                    <a:pt x="91" y="522"/>
                  </a:lnTo>
                  <a:lnTo>
                    <a:pt x="91" y="520"/>
                  </a:lnTo>
                  <a:lnTo>
                    <a:pt x="93" y="520"/>
                  </a:lnTo>
                  <a:lnTo>
                    <a:pt x="91" y="520"/>
                  </a:lnTo>
                  <a:lnTo>
                    <a:pt x="91" y="519"/>
                  </a:lnTo>
                  <a:lnTo>
                    <a:pt x="90" y="517"/>
                  </a:lnTo>
                  <a:lnTo>
                    <a:pt x="91" y="517"/>
                  </a:lnTo>
                  <a:lnTo>
                    <a:pt x="91" y="515"/>
                  </a:lnTo>
                  <a:lnTo>
                    <a:pt x="90" y="515"/>
                  </a:lnTo>
                  <a:lnTo>
                    <a:pt x="91" y="514"/>
                  </a:lnTo>
                  <a:lnTo>
                    <a:pt x="90" y="514"/>
                  </a:lnTo>
                  <a:lnTo>
                    <a:pt x="90" y="512"/>
                  </a:lnTo>
                  <a:lnTo>
                    <a:pt x="91" y="512"/>
                  </a:lnTo>
                  <a:lnTo>
                    <a:pt x="91" y="510"/>
                  </a:lnTo>
                  <a:lnTo>
                    <a:pt x="90" y="510"/>
                  </a:lnTo>
                  <a:lnTo>
                    <a:pt x="90" y="509"/>
                  </a:lnTo>
                  <a:lnTo>
                    <a:pt x="90" y="507"/>
                  </a:lnTo>
                  <a:lnTo>
                    <a:pt x="88" y="506"/>
                  </a:lnTo>
                  <a:lnTo>
                    <a:pt x="87" y="506"/>
                  </a:lnTo>
                  <a:lnTo>
                    <a:pt x="85" y="506"/>
                  </a:lnTo>
                  <a:lnTo>
                    <a:pt x="83" y="506"/>
                  </a:lnTo>
                  <a:lnTo>
                    <a:pt x="83" y="504"/>
                  </a:lnTo>
                  <a:lnTo>
                    <a:pt x="82" y="506"/>
                  </a:lnTo>
                  <a:lnTo>
                    <a:pt x="80" y="504"/>
                  </a:lnTo>
                  <a:lnTo>
                    <a:pt x="78" y="504"/>
                  </a:lnTo>
                  <a:lnTo>
                    <a:pt x="78" y="502"/>
                  </a:lnTo>
                  <a:lnTo>
                    <a:pt x="78" y="504"/>
                  </a:lnTo>
                  <a:lnTo>
                    <a:pt x="78" y="502"/>
                  </a:lnTo>
                  <a:lnTo>
                    <a:pt x="77" y="502"/>
                  </a:lnTo>
                  <a:lnTo>
                    <a:pt x="75" y="502"/>
                  </a:lnTo>
                  <a:lnTo>
                    <a:pt x="75" y="501"/>
                  </a:lnTo>
                  <a:lnTo>
                    <a:pt x="74" y="501"/>
                  </a:lnTo>
                  <a:lnTo>
                    <a:pt x="72" y="501"/>
                  </a:lnTo>
                  <a:lnTo>
                    <a:pt x="70" y="501"/>
                  </a:lnTo>
                  <a:lnTo>
                    <a:pt x="69" y="501"/>
                  </a:lnTo>
                  <a:lnTo>
                    <a:pt x="69" y="499"/>
                  </a:lnTo>
                  <a:lnTo>
                    <a:pt x="69" y="497"/>
                  </a:lnTo>
                  <a:lnTo>
                    <a:pt x="69" y="496"/>
                  </a:lnTo>
                  <a:lnTo>
                    <a:pt x="67" y="496"/>
                  </a:lnTo>
                  <a:lnTo>
                    <a:pt x="67" y="494"/>
                  </a:lnTo>
                  <a:lnTo>
                    <a:pt x="67" y="493"/>
                  </a:lnTo>
                  <a:lnTo>
                    <a:pt x="69" y="493"/>
                  </a:lnTo>
                  <a:lnTo>
                    <a:pt x="69" y="491"/>
                  </a:lnTo>
                  <a:lnTo>
                    <a:pt x="70" y="491"/>
                  </a:lnTo>
                  <a:lnTo>
                    <a:pt x="70" y="489"/>
                  </a:lnTo>
                  <a:lnTo>
                    <a:pt x="70" y="488"/>
                  </a:lnTo>
                  <a:lnTo>
                    <a:pt x="70" y="486"/>
                  </a:lnTo>
                  <a:lnTo>
                    <a:pt x="70" y="484"/>
                  </a:lnTo>
                  <a:lnTo>
                    <a:pt x="70" y="483"/>
                  </a:lnTo>
                  <a:lnTo>
                    <a:pt x="69" y="483"/>
                  </a:lnTo>
                  <a:lnTo>
                    <a:pt x="69" y="481"/>
                  </a:lnTo>
                  <a:lnTo>
                    <a:pt x="70" y="481"/>
                  </a:lnTo>
                  <a:lnTo>
                    <a:pt x="70" y="480"/>
                  </a:lnTo>
                  <a:lnTo>
                    <a:pt x="69" y="480"/>
                  </a:lnTo>
                  <a:lnTo>
                    <a:pt x="69" y="478"/>
                  </a:lnTo>
                  <a:lnTo>
                    <a:pt x="67" y="478"/>
                  </a:lnTo>
                  <a:lnTo>
                    <a:pt x="69" y="478"/>
                  </a:lnTo>
                  <a:lnTo>
                    <a:pt x="67" y="476"/>
                  </a:lnTo>
                  <a:lnTo>
                    <a:pt x="64" y="475"/>
                  </a:lnTo>
                  <a:lnTo>
                    <a:pt x="64" y="473"/>
                  </a:lnTo>
                  <a:lnTo>
                    <a:pt x="62" y="473"/>
                  </a:lnTo>
                  <a:lnTo>
                    <a:pt x="62" y="471"/>
                  </a:lnTo>
                  <a:lnTo>
                    <a:pt x="61" y="471"/>
                  </a:lnTo>
                  <a:lnTo>
                    <a:pt x="61" y="470"/>
                  </a:lnTo>
                  <a:lnTo>
                    <a:pt x="61" y="468"/>
                  </a:lnTo>
                  <a:lnTo>
                    <a:pt x="61" y="467"/>
                  </a:lnTo>
                  <a:lnTo>
                    <a:pt x="59" y="467"/>
                  </a:lnTo>
                  <a:lnTo>
                    <a:pt x="59" y="465"/>
                  </a:lnTo>
                  <a:lnTo>
                    <a:pt x="59" y="463"/>
                  </a:lnTo>
                  <a:lnTo>
                    <a:pt x="59" y="462"/>
                  </a:lnTo>
                  <a:lnTo>
                    <a:pt x="57" y="462"/>
                  </a:lnTo>
                  <a:lnTo>
                    <a:pt x="56" y="462"/>
                  </a:lnTo>
                  <a:lnTo>
                    <a:pt x="56" y="460"/>
                  </a:lnTo>
                  <a:lnTo>
                    <a:pt x="56" y="462"/>
                  </a:lnTo>
                  <a:lnTo>
                    <a:pt x="54" y="460"/>
                  </a:lnTo>
                  <a:lnTo>
                    <a:pt x="54" y="458"/>
                  </a:lnTo>
                  <a:lnTo>
                    <a:pt x="54" y="457"/>
                  </a:lnTo>
                  <a:lnTo>
                    <a:pt x="52" y="457"/>
                  </a:lnTo>
                  <a:lnTo>
                    <a:pt x="54" y="455"/>
                  </a:lnTo>
                  <a:lnTo>
                    <a:pt x="56" y="455"/>
                  </a:lnTo>
                  <a:lnTo>
                    <a:pt x="54" y="454"/>
                  </a:lnTo>
                  <a:lnTo>
                    <a:pt x="56" y="454"/>
                  </a:lnTo>
                  <a:lnTo>
                    <a:pt x="57" y="452"/>
                  </a:lnTo>
                  <a:lnTo>
                    <a:pt x="57" y="450"/>
                  </a:lnTo>
                  <a:lnTo>
                    <a:pt x="59" y="450"/>
                  </a:lnTo>
                  <a:lnTo>
                    <a:pt x="59" y="449"/>
                  </a:lnTo>
                  <a:lnTo>
                    <a:pt x="61" y="449"/>
                  </a:lnTo>
                  <a:lnTo>
                    <a:pt x="61" y="447"/>
                  </a:lnTo>
                  <a:lnTo>
                    <a:pt x="62" y="447"/>
                  </a:lnTo>
                  <a:lnTo>
                    <a:pt x="62" y="445"/>
                  </a:lnTo>
                  <a:lnTo>
                    <a:pt x="62" y="444"/>
                  </a:lnTo>
                  <a:lnTo>
                    <a:pt x="62" y="442"/>
                  </a:lnTo>
                  <a:lnTo>
                    <a:pt x="64" y="441"/>
                  </a:lnTo>
                  <a:lnTo>
                    <a:pt x="64" y="439"/>
                  </a:lnTo>
                  <a:lnTo>
                    <a:pt x="62" y="437"/>
                  </a:lnTo>
                  <a:lnTo>
                    <a:pt x="62" y="436"/>
                  </a:lnTo>
                  <a:lnTo>
                    <a:pt x="64" y="434"/>
                  </a:lnTo>
                  <a:lnTo>
                    <a:pt x="64" y="432"/>
                  </a:lnTo>
                  <a:lnTo>
                    <a:pt x="62" y="432"/>
                  </a:lnTo>
                  <a:lnTo>
                    <a:pt x="62" y="431"/>
                  </a:lnTo>
                  <a:lnTo>
                    <a:pt x="64" y="431"/>
                  </a:lnTo>
                  <a:lnTo>
                    <a:pt x="64" y="429"/>
                  </a:lnTo>
                  <a:lnTo>
                    <a:pt x="65" y="429"/>
                  </a:lnTo>
                  <a:lnTo>
                    <a:pt x="65" y="428"/>
                  </a:lnTo>
                  <a:lnTo>
                    <a:pt x="65" y="426"/>
                  </a:lnTo>
                  <a:lnTo>
                    <a:pt x="65" y="424"/>
                  </a:lnTo>
                  <a:lnTo>
                    <a:pt x="65" y="423"/>
                  </a:lnTo>
                  <a:lnTo>
                    <a:pt x="65" y="421"/>
                  </a:lnTo>
                  <a:lnTo>
                    <a:pt x="64" y="419"/>
                  </a:lnTo>
                  <a:lnTo>
                    <a:pt x="62" y="419"/>
                  </a:lnTo>
                  <a:lnTo>
                    <a:pt x="61" y="418"/>
                  </a:lnTo>
                  <a:lnTo>
                    <a:pt x="59" y="418"/>
                  </a:lnTo>
                  <a:lnTo>
                    <a:pt x="59" y="416"/>
                  </a:lnTo>
                  <a:lnTo>
                    <a:pt x="59" y="415"/>
                  </a:lnTo>
                  <a:lnTo>
                    <a:pt x="59" y="413"/>
                  </a:lnTo>
                  <a:lnTo>
                    <a:pt x="59" y="411"/>
                  </a:lnTo>
                  <a:lnTo>
                    <a:pt x="59" y="410"/>
                  </a:lnTo>
                  <a:lnTo>
                    <a:pt x="61" y="408"/>
                  </a:lnTo>
                  <a:lnTo>
                    <a:pt x="61" y="406"/>
                  </a:lnTo>
                  <a:lnTo>
                    <a:pt x="59" y="406"/>
                  </a:lnTo>
                  <a:lnTo>
                    <a:pt x="59" y="405"/>
                  </a:lnTo>
                  <a:lnTo>
                    <a:pt x="59" y="403"/>
                  </a:lnTo>
                  <a:lnTo>
                    <a:pt x="61" y="403"/>
                  </a:lnTo>
                  <a:lnTo>
                    <a:pt x="61" y="401"/>
                  </a:lnTo>
                  <a:lnTo>
                    <a:pt x="61" y="400"/>
                  </a:lnTo>
                  <a:lnTo>
                    <a:pt x="61" y="398"/>
                  </a:lnTo>
                  <a:lnTo>
                    <a:pt x="59" y="397"/>
                  </a:lnTo>
                  <a:lnTo>
                    <a:pt x="59" y="395"/>
                  </a:lnTo>
                  <a:lnTo>
                    <a:pt x="56" y="395"/>
                  </a:lnTo>
                  <a:lnTo>
                    <a:pt x="54" y="395"/>
                  </a:lnTo>
                  <a:lnTo>
                    <a:pt x="51" y="393"/>
                  </a:lnTo>
                  <a:lnTo>
                    <a:pt x="49" y="393"/>
                  </a:lnTo>
                  <a:lnTo>
                    <a:pt x="49" y="392"/>
                  </a:lnTo>
                  <a:lnTo>
                    <a:pt x="48" y="392"/>
                  </a:lnTo>
                  <a:lnTo>
                    <a:pt x="48" y="390"/>
                  </a:lnTo>
                  <a:lnTo>
                    <a:pt x="49" y="390"/>
                  </a:lnTo>
                  <a:lnTo>
                    <a:pt x="49" y="388"/>
                  </a:lnTo>
                  <a:lnTo>
                    <a:pt x="48" y="388"/>
                  </a:lnTo>
                  <a:lnTo>
                    <a:pt x="48" y="387"/>
                  </a:lnTo>
                  <a:lnTo>
                    <a:pt x="46" y="387"/>
                  </a:lnTo>
                  <a:lnTo>
                    <a:pt x="46" y="385"/>
                  </a:lnTo>
                  <a:lnTo>
                    <a:pt x="46" y="384"/>
                  </a:lnTo>
                  <a:lnTo>
                    <a:pt x="46" y="382"/>
                  </a:lnTo>
                  <a:lnTo>
                    <a:pt x="44" y="379"/>
                  </a:lnTo>
                  <a:lnTo>
                    <a:pt x="44" y="377"/>
                  </a:lnTo>
                  <a:lnTo>
                    <a:pt x="43" y="377"/>
                  </a:lnTo>
                  <a:lnTo>
                    <a:pt x="43" y="375"/>
                  </a:lnTo>
                  <a:lnTo>
                    <a:pt x="44" y="374"/>
                  </a:lnTo>
                  <a:lnTo>
                    <a:pt x="44" y="372"/>
                  </a:lnTo>
                  <a:lnTo>
                    <a:pt x="44" y="371"/>
                  </a:lnTo>
                  <a:lnTo>
                    <a:pt x="46" y="371"/>
                  </a:lnTo>
                  <a:lnTo>
                    <a:pt x="48" y="369"/>
                  </a:lnTo>
                  <a:lnTo>
                    <a:pt x="48" y="367"/>
                  </a:lnTo>
                  <a:lnTo>
                    <a:pt x="49" y="367"/>
                  </a:lnTo>
                  <a:lnTo>
                    <a:pt x="49" y="366"/>
                  </a:lnTo>
                  <a:lnTo>
                    <a:pt x="49" y="364"/>
                  </a:lnTo>
                  <a:lnTo>
                    <a:pt x="51" y="364"/>
                  </a:lnTo>
                  <a:lnTo>
                    <a:pt x="51" y="362"/>
                  </a:lnTo>
                  <a:lnTo>
                    <a:pt x="51" y="361"/>
                  </a:lnTo>
                  <a:lnTo>
                    <a:pt x="49" y="361"/>
                  </a:lnTo>
                  <a:lnTo>
                    <a:pt x="49" y="359"/>
                  </a:lnTo>
                  <a:lnTo>
                    <a:pt x="48" y="358"/>
                  </a:lnTo>
                  <a:lnTo>
                    <a:pt x="48" y="356"/>
                  </a:lnTo>
                  <a:lnTo>
                    <a:pt x="49" y="354"/>
                  </a:lnTo>
                  <a:lnTo>
                    <a:pt x="49" y="353"/>
                  </a:lnTo>
                  <a:lnTo>
                    <a:pt x="51" y="351"/>
                  </a:lnTo>
                  <a:lnTo>
                    <a:pt x="51" y="349"/>
                  </a:lnTo>
                  <a:lnTo>
                    <a:pt x="49" y="349"/>
                  </a:lnTo>
                  <a:lnTo>
                    <a:pt x="48" y="348"/>
                  </a:lnTo>
                  <a:lnTo>
                    <a:pt x="48" y="346"/>
                  </a:lnTo>
                  <a:lnTo>
                    <a:pt x="46" y="346"/>
                  </a:lnTo>
                  <a:lnTo>
                    <a:pt x="46" y="345"/>
                  </a:lnTo>
                  <a:lnTo>
                    <a:pt x="44" y="345"/>
                  </a:lnTo>
                  <a:lnTo>
                    <a:pt x="43" y="343"/>
                  </a:lnTo>
                  <a:lnTo>
                    <a:pt x="41" y="341"/>
                  </a:lnTo>
                  <a:lnTo>
                    <a:pt x="39" y="341"/>
                  </a:lnTo>
                  <a:lnTo>
                    <a:pt x="35" y="340"/>
                  </a:lnTo>
                  <a:lnTo>
                    <a:pt x="35" y="338"/>
                  </a:lnTo>
                  <a:lnTo>
                    <a:pt x="35" y="336"/>
                  </a:lnTo>
                  <a:lnTo>
                    <a:pt x="33" y="336"/>
                  </a:lnTo>
                  <a:lnTo>
                    <a:pt x="31" y="336"/>
                  </a:lnTo>
                  <a:lnTo>
                    <a:pt x="31" y="335"/>
                  </a:lnTo>
                  <a:lnTo>
                    <a:pt x="30" y="333"/>
                  </a:lnTo>
                  <a:lnTo>
                    <a:pt x="28" y="332"/>
                  </a:lnTo>
                  <a:lnTo>
                    <a:pt x="28" y="330"/>
                  </a:lnTo>
                  <a:lnTo>
                    <a:pt x="26" y="330"/>
                  </a:lnTo>
                  <a:lnTo>
                    <a:pt x="26" y="328"/>
                  </a:lnTo>
                  <a:lnTo>
                    <a:pt x="25" y="328"/>
                  </a:lnTo>
                  <a:lnTo>
                    <a:pt x="25" y="327"/>
                  </a:lnTo>
                  <a:lnTo>
                    <a:pt x="23" y="325"/>
                  </a:lnTo>
                  <a:lnTo>
                    <a:pt x="22" y="325"/>
                  </a:lnTo>
                  <a:lnTo>
                    <a:pt x="20" y="325"/>
                  </a:lnTo>
                  <a:lnTo>
                    <a:pt x="20" y="323"/>
                  </a:lnTo>
                  <a:lnTo>
                    <a:pt x="18" y="323"/>
                  </a:lnTo>
                  <a:lnTo>
                    <a:pt x="15" y="322"/>
                  </a:lnTo>
                  <a:lnTo>
                    <a:pt x="15" y="320"/>
                  </a:lnTo>
                  <a:lnTo>
                    <a:pt x="13" y="320"/>
                  </a:lnTo>
                  <a:lnTo>
                    <a:pt x="12" y="319"/>
                  </a:lnTo>
                  <a:lnTo>
                    <a:pt x="12" y="317"/>
                  </a:lnTo>
                  <a:lnTo>
                    <a:pt x="7" y="317"/>
                  </a:lnTo>
                  <a:lnTo>
                    <a:pt x="5" y="317"/>
                  </a:lnTo>
                  <a:lnTo>
                    <a:pt x="4" y="317"/>
                  </a:lnTo>
                  <a:lnTo>
                    <a:pt x="4" y="315"/>
                  </a:lnTo>
                  <a:lnTo>
                    <a:pt x="4" y="314"/>
                  </a:lnTo>
                  <a:lnTo>
                    <a:pt x="4" y="312"/>
                  </a:lnTo>
                  <a:lnTo>
                    <a:pt x="5" y="310"/>
                  </a:lnTo>
                  <a:lnTo>
                    <a:pt x="7" y="310"/>
                  </a:lnTo>
                  <a:lnTo>
                    <a:pt x="7" y="309"/>
                  </a:lnTo>
                  <a:lnTo>
                    <a:pt x="7" y="307"/>
                  </a:lnTo>
                  <a:lnTo>
                    <a:pt x="5" y="307"/>
                  </a:lnTo>
                  <a:lnTo>
                    <a:pt x="5" y="306"/>
                  </a:lnTo>
                  <a:lnTo>
                    <a:pt x="5" y="302"/>
                  </a:lnTo>
                  <a:lnTo>
                    <a:pt x="5" y="301"/>
                  </a:lnTo>
                  <a:lnTo>
                    <a:pt x="4" y="299"/>
                  </a:lnTo>
                  <a:lnTo>
                    <a:pt x="4" y="297"/>
                  </a:lnTo>
                  <a:lnTo>
                    <a:pt x="5" y="297"/>
                  </a:lnTo>
                  <a:lnTo>
                    <a:pt x="7" y="296"/>
                  </a:lnTo>
                  <a:lnTo>
                    <a:pt x="9" y="294"/>
                  </a:lnTo>
                  <a:lnTo>
                    <a:pt x="10" y="294"/>
                  </a:lnTo>
                  <a:lnTo>
                    <a:pt x="12" y="293"/>
                  </a:lnTo>
                  <a:lnTo>
                    <a:pt x="13" y="291"/>
                  </a:lnTo>
                  <a:lnTo>
                    <a:pt x="17" y="289"/>
                  </a:lnTo>
                  <a:lnTo>
                    <a:pt x="18" y="288"/>
                  </a:lnTo>
                  <a:lnTo>
                    <a:pt x="18" y="286"/>
                  </a:lnTo>
                  <a:lnTo>
                    <a:pt x="20" y="284"/>
                  </a:lnTo>
                  <a:lnTo>
                    <a:pt x="22" y="283"/>
                  </a:lnTo>
                  <a:lnTo>
                    <a:pt x="22" y="281"/>
                  </a:lnTo>
                  <a:lnTo>
                    <a:pt x="23" y="280"/>
                  </a:lnTo>
                  <a:lnTo>
                    <a:pt x="23" y="278"/>
                  </a:lnTo>
                  <a:lnTo>
                    <a:pt x="23" y="276"/>
                  </a:lnTo>
                  <a:lnTo>
                    <a:pt x="23" y="275"/>
                  </a:lnTo>
                  <a:lnTo>
                    <a:pt x="23" y="271"/>
                  </a:lnTo>
                  <a:lnTo>
                    <a:pt x="23" y="270"/>
                  </a:lnTo>
                  <a:lnTo>
                    <a:pt x="25" y="270"/>
                  </a:lnTo>
                  <a:lnTo>
                    <a:pt x="25" y="268"/>
                  </a:lnTo>
                  <a:lnTo>
                    <a:pt x="25" y="267"/>
                  </a:lnTo>
                  <a:lnTo>
                    <a:pt x="26" y="263"/>
                  </a:lnTo>
                  <a:lnTo>
                    <a:pt x="28" y="260"/>
                  </a:lnTo>
                  <a:lnTo>
                    <a:pt x="28" y="258"/>
                  </a:lnTo>
                  <a:lnTo>
                    <a:pt x="30" y="257"/>
                  </a:lnTo>
                  <a:lnTo>
                    <a:pt x="31" y="255"/>
                  </a:lnTo>
                  <a:lnTo>
                    <a:pt x="31" y="253"/>
                  </a:lnTo>
                  <a:lnTo>
                    <a:pt x="31" y="252"/>
                  </a:lnTo>
                  <a:lnTo>
                    <a:pt x="31" y="249"/>
                  </a:lnTo>
                  <a:lnTo>
                    <a:pt x="33" y="247"/>
                  </a:lnTo>
                  <a:lnTo>
                    <a:pt x="33" y="245"/>
                  </a:lnTo>
                  <a:lnTo>
                    <a:pt x="35" y="244"/>
                  </a:lnTo>
                  <a:lnTo>
                    <a:pt x="35" y="242"/>
                  </a:lnTo>
                  <a:lnTo>
                    <a:pt x="36" y="240"/>
                  </a:lnTo>
                  <a:lnTo>
                    <a:pt x="36" y="239"/>
                  </a:lnTo>
                  <a:lnTo>
                    <a:pt x="38" y="237"/>
                  </a:lnTo>
                  <a:lnTo>
                    <a:pt x="39" y="237"/>
                  </a:lnTo>
                  <a:lnTo>
                    <a:pt x="39" y="236"/>
                  </a:lnTo>
                  <a:lnTo>
                    <a:pt x="41" y="236"/>
                  </a:lnTo>
                  <a:lnTo>
                    <a:pt x="41" y="234"/>
                  </a:lnTo>
                  <a:lnTo>
                    <a:pt x="41" y="232"/>
                  </a:lnTo>
                  <a:lnTo>
                    <a:pt x="43" y="231"/>
                  </a:lnTo>
                  <a:lnTo>
                    <a:pt x="43" y="229"/>
                  </a:lnTo>
                  <a:lnTo>
                    <a:pt x="43" y="227"/>
                  </a:lnTo>
                  <a:lnTo>
                    <a:pt x="43" y="229"/>
                  </a:lnTo>
                  <a:lnTo>
                    <a:pt x="43" y="231"/>
                  </a:lnTo>
                  <a:lnTo>
                    <a:pt x="41" y="232"/>
                  </a:lnTo>
                  <a:lnTo>
                    <a:pt x="43" y="232"/>
                  </a:lnTo>
                  <a:lnTo>
                    <a:pt x="44" y="232"/>
                  </a:lnTo>
                  <a:lnTo>
                    <a:pt x="44" y="231"/>
                  </a:lnTo>
                  <a:lnTo>
                    <a:pt x="46" y="232"/>
                  </a:lnTo>
                  <a:lnTo>
                    <a:pt x="46" y="231"/>
                  </a:lnTo>
                  <a:lnTo>
                    <a:pt x="44" y="231"/>
                  </a:lnTo>
                  <a:lnTo>
                    <a:pt x="44" y="229"/>
                  </a:lnTo>
                  <a:lnTo>
                    <a:pt x="44" y="227"/>
                  </a:lnTo>
                  <a:lnTo>
                    <a:pt x="46" y="227"/>
                  </a:lnTo>
                  <a:lnTo>
                    <a:pt x="48" y="226"/>
                  </a:lnTo>
                  <a:lnTo>
                    <a:pt x="48" y="227"/>
                  </a:lnTo>
                  <a:lnTo>
                    <a:pt x="48" y="226"/>
                  </a:lnTo>
                  <a:lnTo>
                    <a:pt x="49" y="226"/>
                  </a:lnTo>
                  <a:lnTo>
                    <a:pt x="49" y="224"/>
                  </a:lnTo>
                  <a:lnTo>
                    <a:pt x="49" y="223"/>
                  </a:lnTo>
                  <a:lnTo>
                    <a:pt x="48" y="223"/>
                  </a:lnTo>
                  <a:lnTo>
                    <a:pt x="49" y="223"/>
                  </a:lnTo>
                  <a:lnTo>
                    <a:pt x="48" y="223"/>
                  </a:lnTo>
                  <a:lnTo>
                    <a:pt x="48" y="221"/>
                  </a:lnTo>
                  <a:lnTo>
                    <a:pt x="48" y="219"/>
                  </a:lnTo>
                  <a:lnTo>
                    <a:pt x="48" y="218"/>
                  </a:lnTo>
                  <a:lnTo>
                    <a:pt x="48" y="216"/>
                  </a:lnTo>
                  <a:lnTo>
                    <a:pt x="46" y="216"/>
                  </a:lnTo>
                  <a:lnTo>
                    <a:pt x="46" y="214"/>
                  </a:lnTo>
                  <a:lnTo>
                    <a:pt x="46" y="213"/>
                  </a:lnTo>
                  <a:lnTo>
                    <a:pt x="44" y="213"/>
                  </a:lnTo>
                  <a:lnTo>
                    <a:pt x="43" y="213"/>
                  </a:lnTo>
                  <a:lnTo>
                    <a:pt x="43" y="214"/>
                  </a:lnTo>
                  <a:lnTo>
                    <a:pt x="41" y="214"/>
                  </a:lnTo>
                  <a:lnTo>
                    <a:pt x="41" y="213"/>
                  </a:lnTo>
                  <a:lnTo>
                    <a:pt x="41" y="211"/>
                  </a:lnTo>
                  <a:lnTo>
                    <a:pt x="39" y="210"/>
                  </a:lnTo>
                  <a:lnTo>
                    <a:pt x="38" y="210"/>
                  </a:lnTo>
                  <a:lnTo>
                    <a:pt x="38" y="208"/>
                  </a:lnTo>
                  <a:lnTo>
                    <a:pt x="38" y="206"/>
                  </a:lnTo>
                  <a:lnTo>
                    <a:pt x="38" y="205"/>
                  </a:lnTo>
                  <a:lnTo>
                    <a:pt x="38" y="203"/>
                  </a:lnTo>
                  <a:lnTo>
                    <a:pt x="38" y="201"/>
                  </a:lnTo>
                  <a:lnTo>
                    <a:pt x="38" y="200"/>
                  </a:lnTo>
                  <a:lnTo>
                    <a:pt x="38" y="198"/>
                  </a:lnTo>
                  <a:lnTo>
                    <a:pt x="39" y="200"/>
                  </a:lnTo>
                  <a:lnTo>
                    <a:pt x="39" y="198"/>
                  </a:lnTo>
                  <a:lnTo>
                    <a:pt x="38" y="198"/>
                  </a:lnTo>
                  <a:lnTo>
                    <a:pt x="39" y="198"/>
                  </a:lnTo>
                  <a:lnTo>
                    <a:pt x="39" y="197"/>
                  </a:lnTo>
                  <a:lnTo>
                    <a:pt x="38" y="197"/>
                  </a:lnTo>
                  <a:lnTo>
                    <a:pt x="38" y="195"/>
                  </a:lnTo>
                  <a:lnTo>
                    <a:pt x="38" y="197"/>
                  </a:lnTo>
                  <a:lnTo>
                    <a:pt x="36" y="195"/>
                  </a:lnTo>
                  <a:lnTo>
                    <a:pt x="36" y="197"/>
                  </a:lnTo>
                  <a:lnTo>
                    <a:pt x="35" y="195"/>
                  </a:lnTo>
                  <a:lnTo>
                    <a:pt x="33" y="193"/>
                  </a:lnTo>
                  <a:lnTo>
                    <a:pt x="33" y="192"/>
                  </a:lnTo>
                  <a:lnTo>
                    <a:pt x="33" y="190"/>
                  </a:lnTo>
                  <a:lnTo>
                    <a:pt x="31" y="188"/>
                  </a:lnTo>
                  <a:lnTo>
                    <a:pt x="33" y="187"/>
                  </a:lnTo>
                  <a:lnTo>
                    <a:pt x="33" y="184"/>
                  </a:lnTo>
                  <a:lnTo>
                    <a:pt x="33" y="182"/>
                  </a:lnTo>
                  <a:lnTo>
                    <a:pt x="35" y="182"/>
                  </a:lnTo>
                  <a:lnTo>
                    <a:pt x="33" y="180"/>
                  </a:lnTo>
                  <a:lnTo>
                    <a:pt x="35" y="180"/>
                  </a:lnTo>
                  <a:lnTo>
                    <a:pt x="35" y="182"/>
                  </a:lnTo>
                  <a:lnTo>
                    <a:pt x="36" y="180"/>
                  </a:lnTo>
                  <a:lnTo>
                    <a:pt x="38" y="180"/>
                  </a:lnTo>
                  <a:lnTo>
                    <a:pt x="38" y="179"/>
                  </a:lnTo>
                  <a:lnTo>
                    <a:pt x="38" y="177"/>
                  </a:lnTo>
                  <a:lnTo>
                    <a:pt x="38" y="174"/>
                  </a:lnTo>
                  <a:lnTo>
                    <a:pt x="36" y="174"/>
                  </a:lnTo>
                  <a:lnTo>
                    <a:pt x="36" y="172"/>
                  </a:lnTo>
                  <a:lnTo>
                    <a:pt x="36" y="171"/>
                  </a:lnTo>
                  <a:lnTo>
                    <a:pt x="38" y="171"/>
                  </a:lnTo>
                  <a:lnTo>
                    <a:pt x="38" y="169"/>
                  </a:lnTo>
                  <a:lnTo>
                    <a:pt x="38" y="167"/>
                  </a:lnTo>
                  <a:lnTo>
                    <a:pt x="38" y="166"/>
                  </a:lnTo>
                  <a:lnTo>
                    <a:pt x="39" y="162"/>
                  </a:lnTo>
                  <a:lnTo>
                    <a:pt x="39" y="161"/>
                  </a:lnTo>
                  <a:lnTo>
                    <a:pt x="41" y="161"/>
                  </a:lnTo>
                  <a:lnTo>
                    <a:pt x="41" y="159"/>
                  </a:lnTo>
                  <a:lnTo>
                    <a:pt x="43" y="158"/>
                  </a:lnTo>
                  <a:lnTo>
                    <a:pt x="43" y="156"/>
                  </a:lnTo>
                  <a:lnTo>
                    <a:pt x="44" y="156"/>
                  </a:lnTo>
                  <a:lnTo>
                    <a:pt x="44" y="154"/>
                  </a:lnTo>
                  <a:lnTo>
                    <a:pt x="46" y="154"/>
                  </a:lnTo>
                  <a:lnTo>
                    <a:pt x="44" y="154"/>
                  </a:lnTo>
                  <a:lnTo>
                    <a:pt x="46" y="154"/>
                  </a:lnTo>
                  <a:lnTo>
                    <a:pt x="48" y="154"/>
                  </a:lnTo>
                  <a:lnTo>
                    <a:pt x="48" y="156"/>
                  </a:lnTo>
                  <a:lnTo>
                    <a:pt x="48" y="158"/>
                  </a:lnTo>
                  <a:lnTo>
                    <a:pt x="48" y="156"/>
                  </a:lnTo>
                  <a:lnTo>
                    <a:pt x="49" y="156"/>
                  </a:lnTo>
                  <a:lnTo>
                    <a:pt x="48" y="154"/>
                  </a:lnTo>
                  <a:lnTo>
                    <a:pt x="49" y="153"/>
                  </a:lnTo>
                  <a:lnTo>
                    <a:pt x="48" y="153"/>
                  </a:lnTo>
                  <a:lnTo>
                    <a:pt x="49" y="151"/>
                  </a:lnTo>
                  <a:lnTo>
                    <a:pt x="48" y="151"/>
                  </a:lnTo>
                  <a:lnTo>
                    <a:pt x="48" y="149"/>
                  </a:lnTo>
                  <a:lnTo>
                    <a:pt x="49" y="149"/>
                  </a:lnTo>
                  <a:lnTo>
                    <a:pt x="49" y="148"/>
                  </a:lnTo>
                  <a:lnTo>
                    <a:pt x="48" y="146"/>
                  </a:lnTo>
                  <a:lnTo>
                    <a:pt x="49" y="145"/>
                  </a:lnTo>
                  <a:lnTo>
                    <a:pt x="51" y="145"/>
                  </a:lnTo>
                  <a:lnTo>
                    <a:pt x="51" y="141"/>
                  </a:lnTo>
                  <a:lnTo>
                    <a:pt x="49" y="141"/>
                  </a:lnTo>
                  <a:lnTo>
                    <a:pt x="48" y="141"/>
                  </a:lnTo>
                  <a:lnTo>
                    <a:pt x="48" y="143"/>
                  </a:lnTo>
                  <a:lnTo>
                    <a:pt x="46" y="143"/>
                  </a:lnTo>
                  <a:lnTo>
                    <a:pt x="44" y="143"/>
                  </a:lnTo>
                  <a:lnTo>
                    <a:pt x="48" y="141"/>
                  </a:lnTo>
                  <a:lnTo>
                    <a:pt x="52" y="140"/>
                  </a:lnTo>
                  <a:lnTo>
                    <a:pt x="61" y="136"/>
                  </a:lnTo>
                  <a:lnTo>
                    <a:pt x="64" y="135"/>
                  </a:lnTo>
                  <a:lnTo>
                    <a:pt x="67" y="133"/>
                  </a:lnTo>
                  <a:lnTo>
                    <a:pt x="69" y="132"/>
                  </a:lnTo>
                  <a:lnTo>
                    <a:pt x="72" y="130"/>
                  </a:lnTo>
                  <a:lnTo>
                    <a:pt x="75" y="130"/>
                  </a:lnTo>
                  <a:lnTo>
                    <a:pt x="77" y="128"/>
                  </a:lnTo>
                  <a:lnTo>
                    <a:pt x="78" y="128"/>
                  </a:lnTo>
                  <a:lnTo>
                    <a:pt x="78" y="127"/>
                  </a:lnTo>
                  <a:lnTo>
                    <a:pt x="87" y="123"/>
                  </a:lnTo>
                  <a:lnTo>
                    <a:pt x="88" y="123"/>
                  </a:lnTo>
                  <a:lnTo>
                    <a:pt x="88" y="122"/>
                  </a:lnTo>
                  <a:lnTo>
                    <a:pt x="90" y="122"/>
                  </a:lnTo>
                  <a:lnTo>
                    <a:pt x="91" y="122"/>
                  </a:lnTo>
                  <a:lnTo>
                    <a:pt x="95" y="120"/>
                  </a:lnTo>
                  <a:lnTo>
                    <a:pt x="98" y="118"/>
                  </a:lnTo>
                  <a:lnTo>
                    <a:pt x="103" y="118"/>
                  </a:lnTo>
                  <a:lnTo>
                    <a:pt x="106" y="117"/>
                  </a:lnTo>
                  <a:lnTo>
                    <a:pt x="108" y="117"/>
                  </a:lnTo>
                  <a:lnTo>
                    <a:pt x="111" y="115"/>
                  </a:lnTo>
                  <a:lnTo>
                    <a:pt x="113" y="114"/>
                  </a:lnTo>
                  <a:lnTo>
                    <a:pt x="114" y="114"/>
                  </a:lnTo>
                  <a:lnTo>
                    <a:pt x="116" y="114"/>
                  </a:lnTo>
                  <a:lnTo>
                    <a:pt x="119" y="112"/>
                  </a:lnTo>
                  <a:lnTo>
                    <a:pt x="122" y="112"/>
                  </a:lnTo>
                  <a:lnTo>
                    <a:pt x="126" y="110"/>
                  </a:lnTo>
                  <a:lnTo>
                    <a:pt x="130" y="107"/>
                  </a:lnTo>
                  <a:lnTo>
                    <a:pt x="134" y="105"/>
                  </a:lnTo>
                  <a:lnTo>
                    <a:pt x="139" y="104"/>
                  </a:lnTo>
                  <a:lnTo>
                    <a:pt x="142" y="104"/>
                  </a:lnTo>
                  <a:lnTo>
                    <a:pt x="143" y="102"/>
                  </a:lnTo>
                  <a:lnTo>
                    <a:pt x="147" y="102"/>
                  </a:lnTo>
                  <a:lnTo>
                    <a:pt x="150" y="101"/>
                  </a:lnTo>
                  <a:lnTo>
                    <a:pt x="152" y="101"/>
                  </a:lnTo>
                  <a:lnTo>
                    <a:pt x="155" y="99"/>
                  </a:lnTo>
                  <a:lnTo>
                    <a:pt x="158" y="97"/>
                  </a:lnTo>
                  <a:lnTo>
                    <a:pt x="161" y="96"/>
                  </a:lnTo>
                  <a:lnTo>
                    <a:pt x="163" y="94"/>
                  </a:lnTo>
                  <a:lnTo>
                    <a:pt x="165" y="92"/>
                  </a:lnTo>
                  <a:lnTo>
                    <a:pt x="166" y="91"/>
                  </a:lnTo>
                  <a:lnTo>
                    <a:pt x="168" y="88"/>
                  </a:lnTo>
                  <a:lnTo>
                    <a:pt x="170" y="88"/>
                  </a:lnTo>
                  <a:lnTo>
                    <a:pt x="171" y="86"/>
                  </a:lnTo>
                  <a:lnTo>
                    <a:pt x="171" y="84"/>
                  </a:lnTo>
                  <a:lnTo>
                    <a:pt x="173" y="81"/>
                  </a:lnTo>
                  <a:lnTo>
                    <a:pt x="174" y="79"/>
                  </a:lnTo>
                  <a:lnTo>
                    <a:pt x="178" y="73"/>
                  </a:lnTo>
                  <a:lnTo>
                    <a:pt x="179" y="71"/>
                  </a:lnTo>
                  <a:lnTo>
                    <a:pt x="183" y="66"/>
                  </a:lnTo>
                  <a:lnTo>
                    <a:pt x="183" y="65"/>
                  </a:lnTo>
                  <a:lnTo>
                    <a:pt x="184" y="63"/>
                  </a:lnTo>
                  <a:lnTo>
                    <a:pt x="184" y="62"/>
                  </a:lnTo>
                  <a:lnTo>
                    <a:pt x="186" y="60"/>
                  </a:lnTo>
                  <a:lnTo>
                    <a:pt x="187" y="58"/>
                  </a:lnTo>
                  <a:lnTo>
                    <a:pt x="189" y="57"/>
                  </a:lnTo>
                  <a:lnTo>
                    <a:pt x="191" y="57"/>
                  </a:lnTo>
                  <a:lnTo>
                    <a:pt x="196" y="53"/>
                  </a:lnTo>
                  <a:lnTo>
                    <a:pt x="197" y="53"/>
                  </a:lnTo>
                  <a:lnTo>
                    <a:pt x="200" y="52"/>
                  </a:lnTo>
                  <a:lnTo>
                    <a:pt x="202" y="52"/>
                  </a:lnTo>
                  <a:lnTo>
                    <a:pt x="204" y="52"/>
                  </a:lnTo>
                  <a:lnTo>
                    <a:pt x="209" y="50"/>
                  </a:lnTo>
                  <a:lnTo>
                    <a:pt x="210" y="50"/>
                  </a:lnTo>
                  <a:lnTo>
                    <a:pt x="212" y="49"/>
                  </a:lnTo>
                  <a:lnTo>
                    <a:pt x="213" y="49"/>
                  </a:lnTo>
                  <a:lnTo>
                    <a:pt x="215" y="47"/>
                  </a:lnTo>
                  <a:lnTo>
                    <a:pt x="218" y="47"/>
                  </a:lnTo>
                  <a:lnTo>
                    <a:pt x="220" y="45"/>
                  </a:lnTo>
                  <a:lnTo>
                    <a:pt x="225" y="42"/>
                  </a:lnTo>
                  <a:lnTo>
                    <a:pt x="226" y="40"/>
                  </a:lnTo>
                  <a:lnTo>
                    <a:pt x="228" y="39"/>
                  </a:lnTo>
                  <a:lnTo>
                    <a:pt x="230" y="36"/>
                  </a:lnTo>
                  <a:lnTo>
                    <a:pt x="231" y="34"/>
                  </a:lnTo>
                  <a:lnTo>
                    <a:pt x="233" y="34"/>
                  </a:lnTo>
                  <a:lnTo>
                    <a:pt x="233" y="32"/>
                  </a:lnTo>
                  <a:lnTo>
                    <a:pt x="239" y="29"/>
                  </a:lnTo>
                  <a:lnTo>
                    <a:pt x="243" y="26"/>
                  </a:lnTo>
                  <a:lnTo>
                    <a:pt x="244" y="26"/>
                  </a:lnTo>
                  <a:lnTo>
                    <a:pt x="244" y="24"/>
                  </a:lnTo>
                  <a:lnTo>
                    <a:pt x="246" y="24"/>
                  </a:lnTo>
                  <a:lnTo>
                    <a:pt x="248" y="23"/>
                  </a:lnTo>
                  <a:lnTo>
                    <a:pt x="252" y="23"/>
                  </a:lnTo>
                  <a:lnTo>
                    <a:pt x="254" y="21"/>
                  </a:lnTo>
                  <a:lnTo>
                    <a:pt x="256" y="19"/>
                  </a:lnTo>
                  <a:lnTo>
                    <a:pt x="259" y="19"/>
                  </a:lnTo>
                  <a:lnTo>
                    <a:pt x="264" y="18"/>
                  </a:lnTo>
                  <a:lnTo>
                    <a:pt x="270" y="16"/>
                  </a:lnTo>
                  <a:lnTo>
                    <a:pt x="274" y="16"/>
                  </a:lnTo>
                  <a:lnTo>
                    <a:pt x="282" y="13"/>
                  </a:lnTo>
                  <a:lnTo>
                    <a:pt x="288" y="10"/>
                  </a:lnTo>
                  <a:lnTo>
                    <a:pt x="291" y="8"/>
                  </a:lnTo>
                  <a:lnTo>
                    <a:pt x="298" y="5"/>
                  </a:lnTo>
                  <a:lnTo>
                    <a:pt x="301" y="5"/>
                  </a:lnTo>
                  <a:lnTo>
                    <a:pt x="305" y="3"/>
                  </a:lnTo>
                  <a:lnTo>
                    <a:pt x="309" y="3"/>
                  </a:lnTo>
                  <a:lnTo>
                    <a:pt x="313" y="1"/>
                  </a:lnTo>
                  <a:lnTo>
                    <a:pt x="318" y="1"/>
                  </a:lnTo>
                  <a:lnTo>
                    <a:pt x="322" y="1"/>
                  </a:lnTo>
                  <a:lnTo>
                    <a:pt x="326" y="0"/>
                  </a:lnTo>
                  <a:lnTo>
                    <a:pt x="329" y="0"/>
                  </a:lnTo>
                  <a:lnTo>
                    <a:pt x="331" y="0"/>
                  </a:lnTo>
                  <a:lnTo>
                    <a:pt x="334" y="0"/>
                  </a:lnTo>
                  <a:lnTo>
                    <a:pt x="335" y="0"/>
                  </a:lnTo>
                  <a:lnTo>
                    <a:pt x="335" y="1"/>
                  </a:lnTo>
                  <a:lnTo>
                    <a:pt x="337" y="1"/>
                  </a:lnTo>
                  <a:lnTo>
                    <a:pt x="339" y="1"/>
                  </a:lnTo>
                  <a:lnTo>
                    <a:pt x="340" y="3"/>
                  </a:lnTo>
                  <a:lnTo>
                    <a:pt x="342" y="3"/>
                  </a:lnTo>
                  <a:lnTo>
                    <a:pt x="342" y="5"/>
                  </a:lnTo>
                  <a:lnTo>
                    <a:pt x="344" y="5"/>
                  </a:lnTo>
                  <a:lnTo>
                    <a:pt x="347" y="6"/>
                  </a:lnTo>
                  <a:lnTo>
                    <a:pt x="353" y="10"/>
                  </a:lnTo>
                  <a:lnTo>
                    <a:pt x="355" y="10"/>
                  </a:lnTo>
                  <a:lnTo>
                    <a:pt x="358" y="11"/>
                  </a:lnTo>
                  <a:lnTo>
                    <a:pt x="361" y="13"/>
                  </a:lnTo>
                  <a:lnTo>
                    <a:pt x="363" y="14"/>
                  </a:lnTo>
                  <a:lnTo>
                    <a:pt x="366" y="14"/>
                  </a:lnTo>
                  <a:lnTo>
                    <a:pt x="370" y="18"/>
                  </a:lnTo>
                  <a:lnTo>
                    <a:pt x="371" y="19"/>
                  </a:lnTo>
                  <a:lnTo>
                    <a:pt x="373" y="19"/>
                  </a:lnTo>
                  <a:lnTo>
                    <a:pt x="373" y="21"/>
                  </a:lnTo>
                  <a:lnTo>
                    <a:pt x="374" y="21"/>
                  </a:lnTo>
                  <a:lnTo>
                    <a:pt x="376" y="21"/>
                  </a:lnTo>
                  <a:lnTo>
                    <a:pt x="378" y="24"/>
                  </a:lnTo>
                  <a:lnTo>
                    <a:pt x="379" y="26"/>
                  </a:lnTo>
                  <a:lnTo>
                    <a:pt x="379" y="27"/>
                  </a:lnTo>
                  <a:lnTo>
                    <a:pt x="378" y="29"/>
                  </a:lnTo>
                  <a:lnTo>
                    <a:pt x="378" y="27"/>
                  </a:lnTo>
                  <a:lnTo>
                    <a:pt x="376" y="27"/>
                  </a:lnTo>
                  <a:lnTo>
                    <a:pt x="376" y="26"/>
                  </a:lnTo>
                  <a:lnTo>
                    <a:pt x="374" y="26"/>
                  </a:lnTo>
                  <a:lnTo>
                    <a:pt x="374" y="24"/>
                  </a:lnTo>
                  <a:lnTo>
                    <a:pt x="373" y="23"/>
                  </a:lnTo>
                  <a:lnTo>
                    <a:pt x="371" y="21"/>
                  </a:lnTo>
                  <a:lnTo>
                    <a:pt x="370" y="19"/>
                  </a:lnTo>
                  <a:lnTo>
                    <a:pt x="368" y="18"/>
                  </a:lnTo>
                  <a:lnTo>
                    <a:pt x="366" y="16"/>
                  </a:lnTo>
                  <a:lnTo>
                    <a:pt x="365" y="16"/>
                  </a:lnTo>
                  <a:lnTo>
                    <a:pt x="363" y="14"/>
                  </a:lnTo>
                  <a:lnTo>
                    <a:pt x="361" y="14"/>
                  </a:lnTo>
                  <a:lnTo>
                    <a:pt x="361" y="13"/>
                  </a:lnTo>
                  <a:lnTo>
                    <a:pt x="360" y="13"/>
                  </a:lnTo>
                  <a:lnTo>
                    <a:pt x="358" y="11"/>
                  </a:lnTo>
                  <a:lnTo>
                    <a:pt x="355" y="11"/>
                  </a:lnTo>
                  <a:lnTo>
                    <a:pt x="353" y="10"/>
                  </a:lnTo>
                  <a:lnTo>
                    <a:pt x="352" y="10"/>
                  </a:lnTo>
                  <a:lnTo>
                    <a:pt x="352" y="8"/>
                  </a:lnTo>
                  <a:lnTo>
                    <a:pt x="350" y="8"/>
                  </a:lnTo>
                  <a:lnTo>
                    <a:pt x="348" y="8"/>
                  </a:lnTo>
                  <a:lnTo>
                    <a:pt x="347" y="6"/>
                  </a:lnTo>
                  <a:lnTo>
                    <a:pt x="345" y="6"/>
                  </a:lnTo>
                  <a:lnTo>
                    <a:pt x="344" y="6"/>
                  </a:lnTo>
                  <a:lnTo>
                    <a:pt x="344" y="5"/>
                  </a:lnTo>
                  <a:lnTo>
                    <a:pt x="342" y="5"/>
                  </a:lnTo>
                  <a:lnTo>
                    <a:pt x="342" y="6"/>
                  </a:lnTo>
                  <a:lnTo>
                    <a:pt x="342" y="8"/>
                  </a:lnTo>
                  <a:lnTo>
                    <a:pt x="342" y="10"/>
                  </a:lnTo>
                  <a:lnTo>
                    <a:pt x="342" y="11"/>
                  </a:lnTo>
                  <a:lnTo>
                    <a:pt x="340" y="11"/>
                  </a:lnTo>
                  <a:lnTo>
                    <a:pt x="342" y="11"/>
                  </a:lnTo>
                  <a:lnTo>
                    <a:pt x="342" y="13"/>
                  </a:lnTo>
                  <a:lnTo>
                    <a:pt x="342" y="14"/>
                  </a:lnTo>
                  <a:lnTo>
                    <a:pt x="344" y="14"/>
                  </a:lnTo>
                  <a:lnTo>
                    <a:pt x="347" y="18"/>
                  </a:lnTo>
                  <a:lnTo>
                    <a:pt x="348" y="18"/>
                  </a:lnTo>
                  <a:lnTo>
                    <a:pt x="348" y="19"/>
                  </a:lnTo>
                  <a:lnTo>
                    <a:pt x="348" y="21"/>
                  </a:lnTo>
                  <a:lnTo>
                    <a:pt x="348" y="23"/>
                  </a:lnTo>
                  <a:lnTo>
                    <a:pt x="348" y="24"/>
                  </a:lnTo>
                  <a:lnTo>
                    <a:pt x="348" y="26"/>
                  </a:lnTo>
                  <a:lnTo>
                    <a:pt x="350" y="26"/>
                  </a:lnTo>
                  <a:lnTo>
                    <a:pt x="348" y="26"/>
                  </a:lnTo>
                  <a:lnTo>
                    <a:pt x="350" y="27"/>
                  </a:lnTo>
                  <a:lnTo>
                    <a:pt x="353" y="26"/>
                  </a:lnTo>
                  <a:lnTo>
                    <a:pt x="353" y="29"/>
                  </a:lnTo>
                  <a:lnTo>
                    <a:pt x="353" y="31"/>
                  </a:lnTo>
                  <a:lnTo>
                    <a:pt x="355" y="32"/>
                  </a:lnTo>
                  <a:lnTo>
                    <a:pt x="357" y="32"/>
                  </a:lnTo>
                  <a:lnTo>
                    <a:pt x="357" y="34"/>
                  </a:lnTo>
                  <a:lnTo>
                    <a:pt x="357" y="36"/>
                  </a:lnTo>
                  <a:lnTo>
                    <a:pt x="358" y="37"/>
                  </a:lnTo>
                  <a:lnTo>
                    <a:pt x="358" y="39"/>
                  </a:lnTo>
                  <a:lnTo>
                    <a:pt x="357" y="39"/>
                  </a:lnTo>
                  <a:lnTo>
                    <a:pt x="358" y="39"/>
                  </a:lnTo>
                  <a:lnTo>
                    <a:pt x="357" y="39"/>
                  </a:lnTo>
                  <a:lnTo>
                    <a:pt x="357" y="40"/>
                  </a:lnTo>
                  <a:lnTo>
                    <a:pt x="357" y="39"/>
                  </a:lnTo>
                  <a:lnTo>
                    <a:pt x="355" y="39"/>
                  </a:lnTo>
                  <a:lnTo>
                    <a:pt x="353" y="39"/>
                  </a:lnTo>
                  <a:lnTo>
                    <a:pt x="355" y="39"/>
                  </a:lnTo>
                  <a:lnTo>
                    <a:pt x="355" y="40"/>
                  </a:lnTo>
                  <a:lnTo>
                    <a:pt x="355" y="39"/>
                  </a:lnTo>
                  <a:lnTo>
                    <a:pt x="355" y="40"/>
                  </a:lnTo>
                  <a:lnTo>
                    <a:pt x="357" y="40"/>
                  </a:lnTo>
                  <a:lnTo>
                    <a:pt x="355" y="40"/>
                  </a:lnTo>
                  <a:lnTo>
                    <a:pt x="357" y="40"/>
                  </a:lnTo>
                  <a:lnTo>
                    <a:pt x="355" y="40"/>
                  </a:lnTo>
                  <a:lnTo>
                    <a:pt x="357" y="40"/>
                  </a:lnTo>
                  <a:lnTo>
                    <a:pt x="358" y="40"/>
                  </a:lnTo>
                  <a:lnTo>
                    <a:pt x="358" y="42"/>
                  </a:lnTo>
                  <a:lnTo>
                    <a:pt x="358" y="40"/>
                  </a:lnTo>
                  <a:lnTo>
                    <a:pt x="358" y="42"/>
                  </a:lnTo>
                  <a:lnTo>
                    <a:pt x="358" y="45"/>
                  </a:lnTo>
                  <a:lnTo>
                    <a:pt x="360" y="45"/>
                  </a:lnTo>
                  <a:lnTo>
                    <a:pt x="360" y="47"/>
                  </a:lnTo>
                  <a:lnTo>
                    <a:pt x="360" y="49"/>
                  </a:lnTo>
                  <a:lnTo>
                    <a:pt x="360" y="50"/>
                  </a:lnTo>
                  <a:lnTo>
                    <a:pt x="360" y="52"/>
                  </a:lnTo>
                  <a:lnTo>
                    <a:pt x="361" y="52"/>
                  </a:lnTo>
                  <a:lnTo>
                    <a:pt x="361" y="53"/>
                  </a:lnTo>
                  <a:lnTo>
                    <a:pt x="363" y="53"/>
                  </a:lnTo>
                  <a:lnTo>
                    <a:pt x="363" y="55"/>
                  </a:lnTo>
                  <a:lnTo>
                    <a:pt x="365" y="57"/>
                  </a:lnTo>
                  <a:lnTo>
                    <a:pt x="366" y="57"/>
                  </a:lnTo>
                  <a:lnTo>
                    <a:pt x="368" y="57"/>
                  </a:lnTo>
                  <a:lnTo>
                    <a:pt x="370" y="57"/>
                  </a:lnTo>
                  <a:lnTo>
                    <a:pt x="371" y="58"/>
                  </a:lnTo>
                  <a:lnTo>
                    <a:pt x="370" y="60"/>
                  </a:lnTo>
                  <a:lnTo>
                    <a:pt x="368" y="62"/>
                  </a:lnTo>
                  <a:lnTo>
                    <a:pt x="368" y="63"/>
                  </a:lnTo>
                  <a:lnTo>
                    <a:pt x="370" y="63"/>
                  </a:lnTo>
                  <a:lnTo>
                    <a:pt x="371" y="65"/>
                  </a:lnTo>
                  <a:lnTo>
                    <a:pt x="373" y="65"/>
                  </a:lnTo>
                  <a:lnTo>
                    <a:pt x="373" y="63"/>
                  </a:lnTo>
                  <a:lnTo>
                    <a:pt x="373" y="65"/>
                  </a:lnTo>
                  <a:lnTo>
                    <a:pt x="374" y="63"/>
                  </a:lnTo>
                  <a:lnTo>
                    <a:pt x="376" y="63"/>
                  </a:lnTo>
                  <a:lnTo>
                    <a:pt x="378" y="65"/>
                  </a:lnTo>
                  <a:lnTo>
                    <a:pt x="378" y="63"/>
                  </a:lnTo>
                  <a:lnTo>
                    <a:pt x="379" y="63"/>
                  </a:lnTo>
                  <a:lnTo>
                    <a:pt x="381" y="65"/>
                  </a:lnTo>
                  <a:lnTo>
                    <a:pt x="383" y="65"/>
                  </a:lnTo>
                  <a:lnTo>
                    <a:pt x="384" y="65"/>
                  </a:lnTo>
                  <a:lnTo>
                    <a:pt x="386" y="66"/>
                  </a:lnTo>
                  <a:lnTo>
                    <a:pt x="387" y="68"/>
                  </a:lnTo>
                  <a:lnTo>
                    <a:pt x="389" y="68"/>
                  </a:lnTo>
                  <a:lnTo>
                    <a:pt x="391" y="68"/>
                  </a:lnTo>
                  <a:lnTo>
                    <a:pt x="392" y="68"/>
                  </a:lnTo>
                  <a:lnTo>
                    <a:pt x="392" y="70"/>
                  </a:lnTo>
                  <a:lnTo>
                    <a:pt x="392" y="71"/>
                  </a:lnTo>
                  <a:lnTo>
                    <a:pt x="394" y="73"/>
                  </a:lnTo>
                  <a:lnTo>
                    <a:pt x="394" y="71"/>
                  </a:lnTo>
                  <a:lnTo>
                    <a:pt x="392" y="71"/>
                  </a:lnTo>
                  <a:lnTo>
                    <a:pt x="394" y="71"/>
                  </a:lnTo>
                  <a:lnTo>
                    <a:pt x="392" y="71"/>
                  </a:lnTo>
                  <a:lnTo>
                    <a:pt x="392" y="70"/>
                  </a:lnTo>
                  <a:lnTo>
                    <a:pt x="392" y="68"/>
                  </a:lnTo>
                  <a:lnTo>
                    <a:pt x="391" y="68"/>
                  </a:lnTo>
                  <a:lnTo>
                    <a:pt x="389" y="68"/>
                  </a:lnTo>
                  <a:lnTo>
                    <a:pt x="387" y="68"/>
                  </a:lnTo>
                  <a:lnTo>
                    <a:pt x="387" y="66"/>
                  </a:lnTo>
                  <a:lnTo>
                    <a:pt x="386" y="66"/>
                  </a:lnTo>
                  <a:lnTo>
                    <a:pt x="384" y="65"/>
                  </a:lnTo>
                  <a:lnTo>
                    <a:pt x="383" y="63"/>
                  </a:lnTo>
                  <a:lnTo>
                    <a:pt x="381" y="65"/>
                  </a:lnTo>
                  <a:lnTo>
                    <a:pt x="381" y="63"/>
                  </a:lnTo>
                  <a:lnTo>
                    <a:pt x="379" y="63"/>
                  </a:lnTo>
                  <a:lnTo>
                    <a:pt x="381" y="62"/>
                  </a:lnTo>
                  <a:lnTo>
                    <a:pt x="383" y="62"/>
                  </a:lnTo>
                  <a:lnTo>
                    <a:pt x="384" y="62"/>
                  </a:lnTo>
                  <a:lnTo>
                    <a:pt x="384" y="63"/>
                  </a:lnTo>
                  <a:lnTo>
                    <a:pt x="386" y="63"/>
                  </a:lnTo>
                  <a:lnTo>
                    <a:pt x="387" y="63"/>
                  </a:lnTo>
                  <a:lnTo>
                    <a:pt x="391" y="63"/>
                  </a:lnTo>
                  <a:lnTo>
                    <a:pt x="392" y="63"/>
                  </a:lnTo>
                  <a:lnTo>
                    <a:pt x="392" y="62"/>
                  </a:lnTo>
                  <a:lnTo>
                    <a:pt x="394" y="60"/>
                  </a:lnTo>
                  <a:lnTo>
                    <a:pt x="394" y="62"/>
                  </a:lnTo>
                  <a:lnTo>
                    <a:pt x="392" y="65"/>
                  </a:lnTo>
                  <a:lnTo>
                    <a:pt x="392" y="66"/>
                  </a:lnTo>
                  <a:lnTo>
                    <a:pt x="392" y="68"/>
                  </a:lnTo>
                  <a:lnTo>
                    <a:pt x="394" y="71"/>
                  </a:lnTo>
                  <a:lnTo>
                    <a:pt x="396" y="73"/>
                  </a:lnTo>
                  <a:lnTo>
                    <a:pt x="396" y="75"/>
                  </a:lnTo>
                  <a:lnTo>
                    <a:pt x="396" y="76"/>
                  </a:lnTo>
                  <a:lnTo>
                    <a:pt x="396" y="78"/>
                  </a:lnTo>
                  <a:lnTo>
                    <a:pt x="394" y="83"/>
                  </a:lnTo>
                  <a:lnTo>
                    <a:pt x="392" y="84"/>
                  </a:lnTo>
                  <a:lnTo>
                    <a:pt x="391" y="86"/>
                  </a:lnTo>
                  <a:lnTo>
                    <a:pt x="389" y="86"/>
                  </a:lnTo>
                  <a:lnTo>
                    <a:pt x="389" y="88"/>
                  </a:lnTo>
                  <a:lnTo>
                    <a:pt x="389" y="89"/>
                  </a:lnTo>
                  <a:lnTo>
                    <a:pt x="387" y="92"/>
                  </a:lnTo>
                  <a:lnTo>
                    <a:pt x="387" y="94"/>
                  </a:lnTo>
                  <a:lnTo>
                    <a:pt x="387" y="96"/>
                  </a:lnTo>
                  <a:lnTo>
                    <a:pt x="387" y="97"/>
                  </a:lnTo>
                  <a:lnTo>
                    <a:pt x="387" y="99"/>
                  </a:lnTo>
                  <a:lnTo>
                    <a:pt x="386" y="101"/>
                  </a:lnTo>
                  <a:lnTo>
                    <a:pt x="387" y="104"/>
                  </a:lnTo>
                  <a:lnTo>
                    <a:pt x="387" y="107"/>
                  </a:lnTo>
                  <a:lnTo>
                    <a:pt x="389" y="107"/>
                  </a:lnTo>
                  <a:lnTo>
                    <a:pt x="391" y="110"/>
                  </a:lnTo>
                  <a:lnTo>
                    <a:pt x="391" y="114"/>
                  </a:lnTo>
                  <a:lnTo>
                    <a:pt x="391" y="115"/>
                  </a:lnTo>
                  <a:lnTo>
                    <a:pt x="392" y="115"/>
                  </a:lnTo>
                  <a:lnTo>
                    <a:pt x="392" y="117"/>
                  </a:lnTo>
                  <a:lnTo>
                    <a:pt x="394" y="117"/>
                  </a:lnTo>
                  <a:lnTo>
                    <a:pt x="394" y="118"/>
                  </a:lnTo>
                  <a:lnTo>
                    <a:pt x="394" y="120"/>
                  </a:lnTo>
                  <a:lnTo>
                    <a:pt x="394" y="122"/>
                  </a:lnTo>
                  <a:lnTo>
                    <a:pt x="394" y="123"/>
                  </a:lnTo>
                  <a:lnTo>
                    <a:pt x="394" y="125"/>
                  </a:lnTo>
                  <a:lnTo>
                    <a:pt x="396" y="125"/>
                  </a:lnTo>
                  <a:lnTo>
                    <a:pt x="396" y="127"/>
                  </a:lnTo>
                  <a:lnTo>
                    <a:pt x="397" y="127"/>
                  </a:lnTo>
                  <a:lnTo>
                    <a:pt x="397" y="128"/>
                  </a:lnTo>
                  <a:lnTo>
                    <a:pt x="397" y="130"/>
                  </a:lnTo>
                  <a:lnTo>
                    <a:pt x="396" y="132"/>
                  </a:lnTo>
                  <a:lnTo>
                    <a:pt x="396" y="133"/>
                  </a:lnTo>
                  <a:lnTo>
                    <a:pt x="394" y="136"/>
                  </a:lnTo>
                  <a:lnTo>
                    <a:pt x="394" y="138"/>
                  </a:lnTo>
                  <a:lnTo>
                    <a:pt x="394" y="140"/>
                  </a:lnTo>
                  <a:lnTo>
                    <a:pt x="396" y="141"/>
                  </a:lnTo>
                  <a:lnTo>
                    <a:pt x="396" y="143"/>
                  </a:lnTo>
                  <a:lnTo>
                    <a:pt x="394" y="143"/>
                  </a:lnTo>
                  <a:lnTo>
                    <a:pt x="394" y="145"/>
                  </a:lnTo>
                  <a:lnTo>
                    <a:pt x="394" y="146"/>
                  </a:lnTo>
                  <a:lnTo>
                    <a:pt x="396" y="148"/>
                  </a:lnTo>
                  <a:lnTo>
                    <a:pt x="397" y="149"/>
                  </a:lnTo>
                  <a:lnTo>
                    <a:pt x="397" y="151"/>
                  </a:lnTo>
                  <a:lnTo>
                    <a:pt x="396" y="153"/>
                  </a:lnTo>
                  <a:lnTo>
                    <a:pt x="392" y="154"/>
                  </a:lnTo>
                  <a:lnTo>
                    <a:pt x="391" y="156"/>
                  </a:lnTo>
                  <a:lnTo>
                    <a:pt x="391" y="158"/>
                  </a:lnTo>
                  <a:lnTo>
                    <a:pt x="391" y="159"/>
                  </a:lnTo>
                  <a:lnTo>
                    <a:pt x="389" y="162"/>
                  </a:lnTo>
                  <a:lnTo>
                    <a:pt x="389" y="164"/>
                  </a:lnTo>
                  <a:lnTo>
                    <a:pt x="389" y="166"/>
                  </a:lnTo>
                  <a:lnTo>
                    <a:pt x="389" y="167"/>
                  </a:lnTo>
                  <a:lnTo>
                    <a:pt x="389" y="169"/>
                  </a:lnTo>
                  <a:lnTo>
                    <a:pt x="391" y="169"/>
                  </a:lnTo>
                  <a:lnTo>
                    <a:pt x="391" y="171"/>
                  </a:lnTo>
                  <a:lnTo>
                    <a:pt x="391" y="172"/>
                  </a:lnTo>
                  <a:lnTo>
                    <a:pt x="392" y="172"/>
                  </a:lnTo>
                  <a:lnTo>
                    <a:pt x="392" y="179"/>
                  </a:lnTo>
                  <a:lnTo>
                    <a:pt x="392" y="182"/>
                  </a:lnTo>
                  <a:lnTo>
                    <a:pt x="391" y="187"/>
                  </a:lnTo>
                  <a:lnTo>
                    <a:pt x="391" y="188"/>
                  </a:lnTo>
                  <a:lnTo>
                    <a:pt x="391" y="190"/>
                  </a:lnTo>
                  <a:lnTo>
                    <a:pt x="389" y="192"/>
                  </a:lnTo>
                  <a:lnTo>
                    <a:pt x="386" y="195"/>
                  </a:lnTo>
                  <a:lnTo>
                    <a:pt x="386" y="197"/>
                  </a:lnTo>
                  <a:lnTo>
                    <a:pt x="384" y="197"/>
                  </a:lnTo>
                  <a:lnTo>
                    <a:pt x="383" y="197"/>
                  </a:lnTo>
                  <a:lnTo>
                    <a:pt x="379" y="197"/>
                  </a:lnTo>
                  <a:lnTo>
                    <a:pt x="378" y="197"/>
                  </a:lnTo>
                  <a:lnTo>
                    <a:pt x="378" y="198"/>
                  </a:lnTo>
                  <a:lnTo>
                    <a:pt x="376" y="198"/>
                  </a:lnTo>
                  <a:lnTo>
                    <a:pt x="376" y="200"/>
                  </a:lnTo>
                  <a:lnTo>
                    <a:pt x="374" y="200"/>
                  </a:lnTo>
                  <a:lnTo>
                    <a:pt x="373" y="200"/>
                  </a:lnTo>
                  <a:lnTo>
                    <a:pt x="371" y="200"/>
                  </a:lnTo>
                  <a:lnTo>
                    <a:pt x="371" y="201"/>
                  </a:lnTo>
                  <a:lnTo>
                    <a:pt x="370" y="203"/>
                  </a:lnTo>
                  <a:lnTo>
                    <a:pt x="368" y="205"/>
                  </a:lnTo>
                  <a:lnTo>
                    <a:pt x="366" y="208"/>
                  </a:lnTo>
                  <a:lnTo>
                    <a:pt x="365" y="208"/>
                  </a:lnTo>
                  <a:lnTo>
                    <a:pt x="363" y="210"/>
                  </a:lnTo>
                  <a:lnTo>
                    <a:pt x="361" y="211"/>
                  </a:lnTo>
                  <a:lnTo>
                    <a:pt x="360" y="214"/>
                  </a:lnTo>
                  <a:lnTo>
                    <a:pt x="360" y="216"/>
                  </a:lnTo>
                  <a:lnTo>
                    <a:pt x="360" y="218"/>
                  </a:lnTo>
                  <a:lnTo>
                    <a:pt x="358" y="221"/>
                  </a:lnTo>
                  <a:lnTo>
                    <a:pt x="358" y="223"/>
                  </a:lnTo>
                  <a:lnTo>
                    <a:pt x="358" y="224"/>
                  </a:lnTo>
                  <a:lnTo>
                    <a:pt x="357" y="224"/>
                  </a:lnTo>
                  <a:lnTo>
                    <a:pt x="357" y="226"/>
                  </a:lnTo>
                  <a:lnTo>
                    <a:pt x="355" y="226"/>
                  </a:lnTo>
                  <a:lnTo>
                    <a:pt x="355" y="227"/>
                  </a:lnTo>
                  <a:lnTo>
                    <a:pt x="350" y="231"/>
                  </a:lnTo>
                  <a:lnTo>
                    <a:pt x="350" y="232"/>
                  </a:lnTo>
                  <a:lnTo>
                    <a:pt x="350" y="234"/>
                  </a:lnTo>
                  <a:lnTo>
                    <a:pt x="350" y="236"/>
                  </a:lnTo>
                  <a:lnTo>
                    <a:pt x="350" y="237"/>
                  </a:lnTo>
                  <a:lnTo>
                    <a:pt x="350" y="239"/>
                  </a:lnTo>
                  <a:lnTo>
                    <a:pt x="350" y="240"/>
                  </a:lnTo>
                  <a:lnTo>
                    <a:pt x="347" y="244"/>
                  </a:lnTo>
                  <a:lnTo>
                    <a:pt x="345" y="245"/>
                  </a:lnTo>
                  <a:lnTo>
                    <a:pt x="345" y="247"/>
                  </a:lnTo>
                  <a:lnTo>
                    <a:pt x="347" y="247"/>
                  </a:lnTo>
                  <a:lnTo>
                    <a:pt x="347" y="249"/>
                  </a:lnTo>
                  <a:lnTo>
                    <a:pt x="348" y="249"/>
                  </a:lnTo>
                  <a:lnTo>
                    <a:pt x="350" y="249"/>
                  </a:lnTo>
                  <a:lnTo>
                    <a:pt x="353" y="249"/>
                  </a:lnTo>
                  <a:lnTo>
                    <a:pt x="355" y="250"/>
                  </a:lnTo>
                  <a:lnTo>
                    <a:pt x="357" y="250"/>
                  </a:lnTo>
                  <a:lnTo>
                    <a:pt x="358" y="249"/>
                  </a:lnTo>
                  <a:lnTo>
                    <a:pt x="358" y="250"/>
                  </a:lnTo>
                  <a:lnTo>
                    <a:pt x="360" y="250"/>
                  </a:lnTo>
                  <a:lnTo>
                    <a:pt x="361" y="250"/>
                  </a:lnTo>
                  <a:lnTo>
                    <a:pt x="365" y="252"/>
                  </a:lnTo>
                  <a:lnTo>
                    <a:pt x="370" y="253"/>
                  </a:lnTo>
                  <a:lnTo>
                    <a:pt x="373" y="257"/>
                  </a:lnTo>
                  <a:lnTo>
                    <a:pt x="374" y="257"/>
                  </a:lnTo>
                  <a:lnTo>
                    <a:pt x="376" y="258"/>
                  </a:lnTo>
                  <a:lnTo>
                    <a:pt x="378" y="258"/>
                  </a:lnTo>
                  <a:lnTo>
                    <a:pt x="379" y="258"/>
                  </a:lnTo>
                  <a:lnTo>
                    <a:pt x="381" y="258"/>
                  </a:lnTo>
                  <a:lnTo>
                    <a:pt x="383" y="258"/>
                  </a:lnTo>
                  <a:lnTo>
                    <a:pt x="384" y="258"/>
                  </a:lnTo>
                  <a:lnTo>
                    <a:pt x="386" y="258"/>
                  </a:lnTo>
                  <a:lnTo>
                    <a:pt x="387" y="258"/>
                  </a:lnTo>
                  <a:lnTo>
                    <a:pt x="389" y="257"/>
                  </a:lnTo>
                  <a:lnTo>
                    <a:pt x="391" y="257"/>
                  </a:lnTo>
                  <a:lnTo>
                    <a:pt x="392" y="255"/>
                  </a:lnTo>
                  <a:lnTo>
                    <a:pt x="394" y="255"/>
                  </a:lnTo>
                  <a:lnTo>
                    <a:pt x="394" y="257"/>
                  </a:lnTo>
                  <a:lnTo>
                    <a:pt x="396" y="257"/>
                  </a:lnTo>
                  <a:lnTo>
                    <a:pt x="396" y="258"/>
                  </a:lnTo>
                  <a:lnTo>
                    <a:pt x="397" y="260"/>
                  </a:lnTo>
                  <a:lnTo>
                    <a:pt x="397" y="262"/>
                  </a:lnTo>
                  <a:lnTo>
                    <a:pt x="397" y="263"/>
                  </a:lnTo>
                  <a:lnTo>
                    <a:pt x="399" y="267"/>
                  </a:lnTo>
                  <a:lnTo>
                    <a:pt x="400" y="268"/>
                  </a:lnTo>
                  <a:lnTo>
                    <a:pt x="402" y="268"/>
                  </a:lnTo>
                  <a:lnTo>
                    <a:pt x="404" y="270"/>
                  </a:lnTo>
                  <a:lnTo>
                    <a:pt x="405" y="270"/>
                  </a:lnTo>
                  <a:lnTo>
                    <a:pt x="407" y="270"/>
                  </a:lnTo>
                  <a:lnTo>
                    <a:pt x="409" y="270"/>
                  </a:lnTo>
                  <a:lnTo>
                    <a:pt x="410" y="271"/>
                  </a:lnTo>
                  <a:lnTo>
                    <a:pt x="410" y="273"/>
                  </a:lnTo>
                  <a:lnTo>
                    <a:pt x="412" y="275"/>
                  </a:lnTo>
                  <a:lnTo>
                    <a:pt x="415" y="275"/>
                  </a:lnTo>
                  <a:lnTo>
                    <a:pt x="415" y="276"/>
                  </a:lnTo>
                  <a:lnTo>
                    <a:pt x="417" y="276"/>
                  </a:lnTo>
                  <a:lnTo>
                    <a:pt x="417" y="278"/>
                  </a:lnTo>
                  <a:lnTo>
                    <a:pt x="417" y="281"/>
                  </a:lnTo>
                  <a:lnTo>
                    <a:pt x="418" y="281"/>
                  </a:lnTo>
                  <a:lnTo>
                    <a:pt x="418" y="283"/>
                  </a:lnTo>
                  <a:lnTo>
                    <a:pt x="420" y="284"/>
                  </a:lnTo>
                  <a:lnTo>
                    <a:pt x="420" y="286"/>
                  </a:lnTo>
                  <a:lnTo>
                    <a:pt x="422" y="286"/>
                  </a:lnTo>
                  <a:lnTo>
                    <a:pt x="422" y="288"/>
                  </a:lnTo>
                  <a:lnTo>
                    <a:pt x="423" y="289"/>
                  </a:lnTo>
                  <a:lnTo>
                    <a:pt x="423" y="291"/>
                  </a:lnTo>
                  <a:lnTo>
                    <a:pt x="425" y="291"/>
                  </a:lnTo>
                  <a:lnTo>
                    <a:pt x="425" y="293"/>
                  </a:lnTo>
                  <a:lnTo>
                    <a:pt x="426" y="293"/>
                  </a:lnTo>
                  <a:lnTo>
                    <a:pt x="426" y="294"/>
                  </a:lnTo>
                  <a:lnTo>
                    <a:pt x="428" y="296"/>
                  </a:lnTo>
                  <a:lnTo>
                    <a:pt x="428" y="297"/>
                  </a:lnTo>
                  <a:lnTo>
                    <a:pt x="430" y="297"/>
                  </a:lnTo>
                  <a:lnTo>
                    <a:pt x="430" y="299"/>
                  </a:lnTo>
                  <a:lnTo>
                    <a:pt x="431" y="299"/>
                  </a:lnTo>
                  <a:lnTo>
                    <a:pt x="430" y="299"/>
                  </a:lnTo>
                  <a:lnTo>
                    <a:pt x="431" y="299"/>
                  </a:lnTo>
                  <a:lnTo>
                    <a:pt x="431" y="301"/>
                  </a:lnTo>
                  <a:lnTo>
                    <a:pt x="433" y="301"/>
                  </a:lnTo>
                  <a:lnTo>
                    <a:pt x="435" y="301"/>
                  </a:lnTo>
                  <a:lnTo>
                    <a:pt x="435" y="302"/>
                  </a:lnTo>
                  <a:lnTo>
                    <a:pt x="436" y="302"/>
                  </a:lnTo>
                  <a:lnTo>
                    <a:pt x="438" y="301"/>
                  </a:lnTo>
                  <a:lnTo>
                    <a:pt x="438" y="302"/>
                  </a:lnTo>
                  <a:lnTo>
                    <a:pt x="439" y="302"/>
                  </a:lnTo>
                  <a:lnTo>
                    <a:pt x="439" y="301"/>
                  </a:lnTo>
                  <a:lnTo>
                    <a:pt x="436" y="301"/>
                  </a:lnTo>
                  <a:lnTo>
                    <a:pt x="435" y="301"/>
                  </a:lnTo>
                  <a:lnTo>
                    <a:pt x="433" y="301"/>
                  </a:lnTo>
                  <a:lnTo>
                    <a:pt x="431" y="301"/>
                  </a:lnTo>
                  <a:lnTo>
                    <a:pt x="430" y="299"/>
                  </a:lnTo>
                  <a:lnTo>
                    <a:pt x="430" y="297"/>
                  </a:lnTo>
                  <a:lnTo>
                    <a:pt x="428" y="296"/>
                  </a:lnTo>
                  <a:lnTo>
                    <a:pt x="428" y="294"/>
                  </a:lnTo>
                  <a:lnTo>
                    <a:pt x="426" y="294"/>
                  </a:lnTo>
                  <a:lnTo>
                    <a:pt x="426" y="293"/>
                  </a:lnTo>
                  <a:lnTo>
                    <a:pt x="425" y="291"/>
                  </a:lnTo>
                  <a:lnTo>
                    <a:pt x="423" y="291"/>
                  </a:lnTo>
                  <a:lnTo>
                    <a:pt x="423" y="289"/>
                  </a:lnTo>
                  <a:lnTo>
                    <a:pt x="423" y="288"/>
                  </a:lnTo>
                  <a:lnTo>
                    <a:pt x="422" y="286"/>
                  </a:lnTo>
                  <a:lnTo>
                    <a:pt x="420" y="284"/>
                  </a:lnTo>
                  <a:lnTo>
                    <a:pt x="420" y="283"/>
                  </a:lnTo>
                  <a:lnTo>
                    <a:pt x="418" y="281"/>
                  </a:lnTo>
                  <a:lnTo>
                    <a:pt x="418" y="280"/>
                  </a:lnTo>
                  <a:lnTo>
                    <a:pt x="417" y="278"/>
                  </a:lnTo>
                  <a:lnTo>
                    <a:pt x="417" y="276"/>
                  </a:lnTo>
                  <a:lnTo>
                    <a:pt x="415" y="275"/>
                  </a:lnTo>
                  <a:lnTo>
                    <a:pt x="412" y="275"/>
                  </a:lnTo>
                  <a:lnTo>
                    <a:pt x="412" y="273"/>
                  </a:lnTo>
                  <a:lnTo>
                    <a:pt x="410" y="273"/>
                  </a:lnTo>
                  <a:lnTo>
                    <a:pt x="410" y="271"/>
                  </a:lnTo>
                  <a:lnTo>
                    <a:pt x="410" y="270"/>
                  </a:lnTo>
                  <a:lnTo>
                    <a:pt x="409" y="270"/>
                  </a:lnTo>
                  <a:lnTo>
                    <a:pt x="407" y="268"/>
                  </a:lnTo>
                  <a:lnTo>
                    <a:pt x="405" y="270"/>
                  </a:lnTo>
                  <a:lnTo>
                    <a:pt x="405" y="268"/>
                  </a:lnTo>
                  <a:lnTo>
                    <a:pt x="404" y="268"/>
                  </a:lnTo>
                  <a:lnTo>
                    <a:pt x="402" y="268"/>
                  </a:lnTo>
                  <a:lnTo>
                    <a:pt x="400" y="267"/>
                  </a:lnTo>
                  <a:lnTo>
                    <a:pt x="399" y="267"/>
                  </a:lnTo>
                  <a:lnTo>
                    <a:pt x="399" y="265"/>
                  </a:lnTo>
                  <a:lnTo>
                    <a:pt x="397" y="263"/>
                  </a:lnTo>
                  <a:lnTo>
                    <a:pt x="397" y="262"/>
                  </a:lnTo>
                  <a:lnTo>
                    <a:pt x="397" y="260"/>
                  </a:lnTo>
                  <a:lnTo>
                    <a:pt x="396" y="257"/>
                  </a:lnTo>
                  <a:lnTo>
                    <a:pt x="394" y="255"/>
                  </a:lnTo>
                  <a:lnTo>
                    <a:pt x="392" y="255"/>
                  </a:lnTo>
                  <a:lnTo>
                    <a:pt x="391" y="255"/>
                  </a:lnTo>
                  <a:lnTo>
                    <a:pt x="387" y="257"/>
                  </a:lnTo>
                  <a:lnTo>
                    <a:pt x="387" y="258"/>
                  </a:lnTo>
                  <a:lnTo>
                    <a:pt x="386" y="258"/>
                  </a:lnTo>
                  <a:lnTo>
                    <a:pt x="384" y="258"/>
                  </a:lnTo>
                  <a:lnTo>
                    <a:pt x="383" y="257"/>
                  </a:lnTo>
                  <a:lnTo>
                    <a:pt x="381" y="257"/>
                  </a:lnTo>
                  <a:lnTo>
                    <a:pt x="379" y="258"/>
                  </a:lnTo>
                  <a:lnTo>
                    <a:pt x="376" y="257"/>
                  </a:lnTo>
                  <a:lnTo>
                    <a:pt x="374" y="257"/>
                  </a:lnTo>
                  <a:lnTo>
                    <a:pt x="371" y="255"/>
                  </a:lnTo>
                  <a:lnTo>
                    <a:pt x="370" y="253"/>
                  </a:lnTo>
                  <a:lnTo>
                    <a:pt x="365" y="252"/>
                  </a:lnTo>
                  <a:lnTo>
                    <a:pt x="363" y="252"/>
                  </a:lnTo>
                  <a:lnTo>
                    <a:pt x="361" y="250"/>
                  </a:lnTo>
                  <a:lnTo>
                    <a:pt x="360" y="249"/>
                  </a:lnTo>
                  <a:lnTo>
                    <a:pt x="358" y="249"/>
                  </a:lnTo>
                  <a:lnTo>
                    <a:pt x="357" y="249"/>
                  </a:lnTo>
                  <a:lnTo>
                    <a:pt x="355" y="249"/>
                  </a:lnTo>
                  <a:lnTo>
                    <a:pt x="353" y="249"/>
                  </a:lnTo>
                  <a:lnTo>
                    <a:pt x="350" y="249"/>
                  </a:lnTo>
                  <a:lnTo>
                    <a:pt x="348" y="249"/>
                  </a:lnTo>
                  <a:lnTo>
                    <a:pt x="347" y="249"/>
                  </a:lnTo>
                  <a:lnTo>
                    <a:pt x="347" y="247"/>
                  </a:lnTo>
                  <a:lnTo>
                    <a:pt x="347" y="245"/>
                  </a:lnTo>
                  <a:lnTo>
                    <a:pt x="347" y="244"/>
                  </a:lnTo>
                  <a:lnTo>
                    <a:pt x="350" y="242"/>
                  </a:lnTo>
                  <a:lnTo>
                    <a:pt x="350" y="240"/>
                  </a:lnTo>
                  <a:lnTo>
                    <a:pt x="352" y="240"/>
                  </a:lnTo>
                  <a:lnTo>
                    <a:pt x="352" y="239"/>
                  </a:lnTo>
                  <a:lnTo>
                    <a:pt x="352" y="237"/>
                  </a:lnTo>
                  <a:lnTo>
                    <a:pt x="350" y="234"/>
                  </a:lnTo>
                  <a:lnTo>
                    <a:pt x="350" y="231"/>
                  </a:lnTo>
                  <a:lnTo>
                    <a:pt x="352" y="231"/>
                  </a:lnTo>
                  <a:lnTo>
                    <a:pt x="355" y="227"/>
                  </a:lnTo>
                  <a:lnTo>
                    <a:pt x="357" y="226"/>
                  </a:lnTo>
                  <a:lnTo>
                    <a:pt x="358" y="224"/>
                  </a:lnTo>
                  <a:lnTo>
                    <a:pt x="358" y="223"/>
                  </a:lnTo>
                  <a:lnTo>
                    <a:pt x="360" y="223"/>
                  </a:lnTo>
                  <a:lnTo>
                    <a:pt x="360" y="221"/>
                  </a:lnTo>
                  <a:lnTo>
                    <a:pt x="360" y="216"/>
                  </a:lnTo>
                  <a:lnTo>
                    <a:pt x="361" y="213"/>
                  </a:lnTo>
                  <a:lnTo>
                    <a:pt x="363" y="211"/>
                  </a:lnTo>
                  <a:lnTo>
                    <a:pt x="365" y="210"/>
                  </a:lnTo>
                  <a:lnTo>
                    <a:pt x="366" y="208"/>
                  </a:lnTo>
                  <a:lnTo>
                    <a:pt x="368" y="206"/>
                  </a:lnTo>
                  <a:lnTo>
                    <a:pt x="370" y="205"/>
                  </a:lnTo>
                  <a:lnTo>
                    <a:pt x="370" y="203"/>
                  </a:lnTo>
                  <a:lnTo>
                    <a:pt x="371" y="201"/>
                  </a:lnTo>
                  <a:lnTo>
                    <a:pt x="371" y="200"/>
                  </a:lnTo>
                  <a:lnTo>
                    <a:pt x="373" y="200"/>
                  </a:lnTo>
                  <a:lnTo>
                    <a:pt x="374" y="200"/>
                  </a:lnTo>
                  <a:lnTo>
                    <a:pt x="376" y="200"/>
                  </a:lnTo>
                  <a:lnTo>
                    <a:pt x="378" y="198"/>
                  </a:lnTo>
                  <a:lnTo>
                    <a:pt x="379" y="197"/>
                  </a:lnTo>
                  <a:lnTo>
                    <a:pt x="381" y="197"/>
                  </a:lnTo>
                  <a:lnTo>
                    <a:pt x="383" y="197"/>
                  </a:lnTo>
                  <a:lnTo>
                    <a:pt x="384" y="197"/>
                  </a:lnTo>
                  <a:lnTo>
                    <a:pt x="386" y="197"/>
                  </a:lnTo>
                  <a:lnTo>
                    <a:pt x="387" y="195"/>
                  </a:lnTo>
                  <a:lnTo>
                    <a:pt x="389" y="192"/>
                  </a:lnTo>
                  <a:lnTo>
                    <a:pt x="391" y="190"/>
                  </a:lnTo>
                  <a:lnTo>
                    <a:pt x="392" y="188"/>
                  </a:lnTo>
                  <a:lnTo>
                    <a:pt x="392" y="187"/>
                  </a:lnTo>
                  <a:lnTo>
                    <a:pt x="392" y="185"/>
                  </a:lnTo>
                  <a:lnTo>
                    <a:pt x="392" y="180"/>
                  </a:lnTo>
                  <a:lnTo>
                    <a:pt x="392" y="179"/>
                  </a:lnTo>
                  <a:lnTo>
                    <a:pt x="392" y="175"/>
                  </a:lnTo>
                  <a:lnTo>
                    <a:pt x="392" y="174"/>
                  </a:lnTo>
                  <a:lnTo>
                    <a:pt x="392" y="172"/>
                  </a:lnTo>
                  <a:lnTo>
                    <a:pt x="392" y="171"/>
                  </a:lnTo>
                  <a:lnTo>
                    <a:pt x="391" y="171"/>
                  </a:lnTo>
                  <a:lnTo>
                    <a:pt x="391" y="169"/>
                  </a:lnTo>
                  <a:lnTo>
                    <a:pt x="389" y="167"/>
                  </a:lnTo>
                  <a:lnTo>
                    <a:pt x="389" y="166"/>
                  </a:lnTo>
                  <a:lnTo>
                    <a:pt x="389" y="164"/>
                  </a:lnTo>
                  <a:lnTo>
                    <a:pt x="389" y="162"/>
                  </a:lnTo>
                  <a:lnTo>
                    <a:pt x="391" y="161"/>
                  </a:lnTo>
                  <a:lnTo>
                    <a:pt x="392" y="158"/>
                  </a:lnTo>
                  <a:lnTo>
                    <a:pt x="392" y="156"/>
                  </a:lnTo>
                  <a:lnTo>
                    <a:pt x="394" y="154"/>
                  </a:lnTo>
                  <a:lnTo>
                    <a:pt x="396" y="153"/>
                  </a:lnTo>
                  <a:lnTo>
                    <a:pt x="397" y="151"/>
                  </a:lnTo>
                  <a:lnTo>
                    <a:pt x="397" y="149"/>
                  </a:lnTo>
                  <a:lnTo>
                    <a:pt x="397" y="148"/>
                  </a:lnTo>
                  <a:lnTo>
                    <a:pt x="396" y="146"/>
                  </a:lnTo>
                  <a:lnTo>
                    <a:pt x="396" y="145"/>
                  </a:lnTo>
                  <a:lnTo>
                    <a:pt x="396" y="143"/>
                  </a:lnTo>
                  <a:lnTo>
                    <a:pt x="396" y="141"/>
                  </a:lnTo>
                  <a:lnTo>
                    <a:pt x="394" y="138"/>
                  </a:lnTo>
                  <a:lnTo>
                    <a:pt x="394" y="136"/>
                  </a:lnTo>
                  <a:lnTo>
                    <a:pt x="396" y="135"/>
                  </a:lnTo>
                  <a:lnTo>
                    <a:pt x="396" y="132"/>
                  </a:lnTo>
                  <a:lnTo>
                    <a:pt x="397" y="130"/>
                  </a:lnTo>
                  <a:lnTo>
                    <a:pt x="397" y="128"/>
                  </a:lnTo>
                  <a:lnTo>
                    <a:pt x="397" y="127"/>
                  </a:lnTo>
                  <a:lnTo>
                    <a:pt x="396" y="125"/>
                  </a:lnTo>
                  <a:lnTo>
                    <a:pt x="394" y="123"/>
                  </a:lnTo>
                  <a:lnTo>
                    <a:pt x="394" y="122"/>
                  </a:lnTo>
                  <a:lnTo>
                    <a:pt x="394" y="118"/>
                  </a:lnTo>
                  <a:lnTo>
                    <a:pt x="394" y="117"/>
                  </a:lnTo>
                  <a:lnTo>
                    <a:pt x="392" y="115"/>
                  </a:lnTo>
                  <a:lnTo>
                    <a:pt x="391" y="115"/>
                  </a:lnTo>
                  <a:lnTo>
                    <a:pt x="391" y="114"/>
                  </a:lnTo>
                  <a:lnTo>
                    <a:pt x="391" y="110"/>
                  </a:lnTo>
                  <a:lnTo>
                    <a:pt x="389" y="107"/>
                  </a:lnTo>
                  <a:lnTo>
                    <a:pt x="387" y="102"/>
                  </a:lnTo>
                  <a:lnTo>
                    <a:pt x="386" y="101"/>
                  </a:lnTo>
                  <a:lnTo>
                    <a:pt x="387" y="97"/>
                  </a:lnTo>
                  <a:lnTo>
                    <a:pt x="387" y="96"/>
                  </a:lnTo>
                  <a:lnTo>
                    <a:pt x="387" y="94"/>
                  </a:lnTo>
                  <a:lnTo>
                    <a:pt x="387" y="92"/>
                  </a:lnTo>
                  <a:lnTo>
                    <a:pt x="389" y="91"/>
                  </a:lnTo>
                  <a:lnTo>
                    <a:pt x="389" y="88"/>
                  </a:lnTo>
                  <a:lnTo>
                    <a:pt x="389" y="86"/>
                  </a:lnTo>
                  <a:lnTo>
                    <a:pt x="391" y="86"/>
                  </a:lnTo>
                  <a:lnTo>
                    <a:pt x="392" y="84"/>
                  </a:lnTo>
                  <a:lnTo>
                    <a:pt x="394" y="83"/>
                  </a:lnTo>
                  <a:lnTo>
                    <a:pt x="396" y="81"/>
                  </a:lnTo>
                  <a:lnTo>
                    <a:pt x="396" y="78"/>
                  </a:lnTo>
                  <a:lnTo>
                    <a:pt x="396" y="75"/>
                  </a:lnTo>
                  <a:lnTo>
                    <a:pt x="396" y="73"/>
                  </a:lnTo>
                  <a:lnTo>
                    <a:pt x="394" y="70"/>
                  </a:lnTo>
                  <a:lnTo>
                    <a:pt x="394" y="68"/>
                  </a:lnTo>
                  <a:lnTo>
                    <a:pt x="394" y="66"/>
                  </a:lnTo>
                  <a:lnTo>
                    <a:pt x="394" y="65"/>
                  </a:lnTo>
                  <a:lnTo>
                    <a:pt x="394" y="63"/>
                  </a:lnTo>
                  <a:lnTo>
                    <a:pt x="394" y="62"/>
                  </a:lnTo>
                  <a:lnTo>
                    <a:pt x="396" y="62"/>
                  </a:lnTo>
                  <a:lnTo>
                    <a:pt x="397" y="63"/>
                  </a:lnTo>
                  <a:lnTo>
                    <a:pt x="404" y="62"/>
                  </a:lnTo>
                  <a:lnTo>
                    <a:pt x="410" y="60"/>
                  </a:lnTo>
                  <a:lnTo>
                    <a:pt x="413" y="60"/>
                  </a:lnTo>
                  <a:lnTo>
                    <a:pt x="415" y="60"/>
                  </a:lnTo>
                  <a:lnTo>
                    <a:pt x="418" y="58"/>
                  </a:lnTo>
                  <a:lnTo>
                    <a:pt x="420" y="58"/>
                  </a:lnTo>
                  <a:lnTo>
                    <a:pt x="422" y="57"/>
                  </a:lnTo>
                  <a:lnTo>
                    <a:pt x="423" y="57"/>
                  </a:lnTo>
                  <a:lnTo>
                    <a:pt x="425" y="55"/>
                  </a:lnTo>
                  <a:lnTo>
                    <a:pt x="430" y="53"/>
                  </a:lnTo>
                  <a:lnTo>
                    <a:pt x="433" y="52"/>
                  </a:lnTo>
                  <a:lnTo>
                    <a:pt x="435" y="50"/>
                  </a:lnTo>
                  <a:lnTo>
                    <a:pt x="436" y="50"/>
                  </a:lnTo>
                  <a:lnTo>
                    <a:pt x="439" y="49"/>
                  </a:lnTo>
                  <a:lnTo>
                    <a:pt x="441" y="47"/>
                  </a:lnTo>
                  <a:lnTo>
                    <a:pt x="443" y="45"/>
                  </a:lnTo>
                  <a:lnTo>
                    <a:pt x="448" y="42"/>
                  </a:lnTo>
                  <a:lnTo>
                    <a:pt x="449" y="39"/>
                  </a:lnTo>
                  <a:lnTo>
                    <a:pt x="449" y="40"/>
                  </a:lnTo>
                  <a:lnTo>
                    <a:pt x="448" y="42"/>
                  </a:lnTo>
                  <a:lnTo>
                    <a:pt x="446" y="44"/>
                  </a:lnTo>
                  <a:lnTo>
                    <a:pt x="444" y="45"/>
                  </a:lnTo>
                  <a:lnTo>
                    <a:pt x="443" y="47"/>
                  </a:lnTo>
                  <a:lnTo>
                    <a:pt x="441" y="47"/>
                  </a:lnTo>
                  <a:lnTo>
                    <a:pt x="441" y="49"/>
                  </a:lnTo>
                  <a:lnTo>
                    <a:pt x="439" y="49"/>
                  </a:lnTo>
                  <a:lnTo>
                    <a:pt x="438" y="50"/>
                  </a:lnTo>
                  <a:lnTo>
                    <a:pt x="436" y="52"/>
                  </a:lnTo>
                  <a:lnTo>
                    <a:pt x="435" y="53"/>
                  </a:lnTo>
                  <a:lnTo>
                    <a:pt x="433" y="53"/>
                  </a:lnTo>
                  <a:lnTo>
                    <a:pt x="433" y="55"/>
                  </a:lnTo>
                  <a:lnTo>
                    <a:pt x="431" y="55"/>
                  </a:lnTo>
                  <a:lnTo>
                    <a:pt x="430" y="55"/>
                  </a:lnTo>
                  <a:lnTo>
                    <a:pt x="430" y="57"/>
                  </a:lnTo>
                  <a:lnTo>
                    <a:pt x="428" y="57"/>
                  </a:lnTo>
                  <a:lnTo>
                    <a:pt x="428" y="58"/>
                  </a:lnTo>
                  <a:lnTo>
                    <a:pt x="426" y="58"/>
                  </a:lnTo>
                  <a:lnTo>
                    <a:pt x="423" y="58"/>
                  </a:lnTo>
                  <a:lnTo>
                    <a:pt x="418" y="60"/>
                  </a:lnTo>
                  <a:lnTo>
                    <a:pt x="417" y="62"/>
                  </a:lnTo>
                  <a:lnTo>
                    <a:pt x="418" y="62"/>
                  </a:lnTo>
                  <a:lnTo>
                    <a:pt x="420" y="62"/>
                  </a:lnTo>
                  <a:lnTo>
                    <a:pt x="420" y="63"/>
                  </a:lnTo>
                  <a:lnTo>
                    <a:pt x="420" y="65"/>
                  </a:lnTo>
                  <a:lnTo>
                    <a:pt x="422" y="65"/>
                  </a:lnTo>
                  <a:lnTo>
                    <a:pt x="420" y="66"/>
                  </a:lnTo>
                  <a:lnTo>
                    <a:pt x="420" y="68"/>
                  </a:lnTo>
                  <a:lnTo>
                    <a:pt x="420" y="70"/>
                  </a:lnTo>
                  <a:lnTo>
                    <a:pt x="422" y="70"/>
                  </a:lnTo>
                  <a:lnTo>
                    <a:pt x="420" y="71"/>
                  </a:lnTo>
                  <a:lnTo>
                    <a:pt x="422" y="71"/>
                  </a:lnTo>
                  <a:lnTo>
                    <a:pt x="423" y="71"/>
                  </a:lnTo>
                  <a:lnTo>
                    <a:pt x="423" y="73"/>
                  </a:lnTo>
                  <a:lnTo>
                    <a:pt x="425" y="73"/>
                  </a:lnTo>
                  <a:lnTo>
                    <a:pt x="425" y="75"/>
                  </a:lnTo>
                  <a:lnTo>
                    <a:pt x="426" y="76"/>
                  </a:lnTo>
                  <a:lnTo>
                    <a:pt x="426" y="78"/>
                  </a:lnTo>
                  <a:lnTo>
                    <a:pt x="428" y="78"/>
                  </a:lnTo>
                  <a:lnTo>
                    <a:pt x="428" y="79"/>
                  </a:lnTo>
                  <a:lnTo>
                    <a:pt x="428" y="81"/>
                  </a:lnTo>
                  <a:lnTo>
                    <a:pt x="426" y="81"/>
                  </a:lnTo>
                  <a:lnTo>
                    <a:pt x="425" y="81"/>
                  </a:lnTo>
                  <a:lnTo>
                    <a:pt x="423" y="83"/>
                  </a:lnTo>
                  <a:lnTo>
                    <a:pt x="422" y="84"/>
                  </a:lnTo>
                  <a:lnTo>
                    <a:pt x="422" y="86"/>
                  </a:lnTo>
                  <a:lnTo>
                    <a:pt x="423" y="86"/>
                  </a:lnTo>
                  <a:lnTo>
                    <a:pt x="423" y="88"/>
                  </a:lnTo>
                  <a:lnTo>
                    <a:pt x="422" y="89"/>
                  </a:lnTo>
                  <a:lnTo>
                    <a:pt x="422" y="91"/>
                  </a:lnTo>
                  <a:lnTo>
                    <a:pt x="420" y="92"/>
                  </a:lnTo>
                  <a:lnTo>
                    <a:pt x="418" y="96"/>
                  </a:lnTo>
                  <a:lnTo>
                    <a:pt x="417" y="96"/>
                  </a:lnTo>
                  <a:lnTo>
                    <a:pt x="415" y="96"/>
                  </a:lnTo>
                  <a:lnTo>
                    <a:pt x="415" y="97"/>
                  </a:lnTo>
                  <a:lnTo>
                    <a:pt x="415" y="99"/>
                  </a:lnTo>
                  <a:lnTo>
                    <a:pt x="413" y="99"/>
                  </a:lnTo>
                  <a:lnTo>
                    <a:pt x="413" y="101"/>
                  </a:lnTo>
                  <a:lnTo>
                    <a:pt x="413" y="102"/>
                  </a:lnTo>
                  <a:lnTo>
                    <a:pt x="412" y="104"/>
                  </a:lnTo>
                  <a:lnTo>
                    <a:pt x="412" y="105"/>
                  </a:lnTo>
                  <a:lnTo>
                    <a:pt x="410" y="105"/>
                  </a:lnTo>
                  <a:lnTo>
                    <a:pt x="409" y="104"/>
                  </a:lnTo>
                  <a:lnTo>
                    <a:pt x="407" y="104"/>
                  </a:lnTo>
                  <a:lnTo>
                    <a:pt x="405" y="104"/>
                  </a:lnTo>
                  <a:lnTo>
                    <a:pt x="405" y="105"/>
                  </a:lnTo>
                  <a:lnTo>
                    <a:pt x="405" y="107"/>
                  </a:lnTo>
                  <a:lnTo>
                    <a:pt x="404" y="109"/>
                  </a:lnTo>
                  <a:lnTo>
                    <a:pt x="404" y="110"/>
                  </a:lnTo>
                  <a:lnTo>
                    <a:pt x="402" y="112"/>
                  </a:lnTo>
                  <a:lnTo>
                    <a:pt x="402" y="114"/>
                  </a:lnTo>
                  <a:lnTo>
                    <a:pt x="400" y="114"/>
                  </a:lnTo>
                  <a:lnTo>
                    <a:pt x="399" y="115"/>
                  </a:lnTo>
                  <a:lnTo>
                    <a:pt x="399" y="117"/>
                  </a:lnTo>
                  <a:lnTo>
                    <a:pt x="397" y="117"/>
                  </a:lnTo>
                  <a:lnTo>
                    <a:pt x="399" y="117"/>
                  </a:lnTo>
                  <a:lnTo>
                    <a:pt x="400" y="115"/>
                  </a:lnTo>
                  <a:lnTo>
                    <a:pt x="400" y="114"/>
                  </a:lnTo>
                  <a:lnTo>
                    <a:pt x="402" y="112"/>
                  </a:lnTo>
                  <a:lnTo>
                    <a:pt x="404" y="112"/>
                  </a:lnTo>
                  <a:lnTo>
                    <a:pt x="404" y="110"/>
                  </a:lnTo>
                  <a:lnTo>
                    <a:pt x="404" y="109"/>
                  </a:lnTo>
                  <a:lnTo>
                    <a:pt x="405" y="107"/>
                  </a:lnTo>
                  <a:lnTo>
                    <a:pt x="405" y="105"/>
                  </a:lnTo>
                  <a:lnTo>
                    <a:pt x="407" y="104"/>
                  </a:lnTo>
                  <a:lnTo>
                    <a:pt x="409" y="104"/>
                  </a:lnTo>
                  <a:lnTo>
                    <a:pt x="410" y="105"/>
                  </a:lnTo>
                  <a:lnTo>
                    <a:pt x="412" y="105"/>
                  </a:lnTo>
                  <a:lnTo>
                    <a:pt x="412" y="104"/>
                  </a:lnTo>
                  <a:close/>
                  <a:moveTo>
                    <a:pt x="459" y="340"/>
                  </a:moveTo>
                  <a:lnTo>
                    <a:pt x="457" y="341"/>
                  </a:lnTo>
                  <a:lnTo>
                    <a:pt x="459" y="340"/>
                  </a:lnTo>
                  <a:close/>
                  <a:moveTo>
                    <a:pt x="10" y="185"/>
                  </a:moveTo>
                  <a:lnTo>
                    <a:pt x="13" y="185"/>
                  </a:lnTo>
                  <a:lnTo>
                    <a:pt x="15" y="188"/>
                  </a:lnTo>
                  <a:lnTo>
                    <a:pt x="17" y="190"/>
                  </a:lnTo>
                  <a:lnTo>
                    <a:pt x="18" y="192"/>
                  </a:lnTo>
                  <a:lnTo>
                    <a:pt x="20" y="193"/>
                  </a:lnTo>
                  <a:lnTo>
                    <a:pt x="22" y="193"/>
                  </a:lnTo>
                  <a:lnTo>
                    <a:pt x="23" y="193"/>
                  </a:lnTo>
                  <a:lnTo>
                    <a:pt x="26" y="193"/>
                  </a:lnTo>
                  <a:lnTo>
                    <a:pt x="28" y="195"/>
                  </a:lnTo>
                  <a:lnTo>
                    <a:pt x="30" y="195"/>
                  </a:lnTo>
                  <a:lnTo>
                    <a:pt x="31" y="195"/>
                  </a:lnTo>
                  <a:lnTo>
                    <a:pt x="31" y="197"/>
                  </a:lnTo>
                  <a:lnTo>
                    <a:pt x="33" y="197"/>
                  </a:lnTo>
                  <a:lnTo>
                    <a:pt x="35" y="200"/>
                  </a:lnTo>
                  <a:lnTo>
                    <a:pt x="35" y="201"/>
                  </a:lnTo>
                  <a:lnTo>
                    <a:pt x="36" y="203"/>
                  </a:lnTo>
                  <a:lnTo>
                    <a:pt x="36" y="205"/>
                  </a:lnTo>
                  <a:lnTo>
                    <a:pt x="36" y="206"/>
                  </a:lnTo>
                  <a:lnTo>
                    <a:pt x="38" y="206"/>
                  </a:lnTo>
                  <a:lnTo>
                    <a:pt x="38" y="208"/>
                  </a:lnTo>
                  <a:lnTo>
                    <a:pt x="38" y="210"/>
                  </a:lnTo>
                  <a:lnTo>
                    <a:pt x="39" y="211"/>
                  </a:lnTo>
                  <a:lnTo>
                    <a:pt x="39" y="213"/>
                  </a:lnTo>
                  <a:lnTo>
                    <a:pt x="41" y="213"/>
                  </a:lnTo>
                  <a:lnTo>
                    <a:pt x="41" y="214"/>
                  </a:lnTo>
                  <a:lnTo>
                    <a:pt x="41" y="216"/>
                  </a:lnTo>
                  <a:lnTo>
                    <a:pt x="41" y="218"/>
                  </a:lnTo>
                  <a:lnTo>
                    <a:pt x="41" y="219"/>
                  </a:lnTo>
                  <a:lnTo>
                    <a:pt x="39" y="221"/>
                  </a:lnTo>
                  <a:lnTo>
                    <a:pt x="39" y="223"/>
                  </a:lnTo>
                  <a:lnTo>
                    <a:pt x="39" y="224"/>
                  </a:lnTo>
                  <a:lnTo>
                    <a:pt x="39" y="226"/>
                  </a:lnTo>
                  <a:lnTo>
                    <a:pt x="39" y="227"/>
                  </a:lnTo>
                  <a:lnTo>
                    <a:pt x="41" y="231"/>
                  </a:lnTo>
                  <a:lnTo>
                    <a:pt x="41" y="232"/>
                  </a:lnTo>
                  <a:lnTo>
                    <a:pt x="41" y="231"/>
                  </a:lnTo>
                  <a:lnTo>
                    <a:pt x="41" y="232"/>
                  </a:lnTo>
                  <a:lnTo>
                    <a:pt x="41" y="234"/>
                  </a:lnTo>
                  <a:lnTo>
                    <a:pt x="39" y="236"/>
                  </a:lnTo>
                  <a:lnTo>
                    <a:pt x="39" y="237"/>
                  </a:lnTo>
                  <a:lnTo>
                    <a:pt x="38" y="236"/>
                  </a:lnTo>
                  <a:lnTo>
                    <a:pt x="36" y="236"/>
                  </a:lnTo>
                  <a:lnTo>
                    <a:pt x="35" y="236"/>
                  </a:lnTo>
                  <a:lnTo>
                    <a:pt x="36" y="236"/>
                  </a:lnTo>
                  <a:lnTo>
                    <a:pt x="36" y="237"/>
                  </a:lnTo>
                  <a:lnTo>
                    <a:pt x="36" y="236"/>
                  </a:lnTo>
                  <a:lnTo>
                    <a:pt x="38" y="237"/>
                  </a:lnTo>
                  <a:lnTo>
                    <a:pt x="39" y="237"/>
                  </a:lnTo>
                  <a:lnTo>
                    <a:pt x="38" y="237"/>
                  </a:lnTo>
                  <a:lnTo>
                    <a:pt x="36" y="239"/>
                  </a:lnTo>
                  <a:lnTo>
                    <a:pt x="36" y="240"/>
                  </a:lnTo>
                  <a:lnTo>
                    <a:pt x="35" y="240"/>
                  </a:lnTo>
                  <a:lnTo>
                    <a:pt x="35" y="242"/>
                  </a:lnTo>
                  <a:lnTo>
                    <a:pt x="35" y="244"/>
                  </a:lnTo>
                  <a:lnTo>
                    <a:pt x="33" y="245"/>
                  </a:lnTo>
                  <a:lnTo>
                    <a:pt x="33" y="247"/>
                  </a:lnTo>
                  <a:lnTo>
                    <a:pt x="31" y="249"/>
                  </a:lnTo>
                  <a:lnTo>
                    <a:pt x="31" y="250"/>
                  </a:lnTo>
                  <a:lnTo>
                    <a:pt x="31" y="252"/>
                  </a:lnTo>
                  <a:lnTo>
                    <a:pt x="31" y="253"/>
                  </a:lnTo>
                  <a:lnTo>
                    <a:pt x="31" y="255"/>
                  </a:lnTo>
                  <a:lnTo>
                    <a:pt x="30" y="257"/>
                  </a:lnTo>
                  <a:lnTo>
                    <a:pt x="28" y="258"/>
                  </a:lnTo>
                  <a:lnTo>
                    <a:pt x="28" y="260"/>
                  </a:lnTo>
                  <a:lnTo>
                    <a:pt x="26" y="263"/>
                  </a:lnTo>
                  <a:lnTo>
                    <a:pt x="25" y="267"/>
                  </a:lnTo>
                  <a:lnTo>
                    <a:pt x="25" y="268"/>
                  </a:lnTo>
                  <a:lnTo>
                    <a:pt x="25" y="270"/>
                  </a:lnTo>
                  <a:lnTo>
                    <a:pt x="23" y="270"/>
                  </a:lnTo>
                  <a:lnTo>
                    <a:pt x="23" y="268"/>
                  </a:lnTo>
                  <a:lnTo>
                    <a:pt x="22" y="267"/>
                  </a:lnTo>
                  <a:lnTo>
                    <a:pt x="22" y="265"/>
                  </a:lnTo>
                  <a:lnTo>
                    <a:pt x="23" y="265"/>
                  </a:lnTo>
                  <a:lnTo>
                    <a:pt x="23" y="262"/>
                  </a:lnTo>
                  <a:lnTo>
                    <a:pt x="25" y="262"/>
                  </a:lnTo>
                  <a:lnTo>
                    <a:pt x="25" y="260"/>
                  </a:lnTo>
                  <a:lnTo>
                    <a:pt x="25" y="258"/>
                  </a:lnTo>
                  <a:lnTo>
                    <a:pt x="26" y="257"/>
                  </a:lnTo>
                  <a:lnTo>
                    <a:pt x="26" y="255"/>
                  </a:lnTo>
                  <a:lnTo>
                    <a:pt x="28" y="253"/>
                  </a:lnTo>
                  <a:lnTo>
                    <a:pt x="28" y="252"/>
                  </a:lnTo>
                  <a:lnTo>
                    <a:pt x="26" y="252"/>
                  </a:lnTo>
                  <a:lnTo>
                    <a:pt x="26" y="250"/>
                  </a:lnTo>
                  <a:lnTo>
                    <a:pt x="25" y="250"/>
                  </a:lnTo>
                  <a:lnTo>
                    <a:pt x="25" y="247"/>
                  </a:lnTo>
                  <a:lnTo>
                    <a:pt x="25" y="245"/>
                  </a:lnTo>
                  <a:lnTo>
                    <a:pt x="25" y="244"/>
                  </a:lnTo>
                  <a:lnTo>
                    <a:pt x="23" y="242"/>
                  </a:lnTo>
                  <a:lnTo>
                    <a:pt x="22" y="242"/>
                  </a:lnTo>
                  <a:lnTo>
                    <a:pt x="22" y="240"/>
                  </a:lnTo>
                  <a:lnTo>
                    <a:pt x="23" y="239"/>
                  </a:lnTo>
                  <a:lnTo>
                    <a:pt x="23" y="237"/>
                  </a:lnTo>
                  <a:lnTo>
                    <a:pt x="22" y="236"/>
                  </a:lnTo>
                  <a:lnTo>
                    <a:pt x="20" y="232"/>
                  </a:lnTo>
                  <a:lnTo>
                    <a:pt x="20" y="231"/>
                  </a:lnTo>
                  <a:lnTo>
                    <a:pt x="20" y="229"/>
                  </a:lnTo>
                  <a:lnTo>
                    <a:pt x="20" y="226"/>
                  </a:lnTo>
                  <a:lnTo>
                    <a:pt x="18" y="226"/>
                  </a:lnTo>
                  <a:lnTo>
                    <a:pt x="18" y="223"/>
                  </a:lnTo>
                  <a:lnTo>
                    <a:pt x="18" y="221"/>
                  </a:lnTo>
                  <a:lnTo>
                    <a:pt x="18" y="219"/>
                  </a:lnTo>
                  <a:lnTo>
                    <a:pt x="17" y="219"/>
                  </a:lnTo>
                  <a:lnTo>
                    <a:pt x="15" y="219"/>
                  </a:lnTo>
                  <a:lnTo>
                    <a:pt x="15" y="216"/>
                  </a:lnTo>
                  <a:lnTo>
                    <a:pt x="15" y="214"/>
                  </a:lnTo>
                  <a:lnTo>
                    <a:pt x="13" y="213"/>
                  </a:lnTo>
                  <a:lnTo>
                    <a:pt x="13" y="211"/>
                  </a:lnTo>
                  <a:lnTo>
                    <a:pt x="13" y="206"/>
                  </a:lnTo>
                  <a:lnTo>
                    <a:pt x="13" y="203"/>
                  </a:lnTo>
                  <a:lnTo>
                    <a:pt x="10" y="201"/>
                  </a:lnTo>
                  <a:lnTo>
                    <a:pt x="10" y="197"/>
                  </a:lnTo>
                  <a:lnTo>
                    <a:pt x="10" y="195"/>
                  </a:lnTo>
                  <a:lnTo>
                    <a:pt x="10" y="193"/>
                  </a:lnTo>
                  <a:lnTo>
                    <a:pt x="9" y="192"/>
                  </a:lnTo>
                  <a:lnTo>
                    <a:pt x="10" y="192"/>
                  </a:lnTo>
                  <a:lnTo>
                    <a:pt x="12" y="192"/>
                  </a:lnTo>
                  <a:lnTo>
                    <a:pt x="12" y="190"/>
                  </a:lnTo>
                  <a:lnTo>
                    <a:pt x="12" y="188"/>
                  </a:lnTo>
                  <a:lnTo>
                    <a:pt x="10" y="188"/>
                  </a:lnTo>
                  <a:lnTo>
                    <a:pt x="10" y="187"/>
                  </a:lnTo>
                  <a:lnTo>
                    <a:pt x="12" y="187"/>
                  </a:lnTo>
                  <a:lnTo>
                    <a:pt x="12" y="185"/>
                  </a:lnTo>
                  <a:lnTo>
                    <a:pt x="10" y="185"/>
                  </a:lnTo>
                  <a:close/>
                  <a:moveTo>
                    <a:pt x="48" y="143"/>
                  </a:moveTo>
                  <a:lnTo>
                    <a:pt x="48" y="141"/>
                  </a:lnTo>
                  <a:lnTo>
                    <a:pt x="48" y="143"/>
                  </a:lnTo>
                  <a:lnTo>
                    <a:pt x="49" y="145"/>
                  </a:lnTo>
                  <a:lnTo>
                    <a:pt x="48" y="145"/>
                  </a:lnTo>
                  <a:lnTo>
                    <a:pt x="46" y="145"/>
                  </a:lnTo>
                  <a:lnTo>
                    <a:pt x="44" y="146"/>
                  </a:lnTo>
                  <a:lnTo>
                    <a:pt x="43" y="146"/>
                  </a:lnTo>
                  <a:lnTo>
                    <a:pt x="43" y="148"/>
                  </a:lnTo>
                  <a:lnTo>
                    <a:pt x="43" y="149"/>
                  </a:lnTo>
                  <a:lnTo>
                    <a:pt x="43" y="151"/>
                  </a:lnTo>
                  <a:lnTo>
                    <a:pt x="43" y="153"/>
                  </a:lnTo>
                  <a:lnTo>
                    <a:pt x="43" y="154"/>
                  </a:lnTo>
                  <a:lnTo>
                    <a:pt x="43" y="156"/>
                  </a:lnTo>
                  <a:lnTo>
                    <a:pt x="41" y="156"/>
                  </a:lnTo>
                  <a:lnTo>
                    <a:pt x="41" y="158"/>
                  </a:lnTo>
                  <a:lnTo>
                    <a:pt x="41" y="159"/>
                  </a:lnTo>
                  <a:lnTo>
                    <a:pt x="39" y="159"/>
                  </a:lnTo>
                  <a:lnTo>
                    <a:pt x="38" y="161"/>
                  </a:lnTo>
                  <a:lnTo>
                    <a:pt x="38" y="162"/>
                  </a:lnTo>
                  <a:lnTo>
                    <a:pt x="38" y="164"/>
                  </a:lnTo>
                  <a:lnTo>
                    <a:pt x="36" y="166"/>
                  </a:lnTo>
                  <a:lnTo>
                    <a:pt x="38" y="166"/>
                  </a:lnTo>
                  <a:lnTo>
                    <a:pt x="38" y="167"/>
                  </a:lnTo>
                  <a:lnTo>
                    <a:pt x="38" y="169"/>
                  </a:lnTo>
                  <a:lnTo>
                    <a:pt x="38" y="171"/>
                  </a:lnTo>
                  <a:lnTo>
                    <a:pt x="36" y="171"/>
                  </a:lnTo>
                  <a:lnTo>
                    <a:pt x="36" y="172"/>
                  </a:lnTo>
                  <a:lnTo>
                    <a:pt x="35" y="172"/>
                  </a:lnTo>
                  <a:lnTo>
                    <a:pt x="36" y="174"/>
                  </a:lnTo>
                  <a:lnTo>
                    <a:pt x="35" y="174"/>
                  </a:lnTo>
                  <a:lnTo>
                    <a:pt x="35" y="175"/>
                  </a:lnTo>
                  <a:lnTo>
                    <a:pt x="35" y="174"/>
                  </a:lnTo>
                  <a:lnTo>
                    <a:pt x="33" y="172"/>
                  </a:lnTo>
                  <a:lnTo>
                    <a:pt x="33" y="171"/>
                  </a:lnTo>
                  <a:lnTo>
                    <a:pt x="35" y="171"/>
                  </a:lnTo>
                  <a:lnTo>
                    <a:pt x="35" y="169"/>
                  </a:lnTo>
                  <a:lnTo>
                    <a:pt x="33" y="169"/>
                  </a:lnTo>
                  <a:lnTo>
                    <a:pt x="31" y="167"/>
                  </a:lnTo>
                  <a:lnTo>
                    <a:pt x="30" y="167"/>
                  </a:lnTo>
                  <a:lnTo>
                    <a:pt x="28" y="167"/>
                  </a:lnTo>
                  <a:lnTo>
                    <a:pt x="26" y="167"/>
                  </a:lnTo>
                  <a:lnTo>
                    <a:pt x="25" y="166"/>
                  </a:lnTo>
                  <a:lnTo>
                    <a:pt x="23" y="167"/>
                  </a:lnTo>
                  <a:lnTo>
                    <a:pt x="22" y="167"/>
                  </a:lnTo>
                  <a:lnTo>
                    <a:pt x="20" y="167"/>
                  </a:lnTo>
                  <a:lnTo>
                    <a:pt x="20" y="166"/>
                  </a:lnTo>
                  <a:lnTo>
                    <a:pt x="20" y="164"/>
                  </a:lnTo>
                  <a:lnTo>
                    <a:pt x="22" y="164"/>
                  </a:lnTo>
                  <a:lnTo>
                    <a:pt x="22" y="162"/>
                  </a:lnTo>
                  <a:lnTo>
                    <a:pt x="22" y="161"/>
                  </a:lnTo>
                  <a:lnTo>
                    <a:pt x="22" y="162"/>
                  </a:lnTo>
                  <a:lnTo>
                    <a:pt x="20" y="162"/>
                  </a:lnTo>
                  <a:lnTo>
                    <a:pt x="20" y="164"/>
                  </a:lnTo>
                  <a:lnTo>
                    <a:pt x="20" y="162"/>
                  </a:lnTo>
                  <a:lnTo>
                    <a:pt x="18" y="162"/>
                  </a:lnTo>
                  <a:lnTo>
                    <a:pt x="17" y="162"/>
                  </a:lnTo>
                  <a:lnTo>
                    <a:pt x="17" y="164"/>
                  </a:lnTo>
                  <a:lnTo>
                    <a:pt x="17" y="166"/>
                  </a:lnTo>
                  <a:lnTo>
                    <a:pt x="15" y="166"/>
                  </a:lnTo>
                  <a:lnTo>
                    <a:pt x="17" y="166"/>
                  </a:lnTo>
                  <a:lnTo>
                    <a:pt x="18" y="166"/>
                  </a:lnTo>
                  <a:lnTo>
                    <a:pt x="18" y="167"/>
                  </a:lnTo>
                  <a:lnTo>
                    <a:pt x="17" y="167"/>
                  </a:lnTo>
                  <a:lnTo>
                    <a:pt x="17" y="169"/>
                  </a:lnTo>
                  <a:lnTo>
                    <a:pt x="15" y="167"/>
                  </a:lnTo>
                  <a:lnTo>
                    <a:pt x="15" y="166"/>
                  </a:lnTo>
                  <a:lnTo>
                    <a:pt x="13" y="166"/>
                  </a:lnTo>
                  <a:lnTo>
                    <a:pt x="12" y="166"/>
                  </a:lnTo>
                  <a:lnTo>
                    <a:pt x="10" y="167"/>
                  </a:lnTo>
                  <a:lnTo>
                    <a:pt x="9" y="167"/>
                  </a:lnTo>
                  <a:lnTo>
                    <a:pt x="9" y="164"/>
                  </a:lnTo>
                  <a:lnTo>
                    <a:pt x="7" y="162"/>
                  </a:lnTo>
                  <a:lnTo>
                    <a:pt x="7" y="161"/>
                  </a:lnTo>
                  <a:lnTo>
                    <a:pt x="9" y="161"/>
                  </a:lnTo>
                  <a:lnTo>
                    <a:pt x="9" y="159"/>
                  </a:lnTo>
                  <a:lnTo>
                    <a:pt x="12" y="161"/>
                  </a:lnTo>
                  <a:lnTo>
                    <a:pt x="13" y="161"/>
                  </a:lnTo>
                  <a:lnTo>
                    <a:pt x="15" y="161"/>
                  </a:lnTo>
                  <a:lnTo>
                    <a:pt x="17" y="159"/>
                  </a:lnTo>
                  <a:lnTo>
                    <a:pt x="20" y="159"/>
                  </a:lnTo>
                  <a:lnTo>
                    <a:pt x="22" y="158"/>
                  </a:lnTo>
                  <a:lnTo>
                    <a:pt x="23" y="156"/>
                  </a:lnTo>
                  <a:lnTo>
                    <a:pt x="26" y="153"/>
                  </a:lnTo>
                  <a:lnTo>
                    <a:pt x="28" y="151"/>
                  </a:lnTo>
                  <a:lnTo>
                    <a:pt x="30" y="151"/>
                  </a:lnTo>
                  <a:lnTo>
                    <a:pt x="33" y="149"/>
                  </a:lnTo>
                  <a:lnTo>
                    <a:pt x="38" y="146"/>
                  </a:lnTo>
                  <a:lnTo>
                    <a:pt x="39" y="146"/>
                  </a:lnTo>
                  <a:lnTo>
                    <a:pt x="41" y="146"/>
                  </a:lnTo>
                  <a:lnTo>
                    <a:pt x="44" y="143"/>
                  </a:lnTo>
                  <a:lnTo>
                    <a:pt x="46" y="143"/>
                  </a:lnTo>
                  <a:lnTo>
                    <a:pt x="48" y="143"/>
                  </a:lnTo>
                  <a:close/>
                  <a:moveTo>
                    <a:pt x="2" y="159"/>
                  </a:moveTo>
                  <a:lnTo>
                    <a:pt x="2" y="158"/>
                  </a:lnTo>
                  <a:lnTo>
                    <a:pt x="4" y="159"/>
                  </a:lnTo>
                  <a:lnTo>
                    <a:pt x="5" y="159"/>
                  </a:lnTo>
                  <a:lnTo>
                    <a:pt x="7" y="159"/>
                  </a:lnTo>
                  <a:lnTo>
                    <a:pt x="9" y="159"/>
                  </a:lnTo>
                  <a:lnTo>
                    <a:pt x="7" y="161"/>
                  </a:lnTo>
                  <a:lnTo>
                    <a:pt x="7" y="162"/>
                  </a:lnTo>
                  <a:lnTo>
                    <a:pt x="5" y="162"/>
                  </a:lnTo>
                  <a:lnTo>
                    <a:pt x="5" y="164"/>
                  </a:lnTo>
                  <a:lnTo>
                    <a:pt x="7" y="166"/>
                  </a:lnTo>
                  <a:lnTo>
                    <a:pt x="7" y="167"/>
                  </a:lnTo>
                  <a:lnTo>
                    <a:pt x="7" y="166"/>
                  </a:lnTo>
                  <a:lnTo>
                    <a:pt x="9" y="166"/>
                  </a:lnTo>
                  <a:lnTo>
                    <a:pt x="9" y="169"/>
                  </a:lnTo>
                  <a:lnTo>
                    <a:pt x="9" y="171"/>
                  </a:lnTo>
                  <a:lnTo>
                    <a:pt x="10" y="171"/>
                  </a:lnTo>
                  <a:lnTo>
                    <a:pt x="13" y="175"/>
                  </a:lnTo>
                  <a:lnTo>
                    <a:pt x="12" y="175"/>
                  </a:lnTo>
                  <a:lnTo>
                    <a:pt x="12" y="174"/>
                  </a:lnTo>
                  <a:lnTo>
                    <a:pt x="10" y="174"/>
                  </a:lnTo>
                  <a:lnTo>
                    <a:pt x="9" y="174"/>
                  </a:lnTo>
                  <a:lnTo>
                    <a:pt x="9" y="172"/>
                  </a:lnTo>
                  <a:lnTo>
                    <a:pt x="5" y="169"/>
                  </a:lnTo>
                  <a:lnTo>
                    <a:pt x="4" y="167"/>
                  </a:lnTo>
                  <a:lnTo>
                    <a:pt x="2" y="164"/>
                  </a:lnTo>
                  <a:lnTo>
                    <a:pt x="0" y="161"/>
                  </a:lnTo>
                  <a:lnTo>
                    <a:pt x="2" y="159"/>
                  </a:lnTo>
                  <a:close/>
                  <a:moveTo>
                    <a:pt x="368" y="57"/>
                  </a:moveTo>
                  <a:lnTo>
                    <a:pt x="370" y="57"/>
                  </a:lnTo>
                  <a:lnTo>
                    <a:pt x="371" y="57"/>
                  </a:lnTo>
                  <a:lnTo>
                    <a:pt x="373" y="57"/>
                  </a:lnTo>
                  <a:lnTo>
                    <a:pt x="374" y="57"/>
                  </a:lnTo>
                  <a:lnTo>
                    <a:pt x="373" y="57"/>
                  </a:lnTo>
                  <a:lnTo>
                    <a:pt x="374" y="57"/>
                  </a:lnTo>
                  <a:lnTo>
                    <a:pt x="373" y="57"/>
                  </a:lnTo>
                  <a:lnTo>
                    <a:pt x="373" y="58"/>
                  </a:lnTo>
                  <a:lnTo>
                    <a:pt x="371" y="58"/>
                  </a:lnTo>
                  <a:lnTo>
                    <a:pt x="373" y="58"/>
                  </a:lnTo>
                  <a:lnTo>
                    <a:pt x="373" y="57"/>
                  </a:lnTo>
                  <a:lnTo>
                    <a:pt x="373" y="58"/>
                  </a:lnTo>
                  <a:lnTo>
                    <a:pt x="374" y="58"/>
                  </a:lnTo>
                  <a:lnTo>
                    <a:pt x="373" y="58"/>
                  </a:lnTo>
                  <a:lnTo>
                    <a:pt x="373" y="60"/>
                  </a:lnTo>
                  <a:lnTo>
                    <a:pt x="374" y="62"/>
                  </a:lnTo>
                  <a:lnTo>
                    <a:pt x="376" y="62"/>
                  </a:lnTo>
                  <a:lnTo>
                    <a:pt x="378" y="62"/>
                  </a:lnTo>
                  <a:lnTo>
                    <a:pt x="379" y="62"/>
                  </a:lnTo>
                  <a:lnTo>
                    <a:pt x="379" y="63"/>
                  </a:lnTo>
                  <a:lnTo>
                    <a:pt x="381" y="63"/>
                  </a:lnTo>
                  <a:lnTo>
                    <a:pt x="379" y="63"/>
                  </a:lnTo>
                  <a:lnTo>
                    <a:pt x="378" y="63"/>
                  </a:lnTo>
                  <a:lnTo>
                    <a:pt x="376" y="63"/>
                  </a:lnTo>
                  <a:lnTo>
                    <a:pt x="374" y="63"/>
                  </a:lnTo>
                  <a:lnTo>
                    <a:pt x="373" y="63"/>
                  </a:lnTo>
                  <a:lnTo>
                    <a:pt x="371" y="65"/>
                  </a:lnTo>
                  <a:lnTo>
                    <a:pt x="370" y="63"/>
                  </a:lnTo>
                  <a:lnTo>
                    <a:pt x="368" y="63"/>
                  </a:lnTo>
                  <a:lnTo>
                    <a:pt x="368" y="62"/>
                  </a:lnTo>
                  <a:lnTo>
                    <a:pt x="370" y="60"/>
                  </a:lnTo>
                  <a:lnTo>
                    <a:pt x="370" y="62"/>
                  </a:lnTo>
                  <a:lnTo>
                    <a:pt x="371" y="58"/>
                  </a:lnTo>
                  <a:lnTo>
                    <a:pt x="371" y="57"/>
                  </a:lnTo>
                  <a:lnTo>
                    <a:pt x="370" y="57"/>
                  </a:lnTo>
                  <a:lnTo>
                    <a:pt x="368" y="57"/>
                  </a:lnTo>
                  <a:close/>
                  <a:moveTo>
                    <a:pt x="13" y="167"/>
                  </a:moveTo>
                  <a:lnTo>
                    <a:pt x="15" y="167"/>
                  </a:lnTo>
                  <a:lnTo>
                    <a:pt x="15" y="169"/>
                  </a:lnTo>
                  <a:lnTo>
                    <a:pt x="17" y="169"/>
                  </a:lnTo>
                  <a:lnTo>
                    <a:pt x="18" y="169"/>
                  </a:lnTo>
                  <a:lnTo>
                    <a:pt x="18" y="171"/>
                  </a:lnTo>
                  <a:lnTo>
                    <a:pt x="17" y="171"/>
                  </a:lnTo>
                  <a:lnTo>
                    <a:pt x="15" y="171"/>
                  </a:lnTo>
                  <a:lnTo>
                    <a:pt x="15" y="172"/>
                  </a:lnTo>
                  <a:lnTo>
                    <a:pt x="13" y="172"/>
                  </a:lnTo>
                  <a:lnTo>
                    <a:pt x="13" y="174"/>
                  </a:lnTo>
                  <a:lnTo>
                    <a:pt x="13" y="175"/>
                  </a:lnTo>
                  <a:lnTo>
                    <a:pt x="13" y="174"/>
                  </a:lnTo>
                  <a:lnTo>
                    <a:pt x="10" y="171"/>
                  </a:lnTo>
                  <a:lnTo>
                    <a:pt x="9" y="169"/>
                  </a:lnTo>
                  <a:lnTo>
                    <a:pt x="10" y="169"/>
                  </a:lnTo>
                  <a:lnTo>
                    <a:pt x="12" y="167"/>
                  </a:lnTo>
                  <a:lnTo>
                    <a:pt x="13" y="166"/>
                  </a:lnTo>
                  <a:lnTo>
                    <a:pt x="13" y="167"/>
                  </a:lnTo>
                  <a:lnTo>
                    <a:pt x="15" y="167"/>
                  </a:lnTo>
                  <a:lnTo>
                    <a:pt x="13" y="167"/>
                  </a:lnTo>
                  <a:close/>
                  <a:moveTo>
                    <a:pt x="43" y="224"/>
                  </a:moveTo>
                  <a:lnTo>
                    <a:pt x="41" y="224"/>
                  </a:lnTo>
                  <a:lnTo>
                    <a:pt x="39" y="224"/>
                  </a:lnTo>
                  <a:lnTo>
                    <a:pt x="39" y="226"/>
                  </a:lnTo>
                  <a:lnTo>
                    <a:pt x="39" y="227"/>
                  </a:lnTo>
                  <a:lnTo>
                    <a:pt x="41" y="227"/>
                  </a:lnTo>
                  <a:lnTo>
                    <a:pt x="41" y="229"/>
                  </a:lnTo>
                  <a:lnTo>
                    <a:pt x="41" y="227"/>
                  </a:lnTo>
                  <a:lnTo>
                    <a:pt x="43" y="229"/>
                  </a:lnTo>
                  <a:lnTo>
                    <a:pt x="41" y="229"/>
                  </a:lnTo>
                  <a:lnTo>
                    <a:pt x="41" y="231"/>
                  </a:lnTo>
                  <a:lnTo>
                    <a:pt x="41" y="229"/>
                  </a:lnTo>
                  <a:lnTo>
                    <a:pt x="39" y="227"/>
                  </a:lnTo>
                  <a:lnTo>
                    <a:pt x="39" y="226"/>
                  </a:lnTo>
                  <a:lnTo>
                    <a:pt x="39" y="223"/>
                  </a:lnTo>
                  <a:lnTo>
                    <a:pt x="39" y="221"/>
                  </a:lnTo>
                  <a:lnTo>
                    <a:pt x="41" y="221"/>
                  </a:lnTo>
                  <a:lnTo>
                    <a:pt x="41" y="219"/>
                  </a:lnTo>
                  <a:lnTo>
                    <a:pt x="41" y="216"/>
                  </a:lnTo>
                  <a:lnTo>
                    <a:pt x="43" y="216"/>
                  </a:lnTo>
                  <a:lnTo>
                    <a:pt x="43" y="218"/>
                  </a:lnTo>
                  <a:lnTo>
                    <a:pt x="43" y="221"/>
                  </a:lnTo>
                  <a:lnTo>
                    <a:pt x="44" y="223"/>
                  </a:lnTo>
                  <a:lnTo>
                    <a:pt x="43" y="224"/>
                  </a:lnTo>
                  <a:close/>
                  <a:moveTo>
                    <a:pt x="48" y="149"/>
                  </a:moveTo>
                  <a:lnTo>
                    <a:pt x="48" y="151"/>
                  </a:lnTo>
                  <a:lnTo>
                    <a:pt x="48" y="153"/>
                  </a:lnTo>
                  <a:lnTo>
                    <a:pt x="46" y="153"/>
                  </a:lnTo>
                  <a:lnTo>
                    <a:pt x="44" y="153"/>
                  </a:lnTo>
                  <a:lnTo>
                    <a:pt x="44" y="154"/>
                  </a:lnTo>
                  <a:lnTo>
                    <a:pt x="43" y="153"/>
                  </a:lnTo>
                  <a:lnTo>
                    <a:pt x="44" y="153"/>
                  </a:lnTo>
                  <a:lnTo>
                    <a:pt x="44" y="151"/>
                  </a:lnTo>
                  <a:lnTo>
                    <a:pt x="44" y="149"/>
                  </a:lnTo>
                  <a:lnTo>
                    <a:pt x="46" y="149"/>
                  </a:lnTo>
                  <a:lnTo>
                    <a:pt x="48" y="149"/>
                  </a:lnTo>
                  <a:close/>
                  <a:moveTo>
                    <a:pt x="20" y="171"/>
                  </a:moveTo>
                  <a:lnTo>
                    <a:pt x="18" y="171"/>
                  </a:lnTo>
                  <a:lnTo>
                    <a:pt x="17" y="171"/>
                  </a:lnTo>
                  <a:lnTo>
                    <a:pt x="18" y="171"/>
                  </a:lnTo>
                  <a:lnTo>
                    <a:pt x="18" y="169"/>
                  </a:lnTo>
                  <a:lnTo>
                    <a:pt x="18" y="167"/>
                  </a:lnTo>
                  <a:lnTo>
                    <a:pt x="20" y="167"/>
                  </a:lnTo>
                  <a:lnTo>
                    <a:pt x="20" y="169"/>
                  </a:lnTo>
                  <a:lnTo>
                    <a:pt x="20" y="171"/>
                  </a:lnTo>
                  <a:close/>
                  <a:moveTo>
                    <a:pt x="38" y="206"/>
                  </a:moveTo>
                  <a:lnTo>
                    <a:pt x="38" y="208"/>
                  </a:lnTo>
                  <a:lnTo>
                    <a:pt x="38" y="210"/>
                  </a:lnTo>
                  <a:lnTo>
                    <a:pt x="36" y="206"/>
                  </a:lnTo>
                  <a:lnTo>
                    <a:pt x="36" y="205"/>
                  </a:lnTo>
                  <a:lnTo>
                    <a:pt x="38" y="205"/>
                  </a:lnTo>
                  <a:lnTo>
                    <a:pt x="38" y="206"/>
                  </a:lnTo>
                  <a:close/>
                  <a:moveTo>
                    <a:pt x="17" y="167"/>
                  </a:moveTo>
                  <a:lnTo>
                    <a:pt x="17" y="169"/>
                  </a:lnTo>
                  <a:lnTo>
                    <a:pt x="17" y="167"/>
                  </a:lnTo>
                  <a:lnTo>
                    <a:pt x="18" y="167"/>
                  </a:lnTo>
                  <a:lnTo>
                    <a:pt x="20" y="167"/>
                  </a:lnTo>
                  <a:lnTo>
                    <a:pt x="17" y="167"/>
                  </a:lnTo>
                  <a:close/>
                  <a:moveTo>
                    <a:pt x="7" y="164"/>
                  </a:moveTo>
                  <a:lnTo>
                    <a:pt x="9" y="164"/>
                  </a:lnTo>
                  <a:lnTo>
                    <a:pt x="9" y="166"/>
                  </a:lnTo>
                  <a:lnTo>
                    <a:pt x="9" y="167"/>
                  </a:lnTo>
                  <a:lnTo>
                    <a:pt x="9" y="166"/>
                  </a:lnTo>
                  <a:lnTo>
                    <a:pt x="7" y="166"/>
                  </a:lnTo>
                  <a:lnTo>
                    <a:pt x="7" y="164"/>
                  </a:lnTo>
                  <a:close/>
                  <a:moveTo>
                    <a:pt x="43" y="216"/>
                  </a:moveTo>
                  <a:lnTo>
                    <a:pt x="41" y="214"/>
                  </a:lnTo>
                  <a:lnTo>
                    <a:pt x="43" y="214"/>
                  </a:lnTo>
                  <a:lnTo>
                    <a:pt x="43" y="216"/>
                  </a:lnTo>
                  <a:close/>
                  <a:moveTo>
                    <a:pt x="41" y="213"/>
                  </a:moveTo>
                  <a:lnTo>
                    <a:pt x="39" y="213"/>
                  </a:lnTo>
                  <a:lnTo>
                    <a:pt x="39" y="211"/>
                  </a:lnTo>
                  <a:lnTo>
                    <a:pt x="41" y="213"/>
                  </a:lnTo>
                  <a:close/>
                  <a:moveTo>
                    <a:pt x="41" y="216"/>
                  </a:moveTo>
                  <a:lnTo>
                    <a:pt x="41" y="214"/>
                  </a:lnTo>
                  <a:lnTo>
                    <a:pt x="41" y="216"/>
                  </a:lnTo>
                  <a:close/>
                  <a:moveTo>
                    <a:pt x="12" y="167"/>
                  </a:moveTo>
                  <a:lnTo>
                    <a:pt x="10" y="167"/>
                  </a:lnTo>
                  <a:lnTo>
                    <a:pt x="12" y="167"/>
                  </a:lnTo>
                  <a:close/>
                  <a:moveTo>
                    <a:pt x="43" y="218"/>
                  </a:moveTo>
                  <a:lnTo>
                    <a:pt x="43" y="216"/>
                  </a:lnTo>
                  <a:lnTo>
                    <a:pt x="43" y="218"/>
                  </a:lnTo>
                  <a:close/>
                  <a:moveTo>
                    <a:pt x="10" y="167"/>
                  </a:moveTo>
                  <a:lnTo>
                    <a:pt x="10" y="169"/>
                  </a:lnTo>
                  <a:lnTo>
                    <a:pt x="10" y="167"/>
                  </a:lnTo>
                  <a:close/>
                  <a:moveTo>
                    <a:pt x="9" y="185"/>
                  </a:moveTo>
                  <a:lnTo>
                    <a:pt x="10" y="185"/>
                  </a:lnTo>
                  <a:lnTo>
                    <a:pt x="9" y="185"/>
                  </a:lnTo>
                  <a:close/>
                  <a:moveTo>
                    <a:pt x="18" y="166"/>
                  </a:moveTo>
                  <a:lnTo>
                    <a:pt x="20" y="166"/>
                  </a:lnTo>
                  <a:lnTo>
                    <a:pt x="18" y="166"/>
                  </a:lnTo>
                  <a:close/>
                </a:path>
              </a:pathLst>
            </a:custGeom>
            <a:solidFill>
              <a:schemeClr val="bg1">
                <a:lumMod val="75000"/>
              </a:scheme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1207" name="Freeform 53">
              <a:extLst>
                <a:ext uri="{FF2B5EF4-FFF2-40B4-BE49-F238E27FC236}">
                  <a16:creationId xmlns:a16="http://schemas.microsoft.com/office/drawing/2014/main" id="{EA8EFCC9-2191-74DD-1039-2F035900DE98}"/>
                </a:ext>
              </a:extLst>
            </p:cNvPr>
            <p:cNvSpPr>
              <a:spLocks noEditPoints="1"/>
            </p:cNvSpPr>
            <p:nvPr/>
          </p:nvSpPr>
          <p:spPr bwMode="auto">
            <a:xfrm>
              <a:off x="7171" y="5737"/>
              <a:ext cx="143" cy="220"/>
            </a:xfrm>
            <a:custGeom>
              <a:avLst/>
              <a:gdLst>
                <a:gd name="T0" fmla="*/ 86 w 143"/>
                <a:gd name="T1" fmla="*/ 2 h 220"/>
                <a:gd name="T2" fmla="*/ 94 w 143"/>
                <a:gd name="T3" fmla="*/ 0 h 220"/>
                <a:gd name="T4" fmla="*/ 101 w 143"/>
                <a:gd name="T5" fmla="*/ 10 h 220"/>
                <a:gd name="T6" fmla="*/ 107 w 143"/>
                <a:gd name="T7" fmla="*/ 10 h 220"/>
                <a:gd name="T8" fmla="*/ 115 w 143"/>
                <a:gd name="T9" fmla="*/ 10 h 220"/>
                <a:gd name="T10" fmla="*/ 118 w 143"/>
                <a:gd name="T11" fmla="*/ 13 h 220"/>
                <a:gd name="T12" fmla="*/ 118 w 143"/>
                <a:gd name="T13" fmla="*/ 18 h 220"/>
                <a:gd name="T14" fmla="*/ 122 w 143"/>
                <a:gd name="T15" fmla="*/ 26 h 220"/>
                <a:gd name="T16" fmla="*/ 125 w 143"/>
                <a:gd name="T17" fmla="*/ 31 h 220"/>
                <a:gd name="T18" fmla="*/ 125 w 143"/>
                <a:gd name="T19" fmla="*/ 36 h 220"/>
                <a:gd name="T20" fmla="*/ 125 w 143"/>
                <a:gd name="T21" fmla="*/ 41 h 220"/>
                <a:gd name="T22" fmla="*/ 127 w 143"/>
                <a:gd name="T23" fmla="*/ 44 h 220"/>
                <a:gd name="T24" fmla="*/ 125 w 143"/>
                <a:gd name="T25" fmla="*/ 51 h 220"/>
                <a:gd name="T26" fmla="*/ 127 w 143"/>
                <a:gd name="T27" fmla="*/ 57 h 220"/>
                <a:gd name="T28" fmla="*/ 127 w 143"/>
                <a:gd name="T29" fmla="*/ 62 h 220"/>
                <a:gd name="T30" fmla="*/ 131 w 143"/>
                <a:gd name="T31" fmla="*/ 67 h 220"/>
                <a:gd name="T32" fmla="*/ 133 w 143"/>
                <a:gd name="T33" fmla="*/ 73 h 220"/>
                <a:gd name="T34" fmla="*/ 136 w 143"/>
                <a:gd name="T35" fmla="*/ 81 h 220"/>
                <a:gd name="T36" fmla="*/ 138 w 143"/>
                <a:gd name="T37" fmla="*/ 88 h 220"/>
                <a:gd name="T38" fmla="*/ 141 w 143"/>
                <a:gd name="T39" fmla="*/ 96 h 220"/>
                <a:gd name="T40" fmla="*/ 143 w 143"/>
                <a:gd name="T41" fmla="*/ 135 h 220"/>
                <a:gd name="T42" fmla="*/ 127 w 143"/>
                <a:gd name="T43" fmla="*/ 148 h 220"/>
                <a:gd name="T44" fmla="*/ 112 w 143"/>
                <a:gd name="T45" fmla="*/ 164 h 220"/>
                <a:gd name="T46" fmla="*/ 92 w 143"/>
                <a:gd name="T47" fmla="*/ 174 h 220"/>
                <a:gd name="T48" fmla="*/ 83 w 143"/>
                <a:gd name="T49" fmla="*/ 177 h 220"/>
                <a:gd name="T50" fmla="*/ 76 w 143"/>
                <a:gd name="T51" fmla="*/ 173 h 220"/>
                <a:gd name="T52" fmla="*/ 79 w 143"/>
                <a:gd name="T53" fmla="*/ 158 h 220"/>
                <a:gd name="T54" fmla="*/ 76 w 143"/>
                <a:gd name="T55" fmla="*/ 142 h 220"/>
                <a:gd name="T56" fmla="*/ 79 w 143"/>
                <a:gd name="T57" fmla="*/ 130 h 220"/>
                <a:gd name="T58" fmla="*/ 88 w 143"/>
                <a:gd name="T59" fmla="*/ 119 h 220"/>
                <a:gd name="T60" fmla="*/ 96 w 143"/>
                <a:gd name="T61" fmla="*/ 114 h 220"/>
                <a:gd name="T62" fmla="*/ 104 w 143"/>
                <a:gd name="T63" fmla="*/ 112 h 220"/>
                <a:gd name="T64" fmla="*/ 102 w 143"/>
                <a:gd name="T65" fmla="*/ 104 h 220"/>
                <a:gd name="T66" fmla="*/ 83 w 143"/>
                <a:gd name="T67" fmla="*/ 104 h 220"/>
                <a:gd name="T68" fmla="*/ 76 w 143"/>
                <a:gd name="T69" fmla="*/ 109 h 220"/>
                <a:gd name="T70" fmla="*/ 70 w 143"/>
                <a:gd name="T71" fmla="*/ 111 h 220"/>
                <a:gd name="T72" fmla="*/ 75 w 143"/>
                <a:gd name="T73" fmla="*/ 101 h 220"/>
                <a:gd name="T74" fmla="*/ 70 w 143"/>
                <a:gd name="T75" fmla="*/ 94 h 220"/>
                <a:gd name="T76" fmla="*/ 66 w 143"/>
                <a:gd name="T77" fmla="*/ 90 h 220"/>
                <a:gd name="T78" fmla="*/ 66 w 143"/>
                <a:gd name="T79" fmla="*/ 81 h 220"/>
                <a:gd name="T80" fmla="*/ 62 w 143"/>
                <a:gd name="T81" fmla="*/ 72 h 220"/>
                <a:gd name="T82" fmla="*/ 58 w 143"/>
                <a:gd name="T83" fmla="*/ 65 h 220"/>
                <a:gd name="T84" fmla="*/ 57 w 143"/>
                <a:gd name="T85" fmla="*/ 59 h 220"/>
                <a:gd name="T86" fmla="*/ 60 w 143"/>
                <a:gd name="T87" fmla="*/ 51 h 220"/>
                <a:gd name="T88" fmla="*/ 57 w 143"/>
                <a:gd name="T89" fmla="*/ 42 h 220"/>
                <a:gd name="T90" fmla="*/ 58 w 143"/>
                <a:gd name="T91" fmla="*/ 33 h 220"/>
                <a:gd name="T92" fmla="*/ 58 w 143"/>
                <a:gd name="T93" fmla="*/ 26 h 220"/>
                <a:gd name="T94" fmla="*/ 60 w 143"/>
                <a:gd name="T95" fmla="*/ 16 h 220"/>
                <a:gd name="T96" fmla="*/ 68 w 143"/>
                <a:gd name="T97" fmla="*/ 7 h 220"/>
                <a:gd name="T98" fmla="*/ 75 w 143"/>
                <a:gd name="T99" fmla="*/ 2 h 220"/>
                <a:gd name="T100" fmla="*/ 19 w 143"/>
                <a:gd name="T101" fmla="*/ 190 h 220"/>
                <a:gd name="T102" fmla="*/ 16 w 143"/>
                <a:gd name="T103" fmla="*/ 197 h 220"/>
                <a:gd name="T104" fmla="*/ 16 w 143"/>
                <a:gd name="T105" fmla="*/ 213 h 220"/>
                <a:gd name="T106" fmla="*/ 9 w 143"/>
                <a:gd name="T107" fmla="*/ 220 h 220"/>
                <a:gd name="T108" fmla="*/ 8 w 143"/>
                <a:gd name="T109" fmla="*/ 195 h 220"/>
                <a:gd name="T110" fmla="*/ 14 w 143"/>
                <a:gd name="T111" fmla="*/ 181 h 220"/>
                <a:gd name="T112" fmla="*/ 34 w 143"/>
                <a:gd name="T113" fmla="*/ 164 h 220"/>
                <a:gd name="T114" fmla="*/ 29 w 143"/>
                <a:gd name="T115" fmla="*/ 173 h 220"/>
                <a:gd name="T116" fmla="*/ 22 w 143"/>
                <a:gd name="T117" fmla="*/ 184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43" h="220">
                  <a:moveTo>
                    <a:pt x="79" y="3"/>
                  </a:moveTo>
                  <a:lnTo>
                    <a:pt x="81" y="3"/>
                  </a:lnTo>
                  <a:lnTo>
                    <a:pt x="83" y="3"/>
                  </a:lnTo>
                  <a:lnTo>
                    <a:pt x="84" y="2"/>
                  </a:lnTo>
                  <a:lnTo>
                    <a:pt x="86" y="2"/>
                  </a:lnTo>
                  <a:lnTo>
                    <a:pt x="88" y="0"/>
                  </a:lnTo>
                  <a:lnTo>
                    <a:pt x="89" y="0"/>
                  </a:lnTo>
                  <a:lnTo>
                    <a:pt x="91" y="0"/>
                  </a:lnTo>
                  <a:lnTo>
                    <a:pt x="92" y="0"/>
                  </a:lnTo>
                  <a:lnTo>
                    <a:pt x="94" y="0"/>
                  </a:lnTo>
                  <a:lnTo>
                    <a:pt x="96" y="0"/>
                  </a:lnTo>
                  <a:lnTo>
                    <a:pt x="97" y="3"/>
                  </a:lnTo>
                  <a:lnTo>
                    <a:pt x="101" y="5"/>
                  </a:lnTo>
                  <a:lnTo>
                    <a:pt x="101" y="8"/>
                  </a:lnTo>
                  <a:lnTo>
                    <a:pt x="101" y="10"/>
                  </a:lnTo>
                  <a:lnTo>
                    <a:pt x="102" y="12"/>
                  </a:lnTo>
                  <a:lnTo>
                    <a:pt x="104" y="12"/>
                  </a:lnTo>
                  <a:lnTo>
                    <a:pt x="104" y="10"/>
                  </a:lnTo>
                  <a:lnTo>
                    <a:pt x="105" y="10"/>
                  </a:lnTo>
                  <a:lnTo>
                    <a:pt x="107" y="10"/>
                  </a:lnTo>
                  <a:lnTo>
                    <a:pt x="109" y="10"/>
                  </a:lnTo>
                  <a:lnTo>
                    <a:pt x="110" y="12"/>
                  </a:lnTo>
                  <a:lnTo>
                    <a:pt x="112" y="10"/>
                  </a:lnTo>
                  <a:lnTo>
                    <a:pt x="114" y="10"/>
                  </a:lnTo>
                  <a:lnTo>
                    <a:pt x="115" y="10"/>
                  </a:lnTo>
                  <a:lnTo>
                    <a:pt x="117" y="10"/>
                  </a:lnTo>
                  <a:lnTo>
                    <a:pt x="118" y="10"/>
                  </a:lnTo>
                  <a:lnTo>
                    <a:pt x="117" y="12"/>
                  </a:lnTo>
                  <a:lnTo>
                    <a:pt x="118" y="12"/>
                  </a:lnTo>
                  <a:lnTo>
                    <a:pt x="118" y="13"/>
                  </a:lnTo>
                  <a:lnTo>
                    <a:pt x="117" y="13"/>
                  </a:lnTo>
                  <a:lnTo>
                    <a:pt x="118" y="13"/>
                  </a:lnTo>
                  <a:lnTo>
                    <a:pt x="118" y="15"/>
                  </a:lnTo>
                  <a:lnTo>
                    <a:pt x="118" y="16"/>
                  </a:lnTo>
                  <a:lnTo>
                    <a:pt x="118" y="18"/>
                  </a:lnTo>
                  <a:lnTo>
                    <a:pt x="120" y="20"/>
                  </a:lnTo>
                  <a:lnTo>
                    <a:pt x="120" y="21"/>
                  </a:lnTo>
                  <a:lnTo>
                    <a:pt x="122" y="23"/>
                  </a:lnTo>
                  <a:lnTo>
                    <a:pt x="122" y="25"/>
                  </a:lnTo>
                  <a:lnTo>
                    <a:pt x="122" y="26"/>
                  </a:lnTo>
                  <a:lnTo>
                    <a:pt x="123" y="26"/>
                  </a:lnTo>
                  <a:lnTo>
                    <a:pt x="123" y="28"/>
                  </a:lnTo>
                  <a:lnTo>
                    <a:pt x="123" y="29"/>
                  </a:lnTo>
                  <a:lnTo>
                    <a:pt x="123" y="31"/>
                  </a:lnTo>
                  <a:lnTo>
                    <a:pt x="125" y="31"/>
                  </a:lnTo>
                  <a:lnTo>
                    <a:pt x="125" y="33"/>
                  </a:lnTo>
                  <a:lnTo>
                    <a:pt x="125" y="34"/>
                  </a:lnTo>
                  <a:lnTo>
                    <a:pt x="125" y="36"/>
                  </a:lnTo>
                  <a:lnTo>
                    <a:pt x="127" y="36"/>
                  </a:lnTo>
                  <a:lnTo>
                    <a:pt x="125" y="36"/>
                  </a:lnTo>
                  <a:lnTo>
                    <a:pt x="125" y="38"/>
                  </a:lnTo>
                  <a:lnTo>
                    <a:pt x="125" y="36"/>
                  </a:lnTo>
                  <a:lnTo>
                    <a:pt x="125" y="38"/>
                  </a:lnTo>
                  <a:lnTo>
                    <a:pt x="125" y="39"/>
                  </a:lnTo>
                  <a:lnTo>
                    <a:pt x="125" y="41"/>
                  </a:lnTo>
                  <a:lnTo>
                    <a:pt x="127" y="41"/>
                  </a:lnTo>
                  <a:lnTo>
                    <a:pt x="127" y="42"/>
                  </a:lnTo>
                  <a:lnTo>
                    <a:pt x="125" y="42"/>
                  </a:lnTo>
                  <a:lnTo>
                    <a:pt x="125" y="44"/>
                  </a:lnTo>
                  <a:lnTo>
                    <a:pt x="127" y="44"/>
                  </a:lnTo>
                  <a:lnTo>
                    <a:pt x="125" y="46"/>
                  </a:lnTo>
                  <a:lnTo>
                    <a:pt x="127" y="46"/>
                  </a:lnTo>
                  <a:lnTo>
                    <a:pt x="127" y="47"/>
                  </a:lnTo>
                  <a:lnTo>
                    <a:pt x="125" y="49"/>
                  </a:lnTo>
                  <a:lnTo>
                    <a:pt x="125" y="51"/>
                  </a:lnTo>
                  <a:lnTo>
                    <a:pt x="127" y="51"/>
                  </a:lnTo>
                  <a:lnTo>
                    <a:pt x="127" y="52"/>
                  </a:lnTo>
                  <a:lnTo>
                    <a:pt x="127" y="54"/>
                  </a:lnTo>
                  <a:lnTo>
                    <a:pt x="127" y="55"/>
                  </a:lnTo>
                  <a:lnTo>
                    <a:pt x="127" y="57"/>
                  </a:lnTo>
                  <a:lnTo>
                    <a:pt x="125" y="59"/>
                  </a:lnTo>
                  <a:lnTo>
                    <a:pt x="127" y="59"/>
                  </a:lnTo>
                  <a:lnTo>
                    <a:pt x="127" y="60"/>
                  </a:lnTo>
                  <a:lnTo>
                    <a:pt x="128" y="62"/>
                  </a:lnTo>
                  <a:lnTo>
                    <a:pt x="127" y="62"/>
                  </a:lnTo>
                  <a:lnTo>
                    <a:pt x="128" y="62"/>
                  </a:lnTo>
                  <a:lnTo>
                    <a:pt x="128" y="64"/>
                  </a:lnTo>
                  <a:lnTo>
                    <a:pt x="130" y="64"/>
                  </a:lnTo>
                  <a:lnTo>
                    <a:pt x="130" y="65"/>
                  </a:lnTo>
                  <a:lnTo>
                    <a:pt x="131" y="67"/>
                  </a:lnTo>
                  <a:lnTo>
                    <a:pt x="131" y="68"/>
                  </a:lnTo>
                  <a:lnTo>
                    <a:pt x="131" y="70"/>
                  </a:lnTo>
                  <a:lnTo>
                    <a:pt x="133" y="70"/>
                  </a:lnTo>
                  <a:lnTo>
                    <a:pt x="133" y="72"/>
                  </a:lnTo>
                  <a:lnTo>
                    <a:pt x="133" y="73"/>
                  </a:lnTo>
                  <a:lnTo>
                    <a:pt x="131" y="75"/>
                  </a:lnTo>
                  <a:lnTo>
                    <a:pt x="131" y="77"/>
                  </a:lnTo>
                  <a:lnTo>
                    <a:pt x="133" y="78"/>
                  </a:lnTo>
                  <a:lnTo>
                    <a:pt x="135" y="80"/>
                  </a:lnTo>
                  <a:lnTo>
                    <a:pt x="136" y="81"/>
                  </a:lnTo>
                  <a:lnTo>
                    <a:pt x="136" y="83"/>
                  </a:lnTo>
                  <a:lnTo>
                    <a:pt x="138" y="86"/>
                  </a:lnTo>
                  <a:lnTo>
                    <a:pt x="138" y="88"/>
                  </a:lnTo>
                  <a:lnTo>
                    <a:pt x="136" y="88"/>
                  </a:lnTo>
                  <a:lnTo>
                    <a:pt x="138" y="88"/>
                  </a:lnTo>
                  <a:lnTo>
                    <a:pt x="138" y="90"/>
                  </a:lnTo>
                  <a:lnTo>
                    <a:pt x="140" y="91"/>
                  </a:lnTo>
                  <a:lnTo>
                    <a:pt x="140" y="93"/>
                  </a:lnTo>
                  <a:lnTo>
                    <a:pt x="141" y="94"/>
                  </a:lnTo>
                  <a:lnTo>
                    <a:pt x="141" y="96"/>
                  </a:lnTo>
                  <a:lnTo>
                    <a:pt x="140" y="103"/>
                  </a:lnTo>
                  <a:lnTo>
                    <a:pt x="140" y="111"/>
                  </a:lnTo>
                  <a:lnTo>
                    <a:pt x="140" y="124"/>
                  </a:lnTo>
                  <a:lnTo>
                    <a:pt x="141" y="130"/>
                  </a:lnTo>
                  <a:lnTo>
                    <a:pt x="143" y="135"/>
                  </a:lnTo>
                  <a:lnTo>
                    <a:pt x="140" y="137"/>
                  </a:lnTo>
                  <a:lnTo>
                    <a:pt x="138" y="138"/>
                  </a:lnTo>
                  <a:lnTo>
                    <a:pt x="135" y="142"/>
                  </a:lnTo>
                  <a:lnTo>
                    <a:pt x="130" y="145"/>
                  </a:lnTo>
                  <a:lnTo>
                    <a:pt x="127" y="148"/>
                  </a:lnTo>
                  <a:lnTo>
                    <a:pt x="123" y="151"/>
                  </a:lnTo>
                  <a:lnTo>
                    <a:pt x="118" y="160"/>
                  </a:lnTo>
                  <a:lnTo>
                    <a:pt x="118" y="161"/>
                  </a:lnTo>
                  <a:lnTo>
                    <a:pt x="115" y="163"/>
                  </a:lnTo>
                  <a:lnTo>
                    <a:pt x="112" y="164"/>
                  </a:lnTo>
                  <a:lnTo>
                    <a:pt x="110" y="166"/>
                  </a:lnTo>
                  <a:lnTo>
                    <a:pt x="105" y="168"/>
                  </a:lnTo>
                  <a:lnTo>
                    <a:pt x="102" y="169"/>
                  </a:lnTo>
                  <a:lnTo>
                    <a:pt x="99" y="171"/>
                  </a:lnTo>
                  <a:lnTo>
                    <a:pt x="92" y="174"/>
                  </a:lnTo>
                  <a:lnTo>
                    <a:pt x="91" y="174"/>
                  </a:lnTo>
                  <a:lnTo>
                    <a:pt x="88" y="176"/>
                  </a:lnTo>
                  <a:lnTo>
                    <a:pt x="86" y="176"/>
                  </a:lnTo>
                  <a:lnTo>
                    <a:pt x="84" y="177"/>
                  </a:lnTo>
                  <a:lnTo>
                    <a:pt x="83" y="177"/>
                  </a:lnTo>
                  <a:lnTo>
                    <a:pt x="81" y="177"/>
                  </a:lnTo>
                  <a:lnTo>
                    <a:pt x="81" y="176"/>
                  </a:lnTo>
                  <a:lnTo>
                    <a:pt x="79" y="176"/>
                  </a:lnTo>
                  <a:lnTo>
                    <a:pt x="78" y="174"/>
                  </a:lnTo>
                  <a:lnTo>
                    <a:pt x="76" y="173"/>
                  </a:lnTo>
                  <a:lnTo>
                    <a:pt x="76" y="171"/>
                  </a:lnTo>
                  <a:lnTo>
                    <a:pt x="76" y="164"/>
                  </a:lnTo>
                  <a:lnTo>
                    <a:pt x="78" y="163"/>
                  </a:lnTo>
                  <a:lnTo>
                    <a:pt x="79" y="160"/>
                  </a:lnTo>
                  <a:lnTo>
                    <a:pt x="79" y="158"/>
                  </a:lnTo>
                  <a:lnTo>
                    <a:pt x="79" y="155"/>
                  </a:lnTo>
                  <a:lnTo>
                    <a:pt x="78" y="151"/>
                  </a:lnTo>
                  <a:lnTo>
                    <a:pt x="78" y="148"/>
                  </a:lnTo>
                  <a:lnTo>
                    <a:pt x="76" y="145"/>
                  </a:lnTo>
                  <a:lnTo>
                    <a:pt x="76" y="142"/>
                  </a:lnTo>
                  <a:lnTo>
                    <a:pt x="76" y="140"/>
                  </a:lnTo>
                  <a:lnTo>
                    <a:pt x="78" y="140"/>
                  </a:lnTo>
                  <a:lnTo>
                    <a:pt x="78" y="138"/>
                  </a:lnTo>
                  <a:lnTo>
                    <a:pt x="79" y="132"/>
                  </a:lnTo>
                  <a:lnTo>
                    <a:pt x="79" y="130"/>
                  </a:lnTo>
                  <a:lnTo>
                    <a:pt x="83" y="125"/>
                  </a:lnTo>
                  <a:lnTo>
                    <a:pt x="86" y="122"/>
                  </a:lnTo>
                  <a:lnTo>
                    <a:pt x="86" y="121"/>
                  </a:lnTo>
                  <a:lnTo>
                    <a:pt x="88" y="121"/>
                  </a:lnTo>
                  <a:lnTo>
                    <a:pt x="88" y="119"/>
                  </a:lnTo>
                  <a:lnTo>
                    <a:pt x="91" y="117"/>
                  </a:lnTo>
                  <a:lnTo>
                    <a:pt x="92" y="117"/>
                  </a:lnTo>
                  <a:lnTo>
                    <a:pt x="92" y="116"/>
                  </a:lnTo>
                  <a:lnTo>
                    <a:pt x="94" y="116"/>
                  </a:lnTo>
                  <a:lnTo>
                    <a:pt x="96" y="114"/>
                  </a:lnTo>
                  <a:lnTo>
                    <a:pt x="97" y="112"/>
                  </a:lnTo>
                  <a:lnTo>
                    <a:pt x="99" y="112"/>
                  </a:lnTo>
                  <a:lnTo>
                    <a:pt x="101" y="111"/>
                  </a:lnTo>
                  <a:lnTo>
                    <a:pt x="102" y="112"/>
                  </a:lnTo>
                  <a:lnTo>
                    <a:pt x="104" y="112"/>
                  </a:lnTo>
                  <a:lnTo>
                    <a:pt x="104" y="111"/>
                  </a:lnTo>
                  <a:lnTo>
                    <a:pt x="104" y="109"/>
                  </a:lnTo>
                  <a:lnTo>
                    <a:pt x="102" y="107"/>
                  </a:lnTo>
                  <a:lnTo>
                    <a:pt x="102" y="106"/>
                  </a:lnTo>
                  <a:lnTo>
                    <a:pt x="102" y="104"/>
                  </a:lnTo>
                  <a:lnTo>
                    <a:pt x="101" y="104"/>
                  </a:lnTo>
                  <a:lnTo>
                    <a:pt x="99" y="104"/>
                  </a:lnTo>
                  <a:lnTo>
                    <a:pt x="97" y="104"/>
                  </a:lnTo>
                  <a:lnTo>
                    <a:pt x="94" y="104"/>
                  </a:lnTo>
                  <a:lnTo>
                    <a:pt x="83" y="104"/>
                  </a:lnTo>
                  <a:lnTo>
                    <a:pt x="81" y="103"/>
                  </a:lnTo>
                  <a:lnTo>
                    <a:pt x="79" y="103"/>
                  </a:lnTo>
                  <a:lnTo>
                    <a:pt x="79" y="106"/>
                  </a:lnTo>
                  <a:lnTo>
                    <a:pt x="78" y="107"/>
                  </a:lnTo>
                  <a:lnTo>
                    <a:pt x="76" y="109"/>
                  </a:lnTo>
                  <a:lnTo>
                    <a:pt x="75" y="109"/>
                  </a:lnTo>
                  <a:lnTo>
                    <a:pt x="73" y="109"/>
                  </a:lnTo>
                  <a:lnTo>
                    <a:pt x="73" y="111"/>
                  </a:lnTo>
                  <a:lnTo>
                    <a:pt x="71" y="111"/>
                  </a:lnTo>
                  <a:lnTo>
                    <a:pt x="70" y="111"/>
                  </a:lnTo>
                  <a:lnTo>
                    <a:pt x="68" y="107"/>
                  </a:lnTo>
                  <a:lnTo>
                    <a:pt x="68" y="106"/>
                  </a:lnTo>
                  <a:lnTo>
                    <a:pt x="71" y="103"/>
                  </a:lnTo>
                  <a:lnTo>
                    <a:pt x="73" y="103"/>
                  </a:lnTo>
                  <a:lnTo>
                    <a:pt x="75" y="101"/>
                  </a:lnTo>
                  <a:lnTo>
                    <a:pt x="75" y="98"/>
                  </a:lnTo>
                  <a:lnTo>
                    <a:pt x="73" y="96"/>
                  </a:lnTo>
                  <a:lnTo>
                    <a:pt x="73" y="94"/>
                  </a:lnTo>
                  <a:lnTo>
                    <a:pt x="71" y="94"/>
                  </a:lnTo>
                  <a:lnTo>
                    <a:pt x="70" y="94"/>
                  </a:lnTo>
                  <a:lnTo>
                    <a:pt x="68" y="93"/>
                  </a:lnTo>
                  <a:lnTo>
                    <a:pt x="66" y="93"/>
                  </a:lnTo>
                  <a:lnTo>
                    <a:pt x="65" y="91"/>
                  </a:lnTo>
                  <a:lnTo>
                    <a:pt x="66" y="91"/>
                  </a:lnTo>
                  <a:lnTo>
                    <a:pt x="66" y="90"/>
                  </a:lnTo>
                  <a:lnTo>
                    <a:pt x="66" y="88"/>
                  </a:lnTo>
                  <a:lnTo>
                    <a:pt x="66" y="86"/>
                  </a:lnTo>
                  <a:lnTo>
                    <a:pt x="66" y="85"/>
                  </a:lnTo>
                  <a:lnTo>
                    <a:pt x="66" y="83"/>
                  </a:lnTo>
                  <a:lnTo>
                    <a:pt x="66" y="81"/>
                  </a:lnTo>
                  <a:lnTo>
                    <a:pt x="66" y="80"/>
                  </a:lnTo>
                  <a:lnTo>
                    <a:pt x="65" y="78"/>
                  </a:lnTo>
                  <a:lnTo>
                    <a:pt x="63" y="75"/>
                  </a:lnTo>
                  <a:lnTo>
                    <a:pt x="62" y="73"/>
                  </a:lnTo>
                  <a:lnTo>
                    <a:pt x="62" y="72"/>
                  </a:lnTo>
                  <a:lnTo>
                    <a:pt x="62" y="70"/>
                  </a:lnTo>
                  <a:lnTo>
                    <a:pt x="60" y="68"/>
                  </a:lnTo>
                  <a:lnTo>
                    <a:pt x="60" y="67"/>
                  </a:lnTo>
                  <a:lnTo>
                    <a:pt x="60" y="65"/>
                  </a:lnTo>
                  <a:lnTo>
                    <a:pt x="58" y="65"/>
                  </a:lnTo>
                  <a:lnTo>
                    <a:pt x="58" y="64"/>
                  </a:lnTo>
                  <a:lnTo>
                    <a:pt x="55" y="62"/>
                  </a:lnTo>
                  <a:lnTo>
                    <a:pt x="55" y="60"/>
                  </a:lnTo>
                  <a:lnTo>
                    <a:pt x="55" y="59"/>
                  </a:lnTo>
                  <a:lnTo>
                    <a:pt x="57" y="59"/>
                  </a:lnTo>
                  <a:lnTo>
                    <a:pt x="57" y="57"/>
                  </a:lnTo>
                  <a:lnTo>
                    <a:pt x="58" y="57"/>
                  </a:lnTo>
                  <a:lnTo>
                    <a:pt x="58" y="55"/>
                  </a:lnTo>
                  <a:lnTo>
                    <a:pt x="60" y="52"/>
                  </a:lnTo>
                  <a:lnTo>
                    <a:pt x="60" y="51"/>
                  </a:lnTo>
                  <a:lnTo>
                    <a:pt x="60" y="49"/>
                  </a:lnTo>
                  <a:lnTo>
                    <a:pt x="60" y="47"/>
                  </a:lnTo>
                  <a:lnTo>
                    <a:pt x="58" y="46"/>
                  </a:lnTo>
                  <a:lnTo>
                    <a:pt x="57" y="46"/>
                  </a:lnTo>
                  <a:lnTo>
                    <a:pt x="57" y="42"/>
                  </a:lnTo>
                  <a:lnTo>
                    <a:pt x="57" y="41"/>
                  </a:lnTo>
                  <a:lnTo>
                    <a:pt x="57" y="38"/>
                  </a:lnTo>
                  <a:lnTo>
                    <a:pt x="58" y="36"/>
                  </a:lnTo>
                  <a:lnTo>
                    <a:pt x="58" y="34"/>
                  </a:lnTo>
                  <a:lnTo>
                    <a:pt x="58" y="33"/>
                  </a:lnTo>
                  <a:lnTo>
                    <a:pt x="58" y="31"/>
                  </a:lnTo>
                  <a:lnTo>
                    <a:pt x="57" y="31"/>
                  </a:lnTo>
                  <a:lnTo>
                    <a:pt x="58" y="29"/>
                  </a:lnTo>
                  <a:lnTo>
                    <a:pt x="58" y="28"/>
                  </a:lnTo>
                  <a:lnTo>
                    <a:pt x="58" y="26"/>
                  </a:lnTo>
                  <a:lnTo>
                    <a:pt x="58" y="23"/>
                  </a:lnTo>
                  <a:lnTo>
                    <a:pt x="58" y="21"/>
                  </a:lnTo>
                  <a:lnTo>
                    <a:pt x="58" y="20"/>
                  </a:lnTo>
                  <a:lnTo>
                    <a:pt x="60" y="18"/>
                  </a:lnTo>
                  <a:lnTo>
                    <a:pt x="60" y="16"/>
                  </a:lnTo>
                  <a:lnTo>
                    <a:pt x="62" y="16"/>
                  </a:lnTo>
                  <a:lnTo>
                    <a:pt x="62" y="15"/>
                  </a:lnTo>
                  <a:lnTo>
                    <a:pt x="65" y="12"/>
                  </a:lnTo>
                  <a:lnTo>
                    <a:pt x="68" y="8"/>
                  </a:lnTo>
                  <a:lnTo>
                    <a:pt x="68" y="7"/>
                  </a:lnTo>
                  <a:lnTo>
                    <a:pt x="70" y="5"/>
                  </a:lnTo>
                  <a:lnTo>
                    <a:pt x="70" y="3"/>
                  </a:lnTo>
                  <a:lnTo>
                    <a:pt x="71" y="2"/>
                  </a:lnTo>
                  <a:lnTo>
                    <a:pt x="71" y="0"/>
                  </a:lnTo>
                  <a:lnTo>
                    <a:pt x="75" y="2"/>
                  </a:lnTo>
                  <a:lnTo>
                    <a:pt x="76" y="3"/>
                  </a:lnTo>
                  <a:lnTo>
                    <a:pt x="79" y="3"/>
                  </a:lnTo>
                  <a:close/>
                  <a:moveTo>
                    <a:pt x="19" y="187"/>
                  </a:moveTo>
                  <a:lnTo>
                    <a:pt x="19" y="189"/>
                  </a:lnTo>
                  <a:lnTo>
                    <a:pt x="19" y="190"/>
                  </a:lnTo>
                  <a:lnTo>
                    <a:pt x="18" y="192"/>
                  </a:lnTo>
                  <a:lnTo>
                    <a:pt x="18" y="194"/>
                  </a:lnTo>
                  <a:lnTo>
                    <a:pt x="18" y="195"/>
                  </a:lnTo>
                  <a:lnTo>
                    <a:pt x="16" y="195"/>
                  </a:lnTo>
                  <a:lnTo>
                    <a:pt x="16" y="197"/>
                  </a:lnTo>
                  <a:lnTo>
                    <a:pt x="19" y="203"/>
                  </a:lnTo>
                  <a:lnTo>
                    <a:pt x="19" y="207"/>
                  </a:lnTo>
                  <a:lnTo>
                    <a:pt x="18" y="208"/>
                  </a:lnTo>
                  <a:lnTo>
                    <a:pt x="16" y="212"/>
                  </a:lnTo>
                  <a:lnTo>
                    <a:pt x="16" y="213"/>
                  </a:lnTo>
                  <a:lnTo>
                    <a:pt x="14" y="213"/>
                  </a:lnTo>
                  <a:lnTo>
                    <a:pt x="14" y="215"/>
                  </a:lnTo>
                  <a:lnTo>
                    <a:pt x="13" y="216"/>
                  </a:lnTo>
                  <a:lnTo>
                    <a:pt x="11" y="218"/>
                  </a:lnTo>
                  <a:lnTo>
                    <a:pt x="9" y="220"/>
                  </a:lnTo>
                  <a:lnTo>
                    <a:pt x="5" y="210"/>
                  </a:lnTo>
                  <a:lnTo>
                    <a:pt x="3" y="210"/>
                  </a:lnTo>
                  <a:lnTo>
                    <a:pt x="0" y="207"/>
                  </a:lnTo>
                  <a:lnTo>
                    <a:pt x="5" y="200"/>
                  </a:lnTo>
                  <a:lnTo>
                    <a:pt x="8" y="195"/>
                  </a:lnTo>
                  <a:lnTo>
                    <a:pt x="9" y="192"/>
                  </a:lnTo>
                  <a:lnTo>
                    <a:pt x="11" y="189"/>
                  </a:lnTo>
                  <a:lnTo>
                    <a:pt x="13" y="186"/>
                  </a:lnTo>
                  <a:lnTo>
                    <a:pt x="14" y="182"/>
                  </a:lnTo>
                  <a:lnTo>
                    <a:pt x="14" y="181"/>
                  </a:lnTo>
                  <a:lnTo>
                    <a:pt x="16" y="176"/>
                  </a:lnTo>
                  <a:lnTo>
                    <a:pt x="19" y="168"/>
                  </a:lnTo>
                  <a:lnTo>
                    <a:pt x="22" y="161"/>
                  </a:lnTo>
                  <a:lnTo>
                    <a:pt x="22" y="160"/>
                  </a:lnTo>
                  <a:lnTo>
                    <a:pt x="34" y="164"/>
                  </a:lnTo>
                  <a:lnTo>
                    <a:pt x="34" y="166"/>
                  </a:lnTo>
                  <a:lnTo>
                    <a:pt x="32" y="168"/>
                  </a:lnTo>
                  <a:lnTo>
                    <a:pt x="32" y="169"/>
                  </a:lnTo>
                  <a:lnTo>
                    <a:pt x="31" y="171"/>
                  </a:lnTo>
                  <a:lnTo>
                    <a:pt x="29" y="173"/>
                  </a:lnTo>
                  <a:lnTo>
                    <a:pt x="27" y="174"/>
                  </a:lnTo>
                  <a:lnTo>
                    <a:pt x="24" y="179"/>
                  </a:lnTo>
                  <a:lnTo>
                    <a:pt x="24" y="181"/>
                  </a:lnTo>
                  <a:lnTo>
                    <a:pt x="22" y="182"/>
                  </a:lnTo>
                  <a:lnTo>
                    <a:pt x="22" y="184"/>
                  </a:lnTo>
                  <a:lnTo>
                    <a:pt x="21" y="186"/>
                  </a:lnTo>
                  <a:lnTo>
                    <a:pt x="21" y="187"/>
                  </a:lnTo>
                  <a:lnTo>
                    <a:pt x="19" y="187"/>
                  </a:lnTo>
                  <a:close/>
                </a:path>
              </a:pathLst>
            </a:custGeom>
            <a:solidFill>
              <a:srgbClr val="E5E5E5"/>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1208" name="Freeform 54">
              <a:extLst>
                <a:ext uri="{FF2B5EF4-FFF2-40B4-BE49-F238E27FC236}">
                  <a16:creationId xmlns:a16="http://schemas.microsoft.com/office/drawing/2014/main" id="{BBECA41D-2FF5-2F37-AD84-6E559CEBCE9C}"/>
                </a:ext>
              </a:extLst>
            </p:cNvPr>
            <p:cNvSpPr>
              <a:spLocks noEditPoints="1"/>
            </p:cNvSpPr>
            <p:nvPr/>
          </p:nvSpPr>
          <p:spPr bwMode="auto">
            <a:xfrm>
              <a:off x="33" y="4255"/>
              <a:ext cx="2441" cy="1453"/>
            </a:xfrm>
            <a:custGeom>
              <a:avLst/>
              <a:gdLst>
                <a:gd name="T0" fmla="*/ 985 w 2441"/>
                <a:gd name="T1" fmla="*/ 1424 h 1453"/>
                <a:gd name="T2" fmla="*/ 1023 w 2441"/>
                <a:gd name="T3" fmla="*/ 1367 h 1453"/>
                <a:gd name="T4" fmla="*/ 959 w 2441"/>
                <a:gd name="T5" fmla="*/ 1385 h 1453"/>
                <a:gd name="T6" fmla="*/ 941 w 2441"/>
                <a:gd name="T7" fmla="*/ 1401 h 1453"/>
                <a:gd name="T8" fmla="*/ 2132 w 2441"/>
                <a:gd name="T9" fmla="*/ 1113 h 1453"/>
                <a:gd name="T10" fmla="*/ 2124 w 2441"/>
                <a:gd name="T11" fmla="*/ 1116 h 1453"/>
                <a:gd name="T12" fmla="*/ 2073 w 2441"/>
                <a:gd name="T13" fmla="*/ 877 h 1453"/>
                <a:gd name="T14" fmla="*/ 2021 w 2441"/>
                <a:gd name="T15" fmla="*/ 731 h 1453"/>
                <a:gd name="T16" fmla="*/ 276 w 2441"/>
                <a:gd name="T17" fmla="*/ 438 h 1453"/>
                <a:gd name="T18" fmla="*/ 2158 w 2441"/>
                <a:gd name="T19" fmla="*/ 573 h 1453"/>
                <a:gd name="T20" fmla="*/ 2148 w 2441"/>
                <a:gd name="T21" fmla="*/ 573 h 1453"/>
                <a:gd name="T22" fmla="*/ 2179 w 2441"/>
                <a:gd name="T23" fmla="*/ 521 h 1453"/>
                <a:gd name="T24" fmla="*/ 2189 w 2441"/>
                <a:gd name="T25" fmla="*/ 534 h 1453"/>
                <a:gd name="T26" fmla="*/ 2164 w 2441"/>
                <a:gd name="T27" fmla="*/ 469 h 1453"/>
                <a:gd name="T28" fmla="*/ 2164 w 2441"/>
                <a:gd name="T29" fmla="*/ 422 h 1453"/>
                <a:gd name="T30" fmla="*/ 2216 w 2441"/>
                <a:gd name="T31" fmla="*/ 386 h 1453"/>
                <a:gd name="T32" fmla="*/ 2255 w 2441"/>
                <a:gd name="T33" fmla="*/ 407 h 1453"/>
                <a:gd name="T34" fmla="*/ 2276 w 2441"/>
                <a:gd name="T35" fmla="*/ 433 h 1453"/>
                <a:gd name="T36" fmla="*/ 2333 w 2441"/>
                <a:gd name="T37" fmla="*/ 449 h 1453"/>
                <a:gd name="T38" fmla="*/ 2403 w 2441"/>
                <a:gd name="T39" fmla="*/ 453 h 1453"/>
                <a:gd name="T40" fmla="*/ 2436 w 2441"/>
                <a:gd name="T41" fmla="*/ 508 h 1453"/>
                <a:gd name="T42" fmla="*/ 2403 w 2441"/>
                <a:gd name="T43" fmla="*/ 545 h 1453"/>
                <a:gd name="T44" fmla="*/ 2346 w 2441"/>
                <a:gd name="T45" fmla="*/ 573 h 1453"/>
                <a:gd name="T46" fmla="*/ 2346 w 2441"/>
                <a:gd name="T47" fmla="*/ 645 h 1453"/>
                <a:gd name="T48" fmla="*/ 2320 w 2441"/>
                <a:gd name="T49" fmla="*/ 706 h 1453"/>
                <a:gd name="T50" fmla="*/ 2299 w 2441"/>
                <a:gd name="T51" fmla="*/ 757 h 1453"/>
                <a:gd name="T52" fmla="*/ 2247 w 2441"/>
                <a:gd name="T53" fmla="*/ 767 h 1453"/>
                <a:gd name="T54" fmla="*/ 2268 w 2441"/>
                <a:gd name="T55" fmla="*/ 836 h 1453"/>
                <a:gd name="T56" fmla="*/ 2241 w 2441"/>
                <a:gd name="T57" fmla="*/ 895 h 1453"/>
                <a:gd name="T58" fmla="*/ 2255 w 2441"/>
                <a:gd name="T59" fmla="*/ 967 h 1453"/>
                <a:gd name="T60" fmla="*/ 2223 w 2441"/>
                <a:gd name="T61" fmla="*/ 996 h 1453"/>
                <a:gd name="T62" fmla="*/ 2185 w 2441"/>
                <a:gd name="T63" fmla="*/ 1038 h 1453"/>
                <a:gd name="T64" fmla="*/ 2177 w 2441"/>
                <a:gd name="T65" fmla="*/ 1098 h 1453"/>
                <a:gd name="T66" fmla="*/ 2127 w 2441"/>
                <a:gd name="T67" fmla="*/ 1111 h 1453"/>
                <a:gd name="T68" fmla="*/ 2076 w 2441"/>
                <a:gd name="T69" fmla="*/ 1087 h 1453"/>
                <a:gd name="T70" fmla="*/ 2044 w 2441"/>
                <a:gd name="T71" fmla="*/ 1074 h 1453"/>
                <a:gd name="T72" fmla="*/ 2005 w 2441"/>
                <a:gd name="T73" fmla="*/ 1072 h 1453"/>
                <a:gd name="T74" fmla="*/ 2036 w 2441"/>
                <a:gd name="T75" fmla="*/ 1025 h 1453"/>
                <a:gd name="T76" fmla="*/ 2050 w 2441"/>
                <a:gd name="T77" fmla="*/ 986 h 1453"/>
                <a:gd name="T78" fmla="*/ 2059 w 2441"/>
                <a:gd name="T79" fmla="*/ 928 h 1453"/>
                <a:gd name="T80" fmla="*/ 2068 w 2441"/>
                <a:gd name="T81" fmla="*/ 889 h 1453"/>
                <a:gd name="T82" fmla="*/ 2076 w 2441"/>
                <a:gd name="T83" fmla="*/ 884 h 1453"/>
                <a:gd name="T84" fmla="*/ 2072 w 2441"/>
                <a:gd name="T85" fmla="*/ 880 h 1453"/>
                <a:gd name="T86" fmla="*/ 2024 w 2441"/>
                <a:gd name="T87" fmla="*/ 872 h 1453"/>
                <a:gd name="T88" fmla="*/ 2046 w 2441"/>
                <a:gd name="T89" fmla="*/ 856 h 1453"/>
                <a:gd name="T90" fmla="*/ 2062 w 2441"/>
                <a:gd name="T91" fmla="*/ 838 h 1453"/>
                <a:gd name="T92" fmla="*/ 2068 w 2441"/>
                <a:gd name="T93" fmla="*/ 802 h 1453"/>
                <a:gd name="T94" fmla="*/ 2008 w 2441"/>
                <a:gd name="T95" fmla="*/ 832 h 1453"/>
                <a:gd name="T96" fmla="*/ 2026 w 2441"/>
                <a:gd name="T97" fmla="*/ 773 h 1453"/>
                <a:gd name="T98" fmla="*/ 2052 w 2441"/>
                <a:gd name="T99" fmla="*/ 737 h 1453"/>
                <a:gd name="T100" fmla="*/ 2107 w 2441"/>
                <a:gd name="T101" fmla="*/ 659 h 1453"/>
                <a:gd name="T102" fmla="*/ 2128 w 2441"/>
                <a:gd name="T103" fmla="*/ 609 h 1453"/>
                <a:gd name="T104" fmla="*/ 260 w 2441"/>
                <a:gd name="T105" fmla="*/ 288 h 1453"/>
                <a:gd name="T106" fmla="*/ 312 w 2441"/>
                <a:gd name="T107" fmla="*/ 316 h 1453"/>
                <a:gd name="T108" fmla="*/ 263 w 2441"/>
                <a:gd name="T109" fmla="*/ 309 h 1453"/>
                <a:gd name="T110" fmla="*/ 167 w 2441"/>
                <a:gd name="T111" fmla="*/ 85 h 1453"/>
                <a:gd name="T112" fmla="*/ 157 w 2441"/>
                <a:gd name="T113" fmla="*/ 105 h 1453"/>
                <a:gd name="T114" fmla="*/ 50 w 2441"/>
                <a:gd name="T115" fmla="*/ 72 h 1453"/>
                <a:gd name="T116" fmla="*/ 24 w 2441"/>
                <a:gd name="T117" fmla="*/ 67 h 1453"/>
                <a:gd name="T118" fmla="*/ 81 w 2441"/>
                <a:gd name="T119" fmla="*/ 57 h 1453"/>
                <a:gd name="T120" fmla="*/ 74 w 2441"/>
                <a:gd name="T121" fmla="*/ 64 h 1453"/>
                <a:gd name="T122" fmla="*/ 11 w 2441"/>
                <a:gd name="T123" fmla="*/ 43 h 1453"/>
                <a:gd name="T124" fmla="*/ 109 w 2441"/>
                <a:gd name="T125" fmla="*/ 15 h 14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441" h="1453">
                  <a:moveTo>
                    <a:pt x="985" y="1448"/>
                  </a:moveTo>
                  <a:lnTo>
                    <a:pt x="985" y="1450"/>
                  </a:lnTo>
                  <a:lnTo>
                    <a:pt x="985" y="1451"/>
                  </a:lnTo>
                  <a:lnTo>
                    <a:pt x="987" y="1451"/>
                  </a:lnTo>
                  <a:lnTo>
                    <a:pt x="987" y="1453"/>
                  </a:lnTo>
                  <a:lnTo>
                    <a:pt x="985" y="1453"/>
                  </a:lnTo>
                  <a:lnTo>
                    <a:pt x="985" y="1451"/>
                  </a:lnTo>
                  <a:lnTo>
                    <a:pt x="985" y="1450"/>
                  </a:lnTo>
                  <a:lnTo>
                    <a:pt x="985" y="1448"/>
                  </a:lnTo>
                  <a:lnTo>
                    <a:pt x="985" y="1446"/>
                  </a:lnTo>
                  <a:lnTo>
                    <a:pt x="985" y="1445"/>
                  </a:lnTo>
                  <a:lnTo>
                    <a:pt x="985" y="1443"/>
                  </a:lnTo>
                  <a:lnTo>
                    <a:pt x="987" y="1445"/>
                  </a:lnTo>
                  <a:lnTo>
                    <a:pt x="985" y="1446"/>
                  </a:lnTo>
                  <a:lnTo>
                    <a:pt x="985" y="1448"/>
                  </a:lnTo>
                  <a:close/>
                  <a:moveTo>
                    <a:pt x="985" y="1428"/>
                  </a:moveTo>
                  <a:lnTo>
                    <a:pt x="985" y="1430"/>
                  </a:lnTo>
                  <a:lnTo>
                    <a:pt x="987" y="1430"/>
                  </a:lnTo>
                  <a:lnTo>
                    <a:pt x="987" y="1432"/>
                  </a:lnTo>
                  <a:lnTo>
                    <a:pt x="987" y="1433"/>
                  </a:lnTo>
                  <a:lnTo>
                    <a:pt x="987" y="1435"/>
                  </a:lnTo>
                  <a:lnTo>
                    <a:pt x="987" y="1437"/>
                  </a:lnTo>
                  <a:lnTo>
                    <a:pt x="987" y="1438"/>
                  </a:lnTo>
                  <a:lnTo>
                    <a:pt x="987" y="1440"/>
                  </a:lnTo>
                  <a:lnTo>
                    <a:pt x="987" y="1441"/>
                  </a:lnTo>
                  <a:lnTo>
                    <a:pt x="985" y="1440"/>
                  </a:lnTo>
                  <a:lnTo>
                    <a:pt x="987" y="1440"/>
                  </a:lnTo>
                  <a:lnTo>
                    <a:pt x="985" y="1438"/>
                  </a:lnTo>
                  <a:lnTo>
                    <a:pt x="987" y="1438"/>
                  </a:lnTo>
                  <a:lnTo>
                    <a:pt x="985" y="1438"/>
                  </a:lnTo>
                  <a:lnTo>
                    <a:pt x="987" y="1437"/>
                  </a:lnTo>
                  <a:lnTo>
                    <a:pt x="985" y="1437"/>
                  </a:lnTo>
                  <a:lnTo>
                    <a:pt x="985" y="1435"/>
                  </a:lnTo>
                  <a:lnTo>
                    <a:pt x="985" y="1433"/>
                  </a:lnTo>
                  <a:lnTo>
                    <a:pt x="985" y="1435"/>
                  </a:lnTo>
                  <a:lnTo>
                    <a:pt x="985" y="1433"/>
                  </a:lnTo>
                  <a:lnTo>
                    <a:pt x="984" y="1433"/>
                  </a:lnTo>
                  <a:lnTo>
                    <a:pt x="982" y="1433"/>
                  </a:lnTo>
                  <a:lnTo>
                    <a:pt x="982" y="1432"/>
                  </a:lnTo>
                  <a:lnTo>
                    <a:pt x="984" y="1432"/>
                  </a:lnTo>
                  <a:lnTo>
                    <a:pt x="984" y="1430"/>
                  </a:lnTo>
                  <a:lnTo>
                    <a:pt x="985" y="1428"/>
                  </a:lnTo>
                  <a:lnTo>
                    <a:pt x="984" y="1428"/>
                  </a:lnTo>
                  <a:lnTo>
                    <a:pt x="985" y="1427"/>
                  </a:lnTo>
                  <a:lnTo>
                    <a:pt x="985" y="1428"/>
                  </a:lnTo>
                  <a:close/>
                  <a:moveTo>
                    <a:pt x="985" y="1424"/>
                  </a:moveTo>
                  <a:lnTo>
                    <a:pt x="985" y="1425"/>
                  </a:lnTo>
                  <a:lnTo>
                    <a:pt x="985" y="1427"/>
                  </a:lnTo>
                  <a:lnTo>
                    <a:pt x="985" y="1425"/>
                  </a:lnTo>
                  <a:lnTo>
                    <a:pt x="984" y="1424"/>
                  </a:lnTo>
                  <a:lnTo>
                    <a:pt x="985" y="1424"/>
                  </a:lnTo>
                  <a:close/>
                  <a:moveTo>
                    <a:pt x="977" y="1401"/>
                  </a:moveTo>
                  <a:lnTo>
                    <a:pt x="979" y="1401"/>
                  </a:lnTo>
                  <a:lnTo>
                    <a:pt x="977" y="1401"/>
                  </a:lnTo>
                  <a:close/>
                  <a:moveTo>
                    <a:pt x="975" y="1399"/>
                  </a:moveTo>
                  <a:lnTo>
                    <a:pt x="977" y="1399"/>
                  </a:lnTo>
                  <a:lnTo>
                    <a:pt x="977" y="1401"/>
                  </a:lnTo>
                  <a:lnTo>
                    <a:pt x="975" y="1399"/>
                  </a:lnTo>
                  <a:lnTo>
                    <a:pt x="975" y="1398"/>
                  </a:lnTo>
                  <a:lnTo>
                    <a:pt x="975" y="1399"/>
                  </a:lnTo>
                  <a:close/>
                  <a:moveTo>
                    <a:pt x="1010" y="1396"/>
                  </a:moveTo>
                  <a:lnTo>
                    <a:pt x="1010" y="1394"/>
                  </a:lnTo>
                  <a:lnTo>
                    <a:pt x="1010" y="1396"/>
                  </a:lnTo>
                  <a:close/>
                  <a:moveTo>
                    <a:pt x="1021" y="1375"/>
                  </a:moveTo>
                  <a:lnTo>
                    <a:pt x="1019" y="1375"/>
                  </a:lnTo>
                  <a:lnTo>
                    <a:pt x="1019" y="1373"/>
                  </a:lnTo>
                  <a:lnTo>
                    <a:pt x="1021" y="1373"/>
                  </a:lnTo>
                  <a:lnTo>
                    <a:pt x="1021" y="1372"/>
                  </a:lnTo>
                  <a:lnTo>
                    <a:pt x="1021" y="1373"/>
                  </a:lnTo>
                  <a:lnTo>
                    <a:pt x="1021" y="1375"/>
                  </a:lnTo>
                  <a:close/>
                  <a:moveTo>
                    <a:pt x="1034" y="1372"/>
                  </a:moveTo>
                  <a:lnTo>
                    <a:pt x="1032" y="1372"/>
                  </a:lnTo>
                  <a:lnTo>
                    <a:pt x="1034" y="1372"/>
                  </a:lnTo>
                  <a:close/>
                  <a:moveTo>
                    <a:pt x="1019" y="1368"/>
                  </a:moveTo>
                  <a:lnTo>
                    <a:pt x="1019" y="1370"/>
                  </a:lnTo>
                  <a:lnTo>
                    <a:pt x="1018" y="1368"/>
                  </a:lnTo>
                  <a:lnTo>
                    <a:pt x="1019" y="1368"/>
                  </a:lnTo>
                  <a:close/>
                  <a:moveTo>
                    <a:pt x="1036" y="1365"/>
                  </a:moveTo>
                  <a:lnTo>
                    <a:pt x="1034" y="1365"/>
                  </a:lnTo>
                  <a:lnTo>
                    <a:pt x="1036" y="1365"/>
                  </a:lnTo>
                  <a:close/>
                  <a:moveTo>
                    <a:pt x="1031" y="1363"/>
                  </a:moveTo>
                  <a:lnTo>
                    <a:pt x="1032" y="1363"/>
                  </a:lnTo>
                  <a:lnTo>
                    <a:pt x="1032" y="1365"/>
                  </a:lnTo>
                  <a:lnTo>
                    <a:pt x="1034" y="1365"/>
                  </a:lnTo>
                  <a:lnTo>
                    <a:pt x="1034" y="1367"/>
                  </a:lnTo>
                  <a:lnTo>
                    <a:pt x="1034" y="1368"/>
                  </a:lnTo>
                  <a:lnTo>
                    <a:pt x="1032" y="1368"/>
                  </a:lnTo>
                  <a:lnTo>
                    <a:pt x="1032" y="1370"/>
                  </a:lnTo>
                  <a:lnTo>
                    <a:pt x="1031" y="1370"/>
                  </a:lnTo>
                  <a:lnTo>
                    <a:pt x="1031" y="1368"/>
                  </a:lnTo>
                  <a:lnTo>
                    <a:pt x="1029" y="1368"/>
                  </a:lnTo>
                  <a:lnTo>
                    <a:pt x="1027" y="1370"/>
                  </a:lnTo>
                  <a:lnTo>
                    <a:pt x="1026" y="1370"/>
                  </a:lnTo>
                  <a:lnTo>
                    <a:pt x="1024" y="1370"/>
                  </a:lnTo>
                  <a:lnTo>
                    <a:pt x="1024" y="1372"/>
                  </a:lnTo>
                  <a:lnTo>
                    <a:pt x="1023" y="1372"/>
                  </a:lnTo>
                  <a:lnTo>
                    <a:pt x="1021" y="1372"/>
                  </a:lnTo>
                  <a:lnTo>
                    <a:pt x="1021" y="1370"/>
                  </a:lnTo>
                  <a:lnTo>
                    <a:pt x="1019" y="1368"/>
                  </a:lnTo>
                  <a:lnTo>
                    <a:pt x="1021" y="1368"/>
                  </a:lnTo>
                  <a:lnTo>
                    <a:pt x="1023" y="1368"/>
                  </a:lnTo>
                  <a:lnTo>
                    <a:pt x="1023" y="1367"/>
                  </a:lnTo>
                  <a:lnTo>
                    <a:pt x="1024" y="1365"/>
                  </a:lnTo>
                  <a:lnTo>
                    <a:pt x="1024" y="1363"/>
                  </a:lnTo>
                  <a:lnTo>
                    <a:pt x="1026" y="1365"/>
                  </a:lnTo>
                  <a:lnTo>
                    <a:pt x="1027" y="1363"/>
                  </a:lnTo>
                  <a:lnTo>
                    <a:pt x="1029" y="1363"/>
                  </a:lnTo>
                  <a:lnTo>
                    <a:pt x="1031" y="1363"/>
                  </a:lnTo>
                  <a:close/>
                  <a:moveTo>
                    <a:pt x="1037" y="1362"/>
                  </a:moveTo>
                  <a:lnTo>
                    <a:pt x="1036" y="1362"/>
                  </a:lnTo>
                  <a:lnTo>
                    <a:pt x="1037" y="1362"/>
                  </a:lnTo>
                  <a:close/>
                  <a:moveTo>
                    <a:pt x="920" y="1360"/>
                  </a:moveTo>
                  <a:lnTo>
                    <a:pt x="920" y="1359"/>
                  </a:lnTo>
                  <a:lnTo>
                    <a:pt x="922" y="1359"/>
                  </a:lnTo>
                  <a:lnTo>
                    <a:pt x="923" y="1359"/>
                  </a:lnTo>
                  <a:lnTo>
                    <a:pt x="923" y="1360"/>
                  </a:lnTo>
                  <a:lnTo>
                    <a:pt x="925" y="1360"/>
                  </a:lnTo>
                  <a:lnTo>
                    <a:pt x="925" y="1362"/>
                  </a:lnTo>
                  <a:lnTo>
                    <a:pt x="927" y="1363"/>
                  </a:lnTo>
                  <a:lnTo>
                    <a:pt x="927" y="1365"/>
                  </a:lnTo>
                  <a:lnTo>
                    <a:pt x="927" y="1367"/>
                  </a:lnTo>
                  <a:lnTo>
                    <a:pt x="928" y="1367"/>
                  </a:lnTo>
                  <a:lnTo>
                    <a:pt x="928" y="1368"/>
                  </a:lnTo>
                  <a:lnTo>
                    <a:pt x="930" y="1368"/>
                  </a:lnTo>
                  <a:lnTo>
                    <a:pt x="931" y="1370"/>
                  </a:lnTo>
                  <a:lnTo>
                    <a:pt x="930" y="1370"/>
                  </a:lnTo>
                  <a:lnTo>
                    <a:pt x="931" y="1370"/>
                  </a:lnTo>
                  <a:lnTo>
                    <a:pt x="931" y="1372"/>
                  </a:lnTo>
                  <a:lnTo>
                    <a:pt x="931" y="1370"/>
                  </a:lnTo>
                  <a:lnTo>
                    <a:pt x="933" y="1370"/>
                  </a:lnTo>
                  <a:lnTo>
                    <a:pt x="933" y="1372"/>
                  </a:lnTo>
                  <a:lnTo>
                    <a:pt x="935" y="1372"/>
                  </a:lnTo>
                  <a:lnTo>
                    <a:pt x="935" y="1373"/>
                  </a:lnTo>
                  <a:lnTo>
                    <a:pt x="936" y="1373"/>
                  </a:lnTo>
                  <a:lnTo>
                    <a:pt x="938" y="1373"/>
                  </a:lnTo>
                  <a:lnTo>
                    <a:pt x="940" y="1373"/>
                  </a:lnTo>
                  <a:lnTo>
                    <a:pt x="941" y="1373"/>
                  </a:lnTo>
                  <a:lnTo>
                    <a:pt x="943" y="1373"/>
                  </a:lnTo>
                  <a:lnTo>
                    <a:pt x="944" y="1373"/>
                  </a:lnTo>
                  <a:lnTo>
                    <a:pt x="946" y="1373"/>
                  </a:lnTo>
                  <a:lnTo>
                    <a:pt x="946" y="1375"/>
                  </a:lnTo>
                  <a:lnTo>
                    <a:pt x="948" y="1375"/>
                  </a:lnTo>
                  <a:lnTo>
                    <a:pt x="949" y="1375"/>
                  </a:lnTo>
                  <a:lnTo>
                    <a:pt x="951" y="1375"/>
                  </a:lnTo>
                  <a:lnTo>
                    <a:pt x="953" y="1375"/>
                  </a:lnTo>
                  <a:lnTo>
                    <a:pt x="954" y="1375"/>
                  </a:lnTo>
                  <a:lnTo>
                    <a:pt x="954" y="1376"/>
                  </a:lnTo>
                  <a:lnTo>
                    <a:pt x="956" y="1378"/>
                  </a:lnTo>
                  <a:lnTo>
                    <a:pt x="956" y="1380"/>
                  </a:lnTo>
                  <a:lnTo>
                    <a:pt x="957" y="1381"/>
                  </a:lnTo>
                  <a:lnTo>
                    <a:pt x="957" y="1383"/>
                  </a:lnTo>
                  <a:lnTo>
                    <a:pt x="959" y="1383"/>
                  </a:lnTo>
                  <a:lnTo>
                    <a:pt x="959" y="1385"/>
                  </a:lnTo>
                  <a:lnTo>
                    <a:pt x="959" y="1386"/>
                  </a:lnTo>
                  <a:lnTo>
                    <a:pt x="959" y="1388"/>
                  </a:lnTo>
                  <a:lnTo>
                    <a:pt x="961" y="1386"/>
                  </a:lnTo>
                  <a:lnTo>
                    <a:pt x="961" y="1388"/>
                  </a:lnTo>
                  <a:lnTo>
                    <a:pt x="962" y="1389"/>
                  </a:lnTo>
                  <a:lnTo>
                    <a:pt x="964" y="1389"/>
                  </a:lnTo>
                  <a:lnTo>
                    <a:pt x="964" y="1391"/>
                  </a:lnTo>
                  <a:lnTo>
                    <a:pt x="967" y="1393"/>
                  </a:lnTo>
                  <a:lnTo>
                    <a:pt x="969" y="1393"/>
                  </a:lnTo>
                  <a:lnTo>
                    <a:pt x="969" y="1394"/>
                  </a:lnTo>
                  <a:lnTo>
                    <a:pt x="971" y="1394"/>
                  </a:lnTo>
                  <a:lnTo>
                    <a:pt x="972" y="1396"/>
                  </a:lnTo>
                  <a:lnTo>
                    <a:pt x="974" y="1396"/>
                  </a:lnTo>
                  <a:lnTo>
                    <a:pt x="975" y="1396"/>
                  </a:lnTo>
                  <a:lnTo>
                    <a:pt x="975" y="1398"/>
                  </a:lnTo>
                  <a:lnTo>
                    <a:pt x="975" y="1399"/>
                  </a:lnTo>
                  <a:lnTo>
                    <a:pt x="975" y="1398"/>
                  </a:lnTo>
                  <a:lnTo>
                    <a:pt x="974" y="1396"/>
                  </a:lnTo>
                  <a:lnTo>
                    <a:pt x="974" y="1398"/>
                  </a:lnTo>
                  <a:lnTo>
                    <a:pt x="972" y="1398"/>
                  </a:lnTo>
                  <a:lnTo>
                    <a:pt x="972" y="1396"/>
                  </a:lnTo>
                  <a:lnTo>
                    <a:pt x="971" y="1396"/>
                  </a:lnTo>
                  <a:lnTo>
                    <a:pt x="969" y="1396"/>
                  </a:lnTo>
                  <a:lnTo>
                    <a:pt x="967" y="1396"/>
                  </a:lnTo>
                  <a:lnTo>
                    <a:pt x="967" y="1398"/>
                  </a:lnTo>
                  <a:lnTo>
                    <a:pt x="966" y="1398"/>
                  </a:lnTo>
                  <a:lnTo>
                    <a:pt x="966" y="1399"/>
                  </a:lnTo>
                  <a:lnTo>
                    <a:pt x="964" y="1399"/>
                  </a:lnTo>
                  <a:lnTo>
                    <a:pt x="964" y="1401"/>
                  </a:lnTo>
                  <a:lnTo>
                    <a:pt x="962" y="1401"/>
                  </a:lnTo>
                  <a:lnTo>
                    <a:pt x="961" y="1401"/>
                  </a:lnTo>
                  <a:lnTo>
                    <a:pt x="959" y="1402"/>
                  </a:lnTo>
                  <a:lnTo>
                    <a:pt x="957" y="1404"/>
                  </a:lnTo>
                  <a:lnTo>
                    <a:pt x="956" y="1404"/>
                  </a:lnTo>
                  <a:lnTo>
                    <a:pt x="954" y="1406"/>
                  </a:lnTo>
                  <a:lnTo>
                    <a:pt x="953" y="1406"/>
                  </a:lnTo>
                  <a:lnTo>
                    <a:pt x="953" y="1404"/>
                  </a:lnTo>
                  <a:lnTo>
                    <a:pt x="951" y="1406"/>
                  </a:lnTo>
                  <a:lnTo>
                    <a:pt x="951" y="1404"/>
                  </a:lnTo>
                  <a:lnTo>
                    <a:pt x="949" y="1402"/>
                  </a:lnTo>
                  <a:lnTo>
                    <a:pt x="948" y="1402"/>
                  </a:lnTo>
                  <a:lnTo>
                    <a:pt x="946" y="1402"/>
                  </a:lnTo>
                  <a:lnTo>
                    <a:pt x="946" y="1401"/>
                  </a:lnTo>
                  <a:lnTo>
                    <a:pt x="944" y="1401"/>
                  </a:lnTo>
                  <a:lnTo>
                    <a:pt x="946" y="1402"/>
                  </a:lnTo>
                  <a:lnTo>
                    <a:pt x="944" y="1402"/>
                  </a:lnTo>
                  <a:lnTo>
                    <a:pt x="944" y="1401"/>
                  </a:lnTo>
                  <a:lnTo>
                    <a:pt x="943" y="1402"/>
                  </a:lnTo>
                  <a:lnTo>
                    <a:pt x="943" y="1401"/>
                  </a:lnTo>
                  <a:lnTo>
                    <a:pt x="943" y="1402"/>
                  </a:lnTo>
                  <a:lnTo>
                    <a:pt x="941" y="1401"/>
                  </a:lnTo>
                  <a:lnTo>
                    <a:pt x="941" y="1402"/>
                  </a:lnTo>
                  <a:lnTo>
                    <a:pt x="941" y="1401"/>
                  </a:lnTo>
                  <a:lnTo>
                    <a:pt x="940" y="1401"/>
                  </a:lnTo>
                  <a:lnTo>
                    <a:pt x="940" y="1399"/>
                  </a:lnTo>
                  <a:lnTo>
                    <a:pt x="938" y="1399"/>
                  </a:lnTo>
                  <a:lnTo>
                    <a:pt x="938" y="1398"/>
                  </a:lnTo>
                  <a:lnTo>
                    <a:pt x="936" y="1398"/>
                  </a:lnTo>
                  <a:lnTo>
                    <a:pt x="935" y="1396"/>
                  </a:lnTo>
                  <a:lnTo>
                    <a:pt x="933" y="1396"/>
                  </a:lnTo>
                  <a:lnTo>
                    <a:pt x="933" y="1394"/>
                  </a:lnTo>
                  <a:lnTo>
                    <a:pt x="931" y="1394"/>
                  </a:lnTo>
                  <a:lnTo>
                    <a:pt x="931" y="1393"/>
                  </a:lnTo>
                  <a:lnTo>
                    <a:pt x="930" y="1393"/>
                  </a:lnTo>
                  <a:lnTo>
                    <a:pt x="928" y="1391"/>
                  </a:lnTo>
                  <a:lnTo>
                    <a:pt x="927" y="1389"/>
                  </a:lnTo>
                  <a:lnTo>
                    <a:pt x="925" y="1389"/>
                  </a:lnTo>
                  <a:lnTo>
                    <a:pt x="925" y="1388"/>
                  </a:lnTo>
                  <a:lnTo>
                    <a:pt x="923" y="1388"/>
                  </a:lnTo>
                  <a:lnTo>
                    <a:pt x="923" y="1386"/>
                  </a:lnTo>
                  <a:lnTo>
                    <a:pt x="922" y="1386"/>
                  </a:lnTo>
                  <a:lnTo>
                    <a:pt x="922" y="1385"/>
                  </a:lnTo>
                  <a:lnTo>
                    <a:pt x="920" y="1383"/>
                  </a:lnTo>
                  <a:lnTo>
                    <a:pt x="920" y="1381"/>
                  </a:lnTo>
                  <a:lnTo>
                    <a:pt x="918" y="1381"/>
                  </a:lnTo>
                  <a:lnTo>
                    <a:pt x="917" y="1380"/>
                  </a:lnTo>
                  <a:lnTo>
                    <a:pt x="915" y="1378"/>
                  </a:lnTo>
                  <a:lnTo>
                    <a:pt x="915" y="1376"/>
                  </a:lnTo>
                  <a:lnTo>
                    <a:pt x="914" y="1376"/>
                  </a:lnTo>
                  <a:lnTo>
                    <a:pt x="915" y="1375"/>
                  </a:lnTo>
                  <a:lnTo>
                    <a:pt x="914" y="1375"/>
                  </a:lnTo>
                  <a:lnTo>
                    <a:pt x="914" y="1373"/>
                  </a:lnTo>
                  <a:lnTo>
                    <a:pt x="914" y="1372"/>
                  </a:lnTo>
                  <a:lnTo>
                    <a:pt x="912" y="1372"/>
                  </a:lnTo>
                  <a:lnTo>
                    <a:pt x="912" y="1370"/>
                  </a:lnTo>
                  <a:lnTo>
                    <a:pt x="914" y="1368"/>
                  </a:lnTo>
                  <a:lnTo>
                    <a:pt x="912" y="1365"/>
                  </a:lnTo>
                  <a:lnTo>
                    <a:pt x="912" y="1363"/>
                  </a:lnTo>
                  <a:lnTo>
                    <a:pt x="914" y="1363"/>
                  </a:lnTo>
                  <a:lnTo>
                    <a:pt x="914" y="1362"/>
                  </a:lnTo>
                  <a:lnTo>
                    <a:pt x="915" y="1362"/>
                  </a:lnTo>
                  <a:lnTo>
                    <a:pt x="917" y="1362"/>
                  </a:lnTo>
                  <a:lnTo>
                    <a:pt x="917" y="1360"/>
                  </a:lnTo>
                  <a:lnTo>
                    <a:pt x="918" y="1360"/>
                  </a:lnTo>
                  <a:lnTo>
                    <a:pt x="920" y="1360"/>
                  </a:lnTo>
                  <a:close/>
                  <a:moveTo>
                    <a:pt x="2124" y="1116"/>
                  </a:moveTo>
                  <a:lnTo>
                    <a:pt x="2124" y="1115"/>
                  </a:lnTo>
                  <a:lnTo>
                    <a:pt x="2124" y="1116"/>
                  </a:lnTo>
                  <a:close/>
                  <a:moveTo>
                    <a:pt x="2132" y="1113"/>
                  </a:moveTo>
                  <a:lnTo>
                    <a:pt x="2133" y="1113"/>
                  </a:lnTo>
                  <a:lnTo>
                    <a:pt x="2132" y="1113"/>
                  </a:lnTo>
                  <a:close/>
                  <a:moveTo>
                    <a:pt x="2132" y="1113"/>
                  </a:moveTo>
                  <a:lnTo>
                    <a:pt x="2133" y="1113"/>
                  </a:lnTo>
                  <a:lnTo>
                    <a:pt x="2132" y="1113"/>
                  </a:lnTo>
                  <a:lnTo>
                    <a:pt x="2127" y="1115"/>
                  </a:lnTo>
                  <a:lnTo>
                    <a:pt x="2125" y="1116"/>
                  </a:lnTo>
                  <a:lnTo>
                    <a:pt x="2125" y="1115"/>
                  </a:lnTo>
                  <a:lnTo>
                    <a:pt x="2127" y="1115"/>
                  </a:lnTo>
                  <a:lnTo>
                    <a:pt x="2127" y="1113"/>
                  </a:lnTo>
                  <a:lnTo>
                    <a:pt x="2128" y="1113"/>
                  </a:lnTo>
                  <a:lnTo>
                    <a:pt x="2130" y="1113"/>
                  </a:lnTo>
                  <a:lnTo>
                    <a:pt x="2132" y="1113"/>
                  </a:lnTo>
                  <a:close/>
                  <a:moveTo>
                    <a:pt x="2115" y="1111"/>
                  </a:moveTo>
                  <a:lnTo>
                    <a:pt x="2115" y="1113"/>
                  </a:lnTo>
                  <a:lnTo>
                    <a:pt x="2115" y="1111"/>
                  </a:lnTo>
                  <a:close/>
                  <a:moveTo>
                    <a:pt x="2127" y="1111"/>
                  </a:moveTo>
                  <a:lnTo>
                    <a:pt x="2127" y="1113"/>
                  </a:lnTo>
                  <a:lnTo>
                    <a:pt x="2125" y="1113"/>
                  </a:lnTo>
                  <a:lnTo>
                    <a:pt x="2125" y="1111"/>
                  </a:lnTo>
                  <a:lnTo>
                    <a:pt x="2127" y="1111"/>
                  </a:lnTo>
                  <a:close/>
                  <a:moveTo>
                    <a:pt x="2133" y="1111"/>
                  </a:moveTo>
                  <a:lnTo>
                    <a:pt x="2132" y="1111"/>
                  </a:lnTo>
                  <a:lnTo>
                    <a:pt x="2130" y="1111"/>
                  </a:lnTo>
                  <a:lnTo>
                    <a:pt x="2128" y="1113"/>
                  </a:lnTo>
                  <a:lnTo>
                    <a:pt x="2127" y="1111"/>
                  </a:lnTo>
                  <a:lnTo>
                    <a:pt x="2128" y="1111"/>
                  </a:lnTo>
                  <a:lnTo>
                    <a:pt x="2128" y="1110"/>
                  </a:lnTo>
                  <a:lnTo>
                    <a:pt x="2130" y="1110"/>
                  </a:lnTo>
                  <a:lnTo>
                    <a:pt x="2132" y="1110"/>
                  </a:lnTo>
                  <a:lnTo>
                    <a:pt x="2133" y="1110"/>
                  </a:lnTo>
                  <a:lnTo>
                    <a:pt x="2133" y="1111"/>
                  </a:lnTo>
                  <a:close/>
                  <a:moveTo>
                    <a:pt x="2117" y="1108"/>
                  </a:moveTo>
                  <a:lnTo>
                    <a:pt x="2117" y="1110"/>
                  </a:lnTo>
                  <a:lnTo>
                    <a:pt x="2119" y="1108"/>
                  </a:lnTo>
                  <a:lnTo>
                    <a:pt x="2119" y="1110"/>
                  </a:lnTo>
                  <a:lnTo>
                    <a:pt x="2120" y="1111"/>
                  </a:lnTo>
                  <a:lnTo>
                    <a:pt x="2119" y="1111"/>
                  </a:lnTo>
                  <a:lnTo>
                    <a:pt x="2120" y="1111"/>
                  </a:lnTo>
                  <a:lnTo>
                    <a:pt x="2120" y="1110"/>
                  </a:lnTo>
                  <a:lnTo>
                    <a:pt x="2120" y="1111"/>
                  </a:lnTo>
                  <a:lnTo>
                    <a:pt x="2122" y="1111"/>
                  </a:lnTo>
                  <a:lnTo>
                    <a:pt x="2122" y="1113"/>
                  </a:lnTo>
                  <a:lnTo>
                    <a:pt x="2124" y="1113"/>
                  </a:lnTo>
                  <a:lnTo>
                    <a:pt x="2122" y="1113"/>
                  </a:lnTo>
                  <a:lnTo>
                    <a:pt x="2124" y="1115"/>
                  </a:lnTo>
                  <a:lnTo>
                    <a:pt x="2122" y="1116"/>
                  </a:lnTo>
                  <a:lnTo>
                    <a:pt x="2122" y="1115"/>
                  </a:lnTo>
                  <a:lnTo>
                    <a:pt x="2120" y="1115"/>
                  </a:lnTo>
                  <a:lnTo>
                    <a:pt x="2122" y="1115"/>
                  </a:lnTo>
                  <a:lnTo>
                    <a:pt x="2122" y="1116"/>
                  </a:lnTo>
                  <a:lnTo>
                    <a:pt x="2124" y="1116"/>
                  </a:lnTo>
                  <a:lnTo>
                    <a:pt x="2125" y="1116"/>
                  </a:lnTo>
                  <a:lnTo>
                    <a:pt x="2124" y="1116"/>
                  </a:lnTo>
                  <a:lnTo>
                    <a:pt x="2119" y="1115"/>
                  </a:lnTo>
                  <a:lnTo>
                    <a:pt x="2119" y="1113"/>
                  </a:lnTo>
                  <a:lnTo>
                    <a:pt x="2117" y="1113"/>
                  </a:lnTo>
                  <a:lnTo>
                    <a:pt x="2117" y="1111"/>
                  </a:lnTo>
                  <a:lnTo>
                    <a:pt x="2115" y="1111"/>
                  </a:lnTo>
                  <a:lnTo>
                    <a:pt x="2115" y="1110"/>
                  </a:lnTo>
                  <a:lnTo>
                    <a:pt x="2114" y="1110"/>
                  </a:lnTo>
                  <a:lnTo>
                    <a:pt x="2114" y="1108"/>
                  </a:lnTo>
                  <a:lnTo>
                    <a:pt x="2115" y="1108"/>
                  </a:lnTo>
                  <a:lnTo>
                    <a:pt x="2117" y="1108"/>
                  </a:lnTo>
                  <a:close/>
                  <a:moveTo>
                    <a:pt x="2158" y="1102"/>
                  </a:moveTo>
                  <a:lnTo>
                    <a:pt x="2158" y="1103"/>
                  </a:lnTo>
                  <a:lnTo>
                    <a:pt x="2158" y="1102"/>
                  </a:lnTo>
                  <a:close/>
                  <a:moveTo>
                    <a:pt x="2159" y="1102"/>
                  </a:moveTo>
                  <a:lnTo>
                    <a:pt x="2158" y="1102"/>
                  </a:lnTo>
                  <a:lnTo>
                    <a:pt x="2159" y="1102"/>
                  </a:lnTo>
                  <a:close/>
                  <a:moveTo>
                    <a:pt x="2159" y="1100"/>
                  </a:moveTo>
                  <a:lnTo>
                    <a:pt x="2161" y="1100"/>
                  </a:lnTo>
                  <a:lnTo>
                    <a:pt x="2159" y="1102"/>
                  </a:lnTo>
                  <a:lnTo>
                    <a:pt x="2159" y="1100"/>
                  </a:lnTo>
                  <a:close/>
                  <a:moveTo>
                    <a:pt x="2163" y="1100"/>
                  </a:moveTo>
                  <a:lnTo>
                    <a:pt x="2161" y="1100"/>
                  </a:lnTo>
                  <a:lnTo>
                    <a:pt x="2163" y="1100"/>
                  </a:lnTo>
                  <a:close/>
                  <a:moveTo>
                    <a:pt x="2047" y="970"/>
                  </a:moveTo>
                  <a:lnTo>
                    <a:pt x="2049" y="970"/>
                  </a:lnTo>
                  <a:lnTo>
                    <a:pt x="2047" y="970"/>
                  </a:lnTo>
                  <a:close/>
                  <a:moveTo>
                    <a:pt x="2072" y="889"/>
                  </a:moveTo>
                  <a:lnTo>
                    <a:pt x="2073" y="889"/>
                  </a:lnTo>
                  <a:lnTo>
                    <a:pt x="2072" y="889"/>
                  </a:lnTo>
                  <a:lnTo>
                    <a:pt x="2072" y="890"/>
                  </a:lnTo>
                  <a:lnTo>
                    <a:pt x="2072" y="889"/>
                  </a:lnTo>
                  <a:close/>
                  <a:moveTo>
                    <a:pt x="2075" y="885"/>
                  </a:moveTo>
                  <a:lnTo>
                    <a:pt x="2075" y="887"/>
                  </a:lnTo>
                  <a:lnTo>
                    <a:pt x="2075" y="885"/>
                  </a:lnTo>
                  <a:close/>
                  <a:moveTo>
                    <a:pt x="2073" y="884"/>
                  </a:moveTo>
                  <a:lnTo>
                    <a:pt x="2075" y="885"/>
                  </a:lnTo>
                  <a:lnTo>
                    <a:pt x="2073" y="884"/>
                  </a:lnTo>
                  <a:lnTo>
                    <a:pt x="2073" y="885"/>
                  </a:lnTo>
                  <a:lnTo>
                    <a:pt x="2075" y="885"/>
                  </a:lnTo>
                  <a:lnTo>
                    <a:pt x="2076" y="885"/>
                  </a:lnTo>
                  <a:lnTo>
                    <a:pt x="2075" y="887"/>
                  </a:lnTo>
                  <a:lnTo>
                    <a:pt x="2073" y="885"/>
                  </a:lnTo>
                  <a:lnTo>
                    <a:pt x="2073" y="884"/>
                  </a:lnTo>
                  <a:close/>
                  <a:moveTo>
                    <a:pt x="2075" y="879"/>
                  </a:moveTo>
                  <a:lnTo>
                    <a:pt x="2076" y="879"/>
                  </a:lnTo>
                  <a:lnTo>
                    <a:pt x="2075" y="879"/>
                  </a:lnTo>
                  <a:close/>
                  <a:moveTo>
                    <a:pt x="2073" y="877"/>
                  </a:moveTo>
                  <a:lnTo>
                    <a:pt x="2072" y="877"/>
                  </a:lnTo>
                  <a:lnTo>
                    <a:pt x="2072" y="875"/>
                  </a:lnTo>
                  <a:lnTo>
                    <a:pt x="2073" y="875"/>
                  </a:lnTo>
                  <a:lnTo>
                    <a:pt x="2073" y="877"/>
                  </a:lnTo>
                  <a:close/>
                  <a:moveTo>
                    <a:pt x="2044" y="853"/>
                  </a:moveTo>
                  <a:lnTo>
                    <a:pt x="2046" y="853"/>
                  </a:lnTo>
                  <a:lnTo>
                    <a:pt x="2044" y="853"/>
                  </a:lnTo>
                  <a:close/>
                  <a:moveTo>
                    <a:pt x="2037" y="848"/>
                  </a:moveTo>
                  <a:lnTo>
                    <a:pt x="2039" y="848"/>
                  </a:lnTo>
                  <a:lnTo>
                    <a:pt x="2039" y="849"/>
                  </a:lnTo>
                  <a:lnTo>
                    <a:pt x="2037" y="848"/>
                  </a:lnTo>
                  <a:close/>
                  <a:moveTo>
                    <a:pt x="2062" y="835"/>
                  </a:moveTo>
                  <a:lnTo>
                    <a:pt x="2062" y="833"/>
                  </a:lnTo>
                  <a:lnTo>
                    <a:pt x="2062" y="835"/>
                  </a:lnTo>
                  <a:close/>
                  <a:moveTo>
                    <a:pt x="2062" y="830"/>
                  </a:moveTo>
                  <a:lnTo>
                    <a:pt x="2063" y="830"/>
                  </a:lnTo>
                  <a:lnTo>
                    <a:pt x="2063" y="832"/>
                  </a:lnTo>
                  <a:lnTo>
                    <a:pt x="2062" y="830"/>
                  </a:lnTo>
                  <a:close/>
                  <a:moveTo>
                    <a:pt x="2062" y="828"/>
                  </a:moveTo>
                  <a:lnTo>
                    <a:pt x="2060" y="828"/>
                  </a:lnTo>
                  <a:lnTo>
                    <a:pt x="2062" y="828"/>
                  </a:lnTo>
                  <a:close/>
                  <a:moveTo>
                    <a:pt x="2050" y="825"/>
                  </a:moveTo>
                  <a:lnTo>
                    <a:pt x="2047" y="827"/>
                  </a:lnTo>
                  <a:lnTo>
                    <a:pt x="2047" y="825"/>
                  </a:lnTo>
                  <a:lnTo>
                    <a:pt x="2049" y="825"/>
                  </a:lnTo>
                  <a:lnTo>
                    <a:pt x="2050" y="823"/>
                  </a:lnTo>
                  <a:lnTo>
                    <a:pt x="2050" y="822"/>
                  </a:lnTo>
                  <a:lnTo>
                    <a:pt x="2052" y="822"/>
                  </a:lnTo>
                  <a:lnTo>
                    <a:pt x="2052" y="820"/>
                  </a:lnTo>
                  <a:lnTo>
                    <a:pt x="2055" y="820"/>
                  </a:lnTo>
                  <a:lnTo>
                    <a:pt x="2055" y="819"/>
                  </a:lnTo>
                  <a:lnTo>
                    <a:pt x="2055" y="820"/>
                  </a:lnTo>
                  <a:lnTo>
                    <a:pt x="2054" y="822"/>
                  </a:lnTo>
                  <a:lnTo>
                    <a:pt x="2052" y="823"/>
                  </a:lnTo>
                  <a:lnTo>
                    <a:pt x="2050" y="825"/>
                  </a:lnTo>
                  <a:close/>
                  <a:moveTo>
                    <a:pt x="2059" y="822"/>
                  </a:moveTo>
                  <a:lnTo>
                    <a:pt x="2057" y="822"/>
                  </a:lnTo>
                  <a:lnTo>
                    <a:pt x="2055" y="822"/>
                  </a:lnTo>
                  <a:lnTo>
                    <a:pt x="2057" y="820"/>
                  </a:lnTo>
                  <a:lnTo>
                    <a:pt x="2057" y="819"/>
                  </a:lnTo>
                  <a:lnTo>
                    <a:pt x="2059" y="819"/>
                  </a:lnTo>
                  <a:lnTo>
                    <a:pt x="2060" y="820"/>
                  </a:lnTo>
                  <a:lnTo>
                    <a:pt x="2060" y="822"/>
                  </a:lnTo>
                  <a:lnTo>
                    <a:pt x="2059" y="822"/>
                  </a:lnTo>
                  <a:close/>
                  <a:moveTo>
                    <a:pt x="2059" y="819"/>
                  </a:moveTo>
                  <a:lnTo>
                    <a:pt x="2059" y="815"/>
                  </a:lnTo>
                  <a:lnTo>
                    <a:pt x="2059" y="814"/>
                  </a:lnTo>
                  <a:lnTo>
                    <a:pt x="2060" y="814"/>
                  </a:lnTo>
                  <a:lnTo>
                    <a:pt x="2060" y="815"/>
                  </a:lnTo>
                  <a:lnTo>
                    <a:pt x="2060" y="817"/>
                  </a:lnTo>
                  <a:lnTo>
                    <a:pt x="2059" y="817"/>
                  </a:lnTo>
                  <a:lnTo>
                    <a:pt x="2059" y="819"/>
                  </a:lnTo>
                  <a:close/>
                  <a:moveTo>
                    <a:pt x="2021" y="731"/>
                  </a:moveTo>
                  <a:lnTo>
                    <a:pt x="2020" y="731"/>
                  </a:lnTo>
                  <a:lnTo>
                    <a:pt x="2021" y="731"/>
                  </a:lnTo>
                  <a:lnTo>
                    <a:pt x="2021" y="729"/>
                  </a:lnTo>
                  <a:lnTo>
                    <a:pt x="2023" y="731"/>
                  </a:lnTo>
                  <a:lnTo>
                    <a:pt x="2021" y="731"/>
                  </a:lnTo>
                  <a:close/>
                  <a:moveTo>
                    <a:pt x="2020" y="721"/>
                  </a:moveTo>
                  <a:lnTo>
                    <a:pt x="2020" y="719"/>
                  </a:lnTo>
                  <a:lnTo>
                    <a:pt x="2020" y="721"/>
                  </a:lnTo>
                  <a:close/>
                  <a:moveTo>
                    <a:pt x="2153" y="575"/>
                  </a:moveTo>
                  <a:lnTo>
                    <a:pt x="2153" y="576"/>
                  </a:lnTo>
                  <a:lnTo>
                    <a:pt x="2153" y="575"/>
                  </a:lnTo>
                  <a:close/>
                  <a:moveTo>
                    <a:pt x="2150" y="575"/>
                  </a:moveTo>
                  <a:lnTo>
                    <a:pt x="2151" y="575"/>
                  </a:lnTo>
                  <a:lnTo>
                    <a:pt x="2150" y="575"/>
                  </a:lnTo>
                  <a:close/>
                  <a:moveTo>
                    <a:pt x="2151" y="573"/>
                  </a:moveTo>
                  <a:lnTo>
                    <a:pt x="2153" y="573"/>
                  </a:lnTo>
                  <a:lnTo>
                    <a:pt x="2153" y="575"/>
                  </a:lnTo>
                  <a:lnTo>
                    <a:pt x="2151" y="575"/>
                  </a:lnTo>
                  <a:lnTo>
                    <a:pt x="2150" y="575"/>
                  </a:lnTo>
                  <a:lnTo>
                    <a:pt x="2150" y="576"/>
                  </a:lnTo>
                  <a:lnTo>
                    <a:pt x="2148" y="576"/>
                  </a:lnTo>
                  <a:lnTo>
                    <a:pt x="2148" y="575"/>
                  </a:lnTo>
                  <a:lnTo>
                    <a:pt x="2150" y="575"/>
                  </a:lnTo>
                  <a:lnTo>
                    <a:pt x="2148" y="575"/>
                  </a:lnTo>
                  <a:lnTo>
                    <a:pt x="2150" y="573"/>
                  </a:lnTo>
                  <a:lnTo>
                    <a:pt x="2151" y="573"/>
                  </a:lnTo>
                  <a:close/>
                  <a:moveTo>
                    <a:pt x="2148" y="573"/>
                  </a:moveTo>
                  <a:lnTo>
                    <a:pt x="2150" y="573"/>
                  </a:lnTo>
                  <a:lnTo>
                    <a:pt x="2148" y="575"/>
                  </a:lnTo>
                  <a:lnTo>
                    <a:pt x="2148" y="573"/>
                  </a:lnTo>
                  <a:close/>
                  <a:moveTo>
                    <a:pt x="2150" y="573"/>
                  </a:moveTo>
                  <a:lnTo>
                    <a:pt x="2150" y="571"/>
                  </a:lnTo>
                  <a:lnTo>
                    <a:pt x="2150" y="573"/>
                  </a:lnTo>
                  <a:close/>
                  <a:moveTo>
                    <a:pt x="2153" y="573"/>
                  </a:moveTo>
                  <a:lnTo>
                    <a:pt x="2153" y="571"/>
                  </a:lnTo>
                  <a:lnTo>
                    <a:pt x="2153" y="573"/>
                  </a:lnTo>
                  <a:close/>
                  <a:moveTo>
                    <a:pt x="260" y="436"/>
                  </a:moveTo>
                  <a:lnTo>
                    <a:pt x="261" y="436"/>
                  </a:lnTo>
                  <a:lnTo>
                    <a:pt x="260" y="436"/>
                  </a:lnTo>
                  <a:close/>
                  <a:moveTo>
                    <a:pt x="273" y="431"/>
                  </a:moveTo>
                  <a:lnTo>
                    <a:pt x="273" y="430"/>
                  </a:lnTo>
                  <a:lnTo>
                    <a:pt x="273" y="431"/>
                  </a:lnTo>
                  <a:lnTo>
                    <a:pt x="273" y="430"/>
                  </a:lnTo>
                  <a:lnTo>
                    <a:pt x="273" y="431"/>
                  </a:lnTo>
                  <a:lnTo>
                    <a:pt x="274" y="431"/>
                  </a:lnTo>
                  <a:lnTo>
                    <a:pt x="274" y="433"/>
                  </a:lnTo>
                  <a:lnTo>
                    <a:pt x="276" y="431"/>
                  </a:lnTo>
                  <a:lnTo>
                    <a:pt x="276" y="433"/>
                  </a:lnTo>
                  <a:lnTo>
                    <a:pt x="276" y="435"/>
                  </a:lnTo>
                  <a:lnTo>
                    <a:pt x="274" y="435"/>
                  </a:lnTo>
                  <a:lnTo>
                    <a:pt x="274" y="436"/>
                  </a:lnTo>
                  <a:lnTo>
                    <a:pt x="276" y="436"/>
                  </a:lnTo>
                  <a:lnTo>
                    <a:pt x="276" y="438"/>
                  </a:lnTo>
                  <a:lnTo>
                    <a:pt x="276" y="440"/>
                  </a:lnTo>
                  <a:lnTo>
                    <a:pt x="276" y="441"/>
                  </a:lnTo>
                  <a:lnTo>
                    <a:pt x="278" y="441"/>
                  </a:lnTo>
                  <a:lnTo>
                    <a:pt x="278" y="443"/>
                  </a:lnTo>
                  <a:lnTo>
                    <a:pt x="276" y="443"/>
                  </a:lnTo>
                  <a:lnTo>
                    <a:pt x="276" y="444"/>
                  </a:lnTo>
                  <a:lnTo>
                    <a:pt x="276" y="446"/>
                  </a:lnTo>
                  <a:lnTo>
                    <a:pt x="274" y="446"/>
                  </a:lnTo>
                  <a:lnTo>
                    <a:pt x="274" y="444"/>
                  </a:lnTo>
                  <a:lnTo>
                    <a:pt x="273" y="444"/>
                  </a:lnTo>
                  <a:lnTo>
                    <a:pt x="271" y="444"/>
                  </a:lnTo>
                  <a:lnTo>
                    <a:pt x="271" y="443"/>
                  </a:lnTo>
                  <a:lnTo>
                    <a:pt x="270" y="443"/>
                  </a:lnTo>
                  <a:lnTo>
                    <a:pt x="270" y="441"/>
                  </a:lnTo>
                  <a:lnTo>
                    <a:pt x="270" y="440"/>
                  </a:lnTo>
                  <a:lnTo>
                    <a:pt x="268" y="440"/>
                  </a:lnTo>
                  <a:lnTo>
                    <a:pt x="266" y="438"/>
                  </a:lnTo>
                  <a:lnTo>
                    <a:pt x="265" y="438"/>
                  </a:lnTo>
                  <a:lnTo>
                    <a:pt x="263" y="438"/>
                  </a:lnTo>
                  <a:lnTo>
                    <a:pt x="263" y="436"/>
                  </a:lnTo>
                  <a:lnTo>
                    <a:pt x="263" y="438"/>
                  </a:lnTo>
                  <a:lnTo>
                    <a:pt x="261" y="438"/>
                  </a:lnTo>
                  <a:lnTo>
                    <a:pt x="261" y="436"/>
                  </a:lnTo>
                  <a:lnTo>
                    <a:pt x="261" y="435"/>
                  </a:lnTo>
                  <a:lnTo>
                    <a:pt x="261" y="433"/>
                  </a:lnTo>
                  <a:lnTo>
                    <a:pt x="261" y="431"/>
                  </a:lnTo>
                  <a:lnTo>
                    <a:pt x="261" y="430"/>
                  </a:lnTo>
                  <a:lnTo>
                    <a:pt x="261" y="428"/>
                  </a:lnTo>
                  <a:lnTo>
                    <a:pt x="263" y="428"/>
                  </a:lnTo>
                  <a:lnTo>
                    <a:pt x="265" y="428"/>
                  </a:lnTo>
                  <a:lnTo>
                    <a:pt x="266" y="428"/>
                  </a:lnTo>
                  <a:lnTo>
                    <a:pt x="268" y="430"/>
                  </a:lnTo>
                  <a:lnTo>
                    <a:pt x="270" y="430"/>
                  </a:lnTo>
                  <a:lnTo>
                    <a:pt x="270" y="431"/>
                  </a:lnTo>
                  <a:lnTo>
                    <a:pt x="270" y="430"/>
                  </a:lnTo>
                  <a:lnTo>
                    <a:pt x="271" y="430"/>
                  </a:lnTo>
                  <a:lnTo>
                    <a:pt x="273" y="430"/>
                  </a:lnTo>
                  <a:lnTo>
                    <a:pt x="273" y="431"/>
                  </a:lnTo>
                  <a:close/>
                  <a:moveTo>
                    <a:pt x="318" y="414"/>
                  </a:moveTo>
                  <a:lnTo>
                    <a:pt x="318" y="412"/>
                  </a:lnTo>
                  <a:lnTo>
                    <a:pt x="318" y="414"/>
                  </a:lnTo>
                  <a:close/>
                  <a:moveTo>
                    <a:pt x="2184" y="401"/>
                  </a:moveTo>
                  <a:lnTo>
                    <a:pt x="2182" y="401"/>
                  </a:lnTo>
                  <a:lnTo>
                    <a:pt x="2184" y="401"/>
                  </a:lnTo>
                  <a:close/>
                  <a:moveTo>
                    <a:pt x="2153" y="575"/>
                  </a:moveTo>
                  <a:lnTo>
                    <a:pt x="2153" y="573"/>
                  </a:lnTo>
                  <a:lnTo>
                    <a:pt x="2154" y="571"/>
                  </a:lnTo>
                  <a:lnTo>
                    <a:pt x="2156" y="573"/>
                  </a:lnTo>
                  <a:lnTo>
                    <a:pt x="2156" y="571"/>
                  </a:lnTo>
                  <a:lnTo>
                    <a:pt x="2156" y="573"/>
                  </a:lnTo>
                  <a:lnTo>
                    <a:pt x="2158" y="573"/>
                  </a:lnTo>
                  <a:lnTo>
                    <a:pt x="2159" y="573"/>
                  </a:lnTo>
                  <a:lnTo>
                    <a:pt x="2159" y="571"/>
                  </a:lnTo>
                  <a:lnTo>
                    <a:pt x="2158" y="571"/>
                  </a:lnTo>
                  <a:lnTo>
                    <a:pt x="2156" y="571"/>
                  </a:lnTo>
                  <a:lnTo>
                    <a:pt x="2154" y="571"/>
                  </a:lnTo>
                  <a:lnTo>
                    <a:pt x="2154" y="570"/>
                  </a:lnTo>
                  <a:lnTo>
                    <a:pt x="2154" y="571"/>
                  </a:lnTo>
                  <a:lnTo>
                    <a:pt x="2153" y="571"/>
                  </a:lnTo>
                  <a:lnTo>
                    <a:pt x="2153" y="570"/>
                  </a:lnTo>
                  <a:lnTo>
                    <a:pt x="2153" y="568"/>
                  </a:lnTo>
                  <a:lnTo>
                    <a:pt x="2153" y="566"/>
                  </a:lnTo>
                  <a:lnTo>
                    <a:pt x="2154" y="565"/>
                  </a:lnTo>
                  <a:lnTo>
                    <a:pt x="2153" y="565"/>
                  </a:lnTo>
                  <a:lnTo>
                    <a:pt x="2153" y="563"/>
                  </a:lnTo>
                  <a:lnTo>
                    <a:pt x="2154" y="563"/>
                  </a:lnTo>
                  <a:lnTo>
                    <a:pt x="2154" y="562"/>
                  </a:lnTo>
                  <a:lnTo>
                    <a:pt x="2156" y="562"/>
                  </a:lnTo>
                  <a:lnTo>
                    <a:pt x="2159" y="560"/>
                  </a:lnTo>
                  <a:lnTo>
                    <a:pt x="2161" y="560"/>
                  </a:lnTo>
                  <a:lnTo>
                    <a:pt x="2161" y="558"/>
                  </a:lnTo>
                  <a:lnTo>
                    <a:pt x="2159" y="558"/>
                  </a:lnTo>
                  <a:lnTo>
                    <a:pt x="2161" y="558"/>
                  </a:lnTo>
                  <a:lnTo>
                    <a:pt x="2159" y="558"/>
                  </a:lnTo>
                  <a:lnTo>
                    <a:pt x="2159" y="557"/>
                  </a:lnTo>
                  <a:lnTo>
                    <a:pt x="2159" y="555"/>
                  </a:lnTo>
                  <a:lnTo>
                    <a:pt x="2159" y="557"/>
                  </a:lnTo>
                  <a:lnTo>
                    <a:pt x="2159" y="558"/>
                  </a:lnTo>
                  <a:lnTo>
                    <a:pt x="2159" y="560"/>
                  </a:lnTo>
                  <a:lnTo>
                    <a:pt x="2158" y="560"/>
                  </a:lnTo>
                  <a:lnTo>
                    <a:pt x="2156" y="560"/>
                  </a:lnTo>
                  <a:lnTo>
                    <a:pt x="2156" y="558"/>
                  </a:lnTo>
                  <a:lnTo>
                    <a:pt x="2158" y="557"/>
                  </a:lnTo>
                  <a:lnTo>
                    <a:pt x="2158" y="555"/>
                  </a:lnTo>
                  <a:lnTo>
                    <a:pt x="2159" y="555"/>
                  </a:lnTo>
                  <a:lnTo>
                    <a:pt x="2159" y="553"/>
                  </a:lnTo>
                  <a:lnTo>
                    <a:pt x="2159" y="552"/>
                  </a:lnTo>
                  <a:lnTo>
                    <a:pt x="2159" y="553"/>
                  </a:lnTo>
                  <a:lnTo>
                    <a:pt x="2158" y="555"/>
                  </a:lnTo>
                  <a:lnTo>
                    <a:pt x="2158" y="557"/>
                  </a:lnTo>
                  <a:lnTo>
                    <a:pt x="2156" y="557"/>
                  </a:lnTo>
                  <a:lnTo>
                    <a:pt x="2156" y="558"/>
                  </a:lnTo>
                  <a:lnTo>
                    <a:pt x="2156" y="560"/>
                  </a:lnTo>
                  <a:lnTo>
                    <a:pt x="2154" y="562"/>
                  </a:lnTo>
                  <a:lnTo>
                    <a:pt x="2153" y="563"/>
                  </a:lnTo>
                  <a:lnTo>
                    <a:pt x="2153" y="565"/>
                  </a:lnTo>
                  <a:lnTo>
                    <a:pt x="2151" y="566"/>
                  </a:lnTo>
                  <a:lnTo>
                    <a:pt x="2151" y="568"/>
                  </a:lnTo>
                  <a:lnTo>
                    <a:pt x="2151" y="570"/>
                  </a:lnTo>
                  <a:lnTo>
                    <a:pt x="2150" y="570"/>
                  </a:lnTo>
                  <a:lnTo>
                    <a:pt x="2150" y="571"/>
                  </a:lnTo>
                  <a:lnTo>
                    <a:pt x="2148" y="573"/>
                  </a:lnTo>
                  <a:lnTo>
                    <a:pt x="2146" y="575"/>
                  </a:lnTo>
                  <a:lnTo>
                    <a:pt x="2146" y="576"/>
                  </a:lnTo>
                  <a:lnTo>
                    <a:pt x="2146" y="578"/>
                  </a:lnTo>
                  <a:lnTo>
                    <a:pt x="2145" y="578"/>
                  </a:lnTo>
                  <a:lnTo>
                    <a:pt x="2145" y="579"/>
                  </a:lnTo>
                  <a:lnTo>
                    <a:pt x="2143" y="579"/>
                  </a:lnTo>
                  <a:lnTo>
                    <a:pt x="2141" y="579"/>
                  </a:lnTo>
                  <a:lnTo>
                    <a:pt x="2143" y="579"/>
                  </a:lnTo>
                  <a:lnTo>
                    <a:pt x="2145" y="575"/>
                  </a:lnTo>
                  <a:lnTo>
                    <a:pt x="2146" y="573"/>
                  </a:lnTo>
                  <a:lnTo>
                    <a:pt x="2150" y="565"/>
                  </a:lnTo>
                  <a:lnTo>
                    <a:pt x="2151" y="562"/>
                  </a:lnTo>
                  <a:lnTo>
                    <a:pt x="2153" y="560"/>
                  </a:lnTo>
                  <a:lnTo>
                    <a:pt x="2153" y="558"/>
                  </a:lnTo>
                  <a:lnTo>
                    <a:pt x="2154" y="555"/>
                  </a:lnTo>
                  <a:lnTo>
                    <a:pt x="2156" y="553"/>
                  </a:lnTo>
                  <a:lnTo>
                    <a:pt x="2156" y="552"/>
                  </a:lnTo>
                  <a:lnTo>
                    <a:pt x="2158" y="552"/>
                  </a:lnTo>
                  <a:lnTo>
                    <a:pt x="2158" y="550"/>
                  </a:lnTo>
                  <a:lnTo>
                    <a:pt x="2158" y="549"/>
                  </a:lnTo>
                  <a:lnTo>
                    <a:pt x="2161" y="544"/>
                  </a:lnTo>
                  <a:lnTo>
                    <a:pt x="2161" y="542"/>
                  </a:lnTo>
                  <a:lnTo>
                    <a:pt x="2161" y="540"/>
                  </a:lnTo>
                  <a:lnTo>
                    <a:pt x="2163" y="540"/>
                  </a:lnTo>
                  <a:lnTo>
                    <a:pt x="2163" y="539"/>
                  </a:lnTo>
                  <a:lnTo>
                    <a:pt x="2164" y="537"/>
                  </a:lnTo>
                  <a:lnTo>
                    <a:pt x="2164" y="536"/>
                  </a:lnTo>
                  <a:lnTo>
                    <a:pt x="2164" y="534"/>
                  </a:lnTo>
                  <a:lnTo>
                    <a:pt x="2166" y="531"/>
                  </a:lnTo>
                  <a:lnTo>
                    <a:pt x="2166" y="529"/>
                  </a:lnTo>
                  <a:lnTo>
                    <a:pt x="2166" y="526"/>
                  </a:lnTo>
                  <a:lnTo>
                    <a:pt x="2166" y="521"/>
                  </a:lnTo>
                  <a:lnTo>
                    <a:pt x="2166" y="518"/>
                  </a:lnTo>
                  <a:lnTo>
                    <a:pt x="2168" y="516"/>
                  </a:lnTo>
                  <a:lnTo>
                    <a:pt x="2166" y="516"/>
                  </a:lnTo>
                  <a:lnTo>
                    <a:pt x="2166" y="514"/>
                  </a:lnTo>
                  <a:lnTo>
                    <a:pt x="2168" y="513"/>
                  </a:lnTo>
                  <a:lnTo>
                    <a:pt x="2166" y="513"/>
                  </a:lnTo>
                  <a:lnTo>
                    <a:pt x="2168" y="513"/>
                  </a:lnTo>
                  <a:lnTo>
                    <a:pt x="2168" y="514"/>
                  </a:lnTo>
                  <a:lnTo>
                    <a:pt x="2169" y="513"/>
                  </a:lnTo>
                  <a:lnTo>
                    <a:pt x="2171" y="513"/>
                  </a:lnTo>
                  <a:lnTo>
                    <a:pt x="2171" y="514"/>
                  </a:lnTo>
                  <a:lnTo>
                    <a:pt x="2172" y="514"/>
                  </a:lnTo>
                  <a:lnTo>
                    <a:pt x="2174" y="514"/>
                  </a:lnTo>
                  <a:lnTo>
                    <a:pt x="2174" y="516"/>
                  </a:lnTo>
                  <a:lnTo>
                    <a:pt x="2176" y="516"/>
                  </a:lnTo>
                  <a:lnTo>
                    <a:pt x="2177" y="516"/>
                  </a:lnTo>
                  <a:lnTo>
                    <a:pt x="2177" y="518"/>
                  </a:lnTo>
                  <a:lnTo>
                    <a:pt x="2179" y="519"/>
                  </a:lnTo>
                  <a:lnTo>
                    <a:pt x="2179" y="521"/>
                  </a:lnTo>
                  <a:lnTo>
                    <a:pt x="2181" y="523"/>
                  </a:lnTo>
                  <a:lnTo>
                    <a:pt x="2181" y="526"/>
                  </a:lnTo>
                  <a:lnTo>
                    <a:pt x="2181" y="527"/>
                  </a:lnTo>
                  <a:lnTo>
                    <a:pt x="2182" y="527"/>
                  </a:lnTo>
                  <a:lnTo>
                    <a:pt x="2184" y="527"/>
                  </a:lnTo>
                  <a:lnTo>
                    <a:pt x="2185" y="527"/>
                  </a:lnTo>
                  <a:lnTo>
                    <a:pt x="2185" y="529"/>
                  </a:lnTo>
                  <a:lnTo>
                    <a:pt x="2187" y="529"/>
                  </a:lnTo>
                  <a:lnTo>
                    <a:pt x="2187" y="531"/>
                  </a:lnTo>
                  <a:lnTo>
                    <a:pt x="2187" y="532"/>
                  </a:lnTo>
                  <a:lnTo>
                    <a:pt x="2189" y="532"/>
                  </a:lnTo>
                  <a:lnTo>
                    <a:pt x="2189" y="534"/>
                  </a:lnTo>
                  <a:lnTo>
                    <a:pt x="2190" y="534"/>
                  </a:lnTo>
                  <a:lnTo>
                    <a:pt x="2190" y="532"/>
                  </a:lnTo>
                  <a:lnTo>
                    <a:pt x="2192" y="531"/>
                  </a:lnTo>
                  <a:lnTo>
                    <a:pt x="2192" y="529"/>
                  </a:lnTo>
                  <a:lnTo>
                    <a:pt x="2192" y="531"/>
                  </a:lnTo>
                  <a:lnTo>
                    <a:pt x="2192" y="532"/>
                  </a:lnTo>
                  <a:lnTo>
                    <a:pt x="2194" y="534"/>
                  </a:lnTo>
                  <a:lnTo>
                    <a:pt x="2195" y="534"/>
                  </a:lnTo>
                  <a:lnTo>
                    <a:pt x="2197" y="536"/>
                  </a:lnTo>
                  <a:lnTo>
                    <a:pt x="2198" y="536"/>
                  </a:lnTo>
                  <a:lnTo>
                    <a:pt x="2200" y="534"/>
                  </a:lnTo>
                  <a:lnTo>
                    <a:pt x="2202" y="534"/>
                  </a:lnTo>
                  <a:lnTo>
                    <a:pt x="2203" y="532"/>
                  </a:lnTo>
                  <a:lnTo>
                    <a:pt x="2205" y="532"/>
                  </a:lnTo>
                  <a:lnTo>
                    <a:pt x="2205" y="534"/>
                  </a:lnTo>
                  <a:lnTo>
                    <a:pt x="2207" y="534"/>
                  </a:lnTo>
                  <a:lnTo>
                    <a:pt x="2208" y="534"/>
                  </a:lnTo>
                  <a:lnTo>
                    <a:pt x="2210" y="534"/>
                  </a:lnTo>
                  <a:lnTo>
                    <a:pt x="2211" y="534"/>
                  </a:lnTo>
                  <a:lnTo>
                    <a:pt x="2213" y="532"/>
                  </a:lnTo>
                  <a:lnTo>
                    <a:pt x="2211" y="534"/>
                  </a:lnTo>
                  <a:lnTo>
                    <a:pt x="2210" y="534"/>
                  </a:lnTo>
                  <a:lnTo>
                    <a:pt x="2208" y="534"/>
                  </a:lnTo>
                  <a:lnTo>
                    <a:pt x="2207" y="534"/>
                  </a:lnTo>
                  <a:lnTo>
                    <a:pt x="2205" y="532"/>
                  </a:lnTo>
                  <a:lnTo>
                    <a:pt x="2205" y="531"/>
                  </a:lnTo>
                  <a:lnTo>
                    <a:pt x="2203" y="532"/>
                  </a:lnTo>
                  <a:lnTo>
                    <a:pt x="2202" y="534"/>
                  </a:lnTo>
                  <a:lnTo>
                    <a:pt x="2200" y="534"/>
                  </a:lnTo>
                  <a:lnTo>
                    <a:pt x="2198" y="536"/>
                  </a:lnTo>
                  <a:lnTo>
                    <a:pt x="2197" y="536"/>
                  </a:lnTo>
                  <a:lnTo>
                    <a:pt x="2197" y="534"/>
                  </a:lnTo>
                  <a:lnTo>
                    <a:pt x="2195" y="534"/>
                  </a:lnTo>
                  <a:lnTo>
                    <a:pt x="2194" y="534"/>
                  </a:lnTo>
                  <a:lnTo>
                    <a:pt x="2192" y="532"/>
                  </a:lnTo>
                  <a:lnTo>
                    <a:pt x="2192" y="531"/>
                  </a:lnTo>
                  <a:lnTo>
                    <a:pt x="2192" y="529"/>
                  </a:lnTo>
                  <a:lnTo>
                    <a:pt x="2190" y="532"/>
                  </a:lnTo>
                  <a:lnTo>
                    <a:pt x="2189" y="534"/>
                  </a:lnTo>
                  <a:lnTo>
                    <a:pt x="2189" y="532"/>
                  </a:lnTo>
                  <a:lnTo>
                    <a:pt x="2187" y="529"/>
                  </a:lnTo>
                  <a:lnTo>
                    <a:pt x="2185" y="527"/>
                  </a:lnTo>
                  <a:lnTo>
                    <a:pt x="2182" y="527"/>
                  </a:lnTo>
                  <a:lnTo>
                    <a:pt x="2181" y="526"/>
                  </a:lnTo>
                  <a:lnTo>
                    <a:pt x="2181" y="523"/>
                  </a:lnTo>
                  <a:lnTo>
                    <a:pt x="2181" y="521"/>
                  </a:lnTo>
                  <a:lnTo>
                    <a:pt x="2179" y="519"/>
                  </a:lnTo>
                  <a:lnTo>
                    <a:pt x="2179" y="518"/>
                  </a:lnTo>
                  <a:lnTo>
                    <a:pt x="2177" y="518"/>
                  </a:lnTo>
                  <a:lnTo>
                    <a:pt x="2177" y="516"/>
                  </a:lnTo>
                  <a:lnTo>
                    <a:pt x="2176" y="514"/>
                  </a:lnTo>
                  <a:lnTo>
                    <a:pt x="2176" y="516"/>
                  </a:lnTo>
                  <a:lnTo>
                    <a:pt x="2174" y="514"/>
                  </a:lnTo>
                  <a:lnTo>
                    <a:pt x="2172" y="514"/>
                  </a:lnTo>
                  <a:lnTo>
                    <a:pt x="2171" y="513"/>
                  </a:lnTo>
                  <a:lnTo>
                    <a:pt x="2168" y="513"/>
                  </a:lnTo>
                  <a:lnTo>
                    <a:pt x="2166" y="513"/>
                  </a:lnTo>
                  <a:lnTo>
                    <a:pt x="2166" y="511"/>
                  </a:lnTo>
                  <a:lnTo>
                    <a:pt x="2166" y="510"/>
                  </a:lnTo>
                  <a:lnTo>
                    <a:pt x="2166" y="508"/>
                  </a:lnTo>
                  <a:lnTo>
                    <a:pt x="2166" y="506"/>
                  </a:lnTo>
                  <a:lnTo>
                    <a:pt x="2164" y="508"/>
                  </a:lnTo>
                  <a:lnTo>
                    <a:pt x="2166" y="506"/>
                  </a:lnTo>
                  <a:lnTo>
                    <a:pt x="2164" y="506"/>
                  </a:lnTo>
                  <a:lnTo>
                    <a:pt x="2164" y="508"/>
                  </a:lnTo>
                  <a:lnTo>
                    <a:pt x="2164" y="506"/>
                  </a:lnTo>
                  <a:lnTo>
                    <a:pt x="2164" y="505"/>
                  </a:lnTo>
                  <a:lnTo>
                    <a:pt x="2164" y="503"/>
                  </a:lnTo>
                  <a:lnTo>
                    <a:pt x="2164" y="501"/>
                  </a:lnTo>
                  <a:lnTo>
                    <a:pt x="2164" y="500"/>
                  </a:lnTo>
                  <a:lnTo>
                    <a:pt x="2164" y="498"/>
                  </a:lnTo>
                  <a:lnTo>
                    <a:pt x="2164" y="497"/>
                  </a:lnTo>
                  <a:lnTo>
                    <a:pt x="2164" y="495"/>
                  </a:lnTo>
                  <a:lnTo>
                    <a:pt x="2164" y="493"/>
                  </a:lnTo>
                  <a:lnTo>
                    <a:pt x="2164" y="492"/>
                  </a:lnTo>
                  <a:lnTo>
                    <a:pt x="2164" y="490"/>
                  </a:lnTo>
                  <a:lnTo>
                    <a:pt x="2164" y="488"/>
                  </a:lnTo>
                  <a:lnTo>
                    <a:pt x="2166" y="488"/>
                  </a:lnTo>
                  <a:lnTo>
                    <a:pt x="2164" y="488"/>
                  </a:lnTo>
                  <a:lnTo>
                    <a:pt x="2166" y="485"/>
                  </a:lnTo>
                  <a:lnTo>
                    <a:pt x="2166" y="484"/>
                  </a:lnTo>
                  <a:lnTo>
                    <a:pt x="2164" y="484"/>
                  </a:lnTo>
                  <a:lnTo>
                    <a:pt x="2164" y="480"/>
                  </a:lnTo>
                  <a:lnTo>
                    <a:pt x="2164" y="479"/>
                  </a:lnTo>
                  <a:lnTo>
                    <a:pt x="2164" y="477"/>
                  </a:lnTo>
                  <a:lnTo>
                    <a:pt x="2164" y="475"/>
                  </a:lnTo>
                  <a:lnTo>
                    <a:pt x="2164" y="474"/>
                  </a:lnTo>
                  <a:lnTo>
                    <a:pt x="2164" y="472"/>
                  </a:lnTo>
                  <a:lnTo>
                    <a:pt x="2164" y="471"/>
                  </a:lnTo>
                  <a:lnTo>
                    <a:pt x="2164" y="469"/>
                  </a:lnTo>
                  <a:lnTo>
                    <a:pt x="2166" y="467"/>
                  </a:lnTo>
                  <a:lnTo>
                    <a:pt x="2166" y="464"/>
                  </a:lnTo>
                  <a:lnTo>
                    <a:pt x="2168" y="462"/>
                  </a:lnTo>
                  <a:lnTo>
                    <a:pt x="2166" y="462"/>
                  </a:lnTo>
                  <a:lnTo>
                    <a:pt x="2166" y="461"/>
                  </a:lnTo>
                  <a:lnTo>
                    <a:pt x="2166" y="459"/>
                  </a:lnTo>
                  <a:lnTo>
                    <a:pt x="2168" y="457"/>
                  </a:lnTo>
                  <a:lnTo>
                    <a:pt x="2166" y="457"/>
                  </a:lnTo>
                  <a:lnTo>
                    <a:pt x="2166" y="456"/>
                  </a:lnTo>
                  <a:lnTo>
                    <a:pt x="2168" y="456"/>
                  </a:lnTo>
                  <a:lnTo>
                    <a:pt x="2168" y="457"/>
                  </a:lnTo>
                  <a:lnTo>
                    <a:pt x="2169" y="459"/>
                  </a:lnTo>
                  <a:lnTo>
                    <a:pt x="2171" y="459"/>
                  </a:lnTo>
                  <a:lnTo>
                    <a:pt x="2169" y="459"/>
                  </a:lnTo>
                  <a:lnTo>
                    <a:pt x="2168" y="457"/>
                  </a:lnTo>
                  <a:lnTo>
                    <a:pt x="2168" y="456"/>
                  </a:lnTo>
                  <a:lnTo>
                    <a:pt x="2168" y="454"/>
                  </a:lnTo>
                  <a:lnTo>
                    <a:pt x="2168" y="453"/>
                  </a:lnTo>
                  <a:lnTo>
                    <a:pt x="2168" y="451"/>
                  </a:lnTo>
                  <a:lnTo>
                    <a:pt x="2168" y="449"/>
                  </a:lnTo>
                  <a:lnTo>
                    <a:pt x="2168" y="448"/>
                  </a:lnTo>
                  <a:lnTo>
                    <a:pt x="2168" y="446"/>
                  </a:lnTo>
                  <a:lnTo>
                    <a:pt x="2168" y="443"/>
                  </a:lnTo>
                  <a:lnTo>
                    <a:pt x="2168" y="441"/>
                  </a:lnTo>
                  <a:lnTo>
                    <a:pt x="2168" y="440"/>
                  </a:lnTo>
                  <a:lnTo>
                    <a:pt x="2168" y="438"/>
                  </a:lnTo>
                  <a:lnTo>
                    <a:pt x="2168" y="436"/>
                  </a:lnTo>
                  <a:lnTo>
                    <a:pt x="2168" y="435"/>
                  </a:lnTo>
                  <a:lnTo>
                    <a:pt x="2168" y="433"/>
                  </a:lnTo>
                  <a:lnTo>
                    <a:pt x="2169" y="433"/>
                  </a:lnTo>
                  <a:lnTo>
                    <a:pt x="2172" y="433"/>
                  </a:lnTo>
                  <a:lnTo>
                    <a:pt x="2174" y="433"/>
                  </a:lnTo>
                  <a:lnTo>
                    <a:pt x="2179" y="433"/>
                  </a:lnTo>
                  <a:lnTo>
                    <a:pt x="2181" y="433"/>
                  </a:lnTo>
                  <a:lnTo>
                    <a:pt x="2184" y="431"/>
                  </a:lnTo>
                  <a:lnTo>
                    <a:pt x="2182" y="431"/>
                  </a:lnTo>
                  <a:lnTo>
                    <a:pt x="2181" y="431"/>
                  </a:lnTo>
                  <a:lnTo>
                    <a:pt x="2179" y="433"/>
                  </a:lnTo>
                  <a:lnTo>
                    <a:pt x="2176" y="433"/>
                  </a:lnTo>
                  <a:lnTo>
                    <a:pt x="2172" y="433"/>
                  </a:lnTo>
                  <a:lnTo>
                    <a:pt x="2171" y="433"/>
                  </a:lnTo>
                  <a:lnTo>
                    <a:pt x="2171" y="431"/>
                  </a:lnTo>
                  <a:lnTo>
                    <a:pt x="2169" y="431"/>
                  </a:lnTo>
                  <a:lnTo>
                    <a:pt x="2168" y="431"/>
                  </a:lnTo>
                  <a:lnTo>
                    <a:pt x="2168" y="433"/>
                  </a:lnTo>
                  <a:lnTo>
                    <a:pt x="2166" y="433"/>
                  </a:lnTo>
                  <a:lnTo>
                    <a:pt x="2166" y="435"/>
                  </a:lnTo>
                  <a:lnTo>
                    <a:pt x="2166" y="433"/>
                  </a:lnTo>
                  <a:lnTo>
                    <a:pt x="2166" y="431"/>
                  </a:lnTo>
                  <a:lnTo>
                    <a:pt x="2166" y="430"/>
                  </a:lnTo>
                  <a:lnTo>
                    <a:pt x="2164" y="422"/>
                  </a:lnTo>
                  <a:lnTo>
                    <a:pt x="2166" y="422"/>
                  </a:lnTo>
                  <a:lnTo>
                    <a:pt x="2166" y="420"/>
                  </a:lnTo>
                  <a:lnTo>
                    <a:pt x="2168" y="418"/>
                  </a:lnTo>
                  <a:lnTo>
                    <a:pt x="2168" y="417"/>
                  </a:lnTo>
                  <a:lnTo>
                    <a:pt x="2168" y="415"/>
                  </a:lnTo>
                  <a:lnTo>
                    <a:pt x="2169" y="415"/>
                  </a:lnTo>
                  <a:lnTo>
                    <a:pt x="2168" y="414"/>
                  </a:lnTo>
                  <a:lnTo>
                    <a:pt x="2168" y="412"/>
                  </a:lnTo>
                  <a:lnTo>
                    <a:pt x="2168" y="410"/>
                  </a:lnTo>
                  <a:lnTo>
                    <a:pt x="2169" y="410"/>
                  </a:lnTo>
                  <a:lnTo>
                    <a:pt x="2169" y="409"/>
                  </a:lnTo>
                  <a:lnTo>
                    <a:pt x="2169" y="407"/>
                  </a:lnTo>
                  <a:lnTo>
                    <a:pt x="2171" y="407"/>
                  </a:lnTo>
                  <a:lnTo>
                    <a:pt x="2172" y="407"/>
                  </a:lnTo>
                  <a:lnTo>
                    <a:pt x="2174" y="405"/>
                  </a:lnTo>
                  <a:lnTo>
                    <a:pt x="2174" y="407"/>
                  </a:lnTo>
                  <a:lnTo>
                    <a:pt x="2174" y="405"/>
                  </a:lnTo>
                  <a:lnTo>
                    <a:pt x="2176" y="404"/>
                  </a:lnTo>
                  <a:lnTo>
                    <a:pt x="2177" y="404"/>
                  </a:lnTo>
                  <a:lnTo>
                    <a:pt x="2177" y="402"/>
                  </a:lnTo>
                  <a:lnTo>
                    <a:pt x="2179" y="402"/>
                  </a:lnTo>
                  <a:lnTo>
                    <a:pt x="2181" y="402"/>
                  </a:lnTo>
                  <a:lnTo>
                    <a:pt x="2182" y="402"/>
                  </a:lnTo>
                  <a:lnTo>
                    <a:pt x="2184" y="401"/>
                  </a:lnTo>
                  <a:lnTo>
                    <a:pt x="2184" y="399"/>
                  </a:lnTo>
                  <a:lnTo>
                    <a:pt x="2185" y="399"/>
                  </a:lnTo>
                  <a:lnTo>
                    <a:pt x="2185" y="397"/>
                  </a:lnTo>
                  <a:lnTo>
                    <a:pt x="2185" y="396"/>
                  </a:lnTo>
                  <a:lnTo>
                    <a:pt x="2187" y="396"/>
                  </a:lnTo>
                  <a:lnTo>
                    <a:pt x="2189" y="396"/>
                  </a:lnTo>
                  <a:lnTo>
                    <a:pt x="2190" y="396"/>
                  </a:lnTo>
                  <a:lnTo>
                    <a:pt x="2192" y="394"/>
                  </a:lnTo>
                  <a:lnTo>
                    <a:pt x="2194" y="394"/>
                  </a:lnTo>
                  <a:lnTo>
                    <a:pt x="2195" y="394"/>
                  </a:lnTo>
                  <a:lnTo>
                    <a:pt x="2197" y="392"/>
                  </a:lnTo>
                  <a:lnTo>
                    <a:pt x="2197" y="391"/>
                  </a:lnTo>
                  <a:lnTo>
                    <a:pt x="2197" y="389"/>
                  </a:lnTo>
                  <a:lnTo>
                    <a:pt x="2198" y="389"/>
                  </a:lnTo>
                  <a:lnTo>
                    <a:pt x="2198" y="388"/>
                  </a:lnTo>
                  <a:lnTo>
                    <a:pt x="2200" y="388"/>
                  </a:lnTo>
                  <a:lnTo>
                    <a:pt x="2202" y="388"/>
                  </a:lnTo>
                  <a:lnTo>
                    <a:pt x="2203" y="388"/>
                  </a:lnTo>
                  <a:lnTo>
                    <a:pt x="2205" y="388"/>
                  </a:lnTo>
                  <a:lnTo>
                    <a:pt x="2205" y="389"/>
                  </a:lnTo>
                  <a:lnTo>
                    <a:pt x="2208" y="389"/>
                  </a:lnTo>
                  <a:lnTo>
                    <a:pt x="2210" y="389"/>
                  </a:lnTo>
                  <a:lnTo>
                    <a:pt x="2211" y="389"/>
                  </a:lnTo>
                  <a:lnTo>
                    <a:pt x="2211" y="388"/>
                  </a:lnTo>
                  <a:lnTo>
                    <a:pt x="2211" y="386"/>
                  </a:lnTo>
                  <a:lnTo>
                    <a:pt x="2215" y="388"/>
                  </a:lnTo>
                  <a:lnTo>
                    <a:pt x="2216" y="386"/>
                  </a:lnTo>
                  <a:lnTo>
                    <a:pt x="2216" y="388"/>
                  </a:lnTo>
                  <a:lnTo>
                    <a:pt x="2218" y="388"/>
                  </a:lnTo>
                  <a:lnTo>
                    <a:pt x="2220" y="388"/>
                  </a:lnTo>
                  <a:lnTo>
                    <a:pt x="2221" y="388"/>
                  </a:lnTo>
                  <a:lnTo>
                    <a:pt x="2221" y="389"/>
                  </a:lnTo>
                  <a:lnTo>
                    <a:pt x="2223" y="389"/>
                  </a:lnTo>
                  <a:lnTo>
                    <a:pt x="2224" y="389"/>
                  </a:lnTo>
                  <a:lnTo>
                    <a:pt x="2226" y="389"/>
                  </a:lnTo>
                  <a:lnTo>
                    <a:pt x="2226" y="391"/>
                  </a:lnTo>
                  <a:lnTo>
                    <a:pt x="2226" y="389"/>
                  </a:lnTo>
                  <a:lnTo>
                    <a:pt x="2228" y="391"/>
                  </a:lnTo>
                  <a:lnTo>
                    <a:pt x="2228" y="389"/>
                  </a:lnTo>
                  <a:lnTo>
                    <a:pt x="2229" y="389"/>
                  </a:lnTo>
                  <a:lnTo>
                    <a:pt x="2231" y="389"/>
                  </a:lnTo>
                  <a:lnTo>
                    <a:pt x="2233" y="391"/>
                  </a:lnTo>
                  <a:lnTo>
                    <a:pt x="2233" y="389"/>
                  </a:lnTo>
                  <a:lnTo>
                    <a:pt x="2234" y="389"/>
                  </a:lnTo>
                  <a:lnTo>
                    <a:pt x="2234" y="388"/>
                  </a:lnTo>
                  <a:lnTo>
                    <a:pt x="2236" y="388"/>
                  </a:lnTo>
                  <a:lnTo>
                    <a:pt x="2237" y="388"/>
                  </a:lnTo>
                  <a:lnTo>
                    <a:pt x="2239" y="386"/>
                  </a:lnTo>
                  <a:lnTo>
                    <a:pt x="2241" y="388"/>
                  </a:lnTo>
                  <a:lnTo>
                    <a:pt x="2241" y="386"/>
                  </a:lnTo>
                  <a:lnTo>
                    <a:pt x="2242" y="386"/>
                  </a:lnTo>
                  <a:lnTo>
                    <a:pt x="2242" y="384"/>
                  </a:lnTo>
                  <a:lnTo>
                    <a:pt x="2244" y="384"/>
                  </a:lnTo>
                  <a:lnTo>
                    <a:pt x="2244" y="386"/>
                  </a:lnTo>
                  <a:lnTo>
                    <a:pt x="2246" y="386"/>
                  </a:lnTo>
                  <a:lnTo>
                    <a:pt x="2247" y="386"/>
                  </a:lnTo>
                  <a:lnTo>
                    <a:pt x="2249" y="384"/>
                  </a:lnTo>
                  <a:lnTo>
                    <a:pt x="2249" y="386"/>
                  </a:lnTo>
                  <a:lnTo>
                    <a:pt x="2249" y="388"/>
                  </a:lnTo>
                  <a:lnTo>
                    <a:pt x="2247" y="388"/>
                  </a:lnTo>
                  <a:lnTo>
                    <a:pt x="2249" y="388"/>
                  </a:lnTo>
                  <a:lnTo>
                    <a:pt x="2247" y="392"/>
                  </a:lnTo>
                  <a:lnTo>
                    <a:pt x="2247" y="396"/>
                  </a:lnTo>
                  <a:lnTo>
                    <a:pt x="2247" y="397"/>
                  </a:lnTo>
                  <a:lnTo>
                    <a:pt x="2249" y="397"/>
                  </a:lnTo>
                  <a:lnTo>
                    <a:pt x="2250" y="396"/>
                  </a:lnTo>
                  <a:lnTo>
                    <a:pt x="2252" y="396"/>
                  </a:lnTo>
                  <a:lnTo>
                    <a:pt x="2252" y="397"/>
                  </a:lnTo>
                  <a:lnTo>
                    <a:pt x="2254" y="396"/>
                  </a:lnTo>
                  <a:lnTo>
                    <a:pt x="2255" y="396"/>
                  </a:lnTo>
                  <a:lnTo>
                    <a:pt x="2255" y="397"/>
                  </a:lnTo>
                  <a:lnTo>
                    <a:pt x="2257" y="397"/>
                  </a:lnTo>
                  <a:lnTo>
                    <a:pt x="2257" y="399"/>
                  </a:lnTo>
                  <a:lnTo>
                    <a:pt x="2257" y="401"/>
                  </a:lnTo>
                  <a:lnTo>
                    <a:pt x="2257" y="404"/>
                  </a:lnTo>
                  <a:lnTo>
                    <a:pt x="2257" y="405"/>
                  </a:lnTo>
                  <a:lnTo>
                    <a:pt x="2255" y="405"/>
                  </a:lnTo>
                  <a:lnTo>
                    <a:pt x="2255" y="407"/>
                  </a:lnTo>
                  <a:lnTo>
                    <a:pt x="2254" y="407"/>
                  </a:lnTo>
                  <a:lnTo>
                    <a:pt x="2250" y="407"/>
                  </a:lnTo>
                  <a:lnTo>
                    <a:pt x="2249" y="409"/>
                  </a:lnTo>
                  <a:lnTo>
                    <a:pt x="2247" y="409"/>
                  </a:lnTo>
                  <a:lnTo>
                    <a:pt x="2246" y="410"/>
                  </a:lnTo>
                  <a:lnTo>
                    <a:pt x="2246" y="412"/>
                  </a:lnTo>
                  <a:lnTo>
                    <a:pt x="2244" y="412"/>
                  </a:lnTo>
                  <a:lnTo>
                    <a:pt x="2242" y="414"/>
                  </a:lnTo>
                  <a:lnTo>
                    <a:pt x="2241" y="414"/>
                  </a:lnTo>
                  <a:lnTo>
                    <a:pt x="2241" y="415"/>
                  </a:lnTo>
                  <a:lnTo>
                    <a:pt x="2239" y="415"/>
                  </a:lnTo>
                  <a:lnTo>
                    <a:pt x="2239" y="417"/>
                  </a:lnTo>
                  <a:lnTo>
                    <a:pt x="2239" y="418"/>
                  </a:lnTo>
                  <a:lnTo>
                    <a:pt x="2239" y="420"/>
                  </a:lnTo>
                  <a:lnTo>
                    <a:pt x="2239" y="422"/>
                  </a:lnTo>
                  <a:lnTo>
                    <a:pt x="2239" y="423"/>
                  </a:lnTo>
                  <a:lnTo>
                    <a:pt x="2241" y="423"/>
                  </a:lnTo>
                  <a:lnTo>
                    <a:pt x="2242" y="423"/>
                  </a:lnTo>
                  <a:lnTo>
                    <a:pt x="2242" y="425"/>
                  </a:lnTo>
                  <a:lnTo>
                    <a:pt x="2242" y="427"/>
                  </a:lnTo>
                  <a:lnTo>
                    <a:pt x="2242" y="428"/>
                  </a:lnTo>
                  <a:lnTo>
                    <a:pt x="2242" y="430"/>
                  </a:lnTo>
                  <a:lnTo>
                    <a:pt x="2241" y="431"/>
                  </a:lnTo>
                  <a:lnTo>
                    <a:pt x="2242" y="431"/>
                  </a:lnTo>
                  <a:lnTo>
                    <a:pt x="2244" y="433"/>
                  </a:lnTo>
                  <a:lnTo>
                    <a:pt x="2244" y="435"/>
                  </a:lnTo>
                  <a:lnTo>
                    <a:pt x="2246" y="435"/>
                  </a:lnTo>
                  <a:lnTo>
                    <a:pt x="2250" y="435"/>
                  </a:lnTo>
                  <a:lnTo>
                    <a:pt x="2254" y="435"/>
                  </a:lnTo>
                  <a:lnTo>
                    <a:pt x="2255" y="433"/>
                  </a:lnTo>
                  <a:lnTo>
                    <a:pt x="2257" y="433"/>
                  </a:lnTo>
                  <a:lnTo>
                    <a:pt x="2259" y="433"/>
                  </a:lnTo>
                  <a:lnTo>
                    <a:pt x="2260" y="431"/>
                  </a:lnTo>
                  <a:lnTo>
                    <a:pt x="2260" y="430"/>
                  </a:lnTo>
                  <a:lnTo>
                    <a:pt x="2262" y="430"/>
                  </a:lnTo>
                  <a:lnTo>
                    <a:pt x="2263" y="428"/>
                  </a:lnTo>
                  <a:lnTo>
                    <a:pt x="2267" y="430"/>
                  </a:lnTo>
                  <a:lnTo>
                    <a:pt x="2268" y="430"/>
                  </a:lnTo>
                  <a:lnTo>
                    <a:pt x="2268" y="428"/>
                  </a:lnTo>
                  <a:lnTo>
                    <a:pt x="2270" y="428"/>
                  </a:lnTo>
                  <a:lnTo>
                    <a:pt x="2270" y="427"/>
                  </a:lnTo>
                  <a:lnTo>
                    <a:pt x="2272" y="423"/>
                  </a:lnTo>
                  <a:lnTo>
                    <a:pt x="2273" y="423"/>
                  </a:lnTo>
                  <a:lnTo>
                    <a:pt x="2273" y="425"/>
                  </a:lnTo>
                  <a:lnTo>
                    <a:pt x="2273" y="427"/>
                  </a:lnTo>
                  <a:lnTo>
                    <a:pt x="2273" y="430"/>
                  </a:lnTo>
                  <a:lnTo>
                    <a:pt x="2272" y="431"/>
                  </a:lnTo>
                  <a:lnTo>
                    <a:pt x="2272" y="433"/>
                  </a:lnTo>
                  <a:lnTo>
                    <a:pt x="2273" y="435"/>
                  </a:lnTo>
                  <a:lnTo>
                    <a:pt x="2275" y="433"/>
                  </a:lnTo>
                  <a:lnTo>
                    <a:pt x="2276" y="433"/>
                  </a:lnTo>
                  <a:lnTo>
                    <a:pt x="2276" y="431"/>
                  </a:lnTo>
                  <a:lnTo>
                    <a:pt x="2281" y="433"/>
                  </a:lnTo>
                  <a:lnTo>
                    <a:pt x="2283" y="433"/>
                  </a:lnTo>
                  <a:lnTo>
                    <a:pt x="2286" y="431"/>
                  </a:lnTo>
                  <a:lnTo>
                    <a:pt x="2288" y="431"/>
                  </a:lnTo>
                  <a:lnTo>
                    <a:pt x="2288" y="433"/>
                  </a:lnTo>
                  <a:lnTo>
                    <a:pt x="2289" y="431"/>
                  </a:lnTo>
                  <a:lnTo>
                    <a:pt x="2291" y="431"/>
                  </a:lnTo>
                  <a:lnTo>
                    <a:pt x="2293" y="431"/>
                  </a:lnTo>
                  <a:lnTo>
                    <a:pt x="2294" y="433"/>
                  </a:lnTo>
                  <a:lnTo>
                    <a:pt x="2296" y="435"/>
                  </a:lnTo>
                  <a:lnTo>
                    <a:pt x="2298" y="436"/>
                  </a:lnTo>
                  <a:lnTo>
                    <a:pt x="2301" y="436"/>
                  </a:lnTo>
                  <a:lnTo>
                    <a:pt x="2301" y="438"/>
                  </a:lnTo>
                  <a:lnTo>
                    <a:pt x="2302" y="438"/>
                  </a:lnTo>
                  <a:lnTo>
                    <a:pt x="2302" y="440"/>
                  </a:lnTo>
                  <a:lnTo>
                    <a:pt x="2301" y="440"/>
                  </a:lnTo>
                  <a:lnTo>
                    <a:pt x="2301" y="441"/>
                  </a:lnTo>
                  <a:lnTo>
                    <a:pt x="2299" y="441"/>
                  </a:lnTo>
                  <a:lnTo>
                    <a:pt x="2299" y="443"/>
                  </a:lnTo>
                  <a:lnTo>
                    <a:pt x="2299" y="444"/>
                  </a:lnTo>
                  <a:lnTo>
                    <a:pt x="2301" y="444"/>
                  </a:lnTo>
                  <a:lnTo>
                    <a:pt x="2304" y="444"/>
                  </a:lnTo>
                  <a:lnTo>
                    <a:pt x="2307" y="444"/>
                  </a:lnTo>
                  <a:lnTo>
                    <a:pt x="2309" y="444"/>
                  </a:lnTo>
                  <a:lnTo>
                    <a:pt x="2311" y="444"/>
                  </a:lnTo>
                  <a:lnTo>
                    <a:pt x="2311" y="443"/>
                  </a:lnTo>
                  <a:lnTo>
                    <a:pt x="2311" y="441"/>
                  </a:lnTo>
                  <a:lnTo>
                    <a:pt x="2312" y="441"/>
                  </a:lnTo>
                  <a:lnTo>
                    <a:pt x="2314" y="441"/>
                  </a:lnTo>
                  <a:lnTo>
                    <a:pt x="2314" y="443"/>
                  </a:lnTo>
                  <a:lnTo>
                    <a:pt x="2316" y="443"/>
                  </a:lnTo>
                  <a:lnTo>
                    <a:pt x="2317" y="443"/>
                  </a:lnTo>
                  <a:lnTo>
                    <a:pt x="2317" y="444"/>
                  </a:lnTo>
                  <a:lnTo>
                    <a:pt x="2317" y="446"/>
                  </a:lnTo>
                  <a:lnTo>
                    <a:pt x="2317" y="448"/>
                  </a:lnTo>
                  <a:lnTo>
                    <a:pt x="2319" y="448"/>
                  </a:lnTo>
                  <a:lnTo>
                    <a:pt x="2319" y="449"/>
                  </a:lnTo>
                  <a:lnTo>
                    <a:pt x="2317" y="449"/>
                  </a:lnTo>
                  <a:lnTo>
                    <a:pt x="2319" y="451"/>
                  </a:lnTo>
                  <a:lnTo>
                    <a:pt x="2317" y="451"/>
                  </a:lnTo>
                  <a:lnTo>
                    <a:pt x="2319" y="451"/>
                  </a:lnTo>
                  <a:lnTo>
                    <a:pt x="2320" y="451"/>
                  </a:lnTo>
                  <a:lnTo>
                    <a:pt x="2322" y="448"/>
                  </a:lnTo>
                  <a:lnTo>
                    <a:pt x="2324" y="448"/>
                  </a:lnTo>
                  <a:lnTo>
                    <a:pt x="2325" y="448"/>
                  </a:lnTo>
                  <a:lnTo>
                    <a:pt x="2327" y="449"/>
                  </a:lnTo>
                  <a:lnTo>
                    <a:pt x="2329" y="449"/>
                  </a:lnTo>
                  <a:lnTo>
                    <a:pt x="2330" y="449"/>
                  </a:lnTo>
                  <a:lnTo>
                    <a:pt x="2332" y="449"/>
                  </a:lnTo>
                  <a:lnTo>
                    <a:pt x="2333" y="449"/>
                  </a:lnTo>
                  <a:lnTo>
                    <a:pt x="2335" y="448"/>
                  </a:lnTo>
                  <a:lnTo>
                    <a:pt x="2338" y="448"/>
                  </a:lnTo>
                  <a:lnTo>
                    <a:pt x="2340" y="448"/>
                  </a:lnTo>
                  <a:lnTo>
                    <a:pt x="2342" y="448"/>
                  </a:lnTo>
                  <a:lnTo>
                    <a:pt x="2343" y="448"/>
                  </a:lnTo>
                  <a:lnTo>
                    <a:pt x="2345" y="446"/>
                  </a:lnTo>
                  <a:lnTo>
                    <a:pt x="2346" y="444"/>
                  </a:lnTo>
                  <a:lnTo>
                    <a:pt x="2346" y="443"/>
                  </a:lnTo>
                  <a:lnTo>
                    <a:pt x="2348" y="443"/>
                  </a:lnTo>
                  <a:lnTo>
                    <a:pt x="2346" y="441"/>
                  </a:lnTo>
                  <a:lnTo>
                    <a:pt x="2346" y="440"/>
                  </a:lnTo>
                  <a:lnTo>
                    <a:pt x="2346" y="438"/>
                  </a:lnTo>
                  <a:lnTo>
                    <a:pt x="2348" y="438"/>
                  </a:lnTo>
                  <a:lnTo>
                    <a:pt x="2348" y="436"/>
                  </a:lnTo>
                  <a:lnTo>
                    <a:pt x="2346" y="436"/>
                  </a:lnTo>
                  <a:lnTo>
                    <a:pt x="2348" y="436"/>
                  </a:lnTo>
                  <a:lnTo>
                    <a:pt x="2348" y="435"/>
                  </a:lnTo>
                  <a:lnTo>
                    <a:pt x="2350" y="435"/>
                  </a:lnTo>
                  <a:lnTo>
                    <a:pt x="2351" y="433"/>
                  </a:lnTo>
                  <a:lnTo>
                    <a:pt x="2353" y="433"/>
                  </a:lnTo>
                  <a:lnTo>
                    <a:pt x="2356" y="435"/>
                  </a:lnTo>
                  <a:lnTo>
                    <a:pt x="2358" y="436"/>
                  </a:lnTo>
                  <a:lnTo>
                    <a:pt x="2358" y="440"/>
                  </a:lnTo>
                  <a:lnTo>
                    <a:pt x="2359" y="440"/>
                  </a:lnTo>
                  <a:lnTo>
                    <a:pt x="2361" y="441"/>
                  </a:lnTo>
                  <a:lnTo>
                    <a:pt x="2363" y="441"/>
                  </a:lnTo>
                  <a:lnTo>
                    <a:pt x="2366" y="441"/>
                  </a:lnTo>
                  <a:lnTo>
                    <a:pt x="2368" y="440"/>
                  </a:lnTo>
                  <a:lnTo>
                    <a:pt x="2369" y="440"/>
                  </a:lnTo>
                  <a:lnTo>
                    <a:pt x="2371" y="440"/>
                  </a:lnTo>
                  <a:lnTo>
                    <a:pt x="2371" y="441"/>
                  </a:lnTo>
                  <a:lnTo>
                    <a:pt x="2372" y="441"/>
                  </a:lnTo>
                  <a:lnTo>
                    <a:pt x="2372" y="444"/>
                  </a:lnTo>
                  <a:lnTo>
                    <a:pt x="2374" y="444"/>
                  </a:lnTo>
                  <a:lnTo>
                    <a:pt x="2377" y="446"/>
                  </a:lnTo>
                  <a:lnTo>
                    <a:pt x="2381" y="446"/>
                  </a:lnTo>
                  <a:lnTo>
                    <a:pt x="2382" y="448"/>
                  </a:lnTo>
                  <a:lnTo>
                    <a:pt x="2384" y="448"/>
                  </a:lnTo>
                  <a:lnTo>
                    <a:pt x="2385" y="448"/>
                  </a:lnTo>
                  <a:lnTo>
                    <a:pt x="2387" y="444"/>
                  </a:lnTo>
                  <a:lnTo>
                    <a:pt x="2387" y="443"/>
                  </a:lnTo>
                  <a:lnTo>
                    <a:pt x="2387" y="441"/>
                  </a:lnTo>
                  <a:lnTo>
                    <a:pt x="2389" y="441"/>
                  </a:lnTo>
                  <a:lnTo>
                    <a:pt x="2390" y="443"/>
                  </a:lnTo>
                  <a:lnTo>
                    <a:pt x="2392" y="443"/>
                  </a:lnTo>
                  <a:lnTo>
                    <a:pt x="2392" y="444"/>
                  </a:lnTo>
                  <a:lnTo>
                    <a:pt x="2392" y="448"/>
                  </a:lnTo>
                  <a:lnTo>
                    <a:pt x="2392" y="449"/>
                  </a:lnTo>
                  <a:lnTo>
                    <a:pt x="2395" y="451"/>
                  </a:lnTo>
                  <a:lnTo>
                    <a:pt x="2397" y="453"/>
                  </a:lnTo>
                  <a:lnTo>
                    <a:pt x="2403" y="453"/>
                  </a:lnTo>
                  <a:lnTo>
                    <a:pt x="2405" y="453"/>
                  </a:lnTo>
                  <a:lnTo>
                    <a:pt x="2407" y="453"/>
                  </a:lnTo>
                  <a:lnTo>
                    <a:pt x="2408" y="453"/>
                  </a:lnTo>
                  <a:lnTo>
                    <a:pt x="2410" y="449"/>
                  </a:lnTo>
                  <a:lnTo>
                    <a:pt x="2413" y="453"/>
                  </a:lnTo>
                  <a:lnTo>
                    <a:pt x="2413" y="454"/>
                  </a:lnTo>
                  <a:lnTo>
                    <a:pt x="2413" y="456"/>
                  </a:lnTo>
                  <a:lnTo>
                    <a:pt x="2413" y="457"/>
                  </a:lnTo>
                  <a:lnTo>
                    <a:pt x="2410" y="462"/>
                  </a:lnTo>
                  <a:lnTo>
                    <a:pt x="2413" y="464"/>
                  </a:lnTo>
                  <a:lnTo>
                    <a:pt x="2415" y="464"/>
                  </a:lnTo>
                  <a:lnTo>
                    <a:pt x="2415" y="466"/>
                  </a:lnTo>
                  <a:lnTo>
                    <a:pt x="2413" y="466"/>
                  </a:lnTo>
                  <a:lnTo>
                    <a:pt x="2413" y="467"/>
                  </a:lnTo>
                  <a:lnTo>
                    <a:pt x="2413" y="469"/>
                  </a:lnTo>
                  <a:lnTo>
                    <a:pt x="2411" y="469"/>
                  </a:lnTo>
                  <a:lnTo>
                    <a:pt x="2411" y="471"/>
                  </a:lnTo>
                  <a:lnTo>
                    <a:pt x="2411" y="472"/>
                  </a:lnTo>
                  <a:lnTo>
                    <a:pt x="2410" y="472"/>
                  </a:lnTo>
                  <a:lnTo>
                    <a:pt x="2410" y="474"/>
                  </a:lnTo>
                  <a:lnTo>
                    <a:pt x="2410" y="475"/>
                  </a:lnTo>
                  <a:lnTo>
                    <a:pt x="2408" y="477"/>
                  </a:lnTo>
                  <a:lnTo>
                    <a:pt x="2408" y="479"/>
                  </a:lnTo>
                  <a:lnTo>
                    <a:pt x="2407" y="480"/>
                  </a:lnTo>
                  <a:lnTo>
                    <a:pt x="2405" y="482"/>
                  </a:lnTo>
                  <a:lnTo>
                    <a:pt x="2407" y="482"/>
                  </a:lnTo>
                  <a:lnTo>
                    <a:pt x="2407" y="484"/>
                  </a:lnTo>
                  <a:lnTo>
                    <a:pt x="2407" y="485"/>
                  </a:lnTo>
                  <a:lnTo>
                    <a:pt x="2407" y="487"/>
                  </a:lnTo>
                  <a:lnTo>
                    <a:pt x="2407" y="488"/>
                  </a:lnTo>
                  <a:lnTo>
                    <a:pt x="2405" y="488"/>
                  </a:lnTo>
                  <a:lnTo>
                    <a:pt x="2407" y="490"/>
                  </a:lnTo>
                  <a:lnTo>
                    <a:pt x="2408" y="492"/>
                  </a:lnTo>
                  <a:lnTo>
                    <a:pt x="2408" y="493"/>
                  </a:lnTo>
                  <a:lnTo>
                    <a:pt x="2410" y="495"/>
                  </a:lnTo>
                  <a:lnTo>
                    <a:pt x="2411" y="495"/>
                  </a:lnTo>
                  <a:lnTo>
                    <a:pt x="2413" y="495"/>
                  </a:lnTo>
                  <a:lnTo>
                    <a:pt x="2415" y="493"/>
                  </a:lnTo>
                  <a:lnTo>
                    <a:pt x="2416" y="493"/>
                  </a:lnTo>
                  <a:lnTo>
                    <a:pt x="2418" y="493"/>
                  </a:lnTo>
                  <a:lnTo>
                    <a:pt x="2420" y="493"/>
                  </a:lnTo>
                  <a:lnTo>
                    <a:pt x="2420" y="495"/>
                  </a:lnTo>
                  <a:lnTo>
                    <a:pt x="2421" y="493"/>
                  </a:lnTo>
                  <a:lnTo>
                    <a:pt x="2423" y="495"/>
                  </a:lnTo>
                  <a:lnTo>
                    <a:pt x="2424" y="497"/>
                  </a:lnTo>
                  <a:lnTo>
                    <a:pt x="2426" y="497"/>
                  </a:lnTo>
                  <a:lnTo>
                    <a:pt x="2431" y="500"/>
                  </a:lnTo>
                  <a:lnTo>
                    <a:pt x="2433" y="500"/>
                  </a:lnTo>
                  <a:lnTo>
                    <a:pt x="2434" y="503"/>
                  </a:lnTo>
                  <a:lnTo>
                    <a:pt x="2436" y="505"/>
                  </a:lnTo>
                  <a:lnTo>
                    <a:pt x="2436" y="508"/>
                  </a:lnTo>
                  <a:lnTo>
                    <a:pt x="2437" y="508"/>
                  </a:lnTo>
                  <a:lnTo>
                    <a:pt x="2437" y="510"/>
                  </a:lnTo>
                  <a:lnTo>
                    <a:pt x="2439" y="511"/>
                  </a:lnTo>
                  <a:lnTo>
                    <a:pt x="2441" y="511"/>
                  </a:lnTo>
                  <a:lnTo>
                    <a:pt x="2441" y="514"/>
                  </a:lnTo>
                  <a:lnTo>
                    <a:pt x="2439" y="514"/>
                  </a:lnTo>
                  <a:lnTo>
                    <a:pt x="2437" y="516"/>
                  </a:lnTo>
                  <a:lnTo>
                    <a:pt x="2437" y="518"/>
                  </a:lnTo>
                  <a:lnTo>
                    <a:pt x="2436" y="518"/>
                  </a:lnTo>
                  <a:lnTo>
                    <a:pt x="2436" y="519"/>
                  </a:lnTo>
                  <a:lnTo>
                    <a:pt x="2434" y="521"/>
                  </a:lnTo>
                  <a:lnTo>
                    <a:pt x="2433" y="521"/>
                  </a:lnTo>
                  <a:lnTo>
                    <a:pt x="2431" y="521"/>
                  </a:lnTo>
                  <a:lnTo>
                    <a:pt x="2433" y="523"/>
                  </a:lnTo>
                  <a:lnTo>
                    <a:pt x="2431" y="524"/>
                  </a:lnTo>
                  <a:lnTo>
                    <a:pt x="2431" y="523"/>
                  </a:lnTo>
                  <a:lnTo>
                    <a:pt x="2429" y="523"/>
                  </a:lnTo>
                  <a:lnTo>
                    <a:pt x="2431" y="524"/>
                  </a:lnTo>
                  <a:lnTo>
                    <a:pt x="2429" y="524"/>
                  </a:lnTo>
                  <a:lnTo>
                    <a:pt x="2428" y="526"/>
                  </a:lnTo>
                  <a:lnTo>
                    <a:pt x="2428" y="527"/>
                  </a:lnTo>
                  <a:lnTo>
                    <a:pt x="2426" y="527"/>
                  </a:lnTo>
                  <a:lnTo>
                    <a:pt x="2424" y="529"/>
                  </a:lnTo>
                  <a:lnTo>
                    <a:pt x="2424" y="531"/>
                  </a:lnTo>
                  <a:lnTo>
                    <a:pt x="2426" y="531"/>
                  </a:lnTo>
                  <a:lnTo>
                    <a:pt x="2424" y="532"/>
                  </a:lnTo>
                  <a:lnTo>
                    <a:pt x="2423" y="532"/>
                  </a:lnTo>
                  <a:lnTo>
                    <a:pt x="2423" y="534"/>
                  </a:lnTo>
                  <a:lnTo>
                    <a:pt x="2421" y="532"/>
                  </a:lnTo>
                  <a:lnTo>
                    <a:pt x="2421" y="534"/>
                  </a:lnTo>
                  <a:lnTo>
                    <a:pt x="2421" y="536"/>
                  </a:lnTo>
                  <a:lnTo>
                    <a:pt x="2421" y="537"/>
                  </a:lnTo>
                  <a:lnTo>
                    <a:pt x="2420" y="537"/>
                  </a:lnTo>
                  <a:lnTo>
                    <a:pt x="2418" y="537"/>
                  </a:lnTo>
                  <a:lnTo>
                    <a:pt x="2416" y="537"/>
                  </a:lnTo>
                  <a:lnTo>
                    <a:pt x="2416" y="536"/>
                  </a:lnTo>
                  <a:lnTo>
                    <a:pt x="2415" y="536"/>
                  </a:lnTo>
                  <a:lnTo>
                    <a:pt x="2413" y="537"/>
                  </a:lnTo>
                  <a:lnTo>
                    <a:pt x="2413" y="539"/>
                  </a:lnTo>
                  <a:lnTo>
                    <a:pt x="2415" y="539"/>
                  </a:lnTo>
                  <a:lnTo>
                    <a:pt x="2415" y="540"/>
                  </a:lnTo>
                  <a:lnTo>
                    <a:pt x="2413" y="540"/>
                  </a:lnTo>
                  <a:lnTo>
                    <a:pt x="2411" y="540"/>
                  </a:lnTo>
                  <a:lnTo>
                    <a:pt x="2410" y="540"/>
                  </a:lnTo>
                  <a:lnTo>
                    <a:pt x="2410" y="542"/>
                  </a:lnTo>
                  <a:lnTo>
                    <a:pt x="2408" y="542"/>
                  </a:lnTo>
                  <a:lnTo>
                    <a:pt x="2410" y="544"/>
                  </a:lnTo>
                  <a:lnTo>
                    <a:pt x="2407" y="544"/>
                  </a:lnTo>
                  <a:lnTo>
                    <a:pt x="2407" y="545"/>
                  </a:lnTo>
                  <a:lnTo>
                    <a:pt x="2405" y="547"/>
                  </a:lnTo>
                  <a:lnTo>
                    <a:pt x="2403" y="545"/>
                  </a:lnTo>
                  <a:lnTo>
                    <a:pt x="2402" y="547"/>
                  </a:lnTo>
                  <a:lnTo>
                    <a:pt x="2400" y="547"/>
                  </a:lnTo>
                  <a:lnTo>
                    <a:pt x="2400" y="549"/>
                  </a:lnTo>
                  <a:lnTo>
                    <a:pt x="2402" y="549"/>
                  </a:lnTo>
                  <a:lnTo>
                    <a:pt x="2402" y="550"/>
                  </a:lnTo>
                  <a:lnTo>
                    <a:pt x="2400" y="550"/>
                  </a:lnTo>
                  <a:lnTo>
                    <a:pt x="2398" y="550"/>
                  </a:lnTo>
                  <a:lnTo>
                    <a:pt x="2397" y="550"/>
                  </a:lnTo>
                  <a:lnTo>
                    <a:pt x="2397" y="549"/>
                  </a:lnTo>
                  <a:lnTo>
                    <a:pt x="2395" y="549"/>
                  </a:lnTo>
                  <a:lnTo>
                    <a:pt x="2395" y="550"/>
                  </a:lnTo>
                  <a:lnTo>
                    <a:pt x="2394" y="550"/>
                  </a:lnTo>
                  <a:lnTo>
                    <a:pt x="2394" y="552"/>
                  </a:lnTo>
                  <a:lnTo>
                    <a:pt x="2392" y="552"/>
                  </a:lnTo>
                  <a:lnTo>
                    <a:pt x="2390" y="552"/>
                  </a:lnTo>
                  <a:lnTo>
                    <a:pt x="2389" y="552"/>
                  </a:lnTo>
                  <a:lnTo>
                    <a:pt x="2389" y="550"/>
                  </a:lnTo>
                  <a:lnTo>
                    <a:pt x="2387" y="550"/>
                  </a:lnTo>
                  <a:lnTo>
                    <a:pt x="2385" y="550"/>
                  </a:lnTo>
                  <a:lnTo>
                    <a:pt x="2384" y="550"/>
                  </a:lnTo>
                  <a:lnTo>
                    <a:pt x="2384" y="549"/>
                  </a:lnTo>
                  <a:lnTo>
                    <a:pt x="2382" y="549"/>
                  </a:lnTo>
                  <a:lnTo>
                    <a:pt x="2382" y="550"/>
                  </a:lnTo>
                  <a:lnTo>
                    <a:pt x="2381" y="550"/>
                  </a:lnTo>
                  <a:lnTo>
                    <a:pt x="2381" y="552"/>
                  </a:lnTo>
                  <a:lnTo>
                    <a:pt x="2379" y="552"/>
                  </a:lnTo>
                  <a:lnTo>
                    <a:pt x="2377" y="553"/>
                  </a:lnTo>
                  <a:lnTo>
                    <a:pt x="2377" y="555"/>
                  </a:lnTo>
                  <a:lnTo>
                    <a:pt x="2376" y="555"/>
                  </a:lnTo>
                  <a:lnTo>
                    <a:pt x="2376" y="557"/>
                  </a:lnTo>
                  <a:lnTo>
                    <a:pt x="2374" y="558"/>
                  </a:lnTo>
                  <a:lnTo>
                    <a:pt x="2372" y="558"/>
                  </a:lnTo>
                  <a:lnTo>
                    <a:pt x="2371" y="560"/>
                  </a:lnTo>
                  <a:lnTo>
                    <a:pt x="2369" y="562"/>
                  </a:lnTo>
                  <a:lnTo>
                    <a:pt x="2368" y="562"/>
                  </a:lnTo>
                  <a:lnTo>
                    <a:pt x="2366" y="563"/>
                  </a:lnTo>
                  <a:lnTo>
                    <a:pt x="2368" y="565"/>
                  </a:lnTo>
                  <a:lnTo>
                    <a:pt x="2368" y="566"/>
                  </a:lnTo>
                  <a:lnTo>
                    <a:pt x="2366" y="568"/>
                  </a:lnTo>
                  <a:lnTo>
                    <a:pt x="2364" y="571"/>
                  </a:lnTo>
                  <a:lnTo>
                    <a:pt x="2363" y="573"/>
                  </a:lnTo>
                  <a:lnTo>
                    <a:pt x="2361" y="573"/>
                  </a:lnTo>
                  <a:lnTo>
                    <a:pt x="2359" y="573"/>
                  </a:lnTo>
                  <a:lnTo>
                    <a:pt x="2359" y="575"/>
                  </a:lnTo>
                  <a:lnTo>
                    <a:pt x="2358" y="575"/>
                  </a:lnTo>
                  <a:lnTo>
                    <a:pt x="2356" y="575"/>
                  </a:lnTo>
                  <a:lnTo>
                    <a:pt x="2353" y="575"/>
                  </a:lnTo>
                  <a:lnTo>
                    <a:pt x="2351" y="575"/>
                  </a:lnTo>
                  <a:lnTo>
                    <a:pt x="2350" y="573"/>
                  </a:lnTo>
                  <a:lnTo>
                    <a:pt x="2348" y="571"/>
                  </a:lnTo>
                  <a:lnTo>
                    <a:pt x="2346" y="573"/>
                  </a:lnTo>
                  <a:lnTo>
                    <a:pt x="2346" y="575"/>
                  </a:lnTo>
                  <a:lnTo>
                    <a:pt x="2346" y="576"/>
                  </a:lnTo>
                  <a:lnTo>
                    <a:pt x="2346" y="578"/>
                  </a:lnTo>
                  <a:lnTo>
                    <a:pt x="2348" y="578"/>
                  </a:lnTo>
                  <a:lnTo>
                    <a:pt x="2348" y="579"/>
                  </a:lnTo>
                  <a:lnTo>
                    <a:pt x="2350" y="581"/>
                  </a:lnTo>
                  <a:lnTo>
                    <a:pt x="2350" y="583"/>
                  </a:lnTo>
                  <a:lnTo>
                    <a:pt x="2350" y="584"/>
                  </a:lnTo>
                  <a:lnTo>
                    <a:pt x="2351" y="584"/>
                  </a:lnTo>
                  <a:lnTo>
                    <a:pt x="2351" y="586"/>
                  </a:lnTo>
                  <a:lnTo>
                    <a:pt x="2351" y="588"/>
                  </a:lnTo>
                  <a:lnTo>
                    <a:pt x="2351" y="589"/>
                  </a:lnTo>
                  <a:lnTo>
                    <a:pt x="2353" y="589"/>
                  </a:lnTo>
                  <a:lnTo>
                    <a:pt x="2351" y="589"/>
                  </a:lnTo>
                  <a:lnTo>
                    <a:pt x="2353" y="591"/>
                  </a:lnTo>
                  <a:lnTo>
                    <a:pt x="2351" y="592"/>
                  </a:lnTo>
                  <a:lnTo>
                    <a:pt x="2351" y="594"/>
                  </a:lnTo>
                  <a:lnTo>
                    <a:pt x="2353" y="594"/>
                  </a:lnTo>
                  <a:lnTo>
                    <a:pt x="2353" y="596"/>
                  </a:lnTo>
                  <a:lnTo>
                    <a:pt x="2355" y="596"/>
                  </a:lnTo>
                  <a:lnTo>
                    <a:pt x="2355" y="597"/>
                  </a:lnTo>
                  <a:lnTo>
                    <a:pt x="2355" y="599"/>
                  </a:lnTo>
                  <a:lnTo>
                    <a:pt x="2355" y="601"/>
                  </a:lnTo>
                  <a:lnTo>
                    <a:pt x="2353" y="601"/>
                  </a:lnTo>
                  <a:lnTo>
                    <a:pt x="2351" y="602"/>
                  </a:lnTo>
                  <a:lnTo>
                    <a:pt x="2353" y="602"/>
                  </a:lnTo>
                  <a:lnTo>
                    <a:pt x="2353" y="604"/>
                  </a:lnTo>
                  <a:lnTo>
                    <a:pt x="2351" y="606"/>
                  </a:lnTo>
                  <a:lnTo>
                    <a:pt x="2353" y="607"/>
                  </a:lnTo>
                  <a:lnTo>
                    <a:pt x="2351" y="607"/>
                  </a:lnTo>
                  <a:lnTo>
                    <a:pt x="2351" y="609"/>
                  </a:lnTo>
                  <a:lnTo>
                    <a:pt x="2350" y="609"/>
                  </a:lnTo>
                  <a:lnTo>
                    <a:pt x="2350" y="610"/>
                  </a:lnTo>
                  <a:lnTo>
                    <a:pt x="2350" y="612"/>
                  </a:lnTo>
                  <a:lnTo>
                    <a:pt x="2350" y="614"/>
                  </a:lnTo>
                  <a:lnTo>
                    <a:pt x="2348" y="617"/>
                  </a:lnTo>
                  <a:lnTo>
                    <a:pt x="2350" y="617"/>
                  </a:lnTo>
                  <a:lnTo>
                    <a:pt x="2350" y="619"/>
                  </a:lnTo>
                  <a:lnTo>
                    <a:pt x="2350" y="620"/>
                  </a:lnTo>
                  <a:lnTo>
                    <a:pt x="2350" y="622"/>
                  </a:lnTo>
                  <a:lnTo>
                    <a:pt x="2351" y="625"/>
                  </a:lnTo>
                  <a:lnTo>
                    <a:pt x="2351" y="627"/>
                  </a:lnTo>
                  <a:lnTo>
                    <a:pt x="2350" y="627"/>
                  </a:lnTo>
                  <a:lnTo>
                    <a:pt x="2348" y="630"/>
                  </a:lnTo>
                  <a:lnTo>
                    <a:pt x="2346" y="633"/>
                  </a:lnTo>
                  <a:lnTo>
                    <a:pt x="2343" y="636"/>
                  </a:lnTo>
                  <a:lnTo>
                    <a:pt x="2343" y="638"/>
                  </a:lnTo>
                  <a:lnTo>
                    <a:pt x="2343" y="640"/>
                  </a:lnTo>
                  <a:lnTo>
                    <a:pt x="2346" y="641"/>
                  </a:lnTo>
                  <a:lnTo>
                    <a:pt x="2346" y="643"/>
                  </a:lnTo>
                  <a:lnTo>
                    <a:pt x="2346" y="645"/>
                  </a:lnTo>
                  <a:lnTo>
                    <a:pt x="2346" y="646"/>
                  </a:lnTo>
                  <a:lnTo>
                    <a:pt x="2346" y="648"/>
                  </a:lnTo>
                  <a:lnTo>
                    <a:pt x="2345" y="649"/>
                  </a:lnTo>
                  <a:lnTo>
                    <a:pt x="2343" y="649"/>
                  </a:lnTo>
                  <a:lnTo>
                    <a:pt x="2343" y="651"/>
                  </a:lnTo>
                  <a:lnTo>
                    <a:pt x="2342" y="653"/>
                  </a:lnTo>
                  <a:lnTo>
                    <a:pt x="2340" y="654"/>
                  </a:lnTo>
                  <a:lnTo>
                    <a:pt x="2338" y="656"/>
                  </a:lnTo>
                  <a:lnTo>
                    <a:pt x="2338" y="659"/>
                  </a:lnTo>
                  <a:lnTo>
                    <a:pt x="2338" y="661"/>
                  </a:lnTo>
                  <a:lnTo>
                    <a:pt x="2342" y="667"/>
                  </a:lnTo>
                  <a:lnTo>
                    <a:pt x="2343" y="669"/>
                  </a:lnTo>
                  <a:lnTo>
                    <a:pt x="2342" y="671"/>
                  </a:lnTo>
                  <a:lnTo>
                    <a:pt x="2342" y="672"/>
                  </a:lnTo>
                  <a:lnTo>
                    <a:pt x="2340" y="674"/>
                  </a:lnTo>
                  <a:lnTo>
                    <a:pt x="2338" y="674"/>
                  </a:lnTo>
                  <a:lnTo>
                    <a:pt x="2337" y="675"/>
                  </a:lnTo>
                  <a:lnTo>
                    <a:pt x="2333" y="677"/>
                  </a:lnTo>
                  <a:lnTo>
                    <a:pt x="2332" y="679"/>
                  </a:lnTo>
                  <a:lnTo>
                    <a:pt x="2332" y="680"/>
                  </a:lnTo>
                  <a:lnTo>
                    <a:pt x="2330" y="682"/>
                  </a:lnTo>
                  <a:lnTo>
                    <a:pt x="2329" y="682"/>
                  </a:lnTo>
                  <a:lnTo>
                    <a:pt x="2327" y="682"/>
                  </a:lnTo>
                  <a:lnTo>
                    <a:pt x="2325" y="682"/>
                  </a:lnTo>
                  <a:lnTo>
                    <a:pt x="2324" y="680"/>
                  </a:lnTo>
                  <a:lnTo>
                    <a:pt x="2322" y="680"/>
                  </a:lnTo>
                  <a:lnTo>
                    <a:pt x="2320" y="682"/>
                  </a:lnTo>
                  <a:lnTo>
                    <a:pt x="2319" y="682"/>
                  </a:lnTo>
                  <a:lnTo>
                    <a:pt x="2317" y="682"/>
                  </a:lnTo>
                  <a:lnTo>
                    <a:pt x="2316" y="684"/>
                  </a:lnTo>
                  <a:lnTo>
                    <a:pt x="2312" y="687"/>
                  </a:lnTo>
                  <a:lnTo>
                    <a:pt x="2312" y="688"/>
                  </a:lnTo>
                  <a:lnTo>
                    <a:pt x="2312" y="690"/>
                  </a:lnTo>
                  <a:lnTo>
                    <a:pt x="2312" y="692"/>
                  </a:lnTo>
                  <a:lnTo>
                    <a:pt x="2312" y="693"/>
                  </a:lnTo>
                  <a:lnTo>
                    <a:pt x="2312" y="695"/>
                  </a:lnTo>
                  <a:lnTo>
                    <a:pt x="2312" y="697"/>
                  </a:lnTo>
                  <a:lnTo>
                    <a:pt x="2312" y="698"/>
                  </a:lnTo>
                  <a:lnTo>
                    <a:pt x="2314" y="698"/>
                  </a:lnTo>
                  <a:lnTo>
                    <a:pt x="2314" y="700"/>
                  </a:lnTo>
                  <a:lnTo>
                    <a:pt x="2314" y="698"/>
                  </a:lnTo>
                  <a:lnTo>
                    <a:pt x="2314" y="700"/>
                  </a:lnTo>
                  <a:lnTo>
                    <a:pt x="2316" y="700"/>
                  </a:lnTo>
                  <a:lnTo>
                    <a:pt x="2317" y="700"/>
                  </a:lnTo>
                  <a:lnTo>
                    <a:pt x="2317" y="701"/>
                  </a:lnTo>
                  <a:lnTo>
                    <a:pt x="2317" y="700"/>
                  </a:lnTo>
                  <a:lnTo>
                    <a:pt x="2317" y="701"/>
                  </a:lnTo>
                  <a:lnTo>
                    <a:pt x="2319" y="701"/>
                  </a:lnTo>
                  <a:lnTo>
                    <a:pt x="2319" y="703"/>
                  </a:lnTo>
                  <a:lnTo>
                    <a:pt x="2320" y="705"/>
                  </a:lnTo>
                  <a:lnTo>
                    <a:pt x="2320" y="706"/>
                  </a:lnTo>
                  <a:lnTo>
                    <a:pt x="2320" y="708"/>
                  </a:lnTo>
                  <a:lnTo>
                    <a:pt x="2322" y="710"/>
                  </a:lnTo>
                  <a:lnTo>
                    <a:pt x="2322" y="711"/>
                  </a:lnTo>
                  <a:lnTo>
                    <a:pt x="2324" y="711"/>
                  </a:lnTo>
                  <a:lnTo>
                    <a:pt x="2322" y="711"/>
                  </a:lnTo>
                  <a:lnTo>
                    <a:pt x="2324" y="713"/>
                  </a:lnTo>
                  <a:lnTo>
                    <a:pt x="2322" y="713"/>
                  </a:lnTo>
                  <a:lnTo>
                    <a:pt x="2324" y="714"/>
                  </a:lnTo>
                  <a:lnTo>
                    <a:pt x="2324" y="716"/>
                  </a:lnTo>
                  <a:lnTo>
                    <a:pt x="2324" y="718"/>
                  </a:lnTo>
                  <a:lnTo>
                    <a:pt x="2322" y="718"/>
                  </a:lnTo>
                  <a:lnTo>
                    <a:pt x="2324" y="718"/>
                  </a:lnTo>
                  <a:lnTo>
                    <a:pt x="2322" y="719"/>
                  </a:lnTo>
                  <a:lnTo>
                    <a:pt x="2320" y="721"/>
                  </a:lnTo>
                  <a:lnTo>
                    <a:pt x="2322" y="721"/>
                  </a:lnTo>
                  <a:lnTo>
                    <a:pt x="2322" y="723"/>
                  </a:lnTo>
                  <a:lnTo>
                    <a:pt x="2320" y="723"/>
                  </a:lnTo>
                  <a:lnTo>
                    <a:pt x="2320" y="724"/>
                  </a:lnTo>
                  <a:lnTo>
                    <a:pt x="2320" y="726"/>
                  </a:lnTo>
                  <a:lnTo>
                    <a:pt x="2319" y="726"/>
                  </a:lnTo>
                  <a:lnTo>
                    <a:pt x="2319" y="727"/>
                  </a:lnTo>
                  <a:lnTo>
                    <a:pt x="2317" y="727"/>
                  </a:lnTo>
                  <a:lnTo>
                    <a:pt x="2317" y="729"/>
                  </a:lnTo>
                  <a:lnTo>
                    <a:pt x="2317" y="731"/>
                  </a:lnTo>
                  <a:lnTo>
                    <a:pt x="2317" y="732"/>
                  </a:lnTo>
                  <a:lnTo>
                    <a:pt x="2316" y="732"/>
                  </a:lnTo>
                  <a:lnTo>
                    <a:pt x="2317" y="734"/>
                  </a:lnTo>
                  <a:lnTo>
                    <a:pt x="2316" y="734"/>
                  </a:lnTo>
                  <a:lnTo>
                    <a:pt x="2316" y="736"/>
                  </a:lnTo>
                  <a:lnTo>
                    <a:pt x="2316" y="737"/>
                  </a:lnTo>
                  <a:lnTo>
                    <a:pt x="2314" y="737"/>
                  </a:lnTo>
                  <a:lnTo>
                    <a:pt x="2312" y="737"/>
                  </a:lnTo>
                  <a:lnTo>
                    <a:pt x="2312" y="739"/>
                  </a:lnTo>
                  <a:lnTo>
                    <a:pt x="2311" y="739"/>
                  </a:lnTo>
                  <a:lnTo>
                    <a:pt x="2311" y="740"/>
                  </a:lnTo>
                  <a:lnTo>
                    <a:pt x="2311" y="739"/>
                  </a:lnTo>
                  <a:lnTo>
                    <a:pt x="2309" y="740"/>
                  </a:lnTo>
                  <a:lnTo>
                    <a:pt x="2307" y="740"/>
                  </a:lnTo>
                  <a:lnTo>
                    <a:pt x="2306" y="740"/>
                  </a:lnTo>
                  <a:lnTo>
                    <a:pt x="2306" y="742"/>
                  </a:lnTo>
                  <a:lnTo>
                    <a:pt x="2304" y="742"/>
                  </a:lnTo>
                  <a:lnTo>
                    <a:pt x="2304" y="744"/>
                  </a:lnTo>
                  <a:lnTo>
                    <a:pt x="2304" y="745"/>
                  </a:lnTo>
                  <a:lnTo>
                    <a:pt x="2306" y="747"/>
                  </a:lnTo>
                  <a:lnTo>
                    <a:pt x="2304" y="749"/>
                  </a:lnTo>
                  <a:lnTo>
                    <a:pt x="2304" y="750"/>
                  </a:lnTo>
                  <a:lnTo>
                    <a:pt x="2302" y="750"/>
                  </a:lnTo>
                  <a:lnTo>
                    <a:pt x="2302" y="752"/>
                  </a:lnTo>
                  <a:lnTo>
                    <a:pt x="2302" y="754"/>
                  </a:lnTo>
                  <a:lnTo>
                    <a:pt x="2301" y="755"/>
                  </a:lnTo>
                  <a:lnTo>
                    <a:pt x="2299" y="757"/>
                  </a:lnTo>
                  <a:lnTo>
                    <a:pt x="2299" y="758"/>
                  </a:lnTo>
                  <a:lnTo>
                    <a:pt x="2298" y="760"/>
                  </a:lnTo>
                  <a:lnTo>
                    <a:pt x="2298" y="762"/>
                  </a:lnTo>
                  <a:lnTo>
                    <a:pt x="2296" y="762"/>
                  </a:lnTo>
                  <a:lnTo>
                    <a:pt x="2293" y="762"/>
                  </a:lnTo>
                  <a:lnTo>
                    <a:pt x="2291" y="762"/>
                  </a:lnTo>
                  <a:lnTo>
                    <a:pt x="2289" y="760"/>
                  </a:lnTo>
                  <a:lnTo>
                    <a:pt x="2288" y="760"/>
                  </a:lnTo>
                  <a:lnTo>
                    <a:pt x="2286" y="758"/>
                  </a:lnTo>
                  <a:lnTo>
                    <a:pt x="2285" y="760"/>
                  </a:lnTo>
                  <a:lnTo>
                    <a:pt x="2283" y="760"/>
                  </a:lnTo>
                  <a:lnTo>
                    <a:pt x="2281" y="758"/>
                  </a:lnTo>
                  <a:lnTo>
                    <a:pt x="2280" y="758"/>
                  </a:lnTo>
                  <a:lnTo>
                    <a:pt x="2278" y="758"/>
                  </a:lnTo>
                  <a:lnTo>
                    <a:pt x="2278" y="757"/>
                  </a:lnTo>
                  <a:lnTo>
                    <a:pt x="2276" y="757"/>
                  </a:lnTo>
                  <a:lnTo>
                    <a:pt x="2273" y="755"/>
                  </a:lnTo>
                  <a:lnTo>
                    <a:pt x="2272" y="755"/>
                  </a:lnTo>
                  <a:lnTo>
                    <a:pt x="2268" y="755"/>
                  </a:lnTo>
                  <a:lnTo>
                    <a:pt x="2267" y="757"/>
                  </a:lnTo>
                  <a:lnTo>
                    <a:pt x="2265" y="757"/>
                  </a:lnTo>
                  <a:lnTo>
                    <a:pt x="2263" y="757"/>
                  </a:lnTo>
                  <a:lnTo>
                    <a:pt x="2259" y="755"/>
                  </a:lnTo>
                  <a:lnTo>
                    <a:pt x="2257" y="755"/>
                  </a:lnTo>
                  <a:lnTo>
                    <a:pt x="2255" y="755"/>
                  </a:lnTo>
                  <a:lnTo>
                    <a:pt x="2254" y="754"/>
                  </a:lnTo>
                  <a:lnTo>
                    <a:pt x="2252" y="754"/>
                  </a:lnTo>
                  <a:lnTo>
                    <a:pt x="2252" y="752"/>
                  </a:lnTo>
                  <a:lnTo>
                    <a:pt x="2250" y="750"/>
                  </a:lnTo>
                  <a:lnTo>
                    <a:pt x="2249" y="750"/>
                  </a:lnTo>
                  <a:lnTo>
                    <a:pt x="2247" y="750"/>
                  </a:lnTo>
                  <a:lnTo>
                    <a:pt x="2242" y="749"/>
                  </a:lnTo>
                  <a:lnTo>
                    <a:pt x="2241" y="749"/>
                  </a:lnTo>
                  <a:lnTo>
                    <a:pt x="2242" y="749"/>
                  </a:lnTo>
                  <a:lnTo>
                    <a:pt x="2242" y="750"/>
                  </a:lnTo>
                  <a:lnTo>
                    <a:pt x="2242" y="752"/>
                  </a:lnTo>
                  <a:lnTo>
                    <a:pt x="2242" y="754"/>
                  </a:lnTo>
                  <a:lnTo>
                    <a:pt x="2242" y="755"/>
                  </a:lnTo>
                  <a:lnTo>
                    <a:pt x="2242" y="757"/>
                  </a:lnTo>
                  <a:lnTo>
                    <a:pt x="2244" y="758"/>
                  </a:lnTo>
                  <a:lnTo>
                    <a:pt x="2242" y="758"/>
                  </a:lnTo>
                  <a:lnTo>
                    <a:pt x="2244" y="758"/>
                  </a:lnTo>
                  <a:lnTo>
                    <a:pt x="2244" y="760"/>
                  </a:lnTo>
                  <a:lnTo>
                    <a:pt x="2244" y="762"/>
                  </a:lnTo>
                  <a:lnTo>
                    <a:pt x="2246" y="762"/>
                  </a:lnTo>
                  <a:lnTo>
                    <a:pt x="2246" y="763"/>
                  </a:lnTo>
                  <a:lnTo>
                    <a:pt x="2247" y="763"/>
                  </a:lnTo>
                  <a:lnTo>
                    <a:pt x="2247" y="765"/>
                  </a:lnTo>
                  <a:lnTo>
                    <a:pt x="2247" y="767"/>
                  </a:lnTo>
                  <a:lnTo>
                    <a:pt x="2249" y="767"/>
                  </a:lnTo>
                  <a:lnTo>
                    <a:pt x="2247" y="767"/>
                  </a:lnTo>
                  <a:lnTo>
                    <a:pt x="2249" y="768"/>
                  </a:lnTo>
                  <a:lnTo>
                    <a:pt x="2249" y="770"/>
                  </a:lnTo>
                  <a:lnTo>
                    <a:pt x="2250" y="770"/>
                  </a:lnTo>
                  <a:lnTo>
                    <a:pt x="2252" y="771"/>
                  </a:lnTo>
                  <a:lnTo>
                    <a:pt x="2252" y="770"/>
                  </a:lnTo>
                  <a:lnTo>
                    <a:pt x="2254" y="771"/>
                  </a:lnTo>
                  <a:lnTo>
                    <a:pt x="2254" y="773"/>
                  </a:lnTo>
                  <a:lnTo>
                    <a:pt x="2254" y="775"/>
                  </a:lnTo>
                  <a:lnTo>
                    <a:pt x="2252" y="775"/>
                  </a:lnTo>
                  <a:lnTo>
                    <a:pt x="2252" y="776"/>
                  </a:lnTo>
                  <a:lnTo>
                    <a:pt x="2254" y="776"/>
                  </a:lnTo>
                  <a:lnTo>
                    <a:pt x="2254" y="778"/>
                  </a:lnTo>
                  <a:lnTo>
                    <a:pt x="2255" y="778"/>
                  </a:lnTo>
                  <a:lnTo>
                    <a:pt x="2257" y="778"/>
                  </a:lnTo>
                  <a:lnTo>
                    <a:pt x="2257" y="780"/>
                  </a:lnTo>
                  <a:lnTo>
                    <a:pt x="2259" y="781"/>
                  </a:lnTo>
                  <a:lnTo>
                    <a:pt x="2262" y="783"/>
                  </a:lnTo>
                  <a:lnTo>
                    <a:pt x="2262" y="784"/>
                  </a:lnTo>
                  <a:lnTo>
                    <a:pt x="2260" y="784"/>
                  </a:lnTo>
                  <a:lnTo>
                    <a:pt x="2260" y="786"/>
                  </a:lnTo>
                  <a:lnTo>
                    <a:pt x="2259" y="788"/>
                  </a:lnTo>
                  <a:lnTo>
                    <a:pt x="2260" y="788"/>
                  </a:lnTo>
                  <a:lnTo>
                    <a:pt x="2260" y="789"/>
                  </a:lnTo>
                  <a:lnTo>
                    <a:pt x="2259" y="789"/>
                  </a:lnTo>
                  <a:lnTo>
                    <a:pt x="2259" y="791"/>
                  </a:lnTo>
                  <a:lnTo>
                    <a:pt x="2257" y="791"/>
                  </a:lnTo>
                  <a:lnTo>
                    <a:pt x="2257" y="793"/>
                  </a:lnTo>
                  <a:lnTo>
                    <a:pt x="2257" y="794"/>
                  </a:lnTo>
                  <a:lnTo>
                    <a:pt x="2257" y="797"/>
                  </a:lnTo>
                  <a:lnTo>
                    <a:pt x="2257" y="799"/>
                  </a:lnTo>
                  <a:lnTo>
                    <a:pt x="2259" y="804"/>
                  </a:lnTo>
                  <a:lnTo>
                    <a:pt x="2260" y="804"/>
                  </a:lnTo>
                  <a:lnTo>
                    <a:pt x="2260" y="806"/>
                  </a:lnTo>
                  <a:lnTo>
                    <a:pt x="2263" y="810"/>
                  </a:lnTo>
                  <a:lnTo>
                    <a:pt x="2262" y="812"/>
                  </a:lnTo>
                  <a:lnTo>
                    <a:pt x="2262" y="814"/>
                  </a:lnTo>
                  <a:lnTo>
                    <a:pt x="2260" y="820"/>
                  </a:lnTo>
                  <a:lnTo>
                    <a:pt x="2262" y="820"/>
                  </a:lnTo>
                  <a:lnTo>
                    <a:pt x="2262" y="822"/>
                  </a:lnTo>
                  <a:lnTo>
                    <a:pt x="2263" y="823"/>
                  </a:lnTo>
                  <a:lnTo>
                    <a:pt x="2265" y="823"/>
                  </a:lnTo>
                  <a:lnTo>
                    <a:pt x="2267" y="825"/>
                  </a:lnTo>
                  <a:lnTo>
                    <a:pt x="2268" y="825"/>
                  </a:lnTo>
                  <a:lnTo>
                    <a:pt x="2270" y="827"/>
                  </a:lnTo>
                  <a:lnTo>
                    <a:pt x="2270" y="828"/>
                  </a:lnTo>
                  <a:lnTo>
                    <a:pt x="2270" y="830"/>
                  </a:lnTo>
                  <a:lnTo>
                    <a:pt x="2270" y="832"/>
                  </a:lnTo>
                  <a:lnTo>
                    <a:pt x="2268" y="832"/>
                  </a:lnTo>
                  <a:lnTo>
                    <a:pt x="2268" y="833"/>
                  </a:lnTo>
                  <a:lnTo>
                    <a:pt x="2268" y="835"/>
                  </a:lnTo>
                  <a:lnTo>
                    <a:pt x="2268" y="836"/>
                  </a:lnTo>
                  <a:lnTo>
                    <a:pt x="2272" y="838"/>
                  </a:lnTo>
                  <a:lnTo>
                    <a:pt x="2273" y="838"/>
                  </a:lnTo>
                  <a:lnTo>
                    <a:pt x="2275" y="838"/>
                  </a:lnTo>
                  <a:lnTo>
                    <a:pt x="2276" y="836"/>
                  </a:lnTo>
                  <a:lnTo>
                    <a:pt x="2280" y="838"/>
                  </a:lnTo>
                  <a:lnTo>
                    <a:pt x="2281" y="838"/>
                  </a:lnTo>
                  <a:lnTo>
                    <a:pt x="2281" y="840"/>
                  </a:lnTo>
                  <a:lnTo>
                    <a:pt x="2283" y="841"/>
                  </a:lnTo>
                  <a:lnTo>
                    <a:pt x="2285" y="843"/>
                  </a:lnTo>
                  <a:lnTo>
                    <a:pt x="2285" y="845"/>
                  </a:lnTo>
                  <a:lnTo>
                    <a:pt x="2286" y="848"/>
                  </a:lnTo>
                  <a:lnTo>
                    <a:pt x="2285" y="849"/>
                  </a:lnTo>
                  <a:lnTo>
                    <a:pt x="2285" y="851"/>
                  </a:lnTo>
                  <a:lnTo>
                    <a:pt x="2286" y="851"/>
                  </a:lnTo>
                  <a:lnTo>
                    <a:pt x="2286" y="853"/>
                  </a:lnTo>
                  <a:lnTo>
                    <a:pt x="2285" y="854"/>
                  </a:lnTo>
                  <a:lnTo>
                    <a:pt x="2281" y="859"/>
                  </a:lnTo>
                  <a:lnTo>
                    <a:pt x="2278" y="861"/>
                  </a:lnTo>
                  <a:lnTo>
                    <a:pt x="2276" y="862"/>
                  </a:lnTo>
                  <a:lnTo>
                    <a:pt x="2275" y="866"/>
                  </a:lnTo>
                  <a:lnTo>
                    <a:pt x="2273" y="866"/>
                  </a:lnTo>
                  <a:lnTo>
                    <a:pt x="2273" y="867"/>
                  </a:lnTo>
                  <a:lnTo>
                    <a:pt x="2273" y="869"/>
                  </a:lnTo>
                  <a:lnTo>
                    <a:pt x="2273" y="871"/>
                  </a:lnTo>
                  <a:lnTo>
                    <a:pt x="2273" y="872"/>
                  </a:lnTo>
                  <a:lnTo>
                    <a:pt x="2272" y="872"/>
                  </a:lnTo>
                  <a:lnTo>
                    <a:pt x="2272" y="874"/>
                  </a:lnTo>
                  <a:lnTo>
                    <a:pt x="2270" y="874"/>
                  </a:lnTo>
                  <a:lnTo>
                    <a:pt x="2268" y="874"/>
                  </a:lnTo>
                  <a:lnTo>
                    <a:pt x="2267" y="875"/>
                  </a:lnTo>
                  <a:lnTo>
                    <a:pt x="2267" y="877"/>
                  </a:lnTo>
                  <a:lnTo>
                    <a:pt x="2265" y="877"/>
                  </a:lnTo>
                  <a:lnTo>
                    <a:pt x="2265" y="879"/>
                  </a:lnTo>
                  <a:lnTo>
                    <a:pt x="2263" y="879"/>
                  </a:lnTo>
                  <a:lnTo>
                    <a:pt x="2262" y="877"/>
                  </a:lnTo>
                  <a:lnTo>
                    <a:pt x="2260" y="879"/>
                  </a:lnTo>
                  <a:lnTo>
                    <a:pt x="2257" y="880"/>
                  </a:lnTo>
                  <a:lnTo>
                    <a:pt x="2255" y="882"/>
                  </a:lnTo>
                  <a:lnTo>
                    <a:pt x="2254" y="882"/>
                  </a:lnTo>
                  <a:lnTo>
                    <a:pt x="2252" y="884"/>
                  </a:lnTo>
                  <a:lnTo>
                    <a:pt x="2252" y="885"/>
                  </a:lnTo>
                  <a:lnTo>
                    <a:pt x="2250" y="885"/>
                  </a:lnTo>
                  <a:lnTo>
                    <a:pt x="2249" y="885"/>
                  </a:lnTo>
                  <a:lnTo>
                    <a:pt x="2247" y="887"/>
                  </a:lnTo>
                  <a:lnTo>
                    <a:pt x="2246" y="885"/>
                  </a:lnTo>
                  <a:lnTo>
                    <a:pt x="2244" y="887"/>
                  </a:lnTo>
                  <a:lnTo>
                    <a:pt x="2244" y="889"/>
                  </a:lnTo>
                  <a:lnTo>
                    <a:pt x="2242" y="890"/>
                  </a:lnTo>
                  <a:lnTo>
                    <a:pt x="2242" y="892"/>
                  </a:lnTo>
                  <a:lnTo>
                    <a:pt x="2242" y="893"/>
                  </a:lnTo>
                  <a:lnTo>
                    <a:pt x="2241" y="895"/>
                  </a:lnTo>
                  <a:lnTo>
                    <a:pt x="2241" y="897"/>
                  </a:lnTo>
                  <a:lnTo>
                    <a:pt x="2241" y="898"/>
                  </a:lnTo>
                  <a:lnTo>
                    <a:pt x="2241" y="900"/>
                  </a:lnTo>
                  <a:lnTo>
                    <a:pt x="2242" y="902"/>
                  </a:lnTo>
                  <a:lnTo>
                    <a:pt x="2241" y="903"/>
                  </a:lnTo>
                  <a:lnTo>
                    <a:pt x="2241" y="905"/>
                  </a:lnTo>
                  <a:lnTo>
                    <a:pt x="2239" y="906"/>
                  </a:lnTo>
                  <a:lnTo>
                    <a:pt x="2237" y="908"/>
                  </a:lnTo>
                  <a:lnTo>
                    <a:pt x="2237" y="906"/>
                  </a:lnTo>
                  <a:lnTo>
                    <a:pt x="2236" y="910"/>
                  </a:lnTo>
                  <a:lnTo>
                    <a:pt x="2234" y="911"/>
                  </a:lnTo>
                  <a:lnTo>
                    <a:pt x="2234" y="913"/>
                  </a:lnTo>
                  <a:lnTo>
                    <a:pt x="2234" y="915"/>
                  </a:lnTo>
                  <a:lnTo>
                    <a:pt x="2233" y="915"/>
                  </a:lnTo>
                  <a:lnTo>
                    <a:pt x="2231" y="918"/>
                  </a:lnTo>
                  <a:lnTo>
                    <a:pt x="2231" y="919"/>
                  </a:lnTo>
                  <a:lnTo>
                    <a:pt x="2229" y="919"/>
                  </a:lnTo>
                  <a:lnTo>
                    <a:pt x="2231" y="921"/>
                  </a:lnTo>
                  <a:lnTo>
                    <a:pt x="2231" y="919"/>
                  </a:lnTo>
                  <a:lnTo>
                    <a:pt x="2233" y="919"/>
                  </a:lnTo>
                  <a:lnTo>
                    <a:pt x="2233" y="921"/>
                  </a:lnTo>
                  <a:lnTo>
                    <a:pt x="2233" y="923"/>
                  </a:lnTo>
                  <a:lnTo>
                    <a:pt x="2231" y="923"/>
                  </a:lnTo>
                  <a:lnTo>
                    <a:pt x="2229" y="924"/>
                  </a:lnTo>
                  <a:lnTo>
                    <a:pt x="2229" y="926"/>
                  </a:lnTo>
                  <a:lnTo>
                    <a:pt x="2231" y="926"/>
                  </a:lnTo>
                  <a:lnTo>
                    <a:pt x="2233" y="928"/>
                  </a:lnTo>
                  <a:lnTo>
                    <a:pt x="2233" y="929"/>
                  </a:lnTo>
                  <a:lnTo>
                    <a:pt x="2233" y="932"/>
                  </a:lnTo>
                  <a:lnTo>
                    <a:pt x="2234" y="937"/>
                  </a:lnTo>
                  <a:lnTo>
                    <a:pt x="2237" y="941"/>
                  </a:lnTo>
                  <a:lnTo>
                    <a:pt x="2239" y="944"/>
                  </a:lnTo>
                  <a:lnTo>
                    <a:pt x="2241" y="949"/>
                  </a:lnTo>
                  <a:lnTo>
                    <a:pt x="2241" y="950"/>
                  </a:lnTo>
                  <a:lnTo>
                    <a:pt x="2242" y="952"/>
                  </a:lnTo>
                  <a:lnTo>
                    <a:pt x="2242" y="954"/>
                  </a:lnTo>
                  <a:lnTo>
                    <a:pt x="2244" y="954"/>
                  </a:lnTo>
                  <a:lnTo>
                    <a:pt x="2244" y="955"/>
                  </a:lnTo>
                  <a:lnTo>
                    <a:pt x="2244" y="957"/>
                  </a:lnTo>
                  <a:lnTo>
                    <a:pt x="2244" y="960"/>
                  </a:lnTo>
                  <a:lnTo>
                    <a:pt x="2244" y="962"/>
                  </a:lnTo>
                  <a:lnTo>
                    <a:pt x="2246" y="967"/>
                  </a:lnTo>
                  <a:lnTo>
                    <a:pt x="2247" y="968"/>
                  </a:lnTo>
                  <a:lnTo>
                    <a:pt x="2249" y="968"/>
                  </a:lnTo>
                  <a:lnTo>
                    <a:pt x="2250" y="968"/>
                  </a:lnTo>
                  <a:lnTo>
                    <a:pt x="2250" y="967"/>
                  </a:lnTo>
                  <a:lnTo>
                    <a:pt x="2250" y="968"/>
                  </a:lnTo>
                  <a:lnTo>
                    <a:pt x="2252" y="968"/>
                  </a:lnTo>
                  <a:lnTo>
                    <a:pt x="2254" y="968"/>
                  </a:lnTo>
                  <a:lnTo>
                    <a:pt x="2255" y="968"/>
                  </a:lnTo>
                  <a:lnTo>
                    <a:pt x="2255" y="967"/>
                  </a:lnTo>
                  <a:lnTo>
                    <a:pt x="2257" y="967"/>
                  </a:lnTo>
                  <a:lnTo>
                    <a:pt x="2259" y="967"/>
                  </a:lnTo>
                  <a:lnTo>
                    <a:pt x="2260" y="965"/>
                  </a:lnTo>
                  <a:lnTo>
                    <a:pt x="2260" y="967"/>
                  </a:lnTo>
                  <a:lnTo>
                    <a:pt x="2263" y="967"/>
                  </a:lnTo>
                  <a:lnTo>
                    <a:pt x="2263" y="965"/>
                  </a:lnTo>
                  <a:lnTo>
                    <a:pt x="2263" y="967"/>
                  </a:lnTo>
                  <a:lnTo>
                    <a:pt x="2265" y="967"/>
                  </a:lnTo>
                  <a:lnTo>
                    <a:pt x="2265" y="965"/>
                  </a:lnTo>
                  <a:lnTo>
                    <a:pt x="2265" y="967"/>
                  </a:lnTo>
                  <a:lnTo>
                    <a:pt x="2265" y="968"/>
                  </a:lnTo>
                  <a:lnTo>
                    <a:pt x="2262" y="970"/>
                  </a:lnTo>
                  <a:lnTo>
                    <a:pt x="2260" y="971"/>
                  </a:lnTo>
                  <a:lnTo>
                    <a:pt x="2260" y="973"/>
                  </a:lnTo>
                  <a:lnTo>
                    <a:pt x="2262" y="975"/>
                  </a:lnTo>
                  <a:lnTo>
                    <a:pt x="2259" y="980"/>
                  </a:lnTo>
                  <a:lnTo>
                    <a:pt x="2257" y="981"/>
                  </a:lnTo>
                  <a:lnTo>
                    <a:pt x="2255" y="981"/>
                  </a:lnTo>
                  <a:lnTo>
                    <a:pt x="2255" y="986"/>
                  </a:lnTo>
                  <a:lnTo>
                    <a:pt x="2255" y="988"/>
                  </a:lnTo>
                  <a:lnTo>
                    <a:pt x="2254" y="988"/>
                  </a:lnTo>
                  <a:lnTo>
                    <a:pt x="2254" y="989"/>
                  </a:lnTo>
                  <a:lnTo>
                    <a:pt x="2252" y="991"/>
                  </a:lnTo>
                  <a:lnTo>
                    <a:pt x="2250" y="991"/>
                  </a:lnTo>
                  <a:lnTo>
                    <a:pt x="2249" y="991"/>
                  </a:lnTo>
                  <a:lnTo>
                    <a:pt x="2246" y="991"/>
                  </a:lnTo>
                  <a:lnTo>
                    <a:pt x="2246" y="989"/>
                  </a:lnTo>
                  <a:lnTo>
                    <a:pt x="2246" y="988"/>
                  </a:lnTo>
                  <a:lnTo>
                    <a:pt x="2244" y="988"/>
                  </a:lnTo>
                  <a:lnTo>
                    <a:pt x="2242" y="986"/>
                  </a:lnTo>
                  <a:lnTo>
                    <a:pt x="2241" y="986"/>
                  </a:lnTo>
                  <a:lnTo>
                    <a:pt x="2239" y="988"/>
                  </a:lnTo>
                  <a:lnTo>
                    <a:pt x="2237" y="988"/>
                  </a:lnTo>
                  <a:lnTo>
                    <a:pt x="2237" y="989"/>
                  </a:lnTo>
                  <a:lnTo>
                    <a:pt x="2239" y="991"/>
                  </a:lnTo>
                  <a:lnTo>
                    <a:pt x="2237" y="991"/>
                  </a:lnTo>
                  <a:lnTo>
                    <a:pt x="2236" y="991"/>
                  </a:lnTo>
                  <a:lnTo>
                    <a:pt x="2234" y="991"/>
                  </a:lnTo>
                  <a:lnTo>
                    <a:pt x="2233" y="991"/>
                  </a:lnTo>
                  <a:lnTo>
                    <a:pt x="2231" y="991"/>
                  </a:lnTo>
                  <a:lnTo>
                    <a:pt x="2231" y="989"/>
                  </a:lnTo>
                  <a:lnTo>
                    <a:pt x="2229" y="989"/>
                  </a:lnTo>
                  <a:lnTo>
                    <a:pt x="2228" y="989"/>
                  </a:lnTo>
                  <a:lnTo>
                    <a:pt x="2228" y="991"/>
                  </a:lnTo>
                  <a:lnTo>
                    <a:pt x="2226" y="991"/>
                  </a:lnTo>
                  <a:lnTo>
                    <a:pt x="2226" y="989"/>
                  </a:lnTo>
                  <a:lnTo>
                    <a:pt x="2224" y="989"/>
                  </a:lnTo>
                  <a:lnTo>
                    <a:pt x="2223" y="991"/>
                  </a:lnTo>
                  <a:lnTo>
                    <a:pt x="2223" y="993"/>
                  </a:lnTo>
                  <a:lnTo>
                    <a:pt x="2223" y="994"/>
                  </a:lnTo>
                  <a:lnTo>
                    <a:pt x="2223" y="996"/>
                  </a:lnTo>
                  <a:lnTo>
                    <a:pt x="2223" y="997"/>
                  </a:lnTo>
                  <a:lnTo>
                    <a:pt x="2221" y="997"/>
                  </a:lnTo>
                  <a:lnTo>
                    <a:pt x="2221" y="999"/>
                  </a:lnTo>
                  <a:lnTo>
                    <a:pt x="2220" y="1001"/>
                  </a:lnTo>
                  <a:lnTo>
                    <a:pt x="2220" y="1002"/>
                  </a:lnTo>
                  <a:lnTo>
                    <a:pt x="2218" y="1002"/>
                  </a:lnTo>
                  <a:lnTo>
                    <a:pt x="2218" y="1006"/>
                  </a:lnTo>
                  <a:lnTo>
                    <a:pt x="2216" y="1006"/>
                  </a:lnTo>
                  <a:lnTo>
                    <a:pt x="2216" y="1007"/>
                  </a:lnTo>
                  <a:lnTo>
                    <a:pt x="2215" y="1007"/>
                  </a:lnTo>
                  <a:lnTo>
                    <a:pt x="2215" y="1009"/>
                  </a:lnTo>
                  <a:lnTo>
                    <a:pt x="2213" y="1009"/>
                  </a:lnTo>
                  <a:lnTo>
                    <a:pt x="2213" y="1010"/>
                  </a:lnTo>
                  <a:lnTo>
                    <a:pt x="2211" y="1010"/>
                  </a:lnTo>
                  <a:lnTo>
                    <a:pt x="2211" y="1012"/>
                  </a:lnTo>
                  <a:lnTo>
                    <a:pt x="2210" y="1012"/>
                  </a:lnTo>
                  <a:lnTo>
                    <a:pt x="2208" y="1014"/>
                  </a:lnTo>
                  <a:lnTo>
                    <a:pt x="2207" y="1014"/>
                  </a:lnTo>
                  <a:lnTo>
                    <a:pt x="2205" y="1014"/>
                  </a:lnTo>
                  <a:lnTo>
                    <a:pt x="2205" y="1015"/>
                  </a:lnTo>
                  <a:lnTo>
                    <a:pt x="2203" y="1015"/>
                  </a:lnTo>
                  <a:lnTo>
                    <a:pt x="2203" y="1017"/>
                  </a:lnTo>
                  <a:lnTo>
                    <a:pt x="2202" y="1017"/>
                  </a:lnTo>
                  <a:lnTo>
                    <a:pt x="2200" y="1017"/>
                  </a:lnTo>
                  <a:lnTo>
                    <a:pt x="2198" y="1019"/>
                  </a:lnTo>
                  <a:lnTo>
                    <a:pt x="2198" y="1017"/>
                  </a:lnTo>
                  <a:lnTo>
                    <a:pt x="2198" y="1019"/>
                  </a:lnTo>
                  <a:lnTo>
                    <a:pt x="2198" y="1020"/>
                  </a:lnTo>
                  <a:lnTo>
                    <a:pt x="2197" y="1020"/>
                  </a:lnTo>
                  <a:lnTo>
                    <a:pt x="2197" y="1022"/>
                  </a:lnTo>
                  <a:lnTo>
                    <a:pt x="2195" y="1023"/>
                  </a:lnTo>
                  <a:lnTo>
                    <a:pt x="2195" y="1025"/>
                  </a:lnTo>
                  <a:lnTo>
                    <a:pt x="2194" y="1025"/>
                  </a:lnTo>
                  <a:lnTo>
                    <a:pt x="2194" y="1027"/>
                  </a:lnTo>
                  <a:lnTo>
                    <a:pt x="2194" y="1028"/>
                  </a:lnTo>
                  <a:lnTo>
                    <a:pt x="2192" y="1028"/>
                  </a:lnTo>
                  <a:lnTo>
                    <a:pt x="2194" y="1028"/>
                  </a:lnTo>
                  <a:lnTo>
                    <a:pt x="2194" y="1030"/>
                  </a:lnTo>
                  <a:lnTo>
                    <a:pt x="2192" y="1030"/>
                  </a:lnTo>
                  <a:lnTo>
                    <a:pt x="2192" y="1032"/>
                  </a:lnTo>
                  <a:lnTo>
                    <a:pt x="2192" y="1033"/>
                  </a:lnTo>
                  <a:lnTo>
                    <a:pt x="2190" y="1032"/>
                  </a:lnTo>
                  <a:lnTo>
                    <a:pt x="2190" y="1033"/>
                  </a:lnTo>
                  <a:lnTo>
                    <a:pt x="2189" y="1033"/>
                  </a:lnTo>
                  <a:lnTo>
                    <a:pt x="2189" y="1035"/>
                  </a:lnTo>
                  <a:lnTo>
                    <a:pt x="2187" y="1035"/>
                  </a:lnTo>
                  <a:lnTo>
                    <a:pt x="2187" y="1037"/>
                  </a:lnTo>
                  <a:lnTo>
                    <a:pt x="2187" y="1038"/>
                  </a:lnTo>
                  <a:lnTo>
                    <a:pt x="2185" y="1038"/>
                  </a:lnTo>
                  <a:lnTo>
                    <a:pt x="2185" y="1037"/>
                  </a:lnTo>
                  <a:lnTo>
                    <a:pt x="2185" y="1038"/>
                  </a:lnTo>
                  <a:lnTo>
                    <a:pt x="2185" y="1040"/>
                  </a:lnTo>
                  <a:lnTo>
                    <a:pt x="2184" y="1040"/>
                  </a:lnTo>
                  <a:lnTo>
                    <a:pt x="2184" y="1041"/>
                  </a:lnTo>
                  <a:lnTo>
                    <a:pt x="2182" y="1041"/>
                  </a:lnTo>
                  <a:lnTo>
                    <a:pt x="2184" y="1043"/>
                  </a:lnTo>
                  <a:lnTo>
                    <a:pt x="2182" y="1043"/>
                  </a:lnTo>
                  <a:lnTo>
                    <a:pt x="2181" y="1043"/>
                  </a:lnTo>
                  <a:lnTo>
                    <a:pt x="2181" y="1045"/>
                  </a:lnTo>
                  <a:lnTo>
                    <a:pt x="2182" y="1046"/>
                  </a:lnTo>
                  <a:lnTo>
                    <a:pt x="2182" y="1048"/>
                  </a:lnTo>
                  <a:lnTo>
                    <a:pt x="2184" y="1048"/>
                  </a:lnTo>
                  <a:lnTo>
                    <a:pt x="2184" y="1050"/>
                  </a:lnTo>
                  <a:lnTo>
                    <a:pt x="2184" y="1051"/>
                  </a:lnTo>
                  <a:lnTo>
                    <a:pt x="2184" y="1053"/>
                  </a:lnTo>
                  <a:lnTo>
                    <a:pt x="2185" y="1053"/>
                  </a:lnTo>
                  <a:lnTo>
                    <a:pt x="2185" y="1054"/>
                  </a:lnTo>
                  <a:lnTo>
                    <a:pt x="2185" y="1056"/>
                  </a:lnTo>
                  <a:lnTo>
                    <a:pt x="2184" y="1056"/>
                  </a:lnTo>
                  <a:lnTo>
                    <a:pt x="2185" y="1058"/>
                  </a:lnTo>
                  <a:lnTo>
                    <a:pt x="2185" y="1059"/>
                  </a:lnTo>
                  <a:lnTo>
                    <a:pt x="2185" y="1061"/>
                  </a:lnTo>
                  <a:lnTo>
                    <a:pt x="2184" y="1063"/>
                  </a:lnTo>
                  <a:lnTo>
                    <a:pt x="2185" y="1064"/>
                  </a:lnTo>
                  <a:lnTo>
                    <a:pt x="2184" y="1064"/>
                  </a:lnTo>
                  <a:lnTo>
                    <a:pt x="2184" y="1066"/>
                  </a:lnTo>
                  <a:lnTo>
                    <a:pt x="2184" y="1067"/>
                  </a:lnTo>
                  <a:lnTo>
                    <a:pt x="2185" y="1067"/>
                  </a:lnTo>
                  <a:lnTo>
                    <a:pt x="2185" y="1069"/>
                  </a:lnTo>
                  <a:lnTo>
                    <a:pt x="2185" y="1072"/>
                  </a:lnTo>
                  <a:lnTo>
                    <a:pt x="2184" y="1074"/>
                  </a:lnTo>
                  <a:lnTo>
                    <a:pt x="2184" y="1076"/>
                  </a:lnTo>
                  <a:lnTo>
                    <a:pt x="2184" y="1077"/>
                  </a:lnTo>
                  <a:lnTo>
                    <a:pt x="2182" y="1080"/>
                  </a:lnTo>
                  <a:lnTo>
                    <a:pt x="2184" y="1080"/>
                  </a:lnTo>
                  <a:lnTo>
                    <a:pt x="2184" y="1084"/>
                  </a:lnTo>
                  <a:lnTo>
                    <a:pt x="2184" y="1085"/>
                  </a:lnTo>
                  <a:lnTo>
                    <a:pt x="2184" y="1087"/>
                  </a:lnTo>
                  <a:lnTo>
                    <a:pt x="2182" y="1087"/>
                  </a:lnTo>
                  <a:lnTo>
                    <a:pt x="2182" y="1089"/>
                  </a:lnTo>
                  <a:lnTo>
                    <a:pt x="2182" y="1090"/>
                  </a:lnTo>
                  <a:lnTo>
                    <a:pt x="2184" y="1090"/>
                  </a:lnTo>
                  <a:lnTo>
                    <a:pt x="2184" y="1092"/>
                  </a:lnTo>
                  <a:lnTo>
                    <a:pt x="2182" y="1093"/>
                  </a:lnTo>
                  <a:lnTo>
                    <a:pt x="2184" y="1095"/>
                  </a:lnTo>
                  <a:lnTo>
                    <a:pt x="2182" y="1098"/>
                  </a:lnTo>
                  <a:lnTo>
                    <a:pt x="2184" y="1098"/>
                  </a:lnTo>
                  <a:lnTo>
                    <a:pt x="2184" y="1100"/>
                  </a:lnTo>
                  <a:lnTo>
                    <a:pt x="2184" y="1102"/>
                  </a:lnTo>
                  <a:lnTo>
                    <a:pt x="2184" y="1100"/>
                  </a:lnTo>
                  <a:lnTo>
                    <a:pt x="2179" y="1098"/>
                  </a:lnTo>
                  <a:lnTo>
                    <a:pt x="2177" y="1098"/>
                  </a:lnTo>
                  <a:lnTo>
                    <a:pt x="2174" y="1098"/>
                  </a:lnTo>
                  <a:lnTo>
                    <a:pt x="2172" y="1098"/>
                  </a:lnTo>
                  <a:lnTo>
                    <a:pt x="2171" y="1098"/>
                  </a:lnTo>
                  <a:lnTo>
                    <a:pt x="2169" y="1098"/>
                  </a:lnTo>
                  <a:lnTo>
                    <a:pt x="2168" y="1098"/>
                  </a:lnTo>
                  <a:lnTo>
                    <a:pt x="2166" y="1098"/>
                  </a:lnTo>
                  <a:lnTo>
                    <a:pt x="2164" y="1098"/>
                  </a:lnTo>
                  <a:lnTo>
                    <a:pt x="2163" y="1100"/>
                  </a:lnTo>
                  <a:lnTo>
                    <a:pt x="2161" y="1100"/>
                  </a:lnTo>
                  <a:lnTo>
                    <a:pt x="2159" y="1100"/>
                  </a:lnTo>
                  <a:lnTo>
                    <a:pt x="2159" y="1102"/>
                  </a:lnTo>
                  <a:lnTo>
                    <a:pt x="2158" y="1102"/>
                  </a:lnTo>
                  <a:lnTo>
                    <a:pt x="2156" y="1102"/>
                  </a:lnTo>
                  <a:lnTo>
                    <a:pt x="2156" y="1103"/>
                  </a:lnTo>
                  <a:lnTo>
                    <a:pt x="2154" y="1103"/>
                  </a:lnTo>
                  <a:lnTo>
                    <a:pt x="2153" y="1103"/>
                  </a:lnTo>
                  <a:lnTo>
                    <a:pt x="2151" y="1103"/>
                  </a:lnTo>
                  <a:lnTo>
                    <a:pt x="2153" y="1103"/>
                  </a:lnTo>
                  <a:lnTo>
                    <a:pt x="2154" y="1103"/>
                  </a:lnTo>
                  <a:lnTo>
                    <a:pt x="2156" y="1103"/>
                  </a:lnTo>
                  <a:lnTo>
                    <a:pt x="2156" y="1102"/>
                  </a:lnTo>
                  <a:lnTo>
                    <a:pt x="2158" y="1102"/>
                  </a:lnTo>
                  <a:lnTo>
                    <a:pt x="2158" y="1103"/>
                  </a:lnTo>
                  <a:lnTo>
                    <a:pt x="2154" y="1105"/>
                  </a:lnTo>
                  <a:lnTo>
                    <a:pt x="2153" y="1105"/>
                  </a:lnTo>
                  <a:lnTo>
                    <a:pt x="2151" y="1105"/>
                  </a:lnTo>
                  <a:lnTo>
                    <a:pt x="2148" y="1106"/>
                  </a:lnTo>
                  <a:lnTo>
                    <a:pt x="2146" y="1106"/>
                  </a:lnTo>
                  <a:lnTo>
                    <a:pt x="2146" y="1105"/>
                  </a:lnTo>
                  <a:lnTo>
                    <a:pt x="2146" y="1106"/>
                  </a:lnTo>
                  <a:lnTo>
                    <a:pt x="2145" y="1106"/>
                  </a:lnTo>
                  <a:lnTo>
                    <a:pt x="2145" y="1108"/>
                  </a:lnTo>
                  <a:lnTo>
                    <a:pt x="2143" y="1108"/>
                  </a:lnTo>
                  <a:lnTo>
                    <a:pt x="2145" y="1108"/>
                  </a:lnTo>
                  <a:lnTo>
                    <a:pt x="2143" y="1108"/>
                  </a:lnTo>
                  <a:lnTo>
                    <a:pt x="2138" y="1110"/>
                  </a:lnTo>
                  <a:lnTo>
                    <a:pt x="2137" y="1111"/>
                  </a:lnTo>
                  <a:lnTo>
                    <a:pt x="2135" y="1111"/>
                  </a:lnTo>
                  <a:lnTo>
                    <a:pt x="2133" y="1111"/>
                  </a:lnTo>
                  <a:lnTo>
                    <a:pt x="2133" y="1110"/>
                  </a:lnTo>
                  <a:lnTo>
                    <a:pt x="2135" y="1110"/>
                  </a:lnTo>
                  <a:lnTo>
                    <a:pt x="2137" y="1110"/>
                  </a:lnTo>
                  <a:lnTo>
                    <a:pt x="2137" y="1108"/>
                  </a:lnTo>
                  <a:lnTo>
                    <a:pt x="2135" y="1108"/>
                  </a:lnTo>
                  <a:lnTo>
                    <a:pt x="2135" y="1110"/>
                  </a:lnTo>
                  <a:lnTo>
                    <a:pt x="2133" y="1110"/>
                  </a:lnTo>
                  <a:lnTo>
                    <a:pt x="2132" y="1110"/>
                  </a:lnTo>
                  <a:lnTo>
                    <a:pt x="2130" y="1110"/>
                  </a:lnTo>
                  <a:lnTo>
                    <a:pt x="2128" y="1110"/>
                  </a:lnTo>
                  <a:lnTo>
                    <a:pt x="2127" y="1110"/>
                  </a:lnTo>
                  <a:lnTo>
                    <a:pt x="2127" y="1111"/>
                  </a:lnTo>
                  <a:lnTo>
                    <a:pt x="2127" y="1110"/>
                  </a:lnTo>
                  <a:lnTo>
                    <a:pt x="2125" y="1110"/>
                  </a:lnTo>
                  <a:lnTo>
                    <a:pt x="2127" y="1111"/>
                  </a:lnTo>
                  <a:lnTo>
                    <a:pt x="2125" y="1111"/>
                  </a:lnTo>
                  <a:lnTo>
                    <a:pt x="2125" y="1113"/>
                  </a:lnTo>
                  <a:lnTo>
                    <a:pt x="2125" y="1115"/>
                  </a:lnTo>
                  <a:lnTo>
                    <a:pt x="2124" y="1115"/>
                  </a:lnTo>
                  <a:lnTo>
                    <a:pt x="2124" y="1113"/>
                  </a:lnTo>
                  <a:lnTo>
                    <a:pt x="2122" y="1111"/>
                  </a:lnTo>
                  <a:lnTo>
                    <a:pt x="2120" y="1110"/>
                  </a:lnTo>
                  <a:lnTo>
                    <a:pt x="2119" y="1110"/>
                  </a:lnTo>
                  <a:lnTo>
                    <a:pt x="2119" y="1108"/>
                  </a:lnTo>
                  <a:lnTo>
                    <a:pt x="2117" y="1108"/>
                  </a:lnTo>
                  <a:lnTo>
                    <a:pt x="2115" y="1108"/>
                  </a:lnTo>
                  <a:lnTo>
                    <a:pt x="2114" y="1108"/>
                  </a:lnTo>
                  <a:lnTo>
                    <a:pt x="2112" y="1106"/>
                  </a:lnTo>
                  <a:lnTo>
                    <a:pt x="2112" y="1105"/>
                  </a:lnTo>
                  <a:lnTo>
                    <a:pt x="2112" y="1106"/>
                  </a:lnTo>
                  <a:lnTo>
                    <a:pt x="2111" y="1105"/>
                  </a:lnTo>
                  <a:lnTo>
                    <a:pt x="2111" y="1103"/>
                  </a:lnTo>
                  <a:lnTo>
                    <a:pt x="2111" y="1105"/>
                  </a:lnTo>
                  <a:lnTo>
                    <a:pt x="2114" y="1108"/>
                  </a:lnTo>
                  <a:lnTo>
                    <a:pt x="2114" y="1110"/>
                  </a:lnTo>
                  <a:lnTo>
                    <a:pt x="2115" y="1110"/>
                  </a:lnTo>
                  <a:lnTo>
                    <a:pt x="2115" y="1111"/>
                  </a:lnTo>
                  <a:lnTo>
                    <a:pt x="2112" y="1108"/>
                  </a:lnTo>
                  <a:lnTo>
                    <a:pt x="2106" y="1100"/>
                  </a:lnTo>
                  <a:lnTo>
                    <a:pt x="2104" y="1098"/>
                  </a:lnTo>
                  <a:lnTo>
                    <a:pt x="2104" y="1097"/>
                  </a:lnTo>
                  <a:lnTo>
                    <a:pt x="2104" y="1098"/>
                  </a:lnTo>
                  <a:lnTo>
                    <a:pt x="2102" y="1097"/>
                  </a:lnTo>
                  <a:lnTo>
                    <a:pt x="2101" y="1095"/>
                  </a:lnTo>
                  <a:lnTo>
                    <a:pt x="2101" y="1097"/>
                  </a:lnTo>
                  <a:lnTo>
                    <a:pt x="2101" y="1095"/>
                  </a:lnTo>
                  <a:lnTo>
                    <a:pt x="2099" y="1095"/>
                  </a:lnTo>
                  <a:lnTo>
                    <a:pt x="2096" y="1092"/>
                  </a:lnTo>
                  <a:lnTo>
                    <a:pt x="2094" y="1090"/>
                  </a:lnTo>
                  <a:lnTo>
                    <a:pt x="2093" y="1090"/>
                  </a:lnTo>
                  <a:lnTo>
                    <a:pt x="2091" y="1090"/>
                  </a:lnTo>
                  <a:lnTo>
                    <a:pt x="2089" y="1090"/>
                  </a:lnTo>
                  <a:lnTo>
                    <a:pt x="2088" y="1090"/>
                  </a:lnTo>
                  <a:lnTo>
                    <a:pt x="2086" y="1090"/>
                  </a:lnTo>
                  <a:lnTo>
                    <a:pt x="2086" y="1089"/>
                  </a:lnTo>
                  <a:lnTo>
                    <a:pt x="2086" y="1090"/>
                  </a:lnTo>
                  <a:lnTo>
                    <a:pt x="2085" y="1090"/>
                  </a:lnTo>
                  <a:lnTo>
                    <a:pt x="2083" y="1090"/>
                  </a:lnTo>
                  <a:lnTo>
                    <a:pt x="2081" y="1090"/>
                  </a:lnTo>
                  <a:lnTo>
                    <a:pt x="2080" y="1090"/>
                  </a:lnTo>
                  <a:lnTo>
                    <a:pt x="2080" y="1089"/>
                  </a:lnTo>
                  <a:lnTo>
                    <a:pt x="2078" y="1087"/>
                  </a:lnTo>
                  <a:lnTo>
                    <a:pt x="2076" y="1087"/>
                  </a:lnTo>
                  <a:lnTo>
                    <a:pt x="2076" y="1085"/>
                  </a:lnTo>
                  <a:lnTo>
                    <a:pt x="2075" y="1085"/>
                  </a:lnTo>
                  <a:lnTo>
                    <a:pt x="2073" y="1084"/>
                  </a:lnTo>
                  <a:lnTo>
                    <a:pt x="2072" y="1084"/>
                  </a:lnTo>
                  <a:lnTo>
                    <a:pt x="2070" y="1085"/>
                  </a:lnTo>
                  <a:lnTo>
                    <a:pt x="2068" y="1085"/>
                  </a:lnTo>
                  <a:lnTo>
                    <a:pt x="2067" y="1085"/>
                  </a:lnTo>
                  <a:lnTo>
                    <a:pt x="2065" y="1084"/>
                  </a:lnTo>
                  <a:lnTo>
                    <a:pt x="2063" y="1084"/>
                  </a:lnTo>
                  <a:lnTo>
                    <a:pt x="2063" y="1082"/>
                  </a:lnTo>
                  <a:lnTo>
                    <a:pt x="2062" y="1082"/>
                  </a:lnTo>
                  <a:lnTo>
                    <a:pt x="2060" y="1082"/>
                  </a:lnTo>
                  <a:lnTo>
                    <a:pt x="2059" y="1080"/>
                  </a:lnTo>
                  <a:lnTo>
                    <a:pt x="2057" y="1080"/>
                  </a:lnTo>
                  <a:lnTo>
                    <a:pt x="2057" y="1079"/>
                  </a:lnTo>
                  <a:lnTo>
                    <a:pt x="2055" y="1079"/>
                  </a:lnTo>
                  <a:lnTo>
                    <a:pt x="2057" y="1079"/>
                  </a:lnTo>
                  <a:lnTo>
                    <a:pt x="2057" y="1077"/>
                  </a:lnTo>
                  <a:lnTo>
                    <a:pt x="2057" y="1076"/>
                  </a:lnTo>
                  <a:lnTo>
                    <a:pt x="2055" y="1076"/>
                  </a:lnTo>
                  <a:lnTo>
                    <a:pt x="2057" y="1074"/>
                  </a:lnTo>
                  <a:lnTo>
                    <a:pt x="2059" y="1074"/>
                  </a:lnTo>
                  <a:lnTo>
                    <a:pt x="2057" y="1074"/>
                  </a:lnTo>
                  <a:lnTo>
                    <a:pt x="2055" y="1074"/>
                  </a:lnTo>
                  <a:lnTo>
                    <a:pt x="2055" y="1076"/>
                  </a:lnTo>
                  <a:lnTo>
                    <a:pt x="2057" y="1077"/>
                  </a:lnTo>
                  <a:lnTo>
                    <a:pt x="2055" y="1077"/>
                  </a:lnTo>
                  <a:lnTo>
                    <a:pt x="2055" y="1079"/>
                  </a:lnTo>
                  <a:lnTo>
                    <a:pt x="2055" y="1077"/>
                  </a:lnTo>
                  <a:lnTo>
                    <a:pt x="2054" y="1077"/>
                  </a:lnTo>
                  <a:lnTo>
                    <a:pt x="2052" y="1076"/>
                  </a:lnTo>
                  <a:lnTo>
                    <a:pt x="2052" y="1077"/>
                  </a:lnTo>
                  <a:lnTo>
                    <a:pt x="2050" y="1077"/>
                  </a:lnTo>
                  <a:lnTo>
                    <a:pt x="2050" y="1076"/>
                  </a:lnTo>
                  <a:lnTo>
                    <a:pt x="2049" y="1076"/>
                  </a:lnTo>
                  <a:lnTo>
                    <a:pt x="2049" y="1074"/>
                  </a:lnTo>
                  <a:lnTo>
                    <a:pt x="2047" y="1074"/>
                  </a:lnTo>
                  <a:lnTo>
                    <a:pt x="2046" y="1074"/>
                  </a:lnTo>
                  <a:lnTo>
                    <a:pt x="2046" y="1076"/>
                  </a:lnTo>
                  <a:lnTo>
                    <a:pt x="2046" y="1074"/>
                  </a:lnTo>
                  <a:lnTo>
                    <a:pt x="2047" y="1074"/>
                  </a:lnTo>
                  <a:lnTo>
                    <a:pt x="2049" y="1074"/>
                  </a:lnTo>
                  <a:lnTo>
                    <a:pt x="2049" y="1072"/>
                  </a:lnTo>
                  <a:lnTo>
                    <a:pt x="2050" y="1072"/>
                  </a:lnTo>
                  <a:lnTo>
                    <a:pt x="2050" y="1071"/>
                  </a:lnTo>
                  <a:lnTo>
                    <a:pt x="2049" y="1072"/>
                  </a:lnTo>
                  <a:lnTo>
                    <a:pt x="2049" y="1074"/>
                  </a:lnTo>
                  <a:lnTo>
                    <a:pt x="2047" y="1074"/>
                  </a:lnTo>
                  <a:lnTo>
                    <a:pt x="2046" y="1072"/>
                  </a:lnTo>
                  <a:lnTo>
                    <a:pt x="2046" y="1074"/>
                  </a:lnTo>
                  <a:lnTo>
                    <a:pt x="2044" y="1074"/>
                  </a:lnTo>
                  <a:lnTo>
                    <a:pt x="2046" y="1074"/>
                  </a:lnTo>
                  <a:lnTo>
                    <a:pt x="2044" y="1074"/>
                  </a:lnTo>
                  <a:lnTo>
                    <a:pt x="2042" y="1074"/>
                  </a:lnTo>
                  <a:lnTo>
                    <a:pt x="2041" y="1074"/>
                  </a:lnTo>
                  <a:lnTo>
                    <a:pt x="2041" y="1076"/>
                  </a:lnTo>
                  <a:lnTo>
                    <a:pt x="2039" y="1076"/>
                  </a:lnTo>
                  <a:lnTo>
                    <a:pt x="2041" y="1076"/>
                  </a:lnTo>
                  <a:lnTo>
                    <a:pt x="2039" y="1076"/>
                  </a:lnTo>
                  <a:lnTo>
                    <a:pt x="2041" y="1077"/>
                  </a:lnTo>
                  <a:lnTo>
                    <a:pt x="2039" y="1077"/>
                  </a:lnTo>
                  <a:lnTo>
                    <a:pt x="2039" y="1079"/>
                  </a:lnTo>
                  <a:lnTo>
                    <a:pt x="2037" y="1079"/>
                  </a:lnTo>
                  <a:lnTo>
                    <a:pt x="2037" y="1077"/>
                  </a:lnTo>
                  <a:lnTo>
                    <a:pt x="2036" y="1077"/>
                  </a:lnTo>
                  <a:lnTo>
                    <a:pt x="2034" y="1077"/>
                  </a:lnTo>
                  <a:lnTo>
                    <a:pt x="2033" y="1076"/>
                  </a:lnTo>
                  <a:lnTo>
                    <a:pt x="2033" y="1077"/>
                  </a:lnTo>
                  <a:lnTo>
                    <a:pt x="2031" y="1077"/>
                  </a:lnTo>
                  <a:lnTo>
                    <a:pt x="2029" y="1077"/>
                  </a:lnTo>
                  <a:lnTo>
                    <a:pt x="2028" y="1077"/>
                  </a:lnTo>
                  <a:lnTo>
                    <a:pt x="2026" y="1077"/>
                  </a:lnTo>
                  <a:lnTo>
                    <a:pt x="2024" y="1077"/>
                  </a:lnTo>
                  <a:lnTo>
                    <a:pt x="2023" y="1077"/>
                  </a:lnTo>
                  <a:lnTo>
                    <a:pt x="2021" y="1077"/>
                  </a:lnTo>
                  <a:lnTo>
                    <a:pt x="2018" y="1077"/>
                  </a:lnTo>
                  <a:lnTo>
                    <a:pt x="2016" y="1079"/>
                  </a:lnTo>
                  <a:lnTo>
                    <a:pt x="2015" y="1077"/>
                  </a:lnTo>
                  <a:lnTo>
                    <a:pt x="2013" y="1077"/>
                  </a:lnTo>
                  <a:lnTo>
                    <a:pt x="2013" y="1079"/>
                  </a:lnTo>
                  <a:lnTo>
                    <a:pt x="2011" y="1079"/>
                  </a:lnTo>
                  <a:lnTo>
                    <a:pt x="2011" y="1080"/>
                  </a:lnTo>
                  <a:lnTo>
                    <a:pt x="2010" y="1080"/>
                  </a:lnTo>
                  <a:lnTo>
                    <a:pt x="2008" y="1080"/>
                  </a:lnTo>
                  <a:lnTo>
                    <a:pt x="2008" y="1082"/>
                  </a:lnTo>
                  <a:lnTo>
                    <a:pt x="2007" y="1082"/>
                  </a:lnTo>
                  <a:lnTo>
                    <a:pt x="2005" y="1082"/>
                  </a:lnTo>
                  <a:lnTo>
                    <a:pt x="2005" y="1084"/>
                  </a:lnTo>
                  <a:lnTo>
                    <a:pt x="2005" y="1082"/>
                  </a:lnTo>
                  <a:lnTo>
                    <a:pt x="2005" y="1080"/>
                  </a:lnTo>
                  <a:lnTo>
                    <a:pt x="2005" y="1079"/>
                  </a:lnTo>
                  <a:lnTo>
                    <a:pt x="2005" y="1077"/>
                  </a:lnTo>
                  <a:lnTo>
                    <a:pt x="2003" y="1077"/>
                  </a:lnTo>
                  <a:lnTo>
                    <a:pt x="2002" y="1077"/>
                  </a:lnTo>
                  <a:lnTo>
                    <a:pt x="2002" y="1079"/>
                  </a:lnTo>
                  <a:lnTo>
                    <a:pt x="2002" y="1077"/>
                  </a:lnTo>
                  <a:lnTo>
                    <a:pt x="2000" y="1077"/>
                  </a:lnTo>
                  <a:lnTo>
                    <a:pt x="2002" y="1077"/>
                  </a:lnTo>
                  <a:lnTo>
                    <a:pt x="2002" y="1076"/>
                  </a:lnTo>
                  <a:lnTo>
                    <a:pt x="2003" y="1076"/>
                  </a:lnTo>
                  <a:lnTo>
                    <a:pt x="2003" y="1074"/>
                  </a:lnTo>
                  <a:lnTo>
                    <a:pt x="2005" y="1072"/>
                  </a:lnTo>
                  <a:lnTo>
                    <a:pt x="2007" y="1072"/>
                  </a:lnTo>
                  <a:lnTo>
                    <a:pt x="2007" y="1071"/>
                  </a:lnTo>
                  <a:lnTo>
                    <a:pt x="2007" y="1069"/>
                  </a:lnTo>
                  <a:lnTo>
                    <a:pt x="2008" y="1069"/>
                  </a:lnTo>
                  <a:lnTo>
                    <a:pt x="2008" y="1067"/>
                  </a:lnTo>
                  <a:lnTo>
                    <a:pt x="2008" y="1069"/>
                  </a:lnTo>
                  <a:lnTo>
                    <a:pt x="2010" y="1067"/>
                  </a:lnTo>
                  <a:lnTo>
                    <a:pt x="2011" y="1066"/>
                  </a:lnTo>
                  <a:lnTo>
                    <a:pt x="2011" y="1064"/>
                  </a:lnTo>
                  <a:lnTo>
                    <a:pt x="2013" y="1064"/>
                  </a:lnTo>
                  <a:lnTo>
                    <a:pt x="2013" y="1063"/>
                  </a:lnTo>
                  <a:lnTo>
                    <a:pt x="2015" y="1063"/>
                  </a:lnTo>
                  <a:lnTo>
                    <a:pt x="2015" y="1061"/>
                  </a:lnTo>
                  <a:lnTo>
                    <a:pt x="2016" y="1059"/>
                  </a:lnTo>
                  <a:lnTo>
                    <a:pt x="2015" y="1059"/>
                  </a:lnTo>
                  <a:lnTo>
                    <a:pt x="2015" y="1058"/>
                  </a:lnTo>
                  <a:lnTo>
                    <a:pt x="2016" y="1056"/>
                  </a:lnTo>
                  <a:lnTo>
                    <a:pt x="2015" y="1056"/>
                  </a:lnTo>
                  <a:lnTo>
                    <a:pt x="2016" y="1056"/>
                  </a:lnTo>
                  <a:lnTo>
                    <a:pt x="2018" y="1056"/>
                  </a:lnTo>
                  <a:lnTo>
                    <a:pt x="2018" y="1054"/>
                  </a:lnTo>
                  <a:lnTo>
                    <a:pt x="2020" y="1053"/>
                  </a:lnTo>
                  <a:lnTo>
                    <a:pt x="2021" y="1051"/>
                  </a:lnTo>
                  <a:lnTo>
                    <a:pt x="2021" y="1050"/>
                  </a:lnTo>
                  <a:lnTo>
                    <a:pt x="2023" y="1048"/>
                  </a:lnTo>
                  <a:lnTo>
                    <a:pt x="2023" y="1046"/>
                  </a:lnTo>
                  <a:lnTo>
                    <a:pt x="2023" y="1045"/>
                  </a:lnTo>
                  <a:lnTo>
                    <a:pt x="2024" y="1045"/>
                  </a:lnTo>
                  <a:lnTo>
                    <a:pt x="2024" y="1043"/>
                  </a:lnTo>
                  <a:lnTo>
                    <a:pt x="2023" y="1043"/>
                  </a:lnTo>
                  <a:lnTo>
                    <a:pt x="2023" y="1041"/>
                  </a:lnTo>
                  <a:lnTo>
                    <a:pt x="2023" y="1040"/>
                  </a:lnTo>
                  <a:lnTo>
                    <a:pt x="2024" y="1040"/>
                  </a:lnTo>
                  <a:lnTo>
                    <a:pt x="2026" y="1038"/>
                  </a:lnTo>
                  <a:lnTo>
                    <a:pt x="2026" y="1037"/>
                  </a:lnTo>
                  <a:lnTo>
                    <a:pt x="2028" y="1037"/>
                  </a:lnTo>
                  <a:lnTo>
                    <a:pt x="2028" y="1038"/>
                  </a:lnTo>
                  <a:lnTo>
                    <a:pt x="2028" y="1037"/>
                  </a:lnTo>
                  <a:lnTo>
                    <a:pt x="2028" y="1035"/>
                  </a:lnTo>
                  <a:lnTo>
                    <a:pt x="2029" y="1035"/>
                  </a:lnTo>
                  <a:lnTo>
                    <a:pt x="2029" y="1033"/>
                  </a:lnTo>
                  <a:lnTo>
                    <a:pt x="2031" y="1033"/>
                  </a:lnTo>
                  <a:lnTo>
                    <a:pt x="2031" y="1032"/>
                  </a:lnTo>
                  <a:lnTo>
                    <a:pt x="2033" y="1030"/>
                  </a:lnTo>
                  <a:lnTo>
                    <a:pt x="2033" y="1028"/>
                  </a:lnTo>
                  <a:lnTo>
                    <a:pt x="2033" y="1030"/>
                  </a:lnTo>
                  <a:lnTo>
                    <a:pt x="2033" y="1028"/>
                  </a:lnTo>
                  <a:lnTo>
                    <a:pt x="2034" y="1028"/>
                  </a:lnTo>
                  <a:lnTo>
                    <a:pt x="2034" y="1027"/>
                  </a:lnTo>
                  <a:lnTo>
                    <a:pt x="2034" y="1025"/>
                  </a:lnTo>
                  <a:lnTo>
                    <a:pt x="2036" y="1025"/>
                  </a:lnTo>
                  <a:lnTo>
                    <a:pt x="2036" y="1023"/>
                  </a:lnTo>
                  <a:lnTo>
                    <a:pt x="2036" y="1022"/>
                  </a:lnTo>
                  <a:lnTo>
                    <a:pt x="2037" y="1022"/>
                  </a:lnTo>
                  <a:lnTo>
                    <a:pt x="2036" y="1022"/>
                  </a:lnTo>
                  <a:lnTo>
                    <a:pt x="2036" y="1020"/>
                  </a:lnTo>
                  <a:lnTo>
                    <a:pt x="2037" y="1020"/>
                  </a:lnTo>
                  <a:lnTo>
                    <a:pt x="2037" y="1019"/>
                  </a:lnTo>
                  <a:lnTo>
                    <a:pt x="2037" y="1017"/>
                  </a:lnTo>
                  <a:lnTo>
                    <a:pt x="2039" y="1017"/>
                  </a:lnTo>
                  <a:lnTo>
                    <a:pt x="2039" y="1015"/>
                  </a:lnTo>
                  <a:lnTo>
                    <a:pt x="2039" y="1014"/>
                  </a:lnTo>
                  <a:lnTo>
                    <a:pt x="2039" y="1012"/>
                  </a:lnTo>
                  <a:lnTo>
                    <a:pt x="2041" y="1012"/>
                  </a:lnTo>
                  <a:lnTo>
                    <a:pt x="2039" y="1012"/>
                  </a:lnTo>
                  <a:lnTo>
                    <a:pt x="2041" y="1012"/>
                  </a:lnTo>
                  <a:lnTo>
                    <a:pt x="2039" y="1012"/>
                  </a:lnTo>
                  <a:lnTo>
                    <a:pt x="2041" y="1010"/>
                  </a:lnTo>
                  <a:lnTo>
                    <a:pt x="2039" y="1010"/>
                  </a:lnTo>
                  <a:lnTo>
                    <a:pt x="2041" y="1010"/>
                  </a:lnTo>
                  <a:lnTo>
                    <a:pt x="2039" y="1010"/>
                  </a:lnTo>
                  <a:lnTo>
                    <a:pt x="2039" y="1009"/>
                  </a:lnTo>
                  <a:lnTo>
                    <a:pt x="2041" y="1009"/>
                  </a:lnTo>
                  <a:lnTo>
                    <a:pt x="2039" y="1009"/>
                  </a:lnTo>
                  <a:lnTo>
                    <a:pt x="2039" y="1007"/>
                  </a:lnTo>
                  <a:lnTo>
                    <a:pt x="2039" y="1006"/>
                  </a:lnTo>
                  <a:lnTo>
                    <a:pt x="2039" y="1004"/>
                  </a:lnTo>
                  <a:lnTo>
                    <a:pt x="2039" y="1002"/>
                  </a:lnTo>
                  <a:lnTo>
                    <a:pt x="2039" y="1001"/>
                  </a:lnTo>
                  <a:lnTo>
                    <a:pt x="2039" y="999"/>
                  </a:lnTo>
                  <a:lnTo>
                    <a:pt x="2041" y="999"/>
                  </a:lnTo>
                  <a:lnTo>
                    <a:pt x="2041" y="997"/>
                  </a:lnTo>
                  <a:lnTo>
                    <a:pt x="2041" y="996"/>
                  </a:lnTo>
                  <a:lnTo>
                    <a:pt x="2042" y="996"/>
                  </a:lnTo>
                  <a:lnTo>
                    <a:pt x="2042" y="994"/>
                  </a:lnTo>
                  <a:lnTo>
                    <a:pt x="2042" y="993"/>
                  </a:lnTo>
                  <a:lnTo>
                    <a:pt x="2044" y="993"/>
                  </a:lnTo>
                  <a:lnTo>
                    <a:pt x="2044" y="991"/>
                  </a:lnTo>
                  <a:lnTo>
                    <a:pt x="2044" y="989"/>
                  </a:lnTo>
                  <a:lnTo>
                    <a:pt x="2044" y="988"/>
                  </a:lnTo>
                  <a:lnTo>
                    <a:pt x="2046" y="988"/>
                  </a:lnTo>
                  <a:lnTo>
                    <a:pt x="2046" y="986"/>
                  </a:lnTo>
                  <a:lnTo>
                    <a:pt x="2047" y="986"/>
                  </a:lnTo>
                  <a:lnTo>
                    <a:pt x="2049" y="986"/>
                  </a:lnTo>
                  <a:lnTo>
                    <a:pt x="2050" y="986"/>
                  </a:lnTo>
                  <a:lnTo>
                    <a:pt x="2049" y="988"/>
                  </a:lnTo>
                  <a:lnTo>
                    <a:pt x="2050" y="989"/>
                  </a:lnTo>
                  <a:lnTo>
                    <a:pt x="2049" y="989"/>
                  </a:lnTo>
                  <a:lnTo>
                    <a:pt x="2050" y="989"/>
                  </a:lnTo>
                  <a:lnTo>
                    <a:pt x="2049" y="988"/>
                  </a:lnTo>
                  <a:lnTo>
                    <a:pt x="2050" y="988"/>
                  </a:lnTo>
                  <a:lnTo>
                    <a:pt x="2050" y="986"/>
                  </a:lnTo>
                  <a:lnTo>
                    <a:pt x="2049" y="986"/>
                  </a:lnTo>
                  <a:lnTo>
                    <a:pt x="2047" y="986"/>
                  </a:lnTo>
                  <a:lnTo>
                    <a:pt x="2046" y="986"/>
                  </a:lnTo>
                  <a:lnTo>
                    <a:pt x="2046" y="984"/>
                  </a:lnTo>
                  <a:lnTo>
                    <a:pt x="2044" y="983"/>
                  </a:lnTo>
                  <a:lnTo>
                    <a:pt x="2044" y="981"/>
                  </a:lnTo>
                  <a:lnTo>
                    <a:pt x="2044" y="980"/>
                  </a:lnTo>
                  <a:lnTo>
                    <a:pt x="2046" y="980"/>
                  </a:lnTo>
                  <a:lnTo>
                    <a:pt x="2044" y="980"/>
                  </a:lnTo>
                  <a:lnTo>
                    <a:pt x="2046" y="980"/>
                  </a:lnTo>
                  <a:lnTo>
                    <a:pt x="2046" y="978"/>
                  </a:lnTo>
                  <a:lnTo>
                    <a:pt x="2046" y="976"/>
                  </a:lnTo>
                  <a:lnTo>
                    <a:pt x="2047" y="975"/>
                  </a:lnTo>
                  <a:lnTo>
                    <a:pt x="2047" y="973"/>
                  </a:lnTo>
                  <a:lnTo>
                    <a:pt x="2049" y="971"/>
                  </a:lnTo>
                  <a:lnTo>
                    <a:pt x="2049" y="970"/>
                  </a:lnTo>
                  <a:lnTo>
                    <a:pt x="2049" y="968"/>
                  </a:lnTo>
                  <a:lnTo>
                    <a:pt x="2049" y="967"/>
                  </a:lnTo>
                  <a:lnTo>
                    <a:pt x="2049" y="965"/>
                  </a:lnTo>
                  <a:lnTo>
                    <a:pt x="2049" y="963"/>
                  </a:lnTo>
                  <a:lnTo>
                    <a:pt x="2050" y="963"/>
                  </a:lnTo>
                  <a:lnTo>
                    <a:pt x="2050" y="962"/>
                  </a:lnTo>
                  <a:lnTo>
                    <a:pt x="2050" y="960"/>
                  </a:lnTo>
                  <a:lnTo>
                    <a:pt x="2050" y="958"/>
                  </a:lnTo>
                  <a:lnTo>
                    <a:pt x="2050" y="957"/>
                  </a:lnTo>
                  <a:lnTo>
                    <a:pt x="2049" y="957"/>
                  </a:lnTo>
                  <a:lnTo>
                    <a:pt x="2047" y="955"/>
                  </a:lnTo>
                  <a:lnTo>
                    <a:pt x="2046" y="955"/>
                  </a:lnTo>
                  <a:lnTo>
                    <a:pt x="2046" y="954"/>
                  </a:lnTo>
                  <a:lnTo>
                    <a:pt x="2044" y="955"/>
                  </a:lnTo>
                  <a:lnTo>
                    <a:pt x="2044" y="954"/>
                  </a:lnTo>
                  <a:lnTo>
                    <a:pt x="2044" y="955"/>
                  </a:lnTo>
                  <a:lnTo>
                    <a:pt x="2046" y="955"/>
                  </a:lnTo>
                  <a:lnTo>
                    <a:pt x="2044" y="954"/>
                  </a:lnTo>
                  <a:lnTo>
                    <a:pt x="2046" y="954"/>
                  </a:lnTo>
                  <a:lnTo>
                    <a:pt x="2044" y="954"/>
                  </a:lnTo>
                  <a:lnTo>
                    <a:pt x="2044" y="952"/>
                  </a:lnTo>
                  <a:lnTo>
                    <a:pt x="2042" y="952"/>
                  </a:lnTo>
                  <a:lnTo>
                    <a:pt x="2041" y="954"/>
                  </a:lnTo>
                  <a:lnTo>
                    <a:pt x="2042" y="952"/>
                  </a:lnTo>
                  <a:lnTo>
                    <a:pt x="2042" y="950"/>
                  </a:lnTo>
                  <a:lnTo>
                    <a:pt x="2044" y="949"/>
                  </a:lnTo>
                  <a:lnTo>
                    <a:pt x="2046" y="949"/>
                  </a:lnTo>
                  <a:lnTo>
                    <a:pt x="2049" y="944"/>
                  </a:lnTo>
                  <a:lnTo>
                    <a:pt x="2052" y="941"/>
                  </a:lnTo>
                  <a:lnTo>
                    <a:pt x="2052" y="939"/>
                  </a:lnTo>
                  <a:lnTo>
                    <a:pt x="2054" y="937"/>
                  </a:lnTo>
                  <a:lnTo>
                    <a:pt x="2054" y="936"/>
                  </a:lnTo>
                  <a:lnTo>
                    <a:pt x="2057" y="932"/>
                  </a:lnTo>
                  <a:lnTo>
                    <a:pt x="2057" y="929"/>
                  </a:lnTo>
                  <a:lnTo>
                    <a:pt x="2059" y="928"/>
                  </a:lnTo>
                  <a:lnTo>
                    <a:pt x="2060" y="924"/>
                  </a:lnTo>
                  <a:lnTo>
                    <a:pt x="2062" y="921"/>
                  </a:lnTo>
                  <a:lnTo>
                    <a:pt x="2063" y="916"/>
                  </a:lnTo>
                  <a:lnTo>
                    <a:pt x="2063" y="913"/>
                  </a:lnTo>
                  <a:lnTo>
                    <a:pt x="2063" y="911"/>
                  </a:lnTo>
                  <a:lnTo>
                    <a:pt x="2065" y="908"/>
                  </a:lnTo>
                  <a:lnTo>
                    <a:pt x="2065" y="906"/>
                  </a:lnTo>
                  <a:lnTo>
                    <a:pt x="2065" y="903"/>
                  </a:lnTo>
                  <a:lnTo>
                    <a:pt x="2065" y="902"/>
                  </a:lnTo>
                  <a:lnTo>
                    <a:pt x="2065" y="900"/>
                  </a:lnTo>
                  <a:lnTo>
                    <a:pt x="2065" y="898"/>
                  </a:lnTo>
                  <a:lnTo>
                    <a:pt x="2065" y="893"/>
                  </a:lnTo>
                  <a:lnTo>
                    <a:pt x="2065" y="892"/>
                  </a:lnTo>
                  <a:lnTo>
                    <a:pt x="2063" y="890"/>
                  </a:lnTo>
                  <a:lnTo>
                    <a:pt x="2063" y="889"/>
                  </a:lnTo>
                  <a:lnTo>
                    <a:pt x="2063" y="887"/>
                  </a:lnTo>
                  <a:lnTo>
                    <a:pt x="2062" y="885"/>
                  </a:lnTo>
                  <a:lnTo>
                    <a:pt x="2063" y="885"/>
                  </a:lnTo>
                  <a:lnTo>
                    <a:pt x="2060" y="882"/>
                  </a:lnTo>
                  <a:lnTo>
                    <a:pt x="2059" y="880"/>
                  </a:lnTo>
                  <a:lnTo>
                    <a:pt x="2059" y="879"/>
                  </a:lnTo>
                  <a:lnTo>
                    <a:pt x="2057" y="879"/>
                  </a:lnTo>
                  <a:lnTo>
                    <a:pt x="2057" y="877"/>
                  </a:lnTo>
                  <a:lnTo>
                    <a:pt x="2057" y="875"/>
                  </a:lnTo>
                  <a:lnTo>
                    <a:pt x="2059" y="875"/>
                  </a:lnTo>
                  <a:lnTo>
                    <a:pt x="2059" y="877"/>
                  </a:lnTo>
                  <a:lnTo>
                    <a:pt x="2059" y="879"/>
                  </a:lnTo>
                  <a:lnTo>
                    <a:pt x="2059" y="877"/>
                  </a:lnTo>
                  <a:lnTo>
                    <a:pt x="2060" y="877"/>
                  </a:lnTo>
                  <a:lnTo>
                    <a:pt x="2060" y="879"/>
                  </a:lnTo>
                  <a:lnTo>
                    <a:pt x="2060" y="880"/>
                  </a:lnTo>
                  <a:lnTo>
                    <a:pt x="2062" y="882"/>
                  </a:lnTo>
                  <a:lnTo>
                    <a:pt x="2063" y="885"/>
                  </a:lnTo>
                  <a:lnTo>
                    <a:pt x="2063" y="887"/>
                  </a:lnTo>
                  <a:lnTo>
                    <a:pt x="2065" y="889"/>
                  </a:lnTo>
                  <a:lnTo>
                    <a:pt x="2065" y="890"/>
                  </a:lnTo>
                  <a:lnTo>
                    <a:pt x="2065" y="892"/>
                  </a:lnTo>
                  <a:lnTo>
                    <a:pt x="2065" y="893"/>
                  </a:lnTo>
                  <a:lnTo>
                    <a:pt x="2065" y="892"/>
                  </a:lnTo>
                  <a:lnTo>
                    <a:pt x="2067" y="892"/>
                  </a:lnTo>
                  <a:lnTo>
                    <a:pt x="2067" y="890"/>
                  </a:lnTo>
                  <a:lnTo>
                    <a:pt x="2067" y="889"/>
                  </a:lnTo>
                  <a:lnTo>
                    <a:pt x="2065" y="887"/>
                  </a:lnTo>
                  <a:lnTo>
                    <a:pt x="2067" y="885"/>
                  </a:lnTo>
                  <a:lnTo>
                    <a:pt x="2067" y="887"/>
                  </a:lnTo>
                  <a:lnTo>
                    <a:pt x="2067" y="885"/>
                  </a:lnTo>
                  <a:lnTo>
                    <a:pt x="2068" y="885"/>
                  </a:lnTo>
                  <a:lnTo>
                    <a:pt x="2068" y="887"/>
                  </a:lnTo>
                  <a:lnTo>
                    <a:pt x="2067" y="887"/>
                  </a:lnTo>
                  <a:lnTo>
                    <a:pt x="2068" y="887"/>
                  </a:lnTo>
                  <a:lnTo>
                    <a:pt x="2068" y="889"/>
                  </a:lnTo>
                  <a:lnTo>
                    <a:pt x="2067" y="889"/>
                  </a:lnTo>
                  <a:lnTo>
                    <a:pt x="2068" y="889"/>
                  </a:lnTo>
                  <a:lnTo>
                    <a:pt x="2070" y="889"/>
                  </a:lnTo>
                  <a:lnTo>
                    <a:pt x="2070" y="890"/>
                  </a:lnTo>
                  <a:lnTo>
                    <a:pt x="2070" y="889"/>
                  </a:lnTo>
                  <a:lnTo>
                    <a:pt x="2070" y="890"/>
                  </a:lnTo>
                  <a:lnTo>
                    <a:pt x="2068" y="890"/>
                  </a:lnTo>
                  <a:lnTo>
                    <a:pt x="2070" y="890"/>
                  </a:lnTo>
                  <a:lnTo>
                    <a:pt x="2072" y="890"/>
                  </a:lnTo>
                  <a:lnTo>
                    <a:pt x="2073" y="890"/>
                  </a:lnTo>
                  <a:lnTo>
                    <a:pt x="2075" y="892"/>
                  </a:lnTo>
                  <a:lnTo>
                    <a:pt x="2078" y="892"/>
                  </a:lnTo>
                  <a:lnTo>
                    <a:pt x="2081" y="895"/>
                  </a:lnTo>
                  <a:lnTo>
                    <a:pt x="2083" y="895"/>
                  </a:lnTo>
                  <a:lnTo>
                    <a:pt x="2085" y="895"/>
                  </a:lnTo>
                  <a:lnTo>
                    <a:pt x="2086" y="895"/>
                  </a:lnTo>
                  <a:lnTo>
                    <a:pt x="2088" y="895"/>
                  </a:lnTo>
                  <a:lnTo>
                    <a:pt x="2086" y="897"/>
                  </a:lnTo>
                  <a:lnTo>
                    <a:pt x="2086" y="895"/>
                  </a:lnTo>
                  <a:lnTo>
                    <a:pt x="2086" y="897"/>
                  </a:lnTo>
                  <a:lnTo>
                    <a:pt x="2088" y="897"/>
                  </a:lnTo>
                  <a:lnTo>
                    <a:pt x="2089" y="897"/>
                  </a:lnTo>
                  <a:lnTo>
                    <a:pt x="2091" y="897"/>
                  </a:lnTo>
                  <a:lnTo>
                    <a:pt x="2093" y="897"/>
                  </a:lnTo>
                  <a:lnTo>
                    <a:pt x="2093" y="898"/>
                  </a:lnTo>
                  <a:lnTo>
                    <a:pt x="2093" y="900"/>
                  </a:lnTo>
                  <a:lnTo>
                    <a:pt x="2093" y="902"/>
                  </a:lnTo>
                  <a:lnTo>
                    <a:pt x="2093" y="900"/>
                  </a:lnTo>
                  <a:lnTo>
                    <a:pt x="2094" y="898"/>
                  </a:lnTo>
                  <a:lnTo>
                    <a:pt x="2094" y="897"/>
                  </a:lnTo>
                  <a:lnTo>
                    <a:pt x="2093" y="897"/>
                  </a:lnTo>
                  <a:lnTo>
                    <a:pt x="2093" y="895"/>
                  </a:lnTo>
                  <a:lnTo>
                    <a:pt x="2091" y="895"/>
                  </a:lnTo>
                  <a:lnTo>
                    <a:pt x="2089" y="897"/>
                  </a:lnTo>
                  <a:lnTo>
                    <a:pt x="2088" y="895"/>
                  </a:lnTo>
                  <a:lnTo>
                    <a:pt x="2086" y="895"/>
                  </a:lnTo>
                  <a:lnTo>
                    <a:pt x="2085" y="895"/>
                  </a:lnTo>
                  <a:lnTo>
                    <a:pt x="2083" y="895"/>
                  </a:lnTo>
                  <a:lnTo>
                    <a:pt x="2083" y="893"/>
                  </a:lnTo>
                  <a:lnTo>
                    <a:pt x="2083" y="895"/>
                  </a:lnTo>
                  <a:lnTo>
                    <a:pt x="2081" y="895"/>
                  </a:lnTo>
                  <a:lnTo>
                    <a:pt x="2081" y="893"/>
                  </a:lnTo>
                  <a:lnTo>
                    <a:pt x="2080" y="892"/>
                  </a:lnTo>
                  <a:lnTo>
                    <a:pt x="2078" y="890"/>
                  </a:lnTo>
                  <a:lnTo>
                    <a:pt x="2078" y="889"/>
                  </a:lnTo>
                  <a:lnTo>
                    <a:pt x="2076" y="889"/>
                  </a:lnTo>
                  <a:lnTo>
                    <a:pt x="2075" y="889"/>
                  </a:lnTo>
                  <a:lnTo>
                    <a:pt x="2075" y="887"/>
                  </a:lnTo>
                  <a:lnTo>
                    <a:pt x="2076" y="887"/>
                  </a:lnTo>
                  <a:lnTo>
                    <a:pt x="2076" y="885"/>
                  </a:lnTo>
                  <a:lnTo>
                    <a:pt x="2076" y="884"/>
                  </a:lnTo>
                  <a:lnTo>
                    <a:pt x="2076" y="882"/>
                  </a:lnTo>
                  <a:lnTo>
                    <a:pt x="2075" y="882"/>
                  </a:lnTo>
                  <a:lnTo>
                    <a:pt x="2075" y="884"/>
                  </a:lnTo>
                  <a:lnTo>
                    <a:pt x="2075" y="882"/>
                  </a:lnTo>
                  <a:lnTo>
                    <a:pt x="2076" y="882"/>
                  </a:lnTo>
                  <a:lnTo>
                    <a:pt x="2076" y="880"/>
                  </a:lnTo>
                  <a:lnTo>
                    <a:pt x="2076" y="879"/>
                  </a:lnTo>
                  <a:lnTo>
                    <a:pt x="2076" y="877"/>
                  </a:lnTo>
                  <a:lnTo>
                    <a:pt x="2078" y="879"/>
                  </a:lnTo>
                  <a:lnTo>
                    <a:pt x="2080" y="877"/>
                  </a:lnTo>
                  <a:lnTo>
                    <a:pt x="2078" y="877"/>
                  </a:lnTo>
                  <a:lnTo>
                    <a:pt x="2078" y="875"/>
                  </a:lnTo>
                  <a:lnTo>
                    <a:pt x="2078" y="877"/>
                  </a:lnTo>
                  <a:lnTo>
                    <a:pt x="2078" y="875"/>
                  </a:lnTo>
                  <a:lnTo>
                    <a:pt x="2076" y="875"/>
                  </a:lnTo>
                  <a:lnTo>
                    <a:pt x="2076" y="877"/>
                  </a:lnTo>
                  <a:lnTo>
                    <a:pt x="2076" y="875"/>
                  </a:lnTo>
                  <a:lnTo>
                    <a:pt x="2076" y="874"/>
                  </a:lnTo>
                  <a:lnTo>
                    <a:pt x="2076" y="872"/>
                  </a:lnTo>
                  <a:lnTo>
                    <a:pt x="2076" y="871"/>
                  </a:lnTo>
                  <a:lnTo>
                    <a:pt x="2078" y="869"/>
                  </a:lnTo>
                  <a:lnTo>
                    <a:pt x="2080" y="871"/>
                  </a:lnTo>
                  <a:lnTo>
                    <a:pt x="2078" y="869"/>
                  </a:lnTo>
                  <a:lnTo>
                    <a:pt x="2076" y="869"/>
                  </a:lnTo>
                  <a:lnTo>
                    <a:pt x="2076" y="871"/>
                  </a:lnTo>
                  <a:lnTo>
                    <a:pt x="2076" y="872"/>
                  </a:lnTo>
                  <a:lnTo>
                    <a:pt x="2075" y="872"/>
                  </a:lnTo>
                  <a:lnTo>
                    <a:pt x="2075" y="874"/>
                  </a:lnTo>
                  <a:lnTo>
                    <a:pt x="2073" y="874"/>
                  </a:lnTo>
                  <a:lnTo>
                    <a:pt x="2072" y="874"/>
                  </a:lnTo>
                  <a:lnTo>
                    <a:pt x="2072" y="872"/>
                  </a:lnTo>
                  <a:lnTo>
                    <a:pt x="2072" y="874"/>
                  </a:lnTo>
                  <a:lnTo>
                    <a:pt x="2070" y="874"/>
                  </a:lnTo>
                  <a:lnTo>
                    <a:pt x="2072" y="872"/>
                  </a:lnTo>
                  <a:lnTo>
                    <a:pt x="2070" y="872"/>
                  </a:lnTo>
                  <a:lnTo>
                    <a:pt x="2070" y="874"/>
                  </a:lnTo>
                  <a:lnTo>
                    <a:pt x="2070" y="872"/>
                  </a:lnTo>
                  <a:lnTo>
                    <a:pt x="2072" y="874"/>
                  </a:lnTo>
                  <a:lnTo>
                    <a:pt x="2070" y="874"/>
                  </a:lnTo>
                  <a:lnTo>
                    <a:pt x="2072" y="875"/>
                  </a:lnTo>
                  <a:lnTo>
                    <a:pt x="2070" y="875"/>
                  </a:lnTo>
                  <a:lnTo>
                    <a:pt x="2068" y="875"/>
                  </a:lnTo>
                  <a:lnTo>
                    <a:pt x="2068" y="877"/>
                  </a:lnTo>
                  <a:lnTo>
                    <a:pt x="2070" y="877"/>
                  </a:lnTo>
                  <a:lnTo>
                    <a:pt x="2072" y="877"/>
                  </a:lnTo>
                  <a:lnTo>
                    <a:pt x="2073" y="877"/>
                  </a:lnTo>
                  <a:lnTo>
                    <a:pt x="2073" y="879"/>
                  </a:lnTo>
                  <a:lnTo>
                    <a:pt x="2073" y="880"/>
                  </a:lnTo>
                  <a:lnTo>
                    <a:pt x="2072" y="880"/>
                  </a:lnTo>
                  <a:lnTo>
                    <a:pt x="2070" y="880"/>
                  </a:lnTo>
                  <a:lnTo>
                    <a:pt x="2072" y="880"/>
                  </a:lnTo>
                  <a:lnTo>
                    <a:pt x="2070" y="880"/>
                  </a:lnTo>
                  <a:lnTo>
                    <a:pt x="2070" y="882"/>
                  </a:lnTo>
                  <a:lnTo>
                    <a:pt x="2070" y="880"/>
                  </a:lnTo>
                  <a:lnTo>
                    <a:pt x="2070" y="882"/>
                  </a:lnTo>
                  <a:lnTo>
                    <a:pt x="2068" y="882"/>
                  </a:lnTo>
                  <a:lnTo>
                    <a:pt x="2068" y="880"/>
                  </a:lnTo>
                  <a:lnTo>
                    <a:pt x="2068" y="879"/>
                  </a:lnTo>
                  <a:lnTo>
                    <a:pt x="2067" y="879"/>
                  </a:lnTo>
                  <a:lnTo>
                    <a:pt x="2067" y="880"/>
                  </a:lnTo>
                  <a:lnTo>
                    <a:pt x="2067" y="879"/>
                  </a:lnTo>
                  <a:lnTo>
                    <a:pt x="2065" y="879"/>
                  </a:lnTo>
                  <a:lnTo>
                    <a:pt x="2065" y="877"/>
                  </a:lnTo>
                  <a:lnTo>
                    <a:pt x="2063" y="875"/>
                  </a:lnTo>
                  <a:lnTo>
                    <a:pt x="2063" y="874"/>
                  </a:lnTo>
                  <a:lnTo>
                    <a:pt x="2062" y="874"/>
                  </a:lnTo>
                  <a:lnTo>
                    <a:pt x="2060" y="872"/>
                  </a:lnTo>
                  <a:lnTo>
                    <a:pt x="2059" y="872"/>
                  </a:lnTo>
                  <a:lnTo>
                    <a:pt x="2057" y="872"/>
                  </a:lnTo>
                  <a:lnTo>
                    <a:pt x="2055" y="872"/>
                  </a:lnTo>
                  <a:lnTo>
                    <a:pt x="2055" y="874"/>
                  </a:lnTo>
                  <a:lnTo>
                    <a:pt x="2054" y="874"/>
                  </a:lnTo>
                  <a:lnTo>
                    <a:pt x="2054" y="875"/>
                  </a:lnTo>
                  <a:lnTo>
                    <a:pt x="2052" y="875"/>
                  </a:lnTo>
                  <a:lnTo>
                    <a:pt x="2050" y="875"/>
                  </a:lnTo>
                  <a:lnTo>
                    <a:pt x="2049" y="875"/>
                  </a:lnTo>
                  <a:lnTo>
                    <a:pt x="2047" y="875"/>
                  </a:lnTo>
                  <a:lnTo>
                    <a:pt x="2047" y="877"/>
                  </a:lnTo>
                  <a:lnTo>
                    <a:pt x="2044" y="877"/>
                  </a:lnTo>
                  <a:lnTo>
                    <a:pt x="2042" y="879"/>
                  </a:lnTo>
                  <a:lnTo>
                    <a:pt x="2041" y="879"/>
                  </a:lnTo>
                  <a:lnTo>
                    <a:pt x="2039" y="879"/>
                  </a:lnTo>
                  <a:lnTo>
                    <a:pt x="2037" y="879"/>
                  </a:lnTo>
                  <a:lnTo>
                    <a:pt x="2036" y="879"/>
                  </a:lnTo>
                  <a:lnTo>
                    <a:pt x="2034" y="877"/>
                  </a:lnTo>
                  <a:lnTo>
                    <a:pt x="2033" y="877"/>
                  </a:lnTo>
                  <a:lnTo>
                    <a:pt x="2031" y="877"/>
                  </a:lnTo>
                  <a:lnTo>
                    <a:pt x="2029" y="879"/>
                  </a:lnTo>
                  <a:lnTo>
                    <a:pt x="2029" y="877"/>
                  </a:lnTo>
                  <a:lnTo>
                    <a:pt x="2028" y="877"/>
                  </a:lnTo>
                  <a:lnTo>
                    <a:pt x="2026" y="877"/>
                  </a:lnTo>
                  <a:lnTo>
                    <a:pt x="2024" y="877"/>
                  </a:lnTo>
                  <a:lnTo>
                    <a:pt x="2024" y="879"/>
                  </a:lnTo>
                  <a:lnTo>
                    <a:pt x="2023" y="879"/>
                  </a:lnTo>
                  <a:lnTo>
                    <a:pt x="2021" y="879"/>
                  </a:lnTo>
                  <a:lnTo>
                    <a:pt x="2020" y="877"/>
                  </a:lnTo>
                  <a:lnTo>
                    <a:pt x="2021" y="877"/>
                  </a:lnTo>
                  <a:lnTo>
                    <a:pt x="2021" y="875"/>
                  </a:lnTo>
                  <a:lnTo>
                    <a:pt x="2021" y="874"/>
                  </a:lnTo>
                  <a:lnTo>
                    <a:pt x="2023" y="874"/>
                  </a:lnTo>
                  <a:lnTo>
                    <a:pt x="2023" y="872"/>
                  </a:lnTo>
                  <a:lnTo>
                    <a:pt x="2024" y="872"/>
                  </a:lnTo>
                  <a:lnTo>
                    <a:pt x="2026" y="871"/>
                  </a:lnTo>
                  <a:lnTo>
                    <a:pt x="2026" y="867"/>
                  </a:lnTo>
                  <a:lnTo>
                    <a:pt x="2028" y="866"/>
                  </a:lnTo>
                  <a:lnTo>
                    <a:pt x="2029" y="866"/>
                  </a:lnTo>
                  <a:lnTo>
                    <a:pt x="2031" y="864"/>
                  </a:lnTo>
                  <a:lnTo>
                    <a:pt x="2033" y="864"/>
                  </a:lnTo>
                  <a:lnTo>
                    <a:pt x="2031" y="864"/>
                  </a:lnTo>
                  <a:lnTo>
                    <a:pt x="2029" y="864"/>
                  </a:lnTo>
                  <a:lnTo>
                    <a:pt x="2028" y="866"/>
                  </a:lnTo>
                  <a:lnTo>
                    <a:pt x="2028" y="864"/>
                  </a:lnTo>
                  <a:lnTo>
                    <a:pt x="2028" y="862"/>
                  </a:lnTo>
                  <a:lnTo>
                    <a:pt x="2028" y="859"/>
                  </a:lnTo>
                  <a:lnTo>
                    <a:pt x="2028" y="858"/>
                  </a:lnTo>
                  <a:lnTo>
                    <a:pt x="2028" y="854"/>
                  </a:lnTo>
                  <a:lnTo>
                    <a:pt x="2028" y="851"/>
                  </a:lnTo>
                  <a:lnTo>
                    <a:pt x="2026" y="846"/>
                  </a:lnTo>
                  <a:lnTo>
                    <a:pt x="2026" y="845"/>
                  </a:lnTo>
                  <a:lnTo>
                    <a:pt x="2024" y="845"/>
                  </a:lnTo>
                  <a:lnTo>
                    <a:pt x="2024" y="843"/>
                  </a:lnTo>
                  <a:lnTo>
                    <a:pt x="2024" y="841"/>
                  </a:lnTo>
                  <a:lnTo>
                    <a:pt x="2026" y="841"/>
                  </a:lnTo>
                  <a:lnTo>
                    <a:pt x="2028" y="841"/>
                  </a:lnTo>
                  <a:lnTo>
                    <a:pt x="2031" y="841"/>
                  </a:lnTo>
                  <a:lnTo>
                    <a:pt x="2033" y="841"/>
                  </a:lnTo>
                  <a:lnTo>
                    <a:pt x="2034" y="841"/>
                  </a:lnTo>
                  <a:lnTo>
                    <a:pt x="2036" y="841"/>
                  </a:lnTo>
                  <a:lnTo>
                    <a:pt x="2037" y="841"/>
                  </a:lnTo>
                  <a:lnTo>
                    <a:pt x="2037" y="843"/>
                  </a:lnTo>
                  <a:lnTo>
                    <a:pt x="2036" y="843"/>
                  </a:lnTo>
                  <a:lnTo>
                    <a:pt x="2036" y="845"/>
                  </a:lnTo>
                  <a:lnTo>
                    <a:pt x="2037" y="845"/>
                  </a:lnTo>
                  <a:lnTo>
                    <a:pt x="2037" y="846"/>
                  </a:lnTo>
                  <a:lnTo>
                    <a:pt x="2039" y="848"/>
                  </a:lnTo>
                  <a:lnTo>
                    <a:pt x="2041" y="848"/>
                  </a:lnTo>
                  <a:lnTo>
                    <a:pt x="2039" y="848"/>
                  </a:lnTo>
                  <a:lnTo>
                    <a:pt x="2037" y="848"/>
                  </a:lnTo>
                  <a:lnTo>
                    <a:pt x="2036" y="848"/>
                  </a:lnTo>
                  <a:lnTo>
                    <a:pt x="2037" y="848"/>
                  </a:lnTo>
                  <a:lnTo>
                    <a:pt x="2037" y="849"/>
                  </a:lnTo>
                  <a:lnTo>
                    <a:pt x="2039" y="849"/>
                  </a:lnTo>
                  <a:lnTo>
                    <a:pt x="2039" y="851"/>
                  </a:lnTo>
                  <a:lnTo>
                    <a:pt x="2039" y="853"/>
                  </a:lnTo>
                  <a:lnTo>
                    <a:pt x="2039" y="851"/>
                  </a:lnTo>
                  <a:lnTo>
                    <a:pt x="2039" y="849"/>
                  </a:lnTo>
                  <a:lnTo>
                    <a:pt x="2041" y="849"/>
                  </a:lnTo>
                  <a:lnTo>
                    <a:pt x="2042" y="849"/>
                  </a:lnTo>
                  <a:lnTo>
                    <a:pt x="2044" y="851"/>
                  </a:lnTo>
                  <a:lnTo>
                    <a:pt x="2044" y="853"/>
                  </a:lnTo>
                  <a:lnTo>
                    <a:pt x="2044" y="854"/>
                  </a:lnTo>
                  <a:lnTo>
                    <a:pt x="2044" y="856"/>
                  </a:lnTo>
                  <a:lnTo>
                    <a:pt x="2046" y="856"/>
                  </a:lnTo>
                  <a:lnTo>
                    <a:pt x="2046" y="854"/>
                  </a:lnTo>
                  <a:lnTo>
                    <a:pt x="2044" y="854"/>
                  </a:lnTo>
                  <a:lnTo>
                    <a:pt x="2046" y="853"/>
                  </a:lnTo>
                  <a:lnTo>
                    <a:pt x="2044" y="851"/>
                  </a:lnTo>
                  <a:lnTo>
                    <a:pt x="2044" y="849"/>
                  </a:lnTo>
                  <a:lnTo>
                    <a:pt x="2042" y="848"/>
                  </a:lnTo>
                  <a:lnTo>
                    <a:pt x="2044" y="848"/>
                  </a:lnTo>
                  <a:lnTo>
                    <a:pt x="2042" y="848"/>
                  </a:lnTo>
                  <a:lnTo>
                    <a:pt x="2042" y="846"/>
                  </a:lnTo>
                  <a:lnTo>
                    <a:pt x="2044" y="846"/>
                  </a:lnTo>
                  <a:lnTo>
                    <a:pt x="2046" y="846"/>
                  </a:lnTo>
                  <a:lnTo>
                    <a:pt x="2046" y="845"/>
                  </a:lnTo>
                  <a:lnTo>
                    <a:pt x="2047" y="845"/>
                  </a:lnTo>
                  <a:lnTo>
                    <a:pt x="2047" y="846"/>
                  </a:lnTo>
                  <a:lnTo>
                    <a:pt x="2047" y="848"/>
                  </a:lnTo>
                  <a:lnTo>
                    <a:pt x="2049" y="848"/>
                  </a:lnTo>
                  <a:lnTo>
                    <a:pt x="2049" y="849"/>
                  </a:lnTo>
                  <a:lnTo>
                    <a:pt x="2049" y="848"/>
                  </a:lnTo>
                  <a:lnTo>
                    <a:pt x="2050" y="848"/>
                  </a:lnTo>
                  <a:lnTo>
                    <a:pt x="2050" y="849"/>
                  </a:lnTo>
                  <a:lnTo>
                    <a:pt x="2052" y="849"/>
                  </a:lnTo>
                  <a:lnTo>
                    <a:pt x="2052" y="851"/>
                  </a:lnTo>
                  <a:lnTo>
                    <a:pt x="2052" y="849"/>
                  </a:lnTo>
                  <a:lnTo>
                    <a:pt x="2052" y="848"/>
                  </a:lnTo>
                  <a:lnTo>
                    <a:pt x="2050" y="848"/>
                  </a:lnTo>
                  <a:lnTo>
                    <a:pt x="2052" y="846"/>
                  </a:lnTo>
                  <a:lnTo>
                    <a:pt x="2054" y="846"/>
                  </a:lnTo>
                  <a:lnTo>
                    <a:pt x="2054" y="845"/>
                  </a:lnTo>
                  <a:lnTo>
                    <a:pt x="2055" y="846"/>
                  </a:lnTo>
                  <a:lnTo>
                    <a:pt x="2054" y="845"/>
                  </a:lnTo>
                  <a:lnTo>
                    <a:pt x="2055" y="845"/>
                  </a:lnTo>
                  <a:lnTo>
                    <a:pt x="2057" y="845"/>
                  </a:lnTo>
                  <a:lnTo>
                    <a:pt x="2055" y="845"/>
                  </a:lnTo>
                  <a:lnTo>
                    <a:pt x="2054" y="845"/>
                  </a:lnTo>
                  <a:lnTo>
                    <a:pt x="2052" y="845"/>
                  </a:lnTo>
                  <a:lnTo>
                    <a:pt x="2052" y="843"/>
                  </a:lnTo>
                  <a:lnTo>
                    <a:pt x="2050" y="843"/>
                  </a:lnTo>
                  <a:lnTo>
                    <a:pt x="2049" y="843"/>
                  </a:lnTo>
                  <a:lnTo>
                    <a:pt x="2047" y="845"/>
                  </a:lnTo>
                  <a:lnTo>
                    <a:pt x="2047" y="843"/>
                  </a:lnTo>
                  <a:lnTo>
                    <a:pt x="2049" y="841"/>
                  </a:lnTo>
                  <a:lnTo>
                    <a:pt x="2049" y="840"/>
                  </a:lnTo>
                  <a:lnTo>
                    <a:pt x="2050" y="840"/>
                  </a:lnTo>
                  <a:lnTo>
                    <a:pt x="2052" y="840"/>
                  </a:lnTo>
                  <a:lnTo>
                    <a:pt x="2054" y="840"/>
                  </a:lnTo>
                  <a:lnTo>
                    <a:pt x="2055" y="838"/>
                  </a:lnTo>
                  <a:lnTo>
                    <a:pt x="2057" y="838"/>
                  </a:lnTo>
                  <a:lnTo>
                    <a:pt x="2059" y="838"/>
                  </a:lnTo>
                  <a:lnTo>
                    <a:pt x="2059" y="836"/>
                  </a:lnTo>
                  <a:lnTo>
                    <a:pt x="2062" y="836"/>
                  </a:lnTo>
                  <a:lnTo>
                    <a:pt x="2062" y="838"/>
                  </a:lnTo>
                  <a:lnTo>
                    <a:pt x="2063" y="838"/>
                  </a:lnTo>
                  <a:lnTo>
                    <a:pt x="2063" y="836"/>
                  </a:lnTo>
                  <a:lnTo>
                    <a:pt x="2062" y="836"/>
                  </a:lnTo>
                  <a:lnTo>
                    <a:pt x="2062" y="835"/>
                  </a:lnTo>
                  <a:lnTo>
                    <a:pt x="2063" y="835"/>
                  </a:lnTo>
                  <a:lnTo>
                    <a:pt x="2063" y="833"/>
                  </a:lnTo>
                  <a:lnTo>
                    <a:pt x="2062" y="833"/>
                  </a:lnTo>
                  <a:lnTo>
                    <a:pt x="2063" y="833"/>
                  </a:lnTo>
                  <a:lnTo>
                    <a:pt x="2063" y="832"/>
                  </a:lnTo>
                  <a:lnTo>
                    <a:pt x="2063" y="830"/>
                  </a:lnTo>
                  <a:lnTo>
                    <a:pt x="2062" y="828"/>
                  </a:lnTo>
                  <a:lnTo>
                    <a:pt x="2060" y="828"/>
                  </a:lnTo>
                  <a:lnTo>
                    <a:pt x="2060" y="827"/>
                  </a:lnTo>
                  <a:lnTo>
                    <a:pt x="2062" y="827"/>
                  </a:lnTo>
                  <a:lnTo>
                    <a:pt x="2062" y="825"/>
                  </a:lnTo>
                  <a:lnTo>
                    <a:pt x="2063" y="825"/>
                  </a:lnTo>
                  <a:lnTo>
                    <a:pt x="2065" y="823"/>
                  </a:lnTo>
                  <a:lnTo>
                    <a:pt x="2063" y="825"/>
                  </a:lnTo>
                  <a:lnTo>
                    <a:pt x="2062" y="825"/>
                  </a:lnTo>
                  <a:lnTo>
                    <a:pt x="2062" y="827"/>
                  </a:lnTo>
                  <a:lnTo>
                    <a:pt x="2060" y="827"/>
                  </a:lnTo>
                  <a:lnTo>
                    <a:pt x="2060" y="825"/>
                  </a:lnTo>
                  <a:lnTo>
                    <a:pt x="2060" y="823"/>
                  </a:lnTo>
                  <a:lnTo>
                    <a:pt x="2059" y="823"/>
                  </a:lnTo>
                  <a:lnTo>
                    <a:pt x="2060" y="822"/>
                  </a:lnTo>
                  <a:lnTo>
                    <a:pt x="2060" y="820"/>
                  </a:lnTo>
                  <a:lnTo>
                    <a:pt x="2060" y="819"/>
                  </a:lnTo>
                  <a:lnTo>
                    <a:pt x="2060" y="817"/>
                  </a:lnTo>
                  <a:lnTo>
                    <a:pt x="2060" y="815"/>
                  </a:lnTo>
                  <a:lnTo>
                    <a:pt x="2062" y="815"/>
                  </a:lnTo>
                  <a:lnTo>
                    <a:pt x="2062" y="814"/>
                  </a:lnTo>
                  <a:lnTo>
                    <a:pt x="2062" y="812"/>
                  </a:lnTo>
                  <a:lnTo>
                    <a:pt x="2062" y="810"/>
                  </a:lnTo>
                  <a:lnTo>
                    <a:pt x="2063" y="810"/>
                  </a:lnTo>
                  <a:lnTo>
                    <a:pt x="2063" y="809"/>
                  </a:lnTo>
                  <a:lnTo>
                    <a:pt x="2067" y="809"/>
                  </a:lnTo>
                  <a:lnTo>
                    <a:pt x="2068" y="807"/>
                  </a:lnTo>
                  <a:lnTo>
                    <a:pt x="2070" y="804"/>
                  </a:lnTo>
                  <a:lnTo>
                    <a:pt x="2072" y="802"/>
                  </a:lnTo>
                  <a:lnTo>
                    <a:pt x="2072" y="801"/>
                  </a:lnTo>
                  <a:lnTo>
                    <a:pt x="2073" y="801"/>
                  </a:lnTo>
                  <a:lnTo>
                    <a:pt x="2075" y="801"/>
                  </a:lnTo>
                  <a:lnTo>
                    <a:pt x="2076" y="802"/>
                  </a:lnTo>
                  <a:lnTo>
                    <a:pt x="2078" y="802"/>
                  </a:lnTo>
                  <a:lnTo>
                    <a:pt x="2075" y="801"/>
                  </a:lnTo>
                  <a:lnTo>
                    <a:pt x="2076" y="801"/>
                  </a:lnTo>
                  <a:lnTo>
                    <a:pt x="2075" y="801"/>
                  </a:lnTo>
                  <a:lnTo>
                    <a:pt x="2073" y="801"/>
                  </a:lnTo>
                  <a:lnTo>
                    <a:pt x="2072" y="801"/>
                  </a:lnTo>
                  <a:lnTo>
                    <a:pt x="2070" y="801"/>
                  </a:lnTo>
                  <a:lnTo>
                    <a:pt x="2068" y="802"/>
                  </a:lnTo>
                  <a:lnTo>
                    <a:pt x="2068" y="804"/>
                  </a:lnTo>
                  <a:lnTo>
                    <a:pt x="2068" y="806"/>
                  </a:lnTo>
                  <a:lnTo>
                    <a:pt x="2067" y="807"/>
                  </a:lnTo>
                  <a:lnTo>
                    <a:pt x="2065" y="809"/>
                  </a:lnTo>
                  <a:lnTo>
                    <a:pt x="2063" y="809"/>
                  </a:lnTo>
                  <a:lnTo>
                    <a:pt x="2062" y="809"/>
                  </a:lnTo>
                  <a:lnTo>
                    <a:pt x="2062" y="810"/>
                  </a:lnTo>
                  <a:lnTo>
                    <a:pt x="2060" y="812"/>
                  </a:lnTo>
                  <a:lnTo>
                    <a:pt x="2060" y="814"/>
                  </a:lnTo>
                  <a:lnTo>
                    <a:pt x="2059" y="814"/>
                  </a:lnTo>
                  <a:lnTo>
                    <a:pt x="2059" y="815"/>
                  </a:lnTo>
                  <a:lnTo>
                    <a:pt x="2057" y="815"/>
                  </a:lnTo>
                  <a:lnTo>
                    <a:pt x="2057" y="817"/>
                  </a:lnTo>
                  <a:lnTo>
                    <a:pt x="2055" y="819"/>
                  </a:lnTo>
                  <a:lnTo>
                    <a:pt x="2054" y="820"/>
                  </a:lnTo>
                  <a:lnTo>
                    <a:pt x="2052" y="820"/>
                  </a:lnTo>
                  <a:lnTo>
                    <a:pt x="2050" y="822"/>
                  </a:lnTo>
                  <a:lnTo>
                    <a:pt x="2049" y="823"/>
                  </a:lnTo>
                  <a:lnTo>
                    <a:pt x="2047" y="825"/>
                  </a:lnTo>
                  <a:lnTo>
                    <a:pt x="2047" y="828"/>
                  </a:lnTo>
                  <a:lnTo>
                    <a:pt x="2046" y="828"/>
                  </a:lnTo>
                  <a:lnTo>
                    <a:pt x="2047" y="828"/>
                  </a:lnTo>
                  <a:lnTo>
                    <a:pt x="2046" y="830"/>
                  </a:lnTo>
                  <a:lnTo>
                    <a:pt x="2046" y="832"/>
                  </a:lnTo>
                  <a:lnTo>
                    <a:pt x="2046" y="833"/>
                  </a:lnTo>
                  <a:lnTo>
                    <a:pt x="2044" y="835"/>
                  </a:lnTo>
                  <a:lnTo>
                    <a:pt x="2042" y="836"/>
                  </a:lnTo>
                  <a:lnTo>
                    <a:pt x="2042" y="838"/>
                  </a:lnTo>
                  <a:lnTo>
                    <a:pt x="2041" y="838"/>
                  </a:lnTo>
                  <a:lnTo>
                    <a:pt x="2039" y="840"/>
                  </a:lnTo>
                  <a:lnTo>
                    <a:pt x="2037" y="840"/>
                  </a:lnTo>
                  <a:lnTo>
                    <a:pt x="2036" y="840"/>
                  </a:lnTo>
                  <a:lnTo>
                    <a:pt x="2034" y="840"/>
                  </a:lnTo>
                  <a:lnTo>
                    <a:pt x="2031" y="840"/>
                  </a:lnTo>
                  <a:lnTo>
                    <a:pt x="2029" y="840"/>
                  </a:lnTo>
                  <a:lnTo>
                    <a:pt x="2029" y="838"/>
                  </a:lnTo>
                  <a:lnTo>
                    <a:pt x="2029" y="840"/>
                  </a:lnTo>
                  <a:lnTo>
                    <a:pt x="2028" y="838"/>
                  </a:lnTo>
                  <a:lnTo>
                    <a:pt x="2026" y="836"/>
                  </a:lnTo>
                  <a:lnTo>
                    <a:pt x="2024" y="836"/>
                  </a:lnTo>
                  <a:lnTo>
                    <a:pt x="2023" y="836"/>
                  </a:lnTo>
                  <a:lnTo>
                    <a:pt x="2021" y="836"/>
                  </a:lnTo>
                  <a:lnTo>
                    <a:pt x="2020" y="838"/>
                  </a:lnTo>
                  <a:lnTo>
                    <a:pt x="2018" y="838"/>
                  </a:lnTo>
                  <a:lnTo>
                    <a:pt x="2016" y="838"/>
                  </a:lnTo>
                  <a:lnTo>
                    <a:pt x="2015" y="836"/>
                  </a:lnTo>
                  <a:lnTo>
                    <a:pt x="2013" y="835"/>
                  </a:lnTo>
                  <a:lnTo>
                    <a:pt x="2011" y="835"/>
                  </a:lnTo>
                  <a:lnTo>
                    <a:pt x="2010" y="833"/>
                  </a:lnTo>
                  <a:lnTo>
                    <a:pt x="2010" y="832"/>
                  </a:lnTo>
                  <a:lnTo>
                    <a:pt x="2008" y="832"/>
                  </a:lnTo>
                  <a:lnTo>
                    <a:pt x="2008" y="833"/>
                  </a:lnTo>
                  <a:lnTo>
                    <a:pt x="2007" y="833"/>
                  </a:lnTo>
                  <a:lnTo>
                    <a:pt x="2005" y="832"/>
                  </a:lnTo>
                  <a:lnTo>
                    <a:pt x="2003" y="832"/>
                  </a:lnTo>
                  <a:lnTo>
                    <a:pt x="2002" y="830"/>
                  </a:lnTo>
                  <a:lnTo>
                    <a:pt x="2000" y="830"/>
                  </a:lnTo>
                  <a:lnTo>
                    <a:pt x="2000" y="828"/>
                  </a:lnTo>
                  <a:lnTo>
                    <a:pt x="2002" y="828"/>
                  </a:lnTo>
                  <a:lnTo>
                    <a:pt x="2002" y="827"/>
                  </a:lnTo>
                  <a:lnTo>
                    <a:pt x="2003" y="827"/>
                  </a:lnTo>
                  <a:lnTo>
                    <a:pt x="2003" y="825"/>
                  </a:lnTo>
                  <a:lnTo>
                    <a:pt x="2003" y="823"/>
                  </a:lnTo>
                  <a:lnTo>
                    <a:pt x="2002" y="822"/>
                  </a:lnTo>
                  <a:lnTo>
                    <a:pt x="2002" y="820"/>
                  </a:lnTo>
                  <a:lnTo>
                    <a:pt x="2002" y="819"/>
                  </a:lnTo>
                  <a:lnTo>
                    <a:pt x="2002" y="817"/>
                  </a:lnTo>
                  <a:lnTo>
                    <a:pt x="2003" y="817"/>
                  </a:lnTo>
                  <a:lnTo>
                    <a:pt x="2003" y="815"/>
                  </a:lnTo>
                  <a:lnTo>
                    <a:pt x="2005" y="815"/>
                  </a:lnTo>
                  <a:lnTo>
                    <a:pt x="2005" y="814"/>
                  </a:lnTo>
                  <a:lnTo>
                    <a:pt x="2007" y="814"/>
                  </a:lnTo>
                  <a:lnTo>
                    <a:pt x="2007" y="812"/>
                  </a:lnTo>
                  <a:lnTo>
                    <a:pt x="2008" y="810"/>
                  </a:lnTo>
                  <a:lnTo>
                    <a:pt x="2010" y="809"/>
                  </a:lnTo>
                  <a:lnTo>
                    <a:pt x="2010" y="807"/>
                  </a:lnTo>
                  <a:lnTo>
                    <a:pt x="2011" y="807"/>
                  </a:lnTo>
                  <a:lnTo>
                    <a:pt x="2011" y="806"/>
                  </a:lnTo>
                  <a:lnTo>
                    <a:pt x="2011" y="804"/>
                  </a:lnTo>
                  <a:lnTo>
                    <a:pt x="2013" y="804"/>
                  </a:lnTo>
                  <a:lnTo>
                    <a:pt x="2013" y="802"/>
                  </a:lnTo>
                  <a:lnTo>
                    <a:pt x="2015" y="801"/>
                  </a:lnTo>
                  <a:lnTo>
                    <a:pt x="2015" y="799"/>
                  </a:lnTo>
                  <a:lnTo>
                    <a:pt x="2016" y="799"/>
                  </a:lnTo>
                  <a:lnTo>
                    <a:pt x="2016" y="797"/>
                  </a:lnTo>
                  <a:lnTo>
                    <a:pt x="2016" y="796"/>
                  </a:lnTo>
                  <a:lnTo>
                    <a:pt x="2016" y="794"/>
                  </a:lnTo>
                  <a:lnTo>
                    <a:pt x="2016" y="793"/>
                  </a:lnTo>
                  <a:lnTo>
                    <a:pt x="2016" y="791"/>
                  </a:lnTo>
                  <a:lnTo>
                    <a:pt x="2016" y="789"/>
                  </a:lnTo>
                  <a:lnTo>
                    <a:pt x="2018" y="789"/>
                  </a:lnTo>
                  <a:lnTo>
                    <a:pt x="2018" y="788"/>
                  </a:lnTo>
                  <a:lnTo>
                    <a:pt x="2018" y="786"/>
                  </a:lnTo>
                  <a:lnTo>
                    <a:pt x="2020" y="784"/>
                  </a:lnTo>
                  <a:lnTo>
                    <a:pt x="2020" y="783"/>
                  </a:lnTo>
                  <a:lnTo>
                    <a:pt x="2020" y="780"/>
                  </a:lnTo>
                  <a:lnTo>
                    <a:pt x="2021" y="778"/>
                  </a:lnTo>
                  <a:lnTo>
                    <a:pt x="2023" y="778"/>
                  </a:lnTo>
                  <a:lnTo>
                    <a:pt x="2023" y="776"/>
                  </a:lnTo>
                  <a:lnTo>
                    <a:pt x="2024" y="775"/>
                  </a:lnTo>
                  <a:lnTo>
                    <a:pt x="2024" y="773"/>
                  </a:lnTo>
                  <a:lnTo>
                    <a:pt x="2026" y="773"/>
                  </a:lnTo>
                  <a:lnTo>
                    <a:pt x="2026" y="771"/>
                  </a:lnTo>
                  <a:lnTo>
                    <a:pt x="2028" y="770"/>
                  </a:lnTo>
                  <a:lnTo>
                    <a:pt x="2029" y="768"/>
                  </a:lnTo>
                  <a:lnTo>
                    <a:pt x="2029" y="767"/>
                  </a:lnTo>
                  <a:lnTo>
                    <a:pt x="2031" y="767"/>
                  </a:lnTo>
                  <a:lnTo>
                    <a:pt x="2031" y="765"/>
                  </a:lnTo>
                  <a:lnTo>
                    <a:pt x="2033" y="763"/>
                  </a:lnTo>
                  <a:lnTo>
                    <a:pt x="2033" y="762"/>
                  </a:lnTo>
                  <a:lnTo>
                    <a:pt x="2033" y="760"/>
                  </a:lnTo>
                  <a:lnTo>
                    <a:pt x="2034" y="760"/>
                  </a:lnTo>
                  <a:lnTo>
                    <a:pt x="2034" y="758"/>
                  </a:lnTo>
                  <a:lnTo>
                    <a:pt x="2034" y="757"/>
                  </a:lnTo>
                  <a:lnTo>
                    <a:pt x="2036" y="757"/>
                  </a:lnTo>
                  <a:lnTo>
                    <a:pt x="2034" y="757"/>
                  </a:lnTo>
                  <a:lnTo>
                    <a:pt x="2036" y="754"/>
                  </a:lnTo>
                  <a:lnTo>
                    <a:pt x="2034" y="752"/>
                  </a:lnTo>
                  <a:lnTo>
                    <a:pt x="2036" y="752"/>
                  </a:lnTo>
                  <a:lnTo>
                    <a:pt x="2034" y="750"/>
                  </a:lnTo>
                  <a:lnTo>
                    <a:pt x="2036" y="750"/>
                  </a:lnTo>
                  <a:lnTo>
                    <a:pt x="2036" y="749"/>
                  </a:lnTo>
                  <a:lnTo>
                    <a:pt x="2034" y="747"/>
                  </a:lnTo>
                  <a:lnTo>
                    <a:pt x="2034" y="745"/>
                  </a:lnTo>
                  <a:lnTo>
                    <a:pt x="2034" y="744"/>
                  </a:lnTo>
                  <a:lnTo>
                    <a:pt x="2034" y="742"/>
                  </a:lnTo>
                  <a:lnTo>
                    <a:pt x="2034" y="744"/>
                  </a:lnTo>
                  <a:lnTo>
                    <a:pt x="2033" y="742"/>
                  </a:lnTo>
                  <a:lnTo>
                    <a:pt x="2031" y="740"/>
                  </a:lnTo>
                  <a:lnTo>
                    <a:pt x="2033" y="739"/>
                  </a:lnTo>
                  <a:lnTo>
                    <a:pt x="2033" y="740"/>
                  </a:lnTo>
                  <a:lnTo>
                    <a:pt x="2034" y="740"/>
                  </a:lnTo>
                  <a:lnTo>
                    <a:pt x="2034" y="739"/>
                  </a:lnTo>
                  <a:lnTo>
                    <a:pt x="2039" y="740"/>
                  </a:lnTo>
                  <a:lnTo>
                    <a:pt x="2041" y="740"/>
                  </a:lnTo>
                  <a:lnTo>
                    <a:pt x="2042" y="740"/>
                  </a:lnTo>
                  <a:lnTo>
                    <a:pt x="2046" y="739"/>
                  </a:lnTo>
                  <a:lnTo>
                    <a:pt x="2049" y="737"/>
                  </a:lnTo>
                  <a:lnTo>
                    <a:pt x="2050" y="737"/>
                  </a:lnTo>
                  <a:lnTo>
                    <a:pt x="2050" y="736"/>
                  </a:lnTo>
                  <a:lnTo>
                    <a:pt x="2050" y="737"/>
                  </a:lnTo>
                  <a:lnTo>
                    <a:pt x="2052" y="737"/>
                  </a:lnTo>
                  <a:lnTo>
                    <a:pt x="2052" y="739"/>
                  </a:lnTo>
                  <a:lnTo>
                    <a:pt x="2054" y="739"/>
                  </a:lnTo>
                  <a:lnTo>
                    <a:pt x="2052" y="740"/>
                  </a:lnTo>
                  <a:lnTo>
                    <a:pt x="2052" y="742"/>
                  </a:lnTo>
                  <a:lnTo>
                    <a:pt x="2050" y="742"/>
                  </a:lnTo>
                  <a:lnTo>
                    <a:pt x="2052" y="742"/>
                  </a:lnTo>
                  <a:lnTo>
                    <a:pt x="2054" y="740"/>
                  </a:lnTo>
                  <a:lnTo>
                    <a:pt x="2055" y="740"/>
                  </a:lnTo>
                  <a:lnTo>
                    <a:pt x="2054" y="740"/>
                  </a:lnTo>
                  <a:lnTo>
                    <a:pt x="2054" y="737"/>
                  </a:lnTo>
                  <a:lnTo>
                    <a:pt x="2052" y="737"/>
                  </a:lnTo>
                  <a:lnTo>
                    <a:pt x="2052" y="736"/>
                  </a:lnTo>
                  <a:lnTo>
                    <a:pt x="2054" y="734"/>
                  </a:lnTo>
                  <a:lnTo>
                    <a:pt x="2055" y="732"/>
                  </a:lnTo>
                  <a:lnTo>
                    <a:pt x="2055" y="731"/>
                  </a:lnTo>
                  <a:lnTo>
                    <a:pt x="2057" y="731"/>
                  </a:lnTo>
                  <a:lnTo>
                    <a:pt x="2059" y="729"/>
                  </a:lnTo>
                  <a:lnTo>
                    <a:pt x="2060" y="729"/>
                  </a:lnTo>
                  <a:lnTo>
                    <a:pt x="2060" y="727"/>
                  </a:lnTo>
                  <a:lnTo>
                    <a:pt x="2062" y="727"/>
                  </a:lnTo>
                  <a:lnTo>
                    <a:pt x="2063" y="727"/>
                  </a:lnTo>
                  <a:lnTo>
                    <a:pt x="2063" y="729"/>
                  </a:lnTo>
                  <a:lnTo>
                    <a:pt x="2065" y="727"/>
                  </a:lnTo>
                  <a:lnTo>
                    <a:pt x="2063" y="727"/>
                  </a:lnTo>
                  <a:lnTo>
                    <a:pt x="2063" y="726"/>
                  </a:lnTo>
                  <a:lnTo>
                    <a:pt x="2065" y="726"/>
                  </a:lnTo>
                  <a:lnTo>
                    <a:pt x="2067" y="724"/>
                  </a:lnTo>
                  <a:lnTo>
                    <a:pt x="2068" y="724"/>
                  </a:lnTo>
                  <a:lnTo>
                    <a:pt x="2068" y="723"/>
                  </a:lnTo>
                  <a:lnTo>
                    <a:pt x="2073" y="718"/>
                  </a:lnTo>
                  <a:lnTo>
                    <a:pt x="2073" y="719"/>
                  </a:lnTo>
                  <a:lnTo>
                    <a:pt x="2073" y="718"/>
                  </a:lnTo>
                  <a:lnTo>
                    <a:pt x="2075" y="718"/>
                  </a:lnTo>
                  <a:lnTo>
                    <a:pt x="2075" y="716"/>
                  </a:lnTo>
                  <a:lnTo>
                    <a:pt x="2073" y="716"/>
                  </a:lnTo>
                  <a:lnTo>
                    <a:pt x="2073" y="713"/>
                  </a:lnTo>
                  <a:lnTo>
                    <a:pt x="2078" y="706"/>
                  </a:lnTo>
                  <a:lnTo>
                    <a:pt x="2078" y="705"/>
                  </a:lnTo>
                  <a:lnTo>
                    <a:pt x="2080" y="703"/>
                  </a:lnTo>
                  <a:lnTo>
                    <a:pt x="2080" y="701"/>
                  </a:lnTo>
                  <a:lnTo>
                    <a:pt x="2081" y="700"/>
                  </a:lnTo>
                  <a:lnTo>
                    <a:pt x="2083" y="698"/>
                  </a:lnTo>
                  <a:lnTo>
                    <a:pt x="2083" y="697"/>
                  </a:lnTo>
                  <a:lnTo>
                    <a:pt x="2085" y="695"/>
                  </a:lnTo>
                  <a:lnTo>
                    <a:pt x="2085" y="693"/>
                  </a:lnTo>
                  <a:lnTo>
                    <a:pt x="2086" y="693"/>
                  </a:lnTo>
                  <a:lnTo>
                    <a:pt x="2086" y="692"/>
                  </a:lnTo>
                  <a:lnTo>
                    <a:pt x="2089" y="688"/>
                  </a:lnTo>
                  <a:lnTo>
                    <a:pt x="2091" y="685"/>
                  </a:lnTo>
                  <a:lnTo>
                    <a:pt x="2093" y="682"/>
                  </a:lnTo>
                  <a:lnTo>
                    <a:pt x="2094" y="682"/>
                  </a:lnTo>
                  <a:lnTo>
                    <a:pt x="2094" y="680"/>
                  </a:lnTo>
                  <a:lnTo>
                    <a:pt x="2096" y="679"/>
                  </a:lnTo>
                  <a:lnTo>
                    <a:pt x="2096" y="677"/>
                  </a:lnTo>
                  <a:lnTo>
                    <a:pt x="2098" y="677"/>
                  </a:lnTo>
                  <a:lnTo>
                    <a:pt x="2098" y="675"/>
                  </a:lnTo>
                  <a:lnTo>
                    <a:pt x="2099" y="672"/>
                  </a:lnTo>
                  <a:lnTo>
                    <a:pt x="2102" y="669"/>
                  </a:lnTo>
                  <a:lnTo>
                    <a:pt x="2104" y="666"/>
                  </a:lnTo>
                  <a:lnTo>
                    <a:pt x="2106" y="662"/>
                  </a:lnTo>
                  <a:lnTo>
                    <a:pt x="2107" y="661"/>
                  </a:lnTo>
                  <a:lnTo>
                    <a:pt x="2107" y="659"/>
                  </a:lnTo>
                  <a:lnTo>
                    <a:pt x="2109" y="658"/>
                  </a:lnTo>
                  <a:lnTo>
                    <a:pt x="2111" y="656"/>
                  </a:lnTo>
                  <a:lnTo>
                    <a:pt x="2111" y="654"/>
                  </a:lnTo>
                  <a:lnTo>
                    <a:pt x="2112" y="651"/>
                  </a:lnTo>
                  <a:lnTo>
                    <a:pt x="2114" y="651"/>
                  </a:lnTo>
                  <a:lnTo>
                    <a:pt x="2114" y="648"/>
                  </a:lnTo>
                  <a:lnTo>
                    <a:pt x="2112" y="646"/>
                  </a:lnTo>
                  <a:lnTo>
                    <a:pt x="2114" y="648"/>
                  </a:lnTo>
                  <a:lnTo>
                    <a:pt x="2114" y="646"/>
                  </a:lnTo>
                  <a:lnTo>
                    <a:pt x="2114" y="648"/>
                  </a:lnTo>
                  <a:lnTo>
                    <a:pt x="2115" y="648"/>
                  </a:lnTo>
                  <a:lnTo>
                    <a:pt x="2115" y="649"/>
                  </a:lnTo>
                  <a:lnTo>
                    <a:pt x="2115" y="651"/>
                  </a:lnTo>
                  <a:lnTo>
                    <a:pt x="2117" y="651"/>
                  </a:lnTo>
                  <a:lnTo>
                    <a:pt x="2119" y="651"/>
                  </a:lnTo>
                  <a:lnTo>
                    <a:pt x="2117" y="651"/>
                  </a:lnTo>
                  <a:lnTo>
                    <a:pt x="2115" y="649"/>
                  </a:lnTo>
                  <a:lnTo>
                    <a:pt x="2115" y="648"/>
                  </a:lnTo>
                  <a:lnTo>
                    <a:pt x="2115" y="646"/>
                  </a:lnTo>
                  <a:lnTo>
                    <a:pt x="2115" y="648"/>
                  </a:lnTo>
                  <a:lnTo>
                    <a:pt x="2117" y="648"/>
                  </a:lnTo>
                  <a:lnTo>
                    <a:pt x="2119" y="648"/>
                  </a:lnTo>
                  <a:lnTo>
                    <a:pt x="2120" y="649"/>
                  </a:lnTo>
                  <a:lnTo>
                    <a:pt x="2120" y="651"/>
                  </a:lnTo>
                  <a:lnTo>
                    <a:pt x="2120" y="653"/>
                  </a:lnTo>
                  <a:lnTo>
                    <a:pt x="2122" y="654"/>
                  </a:lnTo>
                  <a:lnTo>
                    <a:pt x="2122" y="653"/>
                  </a:lnTo>
                  <a:lnTo>
                    <a:pt x="2122" y="654"/>
                  </a:lnTo>
                  <a:lnTo>
                    <a:pt x="2120" y="653"/>
                  </a:lnTo>
                  <a:lnTo>
                    <a:pt x="2120" y="651"/>
                  </a:lnTo>
                  <a:lnTo>
                    <a:pt x="2120" y="649"/>
                  </a:lnTo>
                  <a:lnTo>
                    <a:pt x="2119" y="648"/>
                  </a:lnTo>
                  <a:lnTo>
                    <a:pt x="2115" y="646"/>
                  </a:lnTo>
                  <a:lnTo>
                    <a:pt x="2114" y="646"/>
                  </a:lnTo>
                  <a:lnTo>
                    <a:pt x="2112" y="646"/>
                  </a:lnTo>
                  <a:lnTo>
                    <a:pt x="2114" y="646"/>
                  </a:lnTo>
                  <a:lnTo>
                    <a:pt x="2114" y="645"/>
                  </a:lnTo>
                  <a:lnTo>
                    <a:pt x="2114" y="643"/>
                  </a:lnTo>
                  <a:lnTo>
                    <a:pt x="2112" y="643"/>
                  </a:lnTo>
                  <a:lnTo>
                    <a:pt x="2112" y="641"/>
                  </a:lnTo>
                  <a:lnTo>
                    <a:pt x="2111" y="641"/>
                  </a:lnTo>
                  <a:lnTo>
                    <a:pt x="2111" y="640"/>
                  </a:lnTo>
                  <a:lnTo>
                    <a:pt x="2112" y="638"/>
                  </a:lnTo>
                  <a:lnTo>
                    <a:pt x="2112" y="636"/>
                  </a:lnTo>
                  <a:lnTo>
                    <a:pt x="2115" y="633"/>
                  </a:lnTo>
                  <a:lnTo>
                    <a:pt x="2117" y="632"/>
                  </a:lnTo>
                  <a:lnTo>
                    <a:pt x="2122" y="620"/>
                  </a:lnTo>
                  <a:lnTo>
                    <a:pt x="2124" y="620"/>
                  </a:lnTo>
                  <a:lnTo>
                    <a:pt x="2125" y="617"/>
                  </a:lnTo>
                  <a:lnTo>
                    <a:pt x="2127" y="614"/>
                  </a:lnTo>
                  <a:lnTo>
                    <a:pt x="2128" y="609"/>
                  </a:lnTo>
                  <a:lnTo>
                    <a:pt x="2133" y="599"/>
                  </a:lnTo>
                  <a:lnTo>
                    <a:pt x="2135" y="597"/>
                  </a:lnTo>
                  <a:lnTo>
                    <a:pt x="2135" y="596"/>
                  </a:lnTo>
                  <a:lnTo>
                    <a:pt x="2137" y="592"/>
                  </a:lnTo>
                  <a:lnTo>
                    <a:pt x="2137" y="591"/>
                  </a:lnTo>
                  <a:lnTo>
                    <a:pt x="2138" y="589"/>
                  </a:lnTo>
                  <a:lnTo>
                    <a:pt x="2140" y="588"/>
                  </a:lnTo>
                  <a:lnTo>
                    <a:pt x="2140" y="586"/>
                  </a:lnTo>
                  <a:lnTo>
                    <a:pt x="2141" y="584"/>
                  </a:lnTo>
                  <a:lnTo>
                    <a:pt x="2141" y="583"/>
                  </a:lnTo>
                  <a:lnTo>
                    <a:pt x="2141" y="581"/>
                  </a:lnTo>
                  <a:lnTo>
                    <a:pt x="2143" y="579"/>
                  </a:lnTo>
                  <a:lnTo>
                    <a:pt x="2143" y="581"/>
                  </a:lnTo>
                  <a:lnTo>
                    <a:pt x="2143" y="579"/>
                  </a:lnTo>
                  <a:lnTo>
                    <a:pt x="2145" y="579"/>
                  </a:lnTo>
                  <a:lnTo>
                    <a:pt x="2145" y="581"/>
                  </a:lnTo>
                  <a:lnTo>
                    <a:pt x="2146" y="579"/>
                  </a:lnTo>
                  <a:lnTo>
                    <a:pt x="2145" y="579"/>
                  </a:lnTo>
                  <a:lnTo>
                    <a:pt x="2146" y="579"/>
                  </a:lnTo>
                  <a:lnTo>
                    <a:pt x="2148" y="579"/>
                  </a:lnTo>
                  <a:lnTo>
                    <a:pt x="2148" y="581"/>
                  </a:lnTo>
                  <a:lnTo>
                    <a:pt x="2148" y="583"/>
                  </a:lnTo>
                  <a:lnTo>
                    <a:pt x="2150" y="583"/>
                  </a:lnTo>
                  <a:lnTo>
                    <a:pt x="2148" y="583"/>
                  </a:lnTo>
                  <a:lnTo>
                    <a:pt x="2148" y="581"/>
                  </a:lnTo>
                  <a:lnTo>
                    <a:pt x="2148" y="579"/>
                  </a:lnTo>
                  <a:lnTo>
                    <a:pt x="2150" y="579"/>
                  </a:lnTo>
                  <a:lnTo>
                    <a:pt x="2151" y="578"/>
                  </a:lnTo>
                  <a:lnTo>
                    <a:pt x="2153" y="578"/>
                  </a:lnTo>
                  <a:lnTo>
                    <a:pt x="2153" y="576"/>
                  </a:lnTo>
                  <a:lnTo>
                    <a:pt x="2153" y="578"/>
                  </a:lnTo>
                  <a:lnTo>
                    <a:pt x="2151" y="578"/>
                  </a:lnTo>
                  <a:lnTo>
                    <a:pt x="2153" y="576"/>
                  </a:lnTo>
                  <a:lnTo>
                    <a:pt x="2151" y="578"/>
                  </a:lnTo>
                  <a:lnTo>
                    <a:pt x="2151" y="576"/>
                  </a:lnTo>
                  <a:lnTo>
                    <a:pt x="2153" y="576"/>
                  </a:lnTo>
                  <a:lnTo>
                    <a:pt x="2154" y="576"/>
                  </a:lnTo>
                  <a:lnTo>
                    <a:pt x="2153" y="576"/>
                  </a:lnTo>
                  <a:lnTo>
                    <a:pt x="2153" y="575"/>
                  </a:lnTo>
                  <a:close/>
                  <a:moveTo>
                    <a:pt x="276" y="321"/>
                  </a:moveTo>
                  <a:lnTo>
                    <a:pt x="278" y="321"/>
                  </a:lnTo>
                  <a:lnTo>
                    <a:pt x="276" y="321"/>
                  </a:lnTo>
                  <a:close/>
                  <a:moveTo>
                    <a:pt x="255" y="277"/>
                  </a:moveTo>
                  <a:lnTo>
                    <a:pt x="257" y="279"/>
                  </a:lnTo>
                  <a:lnTo>
                    <a:pt x="257" y="280"/>
                  </a:lnTo>
                  <a:lnTo>
                    <a:pt x="258" y="280"/>
                  </a:lnTo>
                  <a:lnTo>
                    <a:pt x="258" y="282"/>
                  </a:lnTo>
                  <a:lnTo>
                    <a:pt x="260" y="283"/>
                  </a:lnTo>
                  <a:lnTo>
                    <a:pt x="260" y="285"/>
                  </a:lnTo>
                  <a:lnTo>
                    <a:pt x="260" y="287"/>
                  </a:lnTo>
                  <a:lnTo>
                    <a:pt x="260" y="288"/>
                  </a:lnTo>
                  <a:lnTo>
                    <a:pt x="260" y="290"/>
                  </a:lnTo>
                  <a:lnTo>
                    <a:pt x="261" y="290"/>
                  </a:lnTo>
                  <a:lnTo>
                    <a:pt x="261" y="292"/>
                  </a:lnTo>
                  <a:lnTo>
                    <a:pt x="261" y="293"/>
                  </a:lnTo>
                  <a:lnTo>
                    <a:pt x="263" y="293"/>
                  </a:lnTo>
                  <a:lnTo>
                    <a:pt x="263" y="295"/>
                  </a:lnTo>
                  <a:lnTo>
                    <a:pt x="265" y="295"/>
                  </a:lnTo>
                  <a:lnTo>
                    <a:pt x="266" y="296"/>
                  </a:lnTo>
                  <a:lnTo>
                    <a:pt x="268" y="298"/>
                  </a:lnTo>
                  <a:lnTo>
                    <a:pt x="268" y="300"/>
                  </a:lnTo>
                  <a:lnTo>
                    <a:pt x="270" y="300"/>
                  </a:lnTo>
                  <a:lnTo>
                    <a:pt x="271" y="300"/>
                  </a:lnTo>
                  <a:lnTo>
                    <a:pt x="271" y="301"/>
                  </a:lnTo>
                  <a:lnTo>
                    <a:pt x="273" y="301"/>
                  </a:lnTo>
                  <a:lnTo>
                    <a:pt x="274" y="301"/>
                  </a:lnTo>
                  <a:lnTo>
                    <a:pt x="276" y="301"/>
                  </a:lnTo>
                  <a:lnTo>
                    <a:pt x="278" y="301"/>
                  </a:lnTo>
                  <a:lnTo>
                    <a:pt x="279" y="300"/>
                  </a:lnTo>
                  <a:lnTo>
                    <a:pt x="279" y="301"/>
                  </a:lnTo>
                  <a:lnTo>
                    <a:pt x="279" y="300"/>
                  </a:lnTo>
                  <a:lnTo>
                    <a:pt x="281" y="300"/>
                  </a:lnTo>
                  <a:lnTo>
                    <a:pt x="281" y="301"/>
                  </a:lnTo>
                  <a:lnTo>
                    <a:pt x="279" y="303"/>
                  </a:lnTo>
                  <a:lnTo>
                    <a:pt x="281" y="303"/>
                  </a:lnTo>
                  <a:lnTo>
                    <a:pt x="281" y="305"/>
                  </a:lnTo>
                  <a:lnTo>
                    <a:pt x="283" y="305"/>
                  </a:lnTo>
                  <a:lnTo>
                    <a:pt x="283" y="306"/>
                  </a:lnTo>
                  <a:lnTo>
                    <a:pt x="284" y="306"/>
                  </a:lnTo>
                  <a:lnTo>
                    <a:pt x="284" y="305"/>
                  </a:lnTo>
                  <a:lnTo>
                    <a:pt x="286" y="305"/>
                  </a:lnTo>
                  <a:lnTo>
                    <a:pt x="286" y="306"/>
                  </a:lnTo>
                  <a:lnTo>
                    <a:pt x="287" y="308"/>
                  </a:lnTo>
                  <a:lnTo>
                    <a:pt x="289" y="306"/>
                  </a:lnTo>
                  <a:lnTo>
                    <a:pt x="289" y="308"/>
                  </a:lnTo>
                  <a:lnTo>
                    <a:pt x="291" y="308"/>
                  </a:lnTo>
                  <a:lnTo>
                    <a:pt x="292" y="308"/>
                  </a:lnTo>
                  <a:lnTo>
                    <a:pt x="294" y="308"/>
                  </a:lnTo>
                  <a:lnTo>
                    <a:pt x="296" y="308"/>
                  </a:lnTo>
                  <a:lnTo>
                    <a:pt x="297" y="308"/>
                  </a:lnTo>
                  <a:lnTo>
                    <a:pt x="297" y="306"/>
                  </a:lnTo>
                  <a:lnTo>
                    <a:pt x="299" y="306"/>
                  </a:lnTo>
                  <a:lnTo>
                    <a:pt x="299" y="308"/>
                  </a:lnTo>
                  <a:lnTo>
                    <a:pt x="300" y="309"/>
                  </a:lnTo>
                  <a:lnTo>
                    <a:pt x="302" y="309"/>
                  </a:lnTo>
                  <a:lnTo>
                    <a:pt x="304" y="311"/>
                  </a:lnTo>
                  <a:lnTo>
                    <a:pt x="305" y="313"/>
                  </a:lnTo>
                  <a:lnTo>
                    <a:pt x="307" y="313"/>
                  </a:lnTo>
                  <a:lnTo>
                    <a:pt x="309" y="313"/>
                  </a:lnTo>
                  <a:lnTo>
                    <a:pt x="310" y="314"/>
                  </a:lnTo>
                  <a:lnTo>
                    <a:pt x="312" y="314"/>
                  </a:lnTo>
                  <a:lnTo>
                    <a:pt x="312" y="316"/>
                  </a:lnTo>
                  <a:lnTo>
                    <a:pt x="313" y="316"/>
                  </a:lnTo>
                  <a:lnTo>
                    <a:pt x="313" y="318"/>
                  </a:lnTo>
                  <a:lnTo>
                    <a:pt x="315" y="318"/>
                  </a:lnTo>
                  <a:lnTo>
                    <a:pt x="313" y="321"/>
                  </a:lnTo>
                  <a:lnTo>
                    <a:pt x="315" y="323"/>
                  </a:lnTo>
                  <a:lnTo>
                    <a:pt x="313" y="323"/>
                  </a:lnTo>
                  <a:lnTo>
                    <a:pt x="313" y="324"/>
                  </a:lnTo>
                  <a:lnTo>
                    <a:pt x="312" y="324"/>
                  </a:lnTo>
                  <a:lnTo>
                    <a:pt x="312" y="326"/>
                  </a:lnTo>
                  <a:lnTo>
                    <a:pt x="312" y="327"/>
                  </a:lnTo>
                  <a:lnTo>
                    <a:pt x="310" y="329"/>
                  </a:lnTo>
                  <a:lnTo>
                    <a:pt x="309" y="329"/>
                  </a:lnTo>
                  <a:lnTo>
                    <a:pt x="309" y="331"/>
                  </a:lnTo>
                  <a:lnTo>
                    <a:pt x="307" y="331"/>
                  </a:lnTo>
                  <a:lnTo>
                    <a:pt x="305" y="331"/>
                  </a:lnTo>
                  <a:lnTo>
                    <a:pt x="304" y="329"/>
                  </a:lnTo>
                  <a:lnTo>
                    <a:pt x="304" y="331"/>
                  </a:lnTo>
                  <a:lnTo>
                    <a:pt x="302" y="331"/>
                  </a:lnTo>
                  <a:lnTo>
                    <a:pt x="302" y="329"/>
                  </a:lnTo>
                  <a:lnTo>
                    <a:pt x="300" y="329"/>
                  </a:lnTo>
                  <a:lnTo>
                    <a:pt x="300" y="327"/>
                  </a:lnTo>
                  <a:lnTo>
                    <a:pt x="299" y="327"/>
                  </a:lnTo>
                  <a:lnTo>
                    <a:pt x="299" y="326"/>
                  </a:lnTo>
                  <a:lnTo>
                    <a:pt x="297" y="326"/>
                  </a:lnTo>
                  <a:lnTo>
                    <a:pt x="296" y="326"/>
                  </a:lnTo>
                  <a:lnTo>
                    <a:pt x="294" y="326"/>
                  </a:lnTo>
                  <a:lnTo>
                    <a:pt x="292" y="326"/>
                  </a:lnTo>
                  <a:lnTo>
                    <a:pt x="291" y="326"/>
                  </a:lnTo>
                  <a:lnTo>
                    <a:pt x="289" y="324"/>
                  </a:lnTo>
                  <a:lnTo>
                    <a:pt x="287" y="324"/>
                  </a:lnTo>
                  <a:lnTo>
                    <a:pt x="286" y="324"/>
                  </a:lnTo>
                  <a:lnTo>
                    <a:pt x="284" y="324"/>
                  </a:lnTo>
                  <a:lnTo>
                    <a:pt x="283" y="323"/>
                  </a:lnTo>
                  <a:lnTo>
                    <a:pt x="281" y="323"/>
                  </a:lnTo>
                  <a:lnTo>
                    <a:pt x="279" y="323"/>
                  </a:lnTo>
                  <a:lnTo>
                    <a:pt x="279" y="321"/>
                  </a:lnTo>
                  <a:lnTo>
                    <a:pt x="278" y="321"/>
                  </a:lnTo>
                  <a:lnTo>
                    <a:pt x="276" y="319"/>
                  </a:lnTo>
                  <a:lnTo>
                    <a:pt x="274" y="319"/>
                  </a:lnTo>
                  <a:lnTo>
                    <a:pt x="274" y="318"/>
                  </a:lnTo>
                  <a:lnTo>
                    <a:pt x="273" y="318"/>
                  </a:lnTo>
                  <a:lnTo>
                    <a:pt x="271" y="318"/>
                  </a:lnTo>
                  <a:lnTo>
                    <a:pt x="270" y="318"/>
                  </a:lnTo>
                  <a:lnTo>
                    <a:pt x="270" y="316"/>
                  </a:lnTo>
                  <a:lnTo>
                    <a:pt x="268" y="316"/>
                  </a:lnTo>
                  <a:lnTo>
                    <a:pt x="268" y="314"/>
                  </a:lnTo>
                  <a:lnTo>
                    <a:pt x="268" y="313"/>
                  </a:lnTo>
                  <a:lnTo>
                    <a:pt x="266" y="311"/>
                  </a:lnTo>
                  <a:lnTo>
                    <a:pt x="266" y="309"/>
                  </a:lnTo>
                  <a:lnTo>
                    <a:pt x="265" y="309"/>
                  </a:lnTo>
                  <a:lnTo>
                    <a:pt x="263" y="309"/>
                  </a:lnTo>
                  <a:lnTo>
                    <a:pt x="263" y="308"/>
                  </a:lnTo>
                  <a:lnTo>
                    <a:pt x="261" y="308"/>
                  </a:lnTo>
                  <a:lnTo>
                    <a:pt x="261" y="306"/>
                  </a:lnTo>
                  <a:lnTo>
                    <a:pt x="260" y="306"/>
                  </a:lnTo>
                  <a:lnTo>
                    <a:pt x="258" y="306"/>
                  </a:lnTo>
                  <a:lnTo>
                    <a:pt x="257" y="306"/>
                  </a:lnTo>
                  <a:lnTo>
                    <a:pt x="257" y="305"/>
                  </a:lnTo>
                  <a:lnTo>
                    <a:pt x="255" y="306"/>
                  </a:lnTo>
                  <a:lnTo>
                    <a:pt x="257" y="306"/>
                  </a:lnTo>
                  <a:lnTo>
                    <a:pt x="255" y="306"/>
                  </a:lnTo>
                  <a:lnTo>
                    <a:pt x="255" y="305"/>
                  </a:lnTo>
                  <a:lnTo>
                    <a:pt x="253" y="305"/>
                  </a:lnTo>
                  <a:lnTo>
                    <a:pt x="253" y="303"/>
                  </a:lnTo>
                  <a:lnTo>
                    <a:pt x="252" y="303"/>
                  </a:lnTo>
                  <a:lnTo>
                    <a:pt x="252" y="301"/>
                  </a:lnTo>
                  <a:lnTo>
                    <a:pt x="250" y="300"/>
                  </a:lnTo>
                  <a:lnTo>
                    <a:pt x="250" y="296"/>
                  </a:lnTo>
                  <a:lnTo>
                    <a:pt x="248" y="296"/>
                  </a:lnTo>
                  <a:lnTo>
                    <a:pt x="248" y="295"/>
                  </a:lnTo>
                  <a:lnTo>
                    <a:pt x="248" y="293"/>
                  </a:lnTo>
                  <a:lnTo>
                    <a:pt x="248" y="292"/>
                  </a:lnTo>
                  <a:lnTo>
                    <a:pt x="247" y="292"/>
                  </a:lnTo>
                  <a:lnTo>
                    <a:pt x="247" y="290"/>
                  </a:lnTo>
                  <a:lnTo>
                    <a:pt x="245" y="288"/>
                  </a:lnTo>
                  <a:lnTo>
                    <a:pt x="245" y="287"/>
                  </a:lnTo>
                  <a:lnTo>
                    <a:pt x="244" y="285"/>
                  </a:lnTo>
                  <a:lnTo>
                    <a:pt x="244" y="283"/>
                  </a:lnTo>
                  <a:lnTo>
                    <a:pt x="244" y="280"/>
                  </a:lnTo>
                  <a:lnTo>
                    <a:pt x="245" y="280"/>
                  </a:lnTo>
                  <a:lnTo>
                    <a:pt x="247" y="279"/>
                  </a:lnTo>
                  <a:lnTo>
                    <a:pt x="248" y="279"/>
                  </a:lnTo>
                  <a:lnTo>
                    <a:pt x="248" y="277"/>
                  </a:lnTo>
                  <a:lnTo>
                    <a:pt x="250" y="277"/>
                  </a:lnTo>
                  <a:lnTo>
                    <a:pt x="252" y="277"/>
                  </a:lnTo>
                  <a:lnTo>
                    <a:pt x="253" y="277"/>
                  </a:lnTo>
                  <a:lnTo>
                    <a:pt x="255" y="277"/>
                  </a:lnTo>
                  <a:close/>
                  <a:moveTo>
                    <a:pt x="162" y="109"/>
                  </a:moveTo>
                  <a:lnTo>
                    <a:pt x="164" y="109"/>
                  </a:lnTo>
                  <a:lnTo>
                    <a:pt x="164" y="111"/>
                  </a:lnTo>
                  <a:lnTo>
                    <a:pt x="162" y="111"/>
                  </a:lnTo>
                  <a:lnTo>
                    <a:pt x="162" y="109"/>
                  </a:lnTo>
                  <a:close/>
                  <a:moveTo>
                    <a:pt x="99" y="88"/>
                  </a:moveTo>
                  <a:lnTo>
                    <a:pt x="100" y="88"/>
                  </a:lnTo>
                  <a:lnTo>
                    <a:pt x="99" y="88"/>
                  </a:lnTo>
                  <a:close/>
                  <a:moveTo>
                    <a:pt x="161" y="80"/>
                  </a:moveTo>
                  <a:lnTo>
                    <a:pt x="162" y="82"/>
                  </a:lnTo>
                  <a:lnTo>
                    <a:pt x="164" y="82"/>
                  </a:lnTo>
                  <a:lnTo>
                    <a:pt x="164" y="83"/>
                  </a:lnTo>
                  <a:lnTo>
                    <a:pt x="165" y="83"/>
                  </a:lnTo>
                  <a:lnTo>
                    <a:pt x="165" y="85"/>
                  </a:lnTo>
                  <a:lnTo>
                    <a:pt x="167" y="85"/>
                  </a:lnTo>
                  <a:lnTo>
                    <a:pt x="169" y="85"/>
                  </a:lnTo>
                  <a:lnTo>
                    <a:pt x="169" y="87"/>
                  </a:lnTo>
                  <a:lnTo>
                    <a:pt x="170" y="87"/>
                  </a:lnTo>
                  <a:lnTo>
                    <a:pt x="172" y="88"/>
                  </a:lnTo>
                  <a:lnTo>
                    <a:pt x="172" y="90"/>
                  </a:lnTo>
                  <a:lnTo>
                    <a:pt x="174" y="90"/>
                  </a:lnTo>
                  <a:lnTo>
                    <a:pt x="174" y="92"/>
                  </a:lnTo>
                  <a:lnTo>
                    <a:pt x="175" y="92"/>
                  </a:lnTo>
                  <a:lnTo>
                    <a:pt x="177" y="92"/>
                  </a:lnTo>
                  <a:lnTo>
                    <a:pt x="177" y="93"/>
                  </a:lnTo>
                  <a:lnTo>
                    <a:pt x="177" y="95"/>
                  </a:lnTo>
                  <a:lnTo>
                    <a:pt x="178" y="95"/>
                  </a:lnTo>
                  <a:lnTo>
                    <a:pt x="178" y="96"/>
                  </a:lnTo>
                  <a:lnTo>
                    <a:pt x="178" y="98"/>
                  </a:lnTo>
                  <a:lnTo>
                    <a:pt x="178" y="100"/>
                  </a:lnTo>
                  <a:lnTo>
                    <a:pt x="178" y="101"/>
                  </a:lnTo>
                  <a:lnTo>
                    <a:pt x="180" y="101"/>
                  </a:lnTo>
                  <a:lnTo>
                    <a:pt x="178" y="103"/>
                  </a:lnTo>
                  <a:lnTo>
                    <a:pt x="178" y="101"/>
                  </a:lnTo>
                  <a:lnTo>
                    <a:pt x="177" y="101"/>
                  </a:lnTo>
                  <a:lnTo>
                    <a:pt x="177" y="103"/>
                  </a:lnTo>
                  <a:lnTo>
                    <a:pt x="177" y="105"/>
                  </a:lnTo>
                  <a:lnTo>
                    <a:pt x="178" y="105"/>
                  </a:lnTo>
                  <a:lnTo>
                    <a:pt x="178" y="103"/>
                  </a:lnTo>
                  <a:lnTo>
                    <a:pt x="178" y="105"/>
                  </a:lnTo>
                  <a:lnTo>
                    <a:pt x="177" y="105"/>
                  </a:lnTo>
                  <a:lnTo>
                    <a:pt x="177" y="106"/>
                  </a:lnTo>
                  <a:lnTo>
                    <a:pt x="177" y="108"/>
                  </a:lnTo>
                  <a:lnTo>
                    <a:pt x="175" y="108"/>
                  </a:lnTo>
                  <a:lnTo>
                    <a:pt x="175" y="109"/>
                  </a:lnTo>
                  <a:lnTo>
                    <a:pt x="174" y="109"/>
                  </a:lnTo>
                  <a:lnTo>
                    <a:pt x="172" y="109"/>
                  </a:lnTo>
                  <a:lnTo>
                    <a:pt x="172" y="111"/>
                  </a:lnTo>
                  <a:lnTo>
                    <a:pt x="170" y="111"/>
                  </a:lnTo>
                  <a:lnTo>
                    <a:pt x="172" y="113"/>
                  </a:lnTo>
                  <a:lnTo>
                    <a:pt x="170" y="111"/>
                  </a:lnTo>
                  <a:lnTo>
                    <a:pt x="170" y="113"/>
                  </a:lnTo>
                  <a:lnTo>
                    <a:pt x="169" y="111"/>
                  </a:lnTo>
                  <a:lnTo>
                    <a:pt x="167" y="111"/>
                  </a:lnTo>
                  <a:lnTo>
                    <a:pt x="167" y="109"/>
                  </a:lnTo>
                  <a:lnTo>
                    <a:pt x="165" y="109"/>
                  </a:lnTo>
                  <a:lnTo>
                    <a:pt x="164" y="109"/>
                  </a:lnTo>
                  <a:lnTo>
                    <a:pt x="164" y="108"/>
                  </a:lnTo>
                  <a:lnTo>
                    <a:pt x="162" y="108"/>
                  </a:lnTo>
                  <a:lnTo>
                    <a:pt x="162" y="106"/>
                  </a:lnTo>
                  <a:lnTo>
                    <a:pt x="161" y="106"/>
                  </a:lnTo>
                  <a:lnTo>
                    <a:pt x="161" y="105"/>
                  </a:lnTo>
                  <a:lnTo>
                    <a:pt x="159" y="105"/>
                  </a:lnTo>
                  <a:lnTo>
                    <a:pt x="157" y="105"/>
                  </a:lnTo>
                  <a:lnTo>
                    <a:pt x="157" y="103"/>
                  </a:lnTo>
                  <a:lnTo>
                    <a:pt x="157" y="105"/>
                  </a:lnTo>
                  <a:lnTo>
                    <a:pt x="156" y="105"/>
                  </a:lnTo>
                  <a:lnTo>
                    <a:pt x="156" y="103"/>
                  </a:lnTo>
                  <a:lnTo>
                    <a:pt x="156" y="101"/>
                  </a:lnTo>
                  <a:lnTo>
                    <a:pt x="154" y="101"/>
                  </a:lnTo>
                  <a:lnTo>
                    <a:pt x="152" y="101"/>
                  </a:lnTo>
                  <a:lnTo>
                    <a:pt x="152" y="100"/>
                  </a:lnTo>
                  <a:lnTo>
                    <a:pt x="152" y="101"/>
                  </a:lnTo>
                  <a:lnTo>
                    <a:pt x="152" y="100"/>
                  </a:lnTo>
                  <a:lnTo>
                    <a:pt x="151" y="100"/>
                  </a:lnTo>
                  <a:lnTo>
                    <a:pt x="149" y="98"/>
                  </a:lnTo>
                  <a:lnTo>
                    <a:pt x="149" y="96"/>
                  </a:lnTo>
                  <a:lnTo>
                    <a:pt x="148" y="95"/>
                  </a:lnTo>
                  <a:lnTo>
                    <a:pt x="148" y="93"/>
                  </a:lnTo>
                  <a:lnTo>
                    <a:pt x="146" y="92"/>
                  </a:lnTo>
                  <a:lnTo>
                    <a:pt x="146" y="90"/>
                  </a:lnTo>
                  <a:lnTo>
                    <a:pt x="146" y="88"/>
                  </a:lnTo>
                  <a:lnTo>
                    <a:pt x="146" y="87"/>
                  </a:lnTo>
                  <a:lnTo>
                    <a:pt x="146" y="85"/>
                  </a:lnTo>
                  <a:lnTo>
                    <a:pt x="148" y="83"/>
                  </a:lnTo>
                  <a:lnTo>
                    <a:pt x="148" y="82"/>
                  </a:lnTo>
                  <a:lnTo>
                    <a:pt x="149" y="82"/>
                  </a:lnTo>
                  <a:lnTo>
                    <a:pt x="149" y="80"/>
                  </a:lnTo>
                  <a:lnTo>
                    <a:pt x="151" y="79"/>
                  </a:lnTo>
                  <a:lnTo>
                    <a:pt x="152" y="79"/>
                  </a:lnTo>
                  <a:lnTo>
                    <a:pt x="154" y="79"/>
                  </a:lnTo>
                  <a:lnTo>
                    <a:pt x="157" y="80"/>
                  </a:lnTo>
                  <a:lnTo>
                    <a:pt x="159" y="80"/>
                  </a:lnTo>
                  <a:lnTo>
                    <a:pt x="161" y="80"/>
                  </a:lnTo>
                  <a:close/>
                  <a:moveTo>
                    <a:pt x="32" y="49"/>
                  </a:moveTo>
                  <a:lnTo>
                    <a:pt x="34" y="49"/>
                  </a:lnTo>
                  <a:lnTo>
                    <a:pt x="35" y="49"/>
                  </a:lnTo>
                  <a:lnTo>
                    <a:pt x="35" y="51"/>
                  </a:lnTo>
                  <a:lnTo>
                    <a:pt x="37" y="51"/>
                  </a:lnTo>
                  <a:lnTo>
                    <a:pt x="39" y="53"/>
                  </a:lnTo>
                  <a:lnTo>
                    <a:pt x="39" y="54"/>
                  </a:lnTo>
                  <a:lnTo>
                    <a:pt x="40" y="56"/>
                  </a:lnTo>
                  <a:lnTo>
                    <a:pt x="40" y="57"/>
                  </a:lnTo>
                  <a:lnTo>
                    <a:pt x="42" y="57"/>
                  </a:lnTo>
                  <a:lnTo>
                    <a:pt x="42" y="59"/>
                  </a:lnTo>
                  <a:lnTo>
                    <a:pt x="42" y="61"/>
                  </a:lnTo>
                  <a:lnTo>
                    <a:pt x="43" y="61"/>
                  </a:lnTo>
                  <a:lnTo>
                    <a:pt x="43" y="62"/>
                  </a:lnTo>
                  <a:lnTo>
                    <a:pt x="43" y="64"/>
                  </a:lnTo>
                  <a:lnTo>
                    <a:pt x="45" y="64"/>
                  </a:lnTo>
                  <a:lnTo>
                    <a:pt x="45" y="66"/>
                  </a:lnTo>
                  <a:lnTo>
                    <a:pt x="47" y="66"/>
                  </a:lnTo>
                  <a:lnTo>
                    <a:pt x="47" y="67"/>
                  </a:lnTo>
                  <a:lnTo>
                    <a:pt x="48" y="67"/>
                  </a:lnTo>
                  <a:lnTo>
                    <a:pt x="48" y="69"/>
                  </a:lnTo>
                  <a:lnTo>
                    <a:pt x="48" y="70"/>
                  </a:lnTo>
                  <a:lnTo>
                    <a:pt x="50" y="72"/>
                  </a:lnTo>
                  <a:lnTo>
                    <a:pt x="50" y="74"/>
                  </a:lnTo>
                  <a:lnTo>
                    <a:pt x="50" y="75"/>
                  </a:lnTo>
                  <a:lnTo>
                    <a:pt x="52" y="75"/>
                  </a:lnTo>
                  <a:lnTo>
                    <a:pt x="52" y="77"/>
                  </a:lnTo>
                  <a:lnTo>
                    <a:pt x="53" y="77"/>
                  </a:lnTo>
                  <a:lnTo>
                    <a:pt x="55" y="79"/>
                  </a:lnTo>
                  <a:lnTo>
                    <a:pt x="55" y="80"/>
                  </a:lnTo>
                  <a:lnTo>
                    <a:pt x="56" y="80"/>
                  </a:lnTo>
                  <a:lnTo>
                    <a:pt x="58" y="82"/>
                  </a:lnTo>
                  <a:lnTo>
                    <a:pt x="60" y="82"/>
                  </a:lnTo>
                  <a:lnTo>
                    <a:pt x="60" y="83"/>
                  </a:lnTo>
                  <a:lnTo>
                    <a:pt x="61" y="83"/>
                  </a:lnTo>
                  <a:lnTo>
                    <a:pt x="63" y="85"/>
                  </a:lnTo>
                  <a:lnTo>
                    <a:pt x="63" y="87"/>
                  </a:lnTo>
                  <a:lnTo>
                    <a:pt x="63" y="88"/>
                  </a:lnTo>
                  <a:lnTo>
                    <a:pt x="63" y="90"/>
                  </a:lnTo>
                  <a:lnTo>
                    <a:pt x="61" y="90"/>
                  </a:lnTo>
                  <a:lnTo>
                    <a:pt x="60" y="90"/>
                  </a:lnTo>
                  <a:lnTo>
                    <a:pt x="58" y="90"/>
                  </a:lnTo>
                  <a:lnTo>
                    <a:pt x="58" y="88"/>
                  </a:lnTo>
                  <a:lnTo>
                    <a:pt x="56" y="90"/>
                  </a:lnTo>
                  <a:lnTo>
                    <a:pt x="56" y="88"/>
                  </a:lnTo>
                  <a:lnTo>
                    <a:pt x="55" y="87"/>
                  </a:lnTo>
                  <a:lnTo>
                    <a:pt x="53" y="87"/>
                  </a:lnTo>
                  <a:lnTo>
                    <a:pt x="53" y="85"/>
                  </a:lnTo>
                  <a:lnTo>
                    <a:pt x="52" y="85"/>
                  </a:lnTo>
                  <a:lnTo>
                    <a:pt x="52" y="83"/>
                  </a:lnTo>
                  <a:lnTo>
                    <a:pt x="50" y="83"/>
                  </a:lnTo>
                  <a:lnTo>
                    <a:pt x="48" y="83"/>
                  </a:lnTo>
                  <a:lnTo>
                    <a:pt x="47" y="82"/>
                  </a:lnTo>
                  <a:lnTo>
                    <a:pt x="47" y="83"/>
                  </a:lnTo>
                  <a:lnTo>
                    <a:pt x="45" y="83"/>
                  </a:lnTo>
                  <a:lnTo>
                    <a:pt x="43" y="83"/>
                  </a:lnTo>
                  <a:lnTo>
                    <a:pt x="42" y="83"/>
                  </a:lnTo>
                  <a:lnTo>
                    <a:pt x="40" y="83"/>
                  </a:lnTo>
                  <a:lnTo>
                    <a:pt x="40" y="82"/>
                  </a:lnTo>
                  <a:lnTo>
                    <a:pt x="40" y="80"/>
                  </a:lnTo>
                  <a:lnTo>
                    <a:pt x="40" y="79"/>
                  </a:lnTo>
                  <a:lnTo>
                    <a:pt x="39" y="77"/>
                  </a:lnTo>
                  <a:lnTo>
                    <a:pt x="37" y="75"/>
                  </a:lnTo>
                  <a:lnTo>
                    <a:pt x="35" y="75"/>
                  </a:lnTo>
                  <a:lnTo>
                    <a:pt x="34" y="74"/>
                  </a:lnTo>
                  <a:lnTo>
                    <a:pt x="32" y="74"/>
                  </a:lnTo>
                  <a:lnTo>
                    <a:pt x="32" y="72"/>
                  </a:lnTo>
                  <a:lnTo>
                    <a:pt x="30" y="72"/>
                  </a:lnTo>
                  <a:lnTo>
                    <a:pt x="29" y="70"/>
                  </a:lnTo>
                  <a:lnTo>
                    <a:pt x="29" y="69"/>
                  </a:lnTo>
                  <a:lnTo>
                    <a:pt x="27" y="69"/>
                  </a:lnTo>
                  <a:lnTo>
                    <a:pt x="27" y="67"/>
                  </a:lnTo>
                  <a:lnTo>
                    <a:pt x="26" y="67"/>
                  </a:lnTo>
                  <a:lnTo>
                    <a:pt x="24" y="67"/>
                  </a:lnTo>
                  <a:lnTo>
                    <a:pt x="22" y="66"/>
                  </a:lnTo>
                  <a:lnTo>
                    <a:pt x="22" y="64"/>
                  </a:lnTo>
                  <a:lnTo>
                    <a:pt x="21" y="62"/>
                  </a:lnTo>
                  <a:lnTo>
                    <a:pt x="17" y="59"/>
                  </a:lnTo>
                  <a:lnTo>
                    <a:pt x="19" y="56"/>
                  </a:lnTo>
                  <a:lnTo>
                    <a:pt x="17" y="56"/>
                  </a:lnTo>
                  <a:lnTo>
                    <a:pt x="17" y="53"/>
                  </a:lnTo>
                  <a:lnTo>
                    <a:pt x="19" y="53"/>
                  </a:lnTo>
                  <a:lnTo>
                    <a:pt x="19" y="51"/>
                  </a:lnTo>
                  <a:lnTo>
                    <a:pt x="19" y="49"/>
                  </a:lnTo>
                  <a:lnTo>
                    <a:pt x="21" y="46"/>
                  </a:lnTo>
                  <a:lnTo>
                    <a:pt x="22" y="46"/>
                  </a:lnTo>
                  <a:lnTo>
                    <a:pt x="22" y="48"/>
                  </a:lnTo>
                  <a:lnTo>
                    <a:pt x="22" y="46"/>
                  </a:lnTo>
                  <a:lnTo>
                    <a:pt x="24" y="46"/>
                  </a:lnTo>
                  <a:lnTo>
                    <a:pt x="26" y="46"/>
                  </a:lnTo>
                  <a:lnTo>
                    <a:pt x="27" y="46"/>
                  </a:lnTo>
                  <a:lnTo>
                    <a:pt x="29" y="46"/>
                  </a:lnTo>
                  <a:lnTo>
                    <a:pt x="30" y="48"/>
                  </a:lnTo>
                  <a:lnTo>
                    <a:pt x="32" y="49"/>
                  </a:lnTo>
                  <a:close/>
                  <a:moveTo>
                    <a:pt x="56" y="30"/>
                  </a:moveTo>
                  <a:lnTo>
                    <a:pt x="58" y="30"/>
                  </a:lnTo>
                  <a:lnTo>
                    <a:pt x="58" y="31"/>
                  </a:lnTo>
                  <a:lnTo>
                    <a:pt x="60" y="31"/>
                  </a:lnTo>
                  <a:lnTo>
                    <a:pt x="60" y="33"/>
                  </a:lnTo>
                  <a:lnTo>
                    <a:pt x="61" y="35"/>
                  </a:lnTo>
                  <a:lnTo>
                    <a:pt x="61" y="36"/>
                  </a:lnTo>
                  <a:lnTo>
                    <a:pt x="63" y="36"/>
                  </a:lnTo>
                  <a:lnTo>
                    <a:pt x="63" y="38"/>
                  </a:lnTo>
                  <a:lnTo>
                    <a:pt x="65" y="38"/>
                  </a:lnTo>
                  <a:lnTo>
                    <a:pt x="65" y="40"/>
                  </a:lnTo>
                  <a:lnTo>
                    <a:pt x="66" y="41"/>
                  </a:lnTo>
                  <a:lnTo>
                    <a:pt x="68" y="41"/>
                  </a:lnTo>
                  <a:lnTo>
                    <a:pt x="68" y="43"/>
                  </a:lnTo>
                  <a:lnTo>
                    <a:pt x="68" y="44"/>
                  </a:lnTo>
                  <a:lnTo>
                    <a:pt x="69" y="44"/>
                  </a:lnTo>
                  <a:lnTo>
                    <a:pt x="69" y="46"/>
                  </a:lnTo>
                  <a:lnTo>
                    <a:pt x="71" y="46"/>
                  </a:lnTo>
                  <a:lnTo>
                    <a:pt x="71" y="48"/>
                  </a:lnTo>
                  <a:lnTo>
                    <a:pt x="73" y="48"/>
                  </a:lnTo>
                  <a:lnTo>
                    <a:pt x="73" y="49"/>
                  </a:lnTo>
                  <a:lnTo>
                    <a:pt x="74" y="51"/>
                  </a:lnTo>
                  <a:lnTo>
                    <a:pt x="76" y="53"/>
                  </a:lnTo>
                  <a:lnTo>
                    <a:pt x="76" y="54"/>
                  </a:lnTo>
                  <a:lnTo>
                    <a:pt x="78" y="54"/>
                  </a:lnTo>
                  <a:lnTo>
                    <a:pt x="78" y="56"/>
                  </a:lnTo>
                  <a:lnTo>
                    <a:pt x="79" y="56"/>
                  </a:lnTo>
                  <a:lnTo>
                    <a:pt x="79" y="57"/>
                  </a:lnTo>
                  <a:lnTo>
                    <a:pt x="79" y="56"/>
                  </a:lnTo>
                  <a:lnTo>
                    <a:pt x="79" y="57"/>
                  </a:lnTo>
                  <a:lnTo>
                    <a:pt x="81" y="57"/>
                  </a:lnTo>
                  <a:lnTo>
                    <a:pt x="81" y="59"/>
                  </a:lnTo>
                  <a:lnTo>
                    <a:pt x="81" y="61"/>
                  </a:lnTo>
                  <a:lnTo>
                    <a:pt x="83" y="61"/>
                  </a:lnTo>
                  <a:lnTo>
                    <a:pt x="83" y="62"/>
                  </a:lnTo>
                  <a:lnTo>
                    <a:pt x="83" y="64"/>
                  </a:lnTo>
                  <a:lnTo>
                    <a:pt x="84" y="64"/>
                  </a:lnTo>
                  <a:lnTo>
                    <a:pt x="84" y="66"/>
                  </a:lnTo>
                  <a:lnTo>
                    <a:pt x="86" y="67"/>
                  </a:lnTo>
                  <a:lnTo>
                    <a:pt x="87" y="69"/>
                  </a:lnTo>
                  <a:lnTo>
                    <a:pt x="86" y="69"/>
                  </a:lnTo>
                  <a:lnTo>
                    <a:pt x="87" y="70"/>
                  </a:lnTo>
                  <a:lnTo>
                    <a:pt x="89" y="72"/>
                  </a:lnTo>
                  <a:lnTo>
                    <a:pt x="89" y="74"/>
                  </a:lnTo>
                  <a:lnTo>
                    <a:pt x="91" y="75"/>
                  </a:lnTo>
                  <a:lnTo>
                    <a:pt x="92" y="77"/>
                  </a:lnTo>
                  <a:lnTo>
                    <a:pt x="92" y="79"/>
                  </a:lnTo>
                  <a:lnTo>
                    <a:pt x="94" y="80"/>
                  </a:lnTo>
                  <a:lnTo>
                    <a:pt x="94" y="79"/>
                  </a:lnTo>
                  <a:lnTo>
                    <a:pt x="94" y="80"/>
                  </a:lnTo>
                  <a:lnTo>
                    <a:pt x="96" y="80"/>
                  </a:lnTo>
                  <a:lnTo>
                    <a:pt x="96" y="82"/>
                  </a:lnTo>
                  <a:lnTo>
                    <a:pt x="96" y="83"/>
                  </a:lnTo>
                  <a:lnTo>
                    <a:pt x="97" y="83"/>
                  </a:lnTo>
                  <a:lnTo>
                    <a:pt x="97" y="85"/>
                  </a:lnTo>
                  <a:lnTo>
                    <a:pt x="97" y="87"/>
                  </a:lnTo>
                  <a:lnTo>
                    <a:pt x="99" y="87"/>
                  </a:lnTo>
                  <a:lnTo>
                    <a:pt x="99" y="88"/>
                  </a:lnTo>
                  <a:lnTo>
                    <a:pt x="97" y="88"/>
                  </a:lnTo>
                  <a:lnTo>
                    <a:pt x="96" y="88"/>
                  </a:lnTo>
                  <a:lnTo>
                    <a:pt x="94" y="88"/>
                  </a:lnTo>
                  <a:lnTo>
                    <a:pt x="92" y="88"/>
                  </a:lnTo>
                  <a:lnTo>
                    <a:pt x="91" y="87"/>
                  </a:lnTo>
                  <a:lnTo>
                    <a:pt x="89" y="85"/>
                  </a:lnTo>
                  <a:lnTo>
                    <a:pt x="89" y="83"/>
                  </a:lnTo>
                  <a:lnTo>
                    <a:pt x="87" y="82"/>
                  </a:lnTo>
                  <a:lnTo>
                    <a:pt x="87" y="80"/>
                  </a:lnTo>
                  <a:lnTo>
                    <a:pt x="86" y="79"/>
                  </a:lnTo>
                  <a:lnTo>
                    <a:pt x="86" y="77"/>
                  </a:lnTo>
                  <a:lnTo>
                    <a:pt x="84" y="75"/>
                  </a:lnTo>
                  <a:lnTo>
                    <a:pt x="84" y="74"/>
                  </a:lnTo>
                  <a:lnTo>
                    <a:pt x="83" y="72"/>
                  </a:lnTo>
                  <a:lnTo>
                    <a:pt x="81" y="72"/>
                  </a:lnTo>
                  <a:lnTo>
                    <a:pt x="81" y="70"/>
                  </a:lnTo>
                  <a:lnTo>
                    <a:pt x="79" y="70"/>
                  </a:lnTo>
                  <a:lnTo>
                    <a:pt x="79" y="69"/>
                  </a:lnTo>
                  <a:lnTo>
                    <a:pt x="78" y="69"/>
                  </a:lnTo>
                  <a:lnTo>
                    <a:pt x="78" y="67"/>
                  </a:lnTo>
                  <a:lnTo>
                    <a:pt x="76" y="67"/>
                  </a:lnTo>
                  <a:lnTo>
                    <a:pt x="76" y="66"/>
                  </a:lnTo>
                  <a:lnTo>
                    <a:pt x="74" y="66"/>
                  </a:lnTo>
                  <a:lnTo>
                    <a:pt x="74" y="64"/>
                  </a:lnTo>
                  <a:lnTo>
                    <a:pt x="74" y="62"/>
                  </a:lnTo>
                  <a:lnTo>
                    <a:pt x="73" y="62"/>
                  </a:lnTo>
                  <a:lnTo>
                    <a:pt x="73" y="61"/>
                  </a:lnTo>
                  <a:lnTo>
                    <a:pt x="71" y="61"/>
                  </a:lnTo>
                  <a:lnTo>
                    <a:pt x="71" y="59"/>
                  </a:lnTo>
                  <a:lnTo>
                    <a:pt x="69" y="57"/>
                  </a:lnTo>
                  <a:lnTo>
                    <a:pt x="68" y="56"/>
                  </a:lnTo>
                  <a:lnTo>
                    <a:pt x="68" y="54"/>
                  </a:lnTo>
                  <a:lnTo>
                    <a:pt x="66" y="54"/>
                  </a:lnTo>
                  <a:lnTo>
                    <a:pt x="66" y="53"/>
                  </a:lnTo>
                  <a:lnTo>
                    <a:pt x="65" y="51"/>
                  </a:lnTo>
                  <a:lnTo>
                    <a:pt x="63" y="49"/>
                  </a:lnTo>
                  <a:lnTo>
                    <a:pt x="63" y="48"/>
                  </a:lnTo>
                  <a:lnTo>
                    <a:pt x="63" y="46"/>
                  </a:lnTo>
                  <a:lnTo>
                    <a:pt x="61" y="46"/>
                  </a:lnTo>
                  <a:lnTo>
                    <a:pt x="61" y="44"/>
                  </a:lnTo>
                  <a:lnTo>
                    <a:pt x="61" y="43"/>
                  </a:lnTo>
                  <a:lnTo>
                    <a:pt x="61" y="41"/>
                  </a:lnTo>
                  <a:lnTo>
                    <a:pt x="60" y="40"/>
                  </a:lnTo>
                  <a:lnTo>
                    <a:pt x="58" y="38"/>
                  </a:lnTo>
                  <a:lnTo>
                    <a:pt x="58" y="36"/>
                  </a:lnTo>
                  <a:lnTo>
                    <a:pt x="58" y="35"/>
                  </a:lnTo>
                  <a:lnTo>
                    <a:pt x="58" y="33"/>
                  </a:lnTo>
                  <a:lnTo>
                    <a:pt x="56" y="31"/>
                  </a:lnTo>
                  <a:lnTo>
                    <a:pt x="56" y="30"/>
                  </a:lnTo>
                  <a:close/>
                  <a:moveTo>
                    <a:pt x="9" y="23"/>
                  </a:moveTo>
                  <a:lnTo>
                    <a:pt x="11" y="22"/>
                  </a:lnTo>
                  <a:lnTo>
                    <a:pt x="11" y="23"/>
                  </a:lnTo>
                  <a:lnTo>
                    <a:pt x="13" y="23"/>
                  </a:lnTo>
                  <a:lnTo>
                    <a:pt x="14" y="25"/>
                  </a:lnTo>
                  <a:lnTo>
                    <a:pt x="14" y="26"/>
                  </a:lnTo>
                  <a:lnTo>
                    <a:pt x="16" y="26"/>
                  </a:lnTo>
                  <a:lnTo>
                    <a:pt x="16" y="28"/>
                  </a:lnTo>
                  <a:lnTo>
                    <a:pt x="16" y="30"/>
                  </a:lnTo>
                  <a:lnTo>
                    <a:pt x="17" y="30"/>
                  </a:lnTo>
                  <a:lnTo>
                    <a:pt x="17" y="31"/>
                  </a:lnTo>
                  <a:lnTo>
                    <a:pt x="19" y="33"/>
                  </a:lnTo>
                  <a:lnTo>
                    <a:pt x="19" y="35"/>
                  </a:lnTo>
                  <a:lnTo>
                    <a:pt x="19" y="36"/>
                  </a:lnTo>
                  <a:lnTo>
                    <a:pt x="17" y="36"/>
                  </a:lnTo>
                  <a:lnTo>
                    <a:pt x="17" y="38"/>
                  </a:lnTo>
                  <a:lnTo>
                    <a:pt x="16" y="40"/>
                  </a:lnTo>
                  <a:lnTo>
                    <a:pt x="16" y="41"/>
                  </a:lnTo>
                  <a:lnTo>
                    <a:pt x="14" y="41"/>
                  </a:lnTo>
                  <a:lnTo>
                    <a:pt x="13" y="41"/>
                  </a:lnTo>
                  <a:lnTo>
                    <a:pt x="13" y="43"/>
                  </a:lnTo>
                  <a:lnTo>
                    <a:pt x="13" y="41"/>
                  </a:lnTo>
                  <a:lnTo>
                    <a:pt x="13" y="43"/>
                  </a:lnTo>
                  <a:lnTo>
                    <a:pt x="13" y="44"/>
                  </a:lnTo>
                  <a:lnTo>
                    <a:pt x="13" y="43"/>
                  </a:lnTo>
                  <a:lnTo>
                    <a:pt x="11" y="43"/>
                  </a:lnTo>
                  <a:lnTo>
                    <a:pt x="11" y="44"/>
                  </a:lnTo>
                  <a:lnTo>
                    <a:pt x="11" y="43"/>
                  </a:lnTo>
                  <a:lnTo>
                    <a:pt x="13" y="43"/>
                  </a:lnTo>
                  <a:lnTo>
                    <a:pt x="11" y="43"/>
                  </a:lnTo>
                  <a:lnTo>
                    <a:pt x="9" y="41"/>
                  </a:lnTo>
                  <a:lnTo>
                    <a:pt x="8" y="41"/>
                  </a:lnTo>
                  <a:lnTo>
                    <a:pt x="6" y="40"/>
                  </a:lnTo>
                  <a:lnTo>
                    <a:pt x="3" y="40"/>
                  </a:lnTo>
                  <a:lnTo>
                    <a:pt x="3" y="38"/>
                  </a:lnTo>
                  <a:lnTo>
                    <a:pt x="1" y="36"/>
                  </a:lnTo>
                  <a:lnTo>
                    <a:pt x="0" y="36"/>
                  </a:lnTo>
                  <a:lnTo>
                    <a:pt x="1" y="36"/>
                  </a:lnTo>
                  <a:lnTo>
                    <a:pt x="1" y="35"/>
                  </a:lnTo>
                  <a:lnTo>
                    <a:pt x="1" y="33"/>
                  </a:lnTo>
                  <a:lnTo>
                    <a:pt x="1" y="30"/>
                  </a:lnTo>
                  <a:lnTo>
                    <a:pt x="0" y="30"/>
                  </a:lnTo>
                  <a:lnTo>
                    <a:pt x="0" y="28"/>
                  </a:lnTo>
                  <a:lnTo>
                    <a:pt x="0" y="22"/>
                  </a:lnTo>
                  <a:lnTo>
                    <a:pt x="1" y="22"/>
                  </a:lnTo>
                  <a:lnTo>
                    <a:pt x="3" y="23"/>
                  </a:lnTo>
                  <a:lnTo>
                    <a:pt x="4" y="23"/>
                  </a:lnTo>
                  <a:lnTo>
                    <a:pt x="4" y="25"/>
                  </a:lnTo>
                  <a:lnTo>
                    <a:pt x="6" y="25"/>
                  </a:lnTo>
                  <a:lnTo>
                    <a:pt x="8" y="23"/>
                  </a:lnTo>
                  <a:lnTo>
                    <a:pt x="9" y="23"/>
                  </a:lnTo>
                  <a:close/>
                  <a:moveTo>
                    <a:pt x="109" y="18"/>
                  </a:moveTo>
                  <a:lnTo>
                    <a:pt x="110" y="18"/>
                  </a:lnTo>
                  <a:lnTo>
                    <a:pt x="109" y="18"/>
                  </a:lnTo>
                  <a:close/>
                  <a:moveTo>
                    <a:pt x="110" y="12"/>
                  </a:moveTo>
                  <a:lnTo>
                    <a:pt x="110" y="10"/>
                  </a:lnTo>
                  <a:lnTo>
                    <a:pt x="112" y="10"/>
                  </a:lnTo>
                  <a:lnTo>
                    <a:pt x="112" y="12"/>
                  </a:lnTo>
                  <a:lnTo>
                    <a:pt x="110" y="12"/>
                  </a:lnTo>
                  <a:close/>
                  <a:moveTo>
                    <a:pt x="104" y="0"/>
                  </a:moveTo>
                  <a:lnTo>
                    <a:pt x="105" y="0"/>
                  </a:lnTo>
                  <a:lnTo>
                    <a:pt x="105" y="2"/>
                  </a:lnTo>
                  <a:lnTo>
                    <a:pt x="107" y="2"/>
                  </a:lnTo>
                  <a:lnTo>
                    <a:pt x="107" y="4"/>
                  </a:lnTo>
                  <a:lnTo>
                    <a:pt x="109" y="4"/>
                  </a:lnTo>
                  <a:lnTo>
                    <a:pt x="109" y="5"/>
                  </a:lnTo>
                  <a:lnTo>
                    <a:pt x="109" y="9"/>
                  </a:lnTo>
                  <a:lnTo>
                    <a:pt x="110" y="10"/>
                  </a:lnTo>
                  <a:lnTo>
                    <a:pt x="109" y="10"/>
                  </a:lnTo>
                  <a:lnTo>
                    <a:pt x="110" y="10"/>
                  </a:lnTo>
                  <a:lnTo>
                    <a:pt x="109" y="10"/>
                  </a:lnTo>
                  <a:lnTo>
                    <a:pt x="109" y="12"/>
                  </a:lnTo>
                  <a:lnTo>
                    <a:pt x="110" y="13"/>
                  </a:lnTo>
                  <a:lnTo>
                    <a:pt x="110" y="15"/>
                  </a:lnTo>
                  <a:lnTo>
                    <a:pt x="109" y="15"/>
                  </a:lnTo>
                  <a:lnTo>
                    <a:pt x="110" y="15"/>
                  </a:lnTo>
                  <a:lnTo>
                    <a:pt x="109" y="15"/>
                  </a:lnTo>
                  <a:lnTo>
                    <a:pt x="109" y="17"/>
                  </a:lnTo>
                  <a:lnTo>
                    <a:pt x="107" y="17"/>
                  </a:lnTo>
                  <a:lnTo>
                    <a:pt x="105" y="15"/>
                  </a:lnTo>
                  <a:lnTo>
                    <a:pt x="104" y="15"/>
                  </a:lnTo>
                  <a:lnTo>
                    <a:pt x="104" y="13"/>
                  </a:lnTo>
                  <a:lnTo>
                    <a:pt x="104" y="12"/>
                  </a:lnTo>
                  <a:lnTo>
                    <a:pt x="100" y="10"/>
                  </a:lnTo>
                  <a:lnTo>
                    <a:pt x="100" y="9"/>
                  </a:lnTo>
                  <a:lnTo>
                    <a:pt x="100" y="7"/>
                  </a:lnTo>
                  <a:lnTo>
                    <a:pt x="100" y="5"/>
                  </a:lnTo>
                  <a:lnTo>
                    <a:pt x="100" y="4"/>
                  </a:lnTo>
                  <a:lnTo>
                    <a:pt x="100" y="2"/>
                  </a:lnTo>
                  <a:lnTo>
                    <a:pt x="102" y="2"/>
                  </a:lnTo>
                  <a:lnTo>
                    <a:pt x="104" y="0"/>
                  </a:lnTo>
                  <a:close/>
                </a:path>
              </a:pathLst>
            </a:custGeom>
            <a:solidFill>
              <a:srgbClr val="00B0F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1209" name="Freeform 55">
              <a:extLst>
                <a:ext uri="{FF2B5EF4-FFF2-40B4-BE49-F238E27FC236}">
                  <a16:creationId xmlns:a16="http://schemas.microsoft.com/office/drawing/2014/main" id="{367A0BC3-94E3-E393-0F0E-A15A9105C2F7}"/>
                </a:ext>
              </a:extLst>
            </p:cNvPr>
            <p:cNvSpPr>
              <a:spLocks noEditPoints="1"/>
            </p:cNvSpPr>
            <p:nvPr/>
          </p:nvSpPr>
          <p:spPr bwMode="auto">
            <a:xfrm>
              <a:off x="5226" y="3818"/>
              <a:ext cx="956" cy="703"/>
            </a:xfrm>
            <a:custGeom>
              <a:avLst/>
              <a:gdLst>
                <a:gd name="T0" fmla="*/ 878 w 956"/>
                <a:gd name="T1" fmla="*/ 509 h 703"/>
                <a:gd name="T2" fmla="*/ 884 w 956"/>
                <a:gd name="T3" fmla="*/ 532 h 703"/>
                <a:gd name="T4" fmla="*/ 889 w 956"/>
                <a:gd name="T5" fmla="*/ 538 h 703"/>
                <a:gd name="T6" fmla="*/ 889 w 956"/>
                <a:gd name="T7" fmla="*/ 574 h 703"/>
                <a:gd name="T8" fmla="*/ 816 w 956"/>
                <a:gd name="T9" fmla="*/ 569 h 703"/>
                <a:gd name="T10" fmla="*/ 717 w 956"/>
                <a:gd name="T11" fmla="*/ 574 h 703"/>
                <a:gd name="T12" fmla="*/ 645 w 956"/>
                <a:gd name="T13" fmla="*/ 612 h 703"/>
                <a:gd name="T14" fmla="*/ 588 w 956"/>
                <a:gd name="T15" fmla="*/ 675 h 703"/>
                <a:gd name="T16" fmla="*/ 517 w 956"/>
                <a:gd name="T17" fmla="*/ 680 h 703"/>
                <a:gd name="T18" fmla="*/ 424 w 956"/>
                <a:gd name="T19" fmla="*/ 693 h 703"/>
                <a:gd name="T20" fmla="*/ 331 w 956"/>
                <a:gd name="T21" fmla="*/ 703 h 703"/>
                <a:gd name="T22" fmla="*/ 292 w 956"/>
                <a:gd name="T23" fmla="*/ 654 h 703"/>
                <a:gd name="T24" fmla="*/ 263 w 956"/>
                <a:gd name="T25" fmla="*/ 605 h 703"/>
                <a:gd name="T26" fmla="*/ 232 w 956"/>
                <a:gd name="T27" fmla="*/ 600 h 703"/>
                <a:gd name="T28" fmla="*/ 169 w 956"/>
                <a:gd name="T29" fmla="*/ 603 h 703"/>
                <a:gd name="T30" fmla="*/ 146 w 956"/>
                <a:gd name="T31" fmla="*/ 577 h 703"/>
                <a:gd name="T32" fmla="*/ 143 w 956"/>
                <a:gd name="T33" fmla="*/ 540 h 703"/>
                <a:gd name="T34" fmla="*/ 87 w 956"/>
                <a:gd name="T35" fmla="*/ 517 h 703"/>
                <a:gd name="T36" fmla="*/ 61 w 956"/>
                <a:gd name="T37" fmla="*/ 463 h 703"/>
                <a:gd name="T38" fmla="*/ 6 w 956"/>
                <a:gd name="T39" fmla="*/ 424 h 703"/>
                <a:gd name="T40" fmla="*/ 40 w 956"/>
                <a:gd name="T41" fmla="*/ 408 h 703"/>
                <a:gd name="T42" fmla="*/ 86 w 956"/>
                <a:gd name="T43" fmla="*/ 374 h 703"/>
                <a:gd name="T44" fmla="*/ 104 w 956"/>
                <a:gd name="T45" fmla="*/ 322 h 703"/>
                <a:gd name="T46" fmla="*/ 118 w 956"/>
                <a:gd name="T47" fmla="*/ 281 h 703"/>
                <a:gd name="T48" fmla="*/ 133 w 956"/>
                <a:gd name="T49" fmla="*/ 234 h 703"/>
                <a:gd name="T50" fmla="*/ 151 w 956"/>
                <a:gd name="T51" fmla="*/ 181 h 703"/>
                <a:gd name="T52" fmla="*/ 200 w 956"/>
                <a:gd name="T53" fmla="*/ 141 h 703"/>
                <a:gd name="T54" fmla="*/ 226 w 956"/>
                <a:gd name="T55" fmla="*/ 112 h 703"/>
                <a:gd name="T56" fmla="*/ 265 w 956"/>
                <a:gd name="T57" fmla="*/ 102 h 703"/>
                <a:gd name="T58" fmla="*/ 307 w 956"/>
                <a:gd name="T59" fmla="*/ 104 h 703"/>
                <a:gd name="T60" fmla="*/ 356 w 956"/>
                <a:gd name="T61" fmla="*/ 91 h 703"/>
                <a:gd name="T62" fmla="*/ 403 w 956"/>
                <a:gd name="T63" fmla="*/ 106 h 703"/>
                <a:gd name="T64" fmla="*/ 473 w 956"/>
                <a:gd name="T65" fmla="*/ 68 h 703"/>
                <a:gd name="T66" fmla="*/ 530 w 956"/>
                <a:gd name="T67" fmla="*/ 28 h 703"/>
                <a:gd name="T68" fmla="*/ 557 w 956"/>
                <a:gd name="T69" fmla="*/ 3 h 703"/>
                <a:gd name="T70" fmla="*/ 587 w 956"/>
                <a:gd name="T71" fmla="*/ 8 h 703"/>
                <a:gd name="T72" fmla="*/ 608 w 956"/>
                <a:gd name="T73" fmla="*/ 26 h 703"/>
                <a:gd name="T74" fmla="*/ 634 w 956"/>
                <a:gd name="T75" fmla="*/ 60 h 703"/>
                <a:gd name="T76" fmla="*/ 655 w 956"/>
                <a:gd name="T77" fmla="*/ 85 h 703"/>
                <a:gd name="T78" fmla="*/ 673 w 956"/>
                <a:gd name="T79" fmla="*/ 106 h 703"/>
                <a:gd name="T80" fmla="*/ 692 w 956"/>
                <a:gd name="T81" fmla="*/ 117 h 703"/>
                <a:gd name="T82" fmla="*/ 715 w 956"/>
                <a:gd name="T83" fmla="*/ 141 h 703"/>
                <a:gd name="T84" fmla="*/ 738 w 956"/>
                <a:gd name="T85" fmla="*/ 154 h 703"/>
                <a:gd name="T86" fmla="*/ 751 w 956"/>
                <a:gd name="T87" fmla="*/ 177 h 703"/>
                <a:gd name="T88" fmla="*/ 762 w 956"/>
                <a:gd name="T89" fmla="*/ 198 h 703"/>
                <a:gd name="T90" fmla="*/ 767 w 956"/>
                <a:gd name="T91" fmla="*/ 226 h 703"/>
                <a:gd name="T92" fmla="*/ 766 w 956"/>
                <a:gd name="T93" fmla="*/ 246 h 703"/>
                <a:gd name="T94" fmla="*/ 767 w 956"/>
                <a:gd name="T95" fmla="*/ 275 h 703"/>
                <a:gd name="T96" fmla="*/ 775 w 956"/>
                <a:gd name="T97" fmla="*/ 307 h 703"/>
                <a:gd name="T98" fmla="*/ 780 w 956"/>
                <a:gd name="T99" fmla="*/ 342 h 703"/>
                <a:gd name="T100" fmla="*/ 813 w 956"/>
                <a:gd name="T101" fmla="*/ 372 h 703"/>
                <a:gd name="T102" fmla="*/ 866 w 956"/>
                <a:gd name="T103" fmla="*/ 379 h 703"/>
                <a:gd name="T104" fmla="*/ 875 w 956"/>
                <a:gd name="T105" fmla="*/ 381 h 703"/>
                <a:gd name="T106" fmla="*/ 876 w 956"/>
                <a:gd name="T107" fmla="*/ 366 h 703"/>
                <a:gd name="T108" fmla="*/ 912 w 956"/>
                <a:gd name="T109" fmla="*/ 335 h 703"/>
                <a:gd name="T110" fmla="*/ 948 w 956"/>
                <a:gd name="T111" fmla="*/ 348 h 703"/>
                <a:gd name="T112" fmla="*/ 940 w 956"/>
                <a:gd name="T113" fmla="*/ 364 h 703"/>
                <a:gd name="T114" fmla="*/ 943 w 956"/>
                <a:gd name="T115" fmla="*/ 397 h 703"/>
                <a:gd name="T116" fmla="*/ 941 w 956"/>
                <a:gd name="T117" fmla="*/ 416 h 703"/>
                <a:gd name="T118" fmla="*/ 886 w 956"/>
                <a:gd name="T119" fmla="*/ 490 h 703"/>
                <a:gd name="T120" fmla="*/ 928 w 956"/>
                <a:gd name="T121" fmla="*/ 400 h 703"/>
                <a:gd name="T122" fmla="*/ 901 w 956"/>
                <a:gd name="T123" fmla="*/ 385 h 703"/>
                <a:gd name="T124" fmla="*/ 899 w 956"/>
                <a:gd name="T125" fmla="*/ 387 h 7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956" h="703">
                  <a:moveTo>
                    <a:pt x="889" y="581"/>
                  </a:moveTo>
                  <a:lnTo>
                    <a:pt x="891" y="581"/>
                  </a:lnTo>
                  <a:lnTo>
                    <a:pt x="889" y="581"/>
                  </a:lnTo>
                  <a:close/>
                  <a:moveTo>
                    <a:pt x="886" y="535"/>
                  </a:moveTo>
                  <a:lnTo>
                    <a:pt x="886" y="537"/>
                  </a:lnTo>
                  <a:lnTo>
                    <a:pt x="886" y="535"/>
                  </a:lnTo>
                  <a:close/>
                  <a:moveTo>
                    <a:pt x="881" y="506"/>
                  </a:moveTo>
                  <a:lnTo>
                    <a:pt x="883" y="506"/>
                  </a:lnTo>
                  <a:lnTo>
                    <a:pt x="881" y="506"/>
                  </a:lnTo>
                  <a:close/>
                  <a:moveTo>
                    <a:pt x="953" y="416"/>
                  </a:moveTo>
                  <a:lnTo>
                    <a:pt x="953" y="418"/>
                  </a:lnTo>
                  <a:lnTo>
                    <a:pt x="951" y="418"/>
                  </a:lnTo>
                  <a:lnTo>
                    <a:pt x="951" y="420"/>
                  </a:lnTo>
                  <a:lnTo>
                    <a:pt x="949" y="420"/>
                  </a:lnTo>
                  <a:lnTo>
                    <a:pt x="949" y="421"/>
                  </a:lnTo>
                  <a:lnTo>
                    <a:pt x="948" y="421"/>
                  </a:lnTo>
                  <a:lnTo>
                    <a:pt x="946" y="421"/>
                  </a:lnTo>
                  <a:lnTo>
                    <a:pt x="948" y="421"/>
                  </a:lnTo>
                  <a:lnTo>
                    <a:pt x="949" y="421"/>
                  </a:lnTo>
                  <a:lnTo>
                    <a:pt x="949" y="420"/>
                  </a:lnTo>
                  <a:lnTo>
                    <a:pt x="951" y="418"/>
                  </a:lnTo>
                  <a:lnTo>
                    <a:pt x="953" y="418"/>
                  </a:lnTo>
                  <a:lnTo>
                    <a:pt x="953" y="416"/>
                  </a:lnTo>
                  <a:lnTo>
                    <a:pt x="953" y="415"/>
                  </a:lnTo>
                  <a:lnTo>
                    <a:pt x="954" y="413"/>
                  </a:lnTo>
                  <a:lnTo>
                    <a:pt x="954" y="415"/>
                  </a:lnTo>
                  <a:lnTo>
                    <a:pt x="953" y="416"/>
                  </a:lnTo>
                  <a:close/>
                  <a:moveTo>
                    <a:pt x="879" y="384"/>
                  </a:moveTo>
                  <a:lnTo>
                    <a:pt x="881" y="384"/>
                  </a:lnTo>
                  <a:lnTo>
                    <a:pt x="879" y="384"/>
                  </a:lnTo>
                  <a:close/>
                  <a:moveTo>
                    <a:pt x="827" y="377"/>
                  </a:moveTo>
                  <a:lnTo>
                    <a:pt x="826" y="377"/>
                  </a:lnTo>
                  <a:lnTo>
                    <a:pt x="827" y="377"/>
                  </a:lnTo>
                  <a:close/>
                  <a:moveTo>
                    <a:pt x="881" y="506"/>
                  </a:moveTo>
                  <a:lnTo>
                    <a:pt x="878" y="507"/>
                  </a:lnTo>
                  <a:lnTo>
                    <a:pt x="878" y="509"/>
                  </a:lnTo>
                  <a:lnTo>
                    <a:pt x="878" y="511"/>
                  </a:lnTo>
                  <a:lnTo>
                    <a:pt x="878" y="512"/>
                  </a:lnTo>
                  <a:lnTo>
                    <a:pt x="878" y="514"/>
                  </a:lnTo>
                  <a:lnTo>
                    <a:pt x="878" y="516"/>
                  </a:lnTo>
                  <a:lnTo>
                    <a:pt x="879" y="519"/>
                  </a:lnTo>
                  <a:lnTo>
                    <a:pt x="879" y="520"/>
                  </a:lnTo>
                  <a:lnTo>
                    <a:pt x="881" y="520"/>
                  </a:lnTo>
                  <a:lnTo>
                    <a:pt x="881" y="522"/>
                  </a:lnTo>
                  <a:lnTo>
                    <a:pt x="881" y="520"/>
                  </a:lnTo>
                  <a:lnTo>
                    <a:pt x="881" y="522"/>
                  </a:lnTo>
                  <a:lnTo>
                    <a:pt x="881" y="520"/>
                  </a:lnTo>
                  <a:lnTo>
                    <a:pt x="883" y="520"/>
                  </a:lnTo>
                  <a:lnTo>
                    <a:pt x="881" y="520"/>
                  </a:lnTo>
                  <a:lnTo>
                    <a:pt x="883" y="522"/>
                  </a:lnTo>
                  <a:lnTo>
                    <a:pt x="883" y="524"/>
                  </a:lnTo>
                  <a:lnTo>
                    <a:pt x="884" y="524"/>
                  </a:lnTo>
                  <a:lnTo>
                    <a:pt x="884" y="525"/>
                  </a:lnTo>
                  <a:lnTo>
                    <a:pt x="884" y="527"/>
                  </a:lnTo>
                  <a:lnTo>
                    <a:pt x="884" y="525"/>
                  </a:lnTo>
                  <a:lnTo>
                    <a:pt x="884" y="527"/>
                  </a:lnTo>
                  <a:lnTo>
                    <a:pt x="886" y="527"/>
                  </a:lnTo>
                  <a:lnTo>
                    <a:pt x="884" y="529"/>
                  </a:lnTo>
                  <a:lnTo>
                    <a:pt x="886" y="530"/>
                  </a:lnTo>
                  <a:lnTo>
                    <a:pt x="888" y="532"/>
                  </a:lnTo>
                  <a:lnTo>
                    <a:pt x="891" y="533"/>
                  </a:lnTo>
                  <a:lnTo>
                    <a:pt x="892" y="535"/>
                  </a:lnTo>
                  <a:lnTo>
                    <a:pt x="891" y="533"/>
                  </a:lnTo>
                  <a:lnTo>
                    <a:pt x="888" y="532"/>
                  </a:lnTo>
                  <a:lnTo>
                    <a:pt x="888" y="530"/>
                  </a:lnTo>
                  <a:lnTo>
                    <a:pt x="886" y="530"/>
                  </a:lnTo>
                  <a:lnTo>
                    <a:pt x="886" y="529"/>
                  </a:lnTo>
                  <a:lnTo>
                    <a:pt x="886" y="530"/>
                  </a:lnTo>
                  <a:lnTo>
                    <a:pt x="884" y="530"/>
                  </a:lnTo>
                  <a:lnTo>
                    <a:pt x="884" y="529"/>
                  </a:lnTo>
                  <a:lnTo>
                    <a:pt x="884" y="530"/>
                  </a:lnTo>
                  <a:lnTo>
                    <a:pt x="884" y="532"/>
                  </a:lnTo>
                  <a:lnTo>
                    <a:pt x="884" y="530"/>
                  </a:lnTo>
                  <a:lnTo>
                    <a:pt x="886" y="530"/>
                  </a:lnTo>
                  <a:lnTo>
                    <a:pt x="886" y="532"/>
                  </a:lnTo>
                  <a:lnTo>
                    <a:pt x="884" y="532"/>
                  </a:lnTo>
                  <a:lnTo>
                    <a:pt x="886" y="533"/>
                  </a:lnTo>
                  <a:lnTo>
                    <a:pt x="886" y="532"/>
                  </a:lnTo>
                  <a:lnTo>
                    <a:pt x="886" y="533"/>
                  </a:lnTo>
                  <a:lnTo>
                    <a:pt x="888" y="535"/>
                  </a:lnTo>
                  <a:lnTo>
                    <a:pt x="889" y="537"/>
                  </a:lnTo>
                  <a:lnTo>
                    <a:pt x="888" y="537"/>
                  </a:lnTo>
                  <a:lnTo>
                    <a:pt x="886" y="537"/>
                  </a:lnTo>
                  <a:lnTo>
                    <a:pt x="886" y="535"/>
                  </a:lnTo>
                  <a:lnTo>
                    <a:pt x="888" y="535"/>
                  </a:lnTo>
                  <a:lnTo>
                    <a:pt x="886" y="535"/>
                  </a:lnTo>
                  <a:lnTo>
                    <a:pt x="886" y="533"/>
                  </a:lnTo>
                  <a:lnTo>
                    <a:pt x="886" y="535"/>
                  </a:lnTo>
                  <a:lnTo>
                    <a:pt x="886" y="533"/>
                  </a:lnTo>
                  <a:lnTo>
                    <a:pt x="884" y="533"/>
                  </a:lnTo>
                  <a:lnTo>
                    <a:pt x="884" y="535"/>
                  </a:lnTo>
                  <a:lnTo>
                    <a:pt x="886" y="535"/>
                  </a:lnTo>
                  <a:lnTo>
                    <a:pt x="884" y="535"/>
                  </a:lnTo>
                  <a:lnTo>
                    <a:pt x="884" y="537"/>
                  </a:lnTo>
                  <a:lnTo>
                    <a:pt x="886" y="537"/>
                  </a:lnTo>
                  <a:lnTo>
                    <a:pt x="886" y="538"/>
                  </a:lnTo>
                  <a:lnTo>
                    <a:pt x="884" y="538"/>
                  </a:lnTo>
                  <a:lnTo>
                    <a:pt x="886" y="538"/>
                  </a:lnTo>
                  <a:lnTo>
                    <a:pt x="886" y="537"/>
                  </a:lnTo>
                  <a:lnTo>
                    <a:pt x="888" y="538"/>
                  </a:lnTo>
                  <a:lnTo>
                    <a:pt x="888" y="537"/>
                  </a:lnTo>
                  <a:lnTo>
                    <a:pt x="888" y="538"/>
                  </a:lnTo>
                  <a:lnTo>
                    <a:pt x="889" y="538"/>
                  </a:lnTo>
                  <a:lnTo>
                    <a:pt x="888" y="537"/>
                  </a:lnTo>
                  <a:lnTo>
                    <a:pt x="889" y="537"/>
                  </a:lnTo>
                  <a:lnTo>
                    <a:pt x="889" y="538"/>
                  </a:lnTo>
                  <a:lnTo>
                    <a:pt x="889" y="537"/>
                  </a:lnTo>
                  <a:lnTo>
                    <a:pt x="889" y="538"/>
                  </a:lnTo>
                  <a:lnTo>
                    <a:pt x="888" y="538"/>
                  </a:lnTo>
                  <a:lnTo>
                    <a:pt x="889" y="538"/>
                  </a:lnTo>
                  <a:lnTo>
                    <a:pt x="891" y="538"/>
                  </a:lnTo>
                  <a:lnTo>
                    <a:pt x="891" y="537"/>
                  </a:lnTo>
                  <a:lnTo>
                    <a:pt x="891" y="538"/>
                  </a:lnTo>
                  <a:lnTo>
                    <a:pt x="889" y="538"/>
                  </a:lnTo>
                  <a:lnTo>
                    <a:pt x="886" y="540"/>
                  </a:lnTo>
                  <a:lnTo>
                    <a:pt x="886" y="542"/>
                  </a:lnTo>
                  <a:lnTo>
                    <a:pt x="886" y="543"/>
                  </a:lnTo>
                  <a:lnTo>
                    <a:pt x="888" y="543"/>
                  </a:lnTo>
                  <a:lnTo>
                    <a:pt x="886" y="543"/>
                  </a:lnTo>
                  <a:lnTo>
                    <a:pt x="888" y="545"/>
                  </a:lnTo>
                  <a:lnTo>
                    <a:pt x="889" y="546"/>
                  </a:lnTo>
                  <a:lnTo>
                    <a:pt x="891" y="550"/>
                  </a:lnTo>
                  <a:lnTo>
                    <a:pt x="891" y="551"/>
                  </a:lnTo>
                  <a:lnTo>
                    <a:pt x="892" y="553"/>
                  </a:lnTo>
                  <a:lnTo>
                    <a:pt x="891" y="553"/>
                  </a:lnTo>
                  <a:lnTo>
                    <a:pt x="891" y="555"/>
                  </a:lnTo>
                  <a:lnTo>
                    <a:pt x="891" y="556"/>
                  </a:lnTo>
                  <a:lnTo>
                    <a:pt x="891" y="558"/>
                  </a:lnTo>
                  <a:lnTo>
                    <a:pt x="891" y="559"/>
                  </a:lnTo>
                  <a:lnTo>
                    <a:pt x="889" y="559"/>
                  </a:lnTo>
                  <a:lnTo>
                    <a:pt x="891" y="559"/>
                  </a:lnTo>
                  <a:lnTo>
                    <a:pt x="891" y="561"/>
                  </a:lnTo>
                  <a:lnTo>
                    <a:pt x="891" y="563"/>
                  </a:lnTo>
                  <a:lnTo>
                    <a:pt x="891" y="564"/>
                  </a:lnTo>
                  <a:lnTo>
                    <a:pt x="889" y="566"/>
                  </a:lnTo>
                  <a:lnTo>
                    <a:pt x="889" y="568"/>
                  </a:lnTo>
                  <a:lnTo>
                    <a:pt x="889" y="569"/>
                  </a:lnTo>
                  <a:lnTo>
                    <a:pt x="889" y="571"/>
                  </a:lnTo>
                  <a:lnTo>
                    <a:pt x="889" y="572"/>
                  </a:lnTo>
                  <a:lnTo>
                    <a:pt x="891" y="572"/>
                  </a:lnTo>
                  <a:lnTo>
                    <a:pt x="891" y="574"/>
                  </a:lnTo>
                  <a:lnTo>
                    <a:pt x="889" y="574"/>
                  </a:lnTo>
                  <a:lnTo>
                    <a:pt x="891" y="574"/>
                  </a:lnTo>
                  <a:lnTo>
                    <a:pt x="889" y="574"/>
                  </a:lnTo>
                  <a:lnTo>
                    <a:pt x="889" y="576"/>
                  </a:lnTo>
                  <a:lnTo>
                    <a:pt x="889" y="577"/>
                  </a:lnTo>
                  <a:lnTo>
                    <a:pt x="889" y="579"/>
                  </a:lnTo>
                  <a:lnTo>
                    <a:pt x="889" y="581"/>
                  </a:lnTo>
                  <a:lnTo>
                    <a:pt x="888" y="581"/>
                  </a:lnTo>
                  <a:lnTo>
                    <a:pt x="886" y="581"/>
                  </a:lnTo>
                  <a:lnTo>
                    <a:pt x="886" y="582"/>
                  </a:lnTo>
                  <a:lnTo>
                    <a:pt x="886" y="581"/>
                  </a:lnTo>
                  <a:lnTo>
                    <a:pt x="884" y="581"/>
                  </a:lnTo>
                  <a:lnTo>
                    <a:pt x="886" y="582"/>
                  </a:lnTo>
                  <a:lnTo>
                    <a:pt x="884" y="582"/>
                  </a:lnTo>
                  <a:lnTo>
                    <a:pt x="886" y="582"/>
                  </a:lnTo>
                  <a:lnTo>
                    <a:pt x="886" y="581"/>
                  </a:lnTo>
                  <a:lnTo>
                    <a:pt x="886" y="582"/>
                  </a:lnTo>
                  <a:lnTo>
                    <a:pt x="888" y="582"/>
                  </a:lnTo>
                  <a:lnTo>
                    <a:pt x="889" y="582"/>
                  </a:lnTo>
                  <a:lnTo>
                    <a:pt x="891" y="582"/>
                  </a:lnTo>
                  <a:lnTo>
                    <a:pt x="891" y="581"/>
                  </a:lnTo>
                  <a:lnTo>
                    <a:pt x="891" y="582"/>
                  </a:lnTo>
                  <a:lnTo>
                    <a:pt x="889" y="582"/>
                  </a:lnTo>
                  <a:lnTo>
                    <a:pt x="891" y="584"/>
                  </a:lnTo>
                  <a:lnTo>
                    <a:pt x="891" y="585"/>
                  </a:lnTo>
                  <a:lnTo>
                    <a:pt x="891" y="587"/>
                  </a:lnTo>
                  <a:lnTo>
                    <a:pt x="891" y="589"/>
                  </a:lnTo>
                  <a:lnTo>
                    <a:pt x="891" y="590"/>
                  </a:lnTo>
                  <a:lnTo>
                    <a:pt x="878" y="594"/>
                  </a:lnTo>
                  <a:lnTo>
                    <a:pt x="868" y="594"/>
                  </a:lnTo>
                  <a:lnTo>
                    <a:pt x="857" y="595"/>
                  </a:lnTo>
                  <a:lnTo>
                    <a:pt x="842" y="594"/>
                  </a:lnTo>
                  <a:lnTo>
                    <a:pt x="831" y="590"/>
                  </a:lnTo>
                  <a:lnTo>
                    <a:pt x="829" y="590"/>
                  </a:lnTo>
                  <a:lnTo>
                    <a:pt x="826" y="582"/>
                  </a:lnTo>
                  <a:lnTo>
                    <a:pt x="823" y="577"/>
                  </a:lnTo>
                  <a:lnTo>
                    <a:pt x="821" y="576"/>
                  </a:lnTo>
                  <a:lnTo>
                    <a:pt x="819" y="571"/>
                  </a:lnTo>
                  <a:lnTo>
                    <a:pt x="816" y="569"/>
                  </a:lnTo>
                  <a:lnTo>
                    <a:pt x="809" y="577"/>
                  </a:lnTo>
                  <a:lnTo>
                    <a:pt x="801" y="581"/>
                  </a:lnTo>
                  <a:lnTo>
                    <a:pt x="800" y="581"/>
                  </a:lnTo>
                  <a:lnTo>
                    <a:pt x="798" y="581"/>
                  </a:lnTo>
                  <a:lnTo>
                    <a:pt x="796" y="581"/>
                  </a:lnTo>
                  <a:lnTo>
                    <a:pt x="795" y="577"/>
                  </a:lnTo>
                  <a:lnTo>
                    <a:pt x="792" y="572"/>
                  </a:lnTo>
                  <a:lnTo>
                    <a:pt x="790" y="572"/>
                  </a:lnTo>
                  <a:lnTo>
                    <a:pt x="788" y="571"/>
                  </a:lnTo>
                  <a:lnTo>
                    <a:pt x="787" y="571"/>
                  </a:lnTo>
                  <a:lnTo>
                    <a:pt x="785" y="576"/>
                  </a:lnTo>
                  <a:lnTo>
                    <a:pt x="770" y="577"/>
                  </a:lnTo>
                  <a:lnTo>
                    <a:pt x="764" y="581"/>
                  </a:lnTo>
                  <a:lnTo>
                    <a:pt x="761" y="579"/>
                  </a:lnTo>
                  <a:lnTo>
                    <a:pt x="757" y="576"/>
                  </a:lnTo>
                  <a:lnTo>
                    <a:pt x="751" y="574"/>
                  </a:lnTo>
                  <a:lnTo>
                    <a:pt x="749" y="572"/>
                  </a:lnTo>
                  <a:lnTo>
                    <a:pt x="749" y="571"/>
                  </a:lnTo>
                  <a:lnTo>
                    <a:pt x="749" y="569"/>
                  </a:lnTo>
                  <a:lnTo>
                    <a:pt x="748" y="568"/>
                  </a:lnTo>
                  <a:lnTo>
                    <a:pt x="746" y="569"/>
                  </a:lnTo>
                  <a:lnTo>
                    <a:pt x="744" y="571"/>
                  </a:lnTo>
                  <a:lnTo>
                    <a:pt x="741" y="571"/>
                  </a:lnTo>
                  <a:lnTo>
                    <a:pt x="740" y="571"/>
                  </a:lnTo>
                  <a:lnTo>
                    <a:pt x="738" y="569"/>
                  </a:lnTo>
                  <a:lnTo>
                    <a:pt x="736" y="569"/>
                  </a:lnTo>
                  <a:lnTo>
                    <a:pt x="735" y="569"/>
                  </a:lnTo>
                  <a:lnTo>
                    <a:pt x="733" y="569"/>
                  </a:lnTo>
                  <a:lnTo>
                    <a:pt x="731" y="569"/>
                  </a:lnTo>
                  <a:lnTo>
                    <a:pt x="730" y="571"/>
                  </a:lnTo>
                  <a:lnTo>
                    <a:pt x="728" y="569"/>
                  </a:lnTo>
                  <a:lnTo>
                    <a:pt x="725" y="571"/>
                  </a:lnTo>
                  <a:lnTo>
                    <a:pt x="722" y="572"/>
                  </a:lnTo>
                  <a:lnTo>
                    <a:pt x="720" y="572"/>
                  </a:lnTo>
                  <a:lnTo>
                    <a:pt x="718" y="574"/>
                  </a:lnTo>
                  <a:lnTo>
                    <a:pt x="717" y="574"/>
                  </a:lnTo>
                  <a:lnTo>
                    <a:pt x="712" y="576"/>
                  </a:lnTo>
                  <a:lnTo>
                    <a:pt x="710" y="576"/>
                  </a:lnTo>
                  <a:lnTo>
                    <a:pt x="709" y="577"/>
                  </a:lnTo>
                  <a:lnTo>
                    <a:pt x="707" y="579"/>
                  </a:lnTo>
                  <a:lnTo>
                    <a:pt x="705" y="579"/>
                  </a:lnTo>
                  <a:lnTo>
                    <a:pt x="704" y="582"/>
                  </a:lnTo>
                  <a:lnTo>
                    <a:pt x="699" y="585"/>
                  </a:lnTo>
                  <a:lnTo>
                    <a:pt x="697" y="587"/>
                  </a:lnTo>
                  <a:lnTo>
                    <a:pt x="696" y="587"/>
                  </a:lnTo>
                  <a:lnTo>
                    <a:pt x="694" y="587"/>
                  </a:lnTo>
                  <a:lnTo>
                    <a:pt x="692" y="587"/>
                  </a:lnTo>
                  <a:lnTo>
                    <a:pt x="692" y="589"/>
                  </a:lnTo>
                  <a:lnTo>
                    <a:pt x="691" y="589"/>
                  </a:lnTo>
                  <a:lnTo>
                    <a:pt x="689" y="589"/>
                  </a:lnTo>
                  <a:lnTo>
                    <a:pt x="688" y="590"/>
                  </a:lnTo>
                  <a:lnTo>
                    <a:pt x="688" y="592"/>
                  </a:lnTo>
                  <a:lnTo>
                    <a:pt x="684" y="592"/>
                  </a:lnTo>
                  <a:lnTo>
                    <a:pt x="683" y="594"/>
                  </a:lnTo>
                  <a:lnTo>
                    <a:pt x="679" y="594"/>
                  </a:lnTo>
                  <a:lnTo>
                    <a:pt x="678" y="595"/>
                  </a:lnTo>
                  <a:lnTo>
                    <a:pt x="676" y="595"/>
                  </a:lnTo>
                  <a:lnTo>
                    <a:pt x="673" y="597"/>
                  </a:lnTo>
                  <a:lnTo>
                    <a:pt x="670" y="598"/>
                  </a:lnTo>
                  <a:lnTo>
                    <a:pt x="668" y="598"/>
                  </a:lnTo>
                  <a:lnTo>
                    <a:pt x="666" y="600"/>
                  </a:lnTo>
                  <a:lnTo>
                    <a:pt x="665" y="600"/>
                  </a:lnTo>
                  <a:lnTo>
                    <a:pt x="663" y="600"/>
                  </a:lnTo>
                  <a:lnTo>
                    <a:pt x="661" y="600"/>
                  </a:lnTo>
                  <a:lnTo>
                    <a:pt x="660" y="602"/>
                  </a:lnTo>
                  <a:lnTo>
                    <a:pt x="658" y="602"/>
                  </a:lnTo>
                  <a:lnTo>
                    <a:pt x="657" y="603"/>
                  </a:lnTo>
                  <a:lnTo>
                    <a:pt x="655" y="603"/>
                  </a:lnTo>
                  <a:lnTo>
                    <a:pt x="653" y="605"/>
                  </a:lnTo>
                  <a:lnTo>
                    <a:pt x="652" y="607"/>
                  </a:lnTo>
                  <a:lnTo>
                    <a:pt x="650" y="608"/>
                  </a:lnTo>
                  <a:lnTo>
                    <a:pt x="645" y="612"/>
                  </a:lnTo>
                  <a:lnTo>
                    <a:pt x="644" y="613"/>
                  </a:lnTo>
                  <a:lnTo>
                    <a:pt x="642" y="613"/>
                  </a:lnTo>
                  <a:lnTo>
                    <a:pt x="640" y="613"/>
                  </a:lnTo>
                  <a:lnTo>
                    <a:pt x="639" y="613"/>
                  </a:lnTo>
                  <a:lnTo>
                    <a:pt x="637" y="616"/>
                  </a:lnTo>
                  <a:lnTo>
                    <a:pt x="635" y="616"/>
                  </a:lnTo>
                  <a:lnTo>
                    <a:pt x="634" y="620"/>
                  </a:lnTo>
                  <a:lnTo>
                    <a:pt x="634" y="621"/>
                  </a:lnTo>
                  <a:lnTo>
                    <a:pt x="632" y="623"/>
                  </a:lnTo>
                  <a:lnTo>
                    <a:pt x="632" y="625"/>
                  </a:lnTo>
                  <a:lnTo>
                    <a:pt x="632" y="626"/>
                  </a:lnTo>
                  <a:lnTo>
                    <a:pt x="631" y="628"/>
                  </a:lnTo>
                  <a:lnTo>
                    <a:pt x="629" y="629"/>
                  </a:lnTo>
                  <a:lnTo>
                    <a:pt x="626" y="631"/>
                  </a:lnTo>
                  <a:lnTo>
                    <a:pt x="624" y="634"/>
                  </a:lnTo>
                  <a:lnTo>
                    <a:pt x="622" y="636"/>
                  </a:lnTo>
                  <a:lnTo>
                    <a:pt x="621" y="639"/>
                  </a:lnTo>
                  <a:lnTo>
                    <a:pt x="621" y="641"/>
                  </a:lnTo>
                  <a:lnTo>
                    <a:pt x="619" y="642"/>
                  </a:lnTo>
                  <a:lnTo>
                    <a:pt x="618" y="646"/>
                  </a:lnTo>
                  <a:lnTo>
                    <a:pt x="618" y="647"/>
                  </a:lnTo>
                  <a:lnTo>
                    <a:pt x="616" y="651"/>
                  </a:lnTo>
                  <a:lnTo>
                    <a:pt x="616" y="652"/>
                  </a:lnTo>
                  <a:lnTo>
                    <a:pt x="614" y="652"/>
                  </a:lnTo>
                  <a:lnTo>
                    <a:pt x="611" y="655"/>
                  </a:lnTo>
                  <a:lnTo>
                    <a:pt x="611" y="657"/>
                  </a:lnTo>
                  <a:lnTo>
                    <a:pt x="611" y="659"/>
                  </a:lnTo>
                  <a:lnTo>
                    <a:pt x="609" y="660"/>
                  </a:lnTo>
                  <a:lnTo>
                    <a:pt x="608" y="662"/>
                  </a:lnTo>
                  <a:lnTo>
                    <a:pt x="605" y="664"/>
                  </a:lnTo>
                  <a:lnTo>
                    <a:pt x="603" y="665"/>
                  </a:lnTo>
                  <a:lnTo>
                    <a:pt x="598" y="665"/>
                  </a:lnTo>
                  <a:lnTo>
                    <a:pt x="598" y="667"/>
                  </a:lnTo>
                  <a:lnTo>
                    <a:pt x="596" y="668"/>
                  </a:lnTo>
                  <a:lnTo>
                    <a:pt x="590" y="675"/>
                  </a:lnTo>
                  <a:lnTo>
                    <a:pt x="588" y="675"/>
                  </a:lnTo>
                  <a:lnTo>
                    <a:pt x="587" y="675"/>
                  </a:lnTo>
                  <a:lnTo>
                    <a:pt x="583" y="675"/>
                  </a:lnTo>
                  <a:lnTo>
                    <a:pt x="582" y="675"/>
                  </a:lnTo>
                  <a:lnTo>
                    <a:pt x="582" y="677"/>
                  </a:lnTo>
                  <a:lnTo>
                    <a:pt x="579" y="678"/>
                  </a:lnTo>
                  <a:lnTo>
                    <a:pt x="575" y="680"/>
                  </a:lnTo>
                  <a:lnTo>
                    <a:pt x="575" y="681"/>
                  </a:lnTo>
                  <a:lnTo>
                    <a:pt x="574" y="681"/>
                  </a:lnTo>
                  <a:lnTo>
                    <a:pt x="570" y="681"/>
                  </a:lnTo>
                  <a:lnTo>
                    <a:pt x="569" y="681"/>
                  </a:lnTo>
                  <a:lnTo>
                    <a:pt x="567" y="681"/>
                  </a:lnTo>
                  <a:lnTo>
                    <a:pt x="566" y="680"/>
                  </a:lnTo>
                  <a:lnTo>
                    <a:pt x="561" y="678"/>
                  </a:lnTo>
                  <a:lnTo>
                    <a:pt x="557" y="677"/>
                  </a:lnTo>
                  <a:lnTo>
                    <a:pt x="556" y="675"/>
                  </a:lnTo>
                  <a:lnTo>
                    <a:pt x="553" y="675"/>
                  </a:lnTo>
                  <a:lnTo>
                    <a:pt x="551" y="675"/>
                  </a:lnTo>
                  <a:lnTo>
                    <a:pt x="549" y="675"/>
                  </a:lnTo>
                  <a:lnTo>
                    <a:pt x="548" y="675"/>
                  </a:lnTo>
                  <a:lnTo>
                    <a:pt x="546" y="675"/>
                  </a:lnTo>
                  <a:lnTo>
                    <a:pt x="544" y="677"/>
                  </a:lnTo>
                  <a:lnTo>
                    <a:pt x="543" y="678"/>
                  </a:lnTo>
                  <a:lnTo>
                    <a:pt x="541" y="678"/>
                  </a:lnTo>
                  <a:lnTo>
                    <a:pt x="536" y="678"/>
                  </a:lnTo>
                  <a:lnTo>
                    <a:pt x="535" y="678"/>
                  </a:lnTo>
                  <a:lnTo>
                    <a:pt x="535" y="677"/>
                  </a:lnTo>
                  <a:lnTo>
                    <a:pt x="533" y="677"/>
                  </a:lnTo>
                  <a:lnTo>
                    <a:pt x="531" y="675"/>
                  </a:lnTo>
                  <a:lnTo>
                    <a:pt x="530" y="675"/>
                  </a:lnTo>
                  <a:lnTo>
                    <a:pt x="528" y="675"/>
                  </a:lnTo>
                  <a:lnTo>
                    <a:pt x="527" y="677"/>
                  </a:lnTo>
                  <a:lnTo>
                    <a:pt x="525" y="677"/>
                  </a:lnTo>
                  <a:lnTo>
                    <a:pt x="523" y="678"/>
                  </a:lnTo>
                  <a:lnTo>
                    <a:pt x="522" y="678"/>
                  </a:lnTo>
                  <a:lnTo>
                    <a:pt x="518" y="680"/>
                  </a:lnTo>
                  <a:lnTo>
                    <a:pt x="517" y="680"/>
                  </a:lnTo>
                  <a:lnTo>
                    <a:pt x="515" y="680"/>
                  </a:lnTo>
                  <a:lnTo>
                    <a:pt x="512" y="680"/>
                  </a:lnTo>
                  <a:lnTo>
                    <a:pt x="510" y="681"/>
                  </a:lnTo>
                  <a:lnTo>
                    <a:pt x="505" y="685"/>
                  </a:lnTo>
                  <a:lnTo>
                    <a:pt x="504" y="686"/>
                  </a:lnTo>
                  <a:lnTo>
                    <a:pt x="502" y="686"/>
                  </a:lnTo>
                  <a:lnTo>
                    <a:pt x="497" y="685"/>
                  </a:lnTo>
                  <a:lnTo>
                    <a:pt x="496" y="683"/>
                  </a:lnTo>
                  <a:lnTo>
                    <a:pt x="492" y="681"/>
                  </a:lnTo>
                  <a:lnTo>
                    <a:pt x="489" y="680"/>
                  </a:lnTo>
                  <a:lnTo>
                    <a:pt x="487" y="680"/>
                  </a:lnTo>
                  <a:lnTo>
                    <a:pt x="486" y="680"/>
                  </a:lnTo>
                  <a:lnTo>
                    <a:pt x="481" y="680"/>
                  </a:lnTo>
                  <a:lnTo>
                    <a:pt x="479" y="680"/>
                  </a:lnTo>
                  <a:lnTo>
                    <a:pt x="478" y="680"/>
                  </a:lnTo>
                  <a:lnTo>
                    <a:pt x="473" y="683"/>
                  </a:lnTo>
                  <a:lnTo>
                    <a:pt x="471" y="686"/>
                  </a:lnTo>
                  <a:lnTo>
                    <a:pt x="470" y="688"/>
                  </a:lnTo>
                  <a:lnTo>
                    <a:pt x="466" y="690"/>
                  </a:lnTo>
                  <a:lnTo>
                    <a:pt x="465" y="691"/>
                  </a:lnTo>
                  <a:lnTo>
                    <a:pt x="463" y="693"/>
                  </a:lnTo>
                  <a:lnTo>
                    <a:pt x="461" y="693"/>
                  </a:lnTo>
                  <a:lnTo>
                    <a:pt x="460" y="693"/>
                  </a:lnTo>
                  <a:lnTo>
                    <a:pt x="458" y="693"/>
                  </a:lnTo>
                  <a:lnTo>
                    <a:pt x="453" y="694"/>
                  </a:lnTo>
                  <a:lnTo>
                    <a:pt x="450" y="696"/>
                  </a:lnTo>
                  <a:lnTo>
                    <a:pt x="448" y="698"/>
                  </a:lnTo>
                  <a:lnTo>
                    <a:pt x="447" y="698"/>
                  </a:lnTo>
                  <a:lnTo>
                    <a:pt x="445" y="698"/>
                  </a:lnTo>
                  <a:lnTo>
                    <a:pt x="442" y="696"/>
                  </a:lnTo>
                  <a:lnTo>
                    <a:pt x="439" y="696"/>
                  </a:lnTo>
                  <a:lnTo>
                    <a:pt x="437" y="696"/>
                  </a:lnTo>
                  <a:lnTo>
                    <a:pt x="435" y="694"/>
                  </a:lnTo>
                  <a:lnTo>
                    <a:pt x="432" y="694"/>
                  </a:lnTo>
                  <a:lnTo>
                    <a:pt x="426" y="693"/>
                  </a:lnTo>
                  <a:lnTo>
                    <a:pt x="424" y="693"/>
                  </a:lnTo>
                  <a:lnTo>
                    <a:pt x="419" y="693"/>
                  </a:lnTo>
                  <a:lnTo>
                    <a:pt x="416" y="694"/>
                  </a:lnTo>
                  <a:lnTo>
                    <a:pt x="413" y="693"/>
                  </a:lnTo>
                  <a:lnTo>
                    <a:pt x="409" y="693"/>
                  </a:lnTo>
                  <a:lnTo>
                    <a:pt x="408" y="691"/>
                  </a:lnTo>
                  <a:lnTo>
                    <a:pt x="405" y="691"/>
                  </a:lnTo>
                  <a:lnTo>
                    <a:pt x="403" y="691"/>
                  </a:lnTo>
                  <a:lnTo>
                    <a:pt x="401" y="690"/>
                  </a:lnTo>
                  <a:lnTo>
                    <a:pt x="400" y="690"/>
                  </a:lnTo>
                  <a:lnTo>
                    <a:pt x="398" y="690"/>
                  </a:lnTo>
                  <a:lnTo>
                    <a:pt x="395" y="690"/>
                  </a:lnTo>
                  <a:lnTo>
                    <a:pt x="392" y="691"/>
                  </a:lnTo>
                  <a:lnTo>
                    <a:pt x="390" y="693"/>
                  </a:lnTo>
                  <a:lnTo>
                    <a:pt x="388" y="693"/>
                  </a:lnTo>
                  <a:lnTo>
                    <a:pt x="387" y="693"/>
                  </a:lnTo>
                  <a:lnTo>
                    <a:pt x="385" y="693"/>
                  </a:lnTo>
                  <a:lnTo>
                    <a:pt x="385" y="691"/>
                  </a:lnTo>
                  <a:lnTo>
                    <a:pt x="383" y="691"/>
                  </a:lnTo>
                  <a:lnTo>
                    <a:pt x="382" y="691"/>
                  </a:lnTo>
                  <a:lnTo>
                    <a:pt x="380" y="691"/>
                  </a:lnTo>
                  <a:lnTo>
                    <a:pt x="379" y="690"/>
                  </a:lnTo>
                  <a:lnTo>
                    <a:pt x="375" y="688"/>
                  </a:lnTo>
                  <a:lnTo>
                    <a:pt x="372" y="690"/>
                  </a:lnTo>
                  <a:lnTo>
                    <a:pt x="370" y="690"/>
                  </a:lnTo>
                  <a:lnTo>
                    <a:pt x="369" y="688"/>
                  </a:lnTo>
                  <a:lnTo>
                    <a:pt x="367" y="688"/>
                  </a:lnTo>
                  <a:lnTo>
                    <a:pt x="365" y="688"/>
                  </a:lnTo>
                  <a:lnTo>
                    <a:pt x="361" y="690"/>
                  </a:lnTo>
                  <a:lnTo>
                    <a:pt x="359" y="690"/>
                  </a:lnTo>
                  <a:lnTo>
                    <a:pt x="356" y="690"/>
                  </a:lnTo>
                  <a:lnTo>
                    <a:pt x="352" y="691"/>
                  </a:lnTo>
                  <a:lnTo>
                    <a:pt x="349" y="691"/>
                  </a:lnTo>
                  <a:lnTo>
                    <a:pt x="349" y="693"/>
                  </a:lnTo>
                  <a:lnTo>
                    <a:pt x="344" y="694"/>
                  </a:lnTo>
                  <a:lnTo>
                    <a:pt x="338" y="699"/>
                  </a:lnTo>
                  <a:lnTo>
                    <a:pt x="331" y="703"/>
                  </a:lnTo>
                  <a:lnTo>
                    <a:pt x="330" y="703"/>
                  </a:lnTo>
                  <a:lnTo>
                    <a:pt x="328" y="703"/>
                  </a:lnTo>
                  <a:lnTo>
                    <a:pt x="320" y="703"/>
                  </a:lnTo>
                  <a:lnTo>
                    <a:pt x="318" y="701"/>
                  </a:lnTo>
                  <a:lnTo>
                    <a:pt x="317" y="701"/>
                  </a:lnTo>
                  <a:lnTo>
                    <a:pt x="315" y="701"/>
                  </a:lnTo>
                  <a:lnTo>
                    <a:pt x="313" y="701"/>
                  </a:lnTo>
                  <a:lnTo>
                    <a:pt x="312" y="701"/>
                  </a:lnTo>
                  <a:lnTo>
                    <a:pt x="310" y="701"/>
                  </a:lnTo>
                  <a:lnTo>
                    <a:pt x="307" y="699"/>
                  </a:lnTo>
                  <a:lnTo>
                    <a:pt x="307" y="698"/>
                  </a:lnTo>
                  <a:lnTo>
                    <a:pt x="305" y="696"/>
                  </a:lnTo>
                  <a:lnTo>
                    <a:pt x="305" y="693"/>
                  </a:lnTo>
                  <a:lnTo>
                    <a:pt x="307" y="688"/>
                  </a:lnTo>
                  <a:lnTo>
                    <a:pt x="307" y="681"/>
                  </a:lnTo>
                  <a:lnTo>
                    <a:pt x="307" y="680"/>
                  </a:lnTo>
                  <a:lnTo>
                    <a:pt x="309" y="678"/>
                  </a:lnTo>
                  <a:lnTo>
                    <a:pt x="310" y="677"/>
                  </a:lnTo>
                  <a:lnTo>
                    <a:pt x="317" y="675"/>
                  </a:lnTo>
                  <a:lnTo>
                    <a:pt x="320" y="673"/>
                  </a:lnTo>
                  <a:lnTo>
                    <a:pt x="322" y="672"/>
                  </a:lnTo>
                  <a:lnTo>
                    <a:pt x="322" y="667"/>
                  </a:lnTo>
                  <a:lnTo>
                    <a:pt x="322" y="665"/>
                  </a:lnTo>
                  <a:lnTo>
                    <a:pt x="322" y="664"/>
                  </a:lnTo>
                  <a:lnTo>
                    <a:pt x="320" y="662"/>
                  </a:lnTo>
                  <a:lnTo>
                    <a:pt x="317" y="662"/>
                  </a:lnTo>
                  <a:lnTo>
                    <a:pt x="315" y="662"/>
                  </a:lnTo>
                  <a:lnTo>
                    <a:pt x="312" y="662"/>
                  </a:lnTo>
                  <a:lnTo>
                    <a:pt x="310" y="662"/>
                  </a:lnTo>
                  <a:lnTo>
                    <a:pt x="309" y="662"/>
                  </a:lnTo>
                  <a:lnTo>
                    <a:pt x="307" y="660"/>
                  </a:lnTo>
                  <a:lnTo>
                    <a:pt x="302" y="659"/>
                  </a:lnTo>
                  <a:lnTo>
                    <a:pt x="300" y="657"/>
                  </a:lnTo>
                  <a:lnTo>
                    <a:pt x="297" y="657"/>
                  </a:lnTo>
                  <a:lnTo>
                    <a:pt x="294" y="655"/>
                  </a:lnTo>
                  <a:lnTo>
                    <a:pt x="292" y="654"/>
                  </a:lnTo>
                  <a:lnTo>
                    <a:pt x="291" y="652"/>
                  </a:lnTo>
                  <a:lnTo>
                    <a:pt x="289" y="652"/>
                  </a:lnTo>
                  <a:lnTo>
                    <a:pt x="287" y="651"/>
                  </a:lnTo>
                  <a:lnTo>
                    <a:pt x="286" y="651"/>
                  </a:lnTo>
                  <a:lnTo>
                    <a:pt x="284" y="652"/>
                  </a:lnTo>
                  <a:lnTo>
                    <a:pt x="283" y="651"/>
                  </a:lnTo>
                  <a:lnTo>
                    <a:pt x="281" y="651"/>
                  </a:lnTo>
                  <a:lnTo>
                    <a:pt x="281" y="649"/>
                  </a:lnTo>
                  <a:lnTo>
                    <a:pt x="281" y="647"/>
                  </a:lnTo>
                  <a:lnTo>
                    <a:pt x="281" y="646"/>
                  </a:lnTo>
                  <a:lnTo>
                    <a:pt x="281" y="644"/>
                  </a:lnTo>
                  <a:lnTo>
                    <a:pt x="281" y="642"/>
                  </a:lnTo>
                  <a:lnTo>
                    <a:pt x="279" y="641"/>
                  </a:lnTo>
                  <a:lnTo>
                    <a:pt x="278" y="639"/>
                  </a:lnTo>
                  <a:lnTo>
                    <a:pt x="276" y="639"/>
                  </a:lnTo>
                  <a:lnTo>
                    <a:pt x="273" y="641"/>
                  </a:lnTo>
                  <a:lnTo>
                    <a:pt x="270" y="639"/>
                  </a:lnTo>
                  <a:lnTo>
                    <a:pt x="268" y="639"/>
                  </a:lnTo>
                  <a:lnTo>
                    <a:pt x="266" y="638"/>
                  </a:lnTo>
                  <a:lnTo>
                    <a:pt x="263" y="634"/>
                  </a:lnTo>
                  <a:lnTo>
                    <a:pt x="260" y="629"/>
                  </a:lnTo>
                  <a:lnTo>
                    <a:pt x="258" y="625"/>
                  </a:lnTo>
                  <a:lnTo>
                    <a:pt x="257" y="623"/>
                  </a:lnTo>
                  <a:lnTo>
                    <a:pt x="253" y="620"/>
                  </a:lnTo>
                  <a:lnTo>
                    <a:pt x="253" y="618"/>
                  </a:lnTo>
                  <a:lnTo>
                    <a:pt x="253" y="616"/>
                  </a:lnTo>
                  <a:lnTo>
                    <a:pt x="255" y="616"/>
                  </a:lnTo>
                  <a:lnTo>
                    <a:pt x="257" y="616"/>
                  </a:lnTo>
                  <a:lnTo>
                    <a:pt x="258" y="616"/>
                  </a:lnTo>
                  <a:lnTo>
                    <a:pt x="260" y="616"/>
                  </a:lnTo>
                  <a:lnTo>
                    <a:pt x="261" y="615"/>
                  </a:lnTo>
                  <a:lnTo>
                    <a:pt x="263" y="613"/>
                  </a:lnTo>
                  <a:lnTo>
                    <a:pt x="263" y="610"/>
                  </a:lnTo>
                  <a:lnTo>
                    <a:pt x="263" y="608"/>
                  </a:lnTo>
                  <a:lnTo>
                    <a:pt x="263" y="607"/>
                  </a:lnTo>
                  <a:lnTo>
                    <a:pt x="263" y="605"/>
                  </a:lnTo>
                  <a:lnTo>
                    <a:pt x="265" y="605"/>
                  </a:lnTo>
                  <a:lnTo>
                    <a:pt x="266" y="603"/>
                  </a:lnTo>
                  <a:lnTo>
                    <a:pt x="268" y="603"/>
                  </a:lnTo>
                  <a:lnTo>
                    <a:pt x="270" y="605"/>
                  </a:lnTo>
                  <a:lnTo>
                    <a:pt x="273" y="605"/>
                  </a:lnTo>
                  <a:lnTo>
                    <a:pt x="274" y="607"/>
                  </a:lnTo>
                  <a:lnTo>
                    <a:pt x="276" y="607"/>
                  </a:lnTo>
                  <a:lnTo>
                    <a:pt x="278" y="607"/>
                  </a:lnTo>
                  <a:lnTo>
                    <a:pt x="283" y="603"/>
                  </a:lnTo>
                  <a:lnTo>
                    <a:pt x="283" y="602"/>
                  </a:lnTo>
                  <a:lnTo>
                    <a:pt x="283" y="600"/>
                  </a:lnTo>
                  <a:lnTo>
                    <a:pt x="279" y="598"/>
                  </a:lnTo>
                  <a:lnTo>
                    <a:pt x="279" y="597"/>
                  </a:lnTo>
                  <a:lnTo>
                    <a:pt x="278" y="597"/>
                  </a:lnTo>
                  <a:lnTo>
                    <a:pt x="276" y="595"/>
                  </a:lnTo>
                  <a:lnTo>
                    <a:pt x="274" y="595"/>
                  </a:lnTo>
                  <a:lnTo>
                    <a:pt x="273" y="594"/>
                  </a:lnTo>
                  <a:lnTo>
                    <a:pt x="271" y="594"/>
                  </a:lnTo>
                  <a:lnTo>
                    <a:pt x="268" y="595"/>
                  </a:lnTo>
                  <a:lnTo>
                    <a:pt x="266" y="595"/>
                  </a:lnTo>
                  <a:lnTo>
                    <a:pt x="261" y="592"/>
                  </a:lnTo>
                  <a:lnTo>
                    <a:pt x="258" y="590"/>
                  </a:lnTo>
                  <a:lnTo>
                    <a:pt x="248" y="584"/>
                  </a:lnTo>
                  <a:lnTo>
                    <a:pt x="247" y="584"/>
                  </a:lnTo>
                  <a:lnTo>
                    <a:pt x="245" y="585"/>
                  </a:lnTo>
                  <a:lnTo>
                    <a:pt x="244" y="585"/>
                  </a:lnTo>
                  <a:lnTo>
                    <a:pt x="242" y="589"/>
                  </a:lnTo>
                  <a:lnTo>
                    <a:pt x="242" y="590"/>
                  </a:lnTo>
                  <a:lnTo>
                    <a:pt x="239" y="590"/>
                  </a:lnTo>
                  <a:lnTo>
                    <a:pt x="237" y="590"/>
                  </a:lnTo>
                  <a:lnTo>
                    <a:pt x="234" y="594"/>
                  </a:lnTo>
                  <a:lnTo>
                    <a:pt x="234" y="595"/>
                  </a:lnTo>
                  <a:lnTo>
                    <a:pt x="234" y="597"/>
                  </a:lnTo>
                  <a:lnTo>
                    <a:pt x="232" y="598"/>
                  </a:lnTo>
                  <a:lnTo>
                    <a:pt x="231" y="598"/>
                  </a:lnTo>
                  <a:lnTo>
                    <a:pt x="232" y="600"/>
                  </a:lnTo>
                  <a:lnTo>
                    <a:pt x="231" y="602"/>
                  </a:lnTo>
                  <a:lnTo>
                    <a:pt x="231" y="603"/>
                  </a:lnTo>
                  <a:lnTo>
                    <a:pt x="231" y="605"/>
                  </a:lnTo>
                  <a:lnTo>
                    <a:pt x="229" y="607"/>
                  </a:lnTo>
                  <a:lnTo>
                    <a:pt x="229" y="608"/>
                  </a:lnTo>
                  <a:lnTo>
                    <a:pt x="227" y="610"/>
                  </a:lnTo>
                  <a:lnTo>
                    <a:pt x="226" y="620"/>
                  </a:lnTo>
                  <a:lnTo>
                    <a:pt x="224" y="621"/>
                  </a:lnTo>
                  <a:lnTo>
                    <a:pt x="222" y="623"/>
                  </a:lnTo>
                  <a:lnTo>
                    <a:pt x="221" y="623"/>
                  </a:lnTo>
                  <a:lnTo>
                    <a:pt x="219" y="623"/>
                  </a:lnTo>
                  <a:lnTo>
                    <a:pt x="217" y="621"/>
                  </a:lnTo>
                  <a:lnTo>
                    <a:pt x="216" y="621"/>
                  </a:lnTo>
                  <a:lnTo>
                    <a:pt x="214" y="620"/>
                  </a:lnTo>
                  <a:lnTo>
                    <a:pt x="213" y="616"/>
                  </a:lnTo>
                  <a:lnTo>
                    <a:pt x="211" y="615"/>
                  </a:lnTo>
                  <a:lnTo>
                    <a:pt x="209" y="615"/>
                  </a:lnTo>
                  <a:lnTo>
                    <a:pt x="208" y="612"/>
                  </a:lnTo>
                  <a:lnTo>
                    <a:pt x="208" y="608"/>
                  </a:lnTo>
                  <a:lnTo>
                    <a:pt x="206" y="607"/>
                  </a:lnTo>
                  <a:lnTo>
                    <a:pt x="204" y="607"/>
                  </a:lnTo>
                  <a:lnTo>
                    <a:pt x="204" y="605"/>
                  </a:lnTo>
                  <a:lnTo>
                    <a:pt x="203" y="603"/>
                  </a:lnTo>
                  <a:lnTo>
                    <a:pt x="201" y="602"/>
                  </a:lnTo>
                  <a:lnTo>
                    <a:pt x="200" y="603"/>
                  </a:lnTo>
                  <a:lnTo>
                    <a:pt x="196" y="602"/>
                  </a:lnTo>
                  <a:lnTo>
                    <a:pt x="195" y="602"/>
                  </a:lnTo>
                  <a:lnTo>
                    <a:pt x="190" y="602"/>
                  </a:lnTo>
                  <a:lnTo>
                    <a:pt x="187" y="602"/>
                  </a:lnTo>
                  <a:lnTo>
                    <a:pt x="185" y="603"/>
                  </a:lnTo>
                  <a:lnTo>
                    <a:pt x="180" y="602"/>
                  </a:lnTo>
                  <a:lnTo>
                    <a:pt x="178" y="603"/>
                  </a:lnTo>
                  <a:lnTo>
                    <a:pt x="175" y="603"/>
                  </a:lnTo>
                  <a:lnTo>
                    <a:pt x="174" y="603"/>
                  </a:lnTo>
                  <a:lnTo>
                    <a:pt x="172" y="603"/>
                  </a:lnTo>
                  <a:lnTo>
                    <a:pt x="169" y="603"/>
                  </a:lnTo>
                  <a:lnTo>
                    <a:pt x="167" y="603"/>
                  </a:lnTo>
                  <a:lnTo>
                    <a:pt x="165" y="605"/>
                  </a:lnTo>
                  <a:lnTo>
                    <a:pt x="165" y="603"/>
                  </a:lnTo>
                  <a:lnTo>
                    <a:pt x="164" y="603"/>
                  </a:lnTo>
                  <a:lnTo>
                    <a:pt x="164" y="602"/>
                  </a:lnTo>
                  <a:lnTo>
                    <a:pt x="164" y="600"/>
                  </a:lnTo>
                  <a:lnTo>
                    <a:pt x="162" y="600"/>
                  </a:lnTo>
                  <a:lnTo>
                    <a:pt x="162" y="597"/>
                  </a:lnTo>
                  <a:lnTo>
                    <a:pt x="162" y="595"/>
                  </a:lnTo>
                  <a:lnTo>
                    <a:pt x="162" y="594"/>
                  </a:lnTo>
                  <a:lnTo>
                    <a:pt x="161" y="592"/>
                  </a:lnTo>
                  <a:lnTo>
                    <a:pt x="159" y="592"/>
                  </a:lnTo>
                  <a:lnTo>
                    <a:pt x="157" y="590"/>
                  </a:lnTo>
                  <a:lnTo>
                    <a:pt x="156" y="590"/>
                  </a:lnTo>
                  <a:lnTo>
                    <a:pt x="149" y="590"/>
                  </a:lnTo>
                  <a:lnTo>
                    <a:pt x="148" y="590"/>
                  </a:lnTo>
                  <a:lnTo>
                    <a:pt x="144" y="590"/>
                  </a:lnTo>
                  <a:lnTo>
                    <a:pt x="143" y="592"/>
                  </a:lnTo>
                  <a:lnTo>
                    <a:pt x="139" y="592"/>
                  </a:lnTo>
                  <a:lnTo>
                    <a:pt x="139" y="590"/>
                  </a:lnTo>
                  <a:lnTo>
                    <a:pt x="138" y="589"/>
                  </a:lnTo>
                  <a:lnTo>
                    <a:pt x="138" y="587"/>
                  </a:lnTo>
                  <a:lnTo>
                    <a:pt x="136" y="585"/>
                  </a:lnTo>
                  <a:lnTo>
                    <a:pt x="135" y="584"/>
                  </a:lnTo>
                  <a:lnTo>
                    <a:pt x="135" y="582"/>
                  </a:lnTo>
                  <a:lnTo>
                    <a:pt x="135" y="581"/>
                  </a:lnTo>
                  <a:lnTo>
                    <a:pt x="136" y="581"/>
                  </a:lnTo>
                  <a:lnTo>
                    <a:pt x="136" y="579"/>
                  </a:lnTo>
                  <a:lnTo>
                    <a:pt x="138" y="579"/>
                  </a:lnTo>
                  <a:lnTo>
                    <a:pt x="139" y="579"/>
                  </a:lnTo>
                  <a:lnTo>
                    <a:pt x="139" y="577"/>
                  </a:lnTo>
                  <a:lnTo>
                    <a:pt x="141" y="577"/>
                  </a:lnTo>
                  <a:lnTo>
                    <a:pt x="141" y="579"/>
                  </a:lnTo>
                  <a:lnTo>
                    <a:pt x="143" y="577"/>
                  </a:lnTo>
                  <a:lnTo>
                    <a:pt x="144" y="577"/>
                  </a:lnTo>
                  <a:lnTo>
                    <a:pt x="146" y="577"/>
                  </a:lnTo>
                  <a:lnTo>
                    <a:pt x="148" y="577"/>
                  </a:lnTo>
                  <a:lnTo>
                    <a:pt x="149" y="576"/>
                  </a:lnTo>
                  <a:lnTo>
                    <a:pt x="149" y="574"/>
                  </a:lnTo>
                  <a:lnTo>
                    <a:pt x="151" y="574"/>
                  </a:lnTo>
                  <a:lnTo>
                    <a:pt x="154" y="574"/>
                  </a:lnTo>
                  <a:lnTo>
                    <a:pt x="154" y="572"/>
                  </a:lnTo>
                  <a:lnTo>
                    <a:pt x="154" y="571"/>
                  </a:lnTo>
                  <a:lnTo>
                    <a:pt x="152" y="571"/>
                  </a:lnTo>
                  <a:lnTo>
                    <a:pt x="152" y="569"/>
                  </a:lnTo>
                  <a:lnTo>
                    <a:pt x="152" y="568"/>
                  </a:lnTo>
                  <a:lnTo>
                    <a:pt x="151" y="568"/>
                  </a:lnTo>
                  <a:lnTo>
                    <a:pt x="149" y="568"/>
                  </a:lnTo>
                  <a:lnTo>
                    <a:pt x="148" y="566"/>
                  </a:lnTo>
                  <a:lnTo>
                    <a:pt x="144" y="566"/>
                  </a:lnTo>
                  <a:lnTo>
                    <a:pt x="143" y="564"/>
                  </a:lnTo>
                  <a:lnTo>
                    <a:pt x="141" y="564"/>
                  </a:lnTo>
                  <a:lnTo>
                    <a:pt x="139" y="564"/>
                  </a:lnTo>
                  <a:lnTo>
                    <a:pt x="136" y="563"/>
                  </a:lnTo>
                  <a:lnTo>
                    <a:pt x="136" y="561"/>
                  </a:lnTo>
                  <a:lnTo>
                    <a:pt x="135" y="561"/>
                  </a:lnTo>
                  <a:lnTo>
                    <a:pt x="135" y="559"/>
                  </a:lnTo>
                  <a:lnTo>
                    <a:pt x="133" y="559"/>
                  </a:lnTo>
                  <a:lnTo>
                    <a:pt x="131" y="558"/>
                  </a:lnTo>
                  <a:lnTo>
                    <a:pt x="133" y="556"/>
                  </a:lnTo>
                  <a:lnTo>
                    <a:pt x="135" y="558"/>
                  </a:lnTo>
                  <a:lnTo>
                    <a:pt x="135" y="556"/>
                  </a:lnTo>
                  <a:lnTo>
                    <a:pt x="136" y="555"/>
                  </a:lnTo>
                  <a:lnTo>
                    <a:pt x="138" y="555"/>
                  </a:lnTo>
                  <a:lnTo>
                    <a:pt x="139" y="553"/>
                  </a:lnTo>
                  <a:lnTo>
                    <a:pt x="139" y="551"/>
                  </a:lnTo>
                  <a:lnTo>
                    <a:pt x="138" y="551"/>
                  </a:lnTo>
                  <a:lnTo>
                    <a:pt x="141" y="545"/>
                  </a:lnTo>
                  <a:lnTo>
                    <a:pt x="139" y="543"/>
                  </a:lnTo>
                  <a:lnTo>
                    <a:pt x="141" y="542"/>
                  </a:lnTo>
                  <a:lnTo>
                    <a:pt x="143" y="542"/>
                  </a:lnTo>
                  <a:lnTo>
                    <a:pt x="143" y="540"/>
                  </a:lnTo>
                  <a:lnTo>
                    <a:pt x="144" y="538"/>
                  </a:lnTo>
                  <a:lnTo>
                    <a:pt x="144" y="537"/>
                  </a:lnTo>
                  <a:lnTo>
                    <a:pt x="144" y="535"/>
                  </a:lnTo>
                  <a:lnTo>
                    <a:pt x="143" y="533"/>
                  </a:lnTo>
                  <a:lnTo>
                    <a:pt x="141" y="533"/>
                  </a:lnTo>
                  <a:lnTo>
                    <a:pt x="139" y="532"/>
                  </a:lnTo>
                  <a:lnTo>
                    <a:pt x="136" y="530"/>
                  </a:lnTo>
                  <a:lnTo>
                    <a:pt x="135" y="530"/>
                  </a:lnTo>
                  <a:lnTo>
                    <a:pt x="133" y="529"/>
                  </a:lnTo>
                  <a:lnTo>
                    <a:pt x="131" y="527"/>
                  </a:lnTo>
                  <a:lnTo>
                    <a:pt x="130" y="529"/>
                  </a:lnTo>
                  <a:lnTo>
                    <a:pt x="128" y="529"/>
                  </a:lnTo>
                  <a:lnTo>
                    <a:pt x="126" y="529"/>
                  </a:lnTo>
                  <a:lnTo>
                    <a:pt x="125" y="529"/>
                  </a:lnTo>
                  <a:lnTo>
                    <a:pt x="123" y="527"/>
                  </a:lnTo>
                  <a:lnTo>
                    <a:pt x="120" y="527"/>
                  </a:lnTo>
                  <a:lnTo>
                    <a:pt x="118" y="529"/>
                  </a:lnTo>
                  <a:lnTo>
                    <a:pt x="117" y="529"/>
                  </a:lnTo>
                  <a:lnTo>
                    <a:pt x="115" y="527"/>
                  </a:lnTo>
                  <a:lnTo>
                    <a:pt x="112" y="527"/>
                  </a:lnTo>
                  <a:lnTo>
                    <a:pt x="110" y="525"/>
                  </a:lnTo>
                  <a:lnTo>
                    <a:pt x="110" y="524"/>
                  </a:lnTo>
                  <a:lnTo>
                    <a:pt x="109" y="522"/>
                  </a:lnTo>
                  <a:lnTo>
                    <a:pt x="107" y="519"/>
                  </a:lnTo>
                  <a:lnTo>
                    <a:pt x="107" y="517"/>
                  </a:lnTo>
                  <a:lnTo>
                    <a:pt x="105" y="517"/>
                  </a:lnTo>
                  <a:lnTo>
                    <a:pt x="104" y="519"/>
                  </a:lnTo>
                  <a:lnTo>
                    <a:pt x="104" y="520"/>
                  </a:lnTo>
                  <a:lnTo>
                    <a:pt x="102" y="520"/>
                  </a:lnTo>
                  <a:lnTo>
                    <a:pt x="99" y="522"/>
                  </a:lnTo>
                  <a:lnTo>
                    <a:pt x="97" y="520"/>
                  </a:lnTo>
                  <a:lnTo>
                    <a:pt x="96" y="520"/>
                  </a:lnTo>
                  <a:lnTo>
                    <a:pt x="94" y="519"/>
                  </a:lnTo>
                  <a:lnTo>
                    <a:pt x="91" y="520"/>
                  </a:lnTo>
                  <a:lnTo>
                    <a:pt x="89" y="517"/>
                  </a:lnTo>
                  <a:lnTo>
                    <a:pt x="87" y="517"/>
                  </a:lnTo>
                  <a:lnTo>
                    <a:pt x="86" y="516"/>
                  </a:lnTo>
                  <a:lnTo>
                    <a:pt x="84" y="514"/>
                  </a:lnTo>
                  <a:lnTo>
                    <a:pt x="83" y="514"/>
                  </a:lnTo>
                  <a:lnTo>
                    <a:pt x="83" y="512"/>
                  </a:lnTo>
                  <a:lnTo>
                    <a:pt x="81" y="512"/>
                  </a:lnTo>
                  <a:lnTo>
                    <a:pt x="79" y="511"/>
                  </a:lnTo>
                  <a:lnTo>
                    <a:pt x="81" y="511"/>
                  </a:lnTo>
                  <a:lnTo>
                    <a:pt x="79" y="509"/>
                  </a:lnTo>
                  <a:lnTo>
                    <a:pt x="78" y="507"/>
                  </a:lnTo>
                  <a:lnTo>
                    <a:pt x="78" y="509"/>
                  </a:lnTo>
                  <a:lnTo>
                    <a:pt x="74" y="507"/>
                  </a:lnTo>
                  <a:lnTo>
                    <a:pt x="73" y="507"/>
                  </a:lnTo>
                  <a:lnTo>
                    <a:pt x="74" y="504"/>
                  </a:lnTo>
                  <a:lnTo>
                    <a:pt x="73" y="503"/>
                  </a:lnTo>
                  <a:lnTo>
                    <a:pt x="69" y="501"/>
                  </a:lnTo>
                  <a:lnTo>
                    <a:pt x="63" y="501"/>
                  </a:lnTo>
                  <a:lnTo>
                    <a:pt x="63" y="499"/>
                  </a:lnTo>
                  <a:lnTo>
                    <a:pt x="61" y="499"/>
                  </a:lnTo>
                  <a:lnTo>
                    <a:pt x="66" y="496"/>
                  </a:lnTo>
                  <a:lnTo>
                    <a:pt x="66" y="494"/>
                  </a:lnTo>
                  <a:lnTo>
                    <a:pt x="68" y="493"/>
                  </a:lnTo>
                  <a:lnTo>
                    <a:pt x="66" y="491"/>
                  </a:lnTo>
                  <a:lnTo>
                    <a:pt x="66" y="490"/>
                  </a:lnTo>
                  <a:lnTo>
                    <a:pt x="65" y="490"/>
                  </a:lnTo>
                  <a:lnTo>
                    <a:pt x="63" y="486"/>
                  </a:lnTo>
                  <a:lnTo>
                    <a:pt x="61" y="486"/>
                  </a:lnTo>
                  <a:lnTo>
                    <a:pt x="60" y="486"/>
                  </a:lnTo>
                  <a:lnTo>
                    <a:pt x="60" y="483"/>
                  </a:lnTo>
                  <a:lnTo>
                    <a:pt x="61" y="481"/>
                  </a:lnTo>
                  <a:lnTo>
                    <a:pt x="61" y="477"/>
                  </a:lnTo>
                  <a:lnTo>
                    <a:pt x="63" y="475"/>
                  </a:lnTo>
                  <a:lnTo>
                    <a:pt x="61" y="475"/>
                  </a:lnTo>
                  <a:lnTo>
                    <a:pt x="61" y="472"/>
                  </a:lnTo>
                  <a:lnTo>
                    <a:pt x="61" y="470"/>
                  </a:lnTo>
                  <a:lnTo>
                    <a:pt x="61" y="465"/>
                  </a:lnTo>
                  <a:lnTo>
                    <a:pt x="61" y="463"/>
                  </a:lnTo>
                  <a:lnTo>
                    <a:pt x="61" y="462"/>
                  </a:lnTo>
                  <a:lnTo>
                    <a:pt x="61" y="459"/>
                  </a:lnTo>
                  <a:lnTo>
                    <a:pt x="58" y="457"/>
                  </a:lnTo>
                  <a:lnTo>
                    <a:pt x="58" y="462"/>
                  </a:lnTo>
                  <a:lnTo>
                    <a:pt x="53" y="463"/>
                  </a:lnTo>
                  <a:lnTo>
                    <a:pt x="52" y="463"/>
                  </a:lnTo>
                  <a:lnTo>
                    <a:pt x="50" y="463"/>
                  </a:lnTo>
                  <a:lnTo>
                    <a:pt x="50" y="462"/>
                  </a:lnTo>
                  <a:lnTo>
                    <a:pt x="50" y="463"/>
                  </a:lnTo>
                  <a:lnTo>
                    <a:pt x="48" y="462"/>
                  </a:lnTo>
                  <a:lnTo>
                    <a:pt x="50" y="462"/>
                  </a:lnTo>
                  <a:lnTo>
                    <a:pt x="47" y="457"/>
                  </a:lnTo>
                  <a:lnTo>
                    <a:pt x="45" y="459"/>
                  </a:lnTo>
                  <a:lnTo>
                    <a:pt x="45" y="457"/>
                  </a:lnTo>
                  <a:lnTo>
                    <a:pt x="43" y="455"/>
                  </a:lnTo>
                  <a:lnTo>
                    <a:pt x="45" y="454"/>
                  </a:lnTo>
                  <a:lnTo>
                    <a:pt x="39" y="449"/>
                  </a:lnTo>
                  <a:lnTo>
                    <a:pt x="37" y="449"/>
                  </a:lnTo>
                  <a:lnTo>
                    <a:pt x="35" y="449"/>
                  </a:lnTo>
                  <a:lnTo>
                    <a:pt x="35" y="447"/>
                  </a:lnTo>
                  <a:lnTo>
                    <a:pt x="34" y="444"/>
                  </a:lnTo>
                  <a:lnTo>
                    <a:pt x="32" y="444"/>
                  </a:lnTo>
                  <a:lnTo>
                    <a:pt x="32" y="446"/>
                  </a:lnTo>
                  <a:lnTo>
                    <a:pt x="29" y="447"/>
                  </a:lnTo>
                  <a:lnTo>
                    <a:pt x="29" y="446"/>
                  </a:lnTo>
                  <a:lnTo>
                    <a:pt x="24" y="437"/>
                  </a:lnTo>
                  <a:lnTo>
                    <a:pt x="21" y="436"/>
                  </a:lnTo>
                  <a:lnTo>
                    <a:pt x="17" y="437"/>
                  </a:lnTo>
                  <a:lnTo>
                    <a:pt x="13" y="434"/>
                  </a:lnTo>
                  <a:lnTo>
                    <a:pt x="11" y="431"/>
                  </a:lnTo>
                  <a:lnTo>
                    <a:pt x="9" y="429"/>
                  </a:lnTo>
                  <a:lnTo>
                    <a:pt x="9" y="428"/>
                  </a:lnTo>
                  <a:lnTo>
                    <a:pt x="9" y="426"/>
                  </a:lnTo>
                  <a:lnTo>
                    <a:pt x="8" y="426"/>
                  </a:lnTo>
                  <a:lnTo>
                    <a:pt x="8" y="424"/>
                  </a:lnTo>
                  <a:lnTo>
                    <a:pt x="6" y="424"/>
                  </a:lnTo>
                  <a:lnTo>
                    <a:pt x="4" y="423"/>
                  </a:lnTo>
                  <a:lnTo>
                    <a:pt x="4" y="421"/>
                  </a:lnTo>
                  <a:lnTo>
                    <a:pt x="0" y="420"/>
                  </a:lnTo>
                  <a:lnTo>
                    <a:pt x="1" y="420"/>
                  </a:lnTo>
                  <a:lnTo>
                    <a:pt x="1" y="418"/>
                  </a:lnTo>
                  <a:lnTo>
                    <a:pt x="1" y="416"/>
                  </a:lnTo>
                  <a:lnTo>
                    <a:pt x="0" y="416"/>
                  </a:lnTo>
                  <a:lnTo>
                    <a:pt x="3" y="413"/>
                  </a:lnTo>
                  <a:lnTo>
                    <a:pt x="3" y="411"/>
                  </a:lnTo>
                  <a:lnTo>
                    <a:pt x="4" y="411"/>
                  </a:lnTo>
                  <a:lnTo>
                    <a:pt x="8" y="410"/>
                  </a:lnTo>
                  <a:lnTo>
                    <a:pt x="9" y="411"/>
                  </a:lnTo>
                  <a:lnTo>
                    <a:pt x="11" y="411"/>
                  </a:lnTo>
                  <a:lnTo>
                    <a:pt x="13" y="411"/>
                  </a:lnTo>
                  <a:lnTo>
                    <a:pt x="13" y="410"/>
                  </a:lnTo>
                  <a:lnTo>
                    <a:pt x="14" y="411"/>
                  </a:lnTo>
                  <a:lnTo>
                    <a:pt x="16" y="411"/>
                  </a:lnTo>
                  <a:lnTo>
                    <a:pt x="17" y="411"/>
                  </a:lnTo>
                  <a:lnTo>
                    <a:pt x="19" y="411"/>
                  </a:lnTo>
                  <a:lnTo>
                    <a:pt x="22" y="407"/>
                  </a:lnTo>
                  <a:lnTo>
                    <a:pt x="21" y="405"/>
                  </a:lnTo>
                  <a:lnTo>
                    <a:pt x="22" y="405"/>
                  </a:lnTo>
                  <a:lnTo>
                    <a:pt x="24" y="405"/>
                  </a:lnTo>
                  <a:lnTo>
                    <a:pt x="26" y="405"/>
                  </a:lnTo>
                  <a:lnTo>
                    <a:pt x="27" y="405"/>
                  </a:lnTo>
                  <a:lnTo>
                    <a:pt x="27" y="407"/>
                  </a:lnTo>
                  <a:lnTo>
                    <a:pt x="29" y="407"/>
                  </a:lnTo>
                  <a:lnTo>
                    <a:pt x="32" y="408"/>
                  </a:lnTo>
                  <a:lnTo>
                    <a:pt x="34" y="410"/>
                  </a:lnTo>
                  <a:lnTo>
                    <a:pt x="35" y="410"/>
                  </a:lnTo>
                  <a:lnTo>
                    <a:pt x="35" y="411"/>
                  </a:lnTo>
                  <a:lnTo>
                    <a:pt x="37" y="411"/>
                  </a:lnTo>
                  <a:lnTo>
                    <a:pt x="37" y="410"/>
                  </a:lnTo>
                  <a:lnTo>
                    <a:pt x="37" y="408"/>
                  </a:lnTo>
                  <a:lnTo>
                    <a:pt x="39" y="408"/>
                  </a:lnTo>
                  <a:lnTo>
                    <a:pt x="40" y="408"/>
                  </a:lnTo>
                  <a:lnTo>
                    <a:pt x="42" y="408"/>
                  </a:lnTo>
                  <a:lnTo>
                    <a:pt x="42" y="407"/>
                  </a:lnTo>
                  <a:lnTo>
                    <a:pt x="43" y="405"/>
                  </a:lnTo>
                  <a:lnTo>
                    <a:pt x="43" y="402"/>
                  </a:lnTo>
                  <a:lnTo>
                    <a:pt x="45" y="400"/>
                  </a:lnTo>
                  <a:lnTo>
                    <a:pt x="43" y="398"/>
                  </a:lnTo>
                  <a:lnTo>
                    <a:pt x="45" y="398"/>
                  </a:lnTo>
                  <a:lnTo>
                    <a:pt x="47" y="398"/>
                  </a:lnTo>
                  <a:lnTo>
                    <a:pt x="45" y="392"/>
                  </a:lnTo>
                  <a:lnTo>
                    <a:pt x="47" y="389"/>
                  </a:lnTo>
                  <a:lnTo>
                    <a:pt x="48" y="389"/>
                  </a:lnTo>
                  <a:lnTo>
                    <a:pt x="56" y="385"/>
                  </a:lnTo>
                  <a:lnTo>
                    <a:pt x="58" y="387"/>
                  </a:lnTo>
                  <a:lnTo>
                    <a:pt x="60" y="387"/>
                  </a:lnTo>
                  <a:lnTo>
                    <a:pt x="61" y="389"/>
                  </a:lnTo>
                  <a:lnTo>
                    <a:pt x="61" y="387"/>
                  </a:lnTo>
                  <a:lnTo>
                    <a:pt x="65" y="385"/>
                  </a:lnTo>
                  <a:lnTo>
                    <a:pt x="65" y="387"/>
                  </a:lnTo>
                  <a:lnTo>
                    <a:pt x="66" y="387"/>
                  </a:lnTo>
                  <a:lnTo>
                    <a:pt x="68" y="387"/>
                  </a:lnTo>
                  <a:lnTo>
                    <a:pt x="71" y="387"/>
                  </a:lnTo>
                  <a:lnTo>
                    <a:pt x="71" y="385"/>
                  </a:lnTo>
                  <a:lnTo>
                    <a:pt x="73" y="389"/>
                  </a:lnTo>
                  <a:lnTo>
                    <a:pt x="74" y="389"/>
                  </a:lnTo>
                  <a:lnTo>
                    <a:pt x="76" y="389"/>
                  </a:lnTo>
                  <a:lnTo>
                    <a:pt x="76" y="387"/>
                  </a:lnTo>
                  <a:lnTo>
                    <a:pt x="78" y="387"/>
                  </a:lnTo>
                  <a:lnTo>
                    <a:pt x="79" y="385"/>
                  </a:lnTo>
                  <a:lnTo>
                    <a:pt x="81" y="381"/>
                  </a:lnTo>
                  <a:lnTo>
                    <a:pt x="81" y="379"/>
                  </a:lnTo>
                  <a:lnTo>
                    <a:pt x="83" y="379"/>
                  </a:lnTo>
                  <a:lnTo>
                    <a:pt x="84" y="379"/>
                  </a:lnTo>
                  <a:lnTo>
                    <a:pt x="86" y="379"/>
                  </a:lnTo>
                  <a:lnTo>
                    <a:pt x="86" y="377"/>
                  </a:lnTo>
                  <a:lnTo>
                    <a:pt x="86" y="376"/>
                  </a:lnTo>
                  <a:lnTo>
                    <a:pt x="86" y="374"/>
                  </a:lnTo>
                  <a:lnTo>
                    <a:pt x="87" y="374"/>
                  </a:lnTo>
                  <a:lnTo>
                    <a:pt x="87" y="372"/>
                  </a:lnTo>
                  <a:lnTo>
                    <a:pt x="87" y="369"/>
                  </a:lnTo>
                  <a:lnTo>
                    <a:pt x="87" y="364"/>
                  </a:lnTo>
                  <a:lnTo>
                    <a:pt x="87" y="363"/>
                  </a:lnTo>
                  <a:lnTo>
                    <a:pt x="89" y="363"/>
                  </a:lnTo>
                  <a:lnTo>
                    <a:pt x="94" y="363"/>
                  </a:lnTo>
                  <a:lnTo>
                    <a:pt x="96" y="363"/>
                  </a:lnTo>
                  <a:lnTo>
                    <a:pt x="96" y="361"/>
                  </a:lnTo>
                  <a:lnTo>
                    <a:pt x="96" y="359"/>
                  </a:lnTo>
                  <a:lnTo>
                    <a:pt x="97" y="358"/>
                  </a:lnTo>
                  <a:lnTo>
                    <a:pt x="97" y="356"/>
                  </a:lnTo>
                  <a:lnTo>
                    <a:pt x="96" y="355"/>
                  </a:lnTo>
                  <a:lnTo>
                    <a:pt x="94" y="353"/>
                  </a:lnTo>
                  <a:lnTo>
                    <a:pt x="92" y="353"/>
                  </a:lnTo>
                  <a:lnTo>
                    <a:pt x="91" y="350"/>
                  </a:lnTo>
                  <a:lnTo>
                    <a:pt x="91" y="345"/>
                  </a:lnTo>
                  <a:lnTo>
                    <a:pt x="91" y="343"/>
                  </a:lnTo>
                  <a:lnTo>
                    <a:pt x="92" y="343"/>
                  </a:lnTo>
                  <a:lnTo>
                    <a:pt x="92" y="340"/>
                  </a:lnTo>
                  <a:lnTo>
                    <a:pt x="94" y="340"/>
                  </a:lnTo>
                  <a:lnTo>
                    <a:pt x="94" y="337"/>
                  </a:lnTo>
                  <a:lnTo>
                    <a:pt x="92" y="337"/>
                  </a:lnTo>
                  <a:lnTo>
                    <a:pt x="92" y="335"/>
                  </a:lnTo>
                  <a:lnTo>
                    <a:pt x="92" y="332"/>
                  </a:lnTo>
                  <a:lnTo>
                    <a:pt x="94" y="330"/>
                  </a:lnTo>
                  <a:lnTo>
                    <a:pt x="96" y="330"/>
                  </a:lnTo>
                  <a:lnTo>
                    <a:pt x="97" y="330"/>
                  </a:lnTo>
                  <a:lnTo>
                    <a:pt x="97" y="329"/>
                  </a:lnTo>
                  <a:lnTo>
                    <a:pt x="99" y="329"/>
                  </a:lnTo>
                  <a:lnTo>
                    <a:pt x="99" y="330"/>
                  </a:lnTo>
                  <a:lnTo>
                    <a:pt x="102" y="330"/>
                  </a:lnTo>
                  <a:lnTo>
                    <a:pt x="102" y="327"/>
                  </a:lnTo>
                  <a:lnTo>
                    <a:pt x="104" y="325"/>
                  </a:lnTo>
                  <a:lnTo>
                    <a:pt x="105" y="324"/>
                  </a:lnTo>
                  <a:lnTo>
                    <a:pt x="104" y="322"/>
                  </a:lnTo>
                  <a:lnTo>
                    <a:pt x="104" y="320"/>
                  </a:lnTo>
                  <a:lnTo>
                    <a:pt x="102" y="320"/>
                  </a:lnTo>
                  <a:lnTo>
                    <a:pt x="102" y="319"/>
                  </a:lnTo>
                  <a:lnTo>
                    <a:pt x="104" y="319"/>
                  </a:lnTo>
                  <a:lnTo>
                    <a:pt x="105" y="320"/>
                  </a:lnTo>
                  <a:lnTo>
                    <a:pt x="107" y="319"/>
                  </a:lnTo>
                  <a:lnTo>
                    <a:pt x="109" y="319"/>
                  </a:lnTo>
                  <a:lnTo>
                    <a:pt x="110" y="317"/>
                  </a:lnTo>
                  <a:lnTo>
                    <a:pt x="110" y="315"/>
                  </a:lnTo>
                  <a:lnTo>
                    <a:pt x="112" y="315"/>
                  </a:lnTo>
                  <a:lnTo>
                    <a:pt x="112" y="314"/>
                  </a:lnTo>
                  <a:lnTo>
                    <a:pt x="112" y="312"/>
                  </a:lnTo>
                  <a:lnTo>
                    <a:pt x="110" y="311"/>
                  </a:lnTo>
                  <a:lnTo>
                    <a:pt x="109" y="309"/>
                  </a:lnTo>
                  <a:lnTo>
                    <a:pt x="107" y="309"/>
                  </a:lnTo>
                  <a:lnTo>
                    <a:pt x="107" y="307"/>
                  </a:lnTo>
                  <a:lnTo>
                    <a:pt x="109" y="306"/>
                  </a:lnTo>
                  <a:lnTo>
                    <a:pt x="109" y="304"/>
                  </a:lnTo>
                  <a:lnTo>
                    <a:pt x="109" y="301"/>
                  </a:lnTo>
                  <a:lnTo>
                    <a:pt x="109" y="299"/>
                  </a:lnTo>
                  <a:lnTo>
                    <a:pt x="109" y="298"/>
                  </a:lnTo>
                  <a:lnTo>
                    <a:pt x="110" y="298"/>
                  </a:lnTo>
                  <a:lnTo>
                    <a:pt x="112" y="296"/>
                  </a:lnTo>
                  <a:lnTo>
                    <a:pt x="112" y="294"/>
                  </a:lnTo>
                  <a:lnTo>
                    <a:pt x="113" y="294"/>
                  </a:lnTo>
                  <a:lnTo>
                    <a:pt x="115" y="293"/>
                  </a:lnTo>
                  <a:lnTo>
                    <a:pt x="115" y="291"/>
                  </a:lnTo>
                  <a:lnTo>
                    <a:pt x="115" y="289"/>
                  </a:lnTo>
                  <a:lnTo>
                    <a:pt x="117" y="289"/>
                  </a:lnTo>
                  <a:lnTo>
                    <a:pt x="115" y="288"/>
                  </a:lnTo>
                  <a:lnTo>
                    <a:pt x="115" y="286"/>
                  </a:lnTo>
                  <a:lnTo>
                    <a:pt x="113" y="285"/>
                  </a:lnTo>
                  <a:lnTo>
                    <a:pt x="113" y="283"/>
                  </a:lnTo>
                  <a:lnTo>
                    <a:pt x="115" y="283"/>
                  </a:lnTo>
                  <a:lnTo>
                    <a:pt x="118" y="283"/>
                  </a:lnTo>
                  <a:lnTo>
                    <a:pt x="118" y="281"/>
                  </a:lnTo>
                  <a:lnTo>
                    <a:pt x="118" y="280"/>
                  </a:lnTo>
                  <a:lnTo>
                    <a:pt x="120" y="280"/>
                  </a:lnTo>
                  <a:lnTo>
                    <a:pt x="120" y="278"/>
                  </a:lnTo>
                  <a:lnTo>
                    <a:pt x="122" y="278"/>
                  </a:lnTo>
                  <a:lnTo>
                    <a:pt x="122" y="276"/>
                  </a:lnTo>
                  <a:lnTo>
                    <a:pt x="120" y="276"/>
                  </a:lnTo>
                  <a:lnTo>
                    <a:pt x="120" y="275"/>
                  </a:lnTo>
                  <a:lnTo>
                    <a:pt x="120" y="273"/>
                  </a:lnTo>
                  <a:lnTo>
                    <a:pt x="122" y="272"/>
                  </a:lnTo>
                  <a:lnTo>
                    <a:pt x="120" y="270"/>
                  </a:lnTo>
                  <a:lnTo>
                    <a:pt x="118" y="270"/>
                  </a:lnTo>
                  <a:lnTo>
                    <a:pt x="117" y="268"/>
                  </a:lnTo>
                  <a:lnTo>
                    <a:pt x="117" y="267"/>
                  </a:lnTo>
                  <a:lnTo>
                    <a:pt x="118" y="267"/>
                  </a:lnTo>
                  <a:lnTo>
                    <a:pt x="118" y="265"/>
                  </a:lnTo>
                  <a:lnTo>
                    <a:pt x="120" y="265"/>
                  </a:lnTo>
                  <a:lnTo>
                    <a:pt x="120" y="263"/>
                  </a:lnTo>
                  <a:lnTo>
                    <a:pt x="122" y="262"/>
                  </a:lnTo>
                  <a:lnTo>
                    <a:pt x="122" y="260"/>
                  </a:lnTo>
                  <a:lnTo>
                    <a:pt x="122" y="259"/>
                  </a:lnTo>
                  <a:lnTo>
                    <a:pt x="123" y="257"/>
                  </a:lnTo>
                  <a:lnTo>
                    <a:pt x="126" y="255"/>
                  </a:lnTo>
                  <a:lnTo>
                    <a:pt x="128" y="255"/>
                  </a:lnTo>
                  <a:lnTo>
                    <a:pt x="130" y="255"/>
                  </a:lnTo>
                  <a:lnTo>
                    <a:pt x="128" y="252"/>
                  </a:lnTo>
                  <a:lnTo>
                    <a:pt x="130" y="250"/>
                  </a:lnTo>
                  <a:lnTo>
                    <a:pt x="130" y="247"/>
                  </a:lnTo>
                  <a:lnTo>
                    <a:pt x="130" y="246"/>
                  </a:lnTo>
                  <a:lnTo>
                    <a:pt x="131" y="246"/>
                  </a:lnTo>
                  <a:lnTo>
                    <a:pt x="131" y="244"/>
                  </a:lnTo>
                  <a:lnTo>
                    <a:pt x="133" y="242"/>
                  </a:lnTo>
                  <a:lnTo>
                    <a:pt x="133" y="239"/>
                  </a:lnTo>
                  <a:lnTo>
                    <a:pt x="133" y="237"/>
                  </a:lnTo>
                  <a:lnTo>
                    <a:pt x="131" y="237"/>
                  </a:lnTo>
                  <a:lnTo>
                    <a:pt x="131" y="236"/>
                  </a:lnTo>
                  <a:lnTo>
                    <a:pt x="133" y="234"/>
                  </a:lnTo>
                  <a:lnTo>
                    <a:pt x="133" y="233"/>
                  </a:lnTo>
                  <a:lnTo>
                    <a:pt x="135" y="233"/>
                  </a:lnTo>
                  <a:lnTo>
                    <a:pt x="135" y="231"/>
                  </a:lnTo>
                  <a:lnTo>
                    <a:pt x="135" y="229"/>
                  </a:lnTo>
                  <a:lnTo>
                    <a:pt x="133" y="229"/>
                  </a:lnTo>
                  <a:lnTo>
                    <a:pt x="133" y="228"/>
                  </a:lnTo>
                  <a:lnTo>
                    <a:pt x="135" y="226"/>
                  </a:lnTo>
                  <a:lnTo>
                    <a:pt x="135" y="224"/>
                  </a:lnTo>
                  <a:lnTo>
                    <a:pt x="135" y="223"/>
                  </a:lnTo>
                  <a:lnTo>
                    <a:pt x="136" y="221"/>
                  </a:lnTo>
                  <a:lnTo>
                    <a:pt x="136" y="220"/>
                  </a:lnTo>
                  <a:lnTo>
                    <a:pt x="136" y="218"/>
                  </a:lnTo>
                  <a:lnTo>
                    <a:pt x="138" y="216"/>
                  </a:lnTo>
                  <a:lnTo>
                    <a:pt x="138" y="215"/>
                  </a:lnTo>
                  <a:lnTo>
                    <a:pt x="139" y="215"/>
                  </a:lnTo>
                  <a:lnTo>
                    <a:pt x="139" y="213"/>
                  </a:lnTo>
                  <a:lnTo>
                    <a:pt x="141" y="213"/>
                  </a:lnTo>
                  <a:lnTo>
                    <a:pt x="144" y="213"/>
                  </a:lnTo>
                  <a:lnTo>
                    <a:pt x="144" y="211"/>
                  </a:lnTo>
                  <a:lnTo>
                    <a:pt x="146" y="208"/>
                  </a:lnTo>
                  <a:lnTo>
                    <a:pt x="144" y="207"/>
                  </a:lnTo>
                  <a:lnTo>
                    <a:pt x="144" y="205"/>
                  </a:lnTo>
                  <a:lnTo>
                    <a:pt x="144" y="203"/>
                  </a:lnTo>
                  <a:lnTo>
                    <a:pt x="143" y="202"/>
                  </a:lnTo>
                  <a:lnTo>
                    <a:pt x="141" y="200"/>
                  </a:lnTo>
                  <a:lnTo>
                    <a:pt x="141" y="197"/>
                  </a:lnTo>
                  <a:lnTo>
                    <a:pt x="141" y="194"/>
                  </a:lnTo>
                  <a:lnTo>
                    <a:pt x="143" y="192"/>
                  </a:lnTo>
                  <a:lnTo>
                    <a:pt x="144" y="190"/>
                  </a:lnTo>
                  <a:lnTo>
                    <a:pt x="146" y="190"/>
                  </a:lnTo>
                  <a:lnTo>
                    <a:pt x="144" y="189"/>
                  </a:lnTo>
                  <a:lnTo>
                    <a:pt x="146" y="185"/>
                  </a:lnTo>
                  <a:lnTo>
                    <a:pt x="148" y="187"/>
                  </a:lnTo>
                  <a:lnTo>
                    <a:pt x="149" y="184"/>
                  </a:lnTo>
                  <a:lnTo>
                    <a:pt x="149" y="182"/>
                  </a:lnTo>
                  <a:lnTo>
                    <a:pt x="151" y="181"/>
                  </a:lnTo>
                  <a:lnTo>
                    <a:pt x="154" y="181"/>
                  </a:lnTo>
                  <a:lnTo>
                    <a:pt x="156" y="177"/>
                  </a:lnTo>
                  <a:lnTo>
                    <a:pt x="156" y="171"/>
                  </a:lnTo>
                  <a:lnTo>
                    <a:pt x="157" y="171"/>
                  </a:lnTo>
                  <a:lnTo>
                    <a:pt x="157" y="169"/>
                  </a:lnTo>
                  <a:lnTo>
                    <a:pt x="157" y="167"/>
                  </a:lnTo>
                  <a:lnTo>
                    <a:pt x="157" y="166"/>
                  </a:lnTo>
                  <a:lnTo>
                    <a:pt x="161" y="164"/>
                  </a:lnTo>
                  <a:lnTo>
                    <a:pt x="161" y="159"/>
                  </a:lnTo>
                  <a:lnTo>
                    <a:pt x="162" y="159"/>
                  </a:lnTo>
                  <a:lnTo>
                    <a:pt x="164" y="158"/>
                  </a:lnTo>
                  <a:lnTo>
                    <a:pt x="165" y="156"/>
                  </a:lnTo>
                  <a:lnTo>
                    <a:pt x="165" y="154"/>
                  </a:lnTo>
                  <a:lnTo>
                    <a:pt x="164" y="153"/>
                  </a:lnTo>
                  <a:lnTo>
                    <a:pt x="165" y="153"/>
                  </a:lnTo>
                  <a:lnTo>
                    <a:pt x="167" y="154"/>
                  </a:lnTo>
                  <a:lnTo>
                    <a:pt x="169" y="154"/>
                  </a:lnTo>
                  <a:lnTo>
                    <a:pt x="169" y="156"/>
                  </a:lnTo>
                  <a:lnTo>
                    <a:pt x="170" y="156"/>
                  </a:lnTo>
                  <a:lnTo>
                    <a:pt x="172" y="154"/>
                  </a:lnTo>
                  <a:lnTo>
                    <a:pt x="174" y="154"/>
                  </a:lnTo>
                  <a:lnTo>
                    <a:pt x="174" y="156"/>
                  </a:lnTo>
                  <a:lnTo>
                    <a:pt x="175" y="154"/>
                  </a:lnTo>
                  <a:lnTo>
                    <a:pt x="175" y="153"/>
                  </a:lnTo>
                  <a:lnTo>
                    <a:pt x="175" y="148"/>
                  </a:lnTo>
                  <a:lnTo>
                    <a:pt x="175" y="146"/>
                  </a:lnTo>
                  <a:lnTo>
                    <a:pt x="177" y="146"/>
                  </a:lnTo>
                  <a:lnTo>
                    <a:pt x="178" y="145"/>
                  </a:lnTo>
                  <a:lnTo>
                    <a:pt x="185" y="148"/>
                  </a:lnTo>
                  <a:lnTo>
                    <a:pt x="187" y="150"/>
                  </a:lnTo>
                  <a:lnTo>
                    <a:pt x="191" y="148"/>
                  </a:lnTo>
                  <a:lnTo>
                    <a:pt x="193" y="146"/>
                  </a:lnTo>
                  <a:lnTo>
                    <a:pt x="195" y="146"/>
                  </a:lnTo>
                  <a:lnTo>
                    <a:pt x="196" y="146"/>
                  </a:lnTo>
                  <a:lnTo>
                    <a:pt x="198" y="145"/>
                  </a:lnTo>
                  <a:lnTo>
                    <a:pt x="200" y="141"/>
                  </a:lnTo>
                  <a:lnTo>
                    <a:pt x="200" y="137"/>
                  </a:lnTo>
                  <a:lnTo>
                    <a:pt x="201" y="137"/>
                  </a:lnTo>
                  <a:lnTo>
                    <a:pt x="203" y="137"/>
                  </a:lnTo>
                  <a:lnTo>
                    <a:pt x="204" y="137"/>
                  </a:lnTo>
                  <a:lnTo>
                    <a:pt x="206" y="135"/>
                  </a:lnTo>
                  <a:lnTo>
                    <a:pt x="206" y="133"/>
                  </a:lnTo>
                  <a:lnTo>
                    <a:pt x="204" y="133"/>
                  </a:lnTo>
                  <a:lnTo>
                    <a:pt x="204" y="132"/>
                  </a:lnTo>
                  <a:lnTo>
                    <a:pt x="204" y="130"/>
                  </a:lnTo>
                  <a:lnTo>
                    <a:pt x="203" y="130"/>
                  </a:lnTo>
                  <a:lnTo>
                    <a:pt x="203" y="128"/>
                  </a:lnTo>
                  <a:lnTo>
                    <a:pt x="206" y="128"/>
                  </a:lnTo>
                  <a:lnTo>
                    <a:pt x="209" y="125"/>
                  </a:lnTo>
                  <a:lnTo>
                    <a:pt x="211" y="125"/>
                  </a:lnTo>
                  <a:lnTo>
                    <a:pt x="213" y="124"/>
                  </a:lnTo>
                  <a:lnTo>
                    <a:pt x="213" y="122"/>
                  </a:lnTo>
                  <a:lnTo>
                    <a:pt x="213" y="120"/>
                  </a:lnTo>
                  <a:lnTo>
                    <a:pt x="214" y="119"/>
                  </a:lnTo>
                  <a:lnTo>
                    <a:pt x="214" y="117"/>
                  </a:lnTo>
                  <a:lnTo>
                    <a:pt x="216" y="117"/>
                  </a:lnTo>
                  <a:lnTo>
                    <a:pt x="217" y="115"/>
                  </a:lnTo>
                  <a:lnTo>
                    <a:pt x="219" y="115"/>
                  </a:lnTo>
                  <a:lnTo>
                    <a:pt x="219" y="114"/>
                  </a:lnTo>
                  <a:lnTo>
                    <a:pt x="217" y="111"/>
                  </a:lnTo>
                  <a:lnTo>
                    <a:pt x="216" y="111"/>
                  </a:lnTo>
                  <a:lnTo>
                    <a:pt x="216" y="109"/>
                  </a:lnTo>
                  <a:lnTo>
                    <a:pt x="216" y="107"/>
                  </a:lnTo>
                  <a:lnTo>
                    <a:pt x="217" y="107"/>
                  </a:lnTo>
                  <a:lnTo>
                    <a:pt x="219" y="109"/>
                  </a:lnTo>
                  <a:lnTo>
                    <a:pt x="221" y="109"/>
                  </a:lnTo>
                  <a:lnTo>
                    <a:pt x="222" y="109"/>
                  </a:lnTo>
                  <a:lnTo>
                    <a:pt x="224" y="109"/>
                  </a:lnTo>
                  <a:lnTo>
                    <a:pt x="224" y="111"/>
                  </a:lnTo>
                  <a:lnTo>
                    <a:pt x="222" y="111"/>
                  </a:lnTo>
                  <a:lnTo>
                    <a:pt x="222" y="112"/>
                  </a:lnTo>
                  <a:lnTo>
                    <a:pt x="226" y="112"/>
                  </a:lnTo>
                  <a:lnTo>
                    <a:pt x="226" y="111"/>
                  </a:lnTo>
                  <a:lnTo>
                    <a:pt x="226" y="109"/>
                  </a:lnTo>
                  <a:lnTo>
                    <a:pt x="227" y="109"/>
                  </a:lnTo>
                  <a:lnTo>
                    <a:pt x="229" y="107"/>
                  </a:lnTo>
                  <a:lnTo>
                    <a:pt x="231" y="107"/>
                  </a:lnTo>
                  <a:lnTo>
                    <a:pt x="232" y="107"/>
                  </a:lnTo>
                  <a:lnTo>
                    <a:pt x="232" y="106"/>
                  </a:lnTo>
                  <a:lnTo>
                    <a:pt x="232" y="104"/>
                  </a:lnTo>
                  <a:lnTo>
                    <a:pt x="232" y="102"/>
                  </a:lnTo>
                  <a:lnTo>
                    <a:pt x="232" y="101"/>
                  </a:lnTo>
                  <a:lnTo>
                    <a:pt x="232" y="98"/>
                  </a:lnTo>
                  <a:lnTo>
                    <a:pt x="234" y="96"/>
                  </a:lnTo>
                  <a:lnTo>
                    <a:pt x="232" y="94"/>
                  </a:lnTo>
                  <a:lnTo>
                    <a:pt x="234" y="94"/>
                  </a:lnTo>
                  <a:lnTo>
                    <a:pt x="234" y="93"/>
                  </a:lnTo>
                  <a:lnTo>
                    <a:pt x="235" y="93"/>
                  </a:lnTo>
                  <a:lnTo>
                    <a:pt x="235" y="91"/>
                  </a:lnTo>
                  <a:lnTo>
                    <a:pt x="235" y="89"/>
                  </a:lnTo>
                  <a:lnTo>
                    <a:pt x="237" y="89"/>
                  </a:lnTo>
                  <a:lnTo>
                    <a:pt x="239" y="89"/>
                  </a:lnTo>
                  <a:lnTo>
                    <a:pt x="239" y="91"/>
                  </a:lnTo>
                  <a:lnTo>
                    <a:pt x="240" y="93"/>
                  </a:lnTo>
                  <a:lnTo>
                    <a:pt x="244" y="93"/>
                  </a:lnTo>
                  <a:lnTo>
                    <a:pt x="245" y="91"/>
                  </a:lnTo>
                  <a:lnTo>
                    <a:pt x="247" y="91"/>
                  </a:lnTo>
                  <a:lnTo>
                    <a:pt x="247" y="93"/>
                  </a:lnTo>
                  <a:lnTo>
                    <a:pt x="248" y="93"/>
                  </a:lnTo>
                  <a:lnTo>
                    <a:pt x="248" y="96"/>
                  </a:lnTo>
                  <a:lnTo>
                    <a:pt x="250" y="98"/>
                  </a:lnTo>
                  <a:lnTo>
                    <a:pt x="252" y="98"/>
                  </a:lnTo>
                  <a:lnTo>
                    <a:pt x="253" y="98"/>
                  </a:lnTo>
                  <a:lnTo>
                    <a:pt x="255" y="99"/>
                  </a:lnTo>
                  <a:lnTo>
                    <a:pt x="255" y="101"/>
                  </a:lnTo>
                  <a:lnTo>
                    <a:pt x="261" y="102"/>
                  </a:lnTo>
                  <a:lnTo>
                    <a:pt x="263" y="104"/>
                  </a:lnTo>
                  <a:lnTo>
                    <a:pt x="265" y="102"/>
                  </a:lnTo>
                  <a:lnTo>
                    <a:pt x="265" y="104"/>
                  </a:lnTo>
                  <a:lnTo>
                    <a:pt x="266" y="104"/>
                  </a:lnTo>
                  <a:lnTo>
                    <a:pt x="271" y="106"/>
                  </a:lnTo>
                  <a:lnTo>
                    <a:pt x="271" y="104"/>
                  </a:lnTo>
                  <a:lnTo>
                    <a:pt x="273" y="98"/>
                  </a:lnTo>
                  <a:lnTo>
                    <a:pt x="274" y="99"/>
                  </a:lnTo>
                  <a:lnTo>
                    <a:pt x="274" y="98"/>
                  </a:lnTo>
                  <a:lnTo>
                    <a:pt x="276" y="99"/>
                  </a:lnTo>
                  <a:lnTo>
                    <a:pt x="278" y="99"/>
                  </a:lnTo>
                  <a:lnTo>
                    <a:pt x="279" y="99"/>
                  </a:lnTo>
                  <a:lnTo>
                    <a:pt x="279" y="98"/>
                  </a:lnTo>
                  <a:lnTo>
                    <a:pt x="281" y="98"/>
                  </a:lnTo>
                  <a:lnTo>
                    <a:pt x="283" y="98"/>
                  </a:lnTo>
                  <a:lnTo>
                    <a:pt x="284" y="98"/>
                  </a:lnTo>
                  <a:lnTo>
                    <a:pt x="284" y="99"/>
                  </a:lnTo>
                  <a:lnTo>
                    <a:pt x="286" y="99"/>
                  </a:lnTo>
                  <a:lnTo>
                    <a:pt x="287" y="101"/>
                  </a:lnTo>
                  <a:lnTo>
                    <a:pt x="287" y="99"/>
                  </a:lnTo>
                  <a:lnTo>
                    <a:pt x="289" y="99"/>
                  </a:lnTo>
                  <a:lnTo>
                    <a:pt x="291" y="98"/>
                  </a:lnTo>
                  <a:lnTo>
                    <a:pt x="292" y="98"/>
                  </a:lnTo>
                  <a:lnTo>
                    <a:pt x="294" y="98"/>
                  </a:lnTo>
                  <a:lnTo>
                    <a:pt x="294" y="96"/>
                  </a:lnTo>
                  <a:lnTo>
                    <a:pt x="296" y="98"/>
                  </a:lnTo>
                  <a:lnTo>
                    <a:pt x="296" y="96"/>
                  </a:lnTo>
                  <a:lnTo>
                    <a:pt x="297" y="96"/>
                  </a:lnTo>
                  <a:lnTo>
                    <a:pt x="299" y="98"/>
                  </a:lnTo>
                  <a:lnTo>
                    <a:pt x="300" y="98"/>
                  </a:lnTo>
                  <a:lnTo>
                    <a:pt x="302" y="98"/>
                  </a:lnTo>
                  <a:lnTo>
                    <a:pt x="300" y="98"/>
                  </a:lnTo>
                  <a:lnTo>
                    <a:pt x="302" y="99"/>
                  </a:lnTo>
                  <a:lnTo>
                    <a:pt x="304" y="99"/>
                  </a:lnTo>
                  <a:lnTo>
                    <a:pt x="304" y="101"/>
                  </a:lnTo>
                  <a:lnTo>
                    <a:pt x="304" y="102"/>
                  </a:lnTo>
                  <a:lnTo>
                    <a:pt x="305" y="102"/>
                  </a:lnTo>
                  <a:lnTo>
                    <a:pt x="307" y="104"/>
                  </a:lnTo>
                  <a:lnTo>
                    <a:pt x="309" y="102"/>
                  </a:lnTo>
                  <a:lnTo>
                    <a:pt x="310" y="101"/>
                  </a:lnTo>
                  <a:lnTo>
                    <a:pt x="312" y="101"/>
                  </a:lnTo>
                  <a:lnTo>
                    <a:pt x="313" y="101"/>
                  </a:lnTo>
                  <a:lnTo>
                    <a:pt x="313" y="99"/>
                  </a:lnTo>
                  <a:lnTo>
                    <a:pt x="313" y="98"/>
                  </a:lnTo>
                  <a:lnTo>
                    <a:pt x="315" y="98"/>
                  </a:lnTo>
                  <a:lnTo>
                    <a:pt x="317" y="98"/>
                  </a:lnTo>
                  <a:lnTo>
                    <a:pt x="317" y="96"/>
                  </a:lnTo>
                  <a:lnTo>
                    <a:pt x="317" y="98"/>
                  </a:lnTo>
                  <a:lnTo>
                    <a:pt x="318" y="98"/>
                  </a:lnTo>
                  <a:lnTo>
                    <a:pt x="320" y="96"/>
                  </a:lnTo>
                  <a:lnTo>
                    <a:pt x="322" y="98"/>
                  </a:lnTo>
                  <a:lnTo>
                    <a:pt x="323" y="98"/>
                  </a:lnTo>
                  <a:lnTo>
                    <a:pt x="325" y="98"/>
                  </a:lnTo>
                  <a:lnTo>
                    <a:pt x="326" y="98"/>
                  </a:lnTo>
                  <a:lnTo>
                    <a:pt x="328" y="99"/>
                  </a:lnTo>
                  <a:lnTo>
                    <a:pt x="330" y="99"/>
                  </a:lnTo>
                  <a:lnTo>
                    <a:pt x="330" y="101"/>
                  </a:lnTo>
                  <a:lnTo>
                    <a:pt x="331" y="102"/>
                  </a:lnTo>
                  <a:lnTo>
                    <a:pt x="333" y="101"/>
                  </a:lnTo>
                  <a:lnTo>
                    <a:pt x="338" y="101"/>
                  </a:lnTo>
                  <a:lnTo>
                    <a:pt x="339" y="101"/>
                  </a:lnTo>
                  <a:lnTo>
                    <a:pt x="341" y="101"/>
                  </a:lnTo>
                  <a:lnTo>
                    <a:pt x="341" y="102"/>
                  </a:lnTo>
                  <a:lnTo>
                    <a:pt x="343" y="102"/>
                  </a:lnTo>
                  <a:lnTo>
                    <a:pt x="343" y="101"/>
                  </a:lnTo>
                  <a:lnTo>
                    <a:pt x="344" y="101"/>
                  </a:lnTo>
                  <a:lnTo>
                    <a:pt x="346" y="99"/>
                  </a:lnTo>
                  <a:lnTo>
                    <a:pt x="348" y="99"/>
                  </a:lnTo>
                  <a:lnTo>
                    <a:pt x="351" y="96"/>
                  </a:lnTo>
                  <a:lnTo>
                    <a:pt x="352" y="98"/>
                  </a:lnTo>
                  <a:lnTo>
                    <a:pt x="356" y="96"/>
                  </a:lnTo>
                  <a:lnTo>
                    <a:pt x="356" y="94"/>
                  </a:lnTo>
                  <a:lnTo>
                    <a:pt x="356" y="93"/>
                  </a:lnTo>
                  <a:lnTo>
                    <a:pt x="356" y="91"/>
                  </a:lnTo>
                  <a:lnTo>
                    <a:pt x="359" y="89"/>
                  </a:lnTo>
                  <a:lnTo>
                    <a:pt x="359" y="88"/>
                  </a:lnTo>
                  <a:lnTo>
                    <a:pt x="361" y="88"/>
                  </a:lnTo>
                  <a:lnTo>
                    <a:pt x="362" y="88"/>
                  </a:lnTo>
                  <a:lnTo>
                    <a:pt x="364" y="88"/>
                  </a:lnTo>
                  <a:lnTo>
                    <a:pt x="365" y="89"/>
                  </a:lnTo>
                  <a:lnTo>
                    <a:pt x="367" y="89"/>
                  </a:lnTo>
                  <a:lnTo>
                    <a:pt x="369" y="88"/>
                  </a:lnTo>
                  <a:lnTo>
                    <a:pt x="370" y="88"/>
                  </a:lnTo>
                  <a:lnTo>
                    <a:pt x="372" y="86"/>
                  </a:lnTo>
                  <a:lnTo>
                    <a:pt x="374" y="86"/>
                  </a:lnTo>
                  <a:lnTo>
                    <a:pt x="375" y="88"/>
                  </a:lnTo>
                  <a:lnTo>
                    <a:pt x="377" y="88"/>
                  </a:lnTo>
                  <a:lnTo>
                    <a:pt x="379" y="88"/>
                  </a:lnTo>
                  <a:lnTo>
                    <a:pt x="380" y="91"/>
                  </a:lnTo>
                  <a:lnTo>
                    <a:pt x="382" y="91"/>
                  </a:lnTo>
                  <a:lnTo>
                    <a:pt x="382" y="93"/>
                  </a:lnTo>
                  <a:lnTo>
                    <a:pt x="383" y="93"/>
                  </a:lnTo>
                  <a:lnTo>
                    <a:pt x="383" y="94"/>
                  </a:lnTo>
                  <a:lnTo>
                    <a:pt x="385" y="94"/>
                  </a:lnTo>
                  <a:lnTo>
                    <a:pt x="383" y="96"/>
                  </a:lnTo>
                  <a:lnTo>
                    <a:pt x="385" y="98"/>
                  </a:lnTo>
                  <a:lnTo>
                    <a:pt x="387" y="99"/>
                  </a:lnTo>
                  <a:lnTo>
                    <a:pt x="388" y="99"/>
                  </a:lnTo>
                  <a:lnTo>
                    <a:pt x="388" y="101"/>
                  </a:lnTo>
                  <a:lnTo>
                    <a:pt x="390" y="101"/>
                  </a:lnTo>
                  <a:lnTo>
                    <a:pt x="392" y="101"/>
                  </a:lnTo>
                  <a:lnTo>
                    <a:pt x="393" y="101"/>
                  </a:lnTo>
                  <a:lnTo>
                    <a:pt x="395" y="101"/>
                  </a:lnTo>
                  <a:lnTo>
                    <a:pt x="396" y="101"/>
                  </a:lnTo>
                  <a:lnTo>
                    <a:pt x="396" y="102"/>
                  </a:lnTo>
                  <a:lnTo>
                    <a:pt x="401" y="101"/>
                  </a:lnTo>
                  <a:lnTo>
                    <a:pt x="401" y="102"/>
                  </a:lnTo>
                  <a:lnTo>
                    <a:pt x="401" y="104"/>
                  </a:lnTo>
                  <a:lnTo>
                    <a:pt x="403" y="104"/>
                  </a:lnTo>
                  <a:lnTo>
                    <a:pt x="403" y="106"/>
                  </a:lnTo>
                  <a:lnTo>
                    <a:pt x="403" y="107"/>
                  </a:lnTo>
                  <a:lnTo>
                    <a:pt x="405" y="107"/>
                  </a:lnTo>
                  <a:lnTo>
                    <a:pt x="405" y="109"/>
                  </a:lnTo>
                  <a:lnTo>
                    <a:pt x="406" y="109"/>
                  </a:lnTo>
                  <a:lnTo>
                    <a:pt x="408" y="111"/>
                  </a:lnTo>
                  <a:lnTo>
                    <a:pt x="409" y="114"/>
                  </a:lnTo>
                  <a:lnTo>
                    <a:pt x="416" y="112"/>
                  </a:lnTo>
                  <a:lnTo>
                    <a:pt x="419" y="112"/>
                  </a:lnTo>
                  <a:lnTo>
                    <a:pt x="419" y="111"/>
                  </a:lnTo>
                  <a:lnTo>
                    <a:pt x="421" y="111"/>
                  </a:lnTo>
                  <a:lnTo>
                    <a:pt x="422" y="111"/>
                  </a:lnTo>
                  <a:lnTo>
                    <a:pt x="424" y="111"/>
                  </a:lnTo>
                  <a:lnTo>
                    <a:pt x="424" y="109"/>
                  </a:lnTo>
                  <a:lnTo>
                    <a:pt x="426" y="107"/>
                  </a:lnTo>
                  <a:lnTo>
                    <a:pt x="429" y="106"/>
                  </a:lnTo>
                  <a:lnTo>
                    <a:pt x="431" y="106"/>
                  </a:lnTo>
                  <a:lnTo>
                    <a:pt x="431" y="102"/>
                  </a:lnTo>
                  <a:lnTo>
                    <a:pt x="431" y="101"/>
                  </a:lnTo>
                  <a:lnTo>
                    <a:pt x="432" y="99"/>
                  </a:lnTo>
                  <a:lnTo>
                    <a:pt x="434" y="99"/>
                  </a:lnTo>
                  <a:lnTo>
                    <a:pt x="434" y="96"/>
                  </a:lnTo>
                  <a:lnTo>
                    <a:pt x="434" y="94"/>
                  </a:lnTo>
                  <a:lnTo>
                    <a:pt x="435" y="93"/>
                  </a:lnTo>
                  <a:lnTo>
                    <a:pt x="435" y="89"/>
                  </a:lnTo>
                  <a:lnTo>
                    <a:pt x="437" y="88"/>
                  </a:lnTo>
                  <a:lnTo>
                    <a:pt x="437" y="86"/>
                  </a:lnTo>
                  <a:lnTo>
                    <a:pt x="437" y="85"/>
                  </a:lnTo>
                  <a:lnTo>
                    <a:pt x="437" y="83"/>
                  </a:lnTo>
                  <a:lnTo>
                    <a:pt x="439" y="83"/>
                  </a:lnTo>
                  <a:lnTo>
                    <a:pt x="440" y="83"/>
                  </a:lnTo>
                  <a:lnTo>
                    <a:pt x="442" y="81"/>
                  </a:lnTo>
                  <a:lnTo>
                    <a:pt x="444" y="80"/>
                  </a:lnTo>
                  <a:lnTo>
                    <a:pt x="447" y="78"/>
                  </a:lnTo>
                  <a:lnTo>
                    <a:pt x="465" y="72"/>
                  </a:lnTo>
                  <a:lnTo>
                    <a:pt x="470" y="70"/>
                  </a:lnTo>
                  <a:lnTo>
                    <a:pt x="473" y="68"/>
                  </a:lnTo>
                  <a:lnTo>
                    <a:pt x="474" y="67"/>
                  </a:lnTo>
                  <a:lnTo>
                    <a:pt x="478" y="68"/>
                  </a:lnTo>
                  <a:lnTo>
                    <a:pt x="481" y="67"/>
                  </a:lnTo>
                  <a:lnTo>
                    <a:pt x="483" y="67"/>
                  </a:lnTo>
                  <a:lnTo>
                    <a:pt x="486" y="67"/>
                  </a:lnTo>
                  <a:lnTo>
                    <a:pt x="486" y="65"/>
                  </a:lnTo>
                  <a:lnTo>
                    <a:pt x="487" y="65"/>
                  </a:lnTo>
                  <a:lnTo>
                    <a:pt x="491" y="63"/>
                  </a:lnTo>
                  <a:lnTo>
                    <a:pt x="491" y="62"/>
                  </a:lnTo>
                  <a:lnTo>
                    <a:pt x="492" y="60"/>
                  </a:lnTo>
                  <a:lnTo>
                    <a:pt x="494" y="60"/>
                  </a:lnTo>
                  <a:lnTo>
                    <a:pt x="496" y="60"/>
                  </a:lnTo>
                  <a:lnTo>
                    <a:pt x="497" y="60"/>
                  </a:lnTo>
                  <a:lnTo>
                    <a:pt x="499" y="60"/>
                  </a:lnTo>
                  <a:lnTo>
                    <a:pt x="499" y="59"/>
                  </a:lnTo>
                  <a:lnTo>
                    <a:pt x="499" y="57"/>
                  </a:lnTo>
                  <a:lnTo>
                    <a:pt x="500" y="57"/>
                  </a:lnTo>
                  <a:lnTo>
                    <a:pt x="502" y="59"/>
                  </a:lnTo>
                  <a:lnTo>
                    <a:pt x="507" y="55"/>
                  </a:lnTo>
                  <a:lnTo>
                    <a:pt x="509" y="55"/>
                  </a:lnTo>
                  <a:lnTo>
                    <a:pt x="510" y="54"/>
                  </a:lnTo>
                  <a:lnTo>
                    <a:pt x="512" y="54"/>
                  </a:lnTo>
                  <a:lnTo>
                    <a:pt x="515" y="54"/>
                  </a:lnTo>
                  <a:lnTo>
                    <a:pt x="517" y="54"/>
                  </a:lnTo>
                  <a:lnTo>
                    <a:pt x="518" y="52"/>
                  </a:lnTo>
                  <a:lnTo>
                    <a:pt x="520" y="52"/>
                  </a:lnTo>
                  <a:lnTo>
                    <a:pt x="522" y="50"/>
                  </a:lnTo>
                  <a:lnTo>
                    <a:pt x="523" y="49"/>
                  </a:lnTo>
                  <a:lnTo>
                    <a:pt x="525" y="47"/>
                  </a:lnTo>
                  <a:lnTo>
                    <a:pt x="525" y="44"/>
                  </a:lnTo>
                  <a:lnTo>
                    <a:pt x="525" y="41"/>
                  </a:lnTo>
                  <a:lnTo>
                    <a:pt x="528" y="37"/>
                  </a:lnTo>
                  <a:lnTo>
                    <a:pt x="528" y="36"/>
                  </a:lnTo>
                  <a:lnTo>
                    <a:pt x="528" y="34"/>
                  </a:lnTo>
                  <a:lnTo>
                    <a:pt x="530" y="29"/>
                  </a:lnTo>
                  <a:lnTo>
                    <a:pt x="530" y="28"/>
                  </a:lnTo>
                  <a:lnTo>
                    <a:pt x="531" y="24"/>
                  </a:lnTo>
                  <a:lnTo>
                    <a:pt x="533" y="23"/>
                  </a:lnTo>
                  <a:lnTo>
                    <a:pt x="531" y="21"/>
                  </a:lnTo>
                  <a:lnTo>
                    <a:pt x="531" y="19"/>
                  </a:lnTo>
                  <a:lnTo>
                    <a:pt x="533" y="19"/>
                  </a:lnTo>
                  <a:lnTo>
                    <a:pt x="533" y="18"/>
                  </a:lnTo>
                  <a:lnTo>
                    <a:pt x="533" y="19"/>
                  </a:lnTo>
                  <a:lnTo>
                    <a:pt x="535" y="19"/>
                  </a:lnTo>
                  <a:lnTo>
                    <a:pt x="535" y="18"/>
                  </a:lnTo>
                  <a:lnTo>
                    <a:pt x="535" y="16"/>
                  </a:lnTo>
                  <a:lnTo>
                    <a:pt x="536" y="18"/>
                  </a:lnTo>
                  <a:lnTo>
                    <a:pt x="538" y="18"/>
                  </a:lnTo>
                  <a:lnTo>
                    <a:pt x="540" y="16"/>
                  </a:lnTo>
                  <a:lnTo>
                    <a:pt x="540" y="15"/>
                  </a:lnTo>
                  <a:lnTo>
                    <a:pt x="541" y="15"/>
                  </a:lnTo>
                  <a:lnTo>
                    <a:pt x="543" y="15"/>
                  </a:lnTo>
                  <a:lnTo>
                    <a:pt x="543" y="13"/>
                  </a:lnTo>
                  <a:lnTo>
                    <a:pt x="543" y="11"/>
                  </a:lnTo>
                  <a:lnTo>
                    <a:pt x="544" y="13"/>
                  </a:lnTo>
                  <a:lnTo>
                    <a:pt x="544" y="11"/>
                  </a:lnTo>
                  <a:lnTo>
                    <a:pt x="546" y="11"/>
                  </a:lnTo>
                  <a:lnTo>
                    <a:pt x="548" y="11"/>
                  </a:lnTo>
                  <a:lnTo>
                    <a:pt x="548" y="13"/>
                  </a:lnTo>
                  <a:lnTo>
                    <a:pt x="548" y="11"/>
                  </a:lnTo>
                  <a:lnTo>
                    <a:pt x="549" y="11"/>
                  </a:lnTo>
                  <a:lnTo>
                    <a:pt x="551" y="11"/>
                  </a:lnTo>
                  <a:lnTo>
                    <a:pt x="551" y="10"/>
                  </a:lnTo>
                  <a:lnTo>
                    <a:pt x="553" y="10"/>
                  </a:lnTo>
                  <a:lnTo>
                    <a:pt x="553" y="8"/>
                  </a:lnTo>
                  <a:lnTo>
                    <a:pt x="553" y="6"/>
                  </a:lnTo>
                  <a:lnTo>
                    <a:pt x="554" y="6"/>
                  </a:lnTo>
                  <a:lnTo>
                    <a:pt x="556" y="6"/>
                  </a:lnTo>
                  <a:lnTo>
                    <a:pt x="557" y="6"/>
                  </a:lnTo>
                  <a:lnTo>
                    <a:pt x="556" y="5"/>
                  </a:lnTo>
                  <a:lnTo>
                    <a:pt x="557" y="5"/>
                  </a:lnTo>
                  <a:lnTo>
                    <a:pt x="557" y="3"/>
                  </a:lnTo>
                  <a:lnTo>
                    <a:pt x="559" y="3"/>
                  </a:lnTo>
                  <a:lnTo>
                    <a:pt x="559" y="2"/>
                  </a:lnTo>
                  <a:lnTo>
                    <a:pt x="561" y="2"/>
                  </a:lnTo>
                  <a:lnTo>
                    <a:pt x="561" y="3"/>
                  </a:lnTo>
                  <a:lnTo>
                    <a:pt x="561" y="5"/>
                  </a:lnTo>
                  <a:lnTo>
                    <a:pt x="561" y="3"/>
                  </a:lnTo>
                  <a:lnTo>
                    <a:pt x="562" y="3"/>
                  </a:lnTo>
                  <a:lnTo>
                    <a:pt x="562" y="2"/>
                  </a:lnTo>
                  <a:lnTo>
                    <a:pt x="562" y="0"/>
                  </a:lnTo>
                  <a:lnTo>
                    <a:pt x="564" y="0"/>
                  </a:lnTo>
                  <a:lnTo>
                    <a:pt x="564" y="2"/>
                  </a:lnTo>
                  <a:lnTo>
                    <a:pt x="566" y="3"/>
                  </a:lnTo>
                  <a:lnTo>
                    <a:pt x="567" y="3"/>
                  </a:lnTo>
                  <a:lnTo>
                    <a:pt x="566" y="2"/>
                  </a:lnTo>
                  <a:lnTo>
                    <a:pt x="567" y="2"/>
                  </a:lnTo>
                  <a:lnTo>
                    <a:pt x="567" y="3"/>
                  </a:lnTo>
                  <a:lnTo>
                    <a:pt x="569" y="2"/>
                  </a:lnTo>
                  <a:lnTo>
                    <a:pt x="570" y="2"/>
                  </a:lnTo>
                  <a:lnTo>
                    <a:pt x="572" y="2"/>
                  </a:lnTo>
                  <a:lnTo>
                    <a:pt x="572" y="0"/>
                  </a:lnTo>
                  <a:lnTo>
                    <a:pt x="574" y="0"/>
                  </a:lnTo>
                  <a:lnTo>
                    <a:pt x="574" y="2"/>
                  </a:lnTo>
                  <a:lnTo>
                    <a:pt x="575" y="2"/>
                  </a:lnTo>
                  <a:lnTo>
                    <a:pt x="577" y="3"/>
                  </a:lnTo>
                  <a:lnTo>
                    <a:pt x="577" y="2"/>
                  </a:lnTo>
                  <a:lnTo>
                    <a:pt x="579" y="2"/>
                  </a:lnTo>
                  <a:lnTo>
                    <a:pt x="580" y="3"/>
                  </a:lnTo>
                  <a:lnTo>
                    <a:pt x="580" y="5"/>
                  </a:lnTo>
                  <a:lnTo>
                    <a:pt x="582" y="5"/>
                  </a:lnTo>
                  <a:lnTo>
                    <a:pt x="583" y="5"/>
                  </a:lnTo>
                  <a:lnTo>
                    <a:pt x="585" y="5"/>
                  </a:lnTo>
                  <a:lnTo>
                    <a:pt x="585" y="6"/>
                  </a:lnTo>
                  <a:lnTo>
                    <a:pt x="583" y="6"/>
                  </a:lnTo>
                  <a:lnTo>
                    <a:pt x="583" y="8"/>
                  </a:lnTo>
                  <a:lnTo>
                    <a:pt x="585" y="8"/>
                  </a:lnTo>
                  <a:lnTo>
                    <a:pt x="587" y="8"/>
                  </a:lnTo>
                  <a:lnTo>
                    <a:pt x="585" y="6"/>
                  </a:lnTo>
                  <a:lnTo>
                    <a:pt x="585" y="5"/>
                  </a:lnTo>
                  <a:lnTo>
                    <a:pt x="587" y="5"/>
                  </a:lnTo>
                  <a:lnTo>
                    <a:pt x="588" y="5"/>
                  </a:lnTo>
                  <a:lnTo>
                    <a:pt x="588" y="6"/>
                  </a:lnTo>
                  <a:lnTo>
                    <a:pt x="588" y="8"/>
                  </a:lnTo>
                  <a:lnTo>
                    <a:pt x="588" y="10"/>
                  </a:lnTo>
                  <a:lnTo>
                    <a:pt x="590" y="10"/>
                  </a:lnTo>
                  <a:lnTo>
                    <a:pt x="592" y="10"/>
                  </a:lnTo>
                  <a:lnTo>
                    <a:pt x="593" y="10"/>
                  </a:lnTo>
                  <a:lnTo>
                    <a:pt x="593" y="11"/>
                  </a:lnTo>
                  <a:lnTo>
                    <a:pt x="592" y="11"/>
                  </a:lnTo>
                  <a:lnTo>
                    <a:pt x="590" y="11"/>
                  </a:lnTo>
                  <a:lnTo>
                    <a:pt x="590" y="13"/>
                  </a:lnTo>
                  <a:lnTo>
                    <a:pt x="592" y="13"/>
                  </a:lnTo>
                  <a:lnTo>
                    <a:pt x="593" y="15"/>
                  </a:lnTo>
                  <a:lnTo>
                    <a:pt x="593" y="13"/>
                  </a:lnTo>
                  <a:lnTo>
                    <a:pt x="595" y="13"/>
                  </a:lnTo>
                  <a:lnTo>
                    <a:pt x="595" y="15"/>
                  </a:lnTo>
                  <a:lnTo>
                    <a:pt x="596" y="15"/>
                  </a:lnTo>
                  <a:lnTo>
                    <a:pt x="596" y="13"/>
                  </a:lnTo>
                  <a:lnTo>
                    <a:pt x="596" y="11"/>
                  </a:lnTo>
                  <a:lnTo>
                    <a:pt x="598" y="11"/>
                  </a:lnTo>
                  <a:lnTo>
                    <a:pt x="598" y="13"/>
                  </a:lnTo>
                  <a:lnTo>
                    <a:pt x="600" y="13"/>
                  </a:lnTo>
                  <a:lnTo>
                    <a:pt x="598" y="15"/>
                  </a:lnTo>
                  <a:lnTo>
                    <a:pt x="600" y="16"/>
                  </a:lnTo>
                  <a:lnTo>
                    <a:pt x="600" y="18"/>
                  </a:lnTo>
                  <a:lnTo>
                    <a:pt x="601" y="19"/>
                  </a:lnTo>
                  <a:lnTo>
                    <a:pt x="601" y="21"/>
                  </a:lnTo>
                  <a:lnTo>
                    <a:pt x="605" y="21"/>
                  </a:lnTo>
                  <a:lnTo>
                    <a:pt x="605" y="23"/>
                  </a:lnTo>
                  <a:lnTo>
                    <a:pt x="606" y="23"/>
                  </a:lnTo>
                  <a:lnTo>
                    <a:pt x="606" y="24"/>
                  </a:lnTo>
                  <a:lnTo>
                    <a:pt x="608" y="24"/>
                  </a:lnTo>
                  <a:lnTo>
                    <a:pt x="608" y="26"/>
                  </a:lnTo>
                  <a:lnTo>
                    <a:pt x="608" y="28"/>
                  </a:lnTo>
                  <a:lnTo>
                    <a:pt x="608" y="29"/>
                  </a:lnTo>
                  <a:lnTo>
                    <a:pt x="608" y="28"/>
                  </a:lnTo>
                  <a:lnTo>
                    <a:pt x="609" y="28"/>
                  </a:lnTo>
                  <a:lnTo>
                    <a:pt x="609" y="26"/>
                  </a:lnTo>
                  <a:lnTo>
                    <a:pt x="611" y="26"/>
                  </a:lnTo>
                  <a:lnTo>
                    <a:pt x="611" y="28"/>
                  </a:lnTo>
                  <a:lnTo>
                    <a:pt x="611" y="29"/>
                  </a:lnTo>
                  <a:lnTo>
                    <a:pt x="613" y="29"/>
                  </a:lnTo>
                  <a:lnTo>
                    <a:pt x="614" y="29"/>
                  </a:lnTo>
                  <a:lnTo>
                    <a:pt x="614" y="31"/>
                  </a:lnTo>
                  <a:lnTo>
                    <a:pt x="614" y="32"/>
                  </a:lnTo>
                  <a:lnTo>
                    <a:pt x="614" y="34"/>
                  </a:lnTo>
                  <a:lnTo>
                    <a:pt x="616" y="34"/>
                  </a:lnTo>
                  <a:lnTo>
                    <a:pt x="618" y="34"/>
                  </a:lnTo>
                  <a:lnTo>
                    <a:pt x="618" y="36"/>
                  </a:lnTo>
                  <a:lnTo>
                    <a:pt x="616" y="39"/>
                  </a:lnTo>
                  <a:lnTo>
                    <a:pt x="618" y="39"/>
                  </a:lnTo>
                  <a:lnTo>
                    <a:pt x="621" y="41"/>
                  </a:lnTo>
                  <a:lnTo>
                    <a:pt x="621" y="42"/>
                  </a:lnTo>
                  <a:lnTo>
                    <a:pt x="622" y="44"/>
                  </a:lnTo>
                  <a:lnTo>
                    <a:pt x="624" y="49"/>
                  </a:lnTo>
                  <a:lnTo>
                    <a:pt x="626" y="49"/>
                  </a:lnTo>
                  <a:lnTo>
                    <a:pt x="627" y="49"/>
                  </a:lnTo>
                  <a:lnTo>
                    <a:pt x="627" y="50"/>
                  </a:lnTo>
                  <a:lnTo>
                    <a:pt x="626" y="50"/>
                  </a:lnTo>
                  <a:lnTo>
                    <a:pt x="626" y="52"/>
                  </a:lnTo>
                  <a:lnTo>
                    <a:pt x="627" y="52"/>
                  </a:lnTo>
                  <a:lnTo>
                    <a:pt x="627" y="54"/>
                  </a:lnTo>
                  <a:lnTo>
                    <a:pt x="627" y="55"/>
                  </a:lnTo>
                  <a:lnTo>
                    <a:pt x="629" y="55"/>
                  </a:lnTo>
                  <a:lnTo>
                    <a:pt x="631" y="55"/>
                  </a:lnTo>
                  <a:lnTo>
                    <a:pt x="631" y="57"/>
                  </a:lnTo>
                  <a:lnTo>
                    <a:pt x="632" y="59"/>
                  </a:lnTo>
                  <a:lnTo>
                    <a:pt x="634" y="59"/>
                  </a:lnTo>
                  <a:lnTo>
                    <a:pt x="634" y="60"/>
                  </a:lnTo>
                  <a:lnTo>
                    <a:pt x="635" y="60"/>
                  </a:lnTo>
                  <a:lnTo>
                    <a:pt x="634" y="60"/>
                  </a:lnTo>
                  <a:lnTo>
                    <a:pt x="634" y="62"/>
                  </a:lnTo>
                  <a:lnTo>
                    <a:pt x="634" y="63"/>
                  </a:lnTo>
                  <a:lnTo>
                    <a:pt x="635" y="63"/>
                  </a:lnTo>
                  <a:lnTo>
                    <a:pt x="634" y="63"/>
                  </a:lnTo>
                  <a:lnTo>
                    <a:pt x="632" y="63"/>
                  </a:lnTo>
                  <a:lnTo>
                    <a:pt x="632" y="65"/>
                  </a:lnTo>
                  <a:lnTo>
                    <a:pt x="634" y="65"/>
                  </a:lnTo>
                  <a:lnTo>
                    <a:pt x="634" y="67"/>
                  </a:lnTo>
                  <a:lnTo>
                    <a:pt x="635" y="67"/>
                  </a:lnTo>
                  <a:lnTo>
                    <a:pt x="635" y="68"/>
                  </a:lnTo>
                  <a:lnTo>
                    <a:pt x="635" y="70"/>
                  </a:lnTo>
                  <a:lnTo>
                    <a:pt x="637" y="70"/>
                  </a:lnTo>
                  <a:lnTo>
                    <a:pt x="637" y="72"/>
                  </a:lnTo>
                  <a:lnTo>
                    <a:pt x="639" y="72"/>
                  </a:lnTo>
                  <a:lnTo>
                    <a:pt x="639" y="73"/>
                  </a:lnTo>
                  <a:lnTo>
                    <a:pt x="640" y="73"/>
                  </a:lnTo>
                  <a:lnTo>
                    <a:pt x="640" y="75"/>
                  </a:lnTo>
                  <a:lnTo>
                    <a:pt x="642" y="75"/>
                  </a:lnTo>
                  <a:lnTo>
                    <a:pt x="642" y="76"/>
                  </a:lnTo>
                  <a:lnTo>
                    <a:pt x="645" y="76"/>
                  </a:lnTo>
                  <a:lnTo>
                    <a:pt x="645" y="78"/>
                  </a:lnTo>
                  <a:lnTo>
                    <a:pt x="647" y="78"/>
                  </a:lnTo>
                  <a:lnTo>
                    <a:pt x="647" y="80"/>
                  </a:lnTo>
                  <a:lnTo>
                    <a:pt x="648" y="80"/>
                  </a:lnTo>
                  <a:lnTo>
                    <a:pt x="650" y="80"/>
                  </a:lnTo>
                  <a:lnTo>
                    <a:pt x="650" y="81"/>
                  </a:lnTo>
                  <a:lnTo>
                    <a:pt x="652" y="80"/>
                  </a:lnTo>
                  <a:lnTo>
                    <a:pt x="653" y="80"/>
                  </a:lnTo>
                  <a:lnTo>
                    <a:pt x="653" y="81"/>
                  </a:lnTo>
                  <a:lnTo>
                    <a:pt x="652" y="81"/>
                  </a:lnTo>
                  <a:lnTo>
                    <a:pt x="652" y="83"/>
                  </a:lnTo>
                  <a:lnTo>
                    <a:pt x="653" y="83"/>
                  </a:lnTo>
                  <a:lnTo>
                    <a:pt x="653" y="85"/>
                  </a:lnTo>
                  <a:lnTo>
                    <a:pt x="655" y="85"/>
                  </a:lnTo>
                  <a:lnTo>
                    <a:pt x="655" y="86"/>
                  </a:lnTo>
                  <a:lnTo>
                    <a:pt x="657" y="86"/>
                  </a:lnTo>
                  <a:lnTo>
                    <a:pt x="657" y="88"/>
                  </a:lnTo>
                  <a:lnTo>
                    <a:pt x="658" y="88"/>
                  </a:lnTo>
                  <a:lnTo>
                    <a:pt x="658" y="89"/>
                  </a:lnTo>
                  <a:lnTo>
                    <a:pt x="658" y="91"/>
                  </a:lnTo>
                  <a:lnTo>
                    <a:pt x="660" y="91"/>
                  </a:lnTo>
                  <a:lnTo>
                    <a:pt x="660" y="93"/>
                  </a:lnTo>
                  <a:lnTo>
                    <a:pt x="661" y="93"/>
                  </a:lnTo>
                  <a:lnTo>
                    <a:pt x="663" y="93"/>
                  </a:lnTo>
                  <a:lnTo>
                    <a:pt x="661" y="93"/>
                  </a:lnTo>
                  <a:lnTo>
                    <a:pt x="663" y="93"/>
                  </a:lnTo>
                  <a:lnTo>
                    <a:pt x="663" y="91"/>
                  </a:lnTo>
                  <a:lnTo>
                    <a:pt x="665" y="91"/>
                  </a:lnTo>
                  <a:lnTo>
                    <a:pt x="665" y="93"/>
                  </a:lnTo>
                  <a:lnTo>
                    <a:pt x="665" y="94"/>
                  </a:lnTo>
                  <a:lnTo>
                    <a:pt x="665" y="93"/>
                  </a:lnTo>
                  <a:lnTo>
                    <a:pt x="666" y="93"/>
                  </a:lnTo>
                  <a:lnTo>
                    <a:pt x="666" y="91"/>
                  </a:lnTo>
                  <a:lnTo>
                    <a:pt x="666" y="93"/>
                  </a:lnTo>
                  <a:lnTo>
                    <a:pt x="668" y="93"/>
                  </a:lnTo>
                  <a:lnTo>
                    <a:pt x="670" y="94"/>
                  </a:lnTo>
                  <a:lnTo>
                    <a:pt x="670" y="93"/>
                  </a:lnTo>
                  <a:lnTo>
                    <a:pt x="670" y="94"/>
                  </a:lnTo>
                  <a:lnTo>
                    <a:pt x="671" y="94"/>
                  </a:lnTo>
                  <a:lnTo>
                    <a:pt x="671" y="96"/>
                  </a:lnTo>
                  <a:lnTo>
                    <a:pt x="670" y="96"/>
                  </a:lnTo>
                  <a:lnTo>
                    <a:pt x="670" y="98"/>
                  </a:lnTo>
                  <a:lnTo>
                    <a:pt x="670" y="99"/>
                  </a:lnTo>
                  <a:lnTo>
                    <a:pt x="671" y="99"/>
                  </a:lnTo>
                  <a:lnTo>
                    <a:pt x="673" y="101"/>
                  </a:lnTo>
                  <a:lnTo>
                    <a:pt x="673" y="102"/>
                  </a:lnTo>
                  <a:lnTo>
                    <a:pt x="673" y="104"/>
                  </a:lnTo>
                  <a:lnTo>
                    <a:pt x="673" y="106"/>
                  </a:lnTo>
                  <a:lnTo>
                    <a:pt x="673" y="107"/>
                  </a:lnTo>
                  <a:lnTo>
                    <a:pt x="673" y="106"/>
                  </a:lnTo>
                  <a:lnTo>
                    <a:pt x="675" y="106"/>
                  </a:lnTo>
                  <a:lnTo>
                    <a:pt x="673" y="107"/>
                  </a:lnTo>
                  <a:lnTo>
                    <a:pt x="675" y="107"/>
                  </a:lnTo>
                  <a:lnTo>
                    <a:pt x="676" y="107"/>
                  </a:lnTo>
                  <a:lnTo>
                    <a:pt x="676" y="106"/>
                  </a:lnTo>
                  <a:lnTo>
                    <a:pt x="676" y="107"/>
                  </a:lnTo>
                  <a:lnTo>
                    <a:pt x="676" y="109"/>
                  </a:lnTo>
                  <a:lnTo>
                    <a:pt x="678" y="109"/>
                  </a:lnTo>
                  <a:lnTo>
                    <a:pt x="678" y="111"/>
                  </a:lnTo>
                  <a:lnTo>
                    <a:pt x="678" y="112"/>
                  </a:lnTo>
                  <a:lnTo>
                    <a:pt x="676" y="112"/>
                  </a:lnTo>
                  <a:lnTo>
                    <a:pt x="678" y="112"/>
                  </a:lnTo>
                  <a:lnTo>
                    <a:pt x="676" y="112"/>
                  </a:lnTo>
                  <a:lnTo>
                    <a:pt x="678" y="114"/>
                  </a:lnTo>
                  <a:lnTo>
                    <a:pt x="678" y="112"/>
                  </a:lnTo>
                  <a:lnTo>
                    <a:pt x="679" y="112"/>
                  </a:lnTo>
                  <a:lnTo>
                    <a:pt x="678" y="112"/>
                  </a:lnTo>
                  <a:lnTo>
                    <a:pt x="678" y="114"/>
                  </a:lnTo>
                  <a:lnTo>
                    <a:pt x="679" y="112"/>
                  </a:lnTo>
                  <a:lnTo>
                    <a:pt x="681" y="114"/>
                  </a:lnTo>
                  <a:lnTo>
                    <a:pt x="681" y="115"/>
                  </a:lnTo>
                  <a:lnTo>
                    <a:pt x="683" y="115"/>
                  </a:lnTo>
                  <a:lnTo>
                    <a:pt x="683" y="114"/>
                  </a:lnTo>
                  <a:lnTo>
                    <a:pt x="684" y="114"/>
                  </a:lnTo>
                  <a:lnTo>
                    <a:pt x="686" y="114"/>
                  </a:lnTo>
                  <a:lnTo>
                    <a:pt x="686" y="112"/>
                  </a:lnTo>
                  <a:lnTo>
                    <a:pt x="686" y="114"/>
                  </a:lnTo>
                  <a:lnTo>
                    <a:pt x="686" y="115"/>
                  </a:lnTo>
                  <a:lnTo>
                    <a:pt x="688" y="115"/>
                  </a:lnTo>
                  <a:lnTo>
                    <a:pt x="689" y="115"/>
                  </a:lnTo>
                  <a:lnTo>
                    <a:pt x="688" y="114"/>
                  </a:lnTo>
                  <a:lnTo>
                    <a:pt x="689" y="114"/>
                  </a:lnTo>
                  <a:lnTo>
                    <a:pt x="691" y="114"/>
                  </a:lnTo>
                  <a:lnTo>
                    <a:pt x="692" y="115"/>
                  </a:lnTo>
                  <a:lnTo>
                    <a:pt x="694" y="115"/>
                  </a:lnTo>
                  <a:lnTo>
                    <a:pt x="692" y="117"/>
                  </a:lnTo>
                  <a:lnTo>
                    <a:pt x="694" y="117"/>
                  </a:lnTo>
                  <a:lnTo>
                    <a:pt x="694" y="119"/>
                  </a:lnTo>
                  <a:lnTo>
                    <a:pt x="694" y="120"/>
                  </a:lnTo>
                  <a:lnTo>
                    <a:pt x="696" y="120"/>
                  </a:lnTo>
                  <a:lnTo>
                    <a:pt x="696" y="122"/>
                  </a:lnTo>
                  <a:lnTo>
                    <a:pt x="697" y="122"/>
                  </a:lnTo>
                  <a:lnTo>
                    <a:pt x="697" y="124"/>
                  </a:lnTo>
                  <a:lnTo>
                    <a:pt x="699" y="124"/>
                  </a:lnTo>
                  <a:lnTo>
                    <a:pt x="699" y="125"/>
                  </a:lnTo>
                  <a:lnTo>
                    <a:pt x="699" y="127"/>
                  </a:lnTo>
                  <a:lnTo>
                    <a:pt x="701" y="127"/>
                  </a:lnTo>
                  <a:lnTo>
                    <a:pt x="701" y="128"/>
                  </a:lnTo>
                  <a:lnTo>
                    <a:pt x="701" y="130"/>
                  </a:lnTo>
                  <a:lnTo>
                    <a:pt x="702" y="130"/>
                  </a:lnTo>
                  <a:lnTo>
                    <a:pt x="702" y="132"/>
                  </a:lnTo>
                  <a:lnTo>
                    <a:pt x="701" y="132"/>
                  </a:lnTo>
                  <a:lnTo>
                    <a:pt x="701" y="133"/>
                  </a:lnTo>
                  <a:lnTo>
                    <a:pt x="702" y="132"/>
                  </a:lnTo>
                  <a:lnTo>
                    <a:pt x="702" y="133"/>
                  </a:lnTo>
                  <a:lnTo>
                    <a:pt x="701" y="133"/>
                  </a:lnTo>
                  <a:lnTo>
                    <a:pt x="702" y="133"/>
                  </a:lnTo>
                  <a:lnTo>
                    <a:pt x="704" y="133"/>
                  </a:lnTo>
                  <a:lnTo>
                    <a:pt x="705" y="133"/>
                  </a:lnTo>
                  <a:lnTo>
                    <a:pt x="707" y="133"/>
                  </a:lnTo>
                  <a:lnTo>
                    <a:pt x="707" y="135"/>
                  </a:lnTo>
                  <a:lnTo>
                    <a:pt x="705" y="135"/>
                  </a:lnTo>
                  <a:lnTo>
                    <a:pt x="705" y="137"/>
                  </a:lnTo>
                  <a:lnTo>
                    <a:pt x="707" y="137"/>
                  </a:lnTo>
                  <a:lnTo>
                    <a:pt x="709" y="137"/>
                  </a:lnTo>
                  <a:lnTo>
                    <a:pt x="709" y="138"/>
                  </a:lnTo>
                  <a:lnTo>
                    <a:pt x="710" y="137"/>
                  </a:lnTo>
                  <a:lnTo>
                    <a:pt x="712" y="138"/>
                  </a:lnTo>
                  <a:lnTo>
                    <a:pt x="714" y="140"/>
                  </a:lnTo>
                  <a:lnTo>
                    <a:pt x="714" y="141"/>
                  </a:lnTo>
                  <a:lnTo>
                    <a:pt x="715" y="140"/>
                  </a:lnTo>
                  <a:lnTo>
                    <a:pt x="715" y="141"/>
                  </a:lnTo>
                  <a:lnTo>
                    <a:pt x="717" y="141"/>
                  </a:lnTo>
                  <a:lnTo>
                    <a:pt x="718" y="141"/>
                  </a:lnTo>
                  <a:lnTo>
                    <a:pt x="720" y="141"/>
                  </a:lnTo>
                  <a:lnTo>
                    <a:pt x="718" y="143"/>
                  </a:lnTo>
                  <a:lnTo>
                    <a:pt x="720" y="143"/>
                  </a:lnTo>
                  <a:lnTo>
                    <a:pt x="722" y="143"/>
                  </a:lnTo>
                  <a:lnTo>
                    <a:pt x="720" y="143"/>
                  </a:lnTo>
                  <a:lnTo>
                    <a:pt x="722" y="143"/>
                  </a:lnTo>
                  <a:lnTo>
                    <a:pt x="723" y="143"/>
                  </a:lnTo>
                  <a:lnTo>
                    <a:pt x="723" y="145"/>
                  </a:lnTo>
                  <a:lnTo>
                    <a:pt x="723" y="143"/>
                  </a:lnTo>
                  <a:lnTo>
                    <a:pt x="725" y="143"/>
                  </a:lnTo>
                  <a:lnTo>
                    <a:pt x="725" y="145"/>
                  </a:lnTo>
                  <a:lnTo>
                    <a:pt x="727" y="145"/>
                  </a:lnTo>
                  <a:lnTo>
                    <a:pt x="728" y="145"/>
                  </a:lnTo>
                  <a:lnTo>
                    <a:pt x="728" y="143"/>
                  </a:lnTo>
                  <a:lnTo>
                    <a:pt x="730" y="145"/>
                  </a:lnTo>
                  <a:lnTo>
                    <a:pt x="731" y="145"/>
                  </a:lnTo>
                  <a:lnTo>
                    <a:pt x="730" y="145"/>
                  </a:lnTo>
                  <a:lnTo>
                    <a:pt x="728" y="146"/>
                  </a:lnTo>
                  <a:lnTo>
                    <a:pt x="730" y="146"/>
                  </a:lnTo>
                  <a:lnTo>
                    <a:pt x="731" y="148"/>
                  </a:lnTo>
                  <a:lnTo>
                    <a:pt x="731" y="146"/>
                  </a:lnTo>
                  <a:lnTo>
                    <a:pt x="731" y="148"/>
                  </a:lnTo>
                  <a:lnTo>
                    <a:pt x="735" y="148"/>
                  </a:lnTo>
                  <a:lnTo>
                    <a:pt x="735" y="150"/>
                  </a:lnTo>
                  <a:lnTo>
                    <a:pt x="735" y="148"/>
                  </a:lnTo>
                  <a:lnTo>
                    <a:pt x="735" y="150"/>
                  </a:lnTo>
                  <a:lnTo>
                    <a:pt x="736" y="150"/>
                  </a:lnTo>
                  <a:lnTo>
                    <a:pt x="735" y="150"/>
                  </a:lnTo>
                  <a:lnTo>
                    <a:pt x="735" y="151"/>
                  </a:lnTo>
                  <a:lnTo>
                    <a:pt x="736" y="153"/>
                  </a:lnTo>
                  <a:lnTo>
                    <a:pt x="736" y="154"/>
                  </a:lnTo>
                  <a:lnTo>
                    <a:pt x="736" y="153"/>
                  </a:lnTo>
                  <a:lnTo>
                    <a:pt x="738" y="153"/>
                  </a:lnTo>
                  <a:lnTo>
                    <a:pt x="738" y="154"/>
                  </a:lnTo>
                  <a:lnTo>
                    <a:pt x="736" y="154"/>
                  </a:lnTo>
                  <a:lnTo>
                    <a:pt x="736" y="156"/>
                  </a:lnTo>
                  <a:lnTo>
                    <a:pt x="736" y="154"/>
                  </a:lnTo>
                  <a:lnTo>
                    <a:pt x="736" y="156"/>
                  </a:lnTo>
                  <a:lnTo>
                    <a:pt x="738" y="156"/>
                  </a:lnTo>
                  <a:lnTo>
                    <a:pt x="740" y="156"/>
                  </a:lnTo>
                  <a:lnTo>
                    <a:pt x="740" y="159"/>
                  </a:lnTo>
                  <a:lnTo>
                    <a:pt x="738" y="159"/>
                  </a:lnTo>
                  <a:lnTo>
                    <a:pt x="738" y="161"/>
                  </a:lnTo>
                  <a:lnTo>
                    <a:pt x="740" y="161"/>
                  </a:lnTo>
                  <a:lnTo>
                    <a:pt x="741" y="161"/>
                  </a:lnTo>
                  <a:lnTo>
                    <a:pt x="741" y="163"/>
                  </a:lnTo>
                  <a:lnTo>
                    <a:pt x="741" y="164"/>
                  </a:lnTo>
                  <a:lnTo>
                    <a:pt x="740" y="164"/>
                  </a:lnTo>
                  <a:lnTo>
                    <a:pt x="741" y="164"/>
                  </a:lnTo>
                  <a:lnTo>
                    <a:pt x="741" y="166"/>
                  </a:lnTo>
                  <a:lnTo>
                    <a:pt x="743" y="166"/>
                  </a:lnTo>
                  <a:lnTo>
                    <a:pt x="743" y="167"/>
                  </a:lnTo>
                  <a:lnTo>
                    <a:pt x="741" y="167"/>
                  </a:lnTo>
                  <a:lnTo>
                    <a:pt x="743" y="169"/>
                  </a:lnTo>
                  <a:lnTo>
                    <a:pt x="743" y="171"/>
                  </a:lnTo>
                  <a:lnTo>
                    <a:pt x="744" y="171"/>
                  </a:lnTo>
                  <a:lnTo>
                    <a:pt x="744" y="172"/>
                  </a:lnTo>
                  <a:lnTo>
                    <a:pt x="746" y="172"/>
                  </a:lnTo>
                  <a:lnTo>
                    <a:pt x="748" y="174"/>
                  </a:lnTo>
                  <a:lnTo>
                    <a:pt x="748" y="172"/>
                  </a:lnTo>
                  <a:lnTo>
                    <a:pt x="748" y="174"/>
                  </a:lnTo>
                  <a:lnTo>
                    <a:pt x="749" y="176"/>
                  </a:lnTo>
                  <a:lnTo>
                    <a:pt x="749" y="174"/>
                  </a:lnTo>
                  <a:lnTo>
                    <a:pt x="748" y="174"/>
                  </a:lnTo>
                  <a:lnTo>
                    <a:pt x="749" y="174"/>
                  </a:lnTo>
                  <a:lnTo>
                    <a:pt x="749" y="176"/>
                  </a:lnTo>
                  <a:lnTo>
                    <a:pt x="751" y="176"/>
                  </a:lnTo>
                  <a:lnTo>
                    <a:pt x="749" y="176"/>
                  </a:lnTo>
                  <a:lnTo>
                    <a:pt x="749" y="177"/>
                  </a:lnTo>
                  <a:lnTo>
                    <a:pt x="751" y="177"/>
                  </a:lnTo>
                  <a:lnTo>
                    <a:pt x="751" y="179"/>
                  </a:lnTo>
                  <a:lnTo>
                    <a:pt x="751" y="177"/>
                  </a:lnTo>
                  <a:lnTo>
                    <a:pt x="751" y="179"/>
                  </a:lnTo>
                  <a:lnTo>
                    <a:pt x="751" y="181"/>
                  </a:lnTo>
                  <a:lnTo>
                    <a:pt x="753" y="179"/>
                  </a:lnTo>
                  <a:lnTo>
                    <a:pt x="753" y="181"/>
                  </a:lnTo>
                  <a:lnTo>
                    <a:pt x="751" y="181"/>
                  </a:lnTo>
                  <a:lnTo>
                    <a:pt x="753" y="182"/>
                  </a:lnTo>
                  <a:lnTo>
                    <a:pt x="753" y="181"/>
                  </a:lnTo>
                  <a:lnTo>
                    <a:pt x="754" y="182"/>
                  </a:lnTo>
                  <a:lnTo>
                    <a:pt x="753" y="182"/>
                  </a:lnTo>
                  <a:lnTo>
                    <a:pt x="754" y="182"/>
                  </a:lnTo>
                  <a:lnTo>
                    <a:pt x="754" y="184"/>
                  </a:lnTo>
                  <a:lnTo>
                    <a:pt x="754" y="182"/>
                  </a:lnTo>
                  <a:lnTo>
                    <a:pt x="754" y="184"/>
                  </a:lnTo>
                  <a:lnTo>
                    <a:pt x="756" y="184"/>
                  </a:lnTo>
                  <a:lnTo>
                    <a:pt x="756" y="185"/>
                  </a:lnTo>
                  <a:lnTo>
                    <a:pt x="757" y="185"/>
                  </a:lnTo>
                  <a:lnTo>
                    <a:pt x="757" y="187"/>
                  </a:lnTo>
                  <a:lnTo>
                    <a:pt x="756" y="187"/>
                  </a:lnTo>
                  <a:lnTo>
                    <a:pt x="757" y="189"/>
                  </a:lnTo>
                  <a:lnTo>
                    <a:pt x="757" y="187"/>
                  </a:lnTo>
                  <a:lnTo>
                    <a:pt x="759" y="189"/>
                  </a:lnTo>
                  <a:lnTo>
                    <a:pt x="759" y="187"/>
                  </a:lnTo>
                  <a:lnTo>
                    <a:pt x="759" y="189"/>
                  </a:lnTo>
                  <a:lnTo>
                    <a:pt x="761" y="189"/>
                  </a:lnTo>
                  <a:lnTo>
                    <a:pt x="761" y="190"/>
                  </a:lnTo>
                  <a:lnTo>
                    <a:pt x="759" y="190"/>
                  </a:lnTo>
                  <a:lnTo>
                    <a:pt x="761" y="192"/>
                  </a:lnTo>
                  <a:lnTo>
                    <a:pt x="762" y="194"/>
                  </a:lnTo>
                  <a:lnTo>
                    <a:pt x="761" y="195"/>
                  </a:lnTo>
                  <a:lnTo>
                    <a:pt x="762" y="195"/>
                  </a:lnTo>
                  <a:lnTo>
                    <a:pt x="762" y="197"/>
                  </a:lnTo>
                  <a:lnTo>
                    <a:pt x="762" y="198"/>
                  </a:lnTo>
                  <a:lnTo>
                    <a:pt x="764" y="198"/>
                  </a:lnTo>
                  <a:lnTo>
                    <a:pt x="762" y="198"/>
                  </a:lnTo>
                  <a:lnTo>
                    <a:pt x="762" y="200"/>
                  </a:lnTo>
                  <a:lnTo>
                    <a:pt x="762" y="202"/>
                  </a:lnTo>
                  <a:lnTo>
                    <a:pt x="761" y="202"/>
                  </a:lnTo>
                  <a:lnTo>
                    <a:pt x="762" y="203"/>
                  </a:lnTo>
                  <a:lnTo>
                    <a:pt x="762" y="205"/>
                  </a:lnTo>
                  <a:lnTo>
                    <a:pt x="764" y="205"/>
                  </a:lnTo>
                  <a:lnTo>
                    <a:pt x="764" y="207"/>
                  </a:lnTo>
                  <a:lnTo>
                    <a:pt x="762" y="205"/>
                  </a:lnTo>
                  <a:lnTo>
                    <a:pt x="762" y="207"/>
                  </a:lnTo>
                  <a:lnTo>
                    <a:pt x="762" y="208"/>
                  </a:lnTo>
                  <a:lnTo>
                    <a:pt x="764" y="208"/>
                  </a:lnTo>
                  <a:lnTo>
                    <a:pt x="764" y="210"/>
                  </a:lnTo>
                  <a:lnTo>
                    <a:pt x="764" y="208"/>
                  </a:lnTo>
                  <a:lnTo>
                    <a:pt x="764" y="210"/>
                  </a:lnTo>
                  <a:lnTo>
                    <a:pt x="762" y="210"/>
                  </a:lnTo>
                  <a:lnTo>
                    <a:pt x="764" y="211"/>
                  </a:lnTo>
                  <a:lnTo>
                    <a:pt x="762" y="211"/>
                  </a:lnTo>
                  <a:lnTo>
                    <a:pt x="762" y="213"/>
                  </a:lnTo>
                  <a:lnTo>
                    <a:pt x="764" y="213"/>
                  </a:lnTo>
                  <a:lnTo>
                    <a:pt x="762" y="213"/>
                  </a:lnTo>
                  <a:lnTo>
                    <a:pt x="764" y="213"/>
                  </a:lnTo>
                  <a:lnTo>
                    <a:pt x="766" y="213"/>
                  </a:lnTo>
                  <a:lnTo>
                    <a:pt x="766" y="215"/>
                  </a:lnTo>
                  <a:lnTo>
                    <a:pt x="766" y="216"/>
                  </a:lnTo>
                  <a:lnTo>
                    <a:pt x="767" y="216"/>
                  </a:lnTo>
                  <a:lnTo>
                    <a:pt x="767" y="218"/>
                  </a:lnTo>
                  <a:lnTo>
                    <a:pt x="769" y="218"/>
                  </a:lnTo>
                  <a:lnTo>
                    <a:pt x="767" y="220"/>
                  </a:lnTo>
                  <a:lnTo>
                    <a:pt x="769" y="220"/>
                  </a:lnTo>
                  <a:lnTo>
                    <a:pt x="770" y="221"/>
                  </a:lnTo>
                  <a:lnTo>
                    <a:pt x="769" y="221"/>
                  </a:lnTo>
                  <a:lnTo>
                    <a:pt x="770" y="223"/>
                  </a:lnTo>
                  <a:lnTo>
                    <a:pt x="769" y="223"/>
                  </a:lnTo>
                  <a:lnTo>
                    <a:pt x="769" y="224"/>
                  </a:lnTo>
                  <a:lnTo>
                    <a:pt x="767" y="224"/>
                  </a:lnTo>
                  <a:lnTo>
                    <a:pt x="767" y="226"/>
                  </a:lnTo>
                  <a:lnTo>
                    <a:pt x="769" y="226"/>
                  </a:lnTo>
                  <a:lnTo>
                    <a:pt x="767" y="226"/>
                  </a:lnTo>
                  <a:lnTo>
                    <a:pt x="767" y="228"/>
                  </a:lnTo>
                  <a:lnTo>
                    <a:pt x="769" y="228"/>
                  </a:lnTo>
                  <a:lnTo>
                    <a:pt x="769" y="226"/>
                  </a:lnTo>
                  <a:lnTo>
                    <a:pt x="769" y="228"/>
                  </a:lnTo>
                  <a:lnTo>
                    <a:pt x="767" y="228"/>
                  </a:lnTo>
                  <a:lnTo>
                    <a:pt x="767" y="229"/>
                  </a:lnTo>
                  <a:lnTo>
                    <a:pt x="767" y="231"/>
                  </a:lnTo>
                  <a:lnTo>
                    <a:pt x="766" y="231"/>
                  </a:lnTo>
                  <a:lnTo>
                    <a:pt x="766" y="233"/>
                  </a:lnTo>
                  <a:lnTo>
                    <a:pt x="767" y="233"/>
                  </a:lnTo>
                  <a:lnTo>
                    <a:pt x="766" y="233"/>
                  </a:lnTo>
                  <a:lnTo>
                    <a:pt x="767" y="234"/>
                  </a:lnTo>
                  <a:lnTo>
                    <a:pt x="767" y="233"/>
                  </a:lnTo>
                  <a:lnTo>
                    <a:pt x="767" y="234"/>
                  </a:lnTo>
                  <a:lnTo>
                    <a:pt x="766" y="234"/>
                  </a:lnTo>
                  <a:lnTo>
                    <a:pt x="767" y="234"/>
                  </a:lnTo>
                  <a:lnTo>
                    <a:pt x="766" y="234"/>
                  </a:lnTo>
                  <a:lnTo>
                    <a:pt x="766" y="236"/>
                  </a:lnTo>
                  <a:lnTo>
                    <a:pt x="767" y="236"/>
                  </a:lnTo>
                  <a:lnTo>
                    <a:pt x="767" y="237"/>
                  </a:lnTo>
                  <a:lnTo>
                    <a:pt x="766" y="237"/>
                  </a:lnTo>
                  <a:lnTo>
                    <a:pt x="767" y="237"/>
                  </a:lnTo>
                  <a:lnTo>
                    <a:pt x="767" y="239"/>
                  </a:lnTo>
                  <a:lnTo>
                    <a:pt x="767" y="237"/>
                  </a:lnTo>
                  <a:lnTo>
                    <a:pt x="769" y="239"/>
                  </a:lnTo>
                  <a:lnTo>
                    <a:pt x="769" y="241"/>
                  </a:lnTo>
                  <a:lnTo>
                    <a:pt x="767" y="241"/>
                  </a:lnTo>
                  <a:lnTo>
                    <a:pt x="767" y="242"/>
                  </a:lnTo>
                  <a:lnTo>
                    <a:pt x="767" y="244"/>
                  </a:lnTo>
                  <a:lnTo>
                    <a:pt x="766" y="244"/>
                  </a:lnTo>
                  <a:lnTo>
                    <a:pt x="767" y="242"/>
                  </a:lnTo>
                  <a:lnTo>
                    <a:pt x="766" y="242"/>
                  </a:lnTo>
                  <a:lnTo>
                    <a:pt x="766" y="244"/>
                  </a:lnTo>
                  <a:lnTo>
                    <a:pt x="766" y="246"/>
                  </a:lnTo>
                  <a:lnTo>
                    <a:pt x="766" y="244"/>
                  </a:lnTo>
                  <a:lnTo>
                    <a:pt x="764" y="244"/>
                  </a:lnTo>
                  <a:lnTo>
                    <a:pt x="766" y="246"/>
                  </a:lnTo>
                  <a:lnTo>
                    <a:pt x="764" y="246"/>
                  </a:lnTo>
                  <a:lnTo>
                    <a:pt x="764" y="249"/>
                  </a:lnTo>
                  <a:lnTo>
                    <a:pt x="762" y="249"/>
                  </a:lnTo>
                  <a:lnTo>
                    <a:pt x="764" y="249"/>
                  </a:lnTo>
                  <a:lnTo>
                    <a:pt x="766" y="250"/>
                  </a:lnTo>
                  <a:lnTo>
                    <a:pt x="764" y="250"/>
                  </a:lnTo>
                  <a:lnTo>
                    <a:pt x="762" y="252"/>
                  </a:lnTo>
                  <a:lnTo>
                    <a:pt x="762" y="254"/>
                  </a:lnTo>
                  <a:lnTo>
                    <a:pt x="762" y="255"/>
                  </a:lnTo>
                  <a:lnTo>
                    <a:pt x="764" y="257"/>
                  </a:lnTo>
                  <a:lnTo>
                    <a:pt x="762" y="257"/>
                  </a:lnTo>
                  <a:lnTo>
                    <a:pt x="764" y="257"/>
                  </a:lnTo>
                  <a:lnTo>
                    <a:pt x="764" y="255"/>
                  </a:lnTo>
                  <a:lnTo>
                    <a:pt x="764" y="257"/>
                  </a:lnTo>
                  <a:lnTo>
                    <a:pt x="764" y="259"/>
                  </a:lnTo>
                  <a:lnTo>
                    <a:pt x="766" y="259"/>
                  </a:lnTo>
                  <a:lnTo>
                    <a:pt x="767" y="259"/>
                  </a:lnTo>
                  <a:lnTo>
                    <a:pt x="767" y="260"/>
                  </a:lnTo>
                  <a:lnTo>
                    <a:pt x="766" y="259"/>
                  </a:lnTo>
                  <a:lnTo>
                    <a:pt x="766" y="260"/>
                  </a:lnTo>
                  <a:lnTo>
                    <a:pt x="767" y="260"/>
                  </a:lnTo>
                  <a:lnTo>
                    <a:pt x="766" y="260"/>
                  </a:lnTo>
                  <a:lnTo>
                    <a:pt x="767" y="262"/>
                  </a:lnTo>
                  <a:lnTo>
                    <a:pt x="767" y="263"/>
                  </a:lnTo>
                  <a:lnTo>
                    <a:pt x="766" y="265"/>
                  </a:lnTo>
                  <a:lnTo>
                    <a:pt x="767" y="265"/>
                  </a:lnTo>
                  <a:lnTo>
                    <a:pt x="767" y="267"/>
                  </a:lnTo>
                  <a:lnTo>
                    <a:pt x="767" y="268"/>
                  </a:lnTo>
                  <a:lnTo>
                    <a:pt x="767" y="270"/>
                  </a:lnTo>
                  <a:lnTo>
                    <a:pt x="767" y="272"/>
                  </a:lnTo>
                  <a:lnTo>
                    <a:pt x="766" y="272"/>
                  </a:lnTo>
                  <a:lnTo>
                    <a:pt x="767" y="273"/>
                  </a:lnTo>
                  <a:lnTo>
                    <a:pt x="767" y="275"/>
                  </a:lnTo>
                  <a:lnTo>
                    <a:pt x="766" y="275"/>
                  </a:lnTo>
                  <a:lnTo>
                    <a:pt x="766" y="276"/>
                  </a:lnTo>
                  <a:lnTo>
                    <a:pt x="767" y="276"/>
                  </a:lnTo>
                  <a:lnTo>
                    <a:pt x="767" y="278"/>
                  </a:lnTo>
                  <a:lnTo>
                    <a:pt x="766" y="278"/>
                  </a:lnTo>
                  <a:lnTo>
                    <a:pt x="767" y="278"/>
                  </a:lnTo>
                  <a:lnTo>
                    <a:pt x="767" y="280"/>
                  </a:lnTo>
                  <a:lnTo>
                    <a:pt x="767" y="281"/>
                  </a:lnTo>
                  <a:lnTo>
                    <a:pt x="767" y="283"/>
                  </a:lnTo>
                  <a:lnTo>
                    <a:pt x="769" y="285"/>
                  </a:lnTo>
                  <a:lnTo>
                    <a:pt x="767" y="285"/>
                  </a:lnTo>
                  <a:lnTo>
                    <a:pt x="767" y="286"/>
                  </a:lnTo>
                  <a:lnTo>
                    <a:pt x="769" y="286"/>
                  </a:lnTo>
                  <a:lnTo>
                    <a:pt x="769" y="288"/>
                  </a:lnTo>
                  <a:lnTo>
                    <a:pt x="770" y="288"/>
                  </a:lnTo>
                  <a:lnTo>
                    <a:pt x="769" y="288"/>
                  </a:lnTo>
                  <a:lnTo>
                    <a:pt x="769" y="289"/>
                  </a:lnTo>
                  <a:lnTo>
                    <a:pt x="770" y="289"/>
                  </a:lnTo>
                  <a:lnTo>
                    <a:pt x="770" y="291"/>
                  </a:lnTo>
                  <a:lnTo>
                    <a:pt x="772" y="291"/>
                  </a:lnTo>
                  <a:lnTo>
                    <a:pt x="772" y="293"/>
                  </a:lnTo>
                  <a:lnTo>
                    <a:pt x="772" y="294"/>
                  </a:lnTo>
                  <a:lnTo>
                    <a:pt x="774" y="294"/>
                  </a:lnTo>
                  <a:lnTo>
                    <a:pt x="774" y="296"/>
                  </a:lnTo>
                  <a:lnTo>
                    <a:pt x="774" y="298"/>
                  </a:lnTo>
                  <a:lnTo>
                    <a:pt x="774" y="299"/>
                  </a:lnTo>
                  <a:lnTo>
                    <a:pt x="774" y="301"/>
                  </a:lnTo>
                  <a:lnTo>
                    <a:pt x="774" y="302"/>
                  </a:lnTo>
                  <a:lnTo>
                    <a:pt x="775" y="302"/>
                  </a:lnTo>
                  <a:lnTo>
                    <a:pt x="775" y="301"/>
                  </a:lnTo>
                  <a:lnTo>
                    <a:pt x="775" y="302"/>
                  </a:lnTo>
                  <a:lnTo>
                    <a:pt x="777" y="302"/>
                  </a:lnTo>
                  <a:lnTo>
                    <a:pt x="775" y="304"/>
                  </a:lnTo>
                  <a:lnTo>
                    <a:pt x="775" y="306"/>
                  </a:lnTo>
                  <a:lnTo>
                    <a:pt x="774" y="306"/>
                  </a:lnTo>
                  <a:lnTo>
                    <a:pt x="775" y="307"/>
                  </a:lnTo>
                  <a:lnTo>
                    <a:pt x="775" y="309"/>
                  </a:lnTo>
                  <a:lnTo>
                    <a:pt x="775" y="311"/>
                  </a:lnTo>
                  <a:lnTo>
                    <a:pt x="777" y="311"/>
                  </a:lnTo>
                  <a:lnTo>
                    <a:pt x="775" y="312"/>
                  </a:lnTo>
                  <a:lnTo>
                    <a:pt x="777" y="312"/>
                  </a:lnTo>
                  <a:lnTo>
                    <a:pt x="777" y="314"/>
                  </a:lnTo>
                  <a:lnTo>
                    <a:pt x="779" y="314"/>
                  </a:lnTo>
                  <a:lnTo>
                    <a:pt x="777" y="314"/>
                  </a:lnTo>
                  <a:lnTo>
                    <a:pt x="777" y="315"/>
                  </a:lnTo>
                  <a:lnTo>
                    <a:pt x="779" y="315"/>
                  </a:lnTo>
                  <a:lnTo>
                    <a:pt x="780" y="315"/>
                  </a:lnTo>
                  <a:lnTo>
                    <a:pt x="782" y="315"/>
                  </a:lnTo>
                  <a:lnTo>
                    <a:pt x="782" y="317"/>
                  </a:lnTo>
                  <a:lnTo>
                    <a:pt x="782" y="319"/>
                  </a:lnTo>
                  <a:lnTo>
                    <a:pt x="782" y="320"/>
                  </a:lnTo>
                  <a:lnTo>
                    <a:pt x="783" y="320"/>
                  </a:lnTo>
                  <a:lnTo>
                    <a:pt x="783" y="322"/>
                  </a:lnTo>
                  <a:lnTo>
                    <a:pt x="783" y="324"/>
                  </a:lnTo>
                  <a:lnTo>
                    <a:pt x="785" y="324"/>
                  </a:lnTo>
                  <a:lnTo>
                    <a:pt x="785" y="325"/>
                  </a:lnTo>
                  <a:lnTo>
                    <a:pt x="785" y="327"/>
                  </a:lnTo>
                  <a:lnTo>
                    <a:pt x="787" y="329"/>
                  </a:lnTo>
                  <a:lnTo>
                    <a:pt x="787" y="332"/>
                  </a:lnTo>
                  <a:lnTo>
                    <a:pt x="787" y="333"/>
                  </a:lnTo>
                  <a:lnTo>
                    <a:pt x="788" y="333"/>
                  </a:lnTo>
                  <a:lnTo>
                    <a:pt x="788" y="335"/>
                  </a:lnTo>
                  <a:lnTo>
                    <a:pt x="787" y="335"/>
                  </a:lnTo>
                  <a:lnTo>
                    <a:pt x="787" y="337"/>
                  </a:lnTo>
                  <a:lnTo>
                    <a:pt x="785" y="337"/>
                  </a:lnTo>
                  <a:lnTo>
                    <a:pt x="785" y="338"/>
                  </a:lnTo>
                  <a:lnTo>
                    <a:pt x="785" y="337"/>
                  </a:lnTo>
                  <a:lnTo>
                    <a:pt x="785" y="338"/>
                  </a:lnTo>
                  <a:lnTo>
                    <a:pt x="783" y="338"/>
                  </a:lnTo>
                  <a:lnTo>
                    <a:pt x="782" y="338"/>
                  </a:lnTo>
                  <a:lnTo>
                    <a:pt x="782" y="340"/>
                  </a:lnTo>
                  <a:lnTo>
                    <a:pt x="780" y="342"/>
                  </a:lnTo>
                  <a:lnTo>
                    <a:pt x="782" y="343"/>
                  </a:lnTo>
                  <a:lnTo>
                    <a:pt x="783" y="343"/>
                  </a:lnTo>
                  <a:lnTo>
                    <a:pt x="785" y="345"/>
                  </a:lnTo>
                  <a:lnTo>
                    <a:pt x="787" y="345"/>
                  </a:lnTo>
                  <a:lnTo>
                    <a:pt x="788" y="345"/>
                  </a:lnTo>
                  <a:lnTo>
                    <a:pt x="788" y="346"/>
                  </a:lnTo>
                  <a:lnTo>
                    <a:pt x="790" y="346"/>
                  </a:lnTo>
                  <a:lnTo>
                    <a:pt x="788" y="346"/>
                  </a:lnTo>
                  <a:lnTo>
                    <a:pt x="790" y="346"/>
                  </a:lnTo>
                  <a:lnTo>
                    <a:pt x="790" y="348"/>
                  </a:lnTo>
                  <a:lnTo>
                    <a:pt x="790" y="350"/>
                  </a:lnTo>
                  <a:lnTo>
                    <a:pt x="792" y="350"/>
                  </a:lnTo>
                  <a:lnTo>
                    <a:pt x="792" y="351"/>
                  </a:lnTo>
                  <a:lnTo>
                    <a:pt x="790" y="351"/>
                  </a:lnTo>
                  <a:lnTo>
                    <a:pt x="792" y="351"/>
                  </a:lnTo>
                  <a:lnTo>
                    <a:pt x="792" y="353"/>
                  </a:lnTo>
                  <a:lnTo>
                    <a:pt x="790" y="353"/>
                  </a:lnTo>
                  <a:lnTo>
                    <a:pt x="792" y="353"/>
                  </a:lnTo>
                  <a:lnTo>
                    <a:pt x="792" y="355"/>
                  </a:lnTo>
                  <a:lnTo>
                    <a:pt x="793" y="355"/>
                  </a:lnTo>
                  <a:lnTo>
                    <a:pt x="793" y="356"/>
                  </a:lnTo>
                  <a:lnTo>
                    <a:pt x="795" y="356"/>
                  </a:lnTo>
                  <a:lnTo>
                    <a:pt x="795" y="358"/>
                  </a:lnTo>
                  <a:lnTo>
                    <a:pt x="796" y="358"/>
                  </a:lnTo>
                  <a:lnTo>
                    <a:pt x="798" y="358"/>
                  </a:lnTo>
                  <a:lnTo>
                    <a:pt x="800" y="358"/>
                  </a:lnTo>
                  <a:lnTo>
                    <a:pt x="801" y="358"/>
                  </a:lnTo>
                  <a:lnTo>
                    <a:pt x="805" y="359"/>
                  </a:lnTo>
                  <a:lnTo>
                    <a:pt x="806" y="361"/>
                  </a:lnTo>
                  <a:lnTo>
                    <a:pt x="806" y="363"/>
                  </a:lnTo>
                  <a:lnTo>
                    <a:pt x="806" y="364"/>
                  </a:lnTo>
                  <a:lnTo>
                    <a:pt x="806" y="366"/>
                  </a:lnTo>
                  <a:lnTo>
                    <a:pt x="809" y="368"/>
                  </a:lnTo>
                  <a:lnTo>
                    <a:pt x="811" y="371"/>
                  </a:lnTo>
                  <a:lnTo>
                    <a:pt x="811" y="372"/>
                  </a:lnTo>
                  <a:lnTo>
                    <a:pt x="813" y="372"/>
                  </a:lnTo>
                  <a:lnTo>
                    <a:pt x="813" y="374"/>
                  </a:lnTo>
                  <a:lnTo>
                    <a:pt x="814" y="374"/>
                  </a:lnTo>
                  <a:lnTo>
                    <a:pt x="814" y="376"/>
                  </a:lnTo>
                  <a:lnTo>
                    <a:pt x="818" y="376"/>
                  </a:lnTo>
                  <a:lnTo>
                    <a:pt x="819" y="377"/>
                  </a:lnTo>
                  <a:lnTo>
                    <a:pt x="819" y="376"/>
                  </a:lnTo>
                  <a:lnTo>
                    <a:pt x="821" y="376"/>
                  </a:lnTo>
                  <a:lnTo>
                    <a:pt x="824" y="377"/>
                  </a:lnTo>
                  <a:lnTo>
                    <a:pt x="826" y="377"/>
                  </a:lnTo>
                  <a:lnTo>
                    <a:pt x="827" y="377"/>
                  </a:lnTo>
                  <a:lnTo>
                    <a:pt x="829" y="377"/>
                  </a:lnTo>
                  <a:lnTo>
                    <a:pt x="831" y="379"/>
                  </a:lnTo>
                  <a:lnTo>
                    <a:pt x="832" y="379"/>
                  </a:lnTo>
                  <a:lnTo>
                    <a:pt x="834" y="379"/>
                  </a:lnTo>
                  <a:lnTo>
                    <a:pt x="836" y="379"/>
                  </a:lnTo>
                  <a:lnTo>
                    <a:pt x="837" y="381"/>
                  </a:lnTo>
                  <a:lnTo>
                    <a:pt x="839" y="381"/>
                  </a:lnTo>
                  <a:lnTo>
                    <a:pt x="847" y="379"/>
                  </a:lnTo>
                  <a:lnTo>
                    <a:pt x="849" y="379"/>
                  </a:lnTo>
                  <a:lnTo>
                    <a:pt x="850" y="379"/>
                  </a:lnTo>
                  <a:lnTo>
                    <a:pt x="852" y="381"/>
                  </a:lnTo>
                  <a:lnTo>
                    <a:pt x="853" y="381"/>
                  </a:lnTo>
                  <a:lnTo>
                    <a:pt x="855" y="379"/>
                  </a:lnTo>
                  <a:lnTo>
                    <a:pt x="857" y="379"/>
                  </a:lnTo>
                  <a:lnTo>
                    <a:pt x="858" y="379"/>
                  </a:lnTo>
                  <a:lnTo>
                    <a:pt x="860" y="379"/>
                  </a:lnTo>
                  <a:lnTo>
                    <a:pt x="862" y="379"/>
                  </a:lnTo>
                  <a:lnTo>
                    <a:pt x="863" y="379"/>
                  </a:lnTo>
                  <a:lnTo>
                    <a:pt x="863" y="381"/>
                  </a:lnTo>
                  <a:lnTo>
                    <a:pt x="863" y="382"/>
                  </a:lnTo>
                  <a:lnTo>
                    <a:pt x="863" y="384"/>
                  </a:lnTo>
                  <a:lnTo>
                    <a:pt x="865" y="384"/>
                  </a:lnTo>
                  <a:lnTo>
                    <a:pt x="865" y="382"/>
                  </a:lnTo>
                  <a:lnTo>
                    <a:pt x="865" y="381"/>
                  </a:lnTo>
                  <a:lnTo>
                    <a:pt x="866" y="381"/>
                  </a:lnTo>
                  <a:lnTo>
                    <a:pt x="866" y="379"/>
                  </a:lnTo>
                  <a:lnTo>
                    <a:pt x="870" y="379"/>
                  </a:lnTo>
                  <a:lnTo>
                    <a:pt x="871" y="379"/>
                  </a:lnTo>
                  <a:lnTo>
                    <a:pt x="873" y="381"/>
                  </a:lnTo>
                  <a:lnTo>
                    <a:pt x="875" y="381"/>
                  </a:lnTo>
                  <a:lnTo>
                    <a:pt x="875" y="384"/>
                  </a:lnTo>
                  <a:lnTo>
                    <a:pt x="876" y="384"/>
                  </a:lnTo>
                  <a:lnTo>
                    <a:pt x="878" y="384"/>
                  </a:lnTo>
                  <a:lnTo>
                    <a:pt x="879" y="384"/>
                  </a:lnTo>
                  <a:lnTo>
                    <a:pt x="881" y="384"/>
                  </a:lnTo>
                  <a:lnTo>
                    <a:pt x="883" y="385"/>
                  </a:lnTo>
                  <a:lnTo>
                    <a:pt x="884" y="385"/>
                  </a:lnTo>
                  <a:lnTo>
                    <a:pt x="886" y="385"/>
                  </a:lnTo>
                  <a:lnTo>
                    <a:pt x="888" y="385"/>
                  </a:lnTo>
                  <a:lnTo>
                    <a:pt x="889" y="385"/>
                  </a:lnTo>
                  <a:lnTo>
                    <a:pt x="891" y="385"/>
                  </a:lnTo>
                  <a:lnTo>
                    <a:pt x="892" y="387"/>
                  </a:lnTo>
                  <a:lnTo>
                    <a:pt x="894" y="387"/>
                  </a:lnTo>
                  <a:lnTo>
                    <a:pt x="896" y="389"/>
                  </a:lnTo>
                  <a:lnTo>
                    <a:pt x="897" y="389"/>
                  </a:lnTo>
                  <a:lnTo>
                    <a:pt x="899" y="390"/>
                  </a:lnTo>
                  <a:lnTo>
                    <a:pt x="901" y="390"/>
                  </a:lnTo>
                  <a:lnTo>
                    <a:pt x="899" y="390"/>
                  </a:lnTo>
                  <a:lnTo>
                    <a:pt x="899" y="389"/>
                  </a:lnTo>
                  <a:lnTo>
                    <a:pt x="896" y="387"/>
                  </a:lnTo>
                  <a:lnTo>
                    <a:pt x="894" y="387"/>
                  </a:lnTo>
                  <a:lnTo>
                    <a:pt x="892" y="385"/>
                  </a:lnTo>
                  <a:lnTo>
                    <a:pt x="889" y="385"/>
                  </a:lnTo>
                  <a:lnTo>
                    <a:pt x="888" y="385"/>
                  </a:lnTo>
                  <a:lnTo>
                    <a:pt x="886" y="385"/>
                  </a:lnTo>
                  <a:lnTo>
                    <a:pt x="883" y="384"/>
                  </a:lnTo>
                  <a:lnTo>
                    <a:pt x="881" y="384"/>
                  </a:lnTo>
                  <a:lnTo>
                    <a:pt x="879" y="384"/>
                  </a:lnTo>
                  <a:lnTo>
                    <a:pt x="878" y="384"/>
                  </a:lnTo>
                  <a:lnTo>
                    <a:pt x="876" y="384"/>
                  </a:lnTo>
                  <a:lnTo>
                    <a:pt x="875" y="382"/>
                  </a:lnTo>
                  <a:lnTo>
                    <a:pt x="875" y="381"/>
                  </a:lnTo>
                  <a:lnTo>
                    <a:pt x="873" y="379"/>
                  </a:lnTo>
                  <a:lnTo>
                    <a:pt x="871" y="379"/>
                  </a:lnTo>
                  <a:lnTo>
                    <a:pt x="868" y="379"/>
                  </a:lnTo>
                  <a:lnTo>
                    <a:pt x="866" y="379"/>
                  </a:lnTo>
                  <a:lnTo>
                    <a:pt x="866" y="381"/>
                  </a:lnTo>
                  <a:lnTo>
                    <a:pt x="865" y="381"/>
                  </a:lnTo>
                  <a:lnTo>
                    <a:pt x="865" y="382"/>
                  </a:lnTo>
                  <a:lnTo>
                    <a:pt x="863" y="382"/>
                  </a:lnTo>
                  <a:lnTo>
                    <a:pt x="863" y="379"/>
                  </a:lnTo>
                  <a:lnTo>
                    <a:pt x="862" y="379"/>
                  </a:lnTo>
                  <a:lnTo>
                    <a:pt x="860" y="379"/>
                  </a:lnTo>
                  <a:lnTo>
                    <a:pt x="858" y="379"/>
                  </a:lnTo>
                  <a:lnTo>
                    <a:pt x="857" y="377"/>
                  </a:lnTo>
                  <a:lnTo>
                    <a:pt x="862" y="376"/>
                  </a:lnTo>
                  <a:lnTo>
                    <a:pt x="862" y="374"/>
                  </a:lnTo>
                  <a:lnTo>
                    <a:pt x="862" y="372"/>
                  </a:lnTo>
                  <a:lnTo>
                    <a:pt x="860" y="372"/>
                  </a:lnTo>
                  <a:lnTo>
                    <a:pt x="858" y="372"/>
                  </a:lnTo>
                  <a:lnTo>
                    <a:pt x="857" y="371"/>
                  </a:lnTo>
                  <a:lnTo>
                    <a:pt x="857" y="369"/>
                  </a:lnTo>
                  <a:lnTo>
                    <a:pt x="860" y="368"/>
                  </a:lnTo>
                  <a:lnTo>
                    <a:pt x="862" y="366"/>
                  </a:lnTo>
                  <a:lnTo>
                    <a:pt x="862" y="364"/>
                  </a:lnTo>
                  <a:lnTo>
                    <a:pt x="860" y="364"/>
                  </a:lnTo>
                  <a:lnTo>
                    <a:pt x="858" y="364"/>
                  </a:lnTo>
                  <a:lnTo>
                    <a:pt x="858" y="363"/>
                  </a:lnTo>
                  <a:lnTo>
                    <a:pt x="860" y="361"/>
                  </a:lnTo>
                  <a:lnTo>
                    <a:pt x="862" y="361"/>
                  </a:lnTo>
                  <a:lnTo>
                    <a:pt x="862" y="363"/>
                  </a:lnTo>
                  <a:lnTo>
                    <a:pt x="863" y="363"/>
                  </a:lnTo>
                  <a:lnTo>
                    <a:pt x="865" y="363"/>
                  </a:lnTo>
                  <a:lnTo>
                    <a:pt x="866" y="363"/>
                  </a:lnTo>
                  <a:lnTo>
                    <a:pt x="871" y="366"/>
                  </a:lnTo>
                  <a:lnTo>
                    <a:pt x="873" y="366"/>
                  </a:lnTo>
                  <a:lnTo>
                    <a:pt x="875" y="366"/>
                  </a:lnTo>
                  <a:lnTo>
                    <a:pt x="876" y="366"/>
                  </a:lnTo>
                  <a:lnTo>
                    <a:pt x="876" y="364"/>
                  </a:lnTo>
                  <a:lnTo>
                    <a:pt x="876" y="363"/>
                  </a:lnTo>
                  <a:lnTo>
                    <a:pt x="875" y="363"/>
                  </a:lnTo>
                  <a:lnTo>
                    <a:pt x="875" y="361"/>
                  </a:lnTo>
                  <a:lnTo>
                    <a:pt x="876" y="359"/>
                  </a:lnTo>
                  <a:lnTo>
                    <a:pt x="876" y="358"/>
                  </a:lnTo>
                  <a:lnTo>
                    <a:pt x="878" y="358"/>
                  </a:lnTo>
                  <a:lnTo>
                    <a:pt x="878" y="356"/>
                  </a:lnTo>
                  <a:lnTo>
                    <a:pt x="879" y="355"/>
                  </a:lnTo>
                  <a:lnTo>
                    <a:pt x="881" y="353"/>
                  </a:lnTo>
                  <a:lnTo>
                    <a:pt x="883" y="351"/>
                  </a:lnTo>
                  <a:lnTo>
                    <a:pt x="884" y="351"/>
                  </a:lnTo>
                  <a:lnTo>
                    <a:pt x="884" y="350"/>
                  </a:lnTo>
                  <a:lnTo>
                    <a:pt x="886" y="350"/>
                  </a:lnTo>
                  <a:lnTo>
                    <a:pt x="886" y="348"/>
                  </a:lnTo>
                  <a:lnTo>
                    <a:pt x="888" y="348"/>
                  </a:lnTo>
                  <a:lnTo>
                    <a:pt x="889" y="348"/>
                  </a:lnTo>
                  <a:lnTo>
                    <a:pt x="889" y="346"/>
                  </a:lnTo>
                  <a:lnTo>
                    <a:pt x="891" y="346"/>
                  </a:lnTo>
                  <a:lnTo>
                    <a:pt x="894" y="345"/>
                  </a:lnTo>
                  <a:lnTo>
                    <a:pt x="894" y="343"/>
                  </a:lnTo>
                  <a:lnTo>
                    <a:pt x="894" y="342"/>
                  </a:lnTo>
                  <a:lnTo>
                    <a:pt x="896" y="340"/>
                  </a:lnTo>
                  <a:lnTo>
                    <a:pt x="897" y="340"/>
                  </a:lnTo>
                  <a:lnTo>
                    <a:pt x="897" y="338"/>
                  </a:lnTo>
                  <a:lnTo>
                    <a:pt x="899" y="337"/>
                  </a:lnTo>
                  <a:lnTo>
                    <a:pt x="901" y="337"/>
                  </a:lnTo>
                  <a:lnTo>
                    <a:pt x="902" y="337"/>
                  </a:lnTo>
                  <a:lnTo>
                    <a:pt x="904" y="337"/>
                  </a:lnTo>
                  <a:lnTo>
                    <a:pt x="905" y="335"/>
                  </a:lnTo>
                  <a:lnTo>
                    <a:pt x="905" y="333"/>
                  </a:lnTo>
                  <a:lnTo>
                    <a:pt x="907" y="333"/>
                  </a:lnTo>
                  <a:lnTo>
                    <a:pt x="907" y="332"/>
                  </a:lnTo>
                  <a:lnTo>
                    <a:pt x="910" y="333"/>
                  </a:lnTo>
                  <a:lnTo>
                    <a:pt x="910" y="335"/>
                  </a:lnTo>
                  <a:lnTo>
                    <a:pt x="912" y="335"/>
                  </a:lnTo>
                  <a:lnTo>
                    <a:pt x="915" y="337"/>
                  </a:lnTo>
                  <a:lnTo>
                    <a:pt x="917" y="337"/>
                  </a:lnTo>
                  <a:lnTo>
                    <a:pt x="917" y="335"/>
                  </a:lnTo>
                  <a:lnTo>
                    <a:pt x="918" y="335"/>
                  </a:lnTo>
                  <a:lnTo>
                    <a:pt x="920" y="335"/>
                  </a:lnTo>
                  <a:lnTo>
                    <a:pt x="922" y="333"/>
                  </a:lnTo>
                  <a:lnTo>
                    <a:pt x="920" y="333"/>
                  </a:lnTo>
                  <a:lnTo>
                    <a:pt x="920" y="335"/>
                  </a:lnTo>
                  <a:lnTo>
                    <a:pt x="917" y="335"/>
                  </a:lnTo>
                  <a:lnTo>
                    <a:pt x="917" y="337"/>
                  </a:lnTo>
                  <a:lnTo>
                    <a:pt x="915" y="337"/>
                  </a:lnTo>
                  <a:lnTo>
                    <a:pt x="914" y="337"/>
                  </a:lnTo>
                  <a:lnTo>
                    <a:pt x="912" y="335"/>
                  </a:lnTo>
                  <a:lnTo>
                    <a:pt x="910" y="335"/>
                  </a:lnTo>
                  <a:lnTo>
                    <a:pt x="910" y="333"/>
                  </a:lnTo>
                  <a:lnTo>
                    <a:pt x="912" y="333"/>
                  </a:lnTo>
                  <a:lnTo>
                    <a:pt x="912" y="332"/>
                  </a:lnTo>
                  <a:lnTo>
                    <a:pt x="914" y="332"/>
                  </a:lnTo>
                  <a:lnTo>
                    <a:pt x="915" y="332"/>
                  </a:lnTo>
                  <a:lnTo>
                    <a:pt x="917" y="330"/>
                  </a:lnTo>
                  <a:lnTo>
                    <a:pt x="918" y="332"/>
                  </a:lnTo>
                  <a:lnTo>
                    <a:pt x="920" y="332"/>
                  </a:lnTo>
                  <a:lnTo>
                    <a:pt x="922" y="332"/>
                  </a:lnTo>
                  <a:lnTo>
                    <a:pt x="922" y="333"/>
                  </a:lnTo>
                  <a:lnTo>
                    <a:pt x="923" y="332"/>
                  </a:lnTo>
                  <a:lnTo>
                    <a:pt x="927" y="332"/>
                  </a:lnTo>
                  <a:lnTo>
                    <a:pt x="928" y="332"/>
                  </a:lnTo>
                  <a:lnTo>
                    <a:pt x="930" y="332"/>
                  </a:lnTo>
                  <a:lnTo>
                    <a:pt x="935" y="333"/>
                  </a:lnTo>
                  <a:lnTo>
                    <a:pt x="936" y="335"/>
                  </a:lnTo>
                  <a:lnTo>
                    <a:pt x="940" y="338"/>
                  </a:lnTo>
                  <a:lnTo>
                    <a:pt x="943" y="340"/>
                  </a:lnTo>
                  <a:lnTo>
                    <a:pt x="944" y="343"/>
                  </a:lnTo>
                  <a:lnTo>
                    <a:pt x="946" y="345"/>
                  </a:lnTo>
                  <a:lnTo>
                    <a:pt x="946" y="346"/>
                  </a:lnTo>
                  <a:lnTo>
                    <a:pt x="948" y="348"/>
                  </a:lnTo>
                  <a:lnTo>
                    <a:pt x="946" y="348"/>
                  </a:lnTo>
                  <a:lnTo>
                    <a:pt x="946" y="350"/>
                  </a:lnTo>
                  <a:lnTo>
                    <a:pt x="946" y="351"/>
                  </a:lnTo>
                  <a:lnTo>
                    <a:pt x="946" y="353"/>
                  </a:lnTo>
                  <a:lnTo>
                    <a:pt x="948" y="353"/>
                  </a:lnTo>
                  <a:lnTo>
                    <a:pt x="948" y="355"/>
                  </a:lnTo>
                  <a:lnTo>
                    <a:pt x="949" y="356"/>
                  </a:lnTo>
                  <a:lnTo>
                    <a:pt x="951" y="356"/>
                  </a:lnTo>
                  <a:lnTo>
                    <a:pt x="949" y="356"/>
                  </a:lnTo>
                  <a:lnTo>
                    <a:pt x="949" y="358"/>
                  </a:lnTo>
                  <a:lnTo>
                    <a:pt x="948" y="356"/>
                  </a:lnTo>
                  <a:lnTo>
                    <a:pt x="946" y="358"/>
                  </a:lnTo>
                  <a:lnTo>
                    <a:pt x="946" y="356"/>
                  </a:lnTo>
                  <a:lnTo>
                    <a:pt x="944" y="358"/>
                  </a:lnTo>
                  <a:lnTo>
                    <a:pt x="946" y="363"/>
                  </a:lnTo>
                  <a:lnTo>
                    <a:pt x="948" y="363"/>
                  </a:lnTo>
                  <a:lnTo>
                    <a:pt x="949" y="364"/>
                  </a:lnTo>
                  <a:lnTo>
                    <a:pt x="949" y="363"/>
                  </a:lnTo>
                  <a:lnTo>
                    <a:pt x="951" y="363"/>
                  </a:lnTo>
                  <a:lnTo>
                    <a:pt x="953" y="363"/>
                  </a:lnTo>
                  <a:lnTo>
                    <a:pt x="949" y="364"/>
                  </a:lnTo>
                  <a:lnTo>
                    <a:pt x="948" y="364"/>
                  </a:lnTo>
                  <a:lnTo>
                    <a:pt x="946" y="364"/>
                  </a:lnTo>
                  <a:lnTo>
                    <a:pt x="944" y="364"/>
                  </a:lnTo>
                  <a:lnTo>
                    <a:pt x="943" y="364"/>
                  </a:lnTo>
                  <a:lnTo>
                    <a:pt x="941" y="364"/>
                  </a:lnTo>
                  <a:lnTo>
                    <a:pt x="940" y="364"/>
                  </a:lnTo>
                  <a:lnTo>
                    <a:pt x="938" y="364"/>
                  </a:lnTo>
                  <a:lnTo>
                    <a:pt x="936" y="363"/>
                  </a:lnTo>
                  <a:lnTo>
                    <a:pt x="936" y="364"/>
                  </a:lnTo>
                  <a:lnTo>
                    <a:pt x="935" y="364"/>
                  </a:lnTo>
                  <a:lnTo>
                    <a:pt x="935" y="366"/>
                  </a:lnTo>
                  <a:lnTo>
                    <a:pt x="935" y="364"/>
                  </a:lnTo>
                  <a:lnTo>
                    <a:pt x="936" y="364"/>
                  </a:lnTo>
                  <a:lnTo>
                    <a:pt x="938" y="364"/>
                  </a:lnTo>
                  <a:lnTo>
                    <a:pt x="940" y="364"/>
                  </a:lnTo>
                  <a:lnTo>
                    <a:pt x="941" y="364"/>
                  </a:lnTo>
                  <a:lnTo>
                    <a:pt x="944" y="364"/>
                  </a:lnTo>
                  <a:lnTo>
                    <a:pt x="946" y="364"/>
                  </a:lnTo>
                  <a:lnTo>
                    <a:pt x="948" y="364"/>
                  </a:lnTo>
                  <a:lnTo>
                    <a:pt x="949" y="364"/>
                  </a:lnTo>
                  <a:lnTo>
                    <a:pt x="951" y="364"/>
                  </a:lnTo>
                  <a:lnTo>
                    <a:pt x="951" y="363"/>
                  </a:lnTo>
                  <a:lnTo>
                    <a:pt x="951" y="364"/>
                  </a:lnTo>
                  <a:lnTo>
                    <a:pt x="951" y="363"/>
                  </a:lnTo>
                  <a:lnTo>
                    <a:pt x="953" y="363"/>
                  </a:lnTo>
                  <a:lnTo>
                    <a:pt x="954" y="361"/>
                  </a:lnTo>
                  <a:lnTo>
                    <a:pt x="953" y="363"/>
                  </a:lnTo>
                  <a:lnTo>
                    <a:pt x="953" y="364"/>
                  </a:lnTo>
                  <a:lnTo>
                    <a:pt x="951" y="366"/>
                  </a:lnTo>
                  <a:lnTo>
                    <a:pt x="951" y="369"/>
                  </a:lnTo>
                  <a:lnTo>
                    <a:pt x="951" y="372"/>
                  </a:lnTo>
                  <a:lnTo>
                    <a:pt x="951" y="374"/>
                  </a:lnTo>
                  <a:lnTo>
                    <a:pt x="951" y="376"/>
                  </a:lnTo>
                  <a:lnTo>
                    <a:pt x="951" y="377"/>
                  </a:lnTo>
                  <a:lnTo>
                    <a:pt x="951" y="379"/>
                  </a:lnTo>
                  <a:lnTo>
                    <a:pt x="953" y="387"/>
                  </a:lnTo>
                  <a:lnTo>
                    <a:pt x="953" y="389"/>
                  </a:lnTo>
                  <a:lnTo>
                    <a:pt x="954" y="392"/>
                  </a:lnTo>
                  <a:lnTo>
                    <a:pt x="954" y="400"/>
                  </a:lnTo>
                  <a:lnTo>
                    <a:pt x="956" y="402"/>
                  </a:lnTo>
                  <a:lnTo>
                    <a:pt x="954" y="402"/>
                  </a:lnTo>
                  <a:lnTo>
                    <a:pt x="954" y="400"/>
                  </a:lnTo>
                  <a:lnTo>
                    <a:pt x="954" y="402"/>
                  </a:lnTo>
                  <a:lnTo>
                    <a:pt x="954" y="403"/>
                  </a:lnTo>
                  <a:lnTo>
                    <a:pt x="954" y="402"/>
                  </a:lnTo>
                  <a:lnTo>
                    <a:pt x="956" y="403"/>
                  </a:lnTo>
                  <a:lnTo>
                    <a:pt x="954" y="403"/>
                  </a:lnTo>
                  <a:lnTo>
                    <a:pt x="951" y="402"/>
                  </a:lnTo>
                  <a:lnTo>
                    <a:pt x="946" y="398"/>
                  </a:lnTo>
                  <a:lnTo>
                    <a:pt x="944" y="398"/>
                  </a:lnTo>
                  <a:lnTo>
                    <a:pt x="943" y="397"/>
                  </a:lnTo>
                  <a:lnTo>
                    <a:pt x="941" y="397"/>
                  </a:lnTo>
                  <a:lnTo>
                    <a:pt x="940" y="395"/>
                  </a:lnTo>
                  <a:lnTo>
                    <a:pt x="938" y="397"/>
                  </a:lnTo>
                  <a:lnTo>
                    <a:pt x="936" y="397"/>
                  </a:lnTo>
                  <a:lnTo>
                    <a:pt x="936" y="395"/>
                  </a:lnTo>
                  <a:lnTo>
                    <a:pt x="935" y="395"/>
                  </a:lnTo>
                  <a:lnTo>
                    <a:pt x="933" y="395"/>
                  </a:lnTo>
                  <a:lnTo>
                    <a:pt x="931" y="397"/>
                  </a:lnTo>
                  <a:lnTo>
                    <a:pt x="931" y="398"/>
                  </a:lnTo>
                  <a:lnTo>
                    <a:pt x="931" y="400"/>
                  </a:lnTo>
                  <a:lnTo>
                    <a:pt x="933" y="397"/>
                  </a:lnTo>
                  <a:lnTo>
                    <a:pt x="933" y="395"/>
                  </a:lnTo>
                  <a:lnTo>
                    <a:pt x="935" y="395"/>
                  </a:lnTo>
                  <a:lnTo>
                    <a:pt x="936" y="395"/>
                  </a:lnTo>
                  <a:lnTo>
                    <a:pt x="936" y="397"/>
                  </a:lnTo>
                  <a:lnTo>
                    <a:pt x="936" y="398"/>
                  </a:lnTo>
                  <a:lnTo>
                    <a:pt x="938" y="397"/>
                  </a:lnTo>
                  <a:lnTo>
                    <a:pt x="940" y="397"/>
                  </a:lnTo>
                  <a:lnTo>
                    <a:pt x="943" y="397"/>
                  </a:lnTo>
                  <a:lnTo>
                    <a:pt x="944" y="398"/>
                  </a:lnTo>
                  <a:lnTo>
                    <a:pt x="948" y="400"/>
                  </a:lnTo>
                  <a:lnTo>
                    <a:pt x="949" y="403"/>
                  </a:lnTo>
                  <a:lnTo>
                    <a:pt x="951" y="403"/>
                  </a:lnTo>
                  <a:lnTo>
                    <a:pt x="953" y="403"/>
                  </a:lnTo>
                  <a:lnTo>
                    <a:pt x="954" y="403"/>
                  </a:lnTo>
                  <a:lnTo>
                    <a:pt x="954" y="405"/>
                  </a:lnTo>
                  <a:lnTo>
                    <a:pt x="956" y="407"/>
                  </a:lnTo>
                  <a:lnTo>
                    <a:pt x="956" y="408"/>
                  </a:lnTo>
                  <a:lnTo>
                    <a:pt x="954" y="410"/>
                  </a:lnTo>
                  <a:lnTo>
                    <a:pt x="954" y="411"/>
                  </a:lnTo>
                  <a:lnTo>
                    <a:pt x="953" y="411"/>
                  </a:lnTo>
                  <a:lnTo>
                    <a:pt x="951" y="413"/>
                  </a:lnTo>
                  <a:lnTo>
                    <a:pt x="949" y="413"/>
                  </a:lnTo>
                  <a:lnTo>
                    <a:pt x="948" y="415"/>
                  </a:lnTo>
                  <a:lnTo>
                    <a:pt x="944" y="416"/>
                  </a:lnTo>
                  <a:lnTo>
                    <a:pt x="941" y="416"/>
                  </a:lnTo>
                  <a:lnTo>
                    <a:pt x="940" y="418"/>
                  </a:lnTo>
                  <a:lnTo>
                    <a:pt x="938" y="418"/>
                  </a:lnTo>
                  <a:lnTo>
                    <a:pt x="936" y="418"/>
                  </a:lnTo>
                  <a:lnTo>
                    <a:pt x="936" y="420"/>
                  </a:lnTo>
                  <a:lnTo>
                    <a:pt x="935" y="420"/>
                  </a:lnTo>
                  <a:lnTo>
                    <a:pt x="933" y="421"/>
                  </a:lnTo>
                  <a:lnTo>
                    <a:pt x="931" y="421"/>
                  </a:lnTo>
                  <a:lnTo>
                    <a:pt x="928" y="421"/>
                  </a:lnTo>
                  <a:lnTo>
                    <a:pt x="927" y="423"/>
                  </a:lnTo>
                  <a:lnTo>
                    <a:pt x="923" y="424"/>
                  </a:lnTo>
                  <a:lnTo>
                    <a:pt x="922" y="424"/>
                  </a:lnTo>
                  <a:lnTo>
                    <a:pt x="920" y="426"/>
                  </a:lnTo>
                  <a:lnTo>
                    <a:pt x="917" y="428"/>
                  </a:lnTo>
                  <a:lnTo>
                    <a:pt x="915" y="429"/>
                  </a:lnTo>
                  <a:lnTo>
                    <a:pt x="914" y="431"/>
                  </a:lnTo>
                  <a:lnTo>
                    <a:pt x="910" y="433"/>
                  </a:lnTo>
                  <a:lnTo>
                    <a:pt x="909" y="434"/>
                  </a:lnTo>
                  <a:lnTo>
                    <a:pt x="907" y="437"/>
                  </a:lnTo>
                  <a:lnTo>
                    <a:pt x="905" y="439"/>
                  </a:lnTo>
                  <a:lnTo>
                    <a:pt x="902" y="444"/>
                  </a:lnTo>
                  <a:lnTo>
                    <a:pt x="902" y="446"/>
                  </a:lnTo>
                  <a:lnTo>
                    <a:pt x="902" y="447"/>
                  </a:lnTo>
                  <a:lnTo>
                    <a:pt x="901" y="447"/>
                  </a:lnTo>
                  <a:lnTo>
                    <a:pt x="901" y="449"/>
                  </a:lnTo>
                  <a:lnTo>
                    <a:pt x="899" y="454"/>
                  </a:lnTo>
                  <a:lnTo>
                    <a:pt x="897" y="459"/>
                  </a:lnTo>
                  <a:lnTo>
                    <a:pt x="897" y="460"/>
                  </a:lnTo>
                  <a:lnTo>
                    <a:pt x="894" y="470"/>
                  </a:lnTo>
                  <a:lnTo>
                    <a:pt x="894" y="472"/>
                  </a:lnTo>
                  <a:lnTo>
                    <a:pt x="892" y="477"/>
                  </a:lnTo>
                  <a:lnTo>
                    <a:pt x="891" y="480"/>
                  </a:lnTo>
                  <a:lnTo>
                    <a:pt x="891" y="481"/>
                  </a:lnTo>
                  <a:lnTo>
                    <a:pt x="889" y="483"/>
                  </a:lnTo>
                  <a:lnTo>
                    <a:pt x="888" y="488"/>
                  </a:lnTo>
                  <a:lnTo>
                    <a:pt x="888" y="490"/>
                  </a:lnTo>
                  <a:lnTo>
                    <a:pt x="886" y="490"/>
                  </a:lnTo>
                  <a:lnTo>
                    <a:pt x="884" y="493"/>
                  </a:lnTo>
                  <a:lnTo>
                    <a:pt x="884" y="496"/>
                  </a:lnTo>
                  <a:lnTo>
                    <a:pt x="883" y="498"/>
                  </a:lnTo>
                  <a:lnTo>
                    <a:pt x="883" y="501"/>
                  </a:lnTo>
                  <a:lnTo>
                    <a:pt x="883" y="503"/>
                  </a:lnTo>
                  <a:lnTo>
                    <a:pt x="883" y="501"/>
                  </a:lnTo>
                  <a:lnTo>
                    <a:pt x="883" y="503"/>
                  </a:lnTo>
                  <a:lnTo>
                    <a:pt x="883" y="504"/>
                  </a:lnTo>
                  <a:lnTo>
                    <a:pt x="883" y="506"/>
                  </a:lnTo>
                  <a:lnTo>
                    <a:pt x="883" y="504"/>
                  </a:lnTo>
                  <a:lnTo>
                    <a:pt x="881" y="504"/>
                  </a:lnTo>
                  <a:lnTo>
                    <a:pt x="881" y="503"/>
                  </a:lnTo>
                  <a:lnTo>
                    <a:pt x="881" y="504"/>
                  </a:lnTo>
                  <a:lnTo>
                    <a:pt x="881" y="503"/>
                  </a:lnTo>
                  <a:lnTo>
                    <a:pt x="881" y="504"/>
                  </a:lnTo>
                  <a:lnTo>
                    <a:pt x="879" y="503"/>
                  </a:lnTo>
                  <a:lnTo>
                    <a:pt x="879" y="504"/>
                  </a:lnTo>
                  <a:lnTo>
                    <a:pt x="881" y="504"/>
                  </a:lnTo>
                  <a:lnTo>
                    <a:pt x="879" y="504"/>
                  </a:lnTo>
                  <a:lnTo>
                    <a:pt x="879" y="506"/>
                  </a:lnTo>
                  <a:lnTo>
                    <a:pt x="878" y="506"/>
                  </a:lnTo>
                  <a:lnTo>
                    <a:pt x="876" y="507"/>
                  </a:lnTo>
                  <a:lnTo>
                    <a:pt x="878" y="507"/>
                  </a:lnTo>
                  <a:lnTo>
                    <a:pt x="881" y="506"/>
                  </a:lnTo>
                  <a:close/>
                  <a:moveTo>
                    <a:pt x="930" y="400"/>
                  </a:moveTo>
                  <a:lnTo>
                    <a:pt x="928" y="400"/>
                  </a:lnTo>
                  <a:lnTo>
                    <a:pt x="930" y="398"/>
                  </a:lnTo>
                  <a:lnTo>
                    <a:pt x="930" y="397"/>
                  </a:lnTo>
                  <a:lnTo>
                    <a:pt x="928" y="395"/>
                  </a:lnTo>
                  <a:lnTo>
                    <a:pt x="927" y="397"/>
                  </a:lnTo>
                  <a:lnTo>
                    <a:pt x="927" y="398"/>
                  </a:lnTo>
                  <a:lnTo>
                    <a:pt x="928" y="397"/>
                  </a:lnTo>
                  <a:lnTo>
                    <a:pt x="928" y="395"/>
                  </a:lnTo>
                  <a:lnTo>
                    <a:pt x="928" y="397"/>
                  </a:lnTo>
                  <a:lnTo>
                    <a:pt x="928" y="398"/>
                  </a:lnTo>
                  <a:lnTo>
                    <a:pt x="928" y="400"/>
                  </a:lnTo>
                  <a:lnTo>
                    <a:pt x="928" y="402"/>
                  </a:lnTo>
                  <a:lnTo>
                    <a:pt x="930" y="402"/>
                  </a:lnTo>
                  <a:lnTo>
                    <a:pt x="930" y="400"/>
                  </a:lnTo>
                  <a:close/>
                  <a:moveTo>
                    <a:pt x="927" y="400"/>
                  </a:moveTo>
                  <a:lnTo>
                    <a:pt x="925" y="398"/>
                  </a:lnTo>
                  <a:lnTo>
                    <a:pt x="925" y="397"/>
                  </a:lnTo>
                  <a:lnTo>
                    <a:pt x="925" y="398"/>
                  </a:lnTo>
                  <a:lnTo>
                    <a:pt x="925" y="400"/>
                  </a:lnTo>
                  <a:lnTo>
                    <a:pt x="927" y="400"/>
                  </a:lnTo>
                  <a:close/>
                  <a:moveTo>
                    <a:pt x="923" y="398"/>
                  </a:moveTo>
                  <a:lnTo>
                    <a:pt x="922" y="398"/>
                  </a:lnTo>
                  <a:lnTo>
                    <a:pt x="922" y="397"/>
                  </a:lnTo>
                  <a:lnTo>
                    <a:pt x="920" y="395"/>
                  </a:lnTo>
                  <a:lnTo>
                    <a:pt x="918" y="395"/>
                  </a:lnTo>
                  <a:lnTo>
                    <a:pt x="918" y="394"/>
                  </a:lnTo>
                  <a:lnTo>
                    <a:pt x="920" y="394"/>
                  </a:lnTo>
                  <a:lnTo>
                    <a:pt x="920" y="392"/>
                  </a:lnTo>
                  <a:lnTo>
                    <a:pt x="918" y="392"/>
                  </a:lnTo>
                  <a:lnTo>
                    <a:pt x="917" y="394"/>
                  </a:lnTo>
                  <a:lnTo>
                    <a:pt x="917" y="392"/>
                  </a:lnTo>
                  <a:lnTo>
                    <a:pt x="917" y="390"/>
                  </a:lnTo>
                  <a:lnTo>
                    <a:pt x="915" y="390"/>
                  </a:lnTo>
                  <a:lnTo>
                    <a:pt x="912" y="392"/>
                  </a:lnTo>
                  <a:lnTo>
                    <a:pt x="910" y="392"/>
                  </a:lnTo>
                  <a:lnTo>
                    <a:pt x="909" y="392"/>
                  </a:lnTo>
                  <a:lnTo>
                    <a:pt x="907" y="392"/>
                  </a:lnTo>
                  <a:lnTo>
                    <a:pt x="907" y="390"/>
                  </a:lnTo>
                  <a:lnTo>
                    <a:pt x="909" y="389"/>
                  </a:lnTo>
                  <a:lnTo>
                    <a:pt x="910" y="389"/>
                  </a:lnTo>
                  <a:lnTo>
                    <a:pt x="910" y="387"/>
                  </a:lnTo>
                  <a:lnTo>
                    <a:pt x="909" y="385"/>
                  </a:lnTo>
                  <a:lnTo>
                    <a:pt x="907" y="384"/>
                  </a:lnTo>
                  <a:lnTo>
                    <a:pt x="904" y="384"/>
                  </a:lnTo>
                  <a:lnTo>
                    <a:pt x="902" y="384"/>
                  </a:lnTo>
                  <a:lnTo>
                    <a:pt x="901" y="384"/>
                  </a:lnTo>
                  <a:lnTo>
                    <a:pt x="901" y="385"/>
                  </a:lnTo>
                  <a:lnTo>
                    <a:pt x="899" y="385"/>
                  </a:lnTo>
                  <a:lnTo>
                    <a:pt x="899" y="387"/>
                  </a:lnTo>
                  <a:lnTo>
                    <a:pt x="899" y="385"/>
                  </a:lnTo>
                  <a:lnTo>
                    <a:pt x="901" y="384"/>
                  </a:lnTo>
                  <a:lnTo>
                    <a:pt x="904" y="384"/>
                  </a:lnTo>
                  <a:lnTo>
                    <a:pt x="905" y="384"/>
                  </a:lnTo>
                  <a:lnTo>
                    <a:pt x="907" y="385"/>
                  </a:lnTo>
                  <a:lnTo>
                    <a:pt x="909" y="387"/>
                  </a:lnTo>
                  <a:lnTo>
                    <a:pt x="909" y="389"/>
                  </a:lnTo>
                  <a:lnTo>
                    <a:pt x="907" y="390"/>
                  </a:lnTo>
                  <a:lnTo>
                    <a:pt x="907" y="392"/>
                  </a:lnTo>
                  <a:lnTo>
                    <a:pt x="909" y="392"/>
                  </a:lnTo>
                  <a:lnTo>
                    <a:pt x="910" y="392"/>
                  </a:lnTo>
                  <a:lnTo>
                    <a:pt x="912" y="392"/>
                  </a:lnTo>
                  <a:lnTo>
                    <a:pt x="914" y="392"/>
                  </a:lnTo>
                  <a:lnTo>
                    <a:pt x="915" y="390"/>
                  </a:lnTo>
                  <a:lnTo>
                    <a:pt x="917" y="390"/>
                  </a:lnTo>
                  <a:lnTo>
                    <a:pt x="915" y="394"/>
                  </a:lnTo>
                  <a:lnTo>
                    <a:pt x="917" y="394"/>
                  </a:lnTo>
                  <a:lnTo>
                    <a:pt x="918" y="392"/>
                  </a:lnTo>
                  <a:lnTo>
                    <a:pt x="918" y="394"/>
                  </a:lnTo>
                  <a:lnTo>
                    <a:pt x="918" y="395"/>
                  </a:lnTo>
                  <a:lnTo>
                    <a:pt x="918" y="397"/>
                  </a:lnTo>
                  <a:lnTo>
                    <a:pt x="920" y="397"/>
                  </a:lnTo>
                  <a:lnTo>
                    <a:pt x="922" y="397"/>
                  </a:lnTo>
                  <a:lnTo>
                    <a:pt x="922" y="398"/>
                  </a:lnTo>
                  <a:lnTo>
                    <a:pt x="922" y="400"/>
                  </a:lnTo>
                  <a:lnTo>
                    <a:pt x="923" y="400"/>
                  </a:lnTo>
                  <a:lnTo>
                    <a:pt x="923" y="398"/>
                  </a:lnTo>
                  <a:close/>
                  <a:moveTo>
                    <a:pt x="902" y="387"/>
                  </a:moveTo>
                  <a:lnTo>
                    <a:pt x="902" y="389"/>
                  </a:lnTo>
                  <a:lnTo>
                    <a:pt x="902" y="387"/>
                  </a:lnTo>
                  <a:close/>
                  <a:moveTo>
                    <a:pt x="901" y="387"/>
                  </a:moveTo>
                  <a:lnTo>
                    <a:pt x="902" y="385"/>
                  </a:lnTo>
                  <a:lnTo>
                    <a:pt x="901" y="387"/>
                  </a:lnTo>
                  <a:lnTo>
                    <a:pt x="899" y="387"/>
                  </a:lnTo>
                  <a:lnTo>
                    <a:pt x="901" y="387"/>
                  </a:lnTo>
                  <a:close/>
                  <a:moveTo>
                    <a:pt x="927" y="398"/>
                  </a:moveTo>
                  <a:lnTo>
                    <a:pt x="927" y="400"/>
                  </a:lnTo>
                  <a:lnTo>
                    <a:pt x="927" y="398"/>
                  </a:lnTo>
                  <a:close/>
                </a:path>
              </a:pathLst>
            </a:custGeom>
            <a:solidFill>
              <a:srgbClr val="1EC08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1210" name="Freeform 56">
              <a:extLst>
                <a:ext uri="{FF2B5EF4-FFF2-40B4-BE49-F238E27FC236}">
                  <a16:creationId xmlns:a16="http://schemas.microsoft.com/office/drawing/2014/main" id="{38778D98-4531-6FA1-EA35-51EB7B80733F}"/>
                </a:ext>
              </a:extLst>
            </p:cNvPr>
            <p:cNvSpPr>
              <a:spLocks noEditPoints="1"/>
            </p:cNvSpPr>
            <p:nvPr/>
          </p:nvSpPr>
          <p:spPr bwMode="auto">
            <a:xfrm>
              <a:off x="5091" y="4229"/>
              <a:ext cx="473" cy="536"/>
            </a:xfrm>
            <a:custGeom>
              <a:avLst/>
              <a:gdLst>
                <a:gd name="T0" fmla="*/ 117 w 473"/>
                <a:gd name="T1" fmla="*/ 0 h 536"/>
                <a:gd name="T2" fmla="*/ 146 w 473"/>
                <a:gd name="T3" fmla="*/ 20 h 536"/>
                <a:gd name="T4" fmla="*/ 185 w 473"/>
                <a:gd name="T5" fmla="*/ 51 h 536"/>
                <a:gd name="T6" fmla="*/ 201 w 473"/>
                <a:gd name="T7" fmla="*/ 80 h 536"/>
                <a:gd name="T8" fmla="*/ 222 w 473"/>
                <a:gd name="T9" fmla="*/ 106 h 536"/>
                <a:gd name="T10" fmla="*/ 260 w 473"/>
                <a:gd name="T11" fmla="*/ 118 h 536"/>
                <a:gd name="T12" fmla="*/ 273 w 473"/>
                <a:gd name="T13" fmla="*/ 144 h 536"/>
                <a:gd name="T14" fmla="*/ 289 w 473"/>
                <a:gd name="T15" fmla="*/ 161 h 536"/>
                <a:gd name="T16" fmla="*/ 274 w 473"/>
                <a:gd name="T17" fmla="*/ 179 h 536"/>
                <a:gd name="T18" fmla="*/ 309 w 473"/>
                <a:gd name="T19" fmla="*/ 192 h 536"/>
                <a:gd name="T20" fmla="*/ 352 w 473"/>
                <a:gd name="T21" fmla="*/ 210 h 536"/>
                <a:gd name="T22" fmla="*/ 379 w 473"/>
                <a:gd name="T23" fmla="*/ 174 h 536"/>
                <a:gd name="T24" fmla="*/ 405 w 473"/>
                <a:gd name="T25" fmla="*/ 194 h 536"/>
                <a:gd name="T26" fmla="*/ 403 w 473"/>
                <a:gd name="T27" fmla="*/ 228 h 536"/>
                <a:gd name="T28" fmla="*/ 411 w 473"/>
                <a:gd name="T29" fmla="*/ 248 h 536"/>
                <a:gd name="T30" fmla="*/ 395 w 473"/>
                <a:gd name="T31" fmla="*/ 279 h 536"/>
                <a:gd name="T32" fmla="*/ 409 w 473"/>
                <a:gd name="T33" fmla="*/ 322 h 536"/>
                <a:gd name="T34" fmla="*/ 426 w 473"/>
                <a:gd name="T35" fmla="*/ 350 h 536"/>
                <a:gd name="T36" fmla="*/ 455 w 473"/>
                <a:gd name="T37" fmla="*/ 366 h 536"/>
                <a:gd name="T38" fmla="*/ 466 w 473"/>
                <a:gd name="T39" fmla="*/ 396 h 536"/>
                <a:gd name="T40" fmla="*/ 450 w 473"/>
                <a:gd name="T41" fmla="*/ 427 h 536"/>
                <a:gd name="T42" fmla="*/ 431 w 473"/>
                <a:gd name="T43" fmla="*/ 449 h 536"/>
                <a:gd name="T44" fmla="*/ 434 w 473"/>
                <a:gd name="T45" fmla="*/ 479 h 536"/>
                <a:gd name="T46" fmla="*/ 432 w 473"/>
                <a:gd name="T47" fmla="*/ 510 h 536"/>
                <a:gd name="T48" fmla="*/ 388 w 473"/>
                <a:gd name="T49" fmla="*/ 521 h 536"/>
                <a:gd name="T50" fmla="*/ 357 w 473"/>
                <a:gd name="T51" fmla="*/ 536 h 536"/>
                <a:gd name="T52" fmla="*/ 341 w 473"/>
                <a:gd name="T53" fmla="*/ 521 h 536"/>
                <a:gd name="T54" fmla="*/ 349 w 473"/>
                <a:gd name="T55" fmla="*/ 501 h 536"/>
                <a:gd name="T56" fmla="*/ 357 w 473"/>
                <a:gd name="T57" fmla="*/ 480 h 536"/>
                <a:gd name="T58" fmla="*/ 343 w 473"/>
                <a:gd name="T59" fmla="*/ 474 h 536"/>
                <a:gd name="T60" fmla="*/ 315 w 473"/>
                <a:gd name="T61" fmla="*/ 470 h 536"/>
                <a:gd name="T62" fmla="*/ 305 w 473"/>
                <a:gd name="T63" fmla="*/ 451 h 536"/>
                <a:gd name="T64" fmla="*/ 289 w 473"/>
                <a:gd name="T65" fmla="*/ 435 h 536"/>
                <a:gd name="T66" fmla="*/ 274 w 473"/>
                <a:gd name="T67" fmla="*/ 422 h 536"/>
                <a:gd name="T68" fmla="*/ 250 w 473"/>
                <a:gd name="T69" fmla="*/ 420 h 536"/>
                <a:gd name="T70" fmla="*/ 239 w 473"/>
                <a:gd name="T71" fmla="*/ 410 h 536"/>
                <a:gd name="T72" fmla="*/ 224 w 473"/>
                <a:gd name="T73" fmla="*/ 425 h 536"/>
                <a:gd name="T74" fmla="*/ 227 w 473"/>
                <a:gd name="T75" fmla="*/ 448 h 536"/>
                <a:gd name="T76" fmla="*/ 216 w 473"/>
                <a:gd name="T77" fmla="*/ 462 h 536"/>
                <a:gd name="T78" fmla="*/ 195 w 473"/>
                <a:gd name="T79" fmla="*/ 459 h 536"/>
                <a:gd name="T80" fmla="*/ 139 w 473"/>
                <a:gd name="T81" fmla="*/ 436 h 536"/>
                <a:gd name="T82" fmla="*/ 79 w 473"/>
                <a:gd name="T83" fmla="*/ 397 h 536"/>
                <a:gd name="T84" fmla="*/ 102 w 473"/>
                <a:gd name="T85" fmla="*/ 375 h 536"/>
                <a:gd name="T86" fmla="*/ 92 w 473"/>
                <a:gd name="T87" fmla="*/ 350 h 536"/>
                <a:gd name="T88" fmla="*/ 74 w 473"/>
                <a:gd name="T89" fmla="*/ 321 h 536"/>
                <a:gd name="T90" fmla="*/ 107 w 473"/>
                <a:gd name="T91" fmla="*/ 316 h 536"/>
                <a:gd name="T92" fmla="*/ 92 w 473"/>
                <a:gd name="T93" fmla="*/ 298 h 536"/>
                <a:gd name="T94" fmla="*/ 71 w 473"/>
                <a:gd name="T95" fmla="*/ 282 h 536"/>
                <a:gd name="T96" fmla="*/ 50 w 473"/>
                <a:gd name="T97" fmla="*/ 267 h 536"/>
                <a:gd name="T98" fmla="*/ 55 w 473"/>
                <a:gd name="T99" fmla="*/ 243 h 536"/>
                <a:gd name="T100" fmla="*/ 66 w 473"/>
                <a:gd name="T101" fmla="*/ 215 h 536"/>
                <a:gd name="T102" fmla="*/ 65 w 473"/>
                <a:gd name="T103" fmla="*/ 192 h 536"/>
                <a:gd name="T104" fmla="*/ 37 w 473"/>
                <a:gd name="T105" fmla="*/ 201 h 536"/>
                <a:gd name="T106" fmla="*/ 43 w 473"/>
                <a:gd name="T107" fmla="*/ 186 h 536"/>
                <a:gd name="T108" fmla="*/ 39 w 473"/>
                <a:gd name="T109" fmla="*/ 165 h 536"/>
                <a:gd name="T110" fmla="*/ 35 w 473"/>
                <a:gd name="T111" fmla="*/ 139 h 536"/>
                <a:gd name="T112" fmla="*/ 21 w 473"/>
                <a:gd name="T113" fmla="*/ 118 h 536"/>
                <a:gd name="T114" fmla="*/ 9 w 473"/>
                <a:gd name="T115" fmla="*/ 105 h 536"/>
                <a:gd name="T116" fmla="*/ 13 w 473"/>
                <a:gd name="T117" fmla="*/ 74 h 536"/>
                <a:gd name="T118" fmla="*/ 3 w 473"/>
                <a:gd name="T119" fmla="*/ 52 h 536"/>
                <a:gd name="T120" fmla="*/ 40 w 473"/>
                <a:gd name="T121" fmla="*/ 38 h 536"/>
                <a:gd name="T122" fmla="*/ 74 w 473"/>
                <a:gd name="T123" fmla="*/ 5 h 5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73" h="536">
                  <a:moveTo>
                    <a:pt x="76" y="5"/>
                  </a:moveTo>
                  <a:lnTo>
                    <a:pt x="78" y="5"/>
                  </a:lnTo>
                  <a:lnTo>
                    <a:pt x="79" y="5"/>
                  </a:lnTo>
                  <a:lnTo>
                    <a:pt x="81" y="7"/>
                  </a:lnTo>
                  <a:lnTo>
                    <a:pt x="83" y="7"/>
                  </a:lnTo>
                  <a:lnTo>
                    <a:pt x="84" y="10"/>
                  </a:lnTo>
                  <a:lnTo>
                    <a:pt x="86" y="10"/>
                  </a:lnTo>
                  <a:lnTo>
                    <a:pt x="87" y="10"/>
                  </a:lnTo>
                  <a:lnTo>
                    <a:pt x="89" y="10"/>
                  </a:lnTo>
                  <a:lnTo>
                    <a:pt x="91" y="12"/>
                  </a:lnTo>
                  <a:lnTo>
                    <a:pt x="94" y="9"/>
                  </a:lnTo>
                  <a:lnTo>
                    <a:pt x="96" y="7"/>
                  </a:lnTo>
                  <a:lnTo>
                    <a:pt x="99" y="5"/>
                  </a:lnTo>
                  <a:lnTo>
                    <a:pt x="100" y="4"/>
                  </a:lnTo>
                  <a:lnTo>
                    <a:pt x="102" y="4"/>
                  </a:lnTo>
                  <a:lnTo>
                    <a:pt x="110" y="2"/>
                  </a:lnTo>
                  <a:lnTo>
                    <a:pt x="112" y="5"/>
                  </a:lnTo>
                  <a:lnTo>
                    <a:pt x="112" y="7"/>
                  </a:lnTo>
                  <a:lnTo>
                    <a:pt x="113" y="5"/>
                  </a:lnTo>
                  <a:lnTo>
                    <a:pt x="115" y="5"/>
                  </a:lnTo>
                  <a:lnTo>
                    <a:pt x="117" y="2"/>
                  </a:lnTo>
                  <a:lnTo>
                    <a:pt x="117" y="0"/>
                  </a:lnTo>
                  <a:lnTo>
                    <a:pt x="118" y="0"/>
                  </a:lnTo>
                  <a:lnTo>
                    <a:pt x="118" y="2"/>
                  </a:lnTo>
                  <a:lnTo>
                    <a:pt x="120" y="4"/>
                  </a:lnTo>
                  <a:lnTo>
                    <a:pt x="122" y="5"/>
                  </a:lnTo>
                  <a:lnTo>
                    <a:pt x="123" y="5"/>
                  </a:lnTo>
                  <a:lnTo>
                    <a:pt x="126" y="2"/>
                  </a:lnTo>
                  <a:lnTo>
                    <a:pt x="131" y="5"/>
                  </a:lnTo>
                  <a:lnTo>
                    <a:pt x="133" y="5"/>
                  </a:lnTo>
                  <a:lnTo>
                    <a:pt x="135" y="5"/>
                  </a:lnTo>
                  <a:lnTo>
                    <a:pt x="136" y="5"/>
                  </a:lnTo>
                  <a:lnTo>
                    <a:pt x="136" y="7"/>
                  </a:lnTo>
                  <a:lnTo>
                    <a:pt x="136" y="9"/>
                  </a:lnTo>
                  <a:lnTo>
                    <a:pt x="135" y="9"/>
                  </a:lnTo>
                  <a:lnTo>
                    <a:pt x="139" y="10"/>
                  </a:lnTo>
                  <a:lnTo>
                    <a:pt x="139" y="12"/>
                  </a:lnTo>
                  <a:lnTo>
                    <a:pt x="141" y="13"/>
                  </a:lnTo>
                  <a:lnTo>
                    <a:pt x="143" y="13"/>
                  </a:lnTo>
                  <a:lnTo>
                    <a:pt x="143" y="15"/>
                  </a:lnTo>
                  <a:lnTo>
                    <a:pt x="144" y="15"/>
                  </a:lnTo>
                  <a:lnTo>
                    <a:pt x="144" y="17"/>
                  </a:lnTo>
                  <a:lnTo>
                    <a:pt x="144" y="18"/>
                  </a:lnTo>
                  <a:lnTo>
                    <a:pt x="146" y="20"/>
                  </a:lnTo>
                  <a:lnTo>
                    <a:pt x="148" y="23"/>
                  </a:lnTo>
                  <a:lnTo>
                    <a:pt x="152" y="26"/>
                  </a:lnTo>
                  <a:lnTo>
                    <a:pt x="156" y="25"/>
                  </a:lnTo>
                  <a:lnTo>
                    <a:pt x="159" y="26"/>
                  </a:lnTo>
                  <a:lnTo>
                    <a:pt x="164" y="35"/>
                  </a:lnTo>
                  <a:lnTo>
                    <a:pt x="164" y="36"/>
                  </a:lnTo>
                  <a:lnTo>
                    <a:pt x="167" y="35"/>
                  </a:lnTo>
                  <a:lnTo>
                    <a:pt x="167" y="33"/>
                  </a:lnTo>
                  <a:lnTo>
                    <a:pt x="169" y="33"/>
                  </a:lnTo>
                  <a:lnTo>
                    <a:pt x="170" y="36"/>
                  </a:lnTo>
                  <a:lnTo>
                    <a:pt x="170" y="38"/>
                  </a:lnTo>
                  <a:lnTo>
                    <a:pt x="172" y="38"/>
                  </a:lnTo>
                  <a:lnTo>
                    <a:pt x="174" y="38"/>
                  </a:lnTo>
                  <a:lnTo>
                    <a:pt x="180" y="43"/>
                  </a:lnTo>
                  <a:lnTo>
                    <a:pt x="178" y="44"/>
                  </a:lnTo>
                  <a:lnTo>
                    <a:pt x="180" y="46"/>
                  </a:lnTo>
                  <a:lnTo>
                    <a:pt x="180" y="48"/>
                  </a:lnTo>
                  <a:lnTo>
                    <a:pt x="182" y="46"/>
                  </a:lnTo>
                  <a:lnTo>
                    <a:pt x="185" y="51"/>
                  </a:lnTo>
                  <a:lnTo>
                    <a:pt x="183" y="51"/>
                  </a:lnTo>
                  <a:lnTo>
                    <a:pt x="185" y="52"/>
                  </a:lnTo>
                  <a:lnTo>
                    <a:pt x="185" y="51"/>
                  </a:lnTo>
                  <a:lnTo>
                    <a:pt x="185" y="52"/>
                  </a:lnTo>
                  <a:lnTo>
                    <a:pt x="187" y="52"/>
                  </a:lnTo>
                  <a:lnTo>
                    <a:pt x="188" y="52"/>
                  </a:lnTo>
                  <a:lnTo>
                    <a:pt x="193" y="51"/>
                  </a:lnTo>
                  <a:lnTo>
                    <a:pt x="193" y="46"/>
                  </a:lnTo>
                  <a:lnTo>
                    <a:pt x="196" y="48"/>
                  </a:lnTo>
                  <a:lnTo>
                    <a:pt x="196" y="51"/>
                  </a:lnTo>
                  <a:lnTo>
                    <a:pt x="196" y="52"/>
                  </a:lnTo>
                  <a:lnTo>
                    <a:pt x="196" y="54"/>
                  </a:lnTo>
                  <a:lnTo>
                    <a:pt x="196" y="59"/>
                  </a:lnTo>
                  <a:lnTo>
                    <a:pt x="196" y="61"/>
                  </a:lnTo>
                  <a:lnTo>
                    <a:pt x="196" y="64"/>
                  </a:lnTo>
                  <a:lnTo>
                    <a:pt x="198" y="64"/>
                  </a:lnTo>
                  <a:lnTo>
                    <a:pt x="196" y="66"/>
                  </a:lnTo>
                  <a:lnTo>
                    <a:pt x="196" y="70"/>
                  </a:lnTo>
                  <a:lnTo>
                    <a:pt x="195" y="72"/>
                  </a:lnTo>
                  <a:lnTo>
                    <a:pt x="195" y="75"/>
                  </a:lnTo>
                  <a:lnTo>
                    <a:pt x="196" y="75"/>
                  </a:lnTo>
                  <a:lnTo>
                    <a:pt x="198" y="75"/>
                  </a:lnTo>
                  <a:lnTo>
                    <a:pt x="200" y="79"/>
                  </a:lnTo>
                  <a:lnTo>
                    <a:pt x="201" y="79"/>
                  </a:lnTo>
                  <a:lnTo>
                    <a:pt x="201" y="80"/>
                  </a:lnTo>
                  <a:lnTo>
                    <a:pt x="203" y="82"/>
                  </a:lnTo>
                  <a:lnTo>
                    <a:pt x="201" y="83"/>
                  </a:lnTo>
                  <a:lnTo>
                    <a:pt x="201" y="85"/>
                  </a:lnTo>
                  <a:lnTo>
                    <a:pt x="196" y="88"/>
                  </a:lnTo>
                  <a:lnTo>
                    <a:pt x="198" y="88"/>
                  </a:lnTo>
                  <a:lnTo>
                    <a:pt x="198" y="90"/>
                  </a:lnTo>
                  <a:lnTo>
                    <a:pt x="204" y="90"/>
                  </a:lnTo>
                  <a:lnTo>
                    <a:pt x="208" y="92"/>
                  </a:lnTo>
                  <a:lnTo>
                    <a:pt x="209" y="93"/>
                  </a:lnTo>
                  <a:lnTo>
                    <a:pt x="208" y="96"/>
                  </a:lnTo>
                  <a:lnTo>
                    <a:pt x="209" y="96"/>
                  </a:lnTo>
                  <a:lnTo>
                    <a:pt x="213" y="98"/>
                  </a:lnTo>
                  <a:lnTo>
                    <a:pt x="213" y="96"/>
                  </a:lnTo>
                  <a:lnTo>
                    <a:pt x="214" y="98"/>
                  </a:lnTo>
                  <a:lnTo>
                    <a:pt x="216" y="100"/>
                  </a:lnTo>
                  <a:lnTo>
                    <a:pt x="214" y="100"/>
                  </a:lnTo>
                  <a:lnTo>
                    <a:pt x="216" y="101"/>
                  </a:lnTo>
                  <a:lnTo>
                    <a:pt x="218" y="101"/>
                  </a:lnTo>
                  <a:lnTo>
                    <a:pt x="218" y="103"/>
                  </a:lnTo>
                  <a:lnTo>
                    <a:pt x="219" y="103"/>
                  </a:lnTo>
                  <a:lnTo>
                    <a:pt x="221" y="105"/>
                  </a:lnTo>
                  <a:lnTo>
                    <a:pt x="222" y="106"/>
                  </a:lnTo>
                  <a:lnTo>
                    <a:pt x="224" y="106"/>
                  </a:lnTo>
                  <a:lnTo>
                    <a:pt x="226" y="109"/>
                  </a:lnTo>
                  <a:lnTo>
                    <a:pt x="229" y="108"/>
                  </a:lnTo>
                  <a:lnTo>
                    <a:pt x="231" y="109"/>
                  </a:lnTo>
                  <a:lnTo>
                    <a:pt x="232" y="109"/>
                  </a:lnTo>
                  <a:lnTo>
                    <a:pt x="234" y="111"/>
                  </a:lnTo>
                  <a:lnTo>
                    <a:pt x="237" y="109"/>
                  </a:lnTo>
                  <a:lnTo>
                    <a:pt x="239" y="109"/>
                  </a:lnTo>
                  <a:lnTo>
                    <a:pt x="239" y="108"/>
                  </a:lnTo>
                  <a:lnTo>
                    <a:pt x="240" y="106"/>
                  </a:lnTo>
                  <a:lnTo>
                    <a:pt x="242" y="106"/>
                  </a:lnTo>
                  <a:lnTo>
                    <a:pt x="242" y="108"/>
                  </a:lnTo>
                  <a:lnTo>
                    <a:pt x="244" y="111"/>
                  </a:lnTo>
                  <a:lnTo>
                    <a:pt x="245" y="113"/>
                  </a:lnTo>
                  <a:lnTo>
                    <a:pt x="245" y="114"/>
                  </a:lnTo>
                  <a:lnTo>
                    <a:pt x="247" y="116"/>
                  </a:lnTo>
                  <a:lnTo>
                    <a:pt x="250" y="116"/>
                  </a:lnTo>
                  <a:lnTo>
                    <a:pt x="252" y="118"/>
                  </a:lnTo>
                  <a:lnTo>
                    <a:pt x="253" y="118"/>
                  </a:lnTo>
                  <a:lnTo>
                    <a:pt x="255" y="116"/>
                  </a:lnTo>
                  <a:lnTo>
                    <a:pt x="258" y="116"/>
                  </a:lnTo>
                  <a:lnTo>
                    <a:pt x="260" y="118"/>
                  </a:lnTo>
                  <a:lnTo>
                    <a:pt x="261" y="118"/>
                  </a:lnTo>
                  <a:lnTo>
                    <a:pt x="263" y="118"/>
                  </a:lnTo>
                  <a:lnTo>
                    <a:pt x="265" y="118"/>
                  </a:lnTo>
                  <a:lnTo>
                    <a:pt x="266" y="116"/>
                  </a:lnTo>
                  <a:lnTo>
                    <a:pt x="268" y="118"/>
                  </a:lnTo>
                  <a:lnTo>
                    <a:pt x="270" y="119"/>
                  </a:lnTo>
                  <a:lnTo>
                    <a:pt x="271" y="119"/>
                  </a:lnTo>
                  <a:lnTo>
                    <a:pt x="274" y="121"/>
                  </a:lnTo>
                  <a:lnTo>
                    <a:pt x="276" y="122"/>
                  </a:lnTo>
                  <a:lnTo>
                    <a:pt x="278" y="122"/>
                  </a:lnTo>
                  <a:lnTo>
                    <a:pt x="279" y="124"/>
                  </a:lnTo>
                  <a:lnTo>
                    <a:pt x="279" y="126"/>
                  </a:lnTo>
                  <a:lnTo>
                    <a:pt x="279" y="127"/>
                  </a:lnTo>
                  <a:lnTo>
                    <a:pt x="278" y="129"/>
                  </a:lnTo>
                  <a:lnTo>
                    <a:pt x="278" y="131"/>
                  </a:lnTo>
                  <a:lnTo>
                    <a:pt x="276" y="131"/>
                  </a:lnTo>
                  <a:lnTo>
                    <a:pt x="274" y="132"/>
                  </a:lnTo>
                  <a:lnTo>
                    <a:pt x="276" y="134"/>
                  </a:lnTo>
                  <a:lnTo>
                    <a:pt x="273" y="140"/>
                  </a:lnTo>
                  <a:lnTo>
                    <a:pt x="274" y="140"/>
                  </a:lnTo>
                  <a:lnTo>
                    <a:pt x="274" y="142"/>
                  </a:lnTo>
                  <a:lnTo>
                    <a:pt x="273" y="144"/>
                  </a:lnTo>
                  <a:lnTo>
                    <a:pt x="271" y="144"/>
                  </a:lnTo>
                  <a:lnTo>
                    <a:pt x="270" y="145"/>
                  </a:lnTo>
                  <a:lnTo>
                    <a:pt x="270" y="147"/>
                  </a:lnTo>
                  <a:lnTo>
                    <a:pt x="268" y="145"/>
                  </a:lnTo>
                  <a:lnTo>
                    <a:pt x="266" y="147"/>
                  </a:lnTo>
                  <a:lnTo>
                    <a:pt x="268" y="148"/>
                  </a:lnTo>
                  <a:lnTo>
                    <a:pt x="270" y="148"/>
                  </a:lnTo>
                  <a:lnTo>
                    <a:pt x="270" y="150"/>
                  </a:lnTo>
                  <a:lnTo>
                    <a:pt x="271" y="150"/>
                  </a:lnTo>
                  <a:lnTo>
                    <a:pt x="271" y="152"/>
                  </a:lnTo>
                  <a:lnTo>
                    <a:pt x="274" y="153"/>
                  </a:lnTo>
                  <a:lnTo>
                    <a:pt x="276" y="153"/>
                  </a:lnTo>
                  <a:lnTo>
                    <a:pt x="278" y="153"/>
                  </a:lnTo>
                  <a:lnTo>
                    <a:pt x="279" y="155"/>
                  </a:lnTo>
                  <a:lnTo>
                    <a:pt x="283" y="155"/>
                  </a:lnTo>
                  <a:lnTo>
                    <a:pt x="284" y="157"/>
                  </a:lnTo>
                  <a:lnTo>
                    <a:pt x="286" y="157"/>
                  </a:lnTo>
                  <a:lnTo>
                    <a:pt x="287" y="157"/>
                  </a:lnTo>
                  <a:lnTo>
                    <a:pt x="287" y="158"/>
                  </a:lnTo>
                  <a:lnTo>
                    <a:pt x="287" y="160"/>
                  </a:lnTo>
                  <a:lnTo>
                    <a:pt x="289" y="160"/>
                  </a:lnTo>
                  <a:lnTo>
                    <a:pt x="289" y="161"/>
                  </a:lnTo>
                  <a:lnTo>
                    <a:pt x="289" y="163"/>
                  </a:lnTo>
                  <a:lnTo>
                    <a:pt x="286" y="163"/>
                  </a:lnTo>
                  <a:lnTo>
                    <a:pt x="284" y="163"/>
                  </a:lnTo>
                  <a:lnTo>
                    <a:pt x="284" y="165"/>
                  </a:lnTo>
                  <a:lnTo>
                    <a:pt x="283" y="166"/>
                  </a:lnTo>
                  <a:lnTo>
                    <a:pt x="281" y="166"/>
                  </a:lnTo>
                  <a:lnTo>
                    <a:pt x="279" y="166"/>
                  </a:lnTo>
                  <a:lnTo>
                    <a:pt x="278" y="166"/>
                  </a:lnTo>
                  <a:lnTo>
                    <a:pt x="276" y="168"/>
                  </a:lnTo>
                  <a:lnTo>
                    <a:pt x="276" y="166"/>
                  </a:lnTo>
                  <a:lnTo>
                    <a:pt x="274" y="166"/>
                  </a:lnTo>
                  <a:lnTo>
                    <a:pt x="274" y="168"/>
                  </a:lnTo>
                  <a:lnTo>
                    <a:pt x="273" y="168"/>
                  </a:lnTo>
                  <a:lnTo>
                    <a:pt x="271" y="168"/>
                  </a:lnTo>
                  <a:lnTo>
                    <a:pt x="271" y="170"/>
                  </a:lnTo>
                  <a:lnTo>
                    <a:pt x="270" y="170"/>
                  </a:lnTo>
                  <a:lnTo>
                    <a:pt x="270" y="171"/>
                  </a:lnTo>
                  <a:lnTo>
                    <a:pt x="270" y="173"/>
                  </a:lnTo>
                  <a:lnTo>
                    <a:pt x="271" y="174"/>
                  </a:lnTo>
                  <a:lnTo>
                    <a:pt x="273" y="176"/>
                  </a:lnTo>
                  <a:lnTo>
                    <a:pt x="273" y="178"/>
                  </a:lnTo>
                  <a:lnTo>
                    <a:pt x="274" y="179"/>
                  </a:lnTo>
                  <a:lnTo>
                    <a:pt x="274" y="181"/>
                  </a:lnTo>
                  <a:lnTo>
                    <a:pt x="278" y="181"/>
                  </a:lnTo>
                  <a:lnTo>
                    <a:pt x="279" y="179"/>
                  </a:lnTo>
                  <a:lnTo>
                    <a:pt x="283" y="179"/>
                  </a:lnTo>
                  <a:lnTo>
                    <a:pt x="284" y="179"/>
                  </a:lnTo>
                  <a:lnTo>
                    <a:pt x="291" y="179"/>
                  </a:lnTo>
                  <a:lnTo>
                    <a:pt x="292" y="179"/>
                  </a:lnTo>
                  <a:lnTo>
                    <a:pt x="294" y="181"/>
                  </a:lnTo>
                  <a:lnTo>
                    <a:pt x="296" y="181"/>
                  </a:lnTo>
                  <a:lnTo>
                    <a:pt x="297" y="183"/>
                  </a:lnTo>
                  <a:lnTo>
                    <a:pt x="297" y="184"/>
                  </a:lnTo>
                  <a:lnTo>
                    <a:pt x="297" y="186"/>
                  </a:lnTo>
                  <a:lnTo>
                    <a:pt x="297" y="189"/>
                  </a:lnTo>
                  <a:lnTo>
                    <a:pt x="299" y="189"/>
                  </a:lnTo>
                  <a:lnTo>
                    <a:pt x="299" y="191"/>
                  </a:lnTo>
                  <a:lnTo>
                    <a:pt x="299" y="192"/>
                  </a:lnTo>
                  <a:lnTo>
                    <a:pt x="300" y="192"/>
                  </a:lnTo>
                  <a:lnTo>
                    <a:pt x="300" y="194"/>
                  </a:lnTo>
                  <a:lnTo>
                    <a:pt x="302" y="192"/>
                  </a:lnTo>
                  <a:lnTo>
                    <a:pt x="304" y="192"/>
                  </a:lnTo>
                  <a:lnTo>
                    <a:pt x="307" y="192"/>
                  </a:lnTo>
                  <a:lnTo>
                    <a:pt x="309" y="192"/>
                  </a:lnTo>
                  <a:lnTo>
                    <a:pt x="310" y="192"/>
                  </a:lnTo>
                  <a:lnTo>
                    <a:pt x="313" y="192"/>
                  </a:lnTo>
                  <a:lnTo>
                    <a:pt x="315" y="191"/>
                  </a:lnTo>
                  <a:lnTo>
                    <a:pt x="320" y="192"/>
                  </a:lnTo>
                  <a:lnTo>
                    <a:pt x="322" y="191"/>
                  </a:lnTo>
                  <a:lnTo>
                    <a:pt x="325" y="191"/>
                  </a:lnTo>
                  <a:lnTo>
                    <a:pt x="330" y="191"/>
                  </a:lnTo>
                  <a:lnTo>
                    <a:pt x="331" y="191"/>
                  </a:lnTo>
                  <a:lnTo>
                    <a:pt x="335" y="192"/>
                  </a:lnTo>
                  <a:lnTo>
                    <a:pt x="336" y="191"/>
                  </a:lnTo>
                  <a:lnTo>
                    <a:pt x="338" y="192"/>
                  </a:lnTo>
                  <a:lnTo>
                    <a:pt x="339" y="194"/>
                  </a:lnTo>
                  <a:lnTo>
                    <a:pt x="339" y="196"/>
                  </a:lnTo>
                  <a:lnTo>
                    <a:pt x="341" y="196"/>
                  </a:lnTo>
                  <a:lnTo>
                    <a:pt x="343" y="197"/>
                  </a:lnTo>
                  <a:lnTo>
                    <a:pt x="343" y="201"/>
                  </a:lnTo>
                  <a:lnTo>
                    <a:pt x="344" y="204"/>
                  </a:lnTo>
                  <a:lnTo>
                    <a:pt x="346" y="204"/>
                  </a:lnTo>
                  <a:lnTo>
                    <a:pt x="348" y="205"/>
                  </a:lnTo>
                  <a:lnTo>
                    <a:pt x="349" y="209"/>
                  </a:lnTo>
                  <a:lnTo>
                    <a:pt x="351" y="210"/>
                  </a:lnTo>
                  <a:lnTo>
                    <a:pt x="352" y="210"/>
                  </a:lnTo>
                  <a:lnTo>
                    <a:pt x="354" y="212"/>
                  </a:lnTo>
                  <a:lnTo>
                    <a:pt x="356" y="212"/>
                  </a:lnTo>
                  <a:lnTo>
                    <a:pt x="357" y="212"/>
                  </a:lnTo>
                  <a:lnTo>
                    <a:pt x="359" y="210"/>
                  </a:lnTo>
                  <a:lnTo>
                    <a:pt x="361" y="209"/>
                  </a:lnTo>
                  <a:lnTo>
                    <a:pt x="362" y="199"/>
                  </a:lnTo>
                  <a:lnTo>
                    <a:pt x="364" y="197"/>
                  </a:lnTo>
                  <a:lnTo>
                    <a:pt x="364" y="196"/>
                  </a:lnTo>
                  <a:lnTo>
                    <a:pt x="366" y="194"/>
                  </a:lnTo>
                  <a:lnTo>
                    <a:pt x="366" y="192"/>
                  </a:lnTo>
                  <a:lnTo>
                    <a:pt x="366" y="191"/>
                  </a:lnTo>
                  <a:lnTo>
                    <a:pt x="367" y="189"/>
                  </a:lnTo>
                  <a:lnTo>
                    <a:pt x="366" y="187"/>
                  </a:lnTo>
                  <a:lnTo>
                    <a:pt x="367" y="187"/>
                  </a:lnTo>
                  <a:lnTo>
                    <a:pt x="369" y="186"/>
                  </a:lnTo>
                  <a:lnTo>
                    <a:pt x="369" y="184"/>
                  </a:lnTo>
                  <a:lnTo>
                    <a:pt x="369" y="183"/>
                  </a:lnTo>
                  <a:lnTo>
                    <a:pt x="372" y="179"/>
                  </a:lnTo>
                  <a:lnTo>
                    <a:pt x="374" y="179"/>
                  </a:lnTo>
                  <a:lnTo>
                    <a:pt x="377" y="179"/>
                  </a:lnTo>
                  <a:lnTo>
                    <a:pt x="377" y="178"/>
                  </a:lnTo>
                  <a:lnTo>
                    <a:pt x="379" y="174"/>
                  </a:lnTo>
                  <a:lnTo>
                    <a:pt x="380" y="174"/>
                  </a:lnTo>
                  <a:lnTo>
                    <a:pt x="382" y="173"/>
                  </a:lnTo>
                  <a:lnTo>
                    <a:pt x="383" y="173"/>
                  </a:lnTo>
                  <a:lnTo>
                    <a:pt x="393" y="179"/>
                  </a:lnTo>
                  <a:lnTo>
                    <a:pt x="396" y="181"/>
                  </a:lnTo>
                  <a:lnTo>
                    <a:pt x="401" y="184"/>
                  </a:lnTo>
                  <a:lnTo>
                    <a:pt x="403" y="184"/>
                  </a:lnTo>
                  <a:lnTo>
                    <a:pt x="406" y="183"/>
                  </a:lnTo>
                  <a:lnTo>
                    <a:pt x="408" y="183"/>
                  </a:lnTo>
                  <a:lnTo>
                    <a:pt x="409" y="184"/>
                  </a:lnTo>
                  <a:lnTo>
                    <a:pt x="411" y="184"/>
                  </a:lnTo>
                  <a:lnTo>
                    <a:pt x="413" y="186"/>
                  </a:lnTo>
                  <a:lnTo>
                    <a:pt x="414" y="186"/>
                  </a:lnTo>
                  <a:lnTo>
                    <a:pt x="414" y="187"/>
                  </a:lnTo>
                  <a:lnTo>
                    <a:pt x="418" y="189"/>
                  </a:lnTo>
                  <a:lnTo>
                    <a:pt x="418" y="191"/>
                  </a:lnTo>
                  <a:lnTo>
                    <a:pt x="418" y="192"/>
                  </a:lnTo>
                  <a:lnTo>
                    <a:pt x="413" y="196"/>
                  </a:lnTo>
                  <a:lnTo>
                    <a:pt x="411" y="196"/>
                  </a:lnTo>
                  <a:lnTo>
                    <a:pt x="409" y="196"/>
                  </a:lnTo>
                  <a:lnTo>
                    <a:pt x="408" y="194"/>
                  </a:lnTo>
                  <a:lnTo>
                    <a:pt x="405" y="194"/>
                  </a:lnTo>
                  <a:lnTo>
                    <a:pt x="403" y="192"/>
                  </a:lnTo>
                  <a:lnTo>
                    <a:pt x="401" y="192"/>
                  </a:lnTo>
                  <a:lnTo>
                    <a:pt x="400" y="194"/>
                  </a:lnTo>
                  <a:lnTo>
                    <a:pt x="398" y="194"/>
                  </a:lnTo>
                  <a:lnTo>
                    <a:pt x="398" y="196"/>
                  </a:lnTo>
                  <a:lnTo>
                    <a:pt x="398" y="197"/>
                  </a:lnTo>
                  <a:lnTo>
                    <a:pt x="398" y="199"/>
                  </a:lnTo>
                  <a:lnTo>
                    <a:pt x="398" y="202"/>
                  </a:lnTo>
                  <a:lnTo>
                    <a:pt x="396" y="204"/>
                  </a:lnTo>
                  <a:lnTo>
                    <a:pt x="395" y="205"/>
                  </a:lnTo>
                  <a:lnTo>
                    <a:pt x="393" y="205"/>
                  </a:lnTo>
                  <a:lnTo>
                    <a:pt x="392" y="205"/>
                  </a:lnTo>
                  <a:lnTo>
                    <a:pt x="390" y="205"/>
                  </a:lnTo>
                  <a:lnTo>
                    <a:pt x="388" y="205"/>
                  </a:lnTo>
                  <a:lnTo>
                    <a:pt x="388" y="207"/>
                  </a:lnTo>
                  <a:lnTo>
                    <a:pt x="388" y="209"/>
                  </a:lnTo>
                  <a:lnTo>
                    <a:pt x="392" y="212"/>
                  </a:lnTo>
                  <a:lnTo>
                    <a:pt x="393" y="214"/>
                  </a:lnTo>
                  <a:lnTo>
                    <a:pt x="395" y="218"/>
                  </a:lnTo>
                  <a:lnTo>
                    <a:pt x="398" y="223"/>
                  </a:lnTo>
                  <a:lnTo>
                    <a:pt x="401" y="227"/>
                  </a:lnTo>
                  <a:lnTo>
                    <a:pt x="403" y="228"/>
                  </a:lnTo>
                  <a:lnTo>
                    <a:pt x="405" y="228"/>
                  </a:lnTo>
                  <a:lnTo>
                    <a:pt x="408" y="230"/>
                  </a:lnTo>
                  <a:lnTo>
                    <a:pt x="411" y="228"/>
                  </a:lnTo>
                  <a:lnTo>
                    <a:pt x="413" y="228"/>
                  </a:lnTo>
                  <a:lnTo>
                    <a:pt x="414" y="230"/>
                  </a:lnTo>
                  <a:lnTo>
                    <a:pt x="416" y="231"/>
                  </a:lnTo>
                  <a:lnTo>
                    <a:pt x="416" y="233"/>
                  </a:lnTo>
                  <a:lnTo>
                    <a:pt x="416" y="235"/>
                  </a:lnTo>
                  <a:lnTo>
                    <a:pt x="416" y="236"/>
                  </a:lnTo>
                  <a:lnTo>
                    <a:pt x="416" y="238"/>
                  </a:lnTo>
                  <a:lnTo>
                    <a:pt x="416" y="240"/>
                  </a:lnTo>
                  <a:lnTo>
                    <a:pt x="414" y="240"/>
                  </a:lnTo>
                  <a:lnTo>
                    <a:pt x="414" y="241"/>
                  </a:lnTo>
                  <a:lnTo>
                    <a:pt x="413" y="241"/>
                  </a:lnTo>
                  <a:lnTo>
                    <a:pt x="414" y="241"/>
                  </a:lnTo>
                  <a:lnTo>
                    <a:pt x="414" y="243"/>
                  </a:lnTo>
                  <a:lnTo>
                    <a:pt x="413" y="243"/>
                  </a:lnTo>
                  <a:lnTo>
                    <a:pt x="414" y="244"/>
                  </a:lnTo>
                  <a:lnTo>
                    <a:pt x="413" y="244"/>
                  </a:lnTo>
                  <a:lnTo>
                    <a:pt x="413" y="246"/>
                  </a:lnTo>
                  <a:lnTo>
                    <a:pt x="411" y="246"/>
                  </a:lnTo>
                  <a:lnTo>
                    <a:pt x="411" y="248"/>
                  </a:lnTo>
                  <a:lnTo>
                    <a:pt x="413" y="248"/>
                  </a:lnTo>
                  <a:lnTo>
                    <a:pt x="413" y="249"/>
                  </a:lnTo>
                  <a:lnTo>
                    <a:pt x="413" y="251"/>
                  </a:lnTo>
                  <a:lnTo>
                    <a:pt x="413" y="254"/>
                  </a:lnTo>
                  <a:lnTo>
                    <a:pt x="413" y="256"/>
                  </a:lnTo>
                  <a:lnTo>
                    <a:pt x="413" y="257"/>
                  </a:lnTo>
                  <a:lnTo>
                    <a:pt x="413" y="261"/>
                  </a:lnTo>
                  <a:lnTo>
                    <a:pt x="411" y="262"/>
                  </a:lnTo>
                  <a:lnTo>
                    <a:pt x="409" y="262"/>
                  </a:lnTo>
                  <a:lnTo>
                    <a:pt x="408" y="264"/>
                  </a:lnTo>
                  <a:lnTo>
                    <a:pt x="406" y="264"/>
                  </a:lnTo>
                  <a:lnTo>
                    <a:pt x="405" y="266"/>
                  </a:lnTo>
                  <a:lnTo>
                    <a:pt x="406" y="266"/>
                  </a:lnTo>
                  <a:lnTo>
                    <a:pt x="406" y="267"/>
                  </a:lnTo>
                  <a:lnTo>
                    <a:pt x="406" y="269"/>
                  </a:lnTo>
                  <a:lnTo>
                    <a:pt x="405" y="269"/>
                  </a:lnTo>
                  <a:lnTo>
                    <a:pt x="401" y="270"/>
                  </a:lnTo>
                  <a:lnTo>
                    <a:pt x="400" y="270"/>
                  </a:lnTo>
                  <a:lnTo>
                    <a:pt x="396" y="272"/>
                  </a:lnTo>
                  <a:lnTo>
                    <a:pt x="395" y="274"/>
                  </a:lnTo>
                  <a:lnTo>
                    <a:pt x="395" y="275"/>
                  </a:lnTo>
                  <a:lnTo>
                    <a:pt x="395" y="279"/>
                  </a:lnTo>
                  <a:lnTo>
                    <a:pt x="395" y="280"/>
                  </a:lnTo>
                  <a:lnTo>
                    <a:pt x="395" y="282"/>
                  </a:lnTo>
                  <a:lnTo>
                    <a:pt x="395" y="283"/>
                  </a:lnTo>
                  <a:lnTo>
                    <a:pt x="393" y="285"/>
                  </a:lnTo>
                  <a:lnTo>
                    <a:pt x="395" y="287"/>
                  </a:lnTo>
                  <a:lnTo>
                    <a:pt x="395" y="288"/>
                  </a:lnTo>
                  <a:lnTo>
                    <a:pt x="395" y="292"/>
                  </a:lnTo>
                  <a:lnTo>
                    <a:pt x="395" y="295"/>
                  </a:lnTo>
                  <a:lnTo>
                    <a:pt x="395" y="296"/>
                  </a:lnTo>
                  <a:lnTo>
                    <a:pt x="393" y="301"/>
                  </a:lnTo>
                  <a:lnTo>
                    <a:pt x="396" y="306"/>
                  </a:lnTo>
                  <a:lnTo>
                    <a:pt x="398" y="308"/>
                  </a:lnTo>
                  <a:lnTo>
                    <a:pt x="398" y="309"/>
                  </a:lnTo>
                  <a:lnTo>
                    <a:pt x="398" y="311"/>
                  </a:lnTo>
                  <a:lnTo>
                    <a:pt x="398" y="313"/>
                  </a:lnTo>
                  <a:lnTo>
                    <a:pt x="400" y="314"/>
                  </a:lnTo>
                  <a:lnTo>
                    <a:pt x="400" y="316"/>
                  </a:lnTo>
                  <a:lnTo>
                    <a:pt x="401" y="318"/>
                  </a:lnTo>
                  <a:lnTo>
                    <a:pt x="401" y="319"/>
                  </a:lnTo>
                  <a:lnTo>
                    <a:pt x="403" y="319"/>
                  </a:lnTo>
                  <a:lnTo>
                    <a:pt x="408" y="322"/>
                  </a:lnTo>
                  <a:lnTo>
                    <a:pt x="409" y="322"/>
                  </a:lnTo>
                  <a:lnTo>
                    <a:pt x="411" y="324"/>
                  </a:lnTo>
                  <a:lnTo>
                    <a:pt x="411" y="326"/>
                  </a:lnTo>
                  <a:lnTo>
                    <a:pt x="409" y="326"/>
                  </a:lnTo>
                  <a:lnTo>
                    <a:pt x="409" y="327"/>
                  </a:lnTo>
                  <a:lnTo>
                    <a:pt x="411" y="327"/>
                  </a:lnTo>
                  <a:lnTo>
                    <a:pt x="411" y="329"/>
                  </a:lnTo>
                  <a:lnTo>
                    <a:pt x="411" y="331"/>
                  </a:lnTo>
                  <a:lnTo>
                    <a:pt x="413" y="332"/>
                  </a:lnTo>
                  <a:lnTo>
                    <a:pt x="411" y="334"/>
                  </a:lnTo>
                  <a:lnTo>
                    <a:pt x="413" y="335"/>
                  </a:lnTo>
                  <a:lnTo>
                    <a:pt x="413" y="337"/>
                  </a:lnTo>
                  <a:lnTo>
                    <a:pt x="414" y="339"/>
                  </a:lnTo>
                  <a:lnTo>
                    <a:pt x="414" y="340"/>
                  </a:lnTo>
                  <a:lnTo>
                    <a:pt x="418" y="344"/>
                  </a:lnTo>
                  <a:lnTo>
                    <a:pt x="418" y="345"/>
                  </a:lnTo>
                  <a:lnTo>
                    <a:pt x="419" y="347"/>
                  </a:lnTo>
                  <a:lnTo>
                    <a:pt x="421" y="347"/>
                  </a:lnTo>
                  <a:lnTo>
                    <a:pt x="421" y="349"/>
                  </a:lnTo>
                  <a:lnTo>
                    <a:pt x="422" y="347"/>
                  </a:lnTo>
                  <a:lnTo>
                    <a:pt x="424" y="349"/>
                  </a:lnTo>
                  <a:lnTo>
                    <a:pt x="424" y="350"/>
                  </a:lnTo>
                  <a:lnTo>
                    <a:pt x="426" y="350"/>
                  </a:lnTo>
                  <a:lnTo>
                    <a:pt x="429" y="352"/>
                  </a:lnTo>
                  <a:lnTo>
                    <a:pt x="429" y="350"/>
                  </a:lnTo>
                  <a:lnTo>
                    <a:pt x="431" y="350"/>
                  </a:lnTo>
                  <a:lnTo>
                    <a:pt x="432" y="350"/>
                  </a:lnTo>
                  <a:lnTo>
                    <a:pt x="432" y="352"/>
                  </a:lnTo>
                  <a:lnTo>
                    <a:pt x="434" y="353"/>
                  </a:lnTo>
                  <a:lnTo>
                    <a:pt x="434" y="355"/>
                  </a:lnTo>
                  <a:lnTo>
                    <a:pt x="435" y="355"/>
                  </a:lnTo>
                  <a:lnTo>
                    <a:pt x="437" y="355"/>
                  </a:lnTo>
                  <a:lnTo>
                    <a:pt x="440" y="353"/>
                  </a:lnTo>
                  <a:lnTo>
                    <a:pt x="440" y="355"/>
                  </a:lnTo>
                  <a:lnTo>
                    <a:pt x="442" y="355"/>
                  </a:lnTo>
                  <a:lnTo>
                    <a:pt x="444" y="355"/>
                  </a:lnTo>
                  <a:lnTo>
                    <a:pt x="445" y="357"/>
                  </a:lnTo>
                  <a:lnTo>
                    <a:pt x="445" y="358"/>
                  </a:lnTo>
                  <a:lnTo>
                    <a:pt x="447" y="358"/>
                  </a:lnTo>
                  <a:lnTo>
                    <a:pt x="448" y="360"/>
                  </a:lnTo>
                  <a:lnTo>
                    <a:pt x="450" y="362"/>
                  </a:lnTo>
                  <a:lnTo>
                    <a:pt x="452" y="362"/>
                  </a:lnTo>
                  <a:lnTo>
                    <a:pt x="452" y="363"/>
                  </a:lnTo>
                  <a:lnTo>
                    <a:pt x="453" y="365"/>
                  </a:lnTo>
                  <a:lnTo>
                    <a:pt x="455" y="366"/>
                  </a:lnTo>
                  <a:lnTo>
                    <a:pt x="455" y="368"/>
                  </a:lnTo>
                  <a:lnTo>
                    <a:pt x="457" y="370"/>
                  </a:lnTo>
                  <a:lnTo>
                    <a:pt x="458" y="370"/>
                  </a:lnTo>
                  <a:lnTo>
                    <a:pt x="458" y="371"/>
                  </a:lnTo>
                  <a:lnTo>
                    <a:pt x="460" y="373"/>
                  </a:lnTo>
                  <a:lnTo>
                    <a:pt x="461" y="375"/>
                  </a:lnTo>
                  <a:lnTo>
                    <a:pt x="465" y="376"/>
                  </a:lnTo>
                  <a:lnTo>
                    <a:pt x="466" y="376"/>
                  </a:lnTo>
                  <a:lnTo>
                    <a:pt x="466" y="378"/>
                  </a:lnTo>
                  <a:lnTo>
                    <a:pt x="468" y="376"/>
                  </a:lnTo>
                  <a:lnTo>
                    <a:pt x="471" y="378"/>
                  </a:lnTo>
                  <a:lnTo>
                    <a:pt x="473" y="378"/>
                  </a:lnTo>
                  <a:lnTo>
                    <a:pt x="473" y="379"/>
                  </a:lnTo>
                  <a:lnTo>
                    <a:pt x="473" y="381"/>
                  </a:lnTo>
                  <a:lnTo>
                    <a:pt x="473" y="383"/>
                  </a:lnTo>
                  <a:lnTo>
                    <a:pt x="473" y="386"/>
                  </a:lnTo>
                  <a:lnTo>
                    <a:pt x="473" y="388"/>
                  </a:lnTo>
                  <a:lnTo>
                    <a:pt x="473" y="389"/>
                  </a:lnTo>
                  <a:lnTo>
                    <a:pt x="473" y="391"/>
                  </a:lnTo>
                  <a:lnTo>
                    <a:pt x="471" y="392"/>
                  </a:lnTo>
                  <a:lnTo>
                    <a:pt x="468" y="396"/>
                  </a:lnTo>
                  <a:lnTo>
                    <a:pt x="466" y="396"/>
                  </a:lnTo>
                  <a:lnTo>
                    <a:pt x="466" y="399"/>
                  </a:lnTo>
                  <a:lnTo>
                    <a:pt x="466" y="401"/>
                  </a:lnTo>
                  <a:lnTo>
                    <a:pt x="466" y="402"/>
                  </a:lnTo>
                  <a:lnTo>
                    <a:pt x="465" y="402"/>
                  </a:lnTo>
                  <a:lnTo>
                    <a:pt x="463" y="404"/>
                  </a:lnTo>
                  <a:lnTo>
                    <a:pt x="463" y="405"/>
                  </a:lnTo>
                  <a:lnTo>
                    <a:pt x="461" y="407"/>
                  </a:lnTo>
                  <a:lnTo>
                    <a:pt x="460" y="409"/>
                  </a:lnTo>
                  <a:lnTo>
                    <a:pt x="458" y="410"/>
                  </a:lnTo>
                  <a:lnTo>
                    <a:pt x="457" y="410"/>
                  </a:lnTo>
                  <a:lnTo>
                    <a:pt x="455" y="412"/>
                  </a:lnTo>
                  <a:lnTo>
                    <a:pt x="455" y="414"/>
                  </a:lnTo>
                  <a:lnTo>
                    <a:pt x="457" y="415"/>
                  </a:lnTo>
                  <a:lnTo>
                    <a:pt x="455" y="415"/>
                  </a:lnTo>
                  <a:lnTo>
                    <a:pt x="455" y="417"/>
                  </a:lnTo>
                  <a:lnTo>
                    <a:pt x="455" y="418"/>
                  </a:lnTo>
                  <a:lnTo>
                    <a:pt x="457" y="418"/>
                  </a:lnTo>
                  <a:lnTo>
                    <a:pt x="457" y="420"/>
                  </a:lnTo>
                  <a:lnTo>
                    <a:pt x="455" y="422"/>
                  </a:lnTo>
                  <a:lnTo>
                    <a:pt x="455" y="425"/>
                  </a:lnTo>
                  <a:lnTo>
                    <a:pt x="453" y="425"/>
                  </a:lnTo>
                  <a:lnTo>
                    <a:pt x="450" y="427"/>
                  </a:lnTo>
                  <a:lnTo>
                    <a:pt x="448" y="427"/>
                  </a:lnTo>
                  <a:lnTo>
                    <a:pt x="448" y="428"/>
                  </a:lnTo>
                  <a:lnTo>
                    <a:pt x="447" y="428"/>
                  </a:lnTo>
                  <a:lnTo>
                    <a:pt x="445" y="428"/>
                  </a:lnTo>
                  <a:lnTo>
                    <a:pt x="444" y="428"/>
                  </a:lnTo>
                  <a:lnTo>
                    <a:pt x="442" y="428"/>
                  </a:lnTo>
                  <a:lnTo>
                    <a:pt x="440" y="427"/>
                  </a:lnTo>
                  <a:lnTo>
                    <a:pt x="437" y="428"/>
                  </a:lnTo>
                  <a:lnTo>
                    <a:pt x="435" y="430"/>
                  </a:lnTo>
                  <a:lnTo>
                    <a:pt x="435" y="431"/>
                  </a:lnTo>
                  <a:lnTo>
                    <a:pt x="432" y="430"/>
                  </a:lnTo>
                  <a:lnTo>
                    <a:pt x="431" y="431"/>
                  </a:lnTo>
                  <a:lnTo>
                    <a:pt x="431" y="433"/>
                  </a:lnTo>
                  <a:lnTo>
                    <a:pt x="429" y="435"/>
                  </a:lnTo>
                  <a:lnTo>
                    <a:pt x="427" y="436"/>
                  </a:lnTo>
                  <a:lnTo>
                    <a:pt x="427" y="438"/>
                  </a:lnTo>
                  <a:lnTo>
                    <a:pt x="424" y="440"/>
                  </a:lnTo>
                  <a:lnTo>
                    <a:pt x="422" y="441"/>
                  </a:lnTo>
                  <a:lnTo>
                    <a:pt x="424" y="443"/>
                  </a:lnTo>
                  <a:lnTo>
                    <a:pt x="426" y="444"/>
                  </a:lnTo>
                  <a:lnTo>
                    <a:pt x="427" y="446"/>
                  </a:lnTo>
                  <a:lnTo>
                    <a:pt x="431" y="449"/>
                  </a:lnTo>
                  <a:lnTo>
                    <a:pt x="432" y="451"/>
                  </a:lnTo>
                  <a:lnTo>
                    <a:pt x="431" y="451"/>
                  </a:lnTo>
                  <a:lnTo>
                    <a:pt x="431" y="453"/>
                  </a:lnTo>
                  <a:lnTo>
                    <a:pt x="431" y="454"/>
                  </a:lnTo>
                  <a:lnTo>
                    <a:pt x="429" y="456"/>
                  </a:lnTo>
                  <a:lnTo>
                    <a:pt x="429" y="457"/>
                  </a:lnTo>
                  <a:lnTo>
                    <a:pt x="429" y="459"/>
                  </a:lnTo>
                  <a:lnTo>
                    <a:pt x="431" y="461"/>
                  </a:lnTo>
                  <a:lnTo>
                    <a:pt x="429" y="462"/>
                  </a:lnTo>
                  <a:lnTo>
                    <a:pt x="429" y="464"/>
                  </a:lnTo>
                  <a:lnTo>
                    <a:pt x="429" y="466"/>
                  </a:lnTo>
                  <a:lnTo>
                    <a:pt x="431" y="466"/>
                  </a:lnTo>
                  <a:lnTo>
                    <a:pt x="429" y="467"/>
                  </a:lnTo>
                  <a:lnTo>
                    <a:pt x="429" y="469"/>
                  </a:lnTo>
                  <a:lnTo>
                    <a:pt x="429" y="470"/>
                  </a:lnTo>
                  <a:lnTo>
                    <a:pt x="429" y="472"/>
                  </a:lnTo>
                  <a:lnTo>
                    <a:pt x="429" y="474"/>
                  </a:lnTo>
                  <a:lnTo>
                    <a:pt x="429" y="475"/>
                  </a:lnTo>
                  <a:lnTo>
                    <a:pt x="429" y="477"/>
                  </a:lnTo>
                  <a:lnTo>
                    <a:pt x="431" y="477"/>
                  </a:lnTo>
                  <a:lnTo>
                    <a:pt x="432" y="477"/>
                  </a:lnTo>
                  <a:lnTo>
                    <a:pt x="434" y="479"/>
                  </a:lnTo>
                  <a:lnTo>
                    <a:pt x="435" y="480"/>
                  </a:lnTo>
                  <a:lnTo>
                    <a:pt x="439" y="480"/>
                  </a:lnTo>
                  <a:lnTo>
                    <a:pt x="440" y="482"/>
                  </a:lnTo>
                  <a:lnTo>
                    <a:pt x="442" y="483"/>
                  </a:lnTo>
                  <a:lnTo>
                    <a:pt x="444" y="485"/>
                  </a:lnTo>
                  <a:lnTo>
                    <a:pt x="444" y="487"/>
                  </a:lnTo>
                  <a:lnTo>
                    <a:pt x="442" y="490"/>
                  </a:lnTo>
                  <a:lnTo>
                    <a:pt x="442" y="492"/>
                  </a:lnTo>
                  <a:lnTo>
                    <a:pt x="442" y="493"/>
                  </a:lnTo>
                  <a:lnTo>
                    <a:pt x="442" y="495"/>
                  </a:lnTo>
                  <a:lnTo>
                    <a:pt x="442" y="497"/>
                  </a:lnTo>
                  <a:lnTo>
                    <a:pt x="440" y="498"/>
                  </a:lnTo>
                  <a:lnTo>
                    <a:pt x="440" y="500"/>
                  </a:lnTo>
                  <a:lnTo>
                    <a:pt x="437" y="500"/>
                  </a:lnTo>
                  <a:lnTo>
                    <a:pt x="437" y="501"/>
                  </a:lnTo>
                  <a:lnTo>
                    <a:pt x="435" y="503"/>
                  </a:lnTo>
                  <a:lnTo>
                    <a:pt x="435" y="505"/>
                  </a:lnTo>
                  <a:lnTo>
                    <a:pt x="435" y="508"/>
                  </a:lnTo>
                  <a:lnTo>
                    <a:pt x="435" y="510"/>
                  </a:lnTo>
                  <a:lnTo>
                    <a:pt x="434" y="510"/>
                  </a:lnTo>
                  <a:lnTo>
                    <a:pt x="434" y="511"/>
                  </a:lnTo>
                  <a:lnTo>
                    <a:pt x="432" y="510"/>
                  </a:lnTo>
                  <a:lnTo>
                    <a:pt x="431" y="510"/>
                  </a:lnTo>
                  <a:lnTo>
                    <a:pt x="429" y="511"/>
                  </a:lnTo>
                  <a:lnTo>
                    <a:pt x="427" y="511"/>
                  </a:lnTo>
                  <a:lnTo>
                    <a:pt x="427" y="513"/>
                  </a:lnTo>
                  <a:lnTo>
                    <a:pt x="424" y="511"/>
                  </a:lnTo>
                  <a:lnTo>
                    <a:pt x="421" y="510"/>
                  </a:lnTo>
                  <a:lnTo>
                    <a:pt x="419" y="508"/>
                  </a:lnTo>
                  <a:lnTo>
                    <a:pt x="419" y="510"/>
                  </a:lnTo>
                  <a:lnTo>
                    <a:pt x="418" y="511"/>
                  </a:lnTo>
                  <a:lnTo>
                    <a:pt x="416" y="514"/>
                  </a:lnTo>
                  <a:lnTo>
                    <a:pt x="414" y="514"/>
                  </a:lnTo>
                  <a:lnTo>
                    <a:pt x="413" y="516"/>
                  </a:lnTo>
                  <a:lnTo>
                    <a:pt x="411" y="518"/>
                  </a:lnTo>
                  <a:lnTo>
                    <a:pt x="408" y="518"/>
                  </a:lnTo>
                  <a:lnTo>
                    <a:pt x="405" y="519"/>
                  </a:lnTo>
                  <a:lnTo>
                    <a:pt x="403" y="519"/>
                  </a:lnTo>
                  <a:lnTo>
                    <a:pt x="400" y="519"/>
                  </a:lnTo>
                  <a:lnTo>
                    <a:pt x="396" y="521"/>
                  </a:lnTo>
                  <a:lnTo>
                    <a:pt x="395" y="521"/>
                  </a:lnTo>
                  <a:lnTo>
                    <a:pt x="393" y="523"/>
                  </a:lnTo>
                  <a:lnTo>
                    <a:pt x="392" y="523"/>
                  </a:lnTo>
                  <a:lnTo>
                    <a:pt x="388" y="521"/>
                  </a:lnTo>
                  <a:lnTo>
                    <a:pt x="385" y="523"/>
                  </a:lnTo>
                  <a:lnTo>
                    <a:pt x="383" y="523"/>
                  </a:lnTo>
                  <a:lnTo>
                    <a:pt x="382" y="524"/>
                  </a:lnTo>
                  <a:lnTo>
                    <a:pt x="380" y="524"/>
                  </a:lnTo>
                  <a:lnTo>
                    <a:pt x="379" y="524"/>
                  </a:lnTo>
                  <a:lnTo>
                    <a:pt x="377" y="524"/>
                  </a:lnTo>
                  <a:lnTo>
                    <a:pt x="377" y="521"/>
                  </a:lnTo>
                  <a:lnTo>
                    <a:pt x="370" y="518"/>
                  </a:lnTo>
                  <a:lnTo>
                    <a:pt x="369" y="516"/>
                  </a:lnTo>
                  <a:lnTo>
                    <a:pt x="367" y="516"/>
                  </a:lnTo>
                  <a:lnTo>
                    <a:pt x="366" y="516"/>
                  </a:lnTo>
                  <a:lnTo>
                    <a:pt x="366" y="518"/>
                  </a:lnTo>
                  <a:lnTo>
                    <a:pt x="367" y="521"/>
                  </a:lnTo>
                  <a:lnTo>
                    <a:pt x="367" y="523"/>
                  </a:lnTo>
                  <a:lnTo>
                    <a:pt x="367" y="524"/>
                  </a:lnTo>
                  <a:lnTo>
                    <a:pt x="367" y="527"/>
                  </a:lnTo>
                  <a:lnTo>
                    <a:pt x="366" y="529"/>
                  </a:lnTo>
                  <a:lnTo>
                    <a:pt x="366" y="531"/>
                  </a:lnTo>
                  <a:lnTo>
                    <a:pt x="364" y="532"/>
                  </a:lnTo>
                  <a:lnTo>
                    <a:pt x="359" y="534"/>
                  </a:lnTo>
                  <a:lnTo>
                    <a:pt x="357" y="534"/>
                  </a:lnTo>
                  <a:lnTo>
                    <a:pt x="357" y="536"/>
                  </a:lnTo>
                  <a:lnTo>
                    <a:pt x="356" y="534"/>
                  </a:lnTo>
                  <a:lnTo>
                    <a:pt x="354" y="534"/>
                  </a:lnTo>
                  <a:lnTo>
                    <a:pt x="351" y="534"/>
                  </a:lnTo>
                  <a:lnTo>
                    <a:pt x="349" y="534"/>
                  </a:lnTo>
                  <a:lnTo>
                    <a:pt x="348" y="534"/>
                  </a:lnTo>
                  <a:lnTo>
                    <a:pt x="346" y="534"/>
                  </a:lnTo>
                  <a:lnTo>
                    <a:pt x="344" y="534"/>
                  </a:lnTo>
                  <a:lnTo>
                    <a:pt x="344" y="532"/>
                  </a:lnTo>
                  <a:lnTo>
                    <a:pt x="343" y="531"/>
                  </a:lnTo>
                  <a:lnTo>
                    <a:pt x="341" y="529"/>
                  </a:lnTo>
                  <a:lnTo>
                    <a:pt x="341" y="527"/>
                  </a:lnTo>
                  <a:lnTo>
                    <a:pt x="339" y="529"/>
                  </a:lnTo>
                  <a:lnTo>
                    <a:pt x="338" y="529"/>
                  </a:lnTo>
                  <a:lnTo>
                    <a:pt x="338" y="527"/>
                  </a:lnTo>
                  <a:lnTo>
                    <a:pt x="336" y="526"/>
                  </a:lnTo>
                  <a:lnTo>
                    <a:pt x="336" y="524"/>
                  </a:lnTo>
                  <a:lnTo>
                    <a:pt x="338" y="523"/>
                  </a:lnTo>
                  <a:lnTo>
                    <a:pt x="336" y="523"/>
                  </a:lnTo>
                  <a:lnTo>
                    <a:pt x="336" y="521"/>
                  </a:lnTo>
                  <a:lnTo>
                    <a:pt x="338" y="521"/>
                  </a:lnTo>
                  <a:lnTo>
                    <a:pt x="339" y="521"/>
                  </a:lnTo>
                  <a:lnTo>
                    <a:pt x="341" y="521"/>
                  </a:lnTo>
                  <a:lnTo>
                    <a:pt x="341" y="519"/>
                  </a:lnTo>
                  <a:lnTo>
                    <a:pt x="341" y="518"/>
                  </a:lnTo>
                  <a:lnTo>
                    <a:pt x="343" y="518"/>
                  </a:lnTo>
                  <a:lnTo>
                    <a:pt x="344" y="518"/>
                  </a:lnTo>
                  <a:lnTo>
                    <a:pt x="344" y="519"/>
                  </a:lnTo>
                  <a:lnTo>
                    <a:pt x="346" y="519"/>
                  </a:lnTo>
                  <a:lnTo>
                    <a:pt x="346" y="518"/>
                  </a:lnTo>
                  <a:lnTo>
                    <a:pt x="346" y="516"/>
                  </a:lnTo>
                  <a:lnTo>
                    <a:pt x="348" y="516"/>
                  </a:lnTo>
                  <a:lnTo>
                    <a:pt x="348" y="514"/>
                  </a:lnTo>
                  <a:lnTo>
                    <a:pt x="348" y="513"/>
                  </a:lnTo>
                  <a:lnTo>
                    <a:pt x="348" y="511"/>
                  </a:lnTo>
                  <a:lnTo>
                    <a:pt x="346" y="511"/>
                  </a:lnTo>
                  <a:lnTo>
                    <a:pt x="346" y="510"/>
                  </a:lnTo>
                  <a:lnTo>
                    <a:pt x="344" y="508"/>
                  </a:lnTo>
                  <a:lnTo>
                    <a:pt x="344" y="506"/>
                  </a:lnTo>
                  <a:lnTo>
                    <a:pt x="346" y="506"/>
                  </a:lnTo>
                  <a:lnTo>
                    <a:pt x="346" y="505"/>
                  </a:lnTo>
                  <a:lnTo>
                    <a:pt x="348" y="505"/>
                  </a:lnTo>
                  <a:lnTo>
                    <a:pt x="348" y="503"/>
                  </a:lnTo>
                  <a:lnTo>
                    <a:pt x="349" y="503"/>
                  </a:lnTo>
                  <a:lnTo>
                    <a:pt x="349" y="501"/>
                  </a:lnTo>
                  <a:lnTo>
                    <a:pt x="349" y="500"/>
                  </a:lnTo>
                  <a:lnTo>
                    <a:pt x="351" y="500"/>
                  </a:lnTo>
                  <a:lnTo>
                    <a:pt x="351" y="498"/>
                  </a:lnTo>
                  <a:lnTo>
                    <a:pt x="352" y="498"/>
                  </a:lnTo>
                  <a:lnTo>
                    <a:pt x="352" y="497"/>
                  </a:lnTo>
                  <a:lnTo>
                    <a:pt x="351" y="497"/>
                  </a:lnTo>
                  <a:lnTo>
                    <a:pt x="351" y="495"/>
                  </a:lnTo>
                  <a:lnTo>
                    <a:pt x="351" y="493"/>
                  </a:lnTo>
                  <a:lnTo>
                    <a:pt x="352" y="493"/>
                  </a:lnTo>
                  <a:lnTo>
                    <a:pt x="354" y="493"/>
                  </a:lnTo>
                  <a:lnTo>
                    <a:pt x="354" y="492"/>
                  </a:lnTo>
                  <a:lnTo>
                    <a:pt x="356" y="492"/>
                  </a:lnTo>
                  <a:lnTo>
                    <a:pt x="356" y="490"/>
                  </a:lnTo>
                  <a:lnTo>
                    <a:pt x="356" y="488"/>
                  </a:lnTo>
                  <a:lnTo>
                    <a:pt x="356" y="487"/>
                  </a:lnTo>
                  <a:lnTo>
                    <a:pt x="354" y="487"/>
                  </a:lnTo>
                  <a:lnTo>
                    <a:pt x="354" y="485"/>
                  </a:lnTo>
                  <a:lnTo>
                    <a:pt x="354" y="483"/>
                  </a:lnTo>
                  <a:lnTo>
                    <a:pt x="356" y="483"/>
                  </a:lnTo>
                  <a:lnTo>
                    <a:pt x="356" y="482"/>
                  </a:lnTo>
                  <a:lnTo>
                    <a:pt x="356" y="480"/>
                  </a:lnTo>
                  <a:lnTo>
                    <a:pt x="357" y="480"/>
                  </a:lnTo>
                  <a:lnTo>
                    <a:pt x="357" y="479"/>
                  </a:lnTo>
                  <a:lnTo>
                    <a:pt x="359" y="479"/>
                  </a:lnTo>
                  <a:lnTo>
                    <a:pt x="359" y="477"/>
                  </a:lnTo>
                  <a:lnTo>
                    <a:pt x="357" y="477"/>
                  </a:lnTo>
                  <a:lnTo>
                    <a:pt x="357" y="475"/>
                  </a:lnTo>
                  <a:lnTo>
                    <a:pt x="356" y="475"/>
                  </a:lnTo>
                  <a:lnTo>
                    <a:pt x="356" y="474"/>
                  </a:lnTo>
                  <a:lnTo>
                    <a:pt x="354" y="474"/>
                  </a:lnTo>
                  <a:lnTo>
                    <a:pt x="354" y="472"/>
                  </a:lnTo>
                  <a:lnTo>
                    <a:pt x="354" y="470"/>
                  </a:lnTo>
                  <a:lnTo>
                    <a:pt x="352" y="472"/>
                  </a:lnTo>
                  <a:lnTo>
                    <a:pt x="351" y="472"/>
                  </a:lnTo>
                  <a:lnTo>
                    <a:pt x="349" y="474"/>
                  </a:lnTo>
                  <a:lnTo>
                    <a:pt x="348" y="472"/>
                  </a:lnTo>
                  <a:lnTo>
                    <a:pt x="348" y="474"/>
                  </a:lnTo>
                  <a:lnTo>
                    <a:pt x="346" y="474"/>
                  </a:lnTo>
                  <a:lnTo>
                    <a:pt x="346" y="475"/>
                  </a:lnTo>
                  <a:lnTo>
                    <a:pt x="346" y="477"/>
                  </a:lnTo>
                  <a:lnTo>
                    <a:pt x="344" y="477"/>
                  </a:lnTo>
                  <a:lnTo>
                    <a:pt x="343" y="477"/>
                  </a:lnTo>
                  <a:lnTo>
                    <a:pt x="343" y="475"/>
                  </a:lnTo>
                  <a:lnTo>
                    <a:pt x="343" y="474"/>
                  </a:lnTo>
                  <a:lnTo>
                    <a:pt x="341" y="474"/>
                  </a:lnTo>
                  <a:lnTo>
                    <a:pt x="339" y="474"/>
                  </a:lnTo>
                  <a:lnTo>
                    <a:pt x="338" y="474"/>
                  </a:lnTo>
                  <a:lnTo>
                    <a:pt x="336" y="474"/>
                  </a:lnTo>
                  <a:lnTo>
                    <a:pt x="336" y="472"/>
                  </a:lnTo>
                  <a:lnTo>
                    <a:pt x="336" y="470"/>
                  </a:lnTo>
                  <a:lnTo>
                    <a:pt x="335" y="470"/>
                  </a:lnTo>
                  <a:lnTo>
                    <a:pt x="333" y="469"/>
                  </a:lnTo>
                  <a:lnTo>
                    <a:pt x="331" y="469"/>
                  </a:lnTo>
                  <a:lnTo>
                    <a:pt x="331" y="470"/>
                  </a:lnTo>
                  <a:lnTo>
                    <a:pt x="330" y="470"/>
                  </a:lnTo>
                  <a:lnTo>
                    <a:pt x="328" y="470"/>
                  </a:lnTo>
                  <a:lnTo>
                    <a:pt x="326" y="470"/>
                  </a:lnTo>
                  <a:lnTo>
                    <a:pt x="325" y="470"/>
                  </a:lnTo>
                  <a:lnTo>
                    <a:pt x="323" y="469"/>
                  </a:lnTo>
                  <a:lnTo>
                    <a:pt x="322" y="470"/>
                  </a:lnTo>
                  <a:lnTo>
                    <a:pt x="320" y="470"/>
                  </a:lnTo>
                  <a:lnTo>
                    <a:pt x="320" y="469"/>
                  </a:lnTo>
                  <a:lnTo>
                    <a:pt x="318" y="469"/>
                  </a:lnTo>
                  <a:lnTo>
                    <a:pt x="318" y="470"/>
                  </a:lnTo>
                  <a:lnTo>
                    <a:pt x="317" y="470"/>
                  </a:lnTo>
                  <a:lnTo>
                    <a:pt x="315" y="470"/>
                  </a:lnTo>
                  <a:lnTo>
                    <a:pt x="313" y="470"/>
                  </a:lnTo>
                  <a:lnTo>
                    <a:pt x="315" y="469"/>
                  </a:lnTo>
                  <a:lnTo>
                    <a:pt x="315" y="467"/>
                  </a:lnTo>
                  <a:lnTo>
                    <a:pt x="315" y="466"/>
                  </a:lnTo>
                  <a:lnTo>
                    <a:pt x="315" y="464"/>
                  </a:lnTo>
                  <a:lnTo>
                    <a:pt x="315" y="462"/>
                  </a:lnTo>
                  <a:lnTo>
                    <a:pt x="317" y="462"/>
                  </a:lnTo>
                  <a:lnTo>
                    <a:pt x="317" y="461"/>
                  </a:lnTo>
                  <a:lnTo>
                    <a:pt x="317" y="459"/>
                  </a:lnTo>
                  <a:lnTo>
                    <a:pt x="315" y="459"/>
                  </a:lnTo>
                  <a:lnTo>
                    <a:pt x="317" y="457"/>
                  </a:lnTo>
                  <a:lnTo>
                    <a:pt x="317" y="456"/>
                  </a:lnTo>
                  <a:lnTo>
                    <a:pt x="317" y="453"/>
                  </a:lnTo>
                  <a:lnTo>
                    <a:pt x="315" y="453"/>
                  </a:lnTo>
                  <a:lnTo>
                    <a:pt x="313" y="453"/>
                  </a:lnTo>
                  <a:lnTo>
                    <a:pt x="312" y="454"/>
                  </a:lnTo>
                  <a:lnTo>
                    <a:pt x="310" y="454"/>
                  </a:lnTo>
                  <a:lnTo>
                    <a:pt x="309" y="454"/>
                  </a:lnTo>
                  <a:lnTo>
                    <a:pt x="309" y="453"/>
                  </a:lnTo>
                  <a:lnTo>
                    <a:pt x="307" y="453"/>
                  </a:lnTo>
                  <a:lnTo>
                    <a:pt x="307" y="451"/>
                  </a:lnTo>
                  <a:lnTo>
                    <a:pt x="305" y="451"/>
                  </a:lnTo>
                  <a:lnTo>
                    <a:pt x="305" y="449"/>
                  </a:lnTo>
                  <a:lnTo>
                    <a:pt x="304" y="451"/>
                  </a:lnTo>
                  <a:lnTo>
                    <a:pt x="302" y="451"/>
                  </a:lnTo>
                  <a:lnTo>
                    <a:pt x="300" y="451"/>
                  </a:lnTo>
                  <a:lnTo>
                    <a:pt x="300" y="453"/>
                  </a:lnTo>
                  <a:lnTo>
                    <a:pt x="299" y="453"/>
                  </a:lnTo>
                  <a:lnTo>
                    <a:pt x="299" y="451"/>
                  </a:lnTo>
                  <a:lnTo>
                    <a:pt x="299" y="449"/>
                  </a:lnTo>
                  <a:lnTo>
                    <a:pt x="297" y="449"/>
                  </a:lnTo>
                  <a:lnTo>
                    <a:pt x="296" y="448"/>
                  </a:lnTo>
                  <a:lnTo>
                    <a:pt x="296" y="446"/>
                  </a:lnTo>
                  <a:lnTo>
                    <a:pt x="294" y="446"/>
                  </a:lnTo>
                  <a:lnTo>
                    <a:pt x="294" y="444"/>
                  </a:lnTo>
                  <a:lnTo>
                    <a:pt x="294" y="443"/>
                  </a:lnTo>
                  <a:lnTo>
                    <a:pt x="294" y="441"/>
                  </a:lnTo>
                  <a:lnTo>
                    <a:pt x="294" y="440"/>
                  </a:lnTo>
                  <a:lnTo>
                    <a:pt x="292" y="440"/>
                  </a:lnTo>
                  <a:lnTo>
                    <a:pt x="292" y="438"/>
                  </a:lnTo>
                  <a:lnTo>
                    <a:pt x="292" y="436"/>
                  </a:lnTo>
                  <a:lnTo>
                    <a:pt x="291" y="436"/>
                  </a:lnTo>
                  <a:lnTo>
                    <a:pt x="291" y="435"/>
                  </a:lnTo>
                  <a:lnTo>
                    <a:pt x="289" y="435"/>
                  </a:lnTo>
                  <a:lnTo>
                    <a:pt x="287" y="435"/>
                  </a:lnTo>
                  <a:lnTo>
                    <a:pt x="287" y="436"/>
                  </a:lnTo>
                  <a:lnTo>
                    <a:pt x="287" y="438"/>
                  </a:lnTo>
                  <a:lnTo>
                    <a:pt x="286" y="440"/>
                  </a:lnTo>
                  <a:lnTo>
                    <a:pt x="286" y="438"/>
                  </a:lnTo>
                  <a:lnTo>
                    <a:pt x="284" y="438"/>
                  </a:lnTo>
                  <a:lnTo>
                    <a:pt x="284" y="436"/>
                  </a:lnTo>
                  <a:lnTo>
                    <a:pt x="284" y="435"/>
                  </a:lnTo>
                  <a:lnTo>
                    <a:pt x="283" y="435"/>
                  </a:lnTo>
                  <a:lnTo>
                    <a:pt x="283" y="433"/>
                  </a:lnTo>
                  <a:lnTo>
                    <a:pt x="283" y="431"/>
                  </a:lnTo>
                  <a:lnTo>
                    <a:pt x="281" y="430"/>
                  </a:lnTo>
                  <a:lnTo>
                    <a:pt x="281" y="428"/>
                  </a:lnTo>
                  <a:lnTo>
                    <a:pt x="281" y="427"/>
                  </a:lnTo>
                  <a:lnTo>
                    <a:pt x="281" y="425"/>
                  </a:lnTo>
                  <a:lnTo>
                    <a:pt x="279" y="425"/>
                  </a:lnTo>
                  <a:lnTo>
                    <a:pt x="279" y="423"/>
                  </a:lnTo>
                  <a:lnTo>
                    <a:pt x="278" y="425"/>
                  </a:lnTo>
                  <a:lnTo>
                    <a:pt x="276" y="425"/>
                  </a:lnTo>
                  <a:lnTo>
                    <a:pt x="276" y="423"/>
                  </a:lnTo>
                  <a:lnTo>
                    <a:pt x="274" y="423"/>
                  </a:lnTo>
                  <a:lnTo>
                    <a:pt x="274" y="422"/>
                  </a:lnTo>
                  <a:lnTo>
                    <a:pt x="273" y="422"/>
                  </a:lnTo>
                  <a:lnTo>
                    <a:pt x="273" y="423"/>
                  </a:lnTo>
                  <a:lnTo>
                    <a:pt x="273" y="425"/>
                  </a:lnTo>
                  <a:lnTo>
                    <a:pt x="271" y="425"/>
                  </a:lnTo>
                  <a:lnTo>
                    <a:pt x="270" y="425"/>
                  </a:lnTo>
                  <a:lnTo>
                    <a:pt x="268" y="425"/>
                  </a:lnTo>
                  <a:lnTo>
                    <a:pt x="268" y="423"/>
                  </a:lnTo>
                  <a:lnTo>
                    <a:pt x="266" y="423"/>
                  </a:lnTo>
                  <a:lnTo>
                    <a:pt x="265" y="422"/>
                  </a:lnTo>
                  <a:lnTo>
                    <a:pt x="265" y="423"/>
                  </a:lnTo>
                  <a:lnTo>
                    <a:pt x="263" y="423"/>
                  </a:lnTo>
                  <a:lnTo>
                    <a:pt x="261" y="423"/>
                  </a:lnTo>
                  <a:lnTo>
                    <a:pt x="261" y="425"/>
                  </a:lnTo>
                  <a:lnTo>
                    <a:pt x="260" y="425"/>
                  </a:lnTo>
                  <a:lnTo>
                    <a:pt x="258" y="425"/>
                  </a:lnTo>
                  <a:lnTo>
                    <a:pt x="257" y="423"/>
                  </a:lnTo>
                  <a:lnTo>
                    <a:pt x="257" y="422"/>
                  </a:lnTo>
                  <a:lnTo>
                    <a:pt x="255" y="422"/>
                  </a:lnTo>
                  <a:lnTo>
                    <a:pt x="253" y="422"/>
                  </a:lnTo>
                  <a:lnTo>
                    <a:pt x="252" y="422"/>
                  </a:lnTo>
                  <a:lnTo>
                    <a:pt x="252" y="420"/>
                  </a:lnTo>
                  <a:lnTo>
                    <a:pt x="250" y="420"/>
                  </a:lnTo>
                  <a:lnTo>
                    <a:pt x="248" y="420"/>
                  </a:lnTo>
                  <a:lnTo>
                    <a:pt x="247" y="420"/>
                  </a:lnTo>
                  <a:lnTo>
                    <a:pt x="245" y="420"/>
                  </a:lnTo>
                  <a:lnTo>
                    <a:pt x="245" y="418"/>
                  </a:lnTo>
                  <a:lnTo>
                    <a:pt x="247" y="418"/>
                  </a:lnTo>
                  <a:lnTo>
                    <a:pt x="247" y="417"/>
                  </a:lnTo>
                  <a:lnTo>
                    <a:pt x="247" y="415"/>
                  </a:lnTo>
                  <a:lnTo>
                    <a:pt x="248" y="415"/>
                  </a:lnTo>
                  <a:lnTo>
                    <a:pt x="250" y="415"/>
                  </a:lnTo>
                  <a:lnTo>
                    <a:pt x="250" y="414"/>
                  </a:lnTo>
                  <a:lnTo>
                    <a:pt x="250" y="412"/>
                  </a:lnTo>
                  <a:lnTo>
                    <a:pt x="248" y="412"/>
                  </a:lnTo>
                  <a:lnTo>
                    <a:pt x="247" y="410"/>
                  </a:lnTo>
                  <a:lnTo>
                    <a:pt x="247" y="409"/>
                  </a:lnTo>
                  <a:lnTo>
                    <a:pt x="245" y="409"/>
                  </a:lnTo>
                  <a:lnTo>
                    <a:pt x="245" y="407"/>
                  </a:lnTo>
                  <a:lnTo>
                    <a:pt x="244" y="407"/>
                  </a:lnTo>
                  <a:lnTo>
                    <a:pt x="242" y="407"/>
                  </a:lnTo>
                  <a:lnTo>
                    <a:pt x="240" y="407"/>
                  </a:lnTo>
                  <a:lnTo>
                    <a:pt x="240" y="409"/>
                  </a:lnTo>
                  <a:lnTo>
                    <a:pt x="240" y="410"/>
                  </a:lnTo>
                  <a:lnTo>
                    <a:pt x="239" y="410"/>
                  </a:lnTo>
                  <a:lnTo>
                    <a:pt x="237" y="410"/>
                  </a:lnTo>
                  <a:lnTo>
                    <a:pt x="237" y="412"/>
                  </a:lnTo>
                  <a:lnTo>
                    <a:pt x="235" y="412"/>
                  </a:lnTo>
                  <a:lnTo>
                    <a:pt x="234" y="410"/>
                  </a:lnTo>
                  <a:lnTo>
                    <a:pt x="232" y="410"/>
                  </a:lnTo>
                  <a:lnTo>
                    <a:pt x="232" y="412"/>
                  </a:lnTo>
                  <a:lnTo>
                    <a:pt x="232" y="414"/>
                  </a:lnTo>
                  <a:lnTo>
                    <a:pt x="231" y="415"/>
                  </a:lnTo>
                  <a:lnTo>
                    <a:pt x="231" y="417"/>
                  </a:lnTo>
                  <a:lnTo>
                    <a:pt x="229" y="417"/>
                  </a:lnTo>
                  <a:lnTo>
                    <a:pt x="227" y="417"/>
                  </a:lnTo>
                  <a:lnTo>
                    <a:pt x="226" y="417"/>
                  </a:lnTo>
                  <a:lnTo>
                    <a:pt x="226" y="418"/>
                  </a:lnTo>
                  <a:lnTo>
                    <a:pt x="224" y="418"/>
                  </a:lnTo>
                  <a:lnTo>
                    <a:pt x="222" y="418"/>
                  </a:lnTo>
                  <a:lnTo>
                    <a:pt x="221" y="418"/>
                  </a:lnTo>
                  <a:lnTo>
                    <a:pt x="219" y="420"/>
                  </a:lnTo>
                  <a:lnTo>
                    <a:pt x="221" y="420"/>
                  </a:lnTo>
                  <a:lnTo>
                    <a:pt x="222" y="422"/>
                  </a:lnTo>
                  <a:lnTo>
                    <a:pt x="222" y="423"/>
                  </a:lnTo>
                  <a:lnTo>
                    <a:pt x="222" y="425"/>
                  </a:lnTo>
                  <a:lnTo>
                    <a:pt x="224" y="425"/>
                  </a:lnTo>
                  <a:lnTo>
                    <a:pt x="226" y="425"/>
                  </a:lnTo>
                  <a:lnTo>
                    <a:pt x="227" y="425"/>
                  </a:lnTo>
                  <a:lnTo>
                    <a:pt x="227" y="427"/>
                  </a:lnTo>
                  <a:lnTo>
                    <a:pt x="227" y="428"/>
                  </a:lnTo>
                  <a:lnTo>
                    <a:pt x="229" y="428"/>
                  </a:lnTo>
                  <a:lnTo>
                    <a:pt x="231" y="428"/>
                  </a:lnTo>
                  <a:lnTo>
                    <a:pt x="231" y="430"/>
                  </a:lnTo>
                  <a:lnTo>
                    <a:pt x="232" y="431"/>
                  </a:lnTo>
                  <a:lnTo>
                    <a:pt x="232" y="433"/>
                  </a:lnTo>
                  <a:lnTo>
                    <a:pt x="232" y="435"/>
                  </a:lnTo>
                  <a:lnTo>
                    <a:pt x="231" y="435"/>
                  </a:lnTo>
                  <a:lnTo>
                    <a:pt x="231" y="436"/>
                  </a:lnTo>
                  <a:lnTo>
                    <a:pt x="229" y="436"/>
                  </a:lnTo>
                  <a:lnTo>
                    <a:pt x="229" y="438"/>
                  </a:lnTo>
                  <a:lnTo>
                    <a:pt x="231" y="438"/>
                  </a:lnTo>
                  <a:lnTo>
                    <a:pt x="231" y="440"/>
                  </a:lnTo>
                  <a:lnTo>
                    <a:pt x="231" y="441"/>
                  </a:lnTo>
                  <a:lnTo>
                    <a:pt x="231" y="443"/>
                  </a:lnTo>
                  <a:lnTo>
                    <a:pt x="229" y="443"/>
                  </a:lnTo>
                  <a:lnTo>
                    <a:pt x="229" y="444"/>
                  </a:lnTo>
                  <a:lnTo>
                    <a:pt x="227" y="446"/>
                  </a:lnTo>
                  <a:lnTo>
                    <a:pt x="227" y="448"/>
                  </a:lnTo>
                  <a:lnTo>
                    <a:pt x="226" y="448"/>
                  </a:lnTo>
                  <a:lnTo>
                    <a:pt x="226" y="446"/>
                  </a:lnTo>
                  <a:lnTo>
                    <a:pt x="224" y="446"/>
                  </a:lnTo>
                  <a:lnTo>
                    <a:pt x="222" y="446"/>
                  </a:lnTo>
                  <a:lnTo>
                    <a:pt x="222" y="448"/>
                  </a:lnTo>
                  <a:lnTo>
                    <a:pt x="222" y="449"/>
                  </a:lnTo>
                  <a:lnTo>
                    <a:pt x="221" y="449"/>
                  </a:lnTo>
                  <a:lnTo>
                    <a:pt x="221" y="451"/>
                  </a:lnTo>
                  <a:lnTo>
                    <a:pt x="221" y="453"/>
                  </a:lnTo>
                  <a:lnTo>
                    <a:pt x="219" y="453"/>
                  </a:lnTo>
                  <a:lnTo>
                    <a:pt x="219" y="454"/>
                  </a:lnTo>
                  <a:lnTo>
                    <a:pt x="219" y="453"/>
                  </a:lnTo>
                  <a:lnTo>
                    <a:pt x="218" y="453"/>
                  </a:lnTo>
                  <a:lnTo>
                    <a:pt x="216" y="453"/>
                  </a:lnTo>
                  <a:lnTo>
                    <a:pt x="216" y="454"/>
                  </a:lnTo>
                  <a:lnTo>
                    <a:pt x="214" y="454"/>
                  </a:lnTo>
                  <a:lnTo>
                    <a:pt x="214" y="456"/>
                  </a:lnTo>
                  <a:lnTo>
                    <a:pt x="214" y="457"/>
                  </a:lnTo>
                  <a:lnTo>
                    <a:pt x="214" y="459"/>
                  </a:lnTo>
                  <a:lnTo>
                    <a:pt x="214" y="461"/>
                  </a:lnTo>
                  <a:lnTo>
                    <a:pt x="216" y="461"/>
                  </a:lnTo>
                  <a:lnTo>
                    <a:pt x="216" y="462"/>
                  </a:lnTo>
                  <a:lnTo>
                    <a:pt x="218" y="462"/>
                  </a:lnTo>
                  <a:lnTo>
                    <a:pt x="218" y="464"/>
                  </a:lnTo>
                  <a:lnTo>
                    <a:pt x="219" y="464"/>
                  </a:lnTo>
                  <a:lnTo>
                    <a:pt x="221" y="464"/>
                  </a:lnTo>
                  <a:lnTo>
                    <a:pt x="219" y="466"/>
                  </a:lnTo>
                  <a:lnTo>
                    <a:pt x="218" y="467"/>
                  </a:lnTo>
                  <a:lnTo>
                    <a:pt x="216" y="467"/>
                  </a:lnTo>
                  <a:lnTo>
                    <a:pt x="214" y="467"/>
                  </a:lnTo>
                  <a:lnTo>
                    <a:pt x="214" y="469"/>
                  </a:lnTo>
                  <a:lnTo>
                    <a:pt x="213" y="470"/>
                  </a:lnTo>
                  <a:lnTo>
                    <a:pt x="213" y="472"/>
                  </a:lnTo>
                  <a:lnTo>
                    <a:pt x="211" y="472"/>
                  </a:lnTo>
                  <a:lnTo>
                    <a:pt x="211" y="474"/>
                  </a:lnTo>
                  <a:lnTo>
                    <a:pt x="209" y="474"/>
                  </a:lnTo>
                  <a:lnTo>
                    <a:pt x="208" y="472"/>
                  </a:lnTo>
                  <a:lnTo>
                    <a:pt x="206" y="472"/>
                  </a:lnTo>
                  <a:lnTo>
                    <a:pt x="204" y="472"/>
                  </a:lnTo>
                  <a:lnTo>
                    <a:pt x="203" y="474"/>
                  </a:lnTo>
                  <a:lnTo>
                    <a:pt x="201" y="472"/>
                  </a:lnTo>
                  <a:lnTo>
                    <a:pt x="200" y="467"/>
                  </a:lnTo>
                  <a:lnTo>
                    <a:pt x="198" y="462"/>
                  </a:lnTo>
                  <a:lnTo>
                    <a:pt x="195" y="459"/>
                  </a:lnTo>
                  <a:lnTo>
                    <a:pt x="191" y="457"/>
                  </a:lnTo>
                  <a:lnTo>
                    <a:pt x="190" y="457"/>
                  </a:lnTo>
                  <a:lnTo>
                    <a:pt x="185" y="456"/>
                  </a:lnTo>
                  <a:lnTo>
                    <a:pt x="182" y="456"/>
                  </a:lnTo>
                  <a:lnTo>
                    <a:pt x="178" y="457"/>
                  </a:lnTo>
                  <a:lnTo>
                    <a:pt x="170" y="454"/>
                  </a:lnTo>
                  <a:lnTo>
                    <a:pt x="170" y="453"/>
                  </a:lnTo>
                  <a:lnTo>
                    <a:pt x="170" y="449"/>
                  </a:lnTo>
                  <a:lnTo>
                    <a:pt x="170" y="448"/>
                  </a:lnTo>
                  <a:lnTo>
                    <a:pt x="165" y="448"/>
                  </a:lnTo>
                  <a:lnTo>
                    <a:pt x="162" y="444"/>
                  </a:lnTo>
                  <a:lnTo>
                    <a:pt x="161" y="441"/>
                  </a:lnTo>
                  <a:lnTo>
                    <a:pt x="159" y="440"/>
                  </a:lnTo>
                  <a:lnTo>
                    <a:pt x="159" y="436"/>
                  </a:lnTo>
                  <a:lnTo>
                    <a:pt x="156" y="431"/>
                  </a:lnTo>
                  <a:lnTo>
                    <a:pt x="152" y="436"/>
                  </a:lnTo>
                  <a:lnTo>
                    <a:pt x="149" y="436"/>
                  </a:lnTo>
                  <a:lnTo>
                    <a:pt x="148" y="435"/>
                  </a:lnTo>
                  <a:lnTo>
                    <a:pt x="146" y="435"/>
                  </a:lnTo>
                  <a:lnTo>
                    <a:pt x="143" y="436"/>
                  </a:lnTo>
                  <a:lnTo>
                    <a:pt x="141" y="438"/>
                  </a:lnTo>
                  <a:lnTo>
                    <a:pt x="139" y="436"/>
                  </a:lnTo>
                  <a:lnTo>
                    <a:pt x="139" y="435"/>
                  </a:lnTo>
                  <a:lnTo>
                    <a:pt x="139" y="433"/>
                  </a:lnTo>
                  <a:lnTo>
                    <a:pt x="138" y="433"/>
                  </a:lnTo>
                  <a:lnTo>
                    <a:pt x="136" y="435"/>
                  </a:lnTo>
                  <a:lnTo>
                    <a:pt x="135" y="433"/>
                  </a:lnTo>
                  <a:lnTo>
                    <a:pt x="133" y="433"/>
                  </a:lnTo>
                  <a:lnTo>
                    <a:pt x="131" y="433"/>
                  </a:lnTo>
                  <a:lnTo>
                    <a:pt x="130" y="433"/>
                  </a:lnTo>
                  <a:lnTo>
                    <a:pt x="126" y="431"/>
                  </a:lnTo>
                  <a:lnTo>
                    <a:pt x="122" y="430"/>
                  </a:lnTo>
                  <a:lnTo>
                    <a:pt x="118" y="428"/>
                  </a:lnTo>
                  <a:lnTo>
                    <a:pt x="117" y="425"/>
                  </a:lnTo>
                  <a:lnTo>
                    <a:pt x="115" y="420"/>
                  </a:lnTo>
                  <a:lnTo>
                    <a:pt x="112" y="415"/>
                  </a:lnTo>
                  <a:lnTo>
                    <a:pt x="105" y="410"/>
                  </a:lnTo>
                  <a:lnTo>
                    <a:pt x="100" y="407"/>
                  </a:lnTo>
                  <a:lnTo>
                    <a:pt x="100" y="404"/>
                  </a:lnTo>
                  <a:lnTo>
                    <a:pt x="94" y="402"/>
                  </a:lnTo>
                  <a:lnTo>
                    <a:pt x="89" y="401"/>
                  </a:lnTo>
                  <a:lnTo>
                    <a:pt x="86" y="399"/>
                  </a:lnTo>
                  <a:lnTo>
                    <a:pt x="84" y="399"/>
                  </a:lnTo>
                  <a:lnTo>
                    <a:pt x="79" y="397"/>
                  </a:lnTo>
                  <a:lnTo>
                    <a:pt x="76" y="396"/>
                  </a:lnTo>
                  <a:lnTo>
                    <a:pt x="74" y="389"/>
                  </a:lnTo>
                  <a:lnTo>
                    <a:pt x="74" y="388"/>
                  </a:lnTo>
                  <a:lnTo>
                    <a:pt x="74" y="386"/>
                  </a:lnTo>
                  <a:lnTo>
                    <a:pt x="76" y="383"/>
                  </a:lnTo>
                  <a:lnTo>
                    <a:pt x="76" y="379"/>
                  </a:lnTo>
                  <a:lnTo>
                    <a:pt x="78" y="376"/>
                  </a:lnTo>
                  <a:lnTo>
                    <a:pt x="83" y="379"/>
                  </a:lnTo>
                  <a:lnTo>
                    <a:pt x="86" y="378"/>
                  </a:lnTo>
                  <a:lnTo>
                    <a:pt x="89" y="378"/>
                  </a:lnTo>
                  <a:lnTo>
                    <a:pt x="91" y="376"/>
                  </a:lnTo>
                  <a:lnTo>
                    <a:pt x="91" y="378"/>
                  </a:lnTo>
                  <a:lnTo>
                    <a:pt x="92" y="378"/>
                  </a:lnTo>
                  <a:lnTo>
                    <a:pt x="94" y="378"/>
                  </a:lnTo>
                  <a:lnTo>
                    <a:pt x="96" y="378"/>
                  </a:lnTo>
                  <a:lnTo>
                    <a:pt x="97" y="378"/>
                  </a:lnTo>
                  <a:lnTo>
                    <a:pt x="99" y="378"/>
                  </a:lnTo>
                  <a:lnTo>
                    <a:pt x="102" y="378"/>
                  </a:lnTo>
                  <a:lnTo>
                    <a:pt x="104" y="376"/>
                  </a:lnTo>
                  <a:lnTo>
                    <a:pt x="102" y="375"/>
                  </a:lnTo>
                  <a:lnTo>
                    <a:pt x="102" y="376"/>
                  </a:lnTo>
                  <a:lnTo>
                    <a:pt x="102" y="375"/>
                  </a:lnTo>
                  <a:lnTo>
                    <a:pt x="102" y="373"/>
                  </a:lnTo>
                  <a:lnTo>
                    <a:pt x="102" y="371"/>
                  </a:lnTo>
                  <a:lnTo>
                    <a:pt x="100" y="371"/>
                  </a:lnTo>
                  <a:lnTo>
                    <a:pt x="100" y="370"/>
                  </a:lnTo>
                  <a:lnTo>
                    <a:pt x="102" y="370"/>
                  </a:lnTo>
                  <a:lnTo>
                    <a:pt x="104" y="370"/>
                  </a:lnTo>
                  <a:lnTo>
                    <a:pt x="104" y="368"/>
                  </a:lnTo>
                  <a:lnTo>
                    <a:pt x="107" y="366"/>
                  </a:lnTo>
                  <a:lnTo>
                    <a:pt x="107" y="365"/>
                  </a:lnTo>
                  <a:lnTo>
                    <a:pt x="105" y="365"/>
                  </a:lnTo>
                  <a:lnTo>
                    <a:pt x="104" y="363"/>
                  </a:lnTo>
                  <a:lnTo>
                    <a:pt x="104" y="362"/>
                  </a:lnTo>
                  <a:lnTo>
                    <a:pt x="104" y="358"/>
                  </a:lnTo>
                  <a:lnTo>
                    <a:pt x="100" y="357"/>
                  </a:lnTo>
                  <a:lnTo>
                    <a:pt x="99" y="357"/>
                  </a:lnTo>
                  <a:lnTo>
                    <a:pt x="99" y="355"/>
                  </a:lnTo>
                  <a:lnTo>
                    <a:pt x="99" y="353"/>
                  </a:lnTo>
                  <a:lnTo>
                    <a:pt x="99" y="352"/>
                  </a:lnTo>
                  <a:lnTo>
                    <a:pt x="97" y="352"/>
                  </a:lnTo>
                  <a:lnTo>
                    <a:pt x="97" y="350"/>
                  </a:lnTo>
                  <a:lnTo>
                    <a:pt x="96" y="350"/>
                  </a:lnTo>
                  <a:lnTo>
                    <a:pt x="92" y="350"/>
                  </a:lnTo>
                  <a:lnTo>
                    <a:pt x="91" y="350"/>
                  </a:lnTo>
                  <a:lnTo>
                    <a:pt x="89" y="349"/>
                  </a:lnTo>
                  <a:lnTo>
                    <a:pt x="86" y="345"/>
                  </a:lnTo>
                  <a:lnTo>
                    <a:pt x="86" y="344"/>
                  </a:lnTo>
                  <a:lnTo>
                    <a:pt x="84" y="342"/>
                  </a:lnTo>
                  <a:lnTo>
                    <a:pt x="83" y="340"/>
                  </a:lnTo>
                  <a:lnTo>
                    <a:pt x="83" y="339"/>
                  </a:lnTo>
                  <a:lnTo>
                    <a:pt x="81" y="337"/>
                  </a:lnTo>
                  <a:lnTo>
                    <a:pt x="79" y="335"/>
                  </a:lnTo>
                  <a:lnTo>
                    <a:pt x="76" y="334"/>
                  </a:lnTo>
                  <a:lnTo>
                    <a:pt x="73" y="331"/>
                  </a:lnTo>
                  <a:lnTo>
                    <a:pt x="71" y="329"/>
                  </a:lnTo>
                  <a:lnTo>
                    <a:pt x="71" y="327"/>
                  </a:lnTo>
                  <a:lnTo>
                    <a:pt x="71" y="326"/>
                  </a:lnTo>
                  <a:lnTo>
                    <a:pt x="70" y="324"/>
                  </a:lnTo>
                  <a:lnTo>
                    <a:pt x="70" y="322"/>
                  </a:lnTo>
                  <a:lnTo>
                    <a:pt x="68" y="319"/>
                  </a:lnTo>
                  <a:lnTo>
                    <a:pt x="70" y="319"/>
                  </a:lnTo>
                  <a:lnTo>
                    <a:pt x="71" y="319"/>
                  </a:lnTo>
                  <a:lnTo>
                    <a:pt x="71" y="321"/>
                  </a:lnTo>
                  <a:lnTo>
                    <a:pt x="73" y="321"/>
                  </a:lnTo>
                  <a:lnTo>
                    <a:pt x="74" y="321"/>
                  </a:lnTo>
                  <a:lnTo>
                    <a:pt x="76" y="321"/>
                  </a:lnTo>
                  <a:lnTo>
                    <a:pt x="78" y="321"/>
                  </a:lnTo>
                  <a:lnTo>
                    <a:pt x="79" y="322"/>
                  </a:lnTo>
                  <a:lnTo>
                    <a:pt x="81" y="322"/>
                  </a:lnTo>
                  <a:lnTo>
                    <a:pt x="83" y="324"/>
                  </a:lnTo>
                  <a:lnTo>
                    <a:pt x="84" y="324"/>
                  </a:lnTo>
                  <a:lnTo>
                    <a:pt x="86" y="326"/>
                  </a:lnTo>
                  <a:lnTo>
                    <a:pt x="86" y="324"/>
                  </a:lnTo>
                  <a:lnTo>
                    <a:pt x="87" y="324"/>
                  </a:lnTo>
                  <a:lnTo>
                    <a:pt x="89" y="324"/>
                  </a:lnTo>
                  <a:lnTo>
                    <a:pt x="91" y="326"/>
                  </a:lnTo>
                  <a:lnTo>
                    <a:pt x="91" y="324"/>
                  </a:lnTo>
                  <a:lnTo>
                    <a:pt x="92" y="324"/>
                  </a:lnTo>
                  <a:lnTo>
                    <a:pt x="96" y="324"/>
                  </a:lnTo>
                  <a:lnTo>
                    <a:pt x="99" y="324"/>
                  </a:lnTo>
                  <a:lnTo>
                    <a:pt x="100" y="324"/>
                  </a:lnTo>
                  <a:lnTo>
                    <a:pt x="100" y="321"/>
                  </a:lnTo>
                  <a:lnTo>
                    <a:pt x="102" y="321"/>
                  </a:lnTo>
                  <a:lnTo>
                    <a:pt x="104" y="319"/>
                  </a:lnTo>
                  <a:lnTo>
                    <a:pt x="102" y="318"/>
                  </a:lnTo>
                  <a:lnTo>
                    <a:pt x="105" y="316"/>
                  </a:lnTo>
                  <a:lnTo>
                    <a:pt x="107" y="316"/>
                  </a:lnTo>
                  <a:lnTo>
                    <a:pt x="109" y="314"/>
                  </a:lnTo>
                  <a:lnTo>
                    <a:pt x="109" y="313"/>
                  </a:lnTo>
                  <a:lnTo>
                    <a:pt x="107" y="311"/>
                  </a:lnTo>
                  <a:lnTo>
                    <a:pt x="109" y="309"/>
                  </a:lnTo>
                  <a:lnTo>
                    <a:pt x="107" y="309"/>
                  </a:lnTo>
                  <a:lnTo>
                    <a:pt x="105" y="309"/>
                  </a:lnTo>
                  <a:lnTo>
                    <a:pt x="105" y="306"/>
                  </a:lnTo>
                  <a:lnTo>
                    <a:pt x="104" y="306"/>
                  </a:lnTo>
                  <a:lnTo>
                    <a:pt x="104" y="308"/>
                  </a:lnTo>
                  <a:lnTo>
                    <a:pt x="104" y="309"/>
                  </a:lnTo>
                  <a:lnTo>
                    <a:pt x="104" y="311"/>
                  </a:lnTo>
                  <a:lnTo>
                    <a:pt x="102" y="309"/>
                  </a:lnTo>
                  <a:lnTo>
                    <a:pt x="102" y="308"/>
                  </a:lnTo>
                  <a:lnTo>
                    <a:pt x="100" y="308"/>
                  </a:lnTo>
                  <a:lnTo>
                    <a:pt x="96" y="306"/>
                  </a:lnTo>
                  <a:lnTo>
                    <a:pt x="96" y="305"/>
                  </a:lnTo>
                  <a:lnTo>
                    <a:pt x="94" y="303"/>
                  </a:lnTo>
                  <a:lnTo>
                    <a:pt x="94" y="301"/>
                  </a:lnTo>
                  <a:lnTo>
                    <a:pt x="92" y="301"/>
                  </a:lnTo>
                  <a:lnTo>
                    <a:pt x="91" y="301"/>
                  </a:lnTo>
                  <a:lnTo>
                    <a:pt x="91" y="300"/>
                  </a:lnTo>
                  <a:lnTo>
                    <a:pt x="92" y="298"/>
                  </a:lnTo>
                  <a:lnTo>
                    <a:pt x="91" y="296"/>
                  </a:lnTo>
                  <a:lnTo>
                    <a:pt x="91" y="298"/>
                  </a:lnTo>
                  <a:lnTo>
                    <a:pt x="89" y="298"/>
                  </a:lnTo>
                  <a:lnTo>
                    <a:pt x="89" y="300"/>
                  </a:lnTo>
                  <a:lnTo>
                    <a:pt x="87" y="300"/>
                  </a:lnTo>
                  <a:lnTo>
                    <a:pt x="86" y="298"/>
                  </a:lnTo>
                  <a:lnTo>
                    <a:pt x="84" y="298"/>
                  </a:lnTo>
                  <a:lnTo>
                    <a:pt x="84" y="296"/>
                  </a:lnTo>
                  <a:lnTo>
                    <a:pt x="84" y="295"/>
                  </a:lnTo>
                  <a:lnTo>
                    <a:pt x="83" y="295"/>
                  </a:lnTo>
                  <a:lnTo>
                    <a:pt x="81" y="293"/>
                  </a:lnTo>
                  <a:lnTo>
                    <a:pt x="79" y="295"/>
                  </a:lnTo>
                  <a:lnTo>
                    <a:pt x="79" y="293"/>
                  </a:lnTo>
                  <a:lnTo>
                    <a:pt x="78" y="292"/>
                  </a:lnTo>
                  <a:lnTo>
                    <a:pt x="78" y="290"/>
                  </a:lnTo>
                  <a:lnTo>
                    <a:pt x="76" y="288"/>
                  </a:lnTo>
                  <a:lnTo>
                    <a:pt x="76" y="287"/>
                  </a:lnTo>
                  <a:lnTo>
                    <a:pt x="76" y="285"/>
                  </a:lnTo>
                  <a:lnTo>
                    <a:pt x="74" y="285"/>
                  </a:lnTo>
                  <a:lnTo>
                    <a:pt x="74" y="282"/>
                  </a:lnTo>
                  <a:lnTo>
                    <a:pt x="73" y="282"/>
                  </a:lnTo>
                  <a:lnTo>
                    <a:pt x="71" y="282"/>
                  </a:lnTo>
                  <a:lnTo>
                    <a:pt x="70" y="282"/>
                  </a:lnTo>
                  <a:lnTo>
                    <a:pt x="68" y="282"/>
                  </a:lnTo>
                  <a:lnTo>
                    <a:pt x="68" y="283"/>
                  </a:lnTo>
                  <a:lnTo>
                    <a:pt x="66" y="283"/>
                  </a:lnTo>
                  <a:lnTo>
                    <a:pt x="65" y="285"/>
                  </a:lnTo>
                  <a:lnTo>
                    <a:pt x="63" y="283"/>
                  </a:lnTo>
                  <a:lnTo>
                    <a:pt x="63" y="282"/>
                  </a:lnTo>
                  <a:lnTo>
                    <a:pt x="61" y="280"/>
                  </a:lnTo>
                  <a:lnTo>
                    <a:pt x="60" y="282"/>
                  </a:lnTo>
                  <a:lnTo>
                    <a:pt x="56" y="282"/>
                  </a:lnTo>
                  <a:lnTo>
                    <a:pt x="55" y="280"/>
                  </a:lnTo>
                  <a:lnTo>
                    <a:pt x="53" y="279"/>
                  </a:lnTo>
                  <a:lnTo>
                    <a:pt x="53" y="277"/>
                  </a:lnTo>
                  <a:lnTo>
                    <a:pt x="53" y="275"/>
                  </a:lnTo>
                  <a:lnTo>
                    <a:pt x="52" y="274"/>
                  </a:lnTo>
                  <a:lnTo>
                    <a:pt x="50" y="274"/>
                  </a:lnTo>
                  <a:lnTo>
                    <a:pt x="50" y="272"/>
                  </a:lnTo>
                  <a:lnTo>
                    <a:pt x="52" y="272"/>
                  </a:lnTo>
                  <a:lnTo>
                    <a:pt x="52" y="270"/>
                  </a:lnTo>
                  <a:lnTo>
                    <a:pt x="50" y="270"/>
                  </a:lnTo>
                  <a:lnTo>
                    <a:pt x="50" y="269"/>
                  </a:lnTo>
                  <a:lnTo>
                    <a:pt x="50" y="267"/>
                  </a:lnTo>
                  <a:lnTo>
                    <a:pt x="50" y="266"/>
                  </a:lnTo>
                  <a:lnTo>
                    <a:pt x="52" y="264"/>
                  </a:lnTo>
                  <a:lnTo>
                    <a:pt x="53" y="264"/>
                  </a:lnTo>
                  <a:lnTo>
                    <a:pt x="53" y="262"/>
                  </a:lnTo>
                  <a:lnTo>
                    <a:pt x="53" y="261"/>
                  </a:lnTo>
                  <a:lnTo>
                    <a:pt x="53" y="259"/>
                  </a:lnTo>
                  <a:lnTo>
                    <a:pt x="53" y="257"/>
                  </a:lnTo>
                  <a:lnTo>
                    <a:pt x="52" y="257"/>
                  </a:lnTo>
                  <a:lnTo>
                    <a:pt x="52" y="256"/>
                  </a:lnTo>
                  <a:lnTo>
                    <a:pt x="50" y="254"/>
                  </a:lnTo>
                  <a:lnTo>
                    <a:pt x="50" y="253"/>
                  </a:lnTo>
                  <a:lnTo>
                    <a:pt x="48" y="253"/>
                  </a:lnTo>
                  <a:lnTo>
                    <a:pt x="48" y="251"/>
                  </a:lnTo>
                  <a:lnTo>
                    <a:pt x="50" y="251"/>
                  </a:lnTo>
                  <a:lnTo>
                    <a:pt x="50" y="249"/>
                  </a:lnTo>
                  <a:lnTo>
                    <a:pt x="50" y="248"/>
                  </a:lnTo>
                  <a:lnTo>
                    <a:pt x="52" y="248"/>
                  </a:lnTo>
                  <a:lnTo>
                    <a:pt x="53" y="248"/>
                  </a:lnTo>
                  <a:lnTo>
                    <a:pt x="53" y="246"/>
                  </a:lnTo>
                  <a:lnTo>
                    <a:pt x="55" y="244"/>
                  </a:lnTo>
                  <a:lnTo>
                    <a:pt x="56" y="243"/>
                  </a:lnTo>
                  <a:lnTo>
                    <a:pt x="55" y="243"/>
                  </a:lnTo>
                  <a:lnTo>
                    <a:pt x="55" y="241"/>
                  </a:lnTo>
                  <a:lnTo>
                    <a:pt x="55" y="238"/>
                  </a:lnTo>
                  <a:lnTo>
                    <a:pt x="56" y="238"/>
                  </a:lnTo>
                  <a:lnTo>
                    <a:pt x="58" y="238"/>
                  </a:lnTo>
                  <a:lnTo>
                    <a:pt x="58" y="236"/>
                  </a:lnTo>
                  <a:lnTo>
                    <a:pt x="58" y="235"/>
                  </a:lnTo>
                  <a:lnTo>
                    <a:pt x="60" y="235"/>
                  </a:lnTo>
                  <a:lnTo>
                    <a:pt x="60" y="231"/>
                  </a:lnTo>
                  <a:lnTo>
                    <a:pt x="60" y="230"/>
                  </a:lnTo>
                  <a:lnTo>
                    <a:pt x="60" y="228"/>
                  </a:lnTo>
                  <a:lnTo>
                    <a:pt x="61" y="227"/>
                  </a:lnTo>
                  <a:lnTo>
                    <a:pt x="61" y="225"/>
                  </a:lnTo>
                  <a:lnTo>
                    <a:pt x="61" y="223"/>
                  </a:lnTo>
                  <a:lnTo>
                    <a:pt x="63" y="223"/>
                  </a:lnTo>
                  <a:lnTo>
                    <a:pt x="65" y="223"/>
                  </a:lnTo>
                  <a:lnTo>
                    <a:pt x="63" y="222"/>
                  </a:lnTo>
                  <a:lnTo>
                    <a:pt x="65" y="222"/>
                  </a:lnTo>
                  <a:lnTo>
                    <a:pt x="65" y="220"/>
                  </a:lnTo>
                  <a:lnTo>
                    <a:pt x="65" y="218"/>
                  </a:lnTo>
                  <a:lnTo>
                    <a:pt x="66" y="218"/>
                  </a:lnTo>
                  <a:lnTo>
                    <a:pt x="66" y="217"/>
                  </a:lnTo>
                  <a:lnTo>
                    <a:pt x="66" y="215"/>
                  </a:lnTo>
                  <a:lnTo>
                    <a:pt x="68" y="215"/>
                  </a:lnTo>
                  <a:lnTo>
                    <a:pt x="66" y="214"/>
                  </a:lnTo>
                  <a:lnTo>
                    <a:pt x="66" y="212"/>
                  </a:lnTo>
                  <a:lnTo>
                    <a:pt x="65" y="212"/>
                  </a:lnTo>
                  <a:lnTo>
                    <a:pt x="65" y="210"/>
                  </a:lnTo>
                  <a:lnTo>
                    <a:pt x="66" y="210"/>
                  </a:lnTo>
                  <a:lnTo>
                    <a:pt x="66" y="209"/>
                  </a:lnTo>
                  <a:lnTo>
                    <a:pt x="68" y="209"/>
                  </a:lnTo>
                  <a:lnTo>
                    <a:pt x="68" y="207"/>
                  </a:lnTo>
                  <a:lnTo>
                    <a:pt x="66" y="207"/>
                  </a:lnTo>
                  <a:lnTo>
                    <a:pt x="68" y="205"/>
                  </a:lnTo>
                  <a:lnTo>
                    <a:pt x="66" y="204"/>
                  </a:lnTo>
                  <a:lnTo>
                    <a:pt x="66" y="202"/>
                  </a:lnTo>
                  <a:lnTo>
                    <a:pt x="68" y="202"/>
                  </a:lnTo>
                  <a:lnTo>
                    <a:pt x="68" y="201"/>
                  </a:lnTo>
                  <a:lnTo>
                    <a:pt x="68" y="199"/>
                  </a:lnTo>
                  <a:lnTo>
                    <a:pt x="68" y="197"/>
                  </a:lnTo>
                  <a:lnTo>
                    <a:pt x="68" y="196"/>
                  </a:lnTo>
                  <a:lnTo>
                    <a:pt x="68" y="194"/>
                  </a:lnTo>
                  <a:lnTo>
                    <a:pt x="66" y="194"/>
                  </a:lnTo>
                  <a:lnTo>
                    <a:pt x="65" y="194"/>
                  </a:lnTo>
                  <a:lnTo>
                    <a:pt x="65" y="192"/>
                  </a:lnTo>
                  <a:lnTo>
                    <a:pt x="63" y="192"/>
                  </a:lnTo>
                  <a:lnTo>
                    <a:pt x="61" y="192"/>
                  </a:lnTo>
                  <a:lnTo>
                    <a:pt x="61" y="191"/>
                  </a:lnTo>
                  <a:lnTo>
                    <a:pt x="60" y="192"/>
                  </a:lnTo>
                  <a:lnTo>
                    <a:pt x="58" y="192"/>
                  </a:lnTo>
                  <a:lnTo>
                    <a:pt x="56" y="192"/>
                  </a:lnTo>
                  <a:lnTo>
                    <a:pt x="56" y="191"/>
                  </a:lnTo>
                  <a:lnTo>
                    <a:pt x="55" y="192"/>
                  </a:lnTo>
                  <a:lnTo>
                    <a:pt x="53" y="194"/>
                  </a:lnTo>
                  <a:lnTo>
                    <a:pt x="52" y="194"/>
                  </a:lnTo>
                  <a:lnTo>
                    <a:pt x="50" y="192"/>
                  </a:lnTo>
                  <a:lnTo>
                    <a:pt x="50" y="191"/>
                  </a:lnTo>
                  <a:lnTo>
                    <a:pt x="48" y="191"/>
                  </a:lnTo>
                  <a:lnTo>
                    <a:pt x="47" y="191"/>
                  </a:lnTo>
                  <a:lnTo>
                    <a:pt x="47" y="192"/>
                  </a:lnTo>
                  <a:lnTo>
                    <a:pt x="45" y="194"/>
                  </a:lnTo>
                  <a:lnTo>
                    <a:pt x="43" y="196"/>
                  </a:lnTo>
                  <a:lnTo>
                    <a:pt x="42" y="197"/>
                  </a:lnTo>
                  <a:lnTo>
                    <a:pt x="40" y="197"/>
                  </a:lnTo>
                  <a:lnTo>
                    <a:pt x="39" y="199"/>
                  </a:lnTo>
                  <a:lnTo>
                    <a:pt x="39" y="201"/>
                  </a:lnTo>
                  <a:lnTo>
                    <a:pt x="37" y="201"/>
                  </a:lnTo>
                  <a:lnTo>
                    <a:pt x="37" y="202"/>
                  </a:lnTo>
                  <a:lnTo>
                    <a:pt x="35" y="202"/>
                  </a:lnTo>
                  <a:lnTo>
                    <a:pt x="34" y="202"/>
                  </a:lnTo>
                  <a:lnTo>
                    <a:pt x="32" y="202"/>
                  </a:lnTo>
                  <a:lnTo>
                    <a:pt x="32" y="201"/>
                  </a:lnTo>
                  <a:lnTo>
                    <a:pt x="30" y="199"/>
                  </a:lnTo>
                  <a:lnTo>
                    <a:pt x="29" y="197"/>
                  </a:lnTo>
                  <a:lnTo>
                    <a:pt x="29" y="196"/>
                  </a:lnTo>
                  <a:lnTo>
                    <a:pt x="29" y="194"/>
                  </a:lnTo>
                  <a:lnTo>
                    <a:pt x="30" y="194"/>
                  </a:lnTo>
                  <a:lnTo>
                    <a:pt x="32" y="192"/>
                  </a:lnTo>
                  <a:lnTo>
                    <a:pt x="34" y="192"/>
                  </a:lnTo>
                  <a:lnTo>
                    <a:pt x="35" y="194"/>
                  </a:lnTo>
                  <a:lnTo>
                    <a:pt x="37" y="196"/>
                  </a:lnTo>
                  <a:lnTo>
                    <a:pt x="39" y="194"/>
                  </a:lnTo>
                  <a:lnTo>
                    <a:pt x="39" y="192"/>
                  </a:lnTo>
                  <a:lnTo>
                    <a:pt x="42" y="191"/>
                  </a:lnTo>
                  <a:lnTo>
                    <a:pt x="42" y="189"/>
                  </a:lnTo>
                  <a:lnTo>
                    <a:pt x="43" y="189"/>
                  </a:lnTo>
                  <a:lnTo>
                    <a:pt x="45" y="187"/>
                  </a:lnTo>
                  <a:lnTo>
                    <a:pt x="45" y="186"/>
                  </a:lnTo>
                  <a:lnTo>
                    <a:pt x="43" y="186"/>
                  </a:lnTo>
                  <a:lnTo>
                    <a:pt x="43" y="184"/>
                  </a:lnTo>
                  <a:lnTo>
                    <a:pt x="42" y="183"/>
                  </a:lnTo>
                  <a:lnTo>
                    <a:pt x="42" y="184"/>
                  </a:lnTo>
                  <a:lnTo>
                    <a:pt x="40" y="184"/>
                  </a:lnTo>
                  <a:lnTo>
                    <a:pt x="40" y="186"/>
                  </a:lnTo>
                  <a:lnTo>
                    <a:pt x="39" y="186"/>
                  </a:lnTo>
                  <a:lnTo>
                    <a:pt x="37" y="184"/>
                  </a:lnTo>
                  <a:lnTo>
                    <a:pt x="37" y="186"/>
                  </a:lnTo>
                  <a:lnTo>
                    <a:pt x="35" y="186"/>
                  </a:lnTo>
                  <a:lnTo>
                    <a:pt x="34" y="184"/>
                  </a:lnTo>
                  <a:lnTo>
                    <a:pt x="35" y="183"/>
                  </a:lnTo>
                  <a:lnTo>
                    <a:pt x="37" y="183"/>
                  </a:lnTo>
                  <a:lnTo>
                    <a:pt x="37" y="181"/>
                  </a:lnTo>
                  <a:lnTo>
                    <a:pt x="39" y="181"/>
                  </a:lnTo>
                  <a:lnTo>
                    <a:pt x="39" y="179"/>
                  </a:lnTo>
                  <a:lnTo>
                    <a:pt x="39" y="178"/>
                  </a:lnTo>
                  <a:lnTo>
                    <a:pt x="39" y="176"/>
                  </a:lnTo>
                  <a:lnTo>
                    <a:pt x="37" y="176"/>
                  </a:lnTo>
                  <a:lnTo>
                    <a:pt x="39" y="174"/>
                  </a:lnTo>
                  <a:lnTo>
                    <a:pt x="39" y="173"/>
                  </a:lnTo>
                  <a:lnTo>
                    <a:pt x="37" y="170"/>
                  </a:lnTo>
                  <a:lnTo>
                    <a:pt x="39" y="165"/>
                  </a:lnTo>
                  <a:lnTo>
                    <a:pt x="48" y="160"/>
                  </a:lnTo>
                  <a:lnTo>
                    <a:pt x="52" y="160"/>
                  </a:lnTo>
                  <a:lnTo>
                    <a:pt x="53" y="158"/>
                  </a:lnTo>
                  <a:lnTo>
                    <a:pt x="56" y="157"/>
                  </a:lnTo>
                  <a:lnTo>
                    <a:pt x="58" y="157"/>
                  </a:lnTo>
                  <a:lnTo>
                    <a:pt x="61" y="155"/>
                  </a:lnTo>
                  <a:lnTo>
                    <a:pt x="65" y="155"/>
                  </a:lnTo>
                  <a:lnTo>
                    <a:pt x="65" y="153"/>
                  </a:lnTo>
                  <a:lnTo>
                    <a:pt x="66" y="152"/>
                  </a:lnTo>
                  <a:lnTo>
                    <a:pt x="68" y="150"/>
                  </a:lnTo>
                  <a:lnTo>
                    <a:pt x="68" y="147"/>
                  </a:lnTo>
                  <a:lnTo>
                    <a:pt x="68" y="145"/>
                  </a:lnTo>
                  <a:lnTo>
                    <a:pt x="66" y="144"/>
                  </a:lnTo>
                  <a:lnTo>
                    <a:pt x="65" y="145"/>
                  </a:lnTo>
                  <a:lnTo>
                    <a:pt x="60" y="145"/>
                  </a:lnTo>
                  <a:lnTo>
                    <a:pt x="52" y="145"/>
                  </a:lnTo>
                  <a:lnTo>
                    <a:pt x="50" y="145"/>
                  </a:lnTo>
                  <a:lnTo>
                    <a:pt x="45" y="142"/>
                  </a:lnTo>
                  <a:lnTo>
                    <a:pt x="43" y="142"/>
                  </a:lnTo>
                  <a:lnTo>
                    <a:pt x="40" y="140"/>
                  </a:lnTo>
                  <a:lnTo>
                    <a:pt x="37" y="140"/>
                  </a:lnTo>
                  <a:lnTo>
                    <a:pt x="35" y="139"/>
                  </a:lnTo>
                  <a:lnTo>
                    <a:pt x="34" y="139"/>
                  </a:lnTo>
                  <a:lnTo>
                    <a:pt x="34" y="137"/>
                  </a:lnTo>
                  <a:lnTo>
                    <a:pt x="34" y="134"/>
                  </a:lnTo>
                  <a:lnTo>
                    <a:pt x="32" y="134"/>
                  </a:lnTo>
                  <a:lnTo>
                    <a:pt x="30" y="132"/>
                  </a:lnTo>
                  <a:lnTo>
                    <a:pt x="27" y="132"/>
                  </a:lnTo>
                  <a:lnTo>
                    <a:pt x="26" y="134"/>
                  </a:lnTo>
                  <a:lnTo>
                    <a:pt x="24" y="132"/>
                  </a:lnTo>
                  <a:lnTo>
                    <a:pt x="22" y="132"/>
                  </a:lnTo>
                  <a:lnTo>
                    <a:pt x="21" y="131"/>
                  </a:lnTo>
                  <a:lnTo>
                    <a:pt x="19" y="129"/>
                  </a:lnTo>
                  <a:lnTo>
                    <a:pt x="19" y="127"/>
                  </a:lnTo>
                  <a:lnTo>
                    <a:pt x="19" y="126"/>
                  </a:lnTo>
                  <a:lnTo>
                    <a:pt x="21" y="126"/>
                  </a:lnTo>
                  <a:lnTo>
                    <a:pt x="24" y="126"/>
                  </a:lnTo>
                  <a:lnTo>
                    <a:pt x="24" y="124"/>
                  </a:lnTo>
                  <a:lnTo>
                    <a:pt x="26" y="124"/>
                  </a:lnTo>
                  <a:lnTo>
                    <a:pt x="24" y="122"/>
                  </a:lnTo>
                  <a:lnTo>
                    <a:pt x="24" y="121"/>
                  </a:lnTo>
                  <a:lnTo>
                    <a:pt x="21" y="119"/>
                  </a:lnTo>
                  <a:lnTo>
                    <a:pt x="19" y="118"/>
                  </a:lnTo>
                  <a:lnTo>
                    <a:pt x="21" y="118"/>
                  </a:lnTo>
                  <a:lnTo>
                    <a:pt x="19" y="114"/>
                  </a:lnTo>
                  <a:lnTo>
                    <a:pt x="21" y="113"/>
                  </a:lnTo>
                  <a:lnTo>
                    <a:pt x="21" y="111"/>
                  </a:lnTo>
                  <a:lnTo>
                    <a:pt x="22" y="111"/>
                  </a:lnTo>
                  <a:lnTo>
                    <a:pt x="24" y="113"/>
                  </a:lnTo>
                  <a:lnTo>
                    <a:pt x="26" y="113"/>
                  </a:lnTo>
                  <a:lnTo>
                    <a:pt x="29" y="111"/>
                  </a:lnTo>
                  <a:lnTo>
                    <a:pt x="30" y="109"/>
                  </a:lnTo>
                  <a:lnTo>
                    <a:pt x="30" y="108"/>
                  </a:lnTo>
                  <a:lnTo>
                    <a:pt x="29" y="106"/>
                  </a:lnTo>
                  <a:lnTo>
                    <a:pt x="27" y="106"/>
                  </a:lnTo>
                  <a:lnTo>
                    <a:pt x="24" y="106"/>
                  </a:lnTo>
                  <a:lnTo>
                    <a:pt x="22" y="106"/>
                  </a:lnTo>
                  <a:lnTo>
                    <a:pt x="22" y="103"/>
                  </a:lnTo>
                  <a:lnTo>
                    <a:pt x="21" y="103"/>
                  </a:lnTo>
                  <a:lnTo>
                    <a:pt x="19" y="106"/>
                  </a:lnTo>
                  <a:lnTo>
                    <a:pt x="17" y="106"/>
                  </a:lnTo>
                  <a:lnTo>
                    <a:pt x="16" y="106"/>
                  </a:lnTo>
                  <a:lnTo>
                    <a:pt x="14" y="108"/>
                  </a:lnTo>
                  <a:lnTo>
                    <a:pt x="13" y="106"/>
                  </a:lnTo>
                  <a:lnTo>
                    <a:pt x="11" y="105"/>
                  </a:lnTo>
                  <a:lnTo>
                    <a:pt x="9" y="105"/>
                  </a:lnTo>
                  <a:lnTo>
                    <a:pt x="8" y="103"/>
                  </a:lnTo>
                  <a:lnTo>
                    <a:pt x="8" y="101"/>
                  </a:lnTo>
                  <a:lnTo>
                    <a:pt x="9" y="100"/>
                  </a:lnTo>
                  <a:lnTo>
                    <a:pt x="9" y="98"/>
                  </a:lnTo>
                  <a:lnTo>
                    <a:pt x="9" y="96"/>
                  </a:lnTo>
                  <a:lnTo>
                    <a:pt x="9" y="95"/>
                  </a:lnTo>
                  <a:lnTo>
                    <a:pt x="11" y="93"/>
                  </a:lnTo>
                  <a:lnTo>
                    <a:pt x="13" y="92"/>
                  </a:lnTo>
                  <a:lnTo>
                    <a:pt x="13" y="90"/>
                  </a:lnTo>
                  <a:lnTo>
                    <a:pt x="14" y="90"/>
                  </a:lnTo>
                  <a:lnTo>
                    <a:pt x="14" y="87"/>
                  </a:lnTo>
                  <a:lnTo>
                    <a:pt x="13" y="85"/>
                  </a:lnTo>
                  <a:lnTo>
                    <a:pt x="9" y="82"/>
                  </a:lnTo>
                  <a:lnTo>
                    <a:pt x="9" y="80"/>
                  </a:lnTo>
                  <a:lnTo>
                    <a:pt x="11" y="80"/>
                  </a:lnTo>
                  <a:lnTo>
                    <a:pt x="13" y="79"/>
                  </a:lnTo>
                  <a:lnTo>
                    <a:pt x="13" y="77"/>
                  </a:lnTo>
                  <a:lnTo>
                    <a:pt x="11" y="77"/>
                  </a:lnTo>
                  <a:lnTo>
                    <a:pt x="9" y="77"/>
                  </a:lnTo>
                  <a:lnTo>
                    <a:pt x="11" y="75"/>
                  </a:lnTo>
                  <a:lnTo>
                    <a:pt x="11" y="74"/>
                  </a:lnTo>
                  <a:lnTo>
                    <a:pt x="13" y="74"/>
                  </a:lnTo>
                  <a:lnTo>
                    <a:pt x="11" y="72"/>
                  </a:lnTo>
                  <a:lnTo>
                    <a:pt x="9" y="72"/>
                  </a:lnTo>
                  <a:lnTo>
                    <a:pt x="6" y="74"/>
                  </a:lnTo>
                  <a:lnTo>
                    <a:pt x="4" y="74"/>
                  </a:lnTo>
                  <a:lnTo>
                    <a:pt x="4" y="72"/>
                  </a:lnTo>
                  <a:lnTo>
                    <a:pt x="3" y="72"/>
                  </a:lnTo>
                  <a:lnTo>
                    <a:pt x="1" y="72"/>
                  </a:lnTo>
                  <a:lnTo>
                    <a:pt x="1" y="70"/>
                  </a:lnTo>
                  <a:lnTo>
                    <a:pt x="0" y="69"/>
                  </a:lnTo>
                  <a:lnTo>
                    <a:pt x="1" y="66"/>
                  </a:lnTo>
                  <a:lnTo>
                    <a:pt x="0" y="62"/>
                  </a:lnTo>
                  <a:lnTo>
                    <a:pt x="1" y="62"/>
                  </a:lnTo>
                  <a:lnTo>
                    <a:pt x="3" y="62"/>
                  </a:lnTo>
                  <a:lnTo>
                    <a:pt x="4" y="61"/>
                  </a:lnTo>
                  <a:lnTo>
                    <a:pt x="4" y="59"/>
                  </a:lnTo>
                  <a:lnTo>
                    <a:pt x="3" y="59"/>
                  </a:lnTo>
                  <a:lnTo>
                    <a:pt x="1" y="57"/>
                  </a:lnTo>
                  <a:lnTo>
                    <a:pt x="1" y="56"/>
                  </a:lnTo>
                  <a:lnTo>
                    <a:pt x="3" y="54"/>
                  </a:lnTo>
                  <a:lnTo>
                    <a:pt x="4" y="54"/>
                  </a:lnTo>
                  <a:lnTo>
                    <a:pt x="4" y="52"/>
                  </a:lnTo>
                  <a:lnTo>
                    <a:pt x="3" y="52"/>
                  </a:lnTo>
                  <a:lnTo>
                    <a:pt x="4" y="51"/>
                  </a:lnTo>
                  <a:lnTo>
                    <a:pt x="9" y="51"/>
                  </a:lnTo>
                  <a:lnTo>
                    <a:pt x="13" y="49"/>
                  </a:lnTo>
                  <a:lnTo>
                    <a:pt x="13" y="51"/>
                  </a:lnTo>
                  <a:lnTo>
                    <a:pt x="14" y="51"/>
                  </a:lnTo>
                  <a:lnTo>
                    <a:pt x="14" y="49"/>
                  </a:lnTo>
                  <a:lnTo>
                    <a:pt x="13" y="48"/>
                  </a:lnTo>
                  <a:lnTo>
                    <a:pt x="13" y="46"/>
                  </a:lnTo>
                  <a:lnTo>
                    <a:pt x="14" y="46"/>
                  </a:lnTo>
                  <a:lnTo>
                    <a:pt x="14" y="44"/>
                  </a:lnTo>
                  <a:lnTo>
                    <a:pt x="17" y="44"/>
                  </a:lnTo>
                  <a:lnTo>
                    <a:pt x="21" y="44"/>
                  </a:lnTo>
                  <a:lnTo>
                    <a:pt x="19" y="39"/>
                  </a:lnTo>
                  <a:lnTo>
                    <a:pt x="22" y="33"/>
                  </a:lnTo>
                  <a:lnTo>
                    <a:pt x="24" y="33"/>
                  </a:lnTo>
                  <a:lnTo>
                    <a:pt x="26" y="36"/>
                  </a:lnTo>
                  <a:lnTo>
                    <a:pt x="27" y="38"/>
                  </a:lnTo>
                  <a:lnTo>
                    <a:pt x="27" y="39"/>
                  </a:lnTo>
                  <a:lnTo>
                    <a:pt x="29" y="39"/>
                  </a:lnTo>
                  <a:lnTo>
                    <a:pt x="32" y="38"/>
                  </a:lnTo>
                  <a:lnTo>
                    <a:pt x="35" y="38"/>
                  </a:lnTo>
                  <a:lnTo>
                    <a:pt x="40" y="38"/>
                  </a:lnTo>
                  <a:lnTo>
                    <a:pt x="42" y="38"/>
                  </a:lnTo>
                  <a:lnTo>
                    <a:pt x="40" y="36"/>
                  </a:lnTo>
                  <a:lnTo>
                    <a:pt x="40" y="35"/>
                  </a:lnTo>
                  <a:lnTo>
                    <a:pt x="47" y="28"/>
                  </a:lnTo>
                  <a:lnTo>
                    <a:pt x="48" y="30"/>
                  </a:lnTo>
                  <a:lnTo>
                    <a:pt x="50" y="30"/>
                  </a:lnTo>
                  <a:lnTo>
                    <a:pt x="52" y="28"/>
                  </a:lnTo>
                  <a:lnTo>
                    <a:pt x="53" y="26"/>
                  </a:lnTo>
                  <a:lnTo>
                    <a:pt x="55" y="25"/>
                  </a:lnTo>
                  <a:lnTo>
                    <a:pt x="56" y="23"/>
                  </a:lnTo>
                  <a:lnTo>
                    <a:pt x="56" y="22"/>
                  </a:lnTo>
                  <a:lnTo>
                    <a:pt x="58" y="18"/>
                  </a:lnTo>
                  <a:lnTo>
                    <a:pt x="60" y="18"/>
                  </a:lnTo>
                  <a:lnTo>
                    <a:pt x="61" y="17"/>
                  </a:lnTo>
                  <a:lnTo>
                    <a:pt x="60" y="13"/>
                  </a:lnTo>
                  <a:lnTo>
                    <a:pt x="60" y="12"/>
                  </a:lnTo>
                  <a:lnTo>
                    <a:pt x="61" y="12"/>
                  </a:lnTo>
                  <a:lnTo>
                    <a:pt x="63" y="12"/>
                  </a:lnTo>
                  <a:lnTo>
                    <a:pt x="65" y="10"/>
                  </a:lnTo>
                  <a:lnTo>
                    <a:pt x="65" y="7"/>
                  </a:lnTo>
                  <a:lnTo>
                    <a:pt x="71" y="9"/>
                  </a:lnTo>
                  <a:lnTo>
                    <a:pt x="74" y="5"/>
                  </a:lnTo>
                  <a:lnTo>
                    <a:pt x="76" y="5"/>
                  </a:lnTo>
                  <a:close/>
                  <a:moveTo>
                    <a:pt x="96" y="383"/>
                  </a:moveTo>
                  <a:lnTo>
                    <a:pt x="97" y="383"/>
                  </a:lnTo>
                  <a:lnTo>
                    <a:pt x="97" y="381"/>
                  </a:lnTo>
                  <a:lnTo>
                    <a:pt x="97" y="379"/>
                  </a:lnTo>
                  <a:lnTo>
                    <a:pt x="96" y="379"/>
                  </a:lnTo>
                  <a:lnTo>
                    <a:pt x="94" y="379"/>
                  </a:lnTo>
                  <a:lnTo>
                    <a:pt x="94" y="381"/>
                  </a:lnTo>
                  <a:lnTo>
                    <a:pt x="94" y="383"/>
                  </a:lnTo>
                  <a:lnTo>
                    <a:pt x="96" y="383"/>
                  </a:lnTo>
                  <a:close/>
                </a:path>
              </a:pathLst>
            </a:custGeom>
            <a:solidFill>
              <a:srgbClr val="E5E5E5"/>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1211" name="Freeform 57">
              <a:extLst>
                <a:ext uri="{FF2B5EF4-FFF2-40B4-BE49-F238E27FC236}">
                  <a16:creationId xmlns:a16="http://schemas.microsoft.com/office/drawing/2014/main" id="{2679D38E-66B6-1508-5D32-BADDA3E161EB}"/>
                </a:ext>
              </a:extLst>
            </p:cNvPr>
            <p:cNvSpPr>
              <a:spLocks noEditPoints="1"/>
            </p:cNvSpPr>
            <p:nvPr/>
          </p:nvSpPr>
          <p:spPr bwMode="auto">
            <a:xfrm>
              <a:off x="5009" y="578"/>
              <a:ext cx="3071" cy="3497"/>
            </a:xfrm>
            <a:custGeom>
              <a:avLst/>
              <a:gdLst>
                <a:gd name="T0" fmla="*/ 2840 w 3071"/>
                <a:gd name="T1" fmla="*/ 2882 h 3497"/>
                <a:gd name="T2" fmla="*/ 2890 w 3071"/>
                <a:gd name="T3" fmla="*/ 2804 h 3497"/>
                <a:gd name="T4" fmla="*/ 2905 w 3071"/>
                <a:gd name="T5" fmla="*/ 2711 h 3497"/>
                <a:gd name="T6" fmla="*/ 46 w 3071"/>
                <a:gd name="T7" fmla="*/ 2440 h 3497"/>
                <a:gd name="T8" fmla="*/ 452 w 3071"/>
                <a:gd name="T9" fmla="*/ 1511 h 3497"/>
                <a:gd name="T10" fmla="*/ 1321 w 3071"/>
                <a:gd name="T11" fmla="*/ 898 h 3497"/>
                <a:gd name="T12" fmla="*/ 755 w 3071"/>
                <a:gd name="T13" fmla="*/ 830 h 3497"/>
                <a:gd name="T14" fmla="*/ 807 w 3071"/>
                <a:gd name="T15" fmla="*/ 813 h 3497"/>
                <a:gd name="T16" fmla="*/ 683 w 3071"/>
                <a:gd name="T17" fmla="*/ 761 h 3497"/>
                <a:gd name="T18" fmla="*/ 734 w 3071"/>
                <a:gd name="T19" fmla="*/ 729 h 3497"/>
                <a:gd name="T20" fmla="*/ 984 w 3071"/>
                <a:gd name="T21" fmla="*/ 685 h 3497"/>
                <a:gd name="T22" fmla="*/ 986 w 3071"/>
                <a:gd name="T23" fmla="*/ 678 h 3497"/>
                <a:gd name="T24" fmla="*/ 1000 w 3071"/>
                <a:gd name="T25" fmla="*/ 656 h 3497"/>
                <a:gd name="T26" fmla="*/ 540 w 3071"/>
                <a:gd name="T27" fmla="*/ 595 h 3497"/>
                <a:gd name="T28" fmla="*/ 704 w 3071"/>
                <a:gd name="T29" fmla="*/ 535 h 3497"/>
                <a:gd name="T30" fmla="*/ 1121 w 3071"/>
                <a:gd name="T31" fmla="*/ 405 h 3497"/>
                <a:gd name="T32" fmla="*/ 1540 w 3071"/>
                <a:gd name="T33" fmla="*/ 225 h 3497"/>
                <a:gd name="T34" fmla="*/ 1214 w 3071"/>
                <a:gd name="T35" fmla="*/ 186 h 3497"/>
                <a:gd name="T36" fmla="*/ 1646 w 3071"/>
                <a:gd name="T37" fmla="*/ 114 h 3497"/>
                <a:gd name="T38" fmla="*/ 1796 w 3071"/>
                <a:gd name="T39" fmla="*/ 59 h 3497"/>
                <a:gd name="T40" fmla="*/ 1365 w 3071"/>
                <a:gd name="T41" fmla="*/ 13 h 3497"/>
                <a:gd name="T42" fmla="*/ 2975 w 3071"/>
                <a:gd name="T43" fmla="*/ 1856 h 3497"/>
                <a:gd name="T44" fmla="*/ 2557 w 3071"/>
                <a:gd name="T45" fmla="*/ 2069 h 3497"/>
                <a:gd name="T46" fmla="*/ 2887 w 3071"/>
                <a:gd name="T47" fmla="*/ 2716 h 3497"/>
                <a:gd name="T48" fmla="*/ 2897 w 3071"/>
                <a:gd name="T49" fmla="*/ 2796 h 3497"/>
                <a:gd name="T50" fmla="*/ 2843 w 3071"/>
                <a:gd name="T51" fmla="*/ 2843 h 3497"/>
                <a:gd name="T52" fmla="*/ 2809 w 3071"/>
                <a:gd name="T53" fmla="*/ 2855 h 3497"/>
                <a:gd name="T54" fmla="*/ 2911 w 3071"/>
                <a:gd name="T55" fmla="*/ 3087 h 3497"/>
                <a:gd name="T56" fmla="*/ 2546 w 3071"/>
                <a:gd name="T57" fmla="*/ 3409 h 3497"/>
                <a:gd name="T58" fmla="*/ 1833 w 3071"/>
                <a:gd name="T59" fmla="*/ 3385 h 3497"/>
                <a:gd name="T60" fmla="*/ 2025 w 3071"/>
                <a:gd name="T61" fmla="*/ 2983 h 3497"/>
                <a:gd name="T62" fmla="*/ 1929 w 3071"/>
                <a:gd name="T63" fmla="*/ 2773 h 3497"/>
                <a:gd name="T64" fmla="*/ 1331 w 3071"/>
                <a:gd name="T65" fmla="*/ 2627 h 3497"/>
                <a:gd name="T66" fmla="*/ 1098 w 3071"/>
                <a:gd name="T67" fmla="*/ 2399 h 3497"/>
                <a:gd name="T68" fmla="*/ 685 w 3071"/>
                <a:gd name="T69" fmla="*/ 2119 h 3497"/>
                <a:gd name="T70" fmla="*/ 556 w 3071"/>
                <a:gd name="T71" fmla="*/ 1570 h 3497"/>
                <a:gd name="T72" fmla="*/ 483 w 3071"/>
                <a:gd name="T73" fmla="*/ 1477 h 3497"/>
                <a:gd name="T74" fmla="*/ 174 w 3071"/>
                <a:gd name="T75" fmla="*/ 275 h 3497"/>
                <a:gd name="T76" fmla="*/ 308 w 3071"/>
                <a:gd name="T77" fmla="*/ 213 h 3497"/>
                <a:gd name="T78" fmla="*/ 391 w 3071"/>
                <a:gd name="T79" fmla="*/ 226 h 3497"/>
                <a:gd name="T80" fmla="*/ 649 w 3071"/>
                <a:gd name="T81" fmla="*/ 225 h 3497"/>
                <a:gd name="T82" fmla="*/ 870 w 3071"/>
                <a:gd name="T83" fmla="*/ 314 h 3497"/>
                <a:gd name="T84" fmla="*/ 610 w 3071"/>
                <a:gd name="T85" fmla="*/ 547 h 3497"/>
                <a:gd name="T86" fmla="*/ 478 w 3071"/>
                <a:gd name="T87" fmla="*/ 566 h 3497"/>
                <a:gd name="T88" fmla="*/ 648 w 3071"/>
                <a:gd name="T89" fmla="*/ 649 h 3497"/>
                <a:gd name="T90" fmla="*/ 664 w 3071"/>
                <a:gd name="T91" fmla="*/ 773 h 3497"/>
                <a:gd name="T92" fmla="*/ 961 w 3071"/>
                <a:gd name="T93" fmla="*/ 831 h 3497"/>
                <a:gd name="T94" fmla="*/ 1061 w 3071"/>
                <a:gd name="T95" fmla="*/ 916 h 3497"/>
                <a:gd name="T96" fmla="*/ 944 w 3071"/>
                <a:gd name="T97" fmla="*/ 699 h 3497"/>
                <a:gd name="T98" fmla="*/ 1253 w 3071"/>
                <a:gd name="T99" fmla="*/ 833 h 3497"/>
                <a:gd name="T100" fmla="*/ 1358 w 3071"/>
                <a:gd name="T101" fmla="*/ 1095 h 3497"/>
                <a:gd name="T102" fmla="*/ 1290 w 3071"/>
                <a:gd name="T103" fmla="*/ 854 h 3497"/>
                <a:gd name="T104" fmla="*/ 1150 w 3071"/>
                <a:gd name="T105" fmla="*/ 761 h 3497"/>
                <a:gd name="T106" fmla="*/ 983 w 3071"/>
                <a:gd name="T107" fmla="*/ 626 h 3497"/>
                <a:gd name="T108" fmla="*/ 1088 w 3071"/>
                <a:gd name="T109" fmla="*/ 425 h 3497"/>
                <a:gd name="T110" fmla="*/ 1101 w 3071"/>
                <a:gd name="T111" fmla="*/ 377 h 3497"/>
                <a:gd name="T112" fmla="*/ 1000 w 3071"/>
                <a:gd name="T113" fmla="*/ 44 h 3497"/>
                <a:gd name="T114" fmla="*/ 1218 w 3071"/>
                <a:gd name="T115" fmla="*/ 192 h 3497"/>
                <a:gd name="T116" fmla="*/ 1431 w 3071"/>
                <a:gd name="T117" fmla="*/ 39 h 3497"/>
                <a:gd name="T118" fmla="*/ 1628 w 3071"/>
                <a:gd name="T119" fmla="*/ 190 h 3497"/>
                <a:gd name="T120" fmla="*/ 1633 w 3071"/>
                <a:gd name="T121" fmla="*/ 29 h 3497"/>
                <a:gd name="T122" fmla="*/ 2043 w 3071"/>
                <a:gd name="T123" fmla="*/ 377 h 3497"/>
                <a:gd name="T124" fmla="*/ 1747 w 3071"/>
                <a:gd name="T125" fmla="*/ 20 h 34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071" h="3497">
                  <a:moveTo>
                    <a:pt x="1830" y="3365"/>
                  </a:moveTo>
                  <a:lnTo>
                    <a:pt x="1828" y="3365"/>
                  </a:lnTo>
                  <a:lnTo>
                    <a:pt x="1830" y="3365"/>
                  </a:lnTo>
                  <a:close/>
                  <a:moveTo>
                    <a:pt x="1832" y="3364"/>
                  </a:moveTo>
                  <a:lnTo>
                    <a:pt x="1830" y="3364"/>
                  </a:lnTo>
                  <a:lnTo>
                    <a:pt x="1832" y="3364"/>
                  </a:lnTo>
                  <a:close/>
                  <a:moveTo>
                    <a:pt x="1910" y="3310"/>
                  </a:moveTo>
                  <a:lnTo>
                    <a:pt x="1911" y="3310"/>
                  </a:lnTo>
                  <a:lnTo>
                    <a:pt x="1910" y="3310"/>
                  </a:lnTo>
                  <a:close/>
                  <a:moveTo>
                    <a:pt x="1936" y="3183"/>
                  </a:moveTo>
                  <a:lnTo>
                    <a:pt x="1934" y="3183"/>
                  </a:lnTo>
                  <a:lnTo>
                    <a:pt x="1934" y="3181"/>
                  </a:lnTo>
                  <a:lnTo>
                    <a:pt x="1936" y="3181"/>
                  </a:lnTo>
                  <a:lnTo>
                    <a:pt x="1936" y="3183"/>
                  </a:lnTo>
                  <a:close/>
                  <a:moveTo>
                    <a:pt x="1923" y="3111"/>
                  </a:moveTo>
                  <a:lnTo>
                    <a:pt x="1921" y="3111"/>
                  </a:lnTo>
                  <a:lnTo>
                    <a:pt x="1923" y="3110"/>
                  </a:lnTo>
                  <a:lnTo>
                    <a:pt x="1923" y="3111"/>
                  </a:lnTo>
                  <a:close/>
                  <a:moveTo>
                    <a:pt x="1913" y="3107"/>
                  </a:moveTo>
                  <a:lnTo>
                    <a:pt x="1911" y="3107"/>
                  </a:lnTo>
                  <a:lnTo>
                    <a:pt x="1913" y="3107"/>
                  </a:lnTo>
                  <a:close/>
                  <a:moveTo>
                    <a:pt x="1913" y="3105"/>
                  </a:moveTo>
                  <a:lnTo>
                    <a:pt x="1913" y="3107"/>
                  </a:lnTo>
                  <a:lnTo>
                    <a:pt x="1911" y="3107"/>
                  </a:lnTo>
                  <a:lnTo>
                    <a:pt x="1913" y="3107"/>
                  </a:lnTo>
                  <a:lnTo>
                    <a:pt x="1911" y="3108"/>
                  </a:lnTo>
                  <a:lnTo>
                    <a:pt x="1911" y="3107"/>
                  </a:lnTo>
                  <a:lnTo>
                    <a:pt x="1913" y="3107"/>
                  </a:lnTo>
                  <a:lnTo>
                    <a:pt x="1913" y="3105"/>
                  </a:lnTo>
                  <a:lnTo>
                    <a:pt x="1914" y="3105"/>
                  </a:lnTo>
                  <a:lnTo>
                    <a:pt x="1913" y="3105"/>
                  </a:lnTo>
                  <a:close/>
                  <a:moveTo>
                    <a:pt x="2918" y="3071"/>
                  </a:moveTo>
                  <a:lnTo>
                    <a:pt x="2916" y="3071"/>
                  </a:lnTo>
                  <a:lnTo>
                    <a:pt x="2918" y="3071"/>
                  </a:lnTo>
                  <a:close/>
                  <a:moveTo>
                    <a:pt x="2916" y="3071"/>
                  </a:moveTo>
                  <a:lnTo>
                    <a:pt x="2916" y="3072"/>
                  </a:lnTo>
                  <a:lnTo>
                    <a:pt x="2915" y="3072"/>
                  </a:lnTo>
                  <a:lnTo>
                    <a:pt x="2916" y="3072"/>
                  </a:lnTo>
                  <a:lnTo>
                    <a:pt x="2916" y="3071"/>
                  </a:lnTo>
                  <a:close/>
                  <a:moveTo>
                    <a:pt x="2931" y="3055"/>
                  </a:moveTo>
                  <a:lnTo>
                    <a:pt x="2931" y="3056"/>
                  </a:lnTo>
                  <a:lnTo>
                    <a:pt x="2929" y="3058"/>
                  </a:lnTo>
                  <a:lnTo>
                    <a:pt x="2929" y="3059"/>
                  </a:lnTo>
                  <a:lnTo>
                    <a:pt x="2929" y="3063"/>
                  </a:lnTo>
                  <a:lnTo>
                    <a:pt x="2928" y="3063"/>
                  </a:lnTo>
                  <a:lnTo>
                    <a:pt x="2929" y="3063"/>
                  </a:lnTo>
                  <a:lnTo>
                    <a:pt x="2928" y="3063"/>
                  </a:lnTo>
                  <a:lnTo>
                    <a:pt x="2928" y="3064"/>
                  </a:lnTo>
                  <a:lnTo>
                    <a:pt x="2928" y="3066"/>
                  </a:lnTo>
                  <a:lnTo>
                    <a:pt x="2926" y="3068"/>
                  </a:lnTo>
                  <a:lnTo>
                    <a:pt x="2924" y="3068"/>
                  </a:lnTo>
                  <a:lnTo>
                    <a:pt x="2924" y="3069"/>
                  </a:lnTo>
                  <a:lnTo>
                    <a:pt x="2923" y="3069"/>
                  </a:lnTo>
                  <a:lnTo>
                    <a:pt x="2921" y="3071"/>
                  </a:lnTo>
                  <a:lnTo>
                    <a:pt x="2920" y="3071"/>
                  </a:lnTo>
                  <a:lnTo>
                    <a:pt x="2918" y="3071"/>
                  </a:lnTo>
                  <a:lnTo>
                    <a:pt x="2916" y="3072"/>
                  </a:lnTo>
                  <a:lnTo>
                    <a:pt x="2916" y="3071"/>
                  </a:lnTo>
                  <a:lnTo>
                    <a:pt x="2916" y="3072"/>
                  </a:lnTo>
                  <a:lnTo>
                    <a:pt x="2918" y="3071"/>
                  </a:lnTo>
                  <a:lnTo>
                    <a:pt x="2920" y="3071"/>
                  </a:lnTo>
                  <a:lnTo>
                    <a:pt x="2918" y="3069"/>
                  </a:lnTo>
                  <a:lnTo>
                    <a:pt x="2916" y="3069"/>
                  </a:lnTo>
                  <a:lnTo>
                    <a:pt x="2918" y="3068"/>
                  </a:lnTo>
                  <a:lnTo>
                    <a:pt x="2918" y="3066"/>
                  </a:lnTo>
                  <a:lnTo>
                    <a:pt x="2920" y="3066"/>
                  </a:lnTo>
                  <a:lnTo>
                    <a:pt x="2920" y="3068"/>
                  </a:lnTo>
                  <a:lnTo>
                    <a:pt x="2918" y="3069"/>
                  </a:lnTo>
                  <a:lnTo>
                    <a:pt x="2920" y="3069"/>
                  </a:lnTo>
                  <a:lnTo>
                    <a:pt x="2921" y="3069"/>
                  </a:lnTo>
                  <a:lnTo>
                    <a:pt x="2920" y="3069"/>
                  </a:lnTo>
                  <a:lnTo>
                    <a:pt x="2920" y="3068"/>
                  </a:lnTo>
                  <a:lnTo>
                    <a:pt x="2920" y="3066"/>
                  </a:lnTo>
                  <a:lnTo>
                    <a:pt x="2921" y="3066"/>
                  </a:lnTo>
                  <a:lnTo>
                    <a:pt x="2921" y="3064"/>
                  </a:lnTo>
                  <a:lnTo>
                    <a:pt x="2921" y="3063"/>
                  </a:lnTo>
                  <a:lnTo>
                    <a:pt x="2920" y="3064"/>
                  </a:lnTo>
                  <a:lnTo>
                    <a:pt x="2918" y="3068"/>
                  </a:lnTo>
                  <a:lnTo>
                    <a:pt x="2915" y="3071"/>
                  </a:lnTo>
                  <a:lnTo>
                    <a:pt x="2913" y="3071"/>
                  </a:lnTo>
                  <a:lnTo>
                    <a:pt x="2913" y="3069"/>
                  </a:lnTo>
                  <a:lnTo>
                    <a:pt x="2911" y="3069"/>
                  </a:lnTo>
                  <a:lnTo>
                    <a:pt x="2911" y="3068"/>
                  </a:lnTo>
                  <a:lnTo>
                    <a:pt x="2911" y="3066"/>
                  </a:lnTo>
                  <a:lnTo>
                    <a:pt x="2911" y="3064"/>
                  </a:lnTo>
                  <a:lnTo>
                    <a:pt x="2913" y="3063"/>
                  </a:lnTo>
                  <a:lnTo>
                    <a:pt x="2915" y="3061"/>
                  </a:lnTo>
                  <a:lnTo>
                    <a:pt x="2916" y="3061"/>
                  </a:lnTo>
                  <a:lnTo>
                    <a:pt x="2920" y="3061"/>
                  </a:lnTo>
                  <a:lnTo>
                    <a:pt x="2921" y="3059"/>
                  </a:lnTo>
                  <a:lnTo>
                    <a:pt x="2923" y="3059"/>
                  </a:lnTo>
                  <a:lnTo>
                    <a:pt x="2924" y="3059"/>
                  </a:lnTo>
                  <a:lnTo>
                    <a:pt x="2923" y="3059"/>
                  </a:lnTo>
                  <a:lnTo>
                    <a:pt x="2924" y="3058"/>
                  </a:lnTo>
                  <a:lnTo>
                    <a:pt x="2926" y="3059"/>
                  </a:lnTo>
                  <a:lnTo>
                    <a:pt x="2926" y="3058"/>
                  </a:lnTo>
                  <a:lnTo>
                    <a:pt x="2924" y="3058"/>
                  </a:lnTo>
                  <a:lnTo>
                    <a:pt x="2923" y="3058"/>
                  </a:lnTo>
                  <a:lnTo>
                    <a:pt x="2924" y="3058"/>
                  </a:lnTo>
                  <a:lnTo>
                    <a:pt x="2926" y="3056"/>
                  </a:lnTo>
                  <a:lnTo>
                    <a:pt x="2928" y="3056"/>
                  </a:lnTo>
                  <a:lnTo>
                    <a:pt x="2929" y="3055"/>
                  </a:lnTo>
                  <a:lnTo>
                    <a:pt x="2931" y="3055"/>
                  </a:lnTo>
                  <a:close/>
                  <a:moveTo>
                    <a:pt x="1906" y="3051"/>
                  </a:moveTo>
                  <a:lnTo>
                    <a:pt x="1905" y="3051"/>
                  </a:lnTo>
                  <a:lnTo>
                    <a:pt x="1905" y="3050"/>
                  </a:lnTo>
                  <a:lnTo>
                    <a:pt x="1905" y="3051"/>
                  </a:lnTo>
                  <a:lnTo>
                    <a:pt x="1906" y="3051"/>
                  </a:lnTo>
                  <a:close/>
                  <a:moveTo>
                    <a:pt x="2822" y="3035"/>
                  </a:moveTo>
                  <a:lnTo>
                    <a:pt x="2824" y="3037"/>
                  </a:lnTo>
                  <a:lnTo>
                    <a:pt x="2822" y="3035"/>
                  </a:lnTo>
                  <a:lnTo>
                    <a:pt x="2820" y="3035"/>
                  </a:lnTo>
                  <a:lnTo>
                    <a:pt x="2822" y="3035"/>
                  </a:lnTo>
                  <a:close/>
                  <a:moveTo>
                    <a:pt x="1975" y="3030"/>
                  </a:moveTo>
                  <a:lnTo>
                    <a:pt x="1976" y="3029"/>
                  </a:lnTo>
                  <a:lnTo>
                    <a:pt x="1976" y="3027"/>
                  </a:lnTo>
                  <a:lnTo>
                    <a:pt x="1978" y="3027"/>
                  </a:lnTo>
                  <a:lnTo>
                    <a:pt x="1980" y="3027"/>
                  </a:lnTo>
                  <a:lnTo>
                    <a:pt x="1980" y="3029"/>
                  </a:lnTo>
                  <a:lnTo>
                    <a:pt x="1978" y="3029"/>
                  </a:lnTo>
                  <a:lnTo>
                    <a:pt x="1975" y="3030"/>
                  </a:lnTo>
                  <a:close/>
                  <a:moveTo>
                    <a:pt x="1968" y="3017"/>
                  </a:moveTo>
                  <a:lnTo>
                    <a:pt x="1968" y="3016"/>
                  </a:lnTo>
                  <a:lnTo>
                    <a:pt x="1970" y="3016"/>
                  </a:lnTo>
                  <a:lnTo>
                    <a:pt x="1968" y="3017"/>
                  </a:lnTo>
                  <a:close/>
                  <a:moveTo>
                    <a:pt x="1991" y="3014"/>
                  </a:moveTo>
                  <a:lnTo>
                    <a:pt x="1993" y="3014"/>
                  </a:lnTo>
                  <a:lnTo>
                    <a:pt x="1993" y="3016"/>
                  </a:lnTo>
                  <a:lnTo>
                    <a:pt x="1991" y="3017"/>
                  </a:lnTo>
                  <a:lnTo>
                    <a:pt x="1991" y="3019"/>
                  </a:lnTo>
                  <a:lnTo>
                    <a:pt x="1991" y="3017"/>
                  </a:lnTo>
                  <a:lnTo>
                    <a:pt x="1989" y="3019"/>
                  </a:lnTo>
                  <a:lnTo>
                    <a:pt x="1988" y="3019"/>
                  </a:lnTo>
                  <a:lnTo>
                    <a:pt x="1986" y="3019"/>
                  </a:lnTo>
                  <a:lnTo>
                    <a:pt x="1984" y="3019"/>
                  </a:lnTo>
                  <a:lnTo>
                    <a:pt x="1984" y="3020"/>
                  </a:lnTo>
                  <a:lnTo>
                    <a:pt x="1983" y="3020"/>
                  </a:lnTo>
                  <a:lnTo>
                    <a:pt x="1981" y="3020"/>
                  </a:lnTo>
                  <a:lnTo>
                    <a:pt x="1981" y="3022"/>
                  </a:lnTo>
                  <a:lnTo>
                    <a:pt x="1981" y="3024"/>
                  </a:lnTo>
                  <a:lnTo>
                    <a:pt x="1981" y="3025"/>
                  </a:lnTo>
                  <a:lnTo>
                    <a:pt x="1980" y="3025"/>
                  </a:lnTo>
                  <a:lnTo>
                    <a:pt x="1978" y="3027"/>
                  </a:lnTo>
                  <a:lnTo>
                    <a:pt x="1976" y="3025"/>
                  </a:lnTo>
                  <a:lnTo>
                    <a:pt x="1975" y="3025"/>
                  </a:lnTo>
                  <a:lnTo>
                    <a:pt x="1973" y="3025"/>
                  </a:lnTo>
                  <a:lnTo>
                    <a:pt x="1973" y="3024"/>
                  </a:lnTo>
                  <a:lnTo>
                    <a:pt x="1975" y="3022"/>
                  </a:lnTo>
                  <a:lnTo>
                    <a:pt x="1975" y="3020"/>
                  </a:lnTo>
                  <a:lnTo>
                    <a:pt x="1976" y="3022"/>
                  </a:lnTo>
                  <a:lnTo>
                    <a:pt x="1976" y="3020"/>
                  </a:lnTo>
                  <a:lnTo>
                    <a:pt x="1978" y="3017"/>
                  </a:lnTo>
                  <a:lnTo>
                    <a:pt x="1980" y="3017"/>
                  </a:lnTo>
                  <a:lnTo>
                    <a:pt x="1981" y="3016"/>
                  </a:lnTo>
                  <a:lnTo>
                    <a:pt x="1983" y="3017"/>
                  </a:lnTo>
                  <a:lnTo>
                    <a:pt x="1984" y="3017"/>
                  </a:lnTo>
                  <a:lnTo>
                    <a:pt x="1986" y="3017"/>
                  </a:lnTo>
                  <a:lnTo>
                    <a:pt x="1986" y="3016"/>
                  </a:lnTo>
                  <a:lnTo>
                    <a:pt x="1986" y="3014"/>
                  </a:lnTo>
                  <a:lnTo>
                    <a:pt x="1988" y="3014"/>
                  </a:lnTo>
                  <a:lnTo>
                    <a:pt x="1989" y="3014"/>
                  </a:lnTo>
                  <a:lnTo>
                    <a:pt x="1989" y="3012"/>
                  </a:lnTo>
                  <a:lnTo>
                    <a:pt x="1991" y="3014"/>
                  </a:lnTo>
                  <a:close/>
                  <a:moveTo>
                    <a:pt x="1994" y="3012"/>
                  </a:moveTo>
                  <a:lnTo>
                    <a:pt x="1996" y="3016"/>
                  </a:lnTo>
                  <a:lnTo>
                    <a:pt x="1996" y="3017"/>
                  </a:lnTo>
                  <a:lnTo>
                    <a:pt x="1994" y="3017"/>
                  </a:lnTo>
                  <a:lnTo>
                    <a:pt x="1994" y="3016"/>
                  </a:lnTo>
                  <a:lnTo>
                    <a:pt x="1993" y="3016"/>
                  </a:lnTo>
                  <a:lnTo>
                    <a:pt x="1993" y="3014"/>
                  </a:lnTo>
                  <a:lnTo>
                    <a:pt x="1993" y="3012"/>
                  </a:lnTo>
                  <a:lnTo>
                    <a:pt x="1994" y="3014"/>
                  </a:lnTo>
                  <a:lnTo>
                    <a:pt x="1994" y="3012"/>
                  </a:lnTo>
                  <a:close/>
                  <a:moveTo>
                    <a:pt x="1976" y="3012"/>
                  </a:moveTo>
                  <a:lnTo>
                    <a:pt x="1978" y="3012"/>
                  </a:lnTo>
                  <a:lnTo>
                    <a:pt x="1980" y="3012"/>
                  </a:lnTo>
                  <a:lnTo>
                    <a:pt x="1980" y="3014"/>
                  </a:lnTo>
                  <a:lnTo>
                    <a:pt x="1980" y="3016"/>
                  </a:lnTo>
                  <a:lnTo>
                    <a:pt x="1980" y="3017"/>
                  </a:lnTo>
                  <a:lnTo>
                    <a:pt x="1978" y="3017"/>
                  </a:lnTo>
                  <a:lnTo>
                    <a:pt x="1978" y="3019"/>
                  </a:lnTo>
                  <a:lnTo>
                    <a:pt x="1976" y="3020"/>
                  </a:lnTo>
                  <a:lnTo>
                    <a:pt x="1976" y="3022"/>
                  </a:lnTo>
                  <a:lnTo>
                    <a:pt x="1975" y="3020"/>
                  </a:lnTo>
                  <a:lnTo>
                    <a:pt x="1975" y="3022"/>
                  </a:lnTo>
                  <a:lnTo>
                    <a:pt x="1973" y="3022"/>
                  </a:lnTo>
                  <a:lnTo>
                    <a:pt x="1973" y="3024"/>
                  </a:lnTo>
                  <a:lnTo>
                    <a:pt x="1973" y="3022"/>
                  </a:lnTo>
                  <a:lnTo>
                    <a:pt x="1971" y="3022"/>
                  </a:lnTo>
                  <a:lnTo>
                    <a:pt x="1973" y="3020"/>
                  </a:lnTo>
                  <a:lnTo>
                    <a:pt x="1973" y="3019"/>
                  </a:lnTo>
                  <a:lnTo>
                    <a:pt x="1971" y="3019"/>
                  </a:lnTo>
                  <a:lnTo>
                    <a:pt x="1971" y="3017"/>
                  </a:lnTo>
                  <a:lnTo>
                    <a:pt x="1971" y="3019"/>
                  </a:lnTo>
                  <a:lnTo>
                    <a:pt x="1971" y="3017"/>
                  </a:lnTo>
                  <a:lnTo>
                    <a:pt x="1970" y="3017"/>
                  </a:lnTo>
                  <a:lnTo>
                    <a:pt x="1970" y="3019"/>
                  </a:lnTo>
                  <a:lnTo>
                    <a:pt x="1970" y="3017"/>
                  </a:lnTo>
                  <a:lnTo>
                    <a:pt x="1970" y="3016"/>
                  </a:lnTo>
                  <a:lnTo>
                    <a:pt x="1971" y="3014"/>
                  </a:lnTo>
                  <a:lnTo>
                    <a:pt x="1973" y="3014"/>
                  </a:lnTo>
                  <a:lnTo>
                    <a:pt x="1973" y="3012"/>
                  </a:lnTo>
                  <a:lnTo>
                    <a:pt x="1975" y="3012"/>
                  </a:lnTo>
                  <a:lnTo>
                    <a:pt x="1976" y="3012"/>
                  </a:lnTo>
                  <a:close/>
                  <a:moveTo>
                    <a:pt x="1996" y="3012"/>
                  </a:moveTo>
                  <a:lnTo>
                    <a:pt x="1994" y="3012"/>
                  </a:lnTo>
                  <a:lnTo>
                    <a:pt x="1996" y="3012"/>
                  </a:lnTo>
                  <a:close/>
                  <a:moveTo>
                    <a:pt x="2868" y="3006"/>
                  </a:moveTo>
                  <a:lnTo>
                    <a:pt x="2868" y="3007"/>
                  </a:lnTo>
                  <a:lnTo>
                    <a:pt x="2868" y="3009"/>
                  </a:lnTo>
                  <a:lnTo>
                    <a:pt x="2868" y="3007"/>
                  </a:lnTo>
                  <a:lnTo>
                    <a:pt x="2868" y="3009"/>
                  </a:lnTo>
                  <a:lnTo>
                    <a:pt x="2869" y="3011"/>
                  </a:lnTo>
                  <a:lnTo>
                    <a:pt x="2869" y="3012"/>
                  </a:lnTo>
                  <a:lnTo>
                    <a:pt x="2869" y="3014"/>
                  </a:lnTo>
                  <a:lnTo>
                    <a:pt x="2871" y="3014"/>
                  </a:lnTo>
                  <a:lnTo>
                    <a:pt x="2869" y="3014"/>
                  </a:lnTo>
                  <a:lnTo>
                    <a:pt x="2868" y="3014"/>
                  </a:lnTo>
                  <a:lnTo>
                    <a:pt x="2866" y="3014"/>
                  </a:lnTo>
                  <a:lnTo>
                    <a:pt x="2864" y="3011"/>
                  </a:lnTo>
                  <a:lnTo>
                    <a:pt x="2864" y="3009"/>
                  </a:lnTo>
                  <a:lnTo>
                    <a:pt x="2864" y="3007"/>
                  </a:lnTo>
                  <a:lnTo>
                    <a:pt x="2866" y="3007"/>
                  </a:lnTo>
                  <a:lnTo>
                    <a:pt x="2866" y="3006"/>
                  </a:lnTo>
                  <a:lnTo>
                    <a:pt x="2868" y="3006"/>
                  </a:lnTo>
                  <a:close/>
                  <a:moveTo>
                    <a:pt x="2869" y="3006"/>
                  </a:moveTo>
                  <a:lnTo>
                    <a:pt x="2871" y="3007"/>
                  </a:lnTo>
                  <a:lnTo>
                    <a:pt x="2871" y="3009"/>
                  </a:lnTo>
                  <a:lnTo>
                    <a:pt x="2872" y="3009"/>
                  </a:lnTo>
                  <a:lnTo>
                    <a:pt x="2872" y="3011"/>
                  </a:lnTo>
                  <a:lnTo>
                    <a:pt x="2874" y="3011"/>
                  </a:lnTo>
                  <a:lnTo>
                    <a:pt x="2874" y="3009"/>
                  </a:lnTo>
                  <a:lnTo>
                    <a:pt x="2874" y="3011"/>
                  </a:lnTo>
                  <a:lnTo>
                    <a:pt x="2876" y="3011"/>
                  </a:lnTo>
                  <a:lnTo>
                    <a:pt x="2874" y="3012"/>
                  </a:lnTo>
                  <a:lnTo>
                    <a:pt x="2876" y="3012"/>
                  </a:lnTo>
                  <a:lnTo>
                    <a:pt x="2876" y="3014"/>
                  </a:lnTo>
                  <a:lnTo>
                    <a:pt x="2874" y="3014"/>
                  </a:lnTo>
                  <a:lnTo>
                    <a:pt x="2872" y="3014"/>
                  </a:lnTo>
                  <a:lnTo>
                    <a:pt x="2871" y="3014"/>
                  </a:lnTo>
                  <a:lnTo>
                    <a:pt x="2872" y="3014"/>
                  </a:lnTo>
                  <a:lnTo>
                    <a:pt x="2872" y="3012"/>
                  </a:lnTo>
                  <a:lnTo>
                    <a:pt x="2872" y="3011"/>
                  </a:lnTo>
                  <a:lnTo>
                    <a:pt x="2871" y="3011"/>
                  </a:lnTo>
                  <a:lnTo>
                    <a:pt x="2871" y="3009"/>
                  </a:lnTo>
                  <a:lnTo>
                    <a:pt x="2871" y="3007"/>
                  </a:lnTo>
                  <a:lnTo>
                    <a:pt x="2869" y="3007"/>
                  </a:lnTo>
                  <a:lnTo>
                    <a:pt x="2869" y="3006"/>
                  </a:lnTo>
                  <a:close/>
                  <a:moveTo>
                    <a:pt x="2006" y="3003"/>
                  </a:moveTo>
                  <a:lnTo>
                    <a:pt x="2004" y="3004"/>
                  </a:lnTo>
                  <a:lnTo>
                    <a:pt x="2006" y="3003"/>
                  </a:lnTo>
                  <a:close/>
                  <a:moveTo>
                    <a:pt x="2817" y="3003"/>
                  </a:moveTo>
                  <a:lnTo>
                    <a:pt x="2816" y="3003"/>
                  </a:lnTo>
                  <a:lnTo>
                    <a:pt x="2817" y="3003"/>
                  </a:lnTo>
                  <a:close/>
                  <a:moveTo>
                    <a:pt x="2019" y="2993"/>
                  </a:moveTo>
                  <a:lnTo>
                    <a:pt x="2017" y="2993"/>
                  </a:lnTo>
                  <a:lnTo>
                    <a:pt x="2014" y="2993"/>
                  </a:lnTo>
                  <a:lnTo>
                    <a:pt x="2015" y="2993"/>
                  </a:lnTo>
                  <a:lnTo>
                    <a:pt x="2015" y="2991"/>
                  </a:lnTo>
                  <a:lnTo>
                    <a:pt x="2017" y="2991"/>
                  </a:lnTo>
                  <a:lnTo>
                    <a:pt x="2019" y="2991"/>
                  </a:lnTo>
                  <a:lnTo>
                    <a:pt x="2019" y="2993"/>
                  </a:lnTo>
                  <a:close/>
                  <a:moveTo>
                    <a:pt x="2054" y="2973"/>
                  </a:moveTo>
                  <a:lnTo>
                    <a:pt x="2053" y="2973"/>
                  </a:lnTo>
                  <a:lnTo>
                    <a:pt x="2054" y="2973"/>
                  </a:lnTo>
                  <a:lnTo>
                    <a:pt x="2056" y="2973"/>
                  </a:lnTo>
                  <a:lnTo>
                    <a:pt x="2054" y="2973"/>
                  </a:lnTo>
                  <a:close/>
                  <a:moveTo>
                    <a:pt x="2049" y="2970"/>
                  </a:moveTo>
                  <a:lnTo>
                    <a:pt x="2049" y="2972"/>
                  </a:lnTo>
                  <a:lnTo>
                    <a:pt x="2049" y="2970"/>
                  </a:lnTo>
                  <a:close/>
                  <a:moveTo>
                    <a:pt x="2829" y="2976"/>
                  </a:moveTo>
                  <a:lnTo>
                    <a:pt x="2830" y="2976"/>
                  </a:lnTo>
                  <a:lnTo>
                    <a:pt x="2830" y="2978"/>
                  </a:lnTo>
                  <a:lnTo>
                    <a:pt x="2830" y="2980"/>
                  </a:lnTo>
                  <a:lnTo>
                    <a:pt x="2830" y="2978"/>
                  </a:lnTo>
                  <a:lnTo>
                    <a:pt x="2829" y="2978"/>
                  </a:lnTo>
                  <a:lnTo>
                    <a:pt x="2829" y="2976"/>
                  </a:lnTo>
                  <a:lnTo>
                    <a:pt x="2827" y="2976"/>
                  </a:lnTo>
                  <a:lnTo>
                    <a:pt x="2827" y="2975"/>
                  </a:lnTo>
                  <a:lnTo>
                    <a:pt x="2825" y="2973"/>
                  </a:lnTo>
                  <a:lnTo>
                    <a:pt x="2825" y="2972"/>
                  </a:lnTo>
                  <a:lnTo>
                    <a:pt x="2824" y="2970"/>
                  </a:lnTo>
                  <a:lnTo>
                    <a:pt x="2824" y="2968"/>
                  </a:lnTo>
                  <a:lnTo>
                    <a:pt x="2825" y="2968"/>
                  </a:lnTo>
                  <a:lnTo>
                    <a:pt x="2825" y="2970"/>
                  </a:lnTo>
                  <a:lnTo>
                    <a:pt x="2827" y="2972"/>
                  </a:lnTo>
                  <a:lnTo>
                    <a:pt x="2827" y="2973"/>
                  </a:lnTo>
                  <a:lnTo>
                    <a:pt x="2829" y="2975"/>
                  </a:lnTo>
                  <a:lnTo>
                    <a:pt x="2829" y="2976"/>
                  </a:lnTo>
                  <a:close/>
                  <a:moveTo>
                    <a:pt x="2817" y="2921"/>
                  </a:moveTo>
                  <a:lnTo>
                    <a:pt x="2819" y="2921"/>
                  </a:lnTo>
                  <a:lnTo>
                    <a:pt x="2819" y="2923"/>
                  </a:lnTo>
                  <a:lnTo>
                    <a:pt x="2820" y="2923"/>
                  </a:lnTo>
                  <a:lnTo>
                    <a:pt x="2820" y="2924"/>
                  </a:lnTo>
                  <a:lnTo>
                    <a:pt x="2820" y="2926"/>
                  </a:lnTo>
                  <a:lnTo>
                    <a:pt x="2819" y="2924"/>
                  </a:lnTo>
                  <a:lnTo>
                    <a:pt x="2819" y="2923"/>
                  </a:lnTo>
                  <a:lnTo>
                    <a:pt x="2817" y="2923"/>
                  </a:lnTo>
                  <a:lnTo>
                    <a:pt x="2817" y="2921"/>
                  </a:lnTo>
                  <a:close/>
                  <a:moveTo>
                    <a:pt x="2842" y="2918"/>
                  </a:moveTo>
                  <a:lnTo>
                    <a:pt x="2840" y="2918"/>
                  </a:lnTo>
                  <a:lnTo>
                    <a:pt x="2842" y="2918"/>
                  </a:lnTo>
                  <a:close/>
                  <a:moveTo>
                    <a:pt x="2840" y="2916"/>
                  </a:moveTo>
                  <a:lnTo>
                    <a:pt x="2840" y="2918"/>
                  </a:lnTo>
                  <a:lnTo>
                    <a:pt x="2840" y="2916"/>
                  </a:lnTo>
                  <a:close/>
                  <a:moveTo>
                    <a:pt x="2840" y="2916"/>
                  </a:moveTo>
                  <a:lnTo>
                    <a:pt x="2838" y="2913"/>
                  </a:lnTo>
                  <a:lnTo>
                    <a:pt x="2838" y="2911"/>
                  </a:lnTo>
                  <a:lnTo>
                    <a:pt x="2840" y="2911"/>
                  </a:lnTo>
                  <a:lnTo>
                    <a:pt x="2840" y="2913"/>
                  </a:lnTo>
                  <a:lnTo>
                    <a:pt x="2840" y="2915"/>
                  </a:lnTo>
                  <a:lnTo>
                    <a:pt x="2840" y="2916"/>
                  </a:lnTo>
                  <a:close/>
                  <a:moveTo>
                    <a:pt x="2838" y="2913"/>
                  </a:moveTo>
                  <a:lnTo>
                    <a:pt x="2838" y="2911"/>
                  </a:lnTo>
                  <a:lnTo>
                    <a:pt x="2838" y="2913"/>
                  </a:lnTo>
                  <a:close/>
                  <a:moveTo>
                    <a:pt x="2838" y="2911"/>
                  </a:moveTo>
                  <a:lnTo>
                    <a:pt x="2838" y="2908"/>
                  </a:lnTo>
                  <a:lnTo>
                    <a:pt x="2838" y="2910"/>
                  </a:lnTo>
                  <a:lnTo>
                    <a:pt x="2838" y="2911"/>
                  </a:lnTo>
                  <a:close/>
                  <a:moveTo>
                    <a:pt x="2838" y="2910"/>
                  </a:moveTo>
                  <a:lnTo>
                    <a:pt x="2837" y="2908"/>
                  </a:lnTo>
                  <a:lnTo>
                    <a:pt x="2837" y="2907"/>
                  </a:lnTo>
                  <a:lnTo>
                    <a:pt x="2838" y="2910"/>
                  </a:lnTo>
                  <a:close/>
                  <a:moveTo>
                    <a:pt x="2837" y="2902"/>
                  </a:moveTo>
                  <a:lnTo>
                    <a:pt x="2837" y="2905"/>
                  </a:lnTo>
                  <a:lnTo>
                    <a:pt x="2837" y="2903"/>
                  </a:lnTo>
                  <a:lnTo>
                    <a:pt x="2835" y="2903"/>
                  </a:lnTo>
                  <a:lnTo>
                    <a:pt x="2835" y="2902"/>
                  </a:lnTo>
                  <a:lnTo>
                    <a:pt x="2837" y="2902"/>
                  </a:lnTo>
                  <a:close/>
                  <a:moveTo>
                    <a:pt x="2900" y="2900"/>
                  </a:moveTo>
                  <a:lnTo>
                    <a:pt x="2900" y="2902"/>
                  </a:lnTo>
                  <a:lnTo>
                    <a:pt x="2900" y="2900"/>
                  </a:lnTo>
                  <a:lnTo>
                    <a:pt x="2900" y="2898"/>
                  </a:lnTo>
                  <a:lnTo>
                    <a:pt x="2900" y="2897"/>
                  </a:lnTo>
                  <a:lnTo>
                    <a:pt x="2898" y="2897"/>
                  </a:lnTo>
                  <a:lnTo>
                    <a:pt x="2898" y="2895"/>
                  </a:lnTo>
                  <a:lnTo>
                    <a:pt x="2900" y="2897"/>
                  </a:lnTo>
                  <a:lnTo>
                    <a:pt x="2900" y="2898"/>
                  </a:lnTo>
                  <a:lnTo>
                    <a:pt x="2900" y="2900"/>
                  </a:lnTo>
                  <a:close/>
                  <a:moveTo>
                    <a:pt x="2863" y="2895"/>
                  </a:moveTo>
                  <a:lnTo>
                    <a:pt x="2864" y="2895"/>
                  </a:lnTo>
                  <a:lnTo>
                    <a:pt x="2863" y="2895"/>
                  </a:lnTo>
                  <a:lnTo>
                    <a:pt x="2864" y="2895"/>
                  </a:lnTo>
                  <a:lnTo>
                    <a:pt x="2863" y="2895"/>
                  </a:lnTo>
                  <a:close/>
                  <a:moveTo>
                    <a:pt x="2833" y="2895"/>
                  </a:moveTo>
                  <a:lnTo>
                    <a:pt x="2835" y="2898"/>
                  </a:lnTo>
                  <a:lnTo>
                    <a:pt x="2837" y="2902"/>
                  </a:lnTo>
                  <a:lnTo>
                    <a:pt x="2835" y="2902"/>
                  </a:lnTo>
                  <a:lnTo>
                    <a:pt x="2835" y="2900"/>
                  </a:lnTo>
                  <a:lnTo>
                    <a:pt x="2833" y="2898"/>
                  </a:lnTo>
                  <a:lnTo>
                    <a:pt x="2835" y="2898"/>
                  </a:lnTo>
                  <a:lnTo>
                    <a:pt x="2833" y="2898"/>
                  </a:lnTo>
                  <a:lnTo>
                    <a:pt x="2835" y="2898"/>
                  </a:lnTo>
                  <a:lnTo>
                    <a:pt x="2833" y="2898"/>
                  </a:lnTo>
                  <a:lnTo>
                    <a:pt x="2835" y="2898"/>
                  </a:lnTo>
                  <a:lnTo>
                    <a:pt x="2833" y="2898"/>
                  </a:lnTo>
                  <a:lnTo>
                    <a:pt x="2833" y="2897"/>
                  </a:lnTo>
                  <a:lnTo>
                    <a:pt x="2833" y="2895"/>
                  </a:lnTo>
                  <a:close/>
                  <a:moveTo>
                    <a:pt x="2807" y="2895"/>
                  </a:moveTo>
                  <a:lnTo>
                    <a:pt x="2806" y="2895"/>
                  </a:lnTo>
                  <a:lnTo>
                    <a:pt x="2807" y="2895"/>
                  </a:lnTo>
                  <a:close/>
                  <a:moveTo>
                    <a:pt x="2809" y="2894"/>
                  </a:moveTo>
                  <a:lnTo>
                    <a:pt x="2809" y="2895"/>
                  </a:lnTo>
                  <a:lnTo>
                    <a:pt x="2809" y="2894"/>
                  </a:lnTo>
                  <a:close/>
                  <a:moveTo>
                    <a:pt x="2863" y="2885"/>
                  </a:moveTo>
                  <a:lnTo>
                    <a:pt x="2864" y="2885"/>
                  </a:lnTo>
                  <a:lnTo>
                    <a:pt x="2866" y="2885"/>
                  </a:lnTo>
                  <a:lnTo>
                    <a:pt x="2866" y="2887"/>
                  </a:lnTo>
                  <a:lnTo>
                    <a:pt x="2868" y="2887"/>
                  </a:lnTo>
                  <a:lnTo>
                    <a:pt x="2868" y="2889"/>
                  </a:lnTo>
                  <a:lnTo>
                    <a:pt x="2868" y="2890"/>
                  </a:lnTo>
                  <a:lnTo>
                    <a:pt x="2866" y="2890"/>
                  </a:lnTo>
                  <a:lnTo>
                    <a:pt x="2866" y="2892"/>
                  </a:lnTo>
                  <a:lnTo>
                    <a:pt x="2866" y="2894"/>
                  </a:lnTo>
                  <a:lnTo>
                    <a:pt x="2864" y="2894"/>
                  </a:lnTo>
                  <a:lnTo>
                    <a:pt x="2864" y="2895"/>
                  </a:lnTo>
                  <a:lnTo>
                    <a:pt x="2863" y="2895"/>
                  </a:lnTo>
                  <a:lnTo>
                    <a:pt x="2863" y="2894"/>
                  </a:lnTo>
                  <a:lnTo>
                    <a:pt x="2863" y="2892"/>
                  </a:lnTo>
                  <a:lnTo>
                    <a:pt x="2861" y="2892"/>
                  </a:lnTo>
                  <a:lnTo>
                    <a:pt x="2859" y="2890"/>
                  </a:lnTo>
                  <a:lnTo>
                    <a:pt x="2858" y="2889"/>
                  </a:lnTo>
                  <a:lnTo>
                    <a:pt x="2858" y="2887"/>
                  </a:lnTo>
                  <a:lnTo>
                    <a:pt x="2859" y="2887"/>
                  </a:lnTo>
                  <a:lnTo>
                    <a:pt x="2861" y="2885"/>
                  </a:lnTo>
                  <a:lnTo>
                    <a:pt x="2863" y="2885"/>
                  </a:lnTo>
                  <a:close/>
                  <a:moveTo>
                    <a:pt x="2833" y="2894"/>
                  </a:moveTo>
                  <a:lnTo>
                    <a:pt x="2833" y="2892"/>
                  </a:lnTo>
                  <a:lnTo>
                    <a:pt x="2832" y="2890"/>
                  </a:lnTo>
                  <a:lnTo>
                    <a:pt x="2832" y="2889"/>
                  </a:lnTo>
                  <a:lnTo>
                    <a:pt x="2832" y="2887"/>
                  </a:lnTo>
                  <a:lnTo>
                    <a:pt x="2830" y="2884"/>
                  </a:lnTo>
                  <a:lnTo>
                    <a:pt x="2832" y="2884"/>
                  </a:lnTo>
                  <a:lnTo>
                    <a:pt x="2832" y="2885"/>
                  </a:lnTo>
                  <a:lnTo>
                    <a:pt x="2832" y="2887"/>
                  </a:lnTo>
                  <a:lnTo>
                    <a:pt x="2832" y="2889"/>
                  </a:lnTo>
                  <a:lnTo>
                    <a:pt x="2832" y="2890"/>
                  </a:lnTo>
                  <a:lnTo>
                    <a:pt x="2833" y="2894"/>
                  </a:lnTo>
                  <a:close/>
                  <a:moveTo>
                    <a:pt x="2817" y="2882"/>
                  </a:moveTo>
                  <a:lnTo>
                    <a:pt x="2817" y="2884"/>
                  </a:lnTo>
                  <a:lnTo>
                    <a:pt x="2817" y="2882"/>
                  </a:lnTo>
                  <a:lnTo>
                    <a:pt x="2817" y="2884"/>
                  </a:lnTo>
                  <a:lnTo>
                    <a:pt x="2817" y="2885"/>
                  </a:lnTo>
                  <a:lnTo>
                    <a:pt x="2817" y="2887"/>
                  </a:lnTo>
                  <a:lnTo>
                    <a:pt x="2817" y="2885"/>
                  </a:lnTo>
                  <a:lnTo>
                    <a:pt x="2816" y="2885"/>
                  </a:lnTo>
                  <a:lnTo>
                    <a:pt x="2816" y="2884"/>
                  </a:lnTo>
                  <a:lnTo>
                    <a:pt x="2816" y="2882"/>
                  </a:lnTo>
                  <a:lnTo>
                    <a:pt x="2816" y="2881"/>
                  </a:lnTo>
                  <a:lnTo>
                    <a:pt x="2816" y="2882"/>
                  </a:lnTo>
                  <a:lnTo>
                    <a:pt x="2817" y="2882"/>
                  </a:lnTo>
                  <a:close/>
                  <a:moveTo>
                    <a:pt x="2845" y="2881"/>
                  </a:moveTo>
                  <a:lnTo>
                    <a:pt x="2845" y="2879"/>
                  </a:lnTo>
                  <a:lnTo>
                    <a:pt x="2845" y="2881"/>
                  </a:lnTo>
                  <a:close/>
                  <a:moveTo>
                    <a:pt x="2850" y="2879"/>
                  </a:moveTo>
                  <a:lnTo>
                    <a:pt x="2848" y="2881"/>
                  </a:lnTo>
                  <a:lnTo>
                    <a:pt x="2848" y="2879"/>
                  </a:lnTo>
                  <a:lnTo>
                    <a:pt x="2848" y="2881"/>
                  </a:lnTo>
                  <a:lnTo>
                    <a:pt x="2848" y="2879"/>
                  </a:lnTo>
                  <a:lnTo>
                    <a:pt x="2850" y="2879"/>
                  </a:lnTo>
                  <a:close/>
                  <a:moveTo>
                    <a:pt x="2848" y="2879"/>
                  </a:moveTo>
                  <a:lnTo>
                    <a:pt x="2848" y="2881"/>
                  </a:lnTo>
                  <a:lnTo>
                    <a:pt x="2848" y="2879"/>
                  </a:lnTo>
                  <a:close/>
                  <a:moveTo>
                    <a:pt x="2824" y="2881"/>
                  </a:moveTo>
                  <a:lnTo>
                    <a:pt x="2822" y="2881"/>
                  </a:lnTo>
                  <a:lnTo>
                    <a:pt x="2822" y="2879"/>
                  </a:lnTo>
                  <a:lnTo>
                    <a:pt x="2824" y="2881"/>
                  </a:lnTo>
                  <a:close/>
                  <a:moveTo>
                    <a:pt x="2845" y="2879"/>
                  </a:moveTo>
                  <a:lnTo>
                    <a:pt x="2846" y="2879"/>
                  </a:lnTo>
                  <a:lnTo>
                    <a:pt x="2845" y="2879"/>
                  </a:lnTo>
                  <a:close/>
                  <a:moveTo>
                    <a:pt x="2851" y="2877"/>
                  </a:moveTo>
                  <a:lnTo>
                    <a:pt x="2850" y="2879"/>
                  </a:lnTo>
                  <a:lnTo>
                    <a:pt x="2850" y="2877"/>
                  </a:lnTo>
                  <a:lnTo>
                    <a:pt x="2850" y="2879"/>
                  </a:lnTo>
                  <a:lnTo>
                    <a:pt x="2850" y="2877"/>
                  </a:lnTo>
                  <a:lnTo>
                    <a:pt x="2851" y="2877"/>
                  </a:lnTo>
                  <a:close/>
                  <a:moveTo>
                    <a:pt x="2827" y="2877"/>
                  </a:moveTo>
                  <a:lnTo>
                    <a:pt x="2827" y="2879"/>
                  </a:lnTo>
                  <a:lnTo>
                    <a:pt x="2829" y="2881"/>
                  </a:lnTo>
                  <a:lnTo>
                    <a:pt x="2829" y="2882"/>
                  </a:lnTo>
                  <a:lnTo>
                    <a:pt x="2827" y="2881"/>
                  </a:lnTo>
                  <a:lnTo>
                    <a:pt x="2827" y="2879"/>
                  </a:lnTo>
                  <a:lnTo>
                    <a:pt x="2825" y="2879"/>
                  </a:lnTo>
                  <a:lnTo>
                    <a:pt x="2825" y="2877"/>
                  </a:lnTo>
                  <a:lnTo>
                    <a:pt x="2827" y="2877"/>
                  </a:lnTo>
                  <a:close/>
                  <a:moveTo>
                    <a:pt x="2848" y="2877"/>
                  </a:moveTo>
                  <a:lnTo>
                    <a:pt x="2846" y="2877"/>
                  </a:lnTo>
                  <a:lnTo>
                    <a:pt x="2848" y="2877"/>
                  </a:lnTo>
                  <a:close/>
                  <a:moveTo>
                    <a:pt x="2832" y="2882"/>
                  </a:moveTo>
                  <a:lnTo>
                    <a:pt x="2832" y="2884"/>
                  </a:lnTo>
                  <a:lnTo>
                    <a:pt x="2832" y="2885"/>
                  </a:lnTo>
                  <a:lnTo>
                    <a:pt x="2833" y="2885"/>
                  </a:lnTo>
                  <a:lnTo>
                    <a:pt x="2832" y="2885"/>
                  </a:lnTo>
                  <a:lnTo>
                    <a:pt x="2833" y="2887"/>
                  </a:lnTo>
                  <a:lnTo>
                    <a:pt x="2833" y="2889"/>
                  </a:lnTo>
                  <a:lnTo>
                    <a:pt x="2833" y="2890"/>
                  </a:lnTo>
                  <a:lnTo>
                    <a:pt x="2835" y="2890"/>
                  </a:lnTo>
                  <a:lnTo>
                    <a:pt x="2835" y="2892"/>
                  </a:lnTo>
                  <a:lnTo>
                    <a:pt x="2835" y="2890"/>
                  </a:lnTo>
                  <a:lnTo>
                    <a:pt x="2833" y="2892"/>
                  </a:lnTo>
                  <a:lnTo>
                    <a:pt x="2835" y="2892"/>
                  </a:lnTo>
                  <a:lnTo>
                    <a:pt x="2835" y="2894"/>
                  </a:lnTo>
                  <a:lnTo>
                    <a:pt x="2835" y="2895"/>
                  </a:lnTo>
                  <a:lnTo>
                    <a:pt x="2837" y="2895"/>
                  </a:lnTo>
                  <a:lnTo>
                    <a:pt x="2835" y="2897"/>
                  </a:lnTo>
                  <a:lnTo>
                    <a:pt x="2837" y="2897"/>
                  </a:lnTo>
                  <a:lnTo>
                    <a:pt x="2835" y="2897"/>
                  </a:lnTo>
                  <a:lnTo>
                    <a:pt x="2837" y="2897"/>
                  </a:lnTo>
                  <a:lnTo>
                    <a:pt x="2835" y="2898"/>
                  </a:lnTo>
                  <a:lnTo>
                    <a:pt x="2837" y="2898"/>
                  </a:lnTo>
                  <a:lnTo>
                    <a:pt x="2837" y="2900"/>
                  </a:lnTo>
                  <a:lnTo>
                    <a:pt x="2837" y="2902"/>
                  </a:lnTo>
                  <a:lnTo>
                    <a:pt x="2837" y="2903"/>
                  </a:lnTo>
                  <a:lnTo>
                    <a:pt x="2837" y="2905"/>
                  </a:lnTo>
                  <a:lnTo>
                    <a:pt x="2837" y="2903"/>
                  </a:lnTo>
                  <a:lnTo>
                    <a:pt x="2835" y="2900"/>
                  </a:lnTo>
                  <a:lnTo>
                    <a:pt x="2835" y="2898"/>
                  </a:lnTo>
                  <a:lnTo>
                    <a:pt x="2835" y="2894"/>
                  </a:lnTo>
                  <a:lnTo>
                    <a:pt x="2833" y="2894"/>
                  </a:lnTo>
                  <a:lnTo>
                    <a:pt x="2832" y="2885"/>
                  </a:lnTo>
                  <a:lnTo>
                    <a:pt x="2832" y="2884"/>
                  </a:lnTo>
                  <a:lnTo>
                    <a:pt x="2832" y="2885"/>
                  </a:lnTo>
                  <a:lnTo>
                    <a:pt x="2832" y="2884"/>
                  </a:lnTo>
                  <a:lnTo>
                    <a:pt x="2830" y="2882"/>
                  </a:lnTo>
                  <a:lnTo>
                    <a:pt x="2830" y="2879"/>
                  </a:lnTo>
                  <a:lnTo>
                    <a:pt x="2829" y="2877"/>
                  </a:lnTo>
                  <a:lnTo>
                    <a:pt x="2830" y="2877"/>
                  </a:lnTo>
                  <a:lnTo>
                    <a:pt x="2830" y="2879"/>
                  </a:lnTo>
                  <a:lnTo>
                    <a:pt x="2832" y="2881"/>
                  </a:lnTo>
                  <a:lnTo>
                    <a:pt x="2832" y="2882"/>
                  </a:lnTo>
                  <a:close/>
                  <a:moveTo>
                    <a:pt x="2850" y="2877"/>
                  </a:moveTo>
                  <a:lnTo>
                    <a:pt x="2848" y="2877"/>
                  </a:lnTo>
                  <a:lnTo>
                    <a:pt x="2850" y="2877"/>
                  </a:lnTo>
                  <a:close/>
                  <a:moveTo>
                    <a:pt x="2850" y="2876"/>
                  </a:moveTo>
                  <a:lnTo>
                    <a:pt x="2850" y="2877"/>
                  </a:lnTo>
                  <a:lnTo>
                    <a:pt x="2850" y="2876"/>
                  </a:lnTo>
                  <a:lnTo>
                    <a:pt x="2850" y="2877"/>
                  </a:lnTo>
                  <a:lnTo>
                    <a:pt x="2848" y="2877"/>
                  </a:lnTo>
                  <a:lnTo>
                    <a:pt x="2848" y="2876"/>
                  </a:lnTo>
                  <a:lnTo>
                    <a:pt x="2850" y="2876"/>
                  </a:lnTo>
                  <a:close/>
                  <a:moveTo>
                    <a:pt x="2833" y="2876"/>
                  </a:moveTo>
                  <a:lnTo>
                    <a:pt x="2832" y="2876"/>
                  </a:lnTo>
                  <a:lnTo>
                    <a:pt x="2833" y="2876"/>
                  </a:lnTo>
                  <a:close/>
                  <a:moveTo>
                    <a:pt x="2827" y="2876"/>
                  </a:moveTo>
                  <a:lnTo>
                    <a:pt x="2827" y="2874"/>
                  </a:lnTo>
                  <a:lnTo>
                    <a:pt x="2827" y="2876"/>
                  </a:lnTo>
                  <a:close/>
                  <a:moveTo>
                    <a:pt x="2851" y="2874"/>
                  </a:moveTo>
                  <a:lnTo>
                    <a:pt x="2851" y="2872"/>
                  </a:lnTo>
                  <a:lnTo>
                    <a:pt x="2851" y="2874"/>
                  </a:lnTo>
                  <a:close/>
                  <a:moveTo>
                    <a:pt x="2832" y="2874"/>
                  </a:moveTo>
                  <a:lnTo>
                    <a:pt x="2832" y="2876"/>
                  </a:lnTo>
                  <a:lnTo>
                    <a:pt x="2833" y="2876"/>
                  </a:lnTo>
                  <a:lnTo>
                    <a:pt x="2833" y="2877"/>
                  </a:lnTo>
                  <a:lnTo>
                    <a:pt x="2835" y="2877"/>
                  </a:lnTo>
                  <a:lnTo>
                    <a:pt x="2833" y="2877"/>
                  </a:lnTo>
                  <a:lnTo>
                    <a:pt x="2835" y="2877"/>
                  </a:lnTo>
                  <a:lnTo>
                    <a:pt x="2835" y="2876"/>
                  </a:lnTo>
                  <a:lnTo>
                    <a:pt x="2837" y="2876"/>
                  </a:lnTo>
                  <a:lnTo>
                    <a:pt x="2835" y="2874"/>
                  </a:lnTo>
                  <a:lnTo>
                    <a:pt x="2837" y="2872"/>
                  </a:lnTo>
                  <a:lnTo>
                    <a:pt x="2837" y="2874"/>
                  </a:lnTo>
                  <a:lnTo>
                    <a:pt x="2838" y="2876"/>
                  </a:lnTo>
                  <a:lnTo>
                    <a:pt x="2837" y="2876"/>
                  </a:lnTo>
                  <a:lnTo>
                    <a:pt x="2838" y="2876"/>
                  </a:lnTo>
                  <a:lnTo>
                    <a:pt x="2838" y="2877"/>
                  </a:lnTo>
                  <a:lnTo>
                    <a:pt x="2840" y="2877"/>
                  </a:lnTo>
                  <a:lnTo>
                    <a:pt x="2838" y="2877"/>
                  </a:lnTo>
                  <a:lnTo>
                    <a:pt x="2840" y="2877"/>
                  </a:lnTo>
                  <a:lnTo>
                    <a:pt x="2840" y="2879"/>
                  </a:lnTo>
                  <a:lnTo>
                    <a:pt x="2840" y="2881"/>
                  </a:lnTo>
                  <a:lnTo>
                    <a:pt x="2838" y="2879"/>
                  </a:lnTo>
                  <a:lnTo>
                    <a:pt x="2838" y="2881"/>
                  </a:lnTo>
                  <a:lnTo>
                    <a:pt x="2840" y="2881"/>
                  </a:lnTo>
                  <a:lnTo>
                    <a:pt x="2840" y="2882"/>
                  </a:lnTo>
                  <a:lnTo>
                    <a:pt x="2840" y="2881"/>
                  </a:lnTo>
                  <a:lnTo>
                    <a:pt x="2840" y="2882"/>
                  </a:lnTo>
                  <a:lnTo>
                    <a:pt x="2840" y="2881"/>
                  </a:lnTo>
                  <a:lnTo>
                    <a:pt x="2838" y="2882"/>
                  </a:lnTo>
                  <a:lnTo>
                    <a:pt x="2840" y="2882"/>
                  </a:lnTo>
                  <a:lnTo>
                    <a:pt x="2838" y="2882"/>
                  </a:lnTo>
                  <a:lnTo>
                    <a:pt x="2840" y="2882"/>
                  </a:lnTo>
                  <a:lnTo>
                    <a:pt x="2842" y="2884"/>
                  </a:lnTo>
                  <a:lnTo>
                    <a:pt x="2840" y="2884"/>
                  </a:lnTo>
                  <a:lnTo>
                    <a:pt x="2842" y="2884"/>
                  </a:lnTo>
                  <a:lnTo>
                    <a:pt x="2842" y="2885"/>
                  </a:lnTo>
                  <a:lnTo>
                    <a:pt x="2842" y="2887"/>
                  </a:lnTo>
                  <a:lnTo>
                    <a:pt x="2842" y="2889"/>
                  </a:lnTo>
                  <a:lnTo>
                    <a:pt x="2840" y="2889"/>
                  </a:lnTo>
                  <a:lnTo>
                    <a:pt x="2842" y="2889"/>
                  </a:lnTo>
                  <a:lnTo>
                    <a:pt x="2840" y="2889"/>
                  </a:lnTo>
                  <a:lnTo>
                    <a:pt x="2842" y="2889"/>
                  </a:lnTo>
                  <a:lnTo>
                    <a:pt x="2840" y="2889"/>
                  </a:lnTo>
                  <a:lnTo>
                    <a:pt x="2840" y="2887"/>
                  </a:lnTo>
                  <a:lnTo>
                    <a:pt x="2842" y="2887"/>
                  </a:lnTo>
                  <a:lnTo>
                    <a:pt x="2840" y="2887"/>
                  </a:lnTo>
                  <a:lnTo>
                    <a:pt x="2840" y="2889"/>
                  </a:lnTo>
                  <a:lnTo>
                    <a:pt x="2838" y="2889"/>
                  </a:lnTo>
                  <a:lnTo>
                    <a:pt x="2838" y="2887"/>
                  </a:lnTo>
                  <a:lnTo>
                    <a:pt x="2837" y="2887"/>
                  </a:lnTo>
                  <a:lnTo>
                    <a:pt x="2837" y="2889"/>
                  </a:lnTo>
                  <a:lnTo>
                    <a:pt x="2837" y="2887"/>
                  </a:lnTo>
                  <a:lnTo>
                    <a:pt x="2835" y="2889"/>
                  </a:lnTo>
                  <a:lnTo>
                    <a:pt x="2837" y="2889"/>
                  </a:lnTo>
                  <a:lnTo>
                    <a:pt x="2835" y="2889"/>
                  </a:lnTo>
                  <a:lnTo>
                    <a:pt x="2833" y="2887"/>
                  </a:lnTo>
                  <a:lnTo>
                    <a:pt x="2833" y="2885"/>
                  </a:lnTo>
                  <a:lnTo>
                    <a:pt x="2833" y="2884"/>
                  </a:lnTo>
                  <a:lnTo>
                    <a:pt x="2832" y="2884"/>
                  </a:lnTo>
                  <a:lnTo>
                    <a:pt x="2833" y="2884"/>
                  </a:lnTo>
                  <a:lnTo>
                    <a:pt x="2832" y="2882"/>
                  </a:lnTo>
                  <a:lnTo>
                    <a:pt x="2832" y="2881"/>
                  </a:lnTo>
                  <a:lnTo>
                    <a:pt x="2830" y="2879"/>
                  </a:lnTo>
                  <a:lnTo>
                    <a:pt x="2832" y="2879"/>
                  </a:lnTo>
                  <a:lnTo>
                    <a:pt x="2832" y="2877"/>
                  </a:lnTo>
                  <a:lnTo>
                    <a:pt x="2832" y="2879"/>
                  </a:lnTo>
                  <a:lnTo>
                    <a:pt x="2830" y="2879"/>
                  </a:lnTo>
                  <a:lnTo>
                    <a:pt x="2830" y="2877"/>
                  </a:lnTo>
                  <a:lnTo>
                    <a:pt x="2830" y="2876"/>
                  </a:lnTo>
                  <a:lnTo>
                    <a:pt x="2830" y="2874"/>
                  </a:lnTo>
                  <a:lnTo>
                    <a:pt x="2830" y="2872"/>
                  </a:lnTo>
                  <a:lnTo>
                    <a:pt x="2832" y="2874"/>
                  </a:lnTo>
                  <a:lnTo>
                    <a:pt x="2830" y="2874"/>
                  </a:lnTo>
                  <a:lnTo>
                    <a:pt x="2832" y="2874"/>
                  </a:lnTo>
                  <a:close/>
                  <a:moveTo>
                    <a:pt x="2829" y="2872"/>
                  </a:moveTo>
                  <a:lnTo>
                    <a:pt x="2829" y="2874"/>
                  </a:lnTo>
                  <a:lnTo>
                    <a:pt x="2827" y="2874"/>
                  </a:lnTo>
                  <a:lnTo>
                    <a:pt x="2827" y="2872"/>
                  </a:lnTo>
                  <a:lnTo>
                    <a:pt x="2829" y="2872"/>
                  </a:lnTo>
                  <a:close/>
                  <a:moveTo>
                    <a:pt x="2837" y="2872"/>
                  </a:moveTo>
                  <a:lnTo>
                    <a:pt x="2835" y="2872"/>
                  </a:lnTo>
                  <a:lnTo>
                    <a:pt x="2837" y="2872"/>
                  </a:lnTo>
                  <a:close/>
                  <a:moveTo>
                    <a:pt x="2838" y="2872"/>
                  </a:moveTo>
                  <a:lnTo>
                    <a:pt x="2838" y="2874"/>
                  </a:lnTo>
                  <a:lnTo>
                    <a:pt x="2838" y="2872"/>
                  </a:lnTo>
                  <a:lnTo>
                    <a:pt x="2837" y="2874"/>
                  </a:lnTo>
                  <a:lnTo>
                    <a:pt x="2838" y="2874"/>
                  </a:lnTo>
                  <a:lnTo>
                    <a:pt x="2837" y="2874"/>
                  </a:lnTo>
                  <a:lnTo>
                    <a:pt x="2837" y="2872"/>
                  </a:lnTo>
                  <a:lnTo>
                    <a:pt x="2838" y="2872"/>
                  </a:lnTo>
                  <a:close/>
                  <a:moveTo>
                    <a:pt x="2822" y="2872"/>
                  </a:moveTo>
                  <a:lnTo>
                    <a:pt x="2824" y="2872"/>
                  </a:lnTo>
                  <a:lnTo>
                    <a:pt x="2824" y="2874"/>
                  </a:lnTo>
                  <a:lnTo>
                    <a:pt x="2822" y="2874"/>
                  </a:lnTo>
                  <a:lnTo>
                    <a:pt x="2822" y="2872"/>
                  </a:lnTo>
                  <a:lnTo>
                    <a:pt x="2820" y="2872"/>
                  </a:lnTo>
                  <a:lnTo>
                    <a:pt x="2822" y="2872"/>
                  </a:lnTo>
                  <a:close/>
                  <a:moveTo>
                    <a:pt x="2858" y="2872"/>
                  </a:moveTo>
                  <a:lnTo>
                    <a:pt x="2858" y="2871"/>
                  </a:lnTo>
                  <a:lnTo>
                    <a:pt x="2858" y="2872"/>
                  </a:lnTo>
                  <a:close/>
                  <a:moveTo>
                    <a:pt x="2837" y="2872"/>
                  </a:moveTo>
                  <a:lnTo>
                    <a:pt x="2835" y="2871"/>
                  </a:lnTo>
                  <a:lnTo>
                    <a:pt x="2837" y="2871"/>
                  </a:lnTo>
                  <a:lnTo>
                    <a:pt x="2837" y="2872"/>
                  </a:lnTo>
                  <a:close/>
                  <a:moveTo>
                    <a:pt x="2859" y="2871"/>
                  </a:moveTo>
                  <a:lnTo>
                    <a:pt x="2858" y="2872"/>
                  </a:lnTo>
                  <a:lnTo>
                    <a:pt x="2858" y="2871"/>
                  </a:lnTo>
                  <a:lnTo>
                    <a:pt x="2859" y="2871"/>
                  </a:lnTo>
                  <a:close/>
                  <a:moveTo>
                    <a:pt x="2859" y="2871"/>
                  </a:moveTo>
                  <a:lnTo>
                    <a:pt x="2859" y="2872"/>
                  </a:lnTo>
                  <a:lnTo>
                    <a:pt x="2859" y="2874"/>
                  </a:lnTo>
                  <a:lnTo>
                    <a:pt x="2859" y="2872"/>
                  </a:lnTo>
                  <a:lnTo>
                    <a:pt x="2861" y="2872"/>
                  </a:lnTo>
                  <a:lnTo>
                    <a:pt x="2861" y="2874"/>
                  </a:lnTo>
                  <a:lnTo>
                    <a:pt x="2861" y="2872"/>
                  </a:lnTo>
                  <a:lnTo>
                    <a:pt x="2861" y="2874"/>
                  </a:lnTo>
                  <a:lnTo>
                    <a:pt x="2859" y="2874"/>
                  </a:lnTo>
                  <a:lnTo>
                    <a:pt x="2858" y="2874"/>
                  </a:lnTo>
                  <a:lnTo>
                    <a:pt x="2858" y="2872"/>
                  </a:lnTo>
                  <a:lnTo>
                    <a:pt x="2858" y="2874"/>
                  </a:lnTo>
                  <a:lnTo>
                    <a:pt x="2858" y="2872"/>
                  </a:lnTo>
                  <a:lnTo>
                    <a:pt x="2858" y="2874"/>
                  </a:lnTo>
                  <a:lnTo>
                    <a:pt x="2856" y="2874"/>
                  </a:lnTo>
                  <a:lnTo>
                    <a:pt x="2856" y="2872"/>
                  </a:lnTo>
                  <a:lnTo>
                    <a:pt x="2856" y="2874"/>
                  </a:lnTo>
                  <a:lnTo>
                    <a:pt x="2856" y="2872"/>
                  </a:lnTo>
                  <a:lnTo>
                    <a:pt x="2858" y="2872"/>
                  </a:lnTo>
                  <a:lnTo>
                    <a:pt x="2859" y="2872"/>
                  </a:lnTo>
                  <a:lnTo>
                    <a:pt x="2859" y="2871"/>
                  </a:lnTo>
                  <a:close/>
                  <a:moveTo>
                    <a:pt x="2861" y="2871"/>
                  </a:moveTo>
                  <a:lnTo>
                    <a:pt x="2861" y="2872"/>
                  </a:lnTo>
                  <a:lnTo>
                    <a:pt x="2861" y="2871"/>
                  </a:lnTo>
                  <a:close/>
                  <a:moveTo>
                    <a:pt x="2853" y="2871"/>
                  </a:moveTo>
                  <a:lnTo>
                    <a:pt x="2855" y="2871"/>
                  </a:lnTo>
                  <a:lnTo>
                    <a:pt x="2853" y="2871"/>
                  </a:lnTo>
                  <a:lnTo>
                    <a:pt x="2855" y="2872"/>
                  </a:lnTo>
                  <a:lnTo>
                    <a:pt x="2853" y="2872"/>
                  </a:lnTo>
                  <a:lnTo>
                    <a:pt x="2853" y="2871"/>
                  </a:lnTo>
                  <a:close/>
                  <a:moveTo>
                    <a:pt x="2827" y="2872"/>
                  </a:moveTo>
                  <a:lnTo>
                    <a:pt x="2827" y="2874"/>
                  </a:lnTo>
                  <a:lnTo>
                    <a:pt x="2825" y="2872"/>
                  </a:lnTo>
                  <a:lnTo>
                    <a:pt x="2825" y="2871"/>
                  </a:lnTo>
                  <a:lnTo>
                    <a:pt x="2827" y="2872"/>
                  </a:lnTo>
                  <a:close/>
                  <a:moveTo>
                    <a:pt x="2827" y="2872"/>
                  </a:moveTo>
                  <a:lnTo>
                    <a:pt x="2825" y="2871"/>
                  </a:lnTo>
                  <a:lnTo>
                    <a:pt x="2827" y="2871"/>
                  </a:lnTo>
                  <a:lnTo>
                    <a:pt x="2827" y="2872"/>
                  </a:lnTo>
                  <a:close/>
                  <a:moveTo>
                    <a:pt x="2859" y="2871"/>
                  </a:moveTo>
                  <a:lnTo>
                    <a:pt x="2858" y="2871"/>
                  </a:lnTo>
                  <a:lnTo>
                    <a:pt x="2859" y="2871"/>
                  </a:lnTo>
                  <a:close/>
                  <a:moveTo>
                    <a:pt x="2851" y="2871"/>
                  </a:moveTo>
                  <a:lnTo>
                    <a:pt x="2850" y="2871"/>
                  </a:lnTo>
                  <a:lnTo>
                    <a:pt x="2851" y="2871"/>
                  </a:lnTo>
                  <a:close/>
                  <a:moveTo>
                    <a:pt x="2855" y="2869"/>
                  </a:moveTo>
                  <a:lnTo>
                    <a:pt x="2856" y="2869"/>
                  </a:lnTo>
                  <a:lnTo>
                    <a:pt x="2855" y="2869"/>
                  </a:lnTo>
                  <a:close/>
                  <a:moveTo>
                    <a:pt x="2838" y="2868"/>
                  </a:moveTo>
                  <a:lnTo>
                    <a:pt x="2838" y="2869"/>
                  </a:lnTo>
                  <a:lnTo>
                    <a:pt x="2837" y="2868"/>
                  </a:lnTo>
                  <a:lnTo>
                    <a:pt x="2838" y="2868"/>
                  </a:lnTo>
                  <a:close/>
                  <a:moveTo>
                    <a:pt x="2859" y="2868"/>
                  </a:moveTo>
                  <a:lnTo>
                    <a:pt x="2858" y="2868"/>
                  </a:lnTo>
                  <a:lnTo>
                    <a:pt x="2859" y="2868"/>
                  </a:lnTo>
                  <a:close/>
                  <a:moveTo>
                    <a:pt x="2856" y="2868"/>
                  </a:moveTo>
                  <a:lnTo>
                    <a:pt x="2858" y="2868"/>
                  </a:lnTo>
                  <a:lnTo>
                    <a:pt x="2856" y="2868"/>
                  </a:lnTo>
                  <a:lnTo>
                    <a:pt x="2856" y="2869"/>
                  </a:lnTo>
                  <a:lnTo>
                    <a:pt x="2856" y="2868"/>
                  </a:lnTo>
                  <a:close/>
                  <a:moveTo>
                    <a:pt x="2819" y="2876"/>
                  </a:moveTo>
                  <a:lnTo>
                    <a:pt x="2817" y="2876"/>
                  </a:lnTo>
                  <a:lnTo>
                    <a:pt x="2817" y="2874"/>
                  </a:lnTo>
                  <a:lnTo>
                    <a:pt x="2816" y="2874"/>
                  </a:lnTo>
                  <a:lnTo>
                    <a:pt x="2816" y="2872"/>
                  </a:lnTo>
                  <a:lnTo>
                    <a:pt x="2814" y="2871"/>
                  </a:lnTo>
                  <a:lnTo>
                    <a:pt x="2814" y="2869"/>
                  </a:lnTo>
                  <a:lnTo>
                    <a:pt x="2814" y="2868"/>
                  </a:lnTo>
                  <a:lnTo>
                    <a:pt x="2814" y="2866"/>
                  </a:lnTo>
                  <a:lnTo>
                    <a:pt x="2814" y="2868"/>
                  </a:lnTo>
                  <a:lnTo>
                    <a:pt x="2816" y="2869"/>
                  </a:lnTo>
                  <a:lnTo>
                    <a:pt x="2817" y="2869"/>
                  </a:lnTo>
                  <a:lnTo>
                    <a:pt x="2817" y="2872"/>
                  </a:lnTo>
                  <a:lnTo>
                    <a:pt x="2817" y="2874"/>
                  </a:lnTo>
                  <a:lnTo>
                    <a:pt x="2819" y="2874"/>
                  </a:lnTo>
                  <a:lnTo>
                    <a:pt x="2817" y="2876"/>
                  </a:lnTo>
                  <a:lnTo>
                    <a:pt x="2819" y="2876"/>
                  </a:lnTo>
                  <a:close/>
                  <a:moveTo>
                    <a:pt x="2853" y="2866"/>
                  </a:moveTo>
                  <a:lnTo>
                    <a:pt x="2851" y="2866"/>
                  </a:lnTo>
                  <a:lnTo>
                    <a:pt x="2851" y="2868"/>
                  </a:lnTo>
                  <a:lnTo>
                    <a:pt x="2853" y="2866"/>
                  </a:lnTo>
                  <a:lnTo>
                    <a:pt x="2853" y="2868"/>
                  </a:lnTo>
                  <a:lnTo>
                    <a:pt x="2853" y="2866"/>
                  </a:lnTo>
                  <a:lnTo>
                    <a:pt x="2855" y="2866"/>
                  </a:lnTo>
                  <a:lnTo>
                    <a:pt x="2855" y="2868"/>
                  </a:lnTo>
                  <a:lnTo>
                    <a:pt x="2855" y="2866"/>
                  </a:lnTo>
                  <a:lnTo>
                    <a:pt x="2855" y="2868"/>
                  </a:lnTo>
                  <a:lnTo>
                    <a:pt x="2856" y="2866"/>
                  </a:lnTo>
                  <a:lnTo>
                    <a:pt x="2856" y="2868"/>
                  </a:lnTo>
                  <a:lnTo>
                    <a:pt x="2855" y="2868"/>
                  </a:lnTo>
                  <a:lnTo>
                    <a:pt x="2853" y="2868"/>
                  </a:lnTo>
                  <a:lnTo>
                    <a:pt x="2855" y="2868"/>
                  </a:lnTo>
                  <a:lnTo>
                    <a:pt x="2855" y="2869"/>
                  </a:lnTo>
                  <a:lnTo>
                    <a:pt x="2855" y="2868"/>
                  </a:lnTo>
                  <a:lnTo>
                    <a:pt x="2855" y="2869"/>
                  </a:lnTo>
                  <a:lnTo>
                    <a:pt x="2853" y="2869"/>
                  </a:lnTo>
                  <a:lnTo>
                    <a:pt x="2855" y="2869"/>
                  </a:lnTo>
                  <a:lnTo>
                    <a:pt x="2855" y="2868"/>
                  </a:lnTo>
                  <a:lnTo>
                    <a:pt x="2855" y="2869"/>
                  </a:lnTo>
                  <a:lnTo>
                    <a:pt x="2855" y="2871"/>
                  </a:lnTo>
                  <a:lnTo>
                    <a:pt x="2855" y="2869"/>
                  </a:lnTo>
                  <a:lnTo>
                    <a:pt x="2853" y="2871"/>
                  </a:lnTo>
                  <a:lnTo>
                    <a:pt x="2853" y="2869"/>
                  </a:lnTo>
                  <a:lnTo>
                    <a:pt x="2851" y="2869"/>
                  </a:lnTo>
                  <a:lnTo>
                    <a:pt x="2850" y="2869"/>
                  </a:lnTo>
                  <a:lnTo>
                    <a:pt x="2851" y="2869"/>
                  </a:lnTo>
                  <a:lnTo>
                    <a:pt x="2850" y="2868"/>
                  </a:lnTo>
                  <a:lnTo>
                    <a:pt x="2851" y="2868"/>
                  </a:lnTo>
                  <a:lnTo>
                    <a:pt x="2851" y="2866"/>
                  </a:lnTo>
                  <a:lnTo>
                    <a:pt x="2853" y="2866"/>
                  </a:lnTo>
                  <a:close/>
                  <a:moveTo>
                    <a:pt x="2851" y="2863"/>
                  </a:moveTo>
                  <a:lnTo>
                    <a:pt x="2853" y="2863"/>
                  </a:lnTo>
                  <a:lnTo>
                    <a:pt x="2851" y="2864"/>
                  </a:lnTo>
                  <a:lnTo>
                    <a:pt x="2853" y="2864"/>
                  </a:lnTo>
                  <a:lnTo>
                    <a:pt x="2851" y="2864"/>
                  </a:lnTo>
                  <a:lnTo>
                    <a:pt x="2850" y="2864"/>
                  </a:lnTo>
                  <a:lnTo>
                    <a:pt x="2850" y="2863"/>
                  </a:lnTo>
                  <a:lnTo>
                    <a:pt x="2851" y="2863"/>
                  </a:lnTo>
                  <a:close/>
                  <a:moveTo>
                    <a:pt x="2809" y="2863"/>
                  </a:moveTo>
                  <a:lnTo>
                    <a:pt x="2809" y="2861"/>
                  </a:lnTo>
                  <a:lnTo>
                    <a:pt x="2809" y="2863"/>
                  </a:lnTo>
                  <a:close/>
                  <a:moveTo>
                    <a:pt x="2811" y="2861"/>
                  </a:moveTo>
                  <a:lnTo>
                    <a:pt x="2811" y="2863"/>
                  </a:lnTo>
                  <a:lnTo>
                    <a:pt x="2811" y="2861"/>
                  </a:lnTo>
                  <a:close/>
                  <a:moveTo>
                    <a:pt x="2811" y="2861"/>
                  </a:moveTo>
                  <a:lnTo>
                    <a:pt x="2809" y="2861"/>
                  </a:lnTo>
                  <a:lnTo>
                    <a:pt x="2811" y="2861"/>
                  </a:lnTo>
                  <a:close/>
                  <a:moveTo>
                    <a:pt x="2811" y="2861"/>
                  </a:moveTo>
                  <a:lnTo>
                    <a:pt x="2811" y="2863"/>
                  </a:lnTo>
                  <a:lnTo>
                    <a:pt x="2811" y="2861"/>
                  </a:lnTo>
                  <a:close/>
                  <a:moveTo>
                    <a:pt x="2814" y="2861"/>
                  </a:moveTo>
                  <a:lnTo>
                    <a:pt x="2812" y="2861"/>
                  </a:lnTo>
                  <a:lnTo>
                    <a:pt x="2814" y="2861"/>
                  </a:lnTo>
                  <a:close/>
                  <a:moveTo>
                    <a:pt x="2846" y="2859"/>
                  </a:moveTo>
                  <a:lnTo>
                    <a:pt x="2846" y="2861"/>
                  </a:lnTo>
                  <a:lnTo>
                    <a:pt x="2846" y="2859"/>
                  </a:lnTo>
                  <a:lnTo>
                    <a:pt x="2846" y="2861"/>
                  </a:lnTo>
                  <a:lnTo>
                    <a:pt x="2846" y="2859"/>
                  </a:lnTo>
                  <a:close/>
                  <a:moveTo>
                    <a:pt x="2812" y="2861"/>
                  </a:moveTo>
                  <a:lnTo>
                    <a:pt x="2811" y="2861"/>
                  </a:lnTo>
                  <a:lnTo>
                    <a:pt x="2812" y="2859"/>
                  </a:lnTo>
                  <a:lnTo>
                    <a:pt x="2812" y="2861"/>
                  </a:lnTo>
                  <a:close/>
                  <a:moveTo>
                    <a:pt x="2855" y="2859"/>
                  </a:moveTo>
                  <a:lnTo>
                    <a:pt x="2853" y="2859"/>
                  </a:lnTo>
                  <a:lnTo>
                    <a:pt x="2855" y="2859"/>
                  </a:lnTo>
                  <a:close/>
                  <a:moveTo>
                    <a:pt x="2864" y="2855"/>
                  </a:moveTo>
                  <a:lnTo>
                    <a:pt x="2864" y="2856"/>
                  </a:lnTo>
                  <a:lnTo>
                    <a:pt x="2864" y="2855"/>
                  </a:lnTo>
                  <a:close/>
                  <a:moveTo>
                    <a:pt x="2853" y="2855"/>
                  </a:moveTo>
                  <a:lnTo>
                    <a:pt x="2851" y="2855"/>
                  </a:lnTo>
                  <a:lnTo>
                    <a:pt x="2853" y="2855"/>
                  </a:lnTo>
                  <a:close/>
                  <a:moveTo>
                    <a:pt x="2814" y="2855"/>
                  </a:moveTo>
                  <a:lnTo>
                    <a:pt x="2814" y="2853"/>
                  </a:lnTo>
                  <a:lnTo>
                    <a:pt x="2814" y="2855"/>
                  </a:lnTo>
                  <a:close/>
                  <a:moveTo>
                    <a:pt x="2864" y="2855"/>
                  </a:moveTo>
                  <a:lnTo>
                    <a:pt x="2863" y="2855"/>
                  </a:lnTo>
                  <a:lnTo>
                    <a:pt x="2864" y="2855"/>
                  </a:lnTo>
                  <a:lnTo>
                    <a:pt x="2863" y="2853"/>
                  </a:lnTo>
                  <a:lnTo>
                    <a:pt x="2864" y="2855"/>
                  </a:lnTo>
                  <a:close/>
                  <a:moveTo>
                    <a:pt x="2846" y="2853"/>
                  </a:moveTo>
                  <a:lnTo>
                    <a:pt x="2848" y="2853"/>
                  </a:lnTo>
                  <a:lnTo>
                    <a:pt x="2846" y="2855"/>
                  </a:lnTo>
                  <a:lnTo>
                    <a:pt x="2846" y="2853"/>
                  </a:lnTo>
                  <a:close/>
                  <a:moveTo>
                    <a:pt x="2850" y="2853"/>
                  </a:moveTo>
                  <a:lnTo>
                    <a:pt x="2851" y="2856"/>
                  </a:lnTo>
                  <a:lnTo>
                    <a:pt x="2848" y="2853"/>
                  </a:lnTo>
                  <a:lnTo>
                    <a:pt x="2850" y="2853"/>
                  </a:lnTo>
                  <a:close/>
                  <a:moveTo>
                    <a:pt x="2851" y="2853"/>
                  </a:moveTo>
                  <a:lnTo>
                    <a:pt x="2850" y="2853"/>
                  </a:lnTo>
                  <a:lnTo>
                    <a:pt x="2851" y="2853"/>
                  </a:lnTo>
                  <a:lnTo>
                    <a:pt x="2850" y="2853"/>
                  </a:lnTo>
                  <a:lnTo>
                    <a:pt x="2851" y="2853"/>
                  </a:lnTo>
                  <a:close/>
                  <a:moveTo>
                    <a:pt x="2814" y="2853"/>
                  </a:moveTo>
                  <a:lnTo>
                    <a:pt x="2814" y="2851"/>
                  </a:lnTo>
                  <a:lnTo>
                    <a:pt x="2814" y="2853"/>
                  </a:lnTo>
                  <a:close/>
                  <a:moveTo>
                    <a:pt x="2850" y="2850"/>
                  </a:moveTo>
                  <a:lnTo>
                    <a:pt x="2848" y="2851"/>
                  </a:lnTo>
                  <a:lnTo>
                    <a:pt x="2850" y="2851"/>
                  </a:lnTo>
                  <a:lnTo>
                    <a:pt x="2848" y="2851"/>
                  </a:lnTo>
                  <a:lnTo>
                    <a:pt x="2848" y="2850"/>
                  </a:lnTo>
                  <a:lnTo>
                    <a:pt x="2850" y="2850"/>
                  </a:lnTo>
                  <a:close/>
                  <a:moveTo>
                    <a:pt x="2864" y="2850"/>
                  </a:moveTo>
                  <a:lnTo>
                    <a:pt x="2864" y="2848"/>
                  </a:lnTo>
                  <a:lnTo>
                    <a:pt x="2864" y="2850"/>
                  </a:lnTo>
                  <a:close/>
                  <a:moveTo>
                    <a:pt x="2863" y="2848"/>
                  </a:moveTo>
                  <a:lnTo>
                    <a:pt x="2861" y="2848"/>
                  </a:lnTo>
                  <a:lnTo>
                    <a:pt x="2863" y="2848"/>
                  </a:lnTo>
                  <a:lnTo>
                    <a:pt x="2861" y="2848"/>
                  </a:lnTo>
                  <a:lnTo>
                    <a:pt x="2863" y="2848"/>
                  </a:lnTo>
                  <a:close/>
                  <a:moveTo>
                    <a:pt x="2848" y="2848"/>
                  </a:moveTo>
                  <a:lnTo>
                    <a:pt x="2850" y="2848"/>
                  </a:lnTo>
                  <a:lnTo>
                    <a:pt x="2848" y="2848"/>
                  </a:lnTo>
                  <a:lnTo>
                    <a:pt x="2850" y="2850"/>
                  </a:lnTo>
                  <a:lnTo>
                    <a:pt x="2848" y="2850"/>
                  </a:lnTo>
                  <a:lnTo>
                    <a:pt x="2848" y="2848"/>
                  </a:lnTo>
                  <a:close/>
                  <a:moveTo>
                    <a:pt x="2843" y="2846"/>
                  </a:moveTo>
                  <a:lnTo>
                    <a:pt x="2843" y="2848"/>
                  </a:lnTo>
                  <a:lnTo>
                    <a:pt x="2843" y="2846"/>
                  </a:lnTo>
                  <a:close/>
                  <a:moveTo>
                    <a:pt x="2869" y="2848"/>
                  </a:moveTo>
                  <a:lnTo>
                    <a:pt x="2871" y="2848"/>
                  </a:lnTo>
                  <a:lnTo>
                    <a:pt x="2871" y="2850"/>
                  </a:lnTo>
                  <a:lnTo>
                    <a:pt x="2869" y="2850"/>
                  </a:lnTo>
                  <a:lnTo>
                    <a:pt x="2869" y="2848"/>
                  </a:lnTo>
                  <a:lnTo>
                    <a:pt x="2868" y="2848"/>
                  </a:lnTo>
                  <a:lnTo>
                    <a:pt x="2869" y="2848"/>
                  </a:lnTo>
                  <a:lnTo>
                    <a:pt x="2868" y="2848"/>
                  </a:lnTo>
                  <a:lnTo>
                    <a:pt x="2869" y="2846"/>
                  </a:lnTo>
                  <a:lnTo>
                    <a:pt x="2869" y="2848"/>
                  </a:lnTo>
                  <a:close/>
                  <a:moveTo>
                    <a:pt x="2874" y="2848"/>
                  </a:moveTo>
                  <a:lnTo>
                    <a:pt x="2872" y="2848"/>
                  </a:lnTo>
                  <a:lnTo>
                    <a:pt x="2874" y="2846"/>
                  </a:lnTo>
                  <a:lnTo>
                    <a:pt x="2874" y="2848"/>
                  </a:lnTo>
                  <a:close/>
                  <a:moveTo>
                    <a:pt x="2850" y="2846"/>
                  </a:moveTo>
                  <a:lnTo>
                    <a:pt x="2848" y="2846"/>
                  </a:lnTo>
                  <a:lnTo>
                    <a:pt x="2850" y="2846"/>
                  </a:lnTo>
                  <a:close/>
                  <a:moveTo>
                    <a:pt x="2842" y="2845"/>
                  </a:moveTo>
                  <a:lnTo>
                    <a:pt x="2842" y="2846"/>
                  </a:lnTo>
                  <a:lnTo>
                    <a:pt x="2842" y="2845"/>
                  </a:lnTo>
                  <a:close/>
                  <a:moveTo>
                    <a:pt x="2864" y="2845"/>
                  </a:moveTo>
                  <a:lnTo>
                    <a:pt x="2866" y="2846"/>
                  </a:lnTo>
                  <a:lnTo>
                    <a:pt x="2864" y="2846"/>
                  </a:lnTo>
                  <a:lnTo>
                    <a:pt x="2864" y="2845"/>
                  </a:lnTo>
                  <a:close/>
                  <a:moveTo>
                    <a:pt x="2869" y="2845"/>
                  </a:moveTo>
                  <a:lnTo>
                    <a:pt x="2868" y="2845"/>
                  </a:lnTo>
                  <a:lnTo>
                    <a:pt x="2869" y="2845"/>
                  </a:lnTo>
                  <a:close/>
                  <a:moveTo>
                    <a:pt x="2840" y="2848"/>
                  </a:moveTo>
                  <a:lnTo>
                    <a:pt x="2842" y="2848"/>
                  </a:lnTo>
                  <a:lnTo>
                    <a:pt x="2840" y="2848"/>
                  </a:lnTo>
                  <a:lnTo>
                    <a:pt x="2838" y="2846"/>
                  </a:lnTo>
                  <a:lnTo>
                    <a:pt x="2837" y="2845"/>
                  </a:lnTo>
                  <a:lnTo>
                    <a:pt x="2838" y="2845"/>
                  </a:lnTo>
                  <a:lnTo>
                    <a:pt x="2838" y="2846"/>
                  </a:lnTo>
                  <a:lnTo>
                    <a:pt x="2840" y="2846"/>
                  </a:lnTo>
                  <a:lnTo>
                    <a:pt x="2840" y="2848"/>
                  </a:lnTo>
                  <a:close/>
                  <a:moveTo>
                    <a:pt x="2855" y="2845"/>
                  </a:moveTo>
                  <a:lnTo>
                    <a:pt x="2856" y="2843"/>
                  </a:lnTo>
                  <a:lnTo>
                    <a:pt x="2856" y="2845"/>
                  </a:lnTo>
                  <a:lnTo>
                    <a:pt x="2855" y="2845"/>
                  </a:lnTo>
                  <a:close/>
                  <a:moveTo>
                    <a:pt x="2866" y="2843"/>
                  </a:moveTo>
                  <a:lnTo>
                    <a:pt x="2866" y="2845"/>
                  </a:lnTo>
                  <a:lnTo>
                    <a:pt x="2866" y="2843"/>
                  </a:lnTo>
                  <a:close/>
                  <a:moveTo>
                    <a:pt x="2855" y="2843"/>
                  </a:moveTo>
                  <a:lnTo>
                    <a:pt x="2853" y="2843"/>
                  </a:lnTo>
                  <a:lnTo>
                    <a:pt x="2855" y="2843"/>
                  </a:lnTo>
                  <a:close/>
                  <a:moveTo>
                    <a:pt x="2853" y="2843"/>
                  </a:moveTo>
                  <a:lnTo>
                    <a:pt x="2851" y="2843"/>
                  </a:lnTo>
                  <a:lnTo>
                    <a:pt x="2853" y="2843"/>
                  </a:lnTo>
                  <a:close/>
                  <a:moveTo>
                    <a:pt x="2843" y="2843"/>
                  </a:moveTo>
                  <a:lnTo>
                    <a:pt x="2842" y="2843"/>
                  </a:lnTo>
                  <a:lnTo>
                    <a:pt x="2843" y="2843"/>
                  </a:lnTo>
                  <a:close/>
                  <a:moveTo>
                    <a:pt x="2842" y="2841"/>
                  </a:moveTo>
                  <a:lnTo>
                    <a:pt x="2840" y="2841"/>
                  </a:lnTo>
                  <a:lnTo>
                    <a:pt x="2842" y="2841"/>
                  </a:lnTo>
                  <a:close/>
                  <a:moveTo>
                    <a:pt x="2855" y="2841"/>
                  </a:moveTo>
                  <a:lnTo>
                    <a:pt x="2855" y="2843"/>
                  </a:lnTo>
                  <a:lnTo>
                    <a:pt x="2853" y="2841"/>
                  </a:lnTo>
                  <a:lnTo>
                    <a:pt x="2855" y="2841"/>
                  </a:lnTo>
                  <a:lnTo>
                    <a:pt x="2853" y="2841"/>
                  </a:lnTo>
                  <a:lnTo>
                    <a:pt x="2855" y="2841"/>
                  </a:lnTo>
                  <a:close/>
                  <a:moveTo>
                    <a:pt x="2871" y="2841"/>
                  </a:moveTo>
                  <a:lnTo>
                    <a:pt x="2872" y="2841"/>
                  </a:lnTo>
                  <a:lnTo>
                    <a:pt x="2871" y="2841"/>
                  </a:lnTo>
                  <a:lnTo>
                    <a:pt x="2872" y="2843"/>
                  </a:lnTo>
                  <a:lnTo>
                    <a:pt x="2872" y="2845"/>
                  </a:lnTo>
                  <a:lnTo>
                    <a:pt x="2871" y="2845"/>
                  </a:lnTo>
                  <a:lnTo>
                    <a:pt x="2872" y="2845"/>
                  </a:lnTo>
                  <a:lnTo>
                    <a:pt x="2871" y="2845"/>
                  </a:lnTo>
                  <a:lnTo>
                    <a:pt x="2871" y="2846"/>
                  </a:lnTo>
                  <a:lnTo>
                    <a:pt x="2871" y="2848"/>
                  </a:lnTo>
                  <a:lnTo>
                    <a:pt x="2871" y="2846"/>
                  </a:lnTo>
                  <a:lnTo>
                    <a:pt x="2869" y="2846"/>
                  </a:lnTo>
                  <a:lnTo>
                    <a:pt x="2869" y="2845"/>
                  </a:lnTo>
                  <a:lnTo>
                    <a:pt x="2869" y="2843"/>
                  </a:lnTo>
                  <a:lnTo>
                    <a:pt x="2869" y="2841"/>
                  </a:lnTo>
                  <a:lnTo>
                    <a:pt x="2871" y="2841"/>
                  </a:lnTo>
                  <a:close/>
                  <a:moveTo>
                    <a:pt x="2864" y="2840"/>
                  </a:moveTo>
                  <a:lnTo>
                    <a:pt x="2864" y="2841"/>
                  </a:lnTo>
                  <a:lnTo>
                    <a:pt x="2864" y="2840"/>
                  </a:lnTo>
                  <a:close/>
                  <a:moveTo>
                    <a:pt x="2866" y="2840"/>
                  </a:moveTo>
                  <a:lnTo>
                    <a:pt x="2868" y="2840"/>
                  </a:lnTo>
                  <a:lnTo>
                    <a:pt x="2868" y="2841"/>
                  </a:lnTo>
                  <a:lnTo>
                    <a:pt x="2869" y="2841"/>
                  </a:lnTo>
                  <a:lnTo>
                    <a:pt x="2868" y="2841"/>
                  </a:lnTo>
                  <a:lnTo>
                    <a:pt x="2869" y="2841"/>
                  </a:lnTo>
                  <a:lnTo>
                    <a:pt x="2868" y="2843"/>
                  </a:lnTo>
                  <a:lnTo>
                    <a:pt x="2868" y="2841"/>
                  </a:lnTo>
                  <a:lnTo>
                    <a:pt x="2866" y="2841"/>
                  </a:lnTo>
                  <a:lnTo>
                    <a:pt x="2866" y="2840"/>
                  </a:lnTo>
                  <a:close/>
                  <a:moveTo>
                    <a:pt x="2853" y="2840"/>
                  </a:moveTo>
                  <a:lnTo>
                    <a:pt x="2853" y="2838"/>
                  </a:lnTo>
                  <a:lnTo>
                    <a:pt x="2853" y="2840"/>
                  </a:lnTo>
                  <a:close/>
                  <a:moveTo>
                    <a:pt x="2794" y="2840"/>
                  </a:moveTo>
                  <a:lnTo>
                    <a:pt x="2794" y="2841"/>
                  </a:lnTo>
                  <a:lnTo>
                    <a:pt x="2793" y="2841"/>
                  </a:lnTo>
                  <a:lnTo>
                    <a:pt x="2791" y="2840"/>
                  </a:lnTo>
                  <a:lnTo>
                    <a:pt x="2791" y="2838"/>
                  </a:lnTo>
                  <a:lnTo>
                    <a:pt x="2793" y="2838"/>
                  </a:lnTo>
                  <a:lnTo>
                    <a:pt x="2793" y="2837"/>
                  </a:lnTo>
                  <a:lnTo>
                    <a:pt x="2794" y="2838"/>
                  </a:lnTo>
                  <a:lnTo>
                    <a:pt x="2794" y="2840"/>
                  </a:lnTo>
                  <a:close/>
                  <a:moveTo>
                    <a:pt x="2840" y="2837"/>
                  </a:moveTo>
                  <a:lnTo>
                    <a:pt x="2838" y="2837"/>
                  </a:lnTo>
                  <a:lnTo>
                    <a:pt x="2840" y="2837"/>
                  </a:lnTo>
                  <a:close/>
                  <a:moveTo>
                    <a:pt x="2840" y="2835"/>
                  </a:moveTo>
                  <a:lnTo>
                    <a:pt x="2840" y="2837"/>
                  </a:lnTo>
                  <a:lnTo>
                    <a:pt x="2840" y="2835"/>
                  </a:lnTo>
                  <a:close/>
                  <a:moveTo>
                    <a:pt x="2871" y="2833"/>
                  </a:moveTo>
                  <a:lnTo>
                    <a:pt x="2871" y="2835"/>
                  </a:lnTo>
                  <a:lnTo>
                    <a:pt x="2869" y="2835"/>
                  </a:lnTo>
                  <a:lnTo>
                    <a:pt x="2868" y="2835"/>
                  </a:lnTo>
                  <a:lnTo>
                    <a:pt x="2868" y="2833"/>
                  </a:lnTo>
                  <a:lnTo>
                    <a:pt x="2869" y="2833"/>
                  </a:lnTo>
                  <a:lnTo>
                    <a:pt x="2871" y="2833"/>
                  </a:lnTo>
                  <a:close/>
                  <a:moveTo>
                    <a:pt x="2869" y="2833"/>
                  </a:moveTo>
                  <a:lnTo>
                    <a:pt x="2868" y="2833"/>
                  </a:lnTo>
                  <a:lnTo>
                    <a:pt x="2869" y="2833"/>
                  </a:lnTo>
                  <a:close/>
                  <a:moveTo>
                    <a:pt x="2843" y="2833"/>
                  </a:moveTo>
                  <a:lnTo>
                    <a:pt x="2843" y="2832"/>
                  </a:lnTo>
                  <a:lnTo>
                    <a:pt x="2843" y="2833"/>
                  </a:lnTo>
                  <a:close/>
                  <a:moveTo>
                    <a:pt x="2832" y="2832"/>
                  </a:moveTo>
                  <a:lnTo>
                    <a:pt x="2832" y="2833"/>
                  </a:lnTo>
                  <a:lnTo>
                    <a:pt x="2830" y="2832"/>
                  </a:lnTo>
                  <a:lnTo>
                    <a:pt x="2832" y="2832"/>
                  </a:lnTo>
                  <a:close/>
                  <a:moveTo>
                    <a:pt x="2869" y="2832"/>
                  </a:moveTo>
                  <a:lnTo>
                    <a:pt x="2871" y="2832"/>
                  </a:lnTo>
                  <a:lnTo>
                    <a:pt x="2869" y="2832"/>
                  </a:lnTo>
                  <a:close/>
                  <a:moveTo>
                    <a:pt x="2853" y="2830"/>
                  </a:moveTo>
                  <a:lnTo>
                    <a:pt x="2853" y="2832"/>
                  </a:lnTo>
                  <a:lnTo>
                    <a:pt x="2853" y="2830"/>
                  </a:lnTo>
                  <a:lnTo>
                    <a:pt x="2853" y="2832"/>
                  </a:lnTo>
                  <a:lnTo>
                    <a:pt x="2853" y="2830"/>
                  </a:lnTo>
                  <a:close/>
                  <a:moveTo>
                    <a:pt x="2832" y="2830"/>
                  </a:moveTo>
                  <a:lnTo>
                    <a:pt x="2832" y="2832"/>
                  </a:lnTo>
                  <a:lnTo>
                    <a:pt x="2833" y="2832"/>
                  </a:lnTo>
                  <a:lnTo>
                    <a:pt x="2832" y="2832"/>
                  </a:lnTo>
                  <a:lnTo>
                    <a:pt x="2832" y="2830"/>
                  </a:lnTo>
                  <a:lnTo>
                    <a:pt x="2832" y="2832"/>
                  </a:lnTo>
                  <a:lnTo>
                    <a:pt x="2832" y="2830"/>
                  </a:lnTo>
                  <a:close/>
                  <a:moveTo>
                    <a:pt x="2853" y="2830"/>
                  </a:moveTo>
                  <a:lnTo>
                    <a:pt x="2853" y="2832"/>
                  </a:lnTo>
                  <a:lnTo>
                    <a:pt x="2851" y="2830"/>
                  </a:lnTo>
                  <a:lnTo>
                    <a:pt x="2853" y="2830"/>
                  </a:lnTo>
                  <a:close/>
                  <a:moveTo>
                    <a:pt x="2864" y="2828"/>
                  </a:moveTo>
                  <a:lnTo>
                    <a:pt x="2864" y="2830"/>
                  </a:lnTo>
                  <a:lnTo>
                    <a:pt x="2866" y="2828"/>
                  </a:lnTo>
                  <a:lnTo>
                    <a:pt x="2866" y="2830"/>
                  </a:lnTo>
                  <a:lnTo>
                    <a:pt x="2864" y="2830"/>
                  </a:lnTo>
                  <a:lnTo>
                    <a:pt x="2864" y="2828"/>
                  </a:lnTo>
                  <a:close/>
                  <a:moveTo>
                    <a:pt x="2833" y="2828"/>
                  </a:moveTo>
                  <a:lnTo>
                    <a:pt x="2833" y="2830"/>
                  </a:lnTo>
                  <a:lnTo>
                    <a:pt x="2833" y="2828"/>
                  </a:lnTo>
                  <a:close/>
                  <a:moveTo>
                    <a:pt x="2830" y="2828"/>
                  </a:moveTo>
                  <a:lnTo>
                    <a:pt x="2829" y="2828"/>
                  </a:lnTo>
                  <a:lnTo>
                    <a:pt x="2830" y="2828"/>
                  </a:lnTo>
                  <a:close/>
                  <a:moveTo>
                    <a:pt x="2830" y="2830"/>
                  </a:moveTo>
                  <a:lnTo>
                    <a:pt x="2830" y="2828"/>
                  </a:lnTo>
                  <a:lnTo>
                    <a:pt x="2832" y="2828"/>
                  </a:lnTo>
                  <a:lnTo>
                    <a:pt x="2830" y="2828"/>
                  </a:lnTo>
                  <a:lnTo>
                    <a:pt x="2830" y="2830"/>
                  </a:lnTo>
                  <a:close/>
                  <a:moveTo>
                    <a:pt x="2846" y="2830"/>
                  </a:moveTo>
                  <a:lnTo>
                    <a:pt x="2846" y="2832"/>
                  </a:lnTo>
                  <a:lnTo>
                    <a:pt x="2845" y="2832"/>
                  </a:lnTo>
                  <a:lnTo>
                    <a:pt x="2845" y="2830"/>
                  </a:lnTo>
                  <a:lnTo>
                    <a:pt x="2845" y="2832"/>
                  </a:lnTo>
                  <a:lnTo>
                    <a:pt x="2845" y="2830"/>
                  </a:lnTo>
                  <a:lnTo>
                    <a:pt x="2845" y="2828"/>
                  </a:lnTo>
                  <a:lnTo>
                    <a:pt x="2846" y="2828"/>
                  </a:lnTo>
                  <a:lnTo>
                    <a:pt x="2846" y="2827"/>
                  </a:lnTo>
                  <a:lnTo>
                    <a:pt x="2846" y="2828"/>
                  </a:lnTo>
                  <a:lnTo>
                    <a:pt x="2846" y="2830"/>
                  </a:lnTo>
                  <a:close/>
                  <a:moveTo>
                    <a:pt x="2791" y="2838"/>
                  </a:moveTo>
                  <a:lnTo>
                    <a:pt x="2791" y="2840"/>
                  </a:lnTo>
                  <a:lnTo>
                    <a:pt x="2789" y="2838"/>
                  </a:lnTo>
                  <a:lnTo>
                    <a:pt x="2788" y="2838"/>
                  </a:lnTo>
                  <a:lnTo>
                    <a:pt x="2786" y="2840"/>
                  </a:lnTo>
                  <a:lnTo>
                    <a:pt x="2785" y="2840"/>
                  </a:lnTo>
                  <a:lnTo>
                    <a:pt x="2783" y="2838"/>
                  </a:lnTo>
                  <a:lnTo>
                    <a:pt x="2781" y="2838"/>
                  </a:lnTo>
                  <a:lnTo>
                    <a:pt x="2780" y="2838"/>
                  </a:lnTo>
                  <a:lnTo>
                    <a:pt x="2780" y="2837"/>
                  </a:lnTo>
                  <a:lnTo>
                    <a:pt x="2780" y="2835"/>
                  </a:lnTo>
                  <a:lnTo>
                    <a:pt x="2780" y="2833"/>
                  </a:lnTo>
                  <a:lnTo>
                    <a:pt x="2781" y="2832"/>
                  </a:lnTo>
                  <a:lnTo>
                    <a:pt x="2783" y="2832"/>
                  </a:lnTo>
                  <a:lnTo>
                    <a:pt x="2786" y="2828"/>
                  </a:lnTo>
                  <a:lnTo>
                    <a:pt x="2788" y="2825"/>
                  </a:lnTo>
                  <a:lnTo>
                    <a:pt x="2786" y="2825"/>
                  </a:lnTo>
                  <a:lnTo>
                    <a:pt x="2788" y="2824"/>
                  </a:lnTo>
                  <a:lnTo>
                    <a:pt x="2789" y="2825"/>
                  </a:lnTo>
                  <a:lnTo>
                    <a:pt x="2789" y="2827"/>
                  </a:lnTo>
                  <a:lnTo>
                    <a:pt x="2791" y="2827"/>
                  </a:lnTo>
                  <a:lnTo>
                    <a:pt x="2791" y="2828"/>
                  </a:lnTo>
                  <a:lnTo>
                    <a:pt x="2793" y="2828"/>
                  </a:lnTo>
                  <a:lnTo>
                    <a:pt x="2793" y="2830"/>
                  </a:lnTo>
                  <a:lnTo>
                    <a:pt x="2793" y="2832"/>
                  </a:lnTo>
                  <a:lnTo>
                    <a:pt x="2793" y="2833"/>
                  </a:lnTo>
                  <a:lnTo>
                    <a:pt x="2793" y="2837"/>
                  </a:lnTo>
                  <a:lnTo>
                    <a:pt x="2791" y="2838"/>
                  </a:lnTo>
                  <a:close/>
                  <a:moveTo>
                    <a:pt x="2846" y="2824"/>
                  </a:moveTo>
                  <a:lnTo>
                    <a:pt x="2846" y="2825"/>
                  </a:lnTo>
                  <a:lnTo>
                    <a:pt x="2846" y="2824"/>
                  </a:lnTo>
                  <a:close/>
                  <a:moveTo>
                    <a:pt x="2846" y="2824"/>
                  </a:moveTo>
                  <a:lnTo>
                    <a:pt x="2848" y="2824"/>
                  </a:lnTo>
                  <a:lnTo>
                    <a:pt x="2846" y="2824"/>
                  </a:lnTo>
                  <a:close/>
                  <a:moveTo>
                    <a:pt x="2853" y="2822"/>
                  </a:moveTo>
                  <a:lnTo>
                    <a:pt x="2855" y="2822"/>
                  </a:lnTo>
                  <a:lnTo>
                    <a:pt x="2853" y="2822"/>
                  </a:lnTo>
                  <a:lnTo>
                    <a:pt x="2855" y="2824"/>
                  </a:lnTo>
                  <a:lnTo>
                    <a:pt x="2855" y="2822"/>
                  </a:lnTo>
                  <a:lnTo>
                    <a:pt x="2855" y="2824"/>
                  </a:lnTo>
                  <a:lnTo>
                    <a:pt x="2853" y="2824"/>
                  </a:lnTo>
                  <a:lnTo>
                    <a:pt x="2853" y="2822"/>
                  </a:lnTo>
                  <a:lnTo>
                    <a:pt x="2851" y="2822"/>
                  </a:lnTo>
                  <a:lnTo>
                    <a:pt x="2853" y="2822"/>
                  </a:lnTo>
                  <a:lnTo>
                    <a:pt x="2851" y="2822"/>
                  </a:lnTo>
                  <a:lnTo>
                    <a:pt x="2853" y="2822"/>
                  </a:lnTo>
                  <a:lnTo>
                    <a:pt x="2853" y="2820"/>
                  </a:lnTo>
                  <a:lnTo>
                    <a:pt x="2853" y="2822"/>
                  </a:lnTo>
                  <a:close/>
                  <a:moveTo>
                    <a:pt x="2858" y="2822"/>
                  </a:moveTo>
                  <a:lnTo>
                    <a:pt x="2856" y="2822"/>
                  </a:lnTo>
                  <a:lnTo>
                    <a:pt x="2856" y="2820"/>
                  </a:lnTo>
                  <a:lnTo>
                    <a:pt x="2858" y="2822"/>
                  </a:lnTo>
                  <a:lnTo>
                    <a:pt x="2856" y="2822"/>
                  </a:lnTo>
                  <a:lnTo>
                    <a:pt x="2858" y="2822"/>
                  </a:lnTo>
                  <a:close/>
                  <a:moveTo>
                    <a:pt x="2856" y="2820"/>
                  </a:moveTo>
                  <a:lnTo>
                    <a:pt x="2855" y="2820"/>
                  </a:lnTo>
                  <a:lnTo>
                    <a:pt x="2856" y="2820"/>
                  </a:lnTo>
                  <a:close/>
                  <a:moveTo>
                    <a:pt x="2846" y="2819"/>
                  </a:moveTo>
                  <a:lnTo>
                    <a:pt x="2848" y="2819"/>
                  </a:lnTo>
                  <a:lnTo>
                    <a:pt x="2850" y="2819"/>
                  </a:lnTo>
                  <a:lnTo>
                    <a:pt x="2850" y="2820"/>
                  </a:lnTo>
                  <a:lnTo>
                    <a:pt x="2851" y="2822"/>
                  </a:lnTo>
                  <a:lnTo>
                    <a:pt x="2850" y="2822"/>
                  </a:lnTo>
                  <a:lnTo>
                    <a:pt x="2848" y="2822"/>
                  </a:lnTo>
                  <a:lnTo>
                    <a:pt x="2848" y="2824"/>
                  </a:lnTo>
                  <a:lnTo>
                    <a:pt x="2848" y="2822"/>
                  </a:lnTo>
                  <a:lnTo>
                    <a:pt x="2846" y="2822"/>
                  </a:lnTo>
                  <a:lnTo>
                    <a:pt x="2848" y="2824"/>
                  </a:lnTo>
                  <a:lnTo>
                    <a:pt x="2846" y="2824"/>
                  </a:lnTo>
                  <a:lnTo>
                    <a:pt x="2846" y="2822"/>
                  </a:lnTo>
                  <a:lnTo>
                    <a:pt x="2848" y="2822"/>
                  </a:lnTo>
                  <a:lnTo>
                    <a:pt x="2848" y="2820"/>
                  </a:lnTo>
                  <a:lnTo>
                    <a:pt x="2846" y="2820"/>
                  </a:lnTo>
                  <a:lnTo>
                    <a:pt x="2846" y="2822"/>
                  </a:lnTo>
                  <a:lnTo>
                    <a:pt x="2845" y="2820"/>
                  </a:lnTo>
                  <a:lnTo>
                    <a:pt x="2843" y="2820"/>
                  </a:lnTo>
                  <a:lnTo>
                    <a:pt x="2845" y="2820"/>
                  </a:lnTo>
                  <a:lnTo>
                    <a:pt x="2846" y="2820"/>
                  </a:lnTo>
                  <a:lnTo>
                    <a:pt x="2845" y="2820"/>
                  </a:lnTo>
                  <a:lnTo>
                    <a:pt x="2846" y="2819"/>
                  </a:lnTo>
                  <a:close/>
                  <a:moveTo>
                    <a:pt x="2846" y="2815"/>
                  </a:moveTo>
                  <a:lnTo>
                    <a:pt x="2846" y="2814"/>
                  </a:lnTo>
                  <a:lnTo>
                    <a:pt x="2846" y="2815"/>
                  </a:lnTo>
                  <a:close/>
                  <a:moveTo>
                    <a:pt x="2889" y="2807"/>
                  </a:moveTo>
                  <a:lnTo>
                    <a:pt x="2887" y="2807"/>
                  </a:lnTo>
                  <a:lnTo>
                    <a:pt x="2889" y="2807"/>
                  </a:lnTo>
                  <a:close/>
                  <a:moveTo>
                    <a:pt x="2894" y="2806"/>
                  </a:moveTo>
                  <a:lnTo>
                    <a:pt x="2895" y="2806"/>
                  </a:lnTo>
                  <a:lnTo>
                    <a:pt x="2894" y="2806"/>
                  </a:lnTo>
                  <a:close/>
                  <a:moveTo>
                    <a:pt x="2890" y="2806"/>
                  </a:moveTo>
                  <a:lnTo>
                    <a:pt x="2889" y="2806"/>
                  </a:lnTo>
                  <a:lnTo>
                    <a:pt x="2890" y="2806"/>
                  </a:lnTo>
                  <a:close/>
                  <a:moveTo>
                    <a:pt x="2890" y="2804"/>
                  </a:moveTo>
                  <a:lnTo>
                    <a:pt x="2889" y="2804"/>
                  </a:lnTo>
                  <a:lnTo>
                    <a:pt x="2890" y="2804"/>
                  </a:lnTo>
                  <a:lnTo>
                    <a:pt x="2889" y="2804"/>
                  </a:lnTo>
                  <a:lnTo>
                    <a:pt x="2890" y="2804"/>
                  </a:lnTo>
                  <a:close/>
                  <a:moveTo>
                    <a:pt x="2876" y="2802"/>
                  </a:moveTo>
                  <a:lnTo>
                    <a:pt x="2876" y="2801"/>
                  </a:lnTo>
                  <a:lnTo>
                    <a:pt x="2876" y="2802"/>
                  </a:lnTo>
                  <a:close/>
                  <a:moveTo>
                    <a:pt x="2895" y="2789"/>
                  </a:moveTo>
                  <a:lnTo>
                    <a:pt x="2894" y="2789"/>
                  </a:lnTo>
                  <a:lnTo>
                    <a:pt x="2895" y="2789"/>
                  </a:lnTo>
                  <a:close/>
                  <a:moveTo>
                    <a:pt x="2897" y="2789"/>
                  </a:moveTo>
                  <a:lnTo>
                    <a:pt x="2895" y="2789"/>
                  </a:lnTo>
                  <a:lnTo>
                    <a:pt x="2897" y="2789"/>
                  </a:lnTo>
                  <a:close/>
                  <a:moveTo>
                    <a:pt x="2897" y="2783"/>
                  </a:moveTo>
                  <a:lnTo>
                    <a:pt x="2897" y="2785"/>
                  </a:lnTo>
                  <a:lnTo>
                    <a:pt x="2897" y="2783"/>
                  </a:lnTo>
                  <a:close/>
                  <a:moveTo>
                    <a:pt x="2898" y="2783"/>
                  </a:moveTo>
                  <a:lnTo>
                    <a:pt x="2898" y="2785"/>
                  </a:lnTo>
                  <a:lnTo>
                    <a:pt x="2897" y="2783"/>
                  </a:lnTo>
                  <a:lnTo>
                    <a:pt x="2898" y="2783"/>
                  </a:lnTo>
                  <a:close/>
                  <a:moveTo>
                    <a:pt x="2898" y="2783"/>
                  </a:moveTo>
                  <a:lnTo>
                    <a:pt x="2897" y="2783"/>
                  </a:lnTo>
                  <a:lnTo>
                    <a:pt x="2898" y="2783"/>
                  </a:lnTo>
                  <a:close/>
                  <a:moveTo>
                    <a:pt x="2894" y="2781"/>
                  </a:moveTo>
                  <a:lnTo>
                    <a:pt x="2892" y="2781"/>
                  </a:lnTo>
                  <a:lnTo>
                    <a:pt x="2894" y="2781"/>
                  </a:lnTo>
                  <a:close/>
                  <a:moveTo>
                    <a:pt x="2897" y="2781"/>
                  </a:moveTo>
                  <a:lnTo>
                    <a:pt x="2895" y="2781"/>
                  </a:lnTo>
                  <a:lnTo>
                    <a:pt x="2897" y="2781"/>
                  </a:lnTo>
                  <a:close/>
                  <a:moveTo>
                    <a:pt x="2894" y="2781"/>
                  </a:moveTo>
                  <a:lnTo>
                    <a:pt x="2894" y="2780"/>
                  </a:lnTo>
                  <a:lnTo>
                    <a:pt x="2894" y="2781"/>
                  </a:lnTo>
                  <a:close/>
                  <a:moveTo>
                    <a:pt x="2897" y="2780"/>
                  </a:moveTo>
                  <a:lnTo>
                    <a:pt x="2897" y="2781"/>
                  </a:lnTo>
                  <a:lnTo>
                    <a:pt x="2897" y="2780"/>
                  </a:lnTo>
                  <a:lnTo>
                    <a:pt x="2895" y="2780"/>
                  </a:lnTo>
                  <a:lnTo>
                    <a:pt x="2897" y="2780"/>
                  </a:lnTo>
                  <a:close/>
                  <a:moveTo>
                    <a:pt x="2892" y="2780"/>
                  </a:moveTo>
                  <a:lnTo>
                    <a:pt x="2894" y="2780"/>
                  </a:lnTo>
                  <a:lnTo>
                    <a:pt x="2895" y="2780"/>
                  </a:lnTo>
                  <a:lnTo>
                    <a:pt x="2894" y="2780"/>
                  </a:lnTo>
                  <a:lnTo>
                    <a:pt x="2894" y="2781"/>
                  </a:lnTo>
                  <a:lnTo>
                    <a:pt x="2894" y="2780"/>
                  </a:lnTo>
                  <a:lnTo>
                    <a:pt x="2894" y="2781"/>
                  </a:lnTo>
                  <a:lnTo>
                    <a:pt x="2892" y="2781"/>
                  </a:lnTo>
                  <a:lnTo>
                    <a:pt x="2892" y="2780"/>
                  </a:lnTo>
                  <a:lnTo>
                    <a:pt x="2894" y="2780"/>
                  </a:lnTo>
                  <a:lnTo>
                    <a:pt x="2892" y="2780"/>
                  </a:lnTo>
                  <a:close/>
                  <a:moveTo>
                    <a:pt x="2894" y="2780"/>
                  </a:moveTo>
                  <a:lnTo>
                    <a:pt x="2894" y="2778"/>
                  </a:lnTo>
                  <a:lnTo>
                    <a:pt x="2894" y="2780"/>
                  </a:lnTo>
                  <a:close/>
                  <a:moveTo>
                    <a:pt x="2894" y="2778"/>
                  </a:moveTo>
                  <a:lnTo>
                    <a:pt x="2894" y="2780"/>
                  </a:lnTo>
                  <a:lnTo>
                    <a:pt x="2892" y="2778"/>
                  </a:lnTo>
                  <a:lnTo>
                    <a:pt x="2894" y="2778"/>
                  </a:lnTo>
                  <a:close/>
                  <a:moveTo>
                    <a:pt x="2897" y="2778"/>
                  </a:moveTo>
                  <a:lnTo>
                    <a:pt x="2897" y="2780"/>
                  </a:lnTo>
                  <a:lnTo>
                    <a:pt x="2897" y="2778"/>
                  </a:lnTo>
                  <a:close/>
                  <a:moveTo>
                    <a:pt x="2897" y="2778"/>
                  </a:moveTo>
                  <a:lnTo>
                    <a:pt x="2895" y="2778"/>
                  </a:lnTo>
                  <a:lnTo>
                    <a:pt x="2897" y="2778"/>
                  </a:lnTo>
                  <a:close/>
                  <a:moveTo>
                    <a:pt x="2898" y="2778"/>
                  </a:moveTo>
                  <a:lnTo>
                    <a:pt x="2897" y="2778"/>
                  </a:lnTo>
                  <a:lnTo>
                    <a:pt x="2898" y="2778"/>
                  </a:lnTo>
                  <a:close/>
                  <a:moveTo>
                    <a:pt x="2900" y="2776"/>
                  </a:moveTo>
                  <a:lnTo>
                    <a:pt x="2900" y="2778"/>
                  </a:lnTo>
                  <a:lnTo>
                    <a:pt x="2900" y="2776"/>
                  </a:lnTo>
                  <a:close/>
                  <a:moveTo>
                    <a:pt x="2897" y="2776"/>
                  </a:moveTo>
                  <a:lnTo>
                    <a:pt x="2897" y="2778"/>
                  </a:lnTo>
                  <a:lnTo>
                    <a:pt x="2897" y="2776"/>
                  </a:lnTo>
                  <a:lnTo>
                    <a:pt x="2897" y="2778"/>
                  </a:lnTo>
                  <a:lnTo>
                    <a:pt x="2895" y="2778"/>
                  </a:lnTo>
                  <a:lnTo>
                    <a:pt x="2897" y="2778"/>
                  </a:lnTo>
                  <a:lnTo>
                    <a:pt x="2897" y="2776"/>
                  </a:lnTo>
                  <a:close/>
                  <a:moveTo>
                    <a:pt x="2892" y="2776"/>
                  </a:moveTo>
                  <a:lnTo>
                    <a:pt x="2890" y="2776"/>
                  </a:lnTo>
                  <a:lnTo>
                    <a:pt x="2892" y="2776"/>
                  </a:lnTo>
                  <a:close/>
                  <a:moveTo>
                    <a:pt x="2894" y="2776"/>
                  </a:moveTo>
                  <a:lnTo>
                    <a:pt x="2894" y="2775"/>
                  </a:lnTo>
                  <a:lnTo>
                    <a:pt x="2894" y="2776"/>
                  </a:lnTo>
                  <a:lnTo>
                    <a:pt x="2894" y="2775"/>
                  </a:lnTo>
                  <a:lnTo>
                    <a:pt x="2894" y="2776"/>
                  </a:lnTo>
                  <a:close/>
                  <a:moveTo>
                    <a:pt x="2892" y="2775"/>
                  </a:moveTo>
                  <a:lnTo>
                    <a:pt x="2890" y="2775"/>
                  </a:lnTo>
                  <a:lnTo>
                    <a:pt x="2892" y="2775"/>
                  </a:lnTo>
                  <a:close/>
                  <a:moveTo>
                    <a:pt x="2890" y="2775"/>
                  </a:moveTo>
                  <a:lnTo>
                    <a:pt x="2892" y="2775"/>
                  </a:lnTo>
                  <a:lnTo>
                    <a:pt x="2890" y="2775"/>
                  </a:lnTo>
                  <a:close/>
                  <a:moveTo>
                    <a:pt x="2890" y="2776"/>
                  </a:moveTo>
                  <a:lnTo>
                    <a:pt x="2892" y="2776"/>
                  </a:lnTo>
                  <a:lnTo>
                    <a:pt x="2890" y="2776"/>
                  </a:lnTo>
                  <a:lnTo>
                    <a:pt x="2890" y="2775"/>
                  </a:lnTo>
                  <a:lnTo>
                    <a:pt x="2892" y="2775"/>
                  </a:lnTo>
                  <a:lnTo>
                    <a:pt x="2894" y="2775"/>
                  </a:lnTo>
                  <a:lnTo>
                    <a:pt x="2894" y="2776"/>
                  </a:lnTo>
                  <a:lnTo>
                    <a:pt x="2894" y="2775"/>
                  </a:lnTo>
                  <a:lnTo>
                    <a:pt x="2892" y="2775"/>
                  </a:lnTo>
                  <a:lnTo>
                    <a:pt x="2892" y="2776"/>
                  </a:lnTo>
                  <a:lnTo>
                    <a:pt x="2892" y="2775"/>
                  </a:lnTo>
                  <a:lnTo>
                    <a:pt x="2892" y="2776"/>
                  </a:lnTo>
                  <a:lnTo>
                    <a:pt x="2894" y="2776"/>
                  </a:lnTo>
                  <a:lnTo>
                    <a:pt x="2892" y="2776"/>
                  </a:lnTo>
                  <a:lnTo>
                    <a:pt x="2894" y="2776"/>
                  </a:lnTo>
                  <a:lnTo>
                    <a:pt x="2894" y="2778"/>
                  </a:lnTo>
                  <a:lnTo>
                    <a:pt x="2894" y="2776"/>
                  </a:lnTo>
                  <a:lnTo>
                    <a:pt x="2894" y="2778"/>
                  </a:lnTo>
                  <a:lnTo>
                    <a:pt x="2892" y="2778"/>
                  </a:lnTo>
                  <a:lnTo>
                    <a:pt x="2892" y="2776"/>
                  </a:lnTo>
                  <a:lnTo>
                    <a:pt x="2892" y="2778"/>
                  </a:lnTo>
                  <a:lnTo>
                    <a:pt x="2892" y="2776"/>
                  </a:lnTo>
                  <a:lnTo>
                    <a:pt x="2892" y="2778"/>
                  </a:lnTo>
                  <a:lnTo>
                    <a:pt x="2890" y="2778"/>
                  </a:lnTo>
                  <a:lnTo>
                    <a:pt x="2892" y="2778"/>
                  </a:lnTo>
                  <a:lnTo>
                    <a:pt x="2890" y="2776"/>
                  </a:lnTo>
                  <a:lnTo>
                    <a:pt x="2892" y="2776"/>
                  </a:lnTo>
                  <a:lnTo>
                    <a:pt x="2892" y="2775"/>
                  </a:lnTo>
                  <a:lnTo>
                    <a:pt x="2892" y="2776"/>
                  </a:lnTo>
                  <a:lnTo>
                    <a:pt x="2890" y="2776"/>
                  </a:lnTo>
                  <a:close/>
                  <a:moveTo>
                    <a:pt x="2892" y="2775"/>
                  </a:moveTo>
                  <a:lnTo>
                    <a:pt x="2890" y="2775"/>
                  </a:lnTo>
                  <a:lnTo>
                    <a:pt x="2892" y="2775"/>
                  </a:lnTo>
                  <a:close/>
                  <a:moveTo>
                    <a:pt x="2885" y="2773"/>
                  </a:moveTo>
                  <a:lnTo>
                    <a:pt x="2887" y="2773"/>
                  </a:lnTo>
                  <a:lnTo>
                    <a:pt x="2885" y="2773"/>
                  </a:lnTo>
                  <a:lnTo>
                    <a:pt x="2887" y="2773"/>
                  </a:lnTo>
                  <a:lnTo>
                    <a:pt x="2885" y="2773"/>
                  </a:lnTo>
                  <a:close/>
                  <a:moveTo>
                    <a:pt x="2885" y="2772"/>
                  </a:moveTo>
                  <a:lnTo>
                    <a:pt x="2887" y="2772"/>
                  </a:lnTo>
                  <a:lnTo>
                    <a:pt x="2885" y="2773"/>
                  </a:lnTo>
                  <a:lnTo>
                    <a:pt x="2885" y="2772"/>
                  </a:lnTo>
                  <a:close/>
                  <a:moveTo>
                    <a:pt x="2892" y="2770"/>
                  </a:moveTo>
                  <a:lnTo>
                    <a:pt x="2892" y="2772"/>
                  </a:lnTo>
                  <a:lnTo>
                    <a:pt x="2890" y="2770"/>
                  </a:lnTo>
                  <a:lnTo>
                    <a:pt x="2892" y="2770"/>
                  </a:lnTo>
                  <a:close/>
                  <a:moveTo>
                    <a:pt x="2885" y="2772"/>
                  </a:moveTo>
                  <a:lnTo>
                    <a:pt x="2885" y="2770"/>
                  </a:lnTo>
                  <a:lnTo>
                    <a:pt x="2885" y="2772"/>
                  </a:lnTo>
                  <a:close/>
                  <a:moveTo>
                    <a:pt x="2884" y="2767"/>
                  </a:moveTo>
                  <a:lnTo>
                    <a:pt x="2884" y="2768"/>
                  </a:lnTo>
                  <a:lnTo>
                    <a:pt x="2885" y="2768"/>
                  </a:lnTo>
                  <a:lnTo>
                    <a:pt x="2884" y="2768"/>
                  </a:lnTo>
                  <a:lnTo>
                    <a:pt x="2884" y="2767"/>
                  </a:lnTo>
                  <a:close/>
                  <a:moveTo>
                    <a:pt x="2882" y="2763"/>
                  </a:moveTo>
                  <a:lnTo>
                    <a:pt x="2882" y="2765"/>
                  </a:lnTo>
                  <a:lnTo>
                    <a:pt x="2882" y="2763"/>
                  </a:lnTo>
                  <a:close/>
                  <a:moveTo>
                    <a:pt x="2882" y="2763"/>
                  </a:moveTo>
                  <a:lnTo>
                    <a:pt x="2881" y="2763"/>
                  </a:lnTo>
                  <a:lnTo>
                    <a:pt x="2882" y="2763"/>
                  </a:lnTo>
                  <a:close/>
                  <a:moveTo>
                    <a:pt x="2881" y="2763"/>
                  </a:moveTo>
                  <a:lnTo>
                    <a:pt x="2879" y="2763"/>
                  </a:lnTo>
                  <a:lnTo>
                    <a:pt x="2881" y="2763"/>
                  </a:lnTo>
                  <a:close/>
                  <a:moveTo>
                    <a:pt x="2884" y="2762"/>
                  </a:moveTo>
                  <a:lnTo>
                    <a:pt x="2882" y="2762"/>
                  </a:lnTo>
                  <a:lnTo>
                    <a:pt x="2884" y="2762"/>
                  </a:lnTo>
                  <a:close/>
                  <a:moveTo>
                    <a:pt x="2885" y="2762"/>
                  </a:moveTo>
                  <a:lnTo>
                    <a:pt x="2885" y="2763"/>
                  </a:lnTo>
                  <a:lnTo>
                    <a:pt x="2885" y="2762"/>
                  </a:lnTo>
                  <a:close/>
                  <a:moveTo>
                    <a:pt x="2892" y="2759"/>
                  </a:moveTo>
                  <a:lnTo>
                    <a:pt x="2894" y="2759"/>
                  </a:lnTo>
                  <a:lnTo>
                    <a:pt x="2892" y="2760"/>
                  </a:lnTo>
                  <a:lnTo>
                    <a:pt x="2892" y="2759"/>
                  </a:lnTo>
                  <a:lnTo>
                    <a:pt x="2892" y="2757"/>
                  </a:lnTo>
                  <a:lnTo>
                    <a:pt x="2892" y="2759"/>
                  </a:lnTo>
                  <a:close/>
                  <a:moveTo>
                    <a:pt x="2895" y="2754"/>
                  </a:moveTo>
                  <a:lnTo>
                    <a:pt x="2895" y="2755"/>
                  </a:lnTo>
                  <a:lnTo>
                    <a:pt x="2895" y="2754"/>
                  </a:lnTo>
                  <a:lnTo>
                    <a:pt x="2895" y="2755"/>
                  </a:lnTo>
                  <a:lnTo>
                    <a:pt x="2895" y="2754"/>
                  </a:lnTo>
                  <a:close/>
                  <a:moveTo>
                    <a:pt x="2907" y="2747"/>
                  </a:moveTo>
                  <a:lnTo>
                    <a:pt x="2907" y="2746"/>
                  </a:lnTo>
                  <a:lnTo>
                    <a:pt x="2907" y="2747"/>
                  </a:lnTo>
                  <a:close/>
                  <a:moveTo>
                    <a:pt x="2894" y="2746"/>
                  </a:moveTo>
                  <a:lnTo>
                    <a:pt x="2892" y="2746"/>
                  </a:lnTo>
                  <a:lnTo>
                    <a:pt x="2894" y="2746"/>
                  </a:lnTo>
                  <a:close/>
                  <a:moveTo>
                    <a:pt x="2900" y="2742"/>
                  </a:moveTo>
                  <a:lnTo>
                    <a:pt x="2902" y="2742"/>
                  </a:lnTo>
                  <a:lnTo>
                    <a:pt x="2902" y="2744"/>
                  </a:lnTo>
                  <a:lnTo>
                    <a:pt x="2902" y="2746"/>
                  </a:lnTo>
                  <a:lnTo>
                    <a:pt x="2900" y="2746"/>
                  </a:lnTo>
                  <a:lnTo>
                    <a:pt x="2902" y="2746"/>
                  </a:lnTo>
                  <a:lnTo>
                    <a:pt x="2900" y="2746"/>
                  </a:lnTo>
                  <a:lnTo>
                    <a:pt x="2898" y="2746"/>
                  </a:lnTo>
                  <a:lnTo>
                    <a:pt x="2898" y="2744"/>
                  </a:lnTo>
                  <a:lnTo>
                    <a:pt x="2900" y="2744"/>
                  </a:lnTo>
                  <a:lnTo>
                    <a:pt x="2900" y="2746"/>
                  </a:lnTo>
                  <a:lnTo>
                    <a:pt x="2900" y="2744"/>
                  </a:lnTo>
                  <a:lnTo>
                    <a:pt x="2900" y="2742"/>
                  </a:lnTo>
                  <a:close/>
                  <a:moveTo>
                    <a:pt x="2897" y="2741"/>
                  </a:moveTo>
                  <a:lnTo>
                    <a:pt x="2895" y="2741"/>
                  </a:lnTo>
                  <a:lnTo>
                    <a:pt x="2897" y="2741"/>
                  </a:lnTo>
                  <a:close/>
                  <a:moveTo>
                    <a:pt x="2887" y="2741"/>
                  </a:moveTo>
                  <a:lnTo>
                    <a:pt x="2885" y="2741"/>
                  </a:lnTo>
                  <a:lnTo>
                    <a:pt x="2887" y="2741"/>
                  </a:lnTo>
                  <a:close/>
                  <a:moveTo>
                    <a:pt x="2911" y="2739"/>
                  </a:moveTo>
                  <a:lnTo>
                    <a:pt x="2911" y="2741"/>
                  </a:lnTo>
                  <a:lnTo>
                    <a:pt x="2910" y="2739"/>
                  </a:lnTo>
                  <a:lnTo>
                    <a:pt x="2911" y="2739"/>
                  </a:lnTo>
                  <a:close/>
                  <a:moveTo>
                    <a:pt x="2887" y="2739"/>
                  </a:moveTo>
                  <a:lnTo>
                    <a:pt x="2885" y="2739"/>
                  </a:lnTo>
                  <a:lnTo>
                    <a:pt x="2887" y="2739"/>
                  </a:lnTo>
                  <a:close/>
                  <a:moveTo>
                    <a:pt x="2910" y="2739"/>
                  </a:moveTo>
                  <a:lnTo>
                    <a:pt x="2908" y="2737"/>
                  </a:lnTo>
                  <a:lnTo>
                    <a:pt x="2910" y="2737"/>
                  </a:lnTo>
                  <a:lnTo>
                    <a:pt x="2910" y="2739"/>
                  </a:lnTo>
                  <a:close/>
                  <a:moveTo>
                    <a:pt x="2892" y="2739"/>
                  </a:moveTo>
                  <a:lnTo>
                    <a:pt x="2894" y="2739"/>
                  </a:lnTo>
                  <a:lnTo>
                    <a:pt x="2892" y="2739"/>
                  </a:lnTo>
                  <a:lnTo>
                    <a:pt x="2894" y="2739"/>
                  </a:lnTo>
                  <a:lnTo>
                    <a:pt x="2892" y="2737"/>
                  </a:lnTo>
                  <a:lnTo>
                    <a:pt x="2894" y="2737"/>
                  </a:lnTo>
                  <a:lnTo>
                    <a:pt x="2894" y="2739"/>
                  </a:lnTo>
                  <a:lnTo>
                    <a:pt x="2892" y="2739"/>
                  </a:lnTo>
                  <a:close/>
                  <a:moveTo>
                    <a:pt x="2894" y="2737"/>
                  </a:moveTo>
                  <a:lnTo>
                    <a:pt x="2892" y="2737"/>
                  </a:lnTo>
                  <a:lnTo>
                    <a:pt x="2894" y="2737"/>
                  </a:lnTo>
                  <a:close/>
                  <a:moveTo>
                    <a:pt x="2887" y="2736"/>
                  </a:moveTo>
                  <a:lnTo>
                    <a:pt x="2887" y="2737"/>
                  </a:lnTo>
                  <a:lnTo>
                    <a:pt x="2887" y="2736"/>
                  </a:lnTo>
                  <a:close/>
                  <a:moveTo>
                    <a:pt x="2885" y="2736"/>
                  </a:moveTo>
                  <a:lnTo>
                    <a:pt x="2885" y="2737"/>
                  </a:lnTo>
                  <a:lnTo>
                    <a:pt x="2887" y="2737"/>
                  </a:lnTo>
                  <a:lnTo>
                    <a:pt x="2885" y="2737"/>
                  </a:lnTo>
                  <a:lnTo>
                    <a:pt x="2887" y="2737"/>
                  </a:lnTo>
                  <a:lnTo>
                    <a:pt x="2885" y="2737"/>
                  </a:lnTo>
                  <a:lnTo>
                    <a:pt x="2884" y="2737"/>
                  </a:lnTo>
                  <a:lnTo>
                    <a:pt x="2885" y="2736"/>
                  </a:lnTo>
                  <a:lnTo>
                    <a:pt x="2885" y="2737"/>
                  </a:lnTo>
                  <a:lnTo>
                    <a:pt x="2885" y="2736"/>
                  </a:lnTo>
                  <a:close/>
                  <a:moveTo>
                    <a:pt x="2892" y="2736"/>
                  </a:moveTo>
                  <a:lnTo>
                    <a:pt x="2892" y="2737"/>
                  </a:lnTo>
                  <a:lnTo>
                    <a:pt x="2890" y="2737"/>
                  </a:lnTo>
                  <a:lnTo>
                    <a:pt x="2890" y="2736"/>
                  </a:lnTo>
                  <a:lnTo>
                    <a:pt x="2892" y="2736"/>
                  </a:lnTo>
                  <a:close/>
                  <a:moveTo>
                    <a:pt x="2889" y="2737"/>
                  </a:moveTo>
                  <a:lnTo>
                    <a:pt x="2889" y="2736"/>
                  </a:lnTo>
                  <a:lnTo>
                    <a:pt x="2889" y="2737"/>
                  </a:lnTo>
                  <a:close/>
                  <a:moveTo>
                    <a:pt x="2892" y="2737"/>
                  </a:moveTo>
                  <a:lnTo>
                    <a:pt x="2892" y="2736"/>
                  </a:lnTo>
                  <a:lnTo>
                    <a:pt x="2892" y="2737"/>
                  </a:lnTo>
                  <a:close/>
                  <a:moveTo>
                    <a:pt x="2887" y="2737"/>
                  </a:moveTo>
                  <a:lnTo>
                    <a:pt x="2887" y="2736"/>
                  </a:lnTo>
                  <a:lnTo>
                    <a:pt x="2887" y="2737"/>
                  </a:lnTo>
                  <a:close/>
                  <a:moveTo>
                    <a:pt x="2889" y="2737"/>
                  </a:moveTo>
                  <a:lnTo>
                    <a:pt x="2887" y="2737"/>
                  </a:lnTo>
                  <a:lnTo>
                    <a:pt x="2887" y="2736"/>
                  </a:lnTo>
                  <a:lnTo>
                    <a:pt x="2889" y="2737"/>
                  </a:lnTo>
                  <a:close/>
                  <a:moveTo>
                    <a:pt x="2885" y="2736"/>
                  </a:moveTo>
                  <a:lnTo>
                    <a:pt x="2884" y="2736"/>
                  </a:lnTo>
                  <a:lnTo>
                    <a:pt x="2885" y="2736"/>
                  </a:lnTo>
                  <a:close/>
                  <a:moveTo>
                    <a:pt x="2885" y="2734"/>
                  </a:moveTo>
                  <a:lnTo>
                    <a:pt x="2885" y="2736"/>
                  </a:lnTo>
                  <a:lnTo>
                    <a:pt x="2885" y="2734"/>
                  </a:lnTo>
                  <a:lnTo>
                    <a:pt x="2884" y="2734"/>
                  </a:lnTo>
                  <a:lnTo>
                    <a:pt x="2885" y="2734"/>
                  </a:lnTo>
                  <a:close/>
                  <a:moveTo>
                    <a:pt x="2887" y="2734"/>
                  </a:moveTo>
                  <a:lnTo>
                    <a:pt x="2885" y="2734"/>
                  </a:lnTo>
                  <a:lnTo>
                    <a:pt x="2887" y="2734"/>
                  </a:lnTo>
                  <a:lnTo>
                    <a:pt x="2887" y="2736"/>
                  </a:lnTo>
                  <a:lnTo>
                    <a:pt x="2885" y="2736"/>
                  </a:lnTo>
                  <a:lnTo>
                    <a:pt x="2885" y="2734"/>
                  </a:lnTo>
                  <a:lnTo>
                    <a:pt x="2887" y="2734"/>
                  </a:lnTo>
                  <a:close/>
                  <a:moveTo>
                    <a:pt x="2885" y="2734"/>
                  </a:moveTo>
                  <a:lnTo>
                    <a:pt x="2884" y="2734"/>
                  </a:lnTo>
                  <a:lnTo>
                    <a:pt x="2885" y="2734"/>
                  </a:lnTo>
                  <a:close/>
                  <a:moveTo>
                    <a:pt x="2889" y="2733"/>
                  </a:moveTo>
                  <a:lnTo>
                    <a:pt x="2887" y="2733"/>
                  </a:lnTo>
                  <a:lnTo>
                    <a:pt x="2889" y="2733"/>
                  </a:lnTo>
                  <a:close/>
                  <a:moveTo>
                    <a:pt x="2887" y="2733"/>
                  </a:moveTo>
                  <a:lnTo>
                    <a:pt x="2887" y="2734"/>
                  </a:lnTo>
                  <a:lnTo>
                    <a:pt x="2887" y="2733"/>
                  </a:lnTo>
                  <a:lnTo>
                    <a:pt x="2889" y="2734"/>
                  </a:lnTo>
                  <a:lnTo>
                    <a:pt x="2887" y="2734"/>
                  </a:lnTo>
                  <a:lnTo>
                    <a:pt x="2887" y="2733"/>
                  </a:lnTo>
                  <a:close/>
                  <a:moveTo>
                    <a:pt x="2894" y="2731"/>
                  </a:moveTo>
                  <a:lnTo>
                    <a:pt x="2894" y="2733"/>
                  </a:lnTo>
                  <a:lnTo>
                    <a:pt x="2894" y="2734"/>
                  </a:lnTo>
                  <a:lnTo>
                    <a:pt x="2895" y="2734"/>
                  </a:lnTo>
                  <a:lnTo>
                    <a:pt x="2895" y="2736"/>
                  </a:lnTo>
                  <a:lnTo>
                    <a:pt x="2897" y="2736"/>
                  </a:lnTo>
                  <a:lnTo>
                    <a:pt x="2895" y="2734"/>
                  </a:lnTo>
                  <a:lnTo>
                    <a:pt x="2897" y="2734"/>
                  </a:lnTo>
                  <a:lnTo>
                    <a:pt x="2897" y="2733"/>
                  </a:lnTo>
                  <a:lnTo>
                    <a:pt x="2898" y="2733"/>
                  </a:lnTo>
                  <a:lnTo>
                    <a:pt x="2898" y="2734"/>
                  </a:lnTo>
                  <a:lnTo>
                    <a:pt x="2898" y="2736"/>
                  </a:lnTo>
                  <a:lnTo>
                    <a:pt x="2897" y="2737"/>
                  </a:lnTo>
                  <a:lnTo>
                    <a:pt x="2898" y="2737"/>
                  </a:lnTo>
                  <a:lnTo>
                    <a:pt x="2898" y="2739"/>
                  </a:lnTo>
                  <a:lnTo>
                    <a:pt x="2900" y="2739"/>
                  </a:lnTo>
                  <a:lnTo>
                    <a:pt x="2898" y="2739"/>
                  </a:lnTo>
                  <a:lnTo>
                    <a:pt x="2900" y="2739"/>
                  </a:lnTo>
                  <a:lnTo>
                    <a:pt x="2900" y="2737"/>
                  </a:lnTo>
                  <a:lnTo>
                    <a:pt x="2902" y="2737"/>
                  </a:lnTo>
                  <a:lnTo>
                    <a:pt x="2902" y="2736"/>
                  </a:lnTo>
                  <a:lnTo>
                    <a:pt x="2903" y="2736"/>
                  </a:lnTo>
                  <a:lnTo>
                    <a:pt x="2905" y="2736"/>
                  </a:lnTo>
                  <a:lnTo>
                    <a:pt x="2907" y="2736"/>
                  </a:lnTo>
                  <a:lnTo>
                    <a:pt x="2905" y="2736"/>
                  </a:lnTo>
                  <a:lnTo>
                    <a:pt x="2905" y="2734"/>
                  </a:lnTo>
                  <a:lnTo>
                    <a:pt x="2903" y="2734"/>
                  </a:lnTo>
                  <a:lnTo>
                    <a:pt x="2903" y="2733"/>
                  </a:lnTo>
                  <a:lnTo>
                    <a:pt x="2903" y="2734"/>
                  </a:lnTo>
                  <a:lnTo>
                    <a:pt x="2902" y="2734"/>
                  </a:lnTo>
                  <a:lnTo>
                    <a:pt x="2900" y="2733"/>
                  </a:lnTo>
                  <a:lnTo>
                    <a:pt x="2902" y="2733"/>
                  </a:lnTo>
                  <a:lnTo>
                    <a:pt x="2900" y="2733"/>
                  </a:lnTo>
                  <a:lnTo>
                    <a:pt x="2902" y="2733"/>
                  </a:lnTo>
                  <a:lnTo>
                    <a:pt x="2903" y="2731"/>
                  </a:lnTo>
                  <a:lnTo>
                    <a:pt x="2903" y="2733"/>
                  </a:lnTo>
                  <a:lnTo>
                    <a:pt x="2905" y="2733"/>
                  </a:lnTo>
                  <a:lnTo>
                    <a:pt x="2907" y="2733"/>
                  </a:lnTo>
                  <a:lnTo>
                    <a:pt x="2907" y="2731"/>
                  </a:lnTo>
                  <a:lnTo>
                    <a:pt x="2908" y="2731"/>
                  </a:lnTo>
                  <a:lnTo>
                    <a:pt x="2907" y="2731"/>
                  </a:lnTo>
                  <a:lnTo>
                    <a:pt x="2907" y="2733"/>
                  </a:lnTo>
                  <a:lnTo>
                    <a:pt x="2908" y="2733"/>
                  </a:lnTo>
                  <a:lnTo>
                    <a:pt x="2907" y="2733"/>
                  </a:lnTo>
                  <a:lnTo>
                    <a:pt x="2908" y="2733"/>
                  </a:lnTo>
                  <a:lnTo>
                    <a:pt x="2908" y="2734"/>
                  </a:lnTo>
                  <a:lnTo>
                    <a:pt x="2907" y="2733"/>
                  </a:lnTo>
                  <a:lnTo>
                    <a:pt x="2907" y="2734"/>
                  </a:lnTo>
                  <a:lnTo>
                    <a:pt x="2908" y="2734"/>
                  </a:lnTo>
                  <a:lnTo>
                    <a:pt x="2907" y="2734"/>
                  </a:lnTo>
                  <a:lnTo>
                    <a:pt x="2907" y="2736"/>
                  </a:lnTo>
                  <a:lnTo>
                    <a:pt x="2908" y="2736"/>
                  </a:lnTo>
                  <a:lnTo>
                    <a:pt x="2907" y="2736"/>
                  </a:lnTo>
                  <a:lnTo>
                    <a:pt x="2908" y="2737"/>
                  </a:lnTo>
                  <a:lnTo>
                    <a:pt x="2908" y="2739"/>
                  </a:lnTo>
                  <a:lnTo>
                    <a:pt x="2910" y="2739"/>
                  </a:lnTo>
                  <a:lnTo>
                    <a:pt x="2910" y="2741"/>
                  </a:lnTo>
                  <a:lnTo>
                    <a:pt x="2910" y="2739"/>
                  </a:lnTo>
                  <a:lnTo>
                    <a:pt x="2910" y="2741"/>
                  </a:lnTo>
                  <a:lnTo>
                    <a:pt x="2908" y="2741"/>
                  </a:lnTo>
                  <a:lnTo>
                    <a:pt x="2910" y="2741"/>
                  </a:lnTo>
                  <a:lnTo>
                    <a:pt x="2910" y="2742"/>
                  </a:lnTo>
                  <a:lnTo>
                    <a:pt x="2910" y="2741"/>
                  </a:lnTo>
                  <a:lnTo>
                    <a:pt x="2911" y="2741"/>
                  </a:lnTo>
                  <a:lnTo>
                    <a:pt x="2910" y="2742"/>
                  </a:lnTo>
                  <a:lnTo>
                    <a:pt x="2911" y="2742"/>
                  </a:lnTo>
                  <a:lnTo>
                    <a:pt x="2910" y="2742"/>
                  </a:lnTo>
                  <a:lnTo>
                    <a:pt x="2911" y="2742"/>
                  </a:lnTo>
                  <a:lnTo>
                    <a:pt x="2911" y="2744"/>
                  </a:lnTo>
                  <a:lnTo>
                    <a:pt x="2913" y="2744"/>
                  </a:lnTo>
                  <a:lnTo>
                    <a:pt x="2911" y="2744"/>
                  </a:lnTo>
                  <a:lnTo>
                    <a:pt x="2913" y="2746"/>
                  </a:lnTo>
                  <a:lnTo>
                    <a:pt x="2911" y="2746"/>
                  </a:lnTo>
                  <a:lnTo>
                    <a:pt x="2913" y="2746"/>
                  </a:lnTo>
                  <a:lnTo>
                    <a:pt x="2911" y="2746"/>
                  </a:lnTo>
                  <a:lnTo>
                    <a:pt x="2911" y="2747"/>
                  </a:lnTo>
                  <a:lnTo>
                    <a:pt x="2911" y="2749"/>
                  </a:lnTo>
                  <a:lnTo>
                    <a:pt x="2910" y="2749"/>
                  </a:lnTo>
                  <a:lnTo>
                    <a:pt x="2910" y="2747"/>
                  </a:lnTo>
                  <a:lnTo>
                    <a:pt x="2908" y="2747"/>
                  </a:lnTo>
                  <a:lnTo>
                    <a:pt x="2907" y="2746"/>
                  </a:lnTo>
                  <a:lnTo>
                    <a:pt x="2907" y="2744"/>
                  </a:lnTo>
                  <a:lnTo>
                    <a:pt x="2905" y="2744"/>
                  </a:lnTo>
                  <a:lnTo>
                    <a:pt x="2905" y="2746"/>
                  </a:lnTo>
                  <a:lnTo>
                    <a:pt x="2907" y="2746"/>
                  </a:lnTo>
                  <a:lnTo>
                    <a:pt x="2907" y="2747"/>
                  </a:lnTo>
                  <a:lnTo>
                    <a:pt x="2905" y="2746"/>
                  </a:lnTo>
                  <a:lnTo>
                    <a:pt x="2905" y="2744"/>
                  </a:lnTo>
                  <a:lnTo>
                    <a:pt x="2905" y="2746"/>
                  </a:lnTo>
                  <a:lnTo>
                    <a:pt x="2905" y="2744"/>
                  </a:lnTo>
                  <a:lnTo>
                    <a:pt x="2903" y="2746"/>
                  </a:lnTo>
                  <a:lnTo>
                    <a:pt x="2903" y="2744"/>
                  </a:lnTo>
                  <a:lnTo>
                    <a:pt x="2902" y="2744"/>
                  </a:lnTo>
                  <a:lnTo>
                    <a:pt x="2902" y="2742"/>
                  </a:lnTo>
                  <a:lnTo>
                    <a:pt x="2900" y="2742"/>
                  </a:lnTo>
                  <a:lnTo>
                    <a:pt x="2902" y="2742"/>
                  </a:lnTo>
                  <a:lnTo>
                    <a:pt x="2900" y="2742"/>
                  </a:lnTo>
                  <a:lnTo>
                    <a:pt x="2900" y="2741"/>
                  </a:lnTo>
                  <a:lnTo>
                    <a:pt x="2902" y="2741"/>
                  </a:lnTo>
                  <a:lnTo>
                    <a:pt x="2900" y="2741"/>
                  </a:lnTo>
                  <a:lnTo>
                    <a:pt x="2898" y="2739"/>
                  </a:lnTo>
                  <a:lnTo>
                    <a:pt x="2898" y="2741"/>
                  </a:lnTo>
                  <a:lnTo>
                    <a:pt x="2900" y="2741"/>
                  </a:lnTo>
                  <a:lnTo>
                    <a:pt x="2900" y="2742"/>
                  </a:lnTo>
                  <a:lnTo>
                    <a:pt x="2900" y="2744"/>
                  </a:lnTo>
                  <a:lnTo>
                    <a:pt x="2898" y="2744"/>
                  </a:lnTo>
                  <a:lnTo>
                    <a:pt x="2897" y="2742"/>
                  </a:lnTo>
                  <a:lnTo>
                    <a:pt x="2898" y="2744"/>
                  </a:lnTo>
                  <a:lnTo>
                    <a:pt x="2897" y="2744"/>
                  </a:lnTo>
                  <a:lnTo>
                    <a:pt x="2897" y="2742"/>
                  </a:lnTo>
                  <a:lnTo>
                    <a:pt x="2897" y="2744"/>
                  </a:lnTo>
                  <a:lnTo>
                    <a:pt x="2897" y="2742"/>
                  </a:lnTo>
                  <a:lnTo>
                    <a:pt x="2897" y="2741"/>
                  </a:lnTo>
                  <a:lnTo>
                    <a:pt x="2895" y="2741"/>
                  </a:lnTo>
                  <a:lnTo>
                    <a:pt x="2897" y="2741"/>
                  </a:lnTo>
                  <a:lnTo>
                    <a:pt x="2895" y="2741"/>
                  </a:lnTo>
                  <a:lnTo>
                    <a:pt x="2895" y="2739"/>
                  </a:lnTo>
                  <a:lnTo>
                    <a:pt x="2895" y="2737"/>
                  </a:lnTo>
                  <a:lnTo>
                    <a:pt x="2895" y="2736"/>
                  </a:lnTo>
                  <a:lnTo>
                    <a:pt x="2894" y="2736"/>
                  </a:lnTo>
                  <a:lnTo>
                    <a:pt x="2894" y="2734"/>
                  </a:lnTo>
                  <a:lnTo>
                    <a:pt x="2892" y="2734"/>
                  </a:lnTo>
                  <a:lnTo>
                    <a:pt x="2892" y="2733"/>
                  </a:lnTo>
                  <a:lnTo>
                    <a:pt x="2890" y="2733"/>
                  </a:lnTo>
                  <a:lnTo>
                    <a:pt x="2890" y="2731"/>
                  </a:lnTo>
                  <a:lnTo>
                    <a:pt x="2892" y="2731"/>
                  </a:lnTo>
                  <a:lnTo>
                    <a:pt x="2892" y="2733"/>
                  </a:lnTo>
                  <a:lnTo>
                    <a:pt x="2892" y="2731"/>
                  </a:lnTo>
                  <a:lnTo>
                    <a:pt x="2894" y="2731"/>
                  </a:lnTo>
                  <a:close/>
                  <a:moveTo>
                    <a:pt x="2902" y="2729"/>
                  </a:moveTo>
                  <a:lnTo>
                    <a:pt x="2902" y="2731"/>
                  </a:lnTo>
                  <a:lnTo>
                    <a:pt x="2902" y="2729"/>
                  </a:lnTo>
                  <a:close/>
                  <a:moveTo>
                    <a:pt x="2881" y="2729"/>
                  </a:moveTo>
                  <a:lnTo>
                    <a:pt x="2881" y="2731"/>
                  </a:lnTo>
                  <a:lnTo>
                    <a:pt x="2881" y="2729"/>
                  </a:lnTo>
                  <a:lnTo>
                    <a:pt x="2882" y="2729"/>
                  </a:lnTo>
                  <a:lnTo>
                    <a:pt x="2881" y="2731"/>
                  </a:lnTo>
                  <a:lnTo>
                    <a:pt x="2881" y="2729"/>
                  </a:lnTo>
                  <a:close/>
                  <a:moveTo>
                    <a:pt x="2887" y="2729"/>
                  </a:moveTo>
                  <a:lnTo>
                    <a:pt x="2887" y="2731"/>
                  </a:lnTo>
                  <a:lnTo>
                    <a:pt x="2887" y="2729"/>
                  </a:lnTo>
                  <a:close/>
                  <a:moveTo>
                    <a:pt x="2885" y="2729"/>
                  </a:moveTo>
                  <a:lnTo>
                    <a:pt x="2887" y="2729"/>
                  </a:lnTo>
                  <a:lnTo>
                    <a:pt x="2887" y="2731"/>
                  </a:lnTo>
                  <a:lnTo>
                    <a:pt x="2885" y="2731"/>
                  </a:lnTo>
                  <a:lnTo>
                    <a:pt x="2885" y="2729"/>
                  </a:lnTo>
                  <a:lnTo>
                    <a:pt x="2885" y="2731"/>
                  </a:lnTo>
                  <a:lnTo>
                    <a:pt x="2885" y="2729"/>
                  </a:lnTo>
                  <a:close/>
                  <a:moveTo>
                    <a:pt x="2900" y="2729"/>
                  </a:moveTo>
                  <a:lnTo>
                    <a:pt x="2900" y="2731"/>
                  </a:lnTo>
                  <a:lnTo>
                    <a:pt x="2900" y="2729"/>
                  </a:lnTo>
                  <a:lnTo>
                    <a:pt x="2898" y="2731"/>
                  </a:lnTo>
                  <a:lnTo>
                    <a:pt x="2900" y="2731"/>
                  </a:lnTo>
                  <a:lnTo>
                    <a:pt x="2900" y="2733"/>
                  </a:lnTo>
                  <a:lnTo>
                    <a:pt x="2898" y="2733"/>
                  </a:lnTo>
                  <a:lnTo>
                    <a:pt x="2898" y="2731"/>
                  </a:lnTo>
                  <a:lnTo>
                    <a:pt x="2897" y="2731"/>
                  </a:lnTo>
                  <a:lnTo>
                    <a:pt x="2898" y="2731"/>
                  </a:lnTo>
                  <a:lnTo>
                    <a:pt x="2898" y="2729"/>
                  </a:lnTo>
                  <a:lnTo>
                    <a:pt x="2900" y="2729"/>
                  </a:lnTo>
                  <a:close/>
                  <a:moveTo>
                    <a:pt x="2887" y="2729"/>
                  </a:moveTo>
                  <a:lnTo>
                    <a:pt x="2885" y="2729"/>
                  </a:lnTo>
                  <a:lnTo>
                    <a:pt x="2887" y="2729"/>
                  </a:lnTo>
                  <a:close/>
                  <a:moveTo>
                    <a:pt x="2897" y="2729"/>
                  </a:moveTo>
                  <a:lnTo>
                    <a:pt x="2895" y="2729"/>
                  </a:lnTo>
                  <a:lnTo>
                    <a:pt x="2895" y="2728"/>
                  </a:lnTo>
                  <a:lnTo>
                    <a:pt x="2897" y="2728"/>
                  </a:lnTo>
                  <a:lnTo>
                    <a:pt x="2897" y="2729"/>
                  </a:lnTo>
                  <a:close/>
                  <a:moveTo>
                    <a:pt x="2889" y="2728"/>
                  </a:moveTo>
                  <a:lnTo>
                    <a:pt x="2889" y="2729"/>
                  </a:lnTo>
                  <a:lnTo>
                    <a:pt x="2890" y="2729"/>
                  </a:lnTo>
                  <a:lnTo>
                    <a:pt x="2889" y="2731"/>
                  </a:lnTo>
                  <a:lnTo>
                    <a:pt x="2889" y="2729"/>
                  </a:lnTo>
                  <a:lnTo>
                    <a:pt x="2889" y="2731"/>
                  </a:lnTo>
                  <a:lnTo>
                    <a:pt x="2889" y="2729"/>
                  </a:lnTo>
                  <a:lnTo>
                    <a:pt x="2889" y="2728"/>
                  </a:lnTo>
                  <a:close/>
                  <a:moveTo>
                    <a:pt x="2895" y="2728"/>
                  </a:moveTo>
                  <a:lnTo>
                    <a:pt x="2897" y="2728"/>
                  </a:lnTo>
                  <a:lnTo>
                    <a:pt x="2895" y="2728"/>
                  </a:lnTo>
                  <a:lnTo>
                    <a:pt x="2897" y="2728"/>
                  </a:lnTo>
                  <a:lnTo>
                    <a:pt x="2895" y="2728"/>
                  </a:lnTo>
                  <a:close/>
                  <a:moveTo>
                    <a:pt x="2889" y="2728"/>
                  </a:moveTo>
                  <a:lnTo>
                    <a:pt x="2887" y="2728"/>
                  </a:lnTo>
                  <a:lnTo>
                    <a:pt x="2887" y="2726"/>
                  </a:lnTo>
                  <a:lnTo>
                    <a:pt x="2889" y="2726"/>
                  </a:lnTo>
                  <a:lnTo>
                    <a:pt x="2889" y="2728"/>
                  </a:lnTo>
                  <a:close/>
                  <a:moveTo>
                    <a:pt x="2895" y="2726"/>
                  </a:moveTo>
                  <a:lnTo>
                    <a:pt x="2895" y="2728"/>
                  </a:lnTo>
                  <a:lnTo>
                    <a:pt x="2895" y="2726"/>
                  </a:lnTo>
                  <a:lnTo>
                    <a:pt x="2894" y="2726"/>
                  </a:lnTo>
                  <a:lnTo>
                    <a:pt x="2895" y="2726"/>
                  </a:lnTo>
                  <a:close/>
                  <a:moveTo>
                    <a:pt x="2895" y="2724"/>
                  </a:moveTo>
                  <a:lnTo>
                    <a:pt x="2895" y="2726"/>
                  </a:lnTo>
                  <a:lnTo>
                    <a:pt x="2895" y="2724"/>
                  </a:lnTo>
                  <a:close/>
                  <a:moveTo>
                    <a:pt x="2897" y="2724"/>
                  </a:moveTo>
                  <a:lnTo>
                    <a:pt x="2897" y="2726"/>
                  </a:lnTo>
                  <a:lnTo>
                    <a:pt x="2897" y="2724"/>
                  </a:lnTo>
                  <a:lnTo>
                    <a:pt x="2897" y="2726"/>
                  </a:lnTo>
                  <a:lnTo>
                    <a:pt x="2897" y="2724"/>
                  </a:lnTo>
                  <a:lnTo>
                    <a:pt x="2895" y="2724"/>
                  </a:lnTo>
                  <a:lnTo>
                    <a:pt x="2897" y="2724"/>
                  </a:lnTo>
                  <a:close/>
                  <a:moveTo>
                    <a:pt x="2911" y="2723"/>
                  </a:moveTo>
                  <a:lnTo>
                    <a:pt x="2910" y="2723"/>
                  </a:lnTo>
                  <a:lnTo>
                    <a:pt x="2911" y="2723"/>
                  </a:lnTo>
                  <a:close/>
                  <a:moveTo>
                    <a:pt x="2894" y="2723"/>
                  </a:moveTo>
                  <a:lnTo>
                    <a:pt x="2892" y="2723"/>
                  </a:lnTo>
                  <a:lnTo>
                    <a:pt x="2894" y="2723"/>
                  </a:lnTo>
                  <a:close/>
                  <a:moveTo>
                    <a:pt x="2882" y="2723"/>
                  </a:moveTo>
                  <a:lnTo>
                    <a:pt x="2882" y="2721"/>
                  </a:lnTo>
                  <a:lnTo>
                    <a:pt x="2882" y="2723"/>
                  </a:lnTo>
                  <a:close/>
                  <a:moveTo>
                    <a:pt x="2892" y="2723"/>
                  </a:moveTo>
                  <a:lnTo>
                    <a:pt x="2892" y="2721"/>
                  </a:lnTo>
                  <a:lnTo>
                    <a:pt x="2892" y="2723"/>
                  </a:lnTo>
                  <a:close/>
                  <a:moveTo>
                    <a:pt x="2910" y="2723"/>
                  </a:moveTo>
                  <a:lnTo>
                    <a:pt x="2911" y="2723"/>
                  </a:lnTo>
                  <a:lnTo>
                    <a:pt x="2911" y="2721"/>
                  </a:lnTo>
                  <a:lnTo>
                    <a:pt x="2911" y="2723"/>
                  </a:lnTo>
                  <a:lnTo>
                    <a:pt x="2910" y="2723"/>
                  </a:lnTo>
                  <a:close/>
                  <a:moveTo>
                    <a:pt x="2929" y="2721"/>
                  </a:moveTo>
                  <a:lnTo>
                    <a:pt x="2931" y="2723"/>
                  </a:lnTo>
                  <a:lnTo>
                    <a:pt x="2929" y="2723"/>
                  </a:lnTo>
                  <a:lnTo>
                    <a:pt x="2931" y="2723"/>
                  </a:lnTo>
                  <a:lnTo>
                    <a:pt x="2931" y="2724"/>
                  </a:lnTo>
                  <a:lnTo>
                    <a:pt x="2929" y="2724"/>
                  </a:lnTo>
                  <a:lnTo>
                    <a:pt x="2931" y="2724"/>
                  </a:lnTo>
                  <a:lnTo>
                    <a:pt x="2931" y="2726"/>
                  </a:lnTo>
                  <a:lnTo>
                    <a:pt x="2931" y="2728"/>
                  </a:lnTo>
                  <a:lnTo>
                    <a:pt x="2931" y="2729"/>
                  </a:lnTo>
                  <a:lnTo>
                    <a:pt x="2931" y="2728"/>
                  </a:lnTo>
                  <a:lnTo>
                    <a:pt x="2929" y="2728"/>
                  </a:lnTo>
                  <a:lnTo>
                    <a:pt x="2929" y="2726"/>
                  </a:lnTo>
                  <a:lnTo>
                    <a:pt x="2929" y="2724"/>
                  </a:lnTo>
                  <a:lnTo>
                    <a:pt x="2928" y="2724"/>
                  </a:lnTo>
                  <a:lnTo>
                    <a:pt x="2929" y="2723"/>
                  </a:lnTo>
                  <a:lnTo>
                    <a:pt x="2928" y="2723"/>
                  </a:lnTo>
                  <a:lnTo>
                    <a:pt x="2929" y="2723"/>
                  </a:lnTo>
                  <a:lnTo>
                    <a:pt x="2928" y="2723"/>
                  </a:lnTo>
                  <a:lnTo>
                    <a:pt x="2928" y="2721"/>
                  </a:lnTo>
                  <a:lnTo>
                    <a:pt x="2929" y="2721"/>
                  </a:lnTo>
                  <a:close/>
                  <a:moveTo>
                    <a:pt x="2887" y="2721"/>
                  </a:moveTo>
                  <a:lnTo>
                    <a:pt x="2889" y="2721"/>
                  </a:lnTo>
                  <a:lnTo>
                    <a:pt x="2887" y="2721"/>
                  </a:lnTo>
                  <a:lnTo>
                    <a:pt x="2887" y="2723"/>
                  </a:lnTo>
                  <a:lnTo>
                    <a:pt x="2887" y="2721"/>
                  </a:lnTo>
                  <a:close/>
                  <a:moveTo>
                    <a:pt x="2946" y="2715"/>
                  </a:moveTo>
                  <a:lnTo>
                    <a:pt x="2946" y="2716"/>
                  </a:lnTo>
                  <a:lnTo>
                    <a:pt x="2946" y="2718"/>
                  </a:lnTo>
                  <a:lnTo>
                    <a:pt x="2947" y="2718"/>
                  </a:lnTo>
                  <a:lnTo>
                    <a:pt x="2946" y="2720"/>
                  </a:lnTo>
                  <a:lnTo>
                    <a:pt x="2946" y="2721"/>
                  </a:lnTo>
                  <a:lnTo>
                    <a:pt x="2944" y="2721"/>
                  </a:lnTo>
                  <a:lnTo>
                    <a:pt x="2946" y="2721"/>
                  </a:lnTo>
                  <a:lnTo>
                    <a:pt x="2944" y="2721"/>
                  </a:lnTo>
                  <a:lnTo>
                    <a:pt x="2944" y="2720"/>
                  </a:lnTo>
                  <a:lnTo>
                    <a:pt x="2944" y="2718"/>
                  </a:lnTo>
                  <a:lnTo>
                    <a:pt x="2942" y="2718"/>
                  </a:lnTo>
                  <a:lnTo>
                    <a:pt x="2942" y="2716"/>
                  </a:lnTo>
                  <a:lnTo>
                    <a:pt x="2942" y="2715"/>
                  </a:lnTo>
                  <a:lnTo>
                    <a:pt x="2944" y="2715"/>
                  </a:lnTo>
                  <a:lnTo>
                    <a:pt x="2946" y="2715"/>
                  </a:lnTo>
                  <a:close/>
                  <a:moveTo>
                    <a:pt x="2905" y="2711"/>
                  </a:moveTo>
                  <a:lnTo>
                    <a:pt x="2903" y="2711"/>
                  </a:lnTo>
                  <a:lnTo>
                    <a:pt x="2905" y="2711"/>
                  </a:lnTo>
                  <a:close/>
                  <a:moveTo>
                    <a:pt x="2903" y="2711"/>
                  </a:moveTo>
                  <a:lnTo>
                    <a:pt x="2905" y="2710"/>
                  </a:lnTo>
                  <a:lnTo>
                    <a:pt x="2903" y="2711"/>
                  </a:lnTo>
                  <a:close/>
                  <a:moveTo>
                    <a:pt x="2905" y="2710"/>
                  </a:moveTo>
                  <a:lnTo>
                    <a:pt x="2905" y="2711"/>
                  </a:lnTo>
                  <a:lnTo>
                    <a:pt x="2907" y="2711"/>
                  </a:lnTo>
                  <a:lnTo>
                    <a:pt x="2905" y="2711"/>
                  </a:lnTo>
                  <a:lnTo>
                    <a:pt x="2905" y="2710"/>
                  </a:lnTo>
                  <a:lnTo>
                    <a:pt x="2903" y="2710"/>
                  </a:lnTo>
                  <a:lnTo>
                    <a:pt x="2905" y="2710"/>
                  </a:lnTo>
                  <a:close/>
                  <a:moveTo>
                    <a:pt x="2903" y="2710"/>
                  </a:moveTo>
                  <a:lnTo>
                    <a:pt x="2902" y="2710"/>
                  </a:lnTo>
                  <a:lnTo>
                    <a:pt x="2903" y="2710"/>
                  </a:lnTo>
                  <a:close/>
                  <a:moveTo>
                    <a:pt x="2908" y="2703"/>
                  </a:moveTo>
                  <a:lnTo>
                    <a:pt x="2908" y="2705"/>
                  </a:lnTo>
                  <a:lnTo>
                    <a:pt x="2908" y="2703"/>
                  </a:lnTo>
                  <a:lnTo>
                    <a:pt x="2908" y="2705"/>
                  </a:lnTo>
                  <a:lnTo>
                    <a:pt x="2907" y="2703"/>
                  </a:lnTo>
                  <a:lnTo>
                    <a:pt x="2908" y="2703"/>
                  </a:lnTo>
                  <a:close/>
                  <a:moveTo>
                    <a:pt x="2902" y="2697"/>
                  </a:moveTo>
                  <a:lnTo>
                    <a:pt x="2902" y="2695"/>
                  </a:lnTo>
                  <a:lnTo>
                    <a:pt x="2903" y="2695"/>
                  </a:lnTo>
                  <a:lnTo>
                    <a:pt x="2902" y="2695"/>
                  </a:lnTo>
                  <a:lnTo>
                    <a:pt x="2902" y="2697"/>
                  </a:lnTo>
                  <a:close/>
                  <a:moveTo>
                    <a:pt x="2903" y="2695"/>
                  </a:moveTo>
                  <a:lnTo>
                    <a:pt x="2903" y="2697"/>
                  </a:lnTo>
                  <a:lnTo>
                    <a:pt x="2903" y="2695"/>
                  </a:lnTo>
                  <a:lnTo>
                    <a:pt x="2902" y="2695"/>
                  </a:lnTo>
                  <a:lnTo>
                    <a:pt x="2903" y="2695"/>
                  </a:lnTo>
                  <a:close/>
                  <a:moveTo>
                    <a:pt x="2898" y="2695"/>
                  </a:moveTo>
                  <a:lnTo>
                    <a:pt x="2897" y="2695"/>
                  </a:lnTo>
                  <a:lnTo>
                    <a:pt x="2898" y="2695"/>
                  </a:lnTo>
                  <a:close/>
                  <a:moveTo>
                    <a:pt x="2897" y="2695"/>
                  </a:moveTo>
                  <a:lnTo>
                    <a:pt x="2895" y="2695"/>
                  </a:lnTo>
                  <a:lnTo>
                    <a:pt x="2897" y="2695"/>
                  </a:lnTo>
                  <a:close/>
                  <a:moveTo>
                    <a:pt x="2900" y="2692"/>
                  </a:moveTo>
                  <a:lnTo>
                    <a:pt x="2898" y="2692"/>
                  </a:lnTo>
                  <a:lnTo>
                    <a:pt x="2900" y="2692"/>
                  </a:lnTo>
                  <a:close/>
                  <a:moveTo>
                    <a:pt x="2897" y="2690"/>
                  </a:moveTo>
                  <a:lnTo>
                    <a:pt x="2897" y="2692"/>
                  </a:lnTo>
                  <a:lnTo>
                    <a:pt x="2898" y="2692"/>
                  </a:lnTo>
                  <a:lnTo>
                    <a:pt x="2897" y="2692"/>
                  </a:lnTo>
                  <a:lnTo>
                    <a:pt x="2898" y="2692"/>
                  </a:lnTo>
                  <a:lnTo>
                    <a:pt x="2897" y="2693"/>
                  </a:lnTo>
                  <a:lnTo>
                    <a:pt x="2898" y="2693"/>
                  </a:lnTo>
                  <a:lnTo>
                    <a:pt x="2897" y="2693"/>
                  </a:lnTo>
                  <a:lnTo>
                    <a:pt x="2895" y="2693"/>
                  </a:lnTo>
                  <a:lnTo>
                    <a:pt x="2894" y="2693"/>
                  </a:lnTo>
                  <a:lnTo>
                    <a:pt x="2894" y="2692"/>
                  </a:lnTo>
                  <a:lnTo>
                    <a:pt x="2892" y="2692"/>
                  </a:lnTo>
                  <a:lnTo>
                    <a:pt x="2894" y="2692"/>
                  </a:lnTo>
                  <a:lnTo>
                    <a:pt x="2894" y="2690"/>
                  </a:lnTo>
                  <a:lnTo>
                    <a:pt x="2895" y="2690"/>
                  </a:lnTo>
                  <a:lnTo>
                    <a:pt x="2897" y="2690"/>
                  </a:lnTo>
                  <a:close/>
                  <a:moveTo>
                    <a:pt x="2898" y="2690"/>
                  </a:moveTo>
                  <a:lnTo>
                    <a:pt x="2900" y="2690"/>
                  </a:lnTo>
                  <a:lnTo>
                    <a:pt x="2898" y="2690"/>
                  </a:lnTo>
                  <a:close/>
                  <a:moveTo>
                    <a:pt x="2900" y="2690"/>
                  </a:moveTo>
                  <a:lnTo>
                    <a:pt x="2902" y="2690"/>
                  </a:lnTo>
                  <a:lnTo>
                    <a:pt x="2900" y="2692"/>
                  </a:lnTo>
                  <a:lnTo>
                    <a:pt x="2902" y="2692"/>
                  </a:lnTo>
                  <a:lnTo>
                    <a:pt x="2900" y="2692"/>
                  </a:lnTo>
                  <a:lnTo>
                    <a:pt x="2900" y="2690"/>
                  </a:lnTo>
                  <a:lnTo>
                    <a:pt x="2900" y="2692"/>
                  </a:lnTo>
                  <a:lnTo>
                    <a:pt x="2900" y="2690"/>
                  </a:lnTo>
                  <a:close/>
                  <a:moveTo>
                    <a:pt x="2908" y="2690"/>
                  </a:moveTo>
                  <a:lnTo>
                    <a:pt x="2908" y="2692"/>
                  </a:lnTo>
                  <a:lnTo>
                    <a:pt x="2908" y="2690"/>
                  </a:lnTo>
                  <a:lnTo>
                    <a:pt x="2907" y="2690"/>
                  </a:lnTo>
                  <a:lnTo>
                    <a:pt x="2908" y="2690"/>
                  </a:lnTo>
                  <a:close/>
                  <a:moveTo>
                    <a:pt x="20" y="2451"/>
                  </a:moveTo>
                  <a:lnTo>
                    <a:pt x="21" y="2451"/>
                  </a:lnTo>
                  <a:lnTo>
                    <a:pt x="20" y="2451"/>
                  </a:lnTo>
                  <a:close/>
                  <a:moveTo>
                    <a:pt x="0" y="2480"/>
                  </a:moveTo>
                  <a:lnTo>
                    <a:pt x="0" y="2479"/>
                  </a:lnTo>
                  <a:lnTo>
                    <a:pt x="2" y="2477"/>
                  </a:lnTo>
                  <a:lnTo>
                    <a:pt x="4" y="2476"/>
                  </a:lnTo>
                  <a:lnTo>
                    <a:pt x="4" y="2474"/>
                  </a:lnTo>
                  <a:lnTo>
                    <a:pt x="4" y="2472"/>
                  </a:lnTo>
                  <a:lnTo>
                    <a:pt x="5" y="2471"/>
                  </a:lnTo>
                  <a:lnTo>
                    <a:pt x="7" y="2471"/>
                  </a:lnTo>
                  <a:lnTo>
                    <a:pt x="7" y="2469"/>
                  </a:lnTo>
                  <a:lnTo>
                    <a:pt x="7" y="2467"/>
                  </a:lnTo>
                  <a:lnTo>
                    <a:pt x="8" y="2467"/>
                  </a:lnTo>
                  <a:lnTo>
                    <a:pt x="10" y="2464"/>
                  </a:lnTo>
                  <a:lnTo>
                    <a:pt x="10" y="2463"/>
                  </a:lnTo>
                  <a:lnTo>
                    <a:pt x="12" y="2463"/>
                  </a:lnTo>
                  <a:lnTo>
                    <a:pt x="12" y="2461"/>
                  </a:lnTo>
                  <a:lnTo>
                    <a:pt x="12" y="2459"/>
                  </a:lnTo>
                  <a:lnTo>
                    <a:pt x="13" y="2458"/>
                  </a:lnTo>
                  <a:lnTo>
                    <a:pt x="13" y="2456"/>
                  </a:lnTo>
                  <a:lnTo>
                    <a:pt x="15" y="2456"/>
                  </a:lnTo>
                  <a:lnTo>
                    <a:pt x="15" y="2454"/>
                  </a:lnTo>
                  <a:lnTo>
                    <a:pt x="17" y="2451"/>
                  </a:lnTo>
                  <a:lnTo>
                    <a:pt x="17" y="2453"/>
                  </a:lnTo>
                  <a:lnTo>
                    <a:pt x="17" y="2454"/>
                  </a:lnTo>
                  <a:lnTo>
                    <a:pt x="15" y="2456"/>
                  </a:lnTo>
                  <a:lnTo>
                    <a:pt x="15" y="2458"/>
                  </a:lnTo>
                  <a:lnTo>
                    <a:pt x="13" y="2459"/>
                  </a:lnTo>
                  <a:lnTo>
                    <a:pt x="13" y="2461"/>
                  </a:lnTo>
                  <a:lnTo>
                    <a:pt x="12" y="2464"/>
                  </a:lnTo>
                  <a:lnTo>
                    <a:pt x="10" y="2464"/>
                  </a:lnTo>
                  <a:lnTo>
                    <a:pt x="10" y="2466"/>
                  </a:lnTo>
                  <a:lnTo>
                    <a:pt x="10" y="2467"/>
                  </a:lnTo>
                  <a:lnTo>
                    <a:pt x="8" y="2467"/>
                  </a:lnTo>
                  <a:lnTo>
                    <a:pt x="8" y="2469"/>
                  </a:lnTo>
                  <a:lnTo>
                    <a:pt x="8" y="2471"/>
                  </a:lnTo>
                  <a:lnTo>
                    <a:pt x="7" y="2472"/>
                  </a:lnTo>
                  <a:lnTo>
                    <a:pt x="7" y="2474"/>
                  </a:lnTo>
                  <a:lnTo>
                    <a:pt x="5" y="2476"/>
                  </a:lnTo>
                  <a:lnTo>
                    <a:pt x="4" y="2477"/>
                  </a:lnTo>
                  <a:lnTo>
                    <a:pt x="2" y="2477"/>
                  </a:lnTo>
                  <a:lnTo>
                    <a:pt x="2" y="2479"/>
                  </a:lnTo>
                  <a:lnTo>
                    <a:pt x="0" y="2480"/>
                  </a:lnTo>
                  <a:close/>
                  <a:moveTo>
                    <a:pt x="25" y="2450"/>
                  </a:moveTo>
                  <a:lnTo>
                    <a:pt x="23" y="2451"/>
                  </a:lnTo>
                  <a:lnTo>
                    <a:pt x="26" y="2450"/>
                  </a:lnTo>
                  <a:lnTo>
                    <a:pt x="25" y="2450"/>
                  </a:lnTo>
                  <a:close/>
                  <a:moveTo>
                    <a:pt x="25" y="2450"/>
                  </a:moveTo>
                  <a:lnTo>
                    <a:pt x="23" y="2450"/>
                  </a:lnTo>
                  <a:lnTo>
                    <a:pt x="25" y="2450"/>
                  </a:lnTo>
                  <a:lnTo>
                    <a:pt x="26" y="2450"/>
                  </a:lnTo>
                  <a:lnTo>
                    <a:pt x="25" y="2450"/>
                  </a:lnTo>
                  <a:close/>
                  <a:moveTo>
                    <a:pt x="34" y="2446"/>
                  </a:moveTo>
                  <a:lnTo>
                    <a:pt x="34" y="2448"/>
                  </a:lnTo>
                  <a:lnTo>
                    <a:pt x="33" y="2448"/>
                  </a:lnTo>
                  <a:lnTo>
                    <a:pt x="33" y="2446"/>
                  </a:lnTo>
                  <a:lnTo>
                    <a:pt x="34" y="2446"/>
                  </a:lnTo>
                  <a:lnTo>
                    <a:pt x="36" y="2446"/>
                  </a:lnTo>
                  <a:lnTo>
                    <a:pt x="38" y="2443"/>
                  </a:lnTo>
                  <a:lnTo>
                    <a:pt x="36" y="2446"/>
                  </a:lnTo>
                  <a:lnTo>
                    <a:pt x="34" y="2446"/>
                  </a:lnTo>
                  <a:close/>
                  <a:moveTo>
                    <a:pt x="44" y="2440"/>
                  </a:moveTo>
                  <a:lnTo>
                    <a:pt x="43" y="2441"/>
                  </a:lnTo>
                  <a:lnTo>
                    <a:pt x="41" y="2441"/>
                  </a:lnTo>
                  <a:lnTo>
                    <a:pt x="39" y="2441"/>
                  </a:lnTo>
                  <a:lnTo>
                    <a:pt x="38" y="2443"/>
                  </a:lnTo>
                  <a:lnTo>
                    <a:pt x="39" y="2441"/>
                  </a:lnTo>
                  <a:lnTo>
                    <a:pt x="41" y="2441"/>
                  </a:lnTo>
                  <a:lnTo>
                    <a:pt x="46" y="2440"/>
                  </a:lnTo>
                  <a:lnTo>
                    <a:pt x="44" y="2440"/>
                  </a:lnTo>
                  <a:close/>
                  <a:moveTo>
                    <a:pt x="51" y="2440"/>
                  </a:moveTo>
                  <a:lnTo>
                    <a:pt x="46" y="2440"/>
                  </a:lnTo>
                  <a:lnTo>
                    <a:pt x="51" y="2440"/>
                  </a:lnTo>
                  <a:close/>
                  <a:moveTo>
                    <a:pt x="52" y="2440"/>
                  </a:moveTo>
                  <a:lnTo>
                    <a:pt x="54" y="2440"/>
                  </a:lnTo>
                  <a:lnTo>
                    <a:pt x="52" y="2440"/>
                  </a:lnTo>
                  <a:close/>
                  <a:moveTo>
                    <a:pt x="54" y="2440"/>
                  </a:moveTo>
                  <a:lnTo>
                    <a:pt x="54" y="2438"/>
                  </a:lnTo>
                  <a:lnTo>
                    <a:pt x="56" y="2438"/>
                  </a:lnTo>
                  <a:lnTo>
                    <a:pt x="54" y="2440"/>
                  </a:lnTo>
                  <a:close/>
                  <a:moveTo>
                    <a:pt x="69" y="2401"/>
                  </a:moveTo>
                  <a:lnTo>
                    <a:pt x="69" y="2399"/>
                  </a:lnTo>
                  <a:lnTo>
                    <a:pt x="70" y="2399"/>
                  </a:lnTo>
                  <a:lnTo>
                    <a:pt x="72" y="2399"/>
                  </a:lnTo>
                  <a:lnTo>
                    <a:pt x="73" y="2399"/>
                  </a:lnTo>
                  <a:lnTo>
                    <a:pt x="75" y="2399"/>
                  </a:lnTo>
                  <a:lnTo>
                    <a:pt x="77" y="2399"/>
                  </a:lnTo>
                  <a:lnTo>
                    <a:pt x="78" y="2399"/>
                  </a:lnTo>
                  <a:lnTo>
                    <a:pt x="80" y="2399"/>
                  </a:lnTo>
                  <a:lnTo>
                    <a:pt x="82" y="2399"/>
                  </a:lnTo>
                  <a:lnTo>
                    <a:pt x="82" y="2397"/>
                  </a:lnTo>
                  <a:lnTo>
                    <a:pt x="83" y="2397"/>
                  </a:lnTo>
                  <a:lnTo>
                    <a:pt x="83" y="2396"/>
                  </a:lnTo>
                  <a:lnTo>
                    <a:pt x="85" y="2396"/>
                  </a:lnTo>
                  <a:lnTo>
                    <a:pt x="85" y="2397"/>
                  </a:lnTo>
                  <a:lnTo>
                    <a:pt x="86" y="2397"/>
                  </a:lnTo>
                  <a:lnTo>
                    <a:pt x="88" y="2399"/>
                  </a:lnTo>
                  <a:lnTo>
                    <a:pt x="90" y="2399"/>
                  </a:lnTo>
                  <a:lnTo>
                    <a:pt x="90" y="2401"/>
                  </a:lnTo>
                  <a:lnTo>
                    <a:pt x="91" y="2401"/>
                  </a:lnTo>
                  <a:lnTo>
                    <a:pt x="91" y="2402"/>
                  </a:lnTo>
                  <a:lnTo>
                    <a:pt x="93" y="2402"/>
                  </a:lnTo>
                  <a:lnTo>
                    <a:pt x="93" y="2401"/>
                  </a:lnTo>
                  <a:lnTo>
                    <a:pt x="95" y="2401"/>
                  </a:lnTo>
                  <a:lnTo>
                    <a:pt x="96" y="2401"/>
                  </a:lnTo>
                  <a:lnTo>
                    <a:pt x="98" y="2401"/>
                  </a:lnTo>
                  <a:lnTo>
                    <a:pt x="99" y="2401"/>
                  </a:lnTo>
                  <a:lnTo>
                    <a:pt x="101" y="2402"/>
                  </a:lnTo>
                  <a:lnTo>
                    <a:pt x="101" y="2401"/>
                  </a:lnTo>
                  <a:lnTo>
                    <a:pt x="103" y="2401"/>
                  </a:lnTo>
                  <a:lnTo>
                    <a:pt x="103" y="2402"/>
                  </a:lnTo>
                  <a:lnTo>
                    <a:pt x="103" y="2401"/>
                  </a:lnTo>
                  <a:lnTo>
                    <a:pt x="104" y="2401"/>
                  </a:lnTo>
                  <a:lnTo>
                    <a:pt x="106" y="2401"/>
                  </a:lnTo>
                  <a:lnTo>
                    <a:pt x="106" y="2399"/>
                  </a:lnTo>
                  <a:lnTo>
                    <a:pt x="108" y="2399"/>
                  </a:lnTo>
                  <a:lnTo>
                    <a:pt x="109" y="2401"/>
                  </a:lnTo>
                  <a:lnTo>
                    <a:pt x="111" y="2401"/>
                  </a:lnTo>
                  <a:lnTo>
                    <a:pt x="109" y="2399"/>
                  </a:lnTo>
                  <a:lnTo>
                    <a:pt x="111" y="2399"/>
                  </a:lnTo>
                  <a:lnTo>
                    <a:pt x="111" y="2397"/>
                  </a:lnTo>
                  <a:lnTo>
                    <a:pt x="112" y="2397"/>
                  </a:lnTo>
                  <a:lnTo>
                    <a:pt x="114" y="2396"/>
                  </a:lnTo>
                  <a:lnTo>
                    <a:pt x="116" y="2396"/>
                  </a:lnTo>
                  <a:lnTo>
                    <a:pt x="117" y="2396"/>
                  </a:lnTo>
                  <a:lnTo>
                    <a:pt x="119" y="2394"/>
                  </a:lnTo>
                  <a:lnTo>
                    <a:pt x="121" y="2393"/>
                  </a:lnTo>
                  <a:lnTo>
                    <a:pt x="121" y="2391"/>
                  </a:lnTo>
                  <a:lnTo>
                    <a:pt x="122" y="2391"/>
                  </a:lnTo>
                  <a:lnTo>
                    <a:pt x="122" y="2389"/>
                  </a:lnTo>
                  <a:lnTo>
                    <a:pt x="121" y="2388"/>
                  </a:lnTo>
                  <a:lnTo>
                    <a:pt x="121" y="2386"/>
                  </a:lnTo>
                  <a:lnTo>
                    <a:pt x="119" y="2386"/>
                  </a:lnTo>
                  <a:lnTo>
                    <a:pt x="119" y="2384"/>
                  </a:lnTo>
                  <a:lnTo>
                    <a:pt x="119" y="2383"/>
                  </a:lnTo>
                  <a:lnTo>
                    <a:pt x="117" y="2383"/>
                  </a:lnTo>
                  <a:lnTo>
                    <a:pt x="117" y="2381"/>
                  </a:lnTo>
                  <a:lnTo>
                    <a:pt x="117" y="2380"/>
                  </a:lnTo>
                  <a:lnTo>
                    <a:pt x="117" y="2378"/>
                  </a:lnTo>
                  <a:lnTo>
                    <a:pt x="116" y="2376"/>
                  </a:lnTo>
                  <a:lnTo>
                    <a:pt x="116" y="2375"/>
                  </a:lnTo>
                  <a:lnTo>
                    <a:pt x="116" y="2371"/>
                  </a:lnTo>
                  <a:lnTo>
                    <a:pt x="114" y="2370"/>
                  </a:lnTo>
                  <a:lnTo>
                    <a:pt x="114" y="2368"/>
                  </a:lnTo>
                  <a:lnTo>
                    <a:pt x="114" y="2367"/>
                  </a:lnTo>
                  <a:lnTo>
                    <a:pt x="112" y="2365"/>
                  </a:lnTo>
                  <a:lnTo>
                    <a:pt x="112" y="2363"/>
                  </a:lnTo>
                  <a:lnTo>
                    <a:pt x="112" y="2362"/>
                  </a:lnTo>
                  <a:lnTo>
                    <a:pt x="111" y="2360"/>
                  </a:lnTo>
                  <a:lnTo>
                    <a:pt x="111" y="2357"/>
                  </a:lnTo>
                  <a:lnTo>
                    <a:pt x="111" y="2355"/>
                  </a:lnTo>
                  <a:lnTo>
                    <a:pt x="112" y="2355"/>
                  </a:lnTo>
                  <a:lnTo>
                    <a:pt x="112" y="2354"/>
                  </a:lnTo>
                  <a:lnTo>
                    <a:pt x="114" y="2354"/>
                  </a:lnTo>
                  <a:lnTo>
                    <a:pt x="112" y="2355"/>
                  </a:lnTo>
                  <a:lnTo>
                    <a:pt x="114" y="2355"/>
                  </a:lnTo>
                  <a:lnTo>
                    <a:pt x="114" y="2357"/>
                  </a:lnTo>
                  <a:lnTo>
                    <a:pt x="114" y="2355"/>
                  </a:lnTo>
                  <a:lnTo>
                    <a:pt x="116" y="2355"/>
                  </a:lnTo>
                  <a:lnTo>
                    <a:pt x="117" y="2355"/>
                  </a:lnTo>
                  <a:lnTo>
                    <a:pt x="116" y="2355"/>
                  </a:lnTo>
                  <a:lnTo>
                    <a:pt x="117" y="2355"/>
                  </a:lnTo>
                  <a:lnTo>
                    <a:pt x="117" y="2354"/>
                  </a:lnTo>
                  <a:lnTo>
                    <a:pt x="119" y="2354"/>
                  </a:lnTo>
                  <a:lnTo>
                    <a:pt x="119" y="2352"/>
                  </a:lnTo>
                  <a:lnTo>
                    <a:pt x="119" y="2350"/>
                  </a:lnTo>
                  <a:lnTo>
                    <a:pt x="119" y="2349"/>
                  </a:lnTo>
                  <a:lnTo>
                    <a:pt x="117" y="2349"/>
                  </a:lnTo>
                  <a:lnTo>
                    <a:pt x="117" y="2347"/>
                  </a:lnTo>
                  <a:lnTo>
                    <a:pt x="119" y="2347"/>
                  </a:lnTo>
                  <a:lnTo>
                    <a:pt x="119" y="2345"/>
                  </a:lnTo>
                  <a:lnTo>
                    <a:pt x="121" y="2345"/>
                  </a:lnTo>
                  <a:lnTo>
                    <a:pt x="121" y="2344"/>
                  </a:lnTo>
                  <a:lnTo>
                    <a:pt x="122" y="2342"/>
                  </a:lnTo>
                  <a:lnTo>
                    <a:pt x="124" y="2341"/>
                  </a:lnTo>
                  <a:lnTo>
                    <a:pt x="124" y="2339"/>
                  </a:lnTo>
                  <a:lnTo>
                    <a:pt x="125" y="2341"/>
                  </a:lnTo>
                  <a:lnTo>
                    <a:pt x="127" y="2341"/>
                  </a:lnTo>
                  <a:lnTo>
                    <a:pt x="127" y="2342"/>
                  </a:lnTo>
                  <a:lnTo>
                    <a:pt x="127" y="2344"/>
                  </a:lnTo>
                  <a:lnTo>
                    <a:pt x="129" y="2344"/>
                  </a:lnTo>
                  <a:lnTo>
                    <a:pt x="129" y="2345"/>
                  </a:lnTo>
                  <a:lnTo>
                    <a:pt x="130" y="2345"/>
                  </a:lnTo>
                  <a:lnTo>
                    <a:pt x="130" y="2347"/>
                  </a:lnTo>
                  <a:lnTo>
                    <a:pt x="130" y="2349"/>
                  </a:lnTo>
                  <a:lnTo>
                    <a:pt x="132" y="2349"/>
                  </a:lnTo>
                  <a:lnTo>
                    <a:pt x="134" y="2350"/>
                  </a:lnTo>
                  <a:lnTo>
                    <a:pt x="135" y="2350"/>
                  </a:lnTo>
                  <a:lnTo>
                    <a:pt x="135" y="2352"/>
                  </a:lnTo>
                  <a:lnTo>
                    <a:pt x="137" y="2354"/>
                  </a:lnTo>
                  <a:lnTo>
                    <a:pt x="138" y="2354"/>
                  </a:lnTo>
                  <a:lnTo>
                    <a:pt x="138" y="2352"/>
                  </a:lnTo>
                  <a:lnTo>
                    <a:pt x="140" y="2352"/>
                  </a:lnTo>
                  <a:lnTo>
                    <a:pt x="140" y="2350"/>
                  </a:lnTo>
                  <a:lnTo>
                    <a:pt x="142" y="2350"/>
                  </a:lnTo>
                  <a:lnTo>
                    <a:pt x="145" y="2352"/>
                  </a:lnTo>
                  <a:lnTo>
                    <a:pt x="147" y="2352"/>
                  </a:lnTo>
                  <a:lnTo>
                    <a:pt x="148" y="2352"/>
                  </a:lnTo>
                  <a:lnTo>
                    <a:pt x="150" y="2352"/>
                  </a:lnTo>
                  <a:lnTo>
                    <a:pt x="152" y="2354"/>
                  </a:lnTo>
                  <a:lnTo>
                    <a:pt x="153" y="2354"/>
                  </a:lnTo>
                  <a:lnTo>
                    <a:pt x="155" y="2355"/>
                  </a:lnTo>
                  <a:lnTo>
                    <a:pt x="155" y="2357"/>
                  </a:lnTo>
                  <a:lnTo>
                    <a:pt x="156" y="2358"/>
                  </a:lnTo>
                  <a:lnTo>
                    <a:pt x="158" y="2358"/>
                  </a:lnTo>
                  <a:lnTo>
                    <a:pt x="160" y="2358"/>
                  </a:lnTo>
                  <a:lnTo>
                    <a:pt x="161" y="2358"/>
                  </a:lnTo>
                  <a:lnTo>
                    <a:pt x="163" y="2358"/>
                  </a:lnTo>
                  <a:lnTo>
                    <a:pt x="165" y="2358"/>
                  </a:lnTo>
                  <a:lnTo>
                    <a:pt x="168" y="2362"/>
                  </a:lnTo>
                  <a:lnTo>
                    <a:pt x="169" y="2362"/>
                  </a:lnTo>
                  <a:lnTo>
                    <a:pt x="173" y="2363"/>
                  </a:lnTo>
                  <a:lnTo>
                    <a:pt x="176" y="2363"/>
                  </a:lnTo>
                  <a:lnTo>
                    <a:pt x="178" y="2363"/>
                  </a:lnTo>
                  <a:lnTo>
                    <a:pt x="178" y="2362"/>
                  </a:lnTo>
                  <a:lnTo>
                    <a:pt x="179" y="2362"/>
                  </a:lnTo>
                  <a:lnTo>
                    <a:pt x="179" y="2360"/>
                  </a:lnTo>
                  <a:lnTo>
                    <a:pt x="181" y="2360"/>
                  </a:lnTo>
                  <a:lnTo>
                    <a:pt x="182" y="2360"/>
                  </a:lnTo>
                  <a:lnTo>
                    <a:pt x="182" y="2362"/>
                  </a:lnTo>
                  <a:lnTo>
                    <a:pt x="184" y="2362"/>
                  </a:lnTo>
                  <a:lnTo>
                    <a:pt x="182" y="2363"/>
                  </a:lnTo>
                  <a:lnTo>
                    <a:pt x="182" y="2365"/>
                  </a:lnTo>
                  <a:lnTo>
                    <a:pt x="184" y="2367"/>
                  </a:lnTo>
                  <a:lnTo>
                    <a:pt x="184" y="2368"/>
                  </a:lnTo>
                  <a:lnTo>
                    <a:pt x="186" y="2368"/>
                  </a:lnTo>
                  <a:lnTo>
                    <a:pt x="187" y="2368"/>
                  </a:lnTo>
                  <a:lnTo>
                    <a:pt x="189" y="2368"/>
                  </a:lnTo>
                  <a:lnTo>
                    <a:pt x="191" y="2368"/>
                  </a:lnTo>
                  <a:lnTo>
                    <a:pt x="191" y="2367"/>
                  </a:lnTo>
                  <a:lnTo>
                    <a:pt x="191" y="2365"/>
                  </a:lnTo>
                  <a:lnTo>
                    <a:pt x="192" y="2365"/>
                  </a:lnTo>
                  <a:lnTo>
                    <a:pt x="194" y="2363"/>
                  </a:lnTo>
                  <a:lnTo>
                    <a:pt x="195" y="2363"/>
                  </a:lnTo>
                  <a:lnTo>
                    <a:pt x="197" y="2362"/>
                  </a:lnTo>
                  <a:lnTo>
                    <a:pt x="200" y="2362"/>
                  </a:lnTo>
                  <a:lnTo>
                    <a:pt x="202" y="2360"/>
                  </a:lnTo>
                  <a:lnTo>
                    <a:pt x="204" y="2360"/>
                  </a:lnTo>
                  <a:lnTo>
                    <a:pt x="205" y="2360"/>
                  </a:lnTo>
                  <a:lnTo>
                    <a:pt x="208" y="2360"/>
                  </a:lnTo>
                  <a:lnTo>
                    <a:pt x="212" y="2360"/>
                  </a:lnTo>
                  <a:lnTo>
                    <a:pt x="215" y="2360"/>
                  </a:lnTo>
                  <a:lnTo>
                    <a:pt x="217" y="2360"/>
                  </a:lnTo>
                  <a:lnTo>
                    <a:pt x="218" y="2360"/>
                  </a:lnTo>
                  <a:lnTo>
                    <a:pt x="220" y="2360"/>
                  </a:lnTo>
                  <a:lnTo>
                    <a:pt x="225" y="2357"/>
                  </a:lnTo>
                  <a:lnTo>
                    <a:pt x="228" y="2355"/>
                  </a:lnTo>
                  <a:lnTo>
                    <a:pt x="228" y="2357"/>
                  </a:lnTo>
                  <a:lnTo>
                    <a:pt x="228" y="2358"/>
                  </a:lnTo>
                  <a:lnTo>
                    <a:pt x="230" y="2360"/>
                  </a:lnTo>
                  <a:lnTo>
                    <a:pt x="230" y="2362"/>
                  </a:lnTo>
                  <a:lnTo>
                    <a:pt x="231" y="2363"/>
                  </a:lnTo>
                  <a:lnTo>
                    <a:pt x="233" y="2363"/>
                  </a:lnTo>
                  <a:lnTo>
                    <a:pt x="233" y="2367"/>
                  </a:lnTo>
                  <a:lnTo>
                    <a:pt x="234" y="2367"/>
                  </a:lnTo>
                  <a:lnTo>
                    <a:pt x="234" y="2368"/>
                  </a:lnTo>
                  <a:lnTo>
                    <a:pt x="236" y="2368"/>
                  </a:lnTo>
                  <a:lnTo>
                    <a:pt x="236" y="2367"/>
                  </a:lnTo>
                  <a:lnTo>
                    <a:pt x="236" y="2365"/>
                  </a:lnTo>
                  <a:lnTo>
                    <a:pt x="238" y="2367"/>
                  </a:lnTo>
                  <a:lnTo>
                    <a:pt x="239" y="2368"/>
                  </a:lnTo>
                  <a:lnTo>
                    <a:pt x="239" y="2367"/>
                  </a:lnTo>
                  <a:lnTo>
                    <a:pt x="241" y="2368"/>
                  </a:lnTo>
                  <a:lnTo>
                    <a:pt x="243" y="2368"/>
                  </a:lnTo>
                  <a:lnTo>
                    <a:pt x="243" y="2370"/>
                  </a:lnTo>
                  <a:lnTo>
                    <a:pt x="244" y="2371"/>
                  </a:lnTo>
                  <a:lnTo>
                    <a:pt x="246" y="2371"/>
                  </a:lnTo>
                  <a:lnTo>
                    <a:pt x="244" y="2373"/>
                  </a:lnTo>
                  <a:lnTo>
                    <a:pt x="246" y="2375"/>
                  </a:lnTo>
                  <a:lnTo>
                    <a:pt x="246" y="2373"/>
                  </a:lnTo>
                  <a:lnTo>
                    <a:pt x="247" y="2373"/>
                  </a:lnTo>
                  <a:lnTo>
                    <a:pt x="247" y="2375"/>
                  </a:lnTo>
                  <a:lnTo>
                    <a:pt x="249" y="2375"/>
                  </a:lnTo>
                  <a:lnTo>
                    <a:pt x="249" y="2376"/>
                  </a:lnTo>
                  <a:lnTo>
                    <a:pt x="249" y="2375"/>
                  </a:lnTo>
                  <a:lnTo>
                    <a:pt x="251" y="2375"/>
                  </a:lnTo>
                  <a:lnTo>
                    <a:pt x="252" y="2375"/>
                  </a:lnTo>
                  <a:lnTo>
                    <a:pt x="252" y="2376"/>
                  </a:lnTo>
                  <a:lnTo>
                    <a:pt x="254" y="2376"/>
                  </a:lnTo>
                  <a:lnTo>
                    <a:pt x="254" y="2378"/>
                  </a:lnTo>
                  <a:lnTo>
                    <a:pt x="254" y="2380"/>
                  </a:lnTo>
                  <a:lnTo>
                    <a:pt x="254" y="2381"/>
                  </a:lnTo>
                  <a:lnTo>
                    <a:pt x="256" y="2381"/>
                  </a:lnTo>
                  <a:lnTo>
                    <a:pt x="256" y="2383"/>
                  </a:lnTo>
                  <a:lnTo>
                    <a:pt x="256" y="2384"/>
                  </a:lnTo>
                  <a:lnTo>
                    <a:pt x="257" y="2384"/>
                  </a:lnTo>
                  <a:lnTo>
                    <a:pt x="257" y="2386"/>
                  </a:lnTo>
                  <a:lnTo>
                    <a:pt x="259" y="2386"/>
                  </a:lnTo>
                  <a:lnTo>
                    <a:pt x="259" y="2388"/>
                  </a:lnTo>
                  <a:lnTo>
                    <a:pt x="257" y="2388"/>
                  </a:lnTo>
                  <a:lnTo>
                    <a:pt x="257" y="2389"/>
                  </a:lnTo>
                  <a:lnTo>
                    <a:pt x="259" y="2389"/>
                  </a:lnTo>
                  <a:lnTo>
                    <a:pt x="259" y="2391"/>
                  </a:lnTo>
                  <a:lnTo>
                    <a:pt x="257" y="2391"/>
                  </a:lnTo>
                  <a:lnTo>
                    <a:pt x="256" y="2391"/>
                  </a:lnTo>
                  <a:lnTo>
                    <a:pt x="257" y="2393"/>
                  </a:lnTo>
                  <a:lnTo>
                    <a:pt x="256" y="2393"/>
                  </a:lnTo>
                  <a:lnTo>
                    <a:pt x="257" y="2393"/>
                  </a:lnTo>
                  <a:lnTo>
                    <a:pt x="256" y="2394"/>
                  </a:lnTo>
                  <a:lnTo>
                    <a:pt x="254" y="2394"/>
                  </a:lnTo>
                  <a:lnTo>
                    <a:pt x="254" y="2396"/>
                  </a:lnTo>
                  <a:lnTo>
                    <a:pt x="252" y="2397"/>
                  </a:lnTo>
                  <a:lnTo>
                    <a:pt x="252" y="2396"/>
                  </a:lnTo>
                  <a:lnTo>
                    <a:pt x="252" y="2397"/>
                  </a:lnTo>
                  <a:lnTo>
                    <a:pt x="252" y="2396"/>
                  </a:lnTo>
                  <a:lnTo>
                    <a:pt x="252" y="2397"/>
                  </a:lnTo>
                  <a:lnTo>
                    <a:pt x="251" y="2397"/>
                  </a:lnTo>
                  <a:lnTo>
                    <a:pt x="251" y="2399"/>
                  </a:lnTo>
                  <a:lnTo>
                    <a:pt x="249" y="2401"/>
                  </a:lnTo>
                  <a:lnTo>
                    <a:pt x="249" y="2402"/>
                  </a:lnTo>
                  <a:lnTo>
                    <a:pt x="247" y="2402"/>
                  </a:lnTo>
                  <a:lnTo>
                    <a:pt x="249" y="2404"/>
                  </a:lnTo>
                  <a:lnTo>
                    <a:pt x="247" y="2404"/>
                  </a:lnTo>
                  <a:lnTo>
                    <a:pt x="249" y="2404"/>
                  </a:lnTo>
                  <a:lnTo>
                    <a:pt x="247" y="2406"/>
                  </a:lnTo>
                  <a:lnTo>
                    <a:pt x="249" y="2406"/>
                  </a:lnTo>
                  <a:lnTo>
                    <a:pt x="249" y="2407"/>
                  </a:lnTo>
                  <a:lnTo>
                    <a:pt x="251" y="2407"/>
                  </a:lnTo>
                  <a:lnTo>
                    <a:pt x="251" y="2409"/>
                  </a:lnTo>
                  <a:lnTo>
                    <a:pt x="249" y="2409"/>
                  </a:lnTo>
                  <a:lnTo>
                    <a:pt x="249" y="2410"/>
                  </a:lnTo>
                  <a:lnTo>
                    <a:pt x="251" y="2410"/>
                  </a:lnTo>
                  <a:lnTo>
                    <a:pt x="252" y="2410"/>
                  </a:lnTo>
                  <a:lnTo>
                    <a:pt x="252" y="2412"/>
                  </a:lnTo>
                  <a:lnTo>
                    <a:pt x="252" y="2414"/>
                  </a:lnTo>
                  <a:lnTo>
                    <a:pt x="251" y="2414"/>
                  </a:lnTo>
                  <a:lnTo>
                    <a:pt x="251" y="2415"/>
                  </a:lnTo>
                  <a:lnTo>
                    <a:pt x="251" y="2417"/>
                  </a:lnTo>
                  <a:lnTo>
                    <a:pt x="251" y="2419"/>
                  </a:lnTo>
                  <a:lnTo>
                    <a:pt x="249" y="2419"/>
                  </a:lnTo>
                  <a:lnTo>
                    <a:pt x="249" y="2420"/>
                  </a:lnTo>
                  <a:lnTo>
                    <a:pt x="247" y="2422"/>
                  </a:lnTo>
                  <a:lnTo>
                    <a:pt x="249" y="2424"/>
                  </a:lnTo>
                  <a:lnTo>
                    <a:pt x="251" y="2425"/>
                  </a:lnTo>
                  <a:lnTo>
                    <a:pt x="251" y="2427"/>
                  </a:lnTo>
                  <a:lnTo>
                    <a:pt x="249" y="2428"/>
                  </a:lnTo>
                  <a:lnTo>
                    <a:pt x="247" y="2430"/>
                  </a:lnTo>
                  <a:lnTo>
                    <a:pt x="249" y="2432"/>
                  </a:lnTo>
                  <a:lnTo>
                    <a:pt x="251" y="2433"/>
                  </a:lnTo>
                  <a:lnTo>
                    <a:pt x="251" y="2435"/>
                  </a:lnTo>
                  <a:lnTo>
                    <a:pt x="252" y="2437"/>
                  </a:lnTo>
                  <a:lnTo>
                    <a:pt x="252" y="2440"/>
                  </a:lnTo>
                  <a:lnTo>
                    <a:pt x="252" y="2441"/>
                  </a:lnTo>
                  <a:lnTo>
                    <a:pt x="254" y="2441"/>
                  </a:lnTo>
                  <a:lnTo>
                    <a:pt x="256" y="2441"/>
                  </a:lnTo>
                  <a:lnTo>
                    <a:pt x="257" y="2445"/>
                  </a:lnTo>
                  <a:lnTo>
                    <a:pt x="260" y="2450"/>
                  </a:lnTo>
                  <a:lnTo>
                    <a:pt x="260" y="2451"/>
                  </a:lnTo>
                  <a:lnTo>
                    <a:pt x="262" y="2451"/>
                  </a:lnTo>
                  <a:lnTo>
                    <a:pt x="252" y="2454"/>
                  </a:lnTo>
                  <a:lnTo>
                    <a:pt x="251" y="2456"/>
                  </a:lnTo>
                  <a:lnTo>
                    <a:pt x="234" y="2459"/>
                  </a:lnTo>
                  <a:lnTo>
                    <a:pt x="233" y="2459"/>
                  </a:lnTo>
                  <a:lnTo>
                    <a:pt x="230" y="2461"/>
                  </a:lnTo>
                  <a:lnTo>
                    <a:pt x="225" y="2461"/>
                  </a:lnTo>
                  <a:lnTo>
                    <a:pt x="223" y="2463"/>
                  </a:lnTo>
                  <a:lnTo>
                    <a:pt x="217" y="2463"/>
                  </a:lnTo>
                  <a:lnTo>
                    <a:pt x="215" y="2464"/>
                  </a:lnTo>
                  <a:lnTo>
                    <a:pt x="213" y="2464"/>
                  </a:lnTo>
                  <a:lnTo>
                    <a:pt x="210" y="2466"/>
                  </a:lnTo>
                  <a:lnTo>
                    <a:pt x="205" y="2466"/>
                  </a:lnTo>
                  <a:lnTo>
                    <a:pt x="202" y="2466"/>
                  </a:lnTo>
                  <a:lnTo>
                    <a:pt x="197" y="2467"/>
                  </a:lnTo>
                  <a:lnTo>
                    <a:pt x="194" y="2467"/>
                  </a:lnTo>
                  <a:lnTo>
                    <a:pt x="192" y="2469"/>
                  </a:lnTo>
                  <a:lnTo>
                    <a:pt x="181" y="2471"/>
                  </a:lnTo>
                  <a:lnTo>
                    <a:pt x="169" y="2474"/>
                  </a:lnTo>
                  <a:lnTo>
                    <a:pt x="168" y="2474"/>
                  </a:lnTo>
                  <a:lnTo>
                    <a:pt x="163" y="2474"/>
                  </a:lnTo>
                  <a:lnTo>
                    <a:pt x="163" y="2476"/>
                  </a:lnTo>
                  <a:lnTo>
                    <a:pt x="161" y="2476"/>
                  </a:lnTo>
                  <a:lnTo>
                    <a:pt x="160" y="2476"/>
                  </a:lnTo>
                  <a:lnTo>
                    <a:pt x="155" y="2476"/>
                  </a:lnTo>
                  <a:lnTo>
                    <a:pt x="153" y="2477"/>
                  </a:lnTo>
                  <a:lnTo>
                    <a:pt x="152" y="2477"/>
                  </a:lnTo>
                  <a:lnTo>
                    <a:pt x="152" y="2476"/>
                  </a:lnTo>
                  <a:lnTo>
                    <a:pt x="148" y="2477"/>
                  </a:lnTo>
                  <a:lnTo>
                    <a:pt x="147" y="2476"/>
                  </a:lnTo>
                  <a:lnTo>
                    <a:pt x="143" y="2477"/>
                  </a:lnTo>
                  <a:lnTo>
                    <a:pt x="142" y="2477"/>
                  </a:lnTo>
                  <a:lnTo>
                    <a:pt x="140" y="2477"/>
                  </a:lnTo>
                  <a:lnTo>
                    <a:pt x="138" y="2477"/>
                  </a:lnTo>
                  <a:lnTo>
                    <a:pt x="137" y="2479"/>
                  </a:lnTo>
                  <a:lnTo>
                    <a:pt x="132" y="2477"/>
                  </a:lnTo>
                  <a:lnTo>
                    <a:pt x="129" y="2477"/>
                  </a:lnTo>
                  <a:lnTo>
                    <a:pt x="127" y="2477"/>
                  </a:lnTo>
                  <a:lnTo>
                    <a:pt x="119" y="2477"/>
                  </a:lnTo>
                  <a:lnTo>
                    <a:pt x="119" y="2479"/>
                  </a:lnTo>
                  <a:lnTo>
                    <a:pt x="117" y="2479"/>
                  </a:lnTo>
                  <a:lnTo>
                    <a:pt x="116" y="2477"/>
                  </a:lnTo>
                  <a:lnTo>
                    <a:pt x="103" y="2479"/>
                  </a:lnTo>
                  <a:lnTo>
                    <a:pt x="99" y="2479"/>
                  </a:lnTo>
                  <a:lnTo>
                    <a:pt x="93" y="2479"/>
                  </a:lnTo>
                  <a:lnTo>
                    <a:pt x="91" y="2479"/>
                  </a:lnTo>
                  <a:lnTo>
                    <a:pt x="86" y="2479"/>
                  </a:lnTo>
                  <a:lnTo>
                    <a:pt x="83" y="2480"/>
                  </a:lnTo>
                  <a:lnTo>
                    <a:pt x="82" y="2480"/>
                  </a:lnTo>
                  <a:lnTo>
                    <a:pt x="80" y="2479"/>
                  </a:lnTo>
                  <a:lnTo>
                    <a:pt x="67" y="2480"/>
                  </a:lnTo>
                  <a:lnTo>
                    <a:pt x="54" y="2479"/>
                  </a:lnTo>
                  <a:lnTo>
                    <a:pt x="47" y="2479"/>
                  </a:lnTo>
                  <a:lnTo>
                    <a:pt x="38" y="2479"/>
                  </a:lnTo>
                  <a:lnTo>
                    <a:pt x="31" y="2480"/>
                  </a:lnTo>
                  <a:lnTo>
                    <a:pt x="23" y="2480"/>
                  </a:lnTo>
                  <a:lnTo>
                    <a:pt x="13" y="2479"/>
                  </a:lnTo>
                  <a:lnTo>
                    <a:pt x="15" y="2477"/>
                  </a:lnTo>
                  <a:lnTo>
                    <a:pt x="15" y="2476"/>
                  </a:lnTo>
                  <a:lnTo>
                    <a:pt x="17" y="2476"/>
                  </a:lnTo>
                  <a:lnTo>
                    <a:pt x="18" y="2474"/>
                  </a:lnTo>
                  <a:lnTo>
                    <a:pt x="18" y="2472"/>
                  </a:lnTo>
                  <a:lnTo>
                    <a:pt x="20" y="2472"/>
                  </a:lnTo>
                  <a:lnTo>
                    <a:pt x="21" y="2472"/>
                  </a:lnTo>
                  <a:lnTo>
                    <a:pt x="23" y="2472"/>
                  </a:lnTo>
                  <a:lnTo>
                    <a:pt x="23" y="2471"/>
                  </a:lnTo>
                  <a:lnTo>
                    <a:pt x="25" y="2471"/>
                  </a:lnTo>
                  <a:lnTo>
                    <a:pt x="25" y="2469"/>
                  </a:lnTo>
                  <a:lnTo>
                    <a:pt x="25" y="2466"/>
                  </a:lnTo>
                  <a:lnTo>
                    <a:pt x="25" y="2463"/>
                  </a:lnTo>
                  <a:lnTo>
                    <a:pt x="26" y="2463"/>
                  </a:lnTo>
                  <a:lnTo>
                    <a:pt x="26" y="2461"/>
                  </a:lnTo>
                  <a:lnTo>
                    <a:pt x="26" y="2459"/>
                  </a:lnTo>
                  <a:lnTo>
                    <a:pt x="28" y="2458"/>
                  </a:lnTo>
                  <a:lnTo>
                    <a:pt x="30" y="2458"/>
                  </a:lnTo>
                  <a:lnTo>
                    <a:pt x="30" y="2459"/>
                  </a:lnTo>
                  <a:lnTo>
                    <a:pt x="31" y="2459"/>
                  </a:lnTo>
                  <a:lnTo>
                    <a:pt x="33" y="2461"/>
                  </a:lnTo>
                  <a:lnTo>
                    <a:pt x="34" y="2461"/>
                  </a:lnTo>
                  <a:lnTo>
                    <a:pt x="36" y="2461"/>
                  </a:lnTo>
                  <a:lnTo>
                    <a:pt x="36" y="2459"/>
                  </a:lnTo>
                  <a:lnTo>
                    <a:pt x="38" y="2458"/>
                  </a:lnTo>
                  <a:lnTo>
                    <a:pt x="39" y="2456"/>
                  </a:lnTo>
                  <a:lnTo>
                    <a:pt x="39" y="2454"/>
                  </a:lnTo>
                  <a:lnTo>
                    <a:pt x="41" y="2453"/>
                  </a:lnTo>
                  <a:lnTo>
                    <a:pt x="44" y="2451"/>
                  </a:lnTo>
                  <a:lnTo>
                    <a:pt x="46" y="2451"/>
                  </a:lnTo>
                  <a:lnTo>
                    <a:pt x="46" y="2450"/>
                  </a:lnTo>
                  <a:lnTo>
                    <a:pt x="47" y="2450"/>
                  </a:lnTo>
                  <a:lnTo>
                    <a:pt x="49" y="2450"/>
                  </a:lnTo>
                  <a:lnTo>
                    <a:pt x="49" y="2448"/>
                  </a:lnTo>
                  <a:lnTo>
                    <a:pt x="51" y="2448"/>
                  </a:lnTo>
                  <a:lnTo>
                    <a:pt x="51" y="2446"/>
                  </a:lnTo>
                  <a:lnTo>
                    <a:pt x="51" y="2445"/>
                  </a:lnTo>
                  <a:lnTo>
                    <a:pt x="52" y="2445"/>
                  </a:lnTo>
                  <a:lnTo>
                    <a:pt x="52" y="2443"/>
                  </a:lnTo>
                  <a:lnTo>
                    <a:pt x="54" y="2441"/>
                  </a:lnTo>
                  <a:lnTo>
                    <a:pt x="54" y="2443"/>
                  </a:lnTo>
                  <a:lnTo>
                    <a:pt x="52" y="2443"/>
                  </a:lnTo>
                  <a:lnTo>
                    <a:pt x="54" y="2443"/>
                  </a:lnTo>
                  <a:lnTo>
                    <a:pt x="56" y="2443"/>
                  </a:lnTo>
                  <a:lnTo>
                    <a:pt x="57" y="2441"/>
                  </a:lnTo>
                  <a:lnTo>
                    <a:pt x="57" y="2440"/>
                  </a:lnTo>
                  <a:lnTo>
                    <a:pt x="56" y="2440"/>
                  </a:lnTo>
                  <a:lnTo>
                    <a:pt x="56" y="2438"/>
                  </a:lnTo>
                  <a:lnTo>
                    <a:pt x="57" y="2438"/>
                  </a:lnTo>
                  <a:lnTo>
                    <a:pt x="60" y="2437"/>
                  </a:lnTo>
                  <a:lnTo>
                    <a:pt x="60" y="2438"/>
                  </a:lnTo>
                  <a:lnTo>
                    <a:pt x="60" y="2437"/>
                  </a:lnTo>
                  <a:lnTo>
                    <a:pt x="62" y="2437"/>
                  </a:lnTo>
                  <a:lnTo>
                    <a:pt x="62" y="2435"/>
                  </a:lnTo>
                  <a:lnTo>
                    <a:pt x="62" y="2437"/>
                  </a:lnTo>
                  <a:lnTo>
                    <a:pt x="62" y="2435"/>
                  </a:lnTo>
                  <a:lnTo>
                    <a:pt x="64" y="2435"/>
                  </a:lnTo>
                  <a:lnTo>
                    <a:pt x="62" y="2435"/>
                  </a:lnTo>
                  <a:lnTo>
                    <a:pt x="62" y="2437"/>
                  </a:lnTo>
                  <a:lnTo>
                    <a:pt x="60" y="2437"/>
                  </a:lnTo>
                  <a:lnTo>
                    <a:pt x="59" y="2437"/>
                  </a:lnTo>
                  <a:lnTo>
                    <a:pt x="57" y="2438"/>
                  </a:lnTo>
                  <a:lnTo>
                    <a:pt x="56" y="2438"/>
                  </a:lnTo>
                  <a:lnTo>
                    <a:pt x="54" y="2438"/>
                  </a:lnTo>
                  <a:lnTo>
                    <a:pt x="52" y="2440"/>
                  </a:lnTo>
                  <a:lnTo>
                    <a:pt x="51" y="2440"/>
                  </a:lnTo>
                  <a:lnTo>
                    <a:pt x="49" y="2438"/>
                  </a:lnTo>
                  <a:lnTo>
                    <a:pt x="49" y="2440"/>
                  </a:lnTo>
                  <a:lnTo>
                    <a:pt x="47" y="2440"/>
                  </a:lnTo>
                  <a:lnTo>
                    <a:pt x="47" y="2438"/>
                  </a:lnTo>
                  <a:lnTo>
                    <a:pt x="47" y="2440"/>
                  </a:lnTo>
                  <a:lnTo>
                    <a:pt x="46" y="2440"/>
                  </a:lnTo>
                  <a:lnTo>
                    <a:pt x="44" y="2440"/>
                  </a:lnTo>
                  <a:lnTo>
                    <a:pt x="43" y="2440"/>
                  </a:lnTo>
                  <a:lnTo>
                    <a:pt x="41" y="2440"/>
                  </a:lnTo>
                  <a:lnTo>
                    <a:pt x="39" y="2440"/>
                  </a:lnTo>
                  <a:lnTo>
                    <a:pt x="39" y="2441"/>
                  </a:lnTo>
                  <a:lnTo>
                    <a:pt x="38" y="2441"/>
                  </a:lnTo>
                  <a:lnTo>
                    <a:pt x="38" y="2443"/>
                  </a:lnTo>
                  <a:lnTo>
                    <a:pt x="36" y="2443"/>
                  </a:lnTo>
                  <a:lnTo>
                    <a:pt x="36" y="2445"/>
                  </a:lnTo>
                  <a:lnTo>
                    <a:pt x="36" y="2446"/>
                  </a:lnTo>
                  <a:lnTo>
                    <a:pt x="34" y="2446"/>
                  </a:lnTo>
                  <a:lnTo>
                    <a:pt x="33" y="2446"/>
                  </a:lnTo>
                  <a:lnTo>
                    <a:pt x="31" y="2445"/>
                  </a:lnTo>
                  <a:lnTo>
                    <a:pt x="31" y="2443"/>
                  </a:lnTo>
                  <a:lnTo>
                    <a:pt x="30" y="2441"/>
                  </a:lnTo>
                  <a:lnTo>
                    <a:pt x="30" y="2440"/>
                  </a:lnTo>
                  <a:lnTo>
                    <a:pt x="30" y="2438"/>
                  </a:lnTo>
                  <a:lnTo>
                    <a:pt x="28" y="2437"/>
                  </a:lnTo>
                  <a:lnTo>
                    <a:pt x="26" y="2437"/>
                  </a:lnTo>
                  <a:lnTo>
                    <a:pt x="25" y="2437"/>
                  </a:lnTo>
                  <a:lnTo>
                    <a:pt x="23" y="2438"/>
                  </a:lnTo>
                  <a:lnTo>
                    <a:pt x="21" y="2438"/>
                  </a:lnTo>
                  <a:lnTo>
                    <a:pt x="21" y="2440"/>
                  </a:lnTo>
                  <a:lnTo>
                    <a:pt x="21" y="2441"/>
                  </a:lnTo>
                  <a:lnTo>
                    <a:pt x="20" y="2441"/>
                  </a:lnTo>
                  <a:lnTo>
                    <a:pt x="21" y="2441"/>
                  </a:lnTo>
                  <a:lnTo>
                    <a:pt x="20" y="2443"/>
                  </a:lnTo>
                  <a:lnTo>
                    <a:pt x="21" y="2443"/>
                  </a:lnTo>
                  <a:lnTo>
                    <a:pt x="21" y="2445"/>
                  </a:lnTo>
                  <a:lnTo>
                    <a:pt x="21" y="2446"/>
                  </a:lnTo>
                  <a:lnTo>
                    <a:pt x="21" y="2448"/>
                  </a:lnTo>
                  <a:lnTo>
                    <a:pt x="21" y="2450"/>
                  </a:lnTo>
                  <a:lnTo>
                    <a:pt x="23" y="2450"/>
                  </a:lnTo>
                  <a:lnTo>
                    <a:pt x="21" y="2451"/>
                  </a:lnTo>
                  <a:lnTo>
                    <a:pt x="20" y="2451"/>
                  </a:lnTo>
                  <a:lnTo>
                    <a:pt x="18" y="2451"/>
                  </a:lnTo>
                  <a:lnTo>
                    <a:pt x="20" y="2451"/>
                  </a:lnTo>
                  <a:lnTo>
                    <a:pt x="18" y="2450"/>
                  </a:lnTo>
                  <a:lnTo>
                    <a:pt x="18" y="2451"/>
                  </a:lnTo>
                  <a:lnTo>
                    <a:pt x="17" y="2451"/>
                  </a:lnTo>
                  <a:lnTo>
                    <a:pt x="17" y="2450"/>
                  </a:lnTo>
                  <a:lnTo>
                    <a:pt x="15" y="2450"/>
                  </a:lnTo>
                  <a:lnTo>
                    <a:pt x="17" y="2450"/>
                  </a:lnTo>
                  <a:lnTo>
                    <a:pt x="17" y="2448"/>
                  </a:lnTo>
                  <a:lnTo>
                    <a:pt x="18" y="2446"/>
                  </a:lnTo>
                  <a:lnTo>
                    <a:pt x="18" y="2445"/>
                  </a:lnTo>
                  <a:lnTo>
                    <a:pt x="18" y="2443"/>
                  </a:lnTo>
                  <a:lnTo>
                    <a:pt x="20" y="2440"/>
                  </a:lnTo>
                  <a:lnTo>
                    <a:pt x="20" y="2437"/>
                  </a:lnTo>
                  <a:lnTo>
                    <a:pt x="20" y="2432"/>
                  </a:lnTo>
                  <a:lnTo>
                    <a:pt x="20" y="2430"/>
                  </a:lnTo>
                  <a:lnTo>
                    <a:pt x="20" y="2428"/>
                  </a:lnTo>
                  <a:lnTo>
                    <a:pt x="20" y="2425"/>
                  </a:lnTo>
                  <a:lnTo>
                    <a:pt x="18" y="2425"/>
                  </a:lnTo>
                  <a:lnTo>
                    <a:pt x="18" y="2424"/>
                  </a:lnTo>
                  <a:lnTo>
                    <a:pt x="18" y="2420"/>
                  </a:lnTo>
                  <a:lnTo>
                    <a:pt x="17" y="2420"/>
                  </a:lnTo>
                  <a:lnTo>
                    <a:pt x="17" y="2419"/>
                  </a:lnTo>
                  <a:lnTo>
                    <a:pt x="17" y="2415"/>
                  </a:lnTo>
                  <a:lnTo>
                    <a:pt x="15" y="2414"/>
                  </a:lnTo>
                  <a:lnTo>
                    <a:pt x="15" y="2412"/>
                  </a:lnTo>
                  <a:lnTo>
                    <a:pt x="15" y="2410"/>
                  </a:lnTo>
                  <a:lnTo>
                    <a:pt x="17" y="2410"/>
                  </a:lnTo>
                  <a:lnTo>
                    <a:pt x="17" y="2409"/>
                  </a:lnTo>
                  <a:lnTo>
                    <a:pt x="17" y="2407"/>
                  </a:lnTo>
                  <a:lnTo>
                    <a:pt x="17" y="2406"/>
                  </a:lnTo>
                  <a:lnTo>
                    <a:pt x="18" y="2406"/>
                  </a:lnTo>
                  <a:lnTo>
                    <a:pt x="18" y="2404"/>
                  </a:lnTo>
                  <a:lnTo>
                    <a:pt x="20" y="2404"/>
                  </a:lnTo>
                  <a:lnTo>
                    <a:pt x="21" y="2406"/>
                  </a:lnTo>
                  <a:lnTo>
                    <a:pt x="23" y="2406"/>
                  </a:lnTo>
                  <a:lnTo>
                    <a:pt x="26" y="2404"/>
                  </a:lnTo>
                  <a:lnTo>
                    <a:pt x="28" y="2404"/>
                  </a:lnTo>
                  <a:lnTo>
                    <a:pt x="31" y="2404"/>
                  </a:lnTo>
                  <a:lnTo>
                    <a:pt x="33" y="2404"/>
                  </a:lnTo>
                  <a:lnTo>
                    <a:pt x="34" y="2402"/>
                  </a:lnTo>
                  <a:lnTo>
                    <a:pt x="36" y="2402"/>
                  </a:lnTo>
                  <a:lnTo>
                    <a:pt x="36" y="2401"/>
                  </a:lnTo>
                  <a:lnTo>
                    <a:pt x="38" y="2402"/>
                  </a:lnTo>
                  <a:lnTo>
                    <a:pt x="39" y="2401"/>
                  </a:lnTo>
                  <a:lnTo>
                    <a:pt x="41" y="2401"/>
                  </a:lnTo>
                  <a:lnTo>
                    <a:pt x="43" y="2401"/>
                  </a:lnTo>
                  <a:lnTo>
                    <a:pt x="44" y="2402"/>
                  </a:lnTo>
                  <a:lnTo>
                    <a:pt x="46" y="2402"/>
                  </a:lnTo>
                  <a:lnTo>
                    <a:pt x="47" y="2402"/>
                  </a:lnTo>
                  <a:lnTo>
                    <a:pt x="49" y="2402"/>
                  </a:lnTo>
                  <a:lnTo>
                    <a:pt x="51" y="2402"/>
                  </a:lnTo>
                  <a:lnTo>
                    <a:pt x="52" y="2402"/>
                  </a:lnTo>
                  <a:lnTo>
                    <a:pt x="56" y="2401"/>
                  </a:lnTo>
                  <a:lnTo>
                    <a:pt x="57" y="2399"/>
                  </a:lnTo>
                  <a:lnTo>
                    <a:pt x="59" y="2397"/>
                  </a:lnTo>
                  <a:lnTo>
                    <a:pt x="60" y="2397"/>
                  </a:lnTo>
                  <a:lnTo>
                    <a:pt x="64" y="2394"/>
                  </a:lnTo>
                  <a:lnTo>
                    <a:pt x="65" y="2391"/>
                  </a:lnTo>
                  <a:lnTo>
                    <a:pt x="67" y="2389"/>
                  </a:lnTo>
                  <a:lnTo>
                    <a:pt x="69" y="2388"/>
                  </a:lnTo>
                  <a:lnTo>
                    <a:pt x="73" y="2383"/>
                  </a:lnTo>
                  <a:lnTo>
                    <a:pt x="75" y="2378"/>
                  </a:lnTo>
                  <a:lnTo>
                    <a:pt x="77" y="2375"/>
                  </a:lnTo>
                  <a:lnTo>
                    <a:pt x="80" y="2368"/>
                  </a:lnTo>
                  <a:lnTo>
                    <a:pt x="85" y="2360"/>
                  </a:lnTo>
                  <a:lnTo>
                    <a:pt x="85" y="2357"/>
                  </a:lnTo>
                  <a:lnTo>
                    <a:pt x="90" y="2350"/>
                  </a:lnTo>
                  <a:lnTo>
                    <a:pt x="90" y="2347"/>
                  </a:lnTo>
                  <a:lnTo>
                    <a:pt x="93" y="2347"/>
                  </a:lnTo>
                  <a:lnTo>
                    <a:pt x="95" y="2349"/>
                  </a:lnTo>
                  <a:lnTo>
                    <a:pt x="93" y="2349"/>
                  </a:lnTo>
                  <a:lnTo>
                    <a:pt x="93" y="2350"/>
                  </a:lnTo>
                  <a:lnTo>
                    <a:pt x="91" y="2350"/>
                  </a:lnTo>
                  <a:lnTo>
                    <a:pt x="91" y="2352"/>
                  </a:lnTo>
                  <a:lnTo>
                    <a:pt x="90" y="2352"/>
                  </a:lnTo>
                  <a:lnTo>
                    <a:pt x="91" y="2354"/>
                  </a:lnTo>
                  <a:lnTo>
                    <a:pt x="90" y="2354"/>
                  </a:lnTo>
                  <a:lnTo>
                    <a:pt x="88" y="2355"/>
                  </a:lnTo>
                  <a:lnTo>
                    <a:pt x="88" y="2358"/>
                  </a:lnTo>
                  <a:lnTo>
                    <a:pt x="86" y="2360"/>
                  </a:lnTo>
                  <a:lnTo>
                    <a:pt x="86" y="2362"/>
                  </a:lnTo>
                  <a:lnTo>
                    <a:pt x="85" y="2365"/>
                  </a:lnTo>
                  <a:lnTo>
                    <a:pt x="86" y="2367"/>
                  </a:lnTo>
                  <a:lnTo>
                    <a:pt x="85" y="2368"/>
                  </a:lnTo>
                  <a:lnTo>
                    <a:pt x="82" y="2370"/>
                  </a:lnTo>
                  <a:lnTo>
                    <a:pt x="80" y="2373"/>
                  </a:lnTo>
                  <a:lnTo>
                    <a:pt x="78" y="2375"/>
                  </a:lnTo>
                  <a:lnTo>
                    <a:pt x="78" y="2376"/>
                  </a:lnTo>
                  <a:lnTo>
                    <a:pt x="77" y="2378"/>
                  </a:lnTo>
                  <a:lnTo>
                    <a:pt x="77" y="2380"/>
                  </a:lnTo>
                  <a:lnTo>
                    <a:pt x="75" y="2381"/>
                  </a:lnTo>
                  <a:lnTo>
                    <a:pt x="73" y="2383"/>
                  </a:lnTo>
                  <a:lnTo>
                    <a:pt x="73" y="2384"/>
                  </a:lnTo>
                  <a:lnTo>
                    <a:pt x="72" y="2386"/>
                  </a:lnTo>
                  <a:lnTo>
                    <a:pt x="70" y="2386"/>
                  </a:lnTo>
                  <a:lnTo>
                    <a:pt x="70" y="2388"/>
                  </a:lnTo>
                  <a:lnTo>
                    <a:pt x="69" y="2389"/>
                  </a:lnTo>
                  <a:lnTo>
                    <a:pt x="69" y="2391"/>
                  </a:lnTo>
                  <a:lnTo>
                    <a:pt x="67" y="2393"/>
                  </a:lnTo>
                  <a:lnTo>
                    <a:pt x="67" y="2394"/>
                  </a:lnTo>
                  <a:lnTo>
                    <a:pt x="64" y="2394"/>
                  </a:lnTo>
                  <a:lnTo>
                    <a:pt x="64" y="2396"/>
                  </a:lnTo>
                  <a:lnTo>
                    <a:pt x="64" y="2397"/>
                  </a:lnTo>
                  <a:lnTo>
                    <a:pt x="62" y="2397"/>
                  </a:lnTo>
                  <a:lnTo>
                    <a:pt x="62" y="2399"/>
                  </a:lnTo>
                  <a:lnTo>
                    <a:pt x="60" y="2399"/>
                  </a:lnTo>
                  <a:lnTo>
                    <a:pt x="62" y="2399"/>
                  </a:lnTo>
                  <a:lnTo>
                    <a:pt x="64" y="2399"/>
                  </a:lnTo>
                  <a:lnTo>
                    <a:pt x="65" y="2399"/>
                  </a:lnTo>
                  <a:lnTo>
                    <a:pt x="65" y="2401"/>
                  </a:lnTo>
                  <a:lnTo>
                    <a:pt x="65" y="2399"/>
                  </a:lnTo>
                  <a:lnTo>
                    <a:pt x="65" y="2401"/>
                  </a:lnTo>
                  <a:lnTo>
                    <a:pt x="67" y="2401"/>
                  </a:lnTo>
                  <a:lnTo>
                    <a:pt x="69" y="2401"/>
                  </a:lnTo>
                  <a:close/>
                  <a:moveTo>
                    <a:pt x="491" y="1623"/>
                  </a:moveTo>
                  <a:lnTo>
                    <a:pt x="491" y="1622"/>
                  </a:lnTo>
                  <a:lnTo>
                    <a:pt x="491" y="1623"/>
                  </a:lnTo>
                  <a:close/>
                  <a:moveTo>
                    <a:pt x="410" y="1618"/>
                  </a:moveTo>
                  <a:lnTo>
                    <a:pt x="410" y="1620"/>
                  </a:lnTo>
                  <a:lnTo>
                    <a:pt x="413" y="1622"/>
                  </a:lnTo>
                  <a:lnTo>
                    <a:pt x="412" y="1622"/>
                  </a:lnTo>
                  <a:lnTo>
                    <a:pt x="410" y="1620"/>
                  </a:lnTo>
                  <a:lnTo>
                    <a:pt x="408" y="1622"/>
                  </a:lnTo>
                  <a:lnTo>
                    <a:pt x="408" y="1620"/>
                  </a:lnTo>
                  <a:lnTo>
                    <a:pt x="410" y="1618"/>
                  </a:lnTo>
                  <a:close/>
                  <a:moveTo>
                    <a:pt x="428" y="1612"/>
                  </a:moveTo>
                  <a:lnTo>
                    <a:pt x="426" y="1612"/>
                  </a:lnTo>
                  <a:lnTo>
                    <a:pt x="426" y="1610"/>
                  </a:lnTo>
                  <a:lnTo>
                    <a:pt x="426" y="1609"/>
                  </a:lnTo>
                  <a:lnTo>
                    <a:pt x="426" y="1607"/>
                  </a:lnTo>
                  <a:lnTo>
                    <a:pt x="428" y="1607"/>
                  </a:lnTo>
                  <a:lnTo>
                    <a:pt x="430" y="1607"/>
                  </a:lnTo>
                  <a:lnTo>
                    <a:pt x="430" y="1609"/>
                  </a:lnTo>
                  <a:lnTo>
                    <a:pt x="430" y="1610"/>
                  </a:lnTo>
                  <a:lnTo>
                    <a:pt x="428" y="1612"/>
                  </a:lnTo>
                  <a:close/>
                  <a:moveTo>
                    <a:pt x="402" y="1602"/>
                  </a:moveTo>
                  <a:lnTo>
                    <a:pt x="400" y="1602"/>
                  </a:lnTo>
                  <a:lnTo>
                    <a:pt x="402" y="1602"/>
                  </a:lnTo>
                  <a:close/>
                  <a:moveTo>
                    <a:pt x="491" y="1599"/>
                  </a:moveTo>
                  <a:lnTo>
                    <a:pt x="491" y="1601"/>
                  </a:lnTo>
                  <a:lnTo>
                    <a:pt x="491" y="1599"/>
                  </a:lnTo>
                  <a:close/>
                  <a:moveTo>
                    <a:pt x="469" y="1583"/>
                  </a:moveTo>
                  <a:lnTo>
                    <a:pt x="467" y="1583"/>
                  </a:lnTo>
                  <a:lnTo>
                    <a:pt x="467" y="1581"/>
                  </a:lnTo>
                  <a:lnTo>
                    <a:pt x="469" y="1583"/>
                  </a:lnTo>
                  <a:close/>
                  <a:moveTo>
                    <a:pt x="404" y="1581"/>
                  </a:moveTo>
                  <a:lnTo>
                    <a:pt x="405" y="1581"/>
                  </a:lnTo>
                  <a:lnTo>
                    <a:pt x="405" y="1583"/>
                  </a:lnTo>
                  <a:lnTo>
                    <a:pt x="407" y="1583"/>
                  </a:lnTo>
                  <a:lnTo>
                    <a:pt x="405" y="1583"/>
                  </a:lnTo>
                  <a:lnTo>
                    <a:pt x="407" y="1584"/>
                  </a:lnTo>
                  <a:lnTo>
                    <a:pt x="408" y="1586"/>
                  </a:lnTo>
                  <a:lnTo>
                    <a:pt x="410" y="1586"/>
                  </a:lnTo>
                  <a:lnTo>
                    <a:pt x="410" y="1588"/>
                  </a:lnTo>
                  <a:lnTo>
                    <a:pt x="410" y="1589"/>
                  </a:lnTo>
                  <a:lnTo>
                    <a:pt x="408" y="1591"/>
                  </a:lnTo>
                  <a:lnTo>
                    <a:pt x="407" y="1591"/>
                  </a:lnTo>
                  <a:lnTo>
                    <a:pt x="407" y="1589"/>
                  </a:lnTo>
                  <a:lnTo>
                    <a:pt x="407" y="1588"/>
                  </a:lnTo>
                  <a:lnTo>
                    <a:pt x="405" y="1588"/>
                  </a:lnTo>
                  <a:lnTo>
                    <a:pt x="405" y="1586"/>
                  </a:lnTo>
                  <a:lnTo>
                    <a:pt x="405" y="1584"/>
                  </a:lnTo>
                  <a:lnTo>
                    <a:pt x="404" y="1584"/>
                  </a:lnTo>
                  <a:lnTo>
                    <a:pt x="404" y="1583"/>
                  </a:lnTo>
                  <a:lnTo>
                    <a:pt x="402" y="1583"/>
                  </a:lnTo>
                  <a:lnTo>
                    <a:pt x="402" y="1581"/>
                  </a:lnTo>
                  <a:lnTo>
                    <a:pt x="402" y="1579"/>
                  </a:lnTo>
                  <a:lnTo>
                    <a:pt x="402" y="1578"/>
                  </a:lnTo>
                  <a:lnTo>
                    <a:pt x="404" y="1579"/>
                  </a:lnTo>
                  <a:lnTo>
                    <a:pt x="404" y="1581"/>
                  </a:lnTo>
                  <a:close/>
                  <a:moveTo>
                    <a:pt x="470" y="1575"/>
                  </a:moveTo>
                  <a:lnTo>
                    <a:pt x="469" y="1575"/>
                  </a:lnTo>
                  <a:lnTo>
                    <a:pt x="470" y="1575"/>
                  </a:lnTo>
                  <a:close/>
                  <a:moveTo>
                    <a:pt x="465" y="1573"/>
                  </a:moveTo>
                  <a:lnTo>
                    <a:pt x="465" y="1575"/>
                  </a:lnTo>
                  <a:lnTo>
                    <a:pt x="467" y="1575"/>
                  </a:lnTo>
                  <a:lnTo>
                    <a:pt x="469" y="1576"/>
                  </a:lnTo>
                  <a:lnTo>
                    <a:pt x="470" y="1576"/>
                  </a:lnTo>
                  <a:lnTo>
                    <a:pt x="470" y="1575"/>
                  </a:lnTo>
                  <a:lnTo>
                    <a:pt x="470" y="1576"/>
                  </a:lnTo>
                  <a:lnTo>
                    <a:pt x="472" y="1576"/>
                  </a:lnTo>
                  <a:lnTo>
                    <a:pt x="472" y="1578"/>
                  </a:lnTo>
                  <a:lnTo>
                    <a:pt x="472" y="1579"/>
                  </a:lnTo>
                  <a:lnTo>
                    <a:pt x="472" y="1578"/>
                  </a:lnTo>
                  <a:lnTo>
                    <a:pt x="470" y="1578"/>
                  </a:lnTo>
                  <a:lnTo>
                    <a:pt x="470" y="1576"/>
                  </a:lnTo>
                  <a:lnTo>
                    <a:pt x="469" y="1576"/>
                  </a:lnTo>
                  <a:lnTo>
                    <a:pt x="469" y="1578"/>
                  </a:lnTo>
                  <a:lnTo>
                    <a:pt x="469" y="1579"/>
                  </a:lnTo>
                  <a:lnTo>
                    <a:pt x="467" y="1579"/>
                  </a:lnTo>
                  <a:lnTo>
                    <a:pt x="465" y="1579"/>
                  </a:lnTo>
                  <a:lnTo>
                    <a:pt x="464" y="1579"/>
                  </a:lnTo>
                  <a:lnTo>
                    <a:pt x="464" y="1578"/>
                  </a:lnTo>
                  <a:lnTo>
                    <a:pt x="465" y="1578"/>
                  </a:lnTo>
                  <a:lnTo>
                    <a:pt x="465" y="1576"/>
                  </a:lnTo>
                  <a:lnTo>
                    <a:pt x="464" y="1576"/>
                  </a:lnTo>
                  <a:lnTo>
                    <a:pt x="464" y="1575"/>
                  </a:lnTo>
                  <a:lnTo>
                    <a:pt x="465" y="1575"/>
                  </a:lnTo>
                  <a:lnTo>
                    <a:pt x="465" y="1573"/>
                  </a:lnTo>
                  <a:lnTo>
                    <a:pt x="464" y="1573"/>
                  </a:lnTo>
                  <a:lnTo>
                    <a:pt x="465" y="1573"/>
                  </a:lnTo>
                  <a:close/>
                  <a:moveTo>
                    <a:pt x="478" y="1570"/>
                  </a:moveTo>
                  <a:lnTo>
                    <a:pt x="478" y="1571"/>
                  </a:lnTo>
                  <a:lnTo>
                    <a:pt x="480" y="1571"/>
                  </a:lnTo>
                  <a:lnTo>
                    <a:pt x="482" y="1571"/>
                  </a:lnTo>
                  <a:lnTo>
                    <a:pt x="480" y="1571"/>
                  </a:lnTo>
                  <a:lnTo>
                    <a:pt x="478" y="1571"/>
                  </a:lnTo>
                  <a:lnTo>
                    <a:pt x="477" y="1571"/>
                  </a:lnTo>
                  <a:lnTo>
                    <a:pt x="477" y="1570"/>
                  </a:lnTo>
                  <a:lnTo>
                    <a:pt x="478" y="1570"/>
                  </a:lnTo>
                  <a:close/>
                  <a:moveTo>
                    <a:pt x="500" y="1566"/>
                  </a:moveTo>
                  <a:lnTo>
                    <a:pt x="498" y="1566"/>
                  </a:lnTo>
                  <a:lnTo>
                    <a:pt x="500" y="1566"/>
                  </a:lnTo>
                  <a:close/>
                  <a:moveTo>
                    <a:pt x="503" y="1566"/>
                  </a:moveTo>
                  <a:lnTo>
                    <a:pt x="501" y="1566"/>
                  </a:lnTo>
                  <a:lnTo>
                    <a:pt x="503" y="1566"/>
                  </a:lnTo>
                  <a:close/>
                  <a:moveTo>
                    <a:pt x="500" y="1566"/>
                  </a:moveTo>
                  <a:lnTo>
                    <a:pt x="501" y="1566"/>
                  </a:lnTo>
                  <a:lnTo>
                    <a:pt x="500" y="1566"/>
                  </a:lnTo>
                  <a:close/>
                  <a:moveTo>
                    <a:pt x="503" y="1565"/>
                  </a:moveTo>
                  <a:lnTo>
                    <a:pt x="503" y="1566"/>
                  </a:lnTo>
                  <a:lnTo>
                    <a:pt x="501" y="1566"/>
                  </a:lnTo>
                  <a:lnTo>
                    <a:pt x="501" y="1565"/>
                  </a:lnTo>
                  <a:lnTo>
                    <a:pt x="503" y="1565"/>
                  </a:lnTo>
                  <a:close/>
                  <a:moveTo>
                    <a:pt x="501" y="1565"/>
                  </a:moveTo>
                  <a:lnTo>
                    <a:pt x="501" y="1566"/>
                  </a:lnTo>
                  <a:lnTo>
                    <a:pt x="501" y="1565"/>
                  </a:lnTo>
                  <a:close/>
                  <a:moveTo>
                    <a:pt x="501" y="1565"/>
                  </a:moveTo>
                  <a:lnTo>
                    <a:pt x="501" y="1563"/>
                  </a:lnTo>
                  <a:lnTo>
                    <a:pt x="501" y="1565"/>
                  </a:lnTo>
                  <a:close/>
                  <a:moveTo>
                    <a:pt x="503" y="1563"/>
                  </a:moveTo>
                  <a:lnTo>
                    <a:pt x="504" y="1563"/>
                  </a:lnTo>
                  <a:lnTo>
                    <a:pt x="504" y="1565"/>
                  </a:lnTo>
                  <a:lnTo>
                    <a:pt x="506" y="1566"/>
                  </a:lnTo>
                  <a:lnTo>
                    <a:pt x="506" y="1568"/>
                  </a:lnTo>
                  <a:lnTo>
                    <a:pt x="504" y="1566"/>
                  </a:lnTo>
                  <a:lnTo>
                    <a:pt x="503" y="1566"/>
                  </a:lnTo>
                  <a:lnTo>
                    <a:pt x="503" y="1565"/>
                  </a:lnTo>
                  <a:lnTo>
                    <a:pt x="501" y="1563"/>
                  </a:lnTo>
                  <a:lnTo>
                    <a:pt x="503" y="1563"/>
                  </a:lnTo>
                  <a:lnTo>
                    <a:pt x="501" y="1563"/>
                  </a:lnTo>
                  <a:lnTo>
                    <a:pt x="503" y="1563"/>
                  </a:lnTo>
                  <a:close/>
                  <a:moveTo>
                    <a:pt x="609" y="1545"/>
                  </a:moveTo>
                  <a:lnTo>
                    <a:pt x="610" y="1545"/>
                  </a:lnTo>
                  <a:lnTo>
                    <a:pt x="609" y="1545"/>
                  </a:lnTo>
                  <a:close/>
                  <a:moveTo>
                    <a:pt x="609" y="1545"/>
                  </a:moveTo>
                  <a:lnTo>
                    <a:pt x="604" y="1545"/>
                  </a:lnTo>
                  <a:lnTo>
                    <a:pt x="609" y="1545"/>
                  </a:lnTo>
                  <a:close/>
                  <a:moveTo>
                    <a:pt x="604" y="1545"/>
                  </a:moveTo>
                  <a:lnTo>
                    <a:pt x="602" y="1544"/>
                  </a:lnTo>
                  <a:lnTo>
                    <a:pt x="604" y="1545"/>
                  </a:lnTo>
                  <a:close/>
                  <a:moveTo>
                    <a:pt x="465" y="1540"/>
                  </a:moveTo>
                  <a:lnTo>
                    <a:pt x="465" y="1542"/>
                  </a:lnTo>
                  <a:lnTo>
                    <a:pt x="465" y="1540"/>
                  </a:lnTo>
                  <a:close/>
                  <a:moveTo>
                    <a:pt x="602" y="1544"/>
                  </a:moveTo>
                  <a:lnTo>
                    <a:pt x="600" y="1544"/>
                  </a:lnTo>
                  <a:lnTo>
                    <a:pt x="600" y="1542"/>
                  </a:lnTo>
                  <a:lnTo>
                    <a:pt x="599" y="1542"/>
                  </a:lnTo>
                  <a:lnTo>
                    <a:pt x="599" y="1544"/>
                  </a:lnTo>
                  <a:lnTo>
                    <a:pt x="599" y="1542"/>
                  </a:lnTo>
                  <a:lnTo>
                    <a:pt x="597" y="1542"/>
                  </a:lnTo>
                  <a:lnTo>
                    <a:pt x="596" y="1542"/>
                  </a:lnTo>
                  <a:lnTo>
                    <a:pt x="597" y="1544"/>
                  </a:lnTo>
                  <a:lnTo>
                    <a:pt x="596" y="1544"/>
                  </a:lnTo>
                  <a:lnTo>
                    <a:pt x="596" y="1542"/>
                  </a:lnTo>
                  <a:lnTo>
                    <a:pt x="594" y="1540"/>
                  </a:lnTo>
                  <a:lnTo>
                    <a:pt x="592" y="1539"/>
                  </a:lnTo>
                  <a:lnTo>
                    <a:pt x="591" y="1539"/>
                  </a:lnTo>
                  <a:lnTo>
                    <a:pt x="592" y="1539"/>
                  </a:lnTo>
                  <a:lnTo>
                    <a:pt x="594" y="1539"/>
                  </a:lnTo>
                  <a:lnTo>
                    <a:pt x="596" y="1539"/>
                  </a:lnTo>
                  <a:lnTo>
                    <a:pt x="597" y="1539"/>
                  </a:lnTo>
                  <a:lnTo>
                    <a:pt x="599" y="1539"/>
                  </a:lnTo>
                  <a:lnTo>
                    <a:pt x="599" y="1537"/>
                  </a:lnTo>
                  <a:lnTo>
                    <a:pt x="599" y="1539"/>
                  </a:lnTo>
                  <a:lnTo>
                    <a:pt x="599" y="1537"/>
                  </a:lnTo>
                  <a:lnTo>
                    <a:pt x="599" y="1539"/>
                  </a:lnTo>
                  <a:lnTo>
                    <a:pt x="599" y="1537"/>
                  </a:lnTo>
                  <a:lnTo>
                    <a:pt x="599" y="1539"/>
                  </a:lnTo>
                  <a:lnTo>
                    <a:pt x="599" y="1537"/>
                  </a:lnTo>
                  <a:lnTo>
                    <a:pt x="600" y="1537"/>
                  </a:lnTo>
                  <a:lnTo>
                    <a:pt x="600" y="1539"/>
                  </a:lnTo>
                  <a:lnTo>
                    <a:pt x="600" y="1540"/>
                  </a:lnTo>
                  <a:lnTo>
                    <a:pt x="602" y="1540"/>
                  </a:lnTo>
                  <a:lnTo>
                    <a:pt x="604" y="1542"/>
                  </a:lnTo>
                  <a:lnTo>
                    <a:pt x="604" y="1544"/>
                  </a:lnTo>
                  <a:lnTo>
                    <a:pt x="602" y="1544"/>
                  </a:lnTo>
                  <a:lnTo>
                    <a:pt x="604" y="1544"/>
                  </a:lnTo>
                  <a:lnTo>
                    <a:pt x="604" y="1545"/>
                  </a:lnTo>
                  <a:lnTo>
                    <a:pt x="602" y="1544"/>
                  </a:lnTo>
                  <a:close/>
                  <a:moveTo>
                    <a:pt x="635" y="1537"/>
                  </a:moveTo>
                  <a:lnTo>
                    <a:pt x="636" y="1537"/>
                  </a:lnTo>
                  <a:lnTo>
                    <a:pt x="638" y="1537"/>
                  </a:lnTo>
                  <a:lnTo>
                    <a:pt x="639" y="1537"/>
                  </a:lnTo>
                  <a:lnTo>
                    <a:pt x="639" y="1539"/>
                  </a:lnTo>
                  <a:lnTo>
                    <a:pt x="638" y="1540"/>
                  </a:lnTo>
                  <a:lnTo>
                    <a:pt x="638" y="1542"/>
                  </a:lnTo>
                  <a:lnTo>
                    <a:pt x="636" y="1542"/>
                  </a:lnTo>
                  <a:lnTo>
                    <a:pt x="636" y="1540"/>
                  </a:lnTo>
                  <a:lnTo>
                    <a:pt x="635" y="1540"/>
                  </a:lnTo>
                  <a:lnTo>
                    <a:pt x="635" y="1542"/>
                  </a:lnTo>
                  <a:lnTo>
                    <a:pt x="633" y="1540"/>
                  </a:lnTo>
                  <a:lnTo>
                    <a:pt x="633" y="1539"/>
                  </a:lnTo>
                  <a:lnTo>
                    <a:pt x="633" y="1537"/>
                  </a:lnTo>
                  <a:lnTo>
                    <a:pt x="635" y="1537"/>
                  </a:lnTo>
                  <a:close/>
                  <a:moveTo>
                    <a:pt x="639" y="1537"/>
                  </a:moveTo>
                  <a:lnTo>
                    <a:pt x="641" y="1537"/>
                  </a:lnTo>
                  <a:lnTo>
                    <a:pt x="639" y="1537"/>
                  </a:lnTo>
                  <a:close/>
                  <a:moveTo>
                    <a:pt x="605" y="1537"/>
                  </a:moveTo>
                  <a:lnTo>
                    <a:pt x="605" y="1535"/>
                  </a:lnTo>
                  <a:lnTo>
                    <a:pt x="605" y="1537"/>
                  </a:lnTo>
                  <a:close/>
                  <a:moveTo>
                    <a:pt x="596" y="1534"/>
                  </a:moveTo>
                  <a:lnTo>
                    <a:pt x="594" y="1534"/>
                  </a:lnTo>
                  <a:lnTo>
                    <a:pt x="596" y="1534"/>
                  </a:lnTo>
                  <a:close/>
                  <a:moveTo>
                    <a:pt x="639" y="1537"/>
                  </a:moveTo>
                  <a:lnTo>
                    <a:pt x="638" y="1537"/>
                  </a:lnTo>
                  <a:lnTo>
                    <a:pt x="636" y="1537"/>
                  </a:lnTo>
                  <a:lnTo>
                    <a:pt x="635" y="1537"/>
                  </a:lnTo>
                  <a:lnTo>
                    <a:pt x="635" y="1535"/>
                  </a:lnTo>
                  <a:lnTo>
                    <a:pt x="636" y="1535"/>
                  </a:lnTo>
                  <a:lnTo>
                    <a:pt x="638" y="1535"/>
                  </a:lnTo>
                  <a:lnTo>
                    <a:pt x="638" y="1534"/>
                  </a:lnTo>
                  <a:lnTo>
                    <a:pt x="639" y="1532"/>
                  </a:lnTo>
                  <a:lnTo>
                    <a:pt x="641" y="1534"/>
                  </a:lnTo>
                  <a:lnTo>
                    <a:pt x="641" y="1535"/>
                  </a:lnTo>
                  <a:lnTo>
                    <a:pt x="641" y="1537"/>
                  </a:lnTo>
                  <a:lnTo>
                    <a:pt x="641" y="1535"/>
                  </a:lnTo>
                  <a:lnTo>
                    <a:pt x="639" y="1537"/>
                  </a:lnTo>
                  <a:close/>
                  <a:moveTo>
                    <a:pt x="638" y="1534"/>
                  </a:moveTo>
                  <a:lnTo>
                    <a:pt x="638" y="1535"/>
                  </a:lnTo>
                  <a:lnTo>
                    <a:pt x="636" y="1535"/>
                  </a:lnTo>
                  <a:lnTo>
                    <a:pt x="635" y="1535"/>
                  </a:lnTo>
                  <a:lnTo>
                    <a:pt x="633" y="1535"/>
                  </a:lnTo>
                  <a:lnTo>
                    <a:pt x="635" y="1535"/>
                  </a:lnTo>
                  <a:lnTo>
                    <a:pt x="635" y="1534"/>
                  </a:lnTo>
                  <a:lnTo>
                    <a:pt x="633" y="1535"/>
                  </a:lnTo>
                  <a:lnTo>
                    <a:pt x="633" y="1534"/>
                  </a:lnTo>
                  <a:lnTo>
                    <a:pt x="635" y="1534"/>
                  </a:lnTo>
                  <a:lnTo>
                    <a:pt x="636" y="1534"/>
                  </a:lnTo>
                  <a:lnTo>
                    <a:pt x="638" y="1532"/>
                  </a:lnTo>
                  <a:lnTo>
                    <a:pt x="638" y="1534"/>
                  </a:lnTo>
                  <a:close/>
                  <a:moveTo>
                    <a:pt x="610" y="1534"/>
                  </a:moveTo>
                  <a:lnTo>
                    <a:pt x="609" y="1534"/>
                  </a:lnTo>
                  <a:lnTo>
                    <a:pt x="605" y="1535"/>
                  </a:lnTo>
                  <a:lnTo>
                    <a:pt x="604" y="1537"/>
                  </a:lnTo>
                  <a:lnTo>
                    <a:pt x="602" y="1537"/>
                  </a:lnTo>
                  <a:lnTo>
                    <a:pt x="604" y="1535"/>
                  </a:lnTo>
                  <a:lnTo>
                    <a:pt x="605" y="1535"/>
                  </a:lnTo>
                  <a:lnTo>
                    <a:pt x="612" y="1532"/>
                  </a:lnTo>
                  <a:lnTo>
                    <a:pt x="610" y="1534"/>
                  </a:lnTo>
                  <a:close/>
                  <a:moveTo>
                    <a:pt x="504" y="1522"/>
                  </a:moveTo>
                  <a:lnTo>
                    <a:pt x="506" y="1524"/>
                  </a:lnTo>
                  <a:lnTo>
                    <a:pt x="504" y="1524"/>
                  </a:lnTo>
                  <a:lnTo>
                    <a:pt x="504" y="1522"/>
                  </a:lnTo>
                  <a:close/>
                  <a:moveTo>
                    <a:pt x="535" y="1522"/>
                  </a:moveTo>
                  <a:lnTo>
                    <a:pt x="534" y="1522"/>
                  </a:lnTo>
                  <a:lnTo>
                    <a:pt x="535" y="1522"/>
                  </a:lnTo>
                  <a:close/>
                  <a:moveTo>
                    <a:pt x="443" y="1522"/>
                  </a:moveTo>
                  <a:lnTo>
                    <a:pt x="443" y="1521"/>
                  </a:lnTo>
                  <a:lnTo>
                    <a:pt x="443" y="1522"/>
                  </a:lnTo>
                  <a:close/>
                  <a:moveTo>
                    <a:pt x="443" y="1521"/>
                  </a:moveTo>
                  <a:lnTo>
                    <a:pt x="441" y="1521"/>
                  </a:lnTo>
                  <a:lnTo>
                    <a:pt x="441" y="1519"/>
                  </a:lnTo>
                  <a:lnTo>
                    <a:pt x="443" y="1521"/>
                  </a:lnTo>
                  <a:close/>
                  <a:moveTo>
                    <a:pt x="443" y="1519"/>
                  </a:moveTo>
                  <a:lnTo>
                    <a:pt x="441" y="1519"/>
                  </a:lnTo>
                  <a:lnTo>
                    <a:pt x="443" y="1519"/>
                  </a:lnTo>
                  <a:close/>
                  <a:moveTo>
                    <a:pt x="509" y="1516"/>
                  </a:moveTo>
                  <a:lnTo>
                    <a:pt x="509" y="1518"/>
                  </a:lnTo>
                  <a:lnTo>
                    <a:pt x="509" y="1516"/>
                  </a:lnTo>
                  <a:close/>
                  <a:moveTo>
                    <a:pt x="509" y="1516"/>
                  </a:moveTo>
                  <a:lnTo>
                    <a:pt x="509" y="1518"/>
                  </a:lnTo>
                  <a:lnTo>
                    <a:pt x="509" y="1516"/>
                  </a:lnTo>
                  <a:close/>
                  <a:moveTo>
                    <a:pt x="506" y="1516"/>
                  </a:moveTo>
                  <a:lnTo>
                    <a:pt x="506" y="1518"/>
                  </a:lnTo>
                  <a:lnTo>
                    <a:pt x="506" y="1516"/>
                  </a:lnTo>
                  <a:lnTo>
                    <a:pt x="508" y="1516"/>
                  </a:lnTo>
                  <a:lnTo>
                    <a:pt x="508" y="1518"/>
                  </a:lnTo>
                  <a:lnTo>
                    <a:pt x="509" y="1519"/>
                  </a:lnTo>
                  <a:lnTo>
                    <a:pt x="511" y="1519"/>
                  </a:lnTo>
                  <a:lnTo>
                    <a:pt x="513" y="1519"/>
                  </a:lnTo>
                  <a:lnTo>
                    <a:pt x="513" y="1521"/>
                  </a:lnTo>
                  <a:lnTo>
                    <a:pt x="514" y="1521"/>
                  </a:lnTo>
                  <a:lnTo>
                    <a:pt x="516" y="1521"/>
                  </a:lnTo>
                  <a:lnTo>
                    <a:pt x="517" y="1521"/>
                  </a:lnTo>
                  <a:lnTo>
                    <a:pt x="517" y="1522"/>
                  </a:lnTo>
                  <a:lnTo>
                    <a:pt x="517" y="1521"/>
                  </a:lnTo>
                  <a:lnTo>
                    <a:pt x="516" y="1522"/>
                  </a:lnTo>
                  <a:lnTo>
                    <a:pt x="516" y="1521"/>
                  </a:lnTo>
                  <a:lnTo>
                    <a:pt x="516" y="1522"/>
                  </a:lnTo>
                  <a:lnTo>
                    <a:pt x="516" y="1524"/>
                  </a:lnTo>
                  <a:lnTo>
                    <a:pt x="516" y="1526"/>
                  </a:lnTo>
                  <a:lnTo>
                    <a:pt x="516" y="1524"/>
                  </a:lnTo>
                  <a:lnTo>
                    <a:pt x="516" y="1526"/>
                  </a:lnTo>
                  <a:lnTo>
                    <a:pt x="514" y="1526"/>
                  </a:lnTo>
                  <a:lnTo>
                    <a:pt x="513" y="1526"/>
                  </a:lnTo>
                  <a:lnTo>
                    <a:pt x="511" y="1526"/>
                  </a:lnTo>
                  <a:lnTo>
                    <a:pt x="509" y="1526"/>
                  </a:lnTo>
                  <a:lnTo>
                    <a:pt x="508" y="1524"/>
                  </a:lnTo>
                  <a:lnTo>
                    <a:pt x="506" y="1524"/>
                  </a:lnTo>
                  <a:lnTo>
                    <a:pt x="504" y="1522"/>
                  </a:lnTo>
                  <a:lnTo>
                    <a:pt x="503" y="1521"/>
                  </a:lnTo>
                  <a:lnTo>
                    <a:pt x="503" y="1519"/>
                  </a:lnTo>
                  <a:lnTo>
                    <a:pt x="503" y="1521"/>
                  </a:lnTo>
                  <a:lnTo>
                    <a:pt x="503" y="1519"/>
                  </a:lnTo>
                  <a:lnTo>
                    <a:pt x="503" y="1518"/>
                  </a:lnTo>
                  <a:lnTo>
                    <a:pt x="501" y="1516"/>
                  </a:lnTo>
                  <a:lnTo>
                    <a:pt x="503" y="1516"/>
                  </a:lnTo>
                  <a:lnTo>
                    <a:pt x="503" y="1518"/>
                  </a:lnTo>
                  <a:lnTo>
                    <a:pt x="504" y="1518"/>
                  </a:lnTo>
                  <a:lnTo>
                    <a:pt x="504" y="1516"/>
                  </a:lnTo>
                  <a:lnTo>
                    <a:pt x="506" y="1516"/>
                  </a:lnTo>
                  <a:close/>
                  <a:moveTo>
                    <a:pt x="514" y="1516"/>
                  </a:moveTo>
                  <a:lnTo>
                    <a:pt x="514" y="1514"/>
                  </a:lnTo>
                  <a:lnTo>
                    <a:pt x="514" y="1516"/>
                  </a:lnTo>
                  <a:close/>
                  <a:moveTo>
                    <a:pt x="446" y="1516"/>
                  </a:moveTo>
                  <a:lnTo>
                    <a:pt x="448" y="1516"/>
                  </a:lnTo>
                  <a:lnTo>
                    <a:pt x="448" y="1518"/>
                  </a:lnTo>
                  <a:lnTo>
                    <a:pt x="448" y="1516"/>
                  </a:lnTo>
                  <a:lnTo>
                    <a:pt x="446" y="1516"/>
                  </a:lnTo>
                  <a:lnTo>
                    <a:pt x="446" y="1514"/>
                  </a:lnTo>
                  <a:lnTo>
                    <a:pt x="446" y="1516"/>
                  </a:lnTo>
                  <a:close/>
                  <a:moveTo>
                    <a:pt x="498" y="1514"/>
                  </a:moveTo>
                  <a:lnTo>
                    <a:pt x="498" y="1516"/>
                  </a:lnTo>
                  <a:lnTo>
                    <a:pt x="500" y="1518"/>
                  </a:lnTo>
                  <a:lnTo>
                    <a:pt x="500" y="1516"/>
                  </a:lnTo>
                  <a:lnTo>
                    <a:pt x="500" y="1518"/>
                  </a:lnTo>
                  <a:lnTo>
                    <a:pt x="501" y="1518"/>
                  </a:lnTo>
                  <a:lnTo>
                    <a:pt x="500" y="1518"/>
                  </a:lnTo>
                  <a:lnTo>
                    <a:pt x="501" y="1519"/>
                  </a:lnTo>
                  <a:lnTo>
                    <a:pt x="503" y="1519"/>
                  </a:lnTo>
                  <a:lnTo>
                    <a:pt x="501" y="1519"/>
                  </a:lnTo>
                  <a:lnTo>
                    <a:pt x="503" y="1521"/>
                  </a:lnTo>
                  <a:lnTo>
                    <a:pt x="503" y="1519"/>
                  </a:lnTo>
                  <a:lnTo>
                    <a:pt x="503" y="1521"/>
                  </a:lnTo>
                  <a:lnTo>
                    <a:pt x="503" y="1519"/>
                  </a:lnTo>
                  <a:lnTo>
                    <a:pt x="503" y="1521"/>
                  </a:lnTo>
                  <a:lnTo>
                    <a:pt x="501" y="1521"/>
                  </a:lnTo>
                  <a:lnTo>
                    <a:pt x="503" y="1521"/>
                  </a:lnTo>
                  <a:lnTo>
                    <a:pt x="501" y="1522"/>
                  </a:lnTo>
                  <a:lnTo>
                    <a:pt x="503" y="1522"/>
                  </a:lnTo>
                  <a:lnTo>
                    <a:pt x="501" y="1522"/>
                  </a:lnTo>
                  <a:lnTo>
                    <a:pt x="501" y="1521"/>
                  </a:lnTo>
                  <a:lnTo>
                    <a:pt x="501" y="1522"/>
                  </a:lnTo>
                  <a:lnTo>
                    <a:pt x="500" y="1521"/>
                  </a:lnTo>
                  <a:lnTo>
                    <a:pt x="498" y="1521"/>
                  </a:lnTo>
                  <a:lnTo>
                    <a:pt x="498" y="1519"/>
                  </a:lnTo>
                  <a:lnTo>
                    <a:pt x="496" y="1519"/>
                  </a:lnTo>
                  <a:lnTo>
                    <a:pt x="495" y="1519"/>
                  </a:lnTo>
                  <a:lnTo>
                    <a:pt x="496" y="1519"/>
                  </a:lnTo>
                  <a:lnTo>
                    <a:pt x="496" y="1518"/>
                  </a:lnTo>
                  <a:lnTo>
                    <a:pt x="495" y="1518"/>
                  </a:lnTo>
                  <a:lnTo>
                    <a:pt x="493" y="1518"/>
                  </a:lnTo>
                  <a:lnTo>
                    <a:pt x="493" y="1516"/>
                  </a:lnTo>
                  <a:lnTo>
                    <a:pt x="495" y="1516"/>
                  </a:lnTo>
                  <a:lnTo>
                    <a:pt x="495" y="1514"/>
                  </a:lnTo>
                  <a:lnTo>
                    <a:pt x="496" y="1516"/>
                  </a:lnTo>
                  <a:lnTo>
                    <a:pt x="496" y="1514"/>
                  </a:lnTo>
                  <a:lnTo>
                    <a:pt x="496" y="1516"/>
                  </a:lnTo>
                  <a:lnTo>
                    <a:pt x="498" y="1514"/>
                  </a:lnTo>
                  <a:lnTo>
                    <a:pt x="496" y="1514"/>
                  </a:lnTo>
                  <a:lnTo>
                    <a:pt x="498" y="1514"/>
                  </a:lnTo>
                  <a:close/>
                  <a:moveTo>
                    <a:pt x="504" y="1514"/>
                  </a:moveTo>
                  <a:lnTo>
                    <a:pt x="504" y="1516"/>
                  </a:lnTo>
                  <a:lnTo>
                    <a:pt x="504" y="1514"/>
                  </a:lnTo>
                  <a:close/>
                  <a:moveTo>
                    <a:pt x="503" y="1516"/>
                  </a:moveTo>
                  <a:lnTo>
                    <a:pt x="503" y="1514"/>
                  </a:lnTo>
                  <a:lnTo>
                    <a:pt x="503" y="1516"/>
                  </a:lnTo>
                  <a:close/>
                  <a:moveTo>
                    <a:pt x="446" y="1514"/>
                  </a:moveTo>
                  <a:lnTo>
                    <a:pt x="448" y="1514"/>
                  </a:lnTo>
                  <a:lnTo>
                    <a:pt x="446" y="1514"/>
                  </a:lnTo>
                  <a:close/>
                  <a:moveTo>
                    <a:pt x="498" y="1513"/>
                  </a:moveTo>
                  <a:lnTo>
                    <a:pt x="500" y="1514"/>
                  </a:lnTo>
                  <a:lnTo>
                    <a:pt x="498" y="1513"/>
                  </a:lnTo>
                  <a:close/>
                  <a:moveTo>
                    <a:pt x="496" y="1514"/>
                  </a:moveTo>
                  <a:lnTo>
                    <a:pt x="496" y="1513"/>
                  </a:lnTo>
                  <a:lnTo>
                    <a:pt x="496" y="1514"/>
                  </a:lnTo>
                  <a:close/>
                  <a:moveTo>
                    <a:pt x="444" y="1513"/>
                  </a:moveTo>
                  <a:lnTo>
                    <a:pt x="446" y="1513"/>
                  </a:lnTo>
                  <a:lnTo>
                    <a:pt x="444" y="1513"/>
                  </a:lnTo>
                  <a:lnTo>
                    <a:pt x="446" y="1514"/>
                  </a:lnTo>
                  <a:lnTo>
                    <a:pt x="444" y="1514"/>
                  </a:lnTo>
                  <a:lnTo>
                    <a:pt x="444" y="1513"/>
                  </a:lnTo>
                  <a:close/>
                  <a:moveTo>
                    <a:pt x="449" y="1513"/>
                  </a:moveTo>
                  <a:lnTo>
                    <a:pt x="448" y="1513"/>
                  </a:lnTo>
                  <a:lnTo>
                    <a:pt x="449" y="1513"/>
                  </a:lnTo>
                  <a:close/>
                  <a:moveTo>
                    <a:pt x="449" y="1513"/>
                  </a:moveTo>
                  <a:lnTo>
                    <a:pt x="449" y="1511"/>
                  </a:lnTo>
                  <a:lnTo>
                    <a:pt x="449" y="1513"/>
                  </a:lnTo>
                  <a:close/>
                  <a:moveTo>
                    <a:pt x="493" y="1511"/>
                  </a:moveTo>
                  <a:lnTo>
                    <a:pt x="493" y="1513"/>
                  </a:lnTo>
                  <a:lnTo>
                    <a:pt x="493" y="1511"/>
                  </a:lnTo>
                  <a:close/>
                  <a:moveTo>
                    <a:pt x="451" y="1511"/>
                  </a:moveTo>
                  <a:lnTo>
                    <a:pt x="451" y="1513"/>
                  </a:lnTo>
                  <a:lnTo>
                    <a:pt x="452" y="1511"/>
                  </a:lnTo>
                  <a:lnTo>
                    <a:pt x="452" y="1513"/>
                  </a:lnTo>
                  <a:lnTo>
                    <a:pt x="451" y="1513"/>
                  </a:lnTo>
                  <a:lnTo>
                    <a:pt x="451" y="1511"/>
                  </a:lnTo>
                  <a:close/>
                  <a:moveTo>
                    <a:pt x="451" y="1511"/>
                  </a:moveTo>
                  <a:lnTo>
                    <a:pt x="449" y="1511"/>
                  </a:lnTo>
                  <a:lnTo>
                    <a:pt x="451" y="1511"/>
                  </a:lnTo>
                  <a:close/>
                  <a:moveTo>
                    <a:pt x="451" y="1511"/>
                  </a:moveTo>
                  <a:lnTo>
                    <a:pt x="451" y="1509"/>
                  </a:lnTo>
                  <a:lnTo>
                    <a:pt x="451" y="1511"/>
                  </a:lnTo>
                  <a:lnTo>
                    <a:pt x="452" y="1511"/>
                  </a:lnTo>
                  <a:lnTo>
                    <a:pt x="451" y="1511"/>
                  </a:lnTo>
                  <a:close/>
                  <a:moveTo>
                    <a:pt x="452" y="1509"/>
                  </a:moveTo>
                  <a:lnTo>
                    <a:pt x="452" y="1511"/>
                  </a:lnTo>
                  <a:lnTo>
                    <a:pt x="452" y="1509"/>
                  </a:lnTo>
                  <a:close/>
                  <a:moveTo>
                    <a:pt x="454" y="1509"/>
                  </a:moveTo>
                  <a:lnTo>
                    <a:pt x="452" y="1509"/>
                  </a:lnTo>
                  <a:lnTo>
                    <a:pt x="454" y="1509"/>
                  </a:lnTo>
                  <a:close/>
                  <a:moveTo>
                    <a:pt x="493" y="1509"/>
                  </a:moveTo>
                  <a:lnTo>
                    <a:pt x="491" y="1509"/>
                  </a:lnTo>
                  <a:lnTo>
                    <a:pt x="491" y="1508"/>
                  </a:lnTo>
                  <a:lnTo>
                    <a:pt x="493" y="1509"/>
                  </a:lnTo>
                  <a:close/>
                  <a:moveTo>
                    <a:pt x="456" y="1506"/>
                  </a:moveTo>
                  <a:lnTo>
                    <a:pt x="456" y="1508"/>
                  </a:lnTo>
                  <a:lnTo>
                    <a:pt x="456" y="1506"/>
                  </a:lnTo>
                  <a:close/>
                  <a:moveTo>
                    <a:pt x="456" y="1506"/>
                  </a:moveTo>
                  <a:lnTo>
                    <a:pt x="454" y="1506"/>
                  </a:lnTo>
                  <a:lnTo>
                    <a:pt x="456" y="1506"/>
                  </a:lnTo>
                  <a:close/>
                  <a:moveTo>
                    <a:pt x="451" y="1506"/>
                  </a:moveTo>
                  <a:lnTo>
                    <a:pt x="452" y="1506"/>
                  </a:lnTo>
                  <a:lnTo>
                    <a:pt x="451" y="1506"/>
                  </a:lnTo>
                  <a:close/>
                  <a:moveTo>
                    <a:pt x="487" y="1506"/>
                  </a:moveTo>
                  <a:lnTo>
                    <a:pt x="485" y="1505"/>
                  </a:lnTo>
                  <a:lnTo>
                    <a:pt x="485" y="1506"/>
                  </a:lnTo>
                  <a:lnTo>
                    <a:pt x="487" y="1506"/>
                  </a:lnTo>
                  <a:close/>
                  <a:moveTo>
                    <a:pt x="454" y="1505"/>
                  </a:moveTo>
                  <a:lnTo>
                    <a:pt x="452" y="1505"/>
                  </a:lnTo>
                  <a:lnTo>
                    <a:pt x="454" y="1505"/>
                  </a:lnTo>
                  <a:close/>
                  <a:moveTo>
                    <a:pt x="461" y="1505"/>
                  </a:moveTo>
                  <a:lnTo>
                    <a:pt x="459" y="1505"/>
                  </a:lnTo>
                  <a:lnTo>
                    <a:pt x="461" y="1505"/>
                  </a:lnTo>
                  <a:close/>
                  <a:moveTo>
                    <a:pt x="491" y="1501"/>
                  </a:moveTo>
                  <a:lnTo>
                    <a:pt x="491" y="1503"/>
                  </a:lnTo>
                  <a:lnTo>
                    <a:pt x="493" y="1503"/>
                  </a:lnTo>
                  <a:lnTo>
                    <a:pt x="495" y="1505"/>
                  </a:lnTo>
                  <a:lnTo>
                    <a:pt x="495" y="1506"/>
                  </a:lnTo>
                  <a:lnTo>
                    <a:pt x="496" y="1506"/>
                  </a:lnTo>
                  <a:lnTo>
                    <a:pt x="496" y="1505"/>
                  </a:lnTo>
                  <a:lnTo>
                    <a:pt x="496" y="1506"/>
                  </a:lnTo>
                  <a:lnTo>
                    <a:pt x="498" y="1508"/>
                  </a:lnTo>
                  <a:lnTo>
                    <a:pt x="496" y="1508"/>
                  </a:lnTo>
                  <a:lnTo>
                    <a:pt x="496" y="1506"/>
                  </a:lnTo>
                  <a:lnTo>
                    <a:pt x="496" y="1508"/>
                  </a:lnTo>
                  <a:lnTo>
                    <a:pt x="498" y="1509"/>
                  </a:lnTo>
                  <a:lnTo>
                    <a:pt x="500" y="1511"/>
                  </a:lnTo>
                  <a:lnTo>
                    <a:pt x="500" y="1513"/>
                  </a:lnTo>
                  <a:lnTo>
                    <a:pt x="501" y="1513"/>
                  </a:lnTo>
                  <a:lnTo>
                    <a:pt x="500" y="1513"/>
                  </a:lnTo>
                  <a:lnTo>
                    <a:pt x="498" y="1513"/>
                  </a:lnTo>
                  <a:lnTo>
                    <a:pt x="500" y="1513"/>
                  </a:lnTo>
                  <a:lnTo>
                    <a:pt x="500" y="1514"/>
                  </a:lnTo>
                  <a:lnTo>
                    <a:pt x="501" y="1514"/>
                  </a:lnTo>
                  <a:lnTo>
                    <a:pt x="501" y="1516"/>
                  </a:lnTo>
                  <a:lnTo>
                    <a:pt x="500" y="1516"/>
                  </a:lnTo>
                  <a:lnTo>
                    <a:pt x="500" y="1514"/>
                  </a:lnTo>
                  <a:lnTo>
                    <a:pt x="498" y="1513"/>
                  </a:lnTo>
                  <a:lnTo>
                    <a:pt x="496" y="1511"/>
                  </a:lnTo>
                  <a:lnTo>
                    <a:pt x="498" y="1511"/>
                  </a:lnTo>
                  <a:lnTo>
                    <a:pt x="496" y="1509"/>
                  </a:lnTo>
                  <a:lnTo>
                    <a:pt x="495" y="1508"/>
                  </a:lnTo>
                  <a:lnTo>
                    <a:pt x="493" y="1506"/>
                  </a:lnTo>
                  <a:lnTo>
                    <a:pt x="491" y="1505"/>
                  </a:lnTo>
                  <a:lnTo>
                    <a:pt x="491" y="1503"/>
                  </a:lnTo>
                  <a:lnTo>
                    <a:pt x="491" y="1501"/>
                  </a:lnTo>
                  <a:close/>
                  <a:moveTo>
                    <a:pt x="470" y="1501"/>
                  </a:moveTo>
                  <a:lnTo>
                    <a:pt x="470" y="1500"/>
                  </a:lnTo>
                  <a:lnTo>
                    <a:pt x="470" y="1501"/>
                  </a:lnTo>
                  <a:close/>
                  <a:moveTo>
                    <a:pt x="470" y="1500"/>
                  </a:moveTo>
                  <a:lnTo>
                    <a:pt x="470" y="1501"/>
                  </a:lnTo>
                  <a:lnTo>
                    <a:pt x="470" y="1500"/>
                  </a:lnTo>
                  <a:close/>
                  <a:moveTo>
                    <a:pt x="504" y="1500"/>
                  </a:moveTo>
                  <a:lnTo>
                    <a:pt x="506" y="1500"/>
                  </a:lnTo>
                  <a:lnTo>
                    <a:pt x="506" y="1501"/>
                  </a:lnTo>
                  <a:lnTo>
                    <a:pt x="504" y="1500"/>
                  </a:lnTo>
                  <a:close/>
                  <a:moveTo>
                    <a:pt x="506" y="1498"/>
                  </a:moveTo>
                  <a:lnTo>
                    <a:pt x="506" y="1500"/>
                  </a:lnTo>
                  <a:lnTo>
                    <a:pt x="506" y="1498"/>
                  </a:lnTo>
                  <a:close/>
                  <a:moveTo>
                    <a:pt x="506" y="1498"/>
                  </a:moveTo>
                  <a:lnTo>
                    <a:pt x="508" y="1498"/>
                  </a:lnTo>
                  <a:lnTo>
                    <a:pt x="508" y="1500"/>
                  </a:lnTo>
                  <a:lnTo>
                    <a:pt x="509" y="1500"/>
                  </a:lnTo>
                  <a:lnTo>
                    <a:pt x="508" y="1500"/>
                  </a:lnTo>
                  <a:lnTo>
                    <a:pt x="506" y="1500"/>
                  </a:lnTo>
                  <a:lnTo>
                    <a:pt x="506" y="1498"/>
                  </a:lnTo>
                  <a:close/>
                  <a:moveTo>
                    <a:pt x="506" y="1495"/>
                  </a:moveTo>
                  <a:lnTo>
                    <a:pt x="506" y="1496"/>
                  </a:lnTo>
                  <a:lnTo>
                    <a:pt x="506" y="1495"/>
                  </a:lnTo>
                  <a:close/>
                  <a:moveTo>
                    <a:pt x="496" y="1490"/>
                  </a:moveTo>
                  <a:lnTo>
                    <a:pt x="498" y="1492"/>
                  </a:lnTo>
                  <a:lnTo>
                    <a:pt x="500" y="1492"/>
                  </a:lnTo>
                  <a:lnTo>
                    <a:pt x="501" y="1492"/>
                  </a:lnTo>
                  <a:lnTo>
                    <a:pt x="501" y="1493"/>
                  </a:lnTo>
                  <a:lnTo>
                    <a:pt x="503" y="1495"/>
                  </a:lnTo>
                  <a:lnTo>
                    <a:pt x="504" y="1495"/>
                  </a:lnTo>
                  <a:lnTo>
                    <a:pt x="506" y="1495"/>
                  </a:lnTo>
                  <a:lnTo>
                    <a:pt x="506" y="1496"/>
                  </a:lnTo>
                  <a:lnTo>
                    <a:pt x="508" y="1496"/>
                  </a:lnTo>
                  <a:lnTo>
                    <a:pt x="506" y="1496"/>
                  </a:lnTo>
                  <a:lnTo>
                    <a:pt x="508" y="1496"/>
                  </a:lnTo>
                  <a:lnTo>
                    <a:pt x="508" y="1498"/>
                  </a:lnTo>
                  <a:lnTo>
                    <a:pt x="506" y="1496"/>
                  </a:lnTo>
                  <a:lnTo>
                    <a:pt x="506" y="1498"/>
                  </a:lnTo>
                  <a:lnTo>
                    <a:pt x="504" y="1496"/>
                  </a:lnTo>
                  <a:lnTo>
                    <a:pt x="503" y="1496"/>
                  </a:lnTo>
                  <a:lnTo>
                    <a:pt x="501" y="1496"/>
                  </a:lnTo>
                  <a:lnTo>
                    <a:pt x="500" y="1496"/>
                  </a:lnTo>
                  <a:lnTo>
                    <a:pt x="498" y="1495"/>
                  </a:lnTo>
                  <a:lnTo>
                    <a:pt x="498" y="1493"/>
                  </a:lnTo>
                  <a:lnTo>
                    <a:pt x="496" y="1492"/>
                  </a:lnTo>
                  <a:lnTo>
                    <a:pt x="498" y="1492"/>
                  </a:lnTo>
                  <a:lnTo>
                    <a:pt x="496" y="1490"/>
                  </a:lnTo>
                  <a:close/>
                  <a:moveTo>
                    <a:pt x="477" y="1490"/>
                  </a:moveTo>
                  <a:lnTo>
                    <a:pt x="475" y="1490"/>
                  </a:lnTo>
                  <a:lnTo>
                    <a:pt x="477" y="1490"/>
                  </a:lnTo>
                  <a:close/>
                  <a:moveTo>
                    <a:pt x="487" y="1490"/>
                  </a:moveTo>
                  <a:lnTo>
                    <a:pt x="487" y="1488"/>
                  </a:lnTo>
                  <a:lnTo>
                    <a:pt x="487" y="1490"/>
                  </a:lnTo>
                  <a:close/>
                  <a:moveTo>
                    <a:pt x="477" y="1488"/>
                  </a:moveTo>
                  <a:lnTo>
                    <a:pt x="475" y="1488"/>
                  </a:lnTo>
                  <a:lnTo>
                    <a:pt x="477" y="1488"/>
                  </a:lnTo>
                  <a:close/>
                  <a:moveTo>
                    <a:pt x="498" y="1488"/>
                  </a:moveTo>
                  <a:lnTo>
                    <a:pt x="498" y="1490"/>
                  </a:lnTo>
                  <a:lnTo>
                    <a:pt x="498" y="1488"/>
                  </a:lnTo>
                  <a:lnTo>
                    <a:pt x="496" y="1488"/>
                  </a:lnTo>
                  <a:lnTo>
                    <a:pt x="496" y="1490"/>
                  </a:lnTo>
                  <a:lnTo>
                    <a:pt x="496" y="1488"/>
                  </a:lnTo>
                  <a:lnTo>
                    <a:pt x="498" y="1488"/>
                  </a:lnTo>
                  <a:close/>
                  <a:moveTo>
                    <a:pt x="477" y="1488"/>
                  </a:moveTo>
                  <a:lnTo>
                    <a:pt x="475" y="1488"/>
                  </a:lnTo>
                  <a:lnTo>
                    <a:pt x="477" y="1488"/>
                  </a:lnTo>
                  <a:close/>
                  <a:moveTo>
                    <a:pt x="496" y="1488"/>
                  </a:moveTo>
                  <a:lnTo>
                    <a:pt x="495" y="1488"/>
                  </a:lnTo>
                  <a:lnTo>
                    <a:pt x="496" y="1488"/>
                  </a:lnTo>
                  <a:close/>
                  <a:moveTo>
                    <a:pt x="498" y="1488"/>
                  </a:moveTo>
                  <a:lnTo>
                    <a:pt x="496" y="1488"/>
                  </a:lnTo>
                  <a:lnTo>
                    <a:pt x="498" y="1488"/>
                  </a:lnTo>
                  <a:close/>
                  <a:moveTo>
                    <a:pt x="496" y="1488"/>
                  </a:moveTo>
                  <a:lnTo>
                    <a:pt x="496" y="1487"/>
                  </a:lnTo>
                  <a:lnTo>
                    <a:pt x="496" y="1488"/>
                  </a:lnTo>
                  <a:close/>
                  <a:moveTo>
                    <a:pt x="498" y="1487"/>
                  </a:moveTo>
                  <a:lnTo>
                    <a:pt x="496" y="1487"/>
                  </a:lnTo>
                  <a:lnTo>
                    <a:pt x="498" y="1487"/>
                  </a:lnTo>
                  <a:close/>
                  <a:moveTo>
                    <a:pt x="485" y="1487"/>
                  </a:moveTo>
                  <a:lnTo>
                    <a:pt x="487" y="1488"/>
                  </a:lnTo>
                  <a:lnTo>
                    <a:pt x="487" y="1487"/>
                  </a:lnTo>
                  <a:lnTo>
                    <a:pt x="487" y="1488"/>
                  </a:lnTo>
                  <a:lnTo>
                    <a:pt x="485" y="1488"/>
                  </a:lnTo>
                  <a:lnTo>
                    <a:pt x="485" y="1487"/>
                  </a:lnTo>
                  <a:close/>
                  <a:moveTo>
                    <a:pt x="500" y="1487"/>
                  </a:moveTo>
                  <a:lnTo>
                    <a:pt x="501" y="1488"/>
                  </a:lnTo>
                  <a:lnTo>
                    <a:pt x="500" y="1487"/>
                  </a:lnTo>
                  <a:close/>
                  <a:moveTo>
                    <a:pt x="498" y="1487"/>
                  </a:moveTo>
                  <a:lnTo>
                    <a:pt x="500" y="1488"/>
                  </a:lnTo>
                  <a:lnTo>
                    <a:pt x="500" y="1490"/>
                  </a:lnTo>
                  <a:lnTo>
                    <a:pt x="500" y="1492"/>
                  </a:lnTo>
                  <a:lnTo>
                    <a:pt x="500" y="1490"/>
                  </a:lnTo>
                  <a:lnTo>
                    <a:pt x="498" y="1490"/>
                  </a:lnTo>
                  <a:lnTo>
                    <a:pt x="498" y="1488"/>
                  </a:lnTo>
                  <a:lnTo>
                    <a:pt x="498" y="1487"/>
                  </a:lnTo>
                  <a:lnTo>
                    <a:pt x="498" y="1488"/>
                  </a:lnTo>
                  <a:lnTo>
                    <a:pt x="498" y="1487"/>
                  </a:lnTo>
                  <a:close/>
                  <a:moveTo>
                    <a:pt x="500" y="1487"/>
                  </a:moveTo>
                  <a:lnTo>
                    <a:pt x="500" y="1485"/>
                  </a:lnTo>
                  <a:lnTo>
                    <a:pt x="500" y="1487"/>
                  </a:lnTo>
                  <a:close/>
                  <a:moveTo>
                    <a:pt x="495" y="1485"/>
                  </a:moveTo>
                  <a:lnTo>
                    <a:pt x="496" y="1485"/>
                  </a:lnTo>
                  <a:lnTo>
                    <a:pt x="496" y="1487"/>
                  </a:lnTo>
                  <a:lnTo>
                    <a:pt x="495" y="1485"/>
                  </a:lnTo>
                  <a:close/>
                  <a:moveTo>
                    <a:pt x="498" y="1485"/>
                  </a:moveTo>
                  <a:lnTo>
                    <a:pt x="496" y="1485"/>
                  </a:lnTo>
                  <a:lnTo>
                    <a:pt x="498" y="1485"/>
                  </a:lnTo>
                  <a:close/>
                  <a:moveTo>
                    <a:pt x="495" y="1485"/>
                  </a:moveTo>
                  <a:lnTo>
                    <a:pt x="493" y="1485"/>
                  </a:lnTo>
                  <a:lnTo>
                    <a:pt x="495" y="1485"/>
                  </a:lnTo>
                  <a:close/>
                  <a:moveTo>
                    <a:pt x="488" y="1483"/>
                  </a:moveTo>
                  <a:lnTo>
                    <a:pt x="487" y="1483"/>
                  </a:lnTo>
                  <a:lnTo>
                    <a:pt x="488" y="1483"/>
                  </a:lnTo>
                  <a:close/>
                  <a:moveTo>
                    <a:pt x="495" y="1483"/>
                  </a:moveTo>
                  <a:lnTo>
                    <a:pt x="493" y="1483"/>
                  </a:lnTo>
                  <a:lnTo>
                    <a:pt x="495" y="1483"/>
                  </a:lnTo>
                  <a:close/>
                  <a:moveTo>
                    <a:pt x="485" y="1483"/>
                  </a:moveTo>
                  <a:lnTo>
                    <a:pt x="483" y="1483"/>
                  </a:lnTo>
                  <a:lnTo>
                    <a:pt x="485" y="1483"/>
                  </a:lnTo>
                  <a:close/>
                  <a:moveTo>
                    <a:pt x="485" y="1482"/>
                  </a:moveTo>
                  <a:lnTo>
                    <a:pt x="485" y="1483"/>
                  </a:lnTo>
                  <a:lnTo>
                    <a:pt x="485" y="1482"/>
                  </a:lnTo>
                  <a:lnTo>
                    <a:pt x="487" y="1483"/>
                  </a:lnTo>
                  <a:lnTo>
                    <a:pt x="488" y="1485"/>
                  </a:lnTo>
                  <a:lnTo>
                    <a:pt x="488" y="1483"/>
                  </a:lnTo>
                  <a:lnTo>
                    <a:pt x="488" y="1485"/>
                  </a:lnTo>
                  <a:lnTo>
                    <a:pt x="487" y="1485"/>
                  </a:lnTo>
                  <a:lnTo>
                    <a:pt x="485" y="1483"/>
                  </a:lnTo>
                  <a:lnTo>
                    <a:pt x="485" y="1482"/>
                  </a:lnTo>
                  <a:close/>
                  <a:moveTo>
                    <a:pt x="493" y="1482"/>
                  </a:moveTo>
                  <a:lnTo>
                    <a:pt x="491" y="1482"/>
                  </a:lnTo>
                  <a:lnTo>
                    <a:pt x="493" y="1482"/>
                  </a:lnTo>
                  <a:close/>
                  <a:moveTo>
                    <a:pt x="483" y="1482"/>
                  </a:moveTo>
                  <a:lnTo>
                    <a:pt x="483" y="1480"/>
                  </a:lnTo>
                  <a:lnTo>
                    <a:pt x="483" y="1482"/>
                  </a:lnTo>
                  <a:close/>
                  <a:moveTo>
                    <a:pt x="483" y="1480"/>
                  </a:moveTo>
                  <a:lnTo>
                    <a:pt x="485" y="1480"/>
                  </a:lnTo>
                  <a:lnTo>
                    <a:pt x="485" y="1482"/>
                  </a:lnTo>
                  <a:lnTo>
                    <a:pt x="485" y="1480"/>
                  </a:lnTo>
                  <a:lnTo>
                    <a:pt x="487" y="1482"/>
                  </a:lnTo>
                  <a:lnTo>
                    <a:pt x="485" y="1482"/>
                  </a:lnTo>
                  <a:lnTo>
                    <a:pt x="483" y="1482"/>
                  </a:lnTo>
                  <a:lnTo>
                    <a:pt x="483" y="1480"/>
                  </a:lnTo>
                  <a:close/>
                  <a:moveTo>
                    <a:pt x="482" y="1480"/>
                  </a:moveTo>
                  <a:lnTo>
                    <a:pt x="483" y="1482"/>
                  </a:lnTo>
                  <a:lnTo>
                    <a:pt x="482" y="1482"/>
                  </a:lnTo>
                  <a:lnTo>
                    <a:pt x="482" y="1480"/>
                  </a:lnTo>
                  <a:close/>
                  <a:moveTo>
                    <a:pt x="482" y="1479"/>
                  </a:moveTo>
                  <a:lnTo>
                    <a:pt x="480" y="1480"/>
                  </a:lnTo>
                  <a:lnTo>
                    <a:pt x="480" y="1479"/>
                  </a:lnTo>
                  <a:lnTo>
                    <a:pt x="482" y="1479"/>
                  </a:lnTo>
                  <a:close/>
                  <a:moveTo>
                    <a:pt x="488" y="1479"/>
                  </a:moveTo>
                  <a:lnTo>
                    <a:pt x="487" y="1479"/>
                  </a:lnTo>
                  <a:lnTo>
                    <a:pt x="488" y="1479"/>
                  </a:lnTo>
                  <a:close/>
                  <a:moveTo>
                    <a:pt x="500" y="1479"/>
                  </a:moveTo>
                  <a:lnTo>
                    <a:pt x="498" y="1477"/>
                  </a:lnTo>
                  <a:lnTo>
                    <a:pt x="500" y="1479"/>
                  </a:lnTo>
                  <a:close/>
                  <a:moveTo>
                    <a:pt x="495" y="1477"/>
                  </a:moveTo>
                  <a:lnTo>
                    <a:pt x="493" y="1477"/>
                  </a:lnTo>
                  <a:lnTo>
                    <a:pt x="495" y="1477"/>
                  </a:lnTo>
                  <a:lnTo>
                    <a:pt x="495" y="1479"/>
                  </a:lnTo>
                  <a:lnTo>
                    <a:pt x="496" y="1479"/>
                  </a:lnTo>
                  <a:lnTo>
                    <a:pt x="498" y="1479"/>
                  </a:lnTo>
                  <a:lnTo>
                    <a:pt x="496" y="1480"/>
                  </a:lnTo>
                  <a:lnTo>
                    <a:pt x="498" y="1480"/>
                  </a:lnTo>
                  <a:lnTo>
                    <a:pt x="500" y="1480"/>
                  </a:lnTo>
                  <a:lnTo>
                    <a:pt x="500" y="1482"/>
                  </a:lnTo>
                  <a:lnTo>
                    <a:pt x="500" y="1483"/>
                  </a:lnTo>
                  <a:lnTo>
                    <a:pt x="498" y="1482"/>
                  </a:lnTo>
                  <a:lnTo>
                    <a:pt x="498" y="1480"/>
                  </a:lnTo>
                  <a:lnTo>
                    <a:pt x="496" y="1480"/>
                  </a:lnTo>
                  <a:lnTo>
                    <a:pt x="496" y="1482"/>
                  </a:lnTo>
                  <a:lnTo>
                    <a:pt x="498" y="1482"/>
                  </a:lnTo>
                  <a:lnTo>
                    <a:pt x="498" y="1483"/>
                  </a:lnTo>
                  <a:lnTo>
                    <a:pt x="500" y="1483"/>
                  </a:lnTo>
                  <a:lnTo>
                    <a:pt x="501" y="1485"/>
                  </a:lnTo>
                  <a:lnTo>
                    <a:pt x="500" y="1485"/>
                  </a:lnTo>
                  <a:lnTo>
                    <a:pt x="500" y="1483"/>
                  </a:lnTo>
                  <a:lnTo>
                    <a:pt x="498" y="1483"/>
                  </a:lnTo>
                  <a:lnTo>
                    <a:pt x="498" y="1485"/>
                  </a:lnTo>
                  <a:lnTo>
                    <a:pt x="500" y="1485"/>
                  </a:lnTo>
                  <a:lnTo>
                    <a:pt x="498" y="1485"/>
                  </a:lnTo>
                  <a:lnTo>
                    <a:pt x="500" y="1485"/>
                  </a:lnTo>
                  <a:lnTo>
                    <a:pt x="498" y="1487"/>
                  </a:lnTo>
                  <a:lnTo>
                    <a:pt x="496" y="1485"/>
                  </a:lnTo>
                  <a:lnTo>
                    <a:pt x="495" y="1485"/>
                  </a:lnTo>
                  <a:lnTo>
                    <a:pt x="495" y="1483"/>
                  </a:lnTo>
                  <a:lnTo>
                    <a:pt x="495" y="1482"/>
                  </a:lnTo>
                  <a:lnTo>
                    <a:pt x="493" y="1482"/>
                  </a:lnTo>
                  <a:lnTo>
                    <a:pt x="493" y="1480"/>
                  </a:lnTo>
                  <a:lnTo>
                    <a:pt x="493" y="1482"/>
                  </a:lnTo>
                  <a:lnTo>
                    <a:pt x="495" y="1480"/>
                  </a:lnTo>
                  <a:lnTo>
                    <a:pt x="495" y="1479"/>
                  </a:lnTo>
                  <a:lnTo>
                    <a:pt x="493" y="1479"/>
                  </a:lnTo>
                  <a:lnTo>
                    <a:pt x="493" y="1477"/>
                  </a:lnTo>
                  <a:lnTo>
                    <a:pt x="493" y="1475"/>
                  </a:lnTo>
                  <a:lnTo>
                    <a:pt x="495" y="1477"/>
                  </a:lnTo>
                  <a:close/>
                  <a:moveTo>
                    <a:pt x="491" y="1475"/>
                  </a:moveTo>
                  <a:lnTo>
                    <a:pt x="491" y="1477"/>
                  </a:lnTo>
                  <a:lnTo>
                    <a:pt x="491" y="1475"/>
                  </a:lnTo>
                  <a:close/>
                  <a:moveTo>
                    <a:pt x="488" y="1475"/>
                  </a:moveTo>
                  <a:lnTo>
                    <a:pt x="488" y="1477"/>
                  </a:lnTo>
                  <a:lnTo>
                    <a:pt x="487" y="1475"/>
                  </a:lnTo>
                  <a:lnTo>
                    <a:pt x="488" y="1475"/>
                  </a:lnTo>
                  <a:close/>
                  <a:moveTo>
                    <a:pt x="490" y="1475"/>
                  </a:moveTo>
                  <a:lnTo>
                    <a:pt x="491" y="1475"/>
                  </a:lnTo>
                  <a:lnTo>
                    <a:pt x="491" y="1477"/>
                  </a:lnTo>
                  <a:lnTo>
                    <a:pt x="490" y="1475"/>
                  </a:lnTo>
                  <a:lnTo>
                    <a:pt x="491" y="1477"/>
                  </a:lnTo>
                  <a:lnTo>
                    <a:pt x="491" y="1479"/>
                  </a:lnTo>
                  <a:lnTo>
                    <a:pt x="493" y="1480"/>
                  </a:lnTo>
                  <a:lnTo>
                    <a:pt x="491" y="1479"/>
                  </a:lnTo>
                  <a:lnTo>
                    <a:pt x="491" y="1480"/>
                  </a:lnTo>
                  <a:lnTo>
                    <a:pt x="491" y="1479"/>
                  </a:lnTo>
                  <a:lnTo>
                    <a:pt x="490" y="1479"/>
                  </a:lnTo>
                  <a:lnTo>
                    <a:pt x="490" y="1477"/>
                  </a:lnTo>
                  <a:lnTo>
                    <a:pt x="488" y="1477"/>
                  </a:lnTo>
                  <a:lnTo>
                    <a:pt x="488" y="1475"/>
                  </a:lnTo>
                  <a:lnTo>
                    <a:pt x="490" y="1475"/>
                  </a:lnTo>
                  <a:close/>
                  <a:moveTo>
                    <a:pt x="493" y="1477"/>
                  </a:moveTo>
                  <a:lnTo>
                    <a:pt x="491" y="1477"/>
                  </a:lnTo>
                  <a:lnTo>
                    <a:pt x="493" y="1475"/>
                  </a:lnTo>
                  <a:lnTo>
                    <a:pt x="491" y="1475"/>
                  </a:lnTo>
                  <a:lnTo>
                    <a:pt x="493" y="1475"/>
                  </a:lnTo>
                  <a:lnTo>
                    <a:pt x="493" y="1474"/>
                  </a:lnTo>
                  <a:lnTo>
                    <a:pt x="493" y="1475"/>
                  </a:lnTo>
                  <a:lnTo>
                    <a:pt x="493" y="1477"/>
                  </a:lnTo>
                  <a:close/>
                  <a:moveTo>
                    <a:pt x="490" y="1474"/>
                  </a:moveTo>
                  <a:lnTo>
                    <a:pt x="490" y="1475"/>
                  </a:lnTo>
                  <a:lnTo>
                    <a:pt x="490" y="1474"/>
                  </a:lnTo>
                  <a:lnTo>
                    <a:pt x="490" y="1475"/>
                  </a:lnTo>
                  <a:lnTo>
                    <a:pt x="490" y="1474"/>
                  </a:lnTo>
                  <a:lnTo>
                    <a:pt x="490" y="1475"/>
                  </a:lnTo>
                  <a:lnTo>
                    <a:pt x="488" y="1474"/>
                  </a:lnTo>
                  <a:lnTo>
                    <a:pt x="490" y="1474"/>
                  </a:lnTo>
                  <a:close/>
                  <a:moveTo>
                    <a:pt x="490" y="1474"/>
                  </a:moveTo>
                  <a:lnTo>
                    <a:pt x="488" y="1474"/>
                  </a:lnTo>
                  <a:lnTo>
                    <a:pt x="490" y="1474"/>
                  </a:lnTo>
                  <a:close/>
                  <a:moveTo>
                    <a:pt x="491" y="1474"/>
                  </a:moveTo>
                  <a:lnTo>
                    <a:pt x="490" y="1474"/>
                  </a:lnTo>
                  <a:lnTo>
                    <a:pt x="490" y="1472"/>
                  </a:lnTo>
                  <a:lnTo>
                    <a:pt x="491" y="1474"/>
                  </a:lnTo>
                  <a:close/>
                  <a:moveTo>
                    <a:pt x="498" y="1474"/>
                  </a:moveTo>
                  <a:lnTo>
                    <a:pt x="496" y="1474"/>
                  </a:lnTo>
                  <a:lnTo>
                    <a:pt x="496" y="1472"/>
                  </a:lnTo>
                  <a:lnTo>
                    <a:pt x="498" y="1474"/>
                  </a:lnTo>
                  <a:close/>
                  <a:moveTo>
                    <a:pt x="495" y="1474"/>
                  </a:moveTo>
                  <a:lnTo>
                    <a:pt x="493" y="1474"/>
                  </a:lnTo>
                  <a:lnTo>
                    <a:pt x="493" y="1472"/>
                  </a:lnTo>
                  <a:lnTo>
                    <a:pt x="495" y="1472"/>
                  </a:lnTo>
                  <a:lnTo>
                    <a:pt x="495" y="1474"/>
                  </a:lnTo>
                  <a:close/>
                  <a:moveTo>
                    <a:pt x="490" y="1470"/>
                  </a:moveTo>
                  <a:lnTo>
                    <a:pt x="490" y="1472"/>
                  </a:lnTo>
                  <a:lnTo>
                    <a:pt x="490" y="1470"/>
                  </a:lnTo>
                  <a:close/>
                  <a:moveTo>
                    <a:pt x="498" y="1469"/>
                  </a:moveTo>
                  <a:lnTo>
                    <a:pt x="500" y="1470"/>
                  </a:lnTo>
                  <a:lnTo>
                    <a:pt x="498" y="1470"/>
                  </a:lnTo>
                  <a:lnTo>
                    <a:pt x="498" y="1469"/>
                  </a:lnTo>
                  <a:close/>
                  <a:moveTo>
                    <a:pt x="503" y="1467"/>
                  </a:moveTo>
                  <a:lnTo>
                    <a:pt x="503" y="1469"/>
                  </a:lnTo>
                  <a:lnTo>
                    <a:pt x="503" y="1467"/>
                  </a:lnTo>
                  <a:close/>
                  <a:moveTo>
                    <a:pt x="503" y="1467"/>
                  </a:moveTo>
                  <a:lnTo>
                    <a:pt x="501" y="1467"/>
                  </a:lnTo>
                  <a:lnTo>
                    <a:pt x="503" y="1467"/>
                  </a:lnTo>
                  <a:close/>
                  <a:moveTo>
                    <a:pt x="504" y="1467"/>
                  </a:moveTo>
                  <a:lnTo>
                    <a:pt x="504" y="1466"/>
                  </a:lnTo>
                  <a:lnTo>
                    <a:pt x="504" y="1467"/>
                  </a:lnTo>
                  <a:close/>
                  <a:moveTo>
                    <a:pt x="501" y="1467"/>
                  </a:moveTo>
                  <a:lnTo>
                    <a:pt x="501" y="1466"/>
                  </a:lnTo>
                  <a:lnTo>
                    <a:pt x="501" y="1467"/>
                  </a:lnTo>
                  <a:close/>
                  <a:moveTo>
                    <a:pt x="498" y="1466"/>
                  </a:moveTo>
                  <a:lnTo>
                    <a:pt x="500" y="1467"/>
                  </a:lnTo>
                  <a:lnTo>
                    <a:pt x="498" y="1467"/>
                  </a:lnTo>
                  <a:lnTo>
                    <a:pt x="498" y="1466"/>
                  </a:lnTo>
                  <a:close/>
                  <a:moveTo>
                    <a:pt x="500" y="1466"/>
                  </a:moveTo>
                  <a:lnTo>
                    <a:pt x="501" y="1466"/>
                  </a:lnTo>
                  <a:lnTo>
                    <a:pt x="500" y="1466"/>
                  </a:lnTo>
                  <a:close/>
                  <a:moveTo>
                    <a:pt x="496" y="1466"/>
                  </a:moveTo>
                  <a:lnTo>
                    <a:pt x="495" y="1466"/>
                  </a:lnTo>
                  <a:lnTo>
                    <a:pt x="496" y="1466"/>
                  </a:lnTo>
                  <a:close/>
                  <a:moveTo>
                    <a:pt x="498" y="1466"/>
                  </a:moveTo>
                  <a:lnTo>
                    <a:pt x="500" y="1466"/>
                  </a:lnTo>
                  <a:lnTo>
                    <a:pt x="498" y="1466"/>
                  </a:lnTo>
                  <a:close/>
                  <a:moveTo>
                    <a:pt x="496" y="1462"/>
                  </a:moveTo>
                  <a:lnTo>
                    <a:pt x="496" y="1461"/>
                  </a:lnTo>
                  <a:lnTo>
                    <a:pt x="496" y="1462"/>
                  </a:lnTo>
                  <a:close/>
                  <a:moveTo>
                    <a:pt x="501" y="1459"/>
                  </a:moveTo>
                  <a:lnTo>
                    <a:pt x="501" y="1461"/>
                  </a:lnTo>
                  <a:lnTo>
                    <a:pt x="501" y="1459"/>
                  </a:lnTo>
                  <a:close/>
                  <a:moveTo>
                    <a:pt x="501" y="1461"/>
                  </a:moveTo>
                  <a:lnTo>
                    <a:pt x="501" y="1459"/>
                  </a:lnTo>
                  <a:lnTo>
                    <a:pt x="501" y="1461"/>
                  </a:lnTo>
                  <a:close/>
                  <a:moveTo>
                    <a:pt x="500" y="1459"/>
                  </a:moveTo>
                  <a:lnTo>
                    <a:pt x="501" y="1459"/>
                  </a:lnTo>
                  <a:lnTo>
                    <a:pt x="501" y="1461"/>
                  </a:lnTo>
                  <a:lnTo>
                    <a:pt x="501" y="1462"/>
                  </a:lnTo>
                  <a:lnTo>
                    <a:pt x="500" y="1462"/>
                  </a:lnTo>
                  <a:lnTo>
                    <a:pt x="501" y="1462"/>
                  </a:lnTo>
                  <a:lnTo>
                    <a:pt x="500" y="1462"/>
                  </a:lnTo>
                  <a:lnTo>
                    <a:pt x="498" y="1461"/>
                  </a:lnTo>
                  <a:lnTo>
                    <a:pt x="500" y="1461"/>
                  </a:lnTo>
                  <a:lnTo>
                    <a:pt x="498" y="1461"/>
                  </a:lnTo>
                  <a:lnTo>
                    <a:pt x="496" y="1461"/>
                  </a:lnTo>
                  <a:lnTo>
                    <a:pt x="496" y="1459"/>
                  </a:lnTo>
                  <a:lnTo>
                    <a:pt x="498" y="1459"/>
                  </a:lnTo>
                  <a:lnTo>
                    <a:pt x="498" y="1457"/>
                  </a:lnTo>
                  <a:lnTo>
                    <a:pt x="498" y="1459"/>
                  </a:lnTo>
                  <a:lnTo>
                    <a:pt x="500" y="1459"/>
                  </a:lnTo>
                  <a:close/>
                  <a:moveTo>
                    <a:pt x="1355" y="1085"/>
                  </a:moveTo>
                  <a:lnTo>
                    <a:pt x="1355" y="1087"/>
                  </a:lnTo>
                  <a:lnTo>
                    <a:pt x="1355" y="1085"/>
                  </a:lnTo>
                  <a:close/>
                  <a:moveTo>
                    <a:pt x="1350" y="1044"/>
                  </a:moveTo>
                  <a:lnTo>
                    <a:pt x="1350" y="1046"/>
                  </a:lnTo>
                  <a:lnTo>
                    <a:pt x="1350" y="1044"/>
                  </a:lnTo>
                  <a:close/>
                  <a:moveTo>
                    <a:pt x="1340" y="1023"/>
                  </a:moveTo>
                  <a:lnTo>
                    <a:pt x="1340" y="1025"/>
                  </a:lnTo>
                  <a:lnTo>
                    <a:pt x="1340" y="1023"/>
                  </a:lnTo>
                  <a:lnTo>
                    <a:pt x="1340" y="1022"/>
                  </a:lnTo>
                  <a:lnTo>
                    <a:pt x="1340" y="1023"/>
                  </a:lnTo>
                  <a:close/>
                  <a:moveTo>
                    <a:pt x="1342" y="1017"/>
                  </a:moveTo>
                  <a:lnTo>
                    <a:pt x="1342" y="1018"/>
                  </a:lnTo>
                  <a:lnTo>
                    <a:pt x="1342" y="1017"/>
                  </a:lnTo>
                  <a:lnTo>
                    <a:pt x="1344" y="1017"/>
                  </a:lnTo>
                  <a:lnTo>
                    <a:pt x="1342" y="1017"/>
                  </a:lnTo>
                  <a:close/>
                  <a:moveTo>
                    <a:pt x="1345" y="1017"/>
                  </a:moveTo>
                  <a:lnTo>
                    <a:pt x="1344" y="1017"/>
                  </a:lnTo>
                  <a:lnTo>
                    <a:pt x="1345" y="1015"/>
                  </a:lnTo>
                  <a:lnTo>
                    <a:pt x="1345" y="1017"/>
                  </a:lnTo>
                  <a:close/>
                  <a:moveTo>
                    <a:pt x="1334" y="992"/>
                  </a:moveTo>
                  <a:lnTo>
                    <a:pt x="1332" y="994"/>
                  </a:lnTo>
                  <a:lnTo>
                    <a:pt x="1332" y="992"/>
                  </a:lnTo>
                  <a:lnTo>
                    <a:pt x="1334" y="992"/>
                  </a:lnTo>
                  <a:lnTo>
                    <a:pt x="1332" y="992"/>
                  </a:lnTo>
                  <a:lnTo>
                    <a:pt x="1334" y="992"/>
                  </a:lnTo>
                  <a:close/>
                  <a:moveTo>
                    <a:pt x="1339" y="991"/>
                  </a:moveTo>
                  <a:lnTo>
                    <a:pt x="1339" y="989"/>
                  </a:lnTo>
                  <a:lnTo>
                    <a:pt x="1339" y="991"/>
                  </a:lnTo>
                  <a:close/>
                  <a:moveTo>
                    <a:pt x="1329" y="986"/>
                  </a:moveTo>
                  <a:lnTo>
                    <a:pt x="1331" y="986"/>
                  </a:lnTo>
                  <a:lnTo>
                    <a:pt x="1329" y="986"/>
                  </a:lnTo>
                  <a:close/>
                  <a:moveTo>
                    <a:pt x="1116" y="984"/>
                  </a:moveTo>
                  <a:lnTo>
                    <a:pt x="1114" y="984"/>
                  </a:lnTo>
                  <a:lnTo>
                    <a:pt x="1116" y="984"/>
                  </a:lnTo>
                  <a:close/>
                  <a:moveTo>
                    <a:pt x="1119" y="978"/>
                  </a:moveTo>
                  <a:lnTo>
                    <a:pt x="1119" y="976"/>
                  </a:lnTo>
                  <a:lnTo>
                    <a:pt x="1119" y="978"/>
                  </a:lnTo>
                  <a:close/>
                  <a:moveTo>
                    <a:pt x="1327" y="966"/>
                  </a:moveTo>
                  <a:lnTo>
                    <a:pt x="1327" y="965"/>
                  </a:lnTo>
                  <a:lnTo>
                    <a:pt x="1327" y="966"/>
                  </a:lnTo>
                  <a:close/>
                  <a:moveTo>
                    <a:pt x="1324" y="942"/>
                  </a:moveTo>
                  <a:lnTo>
                    <a:pt x="1326" y="943"/>
                  </a:lnTo>
                  <a:lnTo>
                    <a:pt x="1324" y="942"/>
                  </a:lnTo>
                  <a:close/>
                  <a:moveTo>
                    <a:pt x="1324" y="940"/>
                  </a:moveTo>
                  <a:lnTo>
                    <a:pt x="1324" y="942"/>
                  </a:lnTo>
                  <a:lnTo>
                    <a:pt x="1324" y="940"/>
                  </a:lnTo>
                  <a:close/>
                  <a:moveTo>
                    <a:pt x="1326" y="939"/>
                  </a:moveTo>
                  <a:lnTo>
                    <a:pt x="1326" y="940"/>
                  </a:lnTo>
                  <a:lnTo>
                    <a:pt x="1326" y="939"/>
                  </a:lnTo>
                  <a:close/>
                  <a:moveTo>
                    <a:pt x="1331" y="930"/>
                  </a:moveTo>
                  <a:lnTo>
                    <a:pt x="1331" y="932"/>
                  </a:lnTo>
                  <a:lnTo>
                    <a:pt x="1331" y="930"/>
                  </a:lnTo>
                  <a:lnTo>
                    <a:pt x="1331" y="932"/>
                  </a:lnTo>
                  <a:lnTo>
                    <a:pt x="1329" y="932"/>
                  </a:lnTo>
                  <a:lnTo>
                    <a:pt x="1331" y="930"/>
                  </a:lnTo>
                  <a:close/>
                  <a:moveTo>
                    <a:pt x="1331" y="930"/>
                  </a:moveTo>
                  <a:lnTo>
                    <a:pt x="1329" y="930"/>
                  </a:lnTo>
                  <a:lnTo>
                    <a:pt x="1331" y="930"/>
                  </a:lnTo>
                  <a:close/>
                  <a:moveTo>
                    <a:pt x="1327" y="929"/>
                  </a:moveTo>
                  <a:lnTo>
                    <a:pt x="1329" y="929"/>
                  </a:lnTo>
                  <a:lnTo>
                    <a:pt x="1327" y="929"/>
                  </a:lnTo>
                  <a:lnTo>
                    <a:pt x="1327" y="927"/>
                  </a:lnTo>
                  <a:lnTo>
                    <a:pt x="1327" y="929"/>
                  </a:lnTo>
                  <a:close/>
                  <a:moveTo>
                    <a:pt x="1324" y="927"/>
                  </a:moveTo>
                  <a:lnTo>
                    <a:pt x="1322" y="927"/>
                  </a:lnTo>
                  <a:lnTo>
                    <a:pt x="1324" y="927"/>
                  </a:lnTo>
                  <a:close/>
                  <a:moveTo>
                    <a:pt x="1319" y="927"/>
                  </a:moveTo>
                  <a:lnTo>
                    <a:pt x="1318" y="927"/>
                  </a:lnTo>
                  <a:lnTo>
                    <a:pt x="1319" y="927"/>
                  </a:lnTo>
                  <a:close/>
                  <a:moveTo>
                    <a:pt x="1326" y="927"/>
                  </a:moveTo>
                  <a:lnTo>
                    <a:pt x="1327" y="927"/>
                  </a:lnTo>
                  <a:lnTo>
                    <a:pt x="1326" y="927"/>
                  </a:lnTo>
                  <a:close/>
                  <a:moveTo>
                    <a:pt x="1322" y="926"/>
                  </a:moveTo>
                  <a:lnTo>
                    <a:pt x="1321" y="924"/>
                  </a:lnTo>
                  <a:lnTo>
                    <a:pt x="1322" y="926"/>
                  </a:lnTo>
                  <a:close/>
                  <a:moveTo>
                    <a:pt x="1322" y="922"/>
                  </a:moveTo>
                  <a:lnTo>
                    <a:pt x="1322" y="924"/>
                  </a:lnTo>
                  <a:lnTo>
                    <a:pt x="1322" y="922"/>
                  </a:lnTo>
                  <a:close/>
                  <a:moveTo>
                    <a:pt x="1321" y="922"/>
                  </a:moveTo>
                  <a:lnTo>
                    <a:pt x="1321" y="924"/>
                  </a:lnTo>
                  <a:lnTo>
                    <a:pt x="1321" y="926"/>
                  </a:lnTo>
                  <a:lnTo>
                    <a:pt x="1322" y="926"/>
                  </a:lnTo>
                  <a:lnTo>
                    <a:pt x="1322" y="927"/>
                  </a:lnTo>
                  <a:lnTo>
                    <a:pt x="1322" y="926"/>
                  </a:lnTo>
                  <a:lnTo>
                    <a:pt x="1321" y="926"/>
                  </a:lnTo>
                  <a:lnTo>
                    <a:pt x="1321" y="924"/>
                  </a:lnTo>
                  <a:lnTo>
                    <a:pt x="1321" y="922"/>
                  </a:lnTo>
                  <a:close/>
                  <a:moveTo>
                    <a:pt x="1326" y="922"/>
                  </a:moveTo>
                  <a:lnTo>
                    <a:pt x="1324" y="922"/>
                  </a:lnTo>
                  <a:lnTo>
                    <a:pt x="1326" y="922"/>
                  </a:lnTo>
                  <a:close/>
                  <a:moveTo>
                    <a:pt x="1322" y="922"/>
                  </a:moveTo>
                  <a:lnTo>
                    <a:pt x="1321" y="922"/>
                  </a:lnTo>
                  <a:lnTo>
                    <a:pt x="1322" y="922"/>
                  </a:lnTo>
                  <a:close/>
                  <a:moveTo>
                    <a:pt x="1327" y="921"/>
                  </a:moveTo>
                  <a:lnTo>
                    <a:pt x="1329" y="921"/>
                  </a:lnTo>
                  <a:lnTo>
                    <a:pt x="1327" y="921"/>
                  </a:lnTo>
                  <a:lnTo>
                    <a:pt x="1327" y="922"/>
                  </a:lnTo>
                  <a:lnTo>
                    <a:pt x="1327" y="919"/>
                  </a:lnTo>
                  <a:lnTo>
                    <a:pt x="1329" y="919"/>
                  </a:lnTo>
                  <a:lnTo>
                    <a:pt x="1327" y="921"/>
                  </a:lnTo>
                  <a:close/>
                  <a:moveTo>
                    <a:pt x="1327" y="921"/>
                  </a:moveTo>
                  <a:lnTo>
                    <a:pt x="1326" y="921"/>
                  </a:lnTo>
                  <a:lnTo>
                    <a:pt x="1324" y="922"/>
                  </a:lnTo>
                  <a:lnTo>
                    <a:pt x="1322" y="921"/>
                  </a:lnTo>
                  <a:lnTo>
                    <a:pt x="1324" y="921"/>
                  </a:lnTo>
                  <a:lnTo>
                    <a:pt x="1326" y="921"/>
                  </a:lnTo>
                  <a:lnTo>
                    <a:pt x="1327" y="921"/>
                  </a:lnTo>
                  <a:lnTo>
                    <a:pt x="1327" y="919"/>
                  </a:lnTo>
                  <a:lnTo>
                    <a:pt x="1327" y="921"/>
                  </a:lnTo>
                  <a:close/>
                  <a:moveTo>
                    <a:pt x="1327" y="917"/>
                  </a:moveTo>
                  <a:lnTo>
                    <a:pt x="1327" y="919"/>
                  </a:lnTo>
                  <a:lnTo>
                    <a:pt x="1327" y="917"/>
                  </a:lnTo>
                  <a:close/>
                  <a:moveTo>
                    <a:pt x="1327" y="916"/>
                  </a:moveTo>
                  <a:lnTo>
                    <a:pt x="1327" y="914"/>
                  </a:lnTo>
                  <a:lnTo>
                    <a:pt x="1327" y="916"/>
                  </a:lnTo>
                  <a:close/>
                  <a:moveTo>
                    <a:pt x="1327" y="914"/>
                  </a:moveTo>
                  <a:lnTo>
                    <a:pt x="1326" y="914"/>
                  </a:lnTo>
                  <a:lnTo>
                    <a:pt x="1327" y="914"/>
                  </a:lnTo>
                  <a:close/>
                  <a:moveTo>
                    <a:pt x="1327" y="914"/>
                  </a:moveTo>
                  <a:lnTo>
                    <a:pt x="1327" y="916"/>
                  </a:lnTo>
                  <a:lnTo>
                    <a:pt x="1327" y="914"/>
                  </a:lnTo>
                  <a:lnTo>
                    <a:pt x="1326" y="914"/>
                  </a:lnTo>
                  <a:lnTo>
                    <a:pt x="1327" y="914"/>
                  </a:lnTo>
                  <a:close/>
                  <a:moveTo>
                    <a:pt x="1070" y="914"/>
                  </a:moveTo>
                  <a:lnTo>
                    <a:pt x="1072" y="914"/>
                  </a:lnTo>
                  <a:lnTo>
                    <a:pt x="1070" y="914"/>
                  </a:lnTo>
                  <a:close/>
                  <a:moveTo>
                    <a:pt x="1324" y="913"/>
                  </a:moveTo>
                  <a:lnTo>
                    <a:pt x="1322" y="913"/>
                  </a:lnTo>
                  <a:lnTo>
                    <a:pt x="1324" y="913"/>
                  </a:lnTo>
                  <a:close/>
                  <a:moveTo>
                    <a:pt x="1322" y="913"/>
                  </a:moveTo>
                  <a:lnTo>
                    <a:pt x="1321" y="913"/>
                  </a:lnTo>
                  <a:lnTo>
                    <a:pt x="1322" y="913"/>
                  </a:lnTo>
                  <a:close/>
                  <a:moveTo>
                    <a:pt x="1319" y="913"/>
                  </a:moveTo>
                  <a:lnTo>
                    <a:pt x="1321" y="913"/>
                  </a:lnTo>
                  <a:lnTo>
                    <a:pt x="1319" y="913"/>
                  </a:lnTo>
                  <a:close/>
                  <a:moveTo>
                    <a:pt x="1324" y="913"/>
                  </a:moveTo>
                  <a:lnTo>
                    <a:pt x="1326" y="913"/>
                  </a:lnTo>
                  <a:lnTo>
                    <a:pt x="1324" y="913"/>
                  </a:lnTo>
                  <a:close/>
                  <a:moveTo>
                    <a:pt x="1316" y="911"/>
                  </a:moveTo>
                  <a:lnTo>
                    <a:pt x="1316" y="909"/>
                  </a:lnTo>
                  <a:lnTo>
                    <a:pt x="1314" y="909"/>
                  </a:lnTo>
                  <a:lnTo>
                    <a:pt x="1316" y="909"/>
                  </a:lnTo>
                  <a:lnTo>
                    <a:pt x="1316" y="911"/>
                  </a:lnTo>
                  <a:close/>
                  <a:moveTo>
                    <a:pt x="1316" y="911"/>
                  </a:moveTo>
                  <a:lnTo>
                    <a:pt x="1318" y="913"/>
                  </a:lnTo>
                  <a:lnTo>
                    <a:pt x="1316" y="911"/>
                  </a:lnTo>
                  <a:lnTo>
                    <a:pt x="1314" y="911"/>
                  </a:lnTo>
                  <a:lnTo>
                    <a:pt x="1314" y="909"/>
                  </a:lnTo>
                  <a:lnTo>
                    <a:pt x="1316" y="911"/>
                  </a:lnTo>
                  <a:lnTo>
                    <a:pt x="1314" y="909"/>
                  </a:lnTo>
                  <a:lnTo>
                    <a:pt x="1316" y="911"/>
                  </a:lnTo>
                  <a:close/>
                  <a:moveTo>
                    <a:pt x="1318" y="908"/>
                  </a:moveTo>
                  <a:lnTo>
                    <a:pt x="1316" y="908"/>
                  </a:lnTo>
                  <a:lnTo>
                    <a:pt x="1318" y="908"/>
                  </a:lnTo>
                  <a:close/>
                  <a:moveTo>
                    <a:pt x="1324" y="908"/>
                  </a:moveTo>
                  <a:lnTo>
                    <a:pt x="1322" y="908"/>
                  </a:lnTo>
                  <a:lnTo>
                    <a:pt x="1324" y="908"/>
                  </a:lnTo>
                  <a:close/>
                  <a:moveTo>
                    <a:pt x="1326" y="908"/>
                  </a:moveTo>
                  <a:lnTo>
                    <a:pt x="1324" y="908"/>
                  </a:lnTo>
                  <a:lnTo>
                    <a:pt x="1326" y="908"/>
                  </a:lnTo>
                  <a:close/>
                  <a:moveTo>
                    <a:pt x="1319" y="906"/>
                  </a:moveTo>
                  <a:lnTo>
                    <a:pt x="1318" y="906"/>
                  </a:lnTo>
                  <a:lnTo>
                    <a:pt x="1319" y="906"/>
                  </a:lnTo>
                  <a:close/>
                  <a:moveTo>
                    <a:pt x="1049" y="906"/>
                  </a:moveTo>
                  <a:lnTo>
                    <a:pt x="1051" y="906"/>
                  </a:lnTo>
                  <a:lnTo>
                    <a:pt x="1049" y="906"/>
                  </a:lnTo>
                  <a:close/>
                  <a:moveTo>
                    <a:pt x="1321" y="898"/>
                  </a:moveTo>
                  <a:lnTo>
                    <a:pt x="1321" y="900"/>
                  </a:lnTo>
                  <a:lnTo>
                    <a:pt x="1321" y="898"/>
                  </a:lnTo>
                  <a:close/>
                  <a:moveTo>
                    <a:pt x="1321" y="898"/>
                  </a:moveTo>
                  <a:lnTo>
                    <a:pt x="1322" y="898"/>
                  </a:lnTo>
                  <a:lnTo>
                    <a:pt x="1321" y="898"/>
                  </a:lnTo>
                  <a:lnTo>
                    <a:pt x="1322" y="900"/>
                  </a:lnTo>
                  <a:lnTo>
                    <a:pt x="1321" y="900"/>
                  </a:lnTo>
                  <a:lnTo>
                    <a:pt x="1322" y="900"/>
                  </a:lnTo>
                  <a:lnTo>
                    <a:pt x="1321" y="898"/>
                  </a:lnTo>
                  <a:close/>
                  <a:moveTo>
                    <a:pt x="1321" y="895"/>
                  </a:moveTo>
                  <a:lnTo>
                    <a:pt x="1319" y="895"/>
                  </a:lnTo>
                  <a:lnTo>
                    <a:pt x="1321" y="895"/>
                  </a:lnTo>
                  <a:close/>
                  <a:moveTo>
                    <a:pt x="1321" y="895"/>
                  </a:moveTo>
                  <a:lnTo>
                    <a:pt x="1319" y="895"/>
                  </a:lnTo>
                  <a:lnTo>
                    <a:pt x="1321" y="895"/>
                  </a:lnTo>
                  <a:close/>
                  <a:moveTo>
                    <a:pt x="1318" y="895"/>
                  </a:moveTo>
                  <a:lnTo>
                    <a:pt x="1316" y="895"/>
                  </a:lnTo>
                  <a:lnTo>
                    <a:pt x="1318" y="895"/>
                  </a:lnTo>
                  <a:close/>
                  <a:moveTo>
                    <a:pt x="1318" y="893"/>
                  </a:moveTo>
                  <a:lnTo>
                    <a:pt x="1319" y="893"/>
                  </a:lnTo>
                  <a:lnTo>
                    <a:pt x="1318" y="893"/>
                  </a:lnTo>
                  <a:close/>
                  <a:moveTo>
                    <a:pt x="1319" y="891"/>
                  </a:moveTo>
                  <a:lnTo>
                    <a:pt x="1319" y="893"/>
                  </a:lnTo>
                  <a:lnTo>
                    <a:pt x="1319" y="895"/>
                  </a:lnTo>
                  <a:lnTo>
                    <a:pt x="1319" y="893"/>
                  </a:lnTo>
                  <a:lnTo>
                    <a:pt x="1319" y="891"/>
                  </a:lnTo>
                  <a:close/>
                  <a:moveTo>
                    <a:pt x="1316" y="891"/>
                  </a:moveTo>
                  <a:lnTo>
                    <a:pt x="1314" y="891"/>
                  </a:lnTo>
                  <a:lnTo>
                    <a:pt x="1316" y="891"/>
                  </a:lnTo>
                  <a:close/>
                  <a:moveTo>
                    <a:pt x="1313" y="891"/>
                  </a:moveTo>
                  <a:lnTo>
                    <a:pt x="1314" y="891"/>
                  </a:lnTo>
                  <a:lnTo>
                    <a:pt x="1313" y="891"/>
                  </a:lnTo>
                  <a:close/>
                  <a:moveTo>
                    <a:pt x="1311" y="890"/>
                  </a:moveTo>
                  <a:lnTo>
                    <a:pt x="1313" y="890"/>
                  </a:lnTo>
                  <a:lnTo>
                    <a:pt x="1311" y="890"/>
                  </a:lnTo>
                  <a:lnTo>
                    <a:pt x="1311" y="888"/>
                  </a:lnTo>
                  <a:lnTo>
                    <a:pt x="1311" y="890"/>
                  </a:lnTo>
                  <a:close/>
                  <a:moveTo>
                    <a:pt x="1316" y="887"/>
                  </a:moveTo>
                  <a:lnTo>
                    <a:pt x="1316" y="888"/>
                  </a:lnTo>
                  <a:lnTo>
                    <a:pt x="1316" y="887"/>
                  </a:lnTo>
                  <a:close/>
                  <a:moveTo>
                    <a:pt x="1316" y="887"/>
                  </a:moveTo>
                  <a:lnTo>
                    <a:pt x="1314" y="887"/>
                  </a:lnTo>
                  <a:lnTo>
                    <a:pt x="1316" y="887"/>
                  </a:lnTo>
                  <a:close/>
                  <a:moveTo>
                    <a:pt x="1309" y="885"/>
                  </a:moveTo>
                  <a:lnTo>
                    <a:pt x="1309" y="887"/>
                  </a:lnTo>
                  <a:lnTo>
                    <a:pt x="1309" y="885"/>
                  </a:lnTo>
                  <a:close/>
                  <a:moveTo>
                    <a:pt x="1309" y="885"/>
                  </a:moveTo>
                  <a:lnTo>
                    <a:pt x="1309" y="887"/>
                  </a:lnTo>
                  <a:lnTo>
                    <a:pt x="1309" y="885"/>
                  </a:lnTo>
                  <a:lnTo>
                    <a:pt x="1311" y="885"/>
                  </a:lnTo>
                  <a:lnTo>
                    <a:pt x="1309" y="885"/>
                  </a:lnTo>
                  <a:lnTo>
                    <a:pt x="1311" y="885"/>
                  </a:lnTo>
                  <a:lnTo>
                    <a:pt x="1309" y="885"/>
                  </a:lnTo>
                  <a:close/>
                  <a:moveTo>
                    <a:pt x="1311" y="883"/>
                  </a:moveTo>
                  <a:lnTo>
                    <a:pt x="1313" y="885"/>
                  </a:lnTo>
                  <a:lnTo>
                    <a:pt x="1311" y="885"/>
                  </a:lnTo>
                  <a:lnTo>
                    <a:pt x="1309" y="885"/>
                  </a:lnTo>
                  <a:lnTo>
                    <a:pt x="1311" y="883"/>
                  </a:lnTo>
                  <a:close/>
                  <a:moveTo>
                    <a:pt x="1292" y="872"/>
                  </a:moveTo>
                  <a:lnTo>
                    <a:pt x="1293" y="872"/>
                  </a:lnTo>
                  <a:lnTo>
                    <a:pt x="1292" y="872"/>
                  </a:lnTo>
                  <a:close/>
                  <a:moveTo>
                    <a:pt x="1296" y="872"/>
                  </a:moveTo>
                  <a:lnTo>
                    <a:pt x="1296" y="874"/>
                  </a:lnTo>
                  <a:lnTo>
                    <a:pt x="1296" y="872"/>
                  </a:lnTo>
                  <a:lnTo>
                    <a:pt x="1296" y="870"/>
                  </a:lnTo>
                  <a:lnTo>
                    <a:pt x="1296" y="872"/>
                  </a:lnTo>
                  <a:close/>
                  <a:moveTo>
                    <a:pt x="1295" y="859"/>
                  </a:moveTo>
                  <a:lnTo>
                    <a:pt x="1295" y="861"/>
                  </a:lnTo>
                  <a:lnTo>
                    <a:pt x="1295" y="859"/>
                  </a:lnTo>
                  <a:lnTo>
                    <a:pt x="1293" y="859"/>
                  </a:lnTo>
                  <a:lnTo>
                    <a:pt x="1295" y="859"/>
                  </a:lnTo>
                  <a:close/>
                  <a:moveTo>
                    <a:pt x="822" y="856"/>
                  </a:moveTo>
                  <a:lnTo>
                    <a:pt x="820" y="856"/>
                  </a:lnTo>
                  <a:lnTo>
                    <a:pt x="822" y="856"/>
                  </a:lnTo>
                  <a:close/>
                  <a:moveTo>
                    <a:pt x="1366" y="856"/>
                  </a:moveTo>
                  <a:lnTo>
                    <a:pt x="1368" y="856"/>
                  </a:lnTo>
                  <a:lnTo>
                    <a:pt x="1366" y="856"/>
                  </a:lnTo>
                  <a:close/>
                  <a:moveTo>
                    <a:pt x="1365" y="856"/>
                  </a:moveTo>
                  <a:lnTo>
                    <a:pt x="1365" y="854"/>
                  </a:lnTo>
                  <a:lnTo>
                    <a:pt x="1365" y="856"/>
                  </a:lnTo>
                  <a:close/>
                  <a:moveTo>
                    <a:pt x="1363" y="854"/>
                  </a:moveTo>
                  <a:lnTo>
                    <a:pt x="1363" y="856"/>
                  </a:lnTo>
                  <a:lnTo>
                    <a:pt x="1363" y="854"/>
                  </a:lnTo>
                  <a:close/>
                  <a:moveTo>
                    <a:pt x="1290" y="854"/>
                  </a:moveTo>
                  <a:lnTo>
                    <a:pt x="1288" y="854"/>
                  </a:lnTo>
                  <a:lnTo>
                    <a:pt x="1290" y="854"/>
                  </a:lnTo>
                  <a:close/>
                  <a:moveTo>
                    <a:pt x="1363" y="854"/>
                  </a:moveTo>
                  <a:lnTo>
                    <a:pt x="1365" y="856"/>
                  </a:lnTo>
                  <a:lnTo>
                    <a:pt x="1366" y="856"/>
                  </a:lnTo>
                  <a:lnTo>
                    <a:pt x="1365" y="857"/>
                  </a:lnTo>
                  <a:lnTo>
                    <a:pt x="1363" y="857"/>
                  </a:lnTo>
                  <a:lnTo>
                    <a:pt x="1362" y="856"/>
                  </a:lnTo>
                  <a:lnTo>
                    <a:pt x="1362" y="854"/>
                  </a:lnTo>
                  <a:lnTo>
                    <a:pt x="1362" y="856"/>
                  </a:lnTo>
                  <a:lnTo>
                    <a:pt x="1362" y="854"/>
                  </a:lnTo>
                  <a:lnTo>
                    <a:pt x="1363" y="856"/>
                  </a:lnTo>
                  <a:lnTo>
                    <a:pt x="1365" y="856"/>
                  </a:lnTo>
                  <a:lnTo>
                    <a:pt x="1363" y="854"/>
                  </a:lnTo>
                  <a:close/>
                  <a:moveTo>
                    <a:pt x="1363" y="854"/>
                  </a:moveTo>
                  <a:lnTo>
                    <a:pt x="1362" y="854"/>
                  </a:lnTo>
                  <a:lnTo>
                    <a:pt x="1363" y="854"/>
                  </a:lnTo>
                  <a:close/>
                  <a:moveTo>
                    <a:pt x="1285" y="854"/>
                  </a:moveTo>
                  <a:lnTo>
                    <a:pt x="1287" y="854"/>
                  </a:lnTo>
                  <a:lnTo>
                    <a:pt x="1285" y="854"/>
                  </a:lnTo>
                  <a:close/>
                  <a:moveTo>
                    <a:pt x="1365" y="854"/>
                  </a:moveTo>
                  <a:lnTo>
                    <a:pt x="1363" y="854"/>
                  </a:lnTo>
                  <a:lnTo>
                    <a:pt x="1365" y="854"/>
                  </a:lnTo>
                  <a:lnTo>
                    <a:pt x="1363" y="854"/>
                  </a:lnTo>
                  <a:lnTo>
                    <a:pt x="1365" y="854"/>
                  </a:lnTo>
                  <a:close/>
                  <a:moveTo>
                    <a:pt x="836" y="854"/>
                  </a:moveTo>
                  <a:lnTo>
                    <a:pt x="835" y="854"/>
                  </a:lnTo>
                  <a:lnTo>
                    <a:pt x="836" y="854"/>
                  </a:lnTo>
                  <a:close/>
                  <a:moveTo>
                    <a:pt x="1363" y="854"/>
                  </a:moveTo>
                  <a:lnTo>
                    <a:pt x="1362" y="854"/>
                  </a:lnTo>
                  <a:lnTo>
                    <a:pt x="1363" y="854"/>
                  </a:lnTo>
                  <a:lnTo>
                    <a:pt x="1363" y="852"/>
                  </a:lnTo>
                  <a:lnTo>
                    <a:pt x="1363" y="854"/>
                  </a:lnTo>
                  <a:close/>
                  <a:moveTo>
                    <a:pt x="1340" y="852"/>
                  </a:moveTo>
                  <a:lnTo>
                    <a:pt x="1342" y="852"/>
                  </a:lnTo>
                  <a:lnTo>
                    <a:pt x="1340" y="852"/>
                  </a:lnTo>
                  <a:close/>
                  <a:moveTo>
                    <a:pt x="1357" y="851"/>
                  </a:moveTo>
                  <a:lnTo>
                    <a:pt x="1357" y="852"/>
                  </a:lnTo>
                  <a:lnTo>
                    <a:pt x="1357" y="851"/>
                  </a:lnTo>
                  <a:close/>
                  <a:moveTo>
                    <a:pt x="903" y="851"/>
                  </a:moveTo>
                  <a:lnTo>
                    <a:pt x="903" y="852"/>
                  </a:lnTo>
                  <a:lnTo>
                    <a:pt x="903" y="851"/>
                  </a:lnTo>
                  <a:close/>
                  <a:moveTo>
                    <a:pt x="1362" y="851"/>
                  </a:moveTo>
                  <a:lnTo>
                    <a:pt x="1363" y="852"/>
                  </a:lnTo>
                  <a:lnTo>
                    <a:pt x="1362" y="852"/>
                  </a:lnTo>
                  <a:lnTo>
                    <a:pt x="1362" y="854"/>
                  </a:lnTo>
                  <a:lnTo>
                    <a:pt x="1360" y="854"/>
                  </a:lnTo>
                  <a:lnTo>
                    <a:pt x="1362" y="854"/>
                  </a:lnTo>
                  <a:lnTo>
                    <a:pt x="1360" y="852"/>
                  </a:lnTo>
                  <a:lnTo>
                    <a:pt x="1362" y="852"/>
                  </a:lnTo>
                  <a:lnTo>
                    <a:pt x="1360" y="852"/>
                  </a:lnTo>
                  <a:lnTo>
                    <a:pt x="1360" y="851"/>
                  </a:lnTo>
                  <a:lnTo>
                    <a:pt x="1362" y="852"/>
                  </a:lnTo>
                  <a:lnTo>
                    <a:pt x="1360" y="851"/>
                  </a:lnTo>
                  <a:lnTo>
                    <a:pt x="1362" y="851"/>
                  </a:lnTo>
                  <a:close/>
                  <a:moveTo>
                    <a:pt x="1358" y="852"/>
                  </a:moveTo>
                  <a:lnTo>
                    <a:pt x="1358" y="854"/>
                  </a:lnTo>
                  <a:lnTo>
                    <a:pt x="1358" y="852"/>
                  </a:lnTo>
                  <a:lnTo>
                    <a:pt x="1358" y="851"/>
                  </a:lnTo>
                  <a:lnTo>
                    <a:pt x="1357" y="851"/>
                  </a:lnTo>
                  <a:lnTo>
                    <a:pt x="1358" y="851"/>
                  </a:lnTo>
                  <a:lnTo>
                    <a:pt x="1358" y="852"/>
                  </a:lnTo>
                  <a:close/>
                  <a:moveTo>
                    <a:pt x="859" y="851"/>
                  </a:moveTo>
                  <a:lnTo>
                    <a:pt x="857" y="851"/>
                  </a:lnTo>
                  <a:lnTo>
                    <a:pt x="859" y="851"/>
                  </a:lnTo>
                  <a:close/>
                  <a:moveTo>
                    <a:pt x="1358" y="851"/>
                  </a:moveTo>
                  <a:lnTo>
                    <a:pt x="1360" y="851"/>
                  </a:lnTo>
                  <a:lnTo>
                    <a:pt x="1358" y="851"/>
                  </a:lnTo>
                  <a:close/>
                  <a:moveTo>
                    <a:pt x="1353" y="849"/>
                  </a:moveTo>
                  <a:lnTo>
                    <a:pt x="1355" y="851"/>
                  </a:lnTo>
                  <a:lnTo>
                    <a:pt x="1353" y="851"/>
                  </a:lnTo>
                  <a:lnTo>
                    <a:pt x="1353" y="849"/>
                  </a:lnTo>
                  <a:close/>
                  <a:moveTo>
                    <a:pt x="1358" y="849"/>
                  </a:moveTo>
                  <a:lnTo>
                    <a:pt x="1358" y="848"/>
                  </a:lnTo>
                  <a:lnTo>
                    <a:pt x="1358" y="849"/>
                  </a:lnTo>
                  <a:close/>
                  <a:moveTo>
                    <a:pt x="1347" y="848"/>
                  </a:moveTo>
                  <a:lnTo>
                    <a:pt x="1347" y="849"/>
                  </a:lnTo>
                  <a:lnTo>
                    <a:pt x="1347" y="848"/>
                  </a:lnTo>
                  <a:close/>
                  <a:moveTo>
                    <a:pt x="906" y="848"/>
                  </a:moveTo>
                  <a:lnTo>
                    <a:pt x="905" y="848"/>
                  </a:lnTo>
                  <a:lnTo>
                    <a:pt x="906" y="848"/>
                  </a:lnTo>
                  <a:close/>
                  <a:moveTo>
                    <a:pt x="1401" y="848"/>
                  </a:moveTo>
                  <a:lnTo>
                    <a:pt x="1399" y="849"/>
                  </a:lnTo>
                  <a:lnTo>
                    <a:pt x="1397" y="851"/>
                  </a:lnTo>
                  <a:lnTo>
                    <a:pt x="1397" y="849"/>
                  </a:lnTo>
                  <a:lnTo>
                    <a:pt x="1399" y="848"/>
                  </a:lnTo>
                  <a:lnTo>
                    <a:pt x="1401" y="848"/>
                  </a:lnTo>
                  <a:close/>
                  <a:moveTo>
                    <a:pt x="1345" y="846"/>
                  </a:moveTo>
                  <a:lnTo>
                    <a:pt x="1345" y="848"/>
                  </a:lnTo>
                  <a:lnTo>
                    <a:pt x="1345" y="846"/>
                  </a:lnTo>
                  <a:close/>
                  <a:moveTo>
                    <a:pt x="906" y="848"/>
                  </a:moveTo>
                  <a:lnTo>
                    <a:pt x="906" y="846"/>
                  </a:lnTo>
                  <a:lnTo>
                    <a:pt x="906" y="848"/>
                  </a:lnTo>
                  <a:close/>
                  <a:moveTo>
                    <a:pt x="1355" y="846"/>
                  </a:moveTo>
                  <a:lnTo>
                    <a:pt x="1355" y="848"/>
                  </a:lnTo>
                  <a:lnTo>
                    <a:pt x="1355" y="846"/>
                  </a:lnTo>
                  <a:close/>
                  <a:moveTo>
                    <a:pt x="1345" y="846"/>
                  </a:moveTo>
                  <a:lnTo>
                    <a:pt x="1347" y="848"/>
                  </a:lnTo>
                  <a:lnTo>
                    <a:pt x="1345" y="846"/>
                  </a:lnTo>
                  <a:lnTo>
                    <a:pt x="1345" y="848"/>
                  </a:lnTo>
                  <a:lnTo>
                    <a:pt x="1345" y="846"/>
                  </a:lnTo>
                  <a:close/>
                  <a:moveTo>
                    <a:pt x="1345" y="846"/>
                  </a:moveTo>
                  <a:lnTo>
                    <a:pt x="1345" y="848"/>
                  </a:lnTo>
                  <a:lnTo>
                    <a:pt x="1345" y="846"/>
                  </a:lnTo>
                  <a:close/>
                  <a:moveTo>
                    <a:pt x="1342" y="846"/>
                  </a:moveTo>
                  <a:lnTo>
                    <a:pt x="1344" y="848"/>
                  </a:lnTo>
                  <a:lnTo>
                    <a:pt x="1342" y="848"/>
                  </a:lnTo>
                  <a:lnTo>
                    <a:pt x="1342" y="846"/>
                  </a:lnTo>
                  <a:close/>
                  <a:moveTo>
                    <a:pt x="1349" y="848"/>
                  </a:moveTo>
                  <a:lnTo>
                    <a:pt x="1349" y="846"/>
                  </a:lnTo>
                  <a:lnTo>
                    <a:pt x="1349" y="848"/>
                  </a:lnTo>
                  <a:close/>
                  <a:moveTo>
                    <a:pt x="1345" y="846"/>
                  </a:moveTo>
                  <a:lnTo>
                    <a:pt x="1347" y="846"/>
                  </a:lnTo>
                  <a:lnTo>
                    <a:pt x="1349" y="848"/>
                  </a:lnTo>
                  <a:lnTo>
                    <a:pt x="1347" y="848"/>
                  </a:lnTo>
                  <a:lnTo>
                    <a:pt x="1347" y="846"/>
                  </a:lnTo>
                  <a:lnTo>
                    <a:pt x="1345" y="846"/>
                  </a:lnTo>
                  <a:close/>
                  <a:moveTo>
                    <a:pt x="1402" y="846"/>
                  </a:moveTo>
                  <a:lnTo>
                    <a:pt x="1401" y="848"/>
                  </a:lnTo>
                  <a:lnTo>
                    <a:pt x="1401" y="846"/>
                  </a:lnTo>
                  <a:lnTo>
                    <a:pt x="1402" y="846"/>
                  </a:lnTo>
                  <a:close/>
                  <a:moveTo>
                    <a:pt x="1345" y="846"/>
                  </a:moveTo>
                  <a:lnTo>
                    <a:pt x="1344" y="846"/>
                  </a:lnTo>
                  <a:lnTo>
                    <a:pt x="1345" y="846"/>
                  </a:lnTo>
                  <a:lnTo>
                    <a:pt x="1344" y="846"/>
                  </a:lnTo>
                  <a:lnTo>
                    <a:pt x="1345" y="846"/>
                  </a:lnTo>
                  <a:close/>
                  <a:moveTo>
                    <a:pt x="817" y="846"/>
                  </a:moveTo>
                  <a:lnTo>
                    <a:pt x="815" y="846"/>
                  </a:lnTo>
                  <a:lnTo>
                    <a:pt x="817" y="846"/>
                  </a:lnTo>
                  <a:close/>
                  <a:moveTo>
                    <a:pt x="1345" y="846"/>
                  </a:moveTo>
                  <a:lnTo>
                    <a:pt x="1344" y="846"/>
                  </a:lnTo>
                  <a:lnTo>
                    <a:pt x="1345" y="846"/>
                  </a:lnTo>
                  <a:close/>
                  <a:moveTo>
                    <a:pt x="1334" y="844"/>
                  </a:moveTo>
                  <a:lnTo>
                    <a:pt x="1334" y="846"/>
                  </a:lnTo>
                  <a:lnTo>
                    <a:pt x="1334" y="844"/>
                  </a:lnTo>
                  <a:close/>
                  <a:moveTo>
                    <a:pt x="1404" y="844"/>
                  </a:moveTo>
                  <a:lnTo>
                    <a:pt x="1402" y="846"/>
                  </a:lnTo>
                  <a:lnTo>
                    <a:pt x="1404" y="844"/>
                  </a:lnTo>
                  <a:close/>
                  <a:moveTo>
                    <a:pt x="815" y="846"/>
                  </a:moveTo>
                  <a:lnTo>
                    <a:pt x="815" y="844"/>
                  </a:lnTo>
                  <a:lnTo>
                    <a:pt x="815" y="846"/>
                  </a:lnTo>
                  <a:close/>
                  <a:moveTo>
                    <a:pt x="1423" y="844"/>
                  </a:moveTo>
                  <a:lnTo>
                    <a:pt x="1422" y="844"/>
                  </a:lnTo>
                  <a:lnTo>
                    <a:pt x="1423" y="844"/>
                  </a:lnTo>
                  <a:close/>
                  <a:moveTo>
                    <a:pt x="1337" y="844"/>
                  </a:moveTo>
                  <a:lnTo>
                    <a:pt x="1339" y="844"/>
                  </a:lnTo>
                  <a:lnTo>
                    <a:pt x="1337" y="844"/>
                  </a:lnTo>
                  <a:lnTo>
                    <a:pt x="1339" y="844"/>
                  </a:lnTo>
                  <a:lnTo>
                    <a:pt x="1337" y="844"/>
                  </a:lnTo>
                  <a:lnTo>
                    <a:pt x="1336" y="844"/>
                  </a:lnTo>
                  <a:lnTo>
                    <a:pt x="1337" y="844"/>
                  </a:lnTo>
                  <a:close/>
                  <a:moveTo>
                    <a:pt x="1336" y="844"/>
                  </a:moveTo>
                  <a:lnTo>
                    <a:pt x="1337" y="844"/>
                  </a:lnTo>
                  <a:lnTo>
                    <a:pt x="1339" y="844"/>
                  </a:lnTo>
                  <a:lnTo>
                    <a:pt x="1340" y="846"/>
                  </a:lnTo>
                  <a:lnTo>
                    <a:pt x="1342" y="848"/>
                  </a:lnTo>
                  <a:lnTo>
                    <a:pt x="1340" y="848"/>
                  </a:lnTo>
                  <a:lnTo>
                    <a:pt x="1340" y="846"/>
                  </a:lnTo>
                  <a:lnTo>
                    <a:pt x="1339" y="846"/>
                  </a:lnTo>
                  <a:lnTo>
                    <a:pt x="1337" y="846"/>
                  </a:lnTo>
                  <a:lnTo>
                    <a:pt x="1336" y="846"/>
                  </a:lnTo>
                  <a:lnTo>
                    <a:pt x="1334" y="846"/>
                  </a:lnTo>
                  <a:lnTo>
                    <a:pt x="1334" y="844"/>
                  </a:lnTo>
                  <a:lnTo>
                    <a:pt x="1336" y="846"/>
                  </a:lnTo>
                  <a:lnTo>
                    <a:pt x="1334" y="846"/>
                  </a:lnTo>
                  <a:lnTo>
                    <a:pt x="1336" y="846"/>
                  </a:lnTo>
                  <a:lnTo>
                    <a:pt x="1337" y="844"/>
                  </a:lnTo>
                  <a:lnTo>
                    <a:pt x="1336" y="844"/>
                  </a:lnTo>
                  <a:lnTo>
                    <a:pt x="1334" y="844"/>
                  </a:lnTo>
                  <a:lnTo>
                    <a:pt x="1336" y="844"/>
                  </a:lnTo>
                  <a:lnTo>
                    <a:pt x="1334" y="844"/>
                  </a:lnTo>
                  <a:lnTo>
                    <a:pt x="1336" y="844"/>
                  </a:lnTo>
                  <a:close/>
                  <a:moveTo>
                    <a:pt x="1332" y="843"/>
                  </a:moveTo>
                  <a:lnTo>
                    <a:pt x="1331" y="843"/>
                  </a:lnTo>
                  <a:lnTo>
                    <a:pt x="1332" y="843"/>
                  </a:lnTo>
                  <a:close/>
                  <a:moveTo>
                    <a:pt x="870" y="843"/>
                  </a:moveTo>
                  <a:lnTo>
                    <a:pt x="869" y="843"/>
                  </a:lnTo>
                  <a:lnTo>
                    <a:pt x="870" y="843"/>
                  </a:lnTo>
                  <a:close/>
                  <a:moveTo>
                    <a:pt x="1331" y="843"/>
                  </a:moveTo>
                  <a:lnTo>
                    <a:pt x="1329" y="843"/>
                  </a:lnTo>
                  <a:lnTo>
                    <a:pt x="1331" y="843"/>
                  </a:lnTo>
                  <a:lnTo>
                    <a:pt x="1329" y="843"/>
                  </a:lnTo>
                  <a:lnTo>
                    <a:pt x="1331" y="843"/>
                  </a:lnTo>
                  <a:close/>
                  <a:moveTo>
                    <a:pt x="1332" y="843"/>
                  </a:moveTo>
                  <a:lnTo>
                    <a:pt x="1331" y="843"/>
                  </a:lnTo>
                  <a:lnTo>
                    <a:pt x="1332" y="843"/>
                  </a:lnTo>
                  <a:close/>
                  <a:moveTo>
                    <a:pt x="1327" y="843"/>
                  </a:moveTo>
                  <a:lnTo>
                    <a:pt x="1329" y="843"/>
                  </a:lnTo>
                  <a:lnTo>
                    <a:pt x="1327" y="843"/>
                  </a:lnTo>
                  <a:lnTo>
                    <a:pt x="1329" y="843"/>
                  </a:lnTo>
                  <a:lnTo>
                    <a:pt x="1327" y="843"/>
                  </a:lnTo>
                  <a:close/>
                  <a:moveTo>
                    <a:pt x="1422" y="841"/>
                  </a:moveTo>
                  <a:lnTo>
                    <a:pt x="1422" y="843"/>
                  </a:lnTo>
                  <a:lnTo>
                    <a:pt x="1422" y="841"/>
                  </a:lnTo>
                  <a:close/>
                  <a:moveTo>
                    <a:pt x="973" y="841"/>
                  </a:moveTo>
                  <a:lnTo>
                    <a:pt x="973" y="843"/>
                  </a:lnTo>
                  <a:lnTo>
                    <a:pt x="971" y="841"/>
                  </a:lnTo>
                  <a:lnTo>
                    <a:pt x="973" y="841"/>
                  </a:lnTo>
                  <a:close/>
                  <a:moveTo>
                    <a:pt x="1327" y="841"/>
                  </a:moveTo>
                  <a:lnTo>
                    <a:pt x="1326" y="841"/>
                  </a:lnTo>
                  <a:lnTo>
                    <a:pt x="1327" y="841"/>
                  </a:lnTo>
                  <a:close/>
                  <a:moveTo>
                    <a:pt x="1327" y="841"/>
                  </a:moveTo>
                  <a:lnTo>
                    <a:pt x="1329" y="841"/>
                  </a:lnTo>
                  <a:lnTo>
                    <a:pt x="1327" y="841"/>
                  </a:lnTo>
                  <a:close/>
                  <a:moveTo>
                    <a:pt x="1420" y="841"/>
                  </a:moveTo>
                  <a:lnTo>
                    <a:pt x="1422" y="841"/>
                  </a:lnTo>
                  <a:lnTo>
                    <a:pt x="1420" y="841"/>
                  </a:lnTo>
                  <a:close/>
                  <a:moveTo>
                    <a:pt x="815" y="841"/>
                  </a:moveTo>
                  <a:lnTo>
                    <a:pt x="817" y="841"/>
                  </a:lnTo>
                  <a:lnTo>
                    <a:pt x="815" y="841"/>
                  </a:lnTo>
                  <a:close/>
                  <a:moveTo>
                    <a:pt x="1417" y="841"/>
                  </a:moveTo>
                  <a:lnTo>
                    <a:pt x="1415" y="841"/>
                  </a:lnTo>
                  <a:lnTo>
                    <a:pt x="1417" y="841"/>
                  </a:lnTo>
                  <a:close/>
                  <a:moveTo>
                    <a:pt x="1331" y="841"/>
                  </a:moveTo>
                  <a:lnTo>
                    <a:pt x="1332" y="841"/>
                  </a:lnTo>
                  <a:lnTo>
                    <a:pt x="1332" y="843"/>
                  </a:lnTo>
                  <a:lnTo>
                    <a:pt x="1334" y="843"/>
                  </a:lnTo>
                  <a:lnTo>
                    <a:pt x="1331" y="841"/>
                  </a:lnTo>
                  <a:close/>
                  <a:moveTo>
                    <a:pt x="1329" y="841"/>
                  </a:moveTo>
                  <a:lnTo>
                    <a:pt x="1329" y="839"/>
                  </a:lnTo>
                  <a:lnTo>
                    <a:pt x="1329" y="841"/>
                  </a:lnTo>
                  <a:close/>
                  <a:moveTo>
                    <a:pt x="1306" y="839"/>
                  </a:moveTo>
                  <a:lnTo>
                    <a:pt x="1305" y="839"/>
                  </a:lnTo>
                  <a:lnTo>
                    <a:pt x="1306" y="839"/>
                  </a:lnTo>
                  <a:close/>
                  <a:moveTo>
                    <a:pt x="1309" y="839"/>
                  </a:moveTo>
                  <a:lnTo>
                    <a:pt x="1309" y="841"/>
                  </a:lnTo>
                  <a:lnTo>
                    <a:pt x="1309" y="839"/>
                  </a:lnTo>
                  <a:lnTo>
                    <a:pt x="1308" y="839"/>
                  </a:lnTo>
                  <a:lnTo>
                    <a:pt x="1309" y="839"/>
                  </a:lnTo>
                  <a:close/>
                  <a:moveTo>
                    <a:pt x="818" y="839"/>
                  </a:moveTo>
                  <a:lnTo>
                    <a:pt x="817" y="839"/>
                  </a:lnTo>
                  <a:lnTo>
                    <a:pt x="818" y="839"/>
                  </a:lnTo>
                  <a:close/>
                  <a:moveTo>
                    <a:pt x="1306" y="839"/>
                  </a:moveTo>
                  <a:lnTo>
                    <a:pt x="1306" y="841"/>
                  </a:lnTo>
                  <a:lnTo>
                    <a:pt x="1306" y="839"/>
                  </a:lnTo>
                  <a:close/>
                  <a:moveTo>
                    <a:pt x="1314" y="841"/>
                  </a:moveTo>
                  <a:lnTo>
                    <a:pt x="1314" y="839"/>
                  </a:lnTo>
                  <a:lnTo>
                    <a:pt x="1313" y="839"/>
                  </a:lnTo>
                  <a:lnTo>
                    <a:pt x="1314" y="839"/>
                  </a:lnTo>
                  <a:lnTo>
                    <a:pt x="1314" y="841"/>
                  </a:lnTo>
                  <a:close/>
                  <a:moveTo>
                    <a:pt x="1308" y="839"/>
                  </a:moveTo>
                  <a:lnTo>
                    <a:pt x="1306" y="839"/>
                  </a:lnTo>
                  <a:lnTo>
                    <a:pt x="1308" y="839"/>
                  </a:lnTo>
                  <a:close/>
                  <a:moveTo>
                    <a:pt x="1292" y="839"/>
                  </a:moveTo>
                  <a:lnTo>
                    <a:pt x="1290" y="839"/>
                  </a:lnTo>
                  <a:lnTo>
                    <a:pt x="1292" y="839"/>
                  </a:lnTo>
                  <a:close/>
                  <a:moveTo>
                    <a:pt x="1300" y="839"/>
                  </a:moveTo>
                  <a:lnTo>
                    <a:pt x="1298" y="839"/>
                  </a:lnTo>
                  <a:lnTo>
                    <a:pt x="1300" y="839"/>
                  </a:lnTo>
                  <a:close/>
                  <a:moveTo>
                    <a:pt x="1324" y="838"/>
                  </a:moveTo>
                  <a:lnTo>
                    <a:pt x="1324" y="839"/>
                  </a:lnTo>
                  <a:lnTo>
                    <a:pt x="1324" y="838"/>
                  </a:lnTo>
                  <a:close/>
                  <a:moveTo>
                    <a:pt x="1290" y="839"/>
                  </a:moveTo>
                  <a:lnTo>
                    <a:pt x="1290" y="838"/>
                  </a:lnTo>
                  <a:lnTo>
                    <a:pt x="1290" y="839"/>
                  </a:lnTo>
                  <a:close/>
                  <a:moveTo>
                    <a:pt x="1290" y="838"/>
                  </a:moveTo>
                  <a:lnTo>
                    <a:pt x="1292" y="838"/>
                  </a:lnTo>
                  <a:lnTo>
                    <a:pt x="1290" y="838"/>
                  </a:lnTo>
                  <a:close/>
                  <a:moveTo>
                    <a:pt x="1275" y="838"/>
                  </a:moveTo>
                  <a:lnTo>
                    <a:pt x="1275" y="839"/>
                  </a:lnTo>
                  <a:lnTo>
                    <a:pt x="1275" y="838"/>
                  </a:lnTo>
                  <a:close/>
                  <a:moveTo>
                    <a:pt x="1292" y="836"/>
                  </a:moveTo>
                  <a:lnTo>
                    <a:pt x="1292" y="838"/>
                  </a:lnTo>
                  <a:lnTo>
                    <a:pt x="1292" y="836"/>
                  </a:lnTo>
                  <a:close/>
                  <a:moveTo>
                    <a:pt x="1306" y="838"/>
                  </a:moveTo>
                  <a:lnTo>
                    <a:pt x="1305" y="836"/>
                  </a:lnTo>
                  <a:lnTo>
                    <a:pt x="1306" y="838"/>
                  </a:lnTo>
                  <a:close/>
                  <a:moveTo>
                    <a:pt x="844" y="843"/>
                  </a:moveTo>
                  <a:lnTo>
                    <a:pt x="844" y="841"/>
                  </a:lnTo>
                  <a:lnTo>
                    <a:pt x="844" y="839"/>
                  </a:lnTo>
                  <a:lnTo>
                    <a:pt x="843" y="839"/>
                  </a:lnTo>
                  <a:lnTo>
                    <a:pt x="843" y="838"/>
                  </a:lnTo>
                  <a:lnTo>
                    <a:pt x="841" y="836"/>
                  </a:lnTo>
                  <a:lnTo>
                    <a:pt x="843" y="836"/>
                  </a:lnTo>
                  <a:lnTo>
                    <a:pt x="844" y="839"/>
                  </a:lnTo>
                  <a:lnTo>
                    <a:pt x="846" y="841"/>
                  </a:lnTo>
                  <a:lnTo>
                    <a:pt x="844" y="843"/>
                  </a:lnTo>
                  <a:close/>
                  <a:moveTo>
                    <a:pt x="1293" y="836"/>
                  </a:moveTo>
                  <a:lnTo>
                    <a:pt x="1295" y="838"/>
                  </a:lnTo>
                  <a:lnTo>
                    <a:pt x="1293" y="838"/>
                  </a:lnTo>
                  <a:lnTo>
                    <a:pt x="1293" y="839"/>
                  </a:lnTo>
                  <a:lnTo>
                    <a:pt x="1292" y="839"/>
                  </a:lnTo>
                  <a:lnTo>
                    <a:pt x="1292" y="838"/>
                  </a:lnTo>
                  <a:lnTo>
                    <a:pt x="1292" y="836"/>
                  </a:lnTo>
                  <a:lnTo>
                    <a:pt x="1293" y="836"/>
                  </a:lnTo>
                  <a:close/>
                  <a:moveTo>
                    <a:pt x="1279" y="836"/>
                  </a:moveTo>
                  <a:lnTo>
                    <a:pt x="1277" y="836"/>
                  </a:lnTo>
                  <a:lnTo>
                    <a:pt x="1279" y="836"/>
                  </a:lnTo>
                  <a:close/>
                  <a:moveTo>
                    <a:pt x="1274" y="834"/>
                  </a:moveTo>
                  <a:lnTo>
                    <a:pt x="1274" y="836"/>
                  </a:lnTo>
                  <a:lnTo>
                    <a:pt x="1274" y="834"/>
                  </a:lnTo>
                  <a:close/>
                  <a:moveTo>
                    <a:pt x="1267" y="834"/>
                  </a:moveTo>
                  <a:lnTo>
                    <a:pt x="1267" y="836"/>
                  </a:lnTo>
                  <a:lnTo>
                    <a:pt x="1267" y="834"/>
                  </a:lnTo>
                  <a:close/>
                  <a:moveTo>
                    <a:pt x="1267" y="836"/>
                  </a:moveTo>
                  <a:lnTo>
                    <a:pt x="1267" y="834"/>
                  </a:lnTo>
                  <a:lnTo>
                    <a:pt x="1267" y="836"/>
                  </a:lnTo>
                  <a:close/>
                  <a:moveTo>
                    <a:pt x="1279" y="836"/>
                  </a:moveTo>
                  <a:lnTo>
                    <a:pt x="1279" y="834"/>
                  </a:lnTo>
                  <a:lnTo>
                    <a:pt x="1279" y="836"/>
                  </a:lnTo>
                  <a:close/>
                  <a:moveTo>
                    <a:pt x="1287" y="834"/>
                  </a:moveTo>
                  <a:lnTo>
                    <a:pt x="1287" y="836"/>
                  </a:lnTo>
                  <a:lnTo>
                    <a:pt x="1287" y="834"/>
                  </a:lnTo>
                  <a:close/>
                  <a:moveTo>
                    <a:pt x="911" y="834"/>
                  </a:moveTo>
                  <a:lnTo>
                    <a:pt x="913" y="834"/>
                  </a:lnTo>
                  <a:lnTo>
                    <a:pt x="911" y="834"/>
                  </a:lnTo>
                  <a:close/>
                  <a:moveTo>
                    <a:pt x="735" y="834"/>
                  </a:moveTo>
                  <a:lnTo>
                    <a:pt x="737" y="834"/>
                  </a:lnTo>
                  <a:lnTo>
                    <a:pt x="735" y="834"/>
                  </a:lnTo>
                  <a:close/>
                  <a:moveTo>
                    <a:pt x="1262" y="834"/>
                  </a:moveTo>
                  <a:lnTo>
                    <a:pt x="1261" y="834"/>
                  </a:lnTo>
                  <a:lnTo>
                    <a:pt x="1259" y="834"/>
                  </a:lnTo>
                  <a:lnTo>
                    <a:pt x="1262" y="834"/>
                  </a:lnTo>
                  <a:close/>
                  <a:moveTo>
                    <a:pt x="1256" y="834"/>
                  </a:moveTo>
                  <a:lnTo>
                    <a:pt x="1257" y="834"/>
                  </a:lnTo>
                  <a:lnTo>
                    <a:pt x="1256" y="834"/>
                  </a:lnTo>
                  <a:close/>
                  <a:moveTo>
                    <a:pt x="1301" y="834"/>
                  </a:moveTo>
                  <a:lnTo>
                    <a:pt x="1301" y="833"/>
                  </a:lnTo>
                  <a:lnTo>
                    <a:pt x="1301" y="834"/>
                  </a:lnTo>
                  <a:close/>
                  <a:moveTo>
                    <a:pt x="852" y="834"/>
                  </a:moveTo>
                  <a:lnTo>
                    <a:pt x="852" y="833"/>
                  </a:lnTo>
                  <a:lnTo>
                    <a:pt x="852" y="834"/>
                  </a:lnTo>
                  <a:close/>
                  <a:moveTo>
                    <a:pt x="734" y="834"/>
                  </a:moveTo>
                  <a:lnTo>
                    <a:pt x="732" y="833"/>
                  </a:lnTo>
                  <a:lnTo>
                    <a:pt x="734" y="833"/>
                  </a:lnTo>
                  <a:lnTo>
                    <a:pt x="734" y="834"/>
                  </a:lnTo>
                  <a:close/>
                  <a:moveTo>
                    <a:pt x="735" y="833"/>
                  </a:moveTo>
                  <a:lnTo>
                    <a:pt x="735" y="834"/>
                  </a:lnTo>
                  <a:lnTo>
                    <a:pt x="735" y="833"/>
                  </a:lnTo>
                  <a:close/>
                  <a:moveTo>
                    <a:pt x="734" y="833"/>
                  </a:moveTo>
                  <a:lnTo>
                    <a:pt x="732" y="833"/>
                  </a:lnTo>
                  <a:lnTo>
                    <a:pt x="734" y="833"/>
                  </a:lnTo>
                  <a:close/>
                  <a:moveTo>
                    <a:pt x="1267" y="833"/>
                  </a:moveTo>
                  <a:lnTo>
                    <a:pt x="1269" y="833"/>
                  </a:lnTo>
                  <a:lnTo>
                    <a:pt x="1270" y="833"/>
                  </a:lnTo>
                  <a:lnTo>
                    <a:pt x="1267" y="833"/>
                  </a:lnTo>
                  <a:lnTo>
                    <a:pt x="1264" y="833"/>
                  </a:lnTo>
                  <a:lnTo>
                    <a:pt x="1262" y="833"/>
                  </a:lnTo>
                  <a:lnTo>
                    <a:pt x="1264" y="833"/>
                  </a:lnTo>
                  <a:lnTo>
                    <a:pt x="1262" y="833"/>
                  </a:lnTo>
                  <a:lnTo>
                    <a:pt x="1264" y="833"/>
                  </a:lnTo>
                  <a:lnTo>
                    <a:pt x="1266" y="833"/>
                  </a:lnTo>
                  <a:lnTo>
                    <a:pt x="1267" y="833"/>
                  </a:lnTo>
                  <a:close/>
                  <a:moveTo>
                    <a:pt x="1262" y="833"/>
                  </a:moveTo>
                  <a:lnTo>
                    <a:pt x="1261" y="833"/>
                  </a:lnTo>
                  <a:lnTo>
                    <a:pt x="1262" y="833"/>
                  </a:lnTo>
                  <a:close/>
                  <a:moveTo>
                    <a:pt x="1256" y="833"/>
                  </a:moveTo>
                  <a:lnTo>
                    <a:pt x="1254" y="833"/>
                  </a:lnTo>
                  <a:lnTo>
                    <a:pt x="1256" y="833"/>
                  </a:lnTo>
                  <a:close/>
                  <a:moveTo>
                    <a:pt x="867" y="833"/>
                  </a:moveTo>
                  <a:lnTo>
                    <a:pt x="865" y="833"/>
                  </a:lnTo>
                  <a:lnTo>
                    <a:pt x="867" y="833"/>
                  </a:lnTo>
                  <a:close/>
                  <a:moveTo>
                    <a:pt x="835" y="833"/>
                  </a:moveTo>
                  <a:lnTo>
                    <a:pt x="836" y="833"/>
                  </a:lnTo>
                  <a:lnTo>
                    <a:pt x="836" y="834"/>
                  </a:lnTo>
                  <a:lnTo>
                    <a:pt x="835" y="834"/>
                  </a:lnTo>
                  <a:lnTo>
                    <a:pt x="835" y="836"/>
                  </a:lnTo>
                  <a:lnTo>
                    <a:pt x="835" y="834"/>
                  </a:lnTo>
                  <a:lnTo>
                    <a:pt x="835" y="833"/>
                  </a:lnTo>
                  <a:lnTo>
                    <a:pt x="835" y="834"/>
                  </a:lnTo>
                  <a:lnTo>
                    <a:pt x="835" y="833"/>
                  </a:lnTo>
                  <a:close/>
                  <a:moveTo>
                    <a:pt x="809" y="831"/>
                  </a:moveTo>
                  <a:lnTo>
                    <a:pt x="809" y="833"/>
                  </a:lnTo>
                  <a:lnTo>
                    <a:pt x="809" y="831"/>
                  </a:lnTo>
                  <a:close/>
                  <a:moveTo>
                    <a:pt x="740" y="833"/>
                  </a:moveTo>
                  <a:lnTo>
                    <a:pt x="740" y="831"/>
                  </a:lnTo>
                  <a:lnTo>
                    <a:pt x="740" y="833"/>
                  </a:lnTo>
                  <a:close/>
                  <a:moveTo>
                    <a:pt x="740" y="831"/>
                  </a:moveTo>
                  <a:lnTo>
                    <a:pt x="740" y="833"/>
                  </a:lnTo>
                  <a:lnTo>
                    <a:pt x="740" y="831"/>
                  </a:lnTo>
                  <a:close/>
                  <a:moveTo>
                    <a:pt x="867" y="833"/>
                  </a:moveTo>
                  <a:lnTo>
                    <a:pt x="865" y="831"/>
                  </a:lnTo>
                  <a:lnTo>
                    <a:pt x="867" y="833"/>
                  </a:lnTo>
                  <a:close/>
                  <a:moveTo>
                    <a:pt x="740" y="833"/>
                  </a:moveTo>
                  <a:lnTo>
                    <a:pt x="740" y="831"/>
                  </a:lnTo>
                  <a:lnTo>
                    <a:pt x="740" y="833"/>
                  </a:lnTo>
                  <a:close/>
                  <a:moveTo>
                    <a:pt x="987" y="833"/>
                  </a:moveTo>
                  <a:lnTo>
                    <a:pt x="989" y="833"/>
                  </a:lnTo>
                  <a:lnTo>
                    <a:pt x="991" y="833"/>
                  </a:lnTo>
                  <a:lnTo>
                    <a:pt x="992" y="834"/>
                  </a:lnTo>
                  <a:lnTo>
                    <a:pt x="994" y="836"/>
                  </a:lnTo>
                  <a:lnTo>
                    <a:pt x="996" y="836"/>
                  </a:lnTo>
                  <a:lnTo>
                    <a:pt x="997" y="836"/>
                  </a:lnTo>
                  <a:lnTo>
                    <a:pt x="999" y="836"/>
                  </a:lnTo>
                  <a:lnTo>
                    <a:pt x="1000" y="836"/>
                  </a:lnTo>
                  <a:lnTo>
                    <a:pt x="1000" y="839"/>
                  </a:lnTo>
                  <a:lnTo>
                    <a:pt x="999" y="839"/>
                  </a:lnTo>
                  <a:lnTo>
                    <a:pt x="999" y="841"/>
                  </a:lnTo>
                  <a:lnTo>
                    <a:pt x="999" y="843"/>
                  </a:lnTo>
                  <a:lnTo>
                    <a:pt x="999" y="844"/>
                  </a:lnTo>
                  <a:lnTo>
                    <a:pt x="999" y="846"/>
                  </a:lnTo>
                  <a:lnTo>
                    <a:pt x="997" y="846"/>
                  </a:lnTo>
                  <a:lnTo>
                    <a:pt x="996" y="846"/>
                  </a:lnTo>
                  <a:lnTo>
                    <a:pt x="996" y="848"/>
                  </a:lnTo>
                  <a:lnTo>
                    <a:pt x="994" y="848"/>
                  </a:lnTo>
                  <a:lnTo>
                    <a:pt x="992" y="848"/>
                  </a:lnTo>
                  <a:lnTo>
                    <a:pt x="991" y="846"/>
                  </a:lnTo>
                  <a:lnTo>
                    <a:pt x="989" y="844"/>
                  </a:lnTo>
                  <a:lnTo>
                    <a:pt x="989" y="846"/>
                  </a:lnTo>
                  <a:lnTo>
                    <a:pt x="987" y="846"/>
                  </a:lnTo>
                  <a:lnTo>
                    <a:pt x="986" y="846"/>
                  </a:lnTo>
                  <a:lnTo>
                    <a:pt x="984" y="846"/>
                  </a:lnTo>
                  <a:lnTo>
                    <a:pt x="983" y="846"/>
                  </a:lnTo>
                  <a:lnTo>
                    <a:pt x="981" y="846"/>
                  </a:lnTo>
                  <a:lnTo>
                    <a:pt x="981" y="844"/>
                  </a:lnTo>
                  <a:lnTo>
                    <a:pt x="983" y="844"/>
                  </a:lnTo>
                  <a:lnTo>
                    <a:pt x="983" y="843"/>
                  </a:lnTo>
                  <a:lnTo>
                    <a:pt x="981" y="843"/>
                  </a:lnTo>
                  <a:lnTo>
                    <a:pt x="981" y="841"/>
                  </a:lnTo>
                  <a:lnTo>
                    <a:pt x="983" y="839"/>
                  </a:lnTo>
                  <a:lnTo>
                    <a:pt x="981" y="838"/>
                  </a:lnTo>
                  <a:lnTo>
                    <a:pt x="981" y="836"/>
                  </a:lnTo>
                  <a:lnTo>
                    <a:pt x="981" y="834"/>
                  </a:lnTo>
                  <a:lnTo>
                    <a:pt x="981" y="833"/>
                  </a:lnTo>
                  <a:lnTo>
                    <a:pt x="979" y="833"/>
                  </a:lnTo>
                  <a:lnTo>
                    <a:pt x="981" y="833"/>
                  </a:lnTo>
                  <a:lnTo>
                    <a:pt x="981" y="831"/>
                  </a:lnTo>
                  <a:lnTo>
                    <a:pt x="983" y="831"/>
                  </a:lnTo>
                  <a:lnTo>
                    <a:pt x="984" y="831"/>
                  </a:lnTo>
                  <a:lnTo>
                    <a:pt x="987" y="833"/>
                  </a:lnTo>
                  <a:close/>
                  <a:moveTo>
                    <a:pt x="844" y="831"/>
                  </a:moveTo>
                  <a:lnTo>
                    <a:pt x="843" y="831"/>
                  </a:lnTo>
                  <a:lnTo>
                    <a:pt x="844" y="831"/>
                  </a:lnTo>
                  <a:close/>
                  <a:moveTo>
                    <a:pt x="753" y="831"/>
                  </a:moveTo>
                  <a:lnTo>
                    <a:pt x="755" y="831"/>
                  </a:lnTo>
                  <a:lnTo>
                    <a:pt x="753" y="831"/>
                  </a:lnTo>
                  <a:close/>
                  <a:moveTo>
                    <a:pt x="983" y="831"/>
                  </a:moveTo>
                  <a:lnTo>
                    <a:pt x="981" y="831"/>
                  </a:lnTo>
                  <a:lnTo>
                    <a:pt x="983" y="831"/>
                  </a:lnTo>
                  <a:close/>
                  <a:moveTo>
                    <a:pt x="1253" y="831"/>
                  </a:moveTo>
                  <a:lnTo>
                    <a:pt x="1253" y="833"/>
                  </a:lnTo>
                  <a:lnTo>
                    <a:pt x="1253" y="831"/>
                  </a:lnTo>
                  <a:close/>
                  <a:moveTo>
                    <a:pt x="789" y="833"/>
                  </a:moveTo>
                  <a:lnTo>
                    <a:pt x="787" y="831"/>
                  </a:lnTo>
                  <a:lnTo>
                    <a:pt x="789" y="831"/>
                  </a:lnTo>
                  <a:lnTo>
                    <a:pt x="789" y="833"/>
                  </a:lnTo>
                  <a:close/>
                  <a:moveTo>
                    <a:pt x="740" y="831"/>
                  </a:moveTo>
                  <a:lnTo>
                    <a:pt x="742" y="831"/>
                  </a:lnTo>
                  <a:lnTo>
                    <a:pt x="740" y="831"/>
                  </a:lnTo>
                  <a:close/>
                  <a:moveTo>
                    <a:pt x="947" y="831"/>
                  </a:moveTo>
                  <a:lnTo>
                    <a:pt x="945" y="831"/>
                  </a:lnTo>
                  <a:lnTo>
                    <a:pt x="947" y="831"/>
                  </a:lnTo>
                  <a:close/>
                  <a:moveTo>
                    <a:pt x="744" y="831"/>
                  </a:moveTo>
                  <a:lnTo>
                    <a:pt x="742" y="831"/>
                  </a:lnTo>
                  <a:lnTo>
                    <a:pt x="744" y="831"/>
                  </a:lnTo>
                  <a:close/>
                  <a:moveTo>
                    <a:pt x="740" y="831"/>
                  </a:moveTo>
                  <a:lnTo>
                    <a:pt x="740" y="830"/>
                  </a:lnTo>
                  <a:lnTo>
                    <a:pt x="740" y="831"/>
                  </a:lnTo>
                  <a:close/>
                  <a:moveTo>
                    <a:pt x="844" y="831"/>
                  </a:moveTo>
                  <a:lnTo>
                    <a:pt x="844" y="830"/>
                  </a:lnTo>
                  <a:lnTo>
                    <a:pt x="844" y="831"/>
                  </a:lnTo>
                  <a:close/>
                  <a:moveTo>
                    <a:pt x="945" y="830"/>
                  </a:moveTo>
                  <a:lnTo>
                    <a:pt x="947" y="831"/>
                  </a:lnTo>
                  <a:lnTo>
                    <a:pt x="945" y="831"/>
                  </a:lnTo>
                  <a:lnTo>
                    <a:pt x="945" y="830"/>
                  </a:lnTo>
                  <a:close/>
                  <a:moveTo>
                    <a:pt x="843" y="831"/>
                  </a:moveTo>
                  <a:lnTo>
                    <a:pt x="843" y="830"/>
                  </a:lnTo>
                  <a:lnTo>
                    <a:pt x="843" y="831"/>
                  </a:lnTo>
                  <a:close/>
                  <a:moveTo>
                    <a:pt x="755" y="830"/>
                  </a:moveTo>
                  <a:lnTo>
                    <a:pt x="755" y="831"/>
                  </a:lnTo>
                  <a:lnTo>
                    <a:pt x="755" y="830"/>
                  </a:lnTo>
                  <a:close/>
                  <a:moveTo>
                    <a:pt x="1251" y="830"/>
                  </a:moveTo>
                  <a:lnTo>
                    <a:pt x="1253" y="831"/>
                  </a:lnTo>
                  <a:lnTo>
                    <a:pt x="1251" y="830"/>
                  </a:lnTo>
                  <a:close/>
                  <a:moveTo>
                    <a:pt x="813" y="830"/>
                  </a:moveTo>
                  <a:lnTo>
                    <a:pt x="813" y="831"/>
                  </a:lnTo>
                  <a:lnTo>
                    <a:pt x="813" y="830"/>
                  </a:lnTo>
                  <a:close/>
                  <a:moveTo>
                    <a:pt x="740" y="830"/>
                  </a:moveTo>
                  <a:lnTo>
                    <a:pt x="740" y="831"/>
                  </a:lnTo>
                  <a:lnTo>
                    <a:pt x="740" y="830"/>
                  </a:lnTo>
                  <a:close/>
                  <a:moveTo>
                    <a:pt x="791" y="830"/>
                  </a:moveTo>
                  <a:lnTo>
                    <a:pt x="789" y="831"/>
                  </a:lnTo>
                  <a:lnTo>
                    <a:pt x="789" y="830"/>
                  </a:lnTo>
                  <a:lnTo>
                    <a:pt x="791" y="830"/>
                  </a:lnTo>
                  <a:close/>
                  <a:moveTo>
                    <a:pt x="745" y="830"/>
                  </a:moveTo>
                  <a:lnTo>
                    <a:pt x="744" y="830"/>
                  </a:lnTo>
                  <a:lnTo>
                    <a:pt x="745" y="830"/>
                  </a:lnTo>
                  <a:close/>
                  <a:moveTo>
                    <a:pt x="732" y="830"/>
                  </a:moveTo>
                  <a:lnTo>
                    <a:pt x="730" y="830"/>
                  </a:lnTo>
                  <a:lnTo>
                    <a:pt x="732" y="830"/>
                  </a:lnTo>
                  <a:close/>
                  <a:moveTo>
                    <a:pt x="1253" y="830"/>
                  </a:moveTo>
                  <a:lnTo>
                    <a:pt x="1254" y="830"/>
                  </a:lnTo>
                  <a:lnTo>
                    <a:pt x="1253" y="830"/>
                  </a:lnTo>
                  <a:close/>
                  <a:moveTo>
                    <a:pt x="744" y="830"/>
                  </a:moveTo>
                  <a:lnTo>
                    <a:pt x="744" y="828"/>
                  </a:lnTo>
                  <a:lnTo>
                    <a:pt x="744" y="830"/>
                  </a:lnTo>
                  <a:close/>
                  <a:moveTo>
                    <a:pt x="750" y="828"/>
                  </a:moveTo>
                  <a:lnTo>
                    <a:pt x="750" y="830"/>
                  </a:lnTo>
                  <a:lnTo>
                    <a:pt x="750" y="828"/>
                  </a:lnTo>
                  <a:close/>
                  <a:moveTo>
                    <a:pt x="724" y="828"/>
                  </a:moveTo>
                  <a:lnTo>
                    <a:pt x="724" y="830"/>
                  </a:lnTo>
                  <a:lnTo>
                    <a:pt x="724" y="828"/>
                  </a:lnTo>
                  <a:close/>
                  <a:moveTo>
                    <a:pt x="810" y="830"/>
                  </a:moveTo>
                  <a:lnTo>
                    <a:pt x="809" y="828"/>
                  </a:lnTo>
                  <a:lnTo>
                    <a:pt x="810" y="828"/>
                  </a:lnTo>
                  <a:lnTo>
                    <a:pt x="810" y="830"/>
                  </a:lnTo>
                  <a:close/>
                  <a:moveTo>
                    <a:pt x="1251" y="828"/>
                  </a:moveTo>
                  <a:lnTo>
                    <a:pt x="1253" y="828"/>
                  </a:lnTo>
                  <a:lnTo>
                    <a:pt x="1251" y="828"/>
                  </a:lnTo>
                  <a:close/>
                  <a:moveTo>
                    <a:pt x="750" y="828"/>
                  </a:moveTo>
                  <a:lnTo>
                    <a:pt x="750" y="830"/>
                  </a:lnTo>
                  <a:lnTo>
                    <a:pt x="750" y="828"/>
                  </a:lnTo>
                  <a:close/>
                  <a:moveTo>
                    <a:pt x="826" y="828"/>
                  </a:moveTo>
                  <a:lnTo>
                    <a:pt x="825" y="828"/>
                  </a:lnTo>
                  <a:lnTo>
                    <a:pt x="826" y="828"/>
                  </a:lnTo>
                  <a:close/>
                  <a:moveTo>
                    <a:pt x="721" y="828"/>
                  </a:moveTo>
                  <a:lnTo>
                    <a:pt x="719" y="828"/>
                  </a:lnTo>
                  <a:lnTo>
                    <a:pt x="721" y="828"/>
                  </a:lnTo>
                  <a:close/>
                  <a:moveTo>
                    <a:pt x="735" y="828"/>
                  </a:moveTo>
                  <a:lnTo>
                    <a:pt x="735" y="826"/>
                  </a:lnTo>
                  <a:lnTo>
                    <a:pt x="735" y="828"/>
                  </a:lnTo>
                  <a:close/>
                  <a:moveTo>
                    <a:pt x="737" y="826"/>
                  </a:moveTo>
                  <a:lnTo>
                    <a:pt x="737" y="828"/>
                  </a:lnTo>
                  <a:lnTo>
                    <a:pt x="737" y="826"/>
                  </a:lnTo>
                  <a:close/>
                  <a:moveTo>
                    <a:pt x="740" y="826"/>
                  </a:moveTo>
                  <a:lnTo>
                    <a:pt x="740" y="828"/>
                  </a:lnTo>
                  <a:lnTo>
                    <a:pt x="740" y="826"/>
                  </a:lnTo>
                  <a:close/>
                  <a:moveTo>
                    <a:pt x="781" y="826"/>
                  </a:moveTo>
                  <a:lnTo>
                    <a:pt x="779" y="826"/>
                  </a:lnTo>
                  <a:lnTo>
                    <a:pt x="781" y="826"/>
                  </a:lnTo>
                  <a:close/>
                  <a:moveTo>
                    <a:pt x="1249" y="828"/>
                  </a:moveTo>
                  <a:lnTo>
                    <a:pt x="1249" y="826"/>
                  </a:lnTo>
                  <a:lnTo>
                    <a:pt x="1249" y="828"/>
                  </a:lnTo>
                  <a:close/>
                  <a:moveTo>
                    <a:pt x="729" y="826"/>
                  </a:moveTo>
                  <a:lnTo>
                    <a:pt x="727" y="826"/>
                  </a:lnTo>
                  <a:lnTo>
                    <a:pt x="729" y="826"/>
                  </a:lnTo>
                  <a:close/>
                  <a:moveTo>
                    <a:pt x="726" y="826"/>
                  </a:moveTo>
                  <a:lnTo>
                    <a:pt x="724" y="826"/>
                  </a:lnTo>
                  <a:lnTo>
                    <a:pt x="726" y="826"/>
                  </a:lnTo>
                  <a:close/>
                  <a:moveTo>
                    <a:pt x="1212" y="826"/>
                  </a:moveTo>
                  <a:lnTo>
                    <a:pt x="1210" y="826"/>
                  </a:lnTo>
                  <a:lnTo>
                    <a:pt x="1212" y="826"/>
                  </a:lnTo>
                  <a:close/>
                  <a:moveTo>
                    <a:pt x="1249" y="826"/>
                  </a:moveTo>
                  <a:lnTo>
                    <a:pt x="1249" y="828"/>
                  </a:lnTo>
                  <a:lnTo>
                    <a:pt x="1249" y="826"/>
                  </a:lnTo>
                  <a:close/>
                  <a:moveTo>
                    <a:pt x="730" y="826"/>
                  </a:moveTo>
                  <a:lnTo>
                    <a:pt x="729" y="826"/>
                  </a:lnTo>
                  <a:lnTo>
                    <a:pt x="730" y="826"/>
                  </a:lnTo>
                  <a:close/>
                  <a:moveTo>
                    <a:pt x="737" y="826"/>
                  </a:moveTo>
                  <a:lnTo>
                    <a:pt x="735" y="826"/>
                  </a:lnTo>
                  <a:lnTo>
                    <a:pt x="737" y="826"/>
                  </a:lnTo>
                  <a:close/>
                  <a:moveTo>
                    <a:pt x="1212" y="826"/>
                  </a:moveTo>
                  <a:lnTo>
                    <a:pt x="1210" y="826"/>
                  </a:lnTo>
                  <a:lnTo>
                    <a:pt x="1212" y="826"/>
                  </a:lnTo>
                  <a:close/>
                  <a:moveTo>
                    <a:pt x="1251" y="825"/>
                  </a:moveTo>
                  <a:lnTo>
                    <a:pt x="1251" y="826"/>
                  </a:lnTo>
                  <a:lnTo>
                    <a:pt x="1251" y="825"/>
                  </a:lnTo>
                  <a:close/>
                  <a:moveTo>
                    <a:pt x="1210" y="826"/>
                  </a:moveTo>
                  <a:lnTo>
                    <a:pt x="1210" y="825"/>
                  </a:lnTo>
                  <a:lnTo>
                    <a:pt x="1210" y="826"/>
                  </a:lnTo>
                  <a:close/>
                  <a:moveTo>
                    <a:pt x="719" y="826"/>
                  </a:moveTo>
                  <a:lnTo>
                    <a:pt x="717" y="826"/>
                  </a:lnTo>
                  <a:lnTo>
                    <a:pt x="719" y="825"/>
                  </a:lnTo>
                  <a:lnTo>
                    <a:pt x="719" y="826"/>
                  </a:lnTo>
                  <a:close/>
                  <a:moveTo>
                    <a:pt x="1218" y="825"/>
                  </a:moveTo>
                  <a:lnTo>
                    <a:pt x="1218" y="826"/>
                  </a:lnTo>
                  <a:lnTo>
                    <a:pt x="1218" y="825"/>
                  </a:lnTo>
                  <a:close/>
                  <a:moveTo>
                    <a:pt x="1214" y="825"/>
                  </a:moveTo>
                  <a:lnTo>
                    <a:pt x="1212" y="826"/>
                  </a:lnTo>
                  <a:lnTo>
                    <a:pt x="1214" y="825"/>
                  </a:lnTo>
                  <a:close/>
                  <a:moveTo>
                    <a:pt x="1215" y="825"/>
                  </a:moveTo>
                  <a:lnTo>
                    <a:pt x="1217" y="825"/>
                  </a:lnTo>
                  <a:lnTo>
                    <a:pt x="1217" y="826"/>
                  </a:lnTo>
                  <a:lnTo>
                    <a:pt x="1215" y="825"/>
                  </a:lnTo>
                  <a:close/>
                  <a:moveTo>
                    <a:pt x="726" y="825"/>
                  </a:moveTo>
                  <a:lnTo>
                    <a:pt x="726" y="826"/>
                  </a:lnTo>
                  <a:lnTo>
                    <a:pt x="726" y="825"/>
                  </a:lnTo>
                  <a:close/>
                  <a:moveTo>
                    <a:pt x="1217" y="825"/>
                  </a:moveTo>
                  <a:lnTo>
                    <a:pt x="1215" y="825"/>
                  </a:lnTo>
                  <a:lnTo>
                    <a:pt x="1217" y="825"/>
                  </a:lnTo>
                  <a:close/>
                  <a:moveTo>
                    <a:pt x="739" y="826"/>
                  </a:moveTo>
                  <a:lnTo>
                    <a:pt x="740" y="826"/>
                  </a:lnTo>
                  <a:lnTo>
                    <a:pt x="740" y="825"/>
                  </a:lnTo>
                  <a:lnTo>
                    <a:pt x="740" y="826"/>
                  </a:lnTo>
                  <a:lnTo>
                    <a:pt x="739" y="826"/>
                  </a:lnTo>
                  <a:close/>
                  <a:moveTo>
                    <a:pt x="1217" y="825"/>
                  </a:moveTo>
                  <a:lnTo>
                    <a:pt x="1215" y="825"/>
                  </a:lnTo>
                  <a:lnTo>
                    <a:pt x="1217" y="825"/>
                  </a:lnTo>
                  <a:close/>
                  <a:moveTo>
                    <a:pt x="722" y="825"/>
                  </a:moveTo>
                  <a:lnTo>
                    <a:pt x="721" y="825"/>
                  </a:lnTo>
                  <a:lnTo>
                    <a:pt x="722" y="825"/>
                  </a:lnTo>
                  <a:close/>
                  <a:moveTo>
                    <a:pt x="779" y="826"/>
                  </a:moveTo>
                  <a:lnTo>
                    <a:pt x="778" y="826"/>
                  </a:lnTo>
                  <a:lnTo>
                    <a:pt x="778" y="825"/>
                  </a:lnTo>
                  <a:lnTo>
                    <a:pt x="779" y="826"/>
                  </a:lnTo>
                  <a:close/>
                  <a:moveTo>
                    <a:pt x="719" y="825"/>
                  </a:moveTo>
                  <a:lnTo>
                    <a:pt x="717" y="825"/>
                  </a:lnTo>
                  <a:lnTo>
                    <a:pt x="719" y="825"/>
                  </a:lnTo>
                  <a:close/>
                  <a:moveTo>
                    <a:pt x="779" y="825"/>
                  </a:moveTo>
                  <a:lnTo>
                    <a:pt x="778" y="825"/>
                  </a:lnTo>
                  <a:lnTo>
                    <a:pt x="779" y="825"/>
                  </a:lnTo>
                  <a:close/>
                  <a:moveTo>
                    <a:pt x="1217" y="825"/>
                  </a:moveTo>
                  <a:lnTo>
                    <a:pt x="1218" y="825"/>
                  </a:lnTo>
                  <a:lnTo>
                    <a:pt x="1217" y="825"/>
                  </a:lnTo>
                  <a:close/>
                  <a:moveTo>
                    <a:pt x="807" y="825"/>
                  </a:moveTo>
                  <a:lnTo>
                    <a:pt x="805" y="825"/>
                  </a:lnTo>
                  <a:lnTo>
                    <a:pt x="807" y="825"/>
                  </a:lnTo>
                  <a:close/>
                  <a:moveTo>
                    <a:pt x="1220" y="825"/>
                  </a:moveTo>
                  <a:lnTo>
                    <a:pt x="1218" y="825"/>
                  </a:lnTo>
                  <a:lnTo>
                    <a:pt x="1220" y="825"/>
                  </a:lnTo>
                  <a:close/>
                  <a:moveTo>
                    <a:pt x="817" y="825"/>
                  </a:moveTo>
                  <a:lnTo>
                    <a:pt x="815" y="825"/>
                  </a:lnTo>
                  <a:lnTo>
                    <a:pt x="817" y="825"/>
                  </a:lnTo>
                  <a:lnTo>
                    <a:pt x="817" y="823"/>
                  </a:lnTo>
                  <a:lnTo>
                    <a:pt x="817" y="825"/>
                  </a:lnTo>
                  <a:close/>
                  <a:moveTo>
                    <a:pt x="758" y="823"/>
                  </a:moveTo>
                  <a:lnTo>
                    <a:pt x="758" y="825"/>
                  </a:lnTo>
                  <a:lnTo>
                    <a:pt x="757" y="823"/>
                  </a:lnTo>
                  <a:lnTo>
                    <a:pt x="758" y="823"/>
                  </a:lnTo>
                  <a:close/>
                  <a:moveTo>
                    <a:pt x="1218" y="823"/>
                  </a:moveTo>
                  <a:lnTo>
                    <a:pt x="1218" y="825"/>
                  </a:lnTo>
                  <a:lnTo>
                    <a:pt x="1218" y="823"/>
                  </a:lnTo>
                  <a:close/>
                  <a:moveTo>
                    <a:pt x="841" y="823"/>
                  </a:moveTo>
                  <a:lnTo>
                    <a:pt x="841" y="825"/>
                  </a:lnTo>
                  <a:lnTo>
                    <a:pt x="841" y="823"/>
                  </a:lnTo>
                  <a:close/>
                  <a:moveTo>
                    <a:pt x="752" y="825"/>
                  </a:moveTo>
                  <a:lnTo>
                    <a:pt x="752" y="823"/>
                  </a:lnTo>
                  <a:lnTo>
                    <a:pt x="752" y="825"/>
                  </a:lnTo>
                  <a:close/>
                  <a:moveTo>
                    <a:pt x="1209" y="823"/>
                  </a:moveTo>
                  <a:lnTo>
                    <a:pt x="1209" y="825"/>
                  </a:lnTo>
                  <a:lnTo>
                    <a:pt x="1207" y="823"/>
                  </a:lnTo>
                  <a:lnTo>
                    <a:pt x="1209" y="823"/>
                  </a:lnTo>
                  <a:close/>
                  <a:moveTo>
                    <a:pt x="1209" y="823"/>
                  </a:moveTo>
                  <a:lnTo>
                    <a:pt x="1210" y="825"/>
                  </a:lnTo>
                  <a:lnTo>
                    <a:pt x="1210" y="823"/>
                  </a:lnTo>
                  <a:lnTo>
                    <a:pt x="1210" y="825"/>
                  </a:lnTo>
                  <a:lnTo>
                    <a:pt x="1209" y="825"/>
                  </a:lnTo>
                  <a:lnTo>
                    <a:pt x="1209" y="823"/>
                  </a:lnTo>
                  <a:close/>
                  <a:moveTo>
                    <a:pt x="1220" y="823"/>
                  </a:moveTo>
                  <a:lnTo>
                    <a:pt x="1220" y="825"/>
                  </a:lnTo>
                  <a:lnTo>
                    <a:pt x="1220" y="823"/>
                  </a:lnTo>
                  <a:close/>
                  <a:moveTo>
                    <a:pt x="726" y="825"/>
                  </a:moveTo>
                  <a:lnTo>
                    <a:pt x="726" y="823"/>
                  </a:lnTo>
                  <a:lnTo>
                    <a:pt x="726" y="825"/>
                  </a:lnTo>
                  <a:close/>
                  <a:moveTo>
                    <a:pt x="1251" y="825"/>
                  </a:moveTo>
                  <a:lnTo>
                    <a:pt x="1251" y="823"/>
                  </a:lnTo>
                  <a:lnTo>
                    <a:pt x="1251" y="825"/>
                  </a:lnTo>
                  <a:close/>
                  <a:moveTo>
                    <a:pt x="1220" y="823"/>
                  </a:moveTo>
                  <a:lnTo>
                    <a:pt x="1218" y="823"/>
                  </a:lnTo>
                  <a:lnTo>
                    <a:pt x="1220" y="823"/>
                  </a:lnTo>
                  <a:close/>
                  <a:moveTo>
                    <a:pt x="750" y="825"/>
                  </a:moveTo>
                  <a:lnTo>
                    <a:pt x="750" y="823"/>
                  </a:lnTo>
                  <a:lnTo>
                    <a:pt x="750" y="825"/>
                  </a:lnTo>
                  <a:close/>
                  <a:moveTo>
                    <a:pt x="817" y="823"/>
                  </a:moveTo>
                  <a:lnTo>
                    <a:pt x="815" y="823"/>
                  </a:lnTo>
                  <a:lnTo>
                    <a:pt x="817" y="823"/>
                  </a:lnTo>
                  <a:close/>
                  <a:moveTo>
                    <a:pt x="757" y="823"/>
                  </a:moveTo>
                  <a:lnTo>
                    <a:pt x="755" y="823"/>
                  </a:lnTo>
                  <a:lnTo>
                    <a:pt x="757" y="823"/>
                  </a:lnTo>
                  <a:close/>
                  <a:moveTo>
                    <a:pt x="1222" y="823"/>
                  </a:moveTo>
                  <a:lnTo>
                    <a:pt x="1220" y="823"/>
                  </a:lnTo>
                  <a:lnTo>
                    <a:pt x="1222" y="823"/>
                  </a:lnTo>
                  <a:close/>
                  <a:moveTo>
                    <a:pt x="1223" y="823"/>
                  </a:moveTo>
                  <a:lnTo>
                    <a:pt x="1222" y="823"/>
                  </a:lnTo>
                  <a:lnTo>
                    <a:pt x="1223" y="823"/>
                  </a:lnTo>
                  <a:close/>
                  <a:moveTo>
                    <a:pt x="1223" y="823"/>
                  </a:moveTo>
                  <a:lnTo>
                    <a:pt x="1222" y="823"/>
                  </a:lnTo>
                  <a:lnTo>
                    <a:pt x="1223" y="823"/>
                  </a:lnTo>
                  <a:close/>
                  <a:moveTo>
                    <a:pt x="817" y="823"/>
                  </a:moveTo>
                  <a:lnTo>
                    <a:pt x="817" y="821"/>
                  </a:lnTo>
                  <a:lnTo>
                    <a:pt x="817" y="823"/>
                  </a:lnTo>
                  <a:close/>
                  <a:moveTo>
                    <a:pt x="730" y="821"/>
                  </a:moveTo>
                  <a:lnTo>
                    <a:pt x="730" y="823"/>
                  </a:lnTo>
                  <a:lnTo>
                    <a:pt x="730" y="821"/>
                  </a:lnTo>
                  <a:close/>
                  <a:moveTo>
                    <a:pt x="812" y="821"/>
                  </a:moveTo>
                  <a:lnTo>
                    <a:pt x="812" y="823"/>
                  </a:lnTo>
                  <a:lnTo>
                    <a:pt x="812" y="821"/>
                  </a:lnTo>
                  <a:close/>
                  <a:moveTo>
                    <a:pt x="810" y="821"/>
                  </a:moveTo>
                  <a:lnTo>
                    <a:pt x="810" y="823"/>
                  </a:lnTo>
                  <a:lnTo>
                    <a:pt x="810" y="821"/>
                  </a:lnTo>
                  <a:close/>
                  <a:moveTo>
                    <a:pt x="818" y="823"/>
                  </a:moveTo>
                  <a:lnTo>
                    <a:pt x="817" y="823"/>
                  </a:lnTo>
                  <a:lnTo>
                    <a:pt x="818" y="821"/>
                  </a:lnTo>
                  <a:lnTo>
                    <a:pt x="818" y="823"/>
                  </a:lnTo>
                  <a:close/>
                  <a:moveTo>
                    <a:pt x="719" y="821"/>
                  </a:moveTo>
                  <a:lnTo>
                    <a:pt x="717" y="821"/>
                  </a:lnTo>
                  <a:lnTo>
                    <a:pt x="719" y="821"/>
                  </a:lnTo>
                  <a:close/>
                  <a:moveTo>
                    <a:pt x="1207" y="821"/>
                  </a:moveTo>
                  <a:lnTo>
                    <a:pt x="1205" y="821"/>
                  </a:lnTo>
                  <a:lnTo>
                    <a:pt x="1207" y="821"/>
                  </a:lnTo>
                  <a:close/>
                  <a:moveTo>
                    <a:pt x="828" y="823"/>
                  </a:moveTo>
                  <a:lnTo>
                    <a:pt x="828" y="821"/>
                  </a:lnTo>
                  <a:lnTo>
                    <a:pt x="828" y="823"/>
                  </a:lnTo>
                  <a:close/>
                  <a:moveTo>
                    <a:pt x="721" y="821"/>
                  </a:moveTo>
                  <a:lnTo>
                    <a:pt x="719" y="821"/>
                  </a:lnTo>
                  <a:lnTo>
                    <a:pt x="721" y="821"/>
                  </a:lnTo>
                  <a:close/>
                  <a:moveTo>
                    <a:pt x="774" y="821"/>
                  </a:moveTo>
                  <a:lnTo>
                    <a:pt x="776" y="821"/>
                  </a:lnTo>
                  <a:lnTo>
                    <a:pt x="778" y="823"/>
                  </a:lnTo>
                  <a:lnTo>
                    <a:pt x="778" y="825"/>
                  </a:lnTo>
                  <a:lnTo>
                    <a:pt x="776" y="825"/>
                  </a:lnTo>
                  <a:lnTo>
                    <a:pt x="776" y="823"/>
                  </a:lnTo>
                  <a:lnTo>
                    <a:pt x="774" y="825"/>
                  </a:lnTo>
                  <a:lnTo>
                    <a:pt x="774" y="823"/>
                  </a:lnTo>
                  <a:lnTo>
                    <a:pt x="774" y="821"/>
                  </a:lnTo>
                  <a:close/>
                  <a:moveTo>
                    <a:pt x="913" y="821"/>
                  </a:moveTo>
                  <a:lnTo>
                    <a:pt x="911" y="821"/>
                  </a:lnTo>
                  <a:lnTo>
                    <a:pt x="913" y="821"/>
                  </a:lnTo>
                  <a:close/>
                  <a:moveTo>
                    <a:pt x="748" y="821"/>
                  </a:moveTo>
                  <a:lnTo>
                    <a:pt x="748" y="823"/>
                  </a:lnTo>
                  <a:lnTo>
                    <a:pt x="747" y="823"/>
                  </a:lnTo>
                  <a:lnTo>
                    <a:pt x="747" y="821"/>
                  </a:lnTo>
                  <a:lnTo>
                    <a:pt x="748" y="821"/>
                  </a:lnTo>
                  <a:close/>
                  <a:moveTo>
                    <a:pt x="757" y="820"/>
                  </a:moveTo>
                  <a:lnTo>
                    <a:pt x="755" y="821"/>
                  </a:lnTo>
                  <a:lnTo>
                    <a:pt x="755" y="820"/>
                  </a:lnTo>
                  <a:lnTo>
                    <a:pt x="757" y="820"/>
                  </a:lnTo>
                  <a:close/>
                  <a:moveTo>
                    <a:pt x="799" y="821"/>
                  </a:moveTo>
                  <a:lnTo>
                    <a:pt x="797" y="821"/>
                  </a:lnTo>
                  <a:lnTo>
                    <a:pt x="797" y="820"/>
                  </a:lnTo>
                  <a:lnTo>
                    <a:pt x="799" y="821"/>
                  </a:lnTo>
                  <a:close/>
                  <a:moveTo>
                    <a:pt x="913" y="820"/>
                  </a:moveTo>
                  <a:lnTo>
                    <a:pt x="913" y="821"/>
                  </a:lnTo>
                  <a:lnTo>
                    <a:pt x="913" y="820"/>
                  </a:lnTo>
                  <a:close/>
                  <a:moveTo>
                    <a:pt x="704" y="821"/>
                  </a:moveTo>
                  <a:lnTo>
                    <a:pt x="704" y="820"/>
                  </a:lnTo>
                  <a:lnTo>
                    <a:pt x="704" y="821"/>
                  </a:lnTo>
                  <a:close/>
                  <a:moveTo>
                    <a:pt x="730" y="821"/>
                  </a:moveTo>
                  <a:lnTo>
                    <a:pt x="730" y="820"/>
                  </a:lnTo>
                  <a:lnTo>
                    <a:pt x="730" y="821"/>
                  </a:lnTo>
                  <a:close/>
                  <a:moveTo>
                    <a:pt x="730" y="820"/>
                  </a:moveTo>
                  <a:lnTo>
                    <a:pt x="730" y="821"/>
                  </a:lnTo>
                  <a:lnTo>
                    <a:pt x="730" y="820"/>
                  </a:lnTo>
                  <a:close/>
                  <a:moveTo>
                    <a:pt x="835" y="821"/>
                  </a:moveTo>
                  <a:lnTo>
                    <a:pt x="833" y="821"/>
                  </a:lnTo>
                  <a:lnTo>
                    <a:pt x="833" y="820"/>
                  </a:lnTo>
                  <a:lnTo>
                    <a:pt x="835" y="821"/>
                  </a:lnTo>
                  <a:close/>
                  <a:moveTo>
                    <a:pt x="1251" y="821"/>
                  </a:moveTo>
                  <a:lnTo>
                    <a:pt x="1249" y="821"/>
                  </a:lnTo>
                  <a:lnTo>
                    <a:pt x="1249" y="820"/>
                  </a:lnTo>
                  <a:lnTo>
                    <a:pt x="1251" y="820"/>
                  </a:lnTo>
                  <a:lnTo>
                    <a:pt x="1251" y="821"/>
                  </a:lnTo>
                  <a:close/>
                  <a:moveTo>
                    <a:pt x="755" y="820"/>
                  </a:moveTo>
                  <a:lnTo>
                    <a:pt x="753" y="820"/>
                  </a:lnTo>
                  <a:lnTo>
                    <a:pt x="755" y="820"/>
                  </a:lnTo>
                  <a:close/>
                  <a:moveTo>
                    <a:pt x="822" y="820"/>
                  </a:moveTo>
                  <a:lnTo>
                    <a:pt x="822" y="821"/>
                  </a:lnTo>
                  <a:lnTo>
                    <a:pt x="820" y="820"/>
                  </a:lnTo>
                  <a:lnTo>
                    <a:pt x="822" y="820"/>
                  </a:lnTo>
                  <a:close/>
                  <a:moveTo>
                    <a:pt x="703" y="820"/>
                  </a:moveTo>
                  <a:lnTo>
                    <a:pt x="701" y="820"/>
                  </a:lnTo>
                  <a:lnTo>
                    <a:pt x="703" y="820"/>
                  </a:lnTo>
                  <a:close/>
                  <a:moveTo>
                    <a:pt x="760" y="820"/>
                  </a:moveTo>
                  <a:lnTo>
                    <a:pt x="761" y="820"/>
                  </a:lnTo>
                  <a:lnTo>
                    <a:pt x="760" y="820"/>
                  </a:lnTo>
                  <a:close/>
                  <a:moveTo>
                    <a:pt x="721" y="820"/>
                  </a:moveTo>
                  <a:lnTo>
                    <a:pt x="719" y="820"/>
                  </a:lnTo>
                  <a:lnTo>
                    <a:pt x="721" y="820"/>
                  </a:lnTo>
                  <a:close/>
                  <a:moveTo>
                    <a:pt x="1249" y="820"/>
                  </a:moveTo>
                  <a:lnTo>
                    <a:pt x="1249" y="821"/>
                  </a:lnTo>
                  <a:lnTo>
                    <a:pt x="1249" y="820"/>
                  </a:lnTo>
                  <a:lnTo>
                    <a:pt x="1249" y="821"/>
                  </a:lnTo>
                  <a:lnTo>
                    <a:pt x="1249" y="820"/>
                  </a:lnTo>
                  <a:close/>
                  <a:moveTo>
                    <a:pt x="773" y="821"/>
                  </a:moveTo>
                  <a:lnTo>
                    <a:pt x="774" y="821"/>
                  </a:lnTo>
                  <a:lnTo>
                    <a:pt x="773" y="820"/>
                  </a:lnTo>
                  <a:lnTo>
                    <a:pt x="774" y="820"/>
                  </a:lnTo>
                  <a:lnTo>
                    <a:pt x="774" y="821"/>
                  </a:lnTo>
                  <a:lnTo>
                    <a:pt x="773" y="821"/>
                  </a:lnTo>
                  <a:close/>
                  <a:moveTo>
                    <a:pt x="711" y="820"/>
                  </a:moveTo>
                  <a:lnTo>
                    <a:pt x="709" y="820"/>
                  </a:lnTo>
                  <a:lnTo>
                    <a:pt x="711" y="820"/>
                  </a:lnTo>
                  <a:close/>
                  <a:moveTo>
                    <a:pt x="1267" y="820"/>
                  </a:moveTo>
                  <a:lnTo>
                    <a:pt x="1266" y="820"/>
                  </a:lnTo>
                  <a:lnTo>
                    <a:pt x="1267" y="820"/>
                  </a:lnTo>
                  <a:close/>
                  <a:moveTo>
                    <a:pt x="704" y="820"/>
                  </a:moveTo>
                  <a:lnTo>
                    <a:pt x="703" y="820"/>
                  </a:lnTo>
                  <a:lnTo>
                    <a:pt x="704" y="820"/>
                  </a:lnTo>
                  <a:close/>
                  <a:moveTo>
                    <a:pt x="730" y="820"/>
                  </a:moveTo>
                  <a:lnTo>
                    <a:pt x="730" y="818"/>
                  </a:lnTo>
                  <a:lnTo>
                    <a:pt x="730" y="820"/>
                  </a:lnTo>
                  <a:close/>
                  <a:moveTo>
                    <a:pt x="818" y="820"/>
                  </a:moveTo>
                  <a:lnTo>
                    <a:pt x="818" y="818"/>
                  </a:lnTo>
                  <a:lnTo>
                    <a:pt x="818" y="820"/>
                  </a:lnTo>
                  <a:close/>
                  <a:moveTo>
                    <a:pt x="828" y="818"/>
                  </a:moveTo>
                  <a:lnTo>
                    <a:pt x="828" y="820"/>
                  </a:lnTo>
                  <a:lnTo>
                    <a:pt x="828" y="818"/>
                  </a:lnTo>
                  <a:close/>
                  <a:moveTo>
                    <a:pt x="784" y="818"/>
                  </a:moveTo>
                  <a:lnTo>
                    <a:pt x="784" y="820"/>
                  </a:lnTo>
                  <a:lnTo>
                    <a:pt x="784" y="818"/>
                  </a:lnTo>
                  <a:close/>
                  <a:moveTo>
                    <a:pt x="730" y="818"/>
                  </a:moveTo>
                  <a:lnTo>
                    <a:pt x="730" y="820"/>
                  </a:lnTo>
                  <a:lnTo>
                    <a:pt x="730" y="818"/>
                  </a:lnTo>
                  <a:close/>
                  <a:moveTo>
                    <a:pt x="1204" y="818"/>
                  </a:moveTo>
                  <a:lnTo>
                    <a:pt x="1204" y="820"/>
                  </a:lnTo>
                  <a:lnTo>
                    <a:pt x="1204" y="818"/>
                  </a:lnTo>
                  <a:close/>
                  <a:moveTo>
                    <a:pt x="810" y="820"/>
                  </a:moveTo>
                  <a:lnTo>
                    <a:pt x="810" y="818"/>
                  </a:lnTo>
                  <a:lnTo>
                    <a:pt x="810" y="820"/>
                  </a:lnTo>
                  <a:close/>
                  <a:moveTo>
                    <a:pt x="833" y="820"/>
                  </a:moveTo>
                  <a:lnTo>
                    <a:pt x="833" y="818"/>
                  </a:lnTo>
                  <a:lnTo>
                    <a:pt x="833" y="820"/>
                  </a:lnTo>
                  <a:close/>
                  <a:moveTo>
                    <a:pt x="813" y="820"/>
                  </a:moveTo>
                  <a:lnTo>
                    <a:pt x="812" y="820"/>
                  </a:lnTo>
                  <a:lnTo>
                    <a:pt x="812" y="818"/>
                  </a:lnTo>
                  <a:lnTo>
                    <a:pt x="813" y="818"/>
                  </a:lnTo>
                  <a:lnTo>
                    <a:pt x="813" y="820"/>
                  </a:lnTo>
                  <a:close/>
                  <a:moveTo>
                    <a:pt x="730" y="818"/>
                  </a:moveTo>
                  <a:lnTo>
                    <a:pt x="729" y="818"/>
                  </a:lnTo>
                  <a:lnTo>
                    <a:pt x="730" y="818"/>
                  </a:lnTo>
                  <a:close/>
                  <a:moveTo>
                    <a:pt x="729" y="818"/>
                  </a:moveTo>
                  <a:lnTo>
                    <a:pt x="727" y="818"/>
                  </a:lnTo>
                  <a:lnTo>
                    <a:pt x="729" y="818"/>
                  </a:lnTo>
                  <a:close/>
                  <a:moveTo>
                    <a:pt x="753" y="820"/>
                  </a:moveTo>
                  <a:lnTo>
                    <a:pt x="753" y="821"/>
                  </a:lnTo>
                  <a:lnTo>
                    <a:pt x="752" y="821"/>
                  </a:lnTo>
                  <a:lnTo>
                    <a:pt x="753" y="821"/>
                  </a:lnTo>
                  <a:lnTo>
                    <a:pt x="752" y="820"/>
                  </a:lnTo>
                  <a:lnTo>
                    <a:pt x="753" y="820"/>
                  </a:lnTo>
                  <a:lnTo>
                    <a:pt x="753" y="818"/>
                  </a:lnTo>
                  <a:lnTo>
                    <a:pt x="755" y="818"/>
                  </a:lnTo>
                  <a:lnTo>
                    <a:pt x="753" y="818"/>
                  </a:lnTo>
                  <a:lnTo>
                    <a:pt x="753" y="820"/>
                  </a:lnTo>
                  <a:close/>
                  <a:moveTo>
                    <a:pt x="1266" y="818"/>
                  </a:moveTo>
                  <a:lnTo>
                    <a:pt x="1266" y="820"/>
                  </a:lnTo>
                  <a:lnTo>
                    <a:pt x="1266" y="818"/>
                  </a:lnTo>
                  <a:close/>
                  <a:moveTo>
                    <a:pt x="1235" y="818"/>
                  </a:moveTo>
                  <a:lnTo>
                    <a:pt x="1236" y="818"/>
                  </a:lnTo>
                  <a:lnTo>
                    <a:pt x="1235" y="818"/>
                  </a:lnTo>
                  <a:close/>
                  <a:moveTo>
                    <a:pt x="909" y="818"/>
                  </a:moveTo>
                  <a:lnTo>
                    <a:pt x="908" y="818"/>
                  </a:lnTo>
                  <a:lnTo>
                    <a:pt x="909" y="818"/>
                  </a:lnTo>
                  <a:close/>
                  <a:moveTo>
                    <a:pt x="755" y="818"/>
                  </a:moveTo>
                  <a:lnTo>
                    <a:pt x="753" y="818"/>
                  </a:lnTo>
                  <a:lnTo>
                    <a:pt x="755" y="818"/>
                  </a:lnTo>
                  <a:close/>
                  <a:moveTo>
                    <a:pt x="1240" y="818"/>
                  </a:moveTo>
                  <a:lnTo>
                    <a:pt x="1243" y="818"/>
                  </a:lnTo>
                  <a:lnTo>
                    <a:pt x="1240" y="818"/>
                  </a:lnTo>
                  <a:lnTo>
                    <a:pt x="1240" y="817"/>
                  </a:lnTo>
                  <a:lnTo>
                    <a:pt x="1240" y="818"/>
                  </a:lnTo>
                  <a:close/>
                  <a:moveTo>
                    <a:pt x="831" y="818"/>
                  </a:moveTo>
                  <a:lnTo>
                    <a:pt x="830" y="817"/>
                  </a:lnTo>
                  <a:lnTo>
                    <a:pt x="831" y="818"/>
                  </a:lnTo>
                  <a:close/>
                  <a:moveTo>
                    <a:pt x="813" y="818"/>
                  </a:moveTo>
                  <a:lnTo>
                    <a:pt x="812" y="818"/>
                  </a:lnTo>
                  <a:lnTo>
                    <a:pt x="812" y="817"/>
                  </a:lnTo>
                  <a:lnTo>
                    <a:pt x="813" y="818"/>
                  </a:lnTo>
                  <a:close/>
                  <a:moveTo>
                    <a:pt x="717" y="818"/>
                  </a:moveTo>
                  <a:lnTo>
                    <a:pt x="717" y="817"/>
                  </a:lnTo>
                  <a:lnTo>
                    <a:pt x="717" y="818"/>
                  </a:lnTo>
                  <a:close/>
                  <a:moveTo>
                    <a:pt x="766" y="818"/>
                  </a:moveTo>
                  <a:lnTo>
                    <a:pt x="766" y="817"/>
                  </a:lnTo>
                  <a:lnTo>
                    <a:pt x="766" y="818"/>
                  </a:lnTo>
                  <a:close/>
                  <a:moveTo>
                    <a:pt x="1238" y="817"/>
                  </a:moveTo>
                  <a:lnTo>
                    <a:pt x="1236" y="818"/>
                  </a:lnTo>
                  <a:lnTo>
                    <a:pt x="1236" y="817"/>
                  </a:lnTo>
                  <a:lnTo>
                    <a:pt x="1238" y="817"/>
                  </a:lnTo>
                  <a:close/>
                  <a:moveTo>
                    <a:pt x="704" y="817"/>
                  </a:moveTo>
                  <a:lnTo>
                    <a:pt x="704" y="818"/>
                  </a:lnTo>
                  <a:lnTo>
                    <a:pt x="704" y="817"/>
                  </a:lnTo>
                  <a:close/>
                  <a:moveTo>
                    <a:pt x="714" y="818"/>
                  </a:moveTo>
                  <a:lnTo>
                    <a:pt x="714" y="817"/>
                  </a:lnTo>
                  <a:lnTo>
                    <a:pt x="714" y="818"/>
                  </a:lnTo>
                  <a:close/>
                  <a:moveTo>
                    <a:pt x="909" y="817"/>
                  </a:moveTo>
                  <a:lnTo>
                    <a:pt x="909" y="818"/>
                  </a:lnTo>
                  <a:lnTo>
                    <a:pt x="911" y="817"/>
                  </a:lnTo>
                  <a:lnTo>
                    <a:pt x="911" y="818"/>
                  </a:lnTo>
                  <a:lnTo>
                    <a:pt x="909" y="818"/>
                  </a:lnTo>
                  <a:lnTo>
                    <a:pt x="909" y="817"/>
                  </a:lnTo>
                  <a:lnTo>
                    <a:pt x="909" y="818"/>
                  </a:lnTo>
                  <a:lnTo>
                    <a:pt x="908" y="817"/>
                  </a:lnTo>
                  <a:lnTo>
                    <a:pt x="909" y="817"/>
                  </a:lnTo>
                  <a:close/>
                  <a:moveTo>
                    <a:pt x="802" y="817"/>
                  </a:moveTo>
                  <a:lnTo>
                    <a:pt x="802" y="818"/>
                  </a:lnTo>
                  <a:lnTo>
                    <a:pt x="800" y="818"/>
                  </a:lnTo>
                  <a:lnTo>
                    <a:pt x="802" y="817"/>
                  </a:lnTo>
                  <a:close/>
                  <a:moveTo>
                    <a:pt x="704" y="818"/>
                  </a:moveTo>
                  <a:lnTo>
                    <a:pt x="703" y="817"/>
                  </a:lnTo>
                  <a:lnTo>
                    <a:pt x="704" y="817"/>
                  </a:lnTo>
                  <a:lnTo>
                    <a:pt x="704" y="818"/>
                  </a:lnTo>
                  <a:close/>
                  <a:moveTo>
                    <a:pt x="704" y="817"/>
                  </a:moveTo>
                  <a:lnTo>
                    <a:pt x="706" y="817"/>
                  </a:lnTo>
                  <a:lnTo>
                    <a:pt x="704" y="817"/>
                  </a:lnTo>
                  <a:close/>
                  <a:moveTo>
                    <a:pt x="773" y="817"/>
                  </a:moveTo>
                  <a:lnTo>
                    <a:pt x="771" y="817"/>
                  </a:lnTo>
                  <a:lnTo>
                    <a:pt x="773" y="817"/>
                  </a:lnTo>
                  <a:close/>
                  <a:moveTo>
                    <a:pt x="765" y="817"/>
                  </a:moveTo>
                  <a:lnTo>
                    <a:pt x="766" y="817"/>
                  </a:lnTo>
                  <a:lnTo>
                    <a:pt x="766" y="818"/>
                  </a:lnTo>
                  <a:lnTo>
                    <a:pt x="765" y="818"/>
                  </a:lnTo>
                  <a:lnTo>
                    <a:pt x="763" y="818"/>
                  </a:lnTo>
                  <a:lnTo>
                    <a:pt x="763" y="817"/>
                  </a:lnTo>
                  <a:lnTo>
                    <a:pt x="765" y="817"/>
                  </a:lnTo>
                  <a:close/>
                  <a:moveTo>
                    <a:pt x="797" y="817"/>
                  </a:moveTo>
                  <a:lnTo>
                    <a:pt x="796" y="817"/>
                  </a:lnTo>
                  <a:lnTo>
                    <a:pt x="797" y="817"/>
                  </a:lnTo>
                  <a:close/>
                  <a:moveTo>
                    <a:pt x="825" y="817"/>
                  </a:moveTo>
                  <a:lnTo>
                    <a:pt x="825" y="818"/>
                  </a:lnTo>
                  <a:lnTo>
                    <a:pt x="826" y="818"/>
                  </a:lnTo>
                  <a:lnTo>
                    <a:pt x="828" y="818"/>
                  </a:lnTo>
                  <a:lnTo>
                    <a:pt x="828" y="817"/>
                  </a:lnTo>
                  <a:lnTo>
                    <a:pt x="830" y="818"/>
                  </a:lnTo>
                  <a:lnTo>
                    <a:pt x="828" y="818"/>
                  </a:lnTo>
                  <a:lnTo>
                    <a:pt x="830" y="818"/>
                  </a:lnTo>
                  <a:lnTo>
                    <a:pt x="828" y="818"/>
                  </a:lnTo>
                  <a:lnTo>
                    <a:pt x="828" y="820"/>
                  </a:lnTo>
                  <a:lnTo>
                    <a:pt x="826" y="821"/>
                  </a:lnTo>
                  <a:lnTo>
                    <a:pt x="826" y="823"/>
                  </a:lnTo>
                  <a:lnTo>
                    <a:pt x="826" y="821"/>
                  </a:lnTo>
                  <a:lnTo>
                    <a:pt x="825" y="821"/>
                  </a:lnTo>
                  <a:lnTo>
                    <a:pt x="825" y="820"/>
                  </a:lnTo>
                  <a:lnTo>
                    <a:pt x="823" y="820"/>
                  </a:lnTo>
                  <a:lnTo>
                    <a:pt x="822" y="820"/>
                  </a:lnTo>
                  <a:lnTo>
                    <a:pt x="822" y="818"/>
                  </a:lnTo>
                  <a:lnTo>
                    <a:pt x="822" y="817"/>
                  </a:lnTo>
                  <a:lnTo>
                    <a:pt x="823" y="817"/>
                  </a:lnTo>
                  <a:lnTo>
                    <a:pt x="825" y="817"/>
                  </a:lnTo>
                  <a:close/>
                  <a:moveTo>
                    <a:pt x="792" y="817"/>
                  </a:moveTo>
                  <a:lnTo>
                    <a:pt x="791" y="817"/>
                  </a:lnTo>
                  <a:lnTo>
                    <a:pt x="792" y="817"/>
                  </a:lnTo>
                  <a:close/>
                  <a:moveTo>
                    <a:pt x="1204" y="817"/>
                  </a:moveTo>
                  <a:lnTo>
                    <a:pt x="1202" y="817"/>
                  </a:lnTo>
                  <a:lnTo>
                    <a:pt x="1204" y="817"/>
                  </a:lnTo>
                  <a:close/>
                  <a:moveTo>
                    <a:pt x="1262" y="817"/>
                  </a:moveTo>
                  <a:lnTo>
                    <a:pt x="1264" y="817"/>
                  </a:lnTo>
                  <a:lnTo>
                    <a:pt x="1262" y="817"/>
                  </a:lnTo>
                  <a:close/>
                  <a:moveTo>
                    <a:pt x="875" y="817"/>
                  </a:moveTo>
                  <a:lnTo>
                    <a:pt x="877" y="817"/>
                  </a:lnTo>
                  <a:lnTo>
                    <a:pt x="878" y="817"/>
                  </a:lnTo>
                  <a:lnTo>
                    <a:pt x="878" y="818"/>
                  </a:lnTo>
                  <a:lnTo>
                    <a:pt x="877" y="818"/>
                  </a:lnTo>
                  <a:lnTo>
                    <a:pt x="875" y="818"/>
                  </a:lnTo>
                  <a:lnTo>
                    <a:pt x="875" y="817"/>
                  </a:lnTo>
                  <a:close/>
                  <a:moveTo>
                    <a:pt x="766" y="817"/>
                  </a:moveTo>
                  <a:lnTo>
                    <a:pt x="766" y="815"/>
                  </a:lnTo>
                  <a:lnTo>
                    <a:pt x="766" y="817"/>
                  </a:lnTo>
                  <a:close/>
                  <a:moveTo>
                    <a:pt x="861" y="817"/>
                  </a:moveTo>
                  <a:lnTo>
                    <a:pt x="859" y="817"/>
                  </a:lnTo>
                  <a:lnTo>
                    <a:pt x="861" y="815"/>
                  </a:lnTo>
                  <a:lnTo>
                    <a:pt x="861" y="817"/>
                  </a:lnTo>
                  <a:close/>
                  <a:moveTo>
                    <a:pt x="791" y="817"/>
                  </a:moveTo>
                  <a:lnTo>
                    <a:pt x="791" y="815"/>
                  </a:lnTo>
                  <a:lnTo>
                    <a:pt x="791" y="817"/>
                  </a:lnTo>
                  <a:close/>
                  <a:moveTo>
                    <a:pt x="770" y="815"/>
                  </a:moveTo>
                  <a:lnTo>
                    <a:pt x="771" y="815"/>
                  </a:lnTo>
                  <a:lnTo>
                    <a:pt x="771" y="817"/>
                  </a:lnTo>
                  <a:lnTo>
                    <a:pt x="771" y="815"/>
                  </a:lnTo>
                  <a:lnTo>
                    <a:pt x="770" y="815"/>
                  </a:lnTo>
                  <a:close/>
                  <a:moveTo>
                    <a:pt x="874" y="815"/>
                  </a:moveTo>
                  <a:lnTo>
                    <a:pt x="875" y="815"/>
                  </a:lnTo>
                  <a:lnTo>
                    <a:pt x="875" y="817"/>
                  </a:lnTo>
                  <a:lnTo>
                    <a:pt x="874" y="815"/>
                  </a:lnTo>
                  <a:close/>
                  <a:moveTo>
                    <a:pt x="822" y="817"/>
                  </a:moveTo>
                  <a:lnTo>
                    <a:pt x="820" y="815"/>
                  </a:lnTo>
                  <a:lnTo>
                    <a:pt x="822" y="815"/>
                  </a:lnTo>
                  <a:lnTo>
                    <a:pt x="822" y="817"/>
                  </a:lnTo>
                  <a:close/>
                  <a:moveTo>
                    <a:pt x="809" y="815"/>
                  </a:moveTo>
                  <a:lnTo>
                    <a:pt x="807" y="815"/>
                  </a:lnTo>
                  <a:lnTo>
                    <a:pt x="809" y="815"/>
                  </a:lnTo>
                  <a:close/>
                  <a:moveTo>
                    <a:pt x="797" y="815"/>
                  </a:moveTo>
                  <a:lnTo>
                    <a:pt x="799" y="815"/>
                  </a:lnTo>
                  <a:lnTo>
                    <a:pt x="799" y="817"/>
                  </a:lnTo>
                  <a:lnTo>
                    <a:pt x="797" y="815"/>
                  </a:lnTo>
                  <a:close/>
                  <a:moveTo>
                    <a:pt x="792" y="815"/>
                  </a:moveTo>
                  <a:lnTo>
                    <a:pt x="791" y="815"/>
                  </a:lnTo>
                  <a:lnTo>
                    <a:pt x="792" y="815"/>
                  </a:lnTo>
                  <a:close/>
                  <a:moveTo>
                    <a:pt x="770" y="813"/>
                  </a:moveTo>
                  <a:lnTo>
                    <a:pt x="770" y="815"/>
                  </a:lnTo>
                  <a:lnTo>
                    <a:pt x="770" y="813"/>
                  </a:lnTo>
                  <a:close/>
                  <a:moveTo>
                    <a:pt x="768" y="815"/>
                  </a:moveTo>
                  <a:lnTo>
                    <a:pt x="766" y="815"/>
                  </a:lnTo>
                  <a:lnTo>
                    <a:pt x="768" y="813"/>
                  </a:lnTo>
                  <a:lnTo>
                    <a:pt x="768" y="815"/>
                  </a:lnTo>
                  <a:close/>
                  <a:moveTo>
                    <a:pt x="812" y="815"/>
                  </a:moveTo>
                  <a:lnTo>
                    <a:pt x="812" y="813"/>
                  </a:lnTo>
                  <a:lnTo>
                    <a:pt x="812" y="815"/>
                  </a:lnTo>
                  <a:close/>
                  <a:moveTo>
                    <a:pt x="797" y="815"/>
                  </a:moveTo>
                  <a:lnTo>
                    <a:pt x="797" y="813"/>
                  </a:lnTo>
                  <a:lnTo>
                    <a:pt x="797" y="815"/>
                  </a:lnTo>
                  <a:close/>
                  <a:moveTo>
                    <a:pt x="787" y="813"/>
                  </a:moveTo>
                  <a:lnTo>
                    <a:pt x="789" y="813"/>
                  </a:lnTo>
                  <a:lnTo>
                    <a:pt x="789" y="815"/>
                  </a:lnTo>
                  <a:lnTo>
                    <a:pt x="787" y="815"/>
                  </a:lnTo>
                  <a:lnTo>
                    <a:pt x="787" y="813"/>
                  </a:lnTo>
                  <a:close/>
                  <a:moveTo>
                    <a:pt x="810" y="815"/>
                  </a:moveTo>
                  <a:lnTo>
                    <a:pt x="812" y="815"/>
                  </a:lnTo>
                  <a:lnTo>
                    <a:pt x="810" y="815"/>
                  </a:lnTo>
                  <a:lnTo>
                    <a:pt x="809" y="815"/>
                  </a:lnTo>
                  <a:lnTo>
                    <a:pt x="809" y="813"/>
                  </a:lnTo>
                  <a:lnTo>
                    <a:pt x="810" y="813"/>
                  </a:lnTo>
                  <a:lnTo>
                    <a:pt x="810" y="815"/>
                  </a:lnTo>
                  <a:close/>
                  <a:moveTo>
                    <a:pt x="815" y="813"/>
                  </a:moveTo>
                  <a:lnTo>
                    <a:pt x="813" y="813"/>
                  </a:lnTo>
                  <a:lnTo>
                    <a:pt x="815" y="813"/>
                  </a:lnTo>
                  <a:close/>
                  <a:moveTo>
                    <a:pt x="771" y="813"/>
                  </a:moveTo>
                  <a:lnTo>
                    <a:pt x="770" y="813"/>
                  </a:lnTo>
                  <a:lnTo>
                    <a:pt x="771" y="813"/>
                  </a:lnTo>
                  <a:close/>
                  <a:moveTo>
                    <a:pt x="753" y="813"/>
                  </a:moveTo>
                  <a:lnTo>
                    <a:pt x="753" y="815"/>
                  </a:lnTo>
                  <a:lnTo>
                    <a:pt x="753" y="813"/>
                  </a:lnTo>
                  <a:close/>
                  <a:moveTo>
                    <a:pt x="813" y="813"/>
                  </a:moveTo>
                  <a:lnTo>
                    <a:pt x="812" y="813"/>
                  </a:lnTo>
                  <a:lnTo>
                    <a:pt x="813" y="813"/>
                  </a:lnTo>
                  <a:close/>
                  <a:moveTo>
                    <a:pt x="807" y="812"/>
                  </a:moveTo>
                  <a:lnTo>
                    <a:pt x="807" y="813"/>
                  </a:lnTo>
                  <a:lnTo>
                    <a:pt x="809" y="813"/>
                  </a:lnTo>
                  <a:lnTo>
                    <a:pt x="807" y="813"/>
                  </a:lnTo>
                  <a:lnTo>
                    <a:pt x="805" y="813"/>
                  </a:lnTo>
                  <a:lnTo>
                    <a:pt x="805" y="812"/>
                  </a:lnTo>
                  <a:lnTo>
                    <a:pt x="807" y="813"/>
                  </a:lnTo>
                  <a:lnTo>
                    <a:pt x="807" y="812"/>
                  </a:lnTo>
                  <a:close/>
                  <a:moveTo>
                    <a:pt x="797" y="813"/>
                  </a:moveTo>
                  <a:lnTo>
                    <a:pt x="796" y="812"/>
                  </a:lnTo>
                  <a:lnTo>
                    <a:pt x="797" y="812"/>
                  </a:lnTo>
                  <a:lnTo>
                    <a:pt x="797" y="813"/>
                  </a:lnTo>
                  <a:close/>
                  <a:moveTo>
                    <a:pt x="810" y="812"/>
                  </a:moveTo>
                  <a:lnTo>
                    <a:pt x="809" y="812"/>
                  </a:lnTo>
                  <a:lnTo>
                    <a:pt x="810" y="812"/>
                  </a:lnTo>
                  <a:close/>
                  <a:moveTo>
                    <a:pt x="778" y="813"/>
                  </a:moveTo>
                  <a:lnTo>
                    <a:pt x="779" y="815"/>
                  </a:lnTo>
                  <a:lnTo>
                    <a:pt x="781" y="815"/>
                  </a:lnTo>
                  <a:lnTo>
                    <a:pt x="781" y="817"/>
                  </a:lnTo>
                  <a:lnTo>
                    <a:pt x="783" y="817"/>
                  </a:lnTo>
                  <a:lnTo>
                    <a:pt x="783" y="818"/>
                  </a:lnTo>
                  <a:lnTo>
                    <a:pt x="783" y="820"/>
                  </a:lnTo>
                  <a:lnTo>
                    <a:pt x="784" y="820"/>
                  </a:lnTo>
                  <a:lnTo>
                    <a:pt x="783" y="820"/>
                  </a:lnTo>
                  <a:lnTo>
                    <a:pt x="783" y="821"/>
                  </a:lnTo>
                  <a:lnTo>
                    <a:pt x="783" y="823"/>
                  </a:lnTo>
                  <a:lnTo>
                    <a:pt x="781" y="821"/>
                  </a:lnTo>
                  <a:lnTo>
                    <a:pt x="781" y="823"/>
                  </a:lnTo>
                  <a:lnTo>
                    <a:pt x="781" y="821"/>
                  </a:lnTo>
                  <a:lnTo>
                    <a:pt x="779" y="821"/>
                  </a:lnTo>
                  <a:lnTo>
                    <a:pt x="778" y="820"/>
                  </a:lnTo>
                  <a:lnTo>
                    <a:pt x="776" y="818"/>
                  </a:lnTo>
                  <a:lnTo>
                    <a:pt x="774" y="818"/>
                  </a:lnTo>
                  <a:lnTo>
                    <a:pt x="773" y="817"/>
                  </a:lnTo>
                  <a:lnTo>
                    <a:pt x="773" y="815"/>
                  </a:lnTo>
                  <a:lnTo>
                    <a:pt x="773" y="813"/>
                  </a:lnTo>
                  <a:lnTo>
                    <a:pt x="773" y="815"/>
                  </a:lnTo>
                  <a:lnTo>
                    <a:pt x="773" y="813"/>
                  </a:lnTo>
                  <a:lnTo>
                    <a:pt x="773" y="815"/>
                  </a:lnTo>
                  <a:lnTo>
                    <a:pt x="773" y="813"/>
                  </a:lnTo>
                  <a:lnTo>
                    <a:pt x="774" y="813"/>
                  </a:lnTo>
                  <a:lnTo>
                    <a:pt x="774" y="812"/>
                  </a:lnTo>
                  <a:lnTo>
                    <a:pt x="776" y="812"/>
                  </a:lnTo>
                  <a:lnTo>
                    <a:pt x="776" y="813"/>
                  </a:lnTo>
                  <a:lnTo>
                    <a:pt x="778" y="813"/>
                  </a:lnTo>
                  <a:close/>
                  <a:moveTo>
                    <a:pt x="1197" y="810"/>
                  </a:moveTo>
                  <a:lnTo>
                    <a:pt x="1197" y="812"/>
                  </a:lnTo>
                  <a:lnTo>
                    <a:pt x="1197" y="810"/>
                  </a:lnTo>
                  <a:close/>
                  <a:moveTo>
                    <a:pt x="729" y="812"/>
                  </a:moveTo>
                  <a:lnTo>
                    <a:pt x="727" y="812"/>
                  </a:lnTo>
                  <a:lnTo>
                    <a:pt x="727" y="810"/>
                  </a:lnTo>
                  <a:lnTo>
                    <a:pt x="729" y="810"/>
                  </a:lnTo>
                  <a:lnTo>
                    <a:pt x="729" y="812"/>
                  </a:lnTo>
                  <a:close/>
                  <a:moveTo>
                    <a:pt x="809" y="810"/>
                  </a:moveTo>
                  <a:lnTo>
                    <a:pt x="807" y="810"/>
                  </a:lnTo>
                  <a:lnTo>
                    <a:pt x="809" y="810"/>
                  </a:lnTo>
                  <a:close/>
                  <a:moveTo>
                    <a:pt x="787" y="810"/>
                  </a:moveTo>
                  <a:lnTo>
                    <a:pt x="786" y="810"/>
                  </a:lnTo>
                  <a:lnTo>
                    <a:pt x="786" y="808"/>
                  </a:lnTo>
                  <a:lnTo>
                    <a:pt x="787" y="808"/>
                  </a:lnTo>
                  <a:lnTo>
                    <a:pt x="787" y="810"/>
                  </a:lnTo>
                  <a:close/>
                  <a:moveTo>
                    <a:pt x="789" y="810"/>
                  </a:moveTo>
                  <a:lnTo>
                    <a:pt x="787" y="810"/>
                  </a:lnTo>
                  <a:lnTo>
                    <a:pt x="787" y="808"/>
                  </a:lnTo>
                  <a:lnTo>
                    <a:pt x="789" y="810"/>
                  </a:lnTo>
                  <a:close/>
                  <a:moveTo>
                    <a:pt x="918" y="808"/>
                  </a:moveTo>
                  <a:lnTo>
                    <a:pt x="916" y="808"/>
                  </a:lnTo>
                  <a:lnTo>
                    <a:pt x="918" y="808"/>
                  </a:lnTo>
                  <a:close/>
                  <a:moveTo>
                    <a:pt x="812" y="808"/>
                  </a:moveTo>
                  <a:lnTo>
                    <a:pt x="810" y="810"/>
                  </a:lnTo>
                  <a:lnTo>
                    <a:pt x="810" y="808"/>
                  </a:lnTo>
                  <a:lnTo>
                    <a:pt x="812" y="808"/>
                  </a:lnTo>
                  <a:close/>
                  <a:moveTo>
                    <a:pt x="809" y="808"/>
                  </a:moveTo>
                  <a:lnTo>
                    <a:pt x="807" y="808"/>
                  </a:lnTo>
                  <a:lnTo>
                    <a:pt x="809" y="808"/>
                  </a:lnTo>
                  <a:lnTo>
                    <a:pt x="809" y="807"/>
                  </a:lnTo>
                  <a:lnTo>
                    <a:pt x="809" y="808"/>
                  </a:lnTo>
                  <a:close/>
                  <a:moveTo>
                    <a:pt x="1266" y="807"/>
                  </a:moveTo>
                  <a:lnTo>
                    <a:pt x="1264" y="807"/>
                  </a:lnTo>
                  <a:lnTo>
                    <a:pt x="1266" y="807"/>
                  </a:lnTo>
                  <a:close/>
                  <a:moveTo>
                    <a:pt x="1267" y="805"/>
                  </a:moveTo>
                  <a:lnTo>
                    <a:pt x="1267" y="804"/>
                  </a:lnTo>
                  <a:lnTo>
                    <a:pt x="1267" y="805"/>
                  </a:lnTo>
                  <a:close/>
                  <a:moveTo>
                    <a:pt x="914" y="804"/>
                  </a:moveTo>
                  <a:lnTo>
                    <a:pt x="916" y="804"/>
                  </a:lnTo>
                  <a:lnTo>
                    <a:pt x="914" y="804"/>
                  </a:lnTo>
                  <a:close/>
                  <a:moveTo>
                    <a:pt x="1197" y="802"/>
                  </a:moveTo>
                  <a:lnTo>
                    <a:pt x="1197" y="804"/>
                  </a:lnTo>
                  <a:lnTo>
                    <a:pt x="1197" y="802"/>
                  </a:lnTo>
                  <a:close/>
                  <a:moveTo>
                    <a:pt x="704" y="802"/>
                  </a:moveTo>
                  <a:lnTo>
                    <a:pt x="703" y="802"/>
                  </a:lnTo>
                  <a:lnTo>
                    <a:pt x="704" y="802"/>
                  </a:lnTo>
                  <a:close/>
                  <a:moveTo>
                    <a:pt x="704" y="802"/>
                  </a:moveTo>
                  <a:lnTo>
                    <a:pt x="703" y="802"/>
                  </a:lnTo>
                  <a:lnTo>
                    <a:pt x="704" y="802"/>
                  </a:lnTo>
                  <a:close/>
                  <a:moveTo>
                    <a:pt x="704" y="800"/>
                  </a:moveTo>
                  <a:lnTo>
                    <a:pt x="703" y="800"/>
                  </a:lnTo>
                  <a:lnTo>
                    <a:pt x="704" y="800"/>
                  </a:lnTo>
                  <a:close/>
                  <a:moveTo>
                    <a:pt x="750" y="800"/>
                  </a:moveTo>
                  <a:lnTo>
                    <a:pt x="748" y="800"/>
                  </a:lnTo>
                  <a:lnTo>
                    <a:pt x="750" y="800"/>
                  </a:lnTo>
                  <a:close/>
                  <a:moveTo>
                    <a:pt x="867" y="800"/>
                  </a:moveTo>
                  <a:lnTo>
                    <a:pt x="865" y="800"/>
                  </a:lnTo>
                  <a:lnTo>
                    <a:pt x="867" y="800"/>
                  </a:lnTo>
                  <a:close/>
                  <a:moveTo>
                    <a:pt x="703" y="799"/>
                  </a:moveTo>
                  <a:lnTo>
                    <a:pt x="701" y="799"/>
                  </a:lnTo>
                  <a:lnTo>
                    <a:pt x="703" y="799"/>
                  </a:lnTo>
                  <a:close/>
                  <a:moveTo>
                    <a:pt x="700" y="797"/>
                  </a:moveTo>
                  <a:lnTo>
                    <a:pt x="698" y="797"/>
                  </a:lnTo>
                  <a:lnTo>
                    <a:pt x="700" y="797"/>
                  </a:lnTo>
                  <a:close/>
                  <a:moveTo>
                    <a:pt x="708" y="797"/>
                  </a:moveTo>
                  <a:lnTo>
                    <a:pt x="706" y="797"/>
                  </a:lnTo>
                  <a:lnTo>
                    <a:pt x="708" y="797"/>
                  </a:lnTo>
                  <a:close/>
                  <a:moveTo>
                    <a:pt x="708" y="797"/>
                  </a:moveTo>
                  <a:lnTo>
                    <a:pt x="708" y="799"/>
                  </a:lnTo>
                  <a:lnTo>
                    <a:pt x="708" y="797"/>
                  </a:lnTo>
                  <a:close/>
                  <a:moveTo>
                    <a:pt x="701" y="795"/>
                  </a:moveTo>
                  <a:lnTo>
                    <a:pt x="701" y="797"/>
                  </a:lnTo>
                  <a:lnTo>
                    <a:pt x="701" y="795"/>
                  </a:lnTo>
                  <a:close/>
                  <a:moveTo>
                    <a:pt x="703" y="795"/>
                  </a:moveTo>
                  <a:lnTo>
                    <a:pt x="701" y="795"/>
                  </a:lnTo>
                  <a:lnTo>
                    <a:pt x="703" y="795"/>
                  </a:lnTo>
                  <a:close/>
                  <a:moveTo>
                    <a:pt x="908" y="795"/>
                  </a:moveTo>
                  <a:lnTo>
                    <a:pt x="908" y="797"/>
                  </a:lnTo>
                  <a:lnTo>
                    <a:pt x="908" y="795"/>
                  </a:lnTo>
                  <a:lnTo>
                    <a:pt x="906" y="795"/>
                  </a:lnTo>
                  <a:lnTo>
                    <a:pt x="908" y="795"/>
                  </a:lnTo>
                  <a:lnTo>
                    <a:pt x="906" y="795"/>
                  </a:lnTo>
                  <a:lnTo>
                    <a:pt x="908" y="795"/>
                  </a:lnTo>
                  <a:close/>
                  <a:moveTo>
                    <a:pt x="706" y="795"/>
                  </a:moveTo>
                  <a:lnTo>
                    <a:pt x="704" y="795"/>
                  </a:lnTo>
                  <a:lnTo>
                    <a:pt x="706" y="795"/>
                  </a:lnTo>
                  <a:close/>
                  <a:moveTo>
                    <a:pt x="906" y="795"/>
                  </a:moveTo>
                  <a:lnTo>
                    <a:pt x="905" y="795"/>
                  </a:lnTo>
                  <a:lnTo>
                    <a:pt x="906" y="795"/>
                  </a:lnTo>
                  <a:close/>
                  <a:moveTo>
                    <a:pt x="696" y="795"/>
                  </a:moveTo>
                  <a:lnTo>
                    <a:pt x="696" y="797"/>
                  </a:lnTo>
                  <a:lnTo>
                    <a:pt x="696" y="795"/>
                  </a:lnTo>
                  <a:close/>
                  <a:moveTo>
                    <a:pt x="700" y="795"/>
                  </a:moveTo>
                  <a:lnTo>
                    <a:pt x="698" y="795"/>
                  </a:lnTo>
                  <a:lnTo>
                    <a:pt x="700" y="795"/>
                  </a:lnTo>
                  <a:close/>
                  <a:moveTo>
                    <a:pt x="698" y="795"/>
                  </a:moveTo>
                  <a:lnTo>
                    <a:pt x="696" y="795"/>
                  </a:lnTo>
                  <a:lnTo>
                    <a:pt x="698" y="795"/>
                  </a:lnTo>
                  <a:close/>
                  <a:moveTo>
                    <a:pt x="1189" y="795"/>
                  </a:moveTo>
                  <a:lnTo>
                    <a:pt x="1188" y="795"/>
                  </a:lnTo>
                  <a:lnTo>
                    <a:pt x="1189" y="795"/>
                  </a:lnTo>
                  <a:close/>
                  <a:moveTo>
                    <a:pt x="1188" y="794"/>
                  </a:moveTo>
                  <a:lnTo>
                    <a:pt x="1188" y="795"/>
                  </a:lnTo>
                  <a:lnTo>
                    <a:pt x="1188" y="794"/>
                  </a:lnTo>
                  <a:close/>
                  <a:moveTo>
                    <a:pt x="698" y="794"/>
                  </a:moveTo>
                  <a:lnTo>
                    <a:pt x="696" y="794"/>
                  </a:lnTo>
                  <a:lnTo>
                    <a:pt x="698" y="794"/>
                  </a:lnTo>
                  <a:close/>
                  <a:moveTo>
                    <a:pt x="693" y="792"/>
                  </a:moveTo>
                  <a:lnTo>
                    <a:pt x="693" y="794"/>
                  </a:lnTo>
                  <a:lnTo>
                    <a:pt x="693" y="792"/>
                  </a:lnTo>
                  <a:close/>
                  <a:moveTo>
                    <a:pt x="698" y="792"/>
                  </a:moveTo>
                  <a:lnTo>
                    <a:pt x="698" y="794"/>
                  </a:lnTo>
                  <a:lnTo>
                    <a:pt x="698" y="792"/>
                  </a:lnTo>
                  <a:close/>
                  <a:moveTo>
                    <a:pt x="700" y="792"/>
                  </a:moveTo>
                  <a:lnTo>
                    <a:pt x="698" y="792"/>
                  </a:lnTo>
                  <a:lnTo>
                    <a:pt x="700" y="792"/>
                  </a:lnTo>
                  <a:close/>
                  <a:moveTo>
                    <a:pt x="1183" y="792"/>
                  </a:moveTo>
                  <a:lnTo>
                    <a:pt x="1181" y="792"/>
                  </a:lnTo>
                  <a:lnTo>
                    <a:pt x="1183" y="792"/>
                  </a:lnTo>
                  <a:close/>
                  <a:moveTo>
                    <a:pt x="900" y="791"/>
                  </a:moveTo>
                  <a:lnTo>
                    <a:pt x="900" y="792"/>
                  </a:lnTo>
                  <a:lnTo>
                    <a:pt x="900" y="791"/>
                  </a:lnTo>
                  <a:close/>
                  <a:moveTo>
                    <a:pt x="1179" y="791"/>
                  </a:moveTo>
                  <a:lnTo>
                    <a:pt x="1181" y="792"/>
                  </a:lnTo>
                  <a:lnTo>
                    <a:pt x="1179" y="791"/>
                  </a:lnTo>
                  <a:close/>
                  <a:moveTo>
                    <a:pt x="704" y="791"/>
                  </a:moveTo>
                  <a:lnTo>
                    <a:pt x="704" y="792"/>
                  </a:lnTo>
                  <a:lnTo>
                    <a:pt x="703" y="792"/>
                  </a:lnTo>
                  <a:lnTo>
                    <a:pt x="703" y="791"/>
                  </a:lnTo>
                  <a:lnTo>
                    <a:pt x="704" y="791"/>
                  </a:lnTo>
                  <a:close/>
                  <a:moveTo>
                    <a:pt x="1181" y="791"/>
                  </a:moveTo>
                  <a:lnTo>
                    <a:pt x="1183" y="792"/>
                  </a:lnTo>
                  <a:lnTo>
                    <a:pt x="1181" y="791"/>
                  </a:lnTo>
                  <a:close/>
                  <a:moveTo>
                    <a:pt x="1178" y="791"/>
                  </a:moveTo>
                  <a:lnTo>
                    <a:pt x="1179" y="791"/>
                  </a:lnTo>
                  <a:lnTo>
                    <a:pt x="1178" y="791"/>
                  </a:lnTo>
                  <a:close/>
                  <a:moveTo>
                    <a:pt x="1179" y="789"/>
                  </a:moveTo>
                  <a:lnTo>
                    <a:pt x="1179" y="791"/>
                  </a:lnTo>
                  <a:lnTo>
                    <a:pt x="1179" y="789"/>
                  </a:lnTo>
                  <a:close/>
                  <a:moveTo>
                    <a:pt x="1179" y="789"/>
                  </a:moveTo>
                  <a:lnTo>
                    <a:pt x="1181" y="791"/>
                  </a:lnTo>
                  <a:lnTo>
                    <a:pt x="1179" y="789"/>
                  </a:lnTo>
                  <a:close/>
                  <a:moveTo>
                    <a:pt x="1179" y="789"/>
                  </a:moveTo>
                  <a:lnTo>
                    <a:pt x="1178" y="789"/>
                  </a:lnTo>
                  <a:lnTo>
                    <a:pt x="1179" y="789"/>
                  </a:lnTo>
                  <a:close/>
                  <a:moveTo>
                    <a:pt x="1183" y="789"/>
                  </a:moveTo>
                  <a:lnTo>
                    <a:pt x="1183" y="791"/>
                  </a:lnTo>
                  <a:lnTo>
                    <a:pt x="1183" y="789"/>
                  </a:lnTo>
                  <a:close/>
                  <a:moveTo>
                    <a:pt x="1179" y="789"/>
                  </a:moveTo>
                  <a:lnTo>
                    <a:pt x="1181" y="789"/>
                  </a:lnTo>
                  <a:lnTo>
                    <a:pt x="1179" y="789"/>
                  </a:lnTo>
                  <a:close/>
                  <a:moveTo>
                    <a:pt x="1183" y="789"/>
                  </a:moveTo>
                  <a:lnTo>
                    <a:pt x="1184" y="791"/>
                  </a:lnTo>
                  <a:lnTo>
                    <a:pt x="1186" y="791"/>
                  </a:lnTo>
                  <a:lnTo>
                    <a:pt x="1188" y="792"/>
                  </a:lnTo>
                  <a:lnTo>
                    <a:pt x="1188" y="794"/>
                  </a:lnTo>
                  <a:lnTo>
                    <a:pt x="1186" y="794"/>
                  </a:lnTo>
                  <a:lnTo>
                    <a:pt x="1184" y="792"/>
                  </a:lnTo>
                  <a:lnTo>
                    <a:pt x="1186" y="792"/>
                  </a:lnTo>
                  <a:lnTo>
                    <a:pt x="1186" y="794"/>
                  </a:lnTo>
                  <a:lnTo>
                    <a:pt x="1188" y="794"/>
                  </a:lnTo>
                  <a:lnTo>
                    <a:pt x="1186" y="792"/>
                  </a:lnTo>
                  <a:lnTo>
                    <a:pt x="1184" y="791"/>
                  </a:lnTo>
                  <a:lnTo>
                    <a:pt x="1184" y="789"/>
                  </a:lnTo>
                  <a:lnTo>
                    <a:pt x="1183" y="789"/>
                  </a:lnTo>
                  <a:close/>
                  <a:moveTo>
                    <a:pt x="745" y="787"/>
                  </a:moveTo>
                  <a:lnTo>
                    <a:pt x="744" y="787"/>
                  </a:lnTo>
                  <a:lnTo>
                    <a:pt x="745" y="787"/>
                  </a:lnTo>
                  <a:close/>
                  <a:moveTo>
                    <a:pt x="704" y="787"/>
                  </a:moveTo>
                  <a:lnTo>
                    <a:pt x="706" y="787"/>
                  </a:lnTo>
                  <a:lnTo>
                    <a:pt x="704" y="787"/>
                  </a:lnTo>
                  <a:lnTo>
                    <a:pt x="703" y="787"/>
                  </a:lnTo>
                  <a:lnTo>
                    <a:pt x="704" y="787"/>
                  </a:lnTo>
                  <a:close/>
                  <a:moveTo>
                    <a:pt x="1178" y="789"/>
                  </a:moveTo>
                  <a:lnTo>
                    <a:pt x="1178" y="787"/>
                  </a:lnTo>
                  <a:lnTo>
                    <a:pt x="1176" y="787"/>
                  </a:lnTo>
                  <a:lnTo>
                    <a:pt x="1178" y="789"/>
                  </a:lnTo>
                  <a:lnTo>
                    <a:pt x="1178" y="787"/>
                  </a:lnTo>
                  <a:lnTo>
                    <a:pt x="1179" y="789"/>
                  </a:lnTo>
                  <a:lnTo>
                    <a:pt x="1181" y="789"/>
                  </a:lnTo>
                  <a:lnTo>
                    <a:pt x="1179" y="789"/>
                  </a:lnTo>
                  <a:lnTo>
                    <a:pt x="1178" y="789"/>
                  </a:lnTo>
                  <a:close/>
                  <a:moveTo>
                    <a:pt x="1176" y="789"/>
                  </a:moveTo>
                  <a:lnTo>
                    <a:pt x="1178" y="789"/>
                  </a:lnTo>
                  <a:lnTo>
                    <a:pt x="1176" y="789"/>
                  </a:lnTo>
                  <a:lnTo>
                    <a:pt x="1176" y="787"/>
                  </a:lnTo>
                  <a:lnTo>
                    <a:pt x="1174" y="787"/>
                  </a:lnTo>
                  <a:lnTo>
                    <a:pt x="1176" y="787"/>
                  </a:lnTo>
                  <a:lnTo>
                    <a:pt x="1176" y="789"/>
                  </a:lnTo>
                  <a:close/>
                  <a:moveTo>
                    <a:pt x="693" y="787"/>
                  </a:moveTo>
                  <a:lnTo>
                    <a:pt x="691" y="787"/>
                  </a:lnTo>
                  <a:lnTo>
                    <a:pt x="693" y="787"/>
                  </a:lnTo>
                  <a:close/>
                  <a:moveTo>
                    <a:pt x="745" y="786"/>
                  </a:moveTo>
                  <a:lnTo>
                    <a:pt x="747" y="787"/>
                  </a:lnTo>
                  <a:lnTo>
                    <a:pt x="748" y="787"/>
                  </a:lnTo>
                  <a:lnTo>
                    <a:pt x="748" y="789"/>
                  </a:lnTo>
                  <a:lnTo>
                    <a:pt x="750" y="789"/>
                  </a:lnTo>
                  <a:lnTo>
                    <a:pt x="745" y="789"/>
                  </a:lnTo>
                  <a:lnTo>
                    <a:pt x="745" y="787"/>
                  </a:lnTo>
                  <a:lnTo>
                    <a:pt x="745" y="786"/>
                  </a:lnTo>
                  <a:close/>
                  <a:moveTo>
                    <a:pt x="748" y="786"/>
                  </a:moveTo>
                  <a:lnTo>
                    <a:pt x="747" y="786"/>
                  </a:lnTo>
                  <a:lnTo>
                    <a:pt x="748" y="786"/>
                  </a:lnTo>
                  <a:close/>
                  <a:moveTo>
                    <a:pt x="704" y="786"/>
                  </a:moveTo>
                  <a:lnTo>
                    <a:pt x="704" y="787"/>
                  </a:lnTo>
                  <a:lnTo>
                    <a:pt x="704" y="786"/>
                  </a:lnTo>
                  <a:close/>
                  <a:moveTo>
                    <a:pt x="698" y="784"/>
                  </a:moveTo>
                  <a:lnTo>
                    <a:pt x="698" y="786"/>
                  </a:lnTo>
                  <a:lnTo>
                    <a:pt x="698" y="784"/>
                  </a:lnTo>
                  <a:close/>
                  <a:moveTo>
                    <a:pt x="701" y="786"/>
                  </a:moveTo>
                  <a:lnTo>
                    <a:pt x="701" y="784"/>
                  </a:lnTo>
                  <a:lnTo>
                    <a:pt x="701" y="786"/>
                  </a:lnTo>
                  <a:close/>
                  <a:moveTo>
                    <a:pt x="703" y="786"/>
                  </a:moveTo>
                  <a:lnTo>
                    <a:pt x="701" y="786"/>
                  </a:lnTo>
                  <a:lnTo>
                    <a:pt x="701" y="784"/>
                  </a:lnTo>
                  <a:lnTo>
                    <a:pt x="703" y="786"/>
                  </a:lnTo>
                  <a:close/>
                  <a:moveTo>
                    <a:pt x="1163" y="786"/>
                  </a:moveTo>
                  <a:lnTo>
                    <a:pt x="1163" y="784"/>
                  </a:lnTo>
                  <a:lnTo>
                    <a:pt x="1163" y="786"/>
                  </a:lnTo>
                  <a:close/>
                  <a:moveTo>
                    <a:pt x="744" y="786"/>
                  </a:moveTo>
                  <a:lnTo>
                    <a:pt x="742" y="786"/>
                  </a:lnTo>
                  <a:lnTo>
                    <a:pt x="742" y="784"/>
                  </a:lnTo>
                  <a:lnTo>
                    <a:pt x="744" y="786"/>
                  </a:lnTo>
                  <a:close/>
                  <a:moveTo>
                    <a:pt x="698" y="784"/>
                  </a:moveTo>
                  <a:lnTo>
                    <a:pt x="698" y="786"/>
                  </a:lnTo>
                  <a:lnTo>
                    <a:pt x="698" y="784"/>
                  </a:lnTo>
                  <a:close/>
                  <a:moveTo>
                    <a:pt x="700" y="784"/>
                  </a:moveTo>
                  <a:lnTo>
                    <a:pt x="700" y="786"/>
                  </a:lnTo>
                  <a:lnTo>
                    <a:pt x="701" y="786"/>
                  </a:lnTo>
                  <a:lnTo>
                    <a:pt x="701" y="784"/>
                  </a:lnTo>
                  <a:lnTo>
                    <a:pt x="701" y="786"/>
                  </a:lnTo>
                  <a:lnTo>
                    <a:pt x="703" y="786"/>
                  </a:lnTo>
                  <a:lnTo>
                    <a:pt x="703" y="787"/>
                  </a:lnTo>
                  <a:lnTo>
                    <a:pt x="701" y="787"/>
                  </a:lnTo>
                  <a:lnTo>
                    <a:pt x="703" y="787"/>
                  </a:lnTo>
                  <a:lnTo>
                    <a:pt x="701" y="787"/>
                  </a:lnTo>
                  <a:lnTo>
                    <a:pt x="703" y="787"/>
                  </a:lnTo>
                  <a:lnTo>
                    <a:pt x="703" y="789"/>
                  </a:lnTo>
                  <a:lnTo>
                    <a:pt x="701" y="789"/>
                  </a:lnTo>
                  <a:lnTo>
                    <a:pt x="700" y="791"/>
                  </a:lnTo>
                  <a:lnTo>
                    <a:pt x="698" y="792"/>
                  </a:lnTo>
                  <a:lnTo>
                    <a:pt x="696" y="794"/>
                  </a:lnTo>
                  <a:lnTo>
                    <a:pt x="695" y="795"/>
                  </a:lnTo>
                  <a:lnTo>
                    <a:pt x="695" y="794"/>
                  </a:lnTo>
                  <a:lnTo>
                    <a:pt x="693" y="794"/>
                  </a:lnTo>
                  <a:lnTo>
                    <a:pt x="693" y="792"/>
                  </a:lnTo>
                  <a:lnTo>
                    <a:pt x="693" y="791"/>
                  </a:lnTo>
                  <a:lnTo>
                    <a:pt x="695" y="791"/>
                  </a:lnTo>
                  <a:lnTo>
                    <a:pt x="693" y="791"/>
                  </a:lnTo>
                  <a:lnTo>
                    <a:pt x="693" y="789"/>
                  </a:lnTo>
                  <a:lnTo>
                    <a:pt x="695" y="789"/>
                  </a:lnTo>
                  <a:lnTo>
                    <a:pt x="695" y="787"/>
                  </a:lnTo>
                  <a:lnTo>
                    <a:pt x="696" y="787"/>
                  </a:lnTo>
                  <a:lnTo>
                    <a:pt x="695" y="786"/>
                  </a:lnTo>
                  <a:lnTo>
                    <a:pt x="696" y="786"/>
                  </a:lnTo>
                  <a:lnTo>
                    <a:pt x="698" y="786"/>
                  </a:lnTo>
                  <a:lnTo>
                    <a:pt x="700" y="786"/>
                  </a:lnTo>
                  <a:lnTo>
                    <a:pt x="700" y="784"/>
                  </a:lnTo>
                  <a:close/>
                  <a:moveTo>
                    <a:pt x="708" y="784"/>
                  </a:moveTo>
                  <a:lnTo>
                    <a:pt x="706" y="784"/>
                  </a:lnTo>
                  <a:lnTo>
                    <a:pt x="708" y="784"/>
                  </a:lnTo>
                  <a:close/>
                  <a:moveTo>
                    <a:pt x="700" y="782"/>
                  </a:moveTo>
                  <a:lnTo>
                    <a:pt x="700" y="784"/>
                  </a:lnTo>
                  <a:lnTo>
                    <a:pt x="700" y="782"/>
                  </a:lnTo>
                  <a:close/>
                  <a:moveTo>
                    <a:pt x="703" y="782"/>
                  </a:moveTo>
                  <a:lnTo>
                    <a:pt x="704" y="782"/>
                  </a:lnTo>
                  <a:lnTo>
                    <a:pt x="703" y="782"/>
                  </a:lnTo>
                  <a:close/>
                  <a:moveTo>
                    <a:pt x="696" y="781"/>
                  </a:moveTo>
                  <a:lnTo>
                    <a:pt x="696" y="782"/>
                  </a:lnTo>
                  <a:lnTo>
                    <a:pt x="695" y="781"/>
                  </a:lnTo>
                  <a:lnTo>
                    <a:pt x="696" y="781"/>
                  </a:lnTo>
                  <a:close/>
                  <a:moveTo>
                    <a:pt x="696" y="782"/>
                  </a:moveTo>
                  <a:lnTo>
                    <a:pt x="696" y="781"/>
                  </a:lnTo>
                  <a:lnTo>
                    <a:pt x="696" y="782"/>
                  </a:lnTo>
                  <a:close/>
                  <a:moveTo>
                    <a:pt x="698" y="782"/>
                  </a:moveTo>
                  <a:lnTo>
                    <a:pt x="696" y="782"/>
                  </a:lnTo>
                  <a:lnTo>
                    <a:pt x="696" y="781"/>
                  </a:lnTo>
                  <a:lnTo>
                    <a:pt x="698" y="781"/>
                  </a:lnTo>
                  <a:lnTo>
                    <a:pt x="698" y="782"/>
                  </a:lnTo>
                  <a:close/>
                  <a:moveTo>
                    <a:pt x="703" y="781"/>
                  </a:moveTo>
                  <a:lnTo>
                    <a:pt x="704" y="781"/>
                  </a:lnTo>
                  <a:lnTo>
                    <a:pt x="703" y="781"/>
                  </a:lnTo>
                  <a:close/>
                  <a:moveTo>
                    <a:pt x="740" y="782"/>
                  </a:moveTo>
                  <a:lnTo>
                    <a:pt x="740" y="784"/>
                  </a:lnTo>
                  <a:lnTo>
                    <a:pt x="740" y="786"/>
                  </a:lnTo>
                  <a:lnTo>
                    <a:pt x="740" y="784"/>
                  </a:lnTo>
                  <a:lnTo>
                    <a:pt x="739" y="784"/>
                  </a:lnTo>
                  <a:lnTo>
                    <a:pt x="737" y="784"/>
                  </a:lnTo>
                  <a:lnTo>
                    <a:pt x="735" y="784"/>
                  </a:lnTo>
                  <a:lnTo>
                    <a:pt x="735" y="782"/>
                  </a:lnTo>
                  <a:lnTo>
                    <a:pt x="735" y="781"/>
                  </a:lnTo>
                  <a:lnTo>
                    <a:pt x="737" y="781"/>
                  </a:lnTo>
                  <a:lnTo>
                    <a:pt x="739" y="781"/>
                  </a:lnTo>
                  <a:lnTo>
                    <a:pt x="740" y="782"/>
                  </a:lnTo>
                  <a:close/>
                  <a:moveTo>
                    <a:pt x="698" y="781"/>
                  </a:moveTo>
                  <a:lnTo>
                    <a:pt x="698" y="779"/>
                  </a:lnTo>
                  <a:lnTo>
                    <a:pt x="698" y="781"/>
                  </a:lnTo>
                  <a:close/>
                  <a:moveTo>
                    <a:pt x="1173" y="781"/>
                  </a:moveTo>
                  <a:lnTo>
                    <a:pt x="1173" y="782"/>
                  </a:lnTo>
                  <a:lnTo>
                    <a:pt x="1171" y="782"/>
                  </a:lnTo>
                  <a:lnTo>
                    <a:pt x="1171" y="779"/>
                  </a:lnTo>
                  <a:lnTo>
                    <a:pt x="1171" y="781"/>
                  </a:lnTo>
                  <a:lnTo>
                    <a:pt x="1173" y="781"/>
                  </a:lnTo>
                  <a:close/>
                  <a:moveTo>
                    <a:pt x="1171" y="778"/>
                  </a:moveTo>
                  <a:lnTo>
                    <a:pt x="1171" y="779"/>
                  </a:lnTo>
                  <a:lnTo>
                    <a:pt x="1171" y="778"/>
                  </a:lnTo>
                  <a:close/>
                  <a:moveTo>
                    <a:pt x="696" y="779"/>
                  </a:moveTo>
                  <a:lnTo>
                    <a:pt x="698" y="779"/>
                  </a:lnTo>
                  <a:lnTo>
                    <a:pt x="696" y="779"/>
                  </a:lnTo>
                  <a:lnTo>
                    <a:pt x="698" y="779"/>
                  </a:lnTo>
                  <a:lnTo>
                    <a:pt x="698" y="781"/>
                  </a:lnTo>
                  <a:lnTo>
                    <a:pt x="696" y="781"/>
                  </a:lnTo>
                  <a:lnTo>
                    <a:pt x="696" y="779"/>
                  </a:lnTo>
                  <a:lnTo>
                    <a:pt x="696" y="778"/>
                  </a:lnTo>
                  <a:lnTo>
                    <a:pt x="696" y="779"/>
                  </a:lnTo>
                  <a:close/>
                  <a:moveTo>
                    <a:pt x="1170" y="776"/>
                  </a:moveTo>
                  <a:lnTo>
                    <a:pt x="1171" y="778"/>
                  </a:lnTo>
                  <a:lnTo>
                    <a:pt x="1170" y="778"/>
                  </a:lnTo>
                  <a:lnTo>
                    <a:pt x="1170" y="776"/>
                  </a:lnTo>
                  <a:close/>
                  <a:moveTo>
                    <a:pt x="698" y="776"/>
                  </a:moveTo>
                  <a:lnTo>
                    <a:pt x="698" y="778"/>
                  </a:lnTo>
                  <a:lnTo>
                    <a:pt x="698" y="776"/>
                  </a:lnTo>
                  <a:close/>
                  <a:moveTo>
                    <a:pt x="700" y="776"/>
                  </a:moveTo>
                  <a:lnTo>
                    <a:pt x="698" y="776"/>
                  </a:lnTo>
                  <a:lnTo>
                    <a:pt x="700" y="776"/>
                  </a:lnTo>
                  <a:close/>
                  <a:moveTo>
                    <a:pt x="700" y="776"/>
                  </a:moveTo>
                  <a:lnTo>
                    <a:pt x="700" y="774"/>
                  </a:lnTo>
                  <a:lnTo>
                    <a:pt x="700" y="776"/>
                  </a:lnTo>
                  <a:close/>
                  <a:moveTo>
                    <a:pt x="695" y="776"/>
                  </a:moveTo>
                  <a:lnTo>
                    <a:pt x="693" y="776"/>
                  </a:lnTo>
                  <a:lnTo>
                    <a:pt x="693" y="774"/>
                  </a:lnTo>
                  <a:lnTo>
                    <a:pt x="695" y="776"/>
                  </a:lnTo>
                  <a:close/>
                  <a:moveTo>
                    <a:pt x="703" y="774"/>
                  </a:moveTo>
                  <a:lnTo>
                    <a:pt x="703" y="776"/>
                  </a:lnTo>
                  <a:lnTo>
                    <a:pt x="703" y="774"/>
                  </a:lnTo>
                  <a:close/>
                  <a:moveTo>
                    <a:pt x="700" y="774"/>
                  </a:moveTo>
                  <a:lnTo>
                    <a:pt x="700" y="776"/>
                  </a:lnTo>
                  <a:lnTo>
                    <a:pt x="698" y="774"/>
                  </a:lnTo>
                  <a:lnTo>
                    <a:pt x="700" y="774"/>
                  </a:lnTo>
                  <a:close/>
                  <a:moveTo>
                    <a:pt x="659" y="774"/>
                  </a:moveTo>
                  <a:lnTo>
                    <a:pt x="659" y="776"/>
                  </a:lnTo>
                  <a:lnTo>
                    <a:pt x="657" y="776"/>
                  </a:lnTo>
                  <a:lnTo>
                    <a:pt x="659" y="774"/>
                  </a:lnTo>
                  <a:lnTo>
                    <a:pt x="661" y="774"/>
                  </a:lnTo>
                  <a:lnTo>
                    <a:pt x="659" y="774"/>
                  </a:lnTo>
                  <a:close/>
                  <a:moveTo>
                    <a:pt x="701" y="774"/>
                  </a:moveTo>
                  <a:lnTo>
                    <a:pt x="700" y="774"/>
                  </a:lnTo>
                  <a:lnTo>
                    <a:pt x="701" y="774"/>
                  </a:lnTo>
                  <a:close/>
                  <a:moveTo>
                    <a:pt x="693" y="774"/>
                  </a:moveTo>
                  <a:lnTo>
                    <a:pt x="693" y="773"/>
                  </a:lnTo>
                  <a:lnTo>
                    <a:pt x="693" y="774"/>
                  </a:lnTo>
                  <a:close/>
                  <a:moveTo>
                    <a:pt x="704" y="773"/>
                  </a:moveTo>
                  <a:lnTo>
                    <a:pt x="703" y="773"/>
                  </a:lnTo>
                  <a:lnTo>
                    <a:pt x="704" y="773"/>
                  </a:lnTo>
                  <a:close/>
                  <a:moveTo>
                    <a:pt x="693" y="773"/>
                  </a:moveTo>
                  <a:lnTo>
                    <a:pt x="691" y="773"/>
                  </a:lnTo>
                  <a:lnTo>
                    <a:pt x="693" y="773"/>
                  </a:lnTo>
                  <a:close/>
                  <a:moveTo>
                    <a:pt x="693" y="773"/>
                  </a:moveTo>
                  <a:lnTo>
                    <a:pt x="695" y="773"/>
                  </a:lnTo>
                  <a:lnTo>
                    <a:pt x="693" y="773"/>
                  </a:lnTo>
                  <a:close/>
                  <a:moveTo>
                    <a:pt x="706" y="773"/>
                  </a:moveTo>
                  <a:lnTo>
                    <a:pt x="704" y="773"/>
                  </a:lnTo>
                  <a:lnTo>
                    <a:pt x="706" y="773"/>
                  </a:lnTo>
                  <a:close/>
                  <a:moveTo>
                    <a:pt x="693" y="773"/>
                  </a:moveTo>
                  <a:lnTo>
                    <a:pt x="691" y="773"/>
                  </a:lnTo>
                  <a:lnTo>
                    <a:pt x="693" y="773"/>
                  </a:lnTo>
                  <a:close/>
                  <a:moveTo>
                    <a:pt x="693" y="769"/>
                  </a:moveTo>
                  <a:lnTo>
                    <a:pt x="693" y="771"/>
                  </a:lnTo>
                  <a:lnTo>
                    <a:pt x="693" y="769"/>
                  </a:lnTo>
                  <a:close/>
                  <a:moveTo>
                    <a:pt x="1173" y="771"/>
                  </a:moveTo>
                  <a:lnTo>
                    <a:pt x="1171" y="771"/>
                  </a:lnTo>
                  <a:lnTo>
                    <a:pt x="1171" y="769"/>
                  </a:lnTo>
                  <a:lnTo>
                    <a:pt x="1173" y="769"/>
                  </a:lnTo>
                  <a:lnTo>
                    <a:pt x="1171" y="769"/>
                  </a:lnTo>
                  <a:lnTo>
                    <a:pt x="1173" y="769"/>
                  </a:lnTo>
                  <a:lnTo>
                    <a:pt x="1173" y="771"/>
                  </a:lnTo>
                  <a:close/>
                  <a:moveTo>
                    <a:pt x="690" y="769"/>
                  </a:moveTo>
                  <a:lnTo>
                    <a:pt x="690" y="768"/>
                  </a:lnTo>
                  <a:lnTo>
                    <a:pt x="690" y="769"/>
                  </a:lnTo>
                  <a:close/>
                  <a:moveTo>
                    <a:pt x="701" y="768"/>
                  </a:moveTo>
                  <a:lnTo>
                    <a:pt x="701" y="769"/>
                  </a:lnTo>
                  <a:lnTo>
                    <a:pt x="700" y="768"/>
                  </a:lnTo>
                  <a:lnTo>
                    <a:pt x="701" y="768"/>
                  </a:lnTo>
                  <a:close/>
                  <a:moveTo>
                    <a:pt x="687" y="768"/>
                  </a:moveTo>
                  <a:lnTo>
                    <a:pt x="685" y="768"/>
                  </a:lnTo>
                  <a:lnTo>
                    <a:pt x="687" y="768"/>
                  </a:lnTo>
                  <a:close/>
                  <a:moveTo>
                    <a:pt x="695" y="766"/>
                  </a:moveTo>
                  <a:lnTo>
                    <a:pt x="693" y="766"/>
                  </a:lnTo>
                  <a:lnTo>
                    <a:pt x="695" y="766"/>
                  </a:lnTo>
                  <a:close/>
                  <a:moveTo>
                    <a:pt x="695" y="766"/>
                  </a:moveTo>
                  <a:lnTo>
                    <a:pt x="695" y="768"/>
                  </a:lnTo>
                  <a:lnTo>
                    <a:pt x="695" y="766"/>
                  </a:lnTo>
                  <a:close/>
                  <a:moveTo>
                    <a:pt x="1142" y="768"/>
                  </a:moveTo>
                  <a:lnTo>
                    <a:pt x="1140" y="768"/>
                  </a:lnTo>
                  <a:lnTo>
                    <a:pt x="1140" y="766"/>
                  </a:lnTo>
                  <a:lnTo>
                    <a:pt x="1142" y="768"/>
                  </a:lnTo>
                  <a:close/>
                  <a:moveTo>
                    <a:pt x="688" y="766"/>
                  </a:moveTo>
                  <a:lnTo>
                    <a:pt x="687" y="766"/>
                  </a:lnTo>
                  <a:lnTo>
                    <a:pt x="688" y="766"/>
                  </a:lnTo>
                  <a:close/>
                  <a:moveTo>
                    <a:pt x="1145" y="768"/>
                  </a:moveTo>
                  <a:lnTo>
                    <a:pt x="1144" y="768"/>
                  </a:lnTo>
                  <a:lnTo>
                    <a:pt x="1142" y="768"/>
                  </a:lnTo>
                  <a:lnTo>
                    <a:pt x="1142" y="766"/>
                  </a:lnTo>
                  <a:lnTo>
                    <a:pt x="1145" y="766"/>
                  </a:lnTo>
                  <a:lnTo>
                    <a:pt x="1147" y="766"/>
                  </a:lnTo>
                  <a:lnTo>
                    <a:pt x="1145" y="766"/>
                  </a:lnTo>
                  <a:lnTo>
                    <a:pt x="1145" y="768"/>
                  </a:lnTo>
                  <a:close/>
                  <a:moveTo>
                    <a:pt x="687" y="766"/>
                  </a:moveTo>
                  <a:lnTo>
                    <a:pt x="687" y="768"/>
                  </a:lnTo>
                  <a:lnTo>
                    <a:pt x="685" y="768"/>
                  </a:lnTo>
                  <a:lnTo>
                    <a:pt x="687" y="768"/>
                  </a:lnTo>
                  <a:lnTo>
                    <a:pt x="687" y="766"/>
                  </a:lnTo>
                  <a:close/>
                  <a:moveTo>
                    <a:pt x="1165" y="766"/>
                  </a:moveTo>
                  <a:lnTo>
                    <a:pt x="1166" y="766"/>
                  </a:lnTo>
                  <a:lnTo>
                    <a:pt x="1168" y="768"/>
                  </a:lnTo>
                  <a:lnTo>
                    <a:pt x="1166" y="766"/>
                  </a:lnTo>
                  <a:lnTo>
                    <a:pt x="1165" y="766"/>
                  </a:lnTo>
                  <a:close/>
                  <a:moveTo>
                    <a:pt x="685" y="766"/>
                  </a:moveTo>
                  <a:lnTo>
                    <a:pt x="683" y="766"/>
                  </a:lnTo>
                  <a:lnTo>
                    <a:pt x="685" y="766"/>
                  </a:lnTo>
                  <a:close/>
                  <a:moveTo>
                    <a:pt x="685" y="766"/>
                  </a:moveTo>
                  <a:lnTo>
                    <a:pt x="685" y="765"/>
                  </a:lnTo>
                  <a:lnTo>
                    <a:pt x="685" y="766"/>
                  </a:lnTo>
                  <a:close/>
                  <a:moveTo>
                    <a:pt x="683" y="765"/>
                  </a:moveTo>
                  <a:lnTo>
                    <a:pt x="683" y="766"/>
                  </a:lnTo>
                  <a:lnTo>
                    <a:pt x="683" y="765"/>
                  </a:lnTo>
                  <a:close/>
                  <a:moveTo>
                    <a:pt x="682" y="765"/>
                  </a:moveTo>
                  <a:lnTo>
                    <a:pt x="683" y="766"/>
                  </a:lnTo>
                  <a:lnTo>
                    <a:pt x="682" y="765"/>
                  </a:lnTo>
                  <a:close/>
                  <a:moveTo>
                    <a:pt x="690" y="766"/>
                  </a:moveTo>
                  <a:lnTo>
                    <a:pt x="690" y="765"/>
                  </a:lnTo>
                  <a:lnTo>
                    <a:pt x="690" y="766"/>
                  </a:lnTo>
                  <a:close/>
                  <a:moveTo>
                    <a:pt x="1170" y="768"/>
                  </a:moveTo>
                  <a:lnTo>
                    <a:pt x="1170" y="771"/>
                  </a:lnTo>
                  <a:lnTo>
                    <a:pt x="1168" y="769"/>
                  </a:lnTo>
                  <a:lnTo>
                    <a:pt x="1168" y="768"/>
                  </a:lnTo>
                  <a:lnTo>
                    <a:pt x="1170" y="768"/>
                  </a:lnTo>
                  <a:lnTo>
                    <a:pt x="1170" y="769"/>
                  </a:lnTo>
                  <a:lnTo>
                    <a:pt x="1170" y="768"/>
                  </a:lnTo>
                  <a:lnTo>
                    <a:pt x="1166" y="766"/>
                  </a:lnTo>
                  <a:lnTo>
                    <a:pt x="1163" y="766"/>
                  </a:lnTo>
                  <a:lnTo>
                    <a:pt x="1163" y="765"/>
                  </a:lnTo>
                  <a:lnTo>
                    <a:pt x="1166" y="766"/>
                  </a:lnTo>
                  <a:lnTo>
                    <a:pt x="1168" y="766"/>
                  </a:lnTo>
                  <a:lnTo>
                    <a:pt x="1170" y="768"/>
                  </a:lnTo>
                  <a:close/>
                  <a:moveTo>
                    <a:pt x="688" y="766"/>
                  </a:moveTo>
                  <a:lnTo>
                    <a:pt x="688" y="768"/>
                  </a:lnTo>
                  <a:lnTo>
                    <a:pt x="688" y="766"/>
                  </a:lnTo>
                  <a:lnTo>
                    <a:pt x="687" y="766"/>
                  </a:lnTo>
                  <a:lnTo>
                    <a:pt x="687" y="765"/>
                  </a:lnTo>
                  <a:lnTo>
                    <a:pt x="687" y="766"/>
                  </a:lnTo>
                  <a:lnTo>
                    <a:pt x="688" y="766"/>
                  </a:lnTo>
                  <a:close/>
                  <a:moveTo>
                    <a:pt x="690" y="766"/>
                  </a:moveTo>
                  <a:lnTo>
                    <a:pt x="688" y="766"/>
                  </a:lnTo>
                  <a:lnTo>
                    <a:pt x="688" y="765"/>
                  </a:lnTo>
                  <a:lnTo>
                    <a:pt x="690" y="765"/>
                  </a:lnTo>
                  <a:lnTo>
                    <a:pt x="690" y="766"/>
                  </a:lnTo>
                  <a:close/>
                  <a:moveTo>
                    <a:pt x="683" y="765"/>
                  </a:moveTo>
                  <a:lnTo>
                    <a:pt x="682" y="765"/>
                  </a:lnTo>
                  <a:lnTo>
                    <a:pt x="683" y="765"/>
                  </a:lnTo>
                  <a:close/>
                  <a:moveTo>
                    <a:pt x="687" y="765"/>
                  </a:moveTo>
                  <a:lnTo>
                    <a:pt x="687" y="766"/>
                  </a:lnTo>
                  <a:lnTo>
                    <a:pt x="685" y="765"/>
                  </a:lnTo>
                  <a:lnTo>
                    <a:pt x="687" y="765"/>
                  </a:lnTo>
                  <a:close/>
                  <a:moveTo>
                    <a:pt x="1157" y="765"/>
                  </a:moveTo>
                  <a:lnTo>
                    <a:pt x="1155" y="765"/>
                  </a:lnTo>
                  <a:lnTo>
                    <a:pt x="1157" y="765"/>
                  </a:lnTo>
                  <a:close/>
                  <a:moveTo>
                    <a:pt x="683" y="765"/>
                  </a:moveTo>
                  <a:lnTo>
                    <a:pt x="682" y="765"/>
                  </a:lnTo>
                  <a:lnTo>
                    <a:pt x="683" y="765"/>
                  </a:lnTo>
                  <a:close/>
                  <a:moveTo>
                    <a:pt x="675" y="765"/>
                  </a:moveTo>
                  <a:lnTo>
                    <a:pt x="674" y="765"/>
                  </a:lnTo>
                  <a:lnTo>
                    <a:pt x="675" y="765"/>
                  </a:lnTo>
                  <a:close/>
                  <a:moveTo>
                    <a:pt x="698" y="765"/>
                  </a:moveTo>
                  <a:lnTo>
                    <a:pt x="700" y="765"/>
                  </a:lnTo>
                  <a:lnTo>
                    <a:pt x="698" y="765"/>
                  </a:lnTo>
                  <a:close/>
                  <a:moveTo>
                    <a:pt x="683" y="765"/>
                  </a:moveTo>
                  <a:lnTo>
                    <a:pt x="682" y="765"/>
                  </a:lnTo>
                  <a:lnTo>
                    <a:pt x="683" y="765"/>
                  </a:lnTo>
                  <a:close/>
                  <a:moveTo>
                    <a:pt x="674" y="765"/>
                  </a:moveTo>
                  <a:lnTo>
                    <a:pt x="672" y="765"/>
                  </a:lnTo>
                  <a:lnTo>
                    <a:pt x="672" y="763"/>
                  </a:lnTo>
                  <a:lnTo>
                    <a:pt x="674" y="763"/>
                  </a:lnTo>
                  <a:lnTo>
                    <a:pt x="674" y="765"/>
                  </a:lnTo>
                  <a:close/>
                  <a:moveTo>
                    <a:pt x="1155" y="765"/>
                  </a:moveTo>
                  <a:lnTo>
                    <a:pt x="1157" y="765"/>
                  </a:lnTo>
                  <a:lnTo>
                    <a:pt x="1155" y="765"/>
                  </a:lnTo>
                  <a:lnTo>
                    <a:pt x="1155" y="763"/>
                  </a:lnTo>
                  <a:lnTo>
                    <a:pt x="1155" y="765"/>
                  </a:lnTo>
                  <a:close/>
                  <a:moveTo>
                    <a:pt x="698" y="765"/>
                  </a:moveTo>
                  <a:lnTo>
                    <a:pt x="698" y="763"/>
                  </a:lnTo>
                  <a:lnTo>
                    <a:pt x="698" y="765"/>
                  </a:lnTo>
                  <a:close/>
                  <a:moveTo>
                    <a:pt x="687" y="763"/>
                  </a:moveTo>
                  <a:lnTo>
                    <a:pt x="685" y="763"/>
                  </a:lnTo>
                  <a:lnTo>
                    <a:pt x="687" y="763"/>
                  </a:lnTo>
                  <a:close/>
                  <a:moveTo>
                    <a:pt x="685" y="761"/>
                  </a:moveTo>
                  <a:lnTo>
                    <a:pt x="685" y="763"/>
                  </a:lnTo>
                  <a:lnTo>
                    <a:pt x="685" y="761"/>
                  </a:lnTo>
                  <a:close/>
                  <a:moveTo>
                    <a:pt x="698" y="761"/>
                  </a:moveTo>
                  <a:lnTo>
                    <a:pt x="698" y="763"/>
                  </a:lnTo>
                  <a:lnTo>
                    <a:pt x="698" y="761"/>
                  </a:lnTo>
                  <a:close/>
                  <a:moveTo>
                    <a:pt x="683" y="761"/>
                  </a:moveTo>
                  <a:lnTo>
                    <a:pt x="683" y="763"/>
                  </a:lnTo>
                  <a:lnTo>
                    <a:pt x="683" y="761"/>
                  </a:lnTo>
                  <a:close/>
                  <a:moveTo>
                    <a:pt x="683" y="761"/>
                  </a:moveTo>
                  <a:lnTo>
                    <a:pt x="682" y="761"/>
                  </a:lnTo>
                  <a:lnTo>
                    <a:pt x="683" y="761"/>
                  </a:lnTo>
                  <a:close/>
                  <a:moveTo>
                    <a:pt x="690" y="761"/>
                  </a:moveTo>
                  <a:lnTo>
                    <a:pt x="690" y="763"/>
                  </a:lnTo>
                  <a:lnTo>
                    <a:pt x="690" y="761"/>
                  </a:lnTo>
                  <a:close/>
                  <a:moveTo>
                    <a:pt x="683" y="761"/>
                  </a:moveTo>
                  <a:lnTo>
                    <a:pt x="683" y="760"/>
                  </a:lnTo>
                  <a:lnTo>
                    <a:pt x="683" y="761"/>
                  </a:lnTo>
                  <a:close/>
                  <a:moveTo>
                    <a:pt x="700" y="761"/>
                  </a:moveTo>
                  <a:lnTo>
                    <a:pt x="700" y="760"/>
                  </a:lnTo>
                  <a:lnTo>
                    <a:pt x="700" y="761"/>
                  </a:lnTo>
                  <a:close/>
                  <a:moveTo>
                    <a:pt x="691" y="760"/>
                  </a:moveTo>
                  <a:lnTo>
                    <a:pt x="690" y="760"/>
                  </a:lnTo>
                  <a:lnTo>
                    <a:pt x="691" y="760"/>
                  </a:lnTo>
                  <a:close/>
                  <a:moveTo>
                    <a:pt x="688" y="761"/>
                  </a:moveTo>
                  <a:lnTo>
                    <a:pt x="688" y="760"/>
                  </a:lnTo>
                  <a:lnTo>
                    <a:pt x="688" y="761"/>
                  </a:lnTo>
                  <a:close/>
                  <a:moveTo>
                    <a:pt x="680" y="760"/>
                  </a:moveTo>
                  <a:lnTo>
                    <a:pt x="678" y="760"/>
                  </a:lnTo>
                  <a:lnTo>
                    <a:pt x="680" y="760"/>
                  </a:lnTo>
                  <a:close/>
                  <a:moveTo>
                    <a:pt x="683" y="760"/>
                  </a:moveTo>
                  <a:lnTo>
                    <a:pt x="682" y="760"/>
                  </a:lnTo>
                  <a:lnTo>
                    <a:pt x="682" y="758"/>
                  </a:lnTo>
                  <a:lnTo>
                    <a:pt x="683" y="760"/>
                  </a:lnTo>
                  <a:close/>
                  <a:moveTo>
                    <a:pt x="703" y="758"/>
                  </a:moveTo>
                  <a:lnTo>
                    <a:pt x="703" y="760"/>
                  </a:lnTo>
                  <a:lnTo>
                    <a:pt x="701" y="760"/>
                  </a:lnTo>
                  <a:lnTo>
                    <a:pt x="703" y="758"/>
                  </a:lnTo>
                  <a:close/>
                  <a:moveTo>
                    <a:pt x="683" y="758"/>
                  </a:moveTo>
                  <a:lnTo>
                    <a:pt x="683" y="760"/>
                  </a:lnTo>
                  <a:lnTo>
                    <a:pt x="683" y="758"/>
                  </a:lnTo>
                  <a:close/>
                  <a:moveTo>
                    <a:pt x="685" y="758"/>
                  </a:moveTo>
                  <a:lnTo>
                    <a:pt x="683" y="760"/>
                  </a:lnTo>
                  <a:lnTo>
                    <a:pt x="685" y="760"/>
                  </a:lnTo>
                  <a:lnTo>
                    <a:pt x="683" y="760"/>
                  </a:lnTo>
                  <a:lnTo>
                    <a:pt x="685" y="760"/>
                  </a:lnTo>
                  <a:lnTo>
                    <a:pt x="683" y="760"/>
                  </a:lnTo>
                  <a:lnTo>
                    <a:pt x="685" y="760"/>
                  </a:lnTo>
                  <a:lnTo>
                    <a:pt x="683" y="760"/>
                  </a:lnTo>
                  <a:lnTo>
                    <a:pt x="683" y="758"/>
                  </a:lnTo>
                  <a:lnTo>
                    <a:pt x="685" y="758"/>
                  </a:lnTo>
                  <a:close/>
                  <a:moveTo>
                    <a:pt x="695" y="758"/>
                  </a:moveTo>
                  <a:lnTo>
                    <a:pt x="693" y="758"/>
                  </a:lnTo>
                  <a:lnTo>
                    <a:pt x="695" y="758"/>
                  </a:lnTo>
                  <a:close/>
                  <a:moveTo>
                    <a:pt x="690" y="758"/>
                  </a:moveTo>
                  <a:lnTo>
                    <a:pt x="688" y="758"/>
                  </a:lnTo>
                  <a:lnTo>
                    <a:pt x="690" y="758"/>
                  </a:lnTo>
                  <a:close/>
                  <a:moveTo>
                    <a:pt x="682" y="758"/>
                  </a:moveTo>
                  <a:lnTo>
                    <a:pt x="680" y="758"/>
                  </a:lnTo>
                  <a:lnTo>
                    <a:pt x="682" y="760"/>
                  </a:lnTo>
                  <a:lnTo>
                    <a:pt x="680" y="760"/>
                  </a:lnTo>
                  <a:lnTo>
                    <a:pt x="680" y="758"/>
                  </a:lnTo>
                  <a:lnTo>
                    <a:pt x="682" y="758"/>
                  </a:lnTo>
                  <a:close/>
                  <a:moveTo>
                    <a:pt x="680" y="758"/>
                  </a:moveTo>
                  <a:lnTo>
                    <a:pt x="682" y="758"/>
                  </a:lnTo>
                  <a:lnTo>
                    <a:pt x="680" y="758"/>
                  </a:lnTo>
                  <a:close/>
                  <a:moveTo>
                    <a:pt x="683" y="758"/>
                  </a:moveTo>
                  <a:lnTo>
                    <a:pt x="682" y="758"/>
                  </a:lnTo>
                  <a:lnTo>
                    <a:pt x="683" y="758"/>
                  </a:lnTo>
                  <a:close/>
                  <a:moveTo>
                    <a:pt x="683" y="758"/>
                  </a:moveTo>
                  <a:lnTo>
                    <a:pt x="683" y="756"/>
                  </a:lnTo>
                  <a:lnTo>
                    <a:pt x="683" y="758"/>
                  </a:lnTo>
                  <a:close/>
                  <a:moveTo>
                    <a:pt x="682" y="758"/>
                  </a:moveTo>
                  <a:lnTo>
                    <a:pt x="682" y="756"/>
                  </a:lnTo>
                  <a:lnTo>
                    <a:pt x="682" y="758"/>
                  </a:lnTo>
                  <a:close/>
                  <a:moveTo>
                    <a:pt x="680" y="756"/>
                  </a:moveTo>
                  <a:lnTo>
                    <a:pt x="680" y="758"/>
                  </a:lnTo>
                  <a:lnTo>
                    <a:pt x="680" y="756"/>
                  </a:lnTo>
                  <a:close/>
                  <a:moveTo>
                    <a:pt x="691" y="758"/>
                  </a:moveTo>
                  <a:lnTo>
                    <a:pt x="691" y="756"/>
                  </a:lnTo>
                  <a:lnTo>
                    <a:pt x="691" y="758"/>
                  </a:lnTo>
                  <a:close/>
                  <a:moveTo>
                    <a:pt x="704" y="758"/>
                  </a:moveTo>
                  <a:lnTo>
                    <a:pt x="704" y="756"/>
                  </a:lnTo>
                  <a:lnTo>
                    <a:pt x="704" y="758"/>
                  </a:lnTo>
                  <a:close/>
                  <a:moveTo>
                    <a:pt x="703" y="756"/>
                  </a:moveTo>
                  <a:lnTo>
                    <a:pt x="703" y="758"/>
                  </a:lnTo>
                  <a:lnTo>
                    <a:pt x="703" y="756"/>
                  </a:lnTo>
                  <a:close/>
                  <a:moveTo>
                    <a:pt x="682" y="756"/>
                  </a:moveTo>
                  <a:lnTo>
                    <a:pt x="680" y="756"/>
                  </a:lnTo>
                  <a:lnTo>
                    <a:pt x="682" y="756"/>
                  </a:lnTo>
                  <a:close/>
                  <a:moveTo>
                    <a:pt x="680" y="756"/>
                  </a:moveTo>
                  <a:lnTo>
                    <a:pt x="680" y="758"/>
                  </a:lnTo>
                  <a:lnTo>
                    <a:pt x="678" y="760"/>
                  </a:lnTo>
                  <a:lnTo>
                    <a:pt x="678" y="758"/>
                  </a:lnTo>
                  <a:lnTo>
                    <a:pt x="678" y="756"/>
                  </a:lnTo>
                  <a:lnTo>
                    <a:pt x="680" y="756"/>
                  </a:lnTo>
                  <a:close/>
                  <a:moveTo>
                    <a:pt x="700" y="756"/>
                  </a:moveTo>
                  <a:lnTo>
                    <a:pt x="700" y="758"/>
                  </a:lnTo>
                  <a:lnTo>
                    <a:pt x="701" y="758"/>
                  </a:lnTo>
                  <a:lnTo>
                    <a:pt x="701" y="760"/>
                  </a:lnTo>
                  <a:lnTo>
                    <a:pt x="701" y="758"/>
                  </a:lnTo>
                  <a:lnTo>
                    <a:pt x="700" y="758"/>
                  </a:lnTo>
                  <a:lnTo>
                    <a:pt x="700" y="760"/>
                  </a:lnTo>
                  <a:lnTo>
                    <a:pt x="698" y="760"/>
                  </a:lnTo>
                  <a:lnTo>
                    <a:pt x="698" y="758"/>
                  </a:lnTo>
                  <a:lnTo>
                    <a:pt x="698" y="756"/>
                  </a:lnTo>
                  <a:lnTo>
                    <a:pt x="700" y="756"/>
                  </a:lnTo>
                  <a:close/>
                  <a:moveTo>
                    <a:pt x="685" y="756"/>
                  </a:moveTo>
                  <a:lnTo>
                    <a:pt x="683" y="756"/>
                  </a:lnTo>
                  <a:lnTo>
                    <a:pt x="683" y="755"/>
                  </a:lnTo>
                  <a:lnTo>
                    <a:pt x="685" y="756"/>
                  </a:lnTo>
                  <a:close/>
                  <a:moveTo>
                    <a:pt x="691" y="756"/>
                  </a:moveTo>
                  <a:lnTo>
                    <a:pt x="691" y="758"/>
                  </a:lnTo>
                  <a:lnTo>
                    <a:pt x="691" y="760"/>
                  </a:lnTo>
                  <a:lnTo>
                    <a:pt x="690" y="758"/>
                  </a:lnTo>
                  <a:lnTo>
                    <a:pt x="691" y="758"/>
                  </a:lnTo>
                  <a:lnTo>
                    <a:pt x="690" y="758"/>
                  </a:lnTo>
                  <a:lnTo>
                    <a:pt x="690" y="756"/>
                  </a:lnTo>
                  <a:lnTo>
                    <a:pt x="690" y="755"/>
                  </a:lnTo>
                  <a:lnTo>
                    <a:pt x="691" y="756"/>
                  </a:lnTo>
                  <a:close/>
                  <a:moveTo>
                    <a:pt x="704" y="756"/>
                  </a:moveTo>
                  <a:lnTo>
                    <a:pt x="704" y="755"/>
                  </a:lnTo>
                  <a:lnTo>
                    <a:pt x="704" y="756"/>
                  </a:lnTo>
                  <a:close/>
                  <a:moveTo>
                    <a:pt x="685" y="755"/>
                  </a:moveTo>
                  <a:lnTo>
                    <a:pt x="685" y="756"/>
                  </a:lnTo>
                  <a:lnTo>
                    <a:pt x="685" y="755"/>
                  </a:lnTo>
                  <a:close/>
                  <a:moveTo>
                    <a:pt x="800" y="755"/>
                  </a:moveTo>
                  <a:lnTo>
                    <a:pt x="800" y="756"/>
                  </a:lnTo>
                  <a:lnTo>
                    <a:pt x="799" y="756"/>
                  </a:lnTo>
                  <a:lnTo>
                    <a:pt x="799" y="755"/>
                  </a:lnTo>
                  <a:lnTo>
                    <a:pt x="800" y="755"/>
                  </a:lnTo>
                  <a:close/>
                  <a:moveTo>
                    <a:pt x="704" y="756"/>
                  </a:moveTo>
                  <a:lnTo>
                    <a:pt x="704" y="755"/>
                  </a:lnTo>
                  <a:lnTo>
                    <a:pt x="704" y="756"/>
                  </a:lnTo>
                  <a:close/>
                  <a:moveTo>
                    <a:pt x="690" y="756"/>
                  </a:moveTo>
                  <a:lnTo>
                    <a:pt x="690" y="755"/>
                  </a:lnTo>
                  <a:lnTo>
                    <a:pt x="690" y="756"/>
                  </a:lnTo>
                  <a:close/>
                  <a:moveTo>
                    <a:pt x="695" y="756"/>
                  </a:moveTo>
                  <a:lnTo>
                    <a:pt x="695" y="755"/>
                  </a:lnTo>
                  <a:lnTo>
                    <a:pt x="695" y="756"/>
                  </a:lnTo>
                  <a:close/>
                  <a:moveTo>
                    <a:pt x="693" y="755"/>
                  </a:moveTo>
                  <a:lnTo>
                    <a:pt x="691" y="755"/>
                  </a:lnTo>
                  <a:lnTo>
                    <a:pt x="693" y="755"/>
                  </a:lnTo>
                  <a:close/>
                  <a:moveTo>
                    <a:pt x="701" y="755"/>
                  </a:moveTo>
                  <a:lnTo>
                    <a:pt x="703" y="755"/>
                  </a:lnTo>
                  <a:lnTo>
                    <a:pt x="701" y="755"/>
                  </a:lnTo>
                  <a:close/>
                  <a:moveTo>
                    <a:pt x="701" y="755"/>
                  </a:moveTo>
                  <a:lnTo>
                    <a:pt x="701" y="756"/>
                  </a:lnTo>
                  <a:lnTo>
                    <a:pt x="700" y="755"/>
                  </a:lnTo>
                  <a:lnTo>
                    <a:pt x="700" y="756"/>
                  </a:lnTo>
                  <a:lnTo>
                    <a:pt x="701" y="756"/>
                  </a:lnTo>
                  <a:lnTo>
                    <a:pt x="700" y="756"/>
                  </a:lnTo>
                  <a:lnTo>
                    <a:pt x="700" y="755"/>
                  </a:lnTo>
                  <a:lnTo>
                    <a:pt x="701" y="755"/>
                  </a:lnTo>
                  <a:close/>
                  <a:moveTo>
                    <a:pt x="693" y="755"/>
                  </a:moveTo>
                  <a:lnTo>
                    <a:pt x="693" y="753"/>
                  </a:lnTo>
                  <a:lnTo>
                    <a:pt x="693" y="755"/>
                  </a:lnTo>
                  <a:close/>
                  <a:moveTo>
                    <a:pt x="704" y="755"/>
                  </a:moveTo>
                  <a:lnTo>
                    <a:pt x="704" y="753"/>
                  </a:lnTo>
                  <a:lnTo>
                    <a:pt x="704" y="755"/>
                  </a:lnTo>
                  <a:close/>
                  <a:moveTo>
                    <a:pt x="701" y="753"/>
                  </a:moveTo>
                  <a:lnTo>
                    <a:pt x="701" y="755"/>
                  </a:lnTo>
                  <a:lnTo>
                    <a:pt x="700" y="753"/>
                  </a:lnTo>
                  <a:lnTo>
                    <a:pt x="701" y="753"/>
                  </a:lnTo>
                  <a:close/>
                  <a:moveTo>
                    <a:pt x="685" y="755"/>
                  </a:moveTo>
                  <a:lnTo>
                    <a:pt x="683" y="755"/>
                  </a:lnTo>
                  <a:lnTo>
                    <a:pt x="685" y="755"/>
                  </a:lnTo>
                  <a:lnTo>
                    <a:pt x="685" y="753"/>
                  </a:lnTo>
                  <a:lnTo>
                    <a:pt x="685" y="755"/>
                  </a:lnTo>
                  <a:close/>
                  <a:moveTo>
                    <a:pt x="685" y="753"/>
                  </a:moveTo>
                  <a:lnTo>
                    <a:pt x="685" y="752"/>
                  </a:lnTo>
                  <a:lnTo>
                    <a:pt x="685" y="753"/>
                  </a:lnTo>
                  <a:close/>
                  <a:moveTo>
                    <a:pt x="691" y="753"/>
                  </a:moveTo>
                  <a:lnTo>
                    <a:pt x="690" y="753"/>
                  </a:lnTo>
                  <a:lnTo>
                    <a:pt x="691" y="753"/>
                  </a:lnTo>
                  <a:lnTo>
                    <a:pt x="690" y="753"/>
                  </a:lnTo>
                  <a:lnTo>
                    <a:pt x="690" y="752"/>
                  </a:lnTo>
                  <a:lnTo>
                    <a:pt x="691" y="752"/>
                  </a:lnTo>
                  <a:lnTo>
                    <a:pt x="691" y="753"/>
                  </a:lnTo>
                  <a:close/>
                  <a:moveTo>
                    <a:pt x="693" y="752"/>
                  </a:moveTo>
                  <a:lnTo>
                    <a:pt x="695" y="753"/>
                  </a:lnTo>
                  <a:lnTo>
                    <a:pt x="693" y="753"/>
                  </a:lnTo>
                  <a:lnTo>
                    <a:pt x="693" y="752"/>
                  </a:lnTo>
                  <a:close/>
                  <a:moveTo>
                    <a:pt x="693" y="752"/>
                  </a:moveTo>
                  <a:lnTo>
                    <a:pt x="693" y="753"/>
                  </a:lnTo>
                  <a:lnTo>
                    <a:pt x="691" y="753"/>
                  </a:lnTo>
                  <a:lnTo>
                    <a:pt x="691" y="752"/>
                  </a:lnTo>
                  <a:lnTo>
                    <a:pt x="693" y="752"/>
                  </a:lnTo>
                  <a:close/>
                  <a:moveTo>
                    <a:pt x="703" y="753"/>
                  </a:moveTo>
                  <a:lnTo>
                    <a:pt x="703" y="752"/>
                  </a:lnTo>
                  <a:lnTo>
                    <a:pt x="701" y="752"/>
                  </a:lnTo>
                  <a:lnTo>
                    <a:pt x="703" y="752"/>
                  </a:lnTo>
                  <a:lnTo>
                    <a:pt x="703" y="753"/>
                  </a:lnTo>
                  <a:close/>
                  <a:moveTo>
                    <a:pt x="675" y="752"/>
                  </a:moveTo>
                  <a:lnTo>
                    <a:pt x="674" y="752"/>
                  </a:lnTo>
                  <a:lnTo>
                    <a:pt x="675" y="752"/>
                  </a:lnTo>
                  <a:close/>
                  <a:moveTo>
                    <a:pt x="674" y="752"/>
                  </a:moveTo>
                  <a:lnTo>
                    <a:pt x="674" y="750"/>
                  </a:lnTo>
                  <a:lnTo>
                    <a:pt x="674" y="752"/>
                  </a:lnTo>
                  <a:close/>
                  <a:moveTo>
                    <a:pt x="1129" y="750"/>
                  </a:moveTo>
                  <a:lnTo>
                    <a:pt x="1127" y="750"/>
                  </a:lnTo>
                  <a:lnTo>
                    <a:pt x="1129" y="750"/>
                  </a:lnTo>
                  <a:close/>
                  <a:moveTo>
                    <a:pt x="675" y="750"/>
                  </a:moveTo>
                  <a:lnTo>
                    <a:pt x="674" y="750"/>
                  </a:lnTo>
                  <a:lnTo>
                    <a:pt x="674" y="748"/>
                  </a:lnTo>
                  <a:lnTo>
                    <a:pt x="675" y="750"/>
                  </a:lnTo>
                  <a:close/>
                  <a:moveTo>
                    <a:pt x="683" y="747"/>
                  </a:moveTo>
                  <a:lnTo>
                    <a:pt x="683" y="748"/>
                  </a:lnTo>
                  <a:lnTo>
                    <a:pt x="683" y="747"/>
                  </a:lnTo>
                  <a:close/>
                  <a:moveTo>
                    <a:pt x="680" y="748"/>
                  </a:moveTo>
                  <a:lnTo>
                    <a:pt x="680" y="747"/>
                  </a:lnTo>
                  <a:lnTo>
                    <a:pt x="682" y="747"/>
                  </a:lnTo>
                  <a:lnTo>
                    <a:pt x="680" y="748"/>
                  </a:lnTo>
                  <a:close/>
                  <a:moveTo>
                    <a:pt x="680" y="747"/>
                  </a:moveTo>
                  <a:lnTo>
                    <a:pt x="680" y="748"/>
                  </a:lnTo>
                  <a:lnTo>
                    <a:pt x="678" y="747"/>
                  </a:lnTo>
                  <a:lnTo>
                    <a:pt x="680" y="747"/>
                  </a:lnTo>
                  <a:close/>
                  <a:moveTo>
                    <a:pt x="675" y="747"/>
                  </a:moveTo>
                  <a:lnTo>
                    <a:pt x="674" y="747"/>
                  </a:lnTo>
                  <a:lnTo>
                    <a:pt x="675" y="747"/>
                  </a:lnTo>
                  <a:close/>
                  <a:moveTo>
                    <a:pt x="667" y="745"/>
                  </a:moveTo>
                  <a:lnTo>
                    <a:pt x="667" y="747"/>
                  </a:lnTo>
                  <a:lnTo>
                    <a:pt x="667" y="745"/>
                  </a:lnTo>
                  <a:close/>
                  <a:moveTo>
                    <a:pt x="669" y="745"/>
                  </a:moveTo>
                  <a:lnTo>
                    <a:pt x="669" y="747"/>
                  </a:lnTo>
                  <a:lnTo>
                    <a:pt x="669" y="745"/>
                  </a:lnTo>
                  <a:close/>
                  <a:moveTo>
                    <a:pt x="687" y="747"/>
                  </a:moveTo>
                  <a:lnTo>
                    <a:pt x="685" y="747"/>
                  </a:lnTo>
                  <a:lnTo>
                    <a:pt x="685" y="745"/>
                  </a:lnTo>
                  <a:lnTo>
                    <a:pt x="687" y="747"/>
                  </a:lnTo>
                  <a:close/>
                  <a:moveTo>
                    <a:pt x="690" y="747"/>
                  </a:moveTo>
                  <a:lnTo>
                    <a:pt x="688" y="747"/>
                  </a:lnTo>
                  <a:lnTo>
                    <a:pt x="688" y="745"/>
                  </a:lnTo>
                  <a:lnTo>
                    <a:pt x="690" y="747"/>
                  </a:lnTo>
                  <a:close/>
                  <a:moveTo>
                    <a:pt x="675" y="747"/>
                  </a:moveTo>
                  <a:lnTo>
                    <a:pt x="674" y="747"/>
                  </a:lnTo>
                  <a:lnTo>
                    <a:pt x="675" y="745"/>
                  </a:lnTo>
                  <a:lnTo>
                    <a:pt x="675" y="747"/>
                  </a:lnTo>
                  <a:close/>
                  <a:moveTo>
                    <a:pt x="670" y="745"/>
                  </a:moveTo>
                  <a:lnTo>
                    <a:pt x="672" y="745"/>
                  </a:lnTo>
                  <a:lnTo>
                    <a:pt x="670" y="745"/>
                  </a:lnTo>
                  <a:close/>
                  <a:moveTo>
                    <a:pt x="675" y="745"/>
                  </a:moveTo>
                  <a:lnTo>
                    <a:pt x="674" y="745"/>
                  </a:lnTo>
                  <a:lnTo>
                    <a:pt x="674" y="747"/>
                  </a:lnTo>
                  <a:lnTo>
                    <a:pt x="675" y="747"/>
                  </a:lnTo>
                  <a:lnTo>
                    <a:pt x="674" y="748"/>
                  </a:lnTo>
                  <a:lnTo>
                    <a:pt x="674" y="747"/>
                  </a:lnTo>
                  <a:lnTo>
                    <a:pt x="674" y="745"/>
                  </a:lnTo>
                  <a:lnTo>
                    <a:pt x="674" y="747"/>
                  </a:lnTo>
                  <a:lnTo>
                    <a:pt x="672" y="747"/>
                  </a:lnTo>
                  <a:lnTo>
                    <a:pt x="672" y="745"/>
                  </a:lnTo>
                  <a:lnTo>
                    <a:pt x="674" y="747"/>
                  </a:lnTo>
                  <a:lnTo>
                    <a:pt x="674" y="745"/>
                  </a:lnTo>
                  <a:lnTo>
                    <a:pt x="675" y="745"/>
                  </a:lnTo>
                  <a:close/>
                  <a:moveTo>
                    <a:pt x="682" y="745"/>
                  </a:moveTo>
                  <a:lnTo>
                    <a:pt x="682" y="743"/>
                  </a:lnTo>
                  <a:lnTo>
                    <a:pt x="682" y="745"/>
                  </a:lnTo>
                  <a:close/>
                  <a:moveTo>
                    <a:pt x="716" y="743"/>
                  </a:moveTo>
                  <a:lnTo>
                    <a:pt x="714" y="743"/>
                  </a:lnTo>
                  <a:lnTo>
                    <a:pt x="716" y="743"/>
                  </a:lnTo>
                  <a:close/>
                  <a:moveTo>
                    <a:pt x="729" y="742"/>
                  </a:moveTo>
                  <a:lnTo>
                    <a:pt x="727" y="742"/>
                  </a:lnTo>
                  <a:lnTo>
                    <a:pt x="729" y="742"/>
                  </a:lnTo>
                  <a:close/>
                  <a:moveTo>
                    <a:pt x="729" y="742"/>
                  </a:moveTo>
                  <a:lnTo>
                    <a:pt x="727" y="743"/>
                  </a:lnTo>
                  <a:lnTo>
                    <a:pt x="726" y="742"/>
                  </a:lnTo>
                  <a:lnTo>
                    <a:pt x="727" y="742"/>
                  </a:lnTo>
                  <a:lnTo>
                    <a:pt x="729" y="742"/>
                  </a:lnTo>
                  <a:close/>
                  <a:moveTo>
                    <a:pt x="667" y="742"/>
                  </a:moveTo>
                  <a:lnTo>
                    <a:pt x="667" y="743"/>
                  </a:lnTo>
                  <a:lnTo>
                    <a:pt x="665" y="745"/>
                  </a:lnTo>
                  <a:lnTo>
                    <a:pt x="665" y="743"/>
                  </a:lnTo>
                  <a:lnTo>
                    <a:pt x="665" y="745"/>
                  </a:lnTo>
                  <a:lnTo>
                    <a:pt x="665" y="743"/>
                  </a:lnTo>
                  <a:lnTo>
                    <a:pt x="664" y="743"/>
                  </a:lnTo>
                  <a:lnTo>
                    <a:pt x="665" y="743"/>
                  </a:lnTo>
                  <a:lnTo>
                    <a:pt x="664" y="743"/>
                  </a:lnTo>
                  <a:lnTo>
                    <a:pt x="665" y="742"/>
                  </a:lnTo>
                  <a:lnTo>
                    <a:pt x="667" y="742"/>
                  </a:lnTo>
                  <a:close/>
                  <a:moveTo>
                    <a:pt x="664" y="742"/>
                  </a:moveTo>
                  <a:lnTo>
                    <a:pt x="662" y="742"/>
                  </a:lnTo>
                  <a:lnTo>
                    <a:pt x="664" y="742"/>
                  </a:lnTo>
                  <a:close/>
                  <a:moveTo>
                    <a:pt x="665" y="740"/>
                  </a:moveTo>
                  <a:lnTo>
                    <a:pt x="665" y="742"/>
                  </a:lnTo>
                  <a:lnTo>
                    <a:pt x="665" y="740"/>
                  </a:lnTo>
                  <a:close/>
                  <a:moveTo>
                    <a:pt x="662" y="740"/>
                  </a:moveTo>
                  <a:lnTo>
                    <a:pt x="661" y="740"/>
                  </a:lnTo>
                  <a:lnTo>
                    <a:pt x="662" y="740"/>
                  </a:lnTo>
                  <a:close/>
                  <a:moveTo>
                    <a:pt x="729" y="740"/>
                  </a:moveTo>
                  <a:lnTo>
                    <a:pt x="729" y="742"/>
                  </a:lnTo>
                  <a:lnTo>
                    <a:pt x="727" y="742"/>
                  </a:lnTo>
                  <a:lnTo>
                    <a:pt x="727" y="740"/>
                  </a:lnTo>
                  <a:lnTo>
                    <a:pt x="729" y="740"/>
                  </a:lnTo>
                  <a:close/>
                  <a:moveTo>
                    <a:pt x="727" y="739"/>
                  </a:moveTo>
                  <a:lnTo>
                    <a:pt x="726" y="739"/>
                  </a:lnTo>
                  <a:lnTo>
                    <a:pt x="727" y="737"/>
                  </a:lnTo>
                  <a:lnTo>
                    <a:pt x="727" y="739"/>
                  </a:lnTo>
                  <a:close/>
                  <a:moveTo>
                    <a:pt x="882" y="735"/>
                  </a:moveTo>
                  <a:lnTo>
                    <a:pt x="882" y="737"/>
                  </a:lnTo>
                  <a:lnTo>
                    <a:pt x="882" y="735"/>
                  </a:lnTo>
                  <a:close/>
                  <a:moveTo>
                    <a:pt x="662" y="735"/>
                  </a:moveTo>
                  <a:lnTo>
                    <a:pt x="662" y="737"/>
                  </a:lnTo>
                  <a:lnTo>
                    <a:pt x="662" y="735"/>
                  </a:lnTo>
                  <a:lnTo>
                    <a:pt x="661" y="735"/>
                  </a:lnTo>
                  <a:lnTo>
                    <a:pt x="662" y="735"/>
                  </a:lnTo>
                  <a:close/>
                  <a:moveTo>
                    <a:pt x="1132" y="735"/>
                  </a:moveTo>
                  <a:lnTo>
                    <a:pt x="1132" y="737"/>
                  </a:lnTo>
                  <a:lnTo>
                    <a:pt x="1132" y="739"/>
                  </a:lnTo>
                  <a:lnTo>
                    <a:pt x="1132" y="737"/>
                  </a:lnTo>
                  <a:lnTo>
                    <a:pt x="1132" y="735"/>
                  </a:lnTo>
                  <a:close/>
                  <a:moveTo>
                    <a:pt x="737" y="735"/>
                  </a:moveTo>
                  <a:lnTo>
                    <a:pt x="739" y="735"/>
                  </a:lnTo>
                  <a:lnTo>
                    <a:pt x="737" y="735"/>
                  </a:lnTo>
                  <a:close/>
                  <a:moveTo>
                    <a:pt x="665" y="734"/>
                  </a:moveTo>
                  <a:lnTo>
                    <a:pt x="664" y="734"/>
                  </a:lnTo>
                  <a:lnTo>
                    <a:pt x="665" y="734"/>
                  </a:lnTo>
                  <a:close/>
                  <a:moveTo>
                    <a:pt x="664" y="734"/>
                  </a:moveTo>
                  <a:lnTo>
                    <a:pt x="664" y="732"/>
                  </a:lnTo>
                  <a:lnTo>
                    <a:pt x="664" y="734"/>
                  </a:lnTo>
                  <a:close/>
                  <a:moveTo>
                    <a:pt x="664" y="732"/>
                  </a:moveTo>
                  <a:lnTo>
                    <a:pt x="662" y="732"/>
                  </a:lnTo>
                  <a:lnTo>
                    <a:pt x="664" y="732"/>
                  </a:lnTo>
                  <a:close/>
                  <a:moveTo>
                    <a:pt x="714" y="730"/>
                  </a:moveTo>
                  <a:lnTo>
                    <a:pt x="713" y="730"/>
                  </a:lnTo>
                  <a:lnTo>
                    <a:pt x="714" y="730"/>
                  </a:lnTo>
                  <a:close/>
                  <a:moveTo>
                    <a:pt x="652" y="729"/>
                  </a:moveTo>
                  <a:lnTo>
                    <a:pt x="652" y="730"/>
                  </a:lnTo>
                  <a:lnTo>
                    <a:pt x="651" y="730"/>
                  </a:lnTo>
                  <a:lnTo>
                    <a:pt x="651" y="729"/>
                  </a:lnTo>
                  <a:lnTo>
                    <a:pt x="652" y="729"/>
                  </a:lnTo>
                  <a:close/>
                  <a:moveTo>
                    <a:pt x="654" y="730"/>
                  </a:moveTo>
                  <a:lnTo>
                    <a:pt x="654" y="729"/>
                  </a:lnTo>
                  <a:lnTo>
                    <a:pt x="654" y="730"/>
                  </a:lnTo>
                  <a:close/>
                  <a:moveTo>
                    <a:pt x="651" y="729"/>
                  </a:moveTo>
                  <a:lnTo>
                    <a:pt x="651" y="730"/>
                  </a:lnTo>
                  <a:lnTo>
                    <a:pt x="651" y="729"/>
                  </a:lnTo>
                  <a:close/>
                  <a:moveTo>
                    <a:pt x="649" y="730"/>
                  </a:moveTo>
                  <a:lnTo>
                    <a:pt x="649" y="729"/>
                  </a:lnTo>
                  <a:lnTo>
                    <a:pt x="649" y="730"/>
                  </a:lnTo>
                  <a:close/>
                  <a:moveTo>
                    <a:pt x="654" y="729"/>
                  </a:moveTo>
                  <a:lnTo>
                    <a:pt x="652" y="729"/>
                  </a:lnTo>
                  <a:lnTo>
                    <a:pt x="654" y="729"/>
                  </a:lnTo>
                  <a:close/>
                  <a:moveTo>
                    <a:pt x="661" y="729"/>
                  </a:moveTo>
                  <a:lnTo>
                    <a:pt x="659" y="729"/>
                  </a:lnTo>
                  <a:lnTo>
                    <a:pt x="661" y="729"/>
                  </a:lnTo>
                  <a:close/>
                  <a:moveTo>
                    <a:pt x="742" y="729"/>
                  </a:moveTo>
                  <a:lnTo>
                    <a:pt x="740" y="729"/>
                  </a:lnTo>
                  <a:lnTo>
                    <a:pt x="740" y="727"/>
                  </a:lnTo>
                  <a:lnTo>
                    <a:pt x="742" y="729"/>
                  </a:lnTo>
                  <a:close/>
                  <a:moveTo>
                    <a:pt x="730" y="729"/>
                  </a:moveTo>
                  <a:lnTo>
                    <a:pt x="730" y="727"/>
                  </a:lnTo>
                  <a:lnTo>
                    <a:pt x="730" y="729"/>
                  </a:lnTo>
                  <a:close/>
                  <a:moveTo>
                    <a:pt x="730" y="727"/>
                  </a:moveTo>
                  <a:lnTo>
                    <a:pt x="730" y="729"/>
                  </a:lnTo>
                  <a:lnTo>
                    <a:pt x="730" y="727"/>
                  </a:lnTo>
                  <a:close/>
                  <a:moveTo>
                    <a:pt x="651" y="729"/>
                  </a:moveTo>
                  <a:lnTo>
                    <a:pt x="652" y="727"/>
                  </a:lnTo>
                  <a:lnTo>
                    <a:pt x="651" y="729"/>
                  </a:lnTo>
                  <a:close/>
                  <a:moveTo>
                    <a:pt x="654" y="727"/>
                  </a:moveTo>
                  <a:lnTo>
                    <a:pt x="652" y="727"/>
                  </a:lnTo>
                  <a:lnTo>
                    <a:pt x="654" y="727"/>
                  </a:lnTo>
                  <a:close/>
                  <a:moveTo>
                    <a:pt x="735" y="727"/>
                  </a:moveTo>
                  <a:lnTo>
                    <a:pt x="734" y="727"/>
                  </a:lnTo>
                  <a:lnTo>
                    <a:pt x="735" y="727"/>
                  </a:lnTo>
                  <a:close/>
                  <a:moveTo>
                    <a:pt x="730" y="727"/>
                  </a:moveTo>
                  <a:lnTo>
                    <a:pt x="729" y="727"/>
                  </a:lnTo>
                  <a:lnTo>
                    <a:pt x="730" y="727"/>
                  </a:lnTo>
                  <a:close/>
                  <a:moveTo>
                    <a:pt x="745" y="727"/>
                  </a:moveTo>
                  <a:lnTo>
                    <a:pt x="744" y="729"/>
                  </a:lnTo>
                  <a:lnTo>
                    <a:pt x="742" y="729"/>
                  </a:lnTo>
                  <a:lnTo>
                    <a:pt x="744" y="729"/>
                  </a:lnTo>
                  <a:lnTo>
                    <a:pt x="742" y="729"/>
                  </a:lnTo>
                  <a:lnTo>
                    <a:pt x="744" y="727"/>
                  </a:lnTo>
                  <a:lnTo>
                    <a:pt x="742" y="729"/>
                  </a:lnTo>
                  <a:lnTo>
                    <a:pt x="742" y="727"/>
                  </a:lnTo>
                  <a:lnTo>
                    <a:pt x="744" y="727"/>
                  </a:lnTo>
                  <a:lnTo>
                    <a:pt x="745" y="727"/>
                  </a:lnTo>
                  <a:close/>
                  <a:moveTo>
                    <a:pt x="648" y="727"/>
                  </a:moveTo>
                  <a:lnTo>
                    <a:pt x="646" y="727"/>
                  </a:lnTo>
                  <a:lnTo>
                    <a:pt x="648" y="727"/>
                  </a:lnTo>
                  <a:close/>
                  <a:moveTo>
                    <a:pt x="648" y="727"/>
                  </a:moveTo>
                  <a:lnTo>
                    <a:pt x="648" y="726"/>
                  </a:lnTo>
                  <a:lnTo>
                    <a:pt x="648" y="727"/>
                  </a:lnTo>
                  <a:close/>
                  <a:moveTo>
                    <a:pt x="646" y="727"/>
                  </a:moveTo>
                  <a:lnTo>
                    <a:pt x="644" y="727"/>
                  </a:lnTo>
                  <a:lnTo>
                    <a:pt x="644" y="726"/>
                  </a:lnTo>
                  <a:lnTo>
                    <a:pt x="646" y="726"/>
                  </a:lnTo>
                  <a:lnTo>
                    <a:pt x="644" y="727"/>
                  </a:lnTo>
                  <a:lnTo>
                    <a:pt x="646" y="727"/>
                  </a:lnTo>
                  <a:close/>
                  <a:moveTo>
                    <a:pt x="781" y="724"/>
                  </a:moveTo>
                  <a:lnTo>
                    <a:pt x="779" y="724"/>
                  </a:lnTo>
                  <a:lnTo>
                    <a:pt x="781" y="724"/>
                  </a:lnTo>
                  <a:close/>
                  <a:moveTo>
                    <a:pt x="781" y="724"/>
                  </a:moveTo>
                  <a:lnTo>
                    <a:pt x="779" y="724"/>
                  </a:lnTo>
                  <a:lnTo>
                    <a:pt x="781" y="724"/>
                  </a:lnTo>
                  <a:close/>
                  <a:moveTo>
                    <a:pt x="729" y="722"/>
                  </a:moveTo>
                  <a:lnTo>
                    <a:pt x="727" y="724"/>
                  </a:lnTo>
                  <a:lnTo>
                    <a:pt x="727" y="722"/>
                  </a:lnTo>
                  <a:lnTo>
                    <a:pt x="729" y="722"/>
                  </a:lnTo>
                  <a:close/>
                  <a:moveTo>
                    <a:pt x="740" y="722"/>
                  </a:moveTo>
                  <a:lnTo>
                    <a:pt x="740" y="724"/>
                  </a:lnTo>
                  <a:lnTo>
                    <a:pt x="742" y="722"/>
                  </a:lnTo>
                  <a:lnTo>
                    <a:pt x="744" y="724"/>
                  </a:lnTo>
                  <a:lnTo>
                    <a:pt x="744" y="726"/>
                  </a:lnTo>
                  <a:lnTo>
                    <a:pt x="744" y="727"/>
                  </a:lnTo>
                  <a:lnTo>
                    <a:pt x="742" y="727"/>
                  </a:lnTo>
                  <a:lnTo>
                    <a:pt x="740" y="727"/>
                  </a:lnTo>
                  <a:lnTo>
                    <a:pt x="740" y="729"/>
                  </a:lnTo>
                  <a:lnTo>
                    <a:pt x="739" y="729"/>
                  </a:lnTo>
                  <a:lnTo>
                    <a:pt x="739" y="730"/>
                  </a:lnTo>
                  <a:lnTo>
                    <a:pt x="737" y="729"/>
                  </a:lnTo>
                  <a:lnTo>
                    <a:pt x="739" y="730"/>
                  </a:lnTo>
                  <a:lnTo>
                    <a:pt x="737" y="730"/>
                  </a:lnTo>
                  <a:lnTo>
                    <a:pt x="737" y="729"/>
                  </a:lnTo>
                  <a:lnTo>
                    <a:pt x="737" y="730"/>
                  </a:lnTo>
                  <a:lnTo>
                    <a:pt x="737" y="729"/>
                  </a:lnTo>
                  <a:lnTo>
                    <a:pt x="737" y="730"/>
                  </a:lnTo>
                  <a:lnTo>
                    <a:pt x="737" y="729"/>
                  </a:lnTo>
                  <a:lnTo>
                    <a:pt x="737" y="727"/>
                  </a:lnTo>
                  <a:lnTo>
                    <a:pt x="735" y="727"/>
                  </a:lnTo>
                  <a:lnTo>
                    <a:pt x="737" y="727"/>
                  </a:lnTo>
                  <a:lnTo>
                    <a:pt x="737" y="726"/>
                  </a:lnTo>
                  <a:lnTo>
                    <a:pt x="739" y="726"/>
                  </a:lnTo>
                  <a:lnTo>
                    <a:pt x="737" y="726"/>
                  </a:lnTo>
                  <a:lnTo>
                    <a:pt x="737" y="724"/>
                  </a:lnTo>
                  <a:lnTo>
                    <a:pt x="737" y="726"/>
                  </a:lnTo>
                  <a:lnTo>
                    <a:pt x="739" y="726"/>
                  </a:lnTo>
                  <a:lnTo>
                    <a:pt x="739" y="724"/>
                  </a:lnTo>
                  <a:lnTo>
                    <a:pt x="740" y="724"/>
                  </a:lnTo>
                  <a:lnTo>
                    <a:pt x="740" y="722"/>
                  </a:lnTo>
                  <a:close/>
                  <a:moveTo>
                    <a:pt x="648" y="722"/>
                  </a:moveTo>
                  <a:lnTo>
                    <a:pt x="648" y="721"/>
                  </a:lnTo>
                  <a:lnTo>
                    <a:pt x="648" y="722"/>
                  </a:lnTo>
                  <a:close/>
                  <a:moveTo>
                    <a:pt x="714" y="722"/>
                  </a:moveTo>
                  <a:lnTo>
                    <a:pt x="714" y="721"/>
                  </a:lnTo>
                  <a:lnTo>
                    <a:pt x="714" y="722"/>
                  </a:lnTo>
                  <a:close/>
                  <a:moveTo>
                    <a:pt x="643" y="722"/>
                  </a:moveTo>
                  <a:lnTo>
                    <a:pt x="643" y="721"/>
                  </a:lnTo>
                  <a:lnTo>
                    <a:pt x="643" y="722"/>
                  </a:lnTo>
                  <a:close/>
                  <a:moveTo>
                    <a:pt x="716" y="721"/>
                  </a:moveTo>
                  <a:lnTo>
                    <a:pt x="714" y="721"/>
                  </a:lnTo>
                  <a:lnTo>
                    <a:pt x="716" y="721"/>
                  </a:lnTo>
                  <a:close/>
                  <a:moveTo>
                    <a:pt x="644" y="721"/>
                  </a:moveTo>
                  <a:lnTo>
                    <a:pt x="643" y="721"/>
                  </a:lnTo>
                  <a:lnTo>
                    <a:pt x="644" y="721"/>
                  </a:lnTo>
                  <a:close/>
                  <a:moveTo>
                    <a:pt x="877" y="721"/>
                  </a:moveTo>
                  <a:lnTo>
                    <a:pt x="877" y="719"/>
                  </a:lnTo>
                  <a:lnTo>
                    <a:pt x="877" y="721"/>
                  </a:lnTo>
                  <a:close/>
                  <a:moveTo>
                    <a:pt x="714" y="721"/>
                  </a:moveTo>
                  <a:lnTo>
                    <a:pt x="714" y="719"/>
                  </a:lnTo>
                  <a:lnTo>
                    <a:pt x="714" y="721"/>
                  </a:lnTo>
                  <a:close/>
                  <a:moveTo>
                    <a:pt x="714" y="719"/>
                  </a:moveTo>
                  <a:lnTo>
                    <a:pt x="714" y="721"/>
                  </a:lnTo>
                  <a:lnTo>
                    <a:pt x="714" y="719"/>
                  </a:lnTo>
                  <a:close/>
                  <a:moveTo>
                    <a:pt x="883" y="719"/>
                  </a:moveTo>
                  <a:lnTo>
                    <a:pt x="882" y="719"/>
                  </a:lnTo>
                  <a:lnTo>
                    <a:pt x="883" y="719"/>
                  </a:lnTo>
                  <a:close/>
                  <a:moveTo>
                    <a:pt x="646" y="719"/>
                  </a:moveTo>
                  <a:lnTo>
                    <a:pt x="644" y="719"/>
                  </a:lnTo>
                  <a:lnTo>
                    <a:pt x="646" y="719"/>
                  </a:lnTo>
                  <a:close/>
                  <a:moveTo>
                    <a:pt x="716" y="719"/>
                  </a:moveTo>
                  <a:lnTo>
                    <a:pt x="716" y="721"/>
                  </a:lnTo>
                  <a:lnTo>
                    <a:pt x="714" y="719"/>
                  </a:lnTo>
                  <a:lnTo>
                    <a:pt x="716" y="719"/>
                  </a:lnTo>
                  <a:lnTo>
                    <a:pt x="714" y="719"/>
                  </a:lnTo>
                  <a:lnTo>
                    <a:pt x="716" y="719"/>
                  </a:lnTo>
                  <a:lnTo>
                    <a:pt x="714" y="719"/>
                  </a:lnTo>
                  <a:lnTo>
                    <a:pt x="716" y="719"/>
                  </a:lnTo>
                  <a:close/>
                  <a:moveTo>
                    <a:pt x="648" y="717"/>
                  </a:moveTo>
                  <a:lnTo>
                    <a:pt x="646" y="717"/>
                  </a:lnTo>
                  <a:lnTo>
                    <a:pt x="648" y="717"/>
                  </a:lnTo>
                  <a:close/>
                  <a:moveTo>
                    <a:pt x="636" y="717"/>
                  </a:moveTo>
                  <a:lnTo>
                    <a:pt x="635" y="717"/>
                  </a:lnTo>
                  <a:lnTo>
                    <a:pt x="636" y="717"/>
                  </a:lnTo>
                  <a:close/>
                  <a:moveTo>
                    <a:pt x="631" y="716"/>
                  </a:moveTo>
                  <a:lnTo>
                    <a:pt x="630" y="716"/>
                  </a:lnTo>
                  <a:lnTo>
                    <a:pt x="631" y="716"/>
                  </a:lnTo>
                  <a:close/>
                  <a:moveTo>
                    <a:pt x="717" y="714"/>
                  </a:moveTo>
                  <a:lnTo>
                    <a:pt x="716" y="716"/>
                  </a:lnTo>
                  <a:lnTo>
                    <a:pt x="716" y="714"/>
                  </a:lnTo>
                  <a:lnTo>
                    <a:pt x="717" y="714"/>
                  </a:lnTo>
                  <a:close/>
                  <a:moveTo>
                    <a:pt x="636" y="714"/>
                  </a:moveTo>
                  <a:lnTo>
                    <a:pt x="638" y="714"/>
                  </a:lnTo>
                  <a:lnTo>
                    <a:pt x="636" y="714"/>
                  </a:lnTo>
                  <a:close/>
                  <a:moveTo>
                    <a:pt x="633" y="716"/>
                  </a:moveTo>
                  <a:lnTo>
                    <a:pt x="631" y="714"/>
                  </a:lnTo>
                  <a:lnTo>
                    <a:pt x="633" y="714"/>
                  </a:lnTo>
                  <a:lnTo>
                    <a:pt x="633" y="716"/>
                  </a:lnTo>
                  <a:close/>
                  <a:moveTo>
                    <a:pt x="636" y="713"/>
                  </a:moveTo>
                  <a:lnTo>
                    <a:pt x="635" y="713"/>
                  </a:lnTo>
                  <a:lnTo>
                    <a:pt x="636" y="713"/>
                  </a:lnTo>
                  <a:close/>
                  <a:moveTo>
                    <a:pt x="638" y="713"/>
                  </a:moveTo>
                  <a:lnTo>
                    <a:pt x="636" y="713"/>
                  </a:lnTo>
                  <a:lnTo>
                    <a:pt x="638" y="713"/>
                  </a:lnTo>
                  <a:close/>
                  <a:moveTo>
                    <a:pt x="722" y="713"/>
                  </a:moveTo>
                  <a:lnTo>
                    <a:pt x="724" y="713"/>
                  </a:lnTo>
                  <a:lnTo>
                    <a:pt x="726" y="713"/>
                  </a:lnTo>
                  <a:lnTo>
                    <a:pt x="726" y="714"/>
                  </a:lnTo>
                  <a:lnTo>
                    <a:pt x="727" y="714"/>
                  </a:lnTo>
                  <a:lnTo>
                    <a:pt x="727" y="716"/>
                  </a:lnTo>
                  <a:lnTo>
                    <a:pt x="729" y="716"/>
                  </a:lnTo>
                  <a:lnTo>
                    <a:pt x="727" y="716"/>
                  </a:lnTo>
                  <a:lnTo>
                    <a:pt x="727" y="717"/>
                  </a:lnTo>
                  <a:lnTo>
                    <a:pt x="729" y="719"/>
                  </a:lnTo>
                  <a:lnTo>
                    <a:pt x="730" y="719"/>
                  </a:lnTo>
                  <a:lnTo>
                    <a:pt x="729" y="721"/>
                  </a:lnTo>
                  <a:lnTo>
                    <a:pt x="730" y="721"/>
                  </a:lnTo>
                  <a:lnTo>
                    <a:pt x="730" y="722"/>
                  </a:lnTo>
                  <a:lnTo>
                    <a:pt x="732" y="722"/>
                  </a:lnTo>
                  <a:lnTo>
                    <a:pt x="732" y="724"/>
                  </a:lnTo>
                  <a:lnTo>
                    <a:pt x="732" y="726"/>
                  </a:lnTo>
                  <a:lnTo>
                    <a:pt x="734" y="726"/>
                  </a:lnTo>
                  <a:lnTo>
                    <a:pt x="734" y="727"/>
                  </a:lnTo>
                  <a:lnTo>
                    <a:pt x="735" y="727"/>
                  </a:lnTo>
                  <a:lnTo>
                    <a:pt x="734" y="727"/>
                  </a:lnTo>
                  <a:lnTo>
                    <a:pt x="732" y="727"/>
                  </a:lnTo>
                  <a:lnTo>
                    <a:pt x="730" y="727"/>
                  </a:lnTo>
                  <a:lnTo>
                    <a:pt x="730" y="726"/>
                  </a:lnTo>
                  <a:lnTo>
                    <a:pt x="729" y="724"/>
                  </a:lnTo>
                  <a:lnTo>
                    <a:pt x="729" y="722"/>
                  </a:lnTo>
                  <a:lnTo>
                    <a:pt x="727" y="721"/>
                  </a:lnTo>
                  <a:lnTo>
                    <a:pt x="727" y="722"/>
                  </a:lnTo>
                  <a:lnTo>
                    <a:pt x="729" y="722"/>
                  </a:lnTo>
                  <a:lnTo>
                    <a:pt x="727" y="722"/>
                  </a:lnTo>
                  <a:lnTo>
                    <a:pt x="727" y="724"/>
                  </a:lnTo>
                  <a:lnTo>
                    <a:pt x="727" y="726"/>
                  </a:lnTo>
                  <a:lnTo>
                    <a:pt x="729" y="726"/>
                  </a:lnTo>
                  <a:lnTo>
                    <a:pt x="729" y="727"/>
                  </a:lnTo>
                  <a:lnTo>
                    <a:pt x="727" y="727"/>
                  </a:lnTo>
                  <a:lnTo>
                    <a:pt x="727" y="729"/>
                  </a:lnTo>
                  <a:lnTo>
                    <a:pt x="727" y="730"/>
                  </a:lnTo>
                  <a:lnTo>
                    <a:pt x="729" y="730"/>
                  </a:lnTo>
                  <a:lnTo>
                    <a:pt x="727" y="730"/>
                  </a:lnTo>
                  <a:lnTo>
                    <a:pt x="727" y="729"/>
                  </a:lnTo>
                  <a:lnTo>
                    <a:pt x="729" y="729"/>
                  </a:lnTo>
                  <a:lnTo>
                    <a:pt x="729" y="730"/>
                  </a:lnTo>
                  <a:lnTo>
                    <a:pt x="729" y="729"/>
                  </a:lnTo>
                  <a:lnTo>
                    <a:pt x="729" y="730"/>
                  </a:lnTo>
                  <a:lnTo>
                    <a:pt x="730" y="730"/>
                  </a:lnTo>
                  <a:lnTo>
                    <a:pt x="730" y="729"/>
                  </a:lnTo>
                  <a:lnTo>
                    <a:pt x="730" y="727"/>
                  </a:lnTo>
                  <a:lnTo>
                    <a:pt x="732" y="727"/>
                  </a:lnTo>
                  <a:lnTo>
                    <a:pt x="732" y="729"/>
                  </a:lnTo>
                  <a:lnTo>
                    <a:pt x="732" y="727"/>
                  </a:lnTo>
                  <a:lnTo>
                    <a:pt x="732" y="729"/>
                  </a:lnTo>
                  <a:lnTo>
                    <a:pt x="732" y="727"/>
                  </a:lnTo>
                  <a:lnTo>
                    <a:pt x="732" y="729"/>
                  </a:lnTo>
                  <a:lnTo>
                    <a:pt x="734" y="729"/>
                  </a:lnTo>
                  <a:lnTo>
                    <a:pt x="735" y="729"/>
                  </a:lnTo>
                  <a:lnTo>
                    <a:pt x="735" y="730"/>
                  </a:lnTo>
                  <a:lnTo>
                    <a:pt x="735" y="729"/>
                  </a:lnTo>
                  <a:lnTo>
                    <a:pt x="737" y="730"/>
                  </a:lnTo>
                  <a:lnTo>
                    <a:pt x="735" y="730"/>
                  </a:lnTo>
                  <a:lnTo>
                    <a:pt x="735" y="732"/>
                  </a:lnTo>
                  <a:lnTo>
                    <a:pt x="737" y="732"/>
                  </a:lnTo>
                  <a:lnTo>
                    <a:pt x="737" y="734"/>
                  </a:lnTo>
                  <a:lnTo>
                    <a:pt x="737" y="732"/>
                  </a:lnTo>
                  <a:lnTo>
                    <a:pt x="737" y="734"/>
                  </a:lnTo>
                  <a:lnTo>
                    <a:pt x="739" y="734"/>
                  </a:lnTo>
                  <a:lnTo>
                    <a:pt x="739" y="735"/>
                  </a:lnTo>
                  <a:lnTo>
                    <a:pt x="739" y="734"/>
                  </a:lnTo>
                  <a:lnTo>
                    <a:pt x="737" y="734"/>
                  </a:lnTo>
                  <a:lnTo>
                    <a:pt x="737" y="735"/>
                  </a:lnTo>
                  <a:lnTo>
                    <a:pt x="737" y="734"/>
                  </a:lnTo>
                  <a:lnTo>
                    <a:pt x="737" y="735"/>
                  </a:lnTo>
                  <a:lnTo>
                    <a:pt x="735" y="735"/>
                  </a:lnTo>
                  <a:lnTo>
                    <a:pt x="735" y="737"/>
                  </a:lnTo>
                  <a:lnTo>
                    <a:pt x="735" y="739"/>
                  </a:lnTo>
                  <a:lnTo>
                    <a:pt x="734" y="739"/>
                  </a:lnTo>
                  <a:lnTo>
                    <a:pt x="734" y="740"/>
                  </a:lnTo>
                  <a:lnTo>
                    <a:pt x="734" y="742"/>
                  </a:lnTo>
                  <a:lnTo>
                    <a:pt x="732" y="742"/>
                  </a:lnTo>
                  <a:lnTo>
                    <a:pt x="732" y="740"/>
                  </a:lnTo>
                  <a:lnTo>
                    <a:pt x="730" y="740"/>
                  </a:lnTo>
                  <a:lnTo>
                    <a:pt x="730" y="739"/>
                  </a:lnTo>
                  <a:lnTo>
                    <a:pt x="730" y="740"/>
                  </a:lnTo>
                  <a:lnTo>
                    <a:pt x="730" y="739"/>
                  </a:lnTo>
                  <a:lnTo>
                    <a:pt x="730" y="737"/>
                  </a:lnTo>
                  <a:lnTo>
                    <a:pt x="729" y="737"/>
                  </a:lnTo>
                  <a:lnTo>
                    <a:pt x="729" y="735"/>
                  </a:lnTo>
                  <a:lnTo>
                    <a:pt x="727" y="734"/>
                  </a:lnTo>
                  <a:lnTo>
                    <a:pt x="727" y="735"/>
                  </a:lnTo>
                  <a:lnTo>
                    <a:pt x="729" y="735"/>
                  </a:lnTo>
                  <a:lnTo>
                    <a:pt x="727" y="735"/>
                  </a:lnTo>
                  <a:lnTo>
                    <a:pt x="727" y="734"/>
                  </a:lnTo>
                  <a:lnTo>
                    <a:pt x="726" y="734"/>
                  </a:lnTo>
                  <a:lnTo>
                    <a:pt x="727" y="734"/>
                  </a:lnTo>
                  <a:lnTo>
                    <a:pt x="726" y="734"/>
                  </a:lnTo>
                  <a:lnTo>
                    <a:pt x="727" y="734"/>
                  </a:lnTo>
                  <a:lnTo>
                    <a:pt x="727" y="732"/>
                  </a:lnTo>
                  <a:lnTo>
                    <a:pt x="726" y="734"/>
                  </a:lnTo>
                  <a:lnTo>
                    <a:pt x="726" y="732"/>
                  </a:lnTo>
                  <a:lnTo>
                    <a:pt x="724" y="732"/>
                  </a:lnTo>
                  <a:lnTo>
                    <a:pt x="726" y="732"/>
                  </a:lnTo>
                  <a:lnTo>
                    <a:pt x="724" y="732"/>
                  </a:lnTo>
                  <a:lnTo>
                    <a:pt x="722" y="732"/>
                  </a:lnTo>
                  <a:lnTo>
                    <a:pt x="722" y="734"/>
                  </a:lnTo>
                  <a:lnTo>
                    <a:pt x="722" y="732"/>
                  </a:lnTo>
                  <a:lnTo>
                    <a:pt x="721" y="732"/>
                  </a:lnTo>
                  <a:lnTo>
                    <a:pt x="721" y="734"/>
                  </a:lnTo>
                  <a:lnTo>
                    <a:pt x="719" y="734"/>
                  </a:lnTo>
                  <a:lnTo>
                    <a:pt x="717" y="732"/>
                  </a:lnTo>
                  <a:lnTo>
                    <a:pt x="716" y="730"/>
                  </a:lnTo>
                  <a:lnTo>
                    <a:pt x="714" y="730"/>
                  </a:lnTo>
                  <a:lnTo>
                    <a:pt x="714" y="729"/>
                  </a:lnTo>
                  <a:lnTo>
                    <a:pt x="713" y="729"/>
                  </a:lnTo>
                  <a:lnTo>
                    <a:pt x="713" y="727"/>
                  </a:lnTo>
                  <a:lnTo>
                    <a:pt x="713" y="729"/>
                  </a:lnTo>
                  <a:lnTo>
                    <a:pt x="711" y="727"/>
                  </a:lnTo>
                  <a:lnTo>
                    <a:pt x="711" y="726"/>
                  </a:lnTo>
                  <a:lnTo>
                    <a:pt x="709" y="724"/>
                  </a:lnTo>
                  <a:lnTo>
                    <a:pt x="709" y="722"/>
                  </a:lnTo>
                  <a:lnTo>
                    <a:pt x="711" y="722"/>
                  </a:lnTo>
                  <a:lnTo>
                    <a:pt x="709" y="722"/>
                  </a:lnTo>
                  <a:lnTo>
                    <a:pt x="711" y="722"/>
                  </a:lnTo>
                  <a:lnTo>
                    <a:pt x="711" y="721"/>
                  </a:lnTo>
                  <a:lnTo>
                    <a:pt x="711" y="722"/>
                  </a:lnTo>
                  <a:lnTo>
                    <a:pt x="711" y="721"/>
                  </a:lnTo>
                  <a:lnTo>
                    <a:pt x="711" y="719"/>
                  </a:lnTo>
                  <a:lnTo>
                    <a:pt x="711" y="721"/>
                  </a:lnTo>
                  <a:lnTo>
                    <a:pt x="711" y="719"/>
                  </a:lnTo>
                  <a:lnTo>
                    <a:pt x="713" y="719"/>
                  </a:lnTo>
                  <a:lnTo>
                    <a:pt x="714" y="719"/>
                  </a:lnTo>
                  <a:lnTo>
                    <a:pt x="714" y="717"/>
                  </a:lnTo>
                  <a:lnTo>
                    <a:pt x="714" y="719"/>
                  </a:lnTo>
                  <a:lnTo>
                    <a:pt x="713" y="719"/>
                  </a:lnTo>
                  <a:lnTo>
                    <a:pt x="714" y="719"/>
                  </a:lnTo>
                  <a:lnTo>
                    <a:pt x="714" y="721"/>
                  </a:lnTo>
                  <a:lnTo>
                    <a:pt x="713" y="721"/>
                  </a:lnTo>
                  <a:lnTo>
                    <a:pt x="713" y="722"/>
                  </a:lnTo>
                  <a:lnTo>
                    <a:pt x="713" y="721"/>
                  </a:lnTo>
                  <a:lnTo>
                    <a:pt x="714" y="721"/>
                  </a:lnTo>
                  <a:lnTo>
                    <a:pt x="714" y="722"/>
                  </a:lnTo>
                  <a:lnTo>
                    <a:pt x="713" y="722"/>
                  </a:lnTo>
                  <a:lnTo>
                    <a:pt x="714" y="722"/>
                  </a:lnTo>
                  <a:lnTo>
                    <a:pt x="714" y="721"/>
                  </a:lnTo>
                  <a:lnTo>
                    <a:pt x="714" y="722"/>
                  </a:lnTo>
                  <a:lnTo>
                    <a:pt x="716" y="721"/>
                  </a:lnTo>
                  <a:lnTo>
                    <a:pt x="716" y="719"/>
                  </a:lnTo>
                  <a:lnTo>
                    <a:pt x="717" y="719"/>
                  </a:lnTo>
                  <a:lnTo>
                    <a:pt x="717" y="721"/>
                  </a:lnTo>
                  <a:lnTo>
                    <a:pt x="717" y="719"/>
                  </a:lnTo>
                  <a:lnTo>
                    <a:pt x="717" y="721"/>
                  </a:lnTo>
                  <a:lnTo>
                    <a:pt x="719" y="721"/>
                  </a:lnTo>
                  <a:lnTo>
                    <a:pt x="717" y="719"/>
                  </a:lnTo>
                  <a:lnTo>
                    <a:pt x="717" y="717"/>
                  </a:lnTo>
                  <a:lnTo>
                    <a:pt x="717" y="716"/>
                  </a:lnTo>
                  <a:lnTo>
                    <a:pt x="717" y="714"/>
                  </a:lnTo>
                  <a:lnTo>
                    <a:pt x="719" y="714"/>
                  </a:lnTo>
                  <a:lnTo>
                    <a:pt x="721" y="713"/>
                  </a:lnTo>
                  <a:lnTo>
                    <a:pt x="719" y="713"/>
                  </a:lnTo>
                  <a:lnTo>
                    <a:pt x="721" y="713"/>
                  </a:lnTo>
                  <a:lnTo>
                    <a:pt x="722" y="713"/>
                  </a:lnTo>
                  <a:close/>
                  <a:moveTo>
                    <a:pt x="636" y="711"/>
                  </a:moveTo>
                  <a:lnTo>
                    <a:pt x="636" y="713"/>
                  </a:lnTo>
                  <a:lnTo>
                    <a:pt x="636" y="711"/>
                  </a:lnTo>
                  <a:close/>
                  <a:moveTo>
                    <a:pt x="633" y="711"/>
                  </a:moveTo>
                  <a:lnTo>
                    <a:pt x="631" y="711"/>
                  </a:lnTo>
                  <a:lnTo>
                    <a:pt x="633" y="711"/>
                  </a:lnTo>
                  <a:close/>
                  <a:moveTo>
                    <a:pt x="635" y="711"/>
                  </a:moveTo>
                  <a:lnTo>
                    <a:pt x="636" y="711"/>
                  </a:lnTo>
                  <a:lnTo>
                    <a:pt x="635" y="713"/>
                  </a:lnTo>
                  <a:lnTo>
                    <a:pt x="635" y="711"/>
                  </a:lnTo>
                  <a:close/>
                  <a:moveTo>
                    <a:pt x="638" y="711"/>
                  </a:moveTo>
                  <a:lnTo>
                    <a:pt x="636" y="711"/>
                  </a:lnTo>
                  <a:lnTo>
                    <a:pt x="638" y="711"/>
                  </a:lnTo>
                  <a:close/>
                  <a:moveTo>
                    <a:pt x="639" y="709"/>
                  </a:moveTo>
                  <a:lnTo>
                    <a:pt x="641" y="711"/>
                  </a:lnTo>
                  <a:lnTo>
                    <a:pt x="639" y="711"/>
                  </a:lnTo>
                  <a:lnTo>
                    <a:pt x="639" y="709"/>
                  </a:lnTo>
                  <a:close/>
                  <a:moveTo>
                    <a:pt x="641" y="709"/>
                  </a:moveTo>
                  <a:lnTo>
                    <a:pt x="641" y="711"/>
                  </a:lnTo>
                  <a:lnTo>
                    <a:pt x="641" y="709"/>
                  </a:lnTo>
                  <a:close/>
                  <a:moveTo>
                    <a:pt x="646" y="709"/>
                  </a:moveTo>
                  <a:lnTo>
                    <a:pt x="644" y="709"/>
                  </a:lnTo>
                  <a:lnTo>
                    <a:pt x="646" y="709"/>
                  </a:lnTo>
                  <a:close/>
                  <a:moveTo>
                    <a:pt x="641" y="709"/>
                  </a:moveTo>
                  <a:lnTo>
                    <a:pt x="639" y="709"/>
                  </a:lnTo>
                  <a:lnTo>
                    <a:pt x="641" y="709"/>
                  </a:lnTo>
                  <a:close/>
                  <a:moveTo>
                    <a:pt x="643" y="709"/>
                  </a:moveTo>
                  <a:lnTo>
                    <a:pt x="643" y="708"/>
                  </a:lnTo>
                  <a:lnTo>
                    <a:pt x="643" y="709"/>
                  </a:lnTo>
                  <a:close/>
                  <a:moveTo>
                    <a:pt x="644" y="708"/>
                  </a:moveTo>
                  <a:lnTo>
                    <a:pt x="644" y="709"/>
                  </a:lnTo>
                  <a:lnTo>
                    <a:pt x="644" y="708"/>
                  </a:lnTo>
                  <a:close/>
                  <a:moveTo>
                    <a:pt x="882" y="708"/>
                  </a:moveTo>
                  <a:lnTo>
                    <a:pt x="882" y="709"/>
                  </a:lnTo>
                  <a:lnTo>
                    <a:pt x="882" y="708"/>
                  </a:lnTo>
                  <a:lnTo>
                    <a:pt x="882" y="709"/>
                  </a:lnTo>
                  <a:lnTo>
                    <a:pt x="882" y="708"/>
                  </a:lnTo>
                  <a:close/>
                  <a:moveTo>
                    <a:pt x="641" y="708"/>
                  </a:moveTo>
                  <a:lnTo>
                    <a:pt x="639" y="708"/>
                  </a:lnTo>
                  <a:lnTo>
                    <a:pt x="641" y="708"/>
                  </a:lnTo>
                  <a:close/>
                  <a:moveTo>
                    <a:pt x="885" y="708"/>
                  </a:moveTo>
                  <a:lnTo>
                    <a:pt x="883" y="708"/>
                  </a:lnTo>
                  <a:lnTo>
                    <a:pt x="885" y="708"/>
                  </a:lnTo>
                  <a:close/>
                  <a:moveTo>
                    <a:pt x="639" y="704"/>
                  </a:moveTo>
                  <a:lnTo>
                    <a:pt x="638" y="704"/>
                  </a:lnTo>
                  <a:lnTo>
                    <a:pt x="639" y="704"/>
                  </a:lnTo>
                  <a:close/>
                  <a:moveTo>
                    <a:pt x="644" y="704"/>
                  </a:moveTo>
                  <a:lnTo>
                    <a:pt x="643" y="704"/>
                  </a:lnTo>
                  <a:lnTo>
                    <a:pt x="643" y="703"/>
                  </a:lnTo>
                  <a:lnTo>
                    <a:pt x="644" y="703"/>
                  </a:lnTo>
                  <a:lnTo>
                    <a:pt x="644" y="704"/>
                  </a:lnTo>
                  <a:close/>
                  <a:moveTo>
                    <a:pt x="644" y="703"/>
                  </a:moveTo>
                  <a:lnTo>
                    <a:pt x="644" y="704"/>
                  </a:lnTo>
                  <a:lnTo>
                    <a:pt x="644" y="703"/>
                  </a:lnTo>
                  <a:close/>
                  <a:moveTo>
                    <a:pt x="646" y="703"/>
                  </a:moveTo>
                  <a:lnTo>
                    <a:pt x="644" y="703"/>
                  </a:lnTo>
                  <a:lnTo>
                    <a:pt x="646" y="703"/>
                  </a:lnTo>
                  <a:close/>
                  <a:moveTo>
                    <a:pt x="748" y="706"/>
                  </a:moveTo>
                  <a:lnTo>
                    <a:pt x="745" y="708"/>
                  </a:lnTo>
                  <a:lnTo>
                    <a:pt x="744" y="708"/>
                  </a:lnTo>
                  <a:lnTo>
                    <a:pt x="744" y="709"/>
                  </a:lnTo>
                  <a:lnTo>
                    <a:pt x="744" y="711"/>
                  </a:lnTo>
                  <a:lnTo>
                    <a:pt x="742" y="711"/>
                  </a:lnTo>
                  <a:lnTo>
                    <a:pt x="742" y="709"/>
                  </a:lnTo>
                  <a:lnTo>
                    <a:pt x="740" y="709"/>
                  </a:lnTo>
                  <a:lnTo>
                    <a:pt x="742" y="711"/>
                  </a:lnTo>
                  <a:lnTo>
                    <a:pt x="740" y="711"/>
                  </a:lnTo>
                  <a:lnTo>
                    <a:pt x="740" y="713"/>
                  </a:lnTo>
                  <a:lnTo>
                    <a:pt x="739" y="713"/>
                  </a:lnTo>
                  <a:lnTo>
                    <a:pt x="739" y="711"/>
                  </a:lnTo>
                  <a:lnTo>
                    <a:pt x="737" y="711"/>
                  </a:lnTo>
                  <a:lnTo>
                    <a:pt x="737" y="713"/>
                  </a:lnTo>
                  <a:lnTo>
                    <a:pt x="737" y="711"/>
                  </a:lnTo>
                  <a:lnTo>
                    <a:pt x="735" y="711"/>
                  </a:lnTo>
                  <a:lnTo>
                    <a:pt x="735" y="713"/>
                  </a:lnTo>
                  <a:lnTo>
                    <a:pt x="732" y="713"/>
                  </a:lnTo>
                  <a:lnTo>
                    <a:pt x="732" y="711"/>
                  </a:lnTo>
                  <a:lnTo>
                    <a:pt x="732" y="709"/>
                  </a:lnTo>
                  <a:lnTo>
                    <a:pt x="732" y="708"/>
                  </a:lnTo>
                  <a:lnTo>
                    <a:pt x="730" y="708"/>
                  </a:lnTo>
                  <a:lnTo>
                    <a:pt x="732" y="706"/>
                  </a:lnTo>
                  <a:lnTo>
                    <a:pt x="730" y="706"/>
                  </a:lnTo>
                  <a:lnTo>
                    <a:pt x="732" y="706"/>
                  </a:lnTo>
                  <a:lnTo>
                    <a:pt x="732" y="704"/>
                  </a:lnTo>
                  <a:lnTo>
                    <a:pt x="734" y="704"/>
                  </a:lnTo>
                  <a:lnTo>
                    <a:pt x="734" y="706"/>
                  </a:lnTo>
                  <a:lnTo>
                    <a:pt x="732" y="706"/>
                  </a:lnTo>
                  <a:lnTo>
                    <a:pt x="732" y="708"/>
                  </a:lnTo>
                  <a:lnTo>
                    <a:pt x="734" y="708"/>
                  </a:lnTo>
                  <a:lnTo>
                    <a:pt x="734" y="709"/>
                  </a:lnTo>
                  <a:lnTo>
                    <a:pt x="734" y="708"/>
                  </a:lnTo>
                  <a:lnTo>
                    <a:pt x="732" y="706"/>
                  </a:lnTo>
                  <a:lnTo>
                    <a:pt x="734" y="706"/>
                  </a:lnTo>
                  <a:lnTo>
                    <a:pt x="734" y="704"/>
                  </a:lnTo>
                  <a:lnTo>
                    <a:pt x="735" y="704"/>
                  </a:lnTo>
                  <a:lnTo>
                    <a:pt x="737" y="706"/>
                  </a:lnTo>
                  <a:lnTo>
                    <a:pt x="739" y="706"/>
                  </a:lnTo>
                  <a:lnTo>
                    <a:pt x="739" y="708"/>
                  </a:lnTo>
                  <a:lnTo>
                    <a:pt x="740" y="708"/>
                  </a:lnTo>
                  <a:lnTo>
                    <a:pt x="742" y="706"/>
                  </a:lnTo>
                  <a:lnTo>
                    <a:pt x="745" y="706"/>
                  </a:lnTo>
                  <a:lnTo>
                    <a:pt x="745" y="704"/>
                  </a:lnTo>
                  <a:lnTo>
                    <a:pt x="747" y="704"/>
                  </a:lnTo>
                  <a:lnTo>
                    <a:pt x="748" y="704"/>
                  </a:lnTo>
                  <a:lnTo>
                    <a:pt x="748" y="703"/>
                  </a:lnTo>
                  <a:lnTo>
                    <a:pt x="750" y="701"/>
                  </a:lnTo>
                  <a:lnTo>
                    <a:pt x="750" y="703"/>
                  </a:lnTo>
                  <a:lnTo>
                    <a:pt x="752" y="703"/>
                  </a:lnTo>
                  <a:lnTo>
                    <a:pt x="750" y="703"/>
                  </a:lnTo>
                  <a:lnTo>
                    <a:pt x="750" y="704"/>
                  </a:lnTo>
                  <a:lnTo>
                    <a:pt x="748" y="706"/>
                  </a:lnTo>
                  <a:close/>
                  <a:moveTo>
                    <a:pt x="648" y="703"/>
                  </a:moveTo>
                  <a:lnTo>
                    <a:pt x="648" y="701"/>
                  </a:lnTo>
                  <a:lnTo>
                    <a:pt x="648" y="703"/>
                  </a:lnTo>
                  <a:close/>
                  <a:moveTo>
                    <a:pt x="981" y="701"/>
                  </a:moveTo>
                  <a:lnTo>
                    <a:pt x="979" y="701"/>
                  </a:lnTo>
                  <a:lnTo>
                    <a:pt x="981" y="701"/>
                  </a:lnTo>
                  <a:close/>
                  <a:moveTo>
                    <a:pt x="648" y="701"/>
                  </a:moveTo>
                  <a:lnTo>
                    <a:pt x="648" y="699"/>
                  </a:lnTo>
                  <a:lnTo>
                    <a:pt x="648" y="701"/>
                  </a:lnTo>
                  <a:close/>
                  <a:moveTo>
                    <a:pt x="981" y="699"/>
                  </a:moveTo>
                  <a:lnTo>
                    <a:pt x="981" y="701"/>
                  </a:lnTo>
                  <a:lnTo>
                    <a:pt x="981" y="699"/>
                  </a:lnTo>
                  <a:lnTo>
                    <a:pt x="981" y="701"/>
                  </a:lnTo>
                  <a:lnTo>
                    <a:pt x="981" y="699"/>
                  </a:lnTo>
                  <a:close/>
                  <a:moveTo>
                    <a:pt x="1122" y="701"/>
                  </a:moveTo>
                  <a:lnTo>
                    <a:pt x="1121" y="703"/>
                  </a:lnTo>
                  <a:lnTo>
                    <a:pt x="1121" y="701"/>
                  </a:lnTo>
                  <a:lnTo>
                    <a:pt x="1119" y="699"/>
                  </a:lnTo>
                  <a:lnTo>
                    <a:pt x="1121" y="698"/>
                  </a:lnTo>
                  <a:lnTo>
                    <a:pt x="1122" y="698"/>
                  </a:lnTo>
                  <a:lnTo>
                    <a:pt x="1124" y="698"/>
                  </a:lnTo>
                  <a:lnTo>
                    <a:pt x="1124" y="699"/>
                  </a:lnTo>
                  <a:lnTo>
                    <a:pt x="1122" y="699"/>
                  </a:lnTo>
                  <a:lnTo>
                    <a:pt x="1122" y="701"/>
                  </a:lnTo>
                  <a:close/>
                  <a:moveTo>
                    <a:pt x="1127" y="695"/>
                  </a:moveTo>
                  <a:lnTo>
                    <a:pt x="1126" y="696"/>
                  </a:lnTo>
                  <a:lnTo>
                    <a:pt x="1126" y="695"/>
                  </a:lnTo>
                  <a:lnTo>
                    <a:pt x="1126" y="696"/>
                  </a:lnTo>
                  <a:lnTo>
                    <a:pt x="1126" y="695"/>
                  </a:lnTo>
                  <a:lnTo>
                    <a:pt x="1127" y="695"/>
                  </a:lnTo>
                  <a:lnTo>
                    <a:pt x="1127" y="693"/>
                  </a:lnTo>
                  <a:lnTo>
                    <a:pt x="1127" y="695"/>
                  </a:lnTo>
                  <a:close/>
                  <a:moveTo>
                    <a:pt x="644" y="693"/>
                  </a:moveTo>
                  <a:lnTo>
                    <a:pt x="643" y="693"/>
                  </a:lnTo>
                  <a:lnTo>
                    <a:pt x="644" y="693"/>
                  </a:lnTo>
                  <a:close/>
                  <a:moveTo>
                    <a:pt x="1075" y="690"/>
                  </a:moveTo>
                  <a:lnTo>
                    <a:pt x="1074" y="690"/>
                  </a:lnTo>
                  <a:lnTo>
                    <a:pt x="1075" y="690"/>
                  </a:lnTo>
                  <a:close/>
                  <a:moveTo>
                    <a:pt x="1119" y="691"/>
                  </a:moveTo>
                  <a:lnTo>
                    <a:pt x="1118" y="691"/>
                  </a:lnTo>
                  <a:lnTo>
                    <a:pt x="1116" y="691"/>
                  </a:lnTo>
                  <a:lnTo>
                    <a:pt x="1118" y="691"/>
                  </a:lnTo>
                  <a:lnTo>
                    <a:pt x="1118" y="690"/>
                  </a:lnTo>
                  <a:lnTo>
                    <a:pt x="1121" y="690"/>
                  </a:lnTo>
                  <a:lnTo>
                    <a:pt x="1119" y="690"/>
                  </a:lnTo>
                  <a:lnTo>
                    <a:pt x="1119" y="691"/>
                  </a:lnTo>
                  <a:close/>
                  <a:moveTo>
                    <a:pt x="1062" y="690"/>
                  </a:moveTo>
                  <a:lnTo>
                    <a:pt x="1061" y="693"/>
                  </a:lnTo>
                  <a:lnTo>
                    <a:pt x="1059" y="693"/>
                  </a:lnTo>
                  <a:lnTo>
                    <a:pt x="1057" y="693"/>
                  </a:lnTo>
                  <a:lnTo>
                    <a:pt x="1059" y="693"/>
                  </a:lnTo>
                  <a:lnTo>
                    <a:pt x="1059" y="691"/>
                  </a:lnTo>
                  <a:lnTo>
                    <a:pt x="1061" y="691"/>
                  </a:lnTo>
                  <a:lnTo>
                    <a:pt x="1061" y="690"/>
                  </a:lnTo>
                  <a:lnTo>
                    <a:pt x="1062" y="690"/>
                  </a:lnTo>
                  <a:close/>
                  <a:moveTo>
                    <a:pt x="1056" y="690"/>
                  </a:moveTo>
                  <a:lnTo>
                    <a:pt x="1056" y="691"/>
                  </a:lnTo>
                  <a:lnTo>
                    <a:pt x="1056" y="690"/>
                  </a:lnTo>
                  <a:close/>
                  <a:moveTo>
                    <a:pt x="986" y="690"/>
                  </a:moveTo>
                  <a:lnTo>
                    <a:pt x="984" y="690"/>
                  </a:lnTo>
                  <a:lnTo>
                    <a:pt x="986" y="690"/>
                  </a:lnTo>
                  <a:close/>
                  <a:moveTo>
                    <a:pt x="989" y="688"/>
                  </a:moveTo>
                  <a:lnTo>
                    <a:pt x="989" y="690"/>
                  </a:lnTo>
                  <a:lnTo>
                    <a:pt x="989" y="688"/>
                  </a:lnTo>
                  <a:close/>
                  <a:moveTo>
                    <a:pt x="984" y="688"/>
                  </a:moveTo>
                  <a:lnTo>
                    <a:pt x="984" y="690"/>
                  </a:lnTo>
                  <a:lnTo>
                    <a:pt x="984" y="688"/>
                  </a:lnTo>
                  <a:close/>
                  <a:moveTo>
                    <a:pt x="646" y="690"/>
                  </a:moveTo>
                  <a:lnTo>
                    <a:pt x="646" y="688"/>
                  </a:lnTo>
                  <a:lnTo>
                    <a:pt x="646" y="690"/>
                  </a:lnTo>
                  <a:close/>
                  <a:moveTo>
                    <a:pt x="984" y="688"/>
                  </a:moveTo>
                  <a:lnTo>
                    <a:pt x="984" y="690"/>
                  </a:lnTo>
                  <a:lnTo>
                    <a:pt x="984" y="688"/>
                  </a:lnTo>
                  <a:close/>
                  <a:moveTo>
                    <a:pt x="986" y="688"/>
                  </a:moveTo>
                  <a:lnTo>
                    <a:pt x="987" y="688"/>
                  </a:lnTo>
                  <a:lnTo>
                    <a:pt x="986" y="690"/>
                  </a:lnTo>
                  <a:lnTo>
                    <a:pt x="986" y="688"/>
                  </a:lnTo>
                  <a:close/>
                  <a:moveTo>
                    <a:pt x="1054" y="690"/>
                  </a:moveTo>
                  <a:lnTo>
                    <a:pt x="1053" y="688"/>
                  </a:lnTo>
                  <a:lnTo>
                    <a:pt x="1054" y="688"/>
                  </a:lnTo>
                  <a:lnTo>
                    <a:pt x="1054" y="690"/>
                  </a:lnTo>
                  <a:close/>
                  <a:moveTo>
                    <a:pt x="986" y="688"/>
                  </a:moveTo>
                  <a:lnTo>
                    <a:pt x="984" y="690"/>
                  </a:lnTo>
                  <a:lnTo>
                    <a:pt x="984" y="688"/>
                  </a:lnTo>
                  <a:lnTo>
                    <a:pt x="986" y="688"/>
                  </a:lnTo>
                  <a:close/>
                  <a:moveTo>
                    <a:pt x="1062" y="690"/>
                  </a:moveTo>
                  <a:lnTo>
                    <a:pt x="1061" y="690"/>
                  </a:lnTo>
                  <a:lnTo>
                    <a:pt x="1061" y="691"/>
                  </a:lnTo>
                  <a:lnTo>
                    <a:pt x="1059" y="691"/>
                  </a:lnTo>
                  <a:lnTo>
                    <a:pt x="1057" y="691"/>
                  </a:lnTo>
                  <a:lnTo>
                    <a:pt x="1056" y="691"/>
                  </a:lnTo>
                  <a:lnTo>
                    <a:pt x="1057" y="691"/>
                  </a:lnTo>
                  <a:lnTo>
                    <a:pt x="1057" y="690"/>
                  </a:lnTo>
                  <a:lnTo>
                    <a:pt x="1056" y="690"/>
                  </a:lnTo>
                  <a:lnTo>
                    <a:pt x="1056" y="688"/>
                  </a:lnTo>
                  <a:lnTo>
                    <a:pt x="1057" y="688"/>
                  </a:lnTo>
                  <a:lnTo>
                    <a:pt x="1061" y="688"/>
                  </a:lnTo>
                  <a:lnTo>
                    <a:pt x="1059" y="688"/>
                  </a:lnTo>
                  <a:lnTo>
                    <a:pt x="1061" y="688"/>
                  </a:lnTo>
                  <a:lnTo>
                    <a:pt x="1062" y="690"/>
                  </a:lnTo>
                  <a:close/>
                  <a:moveTo>
                    <a:pt x="646" y="686"/>
                  </a:moveTo>
                  <a:lnTo>
                    <a:pt x="646" y="688"/>
                  </a:lnTo>
                  <a:lnTo>
                    <a:pt x="646" y="686"/>
                  </a:lnTo>
                  <a:close/>
                  <a:moveTo>
                    <a:pt x="1145" y="686"/>
                  </a:moveTo>
                  <a:lnTo>
                    <a:pt x="1145" y="688"/>
                  </a:lnTo>
                  <a:lnTo>
                    <a:pt x="1145" y="686"/>
                  </a:lnTo>
                  <a:close/>
                  <a:moveTo>
                    <a:pt x="983" y="686"/>
                  </a:moveTo>
                  <a:lnTo>
                    <a:pt x="983" y="688"/>
                  </a:lnTo>
                  <a:lnTo>
                    <a:pt x="983" y="686"/>
                  </a:lnTo>
                  <a:close/>
                  <a:moveTo>
                    <a:pt x="1077" y="688"/>
                  </a:moveTo>
                  <a:lnTo>
                    <a:pt x="1075" y="688"/>
                  </a:lnTo>
                  <a:lnTo>
                    <a:pt x="1074" y="690"/>
                  </a:lnTo>
                  <a:lnTo>
                    <a:pt x="1072" y="690"/>
                  </a:lnTo>
                  <a:lnTo>
                    <a:pt x="1070" y="690"/>
                  </a:lnTo>
                  <a:lnTo>
                    <a:pt x="1072" y="688"/>
                  </a:lnTo>
                  <a:lnTo>
                    <a:pt x="1072" y="690"/>
                  </a:lnTo>
                  <a:lnTo>
                    <a:pt x="1072" y="688"/>
                  </a:lnTo>
                  <a:lnTo>
                    <a:pt x="1074" y="688"/>
                  </a:lnTo>
                  <a:lnTo>
                    <a:pt x="1072" y="688"/>
                  </a:lnTo>
                  <a:lnTo>
                    <a:pt x="1074" y="688"/>
                  </a:lnTo>
                  <a:lnTo>
                    <a:pt x="1075" y="686"/>
                  </a:lnTo>
                  <a:lnTo>
                    <a:pt x="1077" y="686"/>
                  </a:lnTo>
                  <a:lnTo>
                    <a:pt x="1077" y="688"/>
                  </a:lnTo>
                  <a:close/>
                  <a:moveTo>
                    <a:pt x="1004" y="686"/>
                  </a:moveTo>
                  <a:lnTo>
                    <a:pt x="1002" y="686"/>
                  </a:lnTo>
                  <a:lnTo>
                    <a:pt x="1004" y="686"/>
                  </a:lnTo>
                  <a:close/>
                  <a:moveTo>
                    <a:pt x="1007" y="686"/>
                  </a:moveTo>
                  <a:lnTo>
                    <a:pt x="1005" y="686"/>
                  </a:lnTo>
                  <a:lnTo>
                    <a:pt x="1007" y="686"/>
                  </a:lnTo>
                  <a:close/>
                  <a:moveTo>
                    <a:pt x="1082" y="686"/>
                  </a:moveTo>
                  <a:lnTo>
                    <a:pt x="1080" y="686"/>
                  </a:lnTo>
                  <a:lnTo>
                    <a:pt x="1082" y="686"/>
                  </a:lnTo>
                  <a:close/>
                  <a:moveTo>
                    <a:pt x="1017" y="686"/>
                  </a:moveTo>
                  <a:lnTo>
                    <a:pt x="1018" y="686"/>
                  </a:lnTo>
                  <a:lnTo>
                    <a:pt x="1017" y="686"/>
                  </a:lnTo>
                  <a:close/>
                  <a:moveTo>
                    <a:pt x="1079" y="686"/>
                  </a:moveTo>
                  <a:lnTo>
                    <a:pt x="1077" y="686"/>
                  </a:lnTo>
                  <a:lnTo>
                    <a:pt x="1079" y="686"/>
                  </a:lnTo>
                  <a:close/>
                  <a:moveTo>
                    <a:pt x="1002" y="686"/>
                  </a:moveTo>
                  <a:lnTo>
                    <a:pt x="1000" y="686"/>
                  </a:lnTo>
                  <a:lnTo>
                    <a:pt x="1002" y="686"/>
                  </a:lnTo>
                  <a:close/>
                  <a:moveTo>
                    <a:pt x="646" y="686"/>
                  </a:moveTo>
                  <a:lnTo>
                    <a:pt x="644" y="686"/>
                  </a:lnTo>
                  <a:lnTo>
                    <a:pt x="646" y="685"/>
                  </a:lnTo>
                  <a:lnTo>
                    <a:pt x="646" y="686"/>
                  </a:lnTo>
                  <a:close/>
                  <a:moveTo>
                    <a:pt x="1100" y="688"/>
                  </a:moveTo>
                  <a:lnTo>
                    <a:pt x="1098" y="686"/>
                  </a:lnTo>
                  <a:lnTo>
                    <a:pt x="1096" y="685"/>
                  </a:lnTo>
                  <a:lnTo>
                    <a:pt x="1098" y="686"/>
                  </a:lnTo>
                  <a:lnTo>
                    <a:pt x="1100" y="686"/>
                  </a:lnTo>
                  <a:lnTo>
                    <a:pt x="1100" y="688"/>
                  </a:lnTo>
                  <a:close/>
                  <a:moveTo>
                    <a:pt x="1020" y="685"/>
                  </a:moveTo>
                  <a:lnTo>
                    <a:pt x="1018" y="685"/>
                  </a:lnTo>
                  <a:lnTo>
                    <a:pt x="1020" y="685"/>
                  </a:lnTo>
                  <a:close/>
                  <a:moveTo>
                    <a:pt x="999" y="685"/>
                  </a:moveTo>
                  <a:lnTo>
                    <a:pt x="1000" y="686"/>
                  </a:lnTo>
                  <a:lnTo>
                    <a:pt x="999" y="685"/>
                  </a:lnTo>
                  <a:lnTo>
                    <a:pt x="1000" y="685"/>
                  </a:lnTo>
                  <a:lnTo>
                    <a:pt x="999" y="685"/>
                  </a:lnTo>
                  <a:close/>
                  <a:moveTo>
                    <a:pt x="1085" y="685"/>
                  </a:moveTo>
                  <a:lnTo>
                    <a:pt x="1083" y="685"/>
                  </a:lnTo>
                  <a:lnTo>
                    <a:pt x="1082" y="685"/>
                  </a:lnTo>
                  <a:lnTo>
                    <a:pt x="1083" y="685"/>
                  </a:lnTo>
                  <a:lnTo>
                    <a:pt x="1085" y="685"/>
                  </a:lnTo>
                  <a:close/>
                  <a:moveTo>
                    <a:pt x="1038" y="685"/>
                  </a:moveTo>
                  <a:lnTo>
                    <a:pt x="1036" y="685"/>
                  </a:lnTo>
                  <a:lnTo>
                    <a:pt x="1035" y="686"/>
                  </a:lnTo>
                  <a:lnTo>
                    <a:pt x="1035" y="685"/>
                  </a:lnTo>
                  <a:lnTo>
                    <a:pt x="1036" y="685"/>
                  </a:lnTo>
                  <a:lnTo>
                    <a:pt x="1038" y="685"/>
                  </a:lnTo>
                  <a:close/>
                  <a:moveTo>
                    <a:pt x="1082" y="685"/>
                  </a:moveTo>
                  <a:lnTo>
                    <a:pt x="1080" y="686"/>
                  </a:lnTo>
                  <a:lnTo>
                    <a:pt x="1079" y="686"/>
                  </a:lnTo>
                  <a:lnTo>
                    <a:pt x="1079" y="685"/>
                  </a:lnTo>
                  <a:lnTo>
                    <a:pt x="1079" y="686"/>
                  </a:lnTo>
                  <a:lnTo>
                    <a:pt x="1079" y="685"/>
                  </a:lnTo>
                  <a:lnTo>
                    <a:pt x="1080" y="685"/>
                  </a:lnTo>
                  <a:lnTo>
                    <a:pt x="1082" y="685"/>
                  </a:lnTo>
                  <a:lnTo>
                    <a:pt x="1083" y="685"/>
                  </a:lnTo>
                  <a:lnTo>
                    <a:pt x="1082" y="685"/>
                  </a:lnTo>
                  <a:close/>
                  <a:moveTo>
                    <a:pt x="1000" y="685"/>
                  </a:moveTo>
                  <a:lnTo>
                    <a:pt x="1002" y="685"/>
                  </a:lnTo>
                  <a:lnTo>
                    <a:pt x="1000" y="685"/>
                  </a:lnTo>
                  <a:close/>
                  <a:moveTo>
                    <a:pt x="644" y="685"/>
                  </a:moveTo>
                  <a:lnTo>
                    <a:pt x="644" y="683"/>
                  </a:lnTo>
                  <a:lnTo>
                    <a:pt x="644" y="685"/>
                  </a:lnTo>
                  <a:close/>
                  <a:moveTo>
                    <a:pt x="1038" y="685"/>
                  </a:moveTo>
                  <a:lnTo>
                    <a:pt x="1036" y="683"/>
                  </a:lnTo>
                  <a:lnTo>
                    <a:pt x="1038" y="683"/>
                  </a:lnTo>
                  <a:lnTo>
                    <a:pt x="1040" y="685"/>
                  </a:lnTo>
                  <a:lnTo>
                    <a:pt x="1038" y="685"/>
                  </a:lnTo>
                  <a:close/>
                  <a:moveTo>
                    <a:pt x="1022" y="683"/>
                  </a:moveTo>
                  <a:lnTo>
                    <a:pt x="1022" y="685"/>
                  </a:lnTo>
                  <a:lnTo>
                    <a:pt x="1022" y="683"/>
                  </a:lnTo>
                  <a:close/>
                  <a:moveTo>
                    <a:pt x="1000" y="683"/>
                  </a:moveTo>
                  <a:lnTo>
                    <a:pt x="1000" y="685"/>
                  </a:lnTo>
                  <a:lnTo>
                    <a:pt x="1000" y="683"/>
                  </a:lnTo>
                  <a:close/>
                  <a:moveTo>
                    <a:pt x="1018" y="683"/>
                  </a:moveTo>
                  <a:lnTo>
                    <a:pt x="1017" y="683"/>
                  </a:lnTo>
                  <a:lnTo>
                    <a:pt x="1018" y="683"/>
                  </a:lnTo>
                  <a:close/>
                  <a:moveTo>
                    <a:pt x="1101" y="685"/>
                  </a:moveTo>
                  <a:lnTo>
                    <a:pt x="1100" y="685"/>
                  </a:lnTo>
                  <a:lnTo>
                    <a:pt x="1101" y="685"/>
                  </a:lnTo>
                  <a:lnTo>
                    <a:pt x="1103" y="683"/>
                  </a:lnTo>
                  <a:lnTo>
                    <a:pt x="1105" y="683"/>
                  </a:lnTo>
                  <a:lnTo>
                    <a:pt x="1105" y="685"/>
                  </a:lnTo>
                  <a:lnTo>
                    <a:pt x="1103" y="685"/>
                  </a:lnTo>
                  <a:lnTo>
                    <a:pt x="1101" y="685"/>
                  </a:lnTo>
                  <a:close/>
                  <a:moveTo>
                    <a:pt x="1100" y="685"/>
                  </a:moveTo>
                  <a:lnTo>
                    <a:pt x="1098" y="685"/>
                  </a:lnTo>
                  <a:lnTo>
                    <a:pt x="1098" y="683"/>
                  </a:lnTo>
                  <a:lnTo>
                    <a:pt x="1100" y="683"/>
                  </a:lnTo>
                  <a:lnTo>
                    <a:pt x="1101" y="683"/>
                  </a:lnTo>
                  <a:lnTo>
                    <a:pt x="1100" y="685"/>
                  </a:lnTo>
                  <a:close/>
                  <a:moveTo>
                    <a:pt x="1023" y="685"/>
                  </a:moveTo>
                  <a:lnTo>
                    <a:pt x="1020" y="685"/>
                  </a:lnTo>
                  <a:lnTo>
                    <a:pt x="1022" y="685"/>
                  </a:lnTo>
                  <a:lnTo>
                    <a:pt x="1022" y="683"/>
                  </a:lnTo>
                  <a:lnTo>
                    <a:pt x="1023" y="683"/>
                  </a:lnTo>
                  <a:lnTo>
                    <a:pt x="1023" y="685"/>
                  </a:lnTo>
                  <a:close/>
                  <a:moveTo>
                    <a:pt x="1095" y="683"/>
                  </a:moveTo>
                  <a:lnTo>
                    <a:pt x="1096" y="683"/>
                  </a:lnTo>
                  <a:lnTo>
                    <a:pt x="1096" y="685"/>
                  </a:lnTo>
                  <a:lnTo>
                    <a:pt x="1095" y="683"/>
                  </a:lnTo>
                  <a:lnTo>
                    <a:pt x="1095" y="685"/>
                  </a:lnTo>
                  <a:lnTo>
                    <a:pt x="1095" y="683"/>
                  </a:lnTo>
                  <a:lnTo>
                    <a:pt x="1093" y="683"/>
                  </a:lnTo>
                  <a:lnTo>
                    <a:pt x="1092" y="683"/>
                  </a:lnTo>
                  <a:lnTo>
                    <a:pt x="1093" y="683"/>
                  </a:lnTo>
                  <a:lnTo>
                    <a:pt x="1095" y="683"/>
                  </a:lnTo>
                  <a:close/>
                  <a:moveTo>
                    <a:pt x="1054" y="686"/>
                  </a:moveTo>
                  <a:lnTo>
                    <a:pt x="1056" y="688"/>
                  </a:lnTo>
                  <a:lnTo>
                    <a:pt x="1056" y="690"/>
                  </a:lnTo>
                  <a:lnTo>
                    <a:pt x="1054" y="690"/>
                  </a:lnTo>
                  <a:lnTo>
                    <a:pt x="1054" y="688"/>
                  </a:lnTo>
                  <a:lnTo>
                    <a:pt x="1053" y="688"/>
                  </a:lnTo>
                  <a:lnTo>
                    <a:pt x="1051" y="686"/>
                  </a:lnTo>
                  <a:lnTo>
                    <a:pt x="1051" y="685"/>
                  </a:lnTo>
                  <a:lnTo>
                    <a:pt x="1049" y="685"/>
                  </a:lnTo>
                  <a:lnTo>
                    <a:pt x="1049" y="683"/>
                  </a:lnTo>
                  <a:lnTo>
                    <a:pt x="1051" y="686"/>
                  </a:lnTo>
                  <a:lnTo>
                    <a:pt x="1053" y="686"/>
                  </a:lnTo>
                  <a:lnTo>
                    <a:pt x="1053" y="688"/>
                  </a:lnTo>
                  <a:lnTo>
                    <a:pt x="1053" y="686"/>
                  </a:lnTo>
                  <a:lnTo>
                    <a:pt x="1051" y="685"/>
                  </a:lnTo>
                  <a:lnTo>
                    <a:pt x="1049" y="683"/>
                  </a:lnTo>
                  <a:lnTo>
                    <a:pt x="1051" y="683"/>
                  </a:lnTo>
                  <a:lnTo>
                    <a:pt x="1053" y="685"/>
                  </a:lnTo>
                  <a:lnTo>
                    <a:pt x="1054" y="686"/>
                  </a:lnTo>
                  <a:lnTo>
                    <a:pt x="1053" y="685"/>
                  </a:lnTo>
                  <a:lnTo>
                    <a:pt x="1051" y="683"/>
                  </a:lnTo>
                  <a:lnTo>
                    <a:pt x="1053" y="683"/>
                  </a:lnTo>
                  <a:lnTo>
                    <a:pt x="1054" y="683"/>
                  </a:lnTo>
                  <a:lnTo>
                    <a:pt x="1054" y="685"/>
                  </a:lnTo>
                  <a:lnTo>
                    <a:pt x="1054" y="686"/>
                  </a:lnTo>
                  <a:close/>
                  <a:moveTo>
                    <a:pt x="1106" y="683"/>
                  </a:moveTo>
                  <a:lnTo>
                    <a:pt x="1106" y="685"/>
                  </a:lnTo>
                  <a:lnTo>
                    <a:pt x="1105" y="685"/>
                  </a:lnTo>
                  <a:lnTo>
                    <a:pt x="1105" y="683"/>
                  </a:lnTo>
                  <a:lnTo>
                    <a:pt x="1106" y="683"/>
                  </a:lnTo>
                  <a:close/>
                  <a:moveTo>
                    <a:pt x="1010" y="683"/>
                  </a:moveTo>
                  <a:lnTo>
                    <a:pt x="1009" y="685"/>
                  </a:lnTo>
                  <a:lnTo>
                    <a:pt x="1007" y="686"/>
                  </a:lnTo>
                  <a:lnTo>
                    <a:pt x="1009" y="683"/>
                  </a:lnTo>
                  <a:lnTo>
                    <a:pt x="1009" y="685"/>
                  </a:lnTo>
                  <a:lnTo>
                    <a:pt x="1009" y="683"/>
                  </a:lnTo>
                  <a:lnTo>
                    <a:pt x="1010" y="683"/>
                  </a:lnTo>
                  <a:close/>
                  <a:moveTo>
                    <a:pt x="779" y="685"/>
                  </a:moveTo>
                  <a:lnTo>
                    <a:pt x="779" y="686"/>
                  </a:lnTo>
                  <a:lnTo>
                    <a:pt x="778" y="686"/>
                  </a:lnTo>
                  <a:lnTo>
                    <a:pt x="778" y="685"/>
                  </a:lnTo>
                  <a:lnTo>
                    <a:pt x="778" y="683"/>
                  </a:lnTo>
                  <a:lnTo>
                    <a:pt x="779" y="683"/>
                  </a:lnTo>
                  <a:lnTo>
                    <a:pt x="779" y="685"/>
                  </a:lnTo>
                  <a:close/>
                  <a:moveTo>
                    <a:pt x="1093" y="683"/>
                  </a:moveTo>
                  <a:lnTo>
                    <a:pt x="1092" y="683"/>
                  </a:lnTo>
                  <a:lnTo>
                    <a:pt x="1093" y="683"/>
                  </a:lnTo>
                  <a:close/>
                  <a:moveTo>
                    <a:pt x="979" y="686"/>
                  </a:moveTo>
                  <a:lnTo>
                    <a:pt x="978" y="685"/>
                  </a:lnTo>
                  <a:lnTo>
                    <a:pt x="978" y="683"/>
                  </a:lnTo>
                  <a:lnTo>
                    <a:pt x="978" y="682"/>
                  </a:lnTo>
                  <a:lnTo>
                    <a:pt x="979" y="682"/>
                  </a:lnTo>
                  <a:lnTo>
                    <a:pt x="979" y="683"/>
                  </a:lnTo>
                  <a:lnTo>
                    <a:pt x="978" y="683"/>
                  </a:lnTo>
                  <a:lnTo>
                    <a:pt x="979" y="685"/>
                  </a:lnTo>
                  <a:lnTo>
                    <a:pt x="979" y="686"/>
                  </a:lnTo>
                  <a:close/>
                  <a:moveTo>
                    <a:pt x="1093" y="683"/>
                  </a:moveTo>
                  <a:lnTo>
                    <a:pt x="1093" y="682"/>
                  </a:lnTo>
                  <a:lnTo>
                    <a:pt x="1093" y="683"/>
                  </a:lnTo>
                  <a:close/>
                  <a:moveTo>
                    <a:pt x="1057" y="683"/>
                  </a:moveTo>
                  <a:lnTo>
                    <a:pt x="1057" y="685"/>
                  </a:lnTo>
                  <a:lnTo>
                    <a:pt x="1059" y="685"/>
                  </a:lnTo>
                  <a:lnTo>
                    <a:pt x="1059" y="686"/>
                  </a:lnTo>
                  <a:lnTo>
                    <a:pt x="1061" y="686"/>
                  </a:lnTo>
                  <a:lnTo>
                    <a:pt x="1061" y="688"/>
                  </a:lnTo>
                  <a:lnTo>
                    <a:pt x="1059" y="688"/>
                  </a:lnTo>
                  <a:lnTo>
                    <a:pt x="1059" y="686"/>
                  </a:lnTo>
                  <a:lnTo>
                    <a:pt x="1059" y="688"/>
                  </a:lnTo>
                  <a:lnTo>
                    <a:pt x="1057" y="686"/>
                  </a:lnTo>
                  <a:lnTo>
                    <a:pt x="1057" y="688"/>
                  </a:lnTo>
                  <a:lnTo>
                    <a:pt x="1056" y="688"/>
                  </a:lnTo>
                  <a:lnTo>
                    <a:pt x="1054" y="686"/>
                  </a:lnTo>
                  <a:lnTo>
                    <a:pt x="1054" y="685"/>
                  </a:lnTo>
                  <a:lnTo>
                    <a:pt x="1054" y="683"/>
                  </a:lnTo>
                  <a:lnTo>
                    <a:pt x="1056" y="683"/>
                  </a:lnTo>
                  <a:lnTo>
                    <a:pt x="1057" y="682"/>
                  </a:lnTo>
                  <a:lnTo>
                    <a:pt x="1057" y="683"/>
                  </a:lnTo>
                  <a:close/>
                  <a:moveTo>
                    <a:pt x="992" y="683"/>
                  </a:moveTo>
                  <a:lnTo>
                    <a:pt x="991" y="683"/>
                  </a:lnTo>
                  <a:lnTo>
                    <a:pt x="989" y="683"/>
                  </a:lnTo>
                  <a:lnTo>
                    <a:pt x="991" y="683"/>
                  </a:lnTo>
                  <a:lnTo>
                    <a:pt x="989" y="683"/>
                  </a:lnTo>
                  <a:lnTo>
                    <a:pt x="989" y="682"/>
                  </a:lnTo>
                  <a:lnTo>
                    <a:pt x="991" y="682"/>
                  </a:lnTo>
                  <a:lnTo>
                    <a:pt x="992" y="683"/>
                  </a:lnTo>
                  <a:close/>
                  <a:moveTo>
                    <a:pt x="979" y="683"/>
                  </a:moveTo>
                  <a:lnTo>
                    <a:pt x="981" y="683"/>
                  </a:lnTo>
                  <a:lnTo>
                    <a:pt x="981" y="685"/>
                  </a:lnTo>
                  <a:lnTo>
                    <a:pt x="983" y="685"/>
                  </a:lnTo>
                  <a:lnTo>
                    <a:pt x="983" y="686"/>
                  </a:lnTo>
                  <a:lnTo>
                    <a:pt x="983" y="685"/>
                  </a:lnTo>
                  <a:lnTo>
                    <a:pt x="981" y="683"/>
                  </a:lnTo>
                  <a:lnTo>
                    <a:pt x="983" y="683"/>
                  </a:lnTo>
                  <a:lnTo>
                    <a:pt x="984" y="683"/>
                  </a:lnTo>
                  <a:lnTo>
                    <a:pt x="984" y="685"/>
                  </a:lnTo>
                  <a:lnTo>
                    <a:pt x="986" y="685"/>
                  </a:lnTo>
                  <a:lnTo>
                    <a:pt x="987" y="683"/>
                  </a:lnTo>
                  <a:lnTo>
                    <a:pt x="989" y="683"/>
                  </a:lnTo>
                  <a:lnTo>
                    <a:pt x="991" y="685"/>
                  </a:lnTo>
                  <a:lnTo>
                    <a:pt x="989" y="685"/>
                  </a:lnTo>
                  <a:lnTo>
                    <a:pt x="987" y="686"/>
                  </a:lnTo>
                  <a:lnTo>
                    <a:pt x="986" y="686"/>
                  </a:lnTo>
                  <a:lnTo>
                    <a:pt x="986" y="688"/>
                  </a:lnTo>
                  <a:lnTo>
                    <a:pt x="984" y="688"/>
                  </a:lnTo>
                  <a:lnTo>
                    <a:pt x="983" y="688"/>
                  </a:lnTo>
                  <a:lnTo>
                    <a:pt x="983" y="686"/>
                  </a:lnTo>
                  <a:lnTo>
                    <a:pt x="983" y="688"/>
                  </a:lnTo>
                  <a:lnTo>
                    <a:pt x="984" y="690"/>
                  </a:lnTo>
                  <a:lnTo>
                    <a:pt x="983" y="690"/>
                  </a:lnTo>
                  <a:lnTo>
                    <a:pt x="983" y="691"/>
                  </a:lnTo>
                  <a:lnTo>
                    <a:pt x="984" y="690"/>
                  </a:lnTo>
                  <a:lnTo>
                    <a:pt x="984" y="691"/>
                  </a:lnTo>
                  <a:lnTo>
                    <a:pt x="983" y="693"/>
                  </a:lnTo>
                  <a:lnTo>
                    <a:pt x="981" y="695"/>
                  </a:lnTo>
                  <a:lnTo>
                    <a:pt x="981" y="693"/>
                  </a:lnTo>
                  <a:lnTo>
                    <a:pt x="981" y="691"/>
                  </a:lnTo>
                  <a:lnTo>
                    <a:pt x="981" y="688"/>
                  </a:lnTo>
                  <a:lnTo>
                    <a:pt x="979" y="685"/>
                  </a:lnTo>
                  <a:lnTo>
                    <a:pt x="979" y="683"/>
                  </a:lnTo>
                  <a:lnTo>
                    <a:pt x="979" y="682"/>
                  </a:lnTo>
                  <a:lnTo>
                    <a:pt x="979" y="683"/>
                  </a:lnTo>
                  <a:close/>
                  <a:moveTo>
                    <a:pt x="644" y="682"/>
                  </a:moveTo>
                  <a:lnTo>
                    <a:pt x="644" y="683"/>
                  </a:lnTo>
                  <a:lnTo>
                    <a:pt x="643" y="682"/>
                  </a:lnTo>
                  <a:lnTo>
                    <a:pt x="644" y="682"/>
                  </a:lnTo>
                  <a:close/>
                  <a:moveTo>
                    <a:pt x="1043" y="683"/>
                  </a:moveTo>
                  <a:lnTo>
                    <a:pt x="1041" y="683"/>
                  </a:lnTo>
                  <a:lnTo>
                    <a:pt x="1043" y="682"/>
                  </a:lnTo>
                  <a:lnTo>
                    <a:pt x="1044" y="682"/>
                  </a:lnTo>
                  <a:lnTo>
                    <a:pt x="1043" y="683"/>
                  </a:lnTo>
                  <a:close/>
                  <a:moveTo>
                    <a:pt x="1096" y="682"/>
                  </a:moveTo>
                  <a:lnTo>
                    <a:pt x="1098" y="683"/>
                  </a:lnTo>
                  <a:lnTo>
                    <a:pt x="1098" y="685"/>
                  </a:lnTo>
                  <a:lnTo>
                    <a:pt x="1096" y="685"/>
                  </a:lnTo>
                  <a:lnTo>
                    <a:pt x="1096" y="683"/>
                  </a:lnTo>
                  <a:lnTo>
                    <a:pt x="1095" y="683"/>
                  </a:lnTo>
                  <a:lnTo>
                    <a:pt x="1093" y="683"/>
                  </a:lnTo>
                  <a:lnTo>
                    <a:pt x="1095" y="683"/>
                  </a:lnTo>
                  <a:lnTo>
                    <a:pt x="1096" y="683"/>
                  </a:lnTo>
                  <a:lnTo>
                    <a:pt x="1095" y="683"/>
                  </a:lnTo>
                  <a:lnTo>
                    <a:pt x="1093" y="683"/>
                  </a:lnTo>
                  <a:lnTo>
                    <a:pt x="1093" y="682"/>
                  </a:lnTo>
                  <a:lnTo>
                    <a:pt x="1092" y="683"/>
                  </a:lnTo>
                  <a:lnTo>
                    <a:pt x="1093" y="682"/>
                  </a:lnTo>
                  <a:lnTo>
                    <a:pt x="1095" y="682"/>
                  </a:lnTo>
                  <a:lnTo>
                    <a:pt x="1096" y="682"/>
                  </a:lnTo>
                  <a:close/>
                  <a:moveTo>
                    <a:pt x="1012" y="682"/>
                  </a:moveTo>
                  <a:lnTo>
                    <a:pt x="1013" y="682"/>
                  </a:lnTo>
                  <a:lnTo>
                    <a:pt x="1012" y="683"/>
                  </a:lnTo>
                  <a:lnTo>
                    <a:pt x="1012" y="682"/>
                  </a:lnTo>
                  <a:lnTo>
                    <a:pt x="1010" y="683"/>
                  </a:lnTo>
                  <a:lnTo>
                    <a:pt x="1010" y="682"/>
                  </a:lnTo>
                  <a:lnTo>
                    <a:pt x="1010" y="683"/>
                  </a:lnTo>
                  <a:lnTo>
                    <a:pt x="1010" y="682"/>
                  </a:lnTo>
                  <a:lnTo>
                    <a:pt x="1012" y="682"/>
                  </a:lnTo>
                  <a:lnTo>
                    <a:pt x="1010" y="682"/>
                  </a:lnTo>
                  <a:lnTo>
                    <a:pt x="1012" y="682"/>
                  </a:lnTo>
                  <a:close/>
                  <a:moveTo>
                    <a:pt x="1098" y="682"/>
                  </a:moveTo>
                  <a:lnTo>
                    <a:pt x="1096" y="682"/>
                  </a:lnTo>
                  <a:lnTo>
                    <a:pt x="1098" y="682"/>
                  </a:lnTo>
                  <a:close/>
                  <a:moveTo>
                    <a:pt x="1100" y="682"/>
                  </a:moveTo>
                  <a:lnTo>
                    <a:pt x="1101" y="682"/>
                  </a:lnTo>
                  <a:lnTo>
                    <a:pt x="1100" y="682"/>
                  </a:lnTo>
                  <a:close/>
                  <a:moveTo>
                    <a:pt x="1101" y="685"/>
                  </a:moveTo>
                  <a:lnTo>
                    <a:pt x="1103" y="685"/>
                  </a:lnTo>
                  <a:lnTo>
                    <a:pt x="1103" y="686"/>
                  </a:lnTo>
                  <a:lnTo>
                    <a:pt x="1103" y="685"/>
                  </a:lnTo>
                  <a:lnTo>
                    <a:pt x="1105" y="685"/>
                  </a:lnTo>
                  <a:lnTo>
                    <a:pt x="1106" y="685"/>
                  </a:lnTo>
                  <a:lnTo>
                    <a:pt x="1108" y="683"/>
                  </a:lnTo>
                  <a:lnTo>
                    <a:pt x="1109" y="683"/>
                  </a:lnTo>
                  <a:lnTo>
                    <a:pt x="1114" y="682"/>
                  </a:lnTo>
                  <a:lnTo>
                    <a:pt x="1116" y="682"/>
                  </a:lnTo>
                  <a:lnTo>
                    <a:pt x="1118" y="682"/>
                  </a:lnTo>
                  <a:lnTo>
                    <a:pt x="1119" y="682"/>
                  </a:lnTo>
                  <a:lnTo>
                    <a:pt x="1121" y="682"/>
                  </a:lnTo>
                  <a:lnTo>
                    <a:pt x="1121" y="683"/>
                  </a:lnTo>
                  <a:lnTo>
                    <a:pt x="1122" y="683"/>
                  </a:lnTo>
                  <a:lnTo>
                    <a:pt x="1122" y="685"/>
                  </a:lnTo>
                  <a:lnTo>
                    <a:pt x="1122" y="686"/>
                  </a:lnTo>
                  <a:lnTo>
                    <a:pt x="1121" y="688"/>
                  </a:lnTo>
                  <a:lnTo>
                    <a:pt x="1119" y="690"/>
                  </a:lnTo>
                  <a:lnTo>
                    <a:pt x="1116" y="691"/>
                  </a:lnTo>
                  <a:lnTo>
                    <a:pt x="1114" y="691"/>
                  </a:lnTo>
                  <a:lnTo>
                    <a:pt x="1113" y="690"/>
                  </a:lnTo>
                  <a:lnTo>
                    <a:pt x="1114" y="690"/>
                  </a:lnTo>
                  <a:lnTo>
                    <a:pt x="1113" y="690"/>
                  </a:lnTo>
                  <a:lnTo>
                    <a:pt x="1111" y="690"/>
                  </a:lnTo>
                  <a:lnTo>
                    <a:pt x="1111" y="688"/>
                  </a:lnTo>
                  <a:lnTo>
                    <a:pt x="1113" y="688"/>
                  </a:lnTo>
                  <a:lnTo>
                    <a:pt x="1111" y="688"/>
                  </a:lnTo>
                  <a:lnTo>
                    <a:pt x="1111" y="690"/>
                  </a:lnTo>
                  <a:lnTo>
                    <a:pt x="1109" y="688"/>
                  </a:lnTo>
                  <a:lnTo>
                    <a:pt x="1108" y="688"/>
                  </a:lnTo>
                  <a:lnTo>
                    <a:pt x="1106" y="688"/>
                  </a:lnTo>
                  <a:lnTo>
                    <a:pt x="1105" y="688"/>
                  </a:lnTo>
                  <a:lnTo>
                    <a:pt x="1103" y="688"/>
                  </a:lnTo>
                  <a:lnTo>
                    <a:pt x="1100" y="686"/>
                  </a:lnTo>
                  <a:lnTo>
                    <a:pt x="1098" y="685"/>
                  </a:lnTo>
                  <a:lnTo>
                    <a:pt x="1101" y="685"/>
                  </a:lnTo>
                  <a:close/>
                  <a:moveTo>
                    <a:pt x="1121" y="682"/>
                  </a:moveTo>
                  <a:lnTo>
                    <a:pt x="1119" y="682"/>
                  </a:lnTo>
                  <a:lnTo>
                    <a:pt x="1121" y="682"/>
                  </a:lnTo>
                  <a:close/>
                  <a:moveTo>
                    <a:pt x="1013" y="682"/>
                  </a:moveTo>
                  <a:lnTo>
                    <a:pt x="1015" y="682"/>
                  </a:lnTo>
                  <a:lnTo>
                    <a:pt x="1015" y="683"/>
                  </a:lnTo>
                  <a:lnTo>
                    <a:pt x="1015" y="682"/>
                  </a:lnTo>
                  <a:lnTo>
                    <a:pt x="1013" y="682"/>
                  </a:lnTo>
                  <a:lnTo>
                    <a:pt x="1012" y="682"/>
                  </a:lnTo>
                  <a:lnTo>
                    <a:pt x="1013" y="680"/>
                  </a:lnTo>
                  <a:lnTo>
                    <a:pt x="1013" y="682"/>
                  </a:lnTo>
                  <a:close/>
                  <a:moveTo>
                    <a:pt x="1048" y="682"/>
                  </a:moveTo>
                  <a:lnTo>
                    <a:pt x="1046" y="682"/>
                  </a:lnTo>
                  <a:lnTo>
                    <a:pt x="1046" y="680"/>
                  </a:lnTo>
                  <a:lnTo>
                    <a:pt x="1048" y="682"/>
                  </a:lnTo>
                  <a:close/>
                  <a:moveTo>
                    <a:pt x="991" y="680"/>
                  </a:moveTo>
                  <a:lnTo>
                    <a:pt x="992" y="682"/>
                  </a:lnTo>
                  <a:lnTo>
                    <a:pt x="994" y="682"/>
                  </a:lnTo>
                  <a:lnTo>
                    <a:pt x="992" y="682"/>
                  </a:lnTo>
                  <a:lnTo>
                    <a:pt x="991" y="682"/>
                  </a:lnTo>
                  <a:lnTo>
                    <a:pt x="992" y="682"/>
                  </a:lnTo>
                  <a:lnTo>
                    <a:pt x="991" y="682"/>
                  </a:lnTo>
                  <a:lnTo>
                    <a:pt x="989" y="682"/>
                  </a:lnTo>
                  <a:lnTo>
                    <a:pt x="991" y="682"/>
                  </a:lnTo>
                  <a:lnTo>
                    <a:pt x="991" y="680"/>
                  </a:lnTo>
                  <a:close/>
                  <a:moveTo>
                    <a:pt x="1031" y="682"/>
                  </a:moveTo>
                  <a:lnTo>
                    <a:pt x="1031" y="680"/>
                  </a:lnTo>
                  <a:lnTo>
                    <a:pt x="1031" y="682"/>
                  </a:lnTo>
                  <a:close/>
                  <a:moveTo>
                    <a:pt x="1035" y="682"/>
                  </a:moveTo>
                  <a:lnTo>
                    <a:pt x="1036" y="683"/>
                  </a:lnTo>
                  <a:lnTo>
                    <a:pt x="1035" y="683"/>
                  </a:lnTo>
                  <a:lnTo>
                    <a:pt x="1033" y="683"/>
                  </a:lnTo>
                  <a:lnTo>
                    <a:pt x="1033" y="682"/>
                  </a:lnTo>
                  <a:lnTo>
                    <a:pt x="1031" y="682"/>
                  </a:lnTo>
                  <a:lnTo>
                    <a:pt x="1033" y="682"/>
                  </a:lnTo>
                  <a:lnTo>
                    <a:pt x="1035" y="682"/>
                  </a:lnTo>
                  <a:lnTo>
                    <a:pt x="1031" y="682"/>
                  </a:lnTo>
                  <a:lnTo>
                    <a:pt x="1031" y="680"/>
                  </a:lnTo>
                  <a:lnTo>
                    <a:pt x="1033" y="680"/>
                  </a:lnTo>
                  <a:lnTo>
                    <a:pt x="1035" y="682"/>
                  </a:lnTo>
                  <a:close/>
                  <a:moveTo>
                    <a:pt x="644" y="680"/>
                  </a:moveTo>
                  <a:lnTo>
                    <a:pt x="644" y="682"/>
                  </a:lnTo>
                  <a:lnTo>
                    <a:pt x="644" y="680"/>
                  </a:lnTo>
                  <a:lnTo>
                    <a:pt x="643" y="680"/>
                  </a:lnTo>
                  <a:lnTo>
                    <a:pt x="644" y="680"/>
                  </a:lnTo>
                  <a:close/>
                  <a:moveTo>
                    <a:pt x="1098" y="680"/>
                  </a:moveTo>
                  <a:lnTo>
                    <a:pt x="1100" y="680"/>
                  </a:lnTo>
                  <a:lnTo>
                    <a:pt x="1098" y="680"/>
                  </a:lnTo>
                  <a:lnTo>
                    <a:pt x="1100" y="682"/>
                  </a:lnTo>
                  <a:lnTo>
                    <a:pt x="1098" y="682"/>
                  </a:lnTo>
                  <a:lnTo>
                    <a:pt x="1098" y="680"/>
                  </a:lnTo>
                  <a:lnTo>
                    <a:pt x="1096" y="680"/>
                  </a:lnTo>
                  <a:lnTo>
                    <a:pt x="1095" y="680"/>
                  </a:lnTo>
                  <a:lnTo>
                    <a:pt x="1093" y="680"/>
                  </a:lnTo>
                  <a:lnTo>
                    <a:pt x="1095" y="680"/>
                  </a:lnTo>
                  <a:lnTo>
                    <a:pt x="1098" y="680"/>
                  </a:lnTo>
                  <a:close/>
                  <a:moveTo>
                    <a:pt x="994" y="680"/>
                  </a:moveTo>
                  <a:lnTo>
                    <a:pt x="996" y="680"/>
                  </a:lnTo>
                  <a:lnTo>
                    <a:pt x="996" y="682"/>
                  </a:lnTo>
                  <a:lnTo>
                    <a:pt x="994" y="680"/>
                  </a:lnTo>
                  <a:close/>
                  <a:moveTo>
                    <a:pt x="997" y="680"/>
                  </a:moveTo>
                  <a:lnTo>
                    <a:pt x="997" y="682"/>
                  </a:lnTo>
                  <a:lnTo>
                    <a:pt x="999" y="682"/>
                  </a:lnTo>
                  <a:lnTo>
                    <a:pt x="997" y="682"/>
                  </a:lnTo>
                  <a:lnTo>
                    <a:pt x="996" y="682"/>
                  </a:lnTo>
                  <a:lnTo>
                    <a:pt x="996" y="680"/>
                  </a:lnTo>
                  <a:lnTo>
                    <a:pt x="997" y="680"/>
                  </a:lnTo>
                  <a:close/>
                  <a:moveTo>
                    <a:pt x="1020" y="680"/>
                  </a:moveTo>
                  <a:lnTo>
                    <a:pt x="1022" y="682"/>
                  </a:lnTo>
                  <a:lnTo>
                    <a:pt x="1023" y="682"/>
                  </a:lnTo>
                  <a:lnTo>
                    <a:pt x="1020" y="685"/>
                  </a:lnTo>
                  <a:lnTo>
                    <a:pt x="1018" y="685"/>
                  </a:lnTo>
                  <a:lnTo>
                    <a:pt x="1017" y="683"/>
                  </a:lnTo>
                  <a:lnTo>
                    <a:pt x="1015" y="682"/>
                  </a:lnTo>
                  <a:lnTo>
                    <a:pt x="1017" y="682"/>
                  </a:lnTo>
                  <a:lnTo>
                    <a:pt x="1017" y="683"/>
                  </a:lnTo>
                  <a:lnTo>
                    <a:pt x="1017" y="682"/>
                  </a:lnTo>
                  <a:lnTo>
                    <a:pt x="1017" y="680"/>
                  </a:lnTo>
                  <a:lnTo>
                    <a:pt x="1018" y="680"/>
                  </a:lnTo>
                  <a:lnTo>
                    <a:pt x="1020" y="680"/>
                  </a:lnTo>
                  <a:close/>
                  <a:moveTo>
                    <a:pt x="1020" y="680"/>
                  </a:moveTo>
                  <a:lnTo>
                    <a:pt x="1018" y="680"/>
                  </a:lnTo>
                  <a:lnTo>
                    <a:pt x="1017" y="680"/>
                  </a:lnTo>
                  <a:lnTo>
                    <a:pt x="1017" y="678"/>
                  </a:lnTo>
                  <a:lnTo>
                    <a:pt x="1018" y="678"/>
                  </a:lnTo>
                  <a:lnTo>
                    <a:pt x="1020" y="678"/>
                  </a:lnTo>
                  <a:lnTo>
                    <a:pt x="1020" y="680"/>
                  </a:lnTo>
                  <a:close/>
                  <a:moveTo>
                    <a:pt x="1108" y="683"/>
                  </a:moveTo>
                  <a:lnTo>
                    <a:pt x="1106" y="683"/>
                  </a:lnTo>
                  <a:lnTo>
                    <a:pt x="1103" y="683"/>
                  </a:lnTo>
                  <a:lnTo>
                    <a:pt x="1101" y="683"/>
                  </a:lnTo>
                  <a:lnTo>
                    <a:pt x="1100" y="683"/>
                  </a:lnTo>
                  <a:lnTo>
                    <a:pt x="1098" y="682"/>
                  </a:lnTo>
                  <a:lnTo>
                    <a:pt x="1096" y="682"/>
                  </a:lnTo>
                  <a:lnTo>
                    <a:pt x="1098" y="682"/>
                  </a:lnTo>
                  <a:lnTo>
                    <a:pt x="1100" y="682"/>
                  </a:lnTo>
                  <a:lnTo>
                    <a:pt x="1101" y="682"/>
                  </a:lnTo>
                  <a:lnTo>
                    <a:pt x="1103" y="682"/>
                  </a:lnTo>
                  <a:lnTo>
                    <a:pt x="1103" y="683"/>
                  </a:lnTo>
                  <a:lnTo>
                    <a:pt x="1103" y="682"/>
                  </a:lnTo>
                  <a:lnTo>
                    <a:pt x="1105" y="680"/>
                  </a:lnTo>
                  <a:lnTo>
                    <a:pt x="1106" y="678"/>
                  </a:lnTo>
                  <a:lnTo>
                    <a:pt x="1108" y="678"/>
                  </a:lnTo>
                  <a:lnTo>
                    <a:pt x="1108" y="677"/>
                  </a:lnTo>
                  <a:lnTo>
                    <a:pt x="1108" y="678"/>
                  </a:lnTo>
                  <a:lnTo>
                    <a:pt x="1109" y="678"/>
                  </a:lnTo>
                  <a:lnTo>
                    <a:pt x="1109" y="680"/>
                  </a:lnTo>
                  <a:lnTo>
                    <a:pt x="1109" y="678"/>
                  </a:lnTo>
                  <a:lnTo>
                    <a:pt x="1108" y="678"/>
                  </a:lnTo>
                  <a:lnTo>
                    <a:pt x="1108" y="677"/>
                  </a:lnTo>
                  <a:lnTo>
                    <a:pt x="1106" y="678"/>
                  </a:lnTo>
                  <a:lnTo>
                    <a:pt x="1108" y="677"/>
                  </a:lnTo>
                  <a:lnTo>
                    <a:pt x="1109" y="677"/>
                  </a:lnTo>
                  <a:lnTo>
                    <a:pt x="1111" y="675"/>
                  </a:lnTo>
                  <a:lnTo>
                    <a:pt x="1113" y="675"/>
                  </a:lnTo>
                  <a:lnTo>
                    <a:pt x="1113" y="677"/>
                  </a:lnTo>
                  <a:lnTo>
                    <a:pt x="1114" y="678"/>
                  </a:lnTo>
                  <a:lnTo>
                    <a:pt x="1114" y="680"/>
                  </a:lnTo>
                  <a:lnTo>
                    <a:pt x="1113" y="680"/>
                  </a:lnTo>
                  <a:lnTo>
                    <a:pt x="1113" y="682"/>
                  </a:lnTo>
                  <a:lnTo>
                    <a:pt x="1111" y="682"/>
                  </a:lnTo>
                  <a:lnTo>
                    <a:pt x="1109" y="683"/>
                  </a:lnTo>
                  <a:lnTo>
                    <a:pt x="1108" y="683"/>
                  </a:lnTo>
                  <a:lnTo>
                    <a:pt x="1106" y="683"/>
                  </a:lnTo>
                  <a:lnTo>
                    <a:pt x="1108" y="683"/>
                  </a:lnTo>
                  <a:lnTo>
                    <a:pt x="1108" y="682"/>
                  </a:lnTo>
                  <a:lnTo>
                    <a:pt x="1108" y="683"/>
                  </a:lnTo>
                  <a:close/>
                  <a:moveTo>
                    <a:pt x="1111" y="675"/>
                  </a:moveTo>
                  <a:lnTo>
                    <a:pt x="1109" y="675"/>
                  </a:lnTo>
                  <a:lnTo>
                    <a:pt x="1111" y="675"/>
                  </a:lnTo>
                  <a:close/>
                  <a:moveTo>
                    <a:pt x="1020" y="675"/>
                  </a:moveTo>
                  <a:lnTo>
                    <a:pt x="1022" y="677"/>
                  </a:lnTo>
                  <a:lnTo>
                    <a:pt x="1020" y="677"/>
                  </a:lnTo>
                  <a:lnTo>
                    <a:pt x="1020" y="675"/>
                  </a:lnTo>
                  <a:lnTo>
                    <a:pt x="1020" y="677"/>
                  </a:lnTo>
                  <a:lnTo>
                    <a:pt x="1020" y="675"/>
                  </a:lnTo>
                  <a:close/>
                  <a:moveTo>
                    <a:pt x="643" y="675"/>
                  </a:moveTo>
                  <a:lnTo>
                    <a:pt x="643" y="677"/>
                  </a:lnTo>
                  <a:lnTo>
                    <a:pt x="643" y="675"/>
                  </a:lnTo>
                  <a:close/>
                  <a:moveTo>
                    <a:pt x="1010" y="677"/>
                  </a:moveTo>
                  <a:lnTo>
                    <a:pt x="1012" y="677"/>
                  </a:lnTo>
                  <a:lnTo>
                    <a:pt x="1013" y="677"/>
                  </a:lnTo>
                  <a:lnTo>
                    <a:pt x="1013" y="678"/>
                  </a:lnTo>
                  <a:lnTo>
                    <a:pt x="1015" y="678"/>
                  </a:lnTo>
                  <a:lnTo>
                    <a:pt x="1015" y="680"/>
                  </a:lnTo>
                  <a:lnTo>
                    <a:pt x="1017" y="682"/>
                  </a:lnTo>
                  <a:lnTo>
                    <a:pt x="1015" y="682"/>
                  </a:lnTo>
                  <a:lnTo>
                    <a:pt x="1013" y="682"/>
                  </a:lnTo>
                  <a:lnTo>
                    <a:pt x="1015" y="682"/>
                  </a:lnTo>
                  <a:lnTo>
                    <a:pt x="1013" y="682"/>
                  </a:lnTo>
                  <a:lnTo>
                    <a:pt x="1013" y="680"/>
                  </a:lnTo>
                  <a:lnTo>
                    <a:pt x="1012" y="682"/>
                  </a:lnTo>
                  <a:lnTo>
                    <a:pt x="1010" y="680"/>
                  </a:lnTo>
                  <a:lnTo>
                    <a:pt x="1010" y="682"/>
                  </a:lnTo>
                  <a:lnTo>
                    <a:pt x="1009" y="682"/>
                  </a:lnTo>
                  <a:lnTo>
                    <a:pt x="1009" y="680"/>
                  </a:lnTo>
                  <a:lnTo>
                    <a:pt x="1009" y="678"/>
                  </a:lnTo>
                  <a:lnTo>
                    <a:pt x="1010" y="678"/>
                  </a:lnTo>
                  <a:lnTo>
                    <a:pt x="1009" y="678"/>
                  </a:lnTo>
                  <a:lnTo>
                    <a:pt x="1010" y="677"/>
                  </a:lnTo>
                  <a:lnTo>
                    <a:pt x="1010" y="678"/>
                  </a:lnTo>
                  <a:lnTo>
                    <a:pt x="1010" y="677"/>
                  </a:lnTo>
                  <a:lnTo>
                    <a:pt x="1010" y="675"/>
                  </a:lnTo>
                  <a:lnTo>
                    <a:pt x="1010" y="677"/>
                  </a:lnTo>
                  <a:close/>
                  <a:moveTo>
                    <a:pt x="1015" y="677"/>
                  </a:moveTo>
                  <a:lnTo>
                    <a:pt x="1013" y="675"/>
                  </a:lnTo>
                  <a:lnTo>
                    <a:pt x="1015" y="675"/>
                  </a:lnTo>
                  <a:lnTo>
                    <a:pt x="1015" y="677"/>
                  </a:lnTo>
                  <a:close/>
                  <a:moveTo>
                    <a:pt x="1017" y="677"/>
                  </a:moveTo>
                  <a:lnTo>
                    <a:pt x="1018" y="678"/>
                  </a:lnTo>
                  <a:lnTo>
                    <a:pt x="1017" y="677"/>
                  </a:lnTo>
                  <a:lnTo>
                    <a:pt x="1018" y="678"/>
                  </a:lnTo>
                  <a:lnTo>
                    <a:pt x="1017" y="678"/>
                  </a:lnTo>
                  <a:lnTo>
                    <a:pt x="1018" y="678"/>
                  </a:lnTo>
                  <a:lnTo>
                    <a:pt x="1017" y="678"/>
                  </a:lnTo>
                  <a:lnTo>
                    <a:pt x="1017" y="677"/>
                  </a:lnTo>
                  <a:lnTo>
                    <a:pt x="1015" y="677"/>
                  </a:lnTo>
                  <a:lnTo>
                    <a:pt x="1015" y="675"/>
                  </a:lnTo>
                  <a:lnTo>
                    <a:pt x="1015" y="677"/>
                  </a:lnTo>
                  <a:lnTo>
                    <a:pt x="1015" y="675"/>
                  </a:lnTo>
                  <a:lnTo>
                    <a:pt x="1017" y="677"/>
                  </a:lnTo>
                  <a:close/>
                  <a:moveTo>
                    <a:pt x="1015" y="675"/>
                  </a:moveTo>
                  <a:lnTo>
                    <a:pt x="1013" y="675"/>
                  </a:lnTo>
                  <a:lnTo>
                    <a:pt x="1015" y="675"/>
                  </a:lnTo>
                  <a:close/>
                  <a:moveTo>
                    <a:pt x="1113" y="675"/>
                  </a:moveTo>
                  <a:lnTo>
                    <a:pt x="1113" y="677"/>
                  </a:lnTo>
                  <a:lnTo>
                    <a:pt x="1113" y="675"/>
                  </a:lnTo>
                  <a:close/>
                  <a:moveTo>
                    <a:pt x="1009" y="675"/>
                  </a:moveTo>
                  <a:lnTo>
                    <a:pt x="1009" y="677"/>
                  </a:lnTo>
                  <a:lnTo>
                    <a:pt x="1009" y="680"/>
                  </a:lnTo>
                  <a:lnTo>
                    <a:pt x="1009" y="682"/>
                  </a:lnTo>
                  <a:lnTo>
                    <a:pt x="1010" y="682"/>
                  </a:lnTo>
                  <a:lnTo>
                    <a:pt x="1009" y="683"/>
                  </a:lnTo>
                  <a:lnTo>
                    <a:pt x="1007" y="683"/>
                  </a:lnTo>
                  <a:lnTo>
                    <a:pt x="1004" y="686"/>
                  </a:lnTo>
                  <a:lnTo>
                    <a:pt x="1002" y="685"/>
                  </a:lnTo>
                  <a:lnTo>
                    <a:pt x="1000" y="685"/>
                  </a:lnTo>
                  <a:lnTo>
                    <a:pt x="1002" y="685"/>
                  </a:lnTo>
                  <a:lnTo>
                    <a:pt x="1002" y="683"/>
                  </a:lnTo>
                  <a:lnTo>
                    <a:pt x="1004" y="683"/>
                  </a:lnTo>
                  <a:lnTo>
                    <a:pt x="1004" y="682"/>
                  </a:lnTo>
                  <a:lnTo>
                    <a:pt x="1005" y="683"/>
                  </a:lnTo>
                  <a:lnTo>
                    <a:pt x="1004" y="682"/>
                  </a:lnTo>
                  <a:lnTo>
                    <a:pt x="1004" y="683"/>
                  </a:lnTo>
                  <a:lnTo>
                    <a:pt x="1002" y="683"/>
                  </a:lnTo>
                  <a:lnTo>
                    <a:pt x="1000" y="683"/>
                  </a:lnTo>
                  <a:lnTo>
                    <a:pt x="1002" y="683"/>
                  </a:lnTo>
                  <a:lnTo>
                    <a:pt x="1002" y="682"/>
                  </a:lnTo>
                  <a:lnTo>
                    <a:pt x="1004" y="682"/>
                  </a:lnTo>
                  <a:lnTo>
                    <a:pt x="1002" y="682"/>
                  </a:lnTo>
                  <a:lnTo>
                    <a:pt x="1002" y="680"/>
                  </a:lnTo>
                  <a:lnTo>
                    <a:pt x="1002" y="678"/>
                  </a:lnTo>
                  <a:lnTo>
                    <a:pt x="1002" y="680"/>
                  </a:lnTo>
                  <a:lnTo>
                    <a:pt x="1002" y="678"/>
                  </a:lnTo>
                  <a:lnTo>
                    <a:pt x="1004" y="678"/>
                  </a:lnTo>
                  <a:lnTo>
                    <a:pt x="1004" y="677"/>
                  </a:lnTo>
                  <a:lnTo>
                    <a:pt x="1002" y="677"/>
                  </a:lnTo>
                  <a:lnTo>
                    <a:pt x="1004" y="677"/>
                  </a:lnTo>
                  <a:lnTo>
                    <a:pt x="1002" y="677"/>
                  </a:lnTo>
                  <a:lnTo>
                    <a:pt x="1004" y="675"/>
                  </a:lnTo>
                  <a:lnTo>
                    <a:pt x="1005" y="675"/>
                  </a:lnTo>
                  <a:lnTo>
                    <a:pt x="1005" y="677"/>
                  </a:lnTo>
                  <a:lnTo>
                    <a:pt x="1005" y="675"/>
                  </a:lnTo>
                  <a:lnTo>
                    <a:pt x="1007" y="675"/>
                  </a:lnTo>
                  <a:lnTo>
                    <a:pt x="1005" y="675"/>
                  </a:lnTo>
                  <a:lnTo>
                    <a:pt x="1007" y="675"/>
                  </a:lnTo>
                  <a:lnTo>
                    <a:pt x="1009" y="675"/>
                  </a:lnTo>
                  <a:close/>
                  <a:moveTo>
                    <a:pt x="643" y="673"/>
                  </a:moveTo>
                  <a:lnTo>
                    <a:pt x="643" y="675"/>
                  </a:lnTo>
                  <a:lnTo>
                    <a:pt x="643" y="673"/>
                  </a:lnTo>
                  <a:close/>
                  <a:moveTo>
                    <a:pt x="984" y="673"/>
                  </a:moveTo>
                  <a:lnTo>
                    <a:pt x="986" y="673"/>
                  </a:lnTo>
                  <a:lnTo>
                    <a:pt x="984" y="673"/>
                  </a:lnTo>
                  <a:close/>
                  <a:moveTo>
                    <a:pt x="983" y="673"/>
                  </a:moveTo>
                  <a:lnTo>
                    <a:pt x="983" y="675"/>
                  </a:lnTo>
                  <a:lnTo>
                    <a:pt x="981" y="675"/>
                  </a:lnTo>
                  <a:lnTo>
                    <a:pt x="981" y="677"/>
                  </a:lnTo>
                  <a:lnTo>
                    <a:pt x="979" y="675"/>
                  </a:lnTo>
                  <a:lnTo>
                    <a:pt x="979" y="677"/>
                  </a:lnTo>
                  <a:lnTo>
                    <a:pt x="978" y="678"/>
                  </a:lnTo>
                  <a:lnTo>
                    <a:pt x="979" y="680"/>
                  </a:lnTo>
                  <a:lnTo>
                    <a:pt x="978" y="680"/>
                  </a:lnTo>
                  <a:lnTo>
                    <a:pt x="979" y="680"/>
                  </a:lnTo>
                  <a:lnTo>
                    <a:pt x="978" y="680"/>
                  </a:lnTo>
                  <a:lnTo>
                    <a:pt x="978" y="682"/>
                  </a:lnTo>
                  <a:lnTo>
                    <a:pt x="978" y="680"/>
                  </a:lnTo>
                  <a:lnTo>
                    <a:pt x="978" y="678"/>
                  </a:lnTo>
                  <a:lnTo>
                    <a:pt x="978" y="677"/>
                  </a:lnTo>
                  <a:lnTo>
                    <a:pt x="979" y="675"/>
                  </a:lnTo>
                  <a:lnTo>
                    <a:pt x="979" y="673"/>
                  </a:lnTo>
                  <a:lnTo>
                    <a:pt x="981" y="673"/>
                  </a:lnTo>
                  <a:lnTo>
                    <a:pt x="983" y="673"/>
                  </a:lnTo>
                  <a:close/>
                  <a:moveTo>
                    <a:pt x="1005" y="673"/>
                  </a:moveTo>
                  <a:lnTo>
                    <a:pt x="1004" y="673"/>
                  </a:lnTo>
                  <a:lnTo>
                    <a:pt x="1005" y="673"/>
                  </a:lnTo>
                  <a:close/>
                  <a:moveTo>
                    <a:pt x="1009" y="673"/>
                  </a:moveTo>
                  <a:lnTo>
                    <a:pt x="1010" y="673"/>
                  </a:lnTo>
                  <a:lnTo>
                    <a:pt x="1012" y="673"/>
                  </a:lnTo>
                  <a:lnTo>
                    <a:pt x="1012" y="675"/>
                  </a:lnTo>
                  <a:lnTo>
                    <a:pt x="1012" y="673"/>
                  </a:lnTo>
                  <a:lnTo>
                    <a:pt x="1013" y="675"/>
                  </a:lnTo>
                  <a:lnTo>
                    <a:pt x="1013" y="677"/>
                  </a:lnTo>
                  <a:lnTo>
                    <a:pt x="1015" y="677"/>
                  </a:lnTo>
                  <a:lnTo>
                    <a:pt x="1015" y="678"/>
                  </a:lnTo>
                  <a:lnTo>
                    <a:pt x="1017" y="678"/>
                  </a:lnTo>
                  <a:lnTo>
                    <a:pt x="1015" y="678"/>
                  </a:lnTo>
                  <a:lnTo>
                    <a:pt x="1017" y="678"/>
                  </a:lnTo>
                  <a:lnTo>
                    <a:pt x="1015" y="678"/>
                  </a:lnTo>
                  <a:lnTo>
                    <a:pt x="1013" y="678"/>
                  </a:lnTo>
                  <a:lnTo>
                    <a:pt x="1013" y="677"/>
                  </a:lnTo>
                  <a:lnTo>
                    <a:pt x="1012" y="677"/>
                  </a:lnTo>
                  <a:lnTo>
                    <a:pt x="1010" y="677"/>
                  </a:lnTo>
                  <a:lnTo>
                    <a:pt x="1010" y="675"/>
                  </a:lnTo>
                  <a:lnTo>
                    <a:pt x="1009" y="675"/>
                  </a:lnTo>
                  <a:lnTo>
                    <a:pt x="1007" y="675"/>
                  </a:lnTo>
                  <a:lnTo>
                    <a:pt x="1005" y="673"/>
                  </a:lnTo>
                  <a:lnTo>
                    <a:pt x="1007" y="673"/>
                  </a:lnTo>
                  <a:lnTo>
                    <a:pt x="1007" y="675"/>
                  </a:lnTo>
                  <a:lnTo>
                    <a:pt x="1007" y="673"/>
                  </a:lnTo>
                  <a:lnTo>
                    <a:pt x="1005" y="673"/>
                  </a:lnTo>
                  <a:lnTo>
                    <a:pt x="1007" y="673"/>
                  </a:lnTo>
                  <a:lnTo>
                    <a:pt x="1009" y="673"/>
                  </a:lnTo>
                  <a:close/>
                  <a:moveTo>
                    <a:pt x="1018" y="673"/>
                  </a:moveTo>
                  <a:lnTo>
                    <a:pt x="1020" y="673"/>
                  </a:lnTo>
                  <a:lnTo>
                    <a:pt x="1020" y="675"/>
                  </a:lnTo>
                  <a:lnTo>
                    <a:pt x="1020" y="677"/>
                  </a:lnTo>
                  <a:lnTo>
                    <a:pt x="1020" y="675"/>
                  </a:lnTo>
                  <a:lnTo>
                    <a:pt x="1017" y="673"/>
                  </a:lnTo>
                  <a:lnTo>
                    <a:pt x="1018" y="673"/>
                  </a:lnTo>
                  <a:close/>
                  <a:moveTo>
                    <a:pt x="1004" y="673"/>
                  </a:moveTo>
                  <a:lnTo>
                    <a:pt x="1005" y="673"/>
                  </a:lnTo>
                  <a:lnTo>
                    <a:pt x="1005" y="675"/>
                  </a:lnTo>
                  <a:lnTo>
                    <a:pt x="1004" y="675"/>
                  </a:lnTo>
                  <a:lnTo>
                    <a:pt x="1002" y="675"/>
                  </a:lnTo>
                  <a:lnTo>
                    <a:pt x="1002" y="677"/>
                  </a:lnTo>
                  <a:lnTo>
                    <a:pt x="1000" y="675"/>
                  </a:lnTo>
                  <a:lnTo>
                    <a:pt x="1002" y="675"/>
                  </a:lnTo>
                  <a:lnTo>
                    <a:pt x="1004" y="673"/>
                  </a:lnTo>
                  <a:lnTo>
                    <a:pt x="1004" y="675"/>
                  </a:lnTo>
                  <a:lnTo>
                    <a:pt x="1004" y="673"/>
                  </a:lnTo>
                  <a:close/>
                  <a:moveTo>
                    <a:pt x="984" y="673"/>
                  </a:moveTo>
                  <a:lnTo>
                    <a:pt x="984" y="672"/>
                  </a:lnTo>
                  <a:lnTo>
                    <a:pt x="984" y="673"/>
                  </a:lnTo>
                  <a:close/>
                  <a:moveTo>
                    <a:pt x="984" y="673"/>
                  </a:moveTo>
                  <a:lnTo>
                    <a:pt x="984" y="672"/>
                  </a:lnTo>
                  <a:lnTo>
                    <a:pt x="984" y="673"/>
                  </a:lnTo>
                  <a:close/>
                  <a:moveTo>
                    <a:pt x="1013" y="673"/>
                  </a:moveTo>
                  <a:lnTo>
                    <a:pt x="1015" y="673"/>
                  </a:lnTo>
                  <a:lnTo>
                    <a:pt x="1015" y="675"/>
                  </a:lnTo>
                  <a:lnTo>
                    <a:pt x="1013" y="675"/>
                  </a:lnTo>
                  <a:lnTo>
                    <a:pt x="1012" y="673"/>
                  </a:lnTo>
                  <a:lnTo>
                    <a:pt x="1010" y="673"/>
                  </a:lnTo>
                  <a:lnTo>
                    <a:pt x="1009" y="673"/>
                  </a:lnTo>
                  <a:lnTo>
                    <a:pt x="1010" y="673"/>
                  </a:lnTo>
                  <a:lnTo>
                    <a:pt x="1012" y="673"/>
                  </a:lnTo>
                  <a:lnTo>
                    <a:pt x="1013" y="673"/>
                  </a:lnTo>
                  <a:lnTo>
                    <a:pt x="1012" y="673"/>
                  </a:lnTo>
                  <a:lnTo>
                    <a:pt x="1013" y="673"/>
                  </a:lnTo>
                  <a:lnTo>
                    <a:pt x="1012" y="673"/>
                  </a:lnTo>
                  <a:lnTo>
                    <a:pt x="1013" y="672"/>
                  </a:lnTo>
                  <a:lnTo>
                    <a:pt x="1013" y="673"/>
                  </a:lnTo>
                  <a:close/>
                  <a:moveTo>
                    <a:pt x="983" y="672"/>
                  </a:moveTo>
                  <a:lnTo>
                    <a:pt x="981" y="672"/>
                  </a:lnTo>
                  <a:lnTo>
                    <a:pt x="983" y="672"/>
                  </a:lnTo>
                  <a:close/>
                  <a:moveTo>
                    <a:pt x="983" y="672"/>
                  </a:moveTo>
                  <a:lnTo>
                    <a:pt x="984" y="672"/>
                  </a:lnTo>
                  <a:lnTo>
                    <a:pt x="984" y="673"/>
                  </a:lnTo>
                  <a:lnTo>
                    <a:pt x="984" y="675"/>
                  </a:lnTo>
                  <a:lnTo>
                    <a:pt x="983" y="675"/>
                  </a:lnTo>
                  <a:lnTo>
                    <a:pt x="983" y="673"/>
                  </a:lnTo>
                  <a:lnTo>
                    <a:pt x="981" y="673"/>
                  </a:lnTo>
                  <a:lnTo>
                    <a:pt x="983" y="673"/>
                  </a:lnTo>
                  <a:lnTo>
                    <a:pt x="983" y="672"/>
                  </a:lnTo>
                  <a:close/>
                  <a:moveTo>
                    <a:pt x="1015" y="672"/>
                  </a:moveTo>
                  <a:lnTo>
                    <a:pt x="1017" y="672"/>
                  </a:lnTo>
                  <a:lnTo>
                    <a:pt x="1017" y="673"/>
                  </a:lnTo>
                  <a:lnTo>
                    <a:pt x="1018" y="675"/>
                  </a:lnTo>
                  <a:lnTo>
                    <a:pt x="1018" y="677"/>
                  </a:lnTo>
                  <a:lnTo>
                    <a:pt x="1018" y="675"/>
                  </a:lnTo>
                  <a:lnTo>
                    <a:pt x="1018" y="677"/>
                  </a:lnTo>
                  <a:lnTo>
                    <a:pt x="1020" y="677"/>
                  </a:lnTo>
                  <a:lnTo>
                    <a:pt x="1020" y="678"/>
                  </a:lnTo>
                  <a:lnTo>
                    <a:pt x="1020" y="677"/>
                  </a:lnTo>
                  <a:lnTo>
                    <a:pt x="1020" y="678"/>
                  </a:lnTo>
                  <a:lnTo>
                    <a:pt x="1018" y="678"/>
                  </a:lnTo>
                  <a:lnTo>
                    <a:pt x="1017" y="677"/>
                  </a:lnTo>
                  <a:lnTo>
                    <a:pt x="1017" y="675"/>
                  </a:lnTo>
                  <a:lnTo>
                    <a:pt x="1015" y="673"/>
                  </a:lnTo>
                  <a:lnTo>
                    <a:pt x="1017" y="673"/>
                  </a:lnTo>
                  <a:lnTo>
                    <a:pt x="1015" y="673"/>
                  </a:lnTo>
                  <a:lnTo>
                    <a:pt x="1013" y="672"/>
                  </a:lnTo>
                  <a:lnTo>
                    <a:pt x="1015" y="672"/>
                  </a:lnTo>
                  <a:lnTo>
                    <a:pt x="1013" y="672"/>
                  </a:lnTo>
                  <a:lnTo>
                    <a:pt x="1015" y="672"/>
                  </a:lnTo>
                  <a:close/>
                  <a:moveTo>
                    <a:pt x="987" y="672"/>
                  </a:moveTo>
                  <a:lnTo>
                    <a:pt x="986" y="672"/>
                  </a:lnTo>
                  <a:lnTo>
                    <a:pt x="986" y="673"/>
                  </a:lnTo>
                  <a:lnTo>
                    <a:pt x="984" y="672"/>
                  </a:lnTo>
                  <a:lnTo>
                    <a:pt x="984" y="670"/>
                  </a:lnTo>
                  <a:lnTo>
                    <a:pt x="986" y="670"/>
                  </a:lnTo>
                  <a:lnTo>
                    <a:pt x="986" y="672"/>
                  </a:lnTo>
                  <a:lnTo>
                    <a:pt x="987" y="672"/>
                  </a:lnTo>
                  <a:close/>
                  <a:moveTo>
                    <a:pt x="1004" y="670"/>
                  </a:moveTo>
                  <a:lnTo>
                    <a:pt x="1004" y="672"/>
                  </a:lnTo>
                  <a:lnTo>
                    <a:pt x="1004" y="670"/>
                  </a:lnTo>
                  <a:close/>
                  <a:moveTo>
                    <a:pt x="1004" y="673"/>
                  </a:moveTo>
                  <a:lnTo>
                    <a:pt x="1002" y="673"/>
                  </a:lnTo>
                  <a:lnTo>
                    <a:pt x="1002" y="675"/>
                  </a:lnTo>
                  <a:lnTo>
                    <a:pt x="1000" y="675"/>
                  </a:lnTo>
                  <a:lnTo>
                    <a:pt x="1000" y="673"/>
                  </a:lnTo>
                  <a:lnTo>
                    <a:pt x="999" y="673"/>
                  </a:lnTo>
                  <a:lnTo>
                    <a:pt x="1000" y="673"/>
                  </a:lnTo>
                  <a:lnTo>
                    <a:pt x="999" y="672"/>
                  </a:lnTo>
                  <a:lnTo>
                    <a:pt x="1000" y="672"/>
                  </a:lnTo>
                  <a:lnTo>
                    <a:pt x="999" y="672"/>
                  </a:lnTo>
                  <a:lnTo>
                    <a:pt x="999" y="673"/>
                  </a:lnTo>
                  <a:lnTo>
                    <a:pt x="997" y="672"/>
                  </a:lnTo>
                  <a:lnTo>
                    <a:pt x="997" y="670"/>
                  </a:lnTo>
                  <a:lnTo>
                    <a:pt x="999" y="672"/>
                  </a:lnTo>
                  <a:lnTo>
                    <a:pt x="999" y="670"/>
                  </a:lnTo>
                  <a:lnTo>
                    <a:pt x="999" y="672"/>
                  </a:lnTo>
                  <a:lnTo>
                    <a:pt x="1000" y="672"/>
                  </a:lnTo>
                  <a:lnTo>
                    <a:pt x="1002" y="672"/>
                  </a:lnTo>
                  <a:lnTo>
                    <a:pt x="1002" y="673"/>
                  </a:lnTo>
                  <a:lnTo>
                    <a:pt x="1004" y="672"/>
                  </a:lnTo>
                  <a:lnTo>
                    <a:pt x="1002" y="672"/>
                  </a:lnTo>
                  <a:lnTo>
                    <a:pt x="1000" y="672"/>
                  </a:lnTo>
                  <a:lnTo>
                    <a:pt x="1002" y="672"/>
                  </a:lnTo>
                  <a:lnTo>
                    <a:pt x="1000" y="670"/>
                  </a:lnTo>
                  <a:lnTo>
                    <a:pt x="1002" y="670"/>
                  </a:lnTo>
                  <a:lnTo>
                    <a:pt x="1002" y="672"/>
                  </a:lnTo>
                  <a:lnTo>
                    <a:pt x="1000" y="670"/>
                  </a:lnTo>
                  <a:lnTo>
                    <a:pt x="1002" y="670"/>
                  </a:lnTo>
                  <a:lnTo>
                    <a:pt x="1002" y="672"/>
                  </a:lnTo>
                  <a:lnTo>
                    <a:pt x="1004" y="672"/>
                  </a:lnTo>
                  <a:lnTo>
                    <a:pt x="1002" y="672"/>
                  </a:lnTo>
                  <a:lnTo>
                    <a:pt x="1004" y="672"/>
                  </a:lnTo>
                  <a:lnTo>
                    <a:pt x="1004" y="673"/>
                  </a:lnTo>
                  <a:close/>
                  <a:moveTo>
                    <a:pt x="649" y="670"/>
                  </a:moveTo>
                  <a:lnTo>
                    <a:pt x="649" y="669"/>
                  </a:lnTo>
                  <a:lnTo>
                    <a:pt x="649" y="670"/>
                  </a:lnTo>
                  <a:close/>
                  <a:moveTo>
                    <a:pt x="994" y="669"/>
                  </a:moveTo>
                  <a:lnTo>
                    <a:pt x="994" y="670"/>
                  </a:lnTo>
                  <a:lnTo>
                    <a:pt x="994" y="669"/>
                  </a:lnTo>
                  <a:lnTo>
                    <a:pt x="996" y="670"/>
                  </a:lnTo>
                  <a:lnTo>
                    <a:pt x="997" y="670"/>
                  </a:lnTo>
                  <a:lnTo>
                    <a:pt x="997" y="672"/>
                  </a:lnTo>
                  <a:lnTo>
                    <a:pt x="997" y="673"/>
                  </a:lnTo>
                  <a:lnTo>
                    <a:pt x="999" y="673"/>
                  </a:lnTo>
                  <a:lnTo>
                    <a:pt x="999" y="675"/>
                  </a:lnTo>
                  <a:lnTo>
                    <a:pt x="1000" y="675"/>
                  </a:lnTo>
                  <a:lnTo>
                    <a:pt x="999" y="675"/>
                  </a:lnTo>
                  <a:lnTo>
                    <a:pt x="1000" y="675"/>
                  </a:lnTo>
                  <a:lnTo>
                    <a:pt x="1000" y="677"/>
                  </a:lnTo>
                  <a:lnTo>
                    <a:pt x="1002" y="677"/>
                  </a:lnTo>
                  <a:lnTo>
                    <a:pt x="1004" y="678"/>
                  </a:lnTo>
                  <a:lnTo>
                    <a:pt x="1002" y="678"/>
                  </a:lnTo>
                  <a:lnTo>
                    <a:pt x="1000" y="678"/>
                  </a:lnTo>
                  <a:lnTo>
                    <a:pt x="1000" y="680"/>
                  </a:lnTo>
                  <a:lnTo>
                    <a:pt x="1002" y="680"/>
                  </a:lnTo>
                  <a:lnTo>
                    <a:pt x="1000" y="682"/>
                  </a:lnTo>
                  <a:lnTo>
                    <a:pt x="1002" y="682"/>
                  </a:lnTo>
                  <a:lnTo>
                    <a:pt x="1002" y="683"/>
                  </a:lnTo>
                  <a:lnTo>
                    <a:pt x="1000" y="683"/>
                  </a:lnTo>
                  <a:lnTo>
                    <a:pt x="999" y="682"/>
                  </a:lnTo>
                  <a:lnTo>
                    <a:pt x="999" y="680"/>
                  </a:lnTo>
                  <a:lnTo>
                    <a:pt x="997" y="678"/>
                  </a:lnTo>
                  <a:lnTo>
                    <a:pt x="996" y="678"/>
                  </a:lnTo>
                  <a:lnTo>
                    <a:pt x="994" y="678"/>
                  </a:lnTo>
                  <a:lnTo>
                    <a:pt x="992" y="678"/>
                  </a:lnTo>
                  <a:lnTo>
                    <a:pt x="992" y="677"/>
                  </a:lnTo>
                  <a:lnTo>
                    <a:pt x="991" y="677"/>
                  </a:lnTo>
                  <a:lnTo>
                    <a:pt x="989" y="677"/>
                  </a:lnTo>
                  <a:lnTo>
                    <a:pt x="987" y="677"/>
                  </a:lnTo>
                  <a:lnTo>
                    <a:pt x="987" y="678"/>
                  </a:lnTo>
                  <a:lnTo>
                    <a:pt x="986" y="678"/>
                  </a:lnTo>
                  <a:lnTo>
                    <a:pt x="984" y="678"/>
                  </a:lnTo>
                  <a:lnTo>
                    <a:pt x="986" y="678"/>
                  </a:lnTo>
                  <a:lnTo>
                    <a:pt x="984" y="678"/>
                  </a:lnTo>
                  <a:lnTo>
                    <a:pt x="984" y="677"/>
                  </a:lnTo>
                  <a:lnTo>
                    <a:pt x="984" y="678"/>
                  </a:lnTo>
                  <a:lnTo>
                    <a:pt x="983" y="678"/>
                  </a:lnTo>
                  <a:lnTo>
                    <a:pt x="981" y="678"/>
                  </a:lnTo>
                  <a:lnTo>
                    <a:pt x="981" y="677"/>
                  </a:lnTo>
                  <a:lnTo>
                    <a:pt x="983" y="675"/>
                  </a:lnTo>
                  <a:lnTo>
                    <a:pt x="983" y="677"/>
                  </a:lnTo>
                  <a:lnTo>
                    <a:pt x="983" y="675"/>
                  </a:lnTo>
                  <a:lnTo>
                    <a:pt x="983" y="677"/>
                  </a:lnTo>
                  <a:lnTo>
                    <a:pt x="984" y="677"/>
                  </a:lnTo>
                  <a:lnTo>
                    <a:pt x="984" y="675"/>
                  </a:lnTo>
                  <a:lnTo>
                    <a:pt x="986" y="675"/>
                  </a:lnTo>
                  <a:lnTo>
                    <a:pt x="984" y="675"/>
                  </a:lnTo>
                  <a:lnTo>
                    <a:pt x="986" y="675"/>
                  </a:lnTo>
                  <a:lnTo>
                    <a:pt x="987" y="673"/>
                  </a:lnTo>
                  <a:lnTo>
                    <a:pt x="989" y="673"/>
                  </a:lnTo>
                  <a:lnTo>
                    <a:pt x="991" y="673"/>
                  </a:lnTo>
                  <a:lnTo>
                    <a:pt x="991" y="672"/>
                  </a:lnTo>
                  <a:lnTo>
                    <a:pt x="991" y="673"/>
                  </a:lnTo>
                  <a:lnTo>
                    <a:pt x="991" y="672"/>
                  </a:lnTo>
                  <a:lnTo>
                    <a:pt x="992" y="672"/>
                  </a:lnTo>
                  <a:lnTo>
                    <a:pt x="994" y="672"/>
                  </a:lnTo>
                  <a:lnTo>
                    <a:pt x="994" y="673"/>
                  </a:lnTo>
                  <a:lnTo>
                    <a:pt x="994" y="675"/>
                  </a:lnTo>
                  <a:lnTo>
                    <a:pt x="996" y="675"/>
                  </a:lnTo>
                  <a:lnTo>
                    <a:pt x="996" y="677"/>
                  </a:lnTo>
                  <a:lnTo>
                    <a:pt x="996" y="675"/>
                  </a:lnTo>
                  <a:lnTo>
                    <a:pt x="997" y="675"/>
                  </a:lnTo>
                  <a:lnTo>
                    <a:pt x="996" y="675"/>
                  </a:lnTo>
                  <a:lnTo>
                    <a:pt x="996" y="677"/>
                  </a:lnTo>
                  <a:lnTo>
                    <a:pt x="996" y="675"/>
                  </a:lnTo>
                  <a:lnTo>
                    <a:pt x="994" y="675"/>
                  </a:lnTo>
                  <a:lnTo>
                    <a:pt x="994" y="673"/>
                  </a:lnTo>
                  <a:lnTo>
                    <a:pt x="994" y="672"/>
                  </a:lnTo>
                  <a:lnTo>
                    <a:pt x="992" y="672"/>
                  </a:lnTo>
                  <a:lnTo>
                    <a:pt x="994" y="672"/>
                  </a:lnTo>
                  <a:lnTo>
                    <a:pt x="992" y="670"/>
                  </a:lnTo>
                  <a:lnTo>
                    <a:pt x="994" y="670"/>
                  </a:lnTo>
                  <a:lnTo>
                    <a:pt x="994" y="672"/>
                  </a:lnTo>
                  <a:lnTo>
                    <a:pt x="996" y="672"/>
                  </a:lnTo>
                  <a:lnTo>
                    <a:pt x="997" y="672"/>
                  </a:lnTo>
                  <a:lnTo>
                    <a:pt x="996" y="672"/>
                  </a:lnTo>
                  <a:lnTo>
                    <a:pt x="994" y="670"/>
                  </a:lnTo>
                  <a:lnTo>
                    <a:pt x="992" y="670"/>
                  </a:lnTo>
                  <a:lnTo>
                    <a:pt x="994" y="670"/>
                  </a:lnTo>
                  <a:lnTo>
                    <a:pt x="994" y="669"/>
                  </a:lnTo>
                  <a:close/>
                  <a:moveTo>
                    <a:pt x="1002" y="670"/>
                  </a:moveTo>
                  <a:lnTo>
                    <a:pt x="1000" y="670"/>
                  </a:lnTo>
                  <a:lnTo>
                    <a:pt x="1000" y="669"/>
                  </a:lnTo>
                  <a:lnTo>
                    <a:pt x="1002" y="670"/>
                  </a:lnTo>
                  <a:close/>
                  <a:moveTo>
                    <a:pt x="999" y="669"/>
                  </a:moveTo>
                  <a:lnTo>
                    <a:pt x="999" y="670"/>
                  </a:lnTo>
                  <a:lnTo>
                    <a:pt x="1000" y="670"/>
                  </a:lnTo>
                  <a:lnTo>
                    <a:pt x="1000" y="672"/>
                  </a:lnTo>
                  <a:lnTo>
                    <a:pt x="999" y="670"/>
                  </a:lnTo>
                  <a:lnTo>
                    <a:pt x="999" y="669"/>
                  </a:lnTo>
                  <a:close/>
                  <a:moveTo>
                    <a:pt x="1004" y="669"/>
                  </a:moveTo>
                  <a:lnTo>
                    <a:pt x="1004" y="670"/>
                  </a:lnTo>
                  <a:lnTo>
                    <a:pt x="1004" y="669"/>
                  </a:lnTo>
                  <a:close/>
                  <a:moveTo>
                    <a:pt x="997" y="669"/>
                  </a:moveTo>
                  <a:lnTo>
                    <a:pt x="999" y="669"/>
                  </a:lnTo>
                  <a:lnTo>
                    <a:pt x="999" y="670"/>
                  </a:lnTo>
                  <a:lnTo>
                    <a:pt x="997" y="670"/>
                  </a:lnTo>
                  <a:lnTo>
                    <a:pt x="997" y="669"/>
                  </a:lnTo>
                  <a:close/>
                  <a:moveTo>
                    <a:pt x="1004" y="670"/>
                  </a:moveTo>
                  <a:lnTo>
                    <a:pt x="1004" y="669"/>
                  </a:lnTo>
                  <a:lnTo>
                    <a:pt x="1004" y="670"/>
                  </a:lnTo>
                  <a:close/>
                  <a:moveTo>
                    <a:pt x="1012" y="669"/>
                  </a:moveTo>
                  <a:lnTo>
                    <a:pt x="1013" y="669"/>
                  </a:lnTo>
                  <a:lnTo>
                    <a:pt x="1012" y="669"/>
                  </a:lnTo>
                  <a:close/>
                  <a:moveTo>
                    <a:pt x="1000" y="670"/>
                  </a:moveTo>
                  <a:lnTo>
                    <a:pt x="999" y="670"/>
                  </a:lnTo>
                  <a:lnTo>
                    <a:pt x="999" y="669"/>
                  </a:lnTo>
                  <a:lnTo>
                    <a:pt x="1000" y="670"/>
                  </a:lnTo>
                  <a:lnTo>
                    <a:pt x="1000" y="669"/>
                  </a:lnTo>
                  <a:lnTo>
                    <a:pt x="999" y="669"/>
                  </a:lnTo>
                  <a:lnTo>
                    <a:pt x="1000" y="669"/>
                  </a:lnTo>
                  <a:lnTo>
                    <a:pt x="1000" y="670"/>
                  </a:lnTo>
                  <a:close/>
                  <a:moveTo>
                    <a:pt x="1002" y="669"/>
                  </a:moveTo>
                  <a:lnTo>
                    <a:pt x="1002" y="670"/>
                  </a:lnTo>
                  <a:lnTo>
                    <a:pt x="1000" y="669"/>
                  </a:lnTo>
                  <a:lnTo>
                    <a:pt x="1002" y="669"/>
                  </a:lnTo>
                  <a:close/>
                  <a:moveTo>
                    <a:pt x="1002" y="669"/>
                  </a:moveTo>
                  <a:lnTo>
                    <a:pt x="1000" y="669"/>
                  </a:lnTo>
                  <a:lnTo>
                    <a:pt x="1002" y="669"/>
                  </a:lnTo>
                  <a:close/>
                  <a:moveTo>
                    <a:pt x="997" y="667"/>
                  </a:moveTo>
                  <a:lnTo>
                    <a:pt x="997" y="669"/>
                  </a:lnTo>
                  <a:lnTo>
                    <a:pt x="996" y="669"/>
                  </a:lnTo>
                  <a:lnTo>
                    <a:pt x="996" y="667"/>
                  </a:lnTo>
                  <a:lnTo>
                    <a:pt x="996" y="669"/>
                  </a:lnTo>
                  <a:lnTo>
                    <a:pt x="997" y="667"/>
                  </a:lnTo>
                  <a:close/>
                  <a:moveTo>
                    <a:pt x="996" y="669"/>
                  </a:moveTo>
                  <a:lnTo>
                    <a:pt x="997" y="669"/>
                  </a:lnTo>
                  <a:lnTo>
                    <a:pt x="997" y="670"/>
                  </a:lnTo>
                  <a:lnTo>
                    <a:pt x="996" y="670"/>
                  </a:lnTo>
                  <a:lnTo>
                    <a:pt x="994" y="669"/>
                  </a:lnTo>
                  <a:lnTo>
                    <a:pt x="996" y="669"/>
                  </a:lnTo>
                  <a:lnTo>
                    <a:pt x="994" y="669"/>
                  </a:lnTo>
                  <a:lnTo>
                    <a:pt x="996" y="669"/>
                  </a:lnTo>
                  <a:lnTo>
                    <a:pt x="994" y="669"/>
                  </a:lnTo>
                  <a:lnTo>
                    <a:pt x="994" y="667"/>
                  </a:lnTo>
                  <a:lnTo>
                    <a:pt x="996" y="669"/>
                  </a:lnTo>
                  <a:close/>
                  <a:moveTo>
                    <a:pt x="644" y="667"/>
                  </a:moveTo>
                  <a:lnTo>
                    <a:pt x="644" y="669"/>
                  </a:lnTo>
                  <a:lnTo>
                    <a:pt x="644" y="667"/>
                  </a:lnTo>
                  <a:close/>
                  <a:moveTo>
                    <a:pt x="997" y="669"/>
                  </a:moveTo>
                  <a:lnTo>
                    <a:pt x="997" y="667"/>
                  </a:lnTo>
                  <a:lnTo>
                    <a:pt x="997" y="669"/>
                  </a:lnTo>
                  <a:close/>
                  <a:moveTo>
                    <a:pt x="638" y="667"/>
                  </a:moveTo>
                  <a:lnTo>
                    <a:pt x="636" y="669"/>
                  </a:lnTo>
                  <a:lnTo>
                    <a:pt x="636" y="667"/>
                  </a:lnTo>
                  <a:lnTo>
                    <a:pt x="638" y="667"/>
                  </a:lnTo>
                  <a:close/>
                  <a:moveTo>
                    <a:pt x="1013" y="669"/>
                  </a:moveTo>
                  <a:lnTo>
                    <a:pt x="1012" y="669"/>
                  </a:lnTo>
                  <a:lnTo>
                    <a:pt x="1012" y="667"/>
                  </a:lnTo>
                  <a:lnTo>
                    <a:pt x="1013" y="669"/>
                  </a:lnTo>
                  <a:close/>
                  <a:moveTo>
                    <a:pt x="1023" y="667"/>
                  </a:moveTo>
                  <a:lnTo>
                    <a:pt x="1025" y="667"/>
                  </a:lnTo>
                  <a:lnTo>
                    <a:pt x="1025" y="669"/>
                  </a:lnTo>
                  <a:lnTo>
                    <a:pt x="1023" y="667"/>
                  </a:lnTo>
                  <a:close/>
                  <a:moveTo>
                    <a:pt x="999" y="667"/>
                  </a:moveTo>
                  <a:lnTo>
                    <a:pt x="999" y="669"/>
                  </a:lnTo>
                  <a:lnTo>
                    <a:pt x="1000" y="669"/>
                  </a:lnTo>
                  <a:lnTo>
                    <a:pt x="1000" y="667"/>
                  </a:lnTo>
                  <a:lnTo>
                    <a:pt x="1000" y="669"/>
                  </a:lnTo>
                  <a:lnTo>
                    <a:pt x="999" y="669"/>
                  </a:lnTo>
                  <a:lnTo>
                    <a:pt x="999" y="667"/>
                  </a:lnTo>
                  <a:lnTo>
                    <a:pt x="997" y="667"/>
                  </a:lnTo>
                  <a:lnTo>
                    <a:pt x="999" y="667"/>
                  </a:lnTo>
                  <a:close/>
                  <a:moveTo>
                    <a:pt x="997" y="667"/>
                  </a:moveTo>
                  <a:lnTo>
                    <a:pt x="997" y="665"/>
                  </a:lnTo>
                  <a:lnTo>
                    <a:pt x="997" y="667"/>
                  </a:lnTo>
                  <a:close/>
                  <a:moveTo>
                    <a:pt x="1025" y="665"/>
                  </a:moveTo>
                  <a:lnTo>
                    <a:pt x="1025" y="667"/>
                  </a:lnTo>
                  <a:lnTo>
                    <a:pt x="1025" y="665"/>
                  </a:lnTo>
                  <a:close/>
                  <a:moveTo>
                    <a:pt x="986" y="667"/>
                  </a:moveTo>
                  <a:lnTo>
                    <a:pt x="984" y="667"/>
                  </a:lnTo>
                  <a:lnTo>
                    <a:pt x="984" y="669"/>
                  </a:lnTo>
                  <a:lnTo>
                    <a:pt x="983" y="670"/>
                  </a:lnTo>
                  <a:lnTo>
                    <a:pt x="983" y="669"/>
                  </a:lnTo>
                  <a:lnTo>
                    <a:pt x="983" y="670"/>
                  </a:lnTo>
                  <a:lnTo>
                    <a:pt x="981" y="670"/>
                  </a:lnTo>
                  <a:lnTo>
                    <a:pt x="983" y="672"/>
                  </a:lnTo>
                  <a:lnTo>
                    <a:pt x="981" y="670"/>
                  </a:lnTo>
                  <a:lnTo>
                    <a:pt x="981" y="669"/>
                  </a:lnTo>
                  <a:lnTo>
                    <a:pt x="979" y="669"/>
                  </a:lnTo>
                  <a:lnTo>
                    <a:pt x="981" y="669"/>
                  </a:lnTo>
                  <a:lnTo>
                    <a:pt x="981" y="670"/>
                  </a:lnTo>
                  <a:lnTo>
                    <a:pt x="981" y="672"/>
                  </a:lnTo>
                  <a:lnTo>
                    <a:pt x="981" y="670"/>
                  </a:lnTo>
                  <a:lnTo>
                    <a:pt x="979" y="670"/>
                  </a:lnTo>
                  <a:lnTo>
                    <a:pt x="979" y="669"/>
                  </a:lnTo>
                  <a:lnTo>
                    <a:pt x="979" y="665"/>
                  </a:lnTo>
                  <a:lnTo>
                    <a:pt x="983" y="665"/>
                  </a:lnTo>
                  <a:lnTo>
                    <a:pt x="984" y="665"/>
                  </a:lnTo>
                  <a:lnTo>
                    <a:pt x="984" y="667"/>
                  </a:lnTo>
                  <a:lnTo>
                    <a:pt x="986" y="667"/>
                  </a:lnTo>
                  <a:close/>
                  <a:moveTo>
                    <a:pt x="1012" y="665"/>
                  </a:moveTo>
                  <a:lnTo>
                    <a:pt x="1010" y="665"/>
                  </a:lnTo>
                  <a:lnTo>
                    <a:pt x="1012" y="665"/>
                  </a:lnTo>
                  <a:close/>
                  <a:moveTo>
                    <a:pt x="641" y="665"/>
                  </a:moveTo>
                  <a:lnTo>
                    <a:pt x="639" y="665"/>
                  </a:lnTo>
                  <a:lnTo>
                    <a:pt x="641" y="665"/>
                  </a:lnTo>
                  <a:close/>
                  <a:moveTo>
                    <a:pt x="643" y="665"/>
                  </a:moveTo>
                  <a:lnTo>
                    <a:pt x="643" y="664"/>
                  </a:lnTo>
                  <a:lnTo>
                    <a:pt x="643" y="665"/>
                  </a:lnTo>
                  <a:close/>
                  <a:moveTo>
                    <a:pt x="644" y="664"/>
                  </a:moveTo>
                  <a:lnTo>
                    <a:pt x="644" y="665"/>
                  </a:lnTo>
                  <a:lnTo>
                    <a:pt x="644" y="664"/>
                  </a:lnTo>
                  <a:close/>
                  <a:moveTo>
                    <a:pt x="1010" y="664"/>
                  </a:moveTo>
                  <a:lnTo>
                    <a:pt x="1010" y="665"/>
                  </a:lnTo>
                  <a:lnTo>
                    <a:pt x="1012" y="665"/>
                  </a:lnTo>
                  <a:lnTo>
                    <a:pt x="1010" y="665"/>
                  </a:lnTo>
                  <a:lnTo>
                    <a:pt x="1010" y="664"/>
                  </a:lnTo>
                  <a:close/>
                  <a:moveTo>
                    <a:pt x="643" y="664"/>
                  </a:moveTo>
                  <a:lnTo>
                    <a:pt x="641" y="664"/>
                  </a:lnTo>
                  <a:lnTo>
                    <a:pt x="643" y="664"/>
                  </a:lnTo>
                  <a:close/>
                  <a:moveTo>
                    <a:pt x="643" y="664"/>
                  </a:moveTo>
                  <a:lnTo>
                    <a:pt x="641" y="664"/>
                  </a:lnTo>
                  <a:lnTo>
                    <a:pt x="643" y="664"/>
                  </a:lnTo>
                  <a:close/>
                  <a:moveTo>
                    <a:pt x="644" y="662"/>
                  </a:moveTo>
                  <a:lnTo>
                    <a:pt x="644" y="664"/>
                  </a:lnTo>
                  <a:lnTo>
                    <a:pt x="644" y="662"/>
                  </a:lnTo>
                  <a:close/>
                  <a:moveTo>
                    <a:pt x="1023" y="662"/>
                  </a:moveTo>
                  <a:lnTo>
                    <a:pt x="1025" y="664"/>
                  </a:lnTo>
                  <a:lnTo>
                    <a:pt x="1023" y="662"/>
                  </a:lnTo>
                  <a:close/>
                  <a:moveTo>
                    <a:pt x="635" y="662"/>
                  </a:moveTo>
                  <a:lnTo>
                    <a:pt x="633" y="662"/>
                  </a:lnTo>
                  <a:lnTo>
                    <a:pt x="635" y="662"/>
                  </a:lnTo>
                  <a:close/>
                  <a:moveTo>
                    <a:pt x="638" y="662"/>
                  </a:moveTo>
                  <a:lnTo>
                    <a:pt x="638" y="664"/>
                  </a:lnTo>
                  <a:lnTo>
                    <a:pt x="638" y="662"/>
                  </a:lnTo>
                  <a:close/>
                  <a:moveTo>
                    <a:pt x="635" y="662"/>
                  </a:moveTo>
                  <a:lnTo>
                    <a:pt x="633" y="662"/>
                  </a:lnTo>
                  <a:lnTo>
                    <a:pt x="635" y="662"/>
                  </a:lnTo>
                  <a:close/>
                  <a:moveTo>
                    <a:pt x="638" y="662"/>
                  </a:moveTo>
                  <a:lnTo>
                    <a:pt x="636" y="662"/>
                  </a:lnTo>
                  <a:lnTo>
                    <a:pt x="638" y="662"/>
                  </a:lnTo>
                  <a:close/>
                  <a:moveTo>
                    <a:pt x="643" y="662"/>
                  </a:moveTo>
                  <a:lnTo>
                    <a:pt x="641" y="662"/>
                  </a:lnTo>
                  <a:lnTo>
                    <a:pt x="641" y="664"/>
                  </a:lnTo>
                  <a:lnTo>
                    <a:pt x="639" y="664"/>
                  </a:lnTo>
                  <a:lnTo>
                    <a:pt x="641" y="662"/>
                  </a:lnTo>
                  <a:lnTo>
                    <a:pt x="639" y="662"/>
                  </a:lnTo>
                  <a:lnTo>
                    <a:pt x="641" y="662"/>
                  </a:lnTo>
                  <a:lnTo>
                    <a:pt x="639" y="662"/>
                  </a:lnTo>
                  <a:lnTo>
                    <a:pt x="641" y="662"/>
                  </a:lnTo>
                  <a:lnTo>
                    <a:pt x="643" y="662"/>
                  </a:lnTo>
                  <a:close/>
                  <a:moveTo>
                    <a:pt x="1025" y="664"/>
                  </a:moveTo>
                  <a:lnTo>
                    <a:pt x="1023" y="662"/>
                  </a:lnTo>
                  <a:lnTo>
                    <a:pt x="1025" y="662"/>
                  </a:lnTo>
                  <a:lnTo>
                    <a:pt x="1025" y="664"/>
                  </a:lnTo>
                  <a:close/>
                  <a:moveTo>
                    <a:pt x="636" y="660"/>
                  </a:moveTo>
                  <a:lnTo>
                    <a:pt x="636" y="662"/>
                  </a:lnTo>
                  <a:lnTo>
                    <a:pt x="636" y="660"/>
                  </a:lnTo>
                  <a:close/>
                  <a:moveTo>
                    <a:pt x="636" y="660"/>
                  </a:moveTo>
                  <a:lnTo>
                    <a:pt x="636" y="662"/>
                  </a:lnTo>
                  <a:lnTo>
                    <a:pt x="636" y="660"/>
                  </a:lnTo>
                  <a:close/>
                  <a:moveTo>
                    <a:pt x="643" y="660"/>
                  </a:moveTo>
                  <a:lnTo>
                    <a:pt x="643" y="662"/>
                  </a:lnTo>
                  <a:lnTo>
                    <a:pt x="641" y="660"/>
                  </a:lnTo>
                  <a:lnTo>
                    <a:pt x="643" y="660"/>
                  </a:lnTo>
                  <a:close/>
                  <a:moveTo>
                    <a:pt x="641" y="660"/>
                  </a:moveTo>
                  <a:lnTo>
                    <a:pt x="639" y="660"/>
                  </a:lnTo>
                  <a:lnTo>
                    <a:pt x="639" y="662"/>
                  </a:lnTo>
                  <a:lnTo>
                    <a:pt x="639" y="660"/>
                  </a:lnTo>
                  <a:lnTo>
                    <a:pt x="641" y="660"/>
                  </a:lnTo>
                  <a:close/>
                  <a:moveTo>
                    <a:pt x="633" y="660"/>
                  </a:moveTo>
                  <a:lnTo>
                    <a:pt x="633" y="662"/>
                  </a:lnTo>
                  <a:lnTo>
                    <a:pt x="633" y="660"/>
                  </a:lnTo>
                  <a:close/>
                  <a:moveTo>
                    <a:pt x="636" y="660"/>
                  </a:moveTo>
                  <a:lnTo>
                    <a:pt x="636" y="662"/>
                  </a:lnTo>
                  <a:lnTo>
                    <a:pt x="636" y="660"/>
                  </a:lnTo>
                  <a:close/>
                  <a:moveTo>
                    <a:pt x="635" y="660"/>
                  </a:moveTo>
                  <a:lnTo>
                    <a:pt x="633" y="660"/>
                  </a:lnTo>
                  <a:lnTo>
                    <a:pt x="635" y="660"/>
                  </a:lnTo>
                  <a:close/>
                  <a:moveTo>
                    <a:pt x="633" y="660"/>
                  </a:moveTo>
                  <a:lnTo>
                    <a:pt x="633" y="662"/>
                  </a:lnTo>
                  <a:lnTo>
                    <a:pt x="633" y="660"/>
                  </a:lnTo>
                  <a:lnTo>
                    <a:pt x="633" y="662"/>
                  </a:lnTo>
                  <a:lnTo>
                    <a:pt x="635" y="660"/>
                  </a:lnTo>
                  <a:lnTo>
                    <a:pt x="635" y="662"/>
                  </a:lnTo>
                  <a:lnTo>
                    <a:pt x="633" y="662"/>
                  </a:lnTo>
                  <a:lnTo>
                    <a:pt x="633" y="660"/>
                  </a:lnTo>
                  <a:close/>
                  <a:moveTo>
                    <a:pt x="992" y="660"/>
                  </a:moveTo>
                  <a:lnTo>
                    <a:pt x="991" y="660"/>
                  </a:lnTo>
                  <a:lnTo>
                    <a:pt x="992" y="660"/>
                  </a:lnTo>
                  <a:close/>
                  <a:moveTo>
                    <a:pt x="1007" y="660"/>
                  </a:moveTo>
                  <a:lnTo>
                    <a:pt x="1007" y="662"/>
                  </a:lnTo>
                  <a:lnTo>
                    <a:pt x="1007" y="660"/>
                  </a:lnTo>
                  <a:close/>
                  <a:moveTo>
                    <a:pt x="1166" y="660"/>
                  </a:moveTo>
                  <a:lnTo>
                    <a:pt x="1165" y="660"/>
                  </a:lnTo>
                  <a:lnTo>
                    <a:pt x="1166" y="660"/>
                  </a:lnTo>
                  <a:close/>
                  <a:moveTo>
                    <a:pt x="635" y="660"/>
                  </a:moveTo>
                  <a:lnTo>
                    <a:pt x="636" y="660"/>
                  </a:lnTo>
                  <a:lnTo>
                    <a:pt x="635" y="660"/>
                  </a:lnTo>
                  <a:close/>
                  <a:moveTo>
                    <a:pt x="638" y="660"/>
                  </a:moveTo>
                  <a:lnTo>
                    <a:pt x="638" y="659"/>
                  </a:lnTo>
                  <a:lnTo>
                    <a:pt x="638" y="660"/>
                  </a:lnTo>
                  <a:close/>
                  <a:moveTo>
                    <a:pt x="631" y="660"/>
                  </a:moveTo>
                  <a:lnTo>
                    <a:pt x="631" y="659"/>
                  </a:lnTo>
                  <a:lnTo>
                    <a:pt x="631" y="660"/>
                  </a:lnTo>
                  <a:close/>
                  <a:moveTo>
                    <a:pt x="636" y="659"/>
                  </a:moveTo>
                  <a:lnTo>
                    <a:pt x="636" y="660"/>
                  </a:lnTo>
                  <a:lnTo>
                    <a:pt x="636" y="659"/>
                  </a:lnTo>
                  <a:close/>
                  <a:moveTo>
                    <a:pt x="635" y="660"/>
                  </a:moveTo>
                  <a:lnTo>
                    <a:pt x="635" y="659"/>
                  </a:lnTo>
                  <a:lnTo>
                    <a:pt x="635" y="660"/>
                  </a:lnTo>
                  <a:close/>
                  <a:moveTo>
                    <a:pt x="1007" y="660"/>
                  </a:moveTo>
                  <a:lnTo>
                    <a:pt x="1005" y="660"/>
                  </a:lnTo>
                  <a:lnTo>
                    <a:pt x="1007" y="659"/>
                  </a:lnTo>
                  <a:lnTo>
                    <a:pt x="1007" y="660"/>
                  </a:lnTo>
                  <a:close/>
                  <a:moveTo>
                    <a:pt x="992" y="659"/>
                  </a:moveTo>
                  <a:lnTo>
                    <a:pt x="992" y="660"/>
                  </a:lnTo>
                  <a:lnTo>
                    <a:pt x="992" y="659"/>
                  </a:lnTo>
                  <a:close/>
                  <a:moveTo>
                    <a:pt x="633" y="659"/>
                  </a:moveTo>
                  <a:lnTo>
                    <a:pt x="631" y="659"/>
                  </a:lnTo>
                  <a:lnTo>
                    <a:pt x="633" y="659"/>
                  </a:lnTo>
                  <a:close/>
                  <a:moveTo>
                    <a:pt x="651" y="660"/>
                  </a:moveTo>
                  <a:lnTo>
                    <a:pt x="651" y="659"/>
                  </a:lnTo>
                  <a:lnTo>
                    <a:pt x="652" y="659"/>
                  </a:lnTo>
                  <a:lnTo>
                    <a:pt x="652" y="660"/>
                  </a:lnTo>
                  <a:lnTo>
                    <a:pt x="651" y="660"/>
                  </a:lnTo>
                  <a:lnTo>
                    <a:pt x="651" y="659"/>
                  </a:lnTo>
                  <a:lnTo>
                    <a:pt x="649" y="659"/>
                  </a:lnTo>
                  <a:lnTo>
                    <a:pt x="651" y="659"/>
                  </a:lnTo>
                  <a:lnTo>
                    <a:pt x="651" y="660"/>
                  </a:lnTo>
                  <a:close/>
                  <a:moveTo>
                    <a:pt x="649" y="659"/>
                  </a:moveTo>
                  <a:lnTo>
                    <a:pt x="649" y="660"/>
                  </a:lnTo>
                  <a:lnTo>
                    <a:pt x="648" y="660"/>
                  </a:lnTo>
                  <a:lnTo>
                    <a:pt x="649" y="660"/>
                  </a:lnTo>
                  <a:lnTo>
                    <a:pt x="649" y="659"/>
                  </a:lnTo>
                  <a:close/>
                  <a:moveTo>
                    <a:pt x="1009" y="665"/>
                  </a:moveTo>
                  <a:lnTo>
                    <a:pt x="1007" y="664"/>
                  </a:lnTo>
                  <a:lnTo>
                    <a:pt x="1005" y="662"/>
                  </a:lnTo>
                  <a:lnTo>
                    <a:pt x="1007" y="662"/>
                  </a:lnTo>
                  <a:lnTo>
                    <a:pt x="1005" y="662"/>
                  </a:lnTo>
                  <a:lnTo>
                    <a:pt x="1005" y="659"/>
                  </a:lnTo>
                  <a:lnTo>
                    <a:pt x="1007" y="660"/>
                  </a:lnTo>
                  <a:lnTo>
                    <a:pt x="1007" y="662"/>
                  </a:lnTo>
                  <a:lnTo>
                    <a:pt x="1009" y="662"/>
                  </a:lnTo>
                  <a:lnTo>
                    <a:pt x="1009" y="664"/>
                  </a:lnTo>
                  <a:lnTo>
                    <a:pt x="1009" y="665"/>
                  </a:lnTo>
                  <a:close/>
                  <a:moveTo>
                    <a:pt x="1009" y="659"/>
                  </a:moveTo>
                  <a:lnTo>
                    <a:pt x="1007" y="659"/>
                  </a:lnTo>
                  <a:lnTo>
                    <a:pt x="1009" y="659"/>
                  </a:lnTo>
                  <a:close/>
                  <a:moveTo>
                    <a:pt x="651" y="659"/>
                  </a:moveTo>
                  <a:lnTo>
                    <a:pt x="649" y="659"/>
                  </a:lnTo>
                  <a:lnTo>
                    <a:pt x="651" y="659"/>
                  </a:lnTo>
                  <a:close/>
                  <a:moveTo>
                    <a:pt x="631" y="659"/>
                  </a:moveTo>
                  <a:lnTo>
                    <a:pt x="633" y="659"/>
                  </a:lnTo>
                  <a:lnTo>
                    <a:pt x="631" y="659"/>
                  </a:lnTo>
                  <a:close/>
                  <a:moveTo>
                    <a:pt x="635" y="659"/>
                  </a:moveTo>
                  <a:lnTo>
                    <a:pt x="633" y="659"/>
                  </a:lnTo>
                  <a:lnTo>
                    <a:pt x="635" y="659"/>
                  </a:lnTo>
                  <a:close/>
                  <a:moveTo>
                    <a:pt x="1005" y="657"/>
                  </a:moveTo>
                  <a:lnTo>
                    <a:pt x="1007" y="657"/>
                  </a:lnTo>
                  <a:lnTo>
                    <a:pt x="1005" y="657"/>
                  </a:lnTo>
                  <a:close/>
                  <a:moveTo>
                    <a:pt x="989" y="657"/>
                  </a:moveTo>
                  <a:lnTo>
                    <a:pt x="991" y="657"/>
                  </a:lnTo>
                  <a:lnTo>
                    <a:pt x="989" y="657"/>
                  </a:lnTo>
                  <a:lnTo>
                    <a:pt x="991" y="657"/>
                  </a:lnTo>
                  <a:lnTo>
                    <a:pt x="989" y="657"/>
                  </a:lnTo>
                  <a:lnTo>
                    <a:pt x="989" y="659"/>
                  </a:lnTo>
                  <a:lnTo>
                    <a:pt x="987" y="660"/>
                  </a:lnTo>
                  <a:lnTo>
                    <a:pt x="986" y="660"/>
                  </a:lnTo>
                  <a:lnTo>
                    <a:pt x="987" y="660"/>
                  </a:lnTo>
                  <a:lnTo>
                    <a:pt x="991" y="657"/>
                  </a:lnTo>
                  <a:lnTo>
                    <a:pt x="992" y="657"/>
                  </a:lnTo>
                  <a:lnTo>
                    <a:pt x="992" y="659"/>
                  </a:lnTo>
                  <a:lnTo>
                    <a:pt x="992" y="657"/>
                  </a:lnTo>
                  <a:lnTo>
                    <a:pt x="992" y="659"/>
                  </a:lnTo>
                  <a:lnTo>
                    <a:pt x="994" y="659"/>
                  </a:lnTo>
                  <a:lnTo>
                    <a:pt x="992" y="659"/>
                  </a:lnTo>
                  <a:lnTo>
                    <a:pt x="992" y="660"/>
                  </a:lnTo>
                  <a:lnTo>
                    <a:pt x="991" y="660"/>
                  </a:lnTo>
                  <a:lnTo>
                    <a:pt x="989" y="660"/>
                  </a:lnTo>
                  <a:lnTo>
                    <a:pt x="989" y="662"/>
                  </a:lnTo>
                  <a:lnTo>
                    <a:pt x="989" y="660"/>
                  </a:lnTo>
                  <a:lnTo>
                    <a:pt x="987" y="662"/>
                  </a:lnTo>
                  <a:lnTo>
                    <a:pt x="984" y="662"/>
                  </a:lnTo>
                  <a:lnTo>
                    <a:pt x="986" y="664"/>
                  </a:lnTo>
                  <a:lnTo>
                    <a:pt x="984" y="664"/>
                  </a:lnTo>
                  <a:lnTo>
                    <a:pt x="983" y="664"/>
                  </a:lnTo>
                  <a:lnTo>
                    <a:pt x="984" y="662"/>
                  </a:lnTo>
                  <a:lnTo>
                    <a:pt x="986" y="660"/>
                  </a:lnTo>
                  <a:lnTo>
                    <a:pt x="987" y="659"/>
                  </a:lnTo>
                  <a:lnTo>
                    <a:pt x="987" y="657"/>
                  </a:lnTo>
                  <a:lnTo>
                    <a:pt x="989" y="657"/>
                  </a:lnTo>
                  <a:close/>
                  <a:moveTo>
                    <a:pt x="631" y="657"/>
                  </a:moveTo>
                  <a:lnTo>
                    <a:pt x="630" y="659"/>
                  </a:lnTo>
                  <a:lnTo>
                    <a:pt x="631" y="657"/>
                  </a:lnTo>
                  <a:close/>
                  <a:moveTo>
                    <a:pt x="1002" y="657"/>
                  </a:moveTo>
                  <a:lnTo>
                    <a:pt x="1004" y="657"/>
                  </a:lnTo>
                  <a:lnTo>
                    <a:pt x="1004" y="659"/>
                  </a:lnTo>
                  <a:lnTo>
                    <a:pt x="1002" y="659"/>
                  </a:lnTo>
                  <a:lnTo>
                    <a:pt x="1004" y="659"/>
                  </a:lnTo>
                  <a:lnTo>
                    <a:pt x="1002" y="657"/>
                  </a:lnTo>
                  <a:close/>
                  <a:moveTo>
                    <a:pt x="1018" y="665"/>
                  </a:moveTo>
                  <a:lnTo>
                    <a:pt x="1020" y="665"/>
                  </a:lnTo>
                  <a:lnTo>
                    <a:pt x="1018" y="665"/>
                  </a:lnTo>
                  <a:lnTo>
                    <a:pt x="1017" y="664"/>
                  </a:lnTo>
                  <a:lnTo>
                    <a:pt x="1015" y="664"/>
                  </a:lnTo>
                  <a:lnTo>
                    <a:pt x="1015" y="662"/>
                  </a:lnTo>
                  <a:lnTo>
                    <a:pt x="1013" y="662"/>
                  </a:lnTo>
                  <a:lnTo>
                    <a:pt x="1012" y="662"/>
                  </a:lnTo>
                  <a:lnTo>
                    <a:pt x="1012" y="660"/>
                  </a:lnTo>
                  <a:lnTo>
                    <a:pt x="1013" y="659"/>
                  </a:lnTo>
                  <a:lnTo>
                    <a:pt x="1015" y="659"/>
                  </a:lnTo>
                  <a:lnTo>
                    <a:pt x="1017" y="659"/>
                  </a:lnTo>
                  <a:lnTo>
                    <a:pt x="1018" y="657"/>
                  </a:lnTo>
                  <a:lnTo>
                    <a:pt x="1017" y="659"/>
                  </a:lnTo>
                  <a:lnTo>
                    <a:pt x="1017" y="657"/>
                  </a:lnTo>
                  <a:lnTo>
                    <a:pt x="1018" y="657"/>
                  </a:lnTo>
                  <a:lnTo>
                    <a:pt x="1020" y="657"/>
                  </a:lnTo>
                  <a:lnTo>
                    <a:pt x="1020" y="659"/>
                  </a:lnTo>
                  <a:lnTo>
                    <a:pt x="1022" y="659"/>
                  </a:lnTo>
                  <a:lnTo>
                    <a:pt x="1023" y="659"/>
                  </a:lnTo>
                  <a:lnTo>
                    <a:pt x="1025" y="659"/>
                  </a:lnTo>
                  <a:lnTo>
                    <a:pt x="1025" y="660"/>
                  </a:lnTo>
                  <a:lnTo>
                    <a:pt x="1023" y="662"/>
                  </a:lnTo>
                  <a:lnTo>
                    <a:pt x="1023" y="664"/>
                  </a:lnTo>
                  <a:lnTo>
                    <a:pt x="1025" y="664"/>
                  </a:lnTo>
                  <a:lnTo>
                    <a:pt x="1023" y="664"/>
                  </a:lnTo>
                  <a:lnTo>
                    <a:pt x="1023" y="667"/>
                  </a:lnTo>
                  <a:lnTo>
                    <a:pt x="1025" y="669"/>
                  </a:lnTo>
                  <a:lnTo>
                    <a:pt x="1025" y="670"/>
                  </a:lnTo>
                  <a:lnTo>
                    <a:pt x="1026" y="670"/>
                  </a:lnTo>
                  <a:lnTo>
                    <a:pt x="1026" y="672"/>
                  </a:lnTo>
                  <a:lnTo>
                    <a:pt x="1025" y="672"/>
                  </a:lnTo>
                  <a:lnTo>
                    <a:pt x="1025" y="673"/>
                  </a:lnTo>
                  <a:lnTo>
                    <a:pt x="1025" y="672"/>
                  </a:lnTo>
                  <a:lnTo>
                    <a:pt x="1025" y="673"/>
                  </a:lnTo>
                  <a:lnTo>
                    <a:pt x="1025" y="675"/>
                  </a:lnTo>
                  <a:lnTo>
                    <a:pt x="1025" y="673"/>
                  </a:lnTo>
                  <a:lnTo>
                    <a:pt x="1023" y="675"/>
                  </a:lnTo>
                  <a:lnTo>
                    <a:pt x="1023" y="677"/>
                  </a:lnTo>
                  <a:lnTo>
                    <a:pt x="1023" y="678"/>
                  </a:lnTo>
                  <a:lnTo>
                    <a:pt x="1022" y="677"/>
                  </a:lnTo>
                  <a:lnTo>
                    <a:pt x="1023" y="677"/>
                  </a:lnTo>
                  <a:lnTo>
                    <a:pt x="1022" y="677"/>
                  </a:lnTo>
                  <a:lnTo>
                    <a:pt x="1022" y="675"/>
                  </a:lnTo>
                  <a:lnTo>
                    <a:pt x="1020" y="673"/>
                  </a:lnTo>
                  <a:lnTo>
                    <a:pt x="1020" y="672"/>
                  </a:lnTo>
                  <a:lnTo>
                    <a:pt x="1018" y="672"/>
                  </a:lnTo>
                  <a:lnTo>
                    <a:pt x="1017" y="670"/>
                  </a:lnTo>
                  <a:lnTo>
                    <a:pt x="1018" y="670"/>
                  </a:lnTo>
                  <a:lnTo>
                    <a:pt x="1018" y="669"/>
                  </a:lnTo>
                  <a:lnTo>
                    <a:pt x="1018" y="667"/>
                  </a:lnTo>
                  <a:lnTo>
                    <a:pt x="1020" y="669"/>
                  </a:lnTo>
                  <a:lnTo>
                    <a:pt x="1020" y="667"/>
                  </a:lnTo>
                  <a:lnTo>
                    <a:pt x="1018" y="667"/>
                  </a:lnTo>
                  <a:lnTo>
                    <a:pt x="1018" y="665"/>
                  </a:lnTo>
                  <a:close/>
                  <a:moveTo>
                    <a:pt x="1002" y="657"/>
                  </a:moveTo>
                  <a:lnTo>
                    <a:pt x="1002" y="656"/>
                  </a:lnTo>
                  <a:lnTo>
                    <a:pt x="1002" y="657"/>
                  </a:lnTo>
                  <a:close/>
                  <a:moveTo>
                    <a:pt x="630" y="657"/>
                  </a:moveTo>
                  <a:lnTo>
                    <a:pt x="630" y="656"/>
                  </a:lnTo>
                  <a:lnTo>
                    <a:pt x="630" y="657"/>
                  </a:lnTo>
                  <a:close/>
                  <a:moveTo>
                    <a:pt x="635" y="657"/>
                  </a:moveTo>
                  <a:lnTo>
                    <a:pt x="635" y="656"/>
                  </a:lnTo>
                  <a:lnTo>
                    <a:pt x="635" y="657"/>
                  </a:lnTo>
                  <a:close/>
                  <a:moveTo>
                    <a:pt x="631" y="657"/>
                  </a:moveTo>
                  <a:lnTo>
                    <a:pt x="631" y="656"/>
                  </a:lnTo>
                  <a:lnTo>
                    <a:pt x="631" y="657"/>
                  </a:lnTo>
                  <a:close/>
                  <a:moveTo>
                    <a:pt x="633" y="656"/>
                  </a:moveTo>
                  <a:lnTo>
                    <a:pt x="631" y="656"/>
                  </a:lnTo>
                  <a:lnTo>
                    <a:pt x="631" y="657"/>
                  </a:lnTo>
                  <a:lnTo>
                    <a:pt x="633" y="656"/>
                  </a:lnTo>
                  <a:close/>
                  <a:moveTo>
                    <a:pt x="1002" y="659"/>
                  </a:moveTo>
                  <a:lnTo>
                    <a:pt x="1000" y="659"/>
                  </a:lnTo>
                  <a:lnTo>
                    <a:pt x="1002" y="659"/>
                  </a:lnTo>
                  <a:lnTo>
                    <a:pt x="1004" y="659"/>
                  </a:lnTo>
                  <a:lnTo>
                    <a:pt x="1005" y="662"/>
                  </a:lnTo>
                  <a:lnTo>
                    <a:pt x="1005" y="660"/>
                  </a:lnTo>
                  <a:lnTo>
                    <a:pt x="1005" y="662"/>
                  </a:lnTo>
                  <a:lnTo>
                    <a:pt x="1009" y="665"/>
                  </a:lnTo>
                  <a:lnTo>
                    <a:pt x="1007" y="664"/>
                  </a:lnTo>
                  <a:lnTo>
                    <a:pt x="1009" y="665"/>
                  </a:lnTo>
                  <a:lnTo>
                    <a:pt x="1010" y="665"/>
                  </a:lnTo>
                  <a:lnTo>
                    <a:pt x="1010" y="669"/>
                  </a:lnTo>
                  <a:lnTo>
                    <a:pt x="1012" y="670"/>
                  </a:lnTo>
                  <a:lnTo>
                    <a:pt x="1013" y="672"/>
                  </a:lnTo>
                  <a:lnTo>
                    <a:pt x="1012" y="672"/>
                  </a:lnTo>
                  <a:lnTo>
                    <a:pt x="1010" y="672"/>
                  </a:lnTo>
                  <a:lnTo>
                    <a:pt x="1009" y="672"/>
                  </a:lnTo>
                  <a:lnTo>
                    <a:pt x="1010" y="672"/>
                  </a:lnTo>
                  <a:lnTo>
                    <a:pt x="1009" y="672"/>
                  </a:lnTo>
                  <a:lnTo>
                    <a:pt x="1007" y="672"/>
                  </a:lnTo>
                  <a:lnTo>
                    <a:pt x="1005" y="672"/>
                  </a:lnTo>
                  <a:lnTo>
                    <a:pt x="1005" y="670"/>
                  </a:lnTo>
                  <a:lnTo>
                    <a:pt x="1004" y="670"/>
                  </a:lnTo>
                  <a:lnTo>
                    <a:pt x="1004" y="669"/>
                  </a:lnTo>
                  <a:lnTo>
                    <a:pt x="1002" y="667"/>
                  </a:lnTo>
                  <a:lnTo>
                    <a:pt x="999" y="665"/>
                  </a:lnTo>
                  <a:lnTo>
                    <a:pt x="997" y="665"/>
                  </a:lnTo>
                  <a:lnTo>
                    <a:pt x="997" y="664"/>
                  </a:lnTo>
                  <a:lnTo>
                    <a:pt x="996" y="664"/>
                  </a:lnTo>
                  <a:lnTo>
                    <a:pt x="992" y="664"/>
                  </a:lnTo>
                  <a:lnTo>
                    <a:pt x="994" y="664"/>
                  </a:lnTo>
                  <a:lnTo>
                    <a:pt x="992" y="664"/>
                  </a:lnTo>
                  <a:lnTo>
                    <a:pt x="994" y="664"/>
                  </a:lnTo>
                  <a:lnTo>
                    <a:pt x="992" y="664"/>
                  </a:lnTo>
                  <a:lnTo>
                    <a:pt x="991" y="664"/>
                  </a:lnTo>
                  <a:lnTo>
                    <a:pt x="989" y="664"/>
                  </a:lnTo>
                  <a:lnTo>
                    <a:pt x="989" y="662"/>
                  </a:lnTo>
                  <a:lnTo>
                    <a:pt x="991" y="662"/>
                  </a:lnTo>
                  <a:lnTo>
                    <a:pt x="992" y="662"/>
                  </a:lnTo>
                  <a:lnTo>
                    <a:pt x="992" y="660"/>
                  </a:lnTo>
                  <a:lnTo>
                    <a:pt x="994" y="660"/>
                  </a:lnTo>
                  <a:lnTo>
                    <a:pt x="994" y="659"/>
                  </a:lnTo>
                  <a:lnTo>
                    <a:pt x="996" y="659"/>
                  </a:lnTo>
                  <a:lnTo>
                    <a:pt x="997" y="659"/>
                  </a:lnTo>
                  <a:lnTo>
                    <a:pt x="999" y="660"/>
                  </a:lnTo>
                  <a:lnTo>
                    <a:pt x="999" y="659"/>
                  </a:lnTo>
                  <a:lnTo>
                    <a:pt x="999" y="660"/>
                  </a:lnTo>
                  <a:lnTo>
                    <a:pt x="997" y="660"/>
                  </a:lnTo>
                  <a:lnTo>
                    <a:pt x="997" y="662"/>
                  </a:lnTo>
                  <a:lnTo>
                    <a:pt x="996" y="662"/>
                  </a:lnTo>
                  <a:lnTo>
                    <a:pt x="994" y="662"/>
                  </a:lnTo>
                  <a:lnTo>
                    <a:pt x="994" y="664"/>
                  </a:lnTo>
                  <a:lnTo>
                    <a:pt x="994" y="662"/>
                  </a:lnTo>
                  <a:lnTo>
                    <a:pt x="996" y="662"/>
                  </a:lnTo>
                  <a:lnTo>
                    <a:pt x="997" y="662"/>
                  </a:lnTo>
                  <a:lnTo>
                    <a:pt x="997" y="660"/>
                  </a:lnTo>
                  <a:lnTo>
                    <a:pt x="999" y="660"/>
                  </a:lnTo>
                  <a:lnTo>
                    <a:pt x="999" y="659"/>
                  </a:lnTo>
                  <a:lnTo>
                    <a:pt x="997" y="659"/>
                  </a:lnTo>
                  <a:lnTo>
                    <a:pt x="999" y="659"/>
                  </a:lnTo>
                  <a:lnTo>
                    <a:pt x="1000" y="659"/>
                  </a:lnTo>
                  <a:lnTo>
                    <a:pt x="999" y="659"/>
                  </a:lnTo>
                  <a:lnTo>
                    <a:pt x="997" y="659"/>
                  </a:lnTo>
                  <a:lnTo>
                    <a:pt x="999" y="659"/>
                  </a:lnTo>
                  <a:lnTo>
                    <a:pt x="999" y="657"/>
                  </a:lnTo>
                  <a:lnTo>
                    <a:pt x="999" y="659"/>
                  </a:lnTo>
                  <a:lnTo>
                    <a:pt x="997" y="659"/>
                  </a:lnTo>
                  <a:lnTo>
                    <a:pt x="996" y="659"/>
                  </a:lnTo>
                  <a:lnTo>
                    <a:pt x="996" y="657"/>
                  </a:lnTo>
                  <a:lnTo>
                    <a:pt x="997" y="657"/>
                  </a:lnTo>
                  <a:lnTo>
                    <a:pt x="999" y="657"/>
                  </a:lnTo>
                  <a:lnTo>
                    <a:pt x="997" y="657"/>
                  </a:lnTo>
                  <a:lnTo>
                    <a:pt x="999" y="657"/>
                  </a:lnTo>
                  <a:lnTo>
                    <a:pt x="997" y="657"/>
                  </a:lnTo>
                  <a:lnTo>
                    <a:pt x="996" y="657"/>
                  </a:lnTo>
                  <a:lnTo>
                    <a:pt x="997" y="657"/>
                  </a:lnTo>
                  <a:lnTo>
                    <a:pt x="997" y="656"/>
                  </a:lnTo>
                  <a:lnTo>
                    <a:pt x="997" y="657"/>
                  </a:lnTo>
                  <a:lnTo>
                    <a:pt x="999" y="656"/>
                  </a:lnTo>
                  <a:lnTo>
                    <a:pt x="1000" y="656"/>
                  </a:lnTo>
                  <a:lnTo>
                    <a:pt x="1000" y="657"/>
                  </a:lnTo>
                  <a:lnTo>
                    <a:pt x="1002" y="657"/>
                  </a:lnTo>
                  <a:lnTo>
                    <a:pt x="1002" y="659"/>
                  </a:lnTo>
                  <a:close/>
                  <a:moveTo>
                    <a:pt x="999" y="656"/>
                  </a:moveTo>
                  <a:lnTo>
                    <a:pt x="997" y="656"/>
                  </a:lnTo>
                  <a:lnTo>
                    <a:pt x="999" y="656"/>
                  </a:lnTo>
                  <a:close/>
                  <a:moveTo>
                    <a:pt x="1004" y="657"/>
                  </a:moveTo>
                  <a:lnTo>
                    <a:pt x="1002" y="656"/>
                  </a:lnTo>
                  <a:lnTo>
                    <a:pt x="1004" y="657"/>
                  </a:lnTo>
                  <a:close/>
                  <a:moveTo>
                    <a:pt x="646" y="656"/>
                  </a:moveTo>
                  <a:lnTo>
                    <a:pt x="648" y="656"/>
                  </a:lnTo>
                  <a:lnTo>
                    <a:pt x="646" y="656"/>
                  </a:lnTo>
                  <a:close/>
                  <a:moveTo>
                    <a:pt x="1002" y="656"/>
                  </a:moveTo>
                  <a:lnTo>
                    <a:pt x="1002" y="657"/>
                  </a:lnTo>
                  <a:lnTo>
                    <a:pt x="1000" y="656"/>
                  </a:lnTo>
                  <a:lnTo>
                    <a:pt x="999" y="656"/>
                  </a:lnTo>
                  <a:lnTo>
                    <a:pt x="1000" y="656"/>
                  </a:lnTo>
                  <a:lnTo>
                    <a:pt x="1002" y="656"/>
                  </a:lnTo>
                  <a:close/>
                  <a:moveTo>
                    <a:pt x="633" y="656"/>
                  </a:moveTo>
                  <a:lnTo>
                    <a:pt x="631" y="656"/>
                  </a:lnTo>
                  <a:lnTo>
                    <a:pt x="633" y="656"/>
                  </a:lnTo>
                  <a:close/>
                  <a:moveTo>
                    <a:pt x="994" y="656"/>
                  </a:moveTo>
                  <a:lnTo>
                    <a:pt x="992" y="656"/>
                  </a:lnTo>
                  <a:lnTo>
                    <a:pt x="994" y="656"/>
                  </a:lnTo>
                  <a:close/>
                  <a:moveTo>
                    <a:pt x="999" y="656"/>
                  </a:moveTo>
                  <a:lnTo>
                    <a:pt x="997" y="656"/>
                  </a:lnTo>
                  <a:lnTo>
                    <a:pt x="999" y="656"/>
                  </a:lnTo>
                  <a:close/>
                  <a:moveTo>
                    <a:pt x="1002" y="656"/>
                  </a:moveTo>
                  <a:lnTo>
                    <a:pt x="1000" y="656"/>
                  </a:lnTo>
                  <a:lnTo>
                    <a:pt x="1002" y="656"/>
                  </a:lnTo>
                  <a:close/>
                  <a:moveTo>
                    <a:pt x="999" y="656"/>
                  </a:moveTo>
                  <a:lnTo>
                    <a:pt x="999" y="654"/>
                  </a:lnTo>
                  <a:lnTo>
                    <a:pt x="999" y="656"/>
                  </a:lnTo>
                  <a:close/>
                  <a:moveTo>
                    <a:pt x="648" y="654"/>
                  </a:moveTo>
                  <a:lnTo>
                    <a:pt x="648" y="656"/>
                  </a:lnTo>
                  <a:lnTo>
                    <a:pt x="649" y="656"/>
                  </a:lnTo>
                  <a:lnTo>
                    <a:pt x="651" y="656"/>
                  </a:lnTo>
                  <a:lnTo>
                    <a:pt x="649" y="656"/>
                  </a:lnTo>
                  <a:lnTo>
                    <a:pt x="648" y="656"/>
                  </a:lnTo>
                  <a:lnTo>
                    <a:pt x="648" y="654"/>
                  </a:lnTo>
                  <a:close/>
                  <a:moveTo>
                    <a:pt x="992" y="656"/>
                  </a:moveTo>
                  <a:lnTo>
                    <a:pt x="992" y="654"/>
                  </a:lnTo>
                  <a:lnTo>
                    <a:pt x="992" y="656"/>
                  </a:lnTo>
                  <a:close/>
                  <a:moveTo>
                    <a:pt x="1005" y="656"/>
                  </a:moveTo>
                  <a:lnTo>
                    <a:pt x="1007" y="656"/>
                  </a:lnTo>
                  <a:lnTo>
                    <a:pt x="1007" y="657"/>
                  </a:lnTo>
                  <a:lnTo>
                    <a:pt x="1005" y="656"/>
                  </a:lnTo>
                  <a:lnTo>
                    <a:pt x="1005" y="654"/>
                  </a:lnTo>
                  <a:lnTo>
                    <a:pt x="1007" y="654"/>
                  </a:lnTo>
                  <a:lnTo>
                    <a:pt x="1005" y="656"/>
                  </a:lnTo>
                  <a:close/>
                  <a:moveTo>
                    <a:pt x="999" y="654"/>
                  </a:moveTo>
                  <a:lnTo>
                    <a:pt x="997" y="654"/>
                  </a:lnTo>
                  <a:lnTo>
                    <a:pt x="999" y="654"/>
                  </a:lnTo>
                  <a:close/>
                  <a:moveTo>
                    <a:pt x="1004" y="654"/>
                  </a:moveTo>
                  <a:lnTo>
                    <a:pt x="1004" y="656"/>
                  </a:lnTo>
                  <a:lnTo>
                    <a:pt x="1004" y="654"/>
                  </a:lnTo>
                  <a:close/>
                  <a:moveTo>
                    <a:pt x="649" y="654"/>
                  </a:moveTo>
                  <a:lnTo>
                    <a:pt x="648" y="654"/>
                  </a:lnTo>
                  <a:lnTo>
                    <a:pt x="649" y="654"/>
                  </a:lnTo>
                  <a:close/>
                  <a:moveTo>
                    <a:pt x="1002" y="654"/>
                  </a:moveTo>
                  <a:lnTo>
                    <a:pt x="1000" y="654"/>
                  </a:lnTo>
                  <a:lnTo>
                    <a:pt x="1002" y="654"/>
                  </a:lnTo>
                  <a:close/>
                  <a:moveTo>
                    <a:pt x="643" y="654"/>
                  </a:moveTo>
                  <a:lnTo>
                    <a:pt x="641" y="654"/>
                  </a:lnTo>
                  <a:lnTo>
                    <a:pt x="643" y="654"/>
                  </a:lnTo>
                  <a:close/>
                  <a:moveTo>
                    <a:pt x="644" y="652"/>
                  </a:moveTo>
                  <a:lnTo>
                    <a:pt x="644" y="654"/>
                  </a:lnTo>
                  <a:lnTo>
                    <a:pt x="644" y="652"/>
                  </a:lnTo>
                  <a:close/>
                  <a:moveTo>
                    <a:pt x="649" y="654"/>
                  </a:moveTo>
                  <a:lnTo>
                    <a:pt x="649" y="652"/>
                  </a:lnTo>
                  <a:lnTo>
                    <a:pt x="649" y="654"/>
                  </a:lnTo>
                  <a:close/>
                  <a:moveTo>
                    <a:pt x="649" y="654"/>
                  </a:moveTo>
                  <a:lnTo>
                    <a:pt x="649" y="652"/>
                  </a:lnTo>
                  <a:lnTo>
                    <a:pt x="649" y="654"/>
                  </a:lnTo>
                  <a:close/>
                  <a:moveTo>
                    <a:pt x="649" y="652"/>
                  </a:moveTo>
                  <a:lnTo>
                    <a:pt x="648" y="652"/>
                  </a:lnTo>
                  <a:lnTo>
                    <a:pt x="649" y="652"/>
                  </a:lnTo>
                  <a:close/>
                  <a:moveTo>
                    <a:pt x="1000" y="652"/>
                  </a:moveTo>
                  <a:lnTo>
                    <a:pt x="1000" y="654"/>
                  </a:lnTo>
                  <a:lnTo>
                    <a:pt x="1000" y="652"/>
                  </a:lnTo>
                  <a:close/>
                  <a:moveTo>
                    <a:pt x="643" y="654"/>
                  </a:moveTo>
                  <a:lnTo>
                    <a:pt x="641" y="654"/>
                  </a:lnTo>
                  <a:lnTo>
                    <a:pt x="641" y="652"/>
                  </a:lnTo>
                  <a:lnTo>
                    <a:pt x="643" y="652"/>
                  </a:lnTo>
                  <a:lnTo>
                    <a:pt x="641" y="652"/>
                  </a:lnTo>
                  <a:lnTo>
                    <a:pt x="643" y="652"/>
                  </a:lnTo>
                  <a:lnTo>
                    <a:pt x="643" y="654"/>
                  </a:lnTo>
                  <a:close/>
                  <a:moveTo>
                    <a:pt x="1012" y="659"/>
                  </a:moveTo>
                  <a:lnTo>
                    <a:pt x="1010" y="659"/>
                  </a:lnTo>
                  <a:lnTo>
                    <a:pt x="1009" y="659"/>
                  </a:lnTo>
                  <a:lnTo>
                    <a:pt x="1009" y="657"/>
                  </a:lnTo>
                  <a:lnTo>
                    <a:pt x="1007" y="657"/>
                  </a:lnTo>
                  <a:lnTo>
                    <a:pt x="1007" y="656"/>
                  </a:lnTo>
                  <a:lnTo>
                    <a:pt x="1009" y="656"/>
                  </a:lnTo>
                  <a:lnTo>
                    <a:pt x="1009" y="654"/>
                  </a:lnTo>
                  <a:lnTo>
                    <a:pt x="1009" y="656"/>
                  </a:lnTo>
                  <a:lnTo>
                    <a:pt x="1007" y="656"/>
                  </a:lnTo>
                  <a:lnTo>
                    <a:pt x="1007" y="654"/>
                  </a:lnTo>
                  <a:lnTo>
                    <a:pt x="1009" y="654"/>
                  </a:lnTo>
                  <a:lnTo>
                    <a:pt x="1007" y="654"/>
                  </a:lnTo>
                  <a:lnTo>
                    <a:pt x="1009" y="652"/>
                  </a:lnTo>
                  <a:lnTo>
                    <a:pt x="1007" y="652"/>
                  </a:lnTo>
                  <a:lnTo>
                    <a:pt x="1005" y="652"/>
                  </a:lnTo>
                  <a:lnTo>
                    <a:pt x="1007" y="652"/>
                  </a:lnTo>
                  <a:lnTo>
                    <a:pt x="1009" y="652"/>
                  </a:lnTo>
                  <a:lnTo>
                    <a:pt x="1010" y="654"/>
                  </a:lnTo>
                  <a:lnTo>
                    <a:pt x="1012" y="656"/>
                  </a:lnTo>
                  <a:lnTo>
                    <a:pt x="1012" y="657"/>
                  </a:lnTo>
                  <a:lnTo>
                    <a:pt x="1012" y="656"/>
                  </a:lnTo>
                  <a:lnTo>
                    <a:pt x="1012" y="657"/>
                  </a:lnTo>
                  <a:lnTo>
                    <a:pt x="1012" y="659"/>
                  </a:lnTo>
                  <a:lnTo>
                    <a:pt x="1012" y="660"/>
                  </a:lnTo>
                  <a:lnTo>
                    <a:pt x="1012" y="662"/>
                  </a:lnTo>
                  <a:lnTo>
                    <a:pt x="1013" y="662"/>
                  </a:lnTo>
                  <a:lnTo>
                    <a:pt x="1013" y="664"/>
                  </a:lnTo>
                  <a:lnTo>
                    <a:pt x="1013" y="662"/>
                  </a:lnTo>
                  <a:lnTo>
                    <a:pt x="1015" y="664"/>
                  </a:lnTo>
                  <a:lnTo>
                    <a:pt x="1017" y="665"/>
                  </a:lnTo>
                  <a:lnTo>
                    <a:pt x="1015" y="664"/>
                  </a:lnTo>
                  <a:lnTo>
                    <a:pt x="1017" y="664"/>
                  </a:lnTo>
                  <a:lnTo>
                    <a:pt x="1017" y="665"/>
                  </a:lnTo>
                  <a:lnTo>
                    <a:pt x="1018" y="665"/>
                  </a:lnTo>
                  <a:lnTo>
                    <a:pt x="1017" y="667"/>
                  </a:lnTo>
                  <a:lnTo>
                    <a:pt x="1018" y="669"/>
                  </a:lnTo>
                  <a:lnTo>
                    <a:pt x="1017" y="670"/>
                  </a:lnTo>
                  <a:lnTo>
                    <a:pt x="1018" y="670"/>
                  </a:lnTo>
                  <a:lnTo>
                    <a:pt x="1018" y="672"/>
                  </a:lnTo>
                  <a:lnTo>
                    <a:pt x="1017" y="672"/>
                  </a:lnTo>
                  <a:lnTo>
                    <a:pt x="1015" y="670"/>
                  </a:lnTo>
                  <a:lnTo>
                    <a:pt x="1015" y="669"/>
                  </a:lnTo>
                  <a:lnTo>
                    <a:pt x="1013" y="667"/>
                  </a:lnTo>
                  <a:lnTo>
                    <a:pt x="1012" y="667"/>
                  </a:lnTo>
                  <a:lnTo>
                    <a:pt x="1012" y="665"/>
                  </a:lnTo>
                  <a:lnTo>
                    <a:pt x="1010" y="664"/>
                  </a:lnTo>
                  <a:lnTo>
                    <a:pt x="1009" y="662"/>
                  </a:lnTo>
                  <a:lnTo>
                    <a:pt x="1009" y="660"/>
                  </a:lnTo>
                  <a:lnTo>
                    <a:pt x="1009" y="659"/>
                  </a:lnTo>
                  <a:lnTo>
                    <a:pt x="1007" y="657"/>
                  </a:lnTo>
                  <a:lnTo>
                    <a:pt x="1009" y="657"/>
                  </a:lnTo>
                  <a:lnTo>
                    <a:pt x="1009" y="659"/>
                  </a:lnTo>
                  <a:lnTo>
                    <a:pt x="1010" y="659"/>
                  </a:lnTo>
                  <a:lnTo>
                    <a:pt x="1012" y="659"/>
                  </a:lnTo>
                  <a:close/>
                  <a:moveTo>
                    <a:pt x="649" y="651"/>
                  </a:moveTo>
                  <a:lnTo>
                    <a:pt x="649" y="652"/>
                  </a:lnTo>
                  <a:lnTo>
                    <a:pt x="649" y="651"/>
                  </a:lnTo>
                  <a:close/>
                  <a:moveTo>
                    <a:pt x="651" y="651"/>
                  </a:moveTo>
                  <a:lnTo>
                    <a:pt x="649" y="651"/>
                  </a:lnTo>
                  <a:lnTo>
                    <a:pt x="651" y="651"/>
                  </a:lnTo>
                  <a:close/>
                  <a:moveTo>
                    <a:pt x="651" y="651"/>
                  </a:moveTo>
                  <a:lnTo>
                    <a:pt x="649" y="651"/>
                  </a:lnTo>
                  <a:lnTo>
                    <a:pt x="651" y="651"/>
                  </a:lnTo>
                  <a:close/>
                  <a:moveTo>
                    <a:pt x="649" y="651"/>
                  </a:moveTo>
                  <a:lnTo>
                    <a:pt x="648" y="651"/>
                  </a:lnTo>
                  <a:lnTo>
                    <a:pt x="649" y="651"/>
                  </a:lnTo>
                  <a:lnTo>
                    <a:pt x="649" y="649"/>
                  </a:lnTo>
                  <a:lnTo>
                    <a:pt x="649" y="651"/>
                  </a:lnTo>
                  <a:close/>
                  <a:moveTo>
                    <a:pt x="649" y="649"/>
                  </a:moveTo>
                  <a:lnTo>
                    <a:pt x="649" y="651"/>
                  </a:lnTo>
                  <a:lnTo>
                    <a:pt x="649" y="649"/>
                  </a:lnTo>
                  <a:close/>
                  <a:moveTo>
                    <a:pt x="1174" y="649"/>
                  </a:moveTo>
                  <a:lnTo>
                    <a:pt x="1174" y="651"/>
                  </a:lnTo>
                  <a:lnTo>
                    <a:pt x="1174" y="649"/>
                  </a:lnTo>
                  <a:close/>
                  <a:moveTo>
                    <a:pt x="1007" y="649"/>
                  </a:moveTo>
                  <a:lnTo>
                    <a:pt x="1009" y="651"/>
                  </a:lnTo>
                  <a:lnTo>
                    <a:pt x="1010" y="652"/>
                  </a:lnTo>
                  <a:lnTo>
                    <a:pt x="1012" y="652"/>
                  </a:lnTo>
                  <a:lnTo>
                    <a:pt x="1010" y="654"/>
                  </a:lnTo>
                  <a:lnTo>
                    <a:pt x="1010" y="652"/>
                  </a:lnTo>
                  <a:lnTo>
                    <a:pt x="1009" y="652"/>
                  </a:lnTo>
                  <a:lnTo>
                    <a:pt x="1009" y="651"/>
                  </a:lnTo>
                  <a:lnTo>
                    <a:pt x="1007" y="651"/>
                  </a:lnTo>
                  <a:lnTo>
                    <a:pt x="1005" y="651"/>
                  </a:lnTo>
                  <a:lnTo>
                    <a:pt x="1007" y="651"/>
                  </a:lnTo>
                  <a:lnTo>
                    <a:pt x="1005" y="651"/>
                  </a:lnTo>
                  <a:lnTo>
                    <a:pt x="1005" y="649"/>
                  </a:lnTo>
                  <a:lnTo>
                    <a:pt x="1007" y="649"/>
                  </a:lnTo>
                  <a:lnTo>
                    <a:pt x="1007" y="651"/>
                  </a:lnTo>
                  <a:lnTo>
                    <a:pt x="1007" y="649"/>
                  </a:lnTo>
                  <a:close/>
                  <a:moveTo>
                    <a:pt x="649" y="649"/>
                  </a:moveTo>
                  <a:lnTo>
                    <a:pt x="648" y="649"/>
                  </a:lnTo>
                  <a:lnTo>
                    <a:pt x="649" y="649"/>
                  </a:lnTo>
                  <a:close/>
                  <a:moveTo>
                    <a:pt x="992" y="649"/>
                  </a:moveTo>
                  <a:lnTo>
                    <a:pt x="991" y="649"/>
                  </a:lnTo>
                  <a:lnTo>
                    <a:pt x="992" y="649"/>
                  </a:lnTo>
                  <a:close/>
                  <a:moveTo>
                    <a:pt x="648" y="647"/>
                  </a:moveTo>
                  <a:lnTo>
                    <a:pt x="648" y="649"/>
                  </a:lnTo>
                  <a:lnTo>
                    <a:pt x="648" y="647"/>
                  </a:lnTo>
                  <a:close/>
                  <a:moveTo>
                    <a:pt x="644" y="647"/>
                  </a:moveTo>
                  <a:lnTo>
                    <a:pt x="643" y="647"/>
                  </a:lnTo>
                  <a:lnTo>
                    <a:pt x="644" y="647"/>
                  </a:lnTo>
                  <a:close/>
                  <a:moveTo>
                    <a:pt x="635" y="646"/>
                  </a:moveTo>
                  <a:lnTo>
                    <a:pt x="633" y="647"/>
                  </a:lnTo>
                  <a:lnTo>
                    <a:pt x="633" y="646"/>
                  </a:lnTo>
                  <a:lnTo>
                    <a:pt x="635" y="646"/>
                  </a:lnTo>
                  <a:close/>
                  <a:moveTo>
                    <a:pt x="633" y="647"/>
                  </a:moveTo>
                  <a:lnTo>
                    <a:pt x="633" y="646"/>
                  </a:lnTo>
                  <a:lnTo>
                    <a:pt x="633" y="647"/>
                  </a:lnTo>
                  <a:close/>
                  <a:moveTo>
                    <a:pt x="636" y="646"/>
                  </a:moveTo>
                  <a:lnTo>
                    <a:pt x="636" y="647"/>
                  </a:lnTo>
                  <a:lnTo>
                    <a:pt x="636" y="646"/>
                  </a:lnTo>
                  <a:close/>
                  <a:moveTo>
                    <a:pt x="635" y="647"/>
                  </a:moveTo>
                  <a:lnTo>
                    <a:pt x="635" y="646"/>
                  </a:lnTo>
                  <a:lnTo>
                    <a:pt x="635" y="647"/>
                  </a:lnTo>
                  <a:close/>
                  <a:moveTo>
                    <a:pt x="641" y="646"/>
                  </a:moveTo>
                  <a:lnTo>
                    <a:pt x="639" y="646"/>
                  </a:lnTo>
                  <a:lnTo>
                    <a:pt x="641" y="646"/>
                  </a:lnTo>
                  <a:close/>
                  <a:moveTo>
                    <a:pt x="636" y="646"/>
                  </a:moveTo>
                  <a:lnTo>
                    <a:pt x="635" y="646"/>
                  </a:lnTo>
                  <a:lnTo>
                    <a:pt x="636" y="646"/>
                  </a:lnTo>
                  <a:close/>
                  <a:moveTo>
                    <a:pt x="636" y="644"/>
                  </a:moveTo>
                  <a:lnTo>
                    <a:pt x="636" y="646"/>
                  </a:lnTo>
                  <a:lnTo>
                    <a:pt x="636" y="644"/>
                  </a:lnTo>
                  <a:close/>
                  <a:moveTo>
                    <a:pt x="635" y="644"/>
                  </a:moveTo>
                  <a:lnTo>
                    <a:pt x="635" y="646"/>
                  </a:lnTo>
                  <a:lnTo>
                    <a:pt x="635" y="644"/>
                  </a:lnTo>
                  <a:close/>
                  <a:moveTo>
                    <a:pt x="992" y="644"/>
                  </a:moveTo>
                  <a:lnTo>
                    <a:pt x="992" y="646"/>
                  </a:lnTo>
                  <a:lnTo>
                    <a:pt x="991" y="644"/>
                  </a:lnTo>
                  <a:lnTo>
                    <a:pt x="992" y="644"/>
                  </a:lnTo>
                  <a:close/>
                  <a:moveTo>
                    <a:pt x="641" y="644"/>
                  </a:moveTo>
                  <a:lnTo>
                    <a:pt x="639" y="644"/>
                  </a:lnTo>
                  <a:lnTo>
                    <a:pt x="641" y="644"/>
                  </a:lnTo>
                  <a:close/>
                  <a:moveTo>
                    <a:pt x="638" y="643"/>
                  </a:moveTo>
                  <a:lnTo>
                    <a:pt x="638" y="644"/>
                  </a:lnTo>
                  <a:lnTo>
                    <a:pt x="638" y="643"/>
                  </a:lnTo>
                  <a:close/>
                  <a:moveTo>
                    <a:pt x="639" y="643"/>
                  </a:moveTo>
                  <a:lnTo>
                    <a:pt x="639" y="644"/>
                  </a:lnTo>
                  <a:lnTo>
                    <a:pt x="638" y="643"/>
                  </a:lnTo>
                  <a:lnTo>
                    <a:pt x="639" y="643"/>
                  </a:lnTo>
                  <a:close/>
                  <a:moveTo>
                    <a:pt x="635" y="643"/>
                  </a:moveTo>
                  <a:lnTo>
                    <a:pt x="635" y="644"/>
                  </a:lnTo>
                  <a:lnTo>
                    <a:pt x="633" y="644"/>
                  </a:lnTo>
                  <a:lnTo>
                    <a:pt x="635" y="644"/>
                  </a:lnTo>
                  <a:lnTo>
                    <a:pt x="635" y="643"/>
                  </a:lnTo>
                  <a:close/>
                  <a:moveTo>
                    <a:pt x="635" y="643"/>
                  </a:moveTo>
                  <a:lnTo>
                    <a:pt x="635" y="644"/>
                  </a:lnTo>
                  <a:lnTo>
                    <a:pt x="635" y="643"/>
                  </a:lnTo>
                  <a:close/>
                  <a:moveTo>
                    <a:pt x="636" y="643"/>
                  </a:moveTo>
                  <a:lnTo>
                    <a:pt x="635" y="643"/>
                  </a:lnTo>
                  <a:lnTo>
                    <a:pt x="636" y="643"/>
                  </a:lnTo>
                  <a:close/>
                  <a:moveTo>
                    <a:pt x="636" y="641"/>
                  </a:moveTo>
                  <a:lnTo>
                    <a:pt x="636" y="643"/>
                  </a:lnTo>
                  <a:lnTo>
                    <a:pt x="636" y="641"/>
                  </a:lnTo>
                  <a:close/>
                  <a:moveTo>
                    <a:pt x="636" y="641"/>
                  </a:moveTo>
                  <a:lnTo>
                    <a:pt x="636" y="643"/>
                  </a:lnTo>
                  <a:lnTo>
                    <a:pt x="636" y="641"/>
                  </a:lnTo>
                  <a:close/>
                  <a:moveTo>
                    <a:pt x="639" y="643"/>
                  </a:moveTo>
                  <a:lnTo>
                    <a:pt x="638" y="643"/>
                  </a:lnTo>
                  <a:lnTo>
                    <a:pt x="639" y="641"/>
                  </a:lnTo>
                  <a:lnTo>
                    <a:pt x="639" y="643"/>
                  </a:lnTo>
                  <a:close/>
                  <a:moveTo>
                    <a:pt x="636" y="641"/>
                  </a:moveTo>
                  <a:lnTo>
                    <a:pt x="635" y="641"/>
                  </a:lnTo>
                  <a:lnTo>
                    <a:pt x="636" y="641"/>
                  </a:lnTo>
                  <a:close/>
                  <a:moveTo>
                    <a:pt x="635" y="641"/>
                  </a:moveTo>
                  <a:lnTo>
                    <a:pt x="633" y="641"/>
                  </a:lnTo>
                  <a:lnTo>
                    <a:pt x="635" y="641"/>
                  </a:lnTo>
                  <a:close/>
                  <a:moveTo>
                    <a:pt x="633" y="641"/>
                  </a:moveTo>
                  <a:lnTo>
                    <a:pt x="633" y="639"/>
                  </a:lnTo>
                  <a:lnTo>
                    <a:pt x="633" y="641"/>
                  </a:lnTo>
                  <a:close/>
                  <a:moveTo>
                    <a:pt x="639" y="639"/>
                  </a:moveTo>
                  <a:lnTo>
                    <a:pt x="639" y="641"/>
                  </a:lnTo>
                  <a:lnTo>
                    <a:pt x="639" y="639"/>
                  </a:lnTo>
                  <a:close/>
                  <a:moveTo>
                    <a:pt x="635" y="639"/>
                  </a:moveTo>
                  <a:lnTo>
                    <a:pt x="633" y="641"/>
                  </a:lnTo>
                  <a:lnTo>
                    <a:pt x="633" y="639"/>
                  </a:lnTo>
                  <a:lnTo>
                    <a:pt x="635" y="639"/>
                  </a:lnTo>
                  <a:close/>
                  <a:moveTo>
                    <a:pt x="623" y="638"/>
                  </a:moveTo>
                  <a:lnTo>
                    <a:pt x="622" y="638"/>
                  </a:lnTo>
                  <a:lnTo>
                    <a:pt x="623" y="636"/>
                  </a:lnTo>
                  <a:lnTo>
                    <a:pt x="623" y="638"/>
                  </a:lnTo>
                  <a:close/>
                  <a:moveTo>
                    <a:pt x="622" y="638"/>
                  </a:moveTo>
                  <a:lnTo>
                    <a:pt x="622" y="636"/>
                  </a:lnTo>
                  <a:lnTo>
                    <a:pt x="622" y="638"/>
                  </a:lnTo>
                  <a:close/>
                  <a:moveTo>
                    <a:pt x="625" y="636"/>
                  </a:moveTo>
                  <a:lnTo>
                    <a:pt x="625" y="638"/>
                  </a:lnTo>
                  <a:lnTo>
                    <a:pt x="625" y="636"/>
                  </a:lnTo>
                  <a:close/>
                  <a:moveTo>
                    <a:pt x="626" y="638"/>
                  </a:moveTo>
                  <a:lnTo>
                    <a:pt x="626" y="636"/>
                  </a:lnTo>
                  <a:lnTo>
                    <a:pt x="626" y="638"/>
                  </a:lnTo>
                  <a:close/>
                  <a:moveTo>
                    <a:pt x="631" y="636"/>
                  </a:moveTo>
                  <a:lnTo>
                    <a:pt x="630" y="636"/>
                  </a:lnTo>
                  <a:lnTo>
                    <a:pt x="631" y="636"/>
                  </a:lnTo>
                  <a:close/>
                  <a:moveTo>
                    <a:pt x="622" y="636"/>
                  </a:moveTo>
                  <a:lnTo>
                    <a:pt x="623" y="636"/>
                  </a:lnTo>
                  <a:lnTo>
                    <a:pt x="622" y="636"/>
                  </a:lnTo>
                  <a:close/>
                  <a:moveTo>
                    <a:pt x="626" y="636"/>
                  </a:moveTo>
                  <a:lnTo>
                    <a:pt x="625" y="636"/>
                  </a:lnTo>
                  <a:lnTo>
                    <a:pt x="626" y="636"/>
                  </a:lnTo>
                  <a:close/>
                  <a:moveTo>
                    <a:pt x="631" y="636"/>
                  </a:moveTo>
                  <a:lnTo>
                    <a:pt x="631" y="634"/>
                  </a:lnTo>
                  <a:lnTo>
                    <a:pt x="631" y="636"/>
                  </a:lnTo>
                  <a:close/>
                  <a:moveTo>
                    <a:pt x="622" y="634"/>
                  </a:moveTo>
                  <a:lnTo>
                    <a:pt x="620" y="634"/>
                  </a:lnTo>
                  <a:lnTo>
                    <a:pt x="622" y="634"/>
                  </a:lnTo>
                  <a:close/>
                  <a:moveTo>
                    <a:pt x="984" y="634"/>
                  </a:moveTo>
                  <a:lnTo>
                    <a:pt x="984" y="633"/>
                  </a:lnTo>
                  <a:lnTo>
                    <a:pt x="984" y="634"/>
                  </a:lnTo>
                  <a:close/>
                  <a:moveTo>
                    <a:pt x="986" y="634"/>
                  </a:moveTo>
                  <a:lnTo>
                    <a:pt x="986" y="633"/>
                  </a:lnTo>
                  <a:lnTo>
                    <a:pt x="986" y="634"/>
                  </a:lnTo>
                  <a:close/>
                  <a:moveTo>
                    <a:pt x="620" y="634"/>
                  </a:moveTo>
                  <a:lnTo>
                    <a:pt x="620" y="633"/>
                  </a:lnTo>
                  <a:lnTo>
                    <a:pt x="620" y="634"/>
                  </a:lnTo>
                  <a:close/>
                  <a:moveTo>
                    <a:pt x="984" y="634"/>
                  </a:moveTo>
                  <a:lnTo>
                    <a:pt x="984" y="633"/>
                  </a:lnTo>
                  <a:lnTo>
                    <a:pt x="984" y="634"/>
                  </a:lnTo>
                  <a:close/>
                  <a:moveTo>
                    <a:pt x="622" y="633"/>
                  </a:moveTo>
                  <a:lnTo>
                    <a:pt x="620" y="633"/>
                  </a:lnTo>
                  <a:lnTo>
                    <a:pt x="622" y="633"/>
                  </a:lnTo>
                  <a:close/>
                  <a:moveTo>
                    <a:pt x="622" y="633"/>
                  </a:moveTo>
                  <a:lnTo>
                    <a:pt x="622" y="634"/>
                  </a:lnTo>
                  <a:lnTo>
                    <a:pt x="622" y="633"/>
                  </a:lnTo>
                  <a:close/>
                  <a:moveTo>
                    <a:pt x="620" y="631"/>
                  </a:moveTo>
                  <a:lnTo>
                    <a:pt x="618" y="631"/>
                  </a:lnTo>
                  <a:lnTo>
                    <a:pt x="620" y="631"/>
                  </a:lnTo>
                  <a:close/>
                  <a:moveTo>
                    <a:pt x="983" y="634"/>
                  </a:moveTo>
                  <a:lnTo>
                    <a:pt x="984" y="634"/>
                  </a:lnTo>
                  <a:lnTo>
                    <a:pt x="986" y="634"/>
                  </a:lnTo>
                  <a:lnTo>
                    <a:pt x="984" y="634"/>
                  </a:lnTo>
                  <a:lnTo>
                    <a:pt x="984" y="633"/>
                  </a:lnTo>
                  <a:lnTo>
                    <a:pt x="986" y="634"/>
                  </a:lnTo>
                  <a:lnTo>
                    <a:pt x="987" y="634"/>
                  </a:lnTo>
                  <a:lnTo>
                    <a:pt x="987" y="636"/>
                  </a:lnTo>
                  <a:lnTo>
                    <a:pt x="987" y="638"/>
                  </a:lnTo>
                  <a:lnTo>
                    <a:pt x="987" y="639"/>
                  </a:lnTo>
                  <a:lnTo>
                    <a:pt x="989" y="639"/>
                  </a:lnTo>
                  <a:lnTo>
                    <a:pt x="989" y="641"/>
                  </a:lnTo>
                  <a:lnTo>
                    <a:pt x="991" y="641"/>
                  </a:lnTo>
                  <a:lnTo>
                    <a:pt x="991" y="643"/>
                  </a:lnTo>
                  <a:lnTo>
                    <a:pt x="991" y="641"/>
                  </a:lnTo>
                  <a:lnTo>
                    <a:pt x="989" y="643"/>
                  </a:lnTo>
                  <a:lnTo>
                    <a:pt x="991" y="643"/>
                  </a:lnTo>
                  <a:lnTo>
                    <a:pt x="989" y="643"/>
                  </a:lnTo>
                  <a:lnTo>
                    <a:pt x="991" y="644"/>
                  </a:lnTo>
                  <a:lnTo>
                    <a:pt x="992" y="644"/>
                  </a:lnTo>
                  <a:lnTo>
                    <a:pt x="991" y="644"/>
                  </a:lnTo>
                  <a:lnTo>
                    <a:pt x="991" y="646"/>
                  </a:lnTo>
                  <a:lnTo>
                    <a:pt x="992" y="646"/>
                  </a:lnTo>
                  <a:lnTo>
                    <a:pt x="991" y="646"/>
                  </a:lnTo>
                  <a:lnTo>
                    <a:pt x="989" y="646"/>
                  </a:lnTo>
                  <a:lnTo>
                    <a:pt x="987" y="644"/>
                  </a:lnTo>
                  <a:lnTo>
                    <a:pt x="986" y="643"/>
                  </a:lnTo>
                  <a:lnTo>
                    <a:pt x="986" y="641"/>
                  </a:lnTo>
                  <a:lnTo>
                    <a:pt x="984" y="641"/>
                  </a:lnTo>
                  <a:lnTo>
                    <a:pt x="986" y="643"/>
                  </a:lnTo>
                  <a:lnTo>
                    <a:pt x="984" y="641"/>
                  </a:lnTo>
                  <a:lnTo>
                    <a:pt x="984" y="639"/>
                  </a:lnTo>
                  <a:lnTo>
                    <a:pt x="983" y="638"/>
                  </a:lnTo>
                  <a:lnTo>
                    <a:pt x="981" y="634"/>
                  </a:lnTo>
                  <a:lnTo>
                    <a:pt x="979" y="633"/>
                  </a:lnTo>
                  <a:lnTo>
                    <a:pt x="978" y="631"/>
                  </a:lnTo>
                  <a:lnTo>
                    <a:pt x="981" y="631"/>
                  </a:lnTo>
                  <a:lnTo>
                    <a:pt x="981" y="633"/>
                  </a:lnTo>
                  <a:lnTo>
                    <a:pt x="983" y="633"/>
                  </a:lnTo>
                  <a:lnTo>
                    <a:pt x="983" y="634"/>
                  </a:lnTo>
                  <a:close/>
                  <a:moveTo>
                    <a:pt x="978" y="633"/>
                  </a:moveTo>
                  <a:lnTo>
                    <a:pt x="978" y="631"/>
                  </a:lnTo>
                  <a:lnTo>
                    <a:pt x="976" y="630"/>
                  </a:lnTo>
                  <a:lnTo>
                    <a:pt x="976" y="628"/>
                  </a:lnTo>
                  <a:lnTo>
                    <a:pt x="976" y="630"/>
                  </a:lnTo>
                  <a:lnTo>
                    <a:pt x="976" y="631"/>
                  </a:lnTo>
                  <a:lnTo>
                    <a:pt x="978" y="631"/>
                  </a:lnTo>
                  <a:lnTo>
                    <a:pt x="978" y="633"/>
                  </a:lnTo>
                  <a:close/>
                  <a:moveTo>
                    <a:pt x="973" y="625"/>
                  </a:moveTo>
                  <a:lnTo>
                    <a:pt x="973" y="623"/>
                  </a:lnTo>
                  <a:lnTo>
                    <a:pt x="973" y="625"/>
                  </a:lnTo>
                  <a:close/>
                  <a:moveTo>
                    <a:pt x="1178" y="623"/>
                  </a:moveTo>
                  <a:lnTo>
                    <a:pt x="1179" y="623"/>
                  </a:lnTo>
                  <a:lnTo>
                    <a:pt x="1178" y="623"/>
                  </a:lnTo>
                  <a:close/>
                  <a:moveTo>
                    <a:pt x="517" y="620"/>
                  </a:moveTo>
                  <a:lnTo>
                    <a:pt x="516" y="620"/>
                  </a:lnTo>
                  <a:lnTo>
                    <a:pt x="516" y="621"/>
                  </a:lnTo>
                  <a:lnTo>
                    <a:pt x="514" y="621"/>
                  </a:lnTo>
                  <a:lnTo>
                    <a:pt x="514" y="620"/>
                  </a:lnTo>
                  <a:lnTo>
                    <a:pt x="516" y="620"/>
                  </a:lnTo>
                  <a:lnTo>
                    <a:pt x="517" y="620"/>
                  </a:lnTo>
                  <a:close/>
                  <a:moveTo>
                    <a:pt x="1178" y="617"/>
                  </a:moveTo>
                  <a:lnTo>
                    <a:pt x="1178" y="618"/>
                  </a:lnTo>
                  <a:lnTo>
                    <a:pt x="1178" y="617"/>
                  </a:lnTo>
                  <a:close/>
                  <a:moveTo>
                    <a:pt x="522" y="615"/>
                  </a:moveTo>
                  <a:lnTo>
                    <a:pt x="522" y="617"/>
                  </a:lnTo>
                  <a:lnTo>
                    <a:pt x="522" y="615"/>
                  </a:lnTo>
                  <a:close/>
                  <a:moveTo>
                    <a:pt x="584" y="613"/>
                  </a:moveTo>
                  <a:lnTo>
                    <a:pt x="584" y="612"/>
                  </a:lnTo>
                  <a:lnTo>
                    <a:pt x="584" y="613"/>
                  </a:lnTo>
                  <a:close/>
                  <a:moveTo>
                    <a:pt x="582" y="612"/>
                  </a:moveTo>
                  <a:lnTo>
                    <a:pt x="582" y="613"/>
                  </a:lnTo>
                  <a:lnTo>
                    <a:pt x="582" y="612"/>
                  </a:lnTo>
                  <a:close/>
                  <a:moveTo>
                    <a:pt x="1178" y="613"/>
                  </a:moveTo>
                  <a:lnTo>
                    <a:pt x="1178" y="612"/>
                  </a:lnTo>
                  <a:lnTo>
                    <a:pt x="1176" y="610"/>
                  </a:lnTo>
                  <a:lnTo>
                    <a:pt x="1178" y="612"/>
                  </a:lnTo>
                  <a:lnTo>
                    <a:pt x="1178" y="613"/>
                  </a:lnTo>
                  <a:close/>
                  <a:moveTo>
                    <a:pt x="582" y="610"/>
                  </a:moveTo>
                  <a:lnTo>
                    <a:pt x="584" y="610"/>
                  </a:lnTo>
                  <a:lnTo>
                    <a:pt x="582" y="610"/>
                  </a:lnTo>
                  <a:lnTo>
                    <a:pt x="584" y="610"/>
                  </a:lnTo>
                  <a:lnTo>
                    <a:pt x="584" y="612"/>
                  </a:lnTo>
                  <a:lnTo>
                    <a:pt x="582" y="612"/>
                  </a:lnTo>
                  <a:lnTo>
                    <a:pt x="584" y="612"/>
                  </a:lnTo>
                  <a:lnTo>
                    <a:pt x="582" y="612"/>
                  </a:lnTo>
                  <a:lnTo>
                    <a:pt x="581" y="612"/>
                  </a:lnTo>
                  <a:lnTo>
                    <a:pt x="581" y="610"/>
                  </a:lnTo>
                  <a:lnTo>
                    <a:pt x="582" y="610"/>
                  </a:lnTo>
                  <a:close/>
                  <a:moveTo>
                    <a:pt x="530" y="610"/>
                  </a:moveTo>
                  <a:lnTo>
                    <a:pt x="529" y="610"/>
                  </a:lnTo>
                  <a:lnTo>
                    <a:pt x="530" y="610"/>
                  </a:lnTo>
                  <a:close/>
                  <a:moveTo>
                    <a:pt x="563" y="608"/>
                  </a:moveTo>
                  <a:lnTo>
                    <a:pt x="563" y="610"/>
                  </a:lnTo>
                  <a:lnTo>
                    <a:pt x="563" y="612"/>
                  </a:lnTo>
                  <a:lnTo>
                    <a:pt x="561" y="612"/>
                  </a:lnTo>
                  <a:lnTo>
                    <a:pt x="561" y="610"/>
                  </a:lnTo>
                  <a:lnTo>
                    <a:pt x="563" y="610"/>
                  </a:lnTo>
                  <a:lnTo>
                    <a:pt x="563" y="608"/>
                  </a:lnTo>
                  <a:close/>
                  <a:moveTo>
                    <a:pt x="1178" y="610"/>
                  </a:moveTo>
                  <a:lnTo>
                    <a:pt x="1176" y="610"/>
                  </a:lnTo>
                  <a:lnTo>
                    <a:pt x="1176" y="608"/>
                  </a:lnTo>
                  <a:lnTo>
                    <a:pt x="1176" y="610"/>
                  </a:lnTo>
                  <a:lnTo>
                    <a:pt x="1178" y="610"/>
                  </a:lnTo>
                  <a:close/>
                  <a:moveTo>
                    <a:pt x="530" y="608"/>
                  </a:moveTo>
                  <a:lnTo>
                    <a:pt x="530" y="610"/>
                  </a:lnTo>
                  <a:lnTo>
                    <a:pt x="530" y="608"/>
                  </a:lnTo>
                  <a:close/>
                  <a:moveTo>
                    <a:pt x="565" y="608"/>
                  </a:moveTo>
                  <a:lnTo>
                    <a:pt x="563" y="608"/>
                  </a:lnTo>
                  <a:lnTo>
                    <a:pt x="565" y="608"/>
                  </a:lnTo>
                  <a:close/>
                  <a:moveTo>
                    <a:pt x="1176" y="607"/>
                  </a:moveTo>
                  <a:lnTo>
                    <a:pt x="1174" y="607"/>
                  </a:lnTo>
                  <a:lnTo>
                    <a:pt x="1176" y="607"/>
                  </a:lnTo>
                  <a:close/>
                  <a:moveTo>
                    <a:pt x="534" y="607"/>
                  </a:moveTo>
                  <a:lnTo>
                    <a:pt x="535" y="607"/>
                  </a:lnTo>
                  <a:lnTo>
                    <a:pt x="534" y="607"/>
                  </a:lnTo>
                  <a:lnTo>
                    <a:pt x="532" y="608"/>
                  </a:lnTo>
                  <a:lnTo>
                    <a:pt x="530" y="607"/>
                  </a:lnTo>
                  <a:lnTo>
                    <a:pt x="532" y="607"/>
                  </a:lnTo>
                  <a:lnTo>
                    <a:pt x="534" y="605"/>
                  </a:lnTo>
                  <a:lnTo>
                    <a:pt x="534" y="607"/>
                  </a:lnTo>
                  <a:close/>
                  <a:moveTo>
                    <a:pt x="545" y="605"/>
                  </a:moveTo>
                  <a:lnTo>
                    <a:pt x="545" y="607"/>
                  </a:lnTo>
                  <a:lnTo>
                    <a:pt x="547" y="605"/>
                  </a:lnTo>
                  <a:lnTo>
                    <a:pt x="547" y="607"/>
                  </a:lnTo>
                  <a:lnTo>
                    <a:pt x="548" y="607"/>
                  </a:lnTo>
                  <a:lnTo>
                    <a:pt x="547" y="607"/>
                  </a:lnTo>
                  <a:lnTo>
                    <a:pt x="543" y="607"/>
                  </a:lnTo>
                  <a:lnTo>
                    <a:pt x="545" y="607"/>
                  </a:lnTo>
                  <a:lnTo>
                    <a:pt x="543" y="607"/>
                  </a:lnTo>
                  <a:lnTo>
                    <a:pt x="543" y="605"/>
                  </a:lnTo>
                  <a:lnTo>
                    <a:pt x="545" y="605"/>
                  </a:lnTo>
                  <a:close/>
                  <a:moveTo>
                    <a:pt x="543" y="607"/>
                  </a:moveTo>
                  <a:lnTo>
                    <a:pt x="542" y="607"/>
                  </a:lnTo>
                  <a:lnTo>
                    <a:pt x="542" y="605"/>
                  </a:lnTo>
                  <a:lnTo>
                    <a:pt x="543" y="605"/>
                  </a:lnTo>
                  <a:lnTo>
                    <a:pt x="543" y="607"/>
                  </a:lnTo>
                  <a:close/>
                  <a:moveTo>
                    <a:pt x="1174" y="605"/>
                  </a:moveTo>
                  <a:lnTo>
                    <a:pt x="1174" y="604"/>
                  </a:lnTo>
                  <a:lnTo>
                    <a:pt x="1174" y="605"/>
                  </a:lnTo>
                  <a:close/>
                  <a:moveTo>
                    <a:pt x="552" y="605"/>
                  </a:moveTo>
                  <a:lnTo>
                    <a:pt x="550" y="605"/>
                  </a:lnTo>
                  <a:lnTo>
                    <a:pt x="550" y="604"/>
                  </a:lnTo>
                  <a:lnTo>
                    <a:pt x="552" y="604"/>
                  </a:lnTo>
                  <a:lnTo>
                    <a:pt x="552" y="605"/>
                  </a:lnTo>
                  <a:close/>
                  <a:moveTo>
                    <a:pt x="565" y="604"/>
                  </a:moveTo>
                  <a:lnTo>
                    <a:pt x="563" y="604"/>
                  </a:lnTo>
                  <a:lnTo>
                    <a:pt x="565" y="604"/>
                  </a:lnTo>
                  <a:close/>
                  <a:moveTo>
                    <a:pt x="560" y="604"/>
                  </a:moveTo>
                  <a:lnTo>
                    <a:pt x="561" y="604"/>
                  </a:lnTo>
                  <a:lnTo>
                    <a:pt x="563" y="604"/>
                  </a:lnTo>
                  <a:lnTo>
                    <a:pt x="563" y="605"/>
                  </a:lnTo>
                  <a:lnTo>
                    <a:pt x="563" y="604"/>
                  </a:lnTo>
                  <a:lnTo>
                    <a:pt x="563" y="605"/>
                  </a:lnTo>
                  <a:lnTo>
                    <a:pt x="561" y="605"/>
                  </a:lnTo>
                  <a:lnTo>
                    <a:pt x="560" y="605"/>
                  </a:lnTo>
                  <a:lnTo>
                    <a:pt x="561" y="605"/>
                  </a:lnTo>
                  <a:lnTo>
                    <a:pt x="561" y="607"/>
                  </a:lnTo>
                  <a:lnTo>
                    <a:pt x="560" y="607"/>
                  </a:lnTo>
                  <a:lnTo>
                    <a:pt x="558" y="607"/>
                  </a:lnTo>
                  <a:lnTo>
                    <a:pt x="556" y="607"/>
                  </a:lnTo>
                  <a:lnTo>
                    <a:pt x="555" y="607"/>
                  </a:lnTo>
                  <a:lnTo>
                    <a:pt x="555" y="605"/>
                  </a:lnTo>
                  <a:lnTo>
                    <a:pt x="553" y="605"/>
                  </a:lnTo>
                  <a:lnTo>
                    <a:pt x="555" y="604"/>
                  </a:lnTo>
                  <a:lnTo>
                    <a:pt x="556" y="604"/>
                  </a:lnTo>
                  <a:lnTo>
                    <a:pt x="558" y="604"/>
                  </a:lnTo>
                  <a:lnTo>
                    <a:pt x="560" y="604"/>
                  </a:lnTo>
                  <a:lnTo>
                    <a:pt x="560" y="602"/>
                  </a:lnTo>
                  <a:lnTo>
                    <a:pt x="560" y="604"/>
                  </a:lnTo>
                  <a:close/>
                  <a:moveTo>
                    <a:pt x="565" y="602"/>
                  </a:moveTo>
                  <a:lnTo>
                    <a:pt x="565" y="604"/>
                  </a:lnTo>
                  <a:lnTo>
                    <a:pt x="565" y="602"/>
                  </a:lnTo>
                  <a:close/>
                  <a:moveTo>
                    <a:pt x="1174" y="602"/>
                  </a:moveTo>
                  <a:lnTo>
                    <a:pt x="1174" y="604"/>
                  </a:lnTo>
                  <a:lnTo>
                    <a:pt x="1174" y="602"/>
                  </a:lnTo>
                  <a:lnTo>
                    <a:pt x="1174" y="600"/>
                  </a:lnTo>
                  <a:lnTo>
                    <a:pt x="1174" y="602"/>
                  </a:lnTo>
                  <a:close/>
                  <a:moveTo>
                    <a:pt x="1174" y="600"/>
                  </a:moveTo>
                  <a:lnTo>
                    <a:pt x="1174" y="602"/>
                  </a:lnTo>
                  <a:lnTo>
                    <a:pt x="1174" y="600"/>
                  </a:lnTo>
                  <a:close/>
                  <a:moveTo>
                    <a:pt x="553" y="600"/>
                  </a:moveTo>
                  <a:lnTo>
                    <a:pt x="553" y="602"/>
                  </a:lnTo>
                  <a:lnTo>
                    <a:pt x="553" y="600"/>
                  </a:lnTo>
                  <a:close/>
                  <a:moveTo>
                    <a:pt x="555" y="600"/>
                  </a:moveTo>
                  <a:lnTo>
                    <a:pt x="553" y="600"/>
                  </a:lnTo>
                  <a:lnTo>
                    <a:pt x="555" y="600"/>
                  </a:lnTo>
                  <a:close/>
                  <a:moveTo>
                    <a:pt x="555" y="600"/>
                  </a:moveTo>
                  <a:lnTo>
                    <a:pt x="553" y="600"/>
                  </a:lnTo>
                  <a:lnTo>
                    <a:pt x="555" y="600"/>
                  </a:lnTo>
                  <a:close/>
                  <a:moveTo>
                    <a:pt x="543" y="599"/>
                  </a:moveTo>
                  <a:lnTo>
                    <a:pt x="542" y="599"/>
                  </a:lnTo>
                  <a:lnTo>
                    <a:pt x="543" y="599"/>
                  </a:lnTo>
                  <a:close/>
                  <a:moveTo>
                    <a:pt x="558" y="599"/>
                  </a:moveTo>
                  <a:lnTo>
                    <a:pt x="556" y="599"/>
                  </a:lnTo>
                  <a:lnTo>
                    <a:pt x="558" y="599"/>
                  </a:lnTo>
                  <a:close/>
                  <a:moveTo>
                    <a:pt x="553" y="599"/>
                  </a:moveTo>
                  <a:lnTo>
                    <a:pt x="555" y="599"/>
                  </a:lnTo>
                  <a:lnTo>
                    <a:pt x="556" y="599"/>
                  </a:lnTo>
                  <a:lnTo>
                    <a:pt x="555" y="599"/>
                  </a:lnTo>
                  <a:lnTo>
                    <a:pt x="553" y="599"/>
                  </a:lnTo>
                  <a:lnTo>
                    <a:pt x="553" y="600"/>
                  </a:lnTo>
                  <a:lnTo>
                    <a:pt x="552" y="599"/>
                  </a:lnTo>
                  <a:lnTo>
                    <a:pt x="552" y="597"/>
                  </a:lnTo>
                  <a:lnTo>
                    <a:pt x="553" y="599"/>
                  </a:lnTo>
                  <a:close/>
                  <a:moveTo>
                    <a:pt x="550" y="599"/>
                  </a:moveTo>
                  <a:lnTo>
                    <a:pt x="552" y="599"/>
                  </a:lnTo>
                  <a:lnTo>
                    <a:pt x="552" y="600"/>
                  </a:lnTo>
                  <a:lnTo>
                    <a:pt x="550" y="600"/>
                  </a:lnTo>
                  <a:lnTo>
                    <a:pt x="550" y="602"/>
                  </a:lnTo>
                  <a:lnTo>
                    <a:pt x="552" y="602"/>
                  </a:lnTo>
                  <a:lnTo>
                    <a:pt x="550" y="604"/>
                  </a:lnTo>
                  <a:lnTo>
                    <a:pt x="547" y="604"/>
                  </a:lnTo>
                  <a:lnTo>
                    <a:pt x="545" y="604"/>
                  </a:lnTo>
                  <a:lnTo>
                    <a:pt x="543" y="605"/>
                  </a:lnTo>
                  <a:lnTo>
                    <a:pt x="543" y="604"/>
                  </a:lnTo>
                  <a:lnTo>
                    <a:pt x="545" y="604"/>
                  </a:lnTo>
                  <a:lnTo>
                    <a:pt x="543" y="604"/>
                  </a:lnTo>
                  <a:lnTo>
                    <a:pt x="543" y="602"/>
                  </a:lnTo>
                  <a:lnTo>
                    <a:pt x="543" y="604"/>
                  </a:lnTo>
                  <a:lnTo>
                    <a:pt x="542" y="604"/>
                  </a:lnTo>
                  <a:lnTo>
                    <a:pt x="543" y="604"/>
                  </a:lnTo>
                  <a:lnTo>
                    <a:pt x="542" y="604"/>
                  </a:lnTo>
                  <a:lnTo>
                    <a:pt x="540" y="604"/>
                  </a:lnTo>
                  <a:lnTo>
                    <a:pt x="542" y="604"/>
                  </a:lnTo>
                  <a:lnTo>
                    <a:pt x="542" y="602"/>
                  </a:lnTo>
                  <a:lnTo>
                    <a:pt x="542" y="604"/>
                  </a:lnTo>
                  <a:lnTo>
                    <a:pt x="543" y="602"/>
                  </a:lnTo>
                  <a:lnTo>
                    <a:pt x="547" y="600"/>
                  </a:lnTo>
                  <a:lnTo>
                    <a:pt x="548" y="600"/>
                  </a:lnTo>
                  <a:lnTo>
                    <a:pt x="548" y="599"/>
                  </a:lnTo>
                  <a:lnTo>
                    <a:pt x="550" y="599"/>
                  </a:lnTo>
                  <a:lnTo>
                    <a:pt x="548" y="599"/>
                  </a:lnTo>
                  <a:lnTo>
                    <a:pt x="550" y="599"/>
                  </a:lnTo>
                  <a:lnTo>
                    <a:pt x="550" y="597"/>
                  </a:lnTo>
                  <a:lnTo>
                    <a:pt x="550" y="599"/>
                  </a:lnTo>
                  <a:close/>
                  <a:moveTo>
                    <a:pt x="540" y="597"/>
                  </a:moveTo>
                  <a:lnTo>
                    <a:pt x="539" y="597"/>
                  </a:lnTo>
                  <a:lnTo>
                    <a:pt x="540" y="597"/>
                  </a:lnTo>
                  <a:close/>
                  <a:moveTo>
                    <a:pt x="540" y="597"/>
                  </a:moveTo>
                  <a:lnTo>
                    <a:pt x="539" y="597"/>
                  </a:lnTo>
                  <a:lnTo>
                    <a:pt x="540" y="597"/>
                  </a:lnTo>
                  <a:close/>
                  <a:moveTo>
                    <a:pt x="543" y="597"/>
                  </a:moveTo>
                  <a:lnTo>
                    <a:pt x="542" y="597"/>
                  </a:lnTo>
                  <a:lnTo>
                    <a:pt x="543" y="597"/>
                  </a:lnTo>
                  <a:close/>
                  <a:moveTo>
                    <a:pt x="537" y="597"/>
                  </a:moveTo>
                  <a:lnTo>
                    <a:pt x="539" y="597"/>
                  </a:lnTo>
                  <a:lnTo>
                    <a:pt x="537" y="597"/>
                  </a:lnTo>
                  <a:close/>
                  <a:moveTo>
                    <a:pt x="555" y="597"/>
                  </a:moveTo>
                  <a:lnTo>
                    <a:pt x="555" y="595"/>
                  </a:lnTo>
                  <a:lnTo>
                    <a:pt x="555" y="597"/>
                  </a:lnTo>
                  <a:close/>
                  <a:moveTo>
                    <a:pt x="553" y="595"/>
                  </a:moveTo>
                  <a:lnTo>
                    <a:pt x="553" y="597"/>
                  </a:lnTo>
                  <a:lnTo>
                    <a:pt x="553" y="595"/>
                  </a:lnTo>
                  <a:close/>
                  <a:moveTo>
                    <a:pt x="540" y="595"/>
                  </a:moveTo>
                  <a:lnTo>
                    <a:pt x="540" y="597"/>
                  </a:lnTo>
                  <a:lnTo>
                    <a:pt x="540" y="595"/>
                  </a:lnTo>
                  <a:close/>
                  <a:moveTo>
                    <a:pt x="548" y="595"/>
                  </a:moveTo>
                  <a:lnTo>
                    <a:pt x="547" y="595"/>
                  </a:lnTo>
                  <a:lnTo>
                    <a:pt x="548" y="595"/>
                  </a:lnTo>
                  <a:close/>
                  <a:moveTo>
                    <a:pt x="552" y="592"/>
                  </a:moveTo>
                  <a:lnTo>
                    <a:pt x="552" y="594"/>
                  </a:lnTo>
                  <a:lnTo>
                    <a:pt x="553" y="594"/>
                  </a:lnTo>
                  <a:lnTo>
                    <a:pt x="552" y="595"/>
                  </a:lnTo>
                  <a:lnTo>
                    <a:pt x="553" y="595"/>
                  </a:lnTo>
                  <a:lnTo>
                    <a:pt x="553" y="597"/>
                  </a:lnTo>
                  <a:lnTo>
                    <a:pt x="552" y="597"/>
                  </a:lnTo>
                  <a:lnTo>
                    <a:pt x="550" y="597"/>
                  </a:lnTo>
                  <a:lnTo>
                    <a:pt x="550" y="595"/>
                  </a:lnTo>
                  <a:lnTo>
                    <a:pt x="550" y="594"/>
                  </a:lnTo>
                  <a:lnTo>
                    <a:pt x="548" y="594"/>
                  </a:lnTo>
                  <a:lnTo>
                    <a:pt x="550" y="594"/>
                  </a:lnTo>
                  <a:lnTo>
                    <a:pt x="552" y="594"/>
                  </a:lnTo>
                  <a:lnTo>
                    <a:pt x="552" y="592"/>
                  </a:lnTo>
                  <a:close/>
                  <a:moveTo>
                    <a:pt x="553" y="592"/>
                  </a:moveTo>
                  <a:lnTo>
                    <a:pt x="553" y="594"/>
                  </a:lnTo>
                  <a:lnTo>
                    <a:pt x="553" y="592"/>
                  </a:lnTo>
                  <a:close/>
                  <a:moveTo>
                    <a:pt x="522" y="589"/>
                  </a:moveTo>
                  <a:lnTo>
                    <a:pt x="521" y="589"/>
                  </a:lnTo>
                  <a:lnTo>
                    <a:pt x="522" y="589"/>
                  </a:lnTo>
                  <a:close/>
                  <a:moveTo>
                    <a:pt x="535" y="587"/>
                  </a:moveTo>
                  <a:lnTo>
                    <a:pt x="534" y="589"/>
                  </a:lnTo>
                  <a:lnTo>
                    <a:pt x="534" y="587"/>
                  </a:lnTo>
                  <a:lnTo>
                    <a:pt x="535" y="587"/>
                  </a:lnTo>
                  <a:close/>
                  <a:moveTo>
                    <a:pt x="534" y="587"/>
                  </a:moveTo>
                  <a:lnTo>
                    <a:pt x="532" y="587"/>
                  </a:lnTo>
                  <a:lnTo>
                    <a:pt x="534" y="587"/>
                  </a:lnTo>
                  <a:close/>
                  <a:moveTo>
                    <a:pt x="529" y="587"/>
                  </a:moveTo>
                  <a:lnTo>
                    <a:pt x="527" y="587"/>
                  </a:lnTo>
                  <a:lnTo>
                    <a:pt x="529" y="587"/>
                  </a:lnTo>
                  <a:close/>
                  <a:moveTo>
                    <a:pt x="526" y="587"/>
                  </a:moveTo>
                  <a:lnTo>
                    <a:pt x="524" y="587"/>
                  </a:lnTo>
                  <a:lnTo>
                    <a:pt x="526" y="587"/>
                  </a:lnTo>
                  <a:close/>
                  <a:moveTo>
                    <a:pt x="500" y="587"/>
                  </a:moveTo>
                  <a:lnTo>
                    <a:pt x="500" y="586"/>
                  </a:lnTo>
                  <a:lnTo>
                    <a:pt x="500" y="587"/>
                  </a:lnTo>
                  <a:close/>
                  <a:moveTo>
                    <a:pt x="517" y="587"/>
                  </a:moveTo>
                  <a:lnTo>
                    <a:pt x="516" y="587"/>
                  </a:lnTo>
                  <a:lnTo>
                    <a:pt x="516" y="586"/>
                  </a:lnTo>
                  <a:lnTo>
                    <a:pt x="517" y="587"/>
                  </a:lnTo>
                  <a:close/>
                  <a:moveTo>
                    <a:pt x="532" y="586"/>
                  </a:moveTo>
                  <a:lnTo>
                    <a:pt x="532" y="587"/>
                  </a:lnTo>
                  <a:lnTo>
                    <a:pt x="532" y="586"/>
                  </a:lnTo>
                  <a:close/>
                  <a:moveTo>
                    <a:pt x="521" y="586"/>
                  </a:moveTo>
                  <a:lnTo>
                    <a:pt x="519" y="586"/>
                  </a:lnTo>
                  <a:lnTo>
                    <a:pt x="521" y="586"/>
                  </a:lnTo>
                  <a:close/>
                  <a:moveTo>
                    <a:pt x="501" y="586"/>
                  </a:moveTo>
                  <a:lnTo>
                    <a:pt x="500" y="586"/>
                  </a:lnTo>
                  <a:lnTo>
                    <a:pt x="501" y="586"/>
                  </a:lnTo>
                  <a:close/>
                  <a:moveTo>
                    <a:pt x="522" y="587"/>
                  </a:moveTo>
                  <a:lnTo>
                    <a:pt x="521" y="587"/>
                  </a:lnTo>
                  <a:lnTo>
                    <a:pt x="521" y="586"/>
                  </a:lnTo>
                  <a:lnTo>
                    <a:pt x="522" y="586"/>
                  </a:lnTo>
                  <a:lnTo>
                    <a:pt x="522" y="587"/>
                  </a:lnTo>
                  <a:close/>
                  <a:moveTo>
                    <a:pt x="527" y="586"/>
                  </a:moveTo>
                  <a:lnTo>
                    <a:pt x="526" y="586"/>
                  </a:lnTo>
                  <a:lnTo>
                    <a:pt x="527" y="586"/>
                  </a:lnTo>
                  <a:close/>
                  <a:moveTo>
                    <a:pt x="545" y="586"/>
                  </a:moveTo>
                  <a:lnTo>
                    <a:pt x="547" y="586"/>
                  </a:lnTo>
                  <a:lnTo>
                    <a:pt x="547" y="587"/>
                  </a:lnTo>
                  <a:lnTo>
                    <a:pt x="545" y="587"/>
                  </a:lnTo>
                  <a:lnTo>
                    <a:pt x="543" y="587"/>
                  </a:lnTo>
                  <a:lnTo>
                    <a:pt x="542" y="587"/>
                  </a:lnTo>
                  <a:lnTo>
                    <a:pt x="543" y="586"/>
                  </a:lnTo>
                  <a:lnTo>
                    <a:pt x="545" y="586"/>
                  </a:lnTo>
                  <a:close/>
                  <a:moveTo>
                    <a:pt x="529" y="586"/>
                  </a:moveTo>
                  <a:lnTo>
                    <a:pt x="527" y="586"/>
                  </a:lnTo>
                  <a:lnTo>
                    <a:pt x="529" y="586"/>
                  </a:lnTo>
                  <a:close/>
                  <a:moveTo>
                    <a:pt x="543" y="586"/>
                  </a:moveTo>
                  <a:lnTo>
                    <a:pt x="545" y="586"/>
                  </a:lnTo>
                  <a:lnTo>
                    <a:pt x="543" y="586"/>
                  </a:lnTo>
                  <a:close/>
                  <a:moveTo>
                    <a:pt x="521" y="586"/>
                  </a:moveTo>
                  <a:lnTo>
                    <a:pt x="519" y="586"/>
                  </a:lnTo>
                  <a:lnTo>
                    <a:pt x="521" y="586"/>
                  </a:lnTo>
                  <a:close/>
                  <a:moveTo>
                    <a:pt x="504" y="586"/>
                  </a:moveTo>
                  <a:lnTo>
                    <a:pt x="503" y="586"/>
                  </a:lnTo>
                  <a:lnTo>
                    <a:pt x="504" y="586"/>
                  </a:lnTo>
                  <a:lnTo>
                    <a:pt x="506" y="586"/>
                  </a:lnTo>
                  <a:lnTo>
                    <a:pt x="504" y="586"/>
                  </a:lnTo>
                  <a:lnTo>
                    <a:pt x="504" y="587"/>
                  </a:lnTo>
                  <a:lnTo>
                    <a:pt x="503" y="587"/>
                  </a:lnTo>
                  <a:lnTo>
                    <a:pt x="501" y="587"/>
                  </a:lnTo>
                  <a:lnTo>
                    <a:pt x="501" y="589"/>
                  </a:lnTo>
                  <a:lnTo>
                    <a:pt x="500" y="589"/>
                  </a:lnTo>
                  <a:lnTo>
                    <a:pt x="498" y="589"/>
                  </a:lnTo>
                  <a:lnTo>
                    <a:pt x="498" y="587"/>
                  </a:lnTo>
                  <a:lnTo>
                    <a:pt x="500" y="587"/>
                  </a:lnTo>
                  <a:lnTo>
                    <a:pt x="501" y="587"/>
                  </a:lnTo>
                  <a:lnTo>
                    <a:pt x="501" y="586"/>
                  </a:lnTo>
                  <a:lnTo>
                    <a:pt x="503" y="586"/>
                  </a:lnTo>
                  <a:lnTo>
                    <a:pt x="504" y="586"/>
                  </a:lnTo>
                  <a:close/>
                  <a:moveTo>
                    <a:pt x="548" y="586"/>
                  </a:moveTo>
                  <a:lnTo>
                    <a:pt x="547" y="586"/>
                  </a:lnTo>
                  <a:lnTo>
                    <a:pt x="545" y="586"/>
                  </a:lnTo>
                  <a:lnTo>
                    <a:pt x="547" y="586"/>
                  </a:lnTo>
                  <a:lnTo>
                    <a:pt x="548" y="586"/>
                  </a:lnTo>
                  <a:close/>
                  <a:moveTo>
                    <a:pt x="514" y="586"/>
                  </a:moveTo>
                  <a:lnTo>
                    <a:pt x="513" y="586"/>
                  </a:lnTo>
                  <a:lnTo>
                    <a:pt x="514" y="586"/>
                  </a:lnTo>
                  <a:close/>
                  <a:moveTo>
                    <a:pt x="545" y="586"/>
                  </a:moveTo>
                  <a:lnTo>
                    <a:pt x="545" y="584"/>
                  </a:lnTo>
                  <a:lnTo>
                    <a:pt x="545" y="586"/>
                  </a:lnTo>
                  <a:close/>
                  <a:moveTo>
                    <a:pt x="527" y="586"/>
                  </a:moveTo>
                  <a:lnTo>
                    <a:pt x="526" y="586"/>
                  </a:lnTo>
                  <a:lnTo>
                    <a:pt x="526" y="584"/>
                  </a:lnTo>
                  <a:lnTo>
                    <a:pt x="526" y="586"/>
                  </a:lnTo>
                  <a:lnTo>
                    <a:pt x="527" y="586"/>
                  </a:lnTo>
                  <a:close/>
                  <a:moveTo>
                    <a:pt x="513" y="584"/>
                  </a:moveTo>
                  <a:lnTo>
                    <a:pt x="511" y="584"/>
                  </a:lnTo>
                  <a:lnTo>
                    <a:pt x="513" y="584"/>
                  </a:lnTo>
                  <a:close/>
                  <a:moveTo>
                    <a:pt x="522" y="584"/>
                  </a:moveTo>
                  <a:lnTo>
                    <a:pt x="524" y="586"/>
                  </a:lnTo>
                  <a:lnTo>
                    <a:pt x="522" y="586"/>
                  </a:lnTo>
                  <a:lnTo>
                    <a:pt x="521" y="586"/>
                  </a:lnTo>
                  <a:lnTo>
                    <a:pt x="521" y="584"/>
                  </a:lnTo>
                  <a:lnTo>
                    <a:pt x="522" y="584"/>
                  </a:lnTo>
                  <a:close/>
                  <a:moveTo>
                    <a:pt x="548" y="584"/>
                  </a:moveTo>
                  <a:lnTo>
                    <a:pt x="548" y="586"/>
                  </a:lnTo>
                  <a:lnTo>
                    <a:pt x="547" y="586"/>
                  </a:lnTo>
                  <a:lnTo>
                    <a:pt x="547" y="584"/>
                  </a:lnTo>
                  <a:lnTo>
                    <a:pt x="548" y="584"/>
                  </a:lnTo>
                  <a:close/>
                  <a:moveTo>
                    <a:pt x="503" y="584"/>
                  </a:moveTo>
                  <a:lnTo>
                    <a:pt x="501" y="584"/>
                  </a:lnTo>
                  <a:lnTo>
                    <a:pt x="503" y="584"/>
                  </a:lnTo>
                  <a:close/>
                  <a:moveTo>
                    <a:pt x="522" y="584"/>
                  </a:moveTo>
                  <a:lnTo>
                    <a:pt x="521" y="584"/>
                  </a:lnTo>
                  <a:lnTo>
                    <a:pt x="522" y="584"/>
                  </a:lnTo>
                  <a:close/>
                  <a:moveTo>
                    <a:pt x="1176" y="584"/>
                  </a:moveTo>
                  <a:lnTo>
                    <a:pt x="1174" y="584"/>
                  </a:lnTo>
                  <a:lnTo>
                    <a:pt x="1176" y="584"/>
                  </a:lnTo>
                  <a:close/>
                  <a:moveTo>
                    <a:pt x="521" y="584"/>
                  </a:moveTo>
                  <a:lnTo>
                    <a:pt x="519" y="584"/>
                  </a:lnTo>
                  <a:lnTo>
                    <a:pt x="521" y="584"/>
                  </a:lnTo>
                  <a:close/>
                  <a:moveTo>
                    <a:pt x="527" y="584"/>
                  </a:moveTo>
                  <a:lnTo>
                    <a:pt x="526" y="584"/>
                  </a:lnTo>
                  <a:lnTo>
                    <a:pt x="527" y="584"/>
                  </a:lnTo>
                  <a:close/>
                  <a:moveTo>
                    <a:pt x="524" y="584"/>
                  </a:moveTo>
                  <a:lnTo>
                    <a:pt x="524" y="582"/>
                  </a:lnTo>
                  <a:lnTo>
                    <a:pt x="526" y="584"/>
                  </a:lnTo>
                  <a:lnTo>
                    <a:pt x="524" y="584"/>
                  </a:lnTo>
                  <a:close/>
                  <a:moveTo>
                    <a:pt x="527" y="582"/>
                  </a:moveTo>
                  <a:lnTo>
                    <a:pt x="527" y="584"/>
                  </a:lnTo>
                  <a:lnTo>
                    <a:pt x="529" y="584"/>
                  </a:lnTo>
                  <a:lnTo>
                    <a:pt x="527" y="584"/>
                  </a:lnTo>
                  <a:lnTo>
                    <a:pt x="527" y="582"/>
                  </a:lnTo>
                  <a:close/>
                  <a:moveTo>
                    <a:pt x="526" y="582"/>
                  </a:moveTo>
                  <a:lnTo>
                    <a:pt x="526" y="584"/>
                  </a:lnTo>
                  <a:lnTo>
                    <a:pt x="526" y="582"/>
                  </a:lnTo>
                  <a:close/>
                  <a:moveTo>
                    <a:pt x="1212" y="582"/>
                  </a:moveTo>
                  <a:lnTo>
                    <a:pt x="1210" y="582"/>
                  </a:lnTo>
                  <a:lnTo>
                    <a:pt x="1212" y="582"/>
                  </a:lnTo>
                  <a:close/>
                  <a:moveTo>
                    <a:pt x="1176" y="584"/>
                  </a:moveTo>
                  <a:lnTo>
                    <a:pt x="1174" y="584"/>
                  </a:lnTo>
                  <a:lnTo>
                    <a:pt x="1174" y="582"/>
                  </a:lnTo>
                  <a:lnTo>
                    <a:pt x="1176" y="584"/>
                  </a:lnTo>
                  <a:close/>
                  <a:moveTo>
                    <a:pt x="504" y="581"/>
                  </a:moveTo>
                  <a:lnTo>
                    <a:pt x="504" y="582"/>
                  </a:lnTo>
                  <a:lnTo>
                    <a:pt x="504" y="581"/>
                  </a:lnTo>
                  <a:close/>
                  <a:moveTo>
                    <a:pt x="487" y="581"/>
                  </a:moveTo>
                  <a:lnTo>
                    <a:pt x="487" y="582"/>
                  </a:lnTo>
                  <a:lnTo>
                    <a:pt x="485" y="582"/>
                  </a:lnTo>
                  <a:lnTo>
                    <a:pt x="487" y="581"/>
                  </a:lnTo>
                  <a:lnTo>
                    <a:pt x="487" y="582"/>
                  </a:lnTo>
                  <a:lnTo>
                    <a:pt x="487" y="581"/>
                  </a:lnTo>
                  <a:close/>
                  <a:moveTo>
                    <a:pt x="490" y="581"/>
                  </a:moveTo>
                  <a:lnTo>
                    <a:pt x="488" y="581"/>
                  </a:lnTo>
                  <a:lnTo>
                    <a:pt x="490" y="581"/>
                  </a:lnTo>
                  <a:close/>
                  <a:moveTo>
                    <a:pt x="488" y="581"/>
                  </a:moveTo>
                  <a:lnTo>
                    <a:pt x="487" y="581"/>
                  </a:lnTo>
                  <a:lnTo>
                    <a:pt x="488" y="581"/>
                  </a:lnTo>
                  <a:close/>
                  <a:moveTo>
                    <a:pt x="493" y="581"/>
                  </a:moveTo>
                  <a:lnTo>
                    <a:pt x="495" y="581"/>
                  </a:lnTo>
                  <a:lnTo>
                    <a:pt x="493" y="581"/>
                  </a:lnTo>
                  <a:close/>
                  <a:moveTo>
                    <a:pt x="491" y="579"/>
                  </a:moveTo>
                  <a:lnTo>
                    <a:pt x="490" y="579"/>
                  </a:lnTo>
                  <a:lnTo>
                    <a:pt x="491" y="579"/>
                  </a:lnTo>
                  <a:close/>
                  <a:moveTo>
                    <a:pt x="498" y="579"/>
                  </a:moveTo>
                  <a:lnTo>
                    <a:pt x="498" y="581"/>
                  </a:lnTo>
                  <a:lnTo>
                    <a:pt x="498" y="579"/>
                  </a:lnTo>
                  <a:close/>
                  <a:moveTo>
                    <a:pt x="504" y="579"/>
                  </a:moveTo>
                  <a:lnTo>
                    <a:pt x="506" y="579"/>
                  </a:lnTo>
                  <a:lnTo>
                    <a:pt x="504" y="579"/>
                  </a:lnTo>
                  <a:close/>
                  <a:moveTo>
                    <a:pt x="1173" y="578"/>
                  </a:moveTo>
                  <a:lnTo>
                    <a:pt x="1171" y="578"/>
                  </a:lnTo>
                  <a:lnTo>
                    <a:pt x="1173" y="579"/>
                  </a:lnTo>
                  <a:lnTo>
                    <a:pt x="1174" y="579"/>
                  </a:lnTo>
                  <a:lnTo>
                    <a:pt x="1174" y="581"/>
                  </a:lnTo>
                  <a:lnTo>
                    <a:pt x="1174" y="582"/>
                  </a:lnTo>
                  <a:lnTo>
                    <a:pt x="1174" y="584"/>
                  </a:lnTo>
                  <a:lnTo>
                    <a:pt x="1176" y="586"/>
                  </a:lnTo>
                  <a:lnTo>
                    <a:pt x="1176" y="587"/>
                  </a:lnTo>
                  <a:lnTo>
                    <a:pt x="1176" y="586"/>
                  </a:lnTo>
                  <a:lnTo>
                    <a:pt x="1176" y="587"/>
                  </a:lnTo>
                  <a:lnTo>
                    <a:pt x="1176" y="589"/>
                  </a:lnTo>
                  <a:lnTo>
                    <a:pt x="1176" y="591"/>
                  </a:lnTo>
                  <a:lnTo>
                    <a:pt x="1174" y="587"/>
                  </a:lnTo>
                  <a:lnTo>
                    <a:pt x="1173" y="586"/>
                  </a:lnTo>
                  <a:lnTo>
                    <a:pt x="1173" y="584"/>
                  </a:lnTo>
                  <a:lnTo>
                    <a:pt x="1173" y="582"/>
                  </a:lnTo>
                  <a:lnTo>
                    <a:pt x="1173" y="584"/>
                  </a:lnTo>
                  <a:lnTo>
                    <a:pt x="1171" y="582"/>
                  </a:lnTo>
                  <a:lnTo>
                    <a:pt x="1173" y="582"/>
                  </a:lnTo>
                  <a:lnTo>
                    <a:pt x="1171" y="582"/>
                  </a:lnTo>
                  <a:lnTo>
                    <a:pt x="1171" y="581"/>
                  </a:lnTo>
                  <a:lnTo>
                    <a:pt x="1171" y="579"/>
                  </a:lnTo>
                  <a:lnTo>
                    <a:pt x="1171" y="578"/>
                  </a:lnTo>
                  <a:lnTo>
                    <a:pt x="1173" y="578"/>
                  </a:lnTo>
                  <a:close/>
                  <a:moveTo>
                    <a:pt x="508" y="576"/>
                  </a:moveTo>
                  <a:lnTo>
                    <a:pt x="506" y="576"/>
                  </a:lnTo>
                  <a:lnTo>
                    <a:pt x="508" y="576"/>
                  </a:lnTo>
                  <a:close/>
                  <a:moveTo>
                    <a:pt x="1171" y="578"/>
                  </a:moveTo>
                  <a:lnTo>
                    <a:pt x="1171" y="576"/>
                  </a:lnTo>
                  <a:lnTo>
                    <a:pt x="1173" y="576"/>
                  </a:lnTo>
                  <a:lnTo>
                    <a:pt x="1171" y="576"/>
                  </a:lnTo>
                  <a:lnTo>
                    <a:pt x="1171" y="578"/>
                  </a:lnTo>
                  <a:close/>
                  <a:moveTo>
                    <a:pt x="506" y="576"/>
                  </a:moveTo>
                  <a:lnTo>
                    <a:pt x="506" y="574"/>
                  </a:lnTo>
                  <a:lnTo>
                    <a:pt x="506" y="576"/>
                  </a:lnTo>
                  <a:close/>
                  <a:moveTo>
                    <a:pt x="504" y="573"/>
                  </a:moveTo>
                  <a:lnTo>
                    <a:pt x="503" y="573"/>
                  </a:lnTo>
                  <a:lnTo>
                    <a:pt x="504" y="573"/>
                  </a:lnTo>
                  <a:close/>
                  <a:moveTo>
                    <a:pt x="500" y="571"/>
                  </a:moveTo>
                  <a:lnTo>
                    <a:pt x="498" y="571"/>
                  </a:lnTo>
                  <a:lnTo>
                    <a:pt x="500" y="571"/>
                  </a:lnTo>
                  <a:close/>
                  <a:moveTo>
                    <a:pt x="506" y="571"/>
                  </a:moveTo>
                  <a:lnTo>
                    <a:pt x="506" y="569"/>
                  </a:lnTo>
                  <a:lnTo>
                    <a:pt x="504" y="569"/>
                  </a:lnTo>
                  <a:lnTo>
                    <a:pt x="506" y="569"/>
                  </a:lnTo>
                  <a:lnTo>
                    <a:pt x="508" y="571"/>
                  </a:lnTo>
                  <a:lnTo>
                    <a:pt x="509" y="571"/>
                  </a:lnTo>
                  <a:lnTo>
                    <a:pt x="508" y="571"/>
                  </a:lnTo>
                  <a:lnTo>
                    <a:pt x="508" y="573"/>
                  </a:lnTo>
                  <a:lnTo>
                    <a:pt x="508" y="571"/>
                  </a:lnTo>
                  <a:lnTo>
                    <a:pt x="509" y="573"/>
                  </a:lnTo>
                  <a:lnTo>
                    <a:pt x="509" y="571"/>
                  </a:lnTo>
                  <a:lnTo>
                    <a:pt x="511" y="573"/>
                  </a:lnTo>
                  <a:lnTo>
                    <a:pt x="513" y="571"/>
                  </a:lnTo>
                  <a:lnTo>
                    <a:pt x="514" y="571"/>
                  </a:lnTo>
                  <a:lnTo>
                    <a:pt x="516" y="571"/>
                  </a:lnTo>
                  <a:lnTo>
                    <a:pt x="516" y="573"/>
                  </a:lnTo>
                  <a:lnTo>
                    <a:pt x="517" y="573"/>
                  </a:lnTo>
                  <a:lnTo>
                    <a:pt x="516" y="573"/>
                  </a:lnTo>
                  <a:lnTo>
                    <a:pt x="516" y="574"/>
                  </a:lnTo>
                  <a:lnTo>
                    <a:pt x="517" y="573"/>
                  </a:lnTo>
                  <a:lnTo>
                    <a:pt x="517" y="574"/>
                  </a:lnTo>
                  <a:lnTo>
                    <a:pt x="519" y="574"/>
                  </a:lnTo>
                  <a:lnTo>
                    <a:pt x="521" y="574"/>
                  </a:lnTo>
                  <a:lnTo>
                    <a:pt x="519" y="574"/>
                  </a:lnTo>
                  <a:lnTo>
                    <a:pt x="519" y="576"/>
                  </a:lnTo>
                  <a:lnTo>
                    <a:pt x="519" y="578"/>
                  </a:lnTo>
                  <a:lnTo>
                    <a:pt x="521" y="578"/>
                  </a:lnTo>
                  <a:lnTo>
                    <a:pt x="524" y="578"/>
                  </a:lnTo>
                  <a:lnTo>
                    <a:pt x="526" y="578"/>
                  </a:lnTo>
                  <a:lnTo>
                    <a:pt x="527" y="578"/>
                  </a:lnTo>
                  <a:lnTo>
                    <a:pt x="527" y="579"/>
                  </a:lnTo>
                  <a:lnTo>
                    <a:pt x="526" y="579"/>
                  </a:lnTo>
                  <a:lnTo>
                    <a:pt x="524" y="579"/>
                  </a:lnTo>
                  <a:lnTo>
                    <a:pt x="522" y="579"/>
                  </a:lnTo>
                  <a:lnTo>
                    <a:pt x="521" y="579"/>
                  </a:lnTo>
                  <a:lnTo>
                    <a:pt x="517" y="579"/>
                  </a:lnTo>
                  <a:lnTo>
                    <a:pt x="516" y="579"/>
                  </a:lnTo>
                  <a:lnTo>
                    <a:pt x="514" y="579"/>
                  </a:lnTo>
                  <a:lnTo>
                    <a:pt x="513" y="579"/>
                  </a:lnTo>
                  <a:lnTo>
                    <a:pt x="511" y="579"/>
                  </a:lnTo>
                  <a:lnTo>
                    <a:pt x="509" y="579"/>
                  </a:lnTo>
                  <a:lnTo>
                    <a:pt x="508" y="579"/>
                  </a:lnTo>
                  <a:lnTo>
                    <a:pt x="508" y="578"/>
                  </a:lnTo>
                  <a:lnTo>
                    <a:pt x="508" y="579"/>
                  </a:lnTo>
                  <a:lnTo>
                    <a:pt x="509" y="579"/>
                  </a:lnTo>
                  <a:lnTo>
                    <a:pt x="508" y="579"/>
                  </a:lnTo>
                  <a:lnTo>
                    <a:pt x="506" y="579"/>
                  </a:lnTo>
                  <a:lnTo>
                    <a:pt x="504" y="579"/>
                  </a:lnTo>
                  <a:lnTo>
                    <a:pt x="503" y="579"/>
                  </a:lnTo>
                  <a:lnTo>
                    <a:pt x="504" y="579"/>
                  </a:lnTo>
                  <a:lnTo>
                    <a:pt x="504" y="581"/>
                  </a:lnTo>
                  <a:lnTo>
                    <a:pt x="503" y="581"/>
                  </a:lnTo>
                  <a:lnTo>
                    <a:pt x="501" y="581"/>
                  </a:lnTo>
                  <a:lnTo>
                    <a:pt x="500" y="581"/>
                  </a:lnTo>
                  <a:lnTo>
                    <a:pt x="498" y="581"/>
                  </a:lnTo>
                  <a:lnTo>
                    <a:pt x="500" y="579"/>
                  </a:lnTo>
                  <a:lnTo>
                    <a:pt x="498" y="579"/>
                  </a:lnTo>
                  <a:lnTo>
                    <a:pt x="500" y="579"/>
                  </a:lnTo>
                  <a:lnTo>
                    <a:pt x="501" y="579"/>
                  </a:lnTo>
                  <a:lnTo>
                    <a:pt x="500" y="579"/>
                  </a:lnTo>
                  <a:lnTo>
                    <a:pt x="501" y="578"/>
                  </a:lnTo>
                  <a:lnTo>
                    <a:pt x="500" y="578"/>
                  </a:lnTo>
                  <a:lnTo>
                    <a:pt x="501" y="578"/>
                  </a:lnTo>
                  <a:lnTo>
                    <a:pt x="500" y="578"/>
                  </a:lnTo>
                  <a:lnTo>
                    <a:pt x="501" y="578"/>
                  </a:lnTo>
                  <a:lnTo>
                    <a:pt x="500" y="578"/>
                  </a:lnTo>
                  <a:lnTo>
                    <a:pt x="501" y="578"/>
                  </a:lnTo>
                  <a:lnTo>
                    <a:pt x="503" y="578"/>
                  </a:lnTo>
                  <a:lnTo>
                    <a:pt x="504" y="578"/>
                  </a:lnTo>
                  <a:lnTo>
                    <a:pt x="506" y="578"/>
                  </a:lnTo>
                  <a:lnTo>
                    <a:pt x="504" y="576"/>
                  </a:lnTo>
                  <a:lnTo>
                    <a:pt x="506" y="576"/>
                  </a:lnTo>
                  <a:lnTo>
                    <a:pt x="508" y="576"/>
                  </a:lnTo>
                  <a:lnTo>
                    <a:pt x="506" y="576"/>
                  </a:lnTo>
                  <a:lnTo>
                    <a:pt x="506" y="574"/>
                  </a:lnTo>
                  <a:lnTo>
                    <a:pt x="504" y="574"/>
                  </a:lnTo>
                  <a:lnTo>
                    <a:pt x="506" y="574"/>
                  </a:lnTo>
                  <a:lnTo>
                    <a:pt x="506" y="573"/>
                  </a:lnTo>
                  <a:lnTo>
                    <a:pt x="506" y="571"/>
                  </a:lnTo>
                  <a:close/>
                  <a:moveTo>
                    <a:pt x="503" y="569"/>
                  </a:moveTo>
                  <a:lnTo>
                    <a:pt x="501" y="569"/>
                  </a:lnTo>
                  <a:lnTo>
                    <a:pt x="503" y="569"/>
                  </a:lnTo>
                  <a:close/>
                  <a:moveTo>
                    <a:pt x="1192" y="569"/>
                  </a:moveTo>
                  <a:lnTo>
                    <a:pt x="1191" y="569"/>
                  </a:lnTo>
                  <a:lnTo>
                    <a:pt x="1192" y="569"/>
                  </a:lnTo>
                  <a:close/>
                  <a:moveTo>
                    <a:pt x="1192" y="569"/>
                  </a:moveTo>
                  <a:lnTo>
                    <a:pt x="1192" y="568"/>
                  </a:lnTo>
                  <a:lnTo>
                    <a:pt x="1192" y="569"/>
                  </a:lnTo>
                  <a:close/>
                  <a:moveTo>
                    <a:pt x="504" y="568"/>
                  </a:moveTo>
                  <a:lnTo>
                    <a:pt x="506" y="568"/>
                  </a:lnTo>
                  <a:lnTo>
                    <a:pt x="504" y="568"/>
                  </a:lnTo>
                  <a:close/>
                  <a:moveTo>
                    <a:pt x="488" y="566"/>
                  </a:moveTo>
                  <a:lnTo>
                    <a:pt x="487" y="566"/>
                  </a:lnTo>
                  <a:lnTo>
                    <a:pt x="488" y="566"/>
                  </a:lnTo>
                  <a:close/>
                  <a:moveTo>
                    <a:pt x="488" y="566"/>
                  </a:moveTo>
                  <a:lnTo>
                    <a:pt x="490" y="566"/>
                  </a:lnTo>
                  <a:lnTo>
                    <a:pt x="488" y="566"/>
                  </a:lnTo>
                  <a:close/>
                  <a:moveTo>
                    <a:pt x="483" y="565"/>
                  </a:moveTo>
                  <a:lnTo>
                    <a:pt x="482" y="565"/>
                  </a:lnTo>
                  <a:lnTo>
                    <a:pt x="483" y="565"/>
                  </a:lnTo>
                  <a:close/>
                  <a:moveTo>
                    <a:pt x="483" y="565"/>
                  </a:moveTo>
                  <a:lnTo>
                    <a:pt x="482" y="565"/>
                  </a:lnTo>
                  <a:lnTo>
                    <a:pt x="483" y="565"/>
                  </a:lnTo>
                  <a:close/>
                  <a:moveTo>
                    <a:pt x="485" y="565"/>
                  </a:moveTo>
                  <a:lnTo>
                    <a:pt x="483" y="565"/>
                  </a:lnTo>
                  <a:lnTo>
                    <a:pt x="485" y="565"/>
                  </a:lnTo>
                  <a:close/>
                  <a:moveTo>
                    <a:pt x="488" y="565"/>
                  </a:moveTo>
                  <a:lnTo>
                    <a:pt x="487" y="565"/>
                  </a:lnTo>
                  <a:lnTo>
                    <a:pt x="488" y="565"/>
                  </a:lnTo>
                  <a:close/>
                  <a:moveTo>
                    <a:pt x="490" y="565"/>
                  </a:moveTo>
                  <a:lnTo>
                    <a:pt x="488" y="565"/>
                  </a:lnTo>
                  <a:lnTo>
                    <a:pt x="490" y="565"/>
                  </a:lnTo>
                  <a:close/>
                  <a:moveTo>
                    <a:pt x="493" y="565"/>
                  </a:moveTo>
                  <a:lnTo>
                    <a:pt x="491" y="565"/>
                  </a:lnTo>
                  <a:lnTo>
                    <a:pt x="493" y="565"/>
                  </a:lnTo>
                  <a:close/>
                  <a:moveTo>
                    <a:pt x="474" y="563"/>
                  </a:moveTo>
                  <a:lnTo>
                    <a:pt x="472" y="563"/>
                  </a:lnTo>
                  <a:lnTo>
                    <a:pt x="474" y="563"/>
                  </a:lnTo>
                  <a:close/>
                  <a:moveTo>
                    <a:pt x="490" y="563"/>
                  </a:moveTo>
                  <a:lnTo>
                    <a:pt x="488" y="563"/>
                  </a:lnTo>
                  <a:lnTo>
                    <a:pt x="487" y="563"/>
                  </a:lnTo>
                  <a:lnTo>
                    <a:pt x="488" y="563"/>
                  </a:lnTo>
                  <a:lnTo>
                    <a:pt x="490" y="563"/>
                  </a:lnTo>
                  <a:close/>
                  <a:moveTo>
                    <a:pt x="474" y="563"/>
                  </a:moveTo>
                  <a:lnTo>
                    <a:pt x="472" y="563"/>
                  </a:lnTo>
                  <a:lnTo>
                    <a:pt x="474" y="563"/>
                  </a:lnTo>
                  <a:close/>
                  <a:moveTo>
                    <a:pt x="474" y="563"/>
                  </a:moveTo>
                  <a:lnTo>
                    <a:pt x="472" y="563"/>
                  </a:lnTo>
                  <a:lnTo>
                    <a:pt x="472" y="561"/>
                  </a:lnTo>
                  <a:lnTo>
                    <a:pt x="474" y="561"/>
                  </a:lnTo>
                  <a:lnTo>
                    <a:pt x="474" y="563"/>
                  </a:lnTo>
                  <a:close/>
                  <a:moveTo>
                    <a:pt x="485" y="558"/>
                  </a:moveTo>
                  <a:lnTo>
                    <a:pt x="487" y="558"/>
                  </a:lnTo>
                  <a:lnTo>
                    <a:pt x="485" y="558"/>
                  </a:lnTo>
                  <a:close/>
                  <a:moveTo>
                    <a:pt x="485" y="558"/>
                  </a:moveTo>
                  <a:lnTo>
                    <a:pt x="483" y="558"/>
                  </a:lnTo>
                  <a:lnTo>
                    <a:pt x="485" y="558"/>
                  </a:lnTo>
                  <a:close/>
                  <a:moveTo>
                    <a:pt x="467" y="556"/>
                  </a:moveTo>
                  <a:lnTo>
                    <a:pt x="467" y="555"/>
                  </a:lnTo>
                  <a:lnTo>
                    <a:pt x="467" y="556"/>
                  </a:lnTo>
                  <a:lnTo>
                    <a:pt x="469" y="556"/>
                  </a:lnTo>
                  <a:lnTo>
                    <a:pt x="467" y="556"/>
                  </a:lnTo>
                  <a:close/>
                  <a:moveTo>
                    <a:pt x="467" y="555"/>
                  </a:moveTo>
                  <a:lnTo>
                    <a:pt x="469" y="555"/>
                  </a:lnTo>
                  <a:lnTo>
                    <a:pt x="467" y="555"/>
                  </a:lnTo>
                  <a:close/>
                  <a:moveTo>
                    <a:pt x="482" y="555"/>
                  </a:moveTo>
                  <a:lnTo>
                    <a:pt x="480" y="556"/>
                  </a:lnTo>
                  <a:lnTo>
                    <a:pt x="480" y="555"/>
                  </a:lnTo>
                  <a:lnTo>
                    <a:pt x="478" y="555"/>
                  </a:lnTo>
                  <a:lnTo>
                    <a:pt x="480" y="555"/>
                  </a:lnTo>
                  <a:lnTo>
                    <a:pt x="482" y="555"/>
                  </a:lnTo>
                  <a:close/>
                  <a:moveTo>
                    <a:pt x="467" y="555"/>
                  </a:moveTo>
                  <a:lnTo>
                    <a:pt x="465" y="555"/>
                  </a:lnTo>
                  <a:lnTo>
                    <a:pt x="467" y="555"/>
                  </a:lnTo>
                  <a:close/>
                  <a:moveTo>
                    <a:pt x="465" y="555"/>
                  </a:moveTo>
                  <a:lnTo>
                    <a:pt x="465" y="553"/>
                  </a:lnTo>
                  <a:lnTo>
                    <a:pt x="465" y="555"/>
                  </a:lnTo>
                  <a:close/>
                  <a:moveTo>
                    <a:pt x="464" y="551"/>
                  </a:moveTo>
                  <a:lnTo>
                    <a:pt x="465" y="553"/>
                  </a:lnTo>
                  <a:lnTo>
                    <a:pt x="464" y="553"/>
                  </a:lnTo>
                  <a:lnTo>
                    <a:pt x="464" y="551"/>
                  </a:lnTo>
                  <a:close/>
                  <a:moveTo>
                    <a:pt x="469" y="553"/>
                  </a:moveTo>
                  <a:lnTo>
                    <a:pt x="467" y="553"/>
                  </a:lnTo>
                  <a:lnTo>
                    <a:pt x="467" y="551"/>
                  </a:lnTo>
                  <a:lnTo>
                    <a:pt x="467" y="553"/>
                  </a:lnTo>
                  <a:lnTo>
                    <a:pt x="469" y="553"/>
                  </a:lnTo>
                  <a:close/>
                  <a:moveTo>
                    <a:pt x="532" y="551"/>
                  </a:moveTo>
                  <a:lnTo>
                    <a:pt x="530" y="551"/>
                  </a:lnTo>
                  <a:lnTo>
                    <a:pt x="532" y="551"/>
                  </a:lnTo>
                  <a:close/>
                  <a:moveTo>
                    <a:pt x="469" y="551"/>
                  </a:moveTo>
                  <a:lnTo>
                    <a:pt x="469" y="550"/>
                  </a:lnTo>
                  <a:lnTo>
                    <a:pt x="469" y="551"/>
                  </a:lnTo>
                  <a:close/>
                  <a:moveTo>
                    <a:pt x="526" y="550"/>
                  </a:moveTo>
                  <a:lnTo>
                    <a:pt x="524" y="550"/>
                  </a:lnTo>
                  <a:lnTo>
                    <a:pt x="526" y="550"/>
                  </a:lnTo>
                  <a:close/>
                  <a:moveTo>
                    <a:pt x="535" y="550"/>
                  </a:moveTo>
                  <a:lnTo>
                    <a:pt x="537" y="550"/>
                  </a:lnTo>
                  <a:lnTo>
                    <a:pt x="535" y="550"/>
                  </a:lnTo>
                  <a:close/>
                  <a:moveTo>
                    <a:pt x="524" y="550"/>
                  </a:moveTo>
                  <a:lnTo>
                    <a:pt x="522" y="550"/>
                  </a:lnTo>
                  <a:lnTo>
                    <a:pt x="522" y="548"/>
                  </a:lnTo>
                  <a:lnTo>
                    <a:pt x="521" y="548"/>
                  </a:lnTo>
                  <a:lnTo>
                    <a:pt x="522" y="548"/>
                  </a:lnTo>
                  <a:lnTo>
                    <a:pt x="524" y="548"/>
                  </a:lnTo>
                  <a:lnTo>
                    <a:pt x="524" y="550"/>
                  </a:lnTo>
                  <a:close/>
                  <a:moveTo>
                    <a:pt x="566" y="550"/>
                  </a:moveTo>
                  <a:lnTo>
                    <a:pt x="565" y="550"/>
                  </a:lnTo>
                  <a:lnTo>
                    <a:pt x="563" y="550"/>
                  </a:lnTo>
                  <a:lnTo>
                    <a:pt x="565" y="548"/>
                  </a:lnTo>
                  <a:lnTo>
                    <a:pt x="566" y="548"/>
                  </a:lnTo>
                  <a:lnTo>
                    <a:pt x="566" y="550"/>
                  </a:lnTo>
                  <a:close/>
                  <a:moveTo>
                    <a:pt x="534" y="547"/>
                  </a:moveTo>
                  <a:lnTo>
                    <a:pt x="534" y="548"/>
                  </a:lnTo>
                  <a:lnTo>
                    <a:pt x="534" y="547"/>
                  </a:lnTo>
                  <a:close/>
                  <a:moveTo>
                    <a:pt x="524" y="548"/>
                  </a:moveTo>
                  <a:lnTo>
                    <a:pt x="524" y="547"/>
                  </a:lnTo>
                  <a:lnTo>
                    <a:pt x="524" y="548"/>
                  </a:lnTo>
                  <a:close/>
                  <a:moveTo>
                    <a:pt x="537" y="547"/>
                  </a:moveTo>
                  <a:lnTo>
                    <a:pt x="535" y="547"/>
                  </a:lnTo>
                  <a:lnTo>
                    <a:pt x="537" y="547"/>
                  </a:lnTo>
                  <a:close/>
                  <a:moveTo>
                    <a:pt x="530" y="547"/>
                  </a:moveTo>
                  <a:lnTo>
                    <a:pt x="529" y="547"/>
                  </a:lnTo>
                  <a:lnTo>
                    <a:pt x="530" y="547"/>
                  </a:lnTo>
                  <a:close/>
                  <a:moveTo>
                    <a:pt x="530" y="547"/>
                  </a:moveTo>
                  <a:lnTo>
                    <a:pt x="530" y="545"/>
                  </a:lnTo>
                  <a:lnTo>
                    <a:pt x="530" y="547"/>
                  </a:lnTo>
                  <a:close/>
                  <a:moveTo>
                    <a:pt x="521" y="545"/>
                  </a:moveTo>
                  <a:lnTo>
                    <a:pt x="521" y="547"/>
                  </a:lnTo>
                  <a:lnTo>
                    <a:pt x="521" y="545"/>
                  </a:lnTo>
                  <a:close/>
                  <a:moveTo>
                    <a:pt x="553" y="545"/>
                  </a:moveTo>
                  <a:lnTo>
                    <a:pt x="552" y="545"/>
                  </a:lnTo>
                  <a:lnTo>
                    <a:pt x="553" y="545"/>
                  </a:lnTo>
                  <a:close/>
                  <a:moveTo>
                    <a:pt x="569" y="545"/>
                  </a:moveTo>
                  <a:lnTo>
                    <a:pt x="569" y="543"/>
                  </a:lnTo>
                  <a:lnTo>
                    <a:pt x="569" y="545"/>
                  </a:lnTo>
                  <a:close/>
                  <a:moveTo>
                    <a:pt x="517" y="543"/>
                  </a:moveTo>
                  <a:lnTo>
                    <a:pt x="516" y="543"/>
                  </a:lnTo>
                  <a:lnTo>
                    <a:pt x="517" y="543"/>
                  </a:lnTo>
                  <a:close/>
                  <a:moveTo>
                    <a:pt x="574" y="543"/>
                  </a:moveTo>
                  <a:lnTo>
                    <a:pt x="573" y="543"/>
                  </a:lnTo>
                  <a:lnTo>
                    <a:pt x="573" y="542"/>
                  </a:lnTo>
                  <a:lnTo>
                    <a:pt x="574" y="543"/>
                  </a:lnTo>
                  <a:close/>
                  <a:moveTo>
                    <a:pt x="573" y="542"/>
                  </a:moveTo>
                  <a:lnTo>
                    <a:pt x="573" y="543"/>
                  </a:lnTo>
                  <a:lnTo>
                    <a:pt x="571" y="542"/>
                  </a:lnTo>
                  <a:lnTo>
                    <a:pt x="573" y="542"/>
                  </a:lnTo>
                  <a:close/>
                  <a:moveTo>
                    <a:pt x="519" y="542"/>
                  </a:moveTo>
                  <a:lnTo>
                    <a:pt x="517" y="542"/>
                  </a:lnTo>
                  <a:lnTo>
                    <a:pt x="519" y="542"/>
                  </a:lnTo>
                  <a:close/>
                  <a:moveTo>
                    <a:pt x="517" y="542"/>
                  </a:moveTo>
                  <a:lnTo>
                    <a:pt x="517" y="540"/>
                  </a:lnTo>
                  <a:lnTo>
                    <a:pt x="517" y="542"/>
                  </a:lnTo>
                  <a:close/>
                  <a:moveTo>
                    <a:pt x="451" y="540"/>
                  </a:moveTo>
                  <a:lnTo>
                    <a:pt x="451" y="542"/>
                  </a:lnTo>
                  <a:lnTo>
                    <a:pt x="451" y="540"/>
                  </a:lnTo>
                  <a:close/>
                  <a:moveTo>
                    <a:pt x="514" y="540"/>
                  </a:moveTo>
                  <a:lnTo>
                    <a:pt x="514" y="542"/>
                  </a:lnTo>
                  <a:lnTo>
                    <a:pt x="513" y="540"/>
                  </a:lnTo>
                  <a:lnTo>
                    <a:pt x="514" y="540"/>
                  </a:lnTo>
                  <a:close/>
                  <a:moveTo>
                    <a:pt x="517" y="540"/>
                  </a:moveTo>
                  <a:lnTo>
                    <a:pt x="517" y="542"/>
                  </a:lnTo>
                  <a:lnTo>
                    <a:pt x="517" y="540"/>
                  </a:lnTo>
                  <a:close/>
                  <a:moveTo>
                    <a:pt x="521" y="542"/>
                  </a:moveTo>
                  <a:lnTo>
                    <a:pt x="522" y="542"/>
                  </a:lnTo>
                  <a:lnTo>
                    <a:pt x="521" y="540"/>
                  </a:lnTo>
                  <a:lnTo>
                    <a:pt x="521" y="542"/>
                  </a:lnTo>
                  <a:close/>
                  <a:moveTo>
                    <a:pt x="514" y="540"/>
                  </a:moveTo>
                  <a:lnTo>
                    <a:pt x="516" y="540"/>
                  </a:lnTo>
                  <a:lnTo>
                    <a:pt x="514" y="540"/>
                  </a:lnTo>
                  <a:close/>
                  <a:moveTo>
                    <a:pt x="522" y="540"/>
                  </a:moveTo>
                  <a:lnTo>
                    <a:pt x="521" y="540"/>
                  </a:lnTo>
                  <a:lnTo>
                    <a:pt x="522" y="540"/>
                  </a:lnTo>
                  <a:close/>
                  <a:moveTo>
                    <a:pt x="517" y="540"/>
                  </a:moveTo>
                  <a:lnTo>
                    <a:pt x="517" y="538"/>
                  </a:lnTo>
                  <a:lnTo>
                    <a:pt x="517" y="540"/>
                  </a:lnTo>
                  <a:close/>
                  <a:moveTo>
                    <a:pt x="521" y="540"/>
                  </a:moveTo>
                  <a:lnTo>
                    <a:pt x="521" y="538"/>
                  </a:lnTo>
                  <a:lnTo>
                    <a:pt x="521" y="540"/>
                  </a:lnTo>
                  <a:close/>
                  <a:moveTo>
                    <a:pt x="521" y="540"/>
                  </a:moveTo>
                  <a:lnTo>
                    <a:pt x="519" y="540"/>
                  </a:lnTo>
                  <a:lnTo>
                    <a:pt x="519" y="538"/>
                  </a:lnTo>
                  <a:lnTo>
                    <a:pt x="521" y="540"/>
                  </a:lnTo>
                  <a:close/>
                  <a:moveTo>
                    <a:pt x="521" y="538"/>
                  </a:moveTo>
                  <a:lnTo>
                    <a:pt x="519" y="538"/>
                  </a:lnTo>
                  <a:lnTo>
                    <a:pt x="521" y="538"/>
                  </a:lnTo>
                  <a:close/>
                  <a:moveTo>
                    <a:pt x="516" y="538"/>
                  </a:moveTo>
                  <a:lnTo>
                    <a:pt x="517" y="538"/>
                  </a:lnTo>
                  <a:lnTo>
                    <a:pt x="516" y="538"/>
                  </a:lnTo>
                  <a:close/>
                  <a:moveTo>
                    <a:pt x="517" y="538"/>
                  </a:moveTo>
                  <a:lnTo>
                    <a:pt x="516" y="538"/>
                  </a:lnTo>
                  <a:lnTo>
                    <a:pt x="517" y="538"/>
                  </a:lnTo>
                  <a:close/>
                  <a:moveTo>
                    <a:pt x="713" y="538"/>
                  </a:moveTo>
                  <a:lnTo>
                    <a:pt x="713" y="540"/>
                  </a:lnTo>
                  <a:lnTo>
                    <a:pt x="713" y="538"/>
                  </a:lnTo>
                  <a:lnTo>
                    <a:pt x="713" y="540"/>
                  </a:lnTo>
                  <a:lnTo>
                    <a:pt x="711" y="538"/>
                  </a:lnTo>
                  <a:lnTo>
                    <a:pt x="713" y="538"/>
                  </a:lnTo>
                  <a:close/>
                  <a:moveTo>
                    <a:pt x="934" y="538"/>
                  </a:moveTo>
                  <a:lnTo>
                    <a:pt x="932" y="538"/>
                  </a:lnTo>
                  <a:lnTo>
                    <a:pt x="934" y="538"/>
                  </a:lnTo>
                  <a:close/>
                  <a:moveTo>
                    <a:pt x="711" y="538"/>
                  </a:moveTo>
                  <a:lnTo>
                    <a:pt x="711" y="537"/>
                  </a:lnTo>
                  <a:lnTo>
                    <a:pt x="711" y="538"/>
                  </a:lnTo>
                  <a:close/>
                  <a:moveTo>
                    <a:pt x="706" y="538"/>
                  </a:moveTo>
                  <a:lnTo>
                    <a:pt x="706" y="537"/>
                  </a:lnTo>
                  <a:lnTo>
                    <a:pt x="706" y="538"/>
                  </a:lnTo>
                  <a:close/>
                  <a:moveTo>
                    <a:pt x="454" y="538"/>
                  </a:moveTo>
                  <a:lnTo>
                    <a:pt x="452" y="538"/>
                  </a:lnTo>
                  <a:lnTo>
                    <a:pt x="452" y="537"/>
                  </a:lnTo>
                  <a:lnTo>
                    <a:pt x="454" y="537"/>
                  </a:lnTo>
                  <a:lnTo>
                    <a:pt x="454" y="538"/>
                  </a:lnTo>
                  <a:close/>
                  <a:moveTo>
                    <a:pt x="459" y="538"/>
                  </a:moveTo>
                  <a:lnTo>
                    <a:pt x="457" y="538"/>
                  </a:lnTo>
                  <a:lnTo>
                    <a:pt x="457" y="537"/>
                  </a:lnTo>
                  <a:lnTo>
                    <a:pt x="459" y="538"/>
                  </a:lnTo>
                  <a:close/>
                  <a:moveTo>
                    <a:pt x="708" y="538"/>
                  </a:moveTo>
                  <a:lnTo>
                    <a:pt x="708" y="537"/>
                  </a:lnTo>
                  <a:lnTo>
                    <a:pt x="709" y="538"/>
                  </a:lnTo>
                  <a:lnTo>
                    <a:pt x="708" y="538"/>
                  </a:lnTo>
                  <a:lnTo>
                    <a:pt x="709" y="538"/>
                  </a:lnTo>
                  <a:lnTo>
                    <a:pt x="708" y="538"/>
                  </a:lnTo>
                  <a:close/>
                  <a:moveTo>
                    <a:pt x="511" y="537"/>
                  </a:moveTo>
                  <a:lnTo>
                    <a:pt x="513" y="537"/>
                  </a:lnTo>
                  <a:lnTo>
                    <a:pt x="513" y="538"/>
                  </a:lnTo>
                  <a:lnTo>
                    <a:pt x="511" y="537"/>
                  </a:lnTo>
                  <a:close/>
                  <a:moveTo>
                    <a:pt x="452" y="538"/>
                  </a:moveTo>
                  <a:lnTo>
                    <a:pt x="452" y="537"/>
                  </a:lnTo>
                  <a:lnTo>
                    <a:pt x="452" y="538"/>
                  </a:lnTo>
                  <a:close/>
                  <a:moveTo>
                    <a:pt x="704" y="537"/>
                  </a:moveTo>
                  <a:lnTo>
                    <a:pt x="706" y="537"/>
                  </a:lnTo>
                  <a:lnTo>
                    <a:pt x="704" y="537"/>
                  </a:lnTo>
                  <a:close/>
                  <a:moveTo>
                    <a:pt x="704" y="535"/>
                  </a:moveTo>
                  <a:lnTo>
                    <a:pt x="704" y="537"/>
                  </a:lnTo>
                  <a:lnTo>
                    <a:pt x="704" y="535"/>
                  </a:lnTo>
                  <a:close/>
                  <a:moveTo>
                    <a:pt x="459" y="534"/>
                  </a:moveTo>
                  <a:lnTo>
                    <a:pt x="459" y="535"/>
                  </a:lnTo>
                  <a:lnTo>
                    <a:pt x="459" y="534"/>
                  </a:lnTo>
                  <a:close/>
                  <a:moveTo>
                    <a:pt x="456" y="534"/>
                  </a:moveTo>
                  <a:lnTo>
                    <a:pt x="456" y="535"/>
                  </a:lnTo>
                  <a:lnTo>
                    <a:pt x="456" y="534"/>
                  </a:lnTo>
                  <a:close/>
                  <a:moveTo>
                    <a:pt x="454" y="535"/>
                  </a:moveTo>
                  <a:lnTo>
                    <a:pt x="452" y="534"/>
                  </a:lnTo>
                  <a:lnTo>
                    <a:pt x="454" y="534"/>
                  </a:lnTo>
                  <a:lnTo>
                    <a:pt x="454" y="535"/>
                  </a:lnTo>
                  <a:close/>
                  <a:moveTo>
                    <a:pt x="704" y="534"/>
                  </a:moveTo>
                  <a:lnTo>
                    <a:pt x="704" y="535"/>
                  </a:lnTo>
                  <a:lnTo>
                    <a:pt x="704" y="534"/>
                  </a:lnTo>
                  <a:close/>
                  <a:moveTo>
                    <a:pt x="456" y="535"/>
                  </a:moveTo>
                  <a:lnTo>
                    <a:pt x="454" y="535"/>
                  </a:lnTo>
                  <a:lnTo>
                    <a:pt x="454" y="534"/>
                  </a:lnTo>
                  <a:lnTo>
                    <a:pt x="456" y="534"/>
                  </a:lnTo>
                  <a:lnTo>
                    <a:pt x="456" y="535"/>
                  </a:lnTo>
                  <a:close/>
                  <a:moveTo>
                    <a:pt x="459" y="535"/>
                  </a:moveTo>
                  <a:lnTo>
                    <a:pt x="457" y="535"/>
                  </a:lnTo>
                  <a:lnTo>
                    <a:pt x="457" y="534"/>
                  </a:lnTo>
                  <a:lnTo>
                    <a:pt x="459" y="535"/>
                  </a:lnTo>
                  <a:close/>
                  <a:moveTo>
                    <a:pt x="452" y="532"/>
                  </a:moveTo>
                  <a:lnTo>
                    <a:pt x="451" y="532"/>
                  </a:lnTo>
                  <a:lnTo>
                    <a:pt x="452" y="532"/>
                  </a:lnTo>
                  <a:close/>
                  <a:moveTo>
                    <a:pt x="457" y="532"/>
                  </a:moveTo>
                  <a:lnTo>
                    <a:pt x="457" y="534"/>
                  </a:lnTo>
                  <a:lnTo>
                    <a:pt x="457" y="532"/>
                  </a:lnTo>
                  <a:close/>
                  <a:moveTo>
                    <a:pt x="696" y="532"/>
                  </a:moveTo>
                  <a:lnTo>
                    <a:pt x="695" y="532"/>
                  </a:lnTo>
                  <a:lnTo>
                    <a:pt x="696" y="532"/>
                  </a:lnTo>
                  <a:close/>
                  <a:moveTo>
                    <a:pt x="452" y="532"/>
                  </a:moveTo>
                  <a:lnTo>
                    <a:pt x="454" y="532"/>
                  </a:lnTo>
                  <a:lnTo>
                    <a:pt x="452" y="532"/>
                  </a:lnTo>
                  <a:close/>
                  <a:moveTo>
                    <a:pt x="457" y="530"/>
                  </a:moveTo>
                  <a:lnTo>
                    <a:pt x="456" y="530"/>
                  </a:lnTo>
                  <a:lnTo>
                    <a:pt x="456" y="532"/>
                  </a:lnTo>
                  <a:lnTo>
                    <a:pt x="456" y="530"/>
                  </a:lnTo>
                  <a:lnTo>
                    <a:pt x="454" y="530"/>
                  </a:lnTo>
                  <a:lnTo>
                    <a:pt x="456" y="530"/>
                  </a:lnTo>
                  <a:lnTo>
                    <a:pt x="457" y="530"/>
                  </a:lnTo>
                  <a:close/>
                  <a:moveTo>
                    <a:pt x="454" y="529"/>
                  </a:moveTo>
                  <a:lnTo>
                    <a:pt x="456" y="529"/>
                  </a:lnTo>
                  <a:lnTo>
                    <a:pt x="454" y="529"/>
                  </a:lnTo>
                  <a:close/>
                  <a:moveTo>
                    <a:pt x="436" y="527"/>
                  </a:moveTo>
                  <a:lnTo>
                    <a:pt x="436" y="529"/>
                  </a:lnTo>
                  <a:lnTo>
                    <a:pt x="436" y="527"/>
                  </a:lnTo>
                  <a:close/>
                  <a:moveTo>
                    <a:pt x="449" y="529"/>
                  </a:moveTo>
                  <a:lnTo>
                    <a:pt x="451" y="529"/>
                  </a:lnTo>
                  <a:lnTo>
                    <a:pt x="451" y="530"/>
                  </a:lnTo>
                  <a:lnTo>
                    <a:pt x="449" y="530"/>
                  </a:lnTo>
                  <a:lnTo>
                    <a:pt x="451" y="530"/>
                  </a:lnTo>
                  <a:lnTo>
                    <a:pt x="449" y="530"/>
                  </a:lnTo>
                  <a:lnTo>
                    <a:pt x="448" y="530"/>
                  </a:lnTo>
                  <a:lnTo>
                    <a:pt x="448" y="529"/>
                  </a:lnTo>
                  <a:lnTo>
                    <a:pt x="446" y="529"/>
                  </a:lnTo>
                  <a:lnTo>
                    <a:pt x="448" y="529"/>
                  </a:lnTo>
                  <a:lnTo>
                    <a:pt x="448" y="527"/>
                  </a:lnTo>
                  <a:lnTo>
                    <a:pt x="449" y="529"/>
                  </a:lnTo>
                  <a:close/>
                  <a:moveTo>
                    <a:pt x="438" y="527"/>
                  </a:moveTo>
                  <a:lnTo>
                    <a:pt x="436" y="527"/>
                  </a:lnTo>
                  <a:lnTo>
                    <a:pt x="438" y="527"/>
                  </a:lnTo>
                  <a:close/>
                  <a:moveTo>
                    <a:pt x="433" y="527"/>
                  </a:moveTo>
                  <a:lnTo>
                    <a:pt x="431" y="527"/>
                  </a:lnTo>
                  <a:lnTo>
                    <a:pt x="433" y="527"/>
                  </a:lnTo>
                  <a:close/>
                  <a:moveTo>
                    <a:pt x="452" y="527"/>
                  </a:moveTo>
                  <a:lnTo>
                    <a:pt x="451" y="527"/>
                  </a:lnTo>
                  <a:lnTo>
                    <a:pt x="451" y="525"/>
                  </a:lnTo>
                  <a:lnTo>
                    <a:pt x="452" y="525"/>
                  </a:lnTo>
                  <a:lnTo>
                    <a:pt x="452" y="527"/>
                  </a:lnTo>
                  <a:close/>
                  <a:moveTo>
                    <a:pt x="443" y="525"/>
                  </a:moveTo>
                  <a:lnTo>
                    <a:pt x="443" y="527"/>
                  </a:lnTo>
                  <a:lnTo>
                    <a:pt x="443" y="525"/>
                  </a:lnTo>
                  <a:close/>
                  <a:moveTo>
                    <a:pt x="451" y="527"/>
                  </a:moveTo>
                  <a:lnTo>
                    <a:pt x="449" y="527"/>
                  </a:lnTo>
                  <a:lnTo>
                    <a:pt x="449" y="525"/>
                  </a:lnTo>
                  <a:lnTo>
                    <a:pt x="451" y="525"/>
                  </a:lnTo>
                  <a:lnTo>
                    <a:pt x="449" y="525"/>
                  </a:lnTo>
                  <a:lnTo>
                    <a:pt x="451" y="525"/>
                  </a:lnTo>
                  <a:lnTo>
                    <a:pt x="451" y="527"/>
                  </a:lnTo>
                  <a:close/>
                  <a:moveTo>
                    <a:pt x="833" y="525"/>
                  </a:moveTo>
                  <a:lnTo>
                    <a:pt x="833" y="524"/>
                  </a:lnTo>
                  <a:lnTo>
                    <a:pt x="833" y="525"/>
                  </a:lnTo>
                  <a:close/>
                  <a:moveTo>
                    <a:pt x="835" y="524"/>
                  </a:moveTo>
                  <a:lnTo>
                    <a:pt x="835" y="525"/>
                  </a:lnTo>
                  <a:lnTo>
                    <a:pt x="833" y="524"/>
                  </a:lnTo>
                  <a:lnTo>
                    <a:pt x="835" y="524"/>
                  </a:lnTo>
                  <a:close/>
                  <a:moveTo>
                    <a:pt x="833" y="524"/>
                  </a:moveTo>
                  <a:lnTo>
                    <a:pt x="833" y="525"/>
                  </a:lnTo>
                  <a:lnTo>
                    <a:pt x="831" y="524"/>
                  </a:lnTo>
                  <a:lnTo>
                    <a:pt x="833" y="524"/>
                  </a:lnTo>
                  <a:close/>
                  <a:moveTo>
                    <a:pt x="449" y="524"/>
                  </a:moveTo>
                  <a:lnTo>
                    <a:pt x="449" y="525"/>
                  </a:lnTo>
                  <a:lnTo>
                    <a:pt x="449" y="524"/>
                  </a:lnTo>
                  <a:lnTo>
                    <a:pt x="449" y="525"/>
                  </a:lnTo>
                  <a:lnTo>
                    <a:pt x="448" y="525"/>
                  </a:lnTo>
                  <a:lnTo>
                    <a:pt x="448" y="524"/>
                  </a:lnTo>
                  <a:lnTo>
                    <a:pt x="449" y="525"/>
                  </a:lnTo>
                  <a:lnTo>
                    <a:pt x="448" y="524"/>
                  </a:lnTo>
                  <a:lnTo>
                    <a:pt x="449" y="524"/>
                  </a:lnTo>
                  <a:close/>
                  <a:moveTo>
                    <a:pt x="449" y="522"/>
                  </a:moveTo>
                  <a:lnTo>
                    <a:pt x="448" y="522"/>
                  </a:lnTo>
                  <a:lnTo>
                    <a:pt x="449" y="522"/>
                  </a:lnTo>
                  <a:close/>
                  <a:moveTo>
                    <a:pt x="443" y="522"/>
                  </a:moveTo>
                  <a:lnTo>
                    <a:pt x="444" y="522"/>
                  </a:lnTo>
                  <a:lnTo>
                    <a:pt x="443" y="522"/>
                  </a:lnTo>
                  <a:close/>
                  <a:moveTo>
                    <a:pt x="439" y="521"/>
                  </a:moveTo>
                  <a:lnTo>
                    <a:pt x="439" y="522"/>
                  </a:lnTo>
                  <a:lnTo>
                    <a:pt x="439" y="521"/>
                  </a:lnTo>
                  <a:close/>
                  <a:moveTo>
                    <a:pt x="439" y="521"/>
                  </a:moveTo>
                  <a:lnTo>
                    <a:pt x="438" y="521"/>
                  </a:lnTo>
                  <a:lnTo>
                    <a:pt x="439" y="521"/>
                  </a:lnTo>
                  <a:close/>
                  <a:moveTo>
                    <a:pt x="425" y="521"/>
                  </a:moveTo>
                  <a:lnTo>
                    <a:pt x="425" y="522"/>
                  </a:lnTo>
                  <a:lnTo>
                    <a:pt x="425" y="521"/>
                  </a:lnTo>
                  <a:close/>
                  <a:moveTo>
                    <a:pt x="430" y="522"/>
                  </a:moveTo>
                  <a:lnTo>
                    <a:pt x="428" y="522"/>
                  </a:lnTo>
                  <a:lnTo>
                    <a:pt x="428" y="521"/>
                  </a:lnTo>
                  <a:lnTo>
                    <a:pt x="430" y="521"/>
                  </a:lnTo>
                  <a:lnTo>
                    <a:pt x="430" y="522"/>
                  </a:lnTo>
                  <a:close/>
                  <a:moveTo>
                    <a:pt x="425" y="521"/>
                  </a:moveTo>
                  <a:lnTo>
                    <a:pt x="423" y="521"/>
                  </a:lnTo>
                  <a:lnTo>
                    <a:pt x="425" y="521"/>
                  </a:lnTo>
                  <a:close/>
                  <a:moveTo>
                    <a:pt x="448" y="521"/>
                  </a:moveTo>
                  <a:lnTo>
                    <a:pt x="448" y="522"/>
                  </a:lnTo>
                  <a:lnTo>
                    <a:pt x="446" y="522"/>
                  </a:lnTo>
                  <a:lnTo>
                    <a:pt x="446" y="521"/>
                  </a:lnTo>
                  <a:lnTo>
                    <a:pt x="448" y="521"/>
                  </a:lnTo>
                  <a:close/>
                  <a:moveTo>
                    <a:pt x="426" y="521"/>
                  </a:moveTo>
                  <a:lnTo>
                    <a:pt x="428" y="521"/>
                  </a:lnTo>
                  <a:lnTo>
                    <a:pt x="428" y="522"/>
                  </a:lnTo>
                  <a:lnTo>
                    <a:pt x="428" y="521"/>
                  </a:lnTo>
                  <a:lnTo>
                    <a:pt x="426" y="521"/>
                  </a:lnTo>
                  <a:close/>
                  <a:moveTo>
                    <a:pt x="426" y="521"/>
                  </a:moveTo>
                  <a:lnTo>
                    <a:pt x="426" y="522"/>
                  </a:lnTo>
                  <a:lnTo>
                    <a:pt x="426" y="521"/>
                  </a:lnTo>
                  <a:close/>
                  <a:moveTo>
                    <a:pt x="439" y="521"/>
                  </a:moveTo>
                  <a:lnTo>
                    <a:pt x="441" y="521"/>
                  </a:lnTo>
                  <a:lnTo>
                    <a:pt x="439" y="521"/>
                  </a:lnTo>
                  <a:close/>
                  <a:moveTo>
                    <a:pt x="441" y="521"/>
                  </a:moveTo>
                  <a:lnTo>
                    <a:pt x="439" y="521"/>
                  </a:lnTo>
                  <a:lnTo>
                    <a:pt x="441" y="521"/>
                  </a:lnTo>
                  <a:close/>
                  <a:moveTo>
                    <a:pt x="438" y="521"/>
                  </a:moveTo>
                  <a:lnTo>
                    <a:pt x="436" y="521"/>
                  </a:lnTo>
                  <a:lnTo>
                    <a:pt x="438" y="521"/>
                  </a:lnTo>
                  <a:close/>
                  <a:moveTo>
                    <a:pt x="434" y="521"/>
                  </a:moveTo>
                  <a:lnTo>
                    <a:pt x="436" y="521"/>
                  </a:lnTo>
                  <a:lnTo>
                    <a:pt x="438" y="521"/>
                  </a:lnTo>
                  <a:lnTo>
                    <a:pt x="438" y="522"/>
                  </a:lnTo>
                  <a:lnTo>
                    <a:pt x="439" y="522"/>
                  </a:lnTo>
                  <a:lnTo>
                    <a:pt x="438" y="522"/>
                  </a:lnTo>
                  <a:lnTo>
                    <a:pt x="438" y="524"/>
                  </a:lnTo>
                  <a:lnTo>
                    <a:pt x="439" y="524"/>
                  </a:lnTo>
                  <a:lnTo>
                    <a:pt x="438" y="524"/>
                  </a:lnTo>
                  <a:lnTo>
                    <a:pt x="436" y="524"/>
                  </a:lnTo>
                  <a:lnTo>
                    <a:pt x="434" y="522"/>
                  </a:lnTo>
                  <a:lnTo>
                    <a:pt x="433" y="522"/>
                  </a:lnTo>
                  <a:lnTo>
                    <a:pt x="431" y="522"/>
                  </a:lnTo>
                  <a:lnTo>
                    <a:pt x="431" y="521"/>
                  </a:lnTo>
                  <a:lnTo>
                    <a:pt x="433" y="521"/>
                  </a:lnTo>
                  <a:lnTo>
                    <a:pt x="434" y="521"/>
                  </a:lnTo>
                  <a:lnTo>
                    <a:pt x="433" y="521"/>
                  </a:lnTo>
                  <a:lnTo>
                    <a:pt x="434" y="521"/>
                  </a:lnTo>
                  <a:close/>
                  <a:moveTo>
                    <a:pt x="436" y="519"/>
                  </a:moveTo>
                  <a:lnTo>
                    <a:pt x="436" y="521"/>
                  </a:lnTo>
                  <a:lnTo>
                    <a:pt x="436" y="519"/>
                  </a:lnTo>
                  <a:close/>
                  <a:moveTo>
                    <a:pt x="441" y="519"/>
                  </a:moveTo>
                  <a:lnTo>
                    <a:pt x="441" y="521"/>
                  </a:lnTo>
                  <a:lnTo>
                    <a:pt x="441" y="519"/>
                  </a:lnTo>
                  <a:lnTo>
                    <a:pt x="441" y="521"/>
                  </a:lnTo>
                  <a:lnTo>
                    <a:pt x="443" y="521"/>
                  </a:lnTo>
                  <a:lnTo>
                    <a:pt x="441" y="521"/>
                  </a:lnTo>
                  <a:lnTo>
                    <a:pt x="441" y="519"/>
                  </a:lnTo>
                  <a:close/>
                  <a:moveTo>
                    <a:pt x="428" y="519"/>
                  </a:moveTo>
                  <a:lnTo>
                    <a:pt x="428" y="521"/>
                  </a:lnTo>
                  <a:lnTo>
                    <a:pt x="428" y="519"/>
                  </a:lnTo>
                  <a:close/>
                  <a:moveTo>
                    <a:pt x="434" y="519"/>
                  </a:moveTo>
                  <a:lnTo>
                    <a:pt x="434" y="521"/>
                  </a:lnTo>
                  <a:lnTo>
                    <a:pt x="434" y="519"/>
                  </a:lnTo>
                  <a:close/>
                  <a:moveTo>
                    <a:pt x="431" y="519"/>
                  </a:moveTo>
                  <a:lnTo>
                    <a:pt x="431" y="521"/>
                  </a:lnTo>
                  <a:lnTo>
                    <a:pt x="431" y="522"/>
                  </a:lnTo>
                  <a:lnTo>
                    <a:pt x="431" y="521"/>
                  </a:lnTo>
                  <a:lnTo>
                    <a:pt x="430" y="521"/>
                  </a:lnTo>
                  <a:lnTo>
                    <a:pt x="430" y="519"/>
                  </a:lnTo>
                  <a:lnTo>
                    <a:pt x="430" y="521"/>
                  </a:lnTo>
                  <a:lnTo>
                    <a:pt x="430" y="519"/>
                  </a:lnTo>
                  <a:lnTo>
                    <a:pt x="431" y="519"/>
                  </a:lnTo>
                  <a:close/>
                  <a:moveTo>
                    <a:pt x="433" y="519"/>
                  </a:moveTo>
                  <a:lnTo>
                    <a:pt x="431" y="519"/>
                  </a:lnTo>
                  <a:lnTo>
                    <a:pt x="433" y="519"/>
                  </a:lnTo>
                  <a:close/>
                  <a:moveTo>
                    <a:pt x="444" y="519"/>
                  </a:moveTo>
                  <a:lnTo>
                    <a:pt x="443" y="519"/>
                  </a:lnTo>
                  <a:lnTo>
                    <a:pt x="444" y="519"/>
                  </a:lnTo>
                  <a:close/>
                  <a:moveTo>
                    <a:pt x="454" y="519"/>
                  </a:moveTo>
                  <a:lnTo>
                    <a:pt x="454" y="517"/>
                  </a:lnTo>
                  <a:lnTo>
                    <a:pt x="454" y="519"/>
                  </a:lnTo>
                  <a:close/>
                  <a:moveTo>
                    <a:pt x="436" y="517"/>
                  </a:moveTo>
                  <a:lnTo>
                    <a:pt x="436" y="519"/>
                  </a:lnTo>
                  <a:lnTo>
                    <a:pt x="434" y="517"/>
                  </a:lnTo>
                  <a:lnTo>
                    <a:pt x="436" y="517"/>
                  </a:lnTo>
                  <a:close/>
                  <a:moveTo>
                    <a:pt x="443" y="517"/>
                  </a:moveTo>
                  <a:lnTo>
                    <a:pt x="443" y="519"/>
                  </a:lnTo>
                  <a:lnTo>
                    <a:pt x="443" y="517"/>
                  </a:lnTo>
                  <a:lnTo>
                    <a:pt x="443" y="519"/>
                  </a:lnTo>
                  <a:lnTo>
                    <a:pt x="443" y="517"/>
                  </a:lnTo>
                  <a:close/>
                  <a:moveTo>
                    <a:pt x="456" y="517"/>
                  </a:moveTo>
                  <a:lnTo>
                    <a:pt x="454" y="517"/>
                  </a:lnTo>
                  <a:lnTo>
                    <a:pt x="456" y="517"/>
                  </a:lnTo>
                  <a:close/>
                  <a:moveTo>
                    <a:pt x="452" y="517"/>
                  </a:moveTo>
                  <a:lnTo>
                    <a:pt x="454" y="519"/>
                  </a:lnTo>
                  <a:lnTo>
                    <a:pt x="452" y="519"/>
                  </a:lnTo>
                  <a:lnTo>
                    <a:pt x="452" y="517"/>
                  </a:lnTo>
                  <a:lnTo>
                    <a:pt x="451" y="517"/>
                  </a:lnTo>
                  <a:lnTo>
                    <a:pt x="452" y="517"/>
                  </a:lnTo>
                  <a:lnTo>
                    <a:pt x="452" y="516"/>
                  </a:lnTo>
                  <a:lnTo>
                    <a:pt x="452" y="517"/>
                  </a:lnTo>
                  <a:close/>
                  <a:moveTo>
                    <a:pt x="451" y="516"/>
                  </a:moveTo>
                  <a:lnTo>
                    <a:pt x="451" y="517"/>
                  </a:lnTo>
                  <a:lnTo>
                    <a:pt x="451" y="516"/>
                  </a:lnTo>
                  <a:close/>
                  <a:moveTo>
                    <a:pt x="446" y="516"/>
                  </a:moveTo>
                  <a:lnTo>
                    <a:pt x="444" y="516"/>
                  </a:lnTo>
                  <a:lnTo>
                    <a:pt x="446" y="516"/>
                  </a:lnTo>
                  <a:close/>
                  <a:moveTo>
                    <a:pt x="448" y="516"/>
                  </a:moveTo>
                  <a:lnTo>
                    <a:pt x="446" y="516"/>
                  </a:lnTo>
                  <a:lnTo>
                    <a:pt x="448" y="516"/>
                  </a:lnTo>
                  <a:close/>
                  <a:moveTo>
                    <a:pt x="451" y="516"/>
                  </a:moveTo>
                  <a:lnTo>
                    <a:pt x="449" y="516"/>
                  </a:lnTo>
                  <a:lnTo>
                    <a:pt x="451" y="516"/>
                  </a:lnTo>
                  <a:close/>
                  <a:moveTo>
                    <a:pt x="431" y="516"/>
                  </a:moveTo>
                  <a:lnTo>
                    <a:pt x="431" y="514"/>
                  </a:lnTo>
                  <a:lnTo>
                    <a:pt x="431" y="516"/>
                  </a:lnTo>
                  <a:close/>
                  <a:moveTo>
                    <a:pt x="446" y="514"/>
                  </a:moveTo>
                  <a:lnTo>
                    <a:pt x="446" y="516"/>
                  </a:lnTo>
                  <a:lnTo>
                    <a:pt x="444" y="516"/>
                  </a:lnTo>
                  <a:lnTo>
                    <a:pt x="446" y="514"/>
                  </a:lnTo>
                  <a:close/>
                  <a:moveTo>
                    <a:pt x="449" y="516"/>
                  </a:moveTo>
                  <a:lnTo>
                    <a:pt x="449" y="514"/>
                  </a:lnTo>
                  <a:lnTo>
                    <a:pt x="449" y="516"/>
                  </a:lnTo>
                  <a:close/>
                  <a:moveTo>
                    <a:pt x="449" y="516"/>
                  </a:moveTo>
                  <a:lnTo>
                    <a:pt x="449" y="514"/>
                  </a:lnTo>
                  <a:lnTo>
                    <a:pt x="449" y="516"/>
                  </a:lnTo>
                  <a:close/>
                  <a:moveTo>
                    <a:pt x="431" y="514"/>
                  </a:moveTo>
                  <a:lnTo>
                    <a:pt x="431" y="516"/>
                  </a:lnTo>
                  <a:lnTo>
                    <a:pt x="431" y="514"/>
                  </a:lnTo>
                  <a:close/>
                  <a:moveTo>
                    <a:pt x="449" y="516"/>
                  </a:moveTo>
                  <a:lnTo>
                    <a:pt x="448" y="516"/>
                  </a:lnTo>
                  <a:lnTo>
                    <a:pt x="448" y="514"/>
                  </a:lnTo>
                  <a:lnTo>
                    <a:pt x="448" y="516"/>
                  </a:lnTo>
                  <a:lnTo>
                    <a:pt x="449" y="516"/>
                  </a:lnTo>
                  <a:close/>
                  <a:moveTo>
                    <a:pt x="965" y="467"/>
                  </a:moveTo>
                  <a:lnTo>
                    <a:pt x="965" y="465"/>
                  </a:lnTo>
                  <a:lnTo>
                    <a:pt x="965" y="467"/>
                  </a:lnTo>
                  <a:close/>
                  <a:moveTo>
                    <a:pt x="1256" y="462"/>
                  </a:moveTo>
                  <a:lnTo>
                    <a:pt x="1256" y="464"/>
                  </a:lnTo>
                  <a:lnTo>
                    <a:pt x="1256" y="462"/>
                  </a:lnTo>
                  <a:close/>
                  <a:moveTo>
                    <a:pt x="1251" y="460"/>
                  </a:moveTo>
                  <a:lnTo>
                    <a:pt x="1251" y="462"/>
                  </a:lnTo>
                  <a:lnTo>
                    <a:pt x="1251" y="460"/>
                  </a:lnTo>
                  <a:close/>
                  <a:moveTo>
                    <a:pt x="1251" y="460"/>
                  </a:moveTo>
                  <a:lnTo>
                    <a:pt x="1249" y="460"/>
                  </a:lnTo>
                  <a:lnTo>
                    <a:pt x="1251" y="460"/>
                  </a:lnTo>
                  <a:close/>
                  <a:moveTo>
                    <a:pt x="1236" y="460"/>
                  </a:moveTo>
                  <a:lnTo>
                    <a:pt x="1235" y="460"/>
                  </a:lnTo>
                  <a:lnTo>
                    <a:pt x="1236" y="459"/>
                  </a:lnTo>
                  <a:lnTo>
                    <a:pt x="1236" y="460"/>
                  </a:lnTo>
                  <a:close/>
                  <a:moveTo>
                    <a:pt x="1244" y="459"/>
                  </a:moveTo>
                  <a:lnTo>
                    <a:pt x="1243" y="459"/>
                  </a:lnTo>
                  <a:lnTo>
                    <a:pt x="1244" y="459"/>
                  </a:lnTo>
                  <a:close/>
                  <a:moveTo>
                    <a:pt x="1227" y="459"/>
                  </a:moveTo>
                  <a:lnTo>
                    <a:pt x="1227" y="460"/>
                  </a:lnTo>
                  <a:lnTo>
                    <a:pt x="1227" y="459"/>
                  </a:lnTo>
                  <a:lnTo>
                    <a:pt x="1225" y="459"/>
                  </a:lnTo>
                  <a:lnTo>
                    <a:pt x="1227" y="459"/>
                  </a:lnTo>
                  <a:close/>
                  <a:moveTo>
                    <a:pt x="1241" y="457"/>
                  </a:moveTo>
                  <a:lnTo>
                    <a:pt x="1240" y="459"/>
                  </a:lnTo>
                  <a:lnTo>
                    <a:pt x="1238" y="459"/>
                  </a:lnTo>
                  <a:lnTo>
                    <a:pt x="1238" y="460"/>
                  </a:lnTo>
                  <a:lnTo>
                    <a:pt x="1238" y="459"/>
                  </a:lnTo>
                  <a:lnTo>
                    <a:pt x="1240" y="459"/>
                  </a:lnTo>
                  <a:lnTo>
                    <a:pt x="1238" y="459"/>
                  </a:lnTo>
                  <a:lnTo>
                    <a:pt x="1240" y="459"/>
                  </a:lnTo>
                  <a:lnTo>
                    <a:pt x="1240" y="457"/>
                  </a:lnTo>
                  <a:lnTo>
                    <a:pt x="1240" y="459"/>
                  </a:lnTo>
                  <a:lnTo>
                    <a:pt x="1240" y="457"/>
                  </a:lnTo>
                  <a:lnTo>
                    <a:pt x="1241" y="457"/>
                  </a:lnTo>
                  <a:close/>
                  <a:moveTo>
                    <a:pt x="1223" y="456"/>
                  </a:moveTo>
                  <a:lnTo>
                    <a:pt x="1222" y="454"/>
                  </a:lnTo>
                  <a:lnTo>
                    <a:pt x="1223" y="454"/>
                  </a:lnTo>
                  <a:lnTo>
                    <a:pt x="1223" y="456"/>
                  </a:lnTo>
                  <a:close/>
                  <a:moveTo>
                    <a:pt x="1111" y="456"/>
                  </a:moveTo>
                  <a:lnTo>
                    <a:pt x="1109" y="456"/>
                  </a:lnTo>
                  <a:lnTo>
                    <a:pt x="1111" y="454"/>
                  </a:lnTo>
                  <a:lnTo>
                    <a:pt x="1111" y="456"/>
                  </a:lnTo>
                  <a:close/>
                  <a:moveTo>
                    <a:pt x="1218" y="451"/>
                  </a:moveTo>
                  <a:lnTo>
                    <a:pt x="1220" y="451"/>
                  </a:lnTo>
                  <a:lnTo>
                    <a:pt x="1220" y="452"/>
                  </a:lnTo>
                  <a:lnTo>
                    <a:pt x="1218" y="452"/>
                  </a:lnTo>
                  <a:lnTo>
                    <a:pt x="1218" y="451"/>
                  </a:lnTo>
                  <a:close/>
                  <a:moveTo>
                    <a:pt x="1209" y="444"/>
                  </a:moveTo>
                  <a:lnTo>
                    <a:pt x="1209" y="446"/>
                  </a:lnTo>
                  <a:lnTo>
                    <a:pt x="1207" y="446"/>
                  </a:lnTo>
                  <a:lnTo>
                    <a:pt x="1207" y="444"/>
                  </a:lnTo>
                  <a:lnTo>
                    <a:pt x="1209" y="444"/>
                  </a:lnTo>
                  <a:close/>
                  <a:moveTo>
                    <a:pt x="1205" y="443"/>
                  </a:moveTo>
                  <a:lnTo>
                    <a:pt x="1205" y="444"/>
                  </a:lnTo>
                  <a:lnTo>
                    <a:pt x="1207" y="444"/>
                  </a:lnTo>
                  <a:lnTo>
                    <a:pt x="1205" y="444"/>
                  </a:lnTo>
                  <a:lnTo>
                    <a:pt x="1204" y="443"/>
                  </a:lnTo>
                  <a:lnTo>
                    <a:pt x="1205" y="443"/>
                  </a:lnTo>
                  <a:lnTo>
                    <a:pt x="1204" y="443"/>
                  </a:lnTo>
                  <a:lnTo>
                    <a:pt x="1204" y="441"/>
                  </a:lnTo>
                  <a:lnTo>
                    <a:pt x="1202" y="441"/>
                  </a:lnTo>
                  <a:lnTo>
                    <a:pt x="1204" y="443"/>
                  </a:lnTo>
                  <a:lnTo>
                    <a:pt x="1205" y="443"/>
                  </a:lnTo>
                  <a:close/>
                  <a:moveTo>
                    <a:pt x="1183" y="438"/>
                  </a:moveTo>
                  <a:lnTo>
                    <a:pt x="1181" y="438"/>
                  </a:lnTo>
                  <a:lnTo>
                    <a:pt x="1183" y="438"/>
                  </a:lnTo>
                  <a:close/>
                  <a:moveTo>
                    <a:pt x="1179" y="438"/>
                  </a:moveTo>
                  <a:lnTo>
                    <a:pt x="1178" y="438"/>
                  </a:lnTo>
                  <a:lnTo>
                    <a:pt x="1179" y="438"/>
                  </a:lnTo>
                  <a:close/>
                  <a:moveTo>
                    <a:pt x="1176" y="438"/>
                  </a:moveTo>
                  <a:lnTo>
                    <a:pt x="1174" y="438"/>
                  </a:lnTo>
                  <a:lnTo>
                    <a:pt x="1176" y="438"/>
                  </a:lnTo>
                  <a:close/>
                  <a:moveTo>
                    <a:pt x="1194" y="438"/>
                  </a:moveTo>
                  <a:lnTo>
                    <a:pt x="1192" y="438"/>
                  </a:lnTo>
                  <a:lnTo>
                    <a:pt x="1194" y="438"/>
                  </a:lnTo>
                  <a:close/>
                  <a:moveTo>
                    <a:pt x="1184" y="436"/>
                  </a:moveTo>
                  <a:lnTo>
                    <a:pt x="1184" y="438"/>
                  </a:lnTo>
                  <a:lnTo>
                    <a:pt x="1183" y="438"/>
                  </a:lnTo>
                  <a:lnTo>
                    <a:pt x="1181" y="438"/>
                  </a:lnTo>
                  <a:lnTo>
                    <a:pt x="1179" y="438"/>
                  </a:lnTo>
                  <a:lnTo>
                    <a:pt x="1181" y="438"/>
                  </a:lnTo>
                  <a:lnTo>
                    <a:pt x="1183" y="438"/>
                  </a:lnTo>
                  <a:lnTo>
                    <a:pt x="1183" y="436"/>
                  </a:lnTo>
                  <a:lnTo>
                    <a:pt x="1184" y="438"/>
                  </a:lnTo>
                  <a:lnTo>
                    <a:pt x="1183" y="436"/>
                  </a:lnTo>
                  <a:lnTo>
                    <a:pt x="1184" y="436"/>
                  </a:lnTo>
                  <a:close/>
                  <a:moveTo>
                    <a:pt x="1192" y="438"/>
                  </a:moveTo>
                  <a:lnTo>
                    <a:pt x="1191" y="436"/>
                  </a:lnTo>
                  <a:lnTo>
                    <a:pt x="1192" y="436"/>
                  </a:lnTo>
                  <a:lnTo>
                    <a:pt x="1192" y="438"/>
                  </a:lnTo>
                  <a:close/>
                  <a:moveTo>
                    <a:pt x="1174" y="436"/>
                  </a:moveTo>
                  <a:lnTo>
                    <a:pt x="1174" y="438"/>
                  </a:lnTo>
                  <a:lnTo>
                    <a:pt x="1174" y="436"/>
                  </a:lnTo>
                  <a:close/>
                  <a:moveTo>
                    <a:pt x="1188" y="436"/>
                  </a:moveTo>
                  <a:lnTo>
                    <a:pt x="1186" y="436"/>
                  </a:lnTo>
                  <a:lnTo>
                    <a:pt x="1188" y="436"/>
                  </a:lnTo>
                  <a:close/>
                  <a:moveTo>
                    <a:pt x="1189" y="436"/>
                  </a:moveTo>
                  <a:lnTo>
                    <a:pt x="1191" y="436"/>
                  </a:lnTo>
                  <a:lnTo>
                    <a:pt x="1189" y="436"/>
                  </a:lnTo>
                  <a:close/>
                  <a:moveTo>
                    <a:pt x="1196" y="436"/>
                  </a:moveTo>
                  <a:lnTo>
                    <a:pt x="1197" y="438"/>
                  </a:lnTo>
                  <a:lnTo>
                    <a:pt x="1199" y="438"/>
                  </a:lnTo>
                  <a:lnTo>
                    <a:pt x="1197" y="438"/>
                  </a:lnTo>
                  <a:lnTo>
                    <a:pt x="1199" y="438"/>
                  </a:lnTo>
                  <a:lnTo>
                    <a:pt x="1201" y="439"/>
                  </a:lnTo>
                  <a:lnTo>
                    <a:pt x="1199" y="438"/>
                  </a:lnTo>
                  <a:lnTo>
                    <a:pt x="1201" y="438"/>
                  </a:lnTo>
                  <a:lnTo>
                    <a:pt x="1201" y="439"/>
                  </a:lnTo>
                  <a:lnTo>
                    <a:pt x="1202" y="439"/>
                  </a:lnTo>
                  <a:lnTo>
                    <a:pt x="1202" y="441"/>
                  </a:lnTo>
                  <a:lnTo>
                    <a:pt x="1201" y="441"/>
                  </a:lnTo>
                  <a:lnTo>
                    <a:pt x="1199" y="439"/>
                  </a:lnTo>
                  <a:lnTo>
                    <a:pt x="1197" y="439"/>
                  </a:lnTo>
                  <a:lnTo>
                    <a:pt x="1196" y="438"/>
                  </a:lnTo>
                  <a:lnTo>
                    <a:pt x="1197" y="438"/>
                  </a:lnTo>
                  <a:lnTo>
                    <a:pt x="1199" y="439"/>
                  </a:lnTo>
                  <a:lnTo>
                    <a:pt x="1197" y="438"/>
                  </a:lnTo>
                  <a:lnTo>
                    <a:pt x="1196" y="438"/>
                  </a:lnTo>
                  <a:lnTo>
                    <a:pt x="1194" y="436"/>
                  </a:lnTo>
                  <a:lnTo>
                    <a:pt x="1192" y="438"/>
                  </a:lnTo>
                  <a:lnTo>
                    <a:pt x="1192" y="436"/>
                  </a:lnTo>
                  <a:lnTo>
                    <a:pt x="1194" y="436"/>
                  </a:lnTo>
                  <a:lnTo>
                    <a:pt x="1196" y="436"/>
                  </a:lnTo>
                  <a:close/>
                  <a:moveTo>
                    <a:pt x="1161" y="436"/>
                  </a:moveTo>
                  <a:lnTo>
                    <a:pt x="1163" y="436"/>
                  </a:lnTo>
                  <a:lnTo>
                    <a:pt x="1165" y="434"/>
                  </a:lnTo>
                  <a:lnTo>
                    <a:pt x="1163" y="436"/>
                  </a:lnTo>
                  <a:lnTo>
                    <a:pt x="1161" y="436"/>
                  </a:lnTo>
                  <a:close/>
                  <a:moveTo>
                    <a:pt x="1163" y="434"/>
                  </a:moveTo>
                  <a:lnTo>
                    <a:pt x="1165" y="434"/>
                  </a:lnTo>
                  <a:lnTo>
                    <a:pt x="1163" y="434"/>
                  </a:lnTo>
                  <a:close/>
                  <a:moveTo>
                    <a:pt x="1171" y="434"/>
                  </a:moveTo>
                  <a:lnTo>
                    <a:pt x="1173" y="434"/>
                  </a:lnTo>
                  <a:lnTo>
                    <a:pt x="1174" y="434"/>
                  </a:lnTo>
                  <a:lnTo>
                    <a:pt x="1174" y="436"/>
                  </a:lnTo>
                  <a:lnTo>
                    <a:pt x="1173" y="434"/>
                  </a:lnTo>
                  <a:lnTo>
                    <a:pt x="1171" y="434"/>
                  </a:lnTo>
                  <a:close/>
                  <a:moveTo>
                    <a:pt x="1171" y="433"/>
                  </a:moveTo>
                  <a:lnTo>
                    <a:pt x="1171" y="434"/>
                  </a:lnTo>
                  <a:lnTo>
                    <a:pt x="1171" y="433"/>
                  </a:lnTo>
                  <a:close/>
                  <a:moveTo>
                    <a:pt x="1165" y="436"/>
                  </a:moveTo>
                  <a:lnTo>
                    <a:pt x="1165" y="434"/>
                  </a:lnTo>
                  <a:lnTo>
                    <a:pt x="1165" y="433"/>
                  </a:lnTo>
                  <a:lnTo>
                    <a:pt x="1166" y="434"/>
                  </a:lnTo>
                  <a:lnTo>
                    <a:pt x="1165" y="434"/>
                  </a:lnTo>
                  <a:lnTo>
                    <a:pt x="1165" y="436"/>
                  </a:lnTo>
                  <a:close/>
                  <a:moveTo>
                    <a:pt x="1153" y="433"/>
                  </a:moveTo>
                  <a:lnTo>
                    <a:pt x="1153" y="434"/>
                  </a:lnTo>
                  <a:lnTo>
                    <a:pt x="1153" y="433"/>
                  </a:lnTo>
                  <a:close/>
                  <a:moveTo>
                    <a:pt x="1165" y="434"/>
                  </a:moveTo>
                  <a:lnTo>
                    <a:pt x="1163" y="434"/>
                  </a:lnTo>
                  <a:lnTo>
                    <a:pt x="1165" y="434"/>
                  </a:lnTo>
                  <a:lnTo>
                    <a:pt x="1165" y="433"/>
                  </a:lnTo>
                  <a:lnTo>
                    <a:pt x="1165" y="434"/>
                  </a:lnTo>
                  <a:close/>
                  <a:moveTo>
                    <a:pt x="1155" y="433"/>
                  </a:moveTo>
                  <a:lnTo>
                    <a:pt x="1157" y="433"/>
                  </a:lnTo>
                  <a:lnTo>
                    <a:pt x="1157" y="434"/>
                  </a:lnTo>
                  <a:lnTo>
                    <a:pt x="1155" y="434"/>
                  </a:lnTo>
                  <a:lnTo>
                    <a:pt x="1153" y="433"/>
                  </a:lnTo>
                  <a:lnTo>
                    <a:pt x="1155" y="433"/>
                  </a:lnTo>
                  <a:lnTo>
                    <a:pt x="1153" y="433"/>
                  </a:lnTo>
                  <a:lnTo>
                    <a:pt x="1155" y="433"/>
                  </a:lnTo>
                  <a:close/>
                  <a:moveTo>
                    <a:pt x="1153" y="433"/>
                  </a:moveTo>
                  <a:lnTo>
                    <a:pt x="1152" y="433"/>
                  </a:lnTo>
                  <a:lnTo>
                    <a:pt x="1150" y="431"/>
                  </a:lnTo>
                  <a:lnTo>
                    <a:pt x="1152" y="433"/>
                  </a:lnTo>
                  <a:lnTo>
                    <a:pt x="1153" y="433"/>
                  </a:lnTo>
                  <a:close/>
                  <a:moveTo>
                    <a:pt x="1145" y="431"/>
                  </a:moveTo>
                  <a:lnTo>
                    <a:pt x="1144" y="431"/>
                  </a:lnTo>
                  <a:lnTo>
                    <a:pt x="1145" y="431"/>
                  </a:lnTo>
                  <a:close/>
                  <a:moveTo>
                    <a:pt x="1145" y="430"/>
                  </a:moveTo>
                  <a:lnTo>
                    <a:pt x="1144" y="430"/>
                  </a:lnTo>
                  <a:lnTo>
                    <a:pt x="1145" y="430"/>
                  </a:lnTo>
                  <a:close/>
                  <a:moveTo>
                    <a:pt x="1148" y="430"/>
                  </a:moveTo>
                  <a:lnTo>
                    <a:pt x="1147" y="430"/>
                  </a:lnTo>
                  <a:lnTo>
                    <a:pt x="1145" y="430"/>
                  </a:lnTo>
                  <a:lnTo>
                    <a:pt x="1147" y="430"/>
                  </a:lnTo>
                  <a:lnTo>
                    <a:pt x="1147" y="431"/>
                  </a:lnTo>
                  <a:lnTo>
                    <a:pt x="1147" y="430"/>
                  </a:lnTo>
                  <a:lnTo>
                    <a:pt x="1147" y="431"/>
                  </a:lnTo>
                  <a:lnTo>
                    <a:pt x="1145" y="431"/>
                  </a:lnTo>
                  <a:lnTo>
                    <a:pt x="1145" y="430"/>
                  </a:lnTo>
                  <a:lnTo>
                    <a:pt x="1147" y="430"/>
                  </a:lnTo>
                  <a:lnTo>
                    <a:pt x="1148" y="430"/>
                  </a:lnTo>
                  <a:close/>
                  <a:moveTo>
                    <a:pt x="1144" y="430"/>
                  </a:moveTo>
                  <a:lnTo>
                    <a:pt x="1142" y="428"/>
                  </a:lnTo>
                  <a:lnTo>
                    <a:pt x="1144" y="430"/>
                  </a:lnTo>
                  <a:close/>
                  <a:moveTo>
                    <a:pt x="1144" y="428"/>
                  </a:moveTo>
                  <a:lnTo>
                    <a:pt x="1144" y="430"/>
                  </a:lnTo>
                  <a:lnTo>
                    <a:pt x="1144" y="428"/>
                  </a:lnTo>
                  <a:close/>
                  <a:moveTo>
                    <a:pt x="1142" y="426"/>
                  </a:moveTo>
                  <a:lnTo>
                    <a:pt x="1142" y="428"/>
                  </a:lnTo>
                  <a:lnTo>
                    <a:pt x="1144" y="428"/>
                  </a:lnTo>
                  <a:lnTo>
                    <a:pt x="1144" y="430"/>
                  </a:lnTo>
                  <a:lnTo>
                    <a:pt x="1144" y="428"/>
                  </a:lnTo>
                  <a:lnTo>
                    <a:pt x="1142" y="428"/>
                  </a:lnTo>
                  <a:lnTo>
                    <a:pt x="1142" y="426"/>
                  </a:lnTo>
                  <a:close/>
                  <a:moveTo>
                    <a:pt x="1139" y="423"/>
                  </a:moveTo>
                  <a:lnTo>
                    <a:pt x="1137" y="423"/>
                  </a:lnTo>
                  <a:lnTo>
                    <a:pt x="1139" y="423"/>
                  </a:lnTo>
                  <a:close/>
                  <a:moveTo>
                    <a:pt x="905" y="425"/>
                  </a:moveTo>
                  <a:lnTo>
                    <a:pt x="905" y="423"/>
                  </a:lnTo>
                  <a:lnTo>
                    <a:pt x="905" y="425"/>
                  </a:lnTo>
                  <a:close/>
                  <a:moveTo>
                    <a:pt x="1135" y="420"/>
                  </a:moveTo>
                  <a:lnTo>
                    <a:pt x="1137" y="420"/>
                  </a:lnTo>
                  <a:lnTo>
                    <a:pt x="1139" y="420"/>
                  </a:lnTo>
                  <a:lnTo>
                    <a:pt x="1139" y="421"/>
                  </a:lnTo>
                  <a:lnTo>
                    <a:pt x="1140" y="425"/>
                  </a:lnTo>
                  <a:lnTo>
                    <a:pt x="1139" y="425"/>
                  </a:lnTo>
                  <a:lnTo>
                    <a:pt x="1139" y="423"/>
                  </a:lnTo>
                  <a:lnTo>
                    <a:pt x="1140" y="425"/>
                  </a:lnTo>
                  <a:lnTo>
                    <a:pt x="1139" y="423"/>
                  </a:lnTo>
                  <a:lnTo>
                    <a:pt x="1137" y="421"/>
                  </a:lnTo>
                  <a:lnTo>
                    <a:pt x="1135" y="421"/>
                  </a:lnTo>
                  <a:lnTo>
                    <a:pt x="1135" y="420"/>
                  </a:lnTo>
                  <a:lnTo>
                    <a:pt x="1134" y="420"/>
                  </a:lnTo>
                  <a:lnTo>
                    <a:pt x="1134" y="418"/>
                  </a:lnTo>
                  <a:lnTo>
                    <a:pt x="1135" y="420"/>
                  </a:lnTo>
                  <a:close/>
                  <a:moveTo>
                    <a:pt x="1132" y="418"/>
                  </a:moveTo>
                  <a:lnTo>
                    <a:pt x="1134" y="418"/>
                  </a:lnTo>
                  <a:lnTo>
                    <a:pt x="1132" y="418"/>
                  </a:lnTo>
                  <a:close/>
                  <a:moveTo>
                    <a:pt x="1132" y="417"/>
                  </a:moveTo>
                  <a:lnTo>
                    <a:pt x="1132" y="418"/>
                  </a:lnTo>
                  <a:lnTo>
                    <a:pt x="1132" y="417"/>
                  </a:lnTo>
                  <a:close/>
                  <a:moveTo>
                    <a:pt x="1134" y="417"/>
                  </a:moveTo>
                  <a:lnTo>
                    <a:pt x="1134" y="418"/>
                  </a:lnTo>
                  <a:lnTo>
                    <a:pt x="1132" y="417"/>
                  </a:lnTo>
                  <a:lnTo>
                    <a:pt x="1131" y="417"/>
                  </a:lnTo>
                  <a:lnTo>
                    <a:pt x="1131" y="415"/>
                  </a:lnTo>
                  <a:lnTo>
                    <a:pt x="1132" y="417"/>
                  </a:lnTo>
                  <a:lnTo>
                    <a:pt x="1134" y="417"/>
                  </a:lnTo>
                  <a:close/>
                  <a:moveTo>
                    <a:pt x="1131" y="415"/>
                  </a:moveTo>
                  <a:lnTo>
                    <a:pt x="1132" y="415"/>
                  </a:lnTo>
                  <a:lnTo>
                    <a:pt x="1131" y="415"/>
                  </a:lnTo>
                  <a:close/>
                  <a:moveTo>
                    <a:pt x="1082" y="415"/>
                  </a:moveTo>
                  <a:lnTo>
                    <a:pt x="1080" y="415"/>
                  </a:lnTo>
                  <a:lnTo>
                    <a:pt x="1082" y="415"/>
                  </a:lnTo>
                  <a:close/>
                  <a:moveTo>
                    <a:pt x="1131" y="413"/>
                  </a:moveTo>
                  <a:lnTo>
                    <a:pt x="1131" y="415"/>
                  </a:lnTo>
                  <a:lnTo>
                    <a:pt x="1131" y="417"/>
                  </a:lnTo>
                  <a:lnTo>
                    <a:pt x="1131" y="415"/>
                  </a:lnTo>
                  <a:lnTo>
                    <a:pt x="1129" y="415"/>
                  </a:lnTo>
                  <a:lnTo>
                    <a:pt x="1131" y="415"/>
                  </a:lnTo>
                  <a:lnTo>
                    <a:pt x="1129" y="413"/>
                  </a:lnTo>
                  <a:lnTo>
                    <a:pt x="1131" y="413"/>
                  </a:lnTo>
                  <a:close/>
                  <a:moveTo>
                    <a:pt x="978" y="413"/>
                  </a:moveTo>
                  <a:lnTo>
                    <a:pt x="978" y="412"/>
                  </a:lnTo>
                  <a:lnTo>
                    <a:pt x="979" y="412"/>
                  </a:lnTo>
                  <a:lnTo>
                    <a:pt x="978" y="413"/>
                  </a:lnTo>
                  <a:close/>
                  <a:moveTo>
                    <a:pt x="981" y="412"/>
                  </a:moveTo>
                  <a:lnTo>
                    <a:pt x="981" y="413"/>
                  </a:lnTo>
                  <a:lnTo>
                    <a:pt x="981" y="412"/>
                  </a:lnTo>
                  <a:close/>
                  <a:moveTo>
                    <a:pt x="981" y="410"/>
                  </a:moveTo>
                  <a:lnTo>
                    <a:pt x="979" y="410"/>
                  </a:lnTo>
                  <a:lnTo>
                    <a:pt x="981" y="410"/>
                  </a:lnTo>
                  <a:close/>
                  <a:moveTo>
                    <a:pt x="1126" y="410"/>
                  </a:moveTo>
                  <a:lnTo>
                    <a:pt x="1124" y="410"/>
                  </a:lnTo>
                  <a:lnTo>
                    <a:pt x="1126" y="410"/>
                  </a:lnTo>
                  <a:close/>
                  <a:moveTo>
                    <a:pt x="1124" y="410"/>
                  </a:moveTo>
                  <a:lnTo>
                    <a:pt x="1122" y="410"/>
                  </a:lnTo>
                  <a:lnTo>
                    <a:pt x="1124" y="410"/>
                  </a:lnTo>
                  <a:close/>
                  <a:moveTo>
                    <a:pt x="1075" y="410"/>
                  </a:moveTo>
                  <a:lnTo>
                    <a:pt x="1074" y="410"/>
                  </a:lnTo>
                  <a:lnTo>
                    <a:pt x="1074" y="408"/>
                  </a:lnTo>
                  <a:lnTo>
                    <a:pt x="1075" y="408"/>
                  </a:lnTo>
                  <a:lnTo>
                    <a:pt x="1075" y="410"/>
                  </a:lnTo>
                  <a:close/>
                  <a:moveTo>
                    <a:pt x="1126" y="410"/>
                  </a:moveTo>
                  <a:lnTo>
                    <a:pt x="1124" y="410"/>
                  </a:lnTo>
                  <a:lnTo>
                    <a:pt x="1124" y="408"/>
                  </a:lnTo>
                  <a:lnTo>
                    <a:pt x="1126" y="408"/>
                  </a:lnTo>
                  <a:lnTo>
                    <a:pt x="1126" y="410"/>
                  </a:lnTo>
                  <a:close/>
                  <a:moveTo>
                    <a:pt x="1124" y="408"/>
                  </a:moveTo>
                  <a:lnTo>
                    <a:pt x="1122" y="408"/>
                  </a:lnTo>
                  <a:lnTo>
                    <a:pt x="1124" y="408"/>
                  </a:lnTo>
                  <a:close/>
                  <a:moveTo>
                    <a:pt x="1124" y="408"/>
                  </a:moveTo>
                  <a:lnTo>
                    <a:pt x="1122" y="408"/>
                  </a:lnTo>
                  <a:lnTo>
                    <a:pt x="1124" y="408"/>
                  </a:lnTo>
                  <a:close/>
                  <a:moveTo>
                    <a:pt x="1069" y="405"/>
                  </a:moveTo>
                  <a:lnTo>
                    <a:pt x="1067" y="405"/>
                  </a:lnTo>
                  <a:lnTo>
                    <a:pt x="1069" y="405"/>
                  </a:lnTo>
                  <a:close/>
                  <a:moveTo>
                    <a:pt x="1161" y="403"/>
                  </a:moveTo>
                  <a:lnTo>
                    <a:pt x="1161" y="405"/>
                  </a:lnTo>
                  <a:lnTo>
                    <a:pt x="1161" y="403"/>
                  </a:lnTo>
                  <a:close/>
                  <a:moveTo>
                    <a:pt x="1121" y="403"/>
                  </a:moveTo>
                  <a:lnTo>
                    <a:pt x="1122" y="405"/>
                  </a:lnTo>
                  <a:lnTo>
                    <a:pt x="1121" y="407"/>
                  </a:lnTo>
                  <a:lnTo>
                    <a:pt x="1121" y="405"/>
                  </a:lnTo>
                  <a:lnTo>
                    <a:pt x="1119" y="403"/>
                  </a:lnTo>
                  <a:lnTo>
                    <a:pt x="1121" y="403"/>
                  </a:lnTo>
                  <a:close/>
                  <a:moveTo>
                    <a:pt x="1069" y="402"/>
                  </a:moveTo>
                  <a:lnTo>
                    <a:pt x="1069" y="403"/>
                  </a:lnTo>
                  <a:lnTo>
                    <a:pt x="1069" y="402"/>
                  </a:lnTo>
                  <a:close/>
                  <a:moveTo>
                    <a:pt x="1116" y="402"/>
                  </a:moveTo>
                  <a:lnTo>
                    <a:pt x="1116" y="400"/>
                  </a:lnTo>
                  <a:lnTo>
                    <a:pt x="1116" y="402"/>
                  </a:lnTo>
                  <a:close/>
                  <a:moveTo>
                    <a:pt x="1109" y="399"/>
                  </a:moveTo>
                  <a:lnTo>
                    <a:pt x="1111" y="399"/>
                  </a:lnTo>
                  <a:lnTo>
                    <a:pt x="1111" y="400"/>
                  </a:lnTo>
                  <a:lnTo>
                    <a:pt x="1109" y="399"/>
                  </a:lnTo>
                  <a:close/>
                  <a:moveTo>
                    <a:pt x="1069" y="399"/>
                  </a:moveTo>
                  <a:lnTo>
                    <a:pt x="1070" y="400"/>
                  </a:lnTo>
                  <a:lnTo>
                    <a:pt x="1069" y="400"/>
                  </a:lnTo>
                  <a:lnTo>
                    <a:pt x="1069" y="399"/>
                  </a:lnTo>
                  <a:close/>
                  <a:moveTo>
                    <a:pt x="1069" y="399"/>
                  </a:moveTo>
                  <a:lnTo>
                    <a:pt x="1070" y="399"/>
                  </a:lnTo>
                  <a:lnTo>
                    <a:pt x="1069" y="399"/>
                  </a:lnTo>
                  <a:close/>
                  <a:moveTo>
                    <a:pt x="1109" y="395"/>
                  </a:moveTo>
                  <a:lnTo>
                    <a:pt x="1111" y="395"/>
                  </a:lnTo>
                  <a:lnTo>
                    <a:pt x="1109" y="395"/>
                  </a:lnTo>
                  <a:close/>
                  <a:moveTo>
                    <a:pt x="1109" y="395"/>
                  </a:moveTo>
                  <a:lnTo>
                    <a:pt x="1109" y="394"/>
                  </a:lnTo>
                  <a:lnTo>
                    <a:pt x="1109" y="395"/>
                  </a:lnTo>
                  <a:close/>
                  <a:moveTo>
                    <a:pt x="1111" y="394"/>
                  </a:moveTo>
                  <a:lnTo>
                    <a:pt x="1109" y="394"/>
                  </a:lnTo>
                  <a:lnTo>
                    <a:pt x="1111" y="394"/>
                  </a:lnTo>
                  <a:close/>
                  <a:moveTo>
                    <a:pt x="1109" y="394"/>
                  </a:moveTo>
                  <a:lnTo>
                    <a:pt x="1108" y="394"/>
                  </a:lnTo>
                  <a:lnTo>
                    <a:pt x="1109" y="394"/>
                  </a:lnTo>
                  <a:close/>
                  <a:moveTo>
                    <a:pt x="1111" y="394"/>
                  </a:moveTo>
                  <a:lnTo>
                    <a:pt x="1109" y="394"/>
                  </a:lnTo>
                  <a:lnTo>
                    <a:pt x="1111" y="392"/>
                  </a:lnTo>
                  <a:lnTo>
                    <a:pt x="1111" y="394"/>
                  </a:lnTo>
                  <a:close/>
                  <a:moveTo>
                    <a:pt x="1109" y="392"/>
                  </a:moveTo>
                  <a:lnTo>
                    <a:pt x="1111" y="392"/>
                  </a:lnTo>
                  <a:lnTo>
                    <a:pt x="1109" y="392"/>
                  </a:lnTo>
                  <a:close/>
                  <a:moveTo>
                    <a:pt x="1111" y="392"/>
                  </a:moveTo>
                  <a:lnTo>
                    <a:pt x="1109" y="392"/>
                  </a:lnTo>
                  <a:lnTo>
                    <a:pt x="1111" y="392"/>
                  </a:lnTo>
                  <a:close/>
                  <a:moveTo>
                    <a:pt x="1109" y="390"/>
                  </a:moveTo>
                  <a:lnTo>
                    <a:pt x="1109" y="392"/>
                  </a:lnTo>
                  <a:lnTo>
                    <a:pt x="1109" y="390"/>
                  </a:lnTo>
                  <a:close/>
                  <a:moveTo>
                    <a:pt x="1113" y="390"/>
                  </a:moveTo>
                  <a:lnTo>
                    <a:pt x="1111" y="390"/>
                  </a:lnTo>
                  <a:lnTo>
                    <a:pt x="1113" y="390"/>
                  </a:lnTo>
                  <a:close/>
                  <a:moveTo>
                    <a:pt x="1113" y="389"/>
                  </a:moveTo>
                  <a:lnTo>
                    <a:pt x="1113" y="390"/>
                  </a:lnTo>
                  <a:lnTo>
                    <a:pt x="1113" y="392"/>
                  </a:lnTo>
                  <a:lnTo>
                    <a:pt x="1113" y="390"/>
                  </a:lnTo>
                  <a:lnTo>
                    <a:pt x="1113" y="389"/>
                  </a:lnTo>
                  <a:close/>
                  <a:moveTo>
                    <a:pt x="1108" y="389"/>
                  </a:moveTo>
                  <a:lnTo>
                    <a:pt x="1106" y="389"/>
                  </a:lnTo>
                  <a:lnTo>
                    <a:pt x="1108" y="389"/>
                  </a:lnTo>
                  <a:close/>
                  <a:moveTo>
                    <a:pt x="1072" y="389"/>
                  </a:moveTo>
                  <a:lnTo>
                    <a:pt x="1072" y="387"/>
                  </a:lnTo>
                  <a:lnTo>
                    <a:pt x="1072" y="389"/>
                  </a:lnTo>
                  <a:close/>
                  <a:moveTo>
                    <a:pt x="1074" y="387"/>
                  </a:moveTo>
                  <a:lnTo>
                    <a:pt x="1072" y="389"/>
                  </a:lnTo>
                  <a:lnTo>
                    <a:pt x="1074" y="387"/>
                  </a:lnTo>
                  <a:close/>
                  <a:moveTo>
                    <a:pt x="1111" y="387"/>
                  </a:moveTo>
                  <a:lnTo>
                    <a:pt x="1109" y="387"/>
                  </a:lnTo>
                  <a:lnTo>
                    <a:pt x="1111" y="387"/>
                  </a:lnTo>
                  <a:close/>
                  <a:moveTo>
                    <a:pt x="1101" y="387"/>
                  </a:moveTo>
                  <a:lnTo>
                    <a:pt x="1101" y="386"/>
                  </a:lnTo>
                  <a:lnTo>
                    <a:pt x="1101" y="387"/>
                  </a:lnTo>
                  <a:close/>
                  <a:moveTo>
                    <a:pt x="1109" y="387"/>
                  </a:moveTo>
                  <a:lnTo>
                    <a:pt x="1109" y="386"/>
                  </a:lnTo>
                  <a:lnTo>
                    <a:pt x="1109" y="387"/>
                  </a:lnTo>
                  <a:close/>
                  <a:moveTo>
                    <a:pt x="1101" y="386"/>
                  </a:moveTo>
                  <a:lnTo>
                    <a:pt x="1100" y="386"/>
                  </a:lnTo>
                  <a:lnTo>
                    <a:pt x="1100" y="384"/>
                  </a:lnTo>
                  <a:lnTo>
                    <a:pt x="1100" y="386"/>
                  </a:lnTo>
                  <a:lnTo>
                    <a:pt x="1101" y="386"/>
                  </a:lnTo>
                  <a:close/>
                  <a:moveTo>
                    <a:pt x="1098" y="386"/>
                  </a:moveTo>
                  <a:lnTo>
                    <a:pt x="1098" y="384"/>
                  </a:lnTo>
                  <a:lnTo>
                    <a:pt x="1098" y="386"/>
                  </a:lnTo>
                  <a:close/>
                  <a:moveTo>
                    <a:pt x="1101" y="386"/>
                  </a:moveTo>
                  <a:lnTo>
                    <a:pt x="1100" y="384"/>
                  </a:lnTo>
                  <a:lnTo>
                    <a:pt x="1101" y="386"/>
                  </a:lnTo>
                  <a:close/>
                  <a:moveTo>
                    <a:pt x="1106" y="384"/>
                  </a:moveTo>
                  <a:lnTo>
                    <a:pt x="1106" y="382"/>
                  </a:lnTo>
                  <a:lnTo>
                    <a:pt x="1106" y="384"/>
                  </a:lnTo>
                  <a:close/>
                  <a:moveTo>
                    <a:pt x="1106" y="382"/>
                  </a:moveTo>
                  <a:lnTo>
                    <a:pt x="1108" y="382"/>
                  </a:lnTo>
                  <a:lnTo>
                    <a:pt x="1106" y="382"/>
                  </a:lnTo>
                  <a:close/>
                  <a:moveTo>
                    <a:pt x="1080" y="382"/>
                  </a:moveTo>
                  <a:lnTo>
                    <a:pt x="1082" y="382"/>
                  </a:lnTo>
                  <a:lnTo>
                    <a:pt x="1080" y="382"/>
                  </a:lnTo>
                  <a:close/>
                  <a:moveTo>
                    <a:pt x="908" y="382"/>
                  </a:moveTo>
                  <a:lnTo>
                    <a:pt x="908" y="381"/>
                  </a:lnTo>
                  <a:lnTo>
                    <a:pt x="908" y="382"/>
                  </a:lnTo>
                  <a:close/>
                  <a:moveTo>
                    <a:pt x="1103" y="382"/>
                  </a:moveTo>
                  <a:lnTo>
                    <a:pt x="1101" y="381"/>
                  </a:lnTo>
                  <a:lnTo>
                    <a:pt x="1103" y="382"/>
                  </a:lnTo>
                  <a:close/>
                  <a:moveTo>
                    <a:pt x="1074" y="381"/>
                  </a:moveTo>
                  <a:lnTo>
                    <a:pt x="1075" y="381"/>
                  </a:lnTo>
                  <a:lnTo>
                    <a:pt x="1074" y="381"/>
                  </a:lnTo>
                  <a:close/>
                  <a:moveTo>
                    <a:pt x="1074" y="381"/>
                  </a:moveTo>
                  <a:lnTo>
                    <a:pt x="1074" y="379"/>
                  </a:lnTo>
                  <a:lnTo>
                    <a:pt x="1075" y="379"/>
                  </a:lnTo>
                  <a:lnTo>
                    <a:pt x="1074" y="381"/>
                  </a:lnTo>
                  <a:close/>
                  <a:moveTo>
                    <a:pt x="1087" y="379"/>
                  </a:moveTo>
                  <a:lnTo>
                    <a:pt x="1085" y="379"/>
                  </a:lnTo>
                  <a:lnTo>
                    <a:pt x="1087" y="379"/>
                  </a:lnTo>
                  <a:close/>
                  <a:moveTo>
                    <a:pt x="1064" y="373"/>
                  </a:moveTo>
                  <a:lnTo>
                    <a:pt x="1062" y="373"/>
                  </a:lnTo>
                  <a:lnTo>
                    <a:pt x="1064" y="373"/>
                  </a:lnTo>
                  <a:close/>
                  <a:moveTo>
                    <a:pt x="1064" y="373"/>
                  </a:moveTo>
                  <a:lnTo>
                    <a:pt x="1062" y="373"/>
                  </a:lnTo>
                  <a:lnTo>
                    <a:pt x="1064" y="373"/>
                  </a:lnTo>
                  <a:close/>
                  <a:moveTo>
                    <a:pt x="1062" y="373"/>
                  </a:moveTo>
                  <a:lnTo>
                    <a:pt x="1064" y="373"/>
                  </a:lnTo>
                  <a:lnTo>
                    <a:pt x="1062" y="373"/>
                  </a:lnTo>
                  <a:close/>
                  <a:moveTo>
                    <a:pt x="2023" y="373"/>
                  </a:moveTo>
                  <a:lnTo>
                    <a:pt x="2022" y="371"/>
                  </a:lnTo>
                  <a:lnTo>
                    <a:pt x="2023" y="371"/>
                  </a:lnTo>
                  <a:lnTo>
                    <a:pt x="2023" y="373"/>
                  </a:lnTo>
                  <a:close/>
                  <a:moveTo>
                    <a:pt x="2028" y="371"/>
                  </a:moveTo>
                  <a:lnTo>
                    <a:pt x="2027" y="371"/>
                  </a:lnTo>
                  <a:lnTo>
                    <a:pt x="2028" y="371"/>
                  </a:lnTo>
                  <a:close/>
                  <a:moveTo>
                    <a:pt x="1061" y="371"/>
                  </a:moveTo>
                  <a:lnTo>
                    <a:pt x="1062" y="371"/>
                  </a:lnTo>
                  <a:lnTo>
                    <a:pt x="1061" y="371"/>
                  </a:lnTo>
                  <a:close/>
                  <a:moveTo>
                    <a:pt x="2033" y="369"/>
                  </a:moveTo>
                  <a:lnTo>
                    <a:pt x="2035" y="369"/>
                  </a:lnTo>
                  <a:lnTo>
                    <a:pt x="2033" y="369"/>
                  </a:lnTo>
                  <a:close/>
                  <a:moveTo>
                    <a:pt x="1061" y="369"/>
                  </a:moveTo>
                  <a:lnTo>
                    <a:pt x="1059" y="369"/>
                  </a:lnTo>
                  <a:lnTo>
                    <a:pt x="1061" y="369"/>
                  </a:lnTo>
                  <a:close/>
                  <a:moveTo>
                    <a:pt x="1054" y="368"/>
                  </a:moveTo>
                  <a:lnTo>
                    <a:pt x="1056" y="369"/>
                  </a:lnTo>
                  <a:lnTo>
                    <a:pt x="1054" y="368"/>
                  </a:lnTo>
                  <a:close/>
                  <a:moveTo>
                    <a:pt x="1057" y="368"/>
                  </a:moveTo>
                  <a:lnTo>
                    <a:pt x="1059" y="369"/>
                  </a:lnTo>
                  <a:lnTo>
                    <a:pt x="1057" y="369"/>
                  </a:lnTo>
                  <a:lnTo>
                    <a:pt x="1057" y="368"/>
                  </a:lnTo>
                  <a:close/>
                  <a:moveTo>
                    <a:pt x="1040" y="366"/>
                  </a:moveTo>
                  <a:lnTo>
                    <a:pt x="1040" y="368"/>
                  </a:lnTo>
                  <a:lnTo>
                    <a:pt x="1040" y="366"/>
                  </a:lnTo>
                  <a:close/>
                  <a:moveTo>
                    <a:pt x="1036" y="368"/>
                  </a:moveTo>
                  <a:lnTo>
                    <a:pt x="1036" y="366"/>
                  </a:lnTo>
                  <a:lnTo>
                    <a:pt x="1036" y="368"/>
                  </a:lnTo>
                  <a:close/>
                  <a:moveTo>
                    <a:pt x="1036" y="366"/>
                  </a:moveTo>
                  <a:lnTo>
                    <a:pt x="1036" y="368"/>
                  </a:lnTo>
                  <a:lnTo>
                    <a:pt x="1036" y="366"/>
                  </a:lnTo>
                  <a:close/>
                  <a:moveTo>
                    <a:pt x="1038" y="366"/>
                  </a:moveTo>
                  <a:lnTo>
                    <a:pt x="1036" y="366"/>
                  </a:lnTo>
                  <a:lnTo>
                    <a:pt x="1038" y="366"/>
                  </a:lnTo>
                  <a:close/>
                  <a:moveTo>
                    <a:pt x="1038" y="366"/>
                  </a:moveTo>
                  <a:lnTo>
                    <a:pt x="1040" y="366"/>
                  </a:lnTo>
                  <a:lnTo>
                    <a:pt x="1038" y="366"/>
                  </a:lnTo>
                  <a:close/>
                  <a:moveTo>
                    <a:pt x="1093" y="366"/>
                  </a:moveTo>
                  <a:lnTo>
                    <a:pt x="1093" y="364"/>
                  </a:lnTo>
                  <a:lnTo>
                    <a:pt x="1093" y="366"/>
                  </a:lnTo>
                  <a:close/>
                  <a:moveTo>
                    <a:pt x="914" y="366"/>
                  </a:moveTo>
                  <a:lnTo>
                    <a:pt x="914" y="364"/>
                  </a:lnTo>
                  <a:lnTo>
                    <a:pt x="914" y="366"/>
                  </a:lnTo>
                  <a:close/>
                  <a:moveTo>
                    <a:pt x="1988" y="358"/>
                  </a:moveTo>
                  <a:lnTo>
                    <a:pt x="1986" y="358"/>
                  </a:lnTo>
                  <a:lnTo>
                    <a:pt x="1986" y="356"/>
                  </a:lnTo>
                  <a:lnTo>
                    <a:pt x="1988" y="358"/>
                  </a:lnTo>
                  <a:close/>
                  <a:moveTo>
                    <a:pt x="1983" y="355"/>
                  </a:moveTo>
                  <a:lnTo>
                    <a:pt x="1983" y="353"/>
                  </a:lnTo>
                  <a:lnTo>
                    <a:pt x="1983" y="355"/>
                  </a:lnTo>
                  <a:close/>
                  <a:moveTo>
                    <a:pt x="1975" y="351"/>
                  </a:moveTo>
                  <a:lnTo>
                    <a:pt x="1976" y="351"/>
                  </a:lnTo>
                  <a:lnTo>
                    <a:pt x="1976" y="353"/>
                  </a:lnTo>
                  <a:lnTo>
                    <a:pt x="1975" y="353"/>
                  </a:lnTo>
                  <a:lnTo>
                    <a:pt x="1973" y="351"/>
                  </a:lnTo>
                  <a:lnTo>
                    <a:pt x="1975" y="351"/>
                  </a:lnTo>
                  <a:close/>
                  <a:moveTo>
                    <a:pt x="1968" y="345"/>
                  </a:moveTo>
                  <a:lnTo>
                    <a:pt x="1968" y="347"/>
                  </a:lnTo>
                  <a:lnTo>
                    <a:pt x="1968" y="345"/>
                  </a:lnTo>
                  <a:close/>
                  <a:moveTo>
                    <a:pt x="905" y="345"/>
                  </a:moveTo>
                  <a:lnTo>
                    <a:pt x="903" y="345"/>
                  </a:lnTo>
                  <a:lnTo>
                    <a:pt x="905" y="345"/>
                  </a:lnTo>
                  <a:close/>
                  <a:moveTo>
                    <a:pt x="903" y="345"/>
                  </a:moveTo>
                  <a:lnTo>
                    <a:pt x="905" y="345"/>
                  </a:lnTo>
                  <a:lnTo>
                    <a:pt x="903" y="345"/>
                  </a:lnTo>
                  <a:close/>
                  <a:moveTo>
                    <a:pt x="983" y="340"/>
                  </a:moveTo>
                  <a:lnTo>
                    <a:pt x="984" y="342"/>
                  </a:lnTo>
                  <a:lnTo>
                    <a:pt x="986" y="342"/>
                  </a:lnTo>
                  <a:lnTo>
                    <a:pt x="987" y="343"/>
                  </a:lnTo>
                  <a:lnTo>
                    <a:pt x="991" y="348"/>
                  </a:lnTo>
                  <a:lnTo>
                    <a:pt x="992" y="350"/>
                  </a:lnTo>
                  <a:lnTo>
                    <a:pt x="992" y="351"/>
                  </a:lnTo>
                  <a:lnTo>
                    <a:pt x="989" y="351"/>
                  </a:lnTo>
                  <a:lnTo>
                    <a:pt x="987" y="351"/>
                  </a:lnTo>
                  <a:lnTo>
                    <a:pt x="986" y="351"/>
                  </a:lnTo>
                  <a:lnTo>
                    <a:pt x="984" y="351"/>
                  </a:lnTo>
                  <a:lnTo>
                    <a:pt x="983" y="350"/>
                  </a:lnTo>
                  <a:lnTo>
                    <a:pt x="979" y="350"/>
                  </a:lnTo>
                  <a:lnTo>
                    <a:pt x="976" y="348"/>
                  </a:lnTo>
                  <a:lnTo>
                    <a:pt x="974" y="347"/>
                  </a:lnTo>
                  <a:lnTo>
                    <a:pt x="974" y="345"/>
                  </a:lnTo>
                  <a:lnTo>
                    <a:pt x="974" y="343"/>
                  </a:lnTo>
                  <a:lnTo>
                    <a:pt x="974" y="342"/>
                  </a:lnTo>
                  <a:lnTo>
                    <a:pt x="976" y="342"/>
                  </a:lnTo>
                  <a:lnTo>
                    <a:pt x="978" y="340"/>
                  </a:lnTo>
                  <a:lnTo>
                    <a:pt x="979" y="340"/>
                  </a:lnTo>
                  <a:lnTo>
                    <a:pt x="981" y="340"/>
                  </a:lnTo>
                  <a:lnTo>
                    <a:pt x="983" y="340"/>
                  </a:lnTo>
                  <a:close/>
                  <a:moveTo>
                    <a:pt x="903" y="340"/>
                  </a:moveTo>
                  <a:lnTo>
                    <a:pt x="903" y="338"/>
                  </a:lnTo>
                  <a:lnTo>
                    <a:pt x="903" y="340"/>
                  </a:lnTo>
                  <a:close/>
                  <a:moveTo>
                    <a:pt x="1949" y="338"/>
                  </a:moveTo>
                  <a:lnTo>
                    <a:pt x="1947" y="338"/>
                  </a:lnTo>
                  <a:lnTo>
                    <a:pt x="1949" y="338"/>
                  </a:lnTo>
                  <a:close/>
                  <a:moveTo>
                    <a:pt x="901" y="337"/>
                  </a:moveTo>
                  <a:lnTo>
                    <a:pt x="900" y="337"/>
                  </a:lnTo>
                  <a:lnTo>
                    <a:pt x="901" y="337"/>
                  </a:lnTo>
                  <a:close/>
                  <a:moveTo>
                    <a:pt x="1942" y="338"/>
                  </a:moveTo>
                  <a:lnTo>
                    <a:pt x="1941" y="337"/>
                  </a:lnTo>
                  <a:lnTo>
                    <a:pt x="1939" y="337"/>
                  </a:lnTo>
                  <a:lnTo>
                    <a:pt x="1939" y="335"/>
                  </a:lnTo>
                  <a:lnTo>
                    <a:pt x="1939" y="337"/>
                  </a:lnTo>
                  <a:lnTo>
                    <a:pt x="1941" y="337"/>
                  </a:lnTo>
                  <a:lnTo>
                    <a:pt x="1942" y="337"/>
                  </a:lnTo>
                  <a:lnTo>
                    <a:pt x="1942" y="338"/>
                  </a:lnTo>
                  <a:close/>
                  <a:moveTo>
                    <a:pt x="1941" y="329"/>
                  </a:moveTo>
                  <a:lnTo>
                    <a:pt x="1942" y="327"/>
                  </a:lnTo>
                  <a:lnTo>
                    <a:pt x="1941" y="329"/>
                  </a:lnTo>
                  <a:close/>
                  <a:moveTo>
                    <a:pt x="900" y="329"/>
                  </a:moveTo>
                  <a:lnTo>
                    <a:pt x="898" y="329"/>
                  </a:lnTo>
                  <a:lnTo>
                    <a:pt x="898" y="327"/>
                  </a:lnTo>
                  <a:lnTo>
                    <a:pt x="898" y="325"/>
                  </a:lnTo>
                  <a:lnTo>
                    <a:pt x="898" y="327"/>
                  </a:lnTo>
                  <a:lnTo>
                    <a:pt x="900" y="329"/>
                  </a:lnTo>
                  <a:close/>
                  <a:moveTo>
                    <a:pt x="1742" y="327"/>
                  </a:moveTo>
                  <a:lnTo>
                    <a:pt x="1742" y="325"/>
                  </a:lnTo>
                  <a:lnTo>
                    <a:pt x="1742" y="327"/>
                  </a:lnTo>
                  <a:close/>
                  <a:moveTo>
                    <a:pt x="1090" y="325"/>
                  </a:moveTo>
                  <a:lnTo>
                    <a:pt x="1088" y="325"/>
                  </a:lnTo>
                  <a:lnTo>
                    <a:pt x="1090" y="325"/>
                  </a:lnTo>
                  <a:close/>
                  <a:moveTo>
                    <a:pt x="898" y="325"/>
                  </a:moveTo>
                  <a:lnTo>
                    <a:pt x="896" y="325"/>
                  </a:lnTo>
                  <a:lnTo>
                    <a:pt x="898" y="325"/>
                  </a:lnTo>
                  <a:close/>
                  <a:moveTo>
                    <a:pt x="1952" y="327"/>
                  </a:moveTo>
                  <a:lnTo>
                    <a:pt x="1952" y="325"/>
                  </a:lnTo>
                  <a:lnTo>
                    <a:pt x="1952" y="327"/>
                  </a:lnTo>
                  <a:close/>
                  <a:moveTo>
                    <a:pt x="874" y="317"/>
                  </a:moveTo>
                  <a:lnTo>
                    <a:pt x="872" y="317"/>
                  </a:lnTo>
                  <a:lnTo>
                    <a:pt x="874" y="317"/>
                  </a:lnTo>
                  <a:close/>
                  <a:moveTo>
                    <a:pt x="343" y="308"/>
                  </a:moveTo>
                  <a:lnTo>
                    <a:pt x="343" y="309"/>
                  </a:lnTo>
                  <a:lnTo>
                    <a:pt x="343" y="308"/>
                  </a:lnTo>
                  <a:close/>
                  <a:moveTo>
                    <a:pt x="345" y="306"/>
                  </a:moveTo>
                  <a:lnTo>
                    <a:pt x="343" y="308"/>
                  </a:lnTo>
                  <a:lnTo>
                    <a:pt x="345" y="306"/>
                  </a:lnTo>
                  <a:close/>
                  <a:moveTo>
                    <a:pt x="1085" y="304"/>
                  </a:moveTo>
                  <a:lnTo>
                    <a:pt x="1085" y="303"/>
                  </a:lnTo>
                  <a:lnTo>
                    <a:pt x="1087" y="303"/>
                  </a:lnTo>
                  <a:lnTo>
                    <a:pt x="1085" y="304"/>
                  </a:lnTo>
                  <a:close/>
                  <a:moveTo>
                    <a:pt x="1090" y="303"/>
                  </a:moveTo>
                  <a:lnTo>
                    <a:pt x="1090" y="301"/>
                  </a:lnTo>
                  <a:lnTo>
                    <a:pt x="1090" y="303"/>
                  </a:lnTo>
                  <a:close/>
                  <a:moveTo>
                    <a:pt x="872" y="301"/>
                  </a:moveTo>
                  <a:lnTo>
                    <a:pt x="870" y="301"/>
                  </a:lnTo>
                  <a:lnTo>
                    <a:pt x="872" y="301"/>
                  </a:lnTo>
                  <a:close/>
                  <a:moveTo>
                    <a:pt x="1957" y="301"/>
                  </a:moveTo>
                  <a:lnTo>
                    <a:pt x="1955" y="301"/>
                  </a:lnTo>
                  <a:lnTo>
                    <a:pt x="1957" y="301"/>
                  </a:lnTo>
                  <a:close/>
                  <a:moveTo>
                    <a:pt x="1949" y="301"/>
                  </a:moveTo>
                  <a:lnTo>
                    <a:pt x="1950" y="299"/>
                  </a:lnTo>
                  <a:lnTo>
                    <a:pt x="1949" y="301"/>
                  </a:lnTo>
                  <a:close/>
                  <a:moveTo>
                    <a:pt x="355" y="293"/>
                  </a:moveTo>
                  <a:lnTo>
                    <a:pt x="355" y="295"/>
                  </a:lnTo>
                  <a:lnTo>
                    <a:pt x="355" y="293"/>
                  </a:lnTo>
                  <a:close/>
                  <a:moveTo>
                    <a:pt x="1955" y="293"/>
                  </a:moveTo>
                  <a:lnTo>
                    <a:pt x="1954" y="293"/>
                  </a:lnTo>
                  <a:lnTo>
                    <a:pt x="1955" y="293"/>
                  </a:lnTo>
                  <a:close/>
                  <a:moveTo>
                    <a:pt x="1069" y="286"/>
                  </a:moveTo>
                  <a:lnTo>
                    <a:pt x="1069" y="288"/>
                  </a:lnTo>
                  <a:lnTo>
                    <a:pt x="1069" y="286"/>
                  </a:lnTo>
                  <a:lnTo>
                    <a:pt x="1069" y="288"/>
                  </a:lnTo>
                  <a:lnTo>
                    <a:pt x="1069" y="286"/>
                  </a:lnTo>
                  <a:close/>
                  <a:moveTo>
                    <a:pt x="961" y="286"/>
                  </a:moveTo>
                  <a:lnTo>
                    <a:pt x="963" y="286"/>
                  </a:lnTo>
                  <a:lnTo>
                    <a:pt x="961" y="286"/>
                  </a:lnTo>
                  <a:close/>
                  <a:moveTo>
                    <a:pt x="1069" y="285"/>
                  </a:moveTo>
                  <a:lnTo>
                    <a:pt x="1070" y="285"/>
                  </a:lnTo>
                  <a:lnTo>
                    <a:pt x="1069" y="285"/>
                  </a:lnTo>
                  <a:lnTo>
                    <a:pt x="1069" y="283"/>
                  </a:lnTo>
                  <a:lnTo>
                    <a:pt x="1070" y="283"/>
                  </a:lnTo>
                  <a:lnTo>
                    <a:pt x="1069" y="285"/>
                  </a:lnTo>
                  <a:close/>
                  <a:moveTo>
                    <a:pt x="1069" y="283"/>
                  </a:moveTo>
                  <a:lnTo>
                    <a:pt x="1069" y="282"/>
                  </a:lnTo>
                  <a:lnTo>
                    <a:pt x="1069" y="283"/>
                  </a:lnTo>
                  <a:lnTo>
                    <a:pt x="1069" y="282"/>
                  </a:lnTo>
                  <a:lnTo>
                    <a:pt x="1069" y="283"/>
                  </a:lnTo>
                  <a:lnTo>
                    <a:pt x="1069" y="282"/>
                  </a:lnTo>
                  <a:lnTo>
                    <a:pt x="1070" y="282"/>
                  </a:lnTo>
                  <a:lnTo>
                    <a:pt x="1069" y="282"/>
                  </a:lnTo>
                  <a:lnTo>
                    <a:pt x="1069" y="283"/>
                  </a:lnTo>
                  <a:close/>
                  <a:moveTo>
                    <a:pt x="1069" y="280"/>
                  </a:moveTo>
                  <a:lnTo>
                    <a:pt x="1069" y="282"/>
                  </a:lnTo>
                  <a:lnTo>
                    <a:pt x="1069" y="280"/>
                  </a:lnTo>
                  <a:close/>
                  <a:moveTo>
                    <a:pt x="1069" y="280"/>
                  </a:moveTo>
                  <a:lnTo>
                    <a:pt x="1069" y="282"/>
                  </a:lnTo>
                  <a:lnTo>
                    <a:pt x="1069" y="280"/>
                  </a:lnTo>
                  <a:lnTo>
                    <a:pt x="1067" y="280"/>
                  </a:lnTo>
                  <a:lnTo>
                    <a:pt x="1069" y="280"/>
                  </a:lnTo>
                  <a:close/>
                  <a:moveTo>
                    <a:pt x="1944" y="277"/>
                  </a:moveTo>
                  <a:lnTo>
                    <a:pt x="1942" y="277"/>
                  </a:lnTo>
                  <a:lnTo>
                    <a:pt x="1945" y="277"/>
                  </a:lnTo>
                  <a:lnTo>
                    <a:pt x="1944" y="277"/>
                  </a:lnTo>
                  <a:close/>
                  <a:moveTo>
                    <a:pt x="1950" y="277"/>
                  </a:moveTo>
                  <a:lnTo>
                    <a:pt x="1950" y="278"/>
                  </a:lnTo>
                  <a:lnTo>
                    <a:pt x="1949" y="277"/>
                  </a:lnTo>
                  <a:lnTo>
                    <a:pt x="1950" y="277"/>
                  </a:lnTo>
                  <a:close/>
                  <a:moveTo>
                    <a:pt x="1064" y="275"/>
                  </a:moveTo>
                  <a:lnTo>
                    <a:pt x="1066" y="275"/>
                  </a:lnTo>
                  <a:lnTo>
                    <a:pt x="1064" y="275"/>
                  </a:lnTo>
                  <a:close/>
                  <a:moveTo>
                    <a:pt x="1064" y="273"/>
                  </a:moveTo>
                  <a:lnTo>
                    <a:pt x="1064" y="275"/>
                  </a:lnTo>
                  <a:lnTo>
                    <a:pt x="1064" y="273"/>
                  </a:lnTo>
                  <a:close/>
                  <a:moveTo>
                    <a:pt x="376" y="273"/>
                  </a:moveTo>
                  <a:lnTo>
                    <a:pt x="376" y="272"/>
                  </a:lnTo>
                  <a:lnTo>
                    <a:pt x="376" y="273"/>
                  </a:lnTo>
                  <a:close/>
                  <a:moveTo>
                    <a:pt x="1062" y="270"/>
                  </a:moveTo>
                  <a:lnTo>
                    <a:pt x="1064" y="272"/>
                  </a:lnTo>
                  <a:lnTo>
                    <a:pt x="1064" y="270"/>
                  </a:lnTo>
                  <a:lnTo>
                    <a:pt x="1064" y="272"/>
                  </a:lnTo>
                  <a:lnTo>
                    <a:pt x="1062" y="273"/>
                  </a:lnTo>
                  <a:lnTo>
                    <a:pt x="1062" y="272"/>
                  </a:lnTo>
                  <a:lnTo>
                    <a:pt x="1062" y="270"/>
                  </a:lnTo>
                  <a:lnTo>
                    <a:pt x="1062" y="272"/>
                  </a:lnTo>
                  <a:lnTo>
                    <a:pt x="1062" y="270"/>
                  </a:lnTo>
                  <a:close/>
                  <a:moveTo>
                    <a:pt x="796" y="259"/>
                  </a:moveTo>
                  <a:lnTo>
                    <a:pt x="796" y="260"/>
                  </a:lnTo>
                  <a:lnTo>
                    <a:pt x="796" y="259"/>
                  </a:lnTo>
                  <a:close/>
                  <a:moveTo>
                    <a:pt x="815" y="259"/>
                  </a:moveTo>
                  <a:lnTo>
                    <a:pt x="813" y="259"/>
                  </a:lnTo>
                  <a:lnTo>
                    <a:pt x="815" y="259"/>
                  </a:lnTo>
                  <a:close/>
                  <a:moveTo>
                    <a:pt x="818" y="259"/>
                  </a:moveTo>
                  <a:lnTo>
                    <a:pt x="817" y="259"/>
                  </a:lnTo>
                  <a:lnTo>
                    <a:pt x="818" y="259"/>
                  </a:lnTo>
                  <a:close/>
                  <a:moveTo>
                    <a:pt x="799" y="259"/>
                  </a:moveTo>
                  <a:lnTo>
                    <a:pt x="799" y="257"/>
                  </a:lnTo>
                  <a:lnTo>
                    <a:pt x="799" y="259"/>
                  </a:lnTo>
                  <a:close/>
                  <a:moveTo>
                    <a:pt x="1147" y="257"/>
                  </a:moveTo>
                  <a:lnTo>
                    <a:pt x="1148" y="257"/>
                  </a:lnTo>
                  <a:lnTo>
                    <a:pt x="1147" y="257"/>
                  </a:lnTo>
                  <a:close/>
                  <a:moveTo>
                    <a:pt x="799" y="259"/>
                  </a:moveTo>
                  <a:lnTo>
                    <a:pt x="797" y="257"/>
                  </a:lnTo>
                  <a:lnTo>
                    <a:pt x="799" y="257"/>
                  </a:lnTo>
                  <a:lnTo>
                    <a:pt x="799" y="259"/>
                  </a:lnTo>
                  <a:close/>
                  <a:moveTo>
                    <a:pt x="804" y="257"/>
                  </a:moveTo>
                  <a:lnTo>
                    <a:pt x="802" y="257"/>
                  </a:lnTo>
                  <a:lnTo>
                    <a:pt x="804" y="257"/>
                  </a:lnTo>
                  <a:close/>
                  <a:moveTo>
                    <a:pt x="809" y="257"/>
                  </a:moveTo>
                  <a:lnTo>
                    <a:pt x="807" y="257"/>
                  </a:lnTo>
                  <a:lnTo>
                    <a:pt x="809" y="257"/>
                  </a:lnTo>
                  <a:close/>
                  <a:moveTo>
                    <a:pt x="1936" y="260"/>
                  </a:moveTo>
                  <a:lnTo>
                    <a:pt x="1934" y="259"/>
                  </a:lnTo>
                  <a:lnTo>
                    <a:pt x="1934" y="257"/>
                  </a:lnTo>
                  <a:lnTo>
                    <a:pt x="1936" y="257"/>
                  </a:lnTo>
                  <a:lnTo>
                    <a:pt x="1936" y="259"/>
                  </a:lnTo>
                  <a:lnTo>
                    <a:pt x="1936" y="260"/>
                  </a:lnTo>
                  <a:close/>
                  <a:moveTo>
                    <a:pt x="809" y="255"/>
                  </a:moveTo>
                  <a:lnTo>
                    <a:pt x="809" y="257"/>
                  </a:lnTo>
                  <a:lnTo>
                    <a:pt x="809" y="255"/>
                  </a:lnTo>
                  <a:close/>
                  <a:moveTo>
                    <a:pt x="807" y="255"/>
                  </a:moveTo>
                  <a:lnTo>
                    <a:pt x="807" y="257"/>
                  </a:lnTo>
                  <a:lnTo>
                    <a:pt x="809" y="257"/>
                  </a:lnTo>
                  <a:lnTo>
                    <a:pt x="809" y="259"/>
                  </a:lnTo>
                  <a:lnTo>
                    <a:pt x="807" y="259"/>
                  </a:lnTo>
                  <a:lnTo>
                    <a:pt x="805" y="260"/>
                  </a:lnTo>
                  <a:lnTo>
                    <a:pt x="805" y="259"/>
                  </a:lnTo>
                  <a:lnTo>
                    <a:pt x="804" y="259"/>
                  </a:lnTo>
                  <a:lnTo>
                    <a:pt x="804" y="257"/>
                  </a:lnTo>
                  <a:lnTo>
                    <a:pt x="804" y="255"/>
                  </a:lnTo>
                  <a:lnTo>
                    <a:pt x="804" y="257"/>
                  </a:lnTo>
                  <a:lnTo>
                    <a:pt x="805" y="257"/>
                  </a:lnTo>
                  <a:lnTo>
                    <a:pt x="807" y="257"/>
                  </a:lnTo>
                  <a:lnTo>
                    <a:pt x="805" y="257"/>
                  </a:lnTo>
                  <a:lnTo>
                    <a:pt x="805" y="255"/>
                  </a:lnTo>
                  <a:lnTo>
                    <a:pt x="807" y="255"/>
                  </a:lnTo>
                  <a:close/>
                  <a:moveTo>
                    <a:pt x="1044" y="255"/>
                  </a:moveTo>
                  <a:lnTo>
                    <a:pt x="1046" y="254"/>
                  </a:lnTo>
                  <a:lnTo>
                    <a:pt x="1046" y="255"/>
                  </a:lnTo>
                  <a:lnTo>
                    <a:pt x="1044" y="255"/>
                  </a:lnTo>
                  <a:close/>
                  <a:moveTo>
                    <a:pt x="1031" y="252"/>
                  </a:moveTo>
                  <a:lnTo>
                    <a:pt x="1031" y="254"/>
                  </a:lnTo>
                  <a:lnTo>
                    <a:pt x="1031" y="252"/>
                  </a:lnTo>
                  <a:close/>
                  <a:moveTo>
                    <a:pt x="1145" y="252"/>
                  </a:moveTo>
                  <a:lnTo>
                    <a:pt x="1144" y="252"/>
                  </a:lnTo>
                  <a:lnTo>
                    <a:pt x="1145" y="252"/>
                  </a:lnTo>
                  <a:close/>
                  <a:moveTo>
                    <a:pt x="784" y="249"/>
                  </a:moveTo>
                  <a:lnTo>
                    <a:pt x="784" y="251"/>
                  </a:lnTo>
                  <a:lnTo>
                    <a:pt x="784" y="249"/>
                  </a:lnTo>
                  <a:close/>
                  <a:moveTo>
                    <a:pt x="748" y="251"/>
                  </a:moveTo>
                  <a:lnTo>
                    <a:pt x="748" y="249"/>
                  </a:lnTo>
                  <a:lnTo>
                    <a:pt x="748" y="251"/>
                  </a:lnTo>
                  <a:close/>
                  <a:moveTo>
                    <a:pt x="745" y="249"/>
                  </a:moveTo>
                  <a:lnTo>
                    <a:pt x="747" y="251"/>
                  </a:lnTo>
                  <a:lnTo>
                    <a:pt x="745" y="251"/>
                  </a:lnTo>
                  <a:lnTo>
                    <a:pt x="745" y="249"/>
                  </a:lnTo>
                  <a:close/>
                  <a:moveTo>
                    <a:pt x="755" y="247"/>
                  </a:moveTo>
                  <a:lnTo>
                    <a:pt x="753" y="247"/>
                  </a:lnTo>
                  <a:lnTo>
                    <a:pt x="755" y="247"/>
                  </a:lnTo>
                  <a:close/>
                  <a:moveTo>
                    <a:pt x="745" y="246"/>
                  </a:moveTo>
                  <a:lnTo>
                    <a:pt x="747" y="247"/>
                  </a:lnTo>
                  <a:lnTo>
                    <a:pt x="747" y="246"/>
                  </a:lnTo>
                  <a:lnTo>
                    <a:pt x="747" y="247"/>
                  </a:lnTo>
                  <a:lnTo>
                    <a:pt x="748" y="247"/>
                  </a:lnTo>
                  <a:lnTo>
                    <a:pt x="747" y="247"/>
                  </a:lnTo>
                  <a:lnTo>
                    <a:pt x="745" y="247"/>
                  </a:lnTo>
                  <a:lnTo>
                    <a:pt x="745" y="246"/>
                  </a:lnTo>
                  <a:close/>
                  <a:moveTo>
                    <a:pt x="735" y="247"/>
                  </a:moveTo>
                  <a:lnTo>
                    <a:pt x="735" y="246"/>
                  </a:lnTo>
                  <a:lnTo>
                    <a:pt x="735" y="247"/>
                  </a:lnTo>
                  <a:close/>
                  <a:moveTo>
                    <a:pt x="739" y="246"/>
                  </a:moveTo>
                  <a:lnTo>
                    <a:pt x="740" y="246"/>
                  </a:lnTo>
                  <a:lnTo>
                    <a:pt x="740" y="247"/>
                  </a:lnTo>
                  <a:lnTo>
                    <a:pt x="740" y="246"/>
                  </a:lnTo>
                  <a:lnTo>
                    <a:pt x="740" y="247"/>
                  </a:lnTo>
                  <a:lnTo>
                    <a:pt x="740" y="246"/>
                  </a:lnTo>
                  <a:lnTo>
                    <a:pt x="740" y="247"/>
                  </a:lnTo>
                  <a:lnTo>
                    <a:pt x="740" y="246"/>
                  </a:lnTo>
                  <a:lnTo>
                    <a:pt x="740" y="247"/>
                  </a:lnTo>
                  <a:lnTo>
                    <a:pt x="742" y="247"/>
                  </a:lnTo>
                  <a:lnTo>
                    <a:pt x="742" y="249"/>
                  </a:lnTo>
                  <a:lnTo>
                    <a:pt x="742" y="247"/>
                  </a:lnTo>
                  <a:lnTo>
                    <a:pt x="740" y="247"/>
                  </a:lnTo>
                  <a:lnTo>
                    <a:pt x="739" y="247"/>
                  </a:lnTo>
                  <a:lnTo>
                    <a:pt x="737" y="247"/>
                  </a:lnTo>
                  <a:lnTo>
                    <a:pt x="739" y="246"/>
                  </a:lnTo>
                  <a:close/>
                  <a:moveTo>
                    <a:pt x="737" y="246"/>
                  </a:moveTo>
                  <a:lnTo>
                    <a:pt x="737" y="247"/>
                  </a:lnTo>
                  <a:lnTo>
                    <a:pt x="735" y="247"/>
                  </a:lnTo>
                  <a:lnTo>
                    <a:pt x="735" y="246"/>
                  </a:lnTo>
                  <a:lnTo>
                    <a:pt x="737" y="246"/>
                  </a:lnTo>
                  <a:close/>
                  <a:moveTo>
                    <a:pt x="735" y="246"/>
                  </a:moveTo>
                  <a:lnTo>
                    <a:pt x="734" y="246"/>
                  </a:lnTo>
                  <a:lnTo>
                    <a:pt x="735" y="246"/>
                  </a:lnTo>
                  <a:close/>
                  <a:moveTo>
                    <a:pt x="734" y="246"/>
                  </a:moveTo>
                  <a:lnTo>
                    <a:pt x="734" y="247"/>
                  </a:lnTo>
                  <a:lnTo>
                    <a:pt x="734" y="246"/>
                  </a:lnTo>
                  <a:lnTo>
                    <a:pt x="732" y="246"/>
                  </a:lnTo>
                  <a:lnTo>
                    <a:pt x="734" y="246"/>
                  </a:lnTo>
                  <a:lnTo>
                    <a:pt x="732" y="246"/>
                  </a:lnTo>
                  <a:lnTo>
                    <a:pt x="734" y="246"/>
                  </a:lnTo>
                  <a:close/>
                  <a:moveTo>
                    <a:pt x="744" y="244"/>
                  </a:moveTo>
                  <a:lnTo>
                    <a:pt x="744" y="246"/>
                  </a:lnTo>
                  <a:lnTo>
                    <a:pt x="744" y="244"/>
                  </a:lnTo>
                  <a:close/>
                  <a:moveTo>
                    <a:pt x="376" y="242"/>
                  </a:moveTo>
                  <a:lnTo>
                    <a:pt x="376" y="244"/>
                  </a:lnTo>
                  <a:lnTo>
                    <a:pt x="376" y="242"/>
                  </a:lnTo>
                  <a:close/>
                  <a:moveTo>
                    <a:pt x="737" y="242"/>
                  </a:moveTo>
                  <a:lnTo>
                    <a:pt x="739" y="242"/>
                  </a:lnTo>
                  <a:lnTo>
                    <a:pt x="737" y="244"/>
                  </a:lnTo>
                  <a:lnTo>
                    <a:pt x="737" y="242"/>
                  </a:lnTo>
                  <a:close/>
                  <a:moveTo>
                    <a:pt x="1929" y="244"/>
                  </a:moveTo>
                  <a:lnTo>
                    <a:pt x="1929" y="242"/>
                  </a:lnTo>
                  <a:lnTo>
                    <a:pt x="1929" y="244"/>
                  </a:lnTo>
                  <a:close/>
                  <a:moveTo>
                    <a:pt x="1929" y="242"/>
                  </a:moveTo>
                  <a:lnTo>
                    <a:pt x="1929" y="241"/>
                  </a:lnTo>
                  <a:lnTo>
                    <a:pt x="1929" y="242"/>
                  </a:lnTo>
                  <a:close/>
                  <a:moveTo>
                    <a:pt x="674" y="241"/>
                  </a:moveTo>
                  <a:lnTo>
                    <a:pt x="672" y="241"/>
                  </a:lnTo>
                  <a:lnTo>
                    <a:pt x="674" y="241"/>
                  </a:lnTo>
                  <a:close/>
                  <a:moveTo>
                    <a:pt x="1145" y="239"/>
                  </a:moveTo>
                  <a:lnTo>
                    <a:pt x="1144" y="239"/>
                  </a:lnTo>
                  <a:lnTo>
                    <a:pt x="1145" y="239"/>
                  </a:lnTo>
                  <a:close/>
                  <a:moveTo>
                    <a:pt x="706" y="238"/>
                  </a:moveTo>
                  <a:lnTo>
                    <a:pt x="706" y="239"/>
                  </a:lnTo>
                  <a:lnTo>
                    <a:pt x="706" y="238"/>
                  </a:lnTo>
                  <a:close/>
                  <a:moveTo>
                    <a:pt x="735" y="238"/>
                  </a:moveTo>
                  <a:lnTo>
                    <a:pt x="734" y="239"/>
                  </a:lnTo>
                  <a:lnTo>
                    <a:pt x="734" y="238"/>
                  </a:lnTo>
                  <a:lnTo>
                    <a:pt x="735" y="238"/>
                  </a:lnTo>
                  <a:close/>
                  <a:moveTo>
                    <a:pt x="1168" y="239"/>
                  </a:moveTo>
                  <a:lnTo>
                    <a:pt x="1166" y="239"/>
                  </a:lnTo>
                  <a:lnTo>
                    <a:pt x="1168" y="238"/>
                  </a:lnTo>
                  <a:lnTo>
                    <a:pt x="1168" y="239"/>
                  </a:lnTo>
                  <a:close/>
                  <a:moveTo>
                    <a:pt x="734" y="238"/>
                  </a:moveTo>
                  <a:lnTo>
                    <a:pt x="735" y="238"/>
                  </a:lnTo>
                  <a:lnTo>
                    <a:pt x="734" y="238"/>
                  </a:lnTo>
                  <a:close/>
                  <a:moveTo>
                    <a:pt x="384" y="238"/>
                  </a:moveTo>
                  <a:lnTo>
                    <a:pt x="384" y="239"/>
                  </a:lnTo>
                  <a:lnTo>
                    <a:pt x="384" y="238"/>
                  </a:lnTo>
                  <a:close/>
                  <a:moveTo>
                    <a:pt x="735" y="238"/>
                  </a:moveTo>
                  <a:lnTo>
                    <a:pt x="734" y="238"/>
                  </a:lnTo>
                  <a:lnTo>
                    <a:pt x="735" y="238"/>
                  </a:lnTo>
                  <a:close/>
                  <a:moveTo>
                    <a:pt x="734" y="238"/>
                  </a:moveTo>
                  <a:lnTo>
                    <a:pt x="732" y="238"/>
                  </a:lnTo>
                  <a:lnTo>
                    <a:pt x="732" y="236"/>
                  </a:lnTo>
                  <a:lnTo>
                    <a:pt x="734" y="236"/>
                  </a:lnTo>
                  <a:lnTo>
                    <a:pt x="734" y="238"/>
                  </a:lnTo>
                  <a:close/>
                  <a:moveTo>
                    <a:pt x="1170" y="238"/>
                  </a:moveTo>
                  <a:lnTo>
                    <a:pt x="1168" y="238"/>
                  </a:lnTo>
                  <a:lnTo>
                    <a:pt x="1168" y="236"/>
                  </a:lnTo>
                  <a:lnTo>
                    <a:pt x="1170" y="236"/>
                  </a:lnTo>
                  <a:lnTo>
                    <a:pt x="1170" y="238"/>
                  </a:lnTo>
                  <a:close/>
                  <a:moveTo>
                    <a:pt x="1170" y="234"/>
                  </a:moveTo>
                  <a:lnTo>
                    <a:pt x="1171" y="234"/>
                  </a:lnTo>
                  <a:lnTo>
                    <a:pt x="1170" y="234"/>
                  </a:lnTo>
                  <a:close/>
                  <a:moveTo>
                    <a:pt x="674" y="233"/>
                  </a:moveTo>
                  <a:lnTo>
                    <a:pt x="674" y="234"/>
                  </a:lnTo>
                  <a:lnTo>
                    <a:pt x="674" y="233"/>
                  </a:lnTo>
                  <a:close/>
                  <a:moveTo>
                    <a:pt x="1173" y="233"/>
                  </a:moveTo>
                  <a:lnTo>
                    <a:pt x="1171" y="234"/>
                  </a:lnTo>
                  <a:lnTo>
                    <a:pt x="1171" y="233"/>
                  </a:lnTo>
                  <a:lnTo>
                    <a:pt x="1173" y="233"/>
                  </a:lnTo>
                  <a:close/>
                  <a:moveTo>
                    <a:pt x="688" y="231"/>
                  </a:moveTo>
                  <a:lnTo>
                    <a:pt x="688" y="233"/>
                  </a:lnTo>
                  <a:lnTo>
                    <a:pt x="688" y="231"/>
                  </a:lnTo>
                  <a:close/>
                  <a:moveTo>
                    <a:pt x="669" y="229"/>
                  </a:moveTo>
                  <a:lnTo>
                    <a:pt x="670" y="229"/>
                  </a:lnTo>
                  <a:lnTo>
                    <a:pt x="672" y="231"/>
                  </a:lnTo>
                  <a:lnTo>
                    <a:pt x="674" y="231"/>
                  </a:lnTo>
                  <a:lnTo>
                    <a:pt x="674" y="233"/>
                  </a:lnTo>
                  <a:lnTo>
                    <a:pt x="672" y="233"/>
                  </a:lnTo>
                  <a:lnTo>
                    <a:pt x="672" y="234"/>
                  </a:lnTo>
                  <a:lnTo>
                    <a:pt x="672" y="233"/>
                  </a:lnTo>
                  <a:lnTo>
                    <a:pt x="674" y="234"/>
                  </a:lnTo>
                  <a:lnTo>
                    <a:pt x="672" y="234"/>
                  </a:lnTo>
                  <a:lnTo>
                    <a:pt x="670" y="233"/>
                  </a:lnTo>
                  <a:lnTo>
                    <a:pt x="669" y="233"/>
                  </a:lnTo>
                  <a:lnTo>
                    <a:pt x="669" y="231"/>
                  </a:lnTo>
                  <a:lnTo>
                    <a:pt x="670" y="233"/>
                  </a:lnTo>
                  <a:lnTo>
                    <a:pt x="669" y="231"/>
                  </a:lnTo>
                  <a:lnTo>
                    <a:pt x="670" y="231"/>
                  </a:lnTo>
                  <a:lnTo>
                    <a:pt x="669" y="231"/>
                  </a:lnTo>
                  <a:lnTo>
                    <a:pt x="669" y="229"/>
                  </a:lnTo>
                  <a:close/>
                  <a:moveTo>
                    <a:pt x="1171" y="229"/>
                  </a:moveTo>
                  <a:lnTo>
                    <a:pt x="1171" y="228"/>
                  </a:lnTo>
                  <a:lnTo>
                    <a:pt x="1173" y="229"/>
                  </a:lnTo>
                  <a:lnTo>
                    <a:pt x="1171" y="229"/>
                  </a:lnTo>
                  <a:close/>
                  <a:moveTo>
                    <a:pt x="391" y="226"/>
                  </a:moveTo>
                  <a:lnTo>
                    <a:pt x="389" y="226"/>
                  </a:lnTo>
                  <a:lnTo>
                    <a:pt x="391" y="226"/>
                  </a:lnTo>
                  <a:close/>
                  <a:moveTo>
                    <a:pt x="651" y="225"/>
                  </a:moveTo>
                  <a:lnTo>
                    <a:pt x="649" y="225"/>
                  </a:lnTo>
                  <a:lnTo>
                    <a:pt x="651" y="225"/>
                  </a:lnTo>
                  <a:close/>
                  <a:moveTo>
                    <a:pt x="1540" y="225"/>
                  </a:moveTo>
                  <a:lnTo>
                    <a:pt x="1539" y="225"/>
                  </a:lnTo>
                  <a:lnTo>
                    <a:pt x="1540" y="225"/>
                  </a:lnTo>
                  <a:close/>
                  <a:moveTo>
                    <a:pt x="384" y="221"/>
                  </a:moveTo>
                  <a:lnTo>
                    <a:pt x="384" y="220"/>
                  </a:lnTo>
                  <a:lnTo>
                    <a:pt x="384" y="221"/>
                  </a:lnTo>
                  <a:close/>
                  <a:moveTo>
                    <a:pt x="1923" y="221"/>
                  </a:moveTo>
                  <a:lnTo>
                    <a:pt x="1923" y="220"/>
                  </a:lnTo>
                  <a:lnTo>
                    <a:pt x="1923" y="221"/>
                  </a:lnTo>
                  <a:close/>
                  <a:moveTo>
                    <a:pt x="1545" y="218"/>
                  </a:moveTo>
                  <a:lnTo>
                    <a:pt x="1545" y="216"/>
                  </a:lnTo>
                  <a:lnTo>
                    <a:pt x="1545" y="218"/>
                  </a:lnTo>
                  <a:close/>
                  <a:moveTo>
                    <a:pt x="348" y="216"/>
                  </a:moveTo>
                  <a:lnTo>
                    <a:pt x="347" y="216"/>
                  </a:lnTo>
                  <a:lnTo>
                    <a:pt x="348" y="216"/>
                  </a:lnTo>
                  <a:close/>
                  <a:moveTo>
                    <a:pt x="379" y="216"/>
                  </a:moveTo>
                  <a:lnTo>
                    <a:pt x="381" y="216"/>
                  </a:lnTo>
                  <a:lnTo>
                    <a:pt x="381" y="218"/>
                  </a:lnTo>
                  <a:lnTo>
                    <a:pt x="381" y="216"/>
                  </a:lnTo>
                  <a:lnTo>
                    <a:pt x="381" y="218"/>
                  </a:lnTo>
                  <a:lnTo>
                    <a:pt x="382" y="218"/>
                  </a:lnTo>
                  <a:lnTo>
                    <a:pt x="382" y="220"/>
                  </a:lnTo>
                  <a:lnTo>
                    <a:pt x="381" y="220"/>
                  </a:lnTo>
                  <a:lnTo>
                    <a:pt x="381" y="218"/>
                  </a:lnTo>
                  <a:lnTo>
                    <a:pt x="379" y="218"/>
                  </a:lnTo>
                  <a:lnTo>
                    <a:pt x="379" y="216"/>
                  </a:lnTo>
                  <a:close/>
                  <a:moveTo>
                    <a:pt x="382" y="216"/>
                  </a:moveTo>
                  <a:lnTo>
                    <a:pt x="381" y="216"/>
                  </a:lnTo>
                  <a:lnTo>
                    <a:pt x="381" y="215"/>
                  </a:lnTo>
                  <a:lnTo>
                    <a:pt x="382" y="216"/>
                  </a:lnTo>
                  <a:close/>
                  <a:moveTo>
                    <a:pt x="1547" y="216"/>
                  </a:moveTo>
                  <a:lnTo>
                    <a:pt x="1547" y="215"/>
                  </a:lnTo>
                  <a:lnTo>
                    <a:pt x="1547" y="216"/>
                  </a:lnTo>
                  <a:close/>
                  <a:moveTo>
                    <a:pt x="348" y="215"/>
                  </a:moveTo>
                  <a:lnTo>
                    <a:pt x="348" y="216"/>
                  </a:lnTo>
                  <a:lnTo>
                    <a:pt x="348" y="218"/>
                  </a:lnTo>
                  <a:lnTo>
                    <a:pt x="348" y="216"/>
                  </a:lnTo>
                  <a:lnTo>
                    <a:pt x="347" y="216"/>
                  </a:lnTo>
                  <a:lnTo>
                    <a:pt x="348" y="215"/>
                  </a:lnTo>
                  <a:close/>
                  <a:moveTo>
                    <a:pt x="369" y="216"/>
                  </a:moveTo>
                  <a:lnTo>
                    <a:pt x="368" y="216"/>
                  </a:lnTo>
                  <a:lnTo>
                    <a:pt x="369" y="215"/>
                  </a:lnTo>
                  <a:lnTo>
                    <a:pt x="369" y="216"/>
                  </a:lnTo>
                  <a:close/>
                  <a:moveTo>
                    <a:pt x="1550" y="215"/>
                  </a:moveTo>
                  <a:lnTo>
                    <a:pt x="1552" y="216"/>
                  </a:lnTo>
                  <a:lnTo>
                    <a:pt x="1555" y="216"/>
                  </a:lnTo>
                  <a:lnTo>
                    <a:pt x="1557" y="216"/>
                  </a:lnTo>
                  <a:lnTo>
                    <a:pt x="1555" y="216"/>
                  </a:lnTo>
                  <a:lnTo>
                    <a:pt x="1553" y="216"/>
                  </a:lnTo>
                  <a:lnTo>
                    <a:pt x="1552" y="216"/>
                  </a:lnTo>
                  <a:lnTo>
                    <a:pt x="1550" y="216"/>
                  </a:lnTo>
                  <a:lnTo>
                    <a:pt x="1550" y="215"/>
                  </a:lnTo>
                  <a:lnTo>
                    <a:pt x="1550" y="216"/>
                  </a:lnTo>
                  <a:lnTo>
                    <a:pt x="1550" y="215"/>
                  </a:lnTo>
                  <a:close/>
                  <a:moveTo>
                    <a:pt x="630" y="215"/>
                  </a:moveTo>
                  <a:lnTo>
                    <a:pt x="628" y="215"/>
                  </a:lnTo>
                  <a:lnTo>
                    <a:pt x="630" y="215"/>
                  </a:lnTo>
                  <a:close/>
                  <a:moveTo>
                    <a:pt x="347" y="215"/>
                  </a:moveTo>
                  <a:lnTo>
                    <a:pt x="347" y="213"/>
                  </a:lnTo>
                  <a:lnTo>
                    <a:pt x="348" y="213"/>
                  </a:lnTo>
                  <a:lnTo>
                    <a:pt x="347" y="215"/>
                  </a:lnTo>
                  <a:close/>
                  <a:moveTo>
                    <a:pt x="373" y="213"/>
                  </a:moveTo>
                  <a:lnTo>
                    <a:pt x="371" y="213"/>
                  </a:lnTo>
                  <a:lnTo>
                    <a:pt x="373" y="213"/>
                  </a:lnTo>
                  <a:close/>
                  <a:moveTo>
                    <a:pt x="379" y="213"/>
                  </a:moveTo>
                  <a:lnTo>
                    <a:pt x="379" y="212"/>
                  </a:lnTo>
                  <a:lnTo>
                    <a:pt x="379" y="213"/>
                  </a:lnTo>
                  <a:close/>
                  <a:moveTo>
                    <a:pt x="379" y="212"/>
                  </a:moveTo>
                  <a:lnTo>
                    <a:pt x="379" y="213"/>
                  </a:lnTo>
                  <a:lnTo>
                    <a:pt x="379" y="212"/>
                  </a:lnTo>
                  <a:close/>
                  <a:moveTo>
                    <a:pt x="1565" y="210"/>
                  </a:moveTo>
                  <a:lnTo>
                    <a:pt x="1563" y="210"/>
                  </a:lnTo>
                  <a:lnTo>
                    <a:pt x="1565" y="210"/>
                  </a:lnTo>
                  <a:close/>
                  <a:moveTo>
                    <a:pt x="376" y="210"/>
                  </a:moveTo>
                  <a:lnTo>
                    <a:pt x="374" y="212"/>
                  </a:lnTo>
                  <a:lnTo>
                    <a:pt x="374" y="210"/>
                  </a:lnTo>
                  <a:lnTo>
                    <a:pt x="376" y="210"/>
                  </a:lnTo>
                  <a:close/>
                  <a:moveTo>
                    <a:pt x="1568" y="208"/>
                  </a:moveTo>
                  <a:lnTo>
                    <a:pt x="1568" y="210"/>
                  </a:lnTo>
                  <a:lnTo>
                    <a:pt x="1566" y="210"/>
                  </a:lnTo>
                  <a:lnTo>
                    <a:pt x="1568" y="208"/>
                  </a:lnTo>
                  <a:close/>
                  <a:moveTo>
                    <a:pt x="314" y="208"/>
                  </a:moveTo>
                  <a:lnTo>
                    <a:pt x="313" y="208"/>
                  </a:lnTo>
                  <a:lnTo>
                    <a:pt x="314" y="208"/>
                  </a:lnTo>
                  <a:close/>
                  <a:moveTo>
                    <a:pt x="1166" y="207"/>
                  </a:moveTo>
                  <a:lnTo>
                    <a:pt x="1166" y="205"/>
                  </a:lnTo>
                  <a:lnTo>
                    <a:pt x="1166" y="207"/>
                  </a:lnTo>
                  <a:close/>
                  <a:moveTo>
                    <a:pt x="1571" y="205"/>
                  </a:moveTo>
                  <a:lnTo>
                    <a:pt x="1571" y="207"/>
                  </a:lnTo>
                  <a:lnTo>
                    <a:pt x="1571" y="205"/>
                  </a:lnTo>
                  <a:close/>
                  <a:moveTo>
                    <a:pt x="1571" y="207"/>
                  </a:moveTo>
                  <a:lnTo>
                    <a:pt x="1571" y="205"/>
                  </a:lnTo>
                  <a:lnTo>
                    <a:pt x="1571" y="207"/>
                  </a:lnTo>
                  <a:close/>
                  <a:moveTo>
                    <a:pt x="1573" y="205"/>
                  </a:moveTo>
                  <a:lnTo>
                    <a:pt x="1573" y="207"/>
                  </a:lnTo>
                  <a:lnTo>
                    <a:pt x="1573" y="205"/>
                  </a:lnTo>
                  <a:close/>
                  <a:moveTo>
                    <a:pt x="1570" y="205"/>
                  </a:moveTo>
                  <a:lnTo>
                    <a:pt x="1568" y="205"/>
                  </a:lnTo>
                  <a:lnTo>
                    <a:pt x="1570" y="205"/>
                  </a:lnTo>
                  <a:close/>
                  <a:moveTo>
                    <a:pt x="605" y="205"/>
                  </a:moveTo>
                  <a:lnTo>
                    <a:pt x="604" y="205"/>
                  </a:lnTo>
                  <a:lnTo>
                    <a:pt x="605" y="205"/>
                  </a:lnTo>
                  <a:close/>
                  <a:moveTo>
                    <a:pt x="618" y="205"/>
                  </a:moveTo>
                  <a:lnTo>
                    <a:pt x="617" y="205"/>
                  </a:lnTo>
                  <a:lnTo>
                    <a:pt x="618" y="205"/>
                  </a:lnTo>
                  <a:close/>
                  <a:moveTo>
                    <a:pt x="1610" y="205"/>
                  </a:moveTo>
                  <a:lnTo>
                    <a:pt x="1609" y="205"/>
                  </a:lnTo>
                  <a:lnTo>
                    <a:pt x="1610" y="205"/>
                  </a:lnTo>
                  <a:close/>
                  <a:moveTo>
                    <a:pt x="615" y="205"/>
                  </a:moveTo>
                  <a:lnTo>
                    <a:pt x="617" y="205"/>
                  </a:lnTo>
                  <a:lnTo>
                    <a:pt x="615" y="205"/>
                  </a:lnTo>
                  <a:lnTo>
                    <a:pt x="615" y="207"/>
                  </a:lnTo>
                  <a:lnTo>
                    <a:pt x="613" y="205"/>
                  </a:lnTo>
                  <a:lnTo>
                    <a:pt x="615" y="205"/>
                  </a:lnTo>
                  <a:close/>
                  <a:moveTo>
                    <a:pt x="1573" y="205"/>
                  </a:moveTo>
                  <a:lnTo>
                    <a:pt x="1571" y="205"/>
                  </a:lnTo>
                  <a:lnTo>
                    <a:pt x="1570" y="207"/>
                  </a:lnTo>
                  <a:lnTo>
                    <a:pt x="1568" y="207"/>
                  </a:lnTo>
                  <a:lnTo>
                    <a:pt x="1566" y="208"/>
                  </a:lnTo>
                  <a:lnTo>
                    <a:pt x="1563" y="210"/>
                  </a:lnTo>
                  <a:lnTo>
                    <a:pt x="1563" y="208"/>
                  </a:lnTo>
                  <a:lnTo>
                    <a:pt x="1565" y="207"/>
                  </a:lnTo>
                  <a:lnTo>
                    <a:pt x="1566" y="207"/>
                  </a:lnTo>
                  <a:lnTo>
                    <a:pt x="1570" y="205"/>
                  </a:lnTo>
                  <a:lnTo>
                    <a:pt x="1571" y="205"/>
                  </a:lnTo>
                  <a:lnTo>
                    <a:pt x="1573" y="205"/>
                  </a:lnTo>
                  <a:lnTo>
                    <a:pt x="1571" y="205"/>
                  </a:lnTo>
                  <a:lnTo>
                    <a:pt x="1573" y="205"/>
                  </a:lnTo>
                  <a:close/>
                  <a:moveTo>
                    <a:pt x="1609" y="205"/>
                  </a:moveTo>
                  <a:lnTo>
                    <a:pt x="1607" y="205"/>
                  </a:lnTo>
                  <a:lnTo>
                    <a:pt x="1605" y="205"/>
                  </a:lnTo>
                  <a:lnTo>
                    <a:pt x="1604" y="205"/>
                  </a:lnTo>
                  <a:lnTo>
                    <a:pt x="1602" y="205"/>
                  </a:lnTo>
                  <a:lnTo>
                    <a:pt x="1604" y="205"/>
                  </a:lnTo>
                  <a:lnTo>
                    <a:pt x="1605" y="205"/>
                  </a:lnTo>
                  <a:lnTo>
                    <a:pt x="1607" y="203"/>
                  </a:lnTo>
                  <a:lnTo>
                    <a:pt x="1609" y="205"/>
                  </a:lnTo>
                  <a:close/>
                  <a:moveTo>
                    <a:pt x="317" y="205"/>
                  </a:moveTo>
                  <a:lnTo>
                    <a:pt x="317" y="203"/>
                  </a:lnTo>
                  <a:lnTo>
                    <a:pt x="317" y="205"/>
                  </a:lnTo>
                  <a:lnTo>
                    <a:pt x="319" y="205"/>
                  </a:lnTo>
                  <a:lnTo>
                    <a:pt x="317" y="205"/>
                  </a:lnTo>
                  <a:close/>
                  <a:moveTo>
                    <a:pt x="376" y="203"/>
                  </a:moveTo>
                  <a:lnTo>
                    <a:pt x="376" y="205"/>
                  </a:lnTo>
                  <a:lnTo>
                    <a:pt x="376" y="203"/>
                  </a:lnTo>
                  <a:close/>
                  <a:moveTo>
                    <a:pt x="1610" y="205"/>
                  </a:moveTo>
                  <a:lnTo>
                    <a:pt x="1609" y="205"/>
                  </a:lnTo>
                  <a:lnTo>
                    <a:pt x="1609" y="203"/>
                  </a:lnTo>
                  <a:lnTo>
                    <a:pt x="1610" y="203"/>
                  </a:lnTo>
                  <a:lnTo>
                    <a:pt x="1610" y="205"/>
                  </a:lnTo>
                  <a:close/>
                  <a:moveTo>
                    <a:pt x="604" y="203"/>
                  </a:moveTo>
                  <a:lnTo>
                    <a:pt x="602" y="203"/>
                  </a:lnTo>
                  <a:lnTo>
                    <a:pt x="604" y="203"/>
                  </a:lnTo>
                  <a:close/>
                  <a:moveTo>
                    <a:pt x="1576" y="203"/>
                  </a:moveTo>
                  <a:lnTo>
                    <a:pt x="1575" y="205"/>
                  </a:lnTo>
                  <a:lnTo>
                    <a:pt x="1573" y="205"/>
                  </a:lnTo>
                  <a:lnTo>
                    <a:pt x="1575" y="205"/>
                  </a:lnTo>
                  <a:lnTo>
                    <a:pt x="1575" y="203"/>
                  </a:lnTo>
                  <a:lnTo>
                    <a:pt x="1576" y="203"/>
                  </a:lnTo>
                  <a:close/>
                  <a:moveTo>
                    <a:pt x="319" y="203"/>
                  </a:moveTo>
                  <a:lnTo>
                    <a:pt x="319" y="205"/>
                  </a:lnTo>
                  <a:lnTo>
                    <a:pt x="319" y="203"/>
                  </a:lnTo>
                  <a:close/>
                  <a:moveTo>
                    <a:pt x="1583" y="203"/>
                  </a:moveTo>
                  <a:lnTo>
                    <a:pt x="1581" y="203"/>
                  </a:lnTo>
                  <a:lnTo>
                    <a:pt x="1583" y="203"/>
                  </a:lnTo>
                  <a:close/>
                  <a:moveTo>
                    <a:pt x="1597" y="202"/>
                  </a:moveTo>
                  <a:lnTo>
                    <a:pt x="1597" y="203"/>
                  </a:lnTo>
                  <a:lnTo>
                    <a:pt x="1597" y="202"/>
                  </a:lnTo>
                  <a:close/>
                  <a:moveTo>
                    <a:pt x="319" y="202"/>
                  </a:moveTo>
                  <a:lnTo>
                    <a:pt x="319" y="203"/>
                  </a:lnTo>
                  <a:lnTo>
                    <a:pt x="319" y="202"/>
                  </a:lnTo>
                  <a:close/>
                  <a:moveTo>
                    <a:pt x="1581" y="203"/>
                  </a:moveTo>
                  <a:lnTo>
                    <a:pt x="1579" y="203"/>
                  </a:lnTo>
                  <a:lnTo>
                    <a:pt x="1578" y="203"/>
                  </a:lnTo>
                  <a:lnTo>
                    <a:pt x="1579" y="203"/>
                  </a:lnTo>
                  <a:lnTo>
                    <a:pt x="1581" y="202"/>
                  </a:lnTo>
                  <a:lnTo>
                    <a:pt x="1581" y="203"/>
                  </a:lnTo>
                  <a:close/>
                  <a:moveTo>
                    <a:pt x="1597" y="202"/>
                  </a:moveTo>
                  <a:lnTo>
                    <a:pt x="1599" y="202"/>
                  </a:lnTo>
                  <a:lnTo>
                    <a:pt x="1599" y="203"/>
                  </a:lnTo>
                  <a:lnTo>
                    <a:pt x="1597" y="203"/>
                  </a:lnTo>
                  <a:lnTo>
                    <a:pt x="1597" y="202"/>
                  </a:lnTo>
                  <a:close/>
                  <a:moveTo>
                    <a:pt x="1592" y="203"/>
                  </a:moveTo>
                  <a:lnTo>
                    <a:pt x="1592" y="202"/>
                  </a:lnTo>
                  <a:lnTo>
                    <a:pt x="1594" y="202"/>
                  </a:lnTo>
                  <a:lnTo>
                    <a:pt x="1594" y="203"/>
                  </a:lnTo>
                  <a:lnTo>
                    <a:pt x="1592" y="203"/>
                  </a:lnTo>
                  <a:lnTo>
                    <a:pt x="1591" y="203"/>
                  </a:lnTo>
                  <a:lnTo>
                    <a:pt x="1591" y="205"/>
                  </a:lnTo>
                  <a:lnTo>
                    <a:pt x="1589" y="205"/>
                  </a:lnTo>
                  <a:lnTo>
                    <a:pt x="1589" y="203"/>
                  </a:lnTo>
                  <a:lnTo>
                    <a:pt x="1591" y="203"/>
                  </a:lnTo>
                  <a:lnTo>
                    <a:pt x="1592" y="202"/>
                  </a:lnTo>
                  <a:lnTo>
                    <a:pt x="1592" y="203"/>
                  </a:lnTo>
                  <a:close/>
                  <a:moveTo>
                    <a:pt x="1597" y="203"/>
                  </a:moveTo>
                  <a:lnTo>
                    <a:pt x="1599" y="203"/>
                  </a:lnTo>
                  <a:lnTo>
                    <a:pt x="1599" y="202"/>
                  </a:lnTo>
                  <a:lnTo>
                    <a:pt x="1597" y="202"/>
                  </a:lnTo>
                  <a:lnTo>
                    <a:pt x="1599" y="202"/>
                  </a:lnTo>
                  <a:lnTo>
                    <a:pt x="1601" y="202"/>
                  </a:lnTo>
                  <a:lnTo>
                    <a:pt x="1601" y="203"/>
                  </a:lnTo>
                  <a:lnTo>
                    <a:pt x="1601" y="205"/>
                  </a:lnTo>
                  <a:lnTo>
                    <a:pt x="1602" y="205"/>
                  </a:lnTo>
                  <a:lnTo>
                    <a:pt x="1601" y="205"/>
                  </a:lnTo>
                  <a:lnTo>
                    <a:pt x="1599" y="205"/>
                  </a:lnTo>
                  <a:lnTo>
                    <a:pt x="1597" y="205"/>
                  </a:lnTo>
                  <a:lnTo>
                    <a:pt x="1597" y="203"/>
                  </a:lnTo>
                  <a:close/>
                  <a:moveTo>
                    <a:pt x="1601" y="202"/>
                  </a:moveTo>
                  <a:lnTo>
                    <a:pt x="1599" y="202"/>
                  </a:lnTo>
                  <a:lnTo>
                    <a:pt x="1601" y="202"/>
                  </a:lnTo>
                  <a:close/>
                  <a:moveTo>
                    <a:pt x="1586" y="202"/>
                  </a:moveTo>
                  <a:lnTo>
                    <a:pt x="1584" y="202"/>
                  </a:lnTo>
                  <a:lnTo>
                    <a:pt x="1586" y="202"/>
                  </a:lnTo>
                  <a:close/>
                  <a:moveTo>
                    <a:pt x="589" y="200"/>
                  </a:moveTo>
                  <a:lnTo>
                    <a:pt x="589" y="202"/>
                  </a:lnTo>
                  <a:lnTo>
                    <a:pt x="589" y="200"/>
                  </a:lnTo>
                  <a:close/>
                  <a:moveTo>
                    <a:pt x="391" y="202"/>
                  </a:moveTo>
                  <a:lnTo>
                    <a:pt x="391" y="200"/>
                  </a:lnTo>
                  <a:lnTo>
                    <a:pt x="391" y="202"/>
                  </a:lnTo>
                  <a:close/>
                  <a:moveTo>
                    <a:pt x="1545" y="203"/>
                  </a:moveTo>
                  <a:lnTo>
                    <a:pt x="1545" y="205"/>
                  </a:lnTo>
                  <a:lnTo>
                    <a:pt x="1545" y="207"/>
                  </a:lnTo>
                  <a:lnTo>
                    <a:pt x="1544" y="207"/>
                  </a:lnTo>
                  <a:lnTo>
                    <a:pt x="1542" y="205"/>
                  </a:lnTo>
                  <a:lnTo>
                    <a:pt x="1542" y="203"/>
                  </a:lnTo>
                  <a:lnTo>
                    <a:pt x="1544" y="205"/>
                  </a:lnTo>
                  <a:lnTo>
                    <a:pt x="1542" y="203"/>
                  </a:lnTo>
                  <a:lnTo>
                    <a:pt x="1542" y="200"/>
                  </a:lnTo>
                  <a:lnTo>
                    <a:pt x="1544" y="202"/>
                  </a:lnTo>
                  <a:lnTo>
                    <a:pt x="1544" y="203"/>
                  </a:lnTo>
                  <a:lnTo>
                    <a:pt x="1545" y="203"/>
                  </a:lnTo>
                  <a:close/>
                  <a:moveTo>
                    <a:pt x="1599" y="202"/>
                  </a:moveTo>
                  <a:lnTo>
                    <a:pt x="1599" y="200"/>
                  </a:lnTo>
                  <a:lnTo>
                    <a:pt x="1599" y="202"/>
                  </a:lnTo>
                  <a:close/>
                  <a:moveTo>
                    <a:pt x="1597" y="202"/>
                  </a:moveTo>
                  <a:lnTo>
                    <a:pt x="1596" y="202"/>
                  </a:lnTo>
                  <a:lnTo>
                    <a:pt x="1596" y="200"/>
                  </a:lnTo>
                  <a:lnTo>
                    <a:pt x="1597" y="200"/>
                  </a:lnTo>
                  <a:lnTo>
                    <a:pt x="1597" y="202"/>
                  </a:lnTo>
                  <a:close/>
                  <a:moveTo>
                    <a:pt x="503" y="200"/>
                  </a:moveTo>
                  <a:lnTo>
                    <a:pt x="501" y="200"/>
                  </a:lnTo>
                  <a:lnTo>
                    <a:pt x="503" y="200"/>
                  </a:lnTo>
                  <a:close/>
                  <a:moveTo>
                    <a:pt x="1584" y="200"/>
                  </a:moveTo>
                  <a:lnTo>
                    <a:pt x="1583" y="200"/>
                  </a:lnTo>
                  <a:lnTo>
                    <a:pt x="1584" y="200"/>
                  </a:lnTo>
                  <a:lnTo>
                    <a:pt x="1586" y="200"/>
                  </a:lnTo>
                  <a:lnTo>
                    <a:pt x="1584" y="200"/>
                  </a:lnTo>
                  <a:close/>
                  <a:moveTo>
                    <a:pt x="597" y="200"/>
                  </a:moveTo>
                  <a:lnTo>
                    <a:pt x="599" y="200"/>
                  </a:lnTo>
                  <a:lnTo>
                    <a:pt x="600" y="200"/>
                  </a:lnTo>
                  <a:lnTo>
                    <a:pt x="602" y="200"/>
                  </a:lnTo>
                  <a:lnTo>
                    <a:pt x="602" y="202"/>
                  </a:lnTo>
                  <a:lnTo>
                    <a:pt x="600" y="202"/>
                  </a:lnTo>
                  <a:lnTo>
                    <a:pt x="599" y="200"/>
                  </a:lnTo>
                  <a:lnTo>
                    <a:pt x="597" y="200"/>
                  </a:lnTo>
                  <a:close/>
                  <a:moveTo>
                    <a:pt x="1588" y="200"/>
                  </a:moveTo>
                  <a:lnTo>
                    <a:pt x="1589" y="200"/>
                  </a:lnTo>
                  <a:lnTo>
                    <a:pt x="1589" y="202"/>
                  </a:lnTo>
                  <a:lnTo>
                    <a:pt x="1588" y="202"/>
                  </a:lnTo>
                  <a:lnTo>
                    <a:pt x="1588" y="200"/>
                  </a:lnTo>
                  <a:lnTo>
                    <a:pt x="1586" y="200"/>
                  </a:lnTo>
                  <a:lnTo>
                    <a:pt x="1584" y="200"/>
                  </a:lnTo>
                  <a:lnTo>
                    <a:pt x="1586" y="200"/>
                  </a:lnTo>
                  <a:lnTo>
                    <a:pt x="1588" y="200"/>
                  </a:lnTo>
                  <a:close/>
                  <a:moveTo>
                    <a:pt x="326" y="200"/>
                  </a:moveTo>
                  <a:lnTo>
                    <a:pt x="327" y="200"/>
                  </a:lnTo>
                  <a:lnTo>
                    <a:pt x="326" y="200"/>
                  </a:lnTo>
                  <a:close/>
                  <a:moveTo>
                    <a:pt x="321" y="199"/>
                  </a:moveTo>
                  <a:lnTo>
                    <a:pt x="321" y="200"/>
                  </a:lnTo>
                  <a:lnTo>
                    <a:pt x="321" y="199"/>
                  </a:lnTo>
                  <a:close/>
                  <a:moveTo>
                    <a:pt x="596" y="199"/>
                  </a:moveTo>
                  <a:lnTo>
                    <a:pt x="597" y="200"/>
                  </a:lnTo>
                  <a:lnTo>
                    <a:pt x="596" y="200"/>
                  </a:lnTo>
                  <a:lnTo>
                    <a:pt x="596" y="199"/>
                  </a:lnTo>
                  <a:close/>
                  <a:moveTo>
                    <a:pt x="596" y="200"/>
                  </a:moveTo>
                  <a:lnTo>
                    <a:pt x="594" y="200"/>
                  </a:lnTo>
                  <a:lnTo>
                    <a:pt x="594" y="199"/>
                  </a:lnTo>
                  <a:lnTo>
                    <a:pt x="596" y="199"/>
                  </a:lnTo>
                  <a:lnTo>
                    <a:pt x="596" y="200"/>
                  </a:lnTo>
                  <a:close/>
                  <a:moveTo>
                    <a:pt x="1597" y="200"/>
                  </a:moveTo>
                  <a:lnTo>
                    <a:pt x="1596" y="200"/>
                  </a:lnTo>
                  <a:lnTo>
                    <a:pt x="1594" y="200"/>
                  </a:lnTo>
                  <a:lnTo>
                    <a:pt x="1596" y="200"/>
                  </a:lnTo>
                  <a:lnTo>
                    <a:pt x="1597" y="199"/>
                  </a:lnTo>
                  <a:lnTo>
                    <a:pt x="1599" y="199"/>
                  </a:lnTo>
                  <a:lnTo>
                    <a:pt x="1599" y="200"/>
                  </a:lnTo>
                  <a:lnTo>
                    <a:pt x="1597" y="200"/>
                  </a:lnTo>
                  <a:close/>
                  <a:moveTo>
                    <a:pt x="1941" y="200"/>
                  </a:moveTo>
                  <a:lnTo>
                    <a:pt x="1941" y="199"/>
                  </a:lnTo>
                  <a:lnTo>
                    <a:pt x="1941" y="200"/>
                  </a:lnTo>
                  <a:close/>
                  <a:moveTo>
                    <a:pt x="1941" y="197"/>
                  </a:moveTo>
                  <a:lnTo>
                    <a:pt x="1941" y="199"/>
                  </a:lnTo>
                  <a:lnTo>
                    <a:pt x="1941" y="197"/>
                  </a:lnTo>
                  <a:close/>
                  <a:moveTo>
                    <a:pt x="587" y="197"/>
                  </a:moveTo>
                  <a:lnTo>
                    <a:pt x="589" y="199"/>
                  </a:lnTo>
                  <a:lnTo>
                    <a:pt x="589" y="197"/>
                  </a:lnTo>
                  <a:lnTo>
                    <a:pt x="589" y="199"/>
                  </a:lnTo>
                  <a:lnTo>
                    <a:pt x="591" y="199"/>
                  </a:lnTo>
                  <a:lnTo>
                    <a:pt x="591" y="197"/>
                  </a:lnTo>
                  <a:lnTo>
                    <a:pt x="591" y="199"/>
                  </a:lnTo>
                  <a:lnTo>
                    <a:pt x="592" y="199"/>
                  </a:lnTo>
                  <a:lnTo>
                    <a:pt x="591" y="199"/>
                  </a:lnTo>
                  <a:lnTo>
                    <a:pt x="591" y="200"/>
                  </a:lnTo>
                  <a:lnTo>
                    <a:pt x="591" y="199"/>
                  </a:lnTo>
                  <a:lnTo>
                    <a:pt x="589" y="200"/>
                  </a:lnTo>
                  <a:lnTo>
                    <a:pt x="587" y="199"/>
                  </a:lnTo>
                  <a:lnTo>
                    <a:pt x="587" y="197"/>
                  </a:lnTo>
                  <a:close/>
                  <a:moveTo>
                    <a:pt x="1601" y="197"/>
                  </a:moveTo>
                  <a:lnTo>
                    <a:pt x="1601" y="199"/>
                  </a:lnTo>
                  <a:lnTo>
                    <a:pt x="1599" y="199"/>
                  </a:lnTo>
                  <a:lnTo>
                    <a:pt x="1599" y="200"/>
                  </a:lnTo>
                  <a:lnTo>
                    <a:pt x="1599" y="199"/>
                  </a:lnTo>
                  <a:lnTo>
                    <a:pt x="1599" y="197"/>
                  </a:lnTo>
                  <a:lnTo>
                    <a:pt x="1599" y="199"/>
                  </a:lnTo>
                  <a:lnTo>
                    <a:pt x="1599" y="197"/>
                  </a:lnTo>
                  <a:lnTo>
                    <a:pt x="1601" y="197"/>
                  </a:lnTo>
                  <a:lnTo>
                    <a:pt x="1599" y="197"/>
                  </a:lnTo>
                  <a:lnTo>
                    <a:pt x="1601" y="197"/>
                  </a:lnTo>
                  <a:close/>
                  <a:moveTo>
                    <a:pt x="501" y="197"/>
                  </a:moveTo>
                  <a:lnTo>
                    <a:pt x="500" y="197"/>
                  </a:lnTo>
                  <a:lnTo>
                    <a:pt x="500" y="195"/>
                  </a:lnTo>
                  <a:lnTo>
                    <a:pt x="501" y="197"/>
                  </a:lnTo>
                  <a:close/>
                  <a:moveTo>
                    <a:pt x="1599" y="197"/>
                  </a:moveTo>
                  <a:lnTo>
                    <a:pt x="1599" y="199"/>
                  </a:lnTo>
                  <a:lnTo>
                    <a:pt x="1597" y="199"/>
                  </a:lnTo>
                  <a:lnTo>
                    <a:pt x="1599" y="199"/>
                  </a:lnTo>
                  <a:lnTo>
                    <a:pt x="1599" y="197"/>
                  </a:lnTo>
                  <a:lnTo>
                    <a:pt x="1597" y="197"/>
                  </a:lnTo>
                  <a:lnTo>
                    <a:pt x="1597" y="199"/>
                  </a:lnTo>
                  <a:lnTo>
                    <a:pt x="1597" y="197"/>
                  </a:lnTo>
                  <a:lnTo>
                    <a:pt x="1599" y="197"/>
                  </a:lnTo>
                  <a:lnTo>
                    <a:pt x="1597" y="197"/>
                  </a:lnTo>
                  <a:lnTo>
                    <a:pt x="1599" y="197"/>
                  </a:lnTo>
                  <a:lnTo>
                    <a:pt x="1599" y="195"/>
                  </a:lnTo>
                  <a:lnTo>
                    <a:pt x="1599" y="197"/>
                  </a:lnTo>
                  <a:close/>
                  <a:moveTo>
                    <a:pt x="327" y="199"/>
                  </a:moveTo>
                  <a:lnTo>
                    <a:pt x="327" y="197"/>
                  </a:lnTo>
                  <a:lnTo>
                    <a:pt x="327" y="195"/>
                  </a:lnTo>
                  <a:lnTo>
                    <a:pt x="329" y="197"/>
                  </a:lnTo>
                  <a:lnTo>
                    <a:pt x="327" y="199"/>
                  </a:lnTo>
                  <a:close/>
                  <a:moveTo>
                    <a:pt x="501" y="197"/>
                  </a:moveTo>
                  <a:lnTo>
                    <a:pt x="501" y="195"/>
                  </a:lnTo>
                  <a:lnTo>
                    <a:pt x="500" y="195"/>
                  </a:lnTo>
                  <a:lnTo>
                    <a:pt x="501" y="195"/>
                  </a:lnTo>
                  <a:lnTo>
                    <a:pt x="501" y="197"/>
                  </a:lnTo>
                  <a:close/>
                  <a:moveTo>
                    <a:pt x="342" y="197"/>
                  </a:moveTo>
                  <a:lnTo>
                    <a:pt x="340" y="197"/>
                  </a:lnTo>
                  <a:lnTo>
                    <a:pt x="340" y="195"/>
                  </a:lnTo>
                  <a:lnTo>
                    <a:pt x="342" y="195"/>
                  </a:lnTo>
                  <a:lnTo>
                    <a:pt x="342" y="197"/>
                  </a:lnTo>
                  <a:close/>
                  <a:moveTo>
                    <a:pt x="360" y="195"/>
                  </a:moveTo>
                  <a:lnTo>
                    <a:pt x="358" y="195"/>
                  </a:lnTo>
                  <a:lnTo>
                    <a:pt x="360" y="195"/>
                  </a:lnTo>
                  <a:close/>
                  <a:moveTo>
                    <a:pt x="1615" y="195"/>
                  </a:moveTo>
                  <a:lnTo>
                    <a:pt x="1615" y="197"/>
                  </a:lnTo>
                  <a:lnTo>
                    <a:pt x="1615" y="199"/>
                  </a:lnTo>
                  <a:lnTo>
                    <a:pt x="1614" y="199"/>
                  </a:lnTo>
                  <a:lnTo>
                    <a:pt x="1612" y="200"/>
                  </a:lnTo>
                  <a:lnTo>
                    <a:pt x="1612" y="199"/>
                  </a:lnTo>
                  <a:lnTo>
                    <a:pt x="1614" y="199"/>
                  </a:lnTo>
                  <a:lnTo>
                    <a:pt x="1614" y="197"/>
                  </a:lnTo>
                  <a:lnTo>
                    <a:pt x="1615" y="195"/>
                  </a:lnTo>
                  <a:close/>
                  <a:moveTo>
                    <a:pt x="322" y="195"/>
                  </a:moveTo>
                  <a:lnTo>
                    <a:pt x="322" y="197"/>
                  </a:lnTo>
                  <a:lnTo>
                    <a:pt x="321" y="195"/>
                  </a:lnTo>
                  <a:lnTo>
                    <a:pt x="322" y="195"/>
                  </a:lnTo>
                  <a:close/>
                  <a:moveTo>
                    <a:pt x="360" y="195"/>
                  </a:moveTo>
                  <a:lnTo>
                    <a:pt x="358" y="195"/>
                  </a:lnTo>
                  <a:lnTo>
                    <a:pt x="360" y="195"/>
                  </a:lnTo>
                  <a:close/>
                  <a:moveTo>
                    <a:pt x="360" y="195"/>
                  </a:moveTo>
                  <a:lnTo>
                    <a:pt x="360" y="194"/>
                  </a:lnTo>
                  <a:lnTo>
                    <a:pt x="360" y="195"/>
                  </a:lnTo>
                  <a:close/>
                  <a:moveTo>
                    <a:pt x="343" y="195"/>
                  </a:moveTo>
                  <a:lnTo>
                    <a:pt x="342" y="195"/>
                  </a:lnTo>
                  <a:lnTo>
                    <a:pt x="342" y="194"/>
                  </a:lnTo>
                  <a:lnTo>
                    <a:pt x="343" y="194"/>
                  </a:lnTo>
                  <a:lnTo>
                    <a:pt x="343" y="195"/>
                  </a:lnTo>
                  <a:close/>
                  <a:moveTo>
                    <a:pt x="1602" y="195"/>
                  </a:moveTo>
                  <a:lnTo>
                    <a:pt x="1601" y="195"/>
                  </a:lnTo>
                  <a:lnTo>
                    <a:pt x="1601" y="194"/>
                  </a:lnTo>
                  <a:lnTo>
                    <a:pt x="1602" y="194"/>
                  </a:lnTo>
                  <a:lnTo>
                    <a:pt x="1602" y="195"/>
                  </a:lnTo>
                  <a:close/>
                  <a:moveTo>
                    <a:pt x="355" y="195"/>
                  </a:moveTo>
                  <a:lnTo>
                    <a:pt x="355" y="197"/>
                  </a:lnTo>
                  <a:lnTo>
                    <a:pt x="355" y="195"/>
                  </a:lnTo>
                  <a:lnTo>
                    <a:pt x="356" y="195"/>
                  </a:lnTo>
                  <a:lnTo>
                    <a:pt x="356" y="194"/>
                  </a:lnTo>
                  <a:lnTo>
                    <a:pt x="358" y="194"/>
                  </a:lnTo>
                  <a:lnTo>
                    <a:pt x="358" y="195"/>
                  </a:lnTo>
                  <a:lnTo>
                    <a:pt x="358" y="194"/>
                  </a:lnTo>
                  <a:lnTo>
                    <a:pt x="358" y="195"/>
                  </a:lnTo>
                  <a:lnTo>
                    <a:pt x="358" y="197"/>
                  </a:lnTo>
                  <a:lnTo>
                    <a:pt x="356" y="197"/>
                  </a:lnTo>
                  <a:lnTo>
                    <a:pt x="355" y="197"/>
                  </a:lnTo>
                  <a:lnTo>
                    <a:pt x="355" y="199"/>
                  </a:lnTo>
                  <a:lnTo>
                    <a:pt x="355" y="200"/>
                  </a:lnTo>
                  <a:lnTo>
                    <a:pt x="353" y="200"/>
                  </a:lnTo>
                  <a:lnTo>
                    <a:pt x="352" y="202"/>
                  </a:lnTo>
                  <a:lnTo>
                    <a:pt x="352" y="203"/>
                  </a:lnTo>
                  <a:lnTo>
                    <a:pt x="350" y="205"/>
                  </a:lnTo>
                  <a:lnTo>
                    <a:pt x="350" y="203"/>
                  </a:lnTo>
                  <a:lnTo>
                    <a:pt x="348" y="203"/>
                  </a:lnTo>
                  <a:lnTo>
                    <a:pt x="350" y="203"/>
                  </a:lnTo>
                  <a:lnTo>
                    <a:pt x="350" y="202"/>
                  </a:lnTo>
                  <a:lnTo>
                    <a:pt x="350" y="200"/>
                  </a:lnTo>
                  <a:lnTo>
                    <a:pt x="350" y="199"/>
                  </a:lnTo>
                  <a:lnTo>
                    <a:pt x="352" y="199"/>
                  </a:lnTo>
                  <a:lnTo>
                    <a:pt x="350" y="200"/>
                  </a:lnTo>
                  <a:lnTo>
                    <a:pt x="352" y="200"/>
                  </a:lnTo>
                  <a:lnTo>
                    <a:pt x="352" y="199"/>
                  </a:lnTo>
                  <a:lnTo>
                    <a:pt x="352" y="197"/>
                  </a:lnTo>
                  <a:lnTo>
                    <a:pt x="353" y="199"/>
                  </a:lnTo>
                  <a:lnTo>
                    <a:pt x="353" y="197"/>
                  </a:lnTo>
                  <a:lnTo>
                    <a:pt x="353" y="195"/>
                  </a:lnTo>
                  <a:lnTo>
                    <a:pt x="353" y="194"/>
                  </a:lnTo>
                  <a:lnTo>
                    <a:pt x="355" y="194"/>
                  </a:lnTo>
                  <a:lnTo>
                    <a:pt x="355" y="195"/>
                  </a:lnTo>
                  <a:close/>
                  <a:moveTo>
                    <a:pt x="560" y="194"/>
                  </a:moveTo>
                  <a:lnTo>
                    <a:pt x="558" y="194"/>
                  </a:lnTo>
                  <a:lnTo>
                    <a:pt x="560" y="194"/>
                  </a:lnTo>
                  <a:close/>
                  <a:moveTo>
                    <a:pt x="428" y="194"/>
                  </a:moveTo>
                  <a:lnTo>
                    <a:pt x="428" y="192"/>
                  </a:lnTo>
                  <a:lnTo>
                    <a:pt x="428" y="194"/>
                  </a:lnTo>
                  <a:close/>
                  <a:moveTo>
                    <a:pt x="1659" y="192"/>
                  </a:moveTo>
                  <a:lnTo>
                    <a:pt x="1658" y="192"/>
                  </a:lnTo>
                  <a:lnTo>
                    <a:pt x="1659" y="192"/>
                  </a:lnTo>
                  <a:close/>
                  <a:moveTo>
                    <a:pt x="444" y="192"/>
                  </a:moveTo>
                  <a:lnTo>
                    <a:pt x="446" y="192"/>
                  </a:lnTo>
                  <a:lnTo>
                    <a:pt x="444" y="192"/>
                  </a:lnTo>
                  <a:close/>
                  <a:moveTo>
                    <a:pt x="296" y="192"/>
                  </a:moveTo>
                  <a:lnTo>
                    <a:pt x="295" y="192"/>
                  </a:lnTo>
                  <a:lnTo>
                    <a:pt x="296" y="192"/>
                  </a:lnTo>
                  <a:lnTo>
                    <a:pt x="295" y="192"/>
                  </a:lnTo>
                  <a:lnTo>
                    <a:pt x="296" y="192"/>
                  </a:lnTo>
                  <a:close/>
                  <a:moveTo>
                    <a:pt x="1661" y="192"/>
                  </a:moveTo>
                  <a:lnTo>
                    <a:pt x="1659" y="192"/>
                  </a:lnTo>
                  <a:lnTo>
                    <a:pt x="1661" y="192"/>
                  </a:lnTo>
                  <a:close/>
                  <a:moveTo>
                    <a:pt x="500" y="192"/>
                  </a:moveTo>
                  <a:lnTo>
                    <a:pt x="500" y="194"/>
                  </a:lnTo>
                  <a:lnTo>
                    <a:pt x="500" y="192"/>
                  </a:lnTo>
                  <a:close/>
                  <a:moveTo>
                    <a:pt x="1601" y="195"/>
                  </a:moveTo>
                  <a:lnTo>
                    <a:pt x="1599" y="195"/>
                  </a:lnTo>
                  <a:lnTo>
                    <a:pt x="1597" y="197"/>
                  </a:lnTo>
                  <a:lnTo>
                    <a:pt x="1599" y="194"/>
                  </a:lnTo>
                  <a:lnTo>
                    <a:pt x="1599" y="192"/>
                  </a:lnTo>
                  <a:lnTo>
                    <a:pt x="1601" y="192"/>
                  </a:lnTo>
                  <a:lnTo>
                    <a:pt x="1602" y="192"/>
                  </a:lnTo>
                  <a:lnTo>
                    <a:pt x="1604" y="192"/>
                  </a:lnTo>
                  <a:lnTo>
                    <a:pt x="1602" y="192"/>
                  </a:lnTo>
                  <a:lnTo>
                    <a:pt x="1602" y="194"/>
                  </a:lnTo>
                  <a:lnTo>
                    <a:pt x="1601" y="195"/>
                  </a:lnTo>
                  <a:close/>
                  <a:moveTo>
                    <a:pt x="1228" y="192"/>
                  </a:moveTo>
                  <a:lnTo>
                    <a:pt x="1227" y="192"/>
                  </a:lnTo>
                  <a:lnTo>
                    <a:pt x="1228" y="192"/>
                  </a:lnTo>
                  <a:close/>
                  <a:moveTo>
                    <a:pt x="1225" y="192"/>
                  </a:moveTo>
                  <a:lnTo>
                    <a:pt x="1225" y="190"/>
                  </a:lnTo>
                  <a:lnTo>
                    <a:pt x="1225" y="192"/>
                  </a:lnTo>
                  <a:close/>
                  <a:moveTo>
                    <a:pt x="1218" y="192"/>
                  </a:moveTo>
                  <a:lnTo>
                    <a:pt x="1217" y="190"/>
                  </a:lnTo>
                  <a:lnTo>
                    <a:pt x="1218" y="190"/>
                  </a:lnTo>
                  <a:lnTo>
                    <a:pt x="1218" y="192"/>
                  </a:lnTo>
                  <a:close/>
                  <a:moveTo>
                    <a:pt x="368" y="192"/>
                  </a:moveTo>
                  <a:lnTo>
                    <a:pt x="366" y="192"/>
                  </a:lnTo>
                  <a:lnTo>
                    <a:pt x="366" y="190"/>
                  </a:lnTo>
                  <a:lnTo>
                    <a:pt x="368" y="190"/>
                  </a:lnTo>
                  <a:lnTo>
                    <a:pt x="368" y="192"/>
                  </a:lnTo>
                  <a:close/>
                  <a:moveTo>
                    <a:pt x="1659" y="192"/>
                  </a:moveTo>
                  <a:lnTo>
                    <a:pt x="1661" y="192"/>
                  </a:lnTo>
                  <a:lnTo>
                    <a:pt x="1662" y="192"/>
                  </a:lnTo>
                  <a:lnTo>
                    <a:pt x="1662" y="190"/>
                  </a:lnTo>
                  <a:lnTo>
                    <a:pt x="1664" y="190"/>
                  </a:lnTo>
                  <a:lnTo>
                    <a:pt x="1666" y="190"/>
                  </a:lnTo>
                  <a:lnTo>
                    <a:pt x="1667" y="190"/>
                  </a:lnTo>
                  <a:lnTo>
                    <a:pt x="1669" y="192"/>
                  </a:lnTo>
                  <a:lnTo>
                    <a:pt x="1669" y="194"/>
                  </a:lnTo>
                  <a:lnTo>
                    <a:pt x="1667" y="194"/>
                  </a:lnTo>
                  <a:lnTo>
                    <a:pt x="1666" y="195"/>
                  </a:lnTo>
                  <a:lnTo>
                    <a:pt x="1666" y="194"/>
                  </a:lnTo>
                  <a:lnTo>
                    <a:pt x="1664" y="195"/>
                  </a:lnTo>
                  <a:lnTo>
                    <a:pt x="1662" y="194"/>
                  </a:lnTo>
                  <a:lnTo>
                    <a:pt x="1661" y="194"/>
                  </a:lnTo>
                  <a:lnTo>
                    <a:pt x="1659" y="192"/>
                  </a:lnTo>
                  <a:close/>
                  <a:moveTo>
                    <a:pt x="1223" y="190"/>
                  </a:moveTo>
                  <a:lnTo>
                    <a:pt x="1222" y="190"/>
                  </a:lnTo>
                  <a:lnTo>
                    <a:pt x="1223" y="190"/>
                  </a:lnTo>
                  <a:close/>
                  <a:moveTo>
                    <a:pt x="295" y="190"/>
                  </a:moveTo>
                  <a:lnTo>
                    <a:pt x="295" y="192"/>
                  </a:lnTo>
                  <a:lnTo>
                    <a:pt x="295" y="190"/>
                  </a:lnTo>
                  <a:close/>
                  <a:moveTo>
                    <a:pt x="1607" y="190"/>
                  </a:moveTo>
                  <a:lnTo>
                    <a:pt x="1607" y="189"/>
                  </a:lnTo>
                  <a:lnTo>
                    <a:pt x="1607" y="190"/>
                  </a:lnTo>
                  <a:close/>
                  <a:moveTo>
                    <a:pt x="444" y="189"/>
                  </a:moveTo>
                  <a:lnTo>
                    <a:pt x="444" y="190"/>
                  </a:lnTo>
                  <a:lnTo>
                    <a:pt x="443" y="190"/>
                  </a:lnTo>
                  <a:lnTo>
                    <a:pt x="441" y="190"/>
                  </a:lnTo>
                  <a:lnTo>
                    <a:pt x="439" y="190"/>
                  </a:lnTo>
                  <a:lnTo>
                    <a:pt x="438" y="192"/>
                  </a:lnTo>
                  <a:lnTo>
                    <a:pt x="436" y="192"/>
                  </a:lnTo>
                  <a:lnTo>
                    <a:pt x="436" y="190"/>
                  </a:lnTo>
                  <a:lnTo>
                    <a:pt x="438" y="190"/>
                  </a:lnTo>
                  <a:lnTo>
                    <a:pt x="439" y="190"/>
                  </a:lnTo>
                  <a:lnTo>
                    <a:pt x="441" y="189"/>
                  </a:lnTo>
                  <a:lnTo>
                    <a:pt x="443" y="189"/>
                  </a:lnTo>
                  <a:lnTo>
                    <a:pt x="444" y="189"/>
                  </a:lnTo>
                  <a:close/>
                  <a:moveTo>
                    <a:pt x="1217" y="189"/>
                  </a:moveTo>
                  <a:lnTo>
                    <a:pt x="1215" y="189"/>
                  </a:lnTo>
                  <a:lnTo>
                    <a:pt x="1217" y="189"/>
                  </a:lnTo>
                  <a:close/>
                  <a:moveTo>
                    <a:pt x="264" y="189"/>
                  </a:moveTo>
                  <a:lnTo>
                    <a:pt x="262" y="189"/>
                  </a:lnTo>
                  <a:lnTo>
                    <a:pt x="264" y="189"/>
                  </a:lnTo>
                  <a:close/>
                  <a:moveTo>
                    <a:pt x="1537" y="194"/>
                  </a:moveTo>
                  <a:lnTo>
                    <a:pt x="1539" y="194"/>
                  </a:lnTo>
                  <a:lnTo>
                    <a:pt x="1539" y="192"/>
                  </a:lnTo>
                  <a:lnTo>
                    <a:pt x="1539" y="194"/>
                  </a:lnTo>
                  <a:lnTo>
                    <a:pt x="1540" y="195"/>
                  </a:lnTo>
                  <a:lnTo>
                    <a:pt x="1540" y="197"/>
                  </a:lnTo>
                  <a:lnTo>
                    <a:pt x="1539" y="195"/>
                  </a:lnTo>
                  <a:lnTo>
                    <a:pt x="1537" y="194"/>
                  </a:lnTo>
                  <a:lnTo>
                    <a:pt x="1536" y="192"/>
                  </a:lnTo>
                  <a:lnTo>
                    <a:pt x="1536" y="190"/>
                  </a:lnTo>
                  <a:lnTo>
                    <a:pt x="1536" y="187"/>
                  </a:lnTo>
                  <a:lnTo>
                    <a:pt x="1536" y="189"/>
                  </a:lnTo>
                  <a:lnTo>
                    <a:pt x="1537" y="190"/>
                  </a:lnTo>
                  <a:lnTo>
                    <a:pt x="1539" y="192"/>
                  </a:lnTo>
                  <a:lnTo>
                    <a:pt x="1537" y="192"/>
                  </a:lnTo>
                  <a:lnTo>
                    <a:pt x="1537" y="194"/>
                  </a:lnTo>
                  <a:close/>
                  <a:moveTo>
                    <a:pt x="257" y="187"/>
                  </a:moveTo>
                  <a:lnTo>
                    <a:pt x="257" y="186"/>
                  </a:lnTo>
                  <a:lnTo>
                    <a:pt x="257" y="187"/>
                  </a:lnTo>
                  <a:close/>
                  <a:moveTo>
                    <a:pt x="1536" y="187"/>
                  </a:moveTo>
                  <a:lnTo>
                    <a:pt x="1536" y="189"/>
                  </a:lnTo>
                  <a:lnTo>
                    <a:pt x="1536" y="187"/>
                  </a:lnTo>
                  <a:lnTo>
                    <a:pt x="1536" y="186"/>
                  </a:lnTo>
                  <a:lnTo>
                    <a:pt x="1536" y="187"/>
                  </a:lnTo>
                  <a:close/>
                  <a:moveTo>
                    <a:pt x="986" y="186"/>
                  </a:moveTo>
                  <a:lnTo>
                    <a:pt x="986" y="187"/>
                  </a:lnTo>
                  <a:lnTo>
                    <a:pt x="986" y="186"/>
                  </a:lnTo>
                  <a:close/>
                  <a:moveTo>
                    <a:pt x="529" y="187"/>
                  </a:moveTo>
                  <a:lnTo>
                    <a:pt x="527" y="186"/>
                  </a:lnTo>
                  <a:lnTo>
                    <a:pt x="529" y="187"/>
                  </a:lnTo>
                  <a:close/>
                  <a:moveTo>
                    <a:pt x="1212" y="186"/>
                  </a:moveTo>
                  <a:lnTo>
                    <a:pt x="1212" y="187"/>
                  </a:lnTo>
                  <a:lnTo>
                    <a:pt x="1212" y="186"/>
                  </a:lnTo>
                  <a:close/>
                  <a:moveTo>
                    <a:pt x="1214" y="186"/>
                  </a:moveTo>
                  <a:lnTo>
                    <a:pt x="1215" y="186"/>
                  </a:lnTo>
                  <a:lnTo>
                    <a:pt x="1214" y="186"/>
                  </a:lnTo>
                  <a:lnTo>
                    <a:pt x="1215" y="186"/>
                  </a:lnTo>
                  <a:lnTo>
                    <a:pt x="1215" y="187"/>
                  </a:lnTo>
                  <a:lnTo>
                    <a:pt x="1214" y="186"/>
                  </a:lnTo>
                  <a:close/>
                  <a:moveTo>
                    <a:pt x="1947" y="184"/>
                  </a:moveTo>
                  <a:lnTo>
                    <a:pt x="1949" y="184"/>
                  </a:lnTo>
                  <a:lnTo>
                    <a:pt x="1947" y="184"/>
                  </a:lnTo>
                  <a:lnTo>
                    <a:pt x="1945" y="184"/>
                  </a:lnTo>
                  <a:lnTo>
                    <a:pt x="1947" y="184"/>
                  </a:lnTo>
                  <a:close/>
                  <a:moveTo>
                    <a:pt x="408" y="184"/>
                  </a:moveTo>
                  <a:lnTo>
                    <a:pt x="410" y="184"/>
                  </a:lnTo>
                  <a:lnTo>
                    <a:pt x="412" y="184"/>
                  </a:lnTo>
                  <a:lnTo>
                    <a:pt x="413" y="184"/>
                  </a:lnTo>
                  <a:lnTo>
                    <a:pt x="415" y="186"/>
                  </a:lnTo>
                  <a:lnTo>
                    <a:pt x="418" y="186"/>
                  </a:lnTo>
                  <a:lnTo>
                    <a:pt x="420" y="186"/>
                  </a:lnTo>
                  <a:lnTo>
                    <a:pt x="420" y="187"/>
                  </a:lnTo>
                  <a:lnTo>
                    <a:pt x="420" y="189"/>
                  </a:lnTo>
                  <a:lnTo>
                    <a:pt x="418" y="189"/>
                  </a:lnTo>
                  <a:lnTo>
                    <a:pt x="417" y="189"/>
                  </a:lnTo>
                  <a:lnTo>
                    <a:pt x="415" y="189"/>
                  </a:lnTo>
                  <a:lnTo>
                    <a:pt x="413" y="190"/>
                  </a:lnTo>
                  <a:lnTo>
                    <a:pt x="412" y="192"/>
                  </a:lnTo>
                  <a:lnTo>
                    <a:pt x="410" y="192"/>
                  </a:lnTo>
                  <a:lnTo>
                    <a:pt x="410" y="194"/>
                  </a:lnTo>
                  <a:lnTo>
                    <a:pt x="408" y="192"/>
                  </a:lnTo>
                  <a:lnTo>
                    <a:pt x="407" y="192"/>
                  </a:lnTo>
                  <a:lnTo>
                    <a:pt x="404" y="192"/>
                  </a:lnTo>
                  <a:lnTo>
                    <a:pt x="402" y="192"/>
                  </a:lnTo>
                  <a:lnTo>
                    <a:pt x="400" y="192"/>
                  </a:lnTo>
                  <a:lnTo>
                    <a:pt x="399" y="194"/>
                  </a:lnTo>
                  <a:lnTo>
                    <a:pt x="399" y="192"/>
                  </a:lnTo>
                  <a:lnTo>
                    <a:pt x="397" y="192"/>
                  </a:lnTo>
                  <a:lnTo>
                    <a:pt x="397" y="190"/>
                  </a:lnTo>
                  <a:lnTo>
                    <a:pt x="397" y="189"/>
                  </a:lnTo>
                  <a:lnTo>
                    <a:pt x="399" y="189"/>
                  </a:lnTo>
                  <a:lnTo>
                    <a:pt x="397" y="189"/>
                  </a:lnTo>
                  <a:lnTo>
                    <a:pt x="399" y="187"/>
                  </a:lnTo>
                  <a:lnTo>
                    <a:pt x="399" y="186"/>
                  </a:lnTo>
                  <a:lnTo>
                    <a:pt x="400" y="186"/>
                  </a:lnTo>
                  <a:lnTo>
                    <a:pt x="400" y="184"/>
                  </a:lnTo>
                  <a:lnTo>
                    <a:pt x="402" y="184"/>
                  </a:lnTo>
                  <a:lnTo>
                    <a:pt x="404" y="184"/>
                  </a:lnTo>
                  <a:lnTo>
                    <a:pt x="405" y="184"/>
                  </a:lnTo>
                  <a:lnTo>
                    <a:pt x="407" y="184"/>
                  </a:lnTo>
                  <a:lnTo>
                    <a:pt x="407" y="182"/>
                  </a:lnTo>
                  <a:lnTo>
                    <a:pt x="408" y="184"/>
                  </a:lnTo>
                  <a:close/>
                  <a:moveTo>
                    <a:pt x="1620" y="184"/>
                  </a:moveTo>
                  <a:lnTo>
                    <a:pt x="1618" y="184"/>
                  </a:lnTo>
                  <a:lnTo>
                    <a:pt x="1618" y="182"/>
                  </a:lnTo>
                  <a:lnTo>
                    <a:pt x="1620" y="182"/>
                  </a:lnTo>
                  <a:lnTo>
                    <a:pt x="1620" y="184"/>
                  </a:lnTo>
                  <a:close/>
                  <a:moveTo>
                    <a:pt x="1947" y="184"/>
                  </a:moveTo>
                  <a:lnTo>
                    <a:pt x="1945" y="182"/>
                  </a:lnTo>
                  <a:lnTo>
                    <a:pt x="1947" y="184"/>
                  </a:lnTo>
                  <a:close/>
                  <a:moveTo>
                    <a:pt x="228" y="182"/>
                  </a:moveTo>
                  <a:lnTo>
                    <a:pt x="226" y="182"/>
                  </a:lnTo>
                  <a:lnTo>
                    <a:pt x="228" y="182"/>
                  </a:lnTo>
                  <a:close/>
                  <a:moveTo>
                    <a:pt x="527" y="184"/>
                  </a:moveTo>
                  <a:lnTo>
                    <a:pt x="529" y="184"/>
                  </a:lnTo>
                  <a:lnTo>
                    <a:pt x="530" y="184"/>
                  </a:lnTo>
                  <a:lnTo>
                    <a:pt x="529" y="186"/>
                  </a:lnTo>
                  <a:lnTo>
                    <a:pt x="527" y="186"/>
                  </a:lnTo>
                  <a:lnTo>
                    <a:pt x="527" y="184"/>
                  </a:lnTo>
                  <a:lnTo>
                    <a:pt x="526" y="184"/>
                  </a:lnTo>
                  <a:lnTo>
                    <a:pt x="526" y="182"/>
                  </a:lnTo>
                  <a:lnTo>
                    <a:pt x="527" y="182"/>
                  </a:lnTo>
                  <a:lnTo>
                    <a:pt x="527" y="184"/>
                  </a:lnTo>
                  <a:close/>
                  <a:moveTo>
                    <a:pt x="513" y="182"/>
                  </a:moveTo>
                  <a:lnTo>
                    <a:pt x="511" y="182"/>
                  </a:lnTo>
                  <a:lnTo>
                    <a:pt x="513" y="182"/>
                  </a:lnTo>
                  <a:close/>
                  <a:moveTo>
                    <a:pt x="506" y="182"/>
                  </a:moveTo>
                  <a:lnTo>
                    <a:pt x="506" y="181"/>
                  </a:lnTo>
                  <a:lnTo>
                    <a:pt x="506" y="182"/>
                  </a:lnTo>
                  <a:close/>
                  <a:moveTo>
                    <a:pt x="506" y="181"/>
                  </a:moveTo>
                  <a:lnTo>
                    <a:pt x="506" y="182"/>
                  </a:lnTo>
                  <a:lnTo>
                    <a:pt x="506" y="181"/>
                  </a:lnTo>
                  <a:close/>
                  <a:moveTo>
                    <a:pt x="517" y="182"/>
                  </a:moveTo>
                  <a:lnTo>
                    <a:pt x="516" y="182"/>
                  </a:lnTo>
                  <a:lnTo>
                    <a:pt x="517" y="181"/>
                  </a:lnTo>
                  <a:lnTo>
                    <a:pt x="517" y="182"/>
                  </a:lnTo>
                  <a:close/>
                  <a:moveTo>
                    <a:pt x="1534" y="184"/>
                  </a:moveTo>
                  <a:lnTo>
                    <a:pt x="1532" y="184"/>
                  </a:lnTo>
                  <a:lnTo>
                    <a:pt x="1532" y="182"/>
                  </a:lnTo>
                  <a:lnTo>
                    <a:pt x="1532" y="181"/>
                  </a:lnTo>
                  <a:lnTo>
                    <a:pt x="1534" y="184"/>
                  </a:lnTo>
                  <a:close/>
                  <a:moveTo>
                    <a:pt x="1531" y="182"/>
                  </a:moveTo>
                  <a:lnTo>
                    <a:pt x="1531" y="181"/>
                  </a:lnTo>
                  <a:lnTo>
                    <a:pt x="1531" y="182"/>
                  </a:lnTo>
                  <a:lnTo>
                    <a:pt x="1531" y="181"/>
                  </a:lnTo>
                  <a:lnTo>
                    <a:pt x="1531" y="182"/>
                  </a:lnTo>
                  <a:close/>
                  <a:moveTo>
                    <a:pt x="483" y="181"/>
                  </a:moveTo>
                  <a:lnTo>
                    <a:pt x="482" y="181"/>
                  </a:lnTo>
                  <a:lnTo>
                    <a:pt x="483" y="181"/>
                  </a:lnTo>
                  <a:close/>
                  <a:moveTo>
                    <a:pt x="503" y="181"/>
                  </a:moveTo>
                  <a:lnTo>
                    <a:pt x="503" y="179"/>
                  </a:lnTo>
                  <a:lnTo>
                    <a:pt x="503" y="181"/>
                  </a:lnTo>
                  <a:close/>
                  <a:moveTo>
                    <a:pt x="487" y="179"/>
                  </a:moveTo>
                  <a:lnTo>
                    <a:pt x="487" y="181"/>
                  </a:lnTo>
                  <a:lnTo>
                    <a:pt x="487" y="179"/>
                  </a:lnTo>
                  <a:close/>
                  <a:moveTo>
                    <a:pt x="501" y="179"/>
                  </a:moveTo>
                  <a:lnTo>
                    <a:pt x="500" y="179"/>
                  </a:lnTo>
                  <a:lnTo>
                    <a:pt x="501" y="179"/>
                  </a:lnTo>
                  <a:close/>
                  <a:moveTo>
                    <a:pt x="1620" y="181"/>
                  </a:moveTo>
                  <a:lnTo>
                    <a:pt x="1620" y="182"/>
                  </a:lnTo>
                  <a:lnTo>
                    <a:pt x="1618" y="182"/>
                  </a:lnTo>
                  <a:lnTo>
                    <a:pt x="1618" y="184"/>
                  </a:lnTo>
                  <a:lnTo>
                    <a:pt x="1618" y="182"/>
                  </a:lnTo>
                  <a:lnTo>
                    <a:pt x="1617" y="181"/>
                  </a:lnTo>
                  <a:lnTo>
                    <a:pt x="1618" y="179"/>
                  </a:lnTo>
                  <a:lnTo>
                    <a:pt x="1620" y="179"/>
                  </a:lnTo>
                  <a:lnTo>
                    <a:pt x="1620" y="181"/>
                  </a:lnTo>
                  <a:close/>
                  <a:moveTo>
                    <a:pt x="1529" y="179"/>
                  </a:moveTo>
                  <a:lnTo>
                    <a:pt x="1529" y="177"/>
                  </a:lnTo>
                  <a:lnTo>
                    <a:pt x="1529" y="179"/>
                  </a:lnTo>
                  <a:close/>
                  <a:moveTo>
                    <a:pt x="495" y="177"/>
                  </a:moveTo>
                  <a:lnTo>
                    <a:pt x="493" y="177"/>
                  </a:lnTo>
                  <a:lnTo>
                    <a:pt x="495" y="177"/>
                  </a:lnTo>
                  <a:close/>
                  <a:moveTo>
                    <a:pt x="1527" y="174"/>
                  </a:moveTo>
                  <a:lnTo>
                    <a:pt x="1529" y="177"/>
                  </a:lnTo>
                  <a:lnTo>
                    <a:pt x="1527" y="177"/>
                  </a:lnTo>
                  <a:lnTo>
                    <a:pt x="1527" y="176"/>
                  </a:lnTo>
                  <a:lnTo>
                    <a:pt x="1526" y="174"/>
                  </a:lnTo>
                  <a:lnTo>
                    <a:pt x="1527" y="176"/>
                  </a:lnTo>
                  <a:lnTo>
                    <a:pt x="1527" y="174"/>
                  </a:lnTo>
                  <a:close/>
                  <a:moveTo>
                    <a:pt x="1527" y="173"/>
                  </a:moveTo>
                  <a:lnTo>
                    <a:pt x="1527" y="174"/>
                  </a:lnTo>
                  <a:lnTo>
                    <a:pt x="1527" y="173"/>
                  </a:lnTo>
                  <a:lnTo>
                    <a:pt x="1527" y="174"/>
                  </a:lnTo>
                  <a:lnTo>
                    <a:pt x="1527" y="173"/>
                  </a:lnTo>
                  <a:close/>
                  <a:moveTo>
                    <a:pt x="1526" y="173"/>
                  </a:moveTo>
                  <a:lnTo>
                    <a:pt x="1524" y="171"/>
                  </a:lnTo>
                  <a:lnTo>
                    <a:pt x="1526" y="171"/>
                  </a:lnTo>
                  <a:lnTo>
                    <a:pt x="1526" y="173"/>
                  </a:lnTo>
                  <a:close/>
                  <a:moveTo>
                    <a:pt x="1941" y="173"/>
                  </a:moveTo>
                  <a:lnTo>
                    <a:pt x="1941" y="171"/>
                  </a:lnTo>
                  <a:lnTo>
                    <a:pt x="1942" y="171"/>
                  </a:lnTo>
                  <a:lnTo>
                    <a:pt x="1941" y="173"/>
                  </a:lnTo>
                  <a:close/>
                  <a:moveTo>
                    <a:pt x="1526" y="169"/>
                  </a:moveTo>
                  <a:lnTo>
                    <a:pt x="1526" y="171"/>
                  </a:lnTo>
                  <a:lnTo>
                    <a:pt x="1526" y="169"/>
                  </a:lnTo>
                  <a:lnTo>
                    <a:pt x="1526" y="168"/>
                  </a:lnTo>
                  <a:lnTo>
                    <a:pt x="1526" y="169"/>
                  </a:lnTo>
                  <a:close/>
                  <a:moveTo>
                    <a:pt x="1524" y="168"/>
                  </a:moveTo>
                  <a:lnTo>
                    <a:pt x="1526" y="169"/>
                  </a:lnTo>
                  <a:lnTo>
                    <a:pt x="1524" y="171"/>
                  </a:lnTo>
                  <a:lnTo>
                    <a:pt x="1524" y="169"/>
                  </a:lnTo>
                  <a:lnTo>
                    <a:pt x="1524" y="168"/>
                  </a:lnTo>
                  <a:close/>
                  <a:moveTo>
                    <a:pt x="1524" y="169"/>
                  </a:moveTo>
                  <a:lnTo>
                    <a:pt x="1523" y="169"/>
                  </a:lnTo>
                  <a:lnTo>
                    <a:pt x="1523" y="168"/>
                  </a:lnTo>
                  <a:lnTo>
                    <a:pt x="1524" y="169"/>
                  </a:lnTo>
                  <a:close/>
                  <a:moveTo>
                    <a:pt x="1051" y="168"/>
                  </a:moveTo>
                  <a:lnTo>
                    <a:pt x="1053" y="168"/>
                  </a:lnTo>
                  <a:lnTo>
                    <a:pt x="1051" y="168"/>
                  </a:lnTo>
                  <a:close/>
                  <a:moveTo>
                    <a:pt x="1623" y="169"/>
                  </a:moveTo>
                  <a:lnTo>
                    <a:pt x="1623" y="171"/>
                  </a:lnTo>
                  <a:lnTo>
                    <a:pt x="1623" y="169"/>
                  </a:lnTo>
                  <a:lnTo>
                    <a:pt x="1623" y="166"/>
                  </a:lnTo>
                  <a:lnTo>
                    <a:pt x="1623" y="168"/>
                  </a:lnTo>
                  <a:lnTo>
                    <a:pt x="1623" y="169"/>
                  </a:lnTo>
                  <a:close/>
                  <a:moveTo>
                    <a:pt x="264" y="168"/>
                  </a:moveTo>
                  <a:lnTo>
                    <a:pt x="262" y="168"/>
                  </a:lnTo>
                  <a:lnTo>
                    <a:pt x="262" y="166"/>
                  </a:lnTo>
                  <a:lnTo>
                    <a:pt x="264" y="166"/>
                  </a:lnTo>
                  <a:lnTo>
                    <a:pt x="262" y="168"/>
                  </a:lnTo>
                  <a:lnTo>
                    <a:pt x="264" y="168"/>
                  </a:lnTo>
                  <a:close/>
                  <a:moveTo>
                    <a:pt x="260" y="166"/>
                  </a:moveTo>
                  <a:lnTo>
                    <a:pt x="259" y="166"/>
                  </a:lnTo>
                  <a:lnTo>
                    <a:pt x="257" y="166"/>
                  </a:lnTo>
                  <a:lnTo>
                    <a:pt x="257" y="164"/>
                  </a:lnTo>
                  <a:lnTo>
                    <a:pt x="259" y="164"/>
                  </a:lnTo>
                  <a:lnTo>
                    <a:pt x="260" y="166"/>
                  </a:lnTo>
                  <a:close/>
                  <a:moveTo>
                    <a:pt x="1623" y="163"/>
                  </a:moveTo>
                  <a:lnTo>
                    <a:pt x="1623" y="164"/>
                  </a:lnTo>
                  <a:lnTo>
                    <a:pt x="1623" y="163"/>
                  </a:lnTo>
                  <a:close/>
                  <a:moveTo>
                    <a:pt x="1939" y="163"/>
                  </a:moveTo>
                  <a:lnTo>
                    <a:pt x="1937" y="163"/>
                  </a:lnTo>
                  <a:lnTo>
                    <a:pt x="1936" y="163"/>
                  </a:lnTo>
                  <a:lnTo>
                    <a:pt x="1937" y="163"/>
                  </a:lnTo>
                  <a:lnTo>
                    <a:pt x="1939" y="163"/>
                  </a:lnTo>
                  <a:close/>
                  <a:moveTo>
                    <a:pt x="1524" y="164"/>
                  </a:moveTo>
                  <a:lnTo>
                    <a:pt x="1524" y="163"/>
                  </a:lnTo>
                  <a:lnTo>
                    <a:pt x="1526" y="164"/>
                  </a:lnTo>
                  <a:lnTo>
                    <a:pt x="1526" y="166"/>
                  </a:lnTo>
                  <a:lnTo>
                    <a:pt x="1526" y="168"/>
                  </a:lnTo>
                  <a:lnTo>
                    <a:pt x="1524" y="168"/>
                  </a:lnTo>
                  <a:lnTo>
                    <a:pt x="1524" y="166"/>
                  </a:lnTo>
                  <a:lnTo>
                    <a:pt x="1523" y="164"/>
                  </a:lnTo>
                  <a:lnTo>
                    <a:pt x="1524" y="164"/>
                  </a:lnTo>
                  <a:lnTo>
                    <a:pt x="1523" y="164"/>
                  </a:lnTo>
                  <a:lnTo>
                    <a:pt x="1523" y="161"/>
                  </a:lnTo>
                  <a:lnTo>
                    <a:pt x="1524" y="163"/>
                  </a:lnTo>
                  <a:lnTo>
                    <a:pt x="1524" y="164"/>
                  </a:lnTo>
                  <a:close/>
                  <a:moveTo>
                    <a:pt x="1931" y="161"/>
                  </a:moveTo>
                  <a:lnTo>
                    <a:pt x="1931" y="160"/>
                  </a:lnTo>
                  <a:lnTo>
                    <a:pt x="1932" y="160"/>
                  </a:lnTo>
                  <a:lnTo>
                    <a:pt x="1931" y="161"/>
                  </a:lnTo>
                  <a:close/>
                  <a:moveTo>
                    <a:pt x="976" y="160"/>
                  </a:moveTo>
                  <a:lnTo>
                    <a:pt x="976" y="158"/>
                  </a:lnTo>
                  <a:lnTo>
                    <a:pt x="976" y="160"/>
                  </a:lnTo>
                  <a:close/>
                  <a:moveTo>
                    <a:pt x="974" y="160"/>
                  </a:moveTo>
                  <a:lnTo>
                    <a:pt x="973" y="160"/>
                  </a:lnTo>
                  <a:lnTo>
                    <a:pt x="973" y="158"/>
                  </a:lnTo>
                  <a:lnTo>
                    <a:pt x="974" y="158"/>
                  </a:lnTo>
                  <a:lnTo>
                    <a:pt x="974" y="160"/>
                  </a:lnTo>
                  <a:close/>
                  <a:moveTo>
                    <a:pt x="277" y="158"/>
                  </a:moveTo>
                  <a:lnTo>
                    <a:pt x="275" y="158"/>
                  </a:lnTo>
                  <a:lnTo>
                    <a:pt x="277" y="158"/>
                  </a:lnTo>
                  <a:close/>
                  <a:moveTo>
                    <a:pt x="1519" y="155"/>
                  </a:moveTo>
                  <a:lnTo>
                    <a:pt x="1519" y="156"/>
                  </a:lnTo>
                  <a:lnTo>
                    <a:pt x="1519" y="155"/>
                  </a:lnTo>
                  <a:close/>
                  <a:moveTo>
                    <a:pt x="976" y="156"/>
                  </a:moveTo>
                  <a:lnTo>
                    <a:pt x="976" y="155"/>
                  </a:lnTo>
                  <a:lnTo>
                    <a:pt x="976" y="156"/>
                  </a:lnTo>
                  <a:close/>
                  <a:moveTo>
                    <a:pt x="979" y="155"/>
                  </a:moveTo>
                  <a:lnTo>
                    <a:pt x="978" y="155"/>
                  </a:lnTo>
                  <a:lnTo>
                    <a:pt x="979" y="155"/>
                  </a:lnTo>
                  <a:close/>
                  <a:moveTo>
                    <a:pt x="1627" y="158"/>
                  </a:moveTo>
                  <a:lnTo>
                    <a:pt x="1627" y="161"/>
                  </a:lnTo>
                  <a:lnTo>
                    <a:pt x="1627" y="163"/>
                  </a:lnTo>
                  <a:lnTo>
                    <a:pt x="1625" y="163"/>
                  </a:lnTo>
                  <a:lnTo>
                    <a:pt x="1625" y="164"/>
                  </a:lnTo>
                  <a:lnTo>
                    <a:pt x="1625" y="163"/>
                  </a:lnTo>
                  <a:lnTo>
                    <a:pt x="1625" y="164"/>
                  </a:lnTo>
                  <a:lnTo>
                    <a:pt x="1625" y="163"/>
                  </a:lnTo>
                  <a:lnTo>
                    <a:pt x="1623" y="164"/>
                  </a:lnTo>
                  <a:lnTo>
                    <a:pt x="1625" y="160"/>
                  </a:lnTo>
                  <a:lnTo>
                    <a:pt x="1623" y="163"/>
                  </a:lnTo>
                  <a:lnTo>
                    <a:pt x="1623" y="161"/>
                  </a:lnTo>
                  <a:lnTo>
                    <a:pt x="1627" y="156"/>
                  </a:lnTo>
                  <a:lnTo>
                    <a:pt x="1627" y="155"/>
                  </a:lnTo>
                  <a:lnTo>
                    <a:pt x="1628" y="155"/>
                  </a:lnTo>
                  <a:lnTo>
                    <a:pt x="1628" y="156"/>
                  </a:lnTo>
                  <a:lnTo>
                    <a:pt x="1628" y="158"/>
                  </a:lnTo>
                  <a:lnTo>
                    <a:pt x="1627" y="158"/>
                  </a:lnTo>
                  <a:close/>
                  <a:moveTo>
                    <a:pt x="979" y="155"/>
                  </a:moveTo>
                  <a:lnTo>
                    <a:pt x="979" y="153"/>
                  </a:lnTo>
                  <a:lnTo>
                    <a:pt x="979" y="155"/>
                  </a:lnTo>
                  <a:close/>
                  <a:moveTo>
                    <a:pt x="976" y="155"/>
                  </a:moveTo>
                  <a:lnTo>
                    <a:pt x="976" y="153"/>
                  </a:lnTo>
                  <a:lnTo>
                    <a:pt x="976" y="155"/>
                  </a:lnTo>
                  <a:close/>
                  <a:moveTo>
                    <a:pt x="978" y="153"/>
                  </a:moveTo>
                  <a:lnTo>
                    <a:pt x="978" y="155"/>
                  </a:lnTo>
                  <a:lnTo>
                    <a:pt x="976" y="155"/>
                  </a:lnTo>
                  <a:lnTo>
                    <a:pt x="978" y="155"/>
                  </a:lnTo>
                  <a:lnTo>
                    <a:pt x="976" y="155"/>
                  </a:lnTo>
                  <a:lnTo>
                    <a:pt x="978" y="153"/>
                  </a:lnTo>
                  <a:close/>
                  <a:moveTo>
                    <a:pt x="308" y="155"/>
                  </a:moveTo>
                  <a:lnTo>
                    <a:pt x="308" y="153"/>
                  </a:lnTo>
                  <a:lnTo>
                    <a:pt x="308" y="155"/>
                  </a:lnTo>
                  <a:close/>
                  <a:moveTo>
                    <a:pt x="978" y="155"/>
                  </a:moveTo>
                  <a:lnTo>
                    <a:pt x="978" y="153"/>
                  </a:lnTo>
                  <a:lnTo>
                    <a:pt x="978" y="155"/>
                  </a:lnTo>
                  <a:close/>
                  <a:moveTo>
                    <a:pt x="311" y="155"/>
                  </a:moveTo>
                  <a:lnTo>
                    <a:pt x="311" y="153"/>
                  </a:lnTo>
                  <a:lnTo>
                    <a:pt x="311" y="155"/>
                  </a:lnTo>
                  <a:close/>
                  <a:moveTo>
                    <a:pt x="306" y="153"/>
                  </a:moveTo>
                  <a:lnTo>
                    <a:pt x="304" y="153"/>
                  </a:lnTo>
                  <a:lnTo>
                    <a:pt x="306" y="153"/>
                  </a:lnTo>
                  <a:close/>
                  <a:moveTo>
                    <a:pt x="1521" y="155"/>
                  </a:moveTo>
                  <a:lnTo>
                    <a:pt x="1521" y="153"/>
                  </a:lnTo>
                  <a:lnTo>
                    <a:pt x="1523" y="155"/>
                  </a:lnTo>
                  <a:lnTo>
                    <a:pt x="1521" y="156"/>
                  </a:lnTo>
                  <a:lnTo>
                    <a:pt x="1523" y="158"/>
                  </a:lnTo>
                  <a:lnTo>
                    <a:pt x="1521" y="160"/>
                  </a:lnTo>
                  <a:lnTo>
                    <a:pt x="1523" y="161"/>
                  </a:lnTo>
                  <a:lnTo>
                    <a:pt x="1521" y="161"/>
                  </a:lnTo>
                  <a:lnTo>
                    <a:pt x="1521" y="160"/>
                  </a:lnTo>
                  <a:lnTo>
                    <a:pt x="1521" y="158"/>
                  </a:lnTo>
                  <a:lnTo>
                    <a:pt x="1521" y="156"/>
                  </a:lnTo>
                  <a:lnTo>
                    <a:pt x="1521" y="155"/>
                  </a:lnTo>
                  <a:lnTo>
                    <a:pt x="1521" y="153"/>
                  </a:lnTo>
                  <a:lnTo>
                    <a:pt x="1521" y="155"/>
                  </a:lnTo>
                  <a:close/>
                  <a:moveTo>
                    <a:pt x="979" y="153"/>
                  </a:moveTo>
                  <a:lnTo>
                    <a:pt x="978" y="153"/>
                  </a:lnTo>
                  <a:lnTo>
                    <a:pt x="979" y="153"/>
                  </a:lnTo>
                  <a:close/>
                  <a:moveTo>
                    <a:pt x="322" y="153"/>
                  </a:moveTo>
                  <a:lnTo>
                    <a:pt x="324" y="153"/>
                  </a:lnTo>
                  <a:lnTo>
                    <a:pt x="322" y="153"/>
                  </a:lnTo>
                  <a:close/>
                  <a:moveTo>
                    <a:pt x="976" y="153"/>
                  </a:moveTo>
                  <a:lnTo>
                    <a:pt x="974" y="153"/>
                  </a:lnTo>
                  <a:lnTo>
                    <a:pt x="976" y="153"/>
                  </a:lnTo>
                  <a:close/>
                  <a:moveTo>
                    <a:pt x="326" y="153"/>
                  </a:moveTo>
                  <a:lnTo>
                    <a:pt x="327" y="153"/>
                  </a:lnTo>
                  <a:lnTo>
                    <a:pt x="326" y="153"/>
                  </a:lnTo>
                  <a:close/>
                  <a:moveTo>
                    <a:pt x="1625" y="155"/>
                  </a:moveTo>
                  <a:lnTo>
                    <a:pt x="1625" y="156"/>
                  </a:lnTo>
                  <a:lnTo>
                    <a:pt x="1625" y="155"/>
                  </a:lnTo>
                  <a:lnTo>
                    <a:pt x="1627" y="153"/>
                  </a:lnTo>
                  <a:lnTo>
                    <a:pt x="1628" y="153"/>
                  </a:lnTo>
                  <a:lnTo>
                    <a:pt x="1628" y="151"/>
                  </a:lnTo>
                  <a:lnTo>
                    <a:pt x="1630" y="151"/>
                  </a:lnTo>
                  <a:lnTo>
                    <a:pt x="1627" y="153"/>
                  </a:lnTo>
                  <a:lnTo>
                    <a:pt x="1625" y="155"/>
                  </a:lnTo>
                  <a:close/>
                  <a:moveTo>
                    <a:pt x="1202" y="151"/>
                  </a:moveTo>
                  <a:lnTo>
                    <a:pt x="1204" y="151"/>
                  </a:lnTo>
                  <a:lnTo>
                    <a:pt x="1202" y="151"/>
                  </a:lnTo>
                  <a:close/>
                  <a:moveTo>
                    <a:pt x="1523" y="151"/>
                  </a:moveTo>
                  <a:lnTo>
                    <a:pt x="1523" y="150"/>
                  </a:lnTo>
                  <a:lnTo>
                    <a:pt x="1523" y="151"/>
                  </a:lnTo>
                  <a:close/>
                  <a:moveTo>
                    <a:pt x="971" y="150"/>
                  </a:moveTo>
                  <a:lnTo>
                    <a:pt x="970" y="150"/>
                  </a:lnTo>
                  <a:lnTo>
                    <a:pt x="971" y="150"/>
                  </a:lnTo>
                  <a:close/>
                  <a:moveTo>
                    <a:pt x="298" y="150"/>
                  </a:moveTo>
                  <a:lnTo>
                    <a:pt x="296" y="150"/>
                  </a:lnTo>
                  <a:lnTo>
                    <a:pt x="298" y="150"/>
                  </a:lnTo>
                  <a:close/>
                  <a:moveTo>
                    <a:pt x="971" y="150"/>
                  </a:moveTo>
                  <a:lnTo>
                    <a:pt x="970" y="150"/>
                  </a:lnTo>
                  <a:lnTo>
                    <a:pt x="970" y="148"/>
                  </a:lnTo>
                  <a:lnTo>
                    <a:pt x="971" y="150"/>
                  </a:lnTo>
                  <a:close/>
                  <a:moveTo>
                    <a:pt x="1633" y="153"/>
                  </a:moveTo>
                  <a:lnTo>
                    <a:pt x="1632" y="155"/>
                  </a:lnTo>
                  <a:lnTo>
                    <a:pt x="1628" y="156"/>
                  </a:lnTo>
                  <a:lnTo>
                    <a:pt x="1628" y="158"/>
                  </a:lnTo>
                  <a:lnTo>
                    <a:pt x="1628" y="156"/>
                  </a:lnTo>
                  <a:lnTo>
                    <a:pt x="1630" y="155"/>
                  </a:lnTo>
                  <a:lnTo>
                    <a:pt x="1628" y="155"/>
                  </a:lnTo>
                  <a:lnTo>
                    <a:pt x="1630" y="153"/>
                  </a:lnTo>
                  <a:lnTo>
                    <a:pt x="1633" y="151"/>
                  </a:lnTo>
                  <a:lnTo>
                    <a:pt x="1636" y="148"/>
                  </a:lnTo>
                  <a:lnTo>
                    <a:pt x="1636" y="147"/>
                  </a:lnTo>
                  <a:lnTo>
                    <a:pt x="1638" y="147"/>
                  </a:lnTo>
                  <a:lnTo>
                    <a:pt x="1638" y="148"/>
                  </a:lnTo>
                  <a:lnTo>
                    <a:pt x="1638" y="150"/>
                  </a:lnTo>
                  <a:lnTo>
                    <a:pt x="1636" y="151"/>
                  </a:lnTo>
                  <a:lnTo>
                    <a:pt x="1633" y="151"/>
                  </a:lnTo>
                  <a:lnTo>
                    <a:pt x="1633" y="153"/>
                  </a:lnTo>
                  <a:close/>
                  <a:moveTo>
                    <a:pt x="1526" y="145"/>
                  </a:moveTo>
                  <a:lnTo>
                    <a:pt x="1524" y="150"/>
                  </a:lnTo>
                  <a:lnTo>
                    <a:pt x="1524" y="151"/>
                  </a:lnTo>
                  <a:lnTo>
                    <a:pt x="1524" y="150"/>
                  </a:lnTo>
                  <a:lnTo>
                    <a:pt x="1524" y="148"/>
                  </a:lnTo>
                  <a:lnTo>
                    <a:pt x="1524" y="147"/>
                  </a:lnTo>
                  <a:lnTo>
                    <a:pt x="1526" y="145"/>
                  </a:lnTo>
                  <a:close/>
                  <a:moveTo>
                    <a:pt x="273" y="145"/>
                  </a:moveTo>
                  <a:lnTo>
                    <a:pt x="272" y="145"/>
                  </a:lnTo>
                  <a:lnTo>
                    <a:pt x="273" y="145"/>
                  </a:lnTo>
                  <a:close/>
                  <a:moveTo>
                    <a:pt x="270" y="145"/>
                  </a:moveTo>
                  <a:lnTo>
                    <a:pt x="270" y="143"/>
                  </a:lnTo>
                  <a:lnTo>
                    <a:pt x="270" y="145"/>
                  </a:lnTo>
                  <a:close/>
                  <a:moveTo>
                    <a:pt x="966" y="142"/>
                  </a:moveTo>
                  <a:lnTo>
                    <a:pt x="965" y="142"/>
                  </a:lnTo>
                  <a:lnTo>
                    <a:pt x="966" y="142"/>
                  </a:lnTo>
                  <a:close/>
                  <a:moveTo>
                    <a:pt x="965" y="142"/>
                  </a:moveTo>
                  <a:lnTo>
                    <a:pt x="963" y="142"/>
                  </a:lnTo>
                  <a:lnTo>
                    <a:pt x="965" y="142"/>
                  </a:lnTo>
                  <a:close/>
                  <a:moveTo>
                    <a:pt x="1645" y="140"/>
                  </a:moveTo>
                  <a:lnTo>
                    <a:pt x="1643" y="142"/>
                  </a:lnTo>
                  <a:lnTo>
                    <a:pt x="1645" y="140"/>
                  </a:lnTo>
                  <a:close/>
                  <a:moveTo>
                    <a:pt x="1526" y="143"/>
                  </a:moveTo>
                  <a:lnTo>
                    <a:pt x="1526" y="142"/>
                  </a:lnTo>
                  <a:lnTo>
                    <a:pt x="1526" y="140"/>
                  </a:lnTo>
                  <a:lnTo>
                    <a:pt x="1527" y="140"/>
                  </a:lnTo>
                  <a:lnTo>
                    <a:pt x="1527" y="142"/>
                  </a:lnTo>
                  <a:lnTo>
                    <a:pt x="1526" y="143"/>
                  </a:lnTo>
                  <a:close/>
                  <a:moveTo>
                    <a:pt x="965" y="138"/>
                  </a:moveTo>
                  <a:lnTo>
                    <a:pt x="965" y="140"/>
                  </a:lnTo>
                  <a:lnTo>
                    <a:pt x="965" y="138"/>
                  </a:lnTo>
                  <a:close/>
                  <a:moveTo>
                    <a:pt x="1524" y="138"/>
                  </a:moveTo>
                  <a:lnTo>
                    <a:pt x="1526" y="140"/>
                  </a:lnTo>
                  <a:lnTo>
                    <a:pt x="1526" y="142"/>
                  </a:lnTo>
                  <a:lnTo>
                    <a:pt x="1524" y="142"/>
                  </a:lnTo>
                  <a:lnTo>
                    <a:pt x="1524" y="140"/>
                  </a:lnTo>
                  <a:lnTo>
                    <a:pt x="1524" y="138"/>
                  </a:lnTo>
                  <a:close/>
                  <a:moveTo>
                    <a:pt x="1648" y="138"/>
                  </a:moveTo>
                  <a:lnTo>
                    <a:pt x="1648" y="137"/>
                  </a:lnTo>
                  <a:lnTo>
                    <a:pt x="1648" y="138"/>
                  </a:lnTo>
                  <a:close/>
                  <a:moveTo>
                    <a:pt x="1524" y="137"/>
                  </a:moveTo>
                  <a:lnTo>
                    <a:pt x="1524" y="138"/>
                  </a:lnTo>
                  <a:lnTo>
                    <a:pt x="1523" y="137"/>
                  </a:lnTo>
                  <a:lnTo>
                    <a:pt x="1524" y="137"/>
                  </a:lnTo>
                  <a:close/>
                  <a:moveTo>
                    <a:pt x="1913" y="138"/>
                  </a:moveTo>
                  <a:lnTo>
                    <a:pt x="1913" y="137"/>
                  </a:lnTo>
                  <a:lnTo>
                    <a:pt x="1913" y="138"/>
                  </a:lnTo>
                  <a:close/>
                  <a:moveTo>
                    <a:pt x="1651" y="134"/>
                  </a:moveTo>
                  <a:lnTo>
                    <a:pt x="1651" y="135"/>
                  </a:lnTo>
                  <a:lnTo>
                    <a:pt x="1651" y="137"/>
                  </a:lnTo>
                  <a:lnTo>
                    <a:pt x="1651" y="138"/>
                  </a:lnTo>
                  <a:lnTo>
                    <a:pt x="1649" y="138"/>
                  </a:lnTo>
                  <a:lnTo>
                    <a:pt x="1649" y="140"/>
                  </a:lnTo>
                  <a:lnTo>
                    <a:pt x="1648" y="140"/>
                  </a:lnTo>
                  <a:lnTo>
                    <a:pt x="1648" y="138"/>
                  </a:lnTo>
                  <a:lnTo>
                    <a:pt x="1649" y="137"/>
                  </a:lnTo>
                  <a:lnTo>
                    <a:pt x="1649" y="135"/>
                  </a:lnTo>
                  <a:lnTo>
                    <a:pt x="1649" y="137"/>
                  </a:lnTo>
                  <a:lnTo>
                    <a:pt x="1649" y="135"/>
                  </a:lnTo>
                  <a:lnTo>
                    <a:pt x="1651" y="134"/>
                  </a:lnTo>
                  <a:close/>
                  <a:moveTo>
                    <a:pt x="1523" y="132"/>
                  </a:moveTo>
                  <a:lnTo>
                    <a:pt x="1523" y="134"/>
                  </a:lnTo>
                  <a:lnTo>
                    <a:pt x="1521" y="132"/>
                  </a:lnTo>
                  <a:lnTo>
                    <a:pt x="1521" y="134"/>
                  </a:lnTo>
                  <a:lnTo>
                    <a:pt x="1523" y="134"/>
                  </a:lnTo>
                  <a:lnTo>
                    <a:pt x="1521" y="134"/>
                  </a:lnTo>
                  <a:lnTo>
                    <a:pt x="1521" y="132"/>
                  </a:lnTo>
                  <a:lnTo>
                    <a:pt x="1523" y="132"/>
                  </a:lnTo>
                  <a:close/>
                  <a:moveTo>
                    <a:pt x="1653" y="132"/>
                  </a:moveTo>
                  <a:lnTo>
                    <a:pt x="1653" y="134"/>
                  </a:lnTo>
                  <a:lnTo>
                    <a:pt x="1654" y="134"/>
                  </a:lnTo>
                  <a:lnTo>
                    <a:pt x="1653" y="134"/>
                  </a:lnTo>
                  <a:lnTo>
                    <a:pt x="1653" y="135"/>
                  </a:lnTo>
                  <a:lnTo>
                    <a:pt x="1653" y="137"/>
                  </a:lnTo>
                  <a:lnTo>
                    <a:pt x="1653" y="135"/>
                  </a:lnTo>
                  <a:lnTo>
                    <a:pt x="1653" y="132"/>
                  </a:lnTo>
                  <a:close/>
                  <a:moveTo>
                    <a:pt x="1521" y="132"/>
                  </a:moveTo>
                  <a:lnTo>
                    <a:pt x="1519" y="132"/>
                  </a:lnTo>
                  <a:lnTo>
                    <a:pt x="1521" y="132"/>
                  </a:lnTo>
                  <a:close/>
                  <a:moveTo>
                    <a:pt x="1913" y="130"/>
                  </a:moveTo>
                  <a:lnTo>
                    <a:pt x="1914" y="130"/>
                  </a:lnTo>
                  <a:lnTo>
                    <a:pt x="1913" y="130"/>
                  </a:lnTo>
                  <a:close/>
                  <a:moveTo>
                    <a:pt x="1523" y="132"/>
                  </a:moveTo>
                  <a:lnTo>
                    <a:pt x="1524" y="132"/>
                  </a:lnTo>
                  <a:lnTo>
                    <a:pt x="1523" y="132"/>
                  </a:lnTo>
                  <a:lnTo>
                    <a:pt x="1521" y="130"/>
                  </a:lnTo>
                  <a:lnTo>
                    <a:pt x="1519" y="130"/>
                  </a:lnTo>
                  <a:lnTo>
                    <a:pt x="1518" y="129"/>
                  </a:lnTo>
                  <a:lnTo>
                    <a:pt x="1519" y="129"/>
                  </a:lnTo>
                  <a:lnTo>
                    <a:pt x="1521" y="130"/>
                  </a:lnTo>
                  <a:lnTo>
                    <a:pt x="1523" y="130"/>
                  </a:lnTo>
                  <a:lnTo>
                    <a:pt x="1523" y="132"/>
                  </a:lnTo>
                  <a:close/>
                  <a:moveTo>
                    <a:pt x="1518" y="129"/>
                  </a:moveTo>
                  <a:lnTo>
                    <a:pt x="1518" y="130"/>
                  </a:lnTo>
                  <a:lnTo>
                    <a:pt x="1516" y="129"/>
                  </a:lnTo>
                  <a:lnTo>
                    <a:pt x="1518" y="129"/>
                  </a:lnTo>
                  <a:close/>
                  <a:moveTo>
                    <a:pt x="1513" y="130"/>
                  </a:moveTo>
                  <a:lnTo>
                    <a:pt x="1513" y="132"/>
                  </a:lnTo>
                  <a:lnTo>
                    <a:pt x="1513" y="130"/>
                  </a:lnTo>
                  <a:lnTo>
                    <a:pt x="1514" y="130"/>
                  </a:lnTo>
                  <a:lnTo>
                    <a:pt x="1514" y="132"/>
                  </a:lnTo>
                  <a:lnTo>
                    <a:pt x="1516" y="134"/>
                  </a:lnTo>
                  <a:lnTo>
                    <a:pt x="1518" y="135"/>
                  </a:lnTo>
                  <a:lnTo>
                    <a:pt x="1516" y="134"/>
                  </a:lnTo>
                  <a:lnTo>
                    <a:pt x="1516" y="132"/>
                  </a:lnTo>
                  <a:lnTo>
                    <a:pt x="1514" y="132"/>
                  </a:lnTo>
                  <a:lnTo>
                    <a:pt x="1514" y="130"/>
                  </a:lnTo>
                  <a:lnTo>
                    <a:pt x="1518" y="132"/>
                  </a:lnTo>
                  <a:lnTo>
                    <a:pt x="1519" y="132"/>
                  </a:lnTo>
                  <a:lnTo>
                    <a:pt x="1521" y="132"/>
                  </a:lnTo>
                  <a:lnTo>
                    <a:pt x="1521" y="134"/>
                  </a:lnTo>
                  <a:lnTo>
                    <a:pt x="1523" y="135"/>
                  </a:lnTo>
                  <a:lnTo>
                    <a:pt x="1523" y="137"/>
                  </a:lnTo>
                  <a:lnTo>
                    <a:pt x="1523" y="138"/>
                  </a:lnTo>
                  <a:lnTo>
                    <a:pt x="1524" y="143"/>
                  </a:lnTo>
                  <a:lnTo>
                    <a:pt x="1523" y="145"/>
                  </a:lnTo>
                  <a:lnTo>
                    <a:pt x="1523" y="147"/>
                  </a:lnTo>
                  <a:lnTo>
                    <a:pt x="1523" y="148"/>
                  </a:lnTo>
                  <a:lnTo>
                    <a:pt x="1523" y="150"/>
                  </a:lnTo>
                  <a:lnTo>
                    <a:pt x="1521" y="150"/>
                  </a:lnTo>
                  <a:lnTo>
                    <a:pt x="1521" y="148"/>
                  </a:lnTo>
                  <a:lnTo>
                    <a:pt x="1521" y="147"/>
                  </a:lnTo>
                  <a:lnTo>
                    <a:pt x="1519" y="145"/>
                  </a:lnTo>
                  <a:lnTo>
                    <a:pt x="1519" y="143"/>
                  </a:lnTo>
                  <a:lnTo>
                    <a:pt x="1519" y="145"/>
                  </a:lnTo>
                  <a:lnTo>
                    <a:pt x="1519" y="143"/>
                  </a:lnTo>
                  <a:lnTo>
                    <a:pt x="1518" y="142"/>
                  </a:lnTo>
                  <a:lnTo>
                    <a:pt x="1518" y="140"/>
                  </a:lnTo>
                  <a:lnTo>
                    <a:pt x="1516" y="138"/>
                  </a:lnTo>
                  <a:lnTo>
                    <a:pt x="1518" y="140"/>
                  </a:lnTo>
                  <a:lnTo>
                    <a:pt x="1516" y="138"/>
                  </a:lnTo>
                  <a:lnTo>
                    <a:pt x="1516" y="137"/>
                  </a:lnTo>
                  <a:lnTo>
                    <a:pt x="1514" y="135"/>
                  </a:lnTo>
                  <a:lnTo>
                    <a:pt x="1514" y="134"/>
                  </a:lnTo>
                  <a:lnTo>
                    <a:pt x="1513" y="134"/>
                  </a:lnTo>
                  <a:lnTo>
                    <a:pt x="1511" y="134"/>
                  </a:lnTo>
                  <a:lnTo>
                    <a:pt x="1511" y="132"/>
                  </a:lnTo>
                  <a:lnTo>
                    <a:pt x="1510" y="132"/>
                  </a:lnTo>
                  <a:lnTo>
                    <a:pt x="1510" y="130"/>
                  </a:lnTo>
                  <a:lnTo>
                    <a:pt x="1510" y="129"/>
                  </a:lnTo>
                  <a:lnTo>
                    <a:pt x="1511" y="129"/>
                  </a:lnTo>
                  <a:lnTo>
                    <a:pt x="1513" y="130"/>
                  </a:lnTo>
                  <a:close/>
                  <a:moveTo>
                    <a:pt x="1514" y="129"/>
                  </a:moveTo>
                  <a:lnTo>
                    <a:pt x="1513" y="129"/>
                  </a:lnTo>
                  <a:lnTo>
                    <a:pt x="1514" y="129"/>
                  </a:lnTo>
                  <a:close/>
                  <a:moveTo>
                    <a:pt x="1516" y="127"/>
                  </a:moveTo>
                  <a:lnTo>
                    <a:pt x="1514" y="127"/>
                  </a:lnTo>
                  <a:lnTo>
                    <a:pt x="1516" y="127"/>
                  </a:lnTo>
                  <a:close/>
                  <a:moveTo>
                    <a:pt x="1910" y="129"/>
                  </a:moveTo>
                  <a:lnTo>
                    <a:pt x="1910" y="127"/>
                  </a:lnTo>
                  <a:lnTo>
                    <a:pt x="1911" y="125"/>
                  </a:lnTo>
                  <a:lnTo>
                    <a:pt x="1910" y="129"/>
                  </a:lnTo>
                  <a:close/>
                  <a:moveTo>
                    <a:pt x="1653" y="125"/>
                  </a:moveTo>
                  <a:lnTo>
                    <a:pt x="1653" y="124"/>
                  </a:lnTo>
                  <a:lnTo>
                    <a:pt x="1653" y="125"/>
                  </a:lnTo>
                  <a:close/>
                  <a:moveTo>
                    <a:pt x="1510" y="124"/>
                  </a:moveTo>
                  <a:lnTo>
                    <a:pt x="1510" y="122"/>
                  </a:lnTo>
                  <a:lnTo>
                    <a:pt x="1510" y="124"/>
                  </a:lnTo>
                  <a:lnTo>
                    <a:pt x="1511" y="124"/>
                  </a:lnTo>
                  <a:lnTo>
                    <a:pt x="1510" y="124"/>
                  </a:lnTo>
                  <a:close/>
                  <a:moveTo>
                    <a:pt x="1646" y="124"/>
                  </a:moveTo>
                  <a:lnTo>
                    <a:pt x="1646" y="122"/>
                  </a:lnTo>
                  <a:lnTo>
                    <a:pt x="1646" y="124"/>
                  </a:lnTo>
                  <a:close/>
                  <a:moveTo>
                    <a:pt x="1191" y="122"/>
                  </a:moveTo>
                  <a:lnTo>
                    <a:pt x="1189" y="122"/>
                  </a:lnTo>
                  <a:lnTo>
                    <a:pt x="1191" y="122"/>
                  </a:lnTo>
                  <a:close/>
                  <a:moveTo>
                    <a:pt x="1191" y="120"/>
                  </a:moveTo>
                  <a:lnTo>
                    <a:pt x="1191" y="122"/>
                  </a:lnTo>
                  <a:lnTo>
                    <a:pt x="1191" y="120"/>
                  </a:lnTo>
                  <a:lnTo>
                    <a:pt x="1189" y="120"/>
                  </a:lnTo>
                  <a:lnTo>
                    <a:pt x="1191" y="120"/>
                  </a:lnTo>
                  <a:close/>
                  <a:moveTo>
                    <a:pt x="1189" y="120"/>
                  </a:moveTo>
                  <a:lnTo>
                    <a:pt x="1188" y="120"/>
                  </a:lnTo>
                  <a:lnTo>
                    <a:pt x="1189" y="120"/>
                  </a:lnTo>
                  <a:close/>
                  <a:moveTo>
                    <a:pt x="1906" y="120"/>
                  </a:moveTo>
                  <a:lnTo>
                    <a:pt x="1905" y="120"/>
                  </a:lnTo>
                  <a:lnTo>
                    <a:pt x="1906" y="120"/>
                  </a:lnTo>
                  <a:close/>
                  <a:moveTo>
                    <a:pt x="1646" y="117"/>
                  </a:moveTo>
                  <a:lnTo>
                    <a:pt x="1648" y="117"/>
                  </a:lnTo>
                  <a:lnTo>
                    <a:pt x="1646" y="117"/>
                  </a:lnTo>
                  <a:close/>
                  <a:moveTo>
                    <a:pt x="1510" y="117"/>
                  </a:moveTo>
                  <a:lnTo>
                    <a:pt x="1510" y="119"/>
                  </a:lnTo>
                  <a:lnTo>
                    <a:pt x="1510" y="120"/>
                  </a:lnTo>
                  <a:lnTo>
                    <a:pt x="1508" y="119"/>
                  </a:lnTo>
                  <a:lnTo>
                    <a:pt x="1506" y="117"/>
                  </a:lnTo>
                  <a:lnTo>
                    <a:pt x="1506" y="116"/>
                  </a:lnTo>
                  <a:lnTo>
                    <a:pt x="1508" y="117"/>
                  </a:lnTo>
                  <a:lnTo>
                    <a:pt x="1510" y="117"/>
                  </a:lnTo>
                  <a:close/>
                  <a:moveTo>
                    <a:pt x="1646" y="112"/>
                  </a:moveTo>
                  <a:lnTo>
                    <a:pt x="1646" y="114"/>
                  </a:lnTo>
                  <a:lnTo>
                    <a:pt x="1646" y="112"/>
                  </a:lnTo>
                  <a:lnTo>
                    <a:pt x="1646" y="111"/>
                  </a:lnTo>
                  <a:lnTo>
                    <a:pt x="1646" y="112"/>
                  </a:lnTo>
                  <a:close/>
                  <a:moveTo>
                    <a:pt x="1501" y="111"/>
                  </a:moveTo>
                  <a:lnTo>
                    <a:pt x="1501" y="112"/>
                  </a:lnTo>
                  <a:lnTo>
                    <a:pt x="1503" y="112"/>
                  </a:lnTo>
                  <a:lnTo>
                    <a:pt x="1505" y="112"/>
                  </a:lnTo>
                  <a:lnTo>
                    <a:pt x="1505" y="114"/>
                  </a:lnTo>
                  <a:lnTo>
                    <a:pt x="1506" y="116"/>
                  </a:lnTo>
                  <a:lnTo>
                    <a:pt x="1505" y="116"/>
                  </a:lnTo>
                  <a:lnTo>
                    <a:pt x="1503" y="114"/>
                  </a:lnTo>
                  <a:lnTo>
                    <a:pt x="1501" y="112"/>
                  </a:lnTo>
                  <a:lnTo>
                    <a:pt x="1500" y="112"/>
                  </a:lnTo>
                  <a:lnTo>
                    <a:pt x="1500" y="111"/>
                  </a:lnTo>
                  <a:lnTo>
                    <a:pt x="1501" y="112"/>
                  </a:lnTo>
                  <a:lnTo>
                    <a:pt x="1501" y="111"/>
                  </a:lnTo>
                  <a:close/>
                  <a:moveTo>
                    <a:pt x="1501" y="109"/>
                  </a:moveTo>
                  <a:lnTo>
                    <a:pt x="1500" y="109"/>
                  </a:lnTo>
                  <a:lnTo>
                    <a:pt x="1501" y="109"/>
                  </a:lnTo>
                  <a:close/>
                  <a:moveTo>
                    <a:pt x="1646" y="114"/>
                  </a:moveTo>
                  <a:lnTo>
                    <a:pt x="1646" y="116"/>
                  </a:lnTo>
                  <a:lnTo>
                    <a:pt x="1646" y="114"/>
                  </a:lnTo>
                  <a:lnTo>
                    <a:pt x="1645" y="112"/>
                  </a:lnTo>
                  <a:lnTo>
                    <a:pt x="1643" y="111"/>
                  </a:lnTo>
                  <a:lnTo>
                    <a:pt x="1643" y="109"/>
                  </a:lnTo>
                  <a:lnTo>
                    <a:pt x="1645" y="109"/>
                  </a:lnTo>
                  <a:lnTo>
                    <a:pt x="1645" y="111"/>
                  </a:lnTo>
                  <a:lnTo>
                    <a:pt x="1646" y="112"/>
                  </a:lnTo>
                  <a:lnTo>
                    <a:pt x="1646" y="114"/>
                  </a:lnTo>
                  <a:close/>
                  <a:moveTo>
                    <a:pt x="1497" y="106"/>
                  </a:moveTo>
                  <a:lnTo>
                    <a:pt x="1498" y="106"/>
                  </a:lnTo>
                  <a:lnTo>
                    <a:pt x="1498" y="107"/>
                  </a:lnTo>
                  <a:lnTo>
                    <a:pt x="1498" y="109"/>
                  </a:lnTo>
                  <a:lnTo>
                    <a:pt x="1497" y="109"/>
                  </a:lnTo>
                  <a:lnTo>
                    <a:pt x="1497" y="107"/>
                  </a:lnTo>
                  <a:lnTo>
                    <a:pt x="1497" y="106"/>
                  </a:lnTo>
                  <a:close/>
                  <a:moveTo>
                    <a:pt x="1510" y="117"/>
                  </a:moveTo>
                  <a:lnTo>
                    <a:pt x="1508" y="117"/>
                  </a:lnTo>
                  <a:lnTo>
                    <a:pt x="1505" y="114"/>
                  </a:lnTo>
                  <a:lnTo>
                    <a:pt x="1503" y="112"/>
                  </a:lnTo>
                  <a:lnTo>
                    <a:pt x="1501" y="111"/>
                  </a:lnTo>
                  <a:lnTo>
                    <a:pt x="1501" y="109"/>
                  </a:lnTo>
                  <a:lnTo>
                    <a:pt x="1501" y="107"/>
                  </a:lnTo>
                  <a:lnTo>
                    <a:pt x="1501" y="109"/>
                  </a:lnTo>
                  <a:lnTo>
                    <a:pt x="1501" y="107"/>
                  </a:lnTo>
                  <a:lnTo>
                    <a:pt x="1500" y="107"/>
                  </a:lnTo>
                  <a:lnTo>
                    <a:pt x="1498" y="106"/>
                  </a:lnTo>
                  <a:lnTo>
                    <a:pt x="1500" y="106"/>
                  </a:lnTo>
                  <a:lnTo>
                    <a:pt x="1500" y="107"/>
                  </a:lnTo>
                  <a:lnTo>
                    <a:pt x="1505" y="109"/>
                  </a:lnTo>
                  <a:lnTo>
                    <a:pt x="1505" y="112"/>
                  </a:lnTo>
                  <a:lnTo>
                    <a:pt x="1506" y="114"/>
                  </a:lnTo>
                  <a:lnTo>
                    <a:pt x="1510" y="117"/>
                  </a:lnTo>
                  <a:close/>
                  <a:moveTo>
                    <a:pt x="1498" y="104"/>
                  </a:moveTo>
                  <a:lnTo>
                    <a:pt x="1500" y="106"/>
                  </a:lnTo>
                  <a:lnTo>
                    <a:pt x="1498" y="106"/>
                  </a:lnTo>
                  <a:lnTo>
                    <a:pt x="1498" y="104"/>
                  </a:lnTo>
                  <a:close/>
                  <a:moveTo>
                    <a:pt x="1645" y="98"/>
                  </a:moveTo>
                  <a:lnTo>
                    <a:pt x="1645" y="96"/>
                  </a:lnTo>
                  <a:lnTo>
                    <a:pt x="1645" y="98"/>
                  </a:lnTo>
                  <a:close/>
                  <a:moveTo>
                    <a:pt x="1645" y="98"/>
                  </a:moveTo>
                  <a:lnTo>
                    <a:pt x="1645" y="96"/>
                  </a:lnTo>
                  <a:lnTo>
                    <a:pt x="1646" y="96"/>
                  </a:lnTo>
                  <a:lnTo>
                    <a:pt x="1645" y="98"/>
                  </a:lnTo>
                  <a:close/>
                  <a:moveTo>
                    <a:pt x="1648" y="94"/>
                  </a:moveTo>
                  <a:lnTo>
                    <a:pt x="1646" y="96"/>
                  </a:lnTo>
                  <a:lnTo>
                    <a:pt x="1646" y="94"/>
                  </a:lnTo>
                  <a:lnTo>
                    <a:pt x="1649" y="93"/>
                  </a:lnTo>
                  <a:lnTo>
                    <a:pt x="1648" y="94"/>
                  </a:lnTo>
                  <a:close/>
                  <a:moveTo>
                    <a:pt x="1480" y="93"/>
                  </a:moveTo>
                  <a:lnTo>
                    <a:pt x="1482" y="93"/>
                  </a:lnTo>
                  <a:lnTo>
                    <a:pt x="1480" y="93"/>
                  </a:lnTo>
                  <a:close/>
                  <a:moveTo>
                    <a:pt x="1480" y="93"/>
                  </a:moveTo>
                  <a:lnTo>
                    <a:pt x="1482" y="93"/>
                  </a:lnTo>
                  <a:lnTo>
                    <a:pt x="1482" y="94"/>
                  </a:lnTo>
                  <a:lnTo>
                    <a:pt x="1482" y="93"/>
                  </a:lnTo>
                  <a:lnTo>
                    <a:pt x="1482" y="94"/>
                  </a:lnTo>
                  <a:lnTo>
                    <a:pt x="1482" y="93"/>
                  </a:lnTo>
                  <a:lnTo>
                    <a:pt x="1480" y="93"/>
                  </a:lnTo>
                  <a:close/>
                  <a:moveTo>
                    <a:pt x="1480" y="93"/>
                  </a:moveTo>
                  <a:lnTo>
                    <a:pt x="1480" y="91"/>
                  </a:lnTo>
                  <a:lnTo>
                    <a:pt x="1480" y="93"/>
                  </a:lnTo>
                  <a:close/>
                  <a:moveTo>
                    <a:pt x="1480" y="91"/>
                  </a:moveTo>
                  <a:lnTo>
                    <a:pt x="1480" y="93"/>
                  </a:lnTo>
                  <a:lnTo>
                    <a:pt x="1480" y="91"/>
                  </a:lnTo>
                  <a:lnTo>
                    <a:pt x="1479" y="91"/>
                  </a:lnTo>
                  <a:lnTo>
                    <a:pt x="1480" y="91"/>
                  </a:lnTo>
                  <a:close/>
                  <a:moveTo>
                    <a:pt x="1488" y="90"/>
                  </a:moveTo>
                  <a:lnTo>
                    <a:pt x="1488" y="91"/>
                  </a:lnTo>
                  <a:lnTo>
                    <a:pt x="1487" y="90"/>
                  </a:lnTo>
                  <a:lnTo>
                    <a:pt x="1488" y="90"/>
                  </a:lnTo>
                  <a:close/>
                  <a:moveTo>
                    <a:pt x="1480" y="91"/>
                  </a:moveTo>
                  <a:lnTo>
                    <a:pt x="1479" y="91"/>
                  </a:lnTo>
                  <a:lnTo>
                    <a:pt x="1479" y="90"/>
                  </a:lnTo>
                  <a:lnTo>
                    <a:pt x="1479" y="88"/>
                  </a:lnTo>
                  <a:lnTo>
                    <a:pt x="1479" y="90"/>
                  </a:lnTo>
                  <a:lnTo>
                    <a:pt x="1480" y="90"/>
                  </a:lnTo>
                  <a:lnTo>
                    <a:pt x="1479" y="90"/>
                  </a:lnTo>
                  <a:lnTo>
                    <a:pt x="1479" y="88"/>
                  </a:lnTo>
                  <a:lnTo>
                    <a:pt x="1480" y="88"/>
                  </a:lnTo>
                  <a:lnTo>
                    <a:pt x="1480" y="91"/>
                  </a:lnTo>
                  <a:close/>
                  <a:moveTo>
                    <a:pt x="1482" y="88"/>
                  </a:moveTo>
                  <a:lnTo>
                    <a:pt x="1482" y="86"/>
                  </a:lnTo>
                  <a:lnTo>
                    <a:pt x="1482" y="88"/>
                  </a:lnTo>
                  <a:close/>
                  <a:moveTo>
                    <a:pt x="1482" y="86"/>
                  </a:moveTo>
                  <a:lnTo>
                    <a:pt x="1484" y="86"/>
                  </a:lnTo>
                  <a:lnTo>
                    <a:pt x="1485" y="88"/>
                  </a:lnTo>
                  <a:lnTo>
                    <a:pt x="1487" y="90"/>
                  </a:lnTo>
                  <a:lnTo>
                    <a:pt x="1487" y="91"/>
                  </a:lnTo>
                  <a:lnTo>
                    <a:pt x="1488" y="91"/>
                  </a:lnTo>
                  <a:lnTo>
                    <a:pt x="1488" y="93"/>
                  </a:lnTo>
                  <a:lnTo>
                    <a:pt x="1490" y="93"/>
                  </a:lnTo>
                  <a:lnTo>
                    <a:pt x="1490" y="94"/>
                  </a:lnTo>
                  <a:lnTo>
                    <a:pt x="1490" y="96"/>
                  </a:lnTo>
                  <a:lnTo>
                    <a:pt x="1490" y="98"/>
                  </a:lnTo>
                  <a:lnTo>
                    <a:pt x="1492" y="98"/>
                  </a:lnTo>
                  <a:lnTo>
                    <a:pt x="1493" y="98"/>
                  </a:lnTo>
                  <a:lnTo>
                    <a:pt x="1493" y="99"/>
                  </a:lnTo>
                  <a:lnTo>
                    <a:pt x="1493" y="98"/>
                  </a:lnTo>
                  <a:lnTo>
                    <a:pt x="1495" y="99"/>
                  </a:lnTo>
                  <a:lnTo>
                    <a:pt x="1497" y="101"/>
                  </a:lnTo>
                  <a:lnTo>
                    <a:pt x="1497" y="103"/>
                  </a:lnTo>
                  <a:lnTo>
                    <a:pt x="1498" y="104"/>
                  </a:lnTo>
                  <a:lnTo>
                    <a:pt x="1497" y="104"/>
                  </a:lnTo>
                  <a:lnTo>
                    <a:pt x="1495" y="103"/>
                  </a:lnTo>
                  <a:lnTo>
                    <a:pt x="1493" y="101"/>
                  </a:lnTo>
                  <a:lnTo>
                    <a:pt x="1492" y="101"/>
                  </a:lnTo>
                  <a:lnTo>
                    <a:pt x="1488" y="99"/>
                  </a:lnTo>
                  <a:lnTo>
                    <a:pt x="1488" y="98"/>
                  </a:lnTo>
                  <a:lnTo>
                    <a:pt x="1487" y="98"/>
                  </a:lnTo>
                  <a:lnTo>
                    <a:pt x="1487" y="96"/>
                  </a:lnTo>
                  <a:lnTo>
                    <a:pt x="1485" y="94"/>
                  </a:lnTo>
                  <a:lnTo>
                    <a:pt x="1484" y="94"/>
                  </a:lnTo>
                  <a:lnTo>
                    <a:pt x="1482" y="93"/>
                  </a:lnTo>
                  <a:lnTo>
                    <a:pt x="1480" y="91"/>
                  </a:lnTo>
                  <a:lnTo>
                    <a:pt x="1480" y="90"/>
                  </a:lnTo>
                  <a:lnTo>
                    <a:pt x="1480" y="88"/>
                  </a:lnTo>
                  <a:lnTo>
                    <a:pt x="1480" y="86"/>
                  </a:lnTo>
                  <a:lnTo>
                    <a:pt x="1482" y="88"/>
                  </a:lnTo>
                  <a:lnTo>
                    <a:pt x="1484" y="88"/>
                  </a:lnTo>
                  <a:lnTo>
                    <a:pt x="1485" y="88"/>
                  </a:lnTo>
                  <a:lnTo>
                    <a:pt x="1484" y="88"/>
                  </a:lnTo>
                  <a:lnTo>
                    <a:pt x="1482" y="88"/>
                  </a:lnTo>
                  <a:lnTo>
                    <a:pt x="1482" y="86"/>
                  </a:lnTo>
                  <a:lnTo>
                    <a:pt x="1480" y="86"/>
                  </a:lnTo>
                  <a:lnTo>
                    <a:pt x="1482" y="86"/>
                  </a:lnTo>
                  <a:close/>
                  <a:moveTo>
                    <a:pt x="1485" y="93"/>
                  </a:moveTo>
                  <a:lnTo>
                    <a:pt x="1485" y="94"/>
                  </a:lnTo>
                  <a:lnTo>
                    <a:pt x="1487" y="94"/>
                  </a:lnTo>
                  <a:lnTo>
                    <a:pt x="1487" y="96"/>
                  </a:lnTo>
                  <a:lnTo>
                    <a:pt x="1487" y="94"/>
                  </a:lnTo>
                  <a:lnTo>
                    <a:pt x="1485" y="93"/>
                  </a:lnTo>
                  <a:lnTo>
                    <a:pt x="1487" y="93"/>
                  </a:lnTo>
                  <a:lnTo>
                    <a:pt x="1485" y="93"/>
                  </a:lnTo>
                  <a:close/>
                  <a:moveTo>
                    <a:pt x="1649" y="86"/>
                  </a:moveTo>
                  <a:lnTo>
                    <a:pt x="1651" y="88"/>
                  </a:lnTo>
                  <a:lnTo>
                    <a:pt x="1651" y="90"/>
                  </a:lnTo>
                  <a:lnTo>
                    <a:pt x="1651" y="91"/>
                  </a:lnTo>
                  <a:lnTo>
                    <a:pt x="1649" y="90"/>
                  </a:lnTo>
                  <a:lnTo>
                    <a:pt x="1649" y="88"/>
                  </a:lnTo>
                  <a:lnTo>
                    <a:pt x="1649" y="86"/>
                  </a:lnTo>
                  <a:lnTo>
                    <a:pt x="1649" y="85"/>
                  </a:lnTo>
                  <a:lnTo>
                    <a:pt x="1649" y="86"/>
                  </a:lnTo>
                  <a:close/>
                  <a:moveTo>
                    <a:pt x="1474" y="83"/>
                  </a:moveTo>
                  <a:lnTo>
                    <a:pt x="1472" y="83"/>
                  </a:lnTo>
                  <a:lnTo>
                    <a:pt x="1474" y="83"/>
                  </a:lnTo>
                  <a:close/>
                  <a:moveTo>
                    <a:pt x="1482" y="85"/>
                  </a:moveTo>
                  <a:lnTo>
                    <a:pt x="1482" y="86"/>
                  </a:lnTo>
                  <a:lnTo>
                    <a:pt x="1480" y="86"/>
                  </a:lnTo>
                  <a:lnTo>
                    <a:pt x="1480" y="85"/>
                  </a:lnTo>
                  <a:lnTo>
                    <a:pt x="1479" y="85"/>
                  </a:lnTo>
                  <a:lnTo>
                    <a:pt x="1479" y="83"/>
                  </a:lnTo>
                  <a:lnTo>
                    <a:pt x="1479" y="81"/>
                  </a:lnTo>
                  <a:lnTo>
                    <a:pt x="1479" y="83"/>
                  </a:lnTo>
                  <a:lnTo>
                    <a:pt x="1480" y="83"/>
                  </a:lnTo>
                  <a:lnTo>
                    <a:pt x="1482" y="85"/>
                  </a:lnTo>
                  <a:close/>
                  <a:moveTo>
                    <a:pt x="1472" y="85"/>
                  </a:moveTo>
                  <a:lnTo>
                    <a:pt x="1474" y="85"/>
                  </a:lnTo>
                  <a:lnTo>
                    <a:pt x="1474" y="86"/>
                  </a:lnTo>
                  <a:lnTo>
                    <a:pt x="1475" y="86"/>
                  </a:lnTo>
                  <a:lnTo>
                    <a:pt x="1474" y="86"/>
                  </a:lnTo>
                  <a:lnTo>
                    <a:pt x="1475" y="86"/>
                  </a:lnTo>
                  <a:lnTo>
                    <a:pt x="1474" y="85"/>
                  </a:lnTo>
                  <a:lnTo>
                    <a:pt x="1472" y="85"/>
                  </a:lnTo>
                  <a:lnTo>
                    <a:pt x="1474" y="85"/>
                  </a:lnTo>
                  <a:lnTo>
                    <a:pt x="1472" y="85"/>
                  </a:lnTo>
                  <a:lnTo>
                    <a:pt x="1472" y="83"/>
                  </a:lnTo>
                  <a:lnTo>
                    <a:pt x="1472" y="85"/>
                  </a:lnTo>
                  <a:lnTo>
                    <a:pt x="1470" y="83"/>
                  </a:lnTo>
                  <a:lnTo>
                    <a:pt x="1472" y="83"/>
                  </a:lnTo>
                  <a:lnTo>
                    <a:pt x="1470" y="83"/>
                  </a:lnTo>
                  <a:lnTo>
                    <a:pt x="1470" y="81"/>
                  </a:lnTo>
                  <a:lnTo>
                    <a:pt x="1472" y="83"/>
                  </a:lnTo>
                  <a:lnTo>
                    <a:pt x="1474" y="83"/>
                  </a:lnTo>
                  <a:lnTo>
                    <a:pt x="1474" y="85"/>
                  </a:lnTo>
                  <a:lnTo>
                    <a:pt x="1475" y="86"/>
                  </a:lnTo>
                  <a:lnTo>
                    <a:pt x="1475" y="85"/>
                  </a:lnTo>
                  <a:lnTo>
                    <a:pt x="1474" y="83"/>
                  </a:lnTo>
                  <a:lnTo>
                    <a:pt x="1472" y="83"/>
                  </a:lnTo>
                  <a:lnTo>
                    <a:pt x="1474" y="83"/>
                  </a:lnTo>
                  <a:lnTo>
                    <a:pt x="1475" y="83"/>
                  </a:lnTo>
                  <a:lnTo>
                    <a:pt x="1475" y="85"/>
                  </a:lnTo>
                  <a:lnTo>
                    <a:pt x="1477" y="85"/>
                  </a:lnTo>
                  <a:lnTo>
                    <a:pt x="1477" y="86"/>
                  </a:lnTo>
                  <a:lnTo>
                    <a:pt x="1477" y="85"/>
                  </a:lnTo>
                  <a:lnTo>
                    <a:pt x="1477" y="86"/>
                  </a:lnTo>
                  <a:lnTo>
                    <a:pt x="1477" y="85"/>
                  </a:lnTo>
                  <a:lnTo>
                    <a:pt x="1477" y="83"/>
                  </a:lnTo>
                  <a:lnTo>
                    <a:pt x="1477" y="85"/>
                  </a:lnTo>
                  <a:lnTo>
                    <a:pt x="1479" y="85"/>
                  </a:lnTo>
                  <a:lnTo>
                    <a:pt x="1479" y="86"/>
                  </a:lnTo>
                  <a:lnTo>
                    <a:pt x="1479" y="88"/>
                  </a:lnTo>
                  <a:lnTo>
                    <a:pt x="1477" y="88"/>
                  </a:lnTo>
                  <a:lnTo>
                    <a:pt x="1479" y="88"/>
                  </a:lnTo>
                  <a:lnTo>
                    <a:pt x="1479" y="90"/>
                  </a:lnTo>
                  <a:lnTo>
                    <a:pt x="1477" y="90"/>
                  </a:lnTo>
                  <a:lnTo>
                    <a:pt x="1475" y="88"/>
                  </a:lnTo>
                  <a:lnTo>
                    <a:pt x="1477" y="88"/>
                  </a:lnTo>
                  <a:lnTo>
                    <a:pt x="1475" y="88"/>
                  </a:lnTo>
                  <a:lnTo>
                    <a:pt x="1474" y="86"/>
                  </a:lnTo>
                  <a:lnTo>
                    <a:pt x="1474" y="88"/>
                  </a:lnTo>
                  <a:lnTo>
                    <a:pt x="1472" y="86"/>
                  </a:lnTo>
                  <a:lnTo>
                    <a:pt x="1470" y="85"/>
                  </a:lnTo>
                  <a:lnTo>
                    <a:pt x="1470" y="83"/>
                  </a:lnTo>
                  <a:lnTo>
                    <a:pt x="1470" y="81"/>
                  </a:lnTo>
                  <a:lnTo>
                    <a:pt x="1472" y="83"/>
                  </a:lnTo>
                  <a:lnTo>
                    <a:pt x="1472" y="85"/>
                  </a:lnTo>
                  <a:close/>
                  <a:moveTo>
                    <a:pt x="1479" y="81"/>
                  </a:moveTo>
                  <a:lnTo>
                    <a:pt x="1477" y="81"/>
                  </a:lnTo>
                  <a:lnTo>
                    <a:pt x="1477" y="80"/>
                  </a:lnTo>
                  <a:lnTo>
                    <a:pt x="1479" y="81"/>
                  </a:lnTo>
                  <a:close/>
                  <a:moveTo>
                    <a:pt x="1472" y="78"/>
                  </a:moveTo>
                  <a:lnTo>
                    <a:pt x="1472" y="77"/>
                  </a:lnTo>
                  <a:lnTo>
                    <a:pt x="1472" y="78"/>
                  </a:lnTo>
                  <a:close/>
                  <a:moveTo>
                    <a:pt x="1469" y="80"/>
                  </a:moveTo>
                  <a:lnTo>
                    <a:pt x="1469" y="78"/>
                  </a:lnTo>
                  <a:lnTo>
                    <a:pt x="1469" y="77"/>
                  </a:lnTo>
                  <a:lnTo>
                    <a:pt x="1469" y="78"/>
                  </a:lnTo>
                  <a:lnTo>
                    <a:pt x="1469" y="80"/>
                  </a:lnTo>
                  <a:close/>
                  <a:moveTo>
                    <a:pt x="1862" y="77"/>
                  </a:moveTo>
                  <a:lnTo>
                    <a:pt x="1861" y="77"/>
                  </a:lnTo>
                  <a:lnTo>
                    <a:pt x="1862" y="77"/>
                  </a:lnTo>
                  <a:close/>
                  <a:moveTo>
                    <a:pt x="1649" y="81"/>
                  </a:moveTo>
                  <a:lnTo>
                    <a:pt x="1649" y="78"/>
                  </a:lnTo>
                  <a:lnTo>
                    <a:pt x="1649" y="77"/>
                  </a:lnTo>
                  <a:lnTo>
                    <a:pt x="1649" y="78"/>
                  </a:lnTo>
                  <a:lnTo>
                    <a:pt x="1649" y="80"/>
                  </a:lnTo>
                  <a:lnTo>
                    <a:pt x="1649" y="81"/>
                  </a:lnTo>
                  <a:close/>
                  <a:moveTo>
                    <a:pt x="1472" y="78"/>
                  </a:moveTo>
                  <a:lnTo>
                    <a:pt x="1474" y="78"/>
                  </a:lnTo>
                  <a:lnTo>
                    <a:pt x="1475" y="78"/>
                  </a:lnTo>
                  <a:lnTo>
                    <a:pt x="1475" y="80"/>
                  </a:lnTo>
                  <a:lnTo>
                    <a:pt x="1477" y="80"/>
                  </a:lnTo>
                  <a:lnTo>
                    <a:pt x="1477" y="83"/>
                  </a:lnTo>
                  <a:lnTo>
                    <a:pt x="1475" y="83"/>
                  </a:lnTo>
                  <a:lnTo>
                    <a:pt x="1474" y="83"/>
                  </a:lnTo>
                  <a:lnTo>
                    <a:pt x="1472" y="83"/>
                  </a:lnTo>
                  <a:lnTo>
                    <a:pt x="1470" y="81"/>
                  </a:lnTo>
                  <a:lnTo>
                    <a:pt x="1470" y="80"/>
                  </a:lnTo>
                  <a:lnTo>
                    <a:pt x="1472" y="80"/>
                  </a:lnTo>
                  <a:lnTo>
                    <a:pt x="1470" y="80"/>
                  </a:lnTo>
                  <a:lnTo>
                    <a:pt x="1470" y="78"/>
                  </a:lnTo>
                  <a:lnTo>
                    <a:pt x="1470" y="77"/>
                  </a:lnTo>
                  <a:lnTo>
                    <a:pt x="1472" y="78"/>
                  </a:lnTo>
                  <a:close/>
                  <a:moveTo>
                    <a:pt x="1885" y="81"/>
                  </a:moveTo>
                  <a:lnTo>
                    <a:pt x="1885" y="80"/>
                  </a:lnTo>
                  <a:lnTo>
                    <a:pt x="1885" y="81"/>
                  </a:lnTo>
                  <a:lnTo>
                    <a:pt x="1884" y="80"/>
                  </a:lnTo>
                  <a:lnTo>
                    <a:pt x="1882" y="78"/>
                  </a:lnTo>
                  <a:lnTo>
                    <a:pt x="1882" y="80"/>
                  </a:lnTo>
                  <a:lnTo>
                    <a:pt x="1882" y="78"/>
                  </a:lnTo>
                  <a:lnTo>
                    <a:pt x="1882" y="77"/>
                  </a:lnTo>
                  <a:lnTo>
                    <a:pt x="1880" y="77"/>
                  </a:lnTo>
                  <a:lnTo>
                    <a:pt x="1882" y="77"/>
                  </a:lnTo>
                  <a:lnTo>
                    <a:pt x="1884" y="78"/>
                  </a:lnTo>
                  <a:lnTo>
                    <a:pt x="1885" y="80"/>
                  </a:lnTo>
                  <a:lnTo>
                    <a:pt x="1887" y="80"/>
                  </a:lnTo>
                  <a:lnTo>
                    <a:pt x="1887" y="81"/>
                  </a:lnTo>
                  <a:lnTo>
                    <a:pt x="1888" y="83"/>
                  </a:lnTo>
                  <a:lnTo>
                    <a:pt x="1887" y="85"/>
                  </a:lnTo>
                  <a:lnTo>
                    <a:pt x="1888" y="85"/>
                  </a:lnTo>
                  <a:lnTo>
                    <a:pt x="1888" y="83"/>
                  </a:lnTo>
                  <a:lnTo>
                    <a:pt x="1888" y="85"/>
                  </a:lnTo>
                  <a:lnTo>
                    <a:pt x="1887" y="85"/>
                  </a:lnTo>
                  <a:lnTo>
                    <a:pt x="1887" y="83"/>
                  </a:lnTo>
                  <a:lnTo>
                    <a:pt x="1885" y="83"/>
                  </a:lnTo>
                  <a:lnTo>
                    <a:pt x="1885" y="81"/>
                  </a:lnTo>
                  <a:close/>
                  <a:moveTo>
                    <a:pt x="1859" y="75"/>
                  </a:moveTo>
                  <a:lnTo>
                    <a:pt x="1858" y="75"/>
                  </a:lnTo>
                  <a:lnTo>
                    <a:pt x="1859" y="75"/>
                  </a:lnTo>
                  <a:close/>
                  <a:moveTo>
                    <a:pt x="1880" y="77"/>
                  </a:moveTo>
                  <a:lnTo>
                    <a:pt x="1879" y="75"/>
                  </a:lnTo>
                  <a:lnTo>
                    <a:pt x="1879" y="77"/>
                  </a:lnTo>
                  <a:lnTo>
                    <a:pt x="1879" y="75"/>
                  </a:lnTo>
                  <a:lnTo>
                    <a:pt x="1877" y="75"/>
                  </a:lnTo>
                  <a:lnTo>
                    <a:pt x="1879" y="75"/>
                  </a:lnTo>
                  <a:lnTo>
                    <a:pt x="1880" y="77"/>
                  </a:lnTo>
                  <a:close/>
                  <a:moveTo>
                    <a:pt x="1469" y="73"/>
                  </a:moveTo>
                  <a:lnTo>
                    <a:pt x="1467" y="73"/>
                  </a:lnTo>
                  <a:lnTo>
                    <a:pt x="1469" y="73"/>
                  </a:lnTo>
                  <a:close/>
                  <a:moveTo>
                    <a:pt x="1875" y="73"/>
                  </a:moveTo>
                  <a:lnTo>
                    <a:pt x="1874" y="73"/>
                  </a:lnTo>
                  <a:lnTo>
                    <a:pt x="1874" y="75"/>
                  </a:lnTo>
                  <a:lnTo>
                    <a:pt x="1872" y="75"/>
                  </a:lnTo>
                  <a:lnTo>
                    <a:pt x="1872" y="73"/>
                  </a:lnTo>
                  <a:lnTo>
                    <a:pt x="1874" y="73"/>
                  </a:lnTo>
                  <a:lnTo>
                    <a:pt x="1875" y="73"/>
                  </a:lnTo>
                  <a:close/>
                  <a:moveTo>
                    <a:pt x="1877" y="73"/>
                  </a:moveTo>
                  <a:lnTo>
                    <a:pt x="1875" y="73"/>
                  </a:lnTo>
                  <a:lnTo>
                    <a:pt x="1877" y="73"/>
                  </a:lnTo>
                  <a:close/>
                  <a:moveTo>
                    <a:pt x="1845" y="73"/>
                  </a:moveTo>
                  <a:lnTo>
                    <a:pt x="1843" y="73"/>
                  </a:lnTo>
                  <a:lnTo>
                    <a:pt x="1843" y="72"/>
                  </a:lnTo>
                  <a:lnTo>
                    <a:pt x="1845" y="72"/>
                  </a:lnTo>
                  <a:lnTo>
                    <a:pt x="1845" y="73"/>
                  </a:lnTo>
                  <a:close/>
                  <a:moveTo>
                    <a:pt x="1825" y="72"/>
                  </a:moveTo>
                  <a:lnTo>
                    <a:pt x="1825" y="73"/>
                  </a:lnTo>
                  <a:lnTo>
                    <a:pt x="1827" y="73"/>
                  </a:lnTo>
                  <a:lnTo>
                    <a:pt x="1825" y="73"/>
                  </a:lnTo>
                  <a:lnTo>
                    <a:pt x="1825" y="72"/>
                  </a:lnTo>
                  <a:close/>
                  <a:moveTo>
                    <a:pt x="1859" y="73"/>
                  </a:moveTo>
                  <a:lnTo>
                    <a:pt x="1858" y="73"/>
                  </a:lnTo>
                  <a:lnTo>
                    <a:pt x="1859" y="73"/>
                  </a:lnTo>
                  <a:lnTo>
                    <a:pt x="1859" y="75"/>
                  </a:lnTo>
                  <a:lnTo>
                    <a:pt x="1856" y="72"/>
                  </a:lnTo>
                  <a:lnTo>
                    <a:pt x="1854" y="72"/>
                  </a:lnTo>
                  <a:lnTo>
                    <a:pt x="1856" y="73"/>
                  </a:lnTo>
                  <a:lnTo>
                    <a:pt x="1858" y="73"/>
                  </a:lnTo>
                  <a:lnTo>
                    <a:pt x="1859" y="73"/>
                  </a:lnTo>
                  <a:lnTo>
                    <a:pt x="1861" y="73"/>
                  </a:lnTo>
                  <a:lnTo>
                    <a:pt x="1861" y="75"/>
                  </a:lnTo>
                  <a:lnTo>
                    <a:pt x="1862" y="75"/>
                  </a:lnTo>
                  <a:lnTo>
                    <a:pt x="1862" y="77"/>
                  </a:lnTo>
                  <a:lnTo>
                    <a:pt x="1861" y="77"/>
                  </a:lnTo>
                  <a:lnTo>
                    <a:pt x="1859" y="77"/>
                  </a:lnTo>
                  <a:lnTo>
                    <a:pt x="1861" y="77"/>
                  </a:lnTo>
                  <a:lnTo>
                    <a:pt x="1859" y="75"/>
                  </a:lnTo>
                  <a:lnTo>
                    <a:pt x="1859" y="73"/>
                  </a:lnTo>
                  <a:close/>
                  <a:moveTo>
                    <a:pt x="1812" y="72"/>
                  </a:moveTo>
                  <a:lnTo>
                    <a:pt x="1814" y="72"/>
                  </a:lnTo>
                  <a:lnTo>
                    <a:pt x="1812" y="72"/>
                  </a:lnTo>
                  <a:close/>
                  <a:moveTo>
                    <a:pt x="1846" y="72"/>
                  </a:moveTo>
                  <a:lnTo>
                    <a:pt x="1845" y="72"/>
                  </a:lnTo>
                  <a:lnTo>
                    <a:pt x="1845" y="70"/>
                  </a:lnTo>
                  <a:lnTo>
                    <a:pt x="1846" y="72"/>
                  </a:lnTo>
                  <a:close/>
                  <a:moveTo>
                    <a:pt x="1810" y="70"/>
                  </a:moveTo>
                  <a:lnTo>
                    <a:pt x="1812" y="72"/>
                  </a:lnTo>
                  <a:lnTo>
                    <a:pt x="1810" y="72"/>
                  </a:lnTo>
                  <a:lnTo>
                    <a:pt x="1809" y="72"/>
                  </a:lnTo>
                  <a:lnTo>
                    <a:pt x="1809" y="70"/>
                  </a:lnTo>
                  <a:lnTo>
                    <a:pt x="1810" y="70"/>
                  </a:lnTo>
                  <a:close/>
                  <a:moveTo>
                    <a:pt x="1466" y="68"/>
                  </a:moveTo>
                  <a:lnTo>
                    <a:pt x="1466" y="70"/>
                  </a:lnTo>
                  <a:lnTo>
                    <a:pt x="1467" y="70"/>
                  </a:lnTo>
                  <a:lnTo>
                    <a:pt x="1466" y="70"/>
                  </a:lnTo>
                  <a:lnTo>
                    <a:pt x="1466" y="68"/>
                  </a:lnTo>
                  <a:close/>
                  <a:moveTo>
                    <a:pt x="1806" y="70"/>
                  </a:moveTo>
                  <a:lnTo>
                    <a:pt x="1804" y="67"/>
                  </a:lnTo>
                  <a:lnTo>
                    <a:pt x="1806" y="70"/>
                  </a:lnTo>
                  <a:close/>
                  <a:moveTo>
                    <a:pt x="1646" y="75"/>
                  </a:moveTo>
                  <a:lnTo>
                    <a:pt x="1646" y="77"/>
                  </a:lnTo>
                  <a:lnTo>
                    <a:pt x="1648" y="78"/>
                  </a:lnTo>
                  <a:lnTo>
                    <a:pt x="1646" y="75"/>
                  </a:lnTo>
                  <a:lnTo>
                    <a:pt x="1646" y="73"/>
                  </a:lnTo>
                  <a:lnTo>
                    <a:pt x="1646" y="72"/>
                  </a:lnTo>
                  <a:lnTo>
                    <a:pt x="1646" y="68"/>
                  </a:lnTo>
                  <a:lnTo>
                    <a:pt x="1646" y="67"/>
                  </a:lnTo>
                  <a:lnTo>
                    <a:pt x="1646" y="65"/>
                  </a:lnTo>
                  <a:lnTo>
                    <a:pt x="1646" y="67"/>
                  </a:lnTo>
                  <a:lnTo>
                    <a:pt x="1648" y="75"/>
                  </a:lnTo>
                  <a:lnTo>
                    <a:pt x="1648" y="78"/>
                  </a:lnTo>
                  <a:lnTo>
                    <a:pt x="1648" y="77"/>
                  </a:lnTo>
                  <a:lnTo>
                    <a:pt x="1648" y="75"/>
                  </a:lnTo>
                  <a:lnTo>
                    <a:pt x="1646" y="77"/>
                  </a:lnTo>
                  <a:lnTo>
                    <a:pt x="1646" y="75"/>
                  </a:lnTo>
                  <a:close/>
                  <a:moveTo>
                    <a:pt x="1815" y="65"/>
                  </a:moveTo>
                  <a:lnTo>
                    <a:pt x="1815" y="67"/>
                  </a:lnTo>
                  <a:lnTo>
                    <a:pt x="1815" y="65"/>
                  </a:lnTo>
                  <a:close/>
                  <a:moveTo>
                    <a:pt x="1467" y="68"/>
                  </a:moveTo>
                  <a:lnTo>
                    <a:pt x="1467" y="70"/>
                  </a:lnTo>
                  <a:lnTo>
                    <a:pt x="1466" y="67"/>
                  </a:lnTo>
                  <a:lnTo>
                    <a:pt x="1464" y="65"/>
                  </a:lnTo>
                  <a:lnTo>
                    <a:pt x="1466" y="67"/>
                  </a:lnTo>
                  <a:lnTo>
                    <a:pt x="1467" y="67"/>
                  </a:lnTo>
                  <a:lnTo>
                    <a:pt x="1467" y="68"/>
                  </a:lnTo>
                  <a:close/>
                  <a:moveTo>
                    <a:pt x="1079" y="65"/>
                  </a:moveTo>
                  <a:lnTo>
                    <a:pt x="1077" y="65"/>
                  </a:lnTo>
                  <a:lnTo>
                    <a:pt x="1079" y="65"/>
                  </a:lnTo>
                  <a:close/>
                  <a:moveTo>
                    <a:pt x="1080" y="65"/>
                  </a:moveTo>
                  <a:lnTo>
                    <a:pt x="1082" y="65"/>
                  </a:lnTo>
                  <a:lnTo>
                    <a:pt x="1083" y="67"/>
                  </a:lnTo>
                  <a:lnTo>
                    <a:pt x="1082" y="68"/>
                  </a:lnTo>
                  <a:lnTo>
                    <a:pt x="1082" y="67"/>
                  </a:lnTo>
                  <a:lnTo>
                    <a:pt x="1082" y="68"/>
                  </a:lnTo>
                  <a:lnTo>
                    <a:pt x="1082" y="70"/>
                  </a:lnTo>
                  <a:lnTo>
                    <a:pt x="1082" y="68"/>
                  </a:lnTo>
                  <a:lnTo>
                    <a:pt x="1082" y="67"/>
                  </a:lnTo>
                  <a:lnTo>
                    <a:pt x="1080" y="67"/>
                  </a:lnTo>
                  <a:lnTo>
                    <a:pt x="1080" y="65"/>
                  </a:lnTo>
                  <a:lnTo>
                    <a:pt x="1079" y="65"/>
                  </a:lnTo>
                  <a:lnTo>
                    <a:pt x="1080" y="65"/>
                  </a:lnTo>
                  <a:close/>
                  <a:moveTo>
                    <a:pt x="1648" y="65"/>
                  </a:moveTo>
                  <a:lnTo>
                    <a:pt x="1646" y="65"/>
                  </a:lnTo>
                  <a:lnTo>
                    <a:pt x="1646" y="64"/>
                  </a:lnTo>
                  <a:lnTo>
                    <a:pt x="1648" y="65"/>
                  </a:lnTo>
                  <a:close/>
                  <a:moveTo>
                    <a:pt x="1815" y="65"/>
                  </a:moveTo>
                  <a:lnTo>
                    <a:pt x="1815" y="67"/>
                  </a:lnTo>
                  <a:lnTo>
                    <a:pt x="1815" y="65"/>
                  </a:lnTo>
                  <a:lnTo>
                    <a:pt x="1815" y="67"/>
                  </a:lnTo>
                  <a:lnTo>
                    <a:pt x="1814" y="67"/>
                  </a:lnTo>
                  <a:lnTo>
                    <a:pt x="1814" y="65"/>
                  </a:lnTo>
                  <a:lnTo>
                    <a:pt x="1815" y="64"/>
                  </a:lnTo>
                  <a:lnTo>
                    <a:pt x="1815" y="65"/>
                  </a:lnTo>
                  <a:close/>
                  <a:moveTo>
                    <a:pt x="1815" y="65"/>
                  </a:moveTo>
                  <a:lnTo>
                    <a:pt x="1815" y="64"/>
                  </a:lnTo>
                  <a:lnTo>
                    <a:pt x="1815" y="65"/>
                  </a:lnTo>
                  <a:close/>
                  <a:moveTo>
                    <a:pt x="1466" y="64"/>
                  </a:moveTo>
                  <a:lnTo>
                    <a:pt x="1466" y="65"/>
                  </a:lnTo>
                  <a:lnTo>
                    <a:pt x="1466" y="64"/>
                  </a:lnTo>
                  <a:lnTo>
                    <a:pt x="1466" y="65"/>
                  </a:lnTo>
                  <a:lnTo>
                    <a:pt x="1467" y="65"/>
                  </a:lnTo>
                  <a:lnTo>
                    <a:pt x="1467" y="67"/>
                  </a:lnTo>
                  <a:lnTo>
                    <a:pt x="1466" y="67"/>
                  </a:lnTo>
                  <a:lnTo>
                    <a:pt x="1466" y="65"/>
                  </a:lnTo>
                  <a:lnTo>
                    <a:pt x="1464" y="64"/>
                  </a:lnTo>
                  <a:lnTo>
                    <a:pt x="1466" y="64"/>
                  </a:lnTo>
                  <a:close/>
                  <a:moveTo>
                    <a:pt x="1822" y="64"/>
                  </a:moveTo>
                  <a:lnTo>
                    <a:pt x="1820" y="64"/>
                  </a:lnTo>
                  <a:lnTo>
                    <a:pt x="1819" y="62"/>
                  </a:lnTo>
                  <a:lnTo>
                    <a:pt x="1820" y="62"/>
                  </a:lnTo>
                  <a:lnTo>
                    <a:pt x="1822" y="64"/>
                  </a:lnTo>
                  <a:close/>
                  <a:moveTo>
                    <a:pt x="1053" y="62"/>
                  </a:moveTo>
                  <a:lnTo>
                    <a:pt x="1053" y="64"/>
                  </a:lnTo>
                  <a:lnTo>
                    <a:pt x="1051" y="62"/>
                  </a:lnTo>
                  <a:lnTo>
                    <a:pt x="1053" y="62"/>
                  </a:lnTo>
                  <a:close/>
                  <a:moveTo>
                    <a:pt x="1228" y="62"/>
                  </a:moveTo>
                  <a:lnTo>
                    <a:pt x="1228" y="64"/>
                  </a:lnTo>
                  <a:lnTo>
                    <a:pt x="1228" y="62"/>
                  </a:lnTo>
                  <a:close/>
                  <a:moveTo>
                    <a:pt x="1227" y="62"/>
                  </a:moveTo>
                  <a:lnTo>
                    <a:pt x="1225" y="60"/>
                  </a:lnTo>
                  <a:lnTo>
                    <a:pt x="1227" y="62"/>
                  </a:lnTo>
                  <a:close/>
                  <a:moveTo>
                    <a:pt x="1646" y="62"/>
                  </a:moveTo>
                  <a:lnTo>
                    <a:pt x="1646" y="64"/>
                  </a:lnTo>
                  <a:lnTo>
                    <a:pt x="1646" y="62"/>
                  </a:lnTo>
                  <a:lnTo>
                    <a:pt x="1646" y="64"/>
                  </a:lnTo>
                  <a:lnTo>
                    <a:pt x="1646" y="65"/>
                  </a:lnTo>
                  <a:lnTo>
                    <a:pt x="1646" y="64"/>
                  </a:lnTo>
                  <a:lnTo>
                    <a:pt x="1646" y="62"/>
                  </a:lnTo>
                  <a:lnTo>
                    <a:pt x="1646" y="60"/>
                  </a:lnTo>
                  <a:lnTo>
                    <a:pt x="1646" y="62"/>
                  </a:lnTo>
                  <a:close/>
                  <a:moveTo>
                    <a:pt x="1457" y="60"/>
                  </a:moveTo>
                  <a:lnTo>
                    <a:pt x="1456" y="60"/>
                  </a:lnTo>
                  <a:lnTo>
                    <a:pt x="1457" y="60"/>
                  </a:lnTo>
                  <a:close/>
                  <a:moveTo>
                    <a:pt x="1454" y="60"/>
                  </a:moveTo>
                  <a:lnTo>
                    <a:pt x="1453" y="60"/>
                  </a:lnTo>
                  <a:lnTo>
                    <a:pt x="1454" y="60"/>
                  </a:lnTo>
                  <a:close/>
                  <a:moveTo>
                    <a:pt x="1074" y="60"/>
                  </a:moveTo>
                  <a:lnTo>
                    <a:pt x="1072" y="60"/>
                  </a:lnTo>
                  <a:lnTo>
                    <a:pt x="1074" y="60"/>
                  </a:lnTo>
                  <a:close/>
                  <a:moveTo>
                    <a:pt x="1457" y="62"/>
                  </a:moveTo>
                  <a:lnTo>
                    <a:pt x="1459" y="62"/>
                  </a:lnTo>
                  <a:lnTo>
                    <a:pt x="1457" y="62"/>
                  </a:lnTo>
                  <a:lnTo>
                    <a:pt x="1457" y="60"/>
                  </a:lnTo>
                  <a:lnTo>
                    <a:pt x="1459" y="62"/>
                  </a:lnTo>
                  <a:lnTo>
                    <a:pt x="1461" y="62"/>
                  </a:lnTo>
                  <a:lnTo>
                    <a:pt x="1461" y="64"/>
                  </a:lnTo>
                  <a:lnTo>
                    <a:pt x="1461" y="62"/>
                  </a:lnTo>
                  <a:lnTo>
                    <a:pt x="1459" y="60"/>
                  </a:lnTo>
                  <a:lnTo>
                    <a:pt x="1461" y="62"/>
                  </a:lnTo>
                  <a:lnTo>
                    <a:pt x="1461" y="64"/>
                  </a:lnTo>
                  <a:lnTo>
                    <a:pt x="1461" y="62"/>
                  </a:lnTo>
                  <a:lnTo>
                    <a:pt x="1461" y="64"/>
                  </a:lnTo>
                  <a:lnTo>
                    <a:pt x="1462" y="65"/>
                  </a:lnTo>
                  <a:lnTo>
                    <a:pt x="1462" y="67"/>
                  </a:lnTo>
                  <a:lnTo>
                    <a:pt x="1461" y="65"/>
                  </a:lnTo>
                  <a:lnTo>
                    <a:pt x="1459" y="65"/>
                  </a:lnTo>
                  <a:lnTo>
                    <a:pt x="1457" y="65"/>
                  </a:lnTo>
                  <a:lnTo>
                    <a:pt x="1456" y="64"/>
                  </a:lnTo>
                  <a:lnTo>
                    <a:pt x="1454" y="62"/>
                  </a:lnTo>
                  <a:lnTo>
                    <a:pt x="1453" y="62"/>
                  </a:lnTo>
                  <a:lnTo>
                    <a:pt x="1453" y="60"/>
                  </a:lnTo>
                  <a:lnTo>
                    <a:pt x="1454" y="62"/>
                  </a:lnTo>
                  <a:lnTo>
                    <a:pt x="1454" y="60"/>
                  </a:lnTo>
                  <a:lnTo>
                    <a:pt x="1454" y="62"/>
                  </a:lnTo>
                  <a:lnTo>
                    <a:pt x="1456" y="62"/>
                  </a:lnTo>
                  <a:lnTo>
                    <a:pt x="1457" y="64"/>
                  </a:lnTo>
                  <a:lnTo>
                    <a:pt x="1459" y="64"/>
                  </a:lnTo>
                  <a:lnTo>
                    <a:pt x="1457" y="64"/>
                  </a:lnTo>
                  <a:lnTo>
                    <a:pt x="1459" y="64"/>
                  </a:lnTo>
                  <a:lnTo>
                    <a:pt x="1457" y="64"/>
                  </a:lnTo>
                  <a:lnTo>
                    <a:pt x="1457" y="62"/>
                  </a:lnTo>
                  <a:lnTo>
                    <a:pt x="1456" y="62"/>
                  </a:lnTo>
                  <a:lnTo>
                    <a:pt x="1454" y="62"/>
                  </a:lnTo>
                  <a:lnTo>
                    <a:pt x="1454" y="60"/>
                  </a:lnTo>
                  <a:lnTo>
                    <a:pt x="1454" y="62"/>
                  </a:lnTo>
                  <a:lnTo>
                    <a:pt x="1454" y="60"/>
                  </a:lnTo>
                  <a:lnTo>
                    <a:pt x="1456" y="60"/>
                  </a:lnTo>
                  <a:lnTo>
                    <a:pt x="1456" y="62"/>
                  </a:lnTo>
                  <a:lnTo>
                    <a:pt x="1456" y="60"/>
                  </a:lnTo>
                  <a:lnTo>
                    <a:pt x="1456" y="62"/>
                  </a:lnTo>
                  <a:lnTo>
                    <a:pt x="1456" y="60"/>
                  </a:lnTo>
                  <a:lnTo>
                    <a:pt x="1457" y="60"/>
                  </a:lnTo>
                  <a:lnTo>
                    <a:pt x="1456" y="60"/>
                  </a:lnTo>
                  <a:lnTo>
                    <a:pt x="1454" y="60"/>
                  </a:lnTo>
                  <a:lnTo>
                    <a:pt x="1453" y="60"/>
                  </a:lnTo>
                  <a:lnTo>
                    <a:pt x="1454" y="60"/>
                  </a:lnTo>
                  <a:lnTo>
                    <a:pt x="1456" y="60"/>
                  </a:lnTo>
                  <a:lnTo>
                    <a:pt x="1457" y="60"/>
                  </a:lnTo>
                  <a:lnTo>
                    <a:pt x="1457" y="62"/>
                  </a:lnTo>
                  <a:close/>
                  <a:moveTo>
                    <a:pt x="1072" y="59"/>
                  </a:moveTo>
                  <a:lnTo>
                    <a:pt x="1072" y="60"/>
                  </a:lnTo>
                  <a:lnTo>
                    <a:pt x="1072" y="59"/>
                  </a:lnTo>
                  <a:close/>
                  <a:moveTo>
                    <a:pt x="1222" y="59"/>
                  </a:moveTo>
                  <a:lnTo>
                    <a:pt x="1222" y="60"/>
                  </a:lnTo>
                  <a:lnTo>
                    <a:pt x="1222" y="59"/>
                  </a:lnTo>
                  <a:close/>
                  <a:moveTo>
                    <a:pt x="1222" y="59"/>
                  </a:moveTo>
                  <a:lnTo>
                    <a:pt x="1222" y="60"/>
                  </a:lnTo>
                  <a:lnTo>
                    <a:pt x="1222" y="59"/>
                  </a:lnTo>
                  <a:lnTo>
                    <a:pt x="1223" y="59"/>
                  </a:lnTo>
                  <a:lnTo>
                    <a:pt x="1222" y="59"/>
                  </a:lnTo>
                  <a:close/>
                  <a:moveTo>
                    <a:pt x="1648" y="59"/>
                  </a:moveTo>
                  <a:lnTo>
                    <a:pt x="1648" y="60"/>
                  </a:lnTo>
                  <a:lnTo>
                    <a:pt x="1646" y="60"/>
                  </a:lnTo>
                  <a:lnTo>
                    <a:pt x="1646" y="59"/>
                  </a:lnTo>
                  <a:lnTo>
                    <a:pt x="1648" y="59"/>
                  </a:lnTo>
                  <a:close/>
                  <a:moveTo>
                    <a:pt x="1066" y="57"/>
                  </a:moveTo>
                  <a:lnTo>
                    <a:pt x="1066" y="59"/>
                  </a:lnTo>
                  <a:lnTo>
                    <a:pt x="1066" y="57"/>
                  </a:lnTo>
                  <a:close/>
                  <a:moveTo>
                    <a:pt x="1446" y="57"/>
                  </a:moveTo>
                  <a:lnTo>
                    <a:pt x="1446" y="59"/>
                  </a:lnTo>
                  <a:lnTo>
                    <a:pt x="1446" y="57"/>
                  </a:lnTo>
                  <a:close/>
                  <a:moveTo>
                    <a:pt x="1799" y="60"/>
                  </a:moveTo>
                  <a:lnTo>
                    <a:pt x="1797" y="59"/>
                  </a:lnTo>
                  <a:lnTo>
                    <a:pt x="1797" y="57"/>
                  </a:lnTo>
                  <a:lnTo>
                    <a:pt x="1799" y="59"/>
                  </a:lnTo>
                  <a:lnTo>
                    <a:pt x="1799" y="60"/>
                  </a:lnTo>
                  <a:close/>
                  <a:moveTo>
                    <a:pt x="1044" y="57"/>
                  </a:moveTo>
                  <a:lnTo>
                    <a:pt x="1046" y="57"/>
                  </a:lnTo>
                  <a:lnTo>
                    <a:pt x="1049" y="59"/>
                  </a:lnTo>
                  <a:lnTo>
                    <a:pt x="1051" y="60"/>
                  </a:lnTo>
                  <a:lnTo>
                    <a:pt x="1049" y="60"/>
                  </a:lnTo>
                  <a:lnTo>
                    <a:pt x="1048" y="60"/>
                  </a:lnTo>
                  <a:lnTo>
                    <a:pt x="1048" y="59"/>
                  </a:lnTo>
                  <a:lnTo>
                    <a:pt x="1048" y="60"/>
                  </a:lnTo>
                  <a:lnTo>
                    <a:pt x="1048" y="59"/>
                  </a:lnTo>
                  <a:lnTo>
                    <a:pt x="1046" y="59"/>
                  </a:lnTo>
                  <a:lnTo>
                    <a:pt x="1046" y="57"/>
                  </a:lnTo>
                  <a:lnTo>
                    <a:pt x="1044" y="57"/>
                  </a:lnTo>
                  <a:close/>
                  <a:moveTo>
                    <a:pt x="1069" y="57"/>
                  </a:moveTo>
                  <a:lnTo>
                    <a:pt x="1070" y="57"/>
                  </a:lnTo>
                  <a:lnTo>
                    <a:pt x="1069" y="57"/>
                  </a:lnTo>
                  <a:lnTo>
                    <a:pt x="1067" y="57"/>
                  </a:lnTo>
                  <a:lnTo>
                    <a:pt x="1069" y="57"/>
                  </a:lnTo>
                  <a:close/>
                  <a:moveTo>
                    <a:pt x="1033" y="57"/>
                  </a:moveTo>
                  <a:lnTo>
                    <a:pt x="1033" y="55"/>
                  </a:lnTo>
                  <a:lnTo>
                    <a:pt x="1033" y="57"/>
                  </a:lnTo>
                  <a:close/>
                  <a:moveTo>
                    <a:pt x="1796" y="55"/>
                  </a:moveTo>
                  <a:lnTo>
                    <a:pt x="1796" y="57"/>
                  </a:lnTo>
                  <a:lnTo>
                    <a:pt x="1797" y="57"/>
                  </a:lnTo>
                  <a:lnTo>
                    <a:pt x="1797" y="59"/>
                  </a:lnTo>
                  <a:lnTo>
                    <a:pt x="1797" y="60"/>
                  </a:lnTo>
                  <a:lnTo>
                    <a:pt x="1797" y="59"/>
                  </a:lnTo>
                  <a:lnTo>
                    <a:pt x="1796" y="59"/>
                  </a:lnTo>
                  <a:lnTo>
                    <a:pt x="1794" y="57"/>
                  </a:lnTo>
                  <a:lnTo>
                    <a:pt x="1794" y="55"/>
                  </a:lnTo>
                  <a:lnTo>
                    <a:pt x="1796" y="55"/>
                  </a:lnTo>
                  <a:lnTo>
                    <a:pt x="1794" y="55"/>
                  </a:lnTo>
                  <a:lnTo>
                    <a:pt x="1796" y="55"/>
                  </a:lnTo>
                  <a:close/>
                  <a:moveTo>
                    <a:pt x="1044" y="54"/>
                  </a:moveTo>
                  <a:lnTo>
                    <a:pt x="1043" y="52"/>
                  </a:lnTo>
                  <a:lnTo>
                    <a:pt x="1044" y="54"/>
                  </a:lnTo>
                  <a:close/>
                  <a:moveTo>
                    <a:pt x="1446" y="54"/>
                  </a:moveTo>
                  <a:lnTo>
                    <a:pt x="1446" y="52"/>
                  </a:lnTo>
                  <a:lnTo>
                    <a:pt x="1448" y="54"/>
                  </a:lnTo>
                  <a:lnTo>
                    <a:pt x="1448" y="55"/>
                  </a:lnTo>
                  <a:lnTo>
                    <a:pt x="1446" y="54"/>
                  </a:lnTo>
                  <a:close/>
                  <a:moveTo>
                    <a:pt x="1443" y="52"/>
                  </a:moveTo>
                  <a:lnTo>
                    <a:pt x="1444" y="54"/>
                  </a:lnTo>
                  <a:lnTo>
                    <a:pt x="1446" y="54"/>
                  </a:lnTo>
                  <a:lnTo>
                    <a:pt x="1446" y="52"/>
                  </a:lnTo>
                  <a:lnTo>
                    <a:pt x="1444" y="52"/>
                  </a:lnTo>
                  <a:lnTo>
                    <a:pt x="1446" y="52"/>
                  </a:lnTo>
                  <a:lnTo>
                    <a:pt x="1446" y="54"/>
                  </a:lnTo>
                  <a:lnTo>
                    <a:pt x="1446" y="55"/>
                  </a:lnTo>
                  <a:lnTo>
                    <a:pt x="1444" y="54"/>
                  </a:lnTo>
                  <a:lnTo>
                    <a:pt x="1443" y="54"/>
                  </a:lnTo>
                  <a:lnTo>
                    <a:pt x="1443" y="52"/>
                  </a:lnTo>
                  <a:close/>
                  <a:moveTo>
                    <a:pt x="1791" y="52"/>
                  </a:moveTo>
                  <a:lnTo>
                    <a:pt x="1789" y="52"/>
                  </a:lnTo>
                  <a:lnTo>
                    <a:pt x="1791" y="52"/>
                  </a:lnTo>
                  <a:close/>
                  <a:moveTo>
                    <a:pt x="1443" y="52"/>
                  </a:moveTo>
                  <a:lnTo>
                    <a:pt x="1441" y="52"/>
                  </a:lnTo>
                  <a:lnTo>
                    <a:pt x="1443" y="52"/>
                  </a:lnTo>
                  <a:close/>
                  <a:moveTo>
                    <a:pt x="1023" y="51"/>
                  </a:moveTo>
                  <a:lnTo>
                    <a:pt x="1023" y="52"/>
                  </a:lnTo>
                  <a:lnTo>
                    <a:pt x="1023" y="51"/>
                  </a:lnTo>
                  <a:close/>
                  <a:moveTo>
                    <a:pt x="1446" y="52"/>
                  </a:moveTo>
                  <a:lnTo>
                    <a:pt x="1446" y="51"/>
                  </a:lnTo>
                  <a:lnTo>
                    <a:pt x="1446" y="52"/>
                  </a:lnTo>
                  <a:close/>
                  <a:moveTo>
                    <a:pt x="1044" y="51"/>
                  </a:moveTo>
                  <a:lnTo>
                    <a:pt x="1043" y="51"/>
                  </a:lnTo>
                  <a:lnTo>
                    <a:pt x="1044" y="51"/>
                  </a:lnTo>
                  <a:close/>
                  <a:moveTo>
                    <a:pt x="1645" y="51"/>
                  </a:moveTo>
                  <a:lnTo>
                    <a:pt x="1646" y="51"/>
                  </a:lnTo>
                  <a:lnTo>
                    <a:pt x="1645" y="51"/>
                  </a:lnTo>
                  <a:close/>
                  <a:moveTo>
                    <a:pt x="1044" y="49"/>
                  </a:moveTo>
                  <a:lnTo>
                    <a:pt x="1044" y="51"/>
                  </a:lnTo>
                  <a:lnTo>
                    <a:pt x="1044" y="49"/>
                  </a:lnTo>
                  <a:lnTo>
                    <a:pt x="1044" y="51"/>
                  </a:lnTo>
                  <a:lnTo>
                    <a:pt x="1044" y="49"/>
                  </a:lnTo>
                  <a:close/>
                  <a:moveTo>
                    <a:pt x="1788" y="49"/>
                  </a:moveTo>
                  <a:lnTo>
                    <a:pt x="1786" y="49"/>
                  </a:lnTo>
                  <a:lnTo>
                    <a:pt x="1788" y="49"/>
                  </a:lnTo>
                  <a:close/>
                  <a:moveTo>
                    <a:pt x="1033" y="49"/>
                  </a:moveTo>
                  <a:lnTo>
                    <a:pt x="1031" y="49"/>
                  </a:lnTo>
                  <a:lnTo>
                    <a:pt x="1033" y="49"/>
                  </a:lnTo>
                  <a:close/>
                  <a:moveTo>
                    <a:pt x="1444" y="51"/>
                  </a:moveTo>
                  <a:lnTo>
                    <a:pt x="1446" y="51"/>
                  </a:lnTo>
                  <a:lnTo>
                    <a:pt x="1446" y="52"/>
                  </a:lnTo>
                  <a:lnTo>
                    <a:pt x="1444" y="51"/>
                  </a:lnTo>
                  <a:lnTo>
                    <a:pt x="1443" y="51"/>
                  </a:lnTo>
                  <a:lnTo>
                    <a:pt x="1444" y="51"/>
                  </a:lnTo>
                  <a:lnTo>
                    <a:pt x="1443" y="49"/>
                  </a:lnTo>
                  <a:lnTo>
                    <a:pt x="1444" y="51"/>
                  </a:lnTo>
                  <a:close/>
                  <a:moveTo>
                    <a:pt x="1440" y="49"/>
                  </a:moveTo>
                  <a:lnTo>
                    <a:pt x="1440" y="51"/>
                  </a:lnTo>
                  <a:lnTo>
                    <a:pt x="1438" y="49"/>
                  </a:lnTo>
                  <a:lnTo>
                    <a:pt x="1440" y="49"/>
                  </a:lnTo>
                  <a:lnTo>
                    <a:pt x="1438" y="47"/>
                  </a:lnTo>
                  <a:lnTo>
                    <a:pt x="1440" y="49"/>
                  </a:lnTo>
                  <a:close/>
                  <a:moveTo>
                    <a:pt x="1441" y="49"/>
                  </a:moveTo>
                  <a:lnTo>
                    <a:pt x="1441" y="51"/>
                  </a:lnTo>
                  <a:lnTo>
                    <a:pt x="1440" y="49"/>
                  </a:lnTo>
                  <a:lnTo>
                    <a:pt x="1440" y="47"/>
                  </a:lnTo>
                  <a:lnTo>
                    <a:pt x="1440" y="49"/>
                  </a:lnTo>
                  <a:lnTo>
                    <a:pt x="1441" y="49"/>
                  </a:lnTo>
                  <a:lnTo>
                    <a:pt x="1441" y="47"/>
                  </a:lnTo>
                  <a:lnTo>
                    <a:pt x="1441" y="49"/>
                  </a:lnTo>
                  <a:close/>
                  <a:moveTo>
                    <a:pt x="1438" y="47"/>
                  </a:moveTo>
                  <a:lnTo>
                    <a:pt x="1436" y="47"/>
                  </a:lnTo>
                  <a:lnTo>
                    <a:pt x="1438" y="47"/>
                  </a:lnTo>
                  <a:close/>
                  <a:moveTo>
                    <a:pt x="1649" y="62"/>
                  </a:moveTo>
                  <a:lnTo>
                    <a:pt x="1648" y="62"/>
                  </a:lnTo>
                  <a:lnTo>
                    <a:pt x="1648" y="64"/>
                  </a:lnTo>
                  <a:lnTo>
                    <a:pt x="1648" y="62"/>
                  </a:lnTo>
                  <a:lnTo>
                    <a:pt x="1648" y="60"/>
                  </a:lnTo>
                  <a:lnTo>
                    <a:pt x="1649" y="60"/>
                  </a:lnTo>
                  <a:lnTo>
                    <a:pt x="1648" y="62"/>
                  </a:lnTo>
                  <a:lnTo>
                    <a:pt x="1648" y="60"/>
                  </a:lnTo>
                  <a:lnTo>
                    <a:pt x="1648" y="62"/>
                  </a:lnTo>
                  <a:lnTo>
                    <a:pt x="1648" y="59"/>
                  </a:lnTo>
                  <a:lnTo>
                    <a:pt x="1648" y="57"/>
                  </a:lnTo>
                  <a:lnTo>
                    <a:pt x="1646" y="55"/>
                  </a:lnTo>
                  <a:lnTo>
                    <a:pt x="1648" y="55"/>
                  </a:lnTo>
                  <a:lnTo>
                    <a:pt x="1648" y="54"/>
                  </a:lnTo>
                  <a:lnTo>
                    <a:pt x="1648" y="55"/>
                  </a:lnTo>
                  <a:lnTo>
                    <a:pt x="1646" y="55"/>
                  </a:lnTo>
                  <a:lnTo>
                    <a:pt x="1646" y="54"/>
                  </a:lnTo>
                  <a:lnTo>
                    <a:pt x="1646" y="52"/>
                  </a:lnTo>
                  <a:lnTo>
                    <a:pt x="1646" y="51"/>
                  </a:lnTo>
                  <a:lnTo>
                    <a:pt x="1646" y="49"/>
                  </a:lnTo>
                  <a:lnTo>
                    <a:pt x="1646" y="51"/>
                  </a:lnTo>
                  <a:lnTo>
                    <a:pt x="1645" y="51"/>
                  </a:lnTo>
                  <a:lnTo>
                    <a:pt x="1645" y="47"/>
                  </a:lnTo>
                  <a:lnTo>
                    <a:pt x="1645" y="46"/>
                  </a:lnTo>
                  <a:lnTo>
                    <a:pt x="1646" y="47"/>
                  </a:lnTo>
                  <a:lnTo>
                    <a:pt x="1648" y="49"/>
                  </a:lnTo>
                  <a:lnTo>
                    <a:pt x="1648" y="51"/>
                  </a:lnTo>
                  <a:lnTo>
                    <a:pt x="1649" y="51"/>
                  </a:lnTo>
                  <a:lnTo>
                    <a:pt x="1648" y="51"/>
                  </a:lnTo>
                  <a:lnTo>
                    <a:pt x="1646" y="49"/>
                  </a:lnTo>
                  <a:lnTo>
                    <a:pt x="1645" y="46"/>
                  </a:lnTo>
                  <a:lnTo>
                    <a:pt x="1646" y="47"/>
                  </a:lnTo>
                  <a:lnTo>
                    <a:pt x="1646" y="49"/>
                  </a:lnTo>
                  <a:lnTo>
                    <a:pt x="1646" y="51"/>
                  </a:lnTo>
                  <a:lnTo>
                    <a:pt x="1648" y="51"/>
                  </a:lnTo>
                  <a:lnTo>
                    <a:pt x="1649" y="52"/>
                  </a:lnTo>
                  <a:lnTo>
                    <a:pt x="1649" y="54"/>
                  </a:lnTo>
                  <a:lnTo>
                    <a:pt x="1649" y="55"/>
                  </a:lnTo>
                  <a:lnTo>
                    <a:pt x="1649" y="57"/>
                  </a:lnTo>
                  <a:lnTo>
                    <a:pt x="1649" y="55"/>
                  </a:lnTo>
                  <a:lnTo>
                    <a:pt x="1649" y="57"/>
                  </a:lnTo>
                  <a:lnTo>
                    <a:pt x="1649" y="59"/>
                  </a:lnTo>
                  <a:lnTo>
                    <a:pt x="1651" y="60"/>
                  </a:lnTo>
                  <a:lnTo>
                    <a:pt x="1651" y="62"/>
                  </a:lnTo>
                  <a:lnTo>
                    <a:pt x="1649" y="62"/>
                  </a:lnTo>
                  <a:close/>
                  <a:moveTo>
                    <a:pt x="1649" y="54"/>
                  </a:moveTo>
                  <a:lnTo>
                    <a:pt x="1648" y="54"/>
                  </a:lnTo>
                  <a:lnTo>
                    <a:pt x="1649" y="54"/>
                  </a:lnTo>
                  <a:close/>
                  <a:moveTo>
                    <a:pt x="1648" y="54"/>
                  </a:moveTo>
                  <a:lnTo>
                    <a:pt x="1648" y="52"/>
                  </a:lnTo>
                  <a:lnTo>
                    <a:pt x="1648" y="54"/>
                  </a:lnTo>
                  <a:close/>
                  <a:moveTo>
                    <a:pt x="1649" y="52"/>
                  </a:moveTo>
                  <a:lnTo>
                    <a:pt x="1648" y="52"/>
                  </a:lnTo>
                  <a:lnTo>
                    <a:pt x="1649" y="52"/>
                  </a:lnTo>
                  <a:close/>
                  <a:moveTo>
                    <a:pt x="1015" y="46"/>
                  </a:moveTo>
                  <a:lnTo>
                    <a:pt x="1013" y="46"/>
                  </a:lnTo>
                  <a:lnTo>
                    <a:pt x="1015" y="46"/>
                  </a:lnTo>
                  <a:close/>
                  <a:moveTo>
                    <a:pt x="1786" y="46"/>
                  </a:moveTo>
                  <a:lnTo>
                    <a:pt x="1788" y="47"/>
                  </a:lnTo>
                  <a:lnTo>
                    <a:pt x="1786" y="46"/>
                  </a:lnTo>
                  <a:lnTo>
                    <a:pt x="1788" y="47"/>
                  </a:lnTo>
                  <a:lnTo>
                    <a:pt x="1789" y="47"/>
                  </a:lnTo>
                  <a:lnTo>
                    <a:pt x="1791" y="49"/>
                  </a:lnTo>
                  <a:lnTo>
                    <a:pt x="1791" y="51"/>
                  </a:lnTo>
                  <a:lnTo>
                    <a:pt x="1793" y="52"/>
                  </a:lnTo>
                  <a:lnTo>
                    <a:pt x="1793" y="54"/>
                  </a:lnTo>
                  <a:lnTo>
                    <a:pt x="1791" y="52"/>
                  </a:lnTo>
                  <a:lnTo>
                    <a:pt x="1789" y="51"/>
                  </a:lnTo>
                  <a:lnTo>
                    <a:pt x="1788" y="51"/>
                  </a:lnTo>
                  <a:lnTo>
                    <a:pt x="1788" y="49"/>
                  </a:lnTo>
                  <a:lnTo>
                    <a:pt x="1786" y="47"/>
                  </a:lnTo>
                  <a:lnTo>
                    <a:pt x="1784" y="46"/>
                  </a:lnTo>
                  <a:lnTo>
                    <a:pt x="1786" y="46"/>
                  </a:lnTo>
                  <a:close/>
                  <a:moveTo>
                    <a:pt x="1015" y="46"/>
                  </a:moveTo>
                  <a:lnTo>
                    <a:pt x="1013" y="46"/>
                  </a:lnTo>
                  <a:lnTo>
                    <a:pt x="1015" y="46"/>
                  </a:lnTo>
                  <a:close/>
                  <a:moveTo>
                    <a:pt x="1015" y="46"/>
                  </a:moveTo>
                  <a:lnTo>
                    <a:pt x="1013" y="46"/>
                  </a:lnTo>
                  <a:lnTo>
                    <a:pt x="1013" y="44"/>
                  </a:lnTo>
                  <a:lnTo>
                    <a:pt x="1015" y="44"/>
                  </a:lnTo>
                  <a:lnTo>
                    <a:pt x="1015" y="46"/>
                  </a:lnTo>
                  <a:close/>
                  <a:moveTo>
                    <a:pt x="1030" y="44"/>
                  </a:moveTo>
                  <a:lnTo>
                    <a:pt x="1030" y="46"/>
                  </a:lnTo>
                  <a:lnTo>
                    <a:pt x="1028" y="46"/>
                  </a:lnTo>
                  <a:lnTo>
                    <a:pt x="1026" y="44"/>
                  </a:lnTo>
                  <a:lnTo>
                    <a:pt x="1025" y="46"/>
                  </a:lnTo>
                  <a:lnTo>
                    <a:pt x="1023" y="46"/>
                  </a:lnTo>
                  <a:lnTo>
                    <a:pt x="1025" y="44"/>
                  </a:lnTo>
                  <a:lnTo>
                    <a:pt x="1026" y="44"/>
                  </a:lnTo>
                  <a:lnTo>
                    <a:pt x="1028" y="44"/>
                  </a:lnTo>
                  <a:lnTo>
                    <a:pt x="1030" y="44"/>
                  </a:lnTo>
                  <a:close/>
                  <a:moveTo>
                    <a:pt x="1643" y="44"/>
                  </a:moveTo>
                  <a:lnTo>
                    <a:pt x="1643" y="46"/>
                  </a:lnTo>
                  <a:lnTo>
                    <a:pt x="1641" y="44"/>
                  </a:lnTo>
                  <a:lnTo>
                    <a:pt x="1643" y="44"/>
                  </a:lnTo>
                  <a:close/>
                  <a:moveTo>
                    <a:pt x="1436" y="42"/>
                  </a:moveTo>
                  <a:lnTo>
                    <a:pt x="1436" y="44"/>
                  </a:lnTo>
                  <a:lnTo>
                    <a:pt x="1436" y="42"/>
                  </a:lnTo>
                  <a:close/>
                  <a:moveTo>
                    <a:pt x="1038" y="44"/>
                  </a:moveTo>
                  <a:lnTo>
                    <a:pt x="1040" y="44"/>
                  </a:lnTo>
                  <a:lnTo>
                    <a:pt x="1041" y="44"/>
                  </a:lnTo>
                  <a:lnTo>
                    <a:pt x="1043" y="46"/>
                  </a:lnTo>
                  <a:lnTo>
                    <a:pt x="1041" y="44"/>
                  </a:lnTo>
                  <a:lnTo>
                    <a:pt x="1043" y="46"/>
                  </a:lnTo>
                  <a:lnTo>
                    <a:pt x="1044" y="46"/>
                  </a:lnTo>
                  <a:lnTo>
                    <a:pt x="1044" y="47"/>
                  </a:lnTo>
                  <a:lnTo>
                    <a:pt x="1043" y="47"/>
                  </a:lnTo>
                  <a:lnTo>
                    <a:pt x="1041" y="47"/>
                  </a:lnTo>
                  <a:lnTo>
                    <a:pt x="1041" y="46"/>
                  </a:lnTo>
                  <a:lnTo>
                    <a:pt x="1041" y="47"/>
                  </a:lnTo>
                  <a:lnTo>
                    <a:pt x="1040" y="47"/>
                  </a:lnTo>
                  <a:lnTo>
                    <a:pt x="1038" y="49"/>
                  </a:lnTo>
                  <a:lnTo>
                    <a:pt x="1035" y="49"/>
                  </a:lnTo>
                  <a:lnTo>
                    <a:pt x="1033" y="51"/>
                  </a:lnTo>
                  <a:lnTo>
                    <a:pt x="1033" y="49"/>
                  </a:lnTo>
                  <a:lnTo>
                    <a:pt x="1031" y="49"/>
                  </a:lnTo>
                  <a:lnTo>
                    <a:pt x="1033" y="47"/>
                  </a:lnTo>
                  <a:lnTo>
                    <a:pt x="1035" y="46"/>
                  </a:lnTo>
                  <a:lnTo>
                    <a:pt x="1036" y="44"/>
                  </a:lnTo>
                  <a:lnTo>
                    <a:pt x="1036" y="42"/>
                  </a:lnTo>
                  <a:lnTo>
                    <a:pt x="1038" y="42"/>
                  </a:lnTo>
                  <a:lnTo>
                    <a:pt x="1040" y="42"/>
                  </a:lnTo>
                  <a:lnTo>
                    <a:pt x="1040" y="44"/>
                  </a:lnTo>
                  <a:lnTo>
                    <a:pt x="1038" y="44"/>
                  </a:lnTo>
                  <a:close/>
                  <a:moveTo>
                    <a:pt x="1436" y="42"/>
                  </a:moveTo>
                  <a:lnTo>
                    <a:pt x="1438" y="42"/>
                  </a:lnTo>
                  <a:lnTo>
                    <a:pt x="1436" y="42"/>
                  </a:lnTo>
                  <a:close/>
                  <a:moveTo>
                    <a:pt x="1028" y="42"/>
                  </a:moveTo>
                  <a:lnTo>
                    <a:pt x="1026" y="44"/>
                  </a:lnTo>
                  <a:lnTo>
                    <a:pt x="1026" y="42"/>
                  </a:lnTo>
                  <a:lnTo>
                    <a:pt x="1028" y="42"/>
                  </a:lnTo>
                  <a:close/>
                  <a:moveTo>
                    <a:pt x="1017" y="44"/>
                  </a:moveTo>
                  <a:lnTo>
                    <a:pt x="1017" y="42"/>
                  </a:lnTo>
                  <a:lnTo>
                    <a:pt x="1017" y="44"/>
                  </a:lnTo>
                  <a:close/>
                  <a:moveTo>
                    <a:pt x="1436" y="44"/>
                  </a:moveTo>
                  <a:lnTo>
                    <a:pt x="1436" y="42"/>
                  </a:lnTo>
                  <a:lnTo>
                    <a:pt x="1436" y="44"/>
                  </a:lnTo>
                  <a:close/>
                  <a:moveTo>
                    <a:pt x="1022" y="44"/>
                  </a:moveTo>
                  <a:lnTo>
                    <a:pt x="1020" y="44"/>
                  </a:lnTo>
                  <a:lnTo>
                    <a:pt x="1022" y="42"/>
                  </a:lnTo>
                  <a:lnTo>
                    <a:pt x="1023" y="42"/>
                  </a:lnTo>
                  <a:lnTo>
                    <a:pt x="1023" y="44"/>
                  </a:lnTo>
                  <a:lnTo>
                    <a:pt x="1022" y="44"/>
                  </a:lnTo>
                  <a:close/>
                  <a:moveTo>
                    <a:pt x="1022" y="42"/>
                  </a:moveTo>
                  <a:lnTo>
                    <a:pt x="1020" y="42"/>
                  </a:lnTo>
                  <a:lnTo>
                    <a:pt x="1022" y="42"/>
                  </a:lnTo>
                  <a:close/>
                  <a:moveTo>
                    <a:pt x="1784" y="42"/>
                  </a:moveTo>
                  <a:lnTo>
                    <a:pt x="1784" y="41"/>
                  </a:lnTo>
                  <a:lnTo>
                    <a:pt x="1784" y="42"/>
                  </a:lnTo>
                  <a:close/>
                  <a:moveTo>
                    <a:pt x="1438" y="44"/>
                  </a:moveTo>
                  <a:lnTo>
                    <a:pt x="1438" y="42"/>
                  </a:lnTo>
                  <a:lnTo>
                    <a:pt x="1436" y="41"/>
                  </a:lnTo>
                  <a:lnTo>
                    <a:pt x="1438" y="42"/>
                  </a:lnTo>
                  <a:lnTo>
                    <a:pt x="1438" y="44"/>
                  </a:lnTo>
                  <a:lnTo>
                    <a:pt x="1440" y="46"/>
                  </a:lnTo>
                  <a:lnTo>
                    <a:pt x="1440" y="47"/>
                  </a:lnTo>
                  <a:lnTo>
                    <a:pt x="1438" y="47"/>
                  </a:lnTo>
                  <a:lnTo>
                    <a:pt x="1438" y="46"/>
                  </a:lnTo>
                  <a:lnTo>
                    <a:pt x="1436" y="46"/>
                  </a:lnTo>
                  <a:lnTo>
                    <a:pt x="1435" y="44"/>
                  </a:lnTo>
                  <a:lnTo>
                    <a:pt x="1436" y="44"/>
                  </a:lnTo>
                  <a:lnTo>
                    <a:pt x="1438" y="44"/>
                  </a:lnTo>
                  <a:lnTo>
                    <a:pt x="1438" y="42"/>
                  </a:lnTo>
                  <a:lnTo>
                    <a:pt x="1438" y="44"/>
                  </a:lnTo>
                  <a:close/>
                  <a:moveTo>
                    <a:pt x="1781" y="39"/>
                  </a:moveTo>
                  <a:lnTo>
                    <a:pt x="1783" y="39"/>
                  </a:lnTo>
                  <a:lnTo>
                    <a:pt x="1783" y="41"/>
                  </a:lnTo>
                  <a:lnTo>
                    <a:pt x="1783" y="42"/>
                  </a:lnTo>
                  <a:lnTo>
                    <a:pt x="1783" y="41"/>
                  </a:lnTo>
                  <a:lnTo>
                    <a:pt x="1783" y="39"/>
                  </a:lnTo>
                  <a:lnTo>
                    <a:pt x="1781" y="39"/>
                  </a:lnTo>
                  <a:lnTo>
                    <a:pt x="1783" y="39"/>
                  </a:lnTo>
                  <a:lnTo>
                    <a:pt x="1783" y="41"/>
                  </a:lnTo>
                  <a:lnTo>
                    <a:pt x="1784" y="41"/>
                  </a:lnTo>
                  <a:lnTo>
                    <a:pt x="1784" y="42"/>
                  </a:lnTo>
                  <a:lnTo>
                    <a:pt x="1784" y="44"/>
                  </a:lnTo>
                  <a:lnTo>
                    <a:pt x="1783" y="44"/>
                  </a:lnTo>
                  <a:lnTo>
                    <a:pt x="1783" y="42"/>
                  </a:lnTo>
                  <a:lnTo>
                    <a:pt x="1783" y="44"/>
                  </a:lnTo>
                  <a:lnTo>
                    <a:pt x="1783" y="42"/>
                  </a:lnTo>
                  <a:lnTo>
                    <a:pt x="1781" y="42"/>
                  </a:lnTo>
                  <a:lnTo>
                    <a:pt x="1780" y="42"/>
                  </a:lnTo>
                  <a:lnTo>
                    <a:pt x="1780" y="41"/>
                  </a:lnTo>
                  <a:lnTo>
                    <a:pt x="1780" y="39"/>
                  </a:lnTo>
                  <a:lnTo>
                    <a:pt x="1780" y="38"/>
                  </a:lnTo>
                  <a:lnTo>
                    <a:pt x="1780" y="39"/>
                  </a:lnTo>
                  <a:lnTo>
                    <a:pt x="1780" y="38"/>
                  </a:lnTo>
                  <a:lnTo>
                    <a:pt x="1781" y="38"/>
                  </a:lnTo>
                  <a:lnTo>
                    <a:pt x="1781" y="39"/>
                  </a:lnTo>
                  <a:close/>
                  <a:moveTo>
                    <a:pt x="1436" y="39"/>
                  </a:moveTo>
                  <a:lnTo>
                    <a:pt x="1438" y="41"/>
                  </a:lnTo>
                  <a:lnTo>
                    <a:pt x="1436" y="41"/>
                  </a:lnTo>
                  <a:lnTo>
                    <a:pt x="1436" y="39"/>
                  </a:lnTo>
                  <a:lnTo>
                    <a:pt x="1436" y="38"/>
                  </a:lnTo>
                  <a:lnTo>
                    <a:pt x="1436" y="39"/>
                  </a:lnTo>
                  <a:close/>
                  <a:moveTo>
                    <a:pt x="1431" y="38"/>
                  </a:moveTo>
                  <a:lnTo>
                    <a:pt x="1435" y="38"/>
                  </a:lnTo>
                  <a:lnTo>
                    <a:pt x="1435" y="39"/>
                  </a:lnTo>
                  <a:lnTo>
                    <a:pt x="1436" y="41"/>
                  </a:lnTo>
                  <a:lnTo>
                    <a:pt x="1436" y="42"/>
                  </a:lnTo>
                  <a:lnTo>
                    <a:pt x="1435" y="42"/>
                  </a:lnTo>
                  <a:lnTo>
                    <a:pt x="1435" y="41"/>
                  </a:lnTo>
                  <a:lnTo>
                    <a:pt x="1433" y="39"/>
                  </a:lnTo>
                  <a:lnTo>
                    <a:pt x="1431" y="38"/>
                  </a:lnTo>
                  <a:lnTo>
                    <a:pt x="1433" y="39"/>
                  </a:lnTo>
                  <a:lnTo>
                    <a:pt x="1433" y="38"/>
                  </a:lnTo>
                  <a:lnTo>
                    <a:pt x="1431" y="38"/>
                  </a:lnTo>
                  <a:close/>
                  <a:moveTo>
                    <a:pt x="1783" y="39"/>
                  </a:moveTo>
                  <a:lnTo>
                    <a:pt x="1784" y="39"/>
                  </a:lnTo>
                  <a:lnTo>
                    <a:pt x="1784" y="41"/>
                  </a:lnTo>
                  <a:lnTo>
                    <a:pt x="1783" y="41"/>
                  </a:lnTo>
                  <a:lnTo>
                    <a:pt x="1783" y="39"/>
                  </a:lnTo>
                  <a:lnTo>
                    <a:pt x="1781" y="39"/>
                  </a:lnTo>
                  <a:lnTo>
                    <a:pt x="1781" y="38"/>
                  </a:lnTo>
                  <a:lnTo>
                    <a:pt x="1780" y="38"/>
                  </a:lnTo>
                  <a:lnTo>
                    <a:pt x="1780" y="36"/>
                  </a:lnTo>
                  <a:lnTo>
                    <a:pt x="1781" y="38"/>
                  </a:lnTo>
                  <a:lnTo>
                    <a:pt x="1783" y="38"/>
                  </a:lnTo>
                  <a:lnTo>
                    <a:pt x="1783" y="39"/>
                  </a:lnTo>
                  <a:close/>
                  <a:moveTo>
                    <a:pt x="1636" y="39"/>
                  </a:moveTo>
                  <a:lnTo>
                    <a:pt x="1635" y="39"/>
                  </a:lnTo>
                  <a:lnTo>
                    <a:pt x="1635" y="38"/>
                  </a:lnTo>
                  <a:lnTo>
                    <a:pt x="1635" y="36"/>
                  </a:lnTo>
                  <a:lnTo>
                    <a:pt x="1635" y="38"/>
                  </a:lnTo>
                  <a:lnTo>
                    <a:pt x="1636" y="39"/>
                  </a:lnTo>
                  <a:close/>
                  <a:moveTo>
                    <a:pt x="2167" y="33"/>
                  </a:moveTo>
                  <a:lnTo>
                    <a:pt x="2167" y="34"/>
                  </a:lnTo>
                  <a:lnTo>
                    <a:pt x="2165" y="34"/>
                  </a:lnTo>
                  <a:lnTo>
                    <a:pt x="2167" y="34"/>
                  </a:lnTo>
                  <a:lnTo>
                    <a:pt x="2167" y="33"/>
                  </a:lnTo>
                  <a:close/>
                  <a:moveTo>
                    <a:pt x="2202" y="33"/>
                  </a:moveTo>
                  <a:lnTo>
                    <a:pt x="2202" y="31"/>
                  </a:lnTo>
                  <a:lnTo>
                    <a:pt x="2201" y="31"/>
                  </a:lnTo>
                  <a:lnTo>
                    <a:pt x="2202" y="31"/>
                  </a:lnTo>
                  <a:lnTo>
                    <a:pt x="2202" y="33"/>
                  </a:lnTo>
                  <a:close/>
                  <a:moveTo>
                    <a:pt x="1430" y="31"/>
                  </a:moveTo>
                  <a:lnTo>
                    <a:pt x="1431" y="33"/>
                  </a:lnTo>
                  <a:lnTo>
                    <a:pt x="1430" y="31"/>
                  </a:lnTo>
                  <a:lnTo>
                    <a:pt x="1433" y="34"/>
                  </a:lnTo>
                  <a:lnTo>
                    <a:pt x="1433" y="36"/>
                  </a:lnTo>
                  <a:lnTo>
                    <a:pt x="1430" y="33"/>
                  </a:lnTo>
                  <a:lnTo>
                    <a:pt x="1430" y="31"/>
                  </a:lnTo>
                  <a:lnTo>
                    <a:pt x="1430" y="33"/>
                  </a:lnTo>
                  <a:lnTo>
                    <a:pt x="1430" y="31"/>
                  </a:lnTo>
                  <a:lnTo>
                    <a:pt x="1430" y="29"/>
                  </a:lnTo>
                  <a:lnTo>
                    <a:pt x="1430" y="31"/>
                  </a:lnTo>
                  <a:close/>
                  <a:moveTo>
                    <a:pt x="2199" y="29"/>
                  </a:moveTo>
                  <a:lnTo>
                    <a:pt x="2201" y="31"/>
                  </a:lnTo>
                  <a:lnTo>
                    <a:pt x="2199" y="31"/>
                  </a:lnTo>
                  <a:lnTo>
                    <a:pt x="2197" y="29"/>
                  </a:lnTo>
                  <a:lnTo>
                    <a:pt x="2199" y="29"/>
                  </a:lnTo>
                  <a:close/>
                  <a:moveTo>
                    <a:pt x="2189" y="29"/>
                  </a:moveTo>
                  <a:lnTo>
                    <a:pt x="2188" y="29"/>
                  </a:lnTo>
                  <a:lnTo>
                    <a:pt x="2186" y="29"/>
                  </a:lnTo>
                  <a:lnTo>
                    <a:pt x="2186" y="28"/>
                  </a:lnTo>
                  <a:lnTo>
                    <a:pt x="2188" y="29"/>
                  </a:lnTo>
                  <a:lnTo>
                    <a:pt x="2189" y="29"/>
                  </a:lnTo>
                  <a:close/>
                  <a:moveTo>
                    <a:pt x="2235" y="28"/>
                  </a:moveTo>
                  <a:lnTo>
                    <a:pt x="2233" y="28"/>
                  </a:lnTo>
                  <a:lnTo>
                    <a:pt x="2235" y="28"/>
                  </a:lnTo>
                  <a:close/>
                  <a:moveTo>
                    <a:pt x="1770" y="28"/>
                  </a:moveTo>
                  <a:lnTo>
                    <a:pt x="1771" y="28"/>
                  </a:lnTo>
                  <a:lnTo>
                    <a:pt x="1770" y="28"/>
                  </a:lnTo>
                  <a:close/>
                  <a:moveTo>
                    <a:pt x="1766" y="25"/>
                  </a:moveTo>
                  <a:lnTo>
                    <a:pt x="1766" y="26"/>
                  </a:lnTo>
                  <a:lnTo>
                    <a:pt x="1763" y="26"/>
                  </a:lnTo>
                  <a:lnTo>
                    <a:pt x="1765" y="26"/>
                  </a:lnTo>
                  <a:lnTo>
                    <a:pt x="1765" y="25"/>
                  </a:lnTo>
                  <a:lnTo>
                    <a:pt x="1766" y="25"/>
                  </a:lnTo>
                  <a:close/>
                  <a:moveTo>
                    <a:pt x="1768" y="26"/>
                  </a:moveTo>
                  <a:lnTo>
                    <a:pt x="1766" y="26"/>
                  </a:lnTo>
                  <a:lnTo>
                    <a:pt x="1766" y="25"/>
                  </a:lnTo>
                  <a:lnTo>
                    <a:pt x="1768" y="25"/>
                  </a:lnTo>
                  <a:lnTo>
                    <a:pt x="1770" y="25"/>
                  </a:lnTo>
                  <a:lnTo>
                    <a:pt x="1768" y="26"/>
                  </a:lnTo>
                  <a:lnTo>
                    <a:pt x="1768" y="25"/>
                  </a:lnTo>
                  <a:lnTo>
                    <a:pt x="1768" y="26"/>
                  </a:lnTo>
                  <a:close/>
                  <a:moveTo>
                    <a:pt x="1752" y="25"/>
                  </a:moveTo>
                  <a:lnTo>
                    <a:pt x="1752" y="23"/>
                  </a:lnTo>
                  <a:lnTo>
                    <a:pt x="1752" y="25"/>
                  </a:lnTo>
                  <a:close/>
                  <a:moveTo>
                    <a:pt x="1752" y="25"/>
                  </a:moveTo>
                  <a:lnTo>
                    <a:pt x="1750" y="25"/>
                  </a:lnTo>
                  <a:lnTo>
                    <a:pt x="1749" y="25"/>
                  </a:lnTo>
                  <a:lnTo>
                    <a:pt x="1750" y="25"/>
                  </a:lnTo>
                  <a:lnTo>
                    <a:pt x="1750" y="23"/>
                  </a:lnTo>
                  <a:lnTo>
                    <a:pt x="1752" y="25"/>
                  </a:lnTo>
                  <a:close/>
                  <a:moveTo>
                    <a:pt x="1766" y="23"/>
                  </a:moveTo>
                  <a:lnTo>
                    <a:pt x="1766" y="25"/>
                  </a:lnTo>
                  <a:lnTo>
                    <a:pt x="1766" y="23"/>
                  </a:lnTo>
                  <a:close/>
                  <a:moveTo>
                    <a:pt x="1423" y="23"/>
                  </a:moveTo>
                  <a:lnTo>
                    <a:pt x="1425" y="25"/>
                  </a:lnTo>
                  <a:lnTo>
                    <a:pt x="1423" y="25"/>
                  </a:lnTo>
                  <a:lnTo>
                    <a:pt x="1423" y="23"/>
                  </a:lnTo>
                  <a:close/>
                  <a:moveTo>
                    <a:pt x="1633" y="29"/>
                  </a:moveTo>
                  <a:lnTo>
                    <a:pt x="1633" y="31"/>
                  </a:lnTo>
                  <a:lnTo>
                    <a:pt x="1633" y="33"/>
                  </a:lnTo>
                  <a:lnTo>
                    <a:pt x="1633" y="31"/>
                  </a:lnTo>
                  <a:lnTo>
                    <a:pt x="1632" y="31"/>
                  </a:lnTo>
                  <a:lnTo>
                    <a:pt x="1632" y="29"/>
                  </a:lnTo>
                  <a:lnTo>
                    <a:pt x="1632" y="31"/>
                  </a:lnTo>
                  <a:lnTo>
                    <a:pt x="1632" y="33"/>
                  </a:lnTo>
                  <a:lnTo>
                    <a:pt x="1632" y="31"/>
                  </a:lnTo>
                  <a:lnTo>
                    <a:pt x="1630" y="29"/>
                  </a:lnTo>
                  <a:lnTo>
                    <a:pt x="1628" y="26"/>
                  </a:lnTo>
                  <a:lnTo>
                    <a:pt x="1628" y="25"/>
                  </a:lnTo>
                  <a:lnTo>
                    <a:pt x="1630" y="25"/>
                  </a:lnTo>
                  <a:lnTo>
                    <a:pt x="1630" y="23"/>
                  </a:lnTo>
                  <a:lnTo>
                    <a:pt x="1632" y="23"/>
                  </a:lnTo>
                  <a:lnTo>
                    <a:pt x="1632" y="25"/>
                  </a:lnTo>
                  <a:lnTo>
                    <a:pt x="1633" y="25"/>
                  </a:lnTo>
                  <a:lnTo>
                    <a:pt x="1633" y="26"/>
                  </a:lnTo>
                  <a:lnTo>
                    <a:pt x="1633" y="28"/>
                  </a:lnTo>
                  <a:lnTo>
                    <a:pt x="1633" y="29"/>
                  </a:lnTo>
                  <a:close/>
                  <a:moveTo>
                    <a:pt x="1422" y="23"/>
                  </a:moveTo>
                  <a:lnTo>
                    <a:pt x="1425" y="25"/>
                  </a:lnTo>
                  <a:lnTo>
                    <a:pt x="1425" y="26"/>
                  </a:lnTo>
                  <a:lnTo>
                    <a:pt x="1427" y="26"/>
                  </a:lnTo>
                  <a:lnTo>
                    <a:pt x="1427" y="28"/>
                  </a:lnTo>
                  <a:lnTo>
                    <a:pt x="1425" y="28"/>
                  </a:lnTo>
                  <a:lnTo>
                    <a:pt x="1423" y="26"/>
                  </a:lnTo>
                  <a:lnTo>
                    <a:pt x="1423" y="25"/>
                  </a:lnTo>
                  <a:lnTo>
                    <a:pt x="1422" y="23"/>
                  </a:lnTo>
                  <a:lnTo>
                    <a:pt x="1423" y="23"/>
                  </a:lnTo>
                  <a:lnTo>
                    <a:pt x="1422" y="23"/>
                  </a:lnTo>
                  <a:close/>
                  <a:moveTo>
                    <a:pt x="1405" y="23"/>
                  </a:moveTo>
                  <a:lnTo>
                    <a:pt x="1407" y="23"/>
                  </a:lnTo>
                  <a:lnTo>
                    <a:pt x="1405" y="23"/>
                  </a:lnTo>
                  <a:close/>
                  <a:moveTo>
                    <a:pt x="1381" y="21"/>
                  </a:moveTo>
                  <a:lnTo>
                    <a:pt x="1381" y="23"/>
                  </a:lnTo>
                  <a:lnTo>
                    <a:pt x="1381" y="21"/>
                  </a:lnTo>
                  <a:close/>
                  <a:moveTo>
                    <a:pt x="1766" y="25"/>
                  </a:moveTo>
                  <a:lnTo>
                    <a:pt x="1765" y="25"/>
                  </a:lnTo>
                  <a:lnTo>
                    <a:pt x="1763" y="25"/>
                  </a:lnTo>
                  <a:lnTo>
                    <a:pt x="1762" y="25"/>
                  </a:lnTo>
                  <a:lnTo>
                    <a:pt x="1760" y="25"/>
                  </a:lnTo>
                  <a:lnTo>
                    <a:pt x="1758" y="25"/>
                  </a:lnTo>
                  <a:lnTo>
                    <a:pt x="1757" y="25"/>
                  </a:lnTo>
                  <a:lnTo>
                    <a:pt x="1755" y="23"/>
                  </a:lnTo>
                  <a:lnTo>
                    <a:pt x="1757" y="23"/>
                  </a:lnTo>
                  <a:lnTo>
                    <a:pt x="1758" y="23"/>
                  </a:lnTo>
                  <a:lnTo>
                    <a:pt x="1760" y="23"/>
                  </a:lnTo>
                  <a:lnTo>
                    <a:pt x="1762" y="23"/>
                  </a:lnTo>
                  <a:lnTo>
                    <a:pt x="1760" y="23"/>
                  </a:lnTo>
                  <a:lnTo>
                    <a:pt x="1762" y="21"/>
                  </a:lnTo>
                  <a:lnTo>
                    <a:pt x="1763" y="23"/>
                  </a:lnTo>
                  <a:lnTo>
                    <a:pt x="1765" y="23"/>
                  </a:lnTo>
                  <a:lnTo>
                    <a:pt x="1766" y="23"/>
                  </a:lnTo>
                  <a:lnTo>
                    <a:pt x="1766" y="25"/>
                  </a:lnTo>
                  <a:close/>
                  <a:moveTo>
                    <a:pt x="1765" y="23"/>
                  </a:moveTo>
                  <a:lnTo>
                    <a:pt x="1763" y="21"/>
                  </a:lnTo>
                  <a:lnTo>
                    <a:pt x="1765" y="21"/>
                  </a:lnTo>
                  <a:lnTo>
                    <a:pt x="1765" y="23"/>
                  </a:lnTo>
                  <a:close/>
                  <a:moveTo>
                    <a:pt x="1376" y="20"/>
                  </a:moveTo>
                  <a:lnTo>
                    <a:pt x="1376" y="21"/>
                  </a:lnTo>
                  <a:lnTo>
                    <a:pt x="1376" y="20"/>
                  </a:lnTo>
                  <a:close/>
                  <a:moveTo>
                    <a:pt x="1375" y="20"/>
                  </a:moveTo>
                  <a:lnTo>
                    <a:pt x="1376" y="20"/>
                  </a:lnTo>
                  <a:lnTo>
                    <a:pt x="1375" y="20"/>
                  </a:lnTo>
                  <a:close/>
                  <a:moveTo>
                    <a:pt x="1375" y="20"/>
                  </a:moveTo>
                  <a:lnTo>
                    <a:pt x="1375" y="21"/>
                  </a:lnTo>
                  <a:lnTo>
                    <a:pt x="1373" y="20"/>
                  </a:lnTo>
                  <a:lnTo>
                    <a:pt x="1375" y="20"/>
                  </a:lnTo>
                  <a:close/>
                  <a:moveTo>
                    <a:pt x="2272" y="20"/>
                  </a:moveTo>
                  <a:lnTo>
                    <a:pt x="2271" y="20"/>
                  </a:lnTo>
                  <a:lnTo>
                    <a:pt x="2269" y="20"/>
                  </a:lnTo>
                  <a:lnTo>
                    <a:pt x="2272" y="20"/>
                  </a:lnTo>
                  <a:close/>
                  <a:moveTo>
                    <a:pt x="1627" y="20"/>
                  </a:moveTo>
                  <a:lnTo>
                    <a:pt x="1627" y="21"/>
                  </a:lnTo>
                  <a:lnTo>
                    <a:pt x="1627" y="20"/>
                  </a:lnTo>
                  <a:close/>
                  <a:moveTo>
                    <a:pt x="1736" y="20"/>
                  </a:moveTo>
                  <a:lnTo>
                    <a:pt x="1736" y="18"/>
                  </a:lnTo>
                  <a:lnTo>
                    <a:pt x="1736" y="20"/>
                  </a:lnTo>
                  <a:close/>
                  <a:moveTo>
                    <a:pt x="1420" y="20"/>
                  </a:moveTo>
                  <a:lnTo>
                    <a:pt x="1418" y="18"/>
                  </a:lnTo>
                  <a:lnTo>
                    <a:pt x="1420" y="20"/>
                  </a:lnTo>
                  <a:close/>
                  <a:moveTo>
                    <a:pt x="1376" y="20"/>
                  </a:moveTo>
                  <a:lnTo>
                    <a:pt x="1378" y="20"/>
                  </a:lnTo>
                  <a:lnTo>
                    <a:pt x="1376" y="20"/>
                  </a:lnTo>
                  <a:lnTo>
                    <a:pt x="1375" y="18"/>
                  </a:lnTo>
                  <a:lnTo>
                    <a:pt x="1376" y="18"/>
                  </a:lnTo>
                  <a:lnTo>
                    <a:pt x="1376" y="20"/>
                  </a:lnTo>
                  <a:close/>
                  <a:moveTo>
                    <a:pt x="1378" y="18"/>
                  </a:moveTo>
                  <a:lnTo>
                    <a:pt x="1378" y="20"/>
                  </a:lnTo>
                  <a:lnTo>
                    <a:pt x="1378" y="18"/>
                  </a:lnTo>
                  <a:lnTo>
                    <a:pt x="1376" y="18"/>
                  </a:lnTo>
                  <a:lnTo>
                    <a:pt x="1378" y="18"/>
                  </a:lnTo>
                  <a:lnTo>
                    <a:pt x="1378" y="20"/>
                  </a:lnTo>
                  <a:lnTo>
                    <a:pt x="1378" y="18"/>
                  </a:lnTo>
                  <a:close/>
                  <a:moveTo>
                    <a:pt x="1418" y="16"/>
                  </a:moveTo>
                  <a:lnTo>
                    <a:pt x="1420" y="18"/>
                  </a:lnTo>
                  <a:lnTo>
                    <a:pt x="1418" y="18"/>
                  </a:lnTo>
                  <a:lnTo>
                    <a:pt x="1418" y="16"/>
                  </a:lnTo>
                  <a:close/>
                  <a:moveTo>
                    <a:pt x="1625" y="16"/>
                  </a:moveTo>
                  <a:lnTo>
                    <a:pt x="1625" y="18"/>
                  </a:lnTo>
                  <a:lnTo>
                    <a:pt x="1625" y="16"/>
                  </a:lnTo>
                  <a:close/>
                  <a:moveTo>
                    <a:pt x="1635" y="18"/>
                  </a:moveTo>
                  <a:lnTo>
                    <a:pt x="1635" y="16"/>
                  </a:lnTo>
                  <a:lnTo>
                    <a:pt x="1635" y="18"/>
                  </a:lnTo>
                  <a:close/>
                  <a:moveTo>
                    <a:pt x="2274" y="18"/>
                  </a:moveTo>
                  <a:lnTo>
                    <a:pt x="2271" y="18"/>
                  </a:lnTo>
                  <a:lnTo>
                    <a:pt x="2269" y="18"/>
                  </a:lnTo>
                  <a:lnTo>
                    <a:pt x="2266" y="18"/>
                  </a:lnTo>
                  <a:lnTo>
                    <a:pt x="2266" y="16"/>
                  </a:lnTo>
                  <a:lnTo>
                    <a:pt x="2277" y="16"/>
                  </a:lnTo>
                  <a:lnTo>
                    <a:pt x="2276" y="18"/>
                  </a:lnTo>
                  <a:lnTo>
                    <a:pt x="2274" y="18"/>
                  </a:lnTo>
                  <a:close/>
                  <a:moveTo>
                    <a:pt x="1742" y="18"/>
                  </a:moveTo>
                  <a:lnTo>
                    <a:pt x="1740" y="18"/>
                  </a:lnTo>
                  <a:lnTo>
                    <a:pt x="1737" y="18"/>
                  </a:lnTo>
                  <a:lnTo>
                    <a:pt x="1736" y="18"/>
                  </a:lnTo>
                  <a:lnTo>
                    <a:pt x="1736" y="16"/>
                  </a:lnTo>
                  <a:lnTo>
                    <a:pt x="1744" y="16"/>
                  </a:lnTo>
                  <a:lnTo>
                    <a:pt x="1742" y="18"/>
                  </a:lnTo>
                  <a:close/>
                  <a:moveTo>
                    <a:pt x="1375" y="16"/>
                  </a:moveTo>
                  <a:lnTo>
                    <a:pt x="1373" y="16"/>
                  </a:lnTo>
                  <a:lnTo>
                    <a:pt x="1375" y="16"/>
                  </a:lnTo>
                  <a:close/>
                  <a:moveTo>
                    <a:pt x="1379" y="16"/>
                  </a:moveTo>
                  <a:lnTo>
                    <a:pt x="1378" y="16"/>
                  </a:lnTo>
                  <a:lnTo>
                    <a:pt x="1379" y="16"/>
                  </a:lnTo>
                  <a:close/>
                  <a:moveTo>
                    <a:pt x="1379" y="16"/>
                  </a:moveTo>
                  <a:lnTo>
                    <a:pt x="1379" y="15"/>
                  </a:lnTo>
                  <a:lnTo>
                    <a:pt x="1379" y="16"/>
                  </a:lnTo>
                  <a:close/>
                  <a:moveTo>
                    <a:pt x="1423" y="16"/>
                  </a:moveTo>
                  <a:lnTo>
                    <a:pt x="1423" y="15"/>
                  </a:lnTo>
                  <a:lnTo>
                    <a:pt x="1423" y="16"/>
                  </a:lnTo>
                  <a:close/>
                  <a:moveTo>
                    <a:pt x="1732" y="16"/>
                  </a:moveTo>
                  <a:lnTo>
                    <a:pt x="1734" y="16"/>
                  </a:lnTo>
                  <a:lnTo>
                    <a:pt x="1732" y="16"/>
                  </a:lnTo>
                  <a:lnTo>
                    <a:pt x="1731" y="15"/>
                  </a:lnTo>
                  <a:lnTo>
                    <a:pt x="1732" y="15"/>
                  </a:lnTo>
                  <a:lnTo>
                    <a:pt x="1732" y="16"/>
                  </a:lnTo>
                  <a:close/>
                  <a:moveTo>
                    <a:pt x="1381" y="15"/>
                  </a:moveTo>
                  <a:lnTo>
                    <a:pt x="1379" y="15"/>
                  </a:lnTo>
                  <a:lnTo>
                    <a:pt x="1381" y="15"/>
                  </a:lnTo>
                  <a:close/>
                  <a:moveTo>
                    <a:pt x="1423" y="16"/>
                  </a:moveTo>
                  <a:lnTo>
                    <a:pt x="1420" y="16"/>
                  </a:lnTo>
                  <a:lnTo>
                    <a:pt x="1420" y="15"/>
                  </a:lnTo>
                  <a:lnTo>
                    <a:pt x="1422" y="16"/>
                  </a:lnTo>
                  <a:lnTo>
                    <a:pt x="1423" y="16"/>
                  </a:lnTo>
                  <a:close/>
                  <a:moveTo>
                    <a:pt x="1375" y="15"/>
                  </a:moveTo>
                  <a:lnTo>
                    <a:pt x="1373" y="15"/>
                  </a:lnTo>
                  <a:lnTo>
                    <a:pt x="1375" y="15"/>
                  </a:lnTo>
                  <a:close/>
                  <a:moveTo>
                    <a:pt x="1384" y="15"/>
                  </a:moveTo>
                  <a:lnTo>
                    <a:pt x="1383" y="15"/>
                  </a:lnTo>
                  <a:lnTo>
                    <a:pt x="1384" y="15"/>
                  </a:lnTo>
                  <a:close/>
                  <a:moveTo>
                    <a:pt x="1384" y="15"/>
                  </a:moveTo>
                  <a:lnTo>
                    <a:pt x="1383" y="15"/>
                  </a:lnTo>
                  <a:lnTo>
                    <a:pt x="1384" y="15"/>
                  </a:lnTo>
                  <a:close/>
                  <a:moveTo>
                    <a:pt x="1428" y="15"/>
                  </a:moveTo>
                  <a:lnTo>
                    <a:pt x="1427" y="15"/>
                  </a:lnTo>
                  <a:lnTo>
                    <a:pt x="1428" y="15"/>
                  </a:lnTo>
                  <a:close/>
                  <a:moveTo>
                    <a:pt x="1423" y="13"/>
                  </a:moveTo>
                  <a:lnTo>
                    <a:pt x="1423" y="15"/>
                  </a:lnTo>
                  <a:lnTo>
                    <a:pt x="1423" y="13"/>
                  </a:lnTo>
                  <a:close/>
                  <a:moveTo>
                    <a:pt x="1375" y="15"/>
                  </a:moveTo>
                  <a:lnTo>
                    <a:pt x="1375" y="13"/>
                  </a:lnTo>
                  <a:lnTo>
                    <a:pt x="1376" y="13"/>
                  </a:lnTo>
                  <a:lnTo>
                    <a:pt x="1376" y="15"/>
                  </a:lnTo>
                  <a:lnTo>
                    <a:pt x="1375" y="15"/>
                  </a:lnTo>
                  <a:lnTo>
                    <a:pt x="1375" y="13"/>
                  </a:lnTo>
                  <a:lnTo>
                    <a:pt x="1375" y="15"/>
                  </a:lnTo>
                  <a:close/>
                  <a:moveTo>
                    <a:pt x="1366" y="13"/>
                  </a:moveTo>
                  <a:lnTo>
                    <a:pt x="1365" y="13"/>
                  </a:lnTo>
                  <a:lnTo>
                    <a:pt x="1366" y="13"/>
                  </a:lnTo>
                  <a:close/>
                  <a:moveTo>
                    <a:pt x="1420" y="15"/>
                  </a:moveTo>
                  <a:lnTo>
                    <a:pt x="1420" y="13"/>
                  </a:lnTo>
                  <a:lnTo>
                    <a:pt x="1420" y="15"/>
                  </a:lnTo>
                  <a:lnTo>
                    <a:pt x="1422" y="15"/>
                  </a:lnTo>
                  <a:lnTo>
                    <a:pt x="1420" y="15"/>
                  </a:lnTo>
                  <a:lnTo>
                    <a:pt x="1422" y="15"/>
                  </a:lnTo>
                  <a:lnTo>
                    <a:pt x="1422" y="16"/>
                  </a:lnTo>
                  <a:lnTo>
                    <a:pt x="1422" y="15"/>
                  </a:lnTo>
                  <a:lnTo>
                    <a:pt x="1422" y="16"/>
                  </a:lnTo>
                  <a:lnTo>
                    <a:pt x="1420" y="15"/>
                  </a:lnTo>
                  <a:lnTo>
                    <a:pt x="1420" y="13"/>
                  </a:lnTo>
                  <a:lnTo>
                    <a:pt x="1420" y="15"/>
                  </a:lnTo>
                  <a:close/>
                  <a:moveTo>
                    <a:pt x="1375" y="15"/>
                  </a:moveTo>
                  <a:lnTo>
                    <a:pt x="1375" y="13"/>
                  </a:lnTo>
                  <a:lnTo>
                    <a:pt x="1375" y="15"/>
                  </a:lnTo>
                  <a:close/>
                  <a:moveTo>
                    <a:pt x="1430" y="13"/>
                  </a:moveTo>
                  <a:lnTo>
                    <a:pt x="1428" y="13"/>
                  </a:lnTo>
                  <a:lnTo>
                    <a:pt x="1430" y="13"/>
                  </a:lnTo>
                  <a:close/>
                  <a:moveTo>
                    <a:pt x="1366" y="13"/>
                  </a:moveTo>
                  <a:lnTo>
                    <a:pt x="1365" y="13"/>
                  </a:lnTo>
                  <a:lnTo>
                    <a:pt x="1366" y="13"/>
                  </a:lnTo>
                  <a:close/>
                  <a:moveTo>
                    <a:pt x="1373" y="13"/>
                  </a:moveTo>
                  <a:lnTo>
                    <a:pt x="1371" y="13"/>
                  </a:lnTo>
                  <a:lnTo>
                    <a:pt x="1373" y="13"/>
                  </a:lnTo>
                  <a:close/>
                  <a:moveTo>
                    <a:pt x="1430" y="13"/>
                  </a:moveTo>
                  <a:lnTo>
                    <a:pt x="1428" y="13"/>
                  </a:lnTo>
                  <a:lnTo>
                    <a:pt x="1430" y="13"/>
                  </a:lnTo>
                  <a:close/>
                  <a:moveTo>
                    <a:pt x="1632" y="13"/>
                  </a:moveTo>
                  <a:lnTo>
                    <a:pt x="1633" y="16"/>
                  </a:lnTo>
                  <a:lnTo>
                    <a:pt x="1627" y="16"/>
                  </a:lnTo>
                  <a:lnTo>
                    <a:pt x="1628" y="16"/>
                  </a:lnTo>
                  <a:lnTo>
                    <a:pt x="1630" y="15"/>
                  </a:lnTo>
                  <a:lnTo>
                    <a:pt x="1632" y="13"/>
                  </a:lnTo>
                  <a:close/>
                  <a:moveTo>
                    <a:pt x="1427" y="15"/>
                  </a:moveTo>
                  <a:lnTo>
                    <a:pt x="1425" y="13"/>
                  </a:lnTo>
                  <a:lnTo>
                    <a:pt x="1427" y="13"/>
                  </a:lnTo>
                  <a:lnTo>
                    <a:pt x="1427" y="15"/>
                  </a:lnTo>
                  <a:close/>
                  <a:moveTo>
                    <a:pt x="2285" y="13"/>
                  </a:moveTo>
                  <a:lnTo>
                    <a:pt x="2284" y="15"/>
                  </a:lnTo>
                  <a:lnTo>
                    <a:pt x="2282" y="15"/>
                  </a:lnTo>
                  <a:lnTo>
                    <a:pt x="2284" y="13"/>
                  </a:lnTo>
                  <a:lnTo>
                    <a:pt x="2285" y="13"/>
                  </a:lnTo>
                  <a:lnTo>
                    <a:pt x="2287" y="13"/>
                  </a:lnTo>
                  <a:lnTo>
                    <a:pt x="2285" y="13"/>
                  </a:lnTo>
                  <a:close/>
                  <a:moveTo>
                    <a:pt x="1427" y="13"/>
                  </a:moveTo>
                  <a:lnTo>
                    <a:pt x="1425" y="13"/>
                  </a:lnTo>
                  <a:lnTo>
                    <a:pt x="1427" y="13"/>
                  </a:lnTo>
                  <a:close/>
                  <a:moveTo>
                    <a:pt x="1423" y="13"/>
                  </a:moveTo>
                  <a:lnTo>
                    <a:pt x="1423" y="12"/>
                  </a:lnTo>
                  <a:lnTo>
                    <a:pt x="1423" y="13"/>
                  </a:lnTo>
                  <a:close/>
                  <a:moveTo>
                    <a:pt x="1422" y="13"/>
                  </a:moveTo>
                  <a:lnTo>
                    <a:pt x="1423" y="13"/>
                  </a:lnTo>
                  <a:lnTo>
                    <a:pt x="1422" y="13"/>
                  </a:lnTo>
                  <a:lnTo>
                    <a:pt x="1422" y="15"/>
                  </a:lnTo>
                  <a:lnTo>
                    <a:pt x="1423" y="15"/>
                  </a:lnTo>
                  <a:lnTo>
                    <a:pt x="1423" y="16"/>
                  </a:lnTo>
                  <a:lnTo>
                    <a:pt x="1425" y="16"/>
                  </a:lnTo>
                  <a:lnTo>
                    <a:pt x="1425" y="15"/>
                  </a:lnTo>
                  <a:lnTo>
                    <a:pt x="1423" y="15"/>
                  </a:lnTo>
                  <a:lnTo>
                    <a:pt x="1423" y="13"/>
                  </a:lnTo>
                  <a:lnTo>
                    <a:pt x="1425" y="15"/>
                  </a:lnTo>
                  <a:lnTo>
                    <a:pt x="1427" y="15"/>
                  </a:lnTo>
                  <a:lnTo>
                    <a:pt x="1427" y="16"/>
                  </a:lnTo>
                  <a:lnTo>
                    <a:pt x="1427" y="15"/>
                  </a:lnTo>
                  <a:lnTo>
                    <a:pt x="1427" y="16"/>
                  </a:lnTo>
                  <a:lnTo>
                    <a:pt x="1425" y="16"/>
                  </a:lnTo>
                  <a:lnTo>
                    <a:pt x="1427" y="16"/>
                  </a:lnTo>
                  <a:lnTo>
                    <a:pt x="1423" y="16"/>
                  </a:lnTo>
                  <a:lnTo>
                    <a:pt x="1422" y="16"/>
                  </a:lnTo>
                  <a:lnTo>
                    <a:pt x="1422" y="15"/>
                  </a:lnTo>
                  <a:lnTo>
                    <a:pt x="1420" y="13"/>
                  </a:lnTo>
                  <a:lnTo>
                    <a:pt x="1418" y="12"/>
                  </a:lnTo>
                  <a:lnTo>
                    <a:pt x="1420" y="12"/>
                  </a:lnTo>
                  <a:lnTo>
                    <a:pt x="1420" y="13"/>
                  </a:lnTo>
                  <a:lnTo>
                    <a:pt x="1422" y="13"/>
                  </a:lnTo>
                  <a:lnTo>
                    <a:pt x="1422" y="15"/>
                  </a:lnTo>
                  <a:lnTo>
                    <a:pt x="1422" y="13"/>
                  </a:lnTo>
                  <a:close/>
                  <a:moveTo>
                    <a:pt x="1373" y="12"/>
                  </a:moveTo>
                  <a:lnTo>
                    <a:pt x="1371" y="12"/>
                  </a:lnTo>
                  <a:lnTo>
                    <a:pt x="1373" y="12"/>
                  </a:lnTo>
                  <a:close/>
                  <a:moveTo>
                    <a:pt x="2258" y="13"/>
                  </a:moveTo>
                  <a:lnTo>
                    <a:pt x="2259" y="15"/>
                  </a:lnTo>
                  <a:lnTo>
                    <a:pt x="2258" y="13"/>
                  </a:lnTo>
                  <a:lnTo>
                    <a:pt x="2256" y="12"/>
                  </a:lnTo>
                  <a:lnTo>
                    <a:pt x="2258" y="12"/>
                  </a:lnTo>
                  <a:lnTo>
                    <a:pt x="2258" y="13"/>
                  </a:lnTo>
                  <a:close/>
                  <a:moveTo>
                    <a:pt x="2256" y="12"/>
                  </a:moveTo>
                  <a:lnTo>
                    <a:pt x="2258" y="12"/>
                  </a:lnTo>
                  <a:lnTo>
                    <a:pt x="2256" y="12"/>
                  </a:lnTo>
                  <a:close/>
                  <a:moveTo>
                    <a:pt x="1371" y="12"/>
                  </a:moveTo>
                  <a:lnTo>
                    <a:pt x="1370" y="12"/>
                  </a:lnTo>
                  <a:lnTo>
                    <a:pt x="1371" y="12"/>
                  </a:lnTo>
                  <a:close/>
                  <a:moveTo>
                    <a:pt x="1371" y="12"/>
                  </a:moveTo>
                  <a:lnTo>
                    <a:pt x="1371" y="10"/>
                  </a:lnTo>
                  <a:lnTo>
                    <a:pt x="1371" y="12"/>
                  </a:lnTo>
                  <a:close/>
                  <a:moveTo>
                    <a:pt x="1370" y="10"/>
                  </a:moveTo>
                  <a:lnTo>
                    <a:pt x="1370" y="12"/>
                  </a:lnTo>
                  <a:lnTo>
                    <a:pt x="1370" y="10"/>
                  </a:lnTo>
                  <a:close/>
                  <a:moveTo>
                    <a:pt x="2256" y="12"/>
                  </a:moveTo>
                  <a:lnTo>
                    <a:pt x="2254" y="12"/>
                  </a:lnTo>
                  <a:lnTo>
                    <a:pt x="2254" y="10"/>
                  </a:lnTo>
                  <a:lnTo>
                    <a:pt x="2256" y="12"/>
                  </a:lnTo>
                  <a:close/>
                  <a:moveTo>
                    <a:pt x="1412" y="12"/>
                  </a:moveTo>
                  <a:lnTo>
                    <a:pt x="1412" y="10"/>
                  </a:lnTo>
                  <a:lnTo>
                    <a:pt x="1412" y="12"/>
                  </a:lnTo>
                  <a:close/>
                  <a:moveTo>
                    <a:pt x="1729" y="12"/>
                  </a:moveTo>
                  <a:lnTo>
                    <a:pt x="1729" y="10"/>
                  </a:lnTo>
                  <a:lnTo>
                    <a:pt x="1729" y="12"/>
                  </a:lnTo>
                  <a:close/>
                  <a:moveTo>
                    <a:pt x="1373" y="10"/>
                  </a:moveTo>
                  <a:lnTo>
                    <a:pt x="1371" y="12"/>
                  </a:lnTo>
                  <a:lnTo>
                    <a:pt x="1371" y="10"/>
                  </a:lnTo>
                  <a:lnTo>
                    <a:pt x="1373" y="10"/>
                  </a:lnTo>
                  <a:close/>
                  <a:moveTo>
                    <a:pt x="1415" y="12"/>
                  </a:moveTo>
                  <a:lnTo>
                    <a:pt x="1414" y="12"/>
                  </a:lnTo>
                  <a:lnTo>
                    <a:pt x="1415" y="12"/>
                  </a:lnTo>
                  <a:lnTo>
                    <a:pt x="1417" y="12"/>
                  </a:lnTo>
                  <a:lnTo>
                    <a:pt x="1417" y="13"/>
                  </a:lnTo>
                  <a:lnTo>
                    <a:pt x="1415" y="13"/>
                  </a:lnTo>
                  <a:lnTo>
                    <a:pt x="1415" y="12"/>
                  </a:lnTo>
                  <a:lnTo>
                    <a:pt x="1414" y="12"/>
                  </a:lnTo>
                  <a:lnTo>
                    <a:pt x="1414" y="10"/>
                  </a:lnTo>
                  <a:lnTo>
                    <a:pt x="1414" y="12"/>
                  </a:lnTo>
                  <a:lnTo>
                    <a:pt x="1414" y="10"/>
                  </a:lnTo>
                  <a:lnTo>
                    <a:pt x="1412" y="10"/>
                  </a:lnTo>
                  <a:lnTo>
                    <a:pt x="1414" y="10"/>
                  </a:lnTo>
                  <a:lnTo>
                    <a:pt x="1415" y="10"/>
                  </a:lnTo>
                  <a:lnTo>
                    <a:pt x="1415" y="12"/>
                  </a:lnTo>
                  <a:lnTo>
                    <a:pt x="1417" y="12"/>
                  </a:lnTo>
                  <a:lnTo>
                    <a:pt x="1415" y="12"/>
                  </a:lnTo>
                  <a:close/>
                  <a:moveTo>
                    <a:pt x="1371" y="10"/>
                  </a:moveTo>
                  <a:lnTo>
                    <a:pt x="1370" y="10"/>
                  </a:lnTo>
                  <a:lnTo>
                    <a:pt x="1371" y="10"/>
                  </a:lnTo>
                  <a:close/>
                  <a:moveTo>
                    <a:pt x="1370" y="8"/>
                  </a:moveTo>
                  <a:lnTo>
                    <a:pt x="1370" y="10"/>
                  </a:lnTo>
                  <a:lnTo>
                    <a:pt x="1370" y="8"/>
                  </a:lnTo>
                  <a:lnTo>
                    <a:pt x="1368" y="8"/>
                  </a:lnTo>
                  <a:lnTo>
                    <a:pt x="1370" y="8"/>
                  </a:lnTo>
                  <a:close/>
                  <a:moveTo>
                    <a:pt x="1405" y="10"/>
                  </a:moveTo>
                  <a:lnTo>
                    <a:pt x="1404" y="10"/>
                  </a:lnTo>
                  <a:lnTo>
                    <a:pt x="1404" y="8"/>
                  </a:lnTo>
                  <a:lnTo>
                    <a:pt x="1405" y="8"/>
                  </a:lnTo>
                  <a:lnTo>
                    <a:pt x="1405" y="10"/>
                  </a:lnTo>
                  <a:close/>
                  <a:moveTo>
                    <a:pt x="2489" y="8"/>
                  </a:moveTo>
                  <a:lnTo>
                    <a:pt x="2487" y="8"/>
                  </a:lnTo>
                  <a:lnTo>
                    <a:pt x="2489" y="8"/>
                  </a:lnTo>
                  <a:close/>
                  <a:moveTo>
                    <a:pt x="1410" y="13"/>
                  </a:moveTo>
                  <a:lnTo>
                    <a:pt x="1412" y="13"/>
                  </a:lnTo>
                  <a:lnTo>
                    <a:pt x="1412" y="12"/>
                  </a:lnTo>
                  <a:lnTo>
                    <a:pt x="1410" y="13"/>
                  </a:lnTo>
                  <a:lnTo>
                    <a:pt x="1410" y="12"/>
                  </a:lnTo>
                  <a:lnTo>
                    <a:pt x="1409" y="12"/>
                  </a:lnTo>
                  <a:lnTo>
                    <a:pt x="1407" y="12"/>
                  </a:lnTo>
                  <a:lnTo>
                    <a:pt x="1409" y="12"/>
                  </a:lnTo>
                  <a:lnTo>
                    <a:pt x="1407" y="12"/>
                  </a:lnTo>
                  <a:lnTo>
                    <a:pt x="1409" y="12"/>
                  </a:lnTo>
                  <a:lnTo>
                    <a:pt x="1410" y="12"/>
                  </a:lnTo>
                  <a:lnTo>
                    <a:pt x="1410" y="10"/>
                  </a:lnTo>
                  <a:lnTo>
                    <a:pt x="1412" y="10"/>
                  </a:lnTo>
                  <a:lnTo>
                    <a:pt x="1412" y="12"/>
                  </a:lnTo>
                  <a:lnTo>
                    <a:pt x="1415" y="13"/>
                  </a:lnTo>
                  <a:lnTo>
                    <a:pt x="1415" y="15"/>
                  </a:lnTo>
                  <a:lnTo>
                    <a:pt x="1417" y="15"/>
                  </a:lnTo>
                  <a:lnTo>
                    <a:pt x="1417" y="16"/>
                  </a:lnTo>
                  <a:lnTo>
                    <a:pt x="1418" y="16"/>
                  </a:lnTo>
                  <a:lnTo>
                    <a:pt x="1404" y="16"/>
                  </a:lnTo>
                  <a:lnTo>
                    <a:pt x="1402" y="16"/>
                  </a:lnTo>
                  <a:lnTo>
                    <a:pt x="1402" y="15"/>
                  </a:lnTo>
                  <a:lnTo>
                    <a:pt x="1402" y="16"/>
                  </a:lnTo>
                  <a:lnTo>
                    <a:pt x="1401" y="15"/>
                  </a:lnTo>
                  <a:lnTo>
                    <a:pt x="1401" y="13"/>
                  </a:lnTo>
                  <a:lnTo>
                    <a:pt x="1401" y="15"/>
                  </a:lnTo>
                  <a:lnTo>
                    <a:pt x="1402" y="15"/>
                  </a:lnTo>
                  <a:lnTo>
                    <a:pt x="1401" y="15"/>
                  </a:lnTo>
                  <a:lnTo>
                    <a:pt x="1401" y="13"/>
                  </a:lnTo>
                  <a:lnTo>
                    <a:pt x="1401" y="15"/>
                  </a:lnTo>
                  <a:lnTo>
                    <a:pt x="1401" y="13"/>
                  </a:lnTo>
                  <a:lnTo>
                    <a:pt x="1399" y="13"/>
                  </a:lnTo>
                  <a:lnTo>
                    <a:pt x="1397" y="12"/>
                  </a:lnTo>
                  <a:lnTo>
                    <a:pt x="1397" y="10"/>
                  </a:lnTo>
                  <a:lnTo>
                    <a:pt x="1397" y="12"/>
                  </a:lnTo>
                  <a:lnTo>
                    <a:pt x="1396" y="8"/>
                  </a:lnTo>
                  <a:lnTo>
                    <a:pt x="1397" y="8"/>
                  </a:lnTo>
                  <a:lnTo>
                    <a:pt x="1399" y="10"/>
                  </a:lnTo>
                  <a:lnTo>
                    <a:pt x="1402" y="10"/>
                  </a:lnTo>
                  <a:lnTo>
                    <a:pt x="1405" y="12"/>
                  </a:lnTo>
                  <a:lnTo>
                    <a:pt x="1407" y="12"/>
                  </a:lnTo>
                  <a:lnTo>
                    <a:pt x="1409" y="12"/>
                  </a:lnTo>
                  <a:lnTo>
                    <a:pt x="1409" y="13"/>
                  </a:lnTo>
                  <a:lnTo>
                    <a:pt x="1410" y="12"/>
                  </a:lnTo>
                  <a:lnTo>
                    <a:pt x="1410" y="13"/>
                  </a:lnTo>
                  <a:close/>
                  <a:moveTo>
                    <a:pt x="1397" y="10"/>
                  </a:moveTo>
                  <a:lnTo>
                    <a:pt x="1399" y="12"/>
                  </a:lnTo>
                  <a:lnTo>
                    <a:pt x="1401" y="13"/>
                  </a:lnTo>
                  <a:lnTo>
                    <a:pt x="1402" y="15"/>
                  </a:lnTo>
                  <a:lnTo>
                    <a:pt x="1401" y="13"/>
                  </a:lnTo>
                  <a:lnTo>
                    <a:pt x="1399" y="12"/>
                  </a:lnTo>
                  <a:lnTo>
                    <a:pt x="1401" y="12"/>
                  </a:lnTo>
                  <a:lnTo>
                    <a:pt x="1399" y="12"/>
                  </a:lnTo>
                  <a:lnTo>
                    <a:pt x="1397" y="10"/>
                  </a:lnTo>
                  <a:close/>
                  <a:moveTo>
                    <a:pt x="1397" y="10"/>
                  </a:moveTo>
                  <a:lnTo>
                    <a:pt x="1396" y="8"/>
                  </a:lnTo>
                  <a:lnTo>
                    <a:pt x="1397" y="10"/>
                  </a:lnTo>
                  <a:close/>
                  <a:moveTo>
                    <a:pt x="2487" y="8"/>
                  </a:moveTo>
                  <a:lnTo>
                    <a:pt x="2485" y="8"/>
                  </a:lnTo>
                  <a:lnTo>
                    <a:pt x="2487" y="8"/>
                  </a:lnTo>
                  <a:close/>
                  <a:moveTo>
                    <a:pt x="2487" y="7"/>
                  </a:moveTo>
                  <a:lnTo>
                    <a:pt x="2487" y="8"/>
                  </a:lnTo>
                  <a:lnTo>
                    <a:pt x="2487" y="7"/>
                  </a:lnTo>
                  <a:close/>
                  <a:moveTo>
                    <a:pt x="1401" y="8"/>
                  </a:moveTo>
                  <a:lnTo>
                    <a:pt x="1401" y="7"/>
                  </a:lnTo>
                  <a:lnTo>
                    <a:pt x="1401" y="8"/>
                  </a:lnTo>
                  <a:close/>
                  <a:moveTo>
                    <a:pt x="2487" y="7"/>
                  </a:moveTo>
                  <a:lnTo>
                    <a:pt x="2489" y="7"/>
                  </a:lnTo>
                  <a:lnTo>
                    <a:pt x="2487" y="7"/>
                  </a:lnTo>
                  <a:close/>
                  <a:moveTo>
                    <a:pt x="2487" y="7"/>
                  </a:moveTo>
                  <a:lnTo>
                    <a:pt x="2485" y="7"/>
                  </a:lnTo>
                  <a:lnTo>
                    <a:pt x="2487" y="7"/>
                  </a:lnTo>
                  <a:close/>
                  <a:moveTo>
                    <a:pt x="1368" y="7"/>
                  </a:moveTo>
                  <a:lnTo>
                    <a:pt x="1370" y="7"/>
                  </a:lnTo>
                  <a:lnTo>
                    <a:pt x="1368" y="7"/>
                  </a:lnTo>
                  <a:close/>
                  <a:moveTo>
                    <a:pt x="2489" y="7"/>
                  </a:moveTo>
                  <a:lnTo>
                    <a:pt x="2487" y="7"/>
                  </a:lnTo>
                  <a:lnTo>
                    <a:pt x="2489" y="7"/>
                  </a:lnTo>
                  <a:close/>
                  <a:moveTo>
                    <a:pt x="2489" y="7"/>
                  </a:moveTo>
                  <a:lnTo>
                    <a:pt x="2487" y="7"/>
                  </a:lnTo>
                  <a:lnTo>
                    <a:pt x="2489" y="7"/>
                  </a:lnTo>
                  <a:close/>
                  <a:moveTo>
                    <a:pt x="1401" y="7"/>
                  </a:moveTo>
                  <a:lnTo>
                    <a:pt x="1401" y="8"/>
                  </a:lnTo>
                  <a:lnTo>
                    <a:pt x="1402" y="8"/>
                  </a:lnTo>
                  <a:lnTo>
                    <a:pt x="1401" y="8"/>
                  </a:lnTo>
                  <a:lnTo>
                    <a:pt x="1399" y="8"/>
                  </a:lnTo>
                  <a:lnTo>
                    <a:pt x="1397" y="8"/>
                  </a:lnTo>
                  <a:lnTo>
                    <a:pt x="1397" y="7"/>
                  </a:lnTo>
                  <a:lnTo>
                    <a:pt x="1399" y="8"/>
                  </a:lnTo>
                  <a:lnTo>
                    <a:pt x="1397" y="7"/>
                  </a:lnTo>
                  <a:lnTo>
                    <a:pt x="1399" y="7"/>
                  </a:lnTo>
                  <a:lnTo>
                    <a:pt x="1401" y="7"/>
                  </a:lnTo>
                  <a:close/>
                  <a:moveTo>
                    <a:pt x="1368" y="7"/>
                  </a:moveTo>
                  <a:lnTo>
                    <a:pt x="1368" y="5"/>
                  </a:lnTo>
                  <a:lnTo>
                    <a:pt x="1368" y="7"/>
                  </a:lnTo>
                  <a:close/>
                  <a:moveTo>
                    <a:pt x="1404" y="8"/>
                  </a:moveTo>
                  <a:lnTo>
                    <a:pt x="1402" y="7"/>
                  </a:lnTo>
                  <a:lnTo>
                    <a:pt x="1401" y="7"/>
                  </a:lnTo>
                  <a:lnTo>
                    <a:pt x="1401" y="5"/>
                  </a:lnTo>
                  <a:lnTo>
                    <a:pt x="1404" y="8"/>
                  </a:lnTo>
                  <a:close/>
                  <a:moveTo>
                    <a:pt x="1368" y="5"/>
                  </a:moveTo>
                  <a:lnTo>
                    <a:pt x="1370" y="5"/>
                  </a:lnTo>
                  <a:lnTo>
                    <a:pt x="1368" y="5"/>
                  </a:lnTo>
                  <a:close/>
                  <a:moveTo>
                    <a:pt x="1368" y="5"/>
                  </a:moveTo>
                  <a:lnTo>
                    <a:pt x="1366" y="5"/>
                  </a:lnTo>
                  <a:lnTo>
                    <a:pt x="1368" y="5"/>
                  </a:lnTo>
                  <a:close/>
                  <a:moveTo>
                    <a:pt x="1397" y="5"/>
                  </a:moveTo>
                  <a:lnTo>
                    <a:pt x="1399" y="5"/>
                  </a:lnTo>
                  <a:lnTo>
                    <a:pt x="1401" y="7"/>
                  </a:lnTo>
                  <a:lnTo>
                    <a:pt x="1399" y="7"/>
                  </a:lnTo>
                  <a:lnTo>
                    <a:pt x="1397" y="7"/>
                  </a:lnTo>
                  <a:lnTo>
                    <a:pt x="1397" y="5"/>
                  </a:lnTo>
                  <a:lnTo>
                    <a:pt x="1397" y="3"/>
                  </a:lnTo>
                  <a:lnTo>
                    <a:pt x="1397" y="5"/>
                  </a:lnTo>
                  <a:close/>
                  <a:moveTo>
                    <a:pt x="1396" y="7"/>
                  </a:moveTo>
                  <a:lnTo>
                    <a:pt x="1394" y="3"/>
                  </a:lnTo>
                  <a:lnTo>
                    <a:pt x="1394" y="5"/>
                  </a:lnTo>
                  <a:lnTo>
                    <a:pt x="1396" y="7"/>
                  </a:lnTo>
                  <a:close/>
                  <a:moveTo>
                    <a:pt x="2487" y="3"/>
                  </a:moveTo>
                  <a:lnTo>
                    <a:pt x="2485" y="3"/>
                  </a:lnTo>
                  <a:lnTo>
                    <a:pt x="2487" y="3"/>
                  </a:lnTo>
                  <a:close/>
                  <a:moveTo>
                    <a:pt x="2324" y="3"/>
                  </a:moveTo>
                  <a:lnTo>
                    <a:pt x="2323" y="3"/>
                  </a:lnTo>
                  <a:lnTo>
                    <a:pt x="2324" y="3"/>
                  </a:lnTo>
                  <a:close/>
                  <a:moveTo>
                    <a:pt x="2292" y="5"/>
                  </a:moveTo>
                  <a:lnTo>
                    <a:pt x="2290" y="7"/>
                  </a:lnTo>
                  <a:lnTo>
                    <a:pt x="2292" y="5"/>
                  </a:lnTo>
                  <a:lnTo>
                    <a:pt x="2293" y="3"/>
                  </a:lnTo>
                  <a:lnTo>
                    <a:pt x="2295" y="3"/>
                  </a:lnTo>
                  <a:lnTo>
                    <a:pt x="2293" y="5"/>
                  </a:lnTo>
                  <a:lnTo>
                    <a:pt x="2292" y="5"/>
                  </a:lnTo>
                  <a:close/>
                  <a:moveTo>
                    <a:pt x="2321" y="3"/>
                  </a:moveTo>
                  <a:lnTo>
                    <a:pt x="2323" y="3"/>
                  </a:lnTo>
                  <a:lnTo>
                    <a:pt x="2321" y="3"/>
                  </a:lnTo>
                  <a:close/>
                  <a:moveTo>
                    <a:pt x="2324" y="3"/>
                  </a:moveTo>
                  <a:lnTo>
                    <a:pt x="2326" y="3"/>
                  </a:lnTo>
                  <a:lnTo>
                    <a:pt x="2324" y="3"/>
                  </a:lnTo>
                  <a:close/>
                  <a:moveTo>
                    <a:pt x="1362" y="3"/>
                  </a:moveTo>
                  <a:lnTo>
                    <a:pt x="1363" y="3"/>
                  </a:lnTo>
                  <a:lnTo>
                    <a:pt x="1362" y="3"/>
                  </a:lnTo>
                  <a:close/>
                  <a:moveTo>
                    <a:pt x="1632" y="2"/>
                  </a:moveTo>
                  <a:lnTo>
                    <a:pt x="1632" y="3"/>
                  </a:lnTo>
                  <a:lnTo>
                    <a:pt x="1632" y="2"/>
                  </a:lnTo>
                  <a:close/>
                  <a:moveTo>
                    <a:pt x="1366" y="2"/>
                  </a:moveTo>
                  <a:lnTo>
                    <a:pt x="1366" y="3"/>
                  </a:lnTo>
                  <a:lnTo>
                    <a:pt x="1366" y="2"/>
                  </a:lnTo>
                  <a:close/>
                  <a:moveTo>
                    <a:pt x="1392" y="3"/>
                  </a:moveTo>
                  <a:lnTo>
                    <a:pt x="1394" y="5"/>
                  </a:lnTo>
                  <a:lnTo>
                    <a:pt x="1396" y="7"/>
                  </a:lnTo>
                  <a:lnTo>
                    <a:pt x="1396" y="8"/>
                  </a:lnTo>
                  <a:lnTo>
                    <a:pt x="1394" y="8"/>
                  </a:lnTo>
                  <a:lnTo>
                    <a:pt x="1392" y="8"/>
                  </a:lnTo>
                  <a:lnTo>
                    <a:pt x="1391" y="10"/>
                  </a:lnTo>
                  <a:lnTo>
                    <a:pt x="1391" y="8"/>
                  </a:lnTo>
                  <a:lnTo>
                    <a:pt x="1391" y="7"/>
                  </a:lnTo>
                  <a:lnTo>
                    <a:pt x="1391" y="5"/>
                  </a:lnTo>
                  <a:lnTo>
                    <a:pt x="1389" y="5"/>
                  </a:lnTo>
                  <a:lnTo>
                    <a:pt x="1388" y="5"/>
                  </a:lnTo>
                  <a:lnTo>
                    <a:pt x="1388" y="3"/>
                  </a:lnTo>
                  <a:lnTo>
                    <a:pt x="1389" y="3"/>
                  </a:lnTo>
                  <a:lnTo>
                    <a:pt x="1391" y="2"/>
                  </a:lnTo>
                  <a:lnTo>
                    <a:pt x="1391" y="3"/>
                  </a:lnTo>
                  <a:lnTo>
                    <a:pt x="1392" y="3"/>
                  </a:lnTo>
                  <a:close/>
                  <a:moveTo>
                    <a:pt x="1397" y="2"/>
                  </a:moveTo>
                  <a:lnTo>
                    <a:pt x="1397" y="3"/>
                  </a:lnTo>
                  <a:lnTo>
                    <a:pt x="1399" y="3"/>
                  </a:lnTo>
                  <a:lnTo>
                    <a:pt x="1397" y="3"/>
                  </a:lnTo>
                  <a:lnTo>
                    <a:pt x="1397" y="2"/>
                  </a:lnTo>
                  <a:close/>
                  <a:moveTo>
                    <a:pt x="1366" y="3"/>
                  </a:moveTo>
                  <a:lnTo>
                    <a:pt x="1366" y="2"/>
                  </a:lnTo>
                  <a:lnTo>
                    <a:pt x="1366" y="3"/>
                  </a:lnTo>
                  <a:close/>
                  <a:moveTo>
                    <a:pt x="2324" y="3"/>
                  </a:moveTo>
                  <a:lnTo>
                    <a:pt x="2324" y="2"/>
                  </a:lnTo>
                  <a:lnTo>
                    <a:pt x="2323" y="3"/>
                  </a:lnTo>
                  <a:lnTo>
                    <a:pt x="2321" y="3"/>
                  </a:lnTo>
                  <a:lnTo>
                    <a:pt x="2323" y="3"/>
                  </a:lnTo>
                  <a:lnTo>
                    <a:pt x="2324" y="2"/>
                  </a:lnTo>
                  <a:lnTo>
                    <a:pt x="2324" y="3"/>
                  </a:lnTo>
                  <a:lnTo>
                    <a:pt x="2324" y="2"/>
                  </a:lnTo>
                  <a:lnTo>
                    <a:pt x="2324" y="3"/>
                  </a:lnTo>
                  <a:close/>
                  <a:moveTo>
                    <a:pt x="1363" y="2"/>
                  </a:moveTo>
                  <a:lnTo>
                    <a:pt x="1362" y="2"/>
                  </a:lnTo>
                  <a:lnTo>
                    <a:pt x="1363" y="2"/>
                  </a:lnTo>
                  <a:close/>
                  <a:moveTo>
                    <a:pt x="1388" y="2"/>
                  </a:moveTo>
                  <a:lnTo>
                    <a:pt x="1386" y="2"/>
                  </a:lnTo>
                  <a:lnTo>
                    <a:pt x="1388" y="2"/>
                  </a:lnTo>
                  <a:close/>
                  <a:moveTo>
                    <a:pt x="2326" y="2"/>
                  </a:moveTo>
                  <a:lnTo>
                    <a:pt x="2324" y="2"/>
                  </a:lnTo>
                  <a:lnTo>
                    <a:pt x="2326" y="2"/>
                  </a:lnTo>
                  <a:lnTo>
                    <a:pt x="2329" y="2"/>
                  </a:lnTo>
                  <a:lnTo>
                    <a:pt x="2326" y="2"/>
                  </a:lnTo>
                  <a:close/>
                  <a:moveTo>
                    <a:pt x="2485" y="0"/>
                  </a:moveTo>
                  <a:lnTo>
                    <a:pt x="2485" y="2"/>
                  </a:lnTo>
                  <a:lnTo>
                    <a:pt x="2484" y="2"/>
                  </a:lnTo>
                  <a:lnTo>
                    <a:pt x="2485" y="0"/>
                  </a:lnTo>
                  <a:close/>
                  <a:moveTo>
                    <a:pt x="1362" y="2"/>
                  </a:moveTo>
                  <a:lnTo>
                    <a:pt x="1362" y="0"/>
                  </a:lnTo>
                  <a:lnTo>
                    <a:pt x="1362" y="2"/>
                  </a:lnTo>
                  <a:close/>
                  <a:moveTo>
                    <a:pt x="1392" y="3"/>
                  </a:moveTo>
                  <a:lnTo>
                    <a:pt x="1391" y="2"/>
                  </a:lnTo>
                  <a:lnTo>
                    <a:pt x="1389" y="2"/>
                  </a:lnTo>
                  <a:lnTo>
                    <a:pt x="1388" y="3"/>
                  </a:lnTo>
                  <a:lnTo>
                    <a:pt x="1388" y="5"/>
                  </a:lnTo>
                  <a:lnTo>
                    <a:pt x="1386" y="5"/>
                  </a:lnTo>
                  <a:lnTo>
                    <a:pt x="1388" y="2"/>
                  </a:lnTo>
                  <a:lnTo>
                    <a:pt x="1389" y="2"/>
                  </a:lnTo>
                  <a:lnTo>
                    <a:pt x="1394" y="0"/>
                  </a:lnTo>
                  <a:lnTo>
                    <a:pt x="1394" y="2"/>
                  </a:lnTo>
                  <a:lnTo>
                    <a:pt x="1396" y="2"/>
                  </a:lnTo>
                  <a:lnTo>
                    <a:pt x="1396" y="3"/>
                  </a:lnTo>
                  <a:lnTo>
                    <a:pt x="1396" y="5"/>
                  </a:lnTo>
                  <a:lnTo>
                    <a:pt x="1394" y="5"/>
                  </a:lnTo>
                  <a:lnTo>
                    <a:pt x="1392" y="3"/>
                  </a:lnTo>
                  <a:close/>
                  <a:moveTo>
                    <a:pt x="1378" y="0"/>
                  </a:moveTo>
                  <a:lnTo>
                    <a:pt x="1376" y="0"/>
                  </a:lnTo>
                  <a:lnTo>
                    <a:pt x="1375" y="2"/>
                  </a:lnTo>
                  <a:lnTo>
                    <a:pt x="1375" y="0"/>
                  </a:lnTo>
                  <a:lnTo>
                    <a:pt x="1378" y="0"/>
                  </a:lnTo>
                  <a:close/>
                  <a:moveTo>
                    <a:pt x="1397" y="0"/>
                  </a:moveTo>
                  <a:lnTo>
                    <a:pt x="1397" y="2"/>
                  </a:lnTo>
                  <a:lnTo>
                    <a:pt x="1396" y="2"/>
                  </a:lnTo>
                  <a:lnTo>
                    <a:pt x="1397" y="2"/>
                  </a:lnTo>
                  <a:lnTo>
                    <a:pt x="1396" y="0"/>
                  </a:lnTo>
                  <a:lnTo>
                    <a:pt x="1397" y="0"/>
                  </a:lnTo>
                  <a:close/>
                  <a:moveTo>
                    <a:pt x="2487" y="8"/>
                  </a:moveTo>
                  <a:lnTo>
                    <a:pt x="2487" y="10"/>
                  </a:lnTo>
                  <a:lnTo>
                    <a:pt x="2487" y="8"/>
                  </a:lnTo>
                  <a:lnTo>
                    <a:pt x="2487" y="10"/>
                  </a:lnTo>
                  <a:lnTo>
                    <a:pt x="2487" y="8"/>
                  </a:lnTo>
                  <a:lnTo>
                    <a:pt x="2487" y="10"/>
                  </a:lnTo>
                  <a:lnTo>
                    <a:pt x="2489" y="8"/>
                  </a:lnTo>
                  <a:lnTo>
                    <a:pt x="2489" y="7"/>
                  </a:lnTo>
                  <a:lnTo>
                    <a:pt x="2489" y="5"/>
                  </a:lnTo>
                  <a:lnTo>
                    <a:pt x="2489" y="3"/>
                  </a:lnTo>
                  <a:lnTo>
                    <a:pt x="2489" y="2"/>
                  </a:lnTo>
                  <a:lnTo>
                    <a:pt x="2492" y="0"/>
                  </a:lnTo>
                  <a:lnTo>
                    <a:pt x="2493" y="2"/>
                  </a:lnTo>
                  <a:lnTo>
                    <a:pt x="2493" y="3"/>
                  </a:lnTo>
                  <a:lnTo>
                    <a:pt x="2495" y="3"/>
                  </a:lnTo>
                  <a:lnTo>
                    <a:pt x="2495" y="5"/>
                  </a:lnTo>
                  <a:lnTo>
                    <a:pt x="2495" y="3"/>
                  </a:lnTo>
                  <a:lnTo>
                    <a:pt x="2497" y="3"/>
                  </a:lnTo>
                  <a:lnTo>
                    <a:pt x="2495" y="3"/>
                  </a:lnTo>
                  <a:lnTo>
                    <a:pt x="2495" y="2"/>
                  </a:lnTo>
                  <a:lnTo>
                    <a:pt x="2495" y="0"/>
                  </a:lnTo>
                  <a:lnTo>
                    <a:pt x="3043" y="13"/>
                  </a:lnTo>
                  <a:lnTo>
                    <a:pt x="3071" y="1713"/>
                  </a:lnTo>
                  <a:lnTo>
                    <a:pt x="3069" y="1719"/>
                  </a:lnTo>
                  <a:lnTo>
                    <a:pt x="3071" y="1747"/>
                  </a:lnTo>
                  <a:lnTo>
                    <a:pt x="3066" y="1747"/>
                  </a:lnTo>
                  <a:lnTo>
                    <a:pt x="3061" y="1749"/>
                  </a:lnTo>
                  <a:lnTo>
                    <a:pt x="3063" y="1752"/>
                  </a:lnTo>
                  <a:lnTo>
                    <a:pt x="3063" y="1755"/>
                  </a:lnTo>
                  <a:lnTo>
                    <a:pt x="3064" y="1757"/>
                  </a:lnTo>
                  <a:lnTo>
                    <a:pt x="3066" y="1763"/>
                  </a:lnTo>
                  <a:lnTo>
                    <a:pt x="3069" y="1768"/>
                  </a:lnTo>
                  <a:lnTo>
                    <a:pt x="3071" y="1789"/>
                  </a:lnTo>
                  <a:lnTo>
                    <a:pt x="3069" y="1794"/>
                  </a:lnTo>
                  <a:lnTo>
                    <a:pt x="3068" y="1797"/>
                  </a:lnTo>
                  <a:lnTo>
                    <a:pt x="3068" y="1799"/>
                  </a:lnTo>
                  <a:lnTo>
                    <a:pt x="3068" y="1801"/>
                  </a:lnTo>
                  <a:lnTo>
                    <a:pt x="3066" y="1802"/>
                  </a:lnTo>
                  <a:lnTo>
                    <a:pt x="3064" y="1802"/>
                  </a:lnTo>
                  <a:lnTo>
                    <a:pt x="3063" y="1804"/>
                  </a:lnTo>
                  <a:lnTo>
                    <a:pt x="3063" y="1805"/>
                  </a:lnTo>
                  <a:lnTo>
                    <a:pt x="3063" y="1807"/>
                  </a:lnTo>
                  <a:lnTo>
                    <a:pt x="3061" y="1809"/>
                  </a:lnTo>
                  <a:lnTo>
                    <a:pt x="3061" y="1812"/>
                  </a:lnTo>
                  <a:lnTo>
                    <a:pt x="3061" y="1814"/>
                  </a:lnTo>
                  <a:lnTo>
                    <a:pt x="3061" y="1815"/>
                  </a:lnTo>
                  <a:lnTo>
                    <a:pt x="3061" y="1817"/>
                  </a:lnTo>
                  <a:lnTo>
                    <a:pt x="3063" y="1818"/>
                  </a:lnTo>
                  <a:lnTo>
                    <a:pt x="3061" y="1820"/>
                  </a:lnTo>
                  <a:lnTo>
                    <a:pt x="3059" y="1820"/>
                  </a:lnTo>
                  <a:lnTo>
                    <a:pt x="3056" y="1822"/>
                  </a:lnTo>
                  <a:lnTo>
                    <a:pt x="3051" y="1822"/>
                  </a:lnTo>
                  <a:lnTo>
                    <a:pt x="3050" y="1818"/>
                  </a:lnTo>
                  <a:lnTo>
                    <a:pt x="3048" y="1818"/>
                  </a:lnTo>
                  <a:lnTo>
                    <a:pt x="3046" y="1820"/>
                  </a:lnTo>
                  <a:lnTo>
                    <a:pt x="3045" y="1822"/>
                  </a:lnTo>
                  <a:lnTo>
                    <a:pt x="3043" y="1822"/>
                  </a:lnTo>
                  <a:lnTo>
                    <a:pt x="3038" y="1818"/>
                  </a:lnTo>
                  <a:lnTo>
                    <a:pt x="3038" y="1817"/>
                  </a:lnTo>
                  <a:lnTo>
                    <a:pt x="3037" y="1817"/>
                  </a:lnTo>
                  <a:lnTo>
                    <a:pt x="3035" y="1817"/>
                  </a:lnTo>
                  <a:lnTo>
                    <a:pt x="3032" y="1818"/>
                  </a:lnTo>
                  <a:lnTo>
                    <a:pt x="3029" y="1820"/>
                  </a:lnTo>
                  <a:lnTo>
                    <a:pt x="3027" y="1822"/>
                  </a:lnTo>
                  <a:lnTo>
                    <a:pt x="3029" y="1825"/>
                  </a:lnTo>
                  <a:lnTo>
                    <a:pt x="3017" y="1823"/>
                  </a:lnTo>
                  <a:lnTo>
                    <a:pt x="2999" y="1820"/>
                  </a:lnTo>
                  <a:lnTo>
                    <a:pt x="2996" y="1822"/>
                  </a:lnTo>
                  <a:lnTo>
                    <a:pt x="2991" y="1823"/>
                  </a:lnTo>
                  <a:lnTo>
                    <a:pt x="2991" y="1822"/>
                  </a:lnTo>
                  <a:lnTo>
                    <a:pt x="2991" y="1817"/>
                  </a:lnTo>
                  <a:lnTo>
                    <a:pt x="2991" y="1812"/>
                  </a:lnTo>
                  <a:lnTo>
                    <a:pt x="2990" y="1812"/>
                  </a:lnTo>
                  <a:lnTo>
                    <a:pt x="2990" y="1810"/>
                  </a:lnTo>
                  <a:lnTo>
                    <a:pt x="2991" y="1810"/>
                  </a:lnTo>
                  <a:lnTo>
                    <a:pt x="2990" y="1810"/>
                  </a:lnTo>
                  <a:lnTo>
                    <a:pt x="2988" y="1810"/>
                  </a:lnTo>
                  <a:lnTo>
                    <a:pt x="2986" y="1810"/>
                  </a:lnTo>
                  <a:lnTo>
                    <a:pt x="2986" y="1809"/>
                  </a:lnTo>
                  <a:lnTo>
                    <a:pt x="2985" y="1809"/>
                  </a:lnTo>
                  <a:lnTo>
                    <a:pt x="2985" y="1810"/>
                  </a:lnTo>
                  <a:lnTo>
                    <a:pt x="2983" y="1809"/>
                  </a:lnTo>
                  <a:lnTo>
                    <a:pt x="2983" y="1810"/>
                  </a:lnTo>
                  <a:lnTo>
                    <a:pt x="2981" y="1810"/>
                  </a:lnTo>
                  <a:lnTo>
                    <a:pt x="2981" y="1812"/>
                  </a:lnTo>
                  <a:lnTo>
                    <a:pt x="2981" y="1814"/>
                  </a:lnTo>
                  <a:lnTo>
                    <a:pt x="2981" y="1815"/>
                  </a:lnTo>
                  <a:lnTo>
                    <a:pt x="2981" y="1814"/>
                  </a:lnTo>
                  <a:lnTo>
                    <a:pt x="2981" y="1815"/>
                  </a:lnTo>
                  <a:lnTo>
                    <a:pt x="2980" y="1815"/>
                  </a:lnTo>
                  <a:lnTo>
                    <a:pt x="2978" y="1817"/>
                  </a:lnTo>
                  <a:lnTo>
                    <a:pt x="2975" y="1818"/>
                  </a:lnTo>
                  <a:lnTo>
                    <a:pt x="2972" y="1818"/>
                  </a:lnTo>
                  <a:lnTo>
                    <a:pt x="2972" y="1817"/>
                  </a:lnTo>
                  <a:lnTo>
                    <a:pt x="2970" y="1817"/>
                  </a:lnTo>
                  <a:lnTo>
                    <a:pt x="2968" y="1817"/>
                  </a:lnTo>
                  <a:lnTo>
                    <a:pt x="2968" y="1815"/>
                  </a:lnTo>
                  <a:lnTo>
                    <a:pt x="2967" y="1815"/>
                  </a:lnTo>
                  <a:lnTo>
                    <a:pt x="2964" y="1815"/>
                  </a:lnTo>
                  <a:lnTo>
                    <a:pt x="2959" y="1817"/>
                  </a:lnTo>
                  <a:lnTo>
                    <a:pt x="2957" y="1817"/>
                  </a:lnTo>
                  <a:lnTo>
                    <a:pt x="2955" y="1817"/>
                  </a:lnTo>
                  <a:lnTo>
                    <a:pt x="2954" y="1815"/>
                  </a:lnTo>
                  <a:lnTo>
                    <a:pt x="2952" y="1815"/>
                  </a:lnTo>
                  <a:lnTo>
                    <a:pt x="2950" y="1815"/>
                  </a:lnTo>
                  <a:lnTo>
                    <a:pt x="2950" y="1814"/>
                  </a:lnTo>
                  <a:lnTo>
                    <a:pt x="2949" y="1814"/>
                  </a:lnTo>
                  <a:lnTo>
                    <a:pt x="2950" y="1814"/>
                  </a:lnTo>
                  <a:lnTo>
                    <a:pt x="2949" y="1815"/>
                  </a:lnTo>
                  <a:lnTo>
                    <a:pt x="2947" y="1815"/>
                  </a:lnTo>
                  <a:lnTo>
                    <a:pt x="2949" y="1817"/>
                  </a:lnTo>
                  <a:lnTo>
                    <a:pt x="2949" y="1818"/>
                  </a:lnTo>
                  <a:lnTo>
                    <a:pt x="2949" y="1817"/>
                  </a:lnTo>
                  <a:lnTo>
                    <a:pt x="2949" y="1818"/>
                  </a:lnTo>
                  <a:lnTo>
                    <a:pt x="2947" y="1818"/>
                  </a:lnTo>
                  <a:lnTo>
                    <a:pt x="2946" y="1820"/>
                  </a:lnTo>
                  <a:lnTo>
                    <a:pt x="2946" y="1818"/>
                  </a:lnTo>
                  <a:lnTo>
                    <a:pt x="2946" y="1820"/>
                  </a:lnTo>
                  <a:lnTo>
                    <a:pt x="2944" y="1822"/>
                  </a:lnTo>
                  <a:lnTo>
                    <a:pt x="2942" y="1822"/>
                  </a:lnTo>
                  <a:lnTo>
                    <a:pt x="2942" y="1823"/>
                  </a:lnTo>
                  <a:lnTo>
                    <a:pt x="2941" y="1822"/>
                  </a:lnTo>
                  <a:lnTo>
                    <a:pt x="2941" y="1823"/>
                  </a:lnTo>
                  <a:lnTo>
                    <a:pt x="2939" y="1825"/>
                  </a:lnTo>
                  <a:lnTo>
                    <a:pt x="2941" y="1825"/>
                  </a:lnTo>
                  <a:lnTo>
                    <a:pt x="2942" y="1825"/>
                  </a:lnTo>
                  <a:lnTo>
                    <a:pt x="2941" y="1827"/>
                  </a:lnTo>
                  <a:lnTo>
                    <a:pt x="2939" y="1827"/>
                  </a:lnTo>
                  <a:lnTo>
                    <a:pt x="2939" y="1828"/>
                  </a:lnTo>
                  <a:lnTo>
                    <a:pt x="2941" y="1828"/>
                  </a:lnTo>
                  <a:lnTo>
                    <a:pt x="2942" y="1828"/>
                  </a:lnTo>
                  <a:lnTo>
                    <a:pt x="2942" y="1830"/>
                  </a:lnTo>
                  <a:lnTo>
                    <a:pt x="2944" y="1828"/>
                  </a:lnTo>
                  <a:lnTo>
                    <a:pt x="2944" y="1830"/>
                  </a:lnTo>
                  <a:lnTo>
                    <a:pt x="2944" y="1831"/>
                  </a:lnTo>
                  <a:lnTo>
                    <a:pt x="2946" y="1831"/>
                  </a:lnTo>
                  <a:lnTo>
                    <a:pt x="2946" y="1833"/>
                  </a:lnTo>
                  <a:lnTo>
                    <a:pt x="2947" y="1833"/>
                  </a:lnTo>
                  <a:lnTo>
                    <a:pt x="2947" y="1831"/>
                  </a:lnTo>
                  <a:lnTo>
                    <a:pt x="2949" y="1833"/>
                  </a:lnTo>
                  <a:lnTo>
                    <a:pt x="2947" y="1833"/>
                  </a:lnTo>
                  <a:lnTo>
                    <a:pt x="2946" y="1835"/>
                  </a:lnTo>
                  <a:lnTo>
                    <a:pt x="2947" y="1835"/>
                  </a:lnTo>
                  <a:lnTo>
                    <a:pt x="2947" y="1833"/>
                  </a:lnTo>
                  <a:lnTo>
                    <a:pt x="2947" y="1835"/>
                  </a:lnTo>
                  <a:lnTo>
                    <a:pt x="2946" y="1835"/>
                  </a:lnTo>
                  <a:lnTo>
                    <a:pt x="2947" y="1835"/>
                  </a:lnTo>
                  <a:lnTo>
                    <a:pt x="2947" y="1836"/>
                  </a:lnTo>
                  <a:lnTo>
                    <a:pt x="2946" y="1836"/>
                  </a:lnTo>
                  <a:lnTo>
                    <a:pt x="2944" y="1836"/>
                  </a:lnTo>
                  <a:lnTo>
                    <a:pt x="2944" y="1838"/>
                  </a:lnTo>
                  <a:lnTo>
                    <a:pt x="2946" y="1838"/>
                  </a:lnTo>
                  <a:lnTo>
                    <a:pt x="2946" y="1836"/>
                  </a:lnTo>
                  <a:lnTo>
                    <a:pt x="2947" y="1836"/>
                  </a:lnTo>
                  <a:lnTo>
                    <a:pt x="2949" y="1838"/>
                  </a:lnTo>
                  <a:lnTo>
                    <a:pt x="2949" y="1836"/>
                  </a:lnTo>
                  <a:lnTo>
                    <a:pt x="2950" y="1835"/>
                  </a:lnTo>
                  <a:lnTo>
                    <a:pt x="2952" y="1835"/>
                  </a:lnTo>
                  <a:lnTo>
                    <a:pt x="2950" y="1833"/>
                  </a:lnTo>
                  <a:lnTo>
                    <a:pt x="2952" y="1833"/>
                  </a:lnTo>
                  <a:lnTo>
                    <a:pt x="2954" y="1833"/>
                  </a:lnTo>
                  <a:lnTo>
                    <a:pt x="2955" y="1833"/>
                  </a:lnTo>
                  <a:lnTo>
                    <a:pt x="2955" y="1831"/>
                  </a:lnTo>
                  <a:lnTo>
                    <a:pt x="2957" y="1833"/>
                  </a:lnTo>
                  <a:lnTo>
                    <a:pt x="2960" y="1833"/>
                  </a:lnTo>
                  <a:lnTo>
                    <a:pt x="2964" y="1841"/>
                  </a:lnTo>
                  <a:lnTo>
                    <a:pt x="2962" y="1843"/>
                  </a:lnTo>
                  <a:lnTo>
                    <a:pt x="2968" y="1848"/>
                  </a:lnTo>
                  <a:lnTo>
                    <a:pt x="2973" y="1854"/>
                  </a:lnTo>
                  <a:lnTo>
                    <a:pt x="2973" y="1856"/>
                  </a:lnTo>
                  <a:lnTo>
                    <a:pt x="2975" y="1856"/>
                  </a:lnTo>
                  <a:lnTo>
                    <a:pt x="2977" y="1856"/>
                  </a:lnTo>
                  <a:lnTo>
                    <a:pt x="2978" y="1858"/>
                  </a:lnTo>
                  <a:lnTo>
                    <a:pt x="2980" y="1859"/>
                  </a:lnTo>
                  <a:lnTo>
                    <a:pt x="2981" y="1861"/>
                  </a:lnTo>
                  <a:lnTo>
                    <a:pt x="2983" y="1862"/>
                  </a:lnTo>
                  <a:lnTo>
                    <a:pt x="2981" y="1862"/>
                  </a:lnTo>
                  <a:lnTo>
                    <a:pt x="2983" y="1862"/>
                  </a:lnTo>
                  <a:lnTo>
                    <a:pt x="2983" y="1864"/>
                  </a:lnTo>
                  <a:lnTo>
                    <a:pt x="2985" y="1864"/>
                  </a:lnTo>
                  <a:lnTo>
                    <a:pt x="2985" y="1866"/>
                  </a:lnTo>
                  <a:lnTo>
                    <a:pt x="2985" y="1867"/>
                  </a:lnTo>
                  <a:lnTo>
                    <a:pt x="2983" y="1869"/>
                  </a:lnTo>
                  <a:lnTo>
                    <a:pt x="2983" y="1871"/>
                  </a:lnTo>
                  <a:lnTo>
                    <a:pt x="2983" y="1874"/>
                  </a:lnTo>
                  <a:lnTo>
                    <a:pt x="2983" y="1879"/>
                  </a:lnTo>
                  <a:lnTo>
                    <a:pt x="2983" y="1880"/>
                  </a:lnTo>
                  <a:lnTo>
                    <a:pt x="2981" y="1880"/>
                  </a:lnTo>
                  <a:lnTo>
                    <a:pt x="2980" y="1879"/>
                  </a:lnTo>
                  <a:lnTo>
                    <a:pt x="2980" y="1880"/>
                  </a:lnTo>
                  <a:lnTo>
                    <a:pt x="2978" y="1882"/>
                  </a:lnTo>
                  <a:lnTo>
                    <a:pt x="2980" y="1885"/>
                  </a:lnTo>
                  <a:lnTo>
                    <a:pt x="2978" y="1885"/>
                  </a:lnTo>
                  <a:lnTo>
                    <a:pt x="2977" y="1885"/>
                  </a:lnTo>
                  <a:lnTo>
                    <a:pt x="2973" y="1885"/>
                  </a:lnTo>
                  <a:lnTo>
                    <a:pt x="2970" y="1885"/>
                  </a:lnTo>
                  <a:lnTo>
                    <a:pt x="2962" y="1880"/>
                  </a:lnTo>
                  <a:lnTo>
                    <a:pt x="2962" y="1879"/>
                  </a:lnTo>
                  <a:lnTo>
                    <a:pt x="2960" y="1875"/>
                  </a:lnTo>
                  <a:lnTo>
                    <a:pt x="2960" y="1874"/>
                  </a:lnTo>
                  <a:lnTo>
                    <a:pt x="2959" y="1874"/>
                  </a:lnTo>
                  <a:lnTo>
                    <a:pt x="2959" y="1871"/>
                  </a:lnTo>
                  <a:lnTo>
                    <a:pt x="2957" y="1867"/>
                  </a:lnTo>
                  <a:lnTo>
                    <a:pt x="2957" y="1866"/>
                  </a:lnTo>
                  <a:lnTo>
                    <a:pt x="2955" y="1864"/>
                  </a:lnTo>
                  <a:lnTo>
                    <a:pt x="2955" y="1862"/>
                  </a:lnTo>
                  <a:lnTo>
                    <a:pt x="2954" y="1861"/>
                  </a:lnTo>
                  <a:lnTo>
                    <a:pt x="2954" y="1859"/>
                  </a:lnTo>
                  <a:lnTo>
                    <a:pt x="2954" y="1858"/>
                  </a:lnTo>
                  <a:lnTo>
                    <a:pt x="2952" y="1858"/>
                  </a:lnTo>
                  <a:lnTo>
                    <a:pt x="2954" y="1858"/>
                  </a:lnTo>
                  <a:lnTo>
                    <a:pt x="2954" y="1856"/>
                  </a:lnTo>
                  <a:lnTo>
                    <a:pt x="2954" y="1854"/>
                  </a:lnTo>
                  <a:lnTo>
                    <a:pt x="2954" y="1853"/>
                  </a:lnTo>
                  <a:lnTo>
                    <a:pt x="2954" y="1851"/>
                  </a:lnTo>
                  <a:lnTo>
                    <a:pt x="2954" y="1849"/>
                  </a:lnTo>
                  <a:lnTo>
                    <a:pt x="2952" y="1849"/>
                  </a:lnTo>
                  <a:lnTo>
                    <a:pt x="2952" y="1848"/>
                  </a:lnTo>
                  <a:lnTo>
                    <a:pt x="2950" y="1848"/>
                  </a:lnTo>
                  <a:lnTo>
                    <a:pt x="2949" y="1848"/>
                  </a:lnTo>
                  <a:lnTo>
                    <a:pt x="2946" y="1851"/>
                  </a:lnTo>
                  <a:lnTo>
                    <a:pt x="2942" y="1848"/>
                  </a:lnTo>
                  <a:lnTo>
                    <a:pt x="2941" y="1849"/>
                  </a:lnTo>
                  <a:lnTo>
                    <a:pt x="2939" y="1849"/>
                  </a:lnTo>
                  <a:lnTo>
                    <a:pt x="2939" y="1851"/>
                  </a:lnTo>
                  <a:lnTo>
                    <a:pt x="2937" y="1851"/>
                  </a:lnTo>
                  <a:lnTo>
                    <a:pt x="2936" y="1853"/>
                  </a:lnTo>
                  <a:lnTo>
                    <a:pt x="2934" y="1851"/>
                  </a:lnTo>
                  <a:lnTo>
                    <a:pt x="2933" y="1851"/>
                  </a:lnTo>
                  <a:lnTo>
                    <a:pt x="2931" y="1851"/>
                  </a:lnTo>
                  <a:lnTo>
                    <a:pt x="2931" y="1853"/>
                  </a:lnTo>
                  <a:lnTo>
                    <a:pt x="2929" y="1854"/>
                  </a:lnTo>
                  <a:lnTo>
                    <a:pt x="2929" y="1853"/>
                  </a:lnTo>
                  <a:lnTo>
                    <a:pt x="2928" y="1853"/>
                  </a:lnTo>
                  <a:lnTo>
                    <a:pt x="2928" y="1851"/>
                  </a:lnTo>
                  <a:lnTo>
                    <a:pt x="2926" y="1849"/>
                  </a:lnTo>
                  <a:lnTo>
                    <a:pt x="2924" y="1849"/>
                  </a:lnTo>
                  <a:lnTo>
                    <a:pt x="2924" y="1848"/>
                  </a:lnTo>
                  <a:lnTo>
                    <a:pt x="2926" y="1849"/>
                  </a:lnTo>
                  <a:lnTo>
                    <a:pt x="2926" y="1848"/>
                  </a:lnTo>
                  <a:lnTo>
                    <a:pt x="2924" y="1848"/>
                  </a:lnTo>
                  <a:lnTo>
                    <a:pt x="2924" y="1849"/>
                  </a:lnTo>
                  <a:lnTo>
                    <a:pt x="2923" y="1849"/>
                  </a:lnTo>
                  <a:lnTo>
                    <a:pt x="2921" y="1849"/>
                  </a:lnTo>
                  <a:lnTo>
                    <a:pt x="2921" y="1851"/>
                  </a:lnTo>
                  <a:lnTo>
                    <a:pt x="2920" y="1849"/>
                  </a:lnTo>
                  <a:lnTo>
                    <a:pt x="2920" y="1851"/>
                  </a:lnTo>
                  <a:lnTo>
                    <a:pt x="2918" y="1851"/>
                  </a:lnTo>
                  <a:lnTo>
                    <a:pt x="2916" y="1849"/>
                  </a:lnTo>
                  <a:lnTo>
                    <a:pt x="2916" y="1848"/>
                  </a:lnTo>
                  <a:lnTo>
                    <a:pt x="2915" y="1848"/>
                  </a:lnTo>
                  <a:lnTo>
                    <a:pt x="2915" y="1849"/>
                  </a:lnTo>
                  <a:lnTo>
                    <a:pt x="2913" y="1848"/>
                  </a:lnTo>
                  <a:lnTo>
                    <a:pt x="2913" y="1846"/>
                  </a:lnTo>
                  <a:lnTo>
                    <a:pt x="2911" y="1846"/>
                  </a:lnTo>
                  <a:lnTo>
                    <a:pt x="2911" y="1848"/>
                  </a:lnTo>
                  <a:lnTo>
                    <a:pt x="2911" y="1846"/>
                  </a:lnTo>
                  <a:lnTo>
                    <a:pt x="2911" y="1844"/>
                  </a:lnTo>
                  <a:lnTo>
                    <a:pt x="2910" y="1844"/>
                  </a:lnTo>
                  <a:lnTo>
                    <a:pt x="2911" y="1844"/>
                  </a:lnTo>
                  <a:lnTo>
                    <a:pt x="2913" y="1843"/>
                  </a:lnTo>
                  <a:lnTo>
                    <a:pt x="2911" y="1843"/>
                  </a:lnTo>
                  <a:lnTo>
                    <a:pt x="2910" y="1843"/>
                  </a:lnTo>
                  <a:lnTo>
                    <a:pt x="2908" y="1841"/>
                  </a:lnTo>
                  <a:lnTo>
                    <a:pt x="2907" y="1840"/>
                  </a:lnTo>
                  <a:lnTo>
                    <a:pt x="2907" y="1841"/>
                  </a:lnTo>
                  <a:lnTo>
                    <a:pt x="2907" y="1843"/>
                  </a:lnTo>
                  <a:lnTo>
                    <a:pt x="2905" y="1843"/>
                  </a:lnTo>
                  <a:lnTo>
                    <a:pt x="2905" y="1841"/>
                  </a:lnTo>
                  <a:lnTo>
                    <a:pt x="2905" y="1840"/>
                  </a:lnTo>
                  <a:lnTo>
                    <a:pt x="2905" y="1838"/>
                  </a:lnTo>
                  <a:lnTo>
                    <a:pt x="2903" y="1838"/>
                  </a:lnTo>
                  <a:lnTo>
                    <a:pt x="2903" y="1836"/>
                  </a:lnTo>
                  <a:lnTo>
                    <a:pt x="2902" y="1836"/>
                  </a:lnTo>
                  <a:lnTo>
                    <a:pt x="2900" y="1836"/>
                  </a:lnTo>
                  <a:lnTo>
                    <a:pt x="2898" y="1836"/>
                  </a:lnTo>
                  <a:lnTo>
                    <a:pt x="2898" y="1838"/>
                  </a:lnTo>
                  <a:lnTo>
                    <a:pt x="2897" y="1838"/>
                  </a:lnTo>
                  <a:lnTo>
                    <a:pt x="2895" y="1838"/>
                  </a:lnTo>
                  <a:lnTo>
                    <a:pt x="2894" y="1838"/>
                  </a:lnTo>
                  <a:lnTo>
                    <a:pt x="2892" y="1838"/>
                  </a:lnTo>
                  <a:lnTo>
                    <a:pt x="2892" y="1836"/>
                  </a:lnTo>
                  <a:lnTo>
                    <a:pt x="2892" y="1835"/>
                  </a:lnTo>
                  <a:lnTo>
                    <a:pt x="2892" y="1836"/>
                  </a:lnTo>
                  <a:lnTo>
                    <a:pt x="2890" y="1836"/>
                  </a:lnTo>
                  <a:lnTo>
                    <a:pt x="2889" y="1836"/>
                  </a:lnTo>
                  <a:lnTo>
                    <a:pt x="2887" y="1836"/>
                  </a:lnTo>
                  <a:lnTo>
                    <a:pt x="2885" y="1838"/>
                  </a:lnTo>
                  <a:lnTo>
                    <a:pt x="2884" y="1836"/>
                  </a:lnTo>
                  <a:lnTo>
                    <a:pt x="2882" y="1836"/>
                  </a:lnTo>
                  <a:lnTo>
                    <a:pt x="2881" y="1838"/>
                  </a:lnTo>
                  <a:lnTo>
                    <a:pt x="2881" y="1836"/>
                  </a:lnTo>
                  <a:lnTo>
                    <a:pt x="2879" y="1838"/>
                  </a:lnTo>
                  <a:lnTo>
                    <a:pt x="2877" y="1836"/>
                  </a:lnTo>
                  <a:lnTo>
                    <a:pt x="2877" y="1838"/>
                  </a:lnTo>
                  <a:lnTo>
                    <a:pt x="2876" y="1838"/>
                  </a:lnTo>
                  <a:lnTo>
                    <a:pt x="2876" y="1840"/>
                  </a:lnTo>
                  <a:lnTo>
                    <a:pt x="2874" y="1840"/>
                  </a:lnTo>
                  <a:lnTo>
                    <a:pt x="2876" y="1841"/>
                  </a:lnTo>
                  <a:lnTo>
                    <a:pt x="2874" y="1841"/>
                  </a:lnTo>
                  <a:lnTo>
                    <a:pt x="2872" y="1841"/>
                  </a:lnTo>
                  <a:lnTo>
                    <a:pt x="2872" y="1843"/>
                  </a:lnTo>
                  <a:lnTo>
                    <a:pt x="2872" y="1841"/>
                  </a:lnTo>
                  <a:lnTo>
                    <a:pt x="2871" y="1841"/>
                  </a:lnTo>
                  <a:lnTo>
                    <a:pt x="2869" y="1841"/>
                  </a:lnTo>
                  <a:lnTo>
                    <a:pt x="2868" y="1841"/>
                  </a:lnTo>
                  <a:lnTo>
                    <a:pt x="2868" y="1843"/>
                  </a:lnTo>
                  <a:lnTo>
                    <a:pt x="2869" y="1843"/>
                  </a:lnTo>
                  <a:lnTo>
                    <a:pt x="2868" y="1843"/>
                  </a:lnTo>
                  <a:lnTo>
                    <a:pt x="2866" y="1843"/>
                  </a:lnTo>
                  <a:lnTo>
                    <a:pt x="2868" y="1843"/>
                  </a:lnTo>
                  <a:lnTo>
                    <a:pt x="2866" y="1843"/>
                  </a:lnTo>
                  <a:lnTo>
                    <a:pt x="2868" y="1843"/>
                  </a:lnTo>
                  <a:lnTo>
                    <a:pt x="2866" y="1843"/>
                  </a:lnTo>
                  <a:lnTo>
                    <a:pt x="2866" y="1844"/>
                  </a:lnTo>
                  <a:lnTo>
                    <a:pt x="2868" y="1844"/>
                  </a:lnTo>
                  <a:lnTo>
                    <a:pt x="2866" y="1844"/>
                  </a:lnTo>
                  <a:lnTo>
                    <a:pt x="2864" y="1844"/>
                  </a:lnTo>
                  <a:lnTo>
                    <a:pt x="2866" y="1844"/>
                  </a:lnTo>
                  <a:lnTo>
                    <a:pt x="2864" y="1844"/>
                  </a:lnTo>
                  <a:lnTo>
                    <a:pt x="2863" y="1844"/>
                  </a:lnTo>
                  <a:lnTo>
                    <a:pt x="2861" y="1844"/>
                  </a:lnTo>
                  <a:lnTo>
                    <a:pt x="2861" y="1846"/>
                  </a:lnTo>
                  <a:lnTo>
                    <a:pt x="2861" y="1844"/>
                  </a:lnTo>
                  <a:lnTo>
                    <a:pt x="2859" y="1844"/>
                  </a:lnTo>
                  <a:lnTo>
                    <a:pt x="2859" y="1846"/>
                  </a:lnTo>
                  <a:lnTo>
                    <a:pt x="2858" y="1846"/>
                  </a:lnTo>
                  <a:lnTo>
                    <a:pt x="2859" y="1846"/>
                  </a:lnTo>
                  <a:lnTo>
                    <a:pt x="2858" y="1846"/>
                  </a:lnTo>
                  <a:lnTo>
                    <a:pt x="2858" y="1844"/>
                  </a:lnTo>
                  <a:lnTo>
                    <a:pt x="2858" y="1846"/>
                  </a:lnTo>
                  <a:lnTo>
                    <a:pt x="2856" y="1846"/>
                  </a:lnTo>
                  <a:lnTo>
                    <a:pt x="2856" y="1844"/>
                  </a:lnTo>
                  <a:lnTo>
                    <a:pt x="2856" y="1843"/>
                  </a:lnTo>
                  <a:lnTo>
                    <a:pt x="2855" y="1843"/>
                  </a:lnTo>
                  <a:lnTo>
                    <a:pt x="2855" y="1841"/>
                  </a:lnTo>
                  <a:lnTo>
                    <a:pt x="2855" y="1843"/>
                  </a:lnTo>
                  <a:lnTo>
                    <a:pt x="2853" y="1841"/>
                  </a:lnTo>
                  <a:lnTo>
                    <a:pt x="2853" y="1843"/>
                  </a:lnTo>
                  <a:lnTo>
                    <a:pt x="2853" y="1841"/>
                  </a:lnTo>
                  <a:lnTo>
                    <a:pt x="2853" y="1843"/>
                  </a:lnTo>
                  <a:lnTo>
                    <a:pt x="2853" y="1841"/>
                  </a:lnTo>
                  <a:lnTo>
                    <a:pt x="2853" y="1843"/>
                  </a:lnTo>
                  <a:lnTo>
                    <a:pt x="2851" y="1843"/>
                  </a:lnTo>
                  <a:lnTo>
                    <a:pt x="2851" y="1841"/>
                  </a:lnTo>
                  <a:lnTo>
                    <a:pt x="2850" y="1841"/>
                  </a:lnTo>
                  <a:lnTo>
                    <a:pt x="2850" y="1843"/>
                  </a:lnTo>
                  <a:lnTo>
                    <a:pt x="2850" y="1841"/>
                  </a:lnTo>
                  <a:lnTo>
                    <a:pt x="2848" y="1841"/>
                  </a:lnTo>
                  <a:lnTo>
                    <a:pt x="2850" y="1841"/>
                  </a:lnTo>
                  <a:lnTo>
                    <a:pt x="2848" y="1841"/>
                  </a:lnTo>
                  <a:lnTo>
                    <a:pt x="2848" y="1840"/>
                  </a:lnTo>
                  <a:lnTo>
                    <a:pt x="2848" y="1841"/>
                  </a:lnTo>
                  <a:lnTo>
                    <a:pt x="2848" y="1840"/>
                  </a:lnTo>
                  <a:lnTo>
                    <a:pt x="2848" y="1841"/>
                  </a:lnTo>
                  <a:lnTo>
                    <a:pt x="2846" y="1840"/>
                  </a:lnTo>
                  <a:lnTo>
                    <a:pt x="2846" y="1838"/>
                  </a:lnTo>
                  <a:lnTo>
                    <a:pt x="2846" y="1836"/>
                  </a:lnTo>
                  <a:lnTo>
                    <a:pt x="2846" y="1838"/>
                  </a:lnTo>
                  <a:lnTo>
                    <a:pt x="2846" y="1836"/>
                  </a:lnTo>
                  <a:lnTo>
                    <a:pt x="2846" y="1835"/>
                  </a:lnTo>
                  <a:lnTo>
                    <a:pt x="2845" y="1835"/>
                  </a:lnTo>
                  <a:lnTo>
                    <a:pt x="2846" y="1835"/>
                  </a:lnTo>
                  <a:lnTo>
                    <a:pt x="2845" y="1835"/>
                  </a:lnTo>
                  <a:lnTo>
                    <a:pt x="2845" y="1833"/>
                  </a:lnTo>
                  <a:lnTo>
                    <a:pt x="2845" y="1835"/>
                  </a:lnTo>
                  <a:lnTo>
                    <a:pt x="2843" y="1835"/>
                  </a:lnTo>
                  <a:lnTo>
                    <a:pt x="2843" y="1833"/>
                  </a:lnTo>
                  <a:lnTo>
                    <a:pt x="2843" y="1831"/>
                  </a:lnTo>
                  <a:lnTo>
                    <a:pt x="2845" y="1831"/>
                  </a:lnTo>
                  <a:lnTo>
                    <a:pt x="2843" y="1831"/>
                  </a:lnTo>
                  <a:lnTo>
                    <a:pt x="2845" y="1831"/>
                  </a:lnTo>
                  <a:lnTo>
                    <a:pt x="2843" y="1830"/>
                  </a:lnTo>
                  <a:lnTo>
                    <a:pt x="2845" y="1830"/>
                  </a:lnTo>
                  <a:lnTo>
                    <a:pt x="2843" y="1830"/>
                  </a:lnTo>
                  <a:lnTo>
                    <a:pt x="2845" y="1830"/>
                  </a:lnTo>
                  <a:lnTo>
                    <a:pt x="2843" y="1830"/>
                  </a:lnTo>
                  <a:lnTo>
                    <a:pt x="2843" y="1828"/>
                  </a:lnTo>
                  <a:lnTo>
                    <a:pt x="2843" y="1830"/>
                  </a:lnTo>
                  <a:lnTo>
                    <a:pt x="2842" y="1830"/>
                  </a:lnTo>
                  <a:lnTo>
                    <a:pt x="2842" y="1828"/>
                  </a:lnTo>
                  <a:lnTo>
                    <a:pt x="2843" y="1828"/>
                  </a:lnTo>
                  <a:lnTo>
                    <a:pt x="2842" y="1828"/>
                  </a:lnTo>
                  <a:lnTo>
                    <a:pt x="2840" y="1830"/>
                  </a:lnTo>
                  <a:lnTo>
                    <a:pt x="2838" y="1828"/>
                  </a:lnTo>
                  <a:lnTo>
                    <a:pt x="2837" y="1828"/>
                  </a:lnTo>
                  <a:lnTo>
                    <a:pt x="2835" y="1828"/>
                  </a:lnTo>
                  <a:lnTo>
                    <a:pt x="2835" y="1827"/>
                  </a:lnTo>
                  <a:lnTo>
                    <a:pt x="2833" y="1828"/>
                  </a:lnTo>
                  <a:lnTo>
                    <a:pt x="2832" y="1828"/>
                  </a:lnTo>
                  <a:lnTo>
                    <a:pt x="2832" y="1830"/>
                  </a:lnTo>
                  <a:lnTo>
                    <a:pt x="2832" y="1828"/>
                  </a:lnTo>
                  <a:lnTo>
                    <a:pt x="2830" y="1828"/>
                  </a:lnTo>
                  <a:lnTo>
                    <a:pt x="2830" y="1830"/>
                  </a:lnTo>
                  <a:lnTo>
                    <a:pt x="2829" y="1830"/>
                  </a:lnTo>
                  <a:lnTo>
                    <a:pt x="2827" y="1828"/>
                  </a:lnTo>
                  <a:lnTo>
                    <a:pt x="2829" y="1828"/>
                  </a:lnTo>
                  <a:lnTo>
                    <a:pt x="2827" y="1828"/>
                  </a:lnTo>
                  <a:lnTo>
                    <a:pt x="2827" y="1831"/>
                  </a:lnTo>
                  <a:lnTo>
                    <a:pt x="2825" y="1831"/>
                  </a:lnTo>
                  <a:lnTo>
                    <a:pt x="2824" y="1830"/>
                  </a:lnTo>
                  <a:lnTo>
                    <a:pt x="2822" y="1830"/>
                  </a:lnTo>
                  <a:lnTo>
                    <a:pt x="2817" y="1828"/>
                  </a:lnTo>
                  <a:lnTo>
                    <a:pt x="2816" y="1828"/>
                  </a:lnTo>
                  <a:lnTo>
                    <a:pt x="2814" y="1830"/>
                  </a:lnTo>
                  <a:lnTo>
                    <a:pt x="2812" y="1830"/>
                  </a:lnTo>
                  <a:lnTo>
                    <a:pt x="2812" y="1828"/>
                  </a:lnTo>
                  <a:lnTo>
                    <a:pt x="2811" y="1830"/>
                  </a:lnTo>
                  <a:lnTo>
                    <a:pt x="2811" y="1831"/>
                  </a:lnTo>
                  <a:lnTo>
                    <a:pt x="2809" y="1831"/>
                  </a:lnTo>
                  <a:lnTo>
                    <a:pt x="2809" y="1833"/>
                  </a:lnTo>
                  <a:lnTo>
                    <a:pt x="2811" y="1835"/>
                  </a:lnTo>
                  <a:lnTo>
                    <a:pt x="2809" y="1835"/>
                  </a:lnTo>
                  <a:lnTo>
                    <a:pt x="2807" y="1835"/>
                  </a:lnTo>
                  <a:lnTo>
                    <a:pt x="2807" y="1833"/>
                  </a:lnTo>
                  <a:lnTo>
                    <a:pt x="2806" y="1833"/>
                  </a:lnTo>
                  <a:lnTo>
                    <a:pt x="2804" y="1833"/>
                  </a:lnTo>
                  <a:lnTo>
                    <a:pt x="2804" y="1835"/>
                  </a:lnTo>
                  <a:lnTo>
                    <a:pt x="2802" y="1836"/>
                  </a:lnTo>
                  <a:lnTo>
                    <a:pt x="2801" y="1836"/>
                  </a:lnTo>
                  <a:lnTo>
                    <a:pt x="2799" y="1836"/>
                  </a:lnTo>
                  <a:lnTo>
                    <a:pt x="2799" y="1835"/>
                  </a:lnTo>
                  <a:lnTo>
                    <a:pt x="2801" y="1835"/>
                  </a:lnTo>
                  <a:lnTo>
                    <a:pt x="2801" y="1833"/>
                  </a:lnTo>
                  <a:lnTo>
                    <a:pt x="2799" y="1833"/>
                  </a:lnTo>
                  <a:lnTo>
                    <a:pt x="2799" y="1835"/>
                  </a:lnTo>
                  <a:lnTo>
                    <a:pt x="2799" y="1836"/>
                  </a:lnTo>
                  <a:lnTo>
                    <a:pt x="2798" y="1836"/>
                  </a:lnTo>
                  <a:lnTo>
                    <a:pt x="2798" y="1838"/>
                  </a:lnTo>
                  <a:lnTo>
                    <a:pt x="2798" y="1840"/>
                  </a:lnTo>
                  <a:lnTo>
                    <a:pt x="2799" y="1840"/>
                  </a:lnTo>
                  <a:lnTo>
                    <a:pt x="2801" y="1840"/>
                  </a:lnTo>
                  <a:lnTo>
                    <a:pt x="2801" y="1841"/>
                  </a:lnTo>
                  <a:lnTo>
                    <a:pt x="2799" y="1841"/>
                  </a:lnTo>
                  <a:lnTo>
                    <a:pt x="2798" y="1843"/>
                  </a:lnTo>
                  <a:lnTo>
                    <a:pt x="2796" y="1843"/>
                  </a:lnTo>
                  <a:lnTo>
                    <a:pt x="2794" y="1843"/>
                  </a:lnTo>
                  <a:lnTo>
                    <a:pt x="2793" y="1843"/>
                  </a:lnTo>
                  <a:lnTo>
                    <a:pt x="2794" y="1846"/>
                  </a:lnTo>
                  <a:lnTo>
                    <a:pt x="2793" y="1846"/>
                  </a:lnTo>
                  <a:lnTo>
                    <a:pt x="2793" y="1848"/>
                  </a:lnTo>
                  <a:lnTo>
                    <a:pt x="2791" y="1849"/>
                  </a:lnTo>
                  <a:lnTo>
                    <a:pt x="2791" y="1851"/>
                  </a:lnTo>
                  <a:lnTo>
                    <a:pt x="2789" y="1851"/>
                  </a:lnTo>
                  <a:lnTo>
                    <a:pt x="2788" y="1851"/>
                  </a:lnTo>
                  <a:lnTo>
                    <a:pt x="2789" y="1851"/>
                  </a:lnTo>
                  <a:lnTo>
                    <a:pt x="2789" y="1853"/>
                  </a:lnTo>
                  <a:lnTo>
                    <a:pt x="2788" y="1853"/>
                  </a:lnTo>
                  <a:lnTo>
                    <a:pt x="2786" y="1853"/>
                  </a:lnTo>
                  <a:lnTo>
                    <a:pt x="2786" y="1854"/>
                  </a:lnTo>
                  <a:lnTo>
                    <a:pt x="2788" y="1854"/>
                  </a:lnTo>
                  <a:lnTo>
                    <a:pt x="2789" y="1854"/>
                  </a:lnTo>
                  <a:lnTo>
                    <a:pt x="2788" y="1856"/>
                  </a:lnTo>
                  <a:lnTo>
                    <a:pt x="2788" y="1854"/>
                  </a:lnTo>
                  <a:lnTo>
                    <a:pt x="2786" y="1854"/>
                  </a:lnTo>
                  <a:lnTo>
                    <a:pt x="2786" y="1853"/>
                  </a:lnTo>
                  <a:lnTo>
                    <a:pt x="2785" y="1853"/>
                  </a:lnTo>
                  <a:lnTo>
                    <a:pt x="2785" y="1854"/>
                  </a:lnTo>
                  <a:lnTo>
                    <a:pt x="2785" y="1853"/>
                  </a:lnTo>
                  <a:lnTo>
                    <a:pt x="2783" y="1853"/>
                  </a:lnTo>
                  <a:lnTo>
                    <a:pt x="2785" y="1851"/>
                  </a:lnTo>
                  <a:lnTo>
                    <a:pt x="2783" y="1851"/>
                  </a:lnTo>
                  <a:lnTo>
                    <a:pt x="2783" y="1853"/>
                  </a:lnTo>
                  <a:lnTo>
                    <a:pt x="2783" y="1854"/>
                  </a:lnTo>
                  <a:lnTo>
                    <a:pt x="2783" y="1856"/>
                  </a:lnTo>
                  <a:lnTo>
                    <a:pt x="2783" y="1854"/>
                  </a:lnTo>
                  <a:lnTo>
                    <a:pt x="2781" y="1854"/>
                  </a:lnTo>
                  <a:lnTo>
                    <a:pt x="2781" y="1856"/>
                  </a:lnTo>
                  <a:lnTo>
                    <a:pt x="2780" y="1856"/>
                  </a:lnTo>
                  <a:lnTo>
                    <a:pt x="2780" y="1854"/>
                  </a:lnTo>
                  <a:lnTo>
                    <a:pt x="2781" y="1854"/>
                  </a:lnTo>
                  <a:lnTo>
                    <a:pt x="2781" y="1853"/>
                  </a:lnTo>
                  <a:lnTo>
                    <a:pt x="2781" y="1851"/>
                  </a:lnTo>
                  <a:lnTo>
                    <a:pt x="2780" y="1853"/>
                  </a:lnTo>
                  <a:lnTo>
                    <a:pt x="2780" y="1856"/>
                  </a:lnTo>
                  <a:lnTo>
                    <a:pt x="2778" y="1856"/>
                  </a:lnTo>
                  <a:lnTo>
                    <a:pt x="2778" y="1854"/>
                  </a:lnTo>
                  <a:lnTo>
                    <a:pt x="2776" y="1854"/>
                  </a:lnTo>
                  <a:lnTo>
                    <a:pt x="2776" y="1856"/>
                  </a:lnTo>
                  <a:lnTo>
                    <a:pt x="2778" y="1856"/>
                  </a:lnTo>
                  <a:lnTo>
                    <a:pt x="2778" y="1858"/>
                  </a:lnTo>
                  <a:lnTo>
                    <a:pt x="2776" y="1858"/>
                  </a:lnTo>
                  <a:lnTo>
                    <a:pt x="2776" y="1856"/>
                  </a:lnTo>
                  <a:lnTo>
                    <a:pt x="2775" y="1856"/>
                  </a:lnTo>
                  <a:lnTo>
                    <a:pt x="2776" y="1858"/>
                  </a:lnTo>
                  <a:lnTo>
                    <a:pt x="2775" y="1858"/>
                  </a:lnTo>
                  <a:lnTo>
                    <a:pt x="2775" y="1856"/>
                  </a:lnTo>
                  <a:lnTo>
                    <a:pt x="2773" y="1856"/>
                  </a:lnTo>
                  <a:lnTo>
                    <a:pt x="2773" y="1858"/>
                  </a:lnTo>
                  <a:lnTo>
                    <a:pt x="2773" y="1856"/>
                  </a:lnTo>
                  <a:lnTo>
                    <a:pt x="2772" y="1856"/>
                  </a:lnTo>
                  <a:lnTo>
                    <a:pt x="2772" y="1858"/>
                  </a:lnTo>
                  <a:lnTo>
                    <a:pt x="2773" y="1858"/>
                  </a:lnTo>
                  <a:lnTo>
                    <a:pt x="2772" y="1859"/>
                  </a:lnTo>
                  <a:lnTo>
                    <a:pt x="2772" y="1858"/>
                  </a:lnTo>
                  <a:lnTo>
                    <a:pt x="2772" y="1856"/>
                  </a:lnTo>
                  <a:lnTo>
                    <a:pt x="2770" y="1856"/>
                  </a:lnTo>
                  <a:lnTo>
                    <a:pt x="2770" y="1858"/>
                  </a:lnTo>
                  <a:lnTo>
                    <a:pt x="2772" y="1859"/>
                  </a:lnTo>
                  <a:lnTo>
                    <a:pt x="2772" y="1861"/>
                  </a:lnTo>
                  <a:lnTo>
                    <a:pt x="2772" y="1862"/>
                  </a:lnTo>
                  <a:lnTo>
                    <a:pt x="2770" y="1862"/>
                  </a:lnTo>
                  <a:lnTo>
                    <a:pt x="2768" y="1866"/>
                  </a:lnTo>
                  <a:lnTo>
                    <a:pt x="2767" y="1866"/>
                  </a:lnTo>
                  <a:lnTo>
                    <a:pt x="2767" y="1867"/>
                  </a:lnTo>
                  <a:lnTo>
                    <a:pt x="2768" y="1867"/>
                  </a:lnTo>
                  <a:lnTo>
                    <a:pt x="2770" y="1867"/>
                  </a:lnTo>
                  <a:lnTo>
                    <a:pt x="2770" y="1869"/>
                  </a:lnTo>
                  <a:lnTo>
                    <a:pt x="2768" y="1869"/>
                  </a:lnTo>
                  <a:lnTo>
                    <a:pt x="2767" y="1867"/>
                  </a:lnTo>
                  <a:lnTo>
                    <a:pt x="2767" y="1866"/>
                  </a:lnTo>
                  <a:lnTo>
                    <a:pt x="2765" y="1866"/>
                  </a:lnTo>
                  <a:lnTo>
                    <a:pt x="2765" y="1867"/>
                  </a:lnTo>
                  <a:lnTo>
                    <a:pt x="2765" y="1869"/>
                  </a:lnTo>
                  <a:lnTo>
                    <a:pt x="2765" y="1871"/>
                  </a:lnTo>
                  <a:lnTo>
                    <a:pt x="2763" y="1869"/>
                  </a:lnTo>
                  <a:lnTo>
                    <a:pt x="2763" y="1871"/>
                  </a:lnTo>
                  <a:lnTo>
                    <a:pt x="2765" y="1871"/>
                  </a:lnTo>
                  <a:lnTo>
                    <a:pt x="2765" y="1872"/>
                  </a:lnTo>
                  <a:lnTo>
                    <a:pt x="2763" y="1872"/>
                  </a:lnTo>
                  <a:lnTo>
                    <a:pt x="2763" y="1874"/>
                  </a:lnTo>
                  <a:lnTo>
                    <a:pt x="2762" y="1874"/>
                  </a:lnTo>
                  <a:lnTo>
                    <a:pt x="2762" y="1872"/>
                  </a:lnTo>
                  <a:lnTo>
                    <a:pt x="2762" y="1871"/>
                  </a:lnTo>
                  <a:lnTo>
                    <a:pt x="2760" y="1871"/>
                  </a:lnTo>
                  <a:lnTo>
                    <a:pt x="2760" y="1872"/>
                  </a:lnTo>
                  <a:lnTo>
                    <a:pt x="2760" y="1874"/>
                  </a:lnTo>
                  <a:lnTo>
                    <a:pt x="2760" y="1875"/>
                  </a:lnTo>
                  <a:lnTo>
                    <a:pt x="2762" y="1877"/>
                  </a:lnTo>
                  <a:lnTo>
                    <a:pt x="2760" y="1877"/>
                  </a:lnTo>
                  <a:lnTo>
                    <a:pt x="2760" y="1875"/>
                  </a:lnTo>
                  <a:lnTo>
                    <a:pt x="2759" y="1875"/>
                  </a:lnTo>
                  <a:lnTo>
                    <a:pt x="2757" y="1874"/>
                  </a:lnTo>
                  <a:lnTo>
                    <a:pt x="2759" y="1872"/>
                  </a:lnTo>
                  <a:lnTo>
                    <a:pt x="2757" y="1872"/>
                  </a:lnTo>
                  <a:lnTo>
                    <a:pt x="2757" y="1871"/>
                  </a:lnTo>
                  <a:lnTo>
                    <a:pt x="2755" y="1871"/>
                  </a:lnTo>
                  <a:lnTo>
                    <a:pt x="2754" y="1871"/>
                  </a:lnTo>
                  <a:lnTo>
                    <a:pt x="2754" y="1872"/>
                  </a:lnTo>
                  <a:lnTo>
                    <a:pt x="2754" y="1871"/>
                  </a:lnTo>
                  <a:lnTo>
                    <a:pt x="2754" y="1872"/>
                  </a:lnTo>
                  <a:lnTo>
                    <a:pt x="2752" y="1871"/>
                  </a:lnTo>
                  <a:lnTo>
                    <a:pt x="2752" y="1869"/>
                  </a:lnTo>
                  <a:lnTo>
                    <a:pt x="2750" y="1869"/>
                  </a:lnTo>
                  <a:lnTo>
                    <a:pt x="2750" y="1867"/>
                  </a:lnTo>
                  <a:lnTo>
                    <a:pt x="2749" y="1867"/>
                  </a:lnTo>
                  <a:lnTo>
                    <a:pt x="2749" y="1866"/>
                  </a:lnTo>
                  <a:lnTo>
                    <a:pt x="2746" y="1864"/>
                  </a:lnTo>
                  <a:lnTo>
                    <a:pt x="2744" y="1862"/>
                  </a:lnTo>
                  <a:lnTo>
                    <a:pt x="2741" y="1861"/>
                  </a:lnTo>
                  <a:lnTo>
                    <a:pt x="2737" y="1859"/>
                  </a:lnTo>
                  <a:lnTo>
                    <a:pt x="2736" y="1859"/>
                  </a:lnTo>
                  <a:lnTo>
                    <a:pt x="2729" y="1856"/>
                  </a:lnTo>
                  <a:lnTo>
                    <a:pt x="2726" y="1851"/>
                  </a:lnTo>
                  <a:lnTo>
                    <a:pt x="2721" y="1846"/>
                  </a:lnTo>
                  <a:lnTo>
                    <a:pt x="2718" y="1848"/>
                  </a:lnTo>
                  <a:lnTo>
                    <a:pt x="2720" y="1849"/>
                  </a:lnTo>
                  <a:lnTo>
                    <a:pt x="2721" y="1849"/>
                  </a:lnTo>
                  <a:lnTo>
                    <a:pt x="2721" y="1851"/>
                  </a:lnTo>
                  <a:lnTo>
                    <a:pt x="2716" y="1858"/>
                  </a:lnTo>
                  <a:lnTo>
                    <a:pt x="2715" y="1858"/>
                  </a:lnTo>
                  <a:lnTo>
                    <a:pt x="2713" y="1858"/>
                  </a:lnTo>
                  <a:lnTo>
                    <a:pt x="2711" y="1859"/>
                  </a:lnTo>
                  <a:lnTo>
                    <a:pt x="2711" y="1861"/>
                  </a:lnTo>
                  <a:lnTo>
                    <a:pt x="2715" y="1866"/>
                  </a:lnTo>
                  <a:lnTo>
                    <a:pt x="2713" y="1866"/>
                  </a:lnTo>
                  <a:lnTo>
                    <a:pt x="2713" y="1867"/>
                  </a:lnTo>
                  <a:lnTo>
                    <a:pt x="2710" y="1874"/>
                  </a:lnTo>
                  <a:lnTo>
                    <a:pt x="2708" y="1872"/>
                  </a:lnTo>
                  <a:lnTo>
                    <a:pt x="2708" y="1874"/>
                  </a:lnTo>
                  <a:lnTo>
                    <a:pt x="2703" y="1877"/>
                  </a:lnTo>
                  <a:lnTo>
                    <a:pt x="2702" y="1874"/>
                  </a:lnTo>
                  <a:lnTo>
                    <a:pt x="2695" y="1880"/>
                  </a:lnTo>
                  <a:lnTo>
                    <a:pt x="2692" y="1884"/>
                  </a:lnTo>
                  <a:lnTo>
                    <a:pt x="2694" y="1884"/>
                  </a:lnTo>
                  <a:lnTo>
                    <a:pt x="2694" y="1885"/>
                  </a:lnTo>
                  <a:lnTo>
                    <a:pt x="2695" y="1885"/>
                  </a:lnTo>
                  <a:lnTo>
                    <a:pt x="2694" y="1887"/>
                  </a:lnTo>
                  <a:lnTo>
                    <a:pt x="2694" y="1888"/>
                  </a:lnTo>
                  <a:lnTo>
                    <a:pt x="2694" y="1890"/>
                  </a:lnTo>
                  <a:lnTo>
                    <a:pt x="2694" y="1892"/>
                  </a:lnTo>
                  <a:lnTo>
                    <a:pt x="2694" y="1893"/>
                  </a:lnTo>
                  <a:lnTo>
                    <a:pt x="2694" y="1895"/>
                  </a:lnTo>
                  <a:lnTo>
                    <a:pt x="2695" y="1895"/>
                  </a:lnTo>
                  <a:lnTo>
                    <a:pt x="2694" y="1895"/>
                  </a:lnTo>
                  <a:lnTo>
                    <a:pt x="2694" y="1897"/>
                  </a:lnTo>
                  <a:lnTo>
                    <a:pt x="2695" y="1895"/>
                  </a:lnTo>
                  <a:lnTo>
                    <a:pt x="2695" y="1897"/>
                  </a:lnTo>
                  <a:lnTo>
                    <a:pt x="2694" y="1898"/>
                  </a:lnTo>
                  <a:lnTo>
                    <a:pt x="2703" y="1906"/>
                  </a:lnTo>
                  <a:lnTo>
                    <a:pt x="2698" y="1913"/>
                  </a:lnTo>
                  <a:lnTo>
                    <a:pt x="2700" y="1914"/>
                  </a:lnTo>
                  <a:lnTo>
                    <a:pt x="2695" y="1921"/>
                  </a:lnTo>
                  <a:lnTo>
                    <a:pt x="2692" y="1918"/>
                  </a:lnTo>
                  <a:lnTo>
                    <a:pt x="2690" y="1914"/>
                  </a:lnTo>
                  <a:lnTo>
                    <a:pt x="2692" y="1913"/>
                  </a:lnTo>
                  <a:lnTo>
                    <a:pt x="2687" y="1910"/>
                  </a:lnTo>
                  <a:lnTo>
                    <a:pt x="2685" y="1913"/>
                  </a:lnTo>
                  <a:lnTo>
                    <a:pt x="2684" y="1911"/>
                  </a:lnTo>
                  <a:lnTo>
                    <a:pt x="2682" y="1913"/>
                  </a:lnTo>
                  <a:lnTo>
                    <a:pt x="2684" y="1914"/>
                  </a:lnTo>
                  <a:lnTo>
                    <a:pt x="2682" y="1916"/>
                  </a:lnTo>
                  <a:lnTo>
                    <a:pt x="2685" y="1918"/>
                  </a:lnTo>
                  <a:lnTo>
                    <a:pt x="2681" y="1924"/>
                  </a:lnTo>
                  <a:lnTo>
                    <a:pt x="2677" y="1927"/>
                  </a:lnTo>
                  <a:lnTo>
                    <a:pt x="2674" y="1931"/>
                  </a:lnTo>
                  <a:lnTo>
                    <a:pt x="2672" y="1929"/>
                  </a:lnTo>
                  <a:lnTo>
                    <a:pt x="2666" y="1934"/>
                  </a:lnTo>
                  <a:lnTo>
                    <a:pt x="2663" y="1929"/>
                  </a:lnTo>
                  <a:lnTo>
                    <a:pt x="2659" y="1931"/>
                  </a:lnTo>
                  <a:lnTo>
                    <a:pt x="2658" y="1927"/>
                  </a:lnTo>
                  <a:lnTo>
                    <a:pt x="2656" y="1927"/>
                  </a:lnTo>
                  <a:lnTo>
                    <a:pt x="2666" y="1919"/>
                  </a:lnTo>
                  <a:lnTo>
                    <a:pt x="2661" y="1910"/>
                  </a:lnTo>
                  <a:lnTo>
                    <a:pt x="2654" y="1914"/>
                  </a:lnTo>
                  <a:lnTo>
                    <a:pt x="2651" y="1911"/>
                  </a:lnTo>
                  <a:lnTo>
                    <a:pt x="2650" y="1910"/>
                  </a:lnTo>
                  <a:lnTo>
                    <a:pt x="2648" y="1911"/>
                  </a:lnTo>
                  <a:lnTo>
                    <a:pt x="2646" y="1913"/>
                  </a:lnTo>
                  <a:lnTo>
                    <a:pt x="2645" y="1913"/>
                  </a:lnTo>
                  <a:lnTo>
                    <a:pt x="2646" y="1913"/>
                  </a:lnTo>
                  <a:lnTo>
                    <a:pt x="2645" y="1914"/>
                  </a:lnTo>
                  <a:lnTo>
                    <a:pt x="2646" y="1914"/>
                  </a:lnTo>
                  <a:lnTo>
                    <a:pt x="2646" y="1916"/>
                  </a:lnTo>
                  <a:lnTo>
                    <a:pt x="2645" y="1916"/>
                  </a:lnTo>
                  <a:lnTo>
                    <a:pt x="2643" y="1916"/>
                  </a:lnTo>
                  <a:lnTo>
                    <a:pt x="2641" y="1916"/>
                  </a:lnTo>
                  <a:lnTo>
                    <a:pt x="2641" y="1918"/>
                  </a:lnTo>
                  <a:lnTo>
                    <a:pt x="2640" y="1918"/>
                  </a:lnTo>
                  <a:lnTo>
                    <a:pt x="2640" y="1919"/>
                  </a:lnTo>
                  <a:lnTo>
                    <a:pt x="2638" y="1918"/>
                  </a:lnTo>
                  <a:lnTo>
                    <a:pt x="2638" y="1919"/>
                  </a:lnTo>
                  <a:lnTo>
                    <a:pt x="2637" y="1919"/>
                  </a:lnTo>
                  <a:lnTo>
                    <a:pt x="2638" y="1921"/>
                  </a:lnTo>
                  <a:lnTo>
                    <a:pt x="2637" y="1921"/>
                  </a:lnTo>
                  <a:lnTo>
                    <a:pt x="2635" y="1921"/>
                  </a:lnTo>
                  <a:lnTo>
                    <a:pt x="2635" y="1923"/>
                  </a:lnTo>
                  <a:lnTo>
                    <a:pt x="2635" y="1921"/>
                  </a:lnTo>
                  <a:lnTo>
                    <a:pt x="2633" y="1921"/>
                  </a:lnTo>
                  <a:lnTo>
                    <a:pt x="2633" y="1923"/>
                  </a:lnTo>
                  <a:lnTo>
                    <a:pt x="2633" y="1921"/>
                  </a:lnTo>
                  <a:lnTo>
                    <a:pt x="2632" y="1921"/>
                  </a:lnTo>
                  <a:lnTo>
                    <a:pt x="2632" y="1923"/>
                  </a:lnTo>
                  <a:lnTo>
                    <a:pt x="2632" y="1924"/>
                  </a:lnTo>
                  <a:lnTo>
                    <a:pt x="2630" y="1924"/>
                  </a:lnTo>
                  <a:lnTo>
                    <a:pt x="2628" y="1926"/>
                  </a:lnTo>
                  <a:lnTo>
                    <a:pt x="2627" y="1926"/>
                  </a:lnTo>
                  <a:lnTo>
                    <a:pt x="2625" y="1926"/>
                  </a:lnTo>
                  <a:lnTo>
                    <a:pt x="2625" y="1927"/>
                  </a:lnTo>
                  <a:lnTo>
                    <a:pt x="2624" y="1927"/>
                  </a:lnTo>
                  <a:lnTo>
                    <a:pt x="2622" y="1927"/>
                  </a:lnTo>
                  <a:lnTo>
                    <a:pt x="2622" y="1929"/>
                  </a:lnTo>
                  <a:lnTo>
                    <a:pt x="2615" y="1921"/>
                  </a:lnTo>
                  <a:lnTo>
                    <a:pt x="2614" y="1921"/>
                  </a:lnTo>
                  <a:lnTo>
                    <a:pt x="2606" y="1924"/>
                  </a:lnTo>
                  <a:lnTo>
                    <a:pt x="2611" y="1931"/>
                  </a:lnTo>
                  <a:lnTo>
                    <a:pt x="2614" y="1934"/>
                  </a:lnTo>
                  <a:lnTo>
                    <a:pt x="2617" y="1934"/>
                  </a:lnTo>
                  <a:lnTo>
                    <a:pt x="2620" y="1936"/>
                  </a:lnTo>
                  <a:lnTo>
                    <a:pt x="2619" y="1937"/>
                  </a:lnTo>
                  <a:lnTo>
                    <a:pt x="2624" y="1945"/>
                  </a:lnTo>
                  <a:lnTo>
                    <a:pt x="2620" y="1947"/>
                  </a:lnTo>
                  <a:lnTo>
                    <a:pt x="2620" y="1949"/>
                  </a:lnTo>
                  <a:lnTo>
                    <a:pt x="2614" y="1952"/>
                  </a:lnTo>
                  <a:lnTo>
                    <a:pt x="2615" y="1952"/>
                  </a:lnTo>
                  <a:lnTo>
                    <a:pt x="2614" y="1952"/>
                  </a:lnTo>
                  <a:lnTo>
                    <a:pt x="2614" y="1950"/>
                  </a:lnTo>
                  <a:lnTo>
                    <a:pt x="2615" y="1950"/>
                  </a:lnTo>
                  <a:lnTo>
                    <a:pt x="2615" y="1949"/>
                  </a:lnTo>
                  <a:lnTo>
                    <a:pt x="2614" y="1949"/>
                  </a:lnTo>
                  <a:lnTo>
                    <a:pt x="2615" y="1949"/>
                  </a:lnTo>
                  <a:lnTo>
                    <a:pt x="2615" y="1947"/>
                  </a:lnTo>
                  <a:lnTo>
                    <a:pt x="2615" y="1945"/>
                  </a:lnTo>
                  <a:lnTo>
                    <a:pt x="2615" y="1944"/>
                  </a:lnTo>
                  <a:lnTo>
                    <a:pt x="2614" y="1944"/>
                  </a:lnTo>
                  <a:lnTo>
                    <a:pt x="2607" y="1947"/>
                  </a:lnTo>
                  <a:lnTo>
                    <a:pt x="2606" y="1947"/>
                  </a:lnTo>
                  <a:lnTo>
                    <a:pt x="2606" y="1945"/>
                  </a:lnTo>
                  <a:lnTo>
                    <a:pt x="2602" y="1949"/>
                  </a:lnTo>
                  <a:lnTo>
                    <a:pt x="2606" y="1955"/>
                  </a:lnTo>
                  <a:lnTo>
                    <a:pt x="2604" y="1955"/>
                  </a:lnTo>
                  <a:lnTo>
                    <a:pt x="2602" y="1955"/>
                  </a:lnTo>
                  <a:lnTo>
                    <a:pt x="2602" y="1957"/>
                  </a:lnTo>
                  <a:lnTo>
                    <a:pt x="2609" y="1966"/>
                  </a:lnTo>
                  <a:lnTo>
                    <a:pt x="2611" y="1968"/>
                  </a:lnTo>
                  <a:lnTo>
                    <a:pt x="2612" y="1968"/>
                  </a:lnTo>
                  <a:lnTo>
                    <a:pt x="2612" y="1970"/>
                  </a:lnTo>
                  <a:lnTo>
                    <a:pt x="2614" y="1971"/>
                  </a:lnTo>
                  <a:lnTo>
                    <a:pt x="2612" y="1971"/>
                  </a:lnTo>
                  <a:lnTo>
                    <a:pt x="2612" y="1973"/>
                  </a:lnTo>
                  <a:lnTo>
                    <a:pt x="2609" y="1975"/>
                  </a:lnTo>
                  <a:lnTo>
                    <a:pt x="2612" y="1979"/>
                  </a:lnTo>
                  <a:lnTo>
                    <a:pt x="2602" y="1986"/>
                  </a:lnTo>
                  <a:lnTo>
                    <a:pt x="2604" y="1986"/>
                  </a:lnTo>
                  <a:lnTo>
                    <a:pt x="2607" y="1986"/>
                  </a:lnTo>
                  <a:lnTo>
                    <a:pt x="2607" y="1988"/>
                  </a:lnTo>
                  <a:lnTo>
                    <a:pt x="2604" y="1991"/>
                  </a:lnTo>
                  <a:lnTo>
                    <a:pt x="2604" y="1993"/>
                  </a:lnTo>
                  <a:lnTo>
                    <a:pt x="2611" y="1997"/>
                  </a:lnTo>
                  <a:lnTo>
                    <a:pt x="2607" y="2002"/>
                  </a:lnTo>
                  <a:lnTo>
                    <a:pt x="2604" y="2010"/>
                  </a:lnTo>
                  <a:lnTo>
                    <a:pt x="2591" y="2023"/>
                  </a:lnTo>
                  <a:lnTo>
                    <a:pt x="2591" y="2025"/>
                  </a:lnTo>
                  <a:lnTo>
                    <a:pt x="2589" y="2027"/>
                  </a:lnTo>
                  <a:lnTo>
                    <a:pt x="2589" y="2030"/>
                  </a:lnTo>
                  <a:lnTo>
                    <a:pt x="2586" y="2033"/>
                  </a:lnTo>
                  <a:lnTo>
                    <a:pt x="2586" y="2036"/>
                  </a:lnTo>
                  <a:lnTo>
                    <a:pt x="2583" y="2054"/>
                  </a:lnTo>
                  <a:lnTo>
                    <a:pt x="2567" y="2064"/>
                  </a:lnTo>
                  <a:lnTo>
                    <a:pt x="2562" y="2069"/>
                  </a:lnTo>
                  <a:lnTo>
                    <a:pt x="2559" y="2067"/>
                  </a:lnTo>
                  <a:lnTo>
                    <a:pt x="2557" y="2069"/>
                  </a:lnTo>
                  <a:lnTo>
                    <a:pt x="2559" y="2072"/>
                  </a:lnTo>
                  <a:lnTo>
                    <a:pt x="2555" y="2074"/>
                  </a:lnTo>
                  <a:lnTo>
                    <a:pt x="2559" y="2079"/>
                  </a:lnTo>
                  <a:lnTo>
                    <a:pt x="2559" y="2080"/>
                  </a:lnTo>
                  <a:lnTo>
                    <a:pt x="2559" y="2085"/>
                  </a:lnTo>
                  <a:lnTo>
                    <a:pt x="2559" y="2088"/>
                  </a:lnTo>
                  <a:lnTo>
                    <a:pt x="2560" y="2088"/>
                  </a:lnTo>
                  <a:lnTo>
                    <a:pt x="2562" y="2088"/>
                  </a:lnTo>
                  <a:lnTo>
                    <a:pt x="2563" y="2088"/>
                  </a:lnTo>
                  <a:lnTo>
                    <a:pt x="2565" y="2088"/>
                  </a:lnTo>
                  <a:lnTo>
                    <a:pt x="2567" y="2088"/>
                  </a:lnTo>
                  <a:lnTo>
                    <a:pt x="2567" y="2090"/>
                  </a:lnTo>
                  <a:lnTo>
                    <a:pt x="2568" y="2090"/>
                  </a:lnTo>
                  <a:lnTo>
                    <a:pt x="2568" y="2092"/>
                  </a:lnTo>
                  <a:lnTo>
                    <a:pt x="2570" y="2093"/>
                  </a:lnTo>
                  <a:lnTo>
                    <a:pt x="2572" y="2093"/>
                  </a:lnTo>
                  <a:lnTo>
                    <a:pt x="2572" y="2095"/>
                  </a:lnTo>
                  <a:lnTo>
                    <a:pt x="2573" y="2097"/>
                  </a:lnTo>
                  <a:lnTo>
                    <a:pt x="2575" y="2097"/>
                  </a:lnTo>
                  <a:lnTo>
                    <a:pt x="2575" y="2098"/>
                  </a:lnTo>
                  <a:lnTo>
                    <a:pt x="2575" y="2100"/>
                  </a:lnTo>
                  <a:lnTo>
                    <a:pt x="2576" y="2103"/>
                  </a:lnTo>
                  <a:lnTo>
                    <a:pt x="2575" y="2103"/>
                  </a:lnTo>
                  <a:lnTo>
                    <a:pt x="2567" y="2113"/>
                  </a:lnTo>
                  <a:lnTo>
                    <a:pt x="2565" y="2114"/>
                  </a:lnTo>
                  <a:lnTo>
                    <a:pt x="2565" y="2118"/>
                  </a:lnTo>
                  <a:lnTo>
                    <a:pt x="2563" y="2119"/>
                  </a:lnTo>
                  <a:lnTo>
                    <a:pt x="2559" y="2124"/>
                  </a:lnTo>
                  <a:lnTo>
                    <a:pt x="2559" y="2126"/>
                  </a:lnTo>
                  <a:lnTo>
                    <a:pt x="2557" y="2134"/>
                  </a:lnTo>
                  <a:lnTo>
                    <a:pt x="2557" y="2142"/>
                  </a:lnTo>
                  <a:lnTo>
                    <a:pt x="2555" y="2147"/>
                  </a:lnTo>
                  <a:lnTo>
                    <a:pt x="2555" y="2150"/>
                  </a:lnTo>
                  <a:lnTo>
                    <a:pt x="2550" y="2158"/>
                  </a:lnTo>
                  <a:lnTo>
                    <a:pt x="2549" y="2163"/>
                  </a:lnTo>
                  <a:lnTo>
                    <a:pt x="2546" y="2163"/>
                  </a:lnTo>
                  <a:lnTo>
                    <a:pt x="2544" y="2163"/>
                  </a:lnTo>
                  <a:lnTo>
                    <a:pt x="2544" y="2165"/>
                  </a:lnTo>
                  <a:lnTo>
                    <a:pt x="2544" y="2163"/>
                  </a:lnTo>
                  <a:lnTo>
                    <a:pt x="2542" y="2165"/>
                  </a:lnTo>
                  <a:lnTo>
                    <a:pt x="2541" y="2165"/>
                  </a:lnTo>
                  <a:lnTo>
                    <a:pt x="2541" y="2167"/>
                  </a:lnTo>
                  <a:lnTo>
                    <a:pt x="2539" y="2167"/>
                  </a:lnTo>
                  <a:lnTo>
                    <a:pt x="2537" y="2167"/>
                  </a:lnTo>
                  <a:lnTo>
                    <a:pt x="2536" y="2167"/>
                  </a:lnTo>
                  <a:lnTo>
                    <a:pt x="2534" y="2167"/>
                  </a:lnTo>
                  <a:lnTo>
                    <a:pt x="2534" y="2165"/>
                  </a:lnTo>
                  <a:lnTo>
                    <a:pt x="2533" y="2165"/>
                  </a:lnTo>
                  <a:lnTo>
                    <a:pt x="2531" y="2165"/>
                  </a:lnTo>
                  <a:lnTo>
                    <a:pt x="2529" y="2165"/>
                  </a:lnTo>
                  <a:lnTo>
                    <a:pt x="2528" y="2165"/>
                  </a:lnTo>
                  <a:lnTo>
                    <a:pt x="2528" y="2168"/>
                  </a:lnTo>
                  <a:lnTo>
                    <a:pt x="2528" y="2170"/>
                  </a:lnTo>
                  <a:lnTo>
                    <a:pt x="2528" y="2171"/>
                  </a:lnTo>
                  <a:lnTo>
                    <a:pt x="2528" y="2170"/>
                  </a:lnTo>
                  <a:lnTo>
                    <a:pt x="2529" y="2171"/>
                  </a:lnTo>
                  <a:lnTo>
                    <a:pt x="2531" y="2171"/>
                  </a:lnTo>
                  <a:lnTo>
                    <a:pt x="2533" y="2170"/>
                  </a:lnTo>
                  <a:lnTo>
                    <a:pt x="2534" y="2170"/>
                  </a:lnTo>
                  <a:lnTo>
                    <a:pt x="2536" y="2170"/>
                  </a:lnTo>
                  <a:lnTo>
                    <a:pt x="2536" y="2171"/>
                  </a:lnTo>
                  <a:lnTo>
                    <a:pt x="2536" y="2173"/>
                  </a:lnTo>
                  <a:lnTo>
                    <a:pt x="2537" y="2173"/>
                  </a:lnTo>
                  <a:lnTo>
                    <a:pt x="2539" y="2173"/>
                  </a:lnTo>
                  <a:lnTo>
                    <a:pt x="2539" y="2175"/>
                  </a:lnTo>
                  <a:lnTo>
                    <a:pt x="2539" y="2176"/>
                  </a:lnTo>
                  <a:lnTo>
                    <a:pt x="2541" y="2178"/>
                  </a:lnTo>
                  <a:lnTo>
                    <a:pt x="2542" y="2180"/>
                  </a:lnTo>
                  <a:lnTo>
                    <a:pt x="2549" y="2188"/>
                  </a:lnTo>
                  <a:lnTo>
                    <a:pt x="2559" y="2199"/>
                  </a:lnTo>
                  <a:lnTo>
                    <a:pt x="2565" y="2209"/>
                  </a:lnTo>
                  <a:lnTo>
                    <a:pt x="2568" y="2210"/>
                  </a:lnTo>
                  <a:lnTo>
                    <a:pt x="2575" y="2214"/>
                  </a:lnTo>
                  <a:lnTo>
                    <a:pt x="2578" y="2215"/>
                  </a:lnTo>
                  <a:lnTo>
                    <a:pt x="2578" y="2217"/>
                  </a:lnTo>
                  <a:lnTo>
                    <a:pt x="2581" y="2228"/>
                  </a:lnTo>
                  <a:lnTo>
                    <a:pt x="2583" y="2227"/>
                  </a:lnTo>
                  <a:lnTo>
                    <a:pt x="2583" y="2228"/>
                  </a:lnTo>
                  <a:lnTo>
                    <a:pt x="2586" y="2227"/>
                  </a:lnTo>
                  <a:lnTo>
                    <a:pt x="2588" y="2225"/>
                  </a:lnTo>
                  <a:lnTo>
                    <a:pt x="2588" y="2227"/>
                  </a:lnTo>
                  <a:lnTo>
                    <a:pt x="2589" y="2227"/>
                  </a:lnTo>
                  <a:lnTo>
                    <a:pt x="2591" y="2230"/>
                  </a:lnTo>
                  <a:lnTo>
                    <a:pt x="2593" y="2230"/>
                  </a:lnTo>
                  <a:lnTo>
                    <a:pt x="2594" y="2230"/>
                  </a:lnTo>
                  <a:lnTo>
                    <a:pt x="2594" y="2232"/>
                  </a:lnTo>
                  <a:lnTo>
                    <a:pt x="2596" y="2232"/>
                  </a:lnTo>
                  <a:lnTo>
                    <a:pt x="2598" y="2233"/>
                  </a:lnTo>
                  <a:lnTo>
                    <a:pt x="2591" y="2253"/>
                  </a:lnTo>
                  <a:lnTo>
                    <a:pt x="2586" y="2261"/>
                  </a:lnTo>
                  <a:lnTo>
                    <a:pt x="2575" y="2277"/>
                  </a:lnTo>
                  <a:lnTo>
                    <a:pt x="2576" y="2282"/>
                  </a:lnTo>
                  <a:lnTo>
                    <a:pt x="2575" y="2282"/>
                  </a:lnTo>
                  <a:lnTo>
                    <a:pt x="2575" y="2280"/>
                  </a:lnTo>
                  <a:lnTo>
                    <a:pt x="2573" y="2280"/>
                  </a:lnTo>
                  <a:lnTo>
                    <a:pt x="2572" y="2280"/>
                  </a:lnTo>
                  <a:lnTo>
                    <a:pt x="2570" y="2279"/>
                  </a:lnTo>
                  <a:lnTo>
                    <a:pt x="2570" y="2280"/>
                  </a:lnTo>
                  <a:lnTo>
                    <a:pt x="2568" y="2282"/>
                  </a:lnTo>
                  <a:lnTo>
                    <a:pt x="2567" y="2282"/>
                  </a:lnTo>
                  <a:lnTo>
                    <a:pt x="2567" y="2280"/>
                  </a:lnTo>
                  <a:lnTo>
                    <a:pt x="2565" y="2280"/>
                  </a:lnTo>
                  <a:lnTo>
                    <a:pt x="2563" y="2280"/>
                  </a:lnTo>
                  <a:lnTo>
                    <a:pt x="2562" y="2279"/>
                  </a:lnTo>
                  <a:lnTo>
                    <a:pt x="2562" y="2280"/>
                  </a:lnTo>
                  <a:lnTo>
                    <a:pt x="2559" y="2282"/>
                  </a:lnTo>
                  <a:lnTo>
                    <a:pt x="2557" y="2282"/>
                  </a:lnTo>
                  <a:lnTo>
                    <a:pt x="2555" y="2284"/>
                  </a:lnTo>
                  <a:lnTo>
                    <a:pt x="2555" y="2282"/>
                  </a:lnTo>
                  <a:lnTo>
                    <a:pt x="2554" y="2280"/>
                  </a:lnTo>
                  <a:lnTo>
                    <a:pt x="2554" y="2279"/>
                  </a:lnTo>
                  <a:lnTo>
                    <a:pt x="2552" y="2279"/>
                  </a:lnTo>
                  <a:lnTo>
                    <a:pt x="2552" y="2277"/>
                  </a:lnTo>
                  <a:lnTo>
                    <a:pt x="2550" y="2277"/>
                  </a:lnTo>
                  <a:lnTo>
                    <a:pt x="2549" y="2277"/>
                  </a:lnTo>
                  <a:lnTo>
                    <a:pt x="2547" y="2276"/>
                  </a:lnTo>
                  <a:lnTo>
                    <a:pt x="2546" y="2276"/>
                  </a:lnTo>
                  <a:lnTo>
                    <a:pt x="2544" y="2276"/>
                  </a:lnTo>
                  <a:lnTo>
                    <a:pt x="2542" y="2274"/>
                  </a:lnTo>
                  <a:lnTo>
                    <a:pt x="2542" y="2272"/>
                  </a:lnTo>
                  <a:lnTo>
                    <a:pt x="2541" y="2272"/>
                  </a:lnTo>
                  <a:lnTo>
                    <a:pt x="2539" y="2272"/>
                  </a:lnTo>
                  <a:lnTo>
                    <a:pt x="2539" y="2271"/>
                  </a:lnTo>
                  <a:lnTo>
                    <a:pt x="2537" y="2271"/>
                  </a:lnTo>
                  <a:lnTo>
                    <a:pt x="2537" y="2269"/>
                  </a:lnTo>
                  <a:lnTo>
                    <a:pt x="2536" y="2267"/>
                  </a:lnTo>
                  <a:lnTo>
                    <a:pt x="2536" y="2266"/>
                  </a:lnTo>
                  <a:lnTo>
                    <a:pt x="2534" y="2266"/>
                  </a:lnTo>
                  <a:lnTo>
                    <a:pt x="2534" y="2264"/>
                  </a:lnTo>
                  <a:lnTo>
                    <a:pt x="2533" y="2264"/>
                  </a:lnTo>
                  <a:lnTo>
                    <a:pt x="2533" y="2262"/>
                  </a:lnTo>
                  <a:lnTo>
                    <a:pt x="2531" y="2262"/>
                  </a:lnTo>
                  <a:lnTo>
                    <a:pt x="2531" y="2261"/>
                  </a:lnTo>
                  <a:lnTo>
                    <a:pt x="2529" y="2259"/>
                  </a:lnTo>
                  <a:lnTo>
                    <a:pt x="2528" y="2259"/>
                  </a:lnTo>
                  <a:lnTo>
                    <a:pt x="2526" y="2261"/>
                  </a:lnTo>
                  <a:lnTo>
                    <a:pt x="2524" y="2259"/>
                  </a:lnTo>
                  <a:lnTo>
                    <a:pt x="2524" y="2261"/>
                  </a:lnTo>
                  <a:lnTo>
                    <a:pt x="2523" y="2261"/>
                  </a:lnTo>
                  <a:lnTo>
                    <a:pt x="2523" y="2259"/>
                  </a:lnTo>
                  <a:lnTo>
                    <a:pt x="2521" y="2259"/>
                  </a:lnTo>
                  <a:lnTo>
                    <a:pt x="2521" y="2258"/>
                  </a:lnTo>
                  <a:lnTo>
                    <a:pt x="2520" y="2259"/>
                  </a:lnTo>
                  <a:lnTo>
                    <a:pt x="2520" y="2258"/>
                  </a:lnTo>
                  <a:lnTo>
                    <a:pt x="2520" y="2259"/>
                  </a:lnTo>
                  <a:lnTo>
                    <a:pt x="2518" y="2259"/>
                  </a:lnTo>
                  <a:lnTo>
                    <a:pt x="2518" y="2258"/>
                  </a:lnTo>
                  <a:lnTo>
                    <a:pt x="2516" y="2258"/>
                  </a:lnTo>
                  <a:lnTo>
                    <a:pt x="2516" y="2256"/>
                  </a:lnTo>
                  <a:lnTo>
                    <a:pt x="2515" y="2254"/>
                  </a:lnTo>
                  <a:lnTo>
                    <a:pt x="2511" y="2254"/>
                  </a:lnTo>
                  <a:lnTo>
                    <a:pt x="2510" y="2253"/>
                  </a:lnTo>
                  <a:lnTo>
                    <a:pt x="2508" y="2251"/>
                  </a:lnTo>
                  <a:lnTo>
                    <a:pt x="2508" y="2249"/>
                  </a:lnTo>
                  <a:lnTo>
                    <a:pt x="2506" y="2249"/>
                  </a:lnTo>
                  <a:lnTo>
                    <a:pt x="2505" y="2248"/>
                  </a:lnTo>
                  <a:lnTo>
                    <a:pt x="2503" y="2249"/>
                  </a:lnTo>
                  <a:lnTo>
                    <a:pt x="2503" y="2248"/>
                  </a:lnTo>
                  <a:lnTo>
                    <a:pt x="2502" y="2248"/>
                  </a:lnTo>
                  <a:lnTo>
                    <a:pt x="2500" y="2248"/>
                  </a:lnTo>
                  <a:lnTo>
                    <a:pt x="2497" y="2246"/>
                  </a:lnTo>
                  <a:lnTo>
                    <a:pt x="2495" y="2245"/>
                  </a:lnTo>
                  <a:lnTo>
                    <a:pt x="2493" y="2245"/>
                  </a:lnTo>
                  <a:lnTo>
                    <a:pt x="2492" y="2245"/>
                  </a:lnTo>
                  <a:lnTo>
                    <a:pt x="2492" y="2246"/>
                  </a:lnTo>
                  <a:lnTo>
                    <a:pt x="2492" y="2245"/>
                  </a:lnTo>
                  <a:lnTo>
                    <a:pt x="2492" y="2243"/>
                  </a:lnTo>
                  <a:lnTo>
                    <a:pt x="2490" y="2243"/>
                  </a:lnTo>
                  <a:lnTo>
                    <a:pt x="2489" y="2243"/>
                  </a:lnTo>
                  <a:lnTo>
                    <a:pt x="2489" y="2245"/>
                  </a:lnTo>
                  <a:lnTo>
                    <a:pt x="2487" y="2245"/>
                  </a:lnTo>
                  <a:lnTo>
                    <a:pt x="2485" y="2245"/>
                  </a:lnTo>
                  <a:lnTo>
                    <a:pt x="2485" y="2243"/>
                  </a:lnTo>
                  <a:lnTo>
                    <a:pt x="2484" y="2243"/>
                  </a:lnTo>
                  <a:lnTo>
                    <a:pt x="2482" y="2243"/>
                  </a:lnTo>
                  <a:lnTo>
                    <a:pt x="2482" y="2241"/>
                  </a:lnTo>
                  <a:lnTo>
                    <a:pt x="2480" y="2241"/>
                  </a:lnTo>
                  <a:lnTo>
                    <a:pt x="2480" y="2240"/>
                  </a:lnTo>
                  <a:lnTo>
                    <a:pt x="2479" y="2240"/>
                  </a:lnTo>
                  <a:lnTo>
                    <a:pt x="2477" y="2241"/>
                  </a:lnTo>
                  <a:lnTo>
                    <a:pt x="2476" y="2241"/>
                  </a:lnTo>
                  <a:lnTo>
                    <a:pt x="2474" y="2241"/>
                  </a:lnTo>
                  <a:lnTo>
                    <a:pt x="2472" y="2240"/>
                  </a:lnTo>
                  <a:lnTo>
                    <a:pt x="2472" y="2238"/>
                  </a:lnTo>
                  <a:lnTo>
                    <a:pt x="2471" y="2240"/>
                  </a:lnTo>
                  <a:lnTo>
                    <a:pt x="2471" y="2238"/>
                  </a:lnTo>
                  <a:lnTo>
                    <a:pt x="2469" y="2238"/>
                  </a:lnTo>
                  <a:lnTo>
                    <a:pt x="2469" y="2236"/>
                  </a:lnTo>
                  <a:lnTo>
                    <a:pt x="2467" y="2238"/>
                  </a:lnTo>
                  <a:lnTo>
                    <a:pt x="2467" y="2236"/>
                  </a:lnTo>
                  <a:lnTo>
                    <a:pt x="2466" y="2235"/>
                  </a:lnTo>
                  <a:lnTo>
                    <a:pt x="2466" y="2236"/>
                  </a:lnTo>
                  <a:lnTo>
                    <a:pt x="2466" y="2235"/>
                  </a:lnTo>
                  <a:lnTo>
                    <a:pt x="2459" y="2240"/>
                  </a:lnTo>
                  <a:lnTo>
                    <a:pt x="2459" y="2243"/>
                  </a:lnTo>
                  <a:lnTo>
                    <a:pt x="2459" y="2245"/>
                  </a:lnTo>
                  <a:lnTo>
                    <a:pt x="2458" y="2248"/>
                  </a:lnTo>
                  <a:lnTo>
                    <a:pt x="2458" y="2253"/>
                  </a:lnTo>
                  <a:lnTo>
                    <a:pt x="2458" y="2254"/>
                  </a:lnTo>
                  <a:lnTo>
                    <a:pt x="2458" y="2259"/>
                  </a:lnTo>
                  <a:lnTo>
                    <a:pt x="2458" y="2261"/>
                  </a:lnTo>
                  <a:lnTo>
                    <a:pt x="2458" y="2262"/>
                  </a:lnTo>
                  <a:lnTo>
                    <a:pt x="2456" y="2262"/>
                  </a:lnTo>
                  <a:lnTo>
                    <a:pt x="2456" y="2264"/>
                  </a:lnTo>
                  <a:lnTo>
                    <a:pt x="2454" y="2264"/>
                  </a:lnTo>
                  <a:lnTo>
                    <a:pt x="2454" y="2266"/>
                  </a:lnTo>
                  <a:lnTo>
                    <a:pt x="2453" y="2266"/>
                  </a:lnTo>
                  <a:lnTo>
                    <a:pt x="2453" y="2264"/>
                  </a:lnTo>
                  <a:lnTo>
                    <a:pt x="2453" y="2266"/>
                  </a:lnTo>
                  <a:lnTo>
                    <a:pt x="2453" y="2267"/>
                  </a:lnTo>
                  <a:lnTo>
                    <a:pt x="2453" y="2269"/>
                  </a:lnTo>
                  <a:lnTo>
                    <a:pt x="2453" y="2271"/>
                  </a:lnTo>
                  <a:lnTo>
                    <a:pt x="2453" y="2272"/>
                  </a:lnTo>
                  <a:lnTo>
                    <a:pt x="2453" y="2274"/>
                  </a:lnTo>
                  <a:lnTo>
                    <a:pt x="2454" y="2276"/>
                  </a:lnTo>
                  <a:lnTo>
                    <a:pt x="2456" y="2276"/>
                  </a:lnTo>
                  <a:lnTo>
                    <a:pt x="2459" y="2277"/>
                  </a:lnTo>
                  <a:lnTo>
                    <a:pt x="2456" y="2287"/>
                  </a:lnTo>
                  <a:lnTo>
                    <a:pt x="2464" y="2289"/>
                  </a:lnTo>
                  <a:lnTo>
                    <a:pt x="2466" y="2290"/>
                  </a:lnTo>
                  <a:lnTo>
                    <a:pt x="2471" y="2295"/>
                  </a:lnTo>
                  <a:lnTo>
                    <a:pt x="2469" y="2323"/>
                  </a:lnTo>
                  <a:lnTo>
                    <a:pt x="2463" y="2331"/>
                  </a:lnTo>
                  <a:lnTo>
                    <a:pt x="2456" y="2339"/>
                  </a:lnTo>
                  <a:lnTo>
                    <a:pt x="2456" y="2341"/>
                  </a:lnTo>
                  <a:lnTo>
                    <a:pt x="2453" y="2342"/>
                  </a:lnTo>
                  <a:lnTo>
                    <a:pt x="2451" y="2344"/>
                  </a:lnTo>
                  <a:lnTo>
                    <a:pt x="2451" y="2345"/>
                  </a:lnTo>
                  <a:lnTo>
                    <a:pt x="2453" y="2350"/>
                  </a:lnTo>
                  <a:lnTo>
                    <a:pt x="2456" y="2358"/>
                  </a:lnTo>
                  <a:lnTo>
                    <a:pt x="2458" y="2365"/>
                  </a:lnTo>
                  <a:lnTo>
                    <a:pt x="2463" y="2375"/>
                  </a:lnTo>
                  <a:lnTo>
                    <a:pt x="2466" y="2386"/>
                  </a:lnTo>
                  <a:lnTo>
                    <a:pt x="2471" y="2401"/>
                  </a:lnTo>
                  <a:lnTo>
                    <a:pt x="2477" y="2415"/>
                  </a:lnTo>
                  <a:lnTo>
                    <a:pt x="2477" y="2419"/>
                  </a:lnTo>
                  <a:lnTo>
                    <a:pt x="2484" y="2417"/>
                  </a:lnTo>
                  <a:lnTo>
                    <a:pt x="2490" y="2419"/>
                  </a:lnTo>
                  <a:lnTo>
                    <a:pt x="2492" y="2419"/>
                  </a:lnTo>
                  <a:lnTo>
                    <a:pt x="2502" y="2422"/>
                  </a:lnTo>
                  <a:lnTo>
                    <a:pt x="2510" y="2427"/>
                  </a:lnTo>
                  <a:lnTo>
                    <a:pt x="2511" y="2428"/>
                  </a:lnTo>
                  <a:lnTo>
                    <a:pt x="2511" y="2430"/>
                  </a:lnTo>
                  <a:lnTo>
                    <a:pt x="2515" y="2437"/>
                  </a:lnTo>
                  <a:lnTo>
                    <a:pt x="2515" y="2440"/>
                  </a:lnTo>
                  <a:lnTo>
                    <a:pt x="2515" y="2450"/>
                  </a:lnTo>
                  <a:lnTo>
                    <a:pt x="2513" y="2451"/>
                  </a:lnTo>
                  <a:lnTo>
                    <a:pt x="2513" y="2454"/>
                  </a:lnTo>
                  <a:lnTo>
                    <a:pt x="2511" y="2459"/>
                  </a:lnTo>
                  <a:lnTo>
                    <a:pt x="2505" y="2467"/>
                  </a:lnTo>
                  <a:lnTo>
                    <a:pt x="2508" y="2498"/>
                  </a:lnTo>
                  <a:lnTo>
                    <a:pt x="2511" y="2511"/>
                  </a:lnTo>
                  <a:lnTo>
                    <a:pt x="2511" y="2513"/>
                  </a:lnTo>
                  <a:lnTo>
                    <a:pt x="2516" y="2547"/>
                  </a:lnTo>
                  <a:lnTo>
                    <a:pt x="2524" y="2547"/>
                  </a:lnTo>
                  <a:lnTo>
                    <a:pt x="2531" y="2547"/>
                  </a:lnTo>
                  <a:lnTo>
                    <a:pt x="2533" y="2547"/>
                  </a:lnTo>
                  <a:lnTo>
                    <a:pt x="2534" y="2545"/>
                  </a:lnTo>
                  <a:lnTo>
                    <a:pt x="2541" y="2545"/>
                  </a:lnTo>
                  <a:lnTo>
                    <a:pt x="2544" y="2545"/>
                  </a:lnTo>
                  <a:lnTo>
                    <a:pt x="2547" y="2545"/>
                  </a:lnTo>
                  <a:lnTo>
                    <a:pt x="2555" y="2542"/>
                  </a:lnTo>
                  <a:lnTo>
                    <a:pt x="2557" y="2544"/>
                  </a:lnTo>
                  <a:lnTo>
                    <a:pt x="2559" y="2544"/>
                  </a:lnTo>
                  <a:lnTo>
                    <a:pt x="2560" y="2544"/>
                  </a:lnTo>
                  <a:lnTo>
                    <a:pt x="2560" y="2542"/>
                  </a:lnTo>
                  <a:lnTo>
                    <a:pt x="2568" y="2541"/>
                  </a:lnTo>
                  <a:lnTo>
                    <a:pt x="2580" y="2541"/>
                  </a:lnTo>
                  <a:lnTo>
                    <a:pt x="2580" y="2545"/>
                  </a:lnTo>
                  <a:lnTo>
                    <a:pt x="2581" y="2549"/>
                  </a:lnTo>
                  <a:lnTo>
                    <a:pt x="2585" y="2552"/>
                  </a:lnTo>
                  <a:lnTo>
                    <a:pt x="2586" y="2554"/>
                  </a:lnTo>
                  <a:lnTo>
                    <a:pt x="2588" y="2560"/>
                  </a:lnTo>
                  <a:lnTo>
                    <a:pt x="2588" y="2562"/>
                  </a:lnTo>
                  <a:lnTo>
                    <a:pt x="2599" y="2560"/>
                  </a:lnTo>
                  <a:lnTo>
                    <a:pt x="2599" y="2563"/>
                  </a:lnTo>
                  <a:lnTo>
                    <a:pt x="2596" y="2565"/>
                  </a:lnTo>
                  <a:lnTo>
                    <a:pt x="2596" y="2568"/>
                  </a:lnTo>
                  <a:lnTo>
                    <a:pt x="2596" y="2570"/>
                  </a:lnTo>
                  <a:lnTo>
                    <a:pt x="2591" y="2578"/>
                  </a:lnTo>
                  <a:lnTo>
                    <a:pt x="2601" y="2585"/>
                  </a:lnTo>
                  <a:lnTo>
                    <a:pt x="2612" y="2589"/>
                  </a:lnTo>
                  <a:lnTo>
                    <a:pt x="2609" y="2594"/>
                  </a:lnTo>
                  <a:lnTo>
                    <a:pt x="2609" y="2596"/>
                  </a:lnTo>
                  <a:lnTo>
                    <a:pt x="2615" y="2601"/>
                  </a:lnTo>
                  <a:lnTo>
                    <a:pt x="2619" y="2601"/>
                  </a:lnTo>
                  <a:lnTo>
                    <a:pt x="2620" y="2601"/>
                  </a:lnTo>
                  <a:lnTo>
                    <a:pt x="2622" y="2601"/>
                  </a:lnTo>
                  <a:lnTo>
                    <a:pt x="2637" y="2602"/>
                  </a:lnTo>
                  <a:lnTo>
                    <a:pt x="2638" y="2602"/>
                  </a:lnTo>
                  <a:lnTo>
                    <a:pt x="2640" y="2602"/>
                  </a:lnTo>
                  <a:lnTo>
                    <a:pt x="2638" y="2594"/>
                  </a:lnTo>
                  <a:lnTo>
                    <a:pt x="2635" y="2588"/>
                  </a:lnTo>
                  <a:lnTo>
                    <a:pt x="2632" y="2581"/>
                  </a:lnTo>
                  <a:lnTo>
                    <a:pt x="2654" y="2580"/>
                  </a:lnTo>
                  <a:lnTo>
                    <a:pt x="2658" y="2580"/>
                  </a:lnTo>
                  <a:lnTo>
                    <a:pt x="2666" y="2575"/>
                  </a:lnTo>
                  <a:lnTo>
                    <a:pt x="2682" y="2567"/>
                  </a:lnTo>
                  <a:lnTo>
                    <a:pt x="2684" y="2565"/>
                  </a:lnTo>
                  <a:lnTo>
                    <a:pt x="2685" y="2562"/>
                  </a:lnTo>
                  <a:lnTo>
                    <a:pt x="2687" y="2560"/>
                  </a:lnTo>
                  <a:lnTo>
                    <a:pt x="2690" y="2560"/>
                  </a:lnTo>
                  <a:lnTo>
                    <a:pt x="2698" y="2560"/>
                  </a:lnTo>
                  <a:lnTo>
                    <a:pt x="2707" y="2562"/>
                  </a:lnTo>
                  <a:lnTo>
                    <a:pt x="2744" y="2585"/>
                  </a:lnTo>
                  <a:lnTo>
                    <a:pt x="2747" y="2586"/>
                  </a:lnTo>
                  <a:lnTo>
                    <a:pt x="2752" y="2583"/>
                  </a:lnTo>
                  <a:lnTo>
                    <a:pt x="2765" y="2593"/>
                  </a:lnTo>
                  <a:lnTo>
                    <a:pt x="2783" y="2607"/>
                  </a:lnTo>
                  <a:lnTo>
                    <a:pt x="2789" y="2614"/>
                  </a:lnTo>
                  <a:lnTo>
                    <a:pt x="2822" y="2630"/>
                  </a:lnTo>
                  <a:lnTo>
                    <a:pt x="2825" y="2632"/>
                  </a:lnTo>
                  <a:lnTo>
                    <a:pt x="2830" y="2633"/>
                  </a:lnTo>
                  <a:lnTo>
                    <a:pt x="2832" y="2635"/>
                  </a:lnTo>
                  <a:lnTo>
                    <a:pt x="2833" y="2635"/>
                  </a:lnTo>
                  <a:lnTo>
                    <a:pt x="2835" y="2637"/>
                  </a:lnTo>
                  <a:lnTo>
                    <a:pt x="2837" y="2638"/>
                  </a:lnTo>
                  <a:lnTo>
                    <a:pt x="2840" y="2640"/>
                  </a:lnTo>
                  <a:lnTo>
                    <a:pt x="2840" y="2641"/>
                  </a:lnTo>
                  <a:lnTo>
                    <a:pt x="2837" y="2654"/>
                  </a:lnTo>
                  <a:lnTo>
                    <a:pt x="2824" y="2663"/>
                  </a:lnTo>
                  <a:lnTo>
                    <a:pt x="2822" y="2663"/>
                  </a:lnTo>
                  <a:lnTo>
                    <a:pt x="2817" y="2661"/>
                  </a:lnTo>
                  <a:lnTo>
                    <a:pt x="2814" y="2659"/>
                  </a:lnTo>
                  <a:lnTo>
                    <a:pt x="2814" y="2658"/>
                  </a:lnTo>
                  <a:lnTo>
                    <a:pt x="2811" y="2658"/>
                  </a:lnTo>
                  <a:lnTo>
                    <a:pt x="2809" y="2658"/>
                  </a:lnTo>
                  <a:lnTo>
                    <a:pt x="2804" y="2661"/>
                  </a:lnTo>
                  <a:lnTo>
                    <a:pt x="2802" y="2663"/>
                  </a:lnTo>
                  <a:lnTo>
                    <a:pt x="2801" y="2666"/>
                  </a:lnTo>
                  <a:lnTo>
                    <a:pt x="2799" y="2671"/>
                  </a:lnTo>
                  <a:lnTo>
                    <a:pt x="2799" y="2672"/>
                  </a:lnTo>
                  <a:lnTo>
                    <a:pt x="2802" y="2677"/>
                  </a:lnTo>
                  <a:lnTo>
                    <a:pt x="2802" y="2679"/>
                  </a:lnTo>
                  <a:lnTo>
                    <a:pt x="2806" y="2680"/>
                  </a:lnTo>
                  <a:lnTo>
                    <a:pt x="2807" y="2679"/>
                  </a:lnTo>
                  <a:lnTo>
                    <a:pt x="2809" y="2679"/>
                  </a:lnTo>
                  <a:lnTo>
                    <a:pt x="2811" y="2679"/>
                  </a:lnTo>
                  <a:lnTo>
                    <a:pt x="2811" y="2680"/>
                  </a:lnTo>
                  <a:lnTo>
                    <a:pt x="2811" y="2682"/>
                  </a:lnTo>
                  <a:lnTo>
                    <a:pt x="2812" y="2682"/>
                  </a:lnTo>
                  <a:lnTo>
                    <a:pt x="2814" y="2682"/>
                  </a:lnTo>
                  <a:lnTo>
                    <a:pt x="2816" y="2680"/>
                  </a:lnTo>
                  <a:lnTo>
                    <a:pt x="2817" y="2680"/>
                  </a:lnTo>
                  <a:lnTo>
                    <a:pt x="2816" y="2682"/>
                  </a:lnTo>
                  <a:lnTo>
                    <a:pt x="2816" y="2684"/>
                  </a:lnTo>
                  <a:lnTo>
                    <a:pt x="2814" y="2684"/>
                  </a:lnTo>
                  <a:lnTo>
                    <a:pt x="2814" y="2685"/>
                  </a:lnTo>
                  <a:lnTo>
                    <a:pt x="2814" y="2687"/>
                  </a:lnTo>
                  <a:lnTo>
                    <a:pt x="2814" y="2689"/>
                  </a:lnTo>
                  <a:lnTo>
                    <a:pt x="2814" y="2690"/>
                  </a:lnTo>
                  <a:lnTo>
                    <a:pt x="2816" y="2690"/>
                  </a:lnTo>
                  <a:lnTo>
                    <a:pt x="2816" y="2689"/>
                  </a:lnTo>
                  <a:lnTo>
                    <a:pt x="2817" y="2689"/>
                  </a:lnTo>
                  <a:lnTo>
                    <a:pt x="2819" y="2687"/>
                  </a:lnTo>
                  <a:lnTo>
                    <a:pt x="2820" y="2687"/>
                  </a:lnTo>
                  <a:lnTo>
                    <a:pt x="2822" y="2685"/>
                  </a:lnTo>
                  <a:lnTo>
                    <a:pt x="2824" y="2684"/>
                  </a:lnTo>
                  <a:lnTo>
                    <a:pt x="2825" y="2684"/>
                  </a:lnTo>
                  <a:lnTo>
                    <a:pt x="2827" y="2682"/>
                  </a:lnTo>
                  <a:lnTo>
                    <a:pt x="2829" y="2680"/>
                  </a:lnTo>
                  <a:lnTo>
                    <a:pt x="2830" y="2682"/>
                  </a:lnTo>
                  <a:lnTo>
                    <a:pt x="2832" y="2680"/>
                  </a:lnTo>
                  <a:lnTo>
                    <a:pt x="2833" y="2682"/>
                  </a:lnTo>
                  <a:lnTo>
                    <a:pt x="2835" y="2680"/>
                  </a:lnTo>
                  <a:lnTo>
                    <a:pt x="2837" y="2680"/>
                  </a:lnTo>
                  <a:lnTo>
                    <a:pt x="2837" y="2682"/>
                  </a:lnTo>
                  <a:lnTo>
                    <a:pt x="2838" y="2682"/>
                  </a:lnTo>
                  <a:lnTo>
                    <a:pt x="2842" y="2684"/>
                  </a:lnTo>
                  <a:lnTo>
                    <a:pt x="2842" y="2685"/>
                  </a:lnTo>
                  <a:lnTo>
                    <a:pt x="2843" y="2685"/>
                  </a:lnTo>
                  <a:lnTo>
                    <a:pt x="2845" y="2685"/>
                  </a:lnTo>
                  <a:lnTo>
                    <a:pt x="2846" y="2684"/>
                  </a:lnTo>
                  <a:lnTo>
                    <a:pt x="2848" y="2684"/>
                  </a:lnTo>
                  <a:lnTo>
                    <a:pt x="2848" y="2685"/>
                  </a:lnTo>
                  <a:lnTo>
                    <a:pt x="2851" y="2685"/>
                  </a:lnTo>
                  <a:lnTo>
                    <a:pt x="2853" y="2685"/>
                  </a:lnTo>
                  <a:lnTo>
                    <a:pt x="2855" y="2685"/>
                  </a:lnTo>
                  <a:lnTo>
                    <a:pt x="2858" y="2685"/>
                  </a:lnTo>
                  <a:lnTo>
                    <a:pt x="2859" y="2684"/>
                  </a:lnTo>
                  <a:lnTo>
                    <a:pt x="2861" y="2684"/>
                  </a:lnTo>
                  <a:lnTo>
                    <a:pt x="2864" y="2684"/>
                  </a:lnTo>
                  <a:lnTo>
                    <a:pt x="2866" y="2685"/>
                  </a:lnTo>
                  <a:lnTo>
                    <a:pt x="2868" y="2685"/>
                  </a:lnTo>
                  <a:lnTo>
                    <a:pt x="2869" y="2685"/>
                  </a:lnTo>
                  <a:lnTo>
                    <a:pt x="2871" y="2684"/>
                  </a:lnTo>
                  <a:lnTo>
                    <a:pt x="2872" y="2684"/>
                  </a:lnTo>
                  <a:lnTo>
                    <a:pt x="2874" y="2684"/>
                  </a:lnTo>
                  <a:lnTo>
                    <a:pt x="2874" y="2682"/>
                  </a:lnTo>
                  <a:lnTo>
                    <a:pt x="2876" y="2682"/>
                  </a:lnTo>
                  <a:lnTo>
                    <a:pt x="2877" y="2682"/>
                  </a:lnTo>
                  <a:lnTo>
                    <a:pt x="2879" y="2682"/>
                  </a:lnTo>
                  <a:lnTo>
                    <a:pt x="2882" y="2684"/>
                  </a:lnTo>
                  <a:lnTo>
                    <a:pt x="2884" y="2684"/>
                  </a:lnTo>
                  <a:lnTo>
                    <a:pt x="2884" y="2685"/>
                  </a:lnTo>
                  <a:lnTo>
                    <a:pt x="2885" y="2685"/>
                  </a:lnTo>
                  <a:lnTo>
                    <a:pt x="2885" y="2687"/>
                  </a:lnTo>
                  <a:lnTo>
                    <a:pt x="2887" y="2687"/>
                  </a:lnTo>
                  <a:lnTo>
                    <a:pt x="2887" y="2689"/>
                  </a:lnTo>
                  <a:lnTo>
                    <a:pt x="2889" y="2689"/>
                  </a:lnTo>
                  <a:lnTo>
                    <a:pt x="2890" y="2689"/>
                  </a:lnTo>
                  <a:lnTo>
                    <a:pt x="2890" y="2690"/>
                  </a:lnTo>
                  <a:lnTo>
                    <a:pt x="2890" y="2692"/>
                  </a:lnTo>
                  <a:lnTo>
                    <a:pt x="2892" y="2692"/>
                  </a:lnTo>
                  <a:lnTo>
                    <a:pt x="2894" y="2692"/>
                  </a:lnTo>
                  <a:lnTo>
                    <a:pt x="2894" y="2693"/>
                  </a:lnTo>
                  <a:lnTo>
                    <a:pt x="2894" y="2692"/>
                  </a:lnTo>
                  <a:lnTo>
                    <a:pt x="2894" y="2693"/>
                  </a:lnTo>
                  <a:lnTo>
                    <a:pt x="2895" y="2695"/>
                  </a:lnTo>
                  <a:lnTo>
                    <a:pt x="2895" y="2693"/>
                  </a:lnTo>
                  <a:lnTo>
                    <a:pt x="2894" y="2693"/>
                  </a:lnTo>
                  <a:lnTo>
                    <a:pt x="2894" y="2695"/>
                  </a:lnTo>
                  <a:lnTo>
                    <a:pt x="2895" y="2695"/>
                  </a:lnTo>
                  <a:lnTo>
                    <a:pt x="2897" y="2695"/>
                  </a:lnTo>
                  <a:lnTo>
                    <a:pt x="2898" y="2695"/>
                  </a:lnTo>
                  <a:lnTo>
                    <a:pt x="2898" y="2697"/>
                  </a:lnTo>
                  <a:lnTo>
                    <a:pt x="2898" y="2695"/>
                  </a:lnTo>
                  <a:lnTo>
                    <a:pt x="2898" y="2697"/>
                  </a:lnTo>
                  <a:lnTo>
                    <a:pt x="2898" y="2695"/>
                  </a:lnTo>
                  <a:lnTo>
                    <a:pt x="2897" y="2695"/>
                  </a:lnTo>
                  <a:lnTo>
                    <a:pt x="2898" y="2695"/>
                  </a:lnTo>
                  <a:lnTo>
                    <a:pt x="2900" y="2695"/>
                  </a:lnTo>
                  <a:lnTo>
                    <a:pt x="2902" y="2695"/>
                  </a:lnTo>
                  <a:lnTo>
                    <a:pt x="2900" y="2695"/>
                  </a:lnTo>
                  <a:lnTo>
                    <a:pt x="2902" y="2695"/>
                  </a:lnTo>
                  <a:lnTo>
                    <a:pt x="2902" y="2697"/>
                  </a:lnTo>
                  <a:lnTo>
                    <a:pt x="2902" y="2695"/>
                  </a:lnTo>
                  <a:lnTo>
                    <a:pt x="2902" y="2697"/>
                  </a:lnTo>
                  <a:lnTo>
                    <a:pt x="2903" y="2697"/>
                  </a:lnTo>
                  <a:lnTo>
                    <a:pt x="2905" y="2697"/>
                  </a:lnTo>
                  <a:lnTo>
                    <a:pt x="2905" y="2695"/>
                  </a:lnTo>
                  <a:lnTo>
                    <a:pt x="2905" y="2697"/>
                  </a:lnTo>
                  <a:lnTo>
                    <a:pt x="2907" y="2697"/>
                  </a:lnTo>
                  <a:lnTo>
                    <a:pt x="2907" y="2698"/>
                  </a:lnTo>
                  <a:lnTo>
                    <a:pt x="2908" y="2700"/>
                  </a:lnTo>
                  <a:lnTo>
                    <a:pt x="2908" y="2702"/>
                  </a:lnTo>
                  <a:lnTo>
                    <a:pt x="2908" y="2700"/>
                  </a:lnTo>
                  <a:lnTo>
                    <a:pt x="2908" y="2702"/>
                  </a:lnTo>
                  <a:lnTo>
                    <a:pt x="2908" y="2703"/>
                  </a:lnTo>
                  <a:lnTo>
                    <a:pt x="2907" y="2703"/>
                  </a:lnTo>
                  <a:lnTo>
                    <a:pt x="2908" y="2703"/>
                  </a:lnTo>
                  <a:lnTo>
                    <a:pt x="2907" y="2703"/>
                  </a:lnTo>
                  <a:lnTo>
                    <a:pt x="2907" y="2705"/>
                  </a:lnTo>
                  <a:lnTo>
                    <a:pt x="2907" y="2703"/>
                  </a:lnTo>
                  <a:lnTo>
                    <a:pt x="2905" y="2703"/>
                  </a:lnTo>
                  <a:lnTo>
                    <a:pt x="2903" y="2703"/>
                  </a:lnTo>
                  <a:lnTo>
                    <a:pt x="2902" y="2703"/>
                  </a:lnTo>
                  <a:lnTo>
                    <a:pt x="2902" y="2702"/>
                  </a:lnTo>
                  <a:lnTo>
                    <a:pt x="2900" y="2702"/>
                  </a:lnTo>
                  <a:lnTo>
                    <a:pt x="2900" y="2703"/>
                  </a:lnTo>
                  <a:lnTo>
                    <a:pt x="2900" y="2705"/>
                  </a:lnTo>
                  <a:lnTo>
                    <a:pt x="2902" y="2707"/>
                  </a:lnTo>
                  <a:lnTo>
                    <a:pt x="2900" y="2707"/>
                  </a:lnTo>
                  <a:lnTo>
                    <a:pt x="2902" y="2707"/>
                  </a:lnTo>
                  <a:lnTo>
                    <a:pt x="2903" y="2707"/>
                  </a:lnTo>
                  <a:lnTo>
                    <a:pt x="2903" y="2708"/>
                  </a:lnTo>
                  <a:lnTo>
                    <a:pt x="2905" y="2708"/>
                  </a:lnTo>
                  <a:lnTo>
                    <a:pt x="2905" y="2710"/>
                  </a:lnTo>
                  <a:lnTo>
                    <a:pt x="2903" y="2708"/>
                  </a:lnTo>
                  <a:lnTo>
                    <a:pt x="2902" y="2708"/>
                  </a:lnTo>
                  <a:lnTo>
                    <a:pt x="2902" y="2707"/>
                  </a:lnTo>
                  <a:lnTo>
                    <a:pt x="2900" y="2707"/>
                  </a:lnTo>
                  <a:lnTo>
                    <a:pt x="2900" y="2708"/>
                  </a:lnTo>
                  <a:lnTo>
                    <a:pt x="2902" y="2710"/>
                  </a:lnTo>
                  <a:lnTo>
                    <a:pt x="2900" y="2710"/>
                  </a:lnTo>
                  <a:lnTo>
                    <a:pt x="2902" y="2710"/>
                  </a:lnTo>
                  <a:lnTo>
                    <a:pt x="2902" y="2711"/>
                  </a:lnTo>
                  <a:lnTo>
                    <a:pt x="2903" y="2711"/>
                  </a:lnTo>
                  <a:lnTo>
                    <a:pt x="2903" y="2713"/>
                  </a:lnTo>
                  <a:lnTo>
                    <a:pt x="2905" y="2713"/>
                  </a:lnTo>
                  <a:lnTo>
                    <a:pt x="2905" y="2715"/>
                  </a:lnTo>
                  <a:lnTo>
                    <a:pt x="2905" y="2716"/>
                  </a:lnTo>
                  <a:lnTo>
                    <a:pt x="2907" y="2718"/>
                  </a:lnTo>
                  <a:lnTo>
                    <a:pt x="2907" y="2720"/>
                  </a:lnTo>
                  <a:lnTo>
                    <a:pt x="2908" y="2720"/>
                  </a:lnTo>
                  <a:lnTo>
                    <a:pt x="2908" y="2721"/>
                  </a:lnTo>
                  <a:lnTo>
                    <a:pt x="2910" y="2721"/>
                  </a:lnTo>
                  <a:lnTo>
                    <a:pt x="2910" y="2723"/>
                  </a:lnTo>
                  <a:lnTo>
                    <a:pt x="2910" y="2724"/>
                  </a:lnTo>
                  <a:lnTo>
                    <a:pt x="2910" y="2723"/>
                  </a:lnTo>
                  <a:lnTo>
                    <a:pt x="2910" y="2724"/>
                  </a:lnTo>
                  <a:lnTo>
                    <a:pt x="2911" y="2724"/>
                  </a:lnTo>
                  <a:lnTo>
                    <a:pt x="2910" y="2724"/>
                  </a:lnTo>
                  <a:lnTo>
                    <a:pt x="2910" y="2726"/>
                  </a:lnTo>
                  <a:lnTo>
                    <a:pt x="2911" y="2726"/>
                  </a:lnTo>
                  <a:lnTo>
                    <a:pt x="2910" y="2726"/>
                  </a:lnTo>
                  <a:lnTo>
                    <a:pt x="2910" y="2728"/>
                  </a:lnTo>
                  <a:lnTo>
                    <a:pt x="2911" y="2728"/>
                  </a:lnTo>
                  <a:lnTo>
                    <a:pt x="2910" y="2728"/>
                  </a:lnTo>
                  <a:lnTo>
                    <a:pt x="2910" y="2729"/>
                  </a:lnTo>
                  <a:lnTo>
                    <a:pt x="2908" y="2729"/>
                  </a:lnTo>
                  <a:lnTo>
                    <a:pt x="2908" y="2728"/>
                  </a:lnTo>
                  <a:lnTo>
                    <a:pt x="2907" y="2729"/>
                  </a:lnTo>
                  <a:lnTo>
                    <a:pt x="2907" y="2728"/>
                  </a:lnTo>
                  <a:lnTo>
                    <a:pt x="2903" y="2728"/>
                  </a:lnTo>
                  <a:lnTo>
                    <a:pt x="2902" y="2726"/>
                  </a:lnTo>
                  <a:lnTo>
                    <a:pt x="2903" y="2728"/>
                  </a:lnTo>
                  <a:lnTo>
                    <a:pt x="2903" y="2729"/>
                  </a:lnTo>
                  <a:lnTo>
                    <a:pt x="2903" y="2728"/>
                  </a:lnTo>
                  <a:lnTo>
                    <a:pt x="2902" y="2728"/>
                  </a:lnTo>
                  <a:lnTo>
                    <a:pt x="2900" y="2728"/>
                  </a:lnTo>
                  <a:lnTo>
                    <a:pt x="2900" y="2726"/>
                  </a:lnTo>
                  <a:lnTo>
                    <a:pt x="2900" y="2728"/>
                  </a:lnTo>
                  <a:lnTo>
                    <a:pt x="2900" y="2726"/>
                  </a:lnTo>
                  <a:lnTo>
                    <a:pt x="2898" y="2726"/>
                  </a:lnTo>
                  <a:lnTo>
                    <a:pt x="2898" y="2724"/>
                  </a:lnTo>
                  <a:lnTo>
                    <a:pt x="2897" y="2724"/>
                  </a:lnTo>
                  <a:lnTo>
                    <a:pt x="2895" y="2724"/>
                  </a:lnTo>
                  <a:lnTo>
                    <a:pt x="2897" y="2724"/>
                  </a:lnTo>
                  <a:lnTo>
                    <a:pt x="2895" y="2723"/>
                  </a:lnTo>
                  <a:lnTo>
                    <a:pt x="2895" y="2724"/>
                  </a:lnTo>
                  <a:lnTo>
                    <a:pt x="2894" y="2724"/>
                  </a:lnTo>
                  <a:lnTo>
                    <a:pt x="2894" y="2723"/>
                  </a:lnTo>
                  <a:lnTo>
                    <a:pt x="2894" y="2721"/>
                  </a:lnTo>
                  <a:lnTo>
                    <a:pt x="2892" y="2721"/>
                  </a:lnTo>
                  <a:lnTo>
                    <a:pt x="2894" y="2721"/>
                  </a:lnTo>
                  <a:lnTo>
                    <a:pt x="2892" y="2721"/>
                  </a:lnTo>
                  <a:lnTo>
                    <a:pt x="2892" y="2723"/>
                  </a:lnTo>
                  <a:lnTo>
                    <a:pt x="2890" y="2721"/>
                  </a:lnTo>
                  <a:lnTo>
                    <a:pt x="2889" y="2721"/>
                  </a:lnTo>
                  <a:lnTo>
                    <a:pt x="2889" y="2720"/>
                  </a:lnTo>
                  <a:lnTo>
                    <a:pt x="2889" y="2721"/>
                  </a:lnTo>
                  <a:lnTo>
                    <a:pt x="2887" y="2720"/>
                  </a:lnTo>
                  <a:lnTo>
                    <a:pt x="2889" y="2720"/>
                  </a:lnTo>
                  <a:lnTo>
                    <a:pt x="2889" y="2718"/>
                  </a:lnTo>
                  <a:lnTo>
                    <a:pt x="2890" y="2718"/>
                  </a:lnTo>
                  <a:lnTo>
                    <a:pt x="2890" y="2720"/>
                  </a:lnTo>
                  <a:lnTo>
                    <a:pt x="2890" y="2718"/>
                  </a:lnTo>
                  <a:lnTo>
                    <a:pt x="2889" y="2718"/>
                  </a:lnTo>
                  <a:lnTo>
                    <a:pt x="2890" y="2718"/>
                  </a:lnTo>
                  <a:lnTo>
                    <a:pt x="2889" y="2716"/>
                  </a:lnTo>
                  <a:lnTo>
                    <a:pt x="2890" y="2716"/>
                  </a:lnTo>
                  <a:lnTo>
                    <a:pt x="2889" y="2716"/>
                  </a:lnTo>
                  <a:lnTo>
                    <a:pt x="2887" y="2716"/>
                  </a:lnTo>
                  <a:lnTo>
                    <a:pt x="2887" y="2715"/>
                  </a:lnTo>
                  <a:lnTo>
                    <a:pt x="2887" y="2716"/>
                  </a:lnTo>
                  <a:lnTo>
                    <a:pt x="2885" y="2715"/>
                  </a:lnTo>
                  <a:lnTo>
                    <a:pt x="2885" y="2716"/>
                  </a:lnTo>
                  <a:lnTo>
                    <a:pt x="2887" y="2716"/>
                  </a:lnTo>
                  <a:lnTo>
                    <a:pt x="2887" y="2718"/>
                  </a:lnTo>
                  <a:lnTo>
                    <a:pt x="2887" y="2716"/>
                  </a:lnTo>
                  <a:lnTo>
                    <a:pt x="2887" y="2718"/>
                  </a:lnTo>
                  <a:lnTo>
                    <a:pt x="2889" y="2718"/>
                  </a:lnTo>
                  <a:lnTo>
                    <a:pt x="2887" y="2718"/>
                  </a:lnTo>
                  <a:lnTo>
                    <a:pt x="2887" y="2720"/>
                  </a:lnTo>
                  <a:lnTo>
                    <a:pt x="2887" y="2721"/>
                  </a:lnTo>
                  <a:lnTo>
                    <a:pt x="2885" y="2721"/>
                  </a:lnTo>
                  <a:lnTo>
                    <a:pt x="2885" y="2720"/>
                  </a:lnTo>
                  <a:lnTo>
                    <a:pt x="2885" y="2721"/>
                  </a:lnTo>
                  <a:lnTo>
                    <a:pt x="2885" y="2723"/>
                  </a:lnTo>
                  <a:lnTo>
                    <a:pt x="2885" y="2724"/>
                  </a:lnTo>
                  <a:lnTo>
                    <a:pt x="2887" y="2724"/>
                  </a:lnTo>
                  <a:lnTo>
                    <a:pt x="2887" y="2726"/>
                  </a:lnTo>
                  <a:lnTo>
                    <a:pt x="2887" y="2728"/>
                  </a:lnTo>
                  <a:lnTo>
                    <a:pt x="2887" y="2729"/>
                  </a:lnTo>
                  <a:lnTo>
                    <a:pt x="2887" y="2728"/>
                  </a:lnTo>
                  <a:lnTo>
                    <a:pt x="2887" y="2729"/>
                  </a:lnTo>
                  <a:lnTo>
                    <a:pt x="2887" y="2728"/>
                  </a:lnTo>
                  <a:lnTo>
                    <a:pt x="2887" y="2726"/>
                  </a:lnTo>
                  <a:lnTo>
                    <a:pt x="2885" y="2726"/>
                  </a:lnTo>
                  <a:lnTo>
                    <a:pt x="2885" y="2724"/>
                  </a:lnTo>
                  <a:lnTo>
                    <a:pt x="2885" y="2723"/>
                  </a:lnTo>
                  <a:lnTo>
                    <a:pt x="2884" y="2723"/>
                  </a:lnTo>
                  <a:lnTo>
                    <a:pt x="2885" y="2723"/>
                  </a:lnTo>
                  <a:lnTo>
                    <a:pt x="2884" y="2721"/>
                  </a:lnTo>
                  <a:lnTo>
                    <a:pt x="2885" y="2721"/>
                  </a:lnTo>
                  <a:lnTo>
                    <a:pt x="2884" y="2721"/>
                  </a:lnTo>
                  <a:lnTo>
                    <a:pt x="2884" y="2723"/>
                  </a:lnTo>
                  <a:lnTo>
                    <a:pt x="2885" y="2723"/>
                  </a:lnTo>
                  <a:lnTo>
                    <a:pt x="2884" y="2723"/>
                  </a:lnTo>
                  <a:lnTo>
                    <a:pt x="2884" y="2721"/>
                  </a:lnTo>
                  <a:lnTo>
                    <a:pt x="2882" y="2721"/>
                  </a:lnTo>
                  <a:lnTo>
                    <a:pt x="2882" y="2723"/>
                  </a:lnTo>
                  <a:lnTo>
                    <a:pt x="2882" y="2721"/>
                  </a:lnTo>
                  <a:lnTo>
                    <a:pt x="2882" y="2723"/>
                  </a:lnTo>
                  <a:lnTo>
                    <a:pt x="2884" y="2724"/>
                  </a:lnTo>
                  <a:lnTo>
                    <a:pt x="2884" y="2726"/>
                  </a:lnTo>
                  <a:lnTo>
                    <a:pt x="2885" y="2728"/>
                  </a:lnTo>
                  <a:lnTo>
                    <a:pt x="2885" y="2729"/>
                  </a:lnTo>
                  <a:lnTo>
                    <a:pt x="2885" y="2728"/>
                  </a:lnTo>
                  <a:lnTo>
                    <a:pt x="2885" y="2729"/>
                  </a:lnTo>
                  <a:lnTo>
                    <a:pt x="2885" y="2728"/>
                  </a:lnTo>
                  <a:lnTo>
                    <a:pt x="2884" y="2728"/>
                  </a:lnTo>
                  <a:lnTo>
                    <a:pt x="2884" y="2729"/>
                  </a:lnTo>
                  <a:lnTo>
                    <a:pt x="2884" y="2728"/>
                  </a:lnTo>
                  <a:lnTo>
                    <a:pt x="2882" y="2728"/>
                  </a:lnTo>
                  <a:lnTo>
                    <a:pt x="2882" y="2726"/>
                  </a:lnTo>
                  <a:lnTo>
                    <a:pt x="2881" y="2726"/>
                  </a:lnTo>
                  <a:lnTo>
                    <a:pt x="2881" y="2724"/>
                  </a:lnTo>
                  <a:lnTo>
                    <a:pt x="2879" y="2724"/>
                  </a:lnTo>
                  <a:lnTo>
                    <a:pt x="2881" y="2724"/>
                  </a:lnTo>
                  <a:lnTo>
                    <a:pt x="2881" y="2726"/>
                  </a:lnTo>
                  <a:lnTo>
                    <a:pt x="2881" y="2728"/>
                  </a:lnTo>
                  <a:lnTo>
                    <a:pt x="2882" y="2728"/>
                  </a:lnTo>
                  <a:lnTo>
                    <a:pt x="2882" y="2729"/>
                  </a:lnTo>
                  <a:lnTo>
                    <a:pt x="2884" y="2731"/>
                  </a:lnTo>
                  <a:lnTo>
                    <a:pt x="2882" y="2731"/>
                  </a:lnTo>
                  <a:lnTo>
                    <a:pt x="2882" y="2729"/>
                  </a:lnTo>
                  <a:lnTo>
                    <a:pt x="2881" y="2728"/>
                  </a:lnTo>
                  <a:lnTo>
                    <a:pt x="2879" y="2728"/>
                  </a:lnTo>
                  <a:lnTo>
                    <a:pt x="2877" y="2728"/>
                  </a:lnTo>
                  <a:lnTo>
                    <a:pt x="2877" y="2729"/>
                  </a:lnTo>
                  <a:lnTo>
                    <a:pt x="2879" y="2729"/>
                  </a:lnTo>
                  <a:lnTo>
                    <a:pt x="2881" y="2729"/>
                  </a:lnTo>
                  <a:lnTo>
                    <a:pt x="2881" y="2728"/>
                  </a:lnTo>
                  <a:lnTo>
                    <a:pt x="2881" y="2729"/>
                  </a:lnTo>
                  <a:lnTo>
                    <a:pt x="2879" y="2731"/>
                  </a:lnTo>
                  <a:lnTo>
                    <a:pt x="2881" y="2731"/>
                  </a:lnTo>
                  <a:lnTo>
                    <a:pt x="2879" y="2731"/>
                  </a:lnTo>
                  <a:lnTo>
                    <a:pt x="2879" y="2733"/>
                  </a:lnTo>
                  <a:lnTo>
                    <a:pt x="2881" y="2733"/>
                  </a:lnTo>
                  <a:lnTo>
                    <a:pt x="2882" y="2733"/>
                  </a:lnTo>
                  <a:lnTo>
                    <a:pt x="2884" y="2733"/>
                  </a:lnTo>
                  <a:lnTo>
                    <a:pt x="2884" y="2734"/>
                  </a:lnTo>
                  <a:lnTo>
                    <a:pt x="2885" y="2734"/>
                  </a:lnTo>
                  <a:lnTo>
                    <a:pt x="2885" y="2733"/>
                  </a:lnTo>
                  <a:lnTo>
                    <a:pt x="2885" y="2734"/>
                  </a:lnTo>
                  <a:lnTo>
                    <a:pt x="2885" y="2733"/>
                  </a:lnTo>
                  <a:lnTo>
                    <a:pt x="2884" y="2733"/>
                  </a:lnTo>
                  <a:lnTo>
                    <a:pt x="2884" y="2731"/>
                  </a:lnTo>
                  <a:lnTo>
                    <a:pt x="2884" y="2733"/>
                  </a:lnTo>
                  <a:lnTo>
                    <a:pt x="2885" y="2733"/>
                  </a:lnTo>
                  <a:lnTo>
                    <a:pt x="2887" y="2733"/>
                  </a:lnTo>
                  <a:lnTo>
                    <a:pt x="2887" y="2734"/>
                  </a:lnTo>
                  <a:lnTo>
                    <a:pt x="2889" y="2734"/>
                  </a:lnTo>
                  <a:lnTo>
                    <a:pt x="2889" y="2736"/>
                  </a:lnTo>
                  <a:lnTo>
                    <a:pt x="2889" y="2734"/>
                  </a:lnTo>
                  <a:lnTo>
                    <a:pt x="2889" y="2733"/>
                  </a:lnTo>
                  <a:lnTo>
                    <a:pt x="2887" y="2731"/>
                  </a:lnTo>
                  <a:lnTo>
                    <a:pt x="2887" y="2733"/>
                  </a:lnTo>
                  <a:lnTo>
                    <a:pt x="2887" y="2731"/>
                  </a:lnTo>
                  <a:lnTo>
                    <a:pt x="2887" y="2729"/>
                  </a:lnTo>
                  <a:lnTo>
                    <a:pt x="2887" y="2731"/>
                  </a:lnTo>
                  <a:lnTo>
                    <a:pt x="2889" y="2733"/>
                  </a:lnTo>
                  <a:lnTo>
                    <a:pt x="2889" y="2731"/>
                  </a:lnTo>
                  <a:lnTo>
                    <a:pt x="2890" y="2733"/>
                  </a:lnTo>
                  <a:lnTo>
                    <a:pt x="2889" y="2733"/>
                  </a:lnTo>
                  <a:lnTo>
                    <a:pt x="2890" y="2733"/>
                  </a:lnTo>
                  <a:lnTo>
                    <a:pt x="2889" y="2733"/>
                  </a:lnTo>
                  <a:lnTo>
                    <a:pt x="2889" y="2734"/>
                  </a:lnTo>
                  <a:lnTo>
                    <a:pt x="2890" y="2734"/>
                  </a:lnTo>
                  <a:lnTo>
                    <a:pt x="2890" y="2733"/>
                  </a:lnTo>
                  <a:lnTo>
                    <a:pt x="2892" y="2733"/>
                  </a:lnTo>
                  <a:lnTo>
                    <a:pt x="2892" y="2734"/>
                  </a:lnTo>
                  <a:lnTo>
                    <a:pt x="2890" y="2734"/>
                  </a:lnTo>
                  <a:lnTo>
                    <a:pt x="2892" y="2734"/>
                  </a:lnTo>
                  <a:lnTo>
                    <a:pt x="2892" y="2736"/>
                  </a:lnTo>
                  <a:lnTo>
                    <a:pt x="2890" y="2736"/>
                  </a:lnTo>
                  <a:lnTo>
                    <a:pt x="2890" y="2734"/>
                  </a:lnTo>
                  <a:lnTo>
                    <a:pt x="2890" y="2736"/>
                  </a:lnTo>
                  <a:lnTo>
                    <a:pt x="2889" y="2734"/>
                  </a:lnTo>
                  <a:lnTo>
                    <a:pt x="2890" y="2736"/>
                  </a:lnTo>
                  <a:lnTo>
                    <a:pt x="2890" y="2737"/>
                  </a:lnTo>
                  <a:lnTo>
                    <a:pt x="2892" y="2737"/>
                  </a:lnTo>
                  <a:lnTo>
                    <a:pt x="2892" y="2739"/>
                  </a:lnTo>
                  <a:lnTo>
                    <a:pt x="2894" y="2739"/>
                  </a:lnTo>
                  <a:lnTo>
                    <a:pt x="2894" y="2741"/>
                  </a:lnTo>
                  <a:lnTo>
                    <a:pt x="2894" y="2739"/>
                  </a:lnTo>
                  <a:lnTo>
                    <a:pt x="2894" y="2741"/>
                  </a:lnTo>
                  <a:lnTo>
                    <a:pt x="2895" y="2741"/>
                  </a:lnTo>
                  <a:lnTo>
                    <a:pt x="2895" y="2742"/>
                  </a:lnTo>
                  <a:lnTo>
                    <a:pt x="2897" y="2742"/>
                  </a:lnTo>
                  <a:lnTo>
                    <a:pt x="2897" y="2744"/>
                  </a:lnTo>
                  <a:lnTo>
                    <a:pt x="2898" y="2744"/>
                  </a:lnTo>
                  <a:lnTo>
                    <a:pt x="2898" y="2746"/>
                  </a:lnTo>
                  <a:lnTo>
                    <a:pt x="2900" y="2746"/>
                  </a:lnTo>
                  <a:lnTo>
                    <a:pt x="2900" y="2747"/>
                  </a:lnTo>
                  <a:lnTo>
                    <a:pt x="2902" y="2749"/>
                  </a:lnTo>
                  <a:lnTo>
                    <a:pt x="2903" y="2749"/>
                  </a:lnTo>
                  <a:lnTo>
                    <a:pt x="2903" y="2750"/>
                  </a:lnTo>
                  <a:lnTo>
                    <a:pt x="2902" y="2749"/>
                  </a:lnTo>
                  <a:lnTo>
                    <a:pt x="2900" y="2747"/>
                  </a:lnTo>
                  <a:lnTo>
                    <a:pt x="2898" y="2747"/>
                  </a:lnTo>
                  <a:lnTo>
                    <a:pt x="2900" y="2746"/>
                  </a:lnTo>
                  <a:lnTo>
                    <a:pt x="2898" y="2746"/>
                  </a:lnTo>
                  <a:lnTo>
                    <a:pt x="2898" y="2747"/>
                  </a:lnTo>
                  <a:lnTo>
                    <a:pt x="2898" y="2746"/>
                  </a:lnTo>
                  <a:lnTo>
                    <a:pt x="2897" y="2744"/>
                  </a:lnTo>
                  <a:lnTo>
                    <a:pt x="2897" y="2746"/>
                  </a:lnTo>
                  <a:lnTo>
                    <a:pt x="2897" y="2744"/>
                  </a:lnTo>
                  <a:lnTo>
                    <a:pt x="2895" y="2744"/>
                  </a:lnTo>
                  <a:lnTo>
                    <a:pt x="2895" y="2742"/>
                  </a:lnTo>
                  <a:lnTo>
                    <a:pt x="2895" y="2744"/>
                  </a:lnTo>
                  <a:lnTo>
                    <a:pt x="2894" y="2744"/>
                  </a:lnTo>
                  <a:lnTo>
                    <a:pt x="2894" y="2742"/>
                  </a:lnTo>
                  <a:lnTo>
                    <a:pt x="2895" y="2742"/>
                  </a:lnTo>
                  <a:lnTo>
                    <a:pt x="2894" y="2742"/>
                  </a:lnTo>
                  <a:lnTo>
                    <a:pt x="2895" y="2742"/>
                  </a:lnTo>
                  <a:lnTo>
                    <a:pt x="2894" y="2742"/>
                  </a:lnTo>
                  <a:lnTo>
                    <a:pt x="2894" y="2741"/>
                  </a:lnTo>
                  <a:lnTo>
                    <a:pt x="2892" y="2741"/>
                  </a:lnTo>
                  <a:lnTo>
                    <a:pt x="2892" y="2739"/>
                  </a:lnTo>
                  <a:lnTo>
                    <a:pt x="2890" y="2737"/>
                  </a:lnTo>
                  <a:lnTo>
                    <a:pt x="2890" y="2739"/>
                  </a:lnTo>
                  <a:lnTo>
                    <a:pt x="2890" y="2737"/>
                  </a:lnTo>
                  <a:lnTo>
                    <a:pt x="2889" y="2737"/>
                  </a:lnTo>
                  <a:lnTo>
                    <a:pt x="2889" y="2736"/>
                  </a:lnTo>
                  <a:lnTo>
                    <a:pt x="2887" y="2736"/>
                  </a:lnTo>
                  <a:lnTo>
                    <a:pt x="2887" y="2734"/>
                  </a:lnTo>
                  <a:lnTo>
                    <a:pt x="2885" y="2734"/>
                  </a:lnTo>
                  <a:lnTo>
                    <a:pt x="2884" y="2734"/>
                  </a:lnTo>
                  <a:lnTo>
                    <a:pt x="2882" y="2734"/>
                  </a:lnTo>
                  <a:lnTo>
                    <a:pt x="2884" y="2734"/>
                  </a:lnTo>
                  <a:lnTo>
                    <a:pt x="2882" y="2734"/>
                  </a:lnTo>
                  <a:lnTo>
                    <a:pt x="2881" y="2734"/>
                  </a:lnTo>
                  <a:lnTo>
                    <a:pt x="2879" y="2734"/>
                  </a:lnTo>
                  <a:lnTo>
                    <a:pt x="2881" y="2734"/>
                  </a:lnTo>
                  <a:lnTo>
                    <a:pt x="2881" y="2736"/>
                  </a:lnTo>
                  <a:lnTo>
                    <a:pt x="2881" y="2734"/>
                  </a:lnTo>
                  <a:lnTo>
                    <a:pt x="2882" y="2734"/>
                  </a:lnTo>
                  <a:lnTo>
                    <a:pt x="2884" y="2734"/>
                  </a:lnTo>
                  <a:lnTo>
                    <a:pt x="2884" y="2736"/>
                  </a:lnTo>
                  <a:lnTo>
                    <a:pt x="2884" y="2737"/>
                  </a:lnTo>
                  <a:lnTo>
                    <a:pt x="2884" y="2736"/>
                  </a:lnTo>
                  <a:lnTo>
                    <a:pt x="2882" y="2736"/>
                  </a:lnTo>
                  <a:lnTo>
                    <a:pt x="2884" y="2737"/>
                  </a:lnTo>
                  <a:lnTo>
                    <a:pt x="2882" y="2737"/>
                  </a:lnTo>
                  <a:lnTo>
                    <a:pt x="2882" y="2736"/>
                  </a:lnTo>
                  <a:lnTo>
                    <a:pt x="2882" y="2737"/>
                  </a:lnTo>
                  <a:lnTo>
                    <a:pt x="2881" y="2737"/>
                  </a:lnTo>
                  <a:lnTo>
                    <a:pt x="2879" y="2737"/>
                  </a:lnTo>
                  <a:lnTo>
                    <a:pt x="2881" y="2737"/>
                  </a:lnTo>
                  <a:lnTo>
                    <a:pt x="2879" y="2737"/>
                  </a:lnTo>
                  <a:lnTo>
                    <a:pt x="2877" y="2737"/>
                  </a:lnTo>
                  <a:lnTo>
                    <a:pt x="2877" y="2739"/>
                  </a:lnTo>
                  <a:lnTo>
                    <a:pt x="2879" y="2739"/>
                  </a:lnTo>
                  <a:lnTo>
                    <a:pt x="2879" y="2737"/>
                  </a:lnTo>
                  <a:lnTo>
                    <a:pt x="2881" y="2737"/>
                  </a:lnTo>
                  <a:lnTo>
                    <a:pt x="2882" y="2739"/>
                  </a:lnTo>
                  <a:lnTo>
                    <a:pt x="2881" y="2739"/>
                  </a:lnTo>
                  <a:lnTo>
                    <a:pt x="2882" y="2739"/>
                  </a:lnTo>
                  <a:lnTo>
                    <a:pt x="2881" y="2739"/>
                  </a:lnTo>
                  <a:lnTo>
                    <a:pt x="2881" y="2741"/>
                  </a:lnTo>
                  <a:lnTo>
                    <a:pt x="2879" y="2741"/>
                  </a:lnTo>
                  <a:lnTo>
                    <a:pt x="2881" y="2741"/>
                  </a:lnTo>
                  <a:lnTo>
                    <a:pt x="2879" y="2741"/>
                  </a:lnTo>
                  <a:lnTo>
                    <a:pt x="2877" y="2741"/>
                  </a:lnTo>
                  <a:lnTo>
                    <a:pt x="2879" y="2741"/>
                  </a:lnTo>
                  <a:lnTo>
                    <a:pt x="2877" y="2741"/>
                  </a:lnTo>
                  <a:lnTo>
                    <a:pt x="2879" y="2741"/>
                  </a:lnTo>
                  <a:lnTo>
                    <a:pt x="2881" y="2741"/>
                  </a:lnTo>
                  <a:lnTo>
                    <a:pt x="2882" y="2741"/>
                  </a:lnTo>
                  <a:lnTo>
                    <a:pt x="2879" y="2742"/>
                  </a:lnTo>
                  <a:lnTo>
                    <a:pt x="2877" y="2742"/>
                  </a:lnTo>
                  <a:lnTo>
                    <a:pt x="2879" y="2742"/>
                  </a:lnTo>
                  <a:lnTo>
                    <a:pt x="2879" y="2744"/>
                  </a:lnTo>
                  <a:lnTo>
                    <a:pt x="2881" y="2744"/>
                  </a:lnTo>
                  <a:lnTo>
                    <a:pt x="2881" y="2746"/>
                  </a:lnTo>
                  <a:lnTo>
                    <a:pt x="2881" y="2744"/>
                  </a:lnTo>
                  <a:lnTo>
                    <a:pt x="2881" y="2742"/>
                  </a:lnTo>
                  <a:lnTo>
                    <a:pt x="2882" y="2742"/>
                  </a:lnTo>
                  <a:lnTo>
                    <a:pt x="2884" y="2742"/>
                  </a:lnTo>
                  <a:lnTo>
                    <a:pt x="2885" y="2742"/>
                  </a:lnTo>
                  <a:lnTo>
                    <a:pt x="2887" y="2742"/>
                  </a:lnTo>
                  <a:lnTo>
                    <a:pt x="2887" y="2741"/>
                  </a:lnTo>
                  <a:lnTo>
                    <a:pt x="2885" y="2741"/>
                  </a:lnTo>
                  <a:lnTo>
                    <a:pt x="2884" y="2741"/>
                  </a:lnTo>
                  <a:lnTo>
                    <a:pt x="2882" y="2741"/>
                  </a:lnTo>
                  <a:lnTo>
                    <a:pt x="2881" y="2741"/>
                  </a:lnTo>
                  <a:lnTo>
                    <a:pt x="2882" y="2741"/>
                  </a:lnTo>
                  <a:lnTo>
                    <a:pt x="2884" y="2741"/>
                  </a:lnTo>
                  <a:lnTo>
                    <a:pt x="2885" y="2741"/>
                  </a:lnTo>
                  <a:lnTo>
                    <a:pt x="2887" y="2741"/>
                  </a:lnTo>
                  <a:lnTo>
                    <a:pt x="2887" y="2739"/>
                  </a:lnTo>
                  <a:lnTo>
                    <a:pt x="2885" y="2739"/>
                  </a:lnTo>
                  <a:lnTo>
                    <a:pt x="2887" y="2739"/>
                  </a:lnTo>
                  <a:lnTo>
                    <a:pt x="2889" y="2739"/>
                  </a:lnTo>
                  <a:lnTo>
                    <a:pt x="2887" y="2739"/>
                  </a:lnTo>
                  <a:lnTo>
                    <a:pt x="2887" y="2741"/>
                  </a:lnTo>
                  <a:lnTo>
                    <a:pt x="2889" y="2741"/>
                  </a:lnTo>
                  <a:lnTo>
                    <a:pt x="2889" y="2739"/>
                  </a:lnTo>
                  <a:lnTo>
                    <a:pt x="2887" y="2739"/>
                  </a:lnTo>
                  <a:lnTo>
                    <a:pt x="2887" y="2737"/>
                  </a:lnTo>
                  <a:lnTo>
                    <a:pt x="2887" y="2739"/>
                  </a:lnTo>
                  <a:lnTo>
                    <a:pt x="2889" y="2739"/>
                  </a:lnTo>
                  <a:lnTo>
                    <a:pt x="2890" y="2741"/>
                  </a:lnTo>
                  <a:lnTo>
                    <a:pt x="2890" y="2742"/>
                  </a:lnTo>
                  <a:lnTo>
                    <a:pt x="2894" y="2744"/>
                  </a:lnTo>
                  <a:lnTo>
                    <a:pt x="2895" y="2744"/>
                  </a:lnTo>
                  <a:lnTo>
                    <a:pt x="2894" y="2744"/>
                  </a:lnTo>
                  <a:lnTo>
                    <a:pt x="2892" y="2744"/>
                  </a:lnTo>
                  <a:lnTo>
                    <a:pt x="2892" y="2742"/>
                  </a:lnTo>
                  <a:lnTo>
                    <a:pt x="2890" y="2742"/>
                  </a:lnTo>
                  <a:lnTo>
                    <a:pt x="2890" y="2744"/>
                  </a:lnTo>
                  <a:lnTo>
                    <a:pt x="2890" y="2742"/>
                  </a:lnTo>
                  <a:lnTo>
                    <a:pt x="2889" y="2742"/>
                  </a:lnTo>
                  <a:lnTo>
                    <a:pt x="2890" y="2744"/>
                  </a:lnTo>
                  <a:lnTo>
                    <a:pt x="2889" y="2744"/>
                  </a:lnTo>
                  <a:lnTo>
                    <a:pt x="2887" y="2744"/>
                  </a:lnTo>
                  <a:lnTo>
                    <a:pt x="2887" y="2746"/>
                  </a:lnTo>
                  <a:lnTo>
                    <a:pt x="2887" y="2747"/>
                  </a:lnTo>
                  <a:lnTo>
                    <a:pt x="2889" y="2747"/>
                  </a:lnTo>
                  <a:lnTo>
                    <a:pt x="2889" y="2749"/>
                  </a:lnTo>
                  <a:lnTo>
                    <a:pt x="2890" y="2750"/>
                  </a:lnTo>
                  <a:lnTo>
                    <a:pt x="2890" y="2752"/>
                  </a:lnTo>
                  <a:lnTo>
                    <a:pt x="2890" y="2754"/>
                  </a:lnTo>
                  <a:lnTo>
                    <a:pt x="2890" y="2752"/>
                  </a:lnTo>
                  <a:lnTo>
                    <a:pt x="2892" y="2752"/>
                  </a:lnTo>
                  <a:lnTo>
                    <a:pt x="2890" y="2754"/>
                  </a:lnTo>
                  <a:lnTo>
                    <a:pt x="2892" y="2754"/>
                  </a:lnTo>
                  <a:lnTo>
                    <a:pt x="2890" y="2754"/>
                  </a:lnTo>
                  <a:lnTo>
                    <a:pt x="2892" y="2754"/>
                  </a:lnTo>
                  <a:lnTo>
                    <a:pt x="2890" y="2754"/>
                  </a:lnTo>
                  <a:lnTo>
                    <a:pt x="2890" y="2755"/>
                  </a:lnTo>
                  <a:lnTo>
                    <a:pt x="2889" y="2754"/>
                  </a:lnTo>
                  <a:lnTo>
                    <a:pt x="2889" y="2755"/>
                  </a:lnTo>
                  <a:lnTo>
                    <a:pt x="2889" y="2754"/>
                  </a:lnTo>
                  <a:lnTo>
                    <a:pt x="2887" y="2754"/>
                  </a:lnTo>
                  <a:lnTo>
                    <a:pt x="2889" y="2754"/>
                  </a:lnTo>
                  <a:lnTo>
                    <a:pt x="2887" y="2754"/>
                  </a:lnTo>
                  <a:lnTo>
                    <a:pt x="2887" y="2752"/>
                  </a:lnTo>
                  <a:lnTo>
                    <a:pt x="2885" y="2752"/>
                  </a:lnTo>
                  <a:lnTo>
                    <a:pt x="2887" y="2754"/>
                  </a:lnTo>
                  <a:lnTo>
                    <a:pt x="2887" y="2755"/>
                  </a:lnTo>
                  <a:lnTo>
                    <a:pt x="2887" y="2757"/>
                  </a:lnTo>
                  <a:lnTo>
                    <a:pt x="2885" y="2755"/>
                  </a:lnTo>
                  <a:lnTo>
                    <a:pt x="2887" y="2757"/>
                  </a:lnTo>
                  <a:lnTo>
                    <a:pt x="2885" y="2757"/>
                  </a:lnTo>
                  <a:lnTo>
                    <a:pt x="2887" y="2757"/>
                  </a:lnTo>
                  <a:lnTo>
                    <a:pt x="2887" y="2759"/>
                  </a:lnTo>
                  <a:lnTo>
                    <a:pt x="2887" y="2760"/>
                  </a:lnTo>
                  <a:lnTo>
                    <a:pt x="2887" y="2759"/>
                  </a:lnTo>
                  <a:lnTo>
                    <a:pt x="2889" y="2760"/>
                  </a:lnTo>
                  <a:lnTo>
                    <a:pt x="2889" y="2762"/>
                  </a:lnTo>
                  <a:lnTo>
                    <a:pt x="2889" y="2763"/>
                  </a:lnTo>
                  <a:lnTo>
                    <a:pt x="2890" y="2765"/>
                  </a:lnTo>
                  <a:lnTo>
                    <a:pt x="2890" y="2767"/>
                  </a:lnTo>
                  <a:lnTo>
                    <a:pt x="2889" y="2767"/>
                  </a:lnTo>
                  <a:lnTo>
                    <a:pt x="2889" y="2765"/>
                  </a:lnTo>
                  <a:lnTo>
                    <a:pt x="2889" y="2767"/>
                  </a:lnTo>
                  <a:lnTo>
                    <a:pt x="2890" y="2767"/>
                  </a:lnTo>
                  <a:lnTo>
                    <a:pt x="2890" y="2768"/>
                  </a:lnTo>
                  <a:lnTo>
                    <a:pt x="2890" y="2770"/>
                  </a:lnTo>
                  <a:lnTo>
                    <a:pt x="2892" y="2770"/>
                  </a:lnTo>
                  <a:lnTo>
                    <a:pt x="2894" y="2772"/>
                  </a:lnTo>
                  <a:lnTo>
                    <a:pt x="2894" y="2773"/>
                  </a:lnTo>
                  <a:lnTo>
                    <a:pt x="2895" y="2773"/>
                  </a:lnTo>
                  <a:lnTo>
                    <a:pt x="2897" y="2775"/>
                  </a:lnTo>
                  <a:lnTo>
                    <a:pt x="2898" y="2775"/>
                  </a:lnTo>
                  <a:lnTo>
                    <a:pt x="2898" y="2773"/>
                  </a:lnTo>
                  <a:lnTo>
                    <a:pt x="2897" y="2773"/>
                  </a:lnTo>
                  <a:lnTo>
                    <a:pt x="2898" y="2773"/>
                  </a:lnTo>
                  <a:lnTo>
                    <a:pt x="2898" y="2772"/>
                  </a:lnTo>
                  <a:lnTo>
                    <a:pt x="2897" y="2772"/>
                  </a:lnTo>
                  <a:lnTo>
                    <a:pt x="2897" y="2770"/>
                  </a:lnTo>
                  <a:lnTo>
                    <a:pt x="2898" y="2768"/>
                  </a:lnTo>
                  <a:lnTo>
                    <a:pt x="2898" y="2770"/>
                  </a:lnTo>
                  <a:lnTo>
                    <a:pt x="2900" y="2772"/>
                  </a:lnTo>
                  <a:lnTo>
                    <a:pt x="2900" y="2773"/>
                  </a:lnTo>
                  <a:lnTo>
                    <a:pt x="2900" y="2775"/>
                  </a:lnTo>
                  <a:lnTo>
                    <a:pt x="2898" y="2775"/>
                  </a:lnTo>
                  <a:lnTo>
                    <a:pt x="2898" y="2776"/>
                  </a:lnTo>
                  <a:lnTo>
                    <a:pt x="2900" y="2776"/>
                  </a:lnTo>
                  <a:lnTo>
                    <a:pt x="2900" y="2778"/>
                  </a:lnTo>
                  <a:lnTo>
                    <a:pt x="2902" y="2778"/>
                  </a:lnTo>
                  <a:lnTo>
                    <a:pt x="2900" y="2778"/>
                  </a:lnTo>
                  <a:lnTo>
                    <a:pt x="2898" y="2776"/>
                  </a:lnTo>
                  <a:lnTo>
                    <a:pt x="2897" y="2775"/>
                  </a:lnTo>
                  <a:lnTo>
                    <a:pt x="2895" y="2775"/>
                  </a:lnTo>
                  <a:lnTo>
                    <a:pt x="2895" y="2773"/>
                  </a:lnTo>
                  <a:lnTo>
                    <a:pt x="2894" y="2772"/>
                  </a:lnTo>
                  <a:lnTo>
                    <a:pt x="2894" y="2773"/>
                  </a:lnTo>
                  <a:lnTo>
                    <a:pt x="2894" y="2772"/>
                  </a:lnTo>
                  <a:lnTo>
                    <a:pt x="2890" y="2770"/>
                  </a:lnTo>
                  <a:lnTo>
                    <a:pt x="2889" y="2768"/>
                  </a:lnTo>
                  <a:lnTo>
                    <a:pt x="2889" y="2767"/>
                  </a:lnTo>
                  <a:lnTo>
                    <a:pt x="2887" y="2767"/>
                  </a:lnTo>
                  <a:lnTo>
                    <a:pt x="2887" y="2765"/>
                  </a:lnTo>
                  <a:lnTo>
                    <a:pt x="2885" y="2762"/>
                  </a:lnTo>
                  <a:lnTo>
                    <a:pt x="2885" y="2760"/>
                  </a:lnTo>
                  <a:lnTo>
                    <a:pt x="2884" y="2760"/>
                  </a:lnTo>
                  <a:lnTo>
                    <a:pt x="2885" y="2762"/>
                  </a:lnTo>
                  <a:lnTo>
                    <a:pt x="2884" y="2760"/>
                  </a:lnTo>
                  <a:lnTo>
                    <a:pt x="2882" y="2760"/>
                  </a:lnTo>
                  <a:lnTo>
                    <a:pt x="2882" y="2759"/>
                  </a:lnTo>
                  <a:lnTo>
                    <a:pt x="2882" y="2760"/>
                  </a:lnTo>
                  <a:lnTo>
                    <a:pt x="2882" y="2759"/>
                  </a:lnTo>
                  <a:lnTo>
                    <a:pt x="2881" y="2759"/>
                  </a:lnTo>
                  <a:lnTo>
                    <a:pt x="2882" y="2759"/>
                  </a:lnTo>
                  <a:lnTo>
                    <a:pt x="2881" y="2759"/>
                  </a:lnTo>
                  <a:lnTo>
                    <a:pt x="2881" y="2760"/>
                  </a:lnTo>
                  <a:lnTo>
                    <a:pt x="2881" y="2762"/>
                  </a:lnTo>
                  <a:lnTo>
                    <a:pt x="2881" y="2760"/>
                  </a:lnTo>
                  <a:lnTo>
                    <a:pt x="2882" y="2760"/>
                  </a:lnTo>
                  <a:lnTo>
                    <a:pt x="2882" y="2762"/>
                  </a:lnTo>
                  <a:lnTo>
                    <a:pt x="2882" y="2763"/>
                  </a:lnTo>
                  <a:lnTo>
                    <a:pt x="2881" y="2762"/>
                  </a:lnTo>
                  <a:lnTo>
                    <a:pt x="2881" y="2763"/>
                  </a:lnTo>
                  <a:lnTo>
                    <a:pt x="2879" y="2763"/>
                  </a:lnTo>
                  <a:lnTo>
                    <a:pt x="2879" y="2762"/>
                  </a:lnTo>
                  <a:lnTo>
                    <a:pt x="2877" y="2762"/>
                  </a:lnTo>
                  <a:lnTo>
                    <a:pt x="2879" y="2763"/>
                  </a:lnTo>
                  <a:lnTo>
                    <a:pt x="2877" y="2763"/>
                  </a:lnTo>
                  <a:lnTo>
                    <a:pt x="2877" y="2762"/>
                  </a:lnTo>
                  <a:lnTo>
                    <a:pt x="2876" y="2762"/>
                  </a:lnTo>
                  <a:lnTo>
                    <a:pt x="2877" y="2762"/>
                  </a:lnTo>
                  <a:lnTo>
                    <a:pt x="2876" y="2762"/>
                  </a:lnTo>
                  <a:lnTo>
                    <a:pt x="2876" y="2763"/>
                  </a:lnTo>
                  <a:lnTo>
                    <a:pt x="2876" y="2765"/>
                  </a:lnTo>
                  <a:lnTo>
                    <a:pt x="2877" y="2765"/>
                  </a:lnTo>
                  <a:lnTo>
                    <a:pt x="2876" y="2765"/>
                  </a:lnTo>
                  <a:lnTo>
                    <a:pt x="2877" y="2765"/>
                  </a:lnTo>
                  <a:lnTo>
                    <a:pt x="2876" y="2765"/>
                  </a:lnTo>
                  <a:lnTo>
                    <a:pt x="2877" y="2765"/>
                  </a:lnTo>
                  <a:lnTo>
                    <a:pt x="2879" y="2767"/>
                  </a:lnTo>
                  <a:lnTo>
                    <a:pt x="2877" y="2767"/>
                  </a:lnTo>
                  <a:lnTo>
                    <a:pt x="2877" y="2765"/>
                  </a:lnTo>
                  <a:lnTo>
                    <a:pt x="2877" y="2767"/>
                  </a:lnTo>
                  <a:lnTo>
                    <a:pt x="2879" y="2767"/>
                  </a:lnTo>
                  <a:lnTo>
                    <a:pt x="2877" y="2767"/>
                  </a:lnTo>
                  <a:lnTo>
                    <a:pt x="2879" y="2768"/>
                  </a:lnTo>
                  <a:lnTo>
                    <a:pt x="2879" y="2767"/>
                  </a:lnTo>
                  <a:lnTo>
                    <a:pt x="2879" y="2768"/>
                  </a:lnTo>
                  <a:lnTo>
                    <a:pt x="2879" y="2767"/>
                  </a:lnTo>
                  <a:lnTo>
                    <a:pt x="2881" y="2767"/>
                  </a:lnTo>
                  <a:lnTo>
                    <a:pt x="2881" y="2768"/>
                  </a:lnTo>
                  <a:lnTo>
                    <a:pt x="2879" y="2768"/>
                  </a:lnTo>
                  <a:lnTo>
                    <a:pt x="2881" y="2768"/>
                  </a:lnTo>
                  <a:lnTo>
                    <a:pt x="2882" y="2768"/>
                  </a:lnTo>
                  <a:lnTo>
                    <a:pt x="2882" y="2770"/>
                  </a:lnTo>
                  <a:lnTo>
                    <a:pt x="2882" y="2768"/>
                  </a:lnTo>
                  <a:lnTo>
                    <a:pt x="2881" y="2768"/>
                  </a:lnTo>
                  <a:lnTo>
                    <a:pt x="2882" y="2770"/>
                  </a:lnTo>
                  <a:lnTo>
                    <a:pt x="2882" y="2772"/>
                  </a:lnTo>
                  <a:lnTo>
                    <a:pt x="2882" y="2770"/>
                  </a:lnTo>
                  <a:lnTo>
                    <a:pt x="2884" y="2770"/>
                  </a:lnTo>
                  <a:lnTo>
                    <a:pt x="2884" y="2772"/>
                  </a:lnTo>
                  <a:lnTo>
                    <a:pt x="2884" y="2773"/>
                  </a:lnTo>
                  <a:lnTo>
                    <a:pt x="2884" y="2775"/>
                  </a:lnTo>
                  <a:lnTo>
                    <a:pt x="2885" y="2775"/>
                  </a:lnTo>
                  <a:lnTo>
                    <a:pt x="2884" y="2775"/>
                  </a:lnTo>
                  <a:lnTo>
                    <a:pt x="2885" y="2773"/>
                  </a:lnTo>
                  <a:lnTo>
                    <a:pt x="2884" y="2773"/>
                  </a:lnTo>
                  <a:lnTo>
                    <a:pt x="2885" y="2773"/>
                  </a:lnTo>
                  <a:lnTo>
                    <a:pt x="2885" y="2775"/>
                  </a:lnTo>
                  <a:lnTo>
                    <a:pt x="2884" y="2775"/>
                  </a:lnTo>
                  <a:lnTo>
                    <a:pt x="2884" y="2776"/>
                  </a:lnTo>
                  <a:lnTo>
                    <a:pt x="2884" y="2775"/>
                  </a:lnTo>
                  <a:lnTo>
                    <a:pt x="2885" y="2776"/>
                  </a:lnTo>
                  <a:lnTo>
                    <a:pt x="2885" y="2775"/>
                  </a:lnTo>
                  <a:lnTo>
                    <a:pt x="2885" y="2776"/>
                  </a:lnTo>
                  <a:lnTo>
                    <a:pt x="2887" y="2776"/>
                  </a:lnTo>
                  <a:lnTo>
                    <a:pt x="2889" y="2776"/>
                  </a:lnTo>
                  <a:lnTo>
                    <a:pt x="2887" y="2776"/>
                  </a:lnTo>
                  <a:lnTo>
                    <a:pt x="2889" y="2778"/>
                  </a:lnTo>
                  <a:lnTo>
                    <a:pt x="2887" y="2778"/>
                  </a:lnTo>
                  <a:lnTo>
                    <a:pt x="2889" y="2778"/>
                  </a:lnTo>
                  <a:lnTo>
                    <a:pt x="2887" y="2780"/>
                  </a:lnTo>
                  <a:lnTo>
                    <a:pt x="2887" y="2778"/>
                  </a:lnTo>
                  <a:lnTo>
                    <a:pt x="2887" y="2780"/>
                  </a:lnTo>
                  <a:lnTo>
                    <a:pt x="2887" y="2781"/>
                  </a:lnTo>
                  <a:lnTo>
                    <a:pt x="2887" y="2783"/>
                  </a:lnTo>
                  <a:lnTo>
                    <a:pt x="2887" y="2785"/>
                  </a:lnTo>
                  <a:lnTo>
                    <a:pt x="2889" y="2785"/>
                  </a:lnTo>
                  <a:lnTo>
                    <a:pt x="2887" y="2786"/>
                  </a:lnTo>
                  <a:lnTo>
                    <a:pt x="2889" y="2786"/>
                  </a:lnTo>
                  <a:lnTo>
                    <a:pt x="2887" y="2786"/>
                  </a:lnTo>
                  <a:lnTo>
                    <a:pt x="2887" y="2788"/>
                  </a:lnTo>
                  <a:lnTo>
                    <a:pt x="2889" y="2788"/>
                  </a:lnTo>
                  <a:lnTo>
                    <a:pt x="2890" y="2788"/>
                  </a:lnTo>
                  <a:lnTo>
                    <a:pt x="2890" y="2789"/>
                  </a:lnTo>
                  <a:lnTo>
                    <a:pt x="2892" y="2789"/>
                  </a:lnTo>
                  <a:lnTo>
                    <a:pt x="2890" y="2789"/>
                  </a:lnTo>
                  <a:lnTo>
                    <a:pt x="2892" y="2789"/>
                  </a:lnTo>
                  <a:lnTo>
                    <a:pt x="2890" y="2789"/>
                  </a:lnTo>
                  <a:lnTo>
                    <a:pt x="2890" y="2791"/>
                  </a:lnTo>
                  <a:lnTo>
                    <a:pt x="2890" y="2793"/>
                  </a:lnTo>
                  <a:lnTo>
                    <a:pt x="2890" y="2791"/>
                  </a:lnTo>
                  <a:lnTo>
                    <a:pt x="2892" y="2791"/>
                  </a:lnTo>
                  <a:lnTo>
                    <a:pt x="2892" y="2793"/>
                  </a:lnTo>
                  <a:lnTo>
                    <a:pt x="2890" y="2793"/>
                  </a:lnTo>
                  <a:lnTo>
                    <a:pt x="2892" y="2793"/>
                  </a:lnTo>
                  <a:lnTo>
                    <a:pt x="2894" y="2793"/>
                  </a:lnTo>
                  <a:lnTo>
                    <a:pt x="2894" y="2794"/>
                  </a:lnTo>
                  <a:lnTo>
                    <a:pt x="2894" y="2796"/>
                  </a:lnTo>
                  <a:lnTo>
                    <a:pt x="2895" y="2796"/>
                  </a:lnTo>
                  <a:lnTo>
                    <a:pt x="2895" y="2794"/>
                  </a:lnTo>
                  <a:lnTo>
                    <a:pt x="2897" y="2794"/>
                  </a:lnTo>
                  <a:lnTo>
                    <a:pt x="2895" y="2794"/>
                  </a:lnTo>
                  <a:lnTo>
                    <a:pt x="2897" y="2794"/>
                  </a:lnTo>
                  <a:lnTo>
                    <a:pt x="2897" y="2793"/>
                  </a:lnTo>
                  <a:lnTo>
                    <a:pt x="2895" y="2793"/>
                  </a:lnTo>
                  <a:lnTo>
                    <a:pt x="2897" y="2793"/>
                  </a:lnTo>
                  <a:lnTo>
                    <a:pt x="2897" y="2791"/>
                  </a:lnTo>
                  <a:lnTo>
                    <a:pt x="2895" y="2791"/>
                  </a:lnTo>
                  <a:lnTo>
                    <a:pt x="2897" y="2791"/>
                  </a:lnTo>
                  <a:lnTo>
                    <a:pt x="2897" y="2789"/>
                  </a:lnTo>
                  <a:lnTo>
                    <a:pt x="2897" y="2791"/>
                  </a:lnTo>
                  <a:lnTo>
                    <a:pt x="2895" y="2789"/>
                  </a:lnTo>
                  <a:lnTo>
                    <a:pt x="2895" y="2791"/>
                  </a:lnTo>
                  <a:lnTo>
                    <a:pt x="2895" y="2789"/>
                  </a:lnTo>
                  <a:lnTo>
                    <a:pt x="2897" y="2789"/>
                  </a:lnTo>
                  <a:lnTo>
                    <a:pt x="2895" y="2788"/>
                  </a:lnTo>
                  <a:lnTo>
                    <a:pt x="2895" y="2789"/>
                  </a:lnTo>
                  <a:lnTo>
                    <a:pt x="2895" y="2788"/>
                  </a:lnTo>
                  <a:lnTo>
                    <a:pt x="2894" y="2788"/>
                  </a:lnTo>
                  <a:lnTo>
                    <a:pt x="2895" y="2789"/>
                  </a:lnTo>
                  <a:lnTo>
                    <a:pt x="2894" y="2789"/>
                  </a:lnTo>
                  <a:lnTo>
                    <a:pt x="2894" y="2788"/>
                  </a:lnTo>
                  <a:lnTo>
                    <a:pt x="2894" y="2789"/>
                  </a:lnTo>
                  <a:lnTo>
                    <a:pt x="2892" y="2789"/>
                  </a:lnTo>
                  <a:lnTo>
                    <a:pt x="2890" y="2788"/>
                  </a:lnTo>
                  <a:lnTo>
                    <a:pt x="2892" y="2788"/>
                  </a:lnTo>
                  <a:lnTo>
                    <a:pt x="2892" y="2786"/>
                  </a:lnTo>
                  <a:lnTo>
                    <a:pt x="2894" y="2786"/>
                  </a:lnTo>
                  <a:lnTo>
                    <a:pt x="2894" y="2785"/>
                  </a:lnTo>
                  <a:lnTo>
                    <a:pt x="2894" y="2786"/>
                  </a:lnTo>
                  <a:lnTo>
                    <a:pt x="2895" y="2786"/>
                  </a:lnTo>
                  <a:lnTo>
                    <a:pt x="2894" y="2785"/>
                  </a:lnTo>
                  <a:lnTo>
                    <a:pt x="2895" y="2785"/>
                  </a:lnTo>
                  <a:lnTo>
                    <a:pt x="2897" y="2785"/>
                  </a:lnTo>
                  <a:lnTo>
                    <a:pt x="2897" y="2783"/>
                  </a:lnTo>
                  <a:lnTo>
                    <a:pt x="2895" y="2783"/>
                  </a:lnTo>
                  <a:lnTo>
                    <a:pt x="2895" y="2781"/>
                  </a:lnTo>
                  <a:lnTo>
                    <a:pt x="2895" y="2783"/>
                  </a:lnTo>
                  <a:lnTo>
                    <a:pt x="2895" y="2781"/>
                  </a:lnTo>
                  <a:lnTo>
                    <a:pt x="2897" y="2781"/>
                  </a:lnTo>
                  <a:lnTo>
                    <a:pt x="2895" y="2781"/>
                  </a:lnTo>
                  <a:lnTo>
                    <a:pt x="2897" y="2781"/>
                  </a:lnTo>
                  <a:lnTo>
                    <a:pt x="2897" y="2780"/>
                  </a:lnTo>
                  <a:lnTo>
                    <a:pt x="2898" y="2780"/>
                  </a:lnTo>
                  <a:lnTo>
                    <a:pt x="2898" y="2778"/>
                  </a:lnTo>
                  <a:lnTo>
                    <a:pt x="2898" y="2780"/>
                  </a:lnTo>
                  <a:lnTo>
                    <a:pt x="2900" y="2780"/>
                  </a:lnTo>
                  <a:lnTo>
                    <a:pt x="2898" y="2780"/>
                  </a:lnTo>
                  <a:lnTo>
                    <a:pt x="2900" y="2780"/>
                  </a:lnTo>
                  <a:lnTo>
                    <a:pt x="2902" y="2780"/>
                  </a:lnTo>
                  <a:lnTo>
                    <a:pt x="2900" y="2780"/>
                  </a:lnTo>
                  <a:lnTo>
                    <a:pt x="2902" y="2780"/>
                  </a:lnTo>
                  <a:lnTo>
                    <a:pt x="2900" y="2780"/>
                  </a:lnTo>
                  <a:lnTo>
                    <a:pt x="2902" y="2780"/>
                  </a:lnTo>
                  <a:lnTo>
                    <a:pt x="2902" y="2781"/>
                  </a:lnTo>
                  <a:lnTo>
                    <a:pt x="2902" y="2783"/>
                  </a:lnTo>
                  <a:lnTo>
                    <a:pt x="2900" y="2783"/>
                  </a:lnTo>
                  <a:lnTo>
                    <a:pt x="2898" y="2783"/>
                  </a:lnTo>
                  <a:lnTo>
                    <a:pt x="2898" y="2781"/>
                  </a:lnTo>
                  <a:lnTo>
                    <a:pt x="2898" y="2780"/>
                  </a:lnTo>
                  <a:lnTo>
                    <a:pt x="2898" y="2781"/>
                  </a:lnTo>
                  <a:lnTo>
                    <a:pt x="2898" y="2780"/>
                  </a:lnTo>
                  <a:lnTo>
                    <a:pt x="2898" y="2781"/>
                  </a:lnTo>
                  <a:lnTo>
                    <a:pt x="2898" y="2780"/>
                  </a:lnTo>
                  <a:lnTo>
                    <a:pt x="2898" y="2781"/>
                  </a:lnTo>
                  <a:lnTo>
                    <a:pt x="2898" y="2780"/>
                  </a:lnTo>
                  <a:lnTo>
                    <a:pt x="2898" y="2781"/>
                  </a:lnTo>
                  <a:lnTo>
                    <a:pt x="2897" y="2781"/>
                  </a:lnTo>
                  <a:lnTo>
                    <a:pt x="2898" y="2781"/>
                  </a:lnTo>
                  <a:lnTo>
                    <a:pt x="2897" y="2781"/>
                  </a:lnTo>
                  <a:lnTo>
                    <a:pt x="2898" y="2781"/>
                  </a:lnTo>
                  <a:lnTo>
                    <a:pt x="2897" y="2781"/>
                  </a:lnTo>
                  <a:lnTo>
                    <a:pt x="2897" y="2783"/>
                  </a:lnTo>
                  <a:lnTo>
                    <a:pt x="2897" y="2781"/>
                  </a:lnTo>
                  <a:lnTo>
                    <a:pt x="2897" y="2783"/>
                  </a:lnTo>
                  <a:lnTo>
                    <a:pt x="2898" y="2783"/>
                  </a:lnTo>
                  <a:lnTo>
                    <a:pt x="2897" y="2783"/>
                  </a:lnTo>
                  <a:lnTo>
                    <a:pt x="2897" y="2785"/>
                  </a:lnTo>
                  <a:lnTo>
                    <a:pt x="2897" y="2783"/>
                  </a:lnTo>
                  <a:lnTo>
                    <a:pt x="2897" y="2785"/>
                  </a:lnTo>
                  <a:lnTo>
                    <a:pt x="2895" y="2785"/>
                  </a:lnTo>
                  <a:lnTo>
                    <a:pt x="2895" y="2786"/>
                  </a:lnTo>
                  <a:lnTo>
                    <a:pt x="2895" y="2785"/>
                  </a:lnTo>
                  <a:lnTo>
                    <a:pt x="2897" y="2785"/>
                  </a:lnTo>
                  <a:lnTo>
                    <a:pt x="2898" y="2785"/>
                  </a:lnTo>
                  <a:lnTo>
                    <a:pt x="2897" y="2786"/>
                  </a:lnTo>
                  <a:lnTo>
                    <a:pt x="2898" y="2785"/>
                  </a:lnTo>
                  <a:lnTo>
                    <a:pt x="2898" y="2786"/>
                  </a:lnTo>
                  <a:lnTo>
                    <a:pt x="2900" y="2785"/>
                  </a:lnTo>
                  <a:lnTo>
                    <a:pt x="2898" y="2785"/>
                  </a:lnTo>
                  <a:lnTo>
                    <a:pt x="2900" y="2785"/>
                  </a:lnTo>
                  <a:lnTo>
                    <a:pt x="2900" y="2783"/>
                  </a:lnTo>
                  <a:lnTo>
                    <a:pt x="2900" y="2785"/>
                  </a:lnTo>
                  <a:lnTo>
                    <a:pt x="2900" y="2786"/>
                  </a:lnTo>
                  <a:lnTo>
                    <a:pt x="2900" y="2788"/>
                  </a:lnTo>
                  <a:lnTo>
                    <a:pt x="2900" y="2789"/>
                  </a:lnTo>
                  <a:lnTo>
                    <a:pt x="2900" y="2791"/>
                  </a:lnTo>
                  <a:lnTo>
                    <a:pt x="2900" y="2793"/>
                  </a:lnTo>
                  <a:lnTo>
                    <a:pt x="2900" y="2794"/>
                  </a:lnTo>
                  <a:lnTo>
                    <a:pt x="2898" y="2796"/>
                  </a:lnTo>
                  <a:lnTo>
                    <a:pt x="2897" y="2796"/>
                  </a:lnTo>
                  <a:lnTo>
                    <a:pt x="2897" y="2798"/>
                  </a:lnTo>
                  <a:lnTo>
                    <a:pt x="2897" y="2796"/>
                  </a:lnTo>
                  <a:lnTo>
                    <a:pt x="2897" y="2798"/>
                  </a:lnTo>
                  <a:lnTo>
                    <a:pt x="2897" y="2796"/>
                  </a:lnTo>
                  <a:lnTo>
                    <a:pt x="2895" y="2798"/>
                  </a:lnTo>
                  <a:lnTo>
                    <a:pt x="2895" y="2796"/>
                  </a:lnTo>
                  <a:lnTo>
                    <a:pt x="2897" y="2796"/>
                  </a:lnTo>
                  <a:lnTo>
                    <a:pt x="2895" y="2796"/>
                  </a:lnTo>
                  <a:lnTo>
                    <a:pt x="2895" y="2798"/>
                  </a:lnTo>
                  <a:lnTo>
                    <a:pt x="2895" y="2799"/>
                  </a:lnTo>
                  <a:lnTo>
                    <a:pt x="2895" y="2801"/>
                  </a:lnTo>
                  <a:lnTo>
                    <a:pt x="2895" y="2802"/>
                  </a:lnTo>
                  <a:lnTo>
                    <a:pt x="2894" y="2801"/>
                  </a:lnTo>
                  <a:lnTo>
                    <a:pt x="2894" y="2802"/>
                  </a:lnTo>
                  <a:lnTo>
                    <a:pt x="2894" y="2804"/>
                  </a:lnTo>
                  <a:lnTo>
                    <a:pt x="2894" y="2802"/>
                  </a:lnTo>
                  <a:lnTo>
                    <a:pt x="2892" y="2804"/>
                  </a:lnTo>
                  <a:lnTo>
                    <a:pt x="2894" y="2804"/>
                  </a:lnTo>
                  <a:lnTo>
                    <a:pt x="2892" y="2804"/>
                  </a:lnTo>
                  <a:lnTo>
                    <a:pt x="2892" y="2806"/>
                  </a:lnTo>
                  <a:lnTo>
                    <a:pt x="2892" y="2804"/>
                  </a:lnTo>
                  <a:lnTo>
                    <a:pt x="2892" y="2806"/>
                  </a:lnTo>
                  <a:lnTo>
                    <a:pt x="2890" y="2806"/>
                  </a:lnTo>
                  <a:lnTo>
                    <a:pt x="2890" y="2804"/>
                  </a:lnTo>
                  <a:lnTo>
                    <a:pt x="2890" y="2802"/>
                  </a:lnTo>
                  <a:lnTo>
                    <a:pt x="2889" y="2802"/>
                  </a:lnTo>
                  <a:lnTo>
                    <a:pt x="2890" y="2802"/>
                  </a:lnTo>
                  <a:lnTo>
                    <a:pt x="2890" y="2804"/>
                  </a:lnTo>
                  <a:lnTo>
                    <a:pt x="2889" y="2804"/>
                  </a:lnTo>
                  <a:lnTo>
                    <a:pt x="2887" y="2804"/>
                  </a:lnTo>
                  <a:lnTo>
                    <a:pt x="2887" y="2802"/>
                  </a:lnTo>
                  <a:lnTo>
                    <a:pt x="2887" y="2804"/>
                  </a:lnTo>
                  <a:lnTo>
                    <a:pt x="2885" y="2802"/>
                  </a:lnTo>
                  <a:lnTo>
                    <a:pt x="2885" y="2804"/>
                  </a:lnTo>
                  <a:lnTo>
                    <a:pt x="2887" y="2806"/>
                  </a:lnTo>
                  <a:lnTo>
                    <a:pt x="2887" y="2807"/>
                  </a:lnTo>
                  <a:lnTo>
                    <a:pt x="2889" y="2807"/>
                  </a:lnTo>
                  <a:lnTo>
                    <a:pt x="2887" y="2807"/>
                  </a:lnTo>
                  <a:lnTo>
                    <a:pt x="2885" y="2807"/>
                  </a:lnTo>
                  <a:lnTo>
                    <a:pt x="2887" y="2806"/>
                  </a:lnTo>
                  <a:lnTo>
                    <a:pt x="2885" y="2807"/>
                  </a:lnTo>
                  <a:lnTo>
                    <a:pt x="2885" y="2806"/>
                  </a:lnTo>
                  <a:lnTo>
                    <a:pt x="2885" y="2807"/>
                  </a:lnTo>
                  <a:lnTo>
                    <a:pt x="2885" y="2806"/>
                  </a:lnTo>
                  <a:lnTo>
                    <a:pt x="2884" y="2807"/>
                  </a:lnTo>
                  <a:lnTo>
                    <a:pt x="2884" y="2809"/>
                  </a:lnTo>
                  <a:lnTo>
                    <a:pt x="2882" y="2809"/>
                  </a:lnTo>
                  <a:lnTo>
                    <a:pt x="2882" y="2807"/>
                  </a:lnTo>
                  <a:lnTo>
                    <a:pt x="2882" y="2809"/>
                  </a:lnTo>
                  <a:lnTo>
                    <a:pt x="2881" y="2807"/>
                  </a:lnTo>
                  <a:lnTo>
                    <a:pt x="2881" y="2806"/>
                  </a:lnTo>
                  <a:lnTo>
                    <a:pt x="2879" y="2806"/>
                  </a:lnTo>
                  <a:lnTo>
                    <a:pt x="2879" y="2804"/>
                  </a:lnTo>
                  <a:lnTo>
                    <a:pt x="2879" y="2806"/>
                  </a:lnTo>
                  <a:lnTo>
                    <a:pt x="2879" y="2804"/>
                  </a:lnTo>
                  <a:lnTo>
                    <a:pt x="2877" y="2804"/>
                  </a:lnTo>
                  <a:lnTo>
                    <a:pt x="2877" y="2802"/>
                  </a:lnTo>
                  <a:lnTo>
                    <a:pt x="2877" y="2804"/>
                  </a:lnTo>
                  <a:lnTo>
                    <a:pt x="2879" y="2804"/>
                  </a:lnTo>
                  <a:lnTo>
                    <a:pt x="2879" y="2802"/>
                  </a:lnTo>
                  <a:lnTo>
                    <a:pt x="2877" y="2801"/>
                  </a:lnTo>
                  <a:lnTo>
                    <a:pt x="2877" y="2802"/>
                  </a:lnTo>
                  <a:lnTo>
                    <a:pt x="2877" y="2801"/>
                  </a:lnTo>
                  <a:lnTo>
                    <a:pt x="2876" y="2801"/>
                  </a:lnTo>
                  <a:lnTo>
                    <a:pt x="2876" y="2799"/>
                  </a:lnTo>
                  <a:lnTo>
                    <a:pt x="2876" y="2801"/>
                  </a:lnTo>
                  <a:lnTo>
                    <a:pt x="2874" y="2801"/>
                  </a:lnTo>
                  <a:lnTo>
                    <a:pt x="2876" y="2801"/>
                  </a:lnTo>
                  <a:lnTo>
                    <a:pt x="2876" y="2802"/>
                  </a:lnTo>
                  <a:lnTo>
                    <a:pt x="2874" y="2802"/>
                  </a:lnTo>
                  <a:lnTo>
                    <a:pt x="2872" y="2802"/>
                  </a:lnTo>
                  <a:lnTo>
                    <a:pt x="2872" y="2804"/>
                  </a:lnTo>
                  <a:lnTo>
                    <a:pt x="2874" y="2804"/>
                  </a:lnTo>
                  <a:lnTo>
                    <a:pt x="2874" y="2806"/>
                  </a:lnTo>
                  <a:lnTo>
                    <a:pt x="2874" y="2804"/>
                  </a:lnTo>
                  <a:lnTo>
                    <a:pt x="2874" y="2806"/>
                  </a:lnTo>
                  <a:lnTo>
                    <a:pt x="2876" y="2806"/>
                  </a:lnTo>
                  <a:lnTo>
                    <a:pt x="2876" y="2807"/>
                  </a:lnTo>
                  <a:lnTo>
                    <a:pt x="2876" y="2809"/>
                  </a:lnTo>
                  <a:lnTo>
                    <a:pt x="2877" y="2809"/>
                  </a:lnTo>
                  <a:lnTo>
                    <a:pt x="2876" y="2809"/>
                  </a:lnTo>
                  <a:lnTo>
                    <a:pt x="2877" y="2811"/>
                  </a:lnTo>
                  <a:lnTo>
                    <a:pt x="2877" y="2809"/>
                  </a:lnTo>
                  <a:lnTo>
                    <a:pt x="2877" y="2811"/>
                  </a:lnTo>
                  <a:lnTo>
                    <a:pt x="2876" y="2811"/>
                  </a:lnTo>
                  <a:lnTo>
                    <a:pt x="2877" y="2811"/>
                  </a:lnTo>
                  <a:lnTo>
                    <a:pt x="2877" y="2812"/>
                  </a:lnTo>
                  <a:lnTo>
                    <a:pt x="2876" y="2812"/>
                  </a:lnTo>
                  <a:lnTo>
                    <a:pt x="2879" y="2814"/>
                  </a:lnTo>
                  <a:lnTo>
                    <a:pt x="2877" y="2814"/>
                  </a:lnTo>
                  <a:lnTo>
                    <a:pt x="2879" y="2815"/>
                  </a:lnTo>
                  <a:lnTo>
                    <a:pt x="2877" y="2815"/>
                  </a:lnTo>
                  <a:lnTo>
                    <a:pt x="2876" y="2815"/>
                  </a:lnTo>
                  <a:lnTo>
                    <a:pt x="2876" y="2817"/>
                  </a:lnTo>
                  <a:lnTo>
                    <a:pt x="2876" y="2815"/>
                  </a:lnTo>
                  <a:lnTo>
                    <a:pt x="2874" y="2815"/>
                  </a:lnTo>
                  <a:lnTo>
                    <a:pt x="2872" y="2815"/>
                  </a:lnTo>
                  <a:lnTo>
                    <a:pt x="2871" y="2815"/>
                  </a:lnTo>
                  <a:lnTo>
                    <a:pt x="2871" y="2817"/>
                  </a:lnTo>
                  <a:lnTo>
                    <a:pt x="2871" y="2819"/>
                  </a:lnTo>
                  <a:lnTo>
                    <a:pt x="2871" y="2817"/>
                  </a:lnTo>
                  <a:lnTo>
                    <a:pt x="2871" y="2819"/>
                  </a:lnTo>
                  <a:lnTo>
                    <a:pt x="2871" y="2820"/>
                  </a:lnTo>
                  <a:lnTo>
                    <a:pt x="2872" y="2820"/>
                  </a:lnTo>
                  <a:lnTo>
                    <a:pt x="2872" y="2822"/>
                  </a:lnTo>
                  <a:lnTo>
                    <a:pt x="2874" y="2822"/>
                  </a:lnTo>
                  <a:lnTo>
                    <a:pt x="2874" y="2824"/>
                  </a:lnTo>
                  <a:lnTo>
                    <a:pt x="2874" y="2825"/>
                  </a:lnTo>
                  <a:lnTo>
                    <a:pt x="2874" y="2827"/>
                  </a:lnTo>
                  <a:lnTo>
                    <a:pt x="2874" y="2828"/>
                  </a:lnTo>
                  <a:lnTo>
                    <a:pt x="2874" y="2827"/>
                  </a:lnTo>
                  <a:lnTo>
                    <a:pt x="2872" y="2827"/>
                  </a:lnTo>
                  <a:lnTo>
                    <a:pt x="2872" y="2828"/>
                  </a:lnTo>
                  <a:lnTo>
                    <a:pt x="2872" y="2830"/>
                  </a:lnTo>
                  <a:lnTo>
                    <a:pt x="2872" y="2828"/>
                  </a:lnTo>
                  <a:lnTo>
                    <a:pt x="2872" y="2830"/>
                  </a:lnTo>
                  <a:lnTo>
                    <a:pt x="2871" y="2830"/>
                  </a:lnTo>
                  <a:lnTo>
                    <a:pt x="2869" y="2830"/>
                  </a:lnTo>
                  <a:lnTo>
                    <a:pt x="2868" y="2830"/>
                  </a:lnTo>
                  <a:lnTo>
                    <a:pt x="2868" y="2828"/>
                  </a:lnTo>
                  <a:lnTo>
                    <a:pt x="2866" y="2828"/>
                  </a:lnTo>
                  <a:lnTo>
                    <a:pt x="2868" y="2828"/>
                  </a:lnTo>
                  <a:lnTo>
                    <a:pt x="2868" y="2827"/>
                  </a:lnTo>
                  <a:lnTo>
                    <a:pt x="2868" y="2828"/>
                  </a:lnTo>
                  <a:lnTo>
                    <a:pt x="2868" y="2827"/>
                  </a:lnTo>
                  <a:lnTo>
                    <a:pt x="2866" y="2827"/>
                  </a:lnTo>
                  <a:lnTo>
                    <a:pt x="2866" y="2825"/>
                  </a:lnTo>
                  <a:lnTo>
                    <a:pt x="2868" y="2825"/>
                  </a:lnTo>
                  <a:lnTo>
                    <a:pt x="2868" y="2827"/>
                  </a:lnTo>
                  <a:lnTo>
                    <a:pt x="2864" y="2824"/>
                  </a:lnTo>
                  <a:lnTo>
                    <a:pt x="2863" y="2824"/>
                  </a:lnTo>
                  <a:lnTo>
                    <a:pt x="2864" y="2824"/>
                  </a:lnTo>
                  <a:lnTo>
                    <a:pt x="2863" y="2822"/>
                  </a:lnTo>
                  <a:lnTo>
                    <a:pt x="2864" y="2822"/>
                  </a:lnTo>
                  <a:lnTo>
                    <a:pt x="2864" y="2824"/>
                  </a:lnTo>
                  <a:lnTo>
                    <a:pt x="2866" y="2824"/>
                  </a:lnTo>
                  <a:lnTo>
                    <a:pt x="2866" y="2822"/>
                  </a:lnTo>
                  <a:lnTo>
                    <a:pt x="2864" y="2822"/>
                  </a:lnTo>
                  <a:lnTo>
                    <a:pt x="2863" y="2822"/>
                  </a:lnTo>
                  <a:lnTo>
                    <a:pt x="2863" y="2820"/>
                  </a:lnTo>
                  <a:lnTo>
                    <a:pt x="2863" y="2819"/>
                  </a:lnTo>
                  <a:lnTo>
                    <a:pt x="2861" y="2819"/>
                  </a:lnTo>
                  <a:lnTo>
                    <a:pt x="2861" y="2817"/>
                  </a:lnTo>
                  <a:lnTo>
                    <a:pt x="2859" y="2817"/>
                  </a:lnTo>
                  <a:lnTo>
                    <a:pt x="2858" y="2815"/>
                  </a:lnTo>
                  <a:lnTo>
                    <a:pt x="2858" y="2814"/>
                  </a:lnTo>
                  <a:lnTo>
                    <a:pt x="2856" y="2814"/>
                  </a:lnTo>
                  <a:lnTo>
                    <a:pt x="2856" y="2812"/>
                  </a:lnTo>
                  <a:lnTo>
                    <a:pt x="2855" y="2812"/>
                  </a:lnTo>
                  <a:lnTo>
                    <a:pt x="2853" y="2812"/>
                  </a:lnTo>
                  <a:lnTo>
                    <a:pt x="2853" y="2811"/>
                  </a:lnTo>
                  <a:lnTo>
                    <a:pt x="2851" y="2811"/>
                  </a:lnTo>
                  <a:lnTo>
                    <a:pt x="2850" y="2807"/>
                  </a:lnTo>
                  <a:lnTo>
                    <a:pt x="2848" y="2809"/>
                  </a:lnTo>
                  <a:lnTo>
                    <a:pt x="2850" y="2809"/>
                  </a:lnTo>
                  <a:lnTo>
                    <a:pt x="2848" y="2809"/>
                  </a:lnTo>
                  <a:lnTo>
                    <a:pt x="2848" y="2811"/>
                  </a:lnTo>
                  <a:lnTo>
                    <a:pt x="2850" y="2811"/>
                  </a:lnTo>
                  <a:lnTo>
                    <a:pt x="2851" y="2812"/>
                  </a:lnTo>
                  <a:lnTo>
                    <a:pt x="2851" y="2814"/>
                  </a:lnTo>
                  <a:lnTo>
                    <a:pt x="2851" y="2812"/>
                  </a:lnTo>
                  <a:lnTo>
                    <a:pt x="2850" y="2812"/>
                  </a:lnTo>
                  <a:lnTo>
                    <a:pt x="2850" y="2811"/>
                  </a:lnTo>
                  <a:lnTo>
                    <a:pt x="2848" y="2811"/>
                  </a:lnTo>
                  <a:lnTo>
                    <a:pt x="2846" y="2809"/>
                  </a:lnTo>
                  <a:lnTo>
                    <a:pt x="2846" y="2811"/>
                  </a:lnTo>
                  <a:lnTo>
                    <a:pt x="2848" y="2811"/>
                  </a:lnTo>
                  <a:lnTo>
                    <a:pt x="2846" y="2811"/>
                  </a:lnTo>
                  <a:lnTo>
                    <a:pt x="2848" y="2811"/>
                  </a:lnTo>
                  <a:lnTo>
                    <a:pt x="2848" y="2812"/>
                  </a:lnTo>
                  <a:lnTo>
                    <a:pt x="2850" y="2812"/>
                  </a:lnTo>
                  <a:lnTo>
                    <a:pt x="2850" y="2814"/>
                  </a:lnTo>
                  <a:lnTo>
                    <a:pt x="2851" y="2814"/>
                  </a:lnTo>
                  <a:lnTo>
                    <a:pt x="2851" y="2815"/>
                  </a:lnTo>
                  <a:lnTo>
                    <a:pt x="2851" y="2814"/>
                  </a:lnTo>
                  <a:lnTo>
                    <a:pt x="2850" y="2814"/>
                  </a:lnTo>
                  <a:lnTo>
                    <a:pt x="2848" y="2814"/>
                  </a:lnTo>
                  <a:lnTo>
                    <a:pt x="2848" y="2812"/>
                  </a:lnTo>
                  <a:lnTo>
                    <a:pt x="2848" y="2814"/>
                  </a:lnTo>
                  <a:lnTo>
                    <a:pt x="2850" y="2814"/>
                  </a:lnTo>
                  <a:lnTo>
                    <a:pt x="2848" y="2814"/>
                  </a:lnTo>
                  <a:lnTo>
                    <a:pt x="2848" y="2815"/>
                  </a:lnTo>
                  <a:lnTo>
                    <a:pt x="2848" y="2814"/>
                  </a:lnTo>
                  <a:lnTo>
                    <a:pt x="2846" y="2814"/>
                  </a:lnTo>
                  <a:lnTo>
                    <a:pt x="2846" y="2812"/>
                  </a:lnTo>
                  <a:lnTo>
                    <a:pt x="2845" y="2812"/>
                  </a:lnTo>
                  <a:lnTo>
                    <a:pt x="2845" y="2814"/>
                  </a:lnTo>
                  <a:lnTo>
                    <a:pt x="2846" y="2814"/>
                  </a:lnTo>
                  <a:lnTo>
                    <a:pt x="2846" y="2815"/>
                  </a:lnTo>
                  <a:lnTo>
                    <a:pt x="2846" y="2817"/>
                  </a:lnTo>
                  <a:lnTo>
                    <a:pt x="2848" y="2815"/>
                  </a:lnTo>
                  <a:lnTo>
                    <a:pt x="2848" y="2817"/>
                  </a:lnTo>
                  <a:lnTo>
                    <a:pt x="2850" y="2817"/>
                  </a:lnTo>
                  <a:lnTo>
                    <a:pt x="2848" y="2817"/>
                  </a:lnTo>
                  <a:lnTo>
                    <a:pt x="2846" y="2819"/>
                  </a:lnTo>
                  <a:lnTo>
                    <a:pt x="2845" y="2819"/>
                  </a:lnTo>
                  <a:lnTo>
                    <a:pt x="2843" y="2819"/>
                  </a:lnTo>
                  <a:lnTo>
                    <a:pt x="2843" y="2817"/>
                  </a:lnTo>
                  <a:lnTo>
                    <a:pt x="2843" y="2819"/>
                  </a:lnTo>
                  <a:lnTo>
                    <a:pt x="2843" y="2820"/>
                  </a:lnTo>
                  <a:lnTo>
                    <a:pt x="2843" y="2819"/>
                  </a:lnTo>
                  <a:lnTo>
                    <a:pt x="2845" y="2820"/>
                  </a:lnTo>
                  <a:lnTo>
                    <a:pt x="2843" y="2820"/>
                  </a:lnTo>
                  <a:lnTo>
                    <a:pt x="2842" y="2820"/>
                  </a:lnTo>
                  <a:lnTo>
                    <a:pt x="2842" y="2819"/>
                  </a:lnTo>
                  <a:lnTo>
                    <a:pt x="2842" y="2820"/>
                  </a:lnTo>
                  <a:lnTo>
                    <a:pt x="2840" y="2819"/>
                  </a:lnTo>
                  <a:lnTo>
                    <a:pt x="2842" y="2820"/>
                  </a:lnTo>
                  <a:lnTo>
                    <a:pt x="2840" y="2820"/>
                  </a:lnTo>
                  <a:lnTo>
                    <a:pt x="2842" y="2820"/>
                  </a:lnTo>
                  <a:lnTo>
                    <a:pt x="2842" y="2822"/>
                  </a:lnTo>
                  <a:lnTo>
                    <a:pt x="2843" y="2822"/>
                  </a:lnTo>
                  <a:lnTo>
                    <a:pt x="2845" y="2824"/>
                  </a:lnTo>
                  <a:lnTo>
                    <a:pt x="2843" y="2824"/>
                  </a:lnTo>
                  <a:lnTo>
                    <a:pt x="2842" y="2824"/>
                  </a:lnTo>
                  <a:lnTo>
                    <a:pt x="2842" y="2822"/>
                  </a:lnTo>
                  <a:lnTo>
                    <a:pt x="2842" y="2824"/>
                  </a:lnTo>
                  <a:lnTo>
                    <a:pt x="2843" y="2825"/>
                  </a:lnTo>
                  <a:lnTo>
                    <a:pt x="2842" y="2824"/>
                  </a:lnTo>
                  <a:lnTo>
                    <a:pt x="2842" y="2825"/>
                  </a:lnTo>
                  <a:lnTo>
                    <a:pt x="2842" y="2824"/>
                  </a:lnTo>
                  <a:lnTo>
                    <a:pt x="2842" y="2825"/>
                  </a:lnTo>
                  <a:lnTo>
                    <a:pt x="2840" y="2827"/>
                  </a:lnTo>
                  <a:lnTo>
                    <a:pt x="2842" y="2825"/>
                  </a:lnTo>
                  <a:lnTo>
                    <a:pt x="2842" y="2827"/>
                  </a:lnTo>
                  <a:lnTo>
                    <a:pt x="2842" y="2825"/>
                  </a:lnTo>
                  <a:lnTo>
                    <a:pt x="2843" y="2825"/>
                  </a:lnTo>
                  <a:lnTo>
                    <a:pt x="2845" y="2825"/>
                  </a:lnTo>
                  <a:lnTo>
                    <a:pt x="2845" y="2827"/>
                  </a:lnTo>
                  <a:lnTo>
                    <a:pt x="2843" y="2825"/>
                  </a:lnTo>
                  <a:lnTo>
                    <a:pt x="2843" y="2827"/>
                  </a:lnTo>
                  <a:lnTo>
                    <a:pt x="2843" y="2825"/>
                  </a:lnTo>
                  <a:lnTo>
                    <a:pt x="2843" y="2827"/>
                  </a:lnTo>
                  <a:lnTo>
                    <a:pt x="2843" y="2828"/>
                  </a:lnTo>
                  <a:lnTo>
                    <a:pt x="2843" y="2830"/>
                  </a:lnTo>
                  <a:lnTo>
                    <a:pt x="2842" y="2830"/>
                  </a:lnTo>
                  <a:lnTo>
                    <a:pt x="2843" y="2830"/>
                  </a:lnTo>
                  <a:lnTo>
                    <a:pt x="2843" y="2832"/>
                  </a:lnTo>
                  <a:lnTo>
                    <a:pt x="2843" y="2833"/>
                  </a:lnTo>
                  <a:lnTo>
                    <a:pt x="2843" y="2835"/>
                  </a:lnTo>
                  <a:lnTo>
                    <a:pt x="2845" y="2835"/>
                  </a:lnTo>
                  <a:lnTo>
                    <a:pt x="2845" y="2833"/>
                  </a:lnTo>
                  <a:lnTo>
                    <a:pt x="2845" y="2835"/>
                  </a:lnTo>
                  <a:lnTo>
                    <a:pt x="2846" y="2835"/>
                  </a:lnTo>
                  <a:lnTo>
                    <a:pt x="2846" y="2833"/>
                  </a:lnTo>
                  <a:lnTo>
                    <a:pt x="2848" y="2835"/>
                  </a:lnTo>
                  <a:lnTo>
                    <a:pt x="2848" y="2837"/>
                  </a:lnTo>
                  <a:lnTo>
                    <a:pt x="2848" y="2835"/>
                  </a:lnTo>
                  <a:lnTo>
                    <a:pt x="2848" y="2837"/>
                  </a:lnTo>
                  <a:lnTo>
                    <a:pt x="2846" y="2837"/>
                  </a:lnTo>
                  <a:lnTo>
                    <a:pt x="2848" y="2837"/>
                  </a:lnTo>
                  <a:lnTo>
                    <a:pt x="2850" y="2838"/>
                  </a:lnTo>
                  <a:lnTo>
                    <a:pt x="2851" y="2838"/>
                  </a:lnTo>
                  <a:lnTo>
                    <a:pt x="2850" y="2838"/>
                  </a:lnTo>
                  <a:lnTo>
                    <a:pt x="2851" y="2838"/>
                  </a:lnTo>
                  <a:lnTo>
                    <a:pt x="2851" y="2840"/>
                  </a:lnTo>
                  <a:lnTo>
                    <a:pt x="2853" y="2840"/>
                  </a:lnTo>
                  <a:lnTo>
                    <a:pt x="2851" y="2840"/>
                  </a:lnTo>
                  <a:lnTo>
                    <a:pt x="2853" y="2840"/>
                  </a:lnTo>
                  <a:lnTo>
                    <a:pt x="2853" y="2841"/>
                  </a:lnTo>
                  <a:lnTo>
                    <a:pt x="2851" y="2840"/>
                  </a:lnTo>
                  <a:lnTo>
                    <a:pt x="2851" y="2841"/>
                  </a:lnTo>
                  <a:lnTo>
                    <a:pt x="2851" y="2843"/>
                  </a:lnTo>
                  <a:lnTo>
                    <a:pt x="2853" y="2843"/>
                  </a:lnTo>
                  <a:lnTo>
                    <a:pt x="2853" y="2845"/>
                  </a:lnTo>
                  <a:lnTo>
                    <a:pt x="2855" y="2845"/>
                  </a:lnTo>
                  <a:lnTo>
                    <a:pt x="2853" y="2845"/>
                  </a:lnTo>
                  <a:lnTo>
                    <a:pt x="2853" y="2843"/>
                  </a:lnTo>
                  <a:lnTo>
                    <a:pt x="2855" y="2845"/>
                  </a:lnTo>
                  <a:lnTo>
                    <a:pt x="2855" y="2846"/>
                  </a:lnTo>
                  <a:lnTo>
                    <a:pt x="2856" y="2846"/>
                  </a:lnTo>
                  <a:lnTo>
                    <a:pt x="2855" y="2846"/>
                  </a:lnTo>
                  <a:lnTo>
                    <a:pt x="2855" y="2848"/>
                  </a:lnTo>
                  <a:lnTo>
                    <a:pt x="2856" y="2846"/>
                  </a:lnTo>
                  <a:lnTo>
                    <a:pt x="2856" y="2845"/>
                  </a:lnTo>
                  <a:lnTo>
                    <a:pt x="2856" y="2846"/>
                  </a:lnTo>
                  <a:lnTo>
                    <a:pt x="2858" y="2846"/>
                  </a:lnTo>
                  <a:lnTo>
                    <a:pt x="2858" y="2845"/>
                  </a:lnTo>
                  <a:lnTo>
                    <a:pt x="2856" y="2846"/>
                  </a:lnTo>
                  <a:lnTo>
                    <a:pt x="2856" y="2845"/>
                  </a:lnTo>
                  <a:lnTo>
                    <a:pt x="2858" y="2845"/>
                  </a:lnTo>
                  <a:lnTo>
                    <a:pt x="2858" y="2843"/>
                  </a:lnTo>
                  <a:lnTo>
                    <a:pt x="2859" y="2843"/>
                  </a:lnTo>
                  <a:lnTo>
                    <a:pt x="2858" y="2843"/>
                  </a:lnTo>
                  <a:lnTo>
                    <a:pt x="2856" y="2845"/>
                  </a:lnTo>
                  <a:lnTo>
                    <a:pt x="2856" y="2843"/>
                  </a:lnTo>
                  <a:lnTo>
                    <a:pt x="2855" y="2843"/>
                  </a:lnTo>
                  <a:lnTo>
                    <a:pt x="2856" y="2843"/>
                  </a:lnTo>
                  <a:lnTo>
                    <a:pt x="2856" y="2841"/>
                  </a:lnTo>
                  <a:lnTo>
                    <a:pt x="2856" y="2840"/>
                  </a:lnTo>
                  <a:lnTo>
                    <a:pt x="2855" y="2840"/>
                  </a:lnTo>
                  <a:lnTo>
                    <a:pt x="2855" y="2838"/>
                  </a:lnTo>
                  <a:lnTo>
                    <a:pt x="2856" y="2838"/>
                  </a:lnTo>
                  <a:lnTo>
                    <a:pt x="2855" y="2838"/>
                  </a:lnTo>
                  <a:lnTo>
                    <a:pt x="2856" y="2838"/>
                  </a:lnTo>
                  <a:lnTo>
                    <a:pt x="2856" y="2837"/>
                  </a:lnTo>
                  <a:lnTo>
                    <a:pt x="2856" y="2838"/>
                  </a:lnTo>
                  <a:lnTo>
                    <a:pt x="2858" y="2838"/>
                  </a:lnTo>
                  <a:lnTo>
                    <a:pt x="2858" y="2837"/>
                  </a:lnTo>
                  <a:lnTo>
                    <a:pt x="2859" y="2837"/>
                  </a:lnTo>
                  <a:lnTo>
                    <a:pt x="2861" y="2837"/>
                  </a:lnTo>
                  <a:lnTo>
                    <a:pt x="2861" y="2838"/>
                  </a:lnTo>
                  <a:lnTo>
                    <a:pt x="2861" y="2840"/>
                  </a:lnTo>
                  <a:lnTo>
                    <a:pt x="2863" y="2840"/>
                  </a:lnTo>
                  <a:lnTo>
                    <a:pt x="2863" y="2838"/>
                  </a:lnTo>
                  <a:lnTo>
                    <a:pt x="2864" y="2838"/>
                  </a:lnTo>
                  <a:lnTo>
                    <a:pt x="2864" y="2840"/>
                  </a:lnTo>
                  <a:lnTo>
                    <a:pt x="2863" y="2840"/>
                  </a:lnTo>
                  <a:lnTo>
                    <a:pt x="2864" y="2840"/>
                  </a:lnTo>
                  <a:lnTo>
                    <a:pt x="2863" y="2840"/>
                  </a:lnTo>
                  <a:lnTo>
                    <a:pt x="2863" y="2841"/>
                  </a:lnTo>
                  <a:lnTo>
                    <a:pt x="2864" y="2841"/>
                  </a:lnTo>
                  <a:lnTo>
                    <a:pt x="2863" y="2841"/>
                  </a:lnTo>
                  <a:lnTo>
                    <a:pt x="2864" y="2841"/>
                  </a:lnTo>
                  <a:lnTo>
                    <a:pt x="2864" y="2843"/>
                  </a:lnTo>
                  <a:lnTo>
                    <a:pt x="2864" y="2841"/>
                  </a:lnTo>
                  <a:lnTo>
                    <a:pt x="2863" y="2843"/>
                  </a:lnTo>
                  <a:lnTo>
                    <a:pt x="2864" y="2843"/>
                  </a:lnTo>
                  <a:lnTo>
                    <a:pt x="2864" y="2845"/>
                  </a:lnTo>
                  <a:lnTo>
                    <a:pt x="2863" y="2845"/>
                  </a:lnTo>
                  <a:lnTo>
                    <a:pt x="2863" y="2846"/>
                  </a:lnTo>
                  <a:lnTo>
                    <a:pt x="2864" y="2846"/>
                  </a:lnTo>
                  <a:lnTo>
                    <a:pt x="2866" y="2846"/>
                  </a:lnTo>
                  <a:lnTo>
                    <a:pt x="2864" y="2848"/>
                  </a:lnTo>
                  <a:lnTo>
                    <a:pt x="2864" y="2846"/>
                  </a:lnTo>
                  <a:lnTo>
                    <a:pt x="2864" y="2848"/>
                  </a:lnTo>
                  <a:lnTo>
                    <a:pt x="2863" y="2846"/>
                  </a:lnTo>
                  <a:lnTo>
                    <a:pt x="2863" y="2848"/>
                  </a:lnTo>
                  <a:lnTo>
                    <a:pt x="2863" y="2846"/>
                  </a:lnTo>
                  <a:lnTo>
                    <a:pt x="2861" y="2846"/>
                  </a:lnTo>
                  <a:lnTo>
                    <a:pt x="2861" y="2848"/>
                  </a:lnTo>
                  <a:lnTo>
                    <a:pt x="2861" y="2846"/>
                  </a:lnTo>
                  <a:lnTo>
                    <a:pt x="2861" y="2848"/>
                  </a:lnTo>
                  <a:lnTo>
                    <a:pt x="2861" y="2850"/>
                  </a:lnTo>
                  <a:lnTo>
                    <a:pt x="2863" y="2850"/>
                  </a:lnTo>
                  <a:lnTo>
                    <a:pt x="2863" y="2851"/>
                  </a:lnTo>
                  <a:lnTo>
                    <a:pt x="2863" y="2853"/>
                  </a:lnTo>
                  <a:lnTo>
                    <a:pt x="2863" y="2855"/>
                  </a:lnTo>
                  <a:lnTo>
                    <a:pt x="2861" y="2855"/>
                  </a:lnTo>
                  <a:lnTo>
                    <a:pt x="2861" y="2856"/>
                  </a:lnTo>
                  <a:lnTo>
                    <a:pt x="2863" y="2856"/>
                  </a:lnTo>
                  <a:lnTo>
                    <a:pt x="2861" y="2856"/>
                  </a:lnTo>
                  <a:lnTo>
                    <a:pt x="2863" y="2856"/>
                  </a:lnTo>
                  <a:lnTo>
                    <a:pt x="2863" y="2855"/>
                  </a:lnTo>
                  <a:lnTo>
                    <a:pt x="2863" y="2856"/>
                  </a:lnTo>
                  <a:lnTo>
                    <a:pt x="2863" y="2855"/>
                  </a:lnTo>
                  <a:lnTo>
                    <a:pt x="2863" y="2853"/>
                  </a:lnTo>
                  <a:lnTo>
                    <a:pt x="2863" y="2855"/>
                  </a:lnTo>
                  <a:lnTo>
                    <a:pt x="2863" y="2853"/>
                  </a:lnTo>
                  <a:lnTo>
                    <a:pt x="2863" y="2855"/>
                  </a:lnTo>
                  <a:lnTo>
                    <a:pt x="2863" y="2856"/>
                  </a:lnTo>
                  <a:lnTo>
                    <a:pt x="2863" y="2855"/>
                  </a:lnTo>
                  <a:lnTo>
                    <a:pt x="2864" y="2855"/>
                  </a:lnTo>
                  <a:lnTo>
                    <a:pt x="2864" y="2856"/>
                  </a:lnTo>
                  <a:lnTo>
                    <a:pt x="2863" y="2856"/>
                  </a:lnTo>
                  <a:lnTo>
                    <a:pt x="2864" y="2856"/>
                  </a:lnTo>
                  <a:lnTo>
                    <a:pt x="2864" y="2855"/>
                  </a:lnTo>
                  <a:lnTo>
                    <a:pt x="2866" y="2856"/>
                  </a:lnTo>
                  <a:lnTo>
                    <a:pt x="2866" y="2855"/>
                  </a:lnTo>
                  <a:lnTo>
                    <a:pt x="2864" y="2855"/>
                  </a:lnTo>
                  <a:lnTo>
                    <a:pt x="2866" y="2855"/>
                  </a:lnTo>
                  <a:lnTo>
                    <a:pt x="2866" y="2853"/>
                  </a:lnTo>
                  <a:lnTo>
                    <a:pt x="2866" y="2855"/>
                  </a:lnTo>
                  <a:lnTo>
                    <a:pt x="2866" y="2853"/>
                  </a:lnTo>
                  <a:lnTo>
                    <a:pt x="2868" y="2855"/>
                  </a:lnTo>
                  <a:lnTo>
                    <a:pt x="2868" y="2853"/>
                  </a:lnTo>
                  <a:lnTo>
                    <a:pt x="2866" y="2853"/>
                  </a:lnTo>
                  <a:lnTo>
                    <a:pt x="2868" y="2853"/>
                  </a:lnTo>
                  <a:lnTo>
                    <a:pt x="2866" y="2853"/>
                  </a:lnTo>
                  <a:lnTo>
                    <a:pt x="2864" y="2853"/>
                  </a:lnTo>
                  <a:lnTo>
                    <a:pt x="2864" y="2851"/>
                  </a:lnTo>
                  <a:lnTo>
                    <a:pt x="2864" y="2850"/>
                  </a:lnTo>
                  <a:lnTo>
                    <a:pt x="2866" y="2850"/>
                  </a:lnTo>
                  <a:lnTo>
                    <a:pt x="2866" y="2848"/>
                  </a:lnTo>
                  <a:lnTo>
                    <a:pt x="2868" y="2848"/>
                  </a:lnTo>
                  <a:lnTo>
                    <a:pt x="2868" y="2850"/>
                  </a:lnTo>
                  <a:lnTo>
                    <a:pt x="2869" y="2850"/>
                  </a:lnTo>
                  <a:lnTo>
                    <a:pt x="2869" y="2851"/>
                  </a:lnTo>
                  <a:lnTo>
                    <a:pt x="2869" y="2850"/>
                  </a:lnTo>
                  <a:lnTo>
                    <a:pt x="2868" y="2850"/>
                  </a:lnTo>
                  <a:lnTo>
                    <a:pt x="2869" y="2850"/>
                  </a:lnTo>
                  <a:lnTo>
                    <a:pt x="2869" y="2851"/>
                  </a:lnTo>
                  <a:lnTo>
                    <a:pt x="2871" y="2851"/>
                  </a:lnTo>
                  <a:lnTo>
                    <a:pt x="2871" y="2850"/>
                  </a:lnTo>
                  <a:lnTo>
                    <a:pt x="2872" y="2850"/>
                  </a:lnTo>
                  <a:lnTo>
                    <a:pt x="2872" y="2848"/>
                  </a:lnTo>
                  <a:lnTo>
                    <a:pt x="2874" y="2848"/>
                  </a:lnTo>
                  <a:lnTo>
                    <a:pt x="2874" y="2846"/>
                  </a:lnTo>
                  <a:lnTo>
                    <a:pt x="2874" y="2848"/>
                  </a:lnTo>
                  <a:lnTo>
                    <a:pt x="2874" y="2850"/>
                  </a:lnTo>
                  <a:lnTo>
                    <a:pt x="2874" y="2851"/>
                  </a:lnTo>
                  <a:lnTo>
                    <a:pt x="2874" y="2853"/>
                  </a:lnTo>
                  <a:lnTo>
                    <a:pt x="2872" y="2853"/>
                  </a:lnTo>
                  <a:lnTo>
                    <a:pt x="2872" y="2855"/>
                  </a:lnTo>
                  <a:lnTo>
                    <a:pt x="2871" y="2855"/>
                  </a:lnTo>
                  <a:lnTo>
                    <a:pt x="2871" y="2856"/>
                  </a:lnTo>
                  <a:lnTo>
                    <a:pt x="2871" y="2855"/>
                  </a:lnTo>
                  <a:lnTo>
                    <a:pt x="2871" y="2856"/>
                  </a:lnTo>
                  <a:lnTo>
                    <a:pt x="2869" y="2858"/>
                  </a:lnTo>
                  <a:lnTo>
                    <a:pt x="2869" y="2859"/>
                  </a:lnTo>
                  <a:lnTo>
                    <a:pt x="2871" y="2859"/>
                  </a:lnTo>
                  <a:lnTo>
                    <a:pt x="2869" y="2861"/>
                  </a:lnTo>
                  <a:lnTo>
                    <a:pt x="2871" y="2861"/>
                  </a:lnTo>
                  <a:lnTo>
                    <a:pt x="2869" y="2861"/>
                  </a:lnTo>
                  <a:lnTo>
                    <a:pt x="2871" y="2861"/>
                  </a:lnTo>
                  <a:lnTo>
                    <a:pt x="2869" y="2861"/>
                  </a:lnTo>
                  <a:lnTo>
                    <a:pt x="2869" y="2863"/>
                  </a:lnTo>
                  <a:lnTo>
                    <a:pt x="2869" y="2864"/>
                  </a:lnTo>
                  <a:lnTo>
                    <a:pt x="2868" y="2864"/>
                  </a:lnTo>
                  <a:lnTo>
                    <a:pt x="2868" y="2863"/>
                  </a:lnTo>
                  <a:lnTo>
                    <a:pt x="2868" y="2864"/>
                  </a:lnTo>
                  <a:lnTo>
                    <a:pt x="2868" y="2863"/>
                  </a:lnTo>
                  <a:lnTo>
                    <a:pt x="2866" y="2863"/>
                  </a:lnTo>
                  <a:lnTo>
                    <a:pt x="2866" y="2861"/>
                  </a:lnTo>
                  <a:lnTo>
                    <a:pt x="2866" y="2863"/>
                  </a:lnTo>
                  <a:lnTo>
                    <a:pt x="2866" y="2861"/>
                  </a:lnTo>
                  <a:lnTo>
                    <a:pt x="2866" y="2859"/>
                  </a:lnTo>
                  <a:lnTo>
                    <a:pt x="2864" y="2861"/>
                  </a:lnTo>
                  <a:lnTo>
                    <a:pt x="2866" y="2861"/>
                  </a:lnTo>
                  <a:lnTo>
                    <a:pt x="2864" y="2861"/>
                  </a:lnTo>
                  <a:lnTo>
                    <a:pt x="2864" y="2859"/>
                  </a:lnTo>
                  <a:lnTo>
                    <a:pt x="2863" y="2859"/>
                  </a:lnTo>
                  <a:lnTo>
                    <a:pt x="2864" y="2859"/>
                  </a:lnTo>
                  <a:lnTo>
                    <a:pt x="2863" y="2859"/>
                  </a:lnTo>
                  <a:lnTo>
                    <a:pt x="2861" y="2859"/>
                  </a:lnTo>
                  <a:lnTo>
                    <a:pt x="2861" y="2858"/>
                  </a:lnTo>
                  <a:lnTo>
                    <a:pt x="2861" y="2859"/>
                  </a:lnTo>
                  <a:lnTo>
                    <a:pt x="2861" y="2858"/>
                  </a:lnTo>
                  <a:lnTo>
                    <a:pt x="2863" y="2856"/>
                  </a:lnTo>
                  <a:lnTo>
                    <a:pt x="2861" y="2856"/>
                  </a:lnTo>
                  <a:lnTo>
                    <a:pt x="2861" y="2858"/>
                  </a:lnTo>
                  <a:lnTo>
                    <a:pt x="2859" y="2858"/>
                  </a:lnTo>
                  <a:lnTo>
                    <a:pt x="2861" y="2859"/>
                  </a:lnTo>
                  <a:lnTo>
                    <a:pt x="2861" y="2861"/>
                  </a:lnTo>
                  <a:lnTo>
                    <a:pt x="2861" y="2859"/>
                  </a:lnTo>
                  <a:lnTo>
                    <a:pt x="2859" y="2859"/>
                  </a:lnTo>
                  <a:lnTo>
                    <a:pt x="2859" y="2858"/>
                  </a:lnTo>
                  <a:lnTo>
                    <a:pt x="2858" y="2858"/>
                  </a:lnTo>
                  <a:lnTo>
                    <a:pt x="2859" y="2858"/>
                  </a:lnTo>
                  <a:lnTo>
                    <a:pt x="2858" y="2858"/>
                  </a:lnTo>
                  <a:lnTo>
                    <a:pt x="2858" y="2859"/>
                  </a:lnTo>
                  <a:lnTo>
                    <a:pt x="2859" y="2859"/>
                  </a:lnTo>
                  <a:lnTo>
                    <a:pt x="2858" y="2859"/>
                  </a:lnTo>
                  <a:lnTo>
                    <a:pt x="2858" y="2858"/>
                  </a:lnTo>
                  <a:lnTo>
                    <a:pt x="2858" y="2856"/>
                  </a:lnTo>
                  <a:lnTo>
                    <a:pt x="2858" y="2858"/>
                  </a:lnTo>
                  <a:lnTo>
                    <a:pt x="2858" y="2856"/>
                  </a:lnTo>
                  <a:lnTo>
                    <a:pt x="2856" y="2856"/>
                  </a:lnTo>
                  <a:lnTo>
                    <a:pt x="2858" y="2858"/>
                  </a:lnTo>
                  <a:lnTo>
                    <a:pt x="2856" y="2858"/>
                  </a:lnTo>
                  <a:lnTo>
                    <a:pt x="2856" y="2856"/>
                  </a:lnTo>
                  <a:lnTo>
                    <a:pt x="2858" y="2856"/>
                  </a:lnTo>
                  <a:lnTo>
                    <a:pt x="2856" y="2856"/>
                  </a:lnTo>
                  <a:lnTo>
                    <a:pt x="2858" y="2856"/>
                  </a:lnTo>
                  <a:lnTo>
                    <a:pt x="2858" y="2855"/>
                  </a:lnTo>
                  <a:lnTo>
                    <a:pt x="2856" y="2855"/>
                  </a:lnTo>
                  <a:lnTo>
                    <a:pt x="2858" y="2856"/>
                  </a:lnTo>
                  <a:lnTo>
                    <a:pt x="2856" y="2856"/>
                  </a:lnTo>
                  <a:lnTo>
                    <a:pt x="2856" y="2855"/>
                  </a:lnTo>
                  <a:lnTo>
                    <a:pt x="2856" y="2856"/>
                  </a:lnTo>
                  <a:lnTo>
                    <a:pt x="2855" y="2856"/>
                  </a:lnTo>
                  <a:lnTo>
                    <a:pt x="2855" y="2855"/>
                  </a:lnTo>
                  <a:lnTo>
                    <a:pt x="2853" y="2855"/>
                  </a:lnTo>
                  <a:lnTo>
                    <a:pt x="2853" y="2853"/>
                  </a:lnTo>
                  <a:lnTo>
                    <a:pt x="2853" y="2855"/>
                  </a:lnTo>
                  <a:lnTo>
                    <a:pt x="2851" y="2853"/>
                  </a:lnTo>
                  <a:lnTo>
                    <a:pt x="2853" y="2853"/>
                  </a:lnTo>
                  <a:lnTo>
                    <a:pt x="2853" y="2855"/>
                  </a:lnTo>
                  <a:lnTo>
                    <a:pt x="2853" y="2853"/>
                  </a:lnTo>
                  <a:lnTo>
                    <a:pt x="2855" y="2853"/>
                  </a:lnTo>
                  <a:lnTo>
                    <a:pt x="2855" y="2851"/>
                  </a:lnTo>
                  <a:lnTo>
                    <a:pt x="2855" y="2850"/>
                  </a:lnTo>
                  <a:lnTo>
                    <a:pt x="2853" y="2850"/>
                  </a:lnTo>
                  <a:lnTo>
                    <a:pt x="2853" y="2851"/>
                  </a:lnTo>
                  <a:lnTo>
                    <a:pt x="2851" y="2851"/>
                  </a:lnTo>
                  <a:lnTo>
                    <a:pt x="2851" y="2850"/>
                  </a:lnTo>
                  <a:lnTo>
                    <a:pt x="2851" y="2851"/>
                  </a:lnTo>
                  <a:lnTo>
                    <a:pt x="2851" y="2850"/>
                  </a:lnTo>
                  <a:lnTo>
                    <a:pt x="2851" y="2851"/>
                  </a:lnTo>
                  <a:lnTo>
                    <a:pt x="2853" y="2851"/>
                  </a:lnTo>
                  <a:lnTo>
                    <a:pt x="2853" y="2853"/>
                  </a:lnTo>
                  <a:lnTo>
                    <a:pt x="2851" y="2853"/>
                  </a:lnTo>
                  <a:lnTo>
                    <a:pt x="2853" y="2853"/>
                  </a:lnTo>
                  <a:lnTo>
                    <a:pt x="2851" y="2853"/>
                  </a:lnTo>
                  <a:lnTo>
                    <a:pt x="2851" y="2851"/>
                  </a:lnTo>
                  <a:lnTo>
                    <a:pt x="2850" y="2851"/>
                  </a:lnTo>
                  <a:lnTo>
                    <a:pt x="2851" y="2851"/>
                  </a:lnTo>
                  <a:lnTo>
                    <a:pt x="2850" y="2853"/>
                  </a:lnTo>
                  <a:lnTo>
                    <a:pt x="2850" y="2851"/>
                  </a:lnTo>
                  <a:lnTo>
                    <a:pt x="2850" y="2850"/>
                  </a:lnTo>
                  <a:lnTo>
                    <a:pt x="2850" y="2848"/>
                  </a:lnTo>
                  <a:lnTo>
                    <a:pt x="2850" y="2850"/>
                  </a:lnTo>
                  <a:lnTo>
                    <a:pt x="2851" y="2850"/>
                  </a:lnTo>
                  <a:lnTo>
                    <a:pt x="2850" y="2850"/>
                  </a:lnTo>
                  <a:lnTo>
                    <a:pt x="2851" y="2850"/>
                  </a:lnTo>
                  <a:lnTo>
                    <a:pt x="2853" y="2850"/>
                  </a:lnTo>
                  <a:lnTo>
                    <a:pt x="2851" y="2850"/>
                  </a:lnTo>
                  <a:lnTo>
                    <a:pt x="2851" y="2848"/>
                  </a:lnTo>
                  <a:lnTo>
                    <a:pt x="2851" y="2850"/>
                  </a:lnTo>
                  <a:lnTo>
                    <a:pt x="2851" y="2848"/>
                  </a:lnTo>
                  <a:lnTo>
                    <a:pt x="2850" y="2846"/>
                  </a:lnTo>
                  <a:lnTo>
                    <a:pt x="2848" y="2846"/>
                  </a:lnTo>
                  <a:lnTo>
                    <a:pt x="2850" y="2846"/>
                  </a:lnTo>
                  <a:lnTo>
                    <a:pt x="2848" y="2846"/>
                  </a:lnTo>
                  <a:lnTo>
                    <a:pt x="2846" y="2848"/>
                  </a:lnTo>
                  <a:lnTo>
                    <a:pt x="2846" y="2846"/>
                  </a:lnTo>
                  <a:lnTo>
                    <a:pt x="2848" y="2846"/>
                  </a:lnTo>
                  <a:lnTo>
                    <a:pt x="2846" y="2845"/>
                  </a:lnTo>
                  <a:lnTo>
                    <a:pt x="2846" y="2846"/>
                  </a:lnTo>
                  <a:lnTo>
                    <a:pt x="2846" y="2845"/>
                  </a:lnTo>
                  <a:lnTo>
                    <a:pt x="2845" y="2845"/>
                  </a:lnTo>
                  <a:lnTo>
                    <a:pt x="2845" y="2843"/>
                  </a:lnTo>
                  <a:lnTo>
                    <a:pt x="2845" y="2841"/>
                  </a:lnTo>
                  <a:lnTo>
                    <a:pt x="2846" y="2841"/>
                  </a:lnTo>
                  <a:lnTo>
                    <a:pt x="2846" y="2843"/>
                  </a:lnTo>
                  <a:lnTo>
                    <a:pt x="2848" y="2843"/>
                  </a:lnTo>
                  <a:lnTo>
                    <a:pt x="2846" y="2843"/>
                  </a:lnTo>
                  <a:lnTo>
                    <a:pt x="2848" y="2845"/>
                  </a:lnTo>
                  <a:lnTo>
                    <a:pt x="2850" y="2845"/>
                  </a:lnTo>
                  <a:lnTo>
                    <a:pt x="2850" y="2843"/>
                  </a:lnTo>
                  <a:lnTo>
                    <a:pt x="2848" y="2843"/>
                  </a:lnTo>
                  <a:lnTo>
                    <a:pt x="2850" y="2843"/>
                  </a:lnTo>
                  <a:lnTo>
                    <a:pt x="2848" y="2843"/>
                  </a:lnTo>
                  <a:lnTo>
                    <a:pt x="2848" y="2841"/>
                  </a:lnTo>
                  <a:lnTo>
                    <a:pt x="2848" y="2840"/>
                  </a:lnTo>
                  <a:lnTo>
                    <a:pt x="2848" y="2838"/>
                  </a:lnTo>
                  <a:lnTo>
                    <a:pt x="2846" y="2838"/>
                  </a:lnTo>
                  <a:lnTo>
                    <a:pt x="2846" y="2837"/>
                  </a:lnTo>
                  <a:lnTo>
                    <a:pt x="2845" y="2837"/>
                  </a:lnTo>
                  <a:lnTo>
                    <a:pt x="2845" y="2835"/>
                  </a:lnTo>
                  <a:lnTo>
                    <a:pt x="2843" y="2835"/>
                  </a:lnTo>
                  <a:lnTo>
                    <a:pt x="2843" y="2837"/>
                  </a:lnTo>
                  <a:lnTo>
                    <a:pt x="2842" y="2837"/>
                  </a:lnTo>
                  <a:lnTo>
                    <a:pt x="2842" y="2835"/>
                  </a:lnTo>
                  <a:lnTo>
                    <a:pt x="2842" y="2837"/>
                  </a:lnTo>
                  <a:lnTo>
                    <a:pt x="2842" y="2835"/>
                  </a:lnTo>
                  <a:lnTo>
                    <a:pt x="2842" y="2837"/>
                  </a:lnTo>
                  <a:lnTo>
                    <a:pt x="2843" y="2837"/>
                  </a:lnTo>
                  <a:lnTo>
                    <a:pt x="2842" y="2837"/>
                  </a:lnTo>
                  <a:lnTo>
                    <a:pt x="2842" y="2838"/>
                  </a:lnTo>
                  <a:lnTo>
                    <a:pt x="2842" y="2840"/>
                  </a:lnTo>
                  <a:lnTo>
                    <a:pt x="2843" y="2841"/>
                  </a:lnTo>
                  <a:lnTo>
                    <a:pt x="2843" y="2843"/>
                  </a:lnTo>
                  <a:lnTo>
                    <a:pt x="2843" y="2845"/>
                  </a:lnTo>
                  <a:lnTo>
                    <a:pt x="2843" y="2843"/>
                  </a:lnTo>
                  <a:lnTo>
                    <a:pt x="2843" y="2841"/>
                  </a:lnTo>
                  <a:lnTo>
                    <a:pt x="2842" y="2840"/>
                  </a:lnTo>
                  <a:lnTo>
                    <a:pt x="2842" y="2841"/>
                  </a:lnTo>
                  <a:lnTo>
                    <a:pt x="2840" y="2841"/>
                  </a:lnTo>
                  <a:lnTo>
                    <a:pt x="2840" y="2840"/>
                  </a:lnTo>
                  <a:lnTo>
                    <a:pt x="2838" y="2840"/>
                  </a:lnTo>
                  <a:lnTo>
                    <a:pt x="2838" y="2838"/>
                  </a:lnTo>
                  <a:lnTo>
                    <a:pt x="2837" y="2838"/>
                  </a:lnTo>
                  <a:lnTo>
                    <a:pt x="2837" y="2837"/>
                  </a:lnTo>
                  <a:lnTo>
                    <a:pt x="2837" y="2838"/>
                  </a:lnTo>
                  <a:lnTo>
                    <a:pt x="2837" y="2837"/>
                  </a:lnTo>
                  <a:lnTo>
                    <a:pt x="2837" y="2835"/>
                  </a:lnTo>
                  <a:lnTo>
                    <a:pt x="2835" y="2835"/>
                  </a:lnTo>
                  <a:lnTo>
                    <a:pt x="2837" y="2833"/>
                  </a:lnTo>
                  <a:lnTo>
                    <a:pt x="2835" y="2833"/>
                  </a:lnTo>
                  <a:lnTo>
                    <a:pt x="2837" y="2833"/>
                  </a:lnTo>
                  <a:lnTo>
                    <a:pt x="2837" y="2832"/>
                  </a:lnTo>
                  <a:lnTo>
                    <a:pt x="2837" y="2833"/>
                  </a:lnTo>
                  <a:lnTo>
                    <a:pt x="2835" y="2833"/>
                  </a:lnTo>
                  <a:lnTo>
                    <a:pt x="2835" y="2832"/>
                  </a:lnTo>
                  <a:lnTo>
                    <a:pt x="2837" y="2832"/>
                  </a:lnTo>
                  <a:lnTo>
                    <a:pt x="2837" y="2833"/>
                  </a:lnTo>
                  <a:lnTo>
                    <a:pt x="2838" y="2833"/>
                  </a:lnTo>
                  <a:lnTo>
                    <a:pt x="2838" y="2835"/>
                  </a:lnTo>
                  <a:lnTo>
                    <a:pt x="2838" y="2837"/>
                  </a:lnTo>
                  <a:lnTo>
                    <a:pt x="2840" y="2838"/>
                  </a:lnTo>
                  <a:lnTo>
                    <a:pt x="2840" y="2840"/>
                  </a:lnTo>
                  <a:lnTo>
                    <a:pt x="2840" y="2838"/>
                  </a:lnTo>
                  <a:lnTo>
                    <a:pt x="2840" y="2837"/>
                  </a:lnTo>
                  <a:lnTo>
                    <a:pt x="2842" y="2837"/>
                  </a:lnTo>
                  <a:lnTo>
                    <a:pt x="2842" y="2838"/>
                  </a:lnTo>
                  <a:lnTo>
                    <a:pt x="2840" y="2838"/>
                  </a:lnTo>
                  <a:lnTo>
                    <a:pt x="2842" y="2838"/>
                  </a:lnTo>
                  <a:lnTo>
                    <a:pt x="2840" y="2835"/>
                  </a:lnTo>
                  <a:lnTo>
                    <a:pt x="2838" y="2833"/>
                  </a:lnTo>
                  <a:lnTo>
                    <a:pt x="2838" y="2832"/>
                  </a:lnTo>
                  <a:lnTo>
                    <a:pt x="2837" y="2832"/>
                  </a:lnTo>
                  <a:lnTo>
                    <a:pt x="2837" y="2830"/>
                  </a:lnTo>
                  <a:lnTo>
                    <a:pt x="2835" y="2830"/>
                  </a:lnTo>
                  <a:lnTo>
                    <a:pt x="2835" y="2828"/>
                  </a:lnTo>
                  <a:lnTo>
                    <a:pt x="2833" y="2828"/>
                  </a:lnTo>
                  <a:lnTo>
                    <a:pt x="2835" y="2828"/>
                  </a:lnTo>
                  <a:lnTo>
                    <a:pt x="2833" y="2828"/>
                  </a:lnTo>
                  <a:lnTo>
                    <a:pt x="2835" y="2830"/>
                  </a:lnTo>
                  <a:lnTo>
                    <a:pt x="2833" y="2830"/>
                  </a:lnTo>
                  <a:lnTo>
                    <a:pt x="2833" y="2828"/>
                  </a:lnTo>
                  <a:lnTo>
                    <a:pt x="2832" y="2828"/>
                  </a:lnTo>
                  <a:lnTo>
                    <a:pt x="2832" y="2830"/>
                  </a:lnTo>
                  <a:lnTo>
                    <a:pt x="2832" y="2828"/>
                  </a:lnTo>
                  <a:lnTo>
                    <a:pt x="2832" y="2830"/>
                  </a:lnTo>
                  <a:lnTo>
                    <a:pt x="2832" y="2828"/>
                  </a:lnTo>
                  <a:lnTo>
                    <a:pt x="2830" y="2828"/>
                  </a:lnTo>
                  <a:lnTo>
                    <a:pt x="2830" y="2827"/>
                  </a:lnTo>
                  <a:lnTo>
                    <a:pt x="2829" y="2827"/>
                  </a:lnTo>
                  <a:lnTo>
                    <a:pt x="2827" y="2828"/>
                  </a:lnTo>
                  <a:lnTo>
                    <a:pt x="2827" y="2830"/>
                  </a:lnTo>
                  <a:lnTo>
                    <a:pt x="2829" y="2830"/>
                  </a:lnTo>
                  <a:lnTo>
                    <a:pt x="2830" y="2830"/>
                  </a:lnTo>
                  <a:lnTo>
                    <a:pt x="2830" y="2832"/>
                  </a:lnTo>
                  <a:lnTo>
                    <a:pt x="2830" y="2833"/>
                  </a:lnTo>
                  <a:lnTo>
                    <a:pt x="2830" y="2832"/>
                  </a:lnTo>
                  <a:lnTo>
                    <a:pt x="2832" y="2833"/>
                  </a:lnTo>
                  <a:lnTo>
                    <a:pt x="2833" y="2837"/>
                  </a:lnTo>
                  <a:lnTo>
                    <a:pt x="2832" y="2835"/>
                  </a:lnTo>
                  <a:lnTo>
                    <a:pt x="2830" y="2835"/>
                  </a:lnTo>
                  <a:lnTo>
                    <a:pt x="2832" y="2835"/>
                  </a:lnTo>
                  <a:lnTo>
                    <a:pt x="2832" y="2837"/>
                  </a:lnTo>
                  <a:lnTo>
                    <a:pt x="2832" y="2838"/>
                  </a:lnTo>
                  <a:lnTo>
                    <a:pt x="2830" y="2838"/>
                  </a:lnTo>
                  <a:lnTo>
                    <a:pt x="2832" y="2838"/>
                  </a:lnTo>
                  <a:lnTo>
                    <a:pt x="2832" y="2840"/>
                  </a:lnTo>
                  <a:lnTo>
                    <a:pt x="2832" y="2838"/>
                  </a:lnTo>
                  <a:lnTo>
                    <a:pt x="2832" y="2840"/>
                  </a:lnTo>
                  <a:lnTo>
                    <a:pt x="2832" y="2838"/>
                  </a:lnTo>
                  <a:lnTo>
                    <a:pt x="2833" y="2838"/>
                  </a:lnTo>
                  <a:lnTo>
                    <a:pt x="2835" y="2838"/>
                  </a:lnTo>
                  <a:lnTo>
                    <a:pt x="2835" y="2840"/>
                  </a:lnTo>
                  <a:lnTo>
                    <a:pt x="2837" y="2840"/>
                  </a:lnTo>
                  <a:lnTo>
                    <a:pt x="2835" y="2841"/>
                  </a:lnTo>
                  <a:lnTo>
                    <a:pt x="2837" y="2841"/>
                  </a:lnTo>
                  <a:lnTo>
                    <a:pt x="2837" y="2840"/>
                  </a:lnTo>
                  <a:lnTo>
                    <a:pt x="2837" y="2841"/>
                  </a:lnTo>
                  <a:lnTo>
                    <a:pt x="2837" y="2840"/>
                  </a:lnTo>
                  <a:lnTo>
                    <a:pt x="2838" y="2840"/>
                  </a:lnTo>
                  <a:lnTo>
                    <a:pt x="2840" y="2840"/>
                  </a:lnTo>
                  <a:lnTo>
                    <a:pt x="2838" y="2841"/>
                  </a:lnTo>
                  <a:lnTo>
                    <a:pt x="2840" y="2841"/>
                  </a:lnTo>
                  <a:lnTo>
                    <a:pt x="2840" y="2843"/>
                  </a:lnTo>
                  <a:lnTo>
                    <a:pt x="2838" y="2841"/>
                  </a:lnTo>
                  <a:lnTo>
                    <a:pt x="2840" y="2843"/>
                  </a:lnTo>
                  <a:lnTo>
                    <a:pt x="2840" y="2845"/>
                  </a:lnTo>
                  <a:lnTo>
                    <a:pt x="2838" y="2841"/>
                  </a:lnTo>
                  <a:lnTo>
                    <a:pt x="2838" y="2843"/>
                  </a:lnTo>
                  <a:lnTo>
                    <a:pt x="2837" y="2841"/>
                  </a:lnTo>
                  <a:lnTo>
                    <a:pt x="2837" y="2843"/>
                  </a:lnTo>
                  <a:lnTo>
                    <a:pt x="2835" y="2841"/>
                  </a:lnTo>
                  <a:lnTo>
                    <a:pt x="2835" y="2843"/>
                  </a:lnTo>
                  <a:lnTo>
                    <a:pt x="2837" y="2843"/>
                  </a:lnTo>
                  <a:lnTo>
                    <a:pt x="2837" y="2845"/>
                  </a:lnTo>
                  <a:lnTo>
                    <a:pt x="2837" y="2846"/>
                  </a:lnTo>
                  <a:lnTo>
                    <a:pt x="2838" y="2846"/>
                  </a:lnTo>
                  <a:lnTo>
                    <a:pt x="2840" y="2848"/>
                  </a:lnTo>
                  <a:lnTo>
                    <a:pt x="2842" y="2850"/>
                  </a:lnTo>
                  <a:lnTo>
                    <a:pt x="2842" y="2851"/>
                  </a:lnTo>
                  <a:lnTo>
                    <a:pt x="2843" y="2853"/>
                  </a:lnTo>
                  <a:lnTo>
                    <a:pt x="2843" y="2855"/>
                  </a:lnTo>
                  <a:lnTo>
                    <a:pt x="2845" y="2856"/>
                  </a:lnTo>
                  <a:lnTo>
                    <a:pt x="2845" y="2858"/>
                  </a:lnTo>
                  <a:lnTo>
                    <a:pt x="2846" y="2859"/>
                  </a:lnTo>
                  <a:lnTo>
                    <a:pt x="2846" y="2861"/>
                  </a:lnTo>
                  <a:lnTo>
                    <a:pt x="2846" y="2863"/>
                  </a:lnTo>
                  <a:lnTo>
                    <a:pt x="2846" y="2861"/>
                  </a:lnTo>
                  <a:lnTo>
                    <a:pt x="2846" y="2863"/>
                  </a:lnTo>
                  <a:lnTo>
                    <a:pt x="2846" y="2864"/>
                  </a:lnTo>
                  <a:lnTo>
                    <a:pt x="2848" y="2866"/>
                  </a:lnTo>
                  <a:lnTo>
                    <a:pt x="2848" y="2868"/>
                  </a:lnTo>
                  <a:lnTo>
                    <a:pt x="2850" y="2868"/>
                  </a:lnTo>
                  <a:lnTo>
                    <a:pt x="2848" y="2866"/>
                  </a:lnTo>
                  <a:lnTo>
                    <a:pt x="2848" y="2864"/>
                  </a:lnTo>
                  <a:lnTo>
                    <a:pt x="2850" y="2864"/>
                  </a:lnTo>
                  <a:lnTo>
                    <a:pt x="2851" y="2864"/>
                  </a:lnTo>
                  <a:lnTo>
                    <a:pt x="2851" y="2866"/>
                  </a:lnTo>
                  <a:lnTo>
                    <a:pt x="2850" y="2866"/>
                  </a:lnTo>
                  <a:lnTo>
                    <a:pt x="2850" y="2868"/>
                  </a:lnTo>
                  <a:lnTo>
                    <a:pt x="2850" y="2869"/>
                  </a:lnTo>
                  <a:lnTo>
                    <a:pt x="2850" y="2871"/>
                  </a:lnTo>
                  <a:lnTo>
                    <a:pt x="2848" y="2871"/>
                  </a:lnTo>
                  <a:lnTo>
                    <a:pt x="2850" y="2871"/>
                  </a:lnTo>
                  <a:lnTo>
                    <a:pt x="2850" y="2872"/>
                  </a:lnTo>
                  <a:lnTo>
                    <a:pt x="2850" y="2871"/>
                  </a:lnTo>
                  <a:lnTo>
                    <a:pt x="2850" y="2872"/>
                  </a:lnTo>
                  <a:lnTo>
                    <a:pt x="2848" y="2872"/>
                  </a:lnTo>
                  <a:lnTo>
                    <a:pt x="2850" y="2872"/>
                  </a:lnTo>
                  <a:lnTo>
                    <a:pt x="2850" y="2874"/>
                  </a:lnTo>
                  <a:lnTo>
                    <a:pt x="2850" y="2872"/>
                  </a:lnTo>
                  <a:lnTo>
                    <a:pt x="2850" y="2874"/>
                  </a:lnTo>
                  <a:lnTo>
                    <a:pt x="2850" y="2876"/>
                  </a:lnTo>
                  <a:lnTo>
                    <a:pt x="2850" y="2874"/>
                  </a:lnTo>
                  <a:lnTo>
                    <a:pt x="2850" y="2876"/>
                  </a:lnTo>
                  <a:lnTo>
                    <a:pt x="2848" y="2876"/>
                  </a:lnTo>
                  <a:lnTo>
                    <a:pt x="2848" y="2874"/>
                  </a:lnTo>
                  <a:lnTo>
                    <a:pt x="2848" y="2876"/>
                  </a:lnTo>
                  <a:lnTo>
                    <a:pt x="2848" y="2874"/>
                  </a:lnTo>
                  <a:lnTo>
                    <a:pt x="2848" y="2876"/>
                  </a:lnTo>
                  <a:lnTo>
                    <a:pt x="2848" y="2874"/>
                  </a:lnTo>
                  <a:lnTo>
                    <a:pt x="2848" y="2876"/>
                  </a:lnTo>
                  <a:lnTo>
                    <a:pt x="2846" y="2876"/>
                  </a:lnTo>
                  <a:lnTo>
                    <a:pt x="2848" y="2874"/>
                  </a:lnTo>
                  <a:lnTo>
                    <a:pt x="2846" y="2874"/>
                  </a:lnTo>
                  <a:lnTo>
                    <a:pt x="2845" y="2874"/>
                  </a:lnTo>
                  <a:lnTo>
                    <a:pt x="2845" y="2876"/>
                  </a:lnTo>
                  <a:lnTo>
                    <a:pt x="2845" y="2874"/>
                  </a:lnTo>
                  <a:lnTo>
                    <a:pt x="2843" y="2874"/>
                  </a:lnTo>
                  <a:lnTo>
                    <a:pt x="2845" y="2874"/>
                  </a:lnTo>
                  <a:lnTo>
                    <a:pt x="2843" y="2874"/>
                  </a:lnTo>
                  <a:lnTo>
                    <a:pt x="2845" y="2876"/>
                  </a:lnTo>
                  <a:lnTo>
                    <a:pt x="2846" y="2876"/>
                  </a:lnTo>
                  <a:lnTo>
                    <a:pt x="2846" y="2877"/>
                  </a:lnTo>
                  <a:lnTo>
                    <a:pt x="2846" y="2879"/>
                  </a:lnTo>
                  <a:lnTo>
                    <a:pt x="2848" y="2879"/>
                  </a:lnTo>
                  <a:lnTo>
                    <a:pt x="2846" y="2879"/>
                  </a:lnTo>
                  <a:lnTo>
                    <a:pt x="2846" y="2877"/>
                  </a:lnTo>
                  <a:lnTo>
                    <a:pt x="2846" y="2879"/>
                  </a:lnTo>
                  <a:lnTo>
                    <a:pt x="2845" y="2879"/>
                  </a:lnTo>
                  <a:lnTo>
                    <a:pt x="2843" y="2879"/>
                  </a:lnTo>
                  <a:lnTo>
                    <a:pt x="2845" y="2879"/>
                  </a:lnTo>
                  <a:lnTo>
                    <a:pt x="2845" y="2881"/>
                  </a:lnTo>
                  <a:lnTo>
                    <a:pt x="2843" y="2879"/>
                  </a:lnTo>
                  <a:lnTo>
                    <a:pt x="2845" y="2879"/>
                  </a:lnTo>
                  <a:lnTo>
                    <a:pt x="2843" y="2879"/>
                  </a:lnTo>
                  <a:lnTo>
                    <a:pt x="2842" y="2879"/>
                  </a:lnTo>
                  <a:lnTo>
                    <a:pt x="2843" y="2879"/>
                  </a:lnTo>
                  <a:lnTo>
                    <a:pt x="2842" y="2879"/>
                  </a:lnTo>
                  <a:lnTo>
                    <a:pt x="2842" y="2877"/>
                  </a:lnTo>
                  <a:lnTo>
                    <a:pt x="2840" y="2877"/>
                  </a:lnTo>
                  <a:lnTo>
                    <a:pt x="2842" y="2877"/>
                  </a:lnTo>
                  <a:lnTo>
                    <a:pt x="2840" y="2877"/>
                  </a:lnTo>
                  <a:lnTo>
                    <a:pt x="2840" y="2876"/>
                  </a:lnTo>
                  <a:lnTo>
                    <a:pt x="2838" y="2874"/>
                  </a:lnTo>
                  <a:lnTo>
                    <a:pt x="2838" y="2872"/>
                  </a:lnTo>
                  <a:lnTo>
                    <a:pt x="2840" y="2872"/>
                  </a:lnTo>
                  <a:lnTo>
                    <a:pt x="2840" y="2871"/>
                  </a:lnTo>
                  <a:lnTo>
                    <a:pt x="2842" y="2872"/>
                  </a:lnTo>
                  <a:lnTo>
                    <a:pt x="2840" y="2871"/>
                  </a:lnTo>
                  <a:lnTo>
                    <a:pt x="2838" y="2871"/>
                  </a:lnTo>
                  <a:lnTo>
                    <a:pt x="2840" y="2871"/>
                  </a:lnTo>
                  <a:lnTo>
                    <a:pt x="2840" y="2869"/>
                  </a:lnTo>
                  <a:lnTo>
                    <a:pt x="2838" y="2869"/>
                  </a:lnTo>
                  <a:lnTo>
                    <a:pt x="2840" y="2869"/>
                  </a:lnTo>
                  <a:lnTo>
                    <a:pt x="2838" y="2869"/>
                  </a:lnTo>
                  <a:lnTo>
                    <a:pt x="2838" y="2868"/>
                  </a:lnTo>
                  <a:lnTo>
                    <a:pt x="2837" y="2868"/>
                  </a:lnTo>
                  <a:lnTo>
                    <a:pt x="2837" y="2866"/>
                  </a:lnTo>
                  <a:lnTo>
                    <a:pt x="2837" y="2864"/>
                  </a:lnTo>
                  <a:lnTo>
                    <a:pt x="2837" y="2866"/>
                  </a:lnTo>
                  <a:lnTo>
                    <a:pt x="2837" y="2868"/>
                  </a:lnTo>
                  <a:lnTo>
                    <a:pt x="2837" y="2866"/>
                  </a:lnTo>
                  <a:lnTo>
                    <a:pt x="2835" y="2864"/>
                  </a:lnTo>
                  <a:lnTo>
                    <a:pt x="2835" y="2863"/>
                  </a:lnTo>
                  <a:lnTo>
                    <a:pt x="2833" y="2863"/>
                  </a:lnTo>
                  <a:lnTo>
                    <a:pt x="2835" y="2864"/>
                  </a:lnTo>
                  <a:lnTo>
                    <a:pt x="2833" y="2864"/>
                  </a:lnTo>
                  <a:lnTo>
                    <a:pt x="2833" y="2866"/>
                  </a:lnTo>
                  <a:lnTo>
                    <a:pt x="2833" y="2868"/>
                  </a:lnTo>
                  <a:lnTo>
                    <a:pt x="2832" y="2866"/>
                  </a:lnTo>
                  <a:lnTo>
                    <a:pt x="2832" y="2868"/>
                  </a:lnTo>
                  <a:lnTo>
                    <a:pt x="2832" y="2869"/>
                  </a:lnTo>
                  <a:lnTo>
                    <a:pt x="2832" y="2868"/>
                  </a:lnTo>
                  <a:lnTo>
                    <a:pt x="2832" y="2869"/>
                  </a:lnTo>
                  <a:lnTo>
                    <a:pt x="2830" y="2869"/>
                  </a:lnTo>
                  <a:lnTo>
                    <a:pt x="2830" y="2868"/>
                  </a:lnTo>
                  <a:lnTo>
                    <a:pt x="2829" y="2868"/>
                  </a:lnTo>
                  <a:lnTo>
                    <a:pt x="2829" y="2866"/>
                  </a:lnTo>
                  <a:lnTo>
                    <a:pt x="2829" y="2864"/>
                  </a:lnTo>
                  <a:lnTo>
                    <a:pt x="2827" y="2864"/>
                  </a:lnTo>
                  <a:lnTo>
                    <a:pt x="2829" y="2864"/>
                  </a:lnTo>
                  <a:lnTo>
                    <a:pt x="2827" y="2864"/>
                  </a:lnTo>
                  <a:lnTo>
                    <a:pt x="2827" y="2863"/>
                  </a:lnTo>
                  <a:lnTo>
                    <a:pt x="2829" y="2863"/>
                  </a:lnTo>
                  <a:lnTo>
                    <a:pt x="2829" y="2864"/>
                  </a:lnTo>
                  <a:lnTo>
                    <a:pt x="2830" y="2864"/>
                  </a:lnTo>
                  <a:lnTo>
                    <a:pt x="2832" y="2864"/>
                  </a:lnTo>
                  <a:lnTo>
                    <a:pt x="2830" y="2864"/>
                  </a:lnTo>
                  <a:lnTo>
                    <a:pt x="2830" y="2863"/>
                  </a:lnTo>
                  <a:lnTo>
                    <a:pt x="2832" y="2863"/>
                  </a:lnTo>
                  <a:lnTo>
                    <a:pt x="2830" y="2863"/>
                  </a:lnTo>
                  <a:lnTo>
                    <a:pt x="2829" y="2863"/>
                  </a:lnTo>
                  <a:lnTo>
                    <a:pt x="2830" y="2861"/>
                  </a:lnTo>
                  <a:lnTo>
                    <a:pt x="2829" y="2861"/>
                  </a:lnTo>
                  <a:lnTo>
                    <a:pt x="2829" y="2863"/>
                  </a:lnTo>
                  <a:lnTo>
                    <a:pt x="2829" y="2861"/>
                  </a:lnTo>
                  <a:lnTo>
                    <a:pt x="2827" y="2861"/>
                  </a:lnTo>
                  <a:lnTo>
                    <a:pt x="2829" y="2861"/>
                  </a:lnTo>
                  <a:lnTo>
                    <a:pt x="2827" y="2859"/>
                  </a:lnTo>
                  <a:lnTo>
                    <a:pt x="2827" y="2858"/>
                  </a:lnTo>
                  <a:lnTo>
                    <a:pt x="2825" y="2858"/>
                  </a:lnTo>
                  <a:lnTo>
                    <a:pt x="2824" y="2856"/>
                  </a:lnTo>
                  <a:lnTo>
                    <a:pt x="2824" y="2855"/>
                  </a:lnTo>
                  <a:lnTo>
                    <a:pt x="2822" y="2855"/>
                  </a:lnTo>
                  <a:lnTo>
                    <a:pt x="2820" y="2855"/>
                  </a:lnTo>
                  <a:lnTo>
                    <a:pt x="2820" y="2853"/>
                  </a:lnTo>
                  <a:lnTo>
                    <a:pt x="2819" y="2853"/>
                  </a:lnTo>
                  <a:lnTo>
                    <a:pt x="2819" y="2851"/>
                  </a:lnTo>
                  <a:lnTo>
                    <a:pt x="2819" y="2850"/>
                  </a:lnTo>
                  <a:lnTo>
                    <a:pt x="2817" y="2851"/>
                  </a:lnTo>
                  <a:lnTo>
                    <a:pt x="2819" y="2851"/>
                  </a:lnTo>
                  <a:lnTo>
                    <a:pt x="2819" y="2853"/>
                  </a:lnTo>
                  <a:lnTo>
                    <a:pt x="2819" y="2855"/>
                  </a:lnTo>
                  <a:lnTo>
                    <a:pt x="2819" y="2856"/>
                  </a:lnTo>
                  <a:lnTo>
                    <a:pt x="2817" y="2856"/>
                  </a:lnTo>
                  <a:lnTo>
                    <a:pt x="2817" y="2855"/>
                  </a:lnTo>
                  <a:lnTo>
                    <a:pt x="2816" y="2855"/>
                  </a:lnTo>
                  <a:lnTo>
                    <a:pt x="2816" y="2853"/>
                  </a:lnTo>
                  <a:lnTo>
                    <a:pt x="2816" y="2851"/>
                  </a:lnTo>
                  <a:lnTo>
                    <a:pt x="2814" y="2851"/>
                  </a:lnTo>
                  <a:lnTo>
                    <a:pt x="2814" y="2850"/>
                  </a:lnTo>
                  <a:lnTo>
                    <a:pt x="2814" y="2848"/>
                  </a:lnTo>
                  <a:lnTo>
                    <a:pt x="2814" y="2846"/>
                  </a:lnTo>
                  <a:lnTo>
                    <a:pt x="2814" y="2848"/>
                  </a:lnTo>
                  <a:lnTo>
                    <a:pt x="2814" y="2851"/>
                  </a:lnTo>
                  <a:lnTo>
                    <a:pt x="2812" y="2850"/>
                  </a:lnTo>
                  <a:lnTo>
                    <a:pt x="2812" y="2848"/>
                  </a:lnTo>
                  <a:lnTo>
                    <a:pt x="2811" y="2848"/>
                  </a:lnTo>
                  <a:lnTo>
                    <a:pt x="2811" y="2850"/>
                  </a:lnTo>
                  <a:lnTo>
                    <a:pt x="2811" y="2848"/>
                  </a:lnTo>
                  <a:lnTo>
                    <a:pt x="2811" y="2850"/>
                  </a:lnTo>
                  <a:lnTo>
                    <a:pt x="2809" y="2850"/>
                  </a:lnTo>
                  <a:lnTo>
                    <a:pt x="2809" y="2851"/>
                  </a:lnTo>
                  <a:lnTo>
                    <a:pt x="2811" y="2851"/>
                  </a:lnTo>
                  <a:lnTo>
                    <a:pt x="2809" y="2851"/>
                  </a:lnTo>
                  <a:lnTo>
                    <a:pt x="2811" y="2851"/>
                  </a:lnTo>
                  <a:lnTo>
                    <a:pt x="2811" y="2853"/>
                  </a:lnTo>
                  <a:lnTo>
                    <a:pt x="2811" y="2851"/>
                  </a:lnTo>
                  <a:lnTo>
                    <a:pt x="2811" y="2853"/>
                  </a:lnTo>
                  <a:lnTo>
                    <a:pt x="2812" y="2853"/>
                  </a:lnTo>
                  <a:lnTo>
                    <a:pt x="2812" y="2855"/>
                  </a:lnTo>
                  <a:lnTo>
                    <a:pt x="2811" y="2855"/>
                  </a:lnTo>
                  <a:lnTo>
                    <a:pt x="2814" y="2856"/>
                  </a:lnTo>
                  <a:lnTo>
                    <a:pt x="2816" y="2858"/>
                  </a:lnTo>
                  <a:lnTo>
                    <a:pt x="2816" y="2859"/>
                  </a:lnTo>
                  <a:lnTo>
                    <a:pt x="2817" y="2858"/>
                  </a:lnTo>
                  <a:lnTo>
                    <a:pt x="2816" y="2858"/>
                  </a:lnTo>
                  <a:lnTo>
                    <a:pt x="2816" y="2856"/>
                  </a:lnTo>
                  <a:lnTo>
                    <a:pt x="2816" y="2855"/>
                  </a:lnTo>
                  <a:lnTo>
                    <a:pt x="2816" y="2856"/>
                  </a:lnTo>
                  <a:lnTo>
                    <a:pt x="2817" y="2856"/>
                  </a:lnTo>
                  <a:lnTo>
                    <a:pt x="2817" y="2858"/>
                  </a:lnTo>
                  <a:lnTo>
                    <a:pt x="2817" y="2859"/>
                  </a:lnTo>
                  <a:lnTo>
                    <a:pt x="2819" y="2859"/>
                  </a:lnTo>
                  <a:lnTo>
                    <a:pt x="2819" y="2861"/>
                  </a:lnTo>
                  <a:lnTo>
                    <a:pt x="2820" y="2863"/>
                  </a:lnTo>
                  <a:lnTo>
                    <a:pt x="2820" y="2861"/>
                  </a:lnTo>
                  <a:lnTo>
                    <a:pt x="2820" y="2863"/>
                  </a:lnTo>
                  <a:lnTo>
                    <a:pt x="2820" y="2864"/>
                  </a:lnTo>
                  <a:lnTo>
                    <a:pt x="2822" y="2866"/>
                  </a:lnTo>
                  <a:lnTo>
                    <a:pt x="2820" y="2866"/>
                  </a:lnTo>
                  <a:lnTo>
                    <a:pt x="2820" y="2864"/>
                  </a:lnTo>
                  <a:lnTo>
                    <a:pt x="2820" y="2866"/>
                  </a:lnTo>
                  <a:lnTo>
                    <a:pt x="2822" y="2868"/>
                  </a:lnTo>
                  <a:lnTo>
                    <a:pt x="2824" y="2868"/>
                  </a:lnTo>
                  <a:lnTo>
                    <a:pt x="2824" y="2869"/>
                  </a:lnTo>
                  <a:lnTo>
                    <a:pt x="2824" y="2871"/>
                  </a:lnTo>
                  <a:lnTo>
                    <a:pt x="2825" y="2871"/>
                  </a:lnTo>
                  <a:lnTo>
                    <a:pt x="2824" y="2871"/>
                  </a:lnTo>
                  <a:lnTo>
                    <a:pt x="2822" y="2868"/>
                  </a:lnTo>
                  <a:lnTo>
                    <a:pt x="2819" y="2864"/>
                  </a:lnTo>
                  <a:lnTo>
                    <a:pt x="2819" y="2863"/>
                  </a:lnTo>
                  <a:lnTo>
                    <a:pt x="2817" y="2863"/>
                  </a:lnTo>
                  <a:lnTo>
                    <a:pt x="2816" y="2859"/>
                  </a:lnTo>
                  <a:lnTo>
                    <a:pt x="2814" y="2858"/>
                  </a:lnTo>
                  <a:lnTo>
                    <a:pt x="2814" y="2856"/>
                  </a:lnTo>
                  <a:lnTo>
                    <a:pt x="2811" y="2855"/>
                  </a:lnTo>
                  <a:lnTo>
                    <a:pt x="2811" y="2853"/>
                  </a:lnTo>
                  <a:lnTo>
                    <a:pt x="2804" y="2846"/>
                  </a:lnTo>
                  <a:lnTo>
                    <a:pt x="2802" y="2845"/>
                  </a:lnTo>
                  <a:lnTo>
                    <a:pt x="2802" y="2843"/>
                  </a:lnTo>
                  <a:lnTo>
                    <a:pt x="2799" y="2843"/>
                  </a:lnTo>
                  <a:lnTo>
                    <a:pt x="2798" y="2843"/>
                  </a:lnTo>
                  <a:lnTo>
                    <a:pt x="2796" y="2843"/>
                  </a:lnTo>
                  <a:lnTo>
                    <a:pt x="2794" y="2841"/>
                  </a:lnTo>
                  <a:lnTo>
                    <a:pt x="2794" y="2840"/>
                  </a:lnTo>
                  <a:lnTo>
                    <a:pt x="2793" y="2838"/>
                  </a:lnTo>
                  <a:lnTo>
                    <a:pt x="2793" y="2837"/>
                  </a:lnTo>
                  <a:lnTo>
                    <a:pt x="2793" y="2835"/>
                  </a:lnTo>
                  <a:lnTo>
                    <a:pt x="2793" y="2833"/>
                  </a:lnTo>
                  <a:lnTo>
                    <a:pt x="2793" y="2832"/>
                  </a:lnTo>
                  <a:lnTo>
                    <a:pt x="2794" y="2832"/>
                  </a:lnTo>
                  <a:lnTo>
                    <a:pt x="2796" y="2833"/>
                  </a:lnTo>
                  <a:lnTo>
                    <a:pt x="2798" y="2833"/>
                  </a:lnTo>
                  <a:lnTo>
                    <a:pt x="2799" y="2835"/>
                  </a:lnTo>
                  <a:lnTo>
                    <a:pt x="2801" y="2835"/>
                  </a:lnTo>
                  <a:lnTo>
                    <a:pt x="2801" y="2837"/>
                  </a:lnTo>
                  <a:lnTo>
                    <a:pt x="2802" y="2838"/>
                  </a:lnTo>
                  <a:lnTo>
                    <a:pt x="2804" y="2838"/>
                  </a:lnTo>
                  <a:lnTo>
                    <a:pt x="2804" y="2840"/>
                  </a:lnTo>
                  <a:lnTo>
                    <a:pt x="2806" y="2840"/>
                  </a:lnTo>
                  <a:lnTo>
                    <a:pt x="2804" y="2838"/>
                  </a:lnTo>
                  <a:lnTo>
                    <a:pt x="2802" y="2838"/>
                  </a:lnTo>
                  <a:lnTo>
                    <a:pt x="2801" y="2837"/>
                  </a:lnTo>
                  <a:lnTo>
                    <a:pt x="2801" y="2835"/>
                  </a:lnTo>
                  <a:lnTo>
                    <a:pt x="2799" y="2833"/>
                  </a:lnTo>
                  <a:lnTo>
                    <a:pt x="2798" y="2833"/>
                  </a:lnTo>
                  <a:lnTo>
                    <a:pt x="2794" y="2832"/>
                  </a:lnTo>
                  <a:lnTo>
                    <a:pt x="2793" y="2830"/>
                  </a:lnTo>
                  <a:lnTo>
                    <a:pt x="2793" y="2828"/>
                  </a:lnTo>
                  <a:lnTo>
                    <a:pt x="2791" y="2828"/>
                  </a:lnTo>
                  <a:lnTo>
                    <a:pt x="2791" y="2827"/>
                  </a:lnTo>
                  <a:lnTo>
                    <a:pt x="2789" y="2827"/>
                  </a:lnTo>
                  <a:lnTo>
                    <a:pt x="2789" y="2825"/>
                  </a:lnTo>
                  <a:lnTo>
                    <a:pt x="2789" y="2820"/>
                  </a:lnTo>
                  <a:lnTo>
                    <a:pt x="2789" y="2819"/>
                  </a:lnTo>
                  <a:lnTo>
                    <a:pt x="2789" y="2817"/>
                  </a:lnTo>
                  <a:lnTo>
                    <a:pt x="2789" y="2819"/>
                  </a:lnTo>
                  <a:lnTo>
                    <a:pt x="2789" y="2820"/>
                  </a:lnTo>
                  <a:lnTo>
                    <a:pt x="2789" y="2824"/>
                  </a:lnTo>
                  <a:lnTo>
                    <a:pt x="2788" y="2824"/>
                  </a:lnTo>
                  <a:lnTo>
                    <a:pt x="2786" y="2824"/>
                  </a:lnTo>
                  <a:lnTo>
                    <a:pt x="2785" y="2824"/>
                  </a:lnTo>
                  <a:lnTo>
                    <a:pt x="2783" y="2824"/>
                  </a:lnTo>
                  <a:lnTo>
                    <a:pt x="2783" y="2822"/>
                  </a:lnTo>
                  <a:lnTo>
                    <a:pt x="2783" y="2819"/>
                  </a:lnTo>
                  <a:lnTo>
                    <a:pt x="2783" y="2817"/>
                  </a:lnTo>
                  <a:lnTo>
                    <a:pt x="2783" y="2814"/>
                  </a:lnTo>
                  <a:lnTo>
                    <a:pt x="2783" y="2812"/>
                  </a:lnTo>
                  <a:lnTo>
                    <a:pt x="2781" y="2812"/>
                  </a:lnTo>
                  <a:lnTo>
                    <a:pt x="2780" y="2812"/>
                  </a:lnTo>
                  <a:lnTo>
                    <a:pt x="2778" y="2812"/>
                  </a:lnTo>
                  <a:lnTo>
                    <a:pt x="2778" y="2811"/>
                  </a:lnTo>
                  <a:lnTo>
                    <a:pt x="2778" y="2809"/>
                  </a:lnTo>
                  <a:lnTo>
                    <a:pt x="2780" y="2809"/>
                  </a:lnTo>
                  <a:lnTo>
                    <a:pt x="2780" y="2807"/>
                  </a:lnTo>
                  <a:lnTo>
                    <a:pt x="2781" y="2807"/>
                  </a:lnTo>
                  <a:lnTo>
                    <a:pt x="2781" y="2806"/>
                  </a:lnTo>
                  <a:lnTo>
                    <a:pt x="2781" y="2804"/>
                  </a:lnTo>
                  <a:lnTo>
                    <a:pt x="2781" y="2802"/>
                  </a:lnTo>
                  <a:lnTo>
                    <a:pt x="2780" y="2801"/>
                  </a:lnTo>
                  <a:lnTo>
                    <a:pt x="2781" y="2801"/>
                  </a:lnTo>
                  <a:lnTo>
                    <a:pt x="2780" y="2799"/>
                  </a:lnTo>
                  <a:lnTo>
                    <a:pt x="2780" y="2798"/>
                  </a:lnTo>
                  <a:lnTo>
                    <a:pt x="2781" y="2798"/>
                  </a:lnTo>
                  <a:lnTo>
                    <a:pt x="2781" y="2796"/>
                  </a:lnTo>
                  <a:lnTo>
                    <a:pt x="2780" y="2794"/>
                  </a:lnTo>
                  <a:lnTo>
                    <a:pt x="2780" y="2793"/>
                  </a:lnTo>
                  <a:lnTo>
                    <a:pt x="2780" y="2791"/>
                  </a:lnTo>
                  <a:lnTo>
                    <a:pt x="2780" y="2789"/>
                  </a:lnTo>
                  <a:lnTo>
                    <a:pt x="2778" y="2788"/>
                  </a:lnTo>
                  <a:lnTo>
                    <a:pt x="2780" y="2786"/>
                  </a:lnTo>
                  <a:lnTo>
                    <a:pt x="2781" y="2786"/>
                  </a:lnTo>
                  <a:lnTo>
                    <a:pt x="2781" y="2785"/>
                  </a:lnTo>
                  <a:lnTo>
                    <a:pt x="2780" y="2786"/>
                  </a:lnTo>
                  <a:lnTo>
                    <a:pt x="2781" y="2785"/>
                  </a:lnTo>
                  <a:lnTo>
                    <a:pt x="2781" y="2783"/>
                  </a:lnTo>
                  <a:lnTo>
                    <a:pt x="2781" y="2780"/>
                  </a:lnTo>
                  <a:lnTo>
                    <a:pt x="2781" y="2778"/>
                  </a:lnTo>
                  <a:lnTo>
                    <a:pt x="2780" y="2780"/>
                  </a:lnTo>
                  <a:lnTo>
                    <a:pt x="2781" y="2780"/>
                  </a:lnTo>
                  <a:lnTo>
                    <a:pt x="2780" y="2783"/>
                  </a:lnTo>
                  <a:lnTo>
                    <a:pt x="2780" y="2785"/>
                  </a:lnTo>
                  <a:lnTo>
                    <a:pt x="2778" y="2788"/>
                  </a:lnTo>
                  <a:lnTo>
                    <a:pt x="2778" y="2789"/>
                  </a:lnTo>
                  <a:lnTo>
                    <a:pt x="2780" y="2791"/>
                  </a:lnTo>
                  <a:lnTo>
                    <a:pt x="2780" y="2793"/>
                  </a:lnTo>
                  <a:lnTo>
                    <a:pt x="2780" y="2794"/>
                  </a:lnTo>
                  <a:lnTo>
                    <a:pt x="2780" y="2796"/>
                  </a:lnTo>
                  <a:lnTo>
                    <a:pt x="2780" y="2801"/>
                  </a:lnTo>
                  <a:lnTo>
                    <a:pt x="2780" y="2802"/>
                  </a:lnTo>
                  <a:lnTo>
                    <a:pt x="2781" y="2804"/>
                  </a:lnTo>
                  <a:lnTo>
                    <a:pt x="2781" y="2806"/>
                  </a:lnTo>
                  <a:lnTo>
                    <a:pt x="2781" y="2807"/>
                  </a:lnTo>
                  <a:lnTo>
                    <a:pt x="2780" y="2807"/>
                  </a:lnTo>
                  <a:lnTo>
                    <a:pt x="2780" y="2809"/>
                  </a:lnTo>
                  <a:lnTo>
                    <a:pt x="2778" y="2809"/>
                  </a:lnTo>
                  <a:lnTo>
                    <a:pt x="2776" y="2809"/>
                  </a:lnTo>
                  <a:lnTo>
                    <a:pt x="2776" y="2811"/>
                  </a:lnTo>
                  <a:lnTo>
                    <a:pt x="2778" y="2812"/>
                  </a:lnTo>
                  <a:lnTo>
                    <a:pt x="2780" y="2812"/>
                  </a:lnTo>
                  <a:lnTo>
                    <a:pt x="2783" y="2814"/>
                  </a:lnTo>
                  <a:lnTo>
                    <a:pt x="2783" y="2815"/>
                  </a:lnTo>
                  <a:lnTo>
                    <a:pt x="2781" y="2819"/>
                  </a:lnTo>
                  <a:lnTo>
                    <a:pt x="2783" y="2820"/>
                  </a:lnTo>
                  <a:lnTo>
                    <a:pt x="2781" y="2820"/>
                  </a:lnTo>
                  <a:lnTo>
                    <a:pt x="2780" y="2820"/>
                  </a:lnTo>
                  <a:lnTo>
                    <a:pt x="2781" y="2820"/>
                  </a:lnTo>
                  <a:lnTo>
                    <a:pt x="2783" y="2820"/>
                  </a:lnTo>
                  <a:lnTo>
                    <a:pt x="2783" y="2822"/>
                  </a:lnTo>
                  <a:lnTo>
                    <a:pt x="2783" y="2824"/>
                  </a:lnTo>
                  <a:lnTo>
                    <a:pt x="2783" y="2825"/>
                  </a:lnTo>
                  <a:lnTo>
                    <a:pt x="2781" y="2825"/>
                  </a:lnTo>
                  <a:lnTo>
                    <a:pt x="2780" y="2825"/>
                  </a:lnTo>
                  <a:lnTo>
                    <a:pt x="2781" y="2827"/>
                  </a:lnTo>
                  <a:lnTo>
                    <a:pt x="2780" y="2827"/>
                  </a:lnTo>
                  <a:lnTo>
                    <a:pt x="2780" y="2828"/>
                  </a:lnTo>
                  <a:lnTo>
                    <a:pt x="2778" y="2830"/>
                  </a:lnTo>
                  <a:lnTo>
                    <a:pt x="2780" y="2830"/>
                  </a:lnTo>
                  <a:lnTo>
                    <a:pt x="2780" y="2828"/>
                  </a:lnTo>
                  <a:lnTo>
                    <a:pt x="2781" y="2828"/>
                  </a:lnTo>
                  <a:lnTo>
                    <a:pt x="2781" y="2827"/>
                  </a:lnTo>
                  <a:lnTo>
                    <a:pt x="2781" y="2825"/>
                  </a:lnTo>
                  <a:lnTo>
                    <a:pt x="2783" y="2824"/>
                  </a:lnTo>
                  <a:lnTo>
                    <a:pt x="2785" y="2824"/>
                  </a:lnTo>
                  <a:lnTo>
                    <a:pt x="2786" y="2824"/>
                  </a:lnTo>
                  <a:lnTo>
                    <a:pt x="2786" y="2825"/>
                  </a:lnTo>
                  <a:lnTo>
                    <a:pt x="2786" y="2827"/>
                  </a:lnTo>
                  <a:lnTo>
                    <a:pt x="2786" y="2828"/>
                  </a:lnTo>
                  <a:lnTo>
                    <a:pt x="2783" y="2832"/>
                  </a:lnTo>
                  <a:lnTo>
                    <a:pt x="2781" y="2832"/>
                  </a:lnTo>
                  <a:lnTo>
                    <a:pt x="2780" y="2832"/>
                  </a:lnTo>
                  <a:lnTo>
                    <a:pt x="2780" y="2833"/>
                  </a:lnTo>
                  <a:lnTo>
                    <a:pt x="2778" y="2835"/>
                  </a:lnTo>
                  <a:lnTo>
                    <a:pt x="2778" y="2837"/>
                  </a:lnTo>
                  <a:lnTo>
                    <a:pt x="2780" y="2837"/>
                  </a:lnTo>
                  <a:lnTo>
                    <a:pt x="2780" y="2838"/>
                  </a:lnTo>
                  <a:lnTo>
                    <a:pt x="2781" y="2838"/>
                  </a:lnTo>
                  <a:lnTo>
                    <a:pt x="2780" y="2838"/>
                  </a:lnTo>
                  <a:lnTo>
                    <a:pt x="2783" y="2838"/>
                  </a:lnTo>
                  <a:lnTo>
                    <a:pt x="2785" y="2840"/>
                  </a:lnTo>
                  <a:lnTo>
                    <a:pt x="2786" y="2840"/>
                  </a:lnTo>
                  <a:lnTo>
                    <a:pt x="2788" y="2840"/>
                  </a:lnTo>
                  <a:lnTo>
                    <a:pt x="2789" y="2840"/>
                  </a:lnTo>
                  <a:lnTo>
                    <a:pt x="2791" y="2840"/>
                  </a:lnTo>
                  <a:lnTo>
                    <a:pt x="2793" y="2841"/>
                  </a:lnTo>
                  <a:lnTo>
                    <a:pt x="2794" y="2843"/>
                  </a:lnTo>
                  <a:lnTo>
                    <a:pt x="2796" y="2843"/>
                  </a:lnTo>
                  <a:lnTo>
                    <a:pt x="2799" y="2843"/>
                  </a:lnTo>
                  <a:lnTo>
                    <a:pt x="2801" y="2845"/>
                  </a:lnTo>
                  <a:lnTo>
                    <a:pt x="2804" y="2845"/>
                  </a:lnTo>
                  <a:lnTo>
                    <a:pt x="2804" y="2846"/>
                  </a:lnTo>
                  <a:lnTo>
                    <a:pt x="2806" y="2848"/>
                  </a:lnTo>
                  <a:lnTo>
                    <a:pt x="2807" y="2850"/>
                  </a:lnTo>
                  <a:lnTo>
                    <a:pt x="2809" y="2851"/>
                  </a:lnTo>
                  <a:lnTo>
                    <a:pt x="2811" y="2855"/>
                  </a:lnTo>
                  <a:lnTo>
                    <a:pt x="2812" y="2856"/>
                  </a:lnTo>
                  <a:lnTo>
                    <a:pt x="2814" y="2858"/>
                  </a:lnTo>
                  <a:lnTo>
                    <a:pt x="2816" y="2859"/>
                  </a:lnTo>
                  <a:lnTo>
                    <a:pt x="2816" y="2861"/>
                  </a:lnTo>
                  <a:lnTo>
                    <a:pt x="2817" y="2863"/>
                  </a:lnTo>
                  <a:lnTo>
                    <a:pt x="2819" y="2864"/>
                  </a:lnTo>
                  <a:lnTo>
                    <a:pt x="2819" y="2866"/>
                  </a:lnTo>
                  <a:lnTo>
                    <a:pt x="2820" y="2866"/>
                  </a:lnTo>
                  <a:lnTo>
                    <a:pt x="2822" y="2868"/>
                  </a:lnTo>
                  <a:lnTo>
                    <a:pt x="2822" y="2869"/>
                  </a:lnTo>
                  <a:lnTo>
                    <a:pt x="2824" y="2871"/>
                  </a:lnTo>
                  <a:lnTo>
                    <a:pt x="2825" y="2871"/>
                  </a:lnTo>
                  <a:lnTo>
                    <a:pt x="2825" y="2872"/>
                  </a:lnTo>
                  <a:lnTo>
                    <a:pt x="2825" y="2874"/>
                  </a:lnTo>
                  <a:lnTo>
                    <a:pt x="2827" y="2874"/>
                  </a:lnTo>
                  <a:lnTo>
                    <a:pt x="2825" y="2874"/>
                  </a:lnTo>
                  <a:lnTo>
                    <a:pt x="2827" y="2874"/>
                  </a:lnTo>
                  <a:lnTo>
                    <a:pt x="2827" y="2876"/>
                  </a:lnTo>
                  <a:lnTo>
                    <a:pt x="2829" y="2877"/>
                  </a:lnTo>
                  <a:lnTo>
                    <a:pt x="2830" y="2879"/>
                  </a:lnTo>
                  <a:lnTo>
                    <a:pt x="2830" y="2881"/>
                  </a:lnTo>
                  <a:lnTo>
                    <a:pt x="2830" y="2882"/>
                  </a:lnTo>
                  <a:lnTo>
                    <a:pt x="2830" y="2879"/>
                  </a:lnTo>
                  <a:lnTo>
                    <a:pt x="2829" y="2879"/>
                  </a:lnTo>
                  <a:lnTo>
                    <a:pt x="2829" y="2877"/>
                  </a:lnTo>
                  <a:lnTo>
                    <a:pt x="2827" y="2877"/>
                  </a:lnTo>
                  <a:lnTo>
                    <a:pt x="2827" y="2876"/>
                  </a:lnTo>
                  <a:lnTo>
                    <a:pt x="2825" y="2876"/>
                  </a:lnTo>
                  <a:lnTo>
                    <a:pt x="2825" y="2874"/>
                  </a:lnTo>
                  <a:lnTo>
                    <a:pt x="2824" y="2874"/>
                  </a:lnTo>
                  <a:lnTo>
                    <a:pt x="2824" y="2872"/>
                  </a:lnTo>
                  <a:lnTo>
                    <a:pt x="2822" y="2871"/>
                  </a:lnTo>
                  <a:lnTo>
                    <a:pt x="2824" y="2871"/>
                  </a:lnTo>
                  <a:lnTo>
                    <a:pt x="2822" y="2871"/>
                  </a:lnTo>
                  <a:lnTo>
                    <a:pt x="2822" y="2869"/>
                  </a:lnTo>
                  <a:lnTo>
                    <a:pt x="2822" y="2871"/>
                  </a:lnTo>
                  <a:lnTo>
                    <a:pt x="2820" y="2871"/>
                  </a:lnTo>
                  <a:lnTo>
                    <a:pt x="2820" y="2869"/>
                  </a:lnTo>
                  <a:lnTo>
                    <a:pt x="2822" y="2869"/>
                  </a:lnTo>
                  <a:lnTo>
                    <a:pt x="2820" y="2868"/>
                  </a:lnTo>
                  <a:lnTo>
                    <a:pt x="2820" y="2869"/>
                  </a:lnTo>
                  <a:lnTo>
                    <a:pt x="2820" y="2868"/>
                  </a:lnTo>
                  <a:lnTo>
                    <a:pt x="2819" y="2868"/>
                  </a:lnTo>
                  <a:lnTo>
                    <a:pt x="2817" y="2868"/>
                  </a:lnTo>
                  <a:lnTo>
                    <a:pt x="2819" y="2866"/>
                  </a:lnTo>
                  <a:lnTo>
                    <a:pt x="2817" y="2866"/>
                  </a:lnTo>
                  <a:lnTo>
                    <a:pt x="2819" y="2866"/>
                  </a:lnTo>
                  <a:lnTo>
                    <a:pt x="2819" y="2864"/>
                  </a:lnTo>
                  <a:lnTo>
                    <a:pt x="2817" y="2864"/>
                  </a:lnTo>
                  <a:lnTo>
                    <a:pt x="2817" y="2866"/>
                  </a:lnTo>
                  <a:lnTo>
                    <a:pt x="2816" y="2866"/>
                  </a:lnTo>
                  <a:lnTo>
                    <a:pt x="2816" y="2864"/>
                  </a:lnTo>
                  <a:lnTo>
                    <a:pt x="2817" y="2864"/>
                  </a:lnTo>
                  <a:lnTo>
                    <a:pt x="2816" y="2863"/>
                  </a:lnTo>
                  <a:lnTo>
                    <a:pt x="2816" y="2864"/>
                  </a:lnTo>
                  <a:lnTo>
                    <a:pt x="2814" y="2864"/>
                  </a:lnTo>
                  <a:lnTo>
                    <a:pt x="2814" y="2863"/>
                  </a:lnTo>
                  <a:lnTo>
                    <a:pt x="2814" y="2861"/>
                  </a:lnTo>
                  <a:lnTo>
                    <a:pt x="2814" y="2859"/>
                  </a:lnTo>
                  <a:lnTo>
                    <a:pt x="2814" y="2861"/>
                  </a:lnTo>
                  <a:lnTo>
                    <a:pt x="2812" y="2859"/>
                  </a:lnTo>
                  <a:lnTo>
                    <a:pt x="2812" y="2858"/>
                  </a:lnTo>
                  <a:lnTo>
                    <a:pt x="2812" y="2859"/>
                  </a:lnTo>
                  <a:lnTo>
                    <a:pt x="2811" y="2859"/>
                  </a:lnTo>
                  <a:lnTo>
                    <a:pt x="2809" y="2858"/>
                  </a:lnTo>
                  <a:lnTo>
                    <a:pt x="2811" y="2858"/>
                  </a:lnTo>
                  <a:lnTo>
                    <a:pt x="2811" y="2856"/>
                  </a:lnTo>
                  <a:lnTo>
                    <a:pt x="2811" y="2855"/>
                  </a:lnTo>
                  <a:lnTo>
                    <a:pt x="2809" y="2856"/>
                  </a:lnTo>
                  <a:lnTo>
                    <a:pt x="2809" y="2855"/>
                  </a:lnTo>
                  <a:lnTo>
                    <a:pt x="2807" y="2855"/>
                  </a:lnTo>
                  <a:lnTo>
                    <a:pt x="2809" y="2855"/>
                  </a:lnTo>
                  <a:lnTo>
                    <a:pt x="2809" y="2853"/>
                  </a:lnTo>
                  <a:lnTo>
                    <a:pt x="2807" y="2855"/>
                  </a:lnTo>
                  <a:lnTo>
                    <a:pt x="2807" y="2853"/>
                  </a:lnTo>
                  <a:lnTo>
                    <a:pt x="2806" y="2853"/>
                  </a:lnTo>
                  <a:lnTo>
                    <a:pt x="2804" y="2853"/>
                  </a:lnTo>
                  <a:lnTo>
                    <a:pt x="2804" y="2851"/>
                  </a:lnTo>
                  <a:lnTo>
                    <a:pt x="2802" y="2851"/>
                  </a:lnTo>
                  <a:lnTo>
                    <a:pt x="2802" y="2850"/>
                  </a:lnTo>
                  <a:lnTo>
                    <a:pt x="2801" y="2851"/>
                  </a:lnTo>
                  <a:lnTo>
                    <a:pt x="2799" y="2851"/>
                  </a:lnTo>
                  <a:lnTo>
                    <a:pt x="2799" y="2853"/>
                  </a:lnTo>
                  <a:lnTo>
                    <a:pt x="2801" y="2853"/>
                  </a:lnTo>
                  <a:lnTo>
                    <a:pt x="2802" y="2853"/>
                  </a:lnTo>
                  <a:lnTo>
                    <a:pt x="2804" y="2853"/>
                  </a:lnTo>
                  <a:lnTo>
                    <a:pt x="2804" y="2855"/>
                  </a:lnTo>
                  <a:lnTo>
                    <a:pt x="2804" y="2856"/>
                  </a:lnTo>
                  <a:lnTo>
                    <a:pt x="2806" y="2856"/>
                  </a:lnTo>
                  <a:lnTo>
                    <a:pt x="2807" y="2856"/>
                  </a:lnTo>
                  <a:lnTo>
                    <a:pt x="2807" y="2858"/>
                  </a:lnTo>
                  <a:lnTo>
                    <a:pt x="2807" y="2859"/>
                  </a:lnTo>
                  <a:lnTo>
                    <a:pt x="2807" y="2861"/>
                  </a:lnTo>
                  <a:lnTo>
                    <a:pt x="2807" y="2863"/>
                  </a:lnTo>
                  <a:lnTo>
                    <a:pt x="2807" y="2861"/>
                  </a:lnTo>
                  <a:lnTo>
                    <a:pt x="2809" y="2861"/>
                  </a:lnTo>
                  <a:lnTo>
                    <a:pt x="2809" y="2863"/>
                  </a:lnTo>
                  <a:lnTo>
                    <a:pt x="2809" y="2864"/>
                  </a:lnTo>
                  <a:lnTo>
                    <a:pt x="2807" y="2864"/>
                  </a:lnTo>
                  <a:lnTo>
                    <a:pt x="2807" y="2866"/>
                  </a:lnTo>
                  <a:lnTo>
                    <a:pt x="2809" y="2864"/>
                  </a:lnTo>
                  <a:lnTo>
                    <a:pt x="2809" y="2866"/>
                  </a:lnTo>
                  <a:lnTo>
                    <a:pt x="2809" y="2868"/>
                  </a:lnTo>
                  <a:lnTo>
                    <a:pt x="2811" y="2868"/>
                  </a:lnTo>
                  <a:lnTo>
                    <a:pt x="2809" y="2869"/>
                  </a:lnTo>
                  <a:lnTo>
                    <a:pt x="2811" y="2869"/>
                  </a:lnTo>
                  <a:lnTo>
                    <a:pt x="2811" y="2871"/>
                  </a:lnTo>
                  <a:lnTo>
                    <a:pt x="2811" y="2872"/>
                  </a:lnTo>
                  <a:lnTo>
                    <a:pt x="2811" y="2871"/>
                  </a:lnTo>
                  <a:lnTo>
                    <a:pt x="2811" y="2872"/>
                  </a:lnTo>
                  <a:lnTo>
                    <a:pt x="2812" y="2872"/>
                  </a:lnTo>
                  <a:lnTo>
                    <a:pt x="2812" y="2874"/>
                  </a:lnTo>
                  <a:lnTo>
                    <a:pt x="2812" y="2876"/>
                  </a:lnTo>
                  <a:lnTo>
                    <a:pt x="2812" y="2874"/>
                  </a:lnTo>
                  <a:lnTo>
                    <a:pt x="2814" y="2876"/>
                  </a:lnTo>
                  <a:lnTo>
                    <a:pt x="2812" y="2876"/>
                  </a:lnTo>
                  <a:lnTo>
                    <a:pt x="2812" y="2877"/>
                  </a:lnTo>
                  <a:lnTo>
                    <a:pt x="2812" y="2876"/>
                  </a:lnTo>
                  <a:lnTo>
                    <a:pt x="2811" y="2876"/>
                  </a:lnTo>
                  <a:lnTo>
                    <a:pt x="2812" y="2876"/>
                  </a:lnTo>
                  <a:lnTo>
                    <a:pt x="2812" y="2874"/>
                  </a:lnTo>
                  <a:lnTo>
                    <a:pt x="2811" y="2874"/>
                  </a:lnTo>
                  <a:lnTo>
                    <a:pt x="2811" y="2872"/>
                  </a:lnTo>
                  <a:lnTo>
                    <a:pt x="2809" y="2872"/>
                  </a:lnTo>
                  <a:lnTo>
                    <a:pt x="2811" y="2874"/>
                  </a:lnTo>
                  <a:lnTo>
                    <a:pt x="2811" y="2876"/>
                  </a:lnTo>
                  <a:lnTo>
                    <a:pt x="2809" y="2874"/>
                  </a:lnTo>
                  <a:lnTo>
                    <a:pt x="2809" y="2872"/>
                  </a:lnTo>
                  <a:lnTo>
                    <a:pt x="2809" y="2874"/>
                  </a:lnTo>
                  <a:lnTo>
                    <a:pt x="2809" y="2872"/>
                  </a:lnTo>
                  <a:lnTo>
                    <a:pt x="2807" y="2872"/>
                  </a:lnTo>
                  <a:lnTo>
                    <a:pt x="2807" y="2874"/>
                  </a:lnTo>
                  <a:lnTo>
                    <a:pt x="2809" y="2876"/>
                  </a:lnTo>
                  <a:lnTo>
                    <a:pt x="2809" y="2879"/>
                  </a:lnTo>
                  <a:lnTo>
                    <a:pt x="2811" y="2881"/>
                  </a:lnTo>
                  <a:lnTo>
                    <a:pt x="2811" y="2882"/>
                  </a:lnTo>
                  <a:lnTo>
                    <a:pt x="2811" y="2884"/>
                  </a:lnTo>
                  <a:lnTo>
                    <a:pt x="2811" y="2882"/>
                  </a:lnTo>
                  <a:lnTo>
                    <a:pt x="2811" y="2881"/>
                  </a:lnTo>
                  <a:lnTo>
                    <a:pt x="2811" y="2882"/>
                  </a:lnTo>
                  <a:lnTo>
                    <a:pt x="2812" y="2884"/>
                  </a:lnTo>
                  <a:lnTo>
                    <a:pt x="2812" y="2885"/>
                  </a:lnTo>
                  <a:lnTo>
                    <a:pt x="2812" y="2884"/>
                  </a:lnTo>
                  <a:lnTo>
                    <a:pt x="2812" y="2885"/>
                  </a:lnTo>
                  <a:lnTo>
                    <a:pt x="2811" y="2885"/>
                  </a:lnTo>
                  <a:lnTo>
                    <a:pt x="2812" y="2885"/>
                  </a:lnTo>
                  <a:lnTo>
                    <a:pt x="2812" y="2887"/>
                  </a:lnTo>
                  <a:lnTo>
                    <a:pt x="2811" y="2887"/>
                  </a:lnTo>
                  <a:lnTo>
                    <a:pt x="2812" y="2887"/>
                  </a:lnTo>
                  <a:lnTo>
                    <a:pt x="2811" y="2889"/>
                  </a:lnTo>
                  <a:lnTo>
                    <a:pt x="2811" y="2887"/>
                  </a:lnTo>
                  <a:lnTo>
                    <a:pt x="2811" y="2885"/>
                  </a:lnTo>
                  <a:lnTo>
                    <a:pt x="2809" y="2885"/>
                  </a:lnTo>
                  <a:lnTo>
                    <a:pt x="2809" y="2884"/>
                  </a:lnTo>
                  <a:lnTo>
                    <a:pt x="2809" y="2882"/>
                  </a:lnTo>
                  <a:lnTo>
                    <a:pt x="2807" y="2884"/>
                  </a:lnTo>
                  <a:lnTo>
                    <a:pt x="2807" y="2885"/>
                  </a:lnTo>
                  <a:lnTo>
                    <a:pt x="2809" y="2887"/>
                  </a:lnTo>
                  <a:lnTo>
                    <a:pt x="2807" y="2887"/>
                  </a:lnTo>
                  <a:lnTo>
                    <a:pt x="2806" y="2885"/>
                  </a:lnTo>
                  <a:lnTo>
                    <a:pt x="2806" y="2884"/>
                  </a:lnTo>
                  <a:lnTo>
                    <a:pt x="2804" y="2884"/>
                  </a:lnTo>
                  <a:lnTo>
                    <a:pt x="2804" y="2885"/>
                  </a:lnTo>
                  <a:lnTo>
                    <a:pt x="2804" y="2887"/>
                  </a:lnTo>
                  <a:lnTo>
                    <a:pt x="2802" y="2887"/>
                  </a:lnTo>
                  <a:lnTo>
                    <a:pt x="2804" y="2887"/>
                  </a:lnTo>
                  <a:lnTo>
                    <a:pt x="2804" y="2885"/>
                  </a:lnTo>
                  <a:lnTo>
                    <a:pt x="2804" y="2887"/>
                  </a:lnTo>
                  <a:lnTo>
                    <a:pt x="2802" y="2887"/>
                  </a:lnTo>
                  <a:lnTo>
                    <a:pt x="2804" y="2889"/>
                  </a:lnTo>
                  <a:lnTo>
                    <a:pt x="2806" y="2889"/>
                  </a:lnTo>
                  <a:lnTo>
                    <a:pt x="2806" y="2890"/>
                  </a:lnTo>
                  <a:lnTo>
                    <a:pt x="2806" y="2889"/>
                  </a:lnTo>
                  <a:lnTo>
                    <a:pt x="2806" y="2890"/>
                  </a:lnTo>
                  <a:lnTo>
                    <a:pt x="2806" y="2892"/>
                  </a:lnTo>
                  <a:lnTo>
                    <a:pt x="2806" y="2894"/>
                  </a:lnTo>
                  <a:lnTo>
                    <a:pt x="2806" y="2895"/>
                  </a:lnTo>
                  <a:lnTo>
                    <a:pt x="2804" y="2897"/>
                  </a:lnTo>
                  <a:lnTo>
                    <a:pt x="2806" y="2897"/>
                  </a:lnTo>
                  <a:lnTo>
                    <a:pt x="2806" y="2895"/>
                  </a:lnTo>
                  <a:lnTo>
                    <a:pt x="2806" y="2897"/>
                  </a:lnTo>
                  <a:lnTo>
                    <a:pt x="2806" y="2898"/>
                  </a:lnTo>
                  <a:lnTo>
                    <a:pt x="2806" y="2897"/>
                  </a:lnTo>
                  <a:lnTo>
                    <a:pt x="2806" y="2895"/>
                  </a:lnTo>
                  <a:lnTo>
                    <a:pt x="2807" y="2895"/>
                  </a:lnTo>
                  <a:lnTo>
                    <a:pt x="2807" y="2897"/>
                  </a:lnTo>
                  <a:lnTo>
                    <a:pt x="2807" y="2898"/>
                  </a:lnTo>
                  <a:lnTo>
                    <a:pt x="2807" y="2900"/>
                  </a:lnTo>
                  <a:lnTo>
                    <a:pt x="2809" y="2900"/>
                  </a:lnTo>
                  <a:lnTo>
                    <a:pt x="2809" y="2902"/>
                  </a:lnTo>
                  <a:lnTo>
                    <a:pt x="2807" y="2902"/>
                  </a:lnTo>
                  <a:lnTo>
                    <a:pt x="2807" y="2900"/>
                  </a:lnTo>
                  <a:lnTo>
                    <a:pt x="2806" y="2900"/>
                  </a:lnTo>
                  <a:lnTo>
                    <a:pt x="2807" y="2902"/>
                  </a:lnTo>
                  <a:lnTo>
                    <a:pt x="2809" y="2903"/>
                  </a:lnTo>
                  <a:lnTo>
                    <a:pt x="2807" y="2902"/>
                  </a:lnTo>
                  <a:lnTo>
                    <a:pt x="2804" y="2898"/>
                  </a:lnTo>
                  <a:lnTo>
                    <a:pt x="2804" y="2900"/>
                  </a:lnTo>
                  <a:lnTo>
                    <a:pt x="2806" y="2900"/>
                  </a:lnTo>
                  <a:lnTo>
                    <a:pt x="2806" y="2902"/>
                  </a:lnTo>
                  <a:lnTo>
                    <a:pt x="2807" y="2903"/>
                  </a:lnTo>
                  <a:lnTo>
                    <a:pt x="2806" y="2903"/>
                  </a:lnTo>
                  <a:lnTo>
                    <a:pt x="2807" y="2903"/>
                  </a:lnTo>
                  <a:lnTo>
                    <a:pt x="2807" y="2905"/>
                  </a:lnTo>
                  <a:lnTo>
                    <a:pt x="2807" y="2907"/>
                  </a:lnTo>
                  <a:lnTo>
                    <a:pt x="2809" y="2907"/>
                  </a:lnTo>
                  <a:lnTo>
                    <a:pt x="2809" y="2911"/>
                  </a:lnTo>
                  <a:lnTo>
                    <a:pt x="2809" y="2913"/>
                  </a:lnTo>
                  <a:lnTo>
                    <a:pt x="2811" y="2913"/>
                  </a:lnTo>
                  <a:lnTo>
                    <a:pt x="2811" y="2915"/>
                  </a:lnTo>
                  <a:lnTo>
                    <a:pt x="2811" y="2916"/>
                  </a:lnTo>
                  <a:lnTo>
                    <a:pt x="2812" y="2916"/>
                  </a:lnTo>
                  <a:lnTo>
                    <a:pt x="2812" y="2918"/>
                  </a:lnTo>
                  <a:lnTo>
                    <a:pt x="2812" y="2920"/>
                  </a:lnTo>
                  <a:lnTo>
                    <a:pt x="2811" y="2920"/>
                  </a:lnTo>
                  <a:lnTo>
                    <a:pt x="2811" y="2921"/>
                  </a:lnTo>
                  <a:lnTo>
                    <a:pt x="2812" y="2920"/>
                  </a:lnTo>
                  <a:lnTo>
                    <a:pt x="2812" y="2921"/>
                  </a:lnTo>
                  <a:lnTo>
                    <a:pt x="2812" y="2923"/>
                  </a:lnTo>
                  <a:lnTo>
                    <a:pt x="2814" y="2923"/>
                  </a:lnTo>
                  <a:lnTo>
                    <a:pt x="2814" y="2924"/>
                  </a:lnTo>
                  <a:lnTo>
                    <a:pt x="2814" y="2926"/>
                  </a:lnTo>
                  <a:lnTo>
                    <a:pt x="2816" y="2926"/>
                  </a:lnTo>
                  <a:lnTo>
                    <a:pt x="2816" y="2928"/>
                  </a:lnTo>
                  <a:lnTo>
                    <a:pt x="2816" y="2929"/>
                  </a:lnTo>
                  <a:lnTo>
                    <a:pt x="2816" y="2931"/>
                  </a:lnTo>
                  <a:lnTo>
                    <a:pt x="2814" y="2929"/>
                  </a:lnTo>
                  <a:lnTo>
                    <a:pt x="2814" y="2928"/>
                  </a:lnTo>
                  <a:lnTo>
                    <a:pt x="2812" y="2928"/>
                  </a:lnTo>
                  <a:lnTo>
                    <a:pt x="2812" y="2926"/>
                  </a:lnTo>
                  <a:lnTo>
                    <a:pt x="2811" y="2924"/>
                  </a:lnTo>
                  <a:lnTo>
                    <a:pt x="2809" y="2924"/>
                  </a:lnTo>
                  <a:lnTo>
                    <a:pt x="2809" y="2923"/>
                  </a:lnTo>
                  <a:lnTo>
                    <a:pt x="2809" y="2924"/>
                  </a:lnTo>
                  <a:lnTo>
                    <a:pt x="2809" y="2926"/>
                  </a:lnTo>
                  <a:lnTo>
                    <a:pt x="2809" y="2928"/>
                  </a:lnTo>
                  <a:lnTo>
                    <a:pt x="2811" y="2928"/>
                  </a:lnTo>
                  <a:lnTo>
                    <a:pt x="2809" y="2928"/>
                  </a:lnTo>
                  <a:lnTo>
                    <a:pt x="2811" y="2929"/>
                  </a:lnTo>
                  <a:lnTo>
                    <a:pt x="2812" y="2931"/>
                  </a:lnTo>
                  <a:lnTo>
                    <a:pt x="2812" y="2933"/>
                  </a:lnTo>
                  <a:lnTo>
                    <a:pt x="2811" y="2931"/>
                  </a:lnTo>
                  <a:lnTo>
                    <a:pt x="2811" y="2933"/>
                  </a:lnTo>
                  <a:lnTo>
                    <a:pt x="2812" y="2933"/>
                  </a:lnTo>
                  <a:lnTo>
                    <a:pt x="2812" y="2934"/>
                  </a:lnTo>
                  <a:lnTo>
                    <a:pt x="2811" y="2934"/>
                  </a:lnTo>
                  <a:lnTo>
                    <a:pt x="2812" y="2934"/>
                  </a:lnTo>
                  <a:lnTo>
                    <a:pt x="2812" y="2936"/>
                  </a:lnTo>
                  <a:lnTo>
                    <a:pt x="2812" y="2937"/>
                  </a:lnTo>
                  <a:lnTo>
                    <a:pt x="2812" y="2936"/>
                  </a:lnTo>
                  <a:lnTo>
                    <a:pt x="2811" y="2937"/>
                  </a:lnTo>
                  <a:lnTo>
                    <a:pt x="2811" y="2936"/>
                  </a:lnTo>
                  <a:lnTo>
                    <a:pt x="2809" y="2936"/>
                  </a:lnTo>
                  <a:lnTo>
                    <a:pt x="2809" y="2934"/>
                  </a:lnTo>
                  <a:lnTo>
                    <a:pt x="2807" y="2934"/>
                  </a:lnTo>
                  <a:lnTo>
                    <a:pt x="2809" y="2936"/>
                  </a:lnTo>
                  <a:lnTo>
                    <a:pt x="2811" y="2937"/>
                  </a:lnTo>
                  <a:lnTo>
                    <a:pt x="2811" y="2939"/>
                  </a:lnTo>
                  <a:lnTo>
                    <a:pt x="2812" y="2939"/>
                  </a:lnTo>
                  <a:lnTo>
                    <a:pt x="2811" y="2941"/>
                  </a:lnTo>
                  <a:lnTo>
                    <a:pt x="2812" y="2941"/>
                  </a:lnTo>
                  <a:lnTo>
                    <a:pt x="2811" y="2941"/>
                  </a:lnTo>
                  <a:lnTo>
                    <a:pt x="2811" y="2942"/>
                  </a:lnTo>
                  <a:lnTo>
                    <a:pt x="2809" y="2942"/>
                  </a:lnTo>
                  <a:lnTo>
                    <a:pt x="2809" y="2944"/>
                  </a:lnTo>
                  <a:lnTo>
                    <a:pt x="2809" y="2946"/>
                  </a:lnTo>
                  <a:lnTo>
                    <a:pt x="2811" y="2944"/>
                  </a:lnTo>
                  <a:lnTo>
                    <a:pt x="2811" y="2942"/>
                  </a:lnTo>
                  <a:lnTo>
                    <a:pt x="2811" y="2944"/>
                  </a:lnTo>
                  <a:lnTo>
                    <a:pt x="2812" y="2944"/>
                  </a:lnTo>
                  <a:lnTo>
                    <a:pt x="2811" y="2944"/>
                  </a:lnTo>
                  <a:lnTo>
                    <a:pt x="2811" y="2946"/>
                  </a:lnTo>
                  <a:lnTo>
                    <a:pt x="2812" y="2946"/>
                  </a:lnTo>
                  <a:lnTo>
                    <a:pt x="2812" y="2947"/>
                  </a:lnTo>
                  <a:lnTo>
                    <a:pt x="2812" y="2949"/>
                  </a:lnTo>
                  <a:lnTo>
                    <a:pt x="2811" y="2949"/>
                  </a:lnTo>
                  <a:lnTo>
                    <a:pt x="2811" y="2947"/>
                  </a:lnTo>
                  <a:lnTo>
                    <a:pt x="2809" y="2949"/>
                  </a:lnTo>
                  <a:lnTo>
                    <a:pt x="2811" y="2949"/>
                  </a:lnTo>
                  <a:lnTo>
                    <a:pt x="2811" y="2950"/>
                  </a:lnTo>
                  <a:lnTo>
                    <a:pt x="2811" y="2952"/>
                  </a:lnTo>
                  <a:lnTo>
                    <a:pt x="2811" y="2954"/>
                  </a:lnTo>
                  <a:lnTo>
                    <a:pt x="2812" y="2955"/>
                  </a:lnTo>
                  <a:lnTo>
                    <a:pt x="2812" y="2957"/>
                  </a:lnTo>
                  <a:lnTo>
                    <a:pt x="2814" y="2959"/>
                  </a:lnTo>
                  <a:lnTo>
                    <a:pt x="2814" y="2960"/>
                  </a:lnTo>
                  <a:lnTo>
                    <a:pt x="2814" y="2962"/>
                  </a:lnTo>
                  <a:lnTo>
                    <a:pt x="2812" y="2962"/>
                  </a:lnTo>
                  <a:lnTo>
                    <a:pt x="2812" y="2963"/>
                  </a:lnTo>
                  <a:lnTo>
                    <a:pt x="2814" y="2967"/>
                  </a:lnTo>
                  <a:lnTo>
                    <a:pt x="2816" y="2967"/>
                  </a:lnTo>
                  <a:lnTo>
                    <a:pt x="2816" y="2968"/>
                  </a:lnTo>
                  <a:lnTo>
                    <a:pt x="2814" y="2967"/>
                  </a:lnTo>
                  <a:lnTo>
                    <a:pt x="2814" y="2968"/>
                  </a:lnTo>
                  <a:lnTo>
                    <a:pt x="2816" y="2968"/>
                  </a:lnTo>
                  <a:lnTo>
                    <a:pt x="2816" y="2970"/>
                  </a:lnTo>
                  <a:lnTo>
                    <a:pt x="2817" y="2972"/>
                  </a:lnTo>
                  <a:lnTo>
                    <a:pt x="2817" y="2973"/>
                  </a:lnTo>
                  <a:lnTo>
                    <a:pt x="2817" y="2975"/>
                  </a:lnTo>
                  <a:lnTo>
                    <a:pt x="2817" y="2973"/>
                  </a:lnTo>
                  <a:lnTo>
                    <a:pt x="2817" y="2975"/>
                  </a:lnTo>
                  <a:lnTo>
                    <a:pt x="2819" y="2975"/>
                  </a:lnTo>
                  <a:lnTo>
                    <a:pt x="2820" y="2976"/>
                  </a:lnTo>
                  <a:lnTo>
                    <a:pt x="2822" y="2975"/>
                  </a:lnTo>
                  <a:lnTo>
                    <a:pt x="2822" y="2976"/>
                  </a:lnTo>
                  <a:lnTo>
                    <a:pt x="2822" y="2978"/>
                  </a:lnTo>
                  <a:lnTo>
                    <a:pt x="2822" y="2980"/>
                  </a:lnTo>
                  <a:lnTo>
                    <a:pt x="2822" y="2978"/>
                  </a:lnTo>
                  <a:lnTo>
                    <a:pt x="2820" y="2978"/>
                  </a:lnTo>
                  <a:lnTo>
                    <a:pt x="2822" y="2978"/>
                  </a:lnTo>
                  <a:lnTo>
                    <a:pt x="2820" y="2978"/>
                  </a:lnTo>
                  <a:lnTo>
                    <a:pt x="2819" y="2978"/>
                  </a:lnTo>
                  <a:lnTo>
                    <a:pt x="2817" y="2978"/>
                  </a:lnTo>
                  <a:lnTo>
                    <a:pt x="2817" y="2980"/>
                  </a:lnTo>
                  <a:lnTo>
                    <a:pt x="2817" y="2981"/>
                  </a:lnTo>
                  <a:lnTo>
                    <a:pt x="2817" y="2985"/>
                  </a:lnTo>
                  <a:lnTo>
                    <a:pt x="2817" y="2983"/>
                  </a:lnTo>
                  <a:lnTo>
                    <a:pt x="2817" y="2985"/>
                  </a:lnTo>
                  <a:lnTo>
                    <a:pt x="2819" y="2985"/>
                  </a:lnTo>
                  <a:lnTo>
                    <a:pt x="2819" y="2986"/>
                  </a:lnTo>
                  <a:lnTo>
                    <a:pt x="2817" y="2988"/>
                  </a:lnTo>
                  <a:lnTo>
                    <a:pt x="2819" y="2988"/>
                  </a:lnTo>
                  <a:lnTo>
                    <a:pt x="2819" y="2989"/>
                  </a:lnTo>
                  <a:lnTo>
                    <a:pt x="2820" y="2989"/>
                  </a:lnTo>
                  <a:lnTo>
                    <a:pt x="2820" y="2991"/>
                  </a:lnTo>
                  <a:lnTo>
                    <a:pt x="2819" y="2991"/>
                  </a:lnTo>
                  <a:lnTo>
                    <a:pt x="2819" y="2989"/>
                  </a:lnTo>
                  <a:lnTo>
                    <a:pt x="2819" y="2991"/>
                  </a:lnTo>
                  <a:lnTo>
                    <a:pt x="2820" y="2991"/>
                  </a:lnTo>
                  <a:lnTo>
                    <a:pt x="2819" y="2991"/>
                  </a:lnTo>
                  <a:lnTo>
                    <a:pt x="2819" y="2993"/>
                  </a:lnTo>
                  <a:lnTo>
                    <a:pt x="2820" y="2991"/>
                  </a:lnTo>
                  <a:lnTo>
                    <a:pt x="2820" y="2993"/>
                  </a:lnTo>
                  <a:lnTo>
                    <a:pt x="2819" y="2993"/>
                  </a:lnTo>
                  <a:lnTo>
                    <a:pt x="2820" y="2994"/>
                  </a:lnTo>
                  <a:lnTo>
                    <a:pt x="2820" y="2993"/>
                  </a:lnTo>
                  <a:lnTo>
                    <a:pt x="2820" y="2994"/>
                  </a:lnTo>
                  <a:lnTo>
                    <a:pt x="2822" y="2994"/>
                  </a:lnTo>
                  <a:lnTo>
                    <a:pt x="2820" y="2996"/>
                  </a:lnTo>
                  <a:lnTo>
                    <a:pt x="2820" y="2994"/>
                  </a:lnTo>
                  <a:lnTo>
                    <a:pt x="2820" y="2996"/>
                  </a:lnTo>
                  <a:lnTo>
                    <a:pt x="2819" y="2996"/>
                  </a:lnTo>
                  <a:lnTo>
                    <a:pt x="2817" y="2996"/>
                  </a:lnTo>
                  <a:lnTo>
                    <a:pt x="2819" y="2998"/>
                  </a:lnTo>
                  <a:lnTo>
                    <a:pt x="2817" y="2996"/>
                  </a:lnTo>
                  <a:lnTo>
                    <a:pt x="2816" y="2996"/>
                  </a:lnTo>
                  <a:lnTo>
                    <a:pt x="2814" y="2996"/>
                  </a:lnTo>
                  <a:lnTo>
                    <a:pt x="2814" y="2994"/>
                  </a:lnTo>
                  <a:lnTo>
                    <a:pt x="2814" y="2996"/>
                  </a:lnTo>
                  <a:lnTo>
                    <a:pt x="2812" y="2994"/>
                  </a:lnTo>
                  <a:lnTo>
                    <a:pt x="2811" y="2993"/>
                  </a:lnTo>
                  <a:lnTo>
                    <a:pt x="2811" y="2994"/>
                  </a:lnTo>
                  <a:lnTo>
                    <a:pt x="2809" y="2993"/>
                  </a:lnTo>
                  <a:lnTo>
                    <a:pt x="2807" y="2993"/>
                  </a:lnTo>
                  <a:lnTo>
                    <a:pt x="2807" y="2991"/>
                  </a:lnTo>
                  <a:lnTo>
                    <a:pt x="2807" y="2993"/>
                  </a:lnTo>
                  <a:lnTo>
                    <a:pt x="2807" y="2991"/>
                  </a:lnTo>
                  <a:lnTo>
                    <a:pt x="2806" y="2991"/>
                  </a:lnTo>
                  <a:lnTo>
                    <a:pt x="2804" y="2991"/>
                  </a:lnTo>
                  <a:lnTo>
                    <a:pt x="2802" y="2993"/>
                  </a:lnTo>
                  <a:lnTo>
                    <a:pt x="2804" y="2993"/>
                  </a:lnTo>
                  <a:lnTo>
                    <a:pt x="2806" y="2993"/>
                  </a:lnTo>
                  <a:lnTo>
                    <a:pt x="2804" y="2994"/>
                  </a:lnTo>
                  <a:lnTo>
                    <a:pt x="2804" y="2996"/>
                  </a:lnTo>
                  <a:lnTo>
                    <a:pt x="2802" y="2996"/>
                  </a:lnTo>
                  <a:lnTo>
                    <a:pt x="2802" y="2998"/>
                  </a:lnTo>
                  <a:lnTo>
                    <a:pt x="2802" y="2999"/>
                  </a:lnTo>
                  <a:lnTo>
                    <a:pt x="2804" y="2999"/>
                  </a:lnTo>
                  <a:lnTo>
                    <a:pt x="2802" y="2999"/>
                  </a:lnTo>
                  <a:lnTo>
                    <a:pt x="2802" y="3001"/>
                  </a:lnTo>
                  <a:lnTo>
                    <a:pt x="2804" y="3001"/>
                  </a:lnTo>
                  <a:lnTo>
                    <a:pt x="2806" y="2999"/>
                  </a:lnTo>
                  <a:lnTo>
                    <a:pt x="2807" y="2998"/>
                  </a:lnTo>
                  <a:lnTo>
                    <a:pt x="2809" y="2998"/>
                  </a:lnTo>
                  <a:lnTo>
                    <a:pt x="2811" y="2998"/>
                  </a:lnTo>
                  <a:lnTo>
                    <a:pt x="2812" y="2999"/>
                  </a:lnTo>
                  <a:lnTo>
                    <a:pt x="2812" y="3001"/>
                  </a:lnTo>
                  <a:lnTo>
                    <a:pt x="2814" y="3001"/>
                  </a:lnTo>
                  <a:lnTo>
                    <a:pt x="2816" y="3001"/>
                  </a:lnTo>
                  <a:lnTo>
                    <a:pt x="2816" y="3003"/>
                  </a:lnTo>
                  <a:lnTo>
                    <a:pt x="2816" y="3004"/>
                  </a:lnTo>
                  <a:lnTo>
                    <a:pt x="2817" y="3004"/>
                  </a:lnTo>
                  <a:lnTo>
                    <a:pt x="2817" y="3006"/>
                  </a:lnTo>
                  <a:lnTo>
                    <a:pt x="2817" y="3007"/>
                  </a:lnTo>
                  <a:lnTo>
                    <a:pt x="2816" y="3007"/>
                  </a:lnTo>
                  <a:lnTo>
                    <a:pt x="2816" y="3009"/>
                  </a:lnTo>
                  <a:lnTo>
                    <a:pt x="2817" y="3009"/>
                  </a:lnTo>
                  <a:lnTo>
                    <a:pt x="2816" y="3009"/>
                  </a:lnTo>
                  <a:lnTo>
                    <a:pt x="2816" y="3011"/>
                  </a:lnTo>
                  <a:lnTo>
                    <a:pt x="2814" y="3011"/>
                  </a:lnTo>
                  <a:lnTo>
                    <a:pt x="2812" y="3009"/>
                  </a:lnTo>
                  <a:lnTo>
                    <a:pt x="2811" y="3009"/>
                  </a:lnTo>
                  <a:lnTo>
                    <a:pt x="2812" y="3009"/>
                  </a:lnTo>
                  <a:lnTo>
                    <a:pt x="2812" y="3011"/>
                  </a:lnTo>
                  <a:lnTo>
                    <a:pt x="2812" y="3009"/>
                  </a:lnTo>
                  <a:lnTo>
                    <a:pt x="2811" y="3009"/>
                  </a:lnTo>
                  <a:lnTo>
                    <a:pt x="2811" y="3007"/>
                  </a:lnTo>
                  <a:lnTo>
                    <a:pt x="2811" y="3009"/>
                  </a:lnTo>
                  <a:lnTo>
                    <a:pt x="2809" y="3007"/>
                  </a:lnTo>
                  <a:lnTo>
                    <a:pt x="2807" y="3007"/>
                  </a:lnTo>
                  <a:lnTo>
                    <a:pt x="2806" y="3007"/>
                  </a:lnTo>
                  <a:lnTo>
                    <a:pt x="2806" y="3009"/>
                  </a:lnTo>
                  <a:lnTo>
                    <a:pt x="2807" y="3009"/>
                  </a:lnTo>
                  <a:lnTo>
                    <a:pt x="2806" y="3011"/>
                  </a:lnTo>
                  <a:lnTo>
                    <a:pt x="2806" y="3012"/>
                  </a:lnTo>
                  <a:lnTo>
                    <a:pt x="2806" y="3014"/>
                  </a:lnTo>
                  <a:lnTo>
                    <a:pt x="2804" y="3014"/>
                  </a:lnTo>
                  <a:lnTo>
                    <a:pt x="2804" y="3016"/>
                  </a:lnTo>
                  <a:lnTo>
                    <a:pt x="2802" y="3016"/>
                  </a:lnTo>
                  <a:lnTo>
                    <a:pt x="2801" y="3016"/>
                  </a:lnTo>
                  <a:lnTo>
                    <a:pt x="2799" y="3016"/>
                  </a:lnTo>
                  <a:lnTo>
                    <a:pt x="2799" y="3014"/>
                  </a:lnTo>
                  <a:lnTo>
                    <a:pt x="2799" y="3016"/>
                  </a:lnTo>
                  <a:lnTo>
                    <a:pt x="2799" y="3017"/>
                  </a:lnTo>
                  <a:lnTo>
                    <a:pt x="2798" y="3017"/>
                  </a:lnTo>
                  <a:lnTo>
                    <a:pt x="2799" y="3019"/>
                  </a:lnTo>
                  <a:lnTo>
                    <a:pt x="2799" y="3020"/>
                  </a:lnTo>
                  <a:lnTo>
                    <a:pt x="2799" y="3022"/>
                  </a:lnTo>
                  <a:lnTo>
                    <a:pt x="2798" y="3022"/>
                  </a:lnTo>
                  <a:lnTo>
                    <a:pt x="2796" y="3022"/>
                  </a:lnTo>
                  <a:lnTo>
                    <a:pt x="2798" y="3022"/>
                  </a:lnTo>
                  <a:lnTo>
                    <a:pt x="2798" y="3024"/>
                  </a:lnTo>
                  <a:lnTo>
                    <a:pt x="2798" y="3025"/>
                  </a:lnTo>
                  <a:lnTo>
                    <a:pt x="2799" y="3025"/>
                  </a:lnTo>
                  <a:lnTo>
                    <a:pt x="2799" y="3027"/>
                  </a:lnTo>
                  <a:lnTo>
                    <a:pt x="2801" y="3027"/>
                  </a:lnTo>
                  <a:lnTo>
                    <a:pt x="2799" y="3027"/>
                  </a:lnTo>
                  <a:lnTo>
                    <a:pt x="2801" y="3027"/>
                  </a:lnTo>
                  <a:lnTo>
                    <a:pt x="2802" y="3027"/>
                  </a:lnTo>
                  <a:lnTo>
                    <a:pt x="2804" y="3027"/>
                  </a:lnTo>
                  <a:lnTo>
                    <a:pt x="2804" y="3029"/>
                  </a:lnTo>
                  <a:lnTo>
                    <a:pt x="2804" y="3030"/>
                  </a:lnTo>
                  <a:lnTo>
                    <a:pt x="2806" y="3030"/>
                  </a:lnTo>
                  <a:lnTo>
                    <a:pt x="2806" y="3032"/>
                  </a:lnTo>
                  <a:lnTo>
                    <a:pt x="2807" y="3032"/>
                  </a:lnTo>
                  <a:lnTo>
                    <a:pt x="2807" y="3033"/>
                  </a:lnTo>
                  <a:lnTo>
                    <a:pt x="2809" y="3033"/>
                  </a:lnTo>
                  <a:lnTo>
                    <a:pt x="2811" y="3035"/>
                  </a:lnTo>
                  <a:lnTo>
                    <a:pt x="2812" y="3035"/>
                  </a:lnTo>
                  <a:lnTo>
                    <a:pt x="2812" y="3037"/>
                  </a:lnTo>
                  <a:lnTo>
                    <a:pt x="2814" y="3037"/>
                  </a:lnTo>
                  <a:lnTo>
                    <a:pt x="2812" y="3038"/>
                  </a:lnTo>
                  <a:lnTo>
                    <a:pt x="2811" y="3040"/>
                  </a:lnTo>
                  <a:lnTo>
                    <a:pt x="2811" y="3038"/>
                  </a:lnTo>
                  <a:lnTo>
                    <a:pt x="2811" y="3040"/>
                  </a:lnTo>
                  <a:lnTo>
                    <a:pt x="2809" y="3040"/>
                  </a:lnTo>
                  <a:lnTo>
                    <a:pt x="2809" y="3042"/>
                  </a:lnTo>
                  <a:lnTo>
                    <a:pt x="2807" y="3042"/>
                  </a:lnTo>
                  <a:lnTo>
                    <a:pt x="2806" y="3043"/>
                  </a:lnTo>
                  <a:lnTo>
                    <a:pt x="2806" y="3042"/>
                  </a:lnTo>
                  <a:lnTo>
                    <a:pt x="2804" y="3043"/>
                  </a:lnTo>
                  <a:lnTo>
                    <a:pt x="2802" y="3043"/>
                  </a:lnTo>
                  <a:lnTo>
                    <a:pt x="2802" y="3045"/>
                  </a:lnTo>
                  <a:lnTo>
                    <a:pt x="2801" y="3045"/>
                  </a:lnTo>
                  <a:lnTo>
                    <a:pt x="2801" y="3043"/>
                  </a:lnTo>
                  <a:lnTo>
                    <a:pt x="2801" y="3045"/>
                  </a:lnTo>
                  <a:lnTo>
                    <a:pt x="2799" y="3043"/>
                  </a:lnTo>
                  <a:lnTo>
                    <a:pt x="2798" y="3043"/>
                  </a:lnTo>
                  <a:lnTo>
                    <a:pt x="2798" y="3045"/>
                  </a:lnTo>
                  <a:lnTo>
                    <a:pt x="2798" y="3046"/>
                  </a:lnTo>
                  <a:lnTo>
                    <a:pt x="2799" y="3046"/>
                  </a:lnTo>
                  <a:lnTo>
                    <a:pt x="2799" y="3048"/>
                  </a:lnTo>
                  <a:lnTo>
                    <a:pt x="2801" y="3048"/>
                  </a:lnTo>
                  <a:lnTo>
                    <a:pt x="2801" y="3046"/>
                  </a:lnTo>
                  <a:lnTo>
                    <a:pt x="2802" y="3046"/>
                  </a:lnTo>
                  <a:lnTo>
                    <a:pt x="2804" y="3046"/>
                  </a:lnTo>
                  <a:lnTo>
                    <a:pt x="2802" y="3046"/>
                  </a:lnTo>
                  <a:lnTo>
                    <a:pt x="2802" y="3048"/>
                  </a:lnTo>
                  <a:lnTo>
                    <a:pt x="2804" y="3048"/>
                  </a:lnTo>
                  <a:lnTo>
                    <a:pt x="2802" y="3048"/>
                  </a:lnTo>
                  <a:lnTo>
                    <a:pt x="2804" y="3050"/>
                  </a:lnTo>
                  <a:lnTo>
                    <a:pt x="2804" y="3048"/>
                  </a:lnTo>
                  <a:lnTo>
                    <a:pt x="2806" y="3048"/>
                  </a:lnTo>
                  <a:lnTo>
                    <a:pt x="2807" y="3048"/>
                  </a:lnTo>
                  <a:lnTo>
                    <a:pt x="2809" y="3048"/>
                  </a:lnTo>
                  <a:lnTo>
                    <a:pt x="2807" y="3048"/>
                  </a:lnTo>
                  <a:lnTo>
                    <a:pt x="2807" y="3050"/>
                  </a:lnTo>
                  <a:lnTo>
                    <a:pt x="2807" y="3048"/>
                  </a:lnTo>
                  <a:lnTo>
                    <a:pt x="2809" y="3048"/>
                  </a:lnTo>
                  <a:lnTo>
                    <a:pt x="2811" y="3046"/>
                  </a:lnTo>
                  <a:lnTo>
                    <a:pt x="2809" y="3046"/>
                  </a:lnTo>
                  <a:lnTo>
                    <a:pt x="2809" y="3045"/>
                  </a:lnTo>
                  <a:lnTo>
                    <a:pt x="2811" y="3045"/>
                  </a:lnTo>
                  <a:lnTo>
                    <a:pt x="2811" y="3043"/>
                  </a:lnTo>
                  <a:lnTo>
                    <a:pt x="2811" y="3045"/>
                  </a:lnTo>
                  <a:lnTo>
                    <a:pt x="2811" y="3043"/>
                  </a:lnTo>
                  <a:lnTo>
                    <a:pt x="2812" y="3042"/>
                  </a:lnTo>
                  <a:lnTo>
                    <a:pt x="2814" y="3042"/>
                  </a:lnTo>
                  <a:lnTo>
                    <a:pt x="2816" y="3042"/>
                  </a:lnTo>
                  <a:lnTo>
                    <a:pt x="2816" y="3043"/>
                  </a:lnTo>
                  <a:lnTo>
                    <a:pt x="2816" y="3042"/>
                  </a:lnTo>
                  <a:lnTo>
                    <a:pt x="2817" y="3043"/>
                  </a:lnTo>
                  <a:lnTo>
                    <a:pt x="2819" y="3043"/>
                  </a:lnTo>
                  <a:lnTo>
                    <a:pt x="2819" y="3045"/>
                  </a:lnTo>
                  <a:lnTo>
                    <a:pt x="2820" y="3045"/>
                  </a:lnTo>
                  <a:lnTo>
                    <a:pt x="2820" y="3046"/>
                  </a:lnTo>
                  <a:lnTo>
                    <a:pt x="2820" y="3048"/>
                  </a:lnTo>
                  <a:lnTo>
                    <a:pt x="2822" y="3048"/>
                  </a:lnTo>
                  <a:lnTo>
                    <a:pt x="2824" y="3048"/>
                  </a:lnTo>
                  <a:lnTo>
                    <a:pt x="2825" y="3048"/>
                  </a:lnTo>
                  <a:lnTo>
                    <a:pt x="2824" y="3048"/>
                  </a:lnTo>
                  <a:lnTo>
                    <a:pt x="2825" y="3048"/>
                  </a:lnTo>
                  <a:lnTo>
                    <a:pt x="2829" y="3046"/>
                  </a:lnTo>
                  <a:lnTo>
                    <a:pt x="2830" y="3046"/>
                  </a:lnTo>
                  <a:lnTo>
                    <a:pt x="2830" y="3048"/>
                  </a:lnTo>
                  <a:lnTo>
                    <a:pt x="2832" y="3048"/>
                  </a:lnTo>
                  <a:lnTo>
                    <a:pt x="2833" y="3048"/>
                  </a:lnTo>
                  <a:lnTo>
                    <a:pt x="2833" y="3050"/>
                  </a:lnTo>
                  <a:lnTo>
                    <a:pt x="2835" y="3050"/>
                  </a:lnTo>
                  <a:lnTo>
                    <a:pt x="2835" y="3051"/>
                  </a:lnTo>
                  <a:lnTo>
                    <a:pt x="2837" y="3051"/>
                  </a:lnTo>
                  <a:lnTo>
                    <a:pt x="2835" y="3051"/>
                  </a:lnTo>
                  <a:lnTo>
                    <a:pt x="2837" y="3051"/>
                  </a:lnTo>
                  <a:lnTo>
                    <a:pt x="2837" y="3053"/>
                  </a:lnTo>
                  <a:lnTo>
                    <a:pt x="2838" y="3055"/>
                  </a:lnTo>
                  <a:lnTo>
                    <a:pt x="2840" y="3056"/>
                  </a:lnTo>
                  <a:lnTo>
                    <a:pt x="2842" y="3058"/>
                  </a:lnTo>
                  <a:lnTo>
                    <a:pt x="2842" y="3056"/>
                  </a:lnTo>
                  <a:lnTo>
                    <a:pt x="2842" y="3058"/>
                  </a:lnTo>
                  <a:lnTo>
                    <a:pt x="2843" y="3058"/>
                  </a:lnTo>
                  <a:lnTo>
                    <a:pt x="2842" y="3058"/>
                  </a:lnTo>
                  <a:lnTo>
                    <a:pt x="2843" y="3058"/>
                  </a:lnTo>
                  <a:lnTo>
                    <a:pt x="2843" y="3059"/>
                  </a:lnTo>
                  <a:lnTo>
                    <a:pt x="2845" y="3059"/>
                  </a:lnTo>
                  <a:lnTo>
                    <a:pt x="2846" y="3061"/>
                  </a:lnTo>
                  <a:lnTo>
                    <a:pt x="2848" y="3061"/>
                  </a:lnTo>
                  <a:lnTo>
                    <a:pt x="2848" y="3063"/>
                  </a:lnTo>
                  <a:lnTo>
                    <a:pt x="2850" y="3063"/>
                  </a:lnTo>
                  <a:lnTo>
                    <a:pt x="2851" y="3063"/>
                  </a:lnTo>
                  <a:lnTo>
                    <a:pt x="2850" y="3063"/>
                  </a:lnTo>
                  <a:lnTo>
                    <a:pt x="2848" y="3061"/>
                  </a:lnTo>
                  <a:lnTo>
                    <a:pt x="2850" y="3061"/>
                  </a:lnTo>
                  <a:lnTo>
                    <a:pt x="2850" y="3063"/>
                  </a:lnTo>
                  <a:lnTo>
                    <a:pt x="2851" y="3063"/>
                  </a:lnTo>
                  <a:lnTo>
                    <a:pt x="2853" y="3063"/>
                  </a:lnTo>
                  <a:lnTo>
                    <a:pt x="2853" y="3061"/>
                  </a:lnTo>
                  <a:lnTo>
                    <a:pt x="2855" y="3061"/>
                  </a:lnTo>
                  <a:lnTo>
                    <a:pt x="2853" y="3061"/>
                  </a:lnTo>
                  <a:lnTo>
                    <a:pt x="2853" y="3059"/>
                  </a:lnTo>
                  <a:lnTo>
                    <a:pt x="2855" y="3059"/>
                  </a:lnTo>
                  <a:lnTo>
                    <a:pt x="2853" y="3059"/>
                  </a:lnTo>
                  <a:lnTo>
                    <a:pt x="2853" y="3058"/>
                  </a:lnTo>
                  <a:lnTo>
                    <a:pt x="2855" y="3058"/>
                  </a:lnTo>
                  <a:lnTo>
                    <a:pt x="2856" y="3056"/>
                  </a:lnTo>
                  <a:lnTo>
                    <a:pt x="2858" y="3056"/>
                  </a:lnTo>
                  <a:lnTo>
                    <a:pt x="2859" y="3056"/>
                  </a:lnTo>
                  <a:lnTo>
                    <a:pt x="2861" y="3058"/>
                  </a:lnTo>
                  <a:lnTo>
                    <a:pt x="2863" y="3059"/>
                  </a:lnTo>
                  <a:lnTo>
                    <a:pt x="2864" y="3063"/>
                  </a:lnTo>
                  <a:lnTo>
                    <a:pt x="2866" y="3063"/>
                  </a:lnTo>
                  <a:lnTo>
                    <a:pt x="2866" y="3064"/>
                  </a:lnTo>
                  <a:lnTo>
                    <a:pt x="2866" y="3063"/>
                  </a:lnTo>
                  <a:lnTo>
                    <a:pt x="2868" y="3066"/>
                  </a:lnTo>
                  <a:lnTo>
                    <a:pt x="2869" y="3068"/>
                  </a:lnTo>
                  <a:lnTo>
                    <a:pt x="2871" y="3068"/>
                  </a:lnTo>
                  <a:lnTo>
                    <a:pt x="2872" y="3071"/>
                  </a:lnTo>
                  <a:lnTo>
                    <a:pt x="2874" y="3071"/>
                  </a:lnTo>
                  <a:lnTo>
                    <a:pt x="2876" y="3072"/>
                  </a:lnTo>
                  <a:lnTo>
                    <a:pt x="2877" y="3074"/>
                  </a:lnTo>
                  <a:lnTo>
                    <a:pt x="2881" y="3076"/>
                  </a:lnTo>
                  <a:lnTo>
                    <a:pt x="2882" y="3076"/>
                  </a:lnTo>
                  <a:lnTo>
                    <a:pt x="2885" y="3077"/>
                  </a:lnTo>
                  <a:lnTo>
                    <a:pt x="2887" y="3077"/>
                  </a:lnTo>
                  <a:lnTo>
                    <a:pt x="2889" y="3079"/>
                  </a:lnTo>
                  <a:lnTo>
                    <a:pt x="2889" y="3081"/>
                  </a:lnTo>
                  <a:lnTo>
                    <a:pt x="2890" y="3082"/>
                  </a:lnTo>
                  <a:lnTo>
                    <a:pt x="2892" y="3082"/>
                  </a:lnTo>
                  <a:lnTo>
                    <a:pt x="2894" y="3084"/>
                  </a:lnTo>
                  <a:lnTo>
                    <a:pt x="2895" y="3085"/>
                  </a:lnTo>
                  <a:lnTo>
                    <a:pt x="2897" y="3089"/>
                  </a:lnTo>
                  <a:lnTo>
                    <a:pt x="2898" y="3089"/>
                  </a:lnTo>
                  <a:lnTo>
                    <a:pt x="2898" y="3090"/>
                  </a:lnTo>
                  <a:lnTo>
                    <a:pt x="2900" y="3090"/>
                  </a:lnTo>
                  <a:lnTo>
                    <a:pt x="2902" y="3090"/>
                  </a:lnTo>
                  <a:lnTo>
                    <a:pt x="2902" y="3089"/>
                  </a:lnTo>
                  <a:lnTo>
                    <a:pt x="2903" y="3089"/>
                  </a:lnTo>
                  <a:lnTo>
                    <a:pt x="2903" y="3090"/>
                  </a:lnTo>
                  <a:lnTo>
                    <a:pt x="2905" y="3090"/>
                  </a:lnTo>
                  <a:lnTo>
                    <a:pt x="2905" y="3092"/>
                  </a:lnTo>
                  <a:lnTo>
                    <a:pt x="2907" y="3092"/>
                  </a:lnTo>
                  <a:lnTo>
                    <a:pt x="2908" y="3092"/>
                  </a:lnTo>
                  <a:lnTo>
                    <a:pt x="2908" y="3094"/>
                  </a:lnTo>
                  <a:lnTo>
                    <a:pt x="2908" y="3092"/>
                  </a:lnTo>
                  <a:lnTo>
                    <a:pt x="2908" y="3090"/>
                  </a:lnTo>
                  <a:lnTo>
                    <a:pt x="2910" y="3090"/>
                  </a:lnTo>
                  <a:lnTo>
                    <a:pt x="2910" y="3092"/>
                  </a:lnTo>
                  <a:lnTo>
                    <a:pt x="2908" y="3089"/>
                  </a:lnTo>
                  <a:lnTo>
                    <a:pt x="2908" y="3090"/>
                  </a:lnTo>
                  <a:lnTo>
                    <a:pt x="2908" y="3089"/>
                  </a:lnTo>
                  <a:lnTo>
                    <a:pt x="2908" y="3087"/>
                  </a:lnTo>
                  <a:lnTo>
                    <a:pt x="2910" y="3087"/>
                  </a:lnTo>
                  <a:lnTo>
                    <a:pt x="2910" y="3089"/>
                  </a:lnTo>
                  <a:lnTo>
                    <a:pt x="2910" y="3087"/>
                  </a:lnTo>
                  <a:lnTo>
                    <a:pt x="2911" y="3089"/>
                  </a:lnTo>
                  <a:lnTo>
                    <a:pt x="2910" y="3090"/>
                  </a:lnTo>
                  <a:lnTo>
                    <a:pt x="2911" y="3092"/>
                  </a:lnTo>
                  <a:lnTo>
                    <a:pt x="2911" y="3094"/>
                  </a:lnTo>
                  <a:lnTo>
                    <a:pt x="2913" y="3094"/>
                  </a:lnTo>
                  <a:lnTo>
                    <a:pt x="2913" y="3095"/>
                  </a:lnTo>
                  <a:lnTo>
                    <a:pt x="2915" y="3094"/>
                  </a:lnTo>
                  <a:lnTo>
                    <a:pt x="2913" y="3094"/>
                  </a:lnTo>
                  <a:lnTo>
                    <a:pt x="2915" y="3094"/>
                  </a:lnTo>
                  <a:lnTo>
                    <a:pt x="2915" y="3092"/>
                  </a:lnTo>
                  <a:lnTo>
                    <a:pt x="2913" y="3090"/>
                  </a:lnTo>
                  <a:lnTo>
                    <a:pt x="2911" y="3090"/>
                  </a:lnTo>
                  <a:lnTo>
                    <a:pt x="2911" y="3089"/>
                  </a:lnTo>
                  <a:lnTo>
                    <a:pt x="2910" y="3089"/>
                  </a:lnTo>
                  <a:lnTo>
                    <a:pt x="2911" y="3089"/>
                  </a:lnTo>
                  <a:lnTo>
                    <a:pt x="2911" y="3090"/>
                  </a:lnTo>
                  <a:lnTo>
                    <a:pt x="2913" y="3090"/>
                  </a:lnTo>
                  <a:lnTo>
                    <a:pt x="2911" y="3087"/>
                  </a:lnTo>
                  <a:lnTo>
                    <a:pt x="2911" y="3084"/>
                  </a:lnTo>
                  <a:lnTo>
                    <a:pt x="2911" y="3082"/>
                  </a:lnTo>
                  <a:lnTo>
                    <a:pt x="2913" y="3081"/>
                  </a:lnTo>
                  <a:lnTo>
                    <a:pt x="2916" y="3077"/>
                  </a:lnTo>
                  <a:lnTo>
                    <a:pt x="2916" y="3076"/>
                  </a:lnTo>
                  <a:lnTo>
                    <a:pt x="2918" y="3076"/>
                  </a:lnTo>
                  <a:lnTo>
                    <a:pt x="2918" y="3074"/>
                  </a:lnTo>
                  <a:lnTo>
                    <a:pt x="2918" y="3072"/>
                  </a:lnTo>
                  <a:lnTo>
                    <a:pt x="2918" y="3074"/>
                  </a:lnTo>
                  <a:lnTo>
                    <a:pt x="2920" y="3072"/>
                  </a:lnTo>
                  <a:lnTo>
                    <a:pt x="2918" y="3072"/>
                  </a:lnTo>
                  <a:lnTo>
                    <a:pt x="2920" y="3072"/>
                  </a:lnTo>
                  <a:lnTo>
                    <a:pt x="2921" y="3071"/>
                  </a:lnTo>
                  <a:lnTo>
                    <a:pt x="2923" y="3069"/>
                  </a:lnTo>
                  <a:lnTo>
                    <a:pt x="2924" y="3069"/>
                  </a:lnTo>
                  <a:lnTo>
                    <a:pt x="2926" y="3071"/>
                  </a:lnTo>
                  <a:lnTo>
                    <a:pt x="2926" y="3072"/>
                  </a:lnTo>
                  <a:lnTo>
                    <a:pt x="2924" y="3076"/>
                  </a:lnTo>
                  <a:lnTo>
                    <a:pt x="2924" y="3077"/>
                  </a:lnTo>
                  <a:lnTo>
                    <a:pt x="2923" y="3081"/>
                  </a:lnTo>
                  <a:lnTo>
                    <a:pt x="2923" y="3082"/>
                  </a:lnTo>
                  <a:lnTo>
                    <a:pt x="2923" y="3084"/>
                  </a:lnTo>
                  <a:lnTo>
                    <a:pt x="2923" y="3087"/>
                  </a:lnTo>
                  <a:lnTo>
                    <a:pt x="2924" y="3094"/>
                  </a:lnTo>
                  <a:lnTo>
                    <a:pt x="2924" y="3095"/>
                  </a:lnTo>
                  <a:lnTo>
                    <a:pt x="2924" y="3098"/>
                  </a:lnTo>
                  <a:lnTo>
                    <a:pt x="2924" y="3100"/>
                  </a:lnTo>
                  <a:lnTo>
                    <a:pt x="2924" y="3102"/>
                  </a:lnTo>
                  <a:lnTo>
                    <a:pt x="2924" y="3107"/>
                  </a:lnTo>
                  <a:lnTo>
                    <a:pt x="2924" y="3108"/>
                  </a:lnTo>
                  <a:lnTo>
                    <a:pt x="2924" y="3110"/>
                  </a:lnTo>
                  <a:lnTo>
                    <a:pt x="2928" y="3120"/>
                  </a:lnTo>
                  <a:lnTo>
                    <a:pt x="2928" y="3118"/>
                  </a:lnTo>
                  <a:lnTo>
                    <a:pt x="2926" y="3111"/>
                  </a:lnTo>
                  <a:lnTo>
                    <a:pt x="2924" y="3110"/>
                  </a:lnTo>
                  <a:lnTo>
                    <a:pt x="2924" y="3108"/>
                  </a:lnTo>
                  <a:lnTo>
                    <a:pt x="2928" y="3118"/>
                  </a:lnTo>
                  <a:lnTo>
                    <a:pt x="2929" y="3120"/>
                  </a:lnTo>
                  <a:lnTo>
                    <a:pt x="2929" y="3121"/>
                  </a:lnTo>
                  <a:lnTo>
                    <a:pt x="2929" y="3123"/>
                  </a:lnTo>
                  <a:lnTo>
                    <a:pt x="2929" y="3124"/>
                  </a:lnTo>
                  <a:lnTo>
                    <a:pt x="2929" y="3126"/>
                  </a:lnTo>
                  <a:lnTo>
                    <a:pt x="2931" y="3133"/>
                  </a:lnTo>
                  <a:lnTo>
                    <a:pt x="2936" y="3147"/>
                  </a:lnTo>
                  <a:lnTo>
                    <a:pt x="2936" y="3151"/>
                  </a:lnTo>
                  <a:lnTo>
                    <a:pt x="2937" y="3151"/>
                  </a:lnTo>
                  <a:lnTo>
                    <a:pt x="2939" y="3152"/>
                  </a:lnTo>
                  <a:lnTo>
                    <a:pt x="2946" y="3155"/>
                  </a:lnTo>
                  <a:lnTo>
                    <a:pt x="2947" y="3155"/>
                  </a:lnTo>
                  <a:lnTo>
                    <a:pt x="2947" y="3157"/>
                  </a:lnTo>
                  <a:lnTo>
                    <a:pt x="2949" y="3159"/>
                  </a:lnTo>
                  <a:lnTo>
                    <a:pt x="2949" y="3160"/>
                  </a:lnTo>
                  <a:lnTo>
                    <a:pt x="2950" y="3160"/>
                  </a:lnTo>
                  <a:lnTo>
                    <a:pt x="2949" y="3160"/>
                  </a:lnTo>
                  <a:lnTo>
                    <a:pt x="2950" y="3160"/>
                  </a:lnTo>
                  <a:lnTo>
                    <a:pt x="2950" y="3162"/>
                  </a:lnTo>
                  <a:lnTo>
                    <a:pt x="2950" y="3164"/>
                  </a:lnTo>
                  <a:lnTo>
                    <a:pt x="2950" y="3165"/>
                  </a:lnTo>
                  <a:lnTo>
                    <a:pt x="2950" y="3167"/>
                  </a:lnTo>
                  <a:lnTo>
                    <a:pt x="2950" y="3168"/>
                  </a:lnTo>
                  <a:lnTo>
                    <a:pt x="2950" y="3172"/>
                  </a:lnTo>
                  <a:lnTo>
                    <a:pt x="2950" y="3175"/>
                  </a:lnTo>
                  <a:lnTo>
                    <a:pt x="2950" y="3180"/>
                  </a:lnTo>
                  <a:lnTo>
                    <a:pt x="2952" y="3185"/>
                  </a:lnTo>
                  <a:lnTo>
                    <a:pt x="2955" y="3194"/>
                  </a:lnTo>
                  <a:lnTo>
                    <a:pt x="2957" y="3198"/>
                  </a:lnTo>
                  <a:lnTo>
                    <a:pt x="2957" y="3199"/>
                  </a:lnTo>
                  <a:lnTo>
                    <a:pt x="2959" y="3199"/>
                  </a:lnTo>
                  <a:lnTo>
                    <a:pt x="2959" y="3201"/>
                  </a:lnTo>
                  <a:lnTo>
                    <a:pt x="2960" y="3201"/>
                  </a:lnTo>
                  <a:lnTo>
                    <a:pt x="2962" y="3203"/>
                  </a:lnTo>
                  <a:lnTo>
                    <a:pt x="2964" y="3203"/>
                  </a:lnTo>
                  <a:lnTo>
                    <a:pt x="2964" y="3201"/>
                  </a:lnTo>
                  <a:lnTo>
                    <a:pt x="2964" y="3203"/>
                  </a:lnTo>
                  <a:lnTo>
                    <a:pt x="2965" y="3203"/>
                  </a:lnTo>
                  <a:lnTo>
                    <a:pt x="2964" y="3201"/>
                  </a:lnTo>
                  <a:lnTo>
                    <a:pt x="2965" y="3203"/>
                  </a:lnTo>
                  <a:lnTo>
                    <a:pt x="2968" y="3203"/>
                  </a:lnTo>
                  <a:lnTo>
                    <a:pt x="2973" y="3203"/>
                  </a:lnTo>
                  <a:lnTo>
                    <a:pt x="2975" y="3204"/>
                  </a:lnTo>
                  <a:lnTo>
                    <a:pt x="2977" y="3204"/>
                  </a:lnTo>
                  <a:lnTo>
                    <a:pt x="2978" y="3204"/>
                  </a:lnTo>
                  <a:lnTo>
                    <a:pt x="2980" y="3206"/>
                  </a:lnTo>
                  <a:lnTo>
                    <a:pt x="2983" y="3207"/>
                  </a:lnTo>
                  <a:lnTo>
                    <a:pt x="2985" y="3207"/>
                  </a:lnTo>
                  <a:lnTo>
                    <a:pt x="2986" y="3207"/>
                  </a:lnTo>
                  <a:lnTo>
                    <a:pt x="2988" y="3207"/>
                  </a:lnTo>
                  <a:lnTo>
                    <a:pt x="2990" y="3207"/>
                  </a:lnTo>
                  <a:lnTo>
                    <a:pt x="2991" y="3209"/>
                  </a:lnTo>
                  <a:lnTo>
                    <a:pt x="2993" y="3211"/>
                  </a:lnTo>
                  <a:lnTo>
                    <a:pt x="2993" y="3212"/>
                  </a:lnTo>
                  <a:lnTo>
                    <a:pt x="2994" y="3212"/>
                  </a:lnTo>
                  <a:lnTo>
                    <a:pt x="2996" y="3217"/>
                  </a:lnTo>
                  <a:lnTo>
                    <a:pt x="2999" y="3220"/>
                  </a:lnTo>
                  <a:lnTo>
                    <a:pt x="2999" y="3222"/>
                  </a:lnTo>
                  <a:lnTo>
                    <a:pt x="3001" y="3227"/>
                  </a:lnTo>
                  <a:lnTo>
                    <a:pt x="3003" y="3229"/>
                  </a:lnTo>
                  <a:lnTo>
                    <a:pt x="3004" y="3230"/>
                  </a:lnTo>
                  <a:lnTo>
                    <a:pt x="3006" y="3230"/>
                  </a:lnTo>
                  <a:lnTo>
                    <a:pt x="3006" y="3232"/>
                  </a:lnTo>
                  <a:lnTo>
                    <a:pt x="3007" y="3232"/>
                  </a:lnTo>
                  <a:lnTo>
                    <a:pt x="3009" y="3233"/>
                  </a:lnTo>
                  <a:lnTo>
                    <a:pt x="3011" y="3235"/>
                  </a:lnTo>
                  <a:lnTo>
                    <a:pt x="3012" y="3235"/>
                  </a:lnTo>
                  <a:lnTo>
                    <a:pt x="3014" y="3237"/>
                  </a:lnTo>
                  <a:lnTo>
                    <a:pt x="3016" y="3237"/>
                  </a:lnTo>
                  <a:lnTo>
                    <a:pt x="3017" y="3237"/>
                  </a:lnTo>
                  <a:lnTo>
                    <a:pt x="3017" y="3235"/>
                  </a:lnTo>
                  <a:lnTo>
                    <a:pt x="3019" y="3235"/>
                  </a:lnTo>
                  <a:lnTo>
                    <a:pt x="3020" y="3235"/>
                  </a:lnTo>
                  <a:lnTo>
                    <a:pt x="3020" y="3233"/>
                  </a:lnTo>
                  <a:lnTo>
                    <a:pt x="3022" y="3233"/>
                  </a:lnTo>
                  <a:lnTo>
                    <a:pt x="3024" y="3233"/>
                  </a:lnTo>
                  <a:lnTo>
                    <a:pt x="3024" y="3235"/>
                  </a:lnTo>
                  <a:lnTo>
                    <a:pt x="3025" y="3235"/>
                  </a:lnTo>
                  <a:lnTo>
                    <a:pt x="3029" y="3237"/>
                  </a:lnTo>
                  <a:lnTo>
                    <a:pt x="3030" y="3240"/>
                  </a:lnTo>
                  <a:lnTo>
                    <a:pt x="3032" y="3242"/>
                  </a:lnTo>
                  <a:lnTo>
                    <a:pt x="3033" y="3243"/>
                  </a:lnTo>
                  <a:lnTo>
                    <a:pt x="3033" y="3414"/>
                  </a:lnTo>
                  <a:lnTo>
                    <a:pt x="3032" y="3412"/>
                  </a:lnTo>
                  <a:lnTo>
                    <a:pt x="3032" y="3414"/>
                  </a:lnTo>
                  <a:lnTo>
                    <a:pt x="3030" y="3412"/>
                  </a:lnTo>
                  <a:lnTo>
                    <a:pt x="3029" y="3412"/>
                  </a:lnTo>
                  <a:lnTo>
                    <a:pt x="3029" y="3409"/>
                  </a:lnTo>
                  <a:lnTo>
                    <a:pt x="3027" y="3409"/>
                  </a:lnTo>
                  <a:lnTo>
                    <a:pt x="3025" y="3409"/>
                  </a:lnTo>
                  <a:lnTo>
                    <a:pt x="3025" y="3407"/>
                  </a:lnTo>
                  <a:lnTo>
                    <a:pt x="3024" y="3407"/>
                  </a:lnTo>
                  <a:lnTo>
                    <a:pt x="3022" y="3407"/>
                  </a:lnTo>
                  <a:lnTo>
                    <a:pt x="3020" y="3406"/>
                  </a:lnTo>
                  <a:lnTo>
                    <a:pt x="3020" y="3404"/>
                  </a:lnTo>
                  <a:lnTo>
                    <a:pt x="3019" y="3404"/>
                  </a:lnTo>
                  <a:lnTo>
                    <a:pt x="3019" y="3403"/>
                  </a:lnTo>
                  <a:lnTo>
                    <a:pt x="3017" y="3406"/>
                  </a:lnTo>
                  <a:lnTo>
                    <a:pt x="3016" y="3407"/>
                  </a:lnTo>
                  <a:lnTo>
                    <a:pt x="3016" y="3409"/>
                  </a:lnTo>
                  <a:lnTo>
                    <a:pt x="3016" y="3411"/>
                  </a:lnTo>
                  <a:lnTo>
                    <a:pt x="3014" y="3411"/>
                  </a:lnTo>
                  <a:lnTo>
                    <a:pt x="3012" y="3411"/>
                  </a:lnTo>
                  <a:lnTo>
                    <a:pt x="3012" y="3412"/>
                  </a:lnTo>
                  <a:lnTo>
                    <a:pt x="3011" y="3411"/>
                  </a:lnTo>
                  <a:lnTo>
                    <a:pt x="3009" y="3411"/>
                  </a:lnTo>
                  <a:lnTo>
                    <a:pt x="3007" y="3409"/>
                  </a:lnTo>
                  <a:lnTo>
                    <a:pt x="3007" y="3407"/>
                  </a:lnTo>
                  <a:lnTo>
                    <a:pt x="3007" y="3406"/>
                  </a:lnTo>
                  <a:lnTo>
                    <a:pt x="3006" y="3404"/>
                  </a:lnTo>
                  <a:lnTo>
                    <a:pt x="3004" y="3403"/>
                  </a:lnTo>
                  <a:lnTo>
                    <a:pt x="3001" y="3404"/>
                  </a:lnTo>
                  <a:lnTo>
                    <a:pt x="2999" y="3404"/>
                  </a:lnTo>
                  <a:lnTo>
                    <a:pt x="2999" y="3403"/>
                  </a:lnTo>
                  <a:lnTo>
                    <a:pt x="2996" y="3403"/>
                  </a:lnTo>
                  <a:lnTo>
                    <a:pt x="2994" y="3401"/>
                  </a:lnTo>
                  <a:lnTo>
                    <a:pt x="2994" y="3399"/>
                  </a:lnTo>
                  <a:lnTo>
                    <a:pt x="2994" y="3398"/>
                  </a:lnTo>
                  <a:lnTo>
                    <a:pt x="2993" y="3396"/>
                  </a:lnTo>
                  <a:lnTo>
                    <a:pt x="2991" y="3396"/>
                  </a:lnTo>
                  <a:lnTo>
                    <a:pt x="2990" y="3396"/>
                  </a:lnTo>
                  <a:lnTo>
                    <a:pt x="2988" y="3398"/>
                  </a:lnTo>
                  <a:lnTo>
                    <a:pt x="2988" y="3399"/>
                  </a:lnTo>
                  <a:lnTo>
                    <a:pt x="2986" y="3399"/>
                  </a:lnTo>
                  <a:lnTo>
                    <a:pt x="2985" y="3398"/>
                  </a:lnTo>
                  <a:lnTo>
                    <a:pt x="2983" y="3398"/>
                  </a:lnTo>
                  <a:lnTo>
                    <a:pt x="2981" y="3396"/>
                  </a:lnTo>
                  <a:lnTo>
                    <a:pt x="2980" y="3396"/>
                  </a:lnTo>
                  <a:lnTo>
                    <a:pt x="2978" y="3396"/>
                  </a:lnTo>
                  <a:lnTo>
                    <a:pt x="2977" y="3394"/>
                  </a:lnTo>
                  <a:lnTo>
                    <a:pt x="2975" y="3394"/>
                  </a:lnTo>
                  <a:lnTo>
                    <a:pt x="2973" y="3393"/>
                  </a:lnTo>
                  <a:lnTo>
                    <a:pt x="2973" y="3391"/>
                  </a:lnTo>
                  <a:lnTo>
                    <a:pt x="2972" y="3390"/>
                  </a:lnTo>
                  <a:lnTo>
                    <a:pt x="2970" y="3388"/>
                  </a:lnTo>
                  <a:lnTo>
                    <a:pt x="2968" y="3386"/>
                  </a:lnTo>
                  <a:lnTo>
                    <a:pt x="2967" y="3386"/>
                  </a:lnTo>
                  <a:lnTo>
                    <a:pt x="2967" y="3388"/>
                  </a:lnTo>
                  <a:lnTo>
                    <a:pt x="2965" y="3391"/>
                  </a:lnTo>
                  <a:lnTo>
                    <a:pt x="2967" y="3391"/>
                  </a:lnTo>
                  <a:lnTo>
                    <a:pt x="2967" y="3393"/>
                  </a:lnTo>
                  <a:lnTo>
                    <a:pt x="2965" y="3393"/>
                  </a:lnTo>
                  <a:lnTo>
                    <a:pt x="2964" y="3393"/>
                  </a:lnTo>
                  <a:lnTo>
                    <a:pt x="2964" y="3394"/>
                  </a:lnTo>
                  <a:lnTo>
                    <a:pt x="2962" y="3394"/>
                  </a:lnTo>
                  <a:lnTo>
                    <a:pt x="2960" y="3396"/>
                  </a:lnTo>
                  <a:lnTo>
                    <a:pt x="2959" y="3396"/>
                  </a:lnTo>
                  <a:lnTo>
                    <a:pt x="2957" y="3398"/>
                  </a:lnTo>
                  <a:lnTo>
                    <a:pt x="2957" y="3401"/>
                  </a:lnTo>
                  <a:lnTo>
                    <a:pt x="2955" y="3403"/>
                  </a:lnTo>
                  <a:lnTo>
                    <a:pt x="2954" y="3403"/>
                  </a:lnTo>
                  <a:lnTo>
                    <a:pt x="2952" y="3401"/>
                  </a:lnTo>
                  <a:lnTo>
                    <a:pt x="2950" y="3401"/>
                  </a:lnTo>
                  <a:lnTo>
                    <a:pt x="2950" y="3398"/>
                  </a:lnTo>
                  <a:lnTo>
                    <a:pt x="2949" y="3396"/>
                  </a:lnTo>
                  <a:lnTo>
                    <a:pt x="2947" y="3394"/>
                  </a:lnTo>
                  <a:lnTo>
                    <a:pt x="2946" y="3394"/>
                  </a:lnTo>
                  <a:lnTo>
                    <a:pt x="2942" y="3396"/>
                  </a:lnTo>
                  <a:lnTo>
                    <a:pt x="2942" y="3399"/>
                  </a:lnTo>
                  <a:lnTo>
                    <a:pt x="2939" y="3401"/>
                  </a:lnTo>
                  <a:lnTo>
                    <a:pt x="2936" y="3399"/>
                  </a:lnTo>
                  <a:lnTo>
                    <a:pt x="2934" y="3398"/>
                  </a:lnTo>
                  <a:lnTo>
                    <a:pt x="2933" y="3398"/>
                  </a:lnTo>
                  <a:lnTo>
                    <a:pt x="2931" y="3396"/>
                  </a:lnTo>
                  <a:lnTo>
                    <a:pt x="2931" y="3394"/>
                  </a:lnTo>
                  <a:lnTo>
                    <a:pt x="2928" y="3396"/>
                  </a:lnTo>
                  <a:lnTo>
                    <a:pt x="2926" y="3398"/>
                  </a:lnTo>
                  <a:lnTo>
                    <a:pt x="2924" y="3398"/>
                  </a:lnTo>
                  <a:lnTo>
                    <a:pt x="2924" y="3399"/>
                  </a:lnTo>
                  <a:lnTo>
                    <a:pt x="2923" y="3399"/>
                  </a:lnTo>
                  <a:lnTo>
                    <a:pt x="2921" y="3399"/>
                  </a:lnTo>
                  <a:lnTo>
                    <a:pt x="2920" y="3399"/>
                  </a:lnTo>
                  <a:lnTo>
                    <a:pt x="2918" y="3399"/>
                  </a:lnTo>
                  <a:lnTo>
                    <a:pt x="2916" y="3398"/>
                  </a:lnTo>
                  <a:lnTo>
                    <a:pt x="2915" y="3398"/>
                  </a:lnTo>
                  <a:lnTo>
                    <a:pt x="2915" y="3396"/>
                  </a:lnTo>
                  <a:lnTo>
                    <a:pt x="2913" y="3396"/>
                  </a:lnTo>
                  <a:lnTo>
                    <a:pt x="2913" y="3394"/>
                  </a:lnTo>
                  <a:lnTo>
                    <a:pt x="2913" y="3393"/>
                  </a:lnTo>
                  <a:lnTo>
                    <a:pt x="2911" y="3393"/>
                  </a:lnTo>
                  <a:lnTo>
                    <a:pt x="2910" y="3393"/>
                  </a:lnTo>
                  <a:lnTo>
                    <a:pt x="2908" y="3394"/>
                  </a:lnTo>
                  <a:lnTo>
                    <a:pt x="2907" y="3398"/>
                  </a:lnTo>
                  <a:lnTo>
                    <a:pt x="2905" y="3399"/>
                  </a:lnTo>
                  <a:lnTo>
                    <a:pt x="2903" y="3399"/>
                  </a:lnTo>
                  <a:lnTo>
                    <a:pt x="2902" y="3398"/>
                  </a:lnTo>
                  <a:lnTo>
                    <a:pt x="2902" y="3399"/>
                  </a:lnTo>
                  <a:lnTo>
                    <a:pt x="2900" y="3399"/>
                  </a:lnTo>
                  <a:lnTo>
                    <a:pt x="2900" y="3401"/>
                  </a:lnTo>
                  <a:lnTo>
                    <a:pt x="2900" y="3403"/>
                  </a:lnTo>
                  <a:lnTo>
                    <a:pt x="2898" y="3403"/>
                  </a:lnTo>
                  <a:lnTo>
                    <a:pt x="2897" y="3401"/>
                  </a:lnTo>
                  <a:lnTo>
                    <a:pt x="2895" y="3398"/>
                  </a:lnTo>
                  <a:lnTo>
                    <a:pt x="2894" y="3398"/>
                  </a:lnTo>
                  <a:lnTo>
                    <a:pt x="2894" y="3399"/>
                  </a:lnTo>
                  <a:lnTo>
                    <a:pt x="2892" y="3399"/>
                  </a:lnTo>
                  <a:lnTo>
                    <a:pt x="2892" y="3401"/>
                  </a:lnTo>
                  <a:lnTo>
                    <a:pt x="2892" y="3403"/>
                  </a:lnTo>
                  <a:lnTo>
                    <a:pt x="2890" y="3403"/>
                  </a:lnTo>
                  <a:lnTo>
                    <a:pt x="2889" y="3401"/>
                  </a:lnTo>
                  <a:lnTo>
                    <a:pt x="2889" y="3399"/>
                  </a:lnTo>
                  <a:lnTo>
                    <a:pt x="2887" y="3401"/>
                  </a:lnTo>
                  <a:lnTo>
                    <a:pt x="2885" y="3401"/>
                  </a:lnTo>
                  <a:lnTo>
                    <a:pt x="2885" y="3403"/>
                  </a:lnTo>
                  <a:lnTo>
                    <a:pt x="2884" y="3403"/>
                  </a:lnTo>
                  <a:lnTo>
                    <a:pt x="2884" y="3404"/>
                  </a:lnTo>
                  <a:lnTo>
                    <a:pt x="2884" y="3406"/>
                  </a:lnTo>
                  <a:lnTo>
                    <a:pt x="2882" y="3406"/>
                  </a:lnTo>
                  <a:lnTo>
                    <a:pt x="2882" y="3404"/>
                  </a:lnTo>
                  <a:lnTo>
                    <a:pt x="2881" y="3406"/>
                  </a:lnTo>
                  <a:lnTo>
                    <a:pt x="2881" y="3404"/>
                  </a:lnTo>
                  <a:lnTo>
                    <a:pt x="2879" y="3403"/>
                  </a:lnTo>
                  <a:lnTo>
                    <a:pt x="2877" y="3403"/>
                  </a:lnTo>
                  <a:lnTo>
                    <a:pt x="2876" y="3401"/>
                  </a:lnTo>
                  <a:lnTo>
                    <a:pt x="2876" y="3399"/>
                  </a:lnTo>
                  <a:lnTo>
                    <a:pt x="2874" y="3399"/>
                  </a:lnTo>
                  <a:lnTo>
                    <a:pt x="2872" y="3398"/>
                  </a:lnTo>
                  <a:lnTo>
                    <a:pt x="2871" y="3399"/>
                  </a:lnTo>
                  <a:lnTo>
                    <a:pt x="2869" y="3399"/>
                  </a:lnTo>
                  <a:lnTo>
                    <a:pt x="2868" y="3399"/>
                  </a:lnTo>
                  <a:lnTo>
                    <a:pt x="2866" y="3401"/>
                  </a:lnTo>
                  <a:lnTo>
                    <a:pt x="2863" y="3401"/>
                  </a:lnTo>
                  <a:lnTo>
                    <a:pt x="2863" y="3403"/>
                  </a:lnTo>
                  <a:lnTo>
                    <a:pt x="2863" y="3404"/>
                  </a:lnTo>
                  <a:lnTo>
                    <a:pt x="2861" y="3403"/>
                  </a:lnTo>
                  <a:lnTo>
                    <a:pt x="2859" y="3401"/>
                  </a:lnTo>
                  <a:lnTo>
                    <a:pt x="2858" y="3403"/>
                  </a:lnTo>
                  <a:lnTo>
                    <a:pt x="2856" y="3403"/>
                  </a:lnTo>
                  <a:lnTo>
                    <a:pt x="2856" y="3399"/>
                  </a:lnTo>
                  <a:lnTo>
                    <a:pt x="2855" y="3399"/>
                  </a:lnTo>
                  <a:lnTo>
                    <a:pt x="2853" y="3399"/>
                  </a:lnTo>
                  <a:lnTo>
                    <a:pt x="2848" y="3399"/>
                  </a:lnTo>
                  <a:lnTo>
                    <a:pt x="2846" y="3399"/>
                  </a:lnTo>
                  <a:lnTo>
                    <a:pt x="2845" y="3399"/>
                  </a:lnTo>
                  <a:lnTo>
                    <a:pt x="2843" y="3399"/>
                  </a:lnTo>
                  <a:lnTo>
                    <a:pt x="2842" y="3398"/>
                  </a:lnTo>
                  <a:lnTo>
                    <a:pt x="2840" y="3398"/>
                  </a:lnTo>
                  <a:lnTo>
                    <a:pt x="2840" y="3399"/>
                  </a:lnTo>
                  <a:lnTo>
                    <a:pt x="2840" y="3398"/>
                  </a:lnTo>
                  <a:lnTo>
                    <a:pt x="2838" y="3396"/>
                  </a:lnTo>
                  <a:lnTo>
                    <a:pt x="2838" y="3394"/>
                  </a:lnTo>
                  <a:lnTo>
                    <a:pt x="2838" y="3393"/>
                  </a:lnTo>
                  <a:lnTo>
                    <a:pt x="2838" y="3390"/>
                  </a:lnTo>
                  <a:lnTo>
                    <a:pt x="2838" y="3388"/>
                  </a:lnTo>
                  <a:lnTo>
                    <a:pt x="2838" y="3386"/>
                  </a:lnTo>
                  <a:lnTo>
                    <a:pt x="2840" y="3386"/>
                  </a:lnTo>
                  <a:lnTo>
                    <a:pt x="2842" y="3386"/>
                  </a:lnTo>
                  <a:lnTo>
                    <a:pt x="2842" y="3385"/>
                  </a:lnTo>
                  <a:lnTo>
                    <a:pt x="2843" y="3383"/>
                  </a:lnTo>
                  <a:lnTo>
                    <a:pt x="2845" y="3383"/>
                  </a:lnTo>
                  <a:lnTo>
                    <a:pt x="2845" y="3381"/>
                  </a:lnTo>
                  <a:lnTo>
                    <a:pt x="2846" y="3381"/>
                  </a:lnTo>
                  <a:lnTo>
                    <a:pt x="2846" y="3378"/>
                  </a:lnTo>
                  <a:lnTo>
                    <a:pt x="2846" y="3377"/>
                  </a:lnTo>
                  <a:lnTo>
                    <a:pt x="2845" y="3375"/>
                  </a:lnTo>
                  <a:lnTo>
                    <a:pt x="2842" y="3372"/>
                  </a:lnTo>
                  <a:lnTo>
                    <a:pt x="2842" y="3370"/>
                  </a:lnTo>
                  <a:lnTo>
                    <a:pt x="2842" y="3367"/>
                  </a:lnTo>
                  <a:lnTo>
                    <a:pt x="2842" y="3365"/>
                  </a:lnTo>
                  <a:lnTo>
                    <a:pt x="2842" y="3364"/>
                  </a:lnTo>
                  <a:lnTo>
                    <a:pt x="2842" y="3362"/>
                  </a:lnTo>
                  <a:lnTo>
                    <a:pt x="2840" y="3359"/>
                  </a:lnTo>
                  <a:lnTo>
                    <a:pt x="2840" y="3357"/>
                  </a:lnTo>
                  <a:lnTo>
                    <a:pt x="2838" y="3357"/>
                  </a:lnTo>
                  <a:lnTo>
                    <a:pt x="2838" y="3355"/>
                  </a:lnTo>
                  <a:lnTo>
                    <a:pt x="2838" y="3354"/>
                  </a:lnTo>
                  <a:lnTo>
                    <a:pt x="2837" y="3355"/>
                  </a:lnTo>
                  <a:lnTo>
                    <a:pt x="2835" y="3357"/>
                  </a:lnTo>
                  <a:lnTo>
                    <a:pt x="2833" y="3359"/>
                  </a:lnTo>
                  <a:lnTo>
                    <a:pt x="2832" y="3359"/>
                  </a:lnTo>
                  <a:lnTo>
                    <a:pt x="2829" y="3357"/>
                  </a:lnTo>
                  <a:lnTo>
                    <a:pt x="2827" y="3357"/>
                  </a:lnTo>
                  <a:lnTo>
                    <a:pt x="2827" y="3359"/>
                  </a:lnTo>
                  <a:lnTo>
                    <a:pt x="2825" y="3359"/>
                  </a:lnTo>
                  <a:lnTo>
                    <a:pt x="2824" y="3359"/>
                  </a:lnTo>
                  <a:lnTo>
                    <a:pt x="2822" y="3359"/>
                  </a:lnTo>
                  <a:lnTo>
                    <a:pt x="2822" y="3360"/>
                  </a:lnTo>
                  <a:lnTo>
                    <a:pt x="2820" y="3359"/>
                  </a:lnTo>
                  <a:lnTo>
                    <a:pt x="2817" y="3357"/>
                  </a:lnTo>
                  <a:lnTo>
                    <a:pt x="2816" y="3355"/>
                  </a:lnTo>
                  <a:lnTo>
                    <a:pt x="2816" y="3357"/>
                  </a:lnTo>
                  <a:lnTo>
                    <a:pt x="2814" y="3359"/>
                  </a:lnTo>
                  <a:lnTo>
                    <a:pt x="2812" y="3359"/>
                  </a:lnTo>
                  <a:lnTo>
                    <a:pt x="2811" y="3359"/>
                  </a:lnTo>
                  <a:lnTo>
                    <a:pt x="2809" y="3362"/>
                  </a:lnTo>
                  <a:lnTo>
                    <a:pt x="2807" y="3362"/>
                  </a:lnTo>
                  <a:lnTo>
                    <a:pt x="2804" y="3364"/>
                  </a:lnTo>
                  <a:lnTo>
                    <a:pt x="2802" y="3364"/>
                  </a:lnTo>
                  <a:lnTo>
                    <a:pt x="2801" y="3364"/>
                  </a:lnTo>
                  <a:lnTo>
                    <a:pt x="2799" y="3364"/>
                  </a:lnTo>
                  <a:lnTo>
                    <a:pt x="2799" y="3365"/>
                  </a:lnTo>
                  <a:lnTo>
                    <a:pt x="2799" y="3367"/>
                  </a:lnTo>
                  <a:lnTo>
                    <a:pt x="2798" y="3370"/>
                  </a:lnTo>
                  <a:lnTo>
                    <a:pt x="2796" y="3370"/>
                  </a:lnTo>
                  <a:lnTo>
                    <a:pt x="2794" y="3370"/>
                  </a:lnTo>
                  <a:lnTo>
                    <a:pt x="2793" y="3368"/>
                  </a:lnTo>
                  <a:lnTo>
                    <a:pt x="2793" y="3367"/>
                  </a:lnTo>
                  <a:lnTo>
                    <a:pt x="2791" y="3367"/>
                  </a:lnTo>
                  <a:lnTo>
                    <a:pt x="2791" y="3365"/>
                  </a:lnTo>
                  <a:lnTo>
                    <a:pt x="2789" y="3365"/>
                  </a:lnTo>
                  <a:lnTo>
                    <a:pt x="2789" y="3367"/>
                  </a:lnTo>
                  <a:lnTo>
                    <a:pt x="2788" y="3367"/>
                  </a:lnTo>
                  <a:lnTo>
                    <a:pt x="2786" y="3365"/>
                  </a:lnTo>
                  <a:lnTo>
                    <a:pt x="2785" y="3364"/>
                  </a:lnTo>
                  <a:lnTo>
                    <a:pt x="2783" y="3364"/>
                  </a:lnTo>
                  <a:lnTo>
                    <a:pt x="2781" y="3362"/>
                  </a:lnTo>
                  <a:lnTo>
                    <a:pt x="2780" y="3362"/>
                  </a:lnTo>
                  <a:lnTo>
                    <a:pt x="2778" y="3360"/>
                  </a:lnTo>
                  <a:lnTo>
                    <a:pt x="2775" y="3359"/>
                  </a:lnTo>
                  <a:lnTo>
                    <a:pt x="2772" y="3359"/>
                  </a:lnTo>
                  <a:lnTo>
                    <a:pt x="2770" y="3359"/>
                  </a:lnTo>
                  <a:lnTo>
                    <a:pt x="2768" y="3357"/>
                  </a:lnTo>
                  <a:lnTo>
                    <a:pt x="2767" y="3355"/>
                  </a:lnTo>
                  <a:lnTo>
                    <a:pt x="2765" y="3357"/>
                  </a:lnTo>
                  <a:lnTo>
                    <a:pt x="2763" y="3357"/>
                  </a:lnTo>
                  <a:lnTo>
                    <a:pt x="2763" y="3359"/>
                  </a:lnTo>
                  <a:lnTo>
                    <a:pt x="2762" y="3359"/>
                  </a:lnTo>
                  <a:lnTo>
                    <a:pt x="2760" y="3359"/>
                  </a:lnTo>
                  <a:lnTo>
                    <a:pt x="2759" y="3360"/>
                  </a:lnTo>
                  <a:lnTo>
                    <a:pt x="2759" y="3362"/>
                  </a:lnTo>
                  <a:lnTo>
                    <a:pt x="2757" y="3364"/>
                  </a:lnTo>
                  <a:lnTo>
                    <a:pt x="2755" y="3362"/>
                  </a:lnTo>
                  <a:lnTo>
                    <a:pt x="2752" y="3362"/>
                  </a:lnTo>
                  <a:lnTo>
                    <a:pt x="2750" y="3360"/>
                  </a:lnTo>
                  <a:lnTo>
                    <a:pt x="2749" y="3360"/>
                  </a:lnTo>
                  <a:lnTo>
                    <a:pt x="2747" y="3360"/>
                  </a:lnTo>
                  <a:lnTo>
                    <a:pt x="2742" y="3360"/>
                  </a:lnTo>
                  <a:lnTo>
                    <a:pt x="2742" y="3362"/>
                  </a:lnTo>
                  <a:lnTo>
                    <a:pt x="2741" y="3364"/>
                  </a:lnTo>
                  <a:lnTo>
                    <a:pt x="2739" y="3364"/>
                  </a:lnTo>
                  <a:lnTo>
                    <a:pt x="2739" y="3365"/>
                  </a:lnTo>
                  <a:lnTo>
                    <a:pt x="2739" y="3367"/>
                  </a:lnTo>
                  <a:lnTo>
                    <a:pt x="2741" y="3370"/>
                  </a:lnTo>
                  <a:lnTo>
                    <a:pt x="2741" y="3372"/>
                  </a:lnTo>
                  <a:lnTo>
                    <a:pt x="2741" y="3373"/>
                  </a:lnTo>
                  <a:lnTo>
                    <a:pt x="2741" y="3375"/>
                  </a:lnTo>
                  <a:lnTo>
                    <a:pt x="2739" y="3375"/>
                  </a:lnTo>
                  <a:lnTo>
                    <a:pt x="2739" y="3377"/>
                  </a:lnTo>
                  <a:lnTo>
                    <a:pt x="2739" y="3378"/>
                  </a:lnTo>
                  <a:lnTo>
                    <a:pt x="2741" y="3378"/>
                  </a:lnTo>
                  <a:lnTo>
                    <a:pt x="2741" y="3380"/>
                  </a:lnTo>
                  <a:lnTo>
                    <a:pt x="2742" y="3385"/>
                  </a:lnTo>
                  <a:lnTo>
                    <a:pt x="2741" y="3385"/>
                  </a:lnTo>
                  <a:lnTo>
                    <a:pt x="2739" y="3385"/>
                  </a:lnTo>
                  <a:lnTo>
                    <a:pt x="2736" y="3383"/>
                  </a:lnTo>
                  <a:lnTo>
                    <a:pt x="2734" y="3383"/>
                  </a:lnTo>
                  <a:lnTo>
                    <a:pt x="2734" y="3381"/>
                  </a:lnTo>
                  <a:lnTo>
                    <a:pt x="2731" y="3378"/>
                  </a:lnTo>
                  <a:lnTo>
                    <a:pt x="2729" y="3377"/>
                  </a:lnTo>
                  <a:lnTo>
                    <a:pt x="2729" y="3375"/>
                  </a:lnTo>
                  <a:lnTo>
                    <a:pt x="2728" y="3373"/>
                  </a:lnTo>
                  <a:lnTo>
                    <a:pt x="2726" y="3373"/>
                  </a:lnTo>
                  <a:lnTo>
                    <a:pt x="2724" y="3373"/>
                  </a:lnTo>
                  <a:lnTo>
                    <a:pt x="2723" y="3373"/>
                  </a:lnTo>
                  <a:lnTo>
                    <a:pt x="2721" y="3373"/>
                  </a:lnTo>
                  <a:lnTo>
                    <a:pt x="2720" y="3372"/>
                  </a:lnTo>
                  <a:lnTo>
                    <a:pt x="2720" y="3373"/>
                  </a:lnTo>
                  <a:lnTo>
                    <a:pt x="2716" y="3375"/>
                  </a:lnTo>
                  <a:lnTo>
                    <a:pt x="2715" y="3377"/>
                  </a:lnTo>
                  <a:lnTo>
                    <a:pt x="2711" y="3378"/>
                  </a:lnTo>
                  <a:lnTo>
                    <a:pt x="2710" y="3378"/>
                  </a:lnTo>
                  <a:lnTo>
                    <a:pt x="2707" y="3377"/>
                  </a:lnTo>
                  <a:lnTo>
                    <a:pt x="2707" y="3378"/>
                  </a:lnTo>
                  <a:lnTo>
                    <a:pt x="2707" y="3380"/>
                  </a:lnTo>
                  <a:lnTo>
                    <a:pt x="2705" y="3380"/>
                  </a:lnTo>
                  <a:lnTo>
                    <a:pt x="2705" y="3381"/>
                  </a:lnTo>
                  <a:lnTo>
                    <a:pt x="2705" y="3383"/>
                  </a:lnTo>
                  <a:lnTo>
                    <a:pt x="2705" y="3385"/>
                  </a:lnTo>
                  <a:lnTo>
                    <a:pt x="2705" y="3386"/>
                  </a:lnTo>
                  <a:lnTo>
                    <a:pt x="2707" y="3386"/>
                  </a:lnTo>
                  <a:lnTo>
                    <a:pt x="2708" y="3388"/>
                  </a:lnTo>
                  <a:lnTo>
                    <a:pt x="2707" y="3388"/>
                  </a:lnTo>
                  <a:lnTo>
                    <a:pt x="2705" y="3388"/>
                  </a:lnTo>
                  <a:lnTo>
                    <a:pt x="2703" y="3388"/>
                  </a:lnTo>
                  <a:lnTo>
                    <a:pt x="2702" y="3388"/>
                  </a:lnTo>
                  <a:lnTo>
                    <a:pt x="2700" y="3390"/>
                  </a:lnTo>
                  <a:lnTo>
                    <a:pt x="2697" y="3390"/>
                  </a:lnTo>
                  <a:lnTo>
                    <a:pt x="2697" y="3391"/>
                  </a:lnTo>
                  <a:lnTo>
                    <a:pt x="2697" y="3393"/>
                  </a:lnTo>
                  <a:lnTo>
                    <a:pt x="2694" y="3391"/>
                  </a:lnTo>
                  <a:lnTo>
                    <a:pt x="2692" y="3393"/>
                  </a:lnTo>
                  <a:lnTo>
                    <a:pt x="2690" y="3394"/>
                  </a:lnTo>
                  <a:lnTo>
                    <a:pt x="2690" y="3393"/>
                  </a:lnTo>
                  <a:lnTo>
                    <a:pt x="2689" y="3394"/>
                  </a:lnTo>
                  <a:lnTo>
                    <a:pt x="2687" y="3394"/>
                  </a:lnTo>
                  <a:lnTo>
                    <a:pt x="2687" y="3396"/>
                  </a:lnTo>
                  <a:lnTo>
                    <a:pt x="2687" y="3398"/>
                  </a:lnTo>
                  <a:lnTo>
                    <a:pt x="2685" y="3399"/>
                  </a:lnTo>
                  <a:lnTo>
                    <a:pt x="2685" y="3401"/>
                  </a:lnTo>
                  <a:lnTo>
                    <a:pt x="2684" y="3403"/>
                  </a:lnTo>
                  <a:lnTo>
                    <a:pt x="2684" y="3406"/>
                  </a:lnTo>
                  <a:lnTo>
                    <a:pt x="2685" y="3407"/>
                  </a:lnTo>
                  <a:lnTo>
                    <a:pt x="2685" y="3409"/>
                  </a:lnTo>
                  <a:lnTo>
                    <a:pt x="2685" y="3411"/>
                  </a:lnTo>
                  <a:lnTo>
                    <a:pt x="2684" y="3411"/>
                  </a:lnTo>
                  <a:lnTo>
                    <a:pt x="2682" y="3411"/>
                  </a:lnTo>
                  <a:lnTo>
                    <a:pt x="2681" y="3412"/>
                  </a:lnTo>
                  <a:lnTo>
                    <a:pt x="2682" y="3414"/>
                  </a:lnTo>
                  <a:lnTo>
                    <a:pt x="2681" y="3414"/>
                  </a:lnTo>
                  <a:lnTo>
                    <a:pt x="2681" y="3416"/>
                  </a:lnTo>
                  <a:lnTo>
                    <a:pt x="2681" y="3417"/>
                  </a:lnTo>
                  <a:lnTo>
                    <a:pt x="2679" y="3417"/>
                  </a:lnTo>
                  <a:lnTo>
                    <a:pt x="2677" y="3417"/>
                  </a:lnTo>
                  <a:lnTo>
                    <a:pt x="2676" y="3417"/>
                  </a:lnTo>
                  <a:lnTo>
                    <a:pt x="2674" y="3417"/>
                  </a:lnTo>
                  <a:lnTo>
                    <a:pt x="2674" y="3419"/>
                  </a:lnTo>
                  <a:lnTo>
                    <a:pt x="2674" y="3421"/>
                  </a:lnTo>
                  <a:lnTo>
                    <a:pt x="2672" y="3421"/>
                  </a:lnTo>
                  <a:lnTo>
                    <a:pt x="2672" y="3422"/>
                  </a:lnTo>
                  <a:lnTo>
                    <a:pt x="2671" y="3422"/>
                  </a:lnTo>
                  <a:lnTo>
                    <a:pt x="2669" y="3422"/>
                  </a:lnTo>
                  <a:lnTo>
                    <a:pt x="2669" y="3424"/>
                  </a:lnTo>
                  <a:lnTo>
                    <a:pt x="2668" y="3424"/>
                  </a:lnTo>
                  <a:lnTo>
                    <a:pt x="2668" y="3425"/>
                  </a:lnTo>
                  <a:lnTo>
                    <a:pt x="2666" y="3430"/>
                  </a:lnTo>
                  <a:lnTo>
                    <a:pt x="2666" y="3432"/>
                  </a:lnTo>
                  <a:lnTo>
                    <a:pt x="2664" y="3434"/>
                  </a:lnTo>
                  <a:lnTo>
                    <a:pt x="2663" y="3434"/>
                  </a:lnTo>
                  <a:lnTo>
                    <a:pt x="2661" y="3432"/>
                  </a:lnTo>
                  <a:lnTo>
                    <a:pt x="2661" y="3434"/>
                  </a:lnTo>
                  <a:lnTo>
                    <a:pt x="2659" y="3434"/>
                  </a:lnTo>
                  <a:lnTo>
                    <a:pt x="2659" y="3432"/>
                  </a:lnTo>
                  <a:lnTo>
                    <a:pt x="2658" y="3432"/>
                  </a:lnTo>
                  <a:lnTo>
                    <a:pt x="2658" y="3434"/>
                  </a:lnTo>
                  <a:lnTo>
                    <a:pt x="2656" y="3434"/>
                  </a:lnTo>
                  <a:lnTo>
                    <a:pt x="2654" y="3434"/>
                  </a:lnTo>
                  <a:lnTo>
                    <a:pt x="2653" y="3432"/>
                  </a:lnTo>
                  <a:lnTo>
                    <a:pt x="2651" y="3434"/>
                  </a:lnTo>
                  <a:lnTo>
                    <a:pt x="2650" y="3434"/>
                  </a:lnTo>
                  <a:lnTo>
                    <a:pt x="2646" y="3435"/>
                  </a:lnTo>
                  <a:lnTo>
                    <a:pt x="2646" y="3437"/>
                  </a:lnTo>
                  <a:lnTo>
                    <a:pt x="2645" y="3437"/>
                  </a:lnTo>
                  <a:lnTo>
                    <a:pt x="2643" y="3437"/>
                  </a:lnTo>
                  <a:lnTo>
                    <a:pt x="2641" y="3437"/>
                  </a:lnTo>
                  <a:lnTo>
                    <a:pt x="2641" y="3435"/>
                  </a:lnTo>
                  <a:lnTo>
                    <a:pt x="2640" y="3435"/>
                  </a:lnTo>
                  <a:lnTo>
                    <a:pt x="2638" y="3434"/>
                  </a:lnTo>
                  <a:lnTo>
                    <a:pt x="2637" y="3434"/>
                  </a:lnTo>
                  <a:lnTo>
                    <a:pt x="2637" y="3432"/>
                  </a:lnTo>
                  <a:lnTo>
                    <a:pt x="2638" y="3430"/>
                  </a:lnTo>
                  <a:lnTo>
                    <a:pt x="2640" y="3430"/>
                  </a:lnTo>
                  <a:lnTo>
                    <a:pt x="2640" y="3429"/>
                  </a:lnTo>
                  <a:lnTo>
                    <a:pt x="2640" y="3427"/>
                  </a:lnTo>
                  <a:lnTo>
                    <a:pt x="2640" y="3425"/>
                  </a:lnTo>
                  <a:lnTo>
                    <a:pt x="2640" y="3422"/>
                  </a:lnTo>
                  <a:lnTo>
                    <a:pt x="2640" y="3421"/>
                  </a:lnTo>
                  <a:lnTo>
                    <a:pt x="2640" y="3419"/>
                  </a:lnTo>
                  <a:lnTo>
                    <a:pt x="2640" y="3417"/>
                  </a:lnTo>
                  <a:lnTo>
                    <a:pt x="2640" y="3416"/>
                  </a:lnTo>
                  <a:lnTo>
                    <a:pt x="2638" y="3416"/>
                  </a:lnTo>
                  <a:lnTo>
                    <a:pt x="2637" y="3416"/>
                  </a:lnTo>
                  <a:lnTo>
                    <a:pt x="2635" y="3414"/>
                  </a:lnTo>
                  <a:lnTo>
                    <a:pt x="2633" y="3414"/>
                  </a:lnTo>
                  <a:lnTo>
                    <a:pt x="2630" y="3416"/>
                  </a:lnTo>
                  <a:lnTo>
                    <a:pt x="2628" y="3416"/>
                  </a:lnTo>
                  <a:lnTo>
                    <a:pt x="2627" y="3414"/>
                  </a:lnTo>
                  <a:lnTo>
                    <a:pt x="2625" y="3414"/>
                  </a:lnTo>
                  <a:lnTo>
                    <a:pt x="2624" y="3414"/>
                  </a:lnTo>
                  <a:lnTo>
                    <a:pt x="2622" y="3414"/>
                  </a:lnTo>
                  <a:lnTo>
                    <a:pt x="2622" y="3416"/>
                  </a:lnTo>
                  <a:lnTo>
                    <a:pt x="2620" y="3416"/>
                  </a:lnTo>
                  <a:lnTo>
                    <a:pt x="2619" y="3414"/>
                  </a:lnTo>
                  <a:lnTo>
                    <a:pt x="2617" y="3414"/>
                  </a:lnTo>
                  <a:lnTo>
                    <a:pt x="2615" y="3414"/>
                  </a:lnTo>
                  <a:lnTo>
                    <a:pt x="2615" y="3412"/>
                  </a:lnTo>
                  <a:lnTo>
                    <a:pt x="2612" y="3412"/>
                  </a:lnTo>
                  <a:lnTo>
                    <a:pt x="2612" y="3411"/>
                  </a:lnTo>
                  <a:lnTo>
                    <a:pt x="2609" y="3411"/>
                  </a:lnTo>
                  <a:lnTo>
                    <a:pt x="2606" y="3411"/>
                  </a:lnTo>
                  <a:lnTo>
                    <a:pt x="2604" y="3412"/>
                  </a:lnTo>
                  <a:lnTo>
                    <a:pt x="2602" y="3412"/>
                  </a:lnTo>
                  <a:lnTo>
                    <a:pt x="2599" y="3411"/>
                  </a:lnTo>
                  <a:lnTo>
                    <a:pt x="2598" y="3412"/>
                  </a:lnTo>
                  <a:lnTo>
                    <a:pt x="2596" y="3412"/>
                  </a:lnTo>
                  <a:lnTo>
                    <a:pt x="2594" y="3414"/>
                  </a:lnTo>
                  <a:lnTo>
                    <a:pt x="2593" y="3414"/>
                  </a:lnTo>
                  <a:lnTo>
                    <a:pt x="2591" y="3414"/>
                  </a:lnTo>
                  <a:lnTo>
                    <a:pt x="2589" y="3414"/>
                  </a:lnTo>
                  <a:lnTo>
                    <a:pt x="2589" y="3416"/>
                  </a:lnTo>
                  <a:lnTo>
                    <a:pt x="2588" y="3417"/>
                  </a:lnTo>
                  <a:lnTo>
                    <a:pt x="2586" y="3417"/>
                  </a:lnTo>
                  <a:lnTo>
                    <a:pt x="2585" y="3416"/>
                  </a:lnTo>
                  <a:lnTo>
                    <a:pt x="2583" y="3416"/>
                  </a:lnTo>
                  <a:lnTo>
                    <a:pt x="2581" y="3417"/>
                  </a:lnTo>
                  <a:lnTo>
                    <a:pt x="2580" y="3416"/>
                  </a:lnTo>
                  <a:lnTo>
                    <a:pt x="2575" y="3417"/>
                  </a:lnTo>
                  <a:lnTo>
                    <a:pt x="2573" y="3417"/>
                  </a:lnTo>
                  <a:lnTo>
                    <a:pt x="2572" y="3417"/>
                  </a:lnTo>
                  <a:lnTo>
                    <a:pt x="2570" y="3417"/>
                  </a:lnTo>
                  <a:lnTo>
                    <a:pt x="2568" y="3417"/>
                  </a:lnTo>
                  <a:lnTo>
                    <a:pt x="2568" y="3416"/>
                  </a:lnTo>
                  <a:lnTo>
                    <a:pt x="2567" y="3416"/>
                  </a:lnTo>
                  <a:lnTo>
                    <a:pt x="2563" y="3416"/>
                  </a:lnTo>
                  <a:lnTo>
                    <a:pt x="2562" y="3414"/>
                  </a:lnTo>
                  <a:lnTo>
                    <a:pt x="2560" y="3414"/>
                  </a:lnTo>
                  <a:lnTo>
                    <a:pt x="2559" y="3412"/>
                  </a:lnTo>
                  <a:lnTo>
                    <a:pt x="2557" y="3414"/>
                  </a:lnTo>
                  <a:lnTo>
                    <a:pt x="2555" y="3414"/>
                  </a:lnTo>
                  <a:lnTo>
                    <a:pt x="2554" y="3414"/>
                  </a:lnTo>
                  <a:lnTo>
                    <a:pt x="2552" y="3412"/>
                  </a:lnTo>
                  <a:lnTo>
                    <a:pt x="2550" y="3412"/>
                  </a:lnTo>
                  <a:lnTo>
                    <a:pt x="2549" y="3411"/>
                  </a:lnTo>
                  <a:lnTo>
                    <a:pt x="2547" y="3409"/>
                  </a:lnTo>
                  <a:lnTo>
                    <a:pt x="2546" y="3409"/>
                  </a:lnTo>
                  <a:lnTo>
                    <a:pt x="2546" y="3407"/>
                  </a:lnTo>
                  <a:lnTo>
                    <a:pt x="2547" y="3406"/>
                  </a:lnTo>
                  <a:lnTo>
                    <a:pt x="2547" y="3404"/>
                  </a:lnTo>
                  <a:lnTo>
                    <a:pt x="2546" y="3404"/>
                  </a:lnTo>
                  <a:lnTo>
                    <a:pt x="2544" y="3404"/>
                  </a:lnTo>
                  <a:lnTo>
                    <a:pt x="2541" y="3403"/>
                  </a:lnTo>
                  <a:lnTo>
                    <a:pt x="2539" y="3404"/>
                  </a:lnTo>
                  <a:lnTo>
                    <a:pt x="2537" y="3403"/>
                  </a:lnTo>
                  <a:lnTo>
                    <a:pt x="2537" y="3404"/>
                  </a:lnTo>
                  <a:lnTo>
                    <a:pt x="2536" y="3404"/>
                  </a:lnTo>
                  <a:lnTo>
                    <a:pt x="2534" y="3404"/>
                  </a:lnTo>
                  <a:lnTo>
                    <a:pt x="2533" y="3403"/>
                  </a:lnTo>
                  <a:lnTo>
                    <a:pt x="2533" y="3401"/>
                  </a:lnTo>
                  <a:lnTo>
                    <a:pt x="2531" y="3403"/>
                  </a:lnTo>
                  <a:lnTo>
                    <a:pt x="2529" y="3403"/>
                  </a:lnTo>
                  <a:lnTo>
                    <a:pt x="2528" y="3403"/>
                  </a:lnTo>
                  <a:lnTo>
                    <a:pt x="2528" y="3401"/>
                  </a:lnTo>
                  <a:lnTo>
                    <a:pt x="2526" y="3401"/>
                  </a:lnTo>
                  <a:lnTo>
                    <a:pt x="2524" y="3401"/>
                  </a:lnTo>
                  <a:lnTo>
                    <a:pt x="2523" y="3403"/>
                  </a:lnTo>
                  <a:lnTo>
                    <a:pt x="2521" y="3404"/>
                  </a:lnTo>
                  <a:lnTo>
                    <a:pt x="2520" y="3404"/>
                  </a:lnTo>
                  <a:lnTo>
                    <a:pt x="2518" y="3404"/>
                  </a:lnTo>
                  <a:lnTo>
                    <a:pt x="2516" y="3403"/>
                  </a:lnTo>
                  <a:lnTo>
                    <a:pt x="2516" y="3404"/>
                  </a:lnTo>
                  <a:lnTo>
                    <a:pt x="2515" y="3406"/>
                  </a:lnTo>
                  <a:lnTo>
                    <a:pt x="2513" y="3406"/>
                  </a:lnTo>
                  <a:lnTo>
                    <a:pt x="2511" y="3407"/>
                  </a:lnTo>
                  <a:lnTo>
                    <a:pt x="2510" y="3409"/>
                  </a:lnTo>
                  <a:lnTo>
                    <a:pt x="2508" y="3409"/>
                  </a:lnTo>
                  <a:lnTo>
                    <a:pt x="2508" y="3411"/>
                  </a:lnTo>
                  <a:lnTo>
                    <a:pt x="2510" y="3412"/>
                  </a:lnTo>
                  <a:lnTo>
                    <a:pt x="2510" y="3414"/>
                  </a:lnTo>
                  <a:lnTo>
                    <a:pt x="2510" y="3416"/>
                  </a:lnTo>
                  <a:lnTo>
                    <a:pt x="2508" y="3416"/>
                  </a:lnTo>
                  <a:lnTo>
                    <a:pt x="2506" y="3414"/>
                  </a:lnTo>
                  <a:lnTo>
                    <a:pt x="2503" y="3414"/>
                  </a:lnTo>
                  <a:lnTo>
                    <a:pt x="2502" y="3414"/>
                  </a:lnTo>
                  <a:lnTo>
                    <a:pt x="2500" y="3414"/>
                  </a:lnTo>
                  <a:lnTo>
                    <a:pt x="2498" y="3414"/>
                  </a:lnTo>
                  <a:lnTo>
                    <a:pt x="2497" y="3416"/>
                  </a:lnTo>
                  <a:lnTo>
                    <a:pt x="2495" y="3416"/>
                  </a:lnTo>
                  <a:lnTo>
                    <a:pt x="2493" y="3414"/>
                  </a:lnTo>
                  <a:lnTo>
                    <a:pt x="2492" y="3414"/>
                  </a:lnTo>
                  <a:lnTo>
                    <a:pt x="2490" y="3414"/>
                  </a:lnTo>
                  <a:lnTo>
                    <a:pt x="2489" y="3414"/>
                  </a:lnTo>
                  <a:lnTo>
                    <a:pt x="2487" y="3414"/>
                  </a:lnTo>
                  <a:lnTo>
                    <a:pt x="2485" y="3414"/>
                  </a:lnTo>
                  <a:lnTo>
                    <a:pt x="2484" y="3414"/>
                  </a:lnTo>
                  <a:lnTo>
                    <a:pt x="2484" y="3412"/>
                  </a:lnTo>
                  <a:lnTo>
                    <a:pt x="2484" y="3411"/>
                  </a:lnTo>
                  <a:lnTo>
                    <a:pt x="2482" y="3411"/>
                  </a:lnTo>
                  <a:lnTo>
                    <a:pt x="2480" y="3411"/>
                  </a:lnTo>
                  <a:lnTo>
                    <a:pt x="2479" y="3411"/>
                  </a:lnTo>
                  <a:lnTo>
                    <a:pt x="2479" y="3412"/>
                  </a:lnTo>
                  <a:lnTo>
                    <a:pt x="2477" y="3414"/>
                  </a:lnTo>
                  <a:lnTo>
                    <a:pt x="2476" y="3414"/>
                  </a:lnTo>
                  <a:lnTo>
                    <a:pt x="2474" y="3414"/>
                  </a:lnTo>
                  <a:lnTo>
                    <a:pt x="2474" y="3416"/>
                  </a:lnTo>
                  <a:lnTo>
                    <a:pt x="2474" y="3417"/>
                  </a:lnTo>
                  <a:lnTo>
                    <a:pt x="2474" y="3419"/>
                  </a:lnTo>
                  <a:lnTo>
                    <a:pt x="2472" y="3419"/>
                  </a:lnTo>
                  <a:lnTo>
                    <a:pt x="2471" y="3421"/>
                  </a:lnTo>
                  <a:lnTo>
                    <a:pt x="2469" y="3422"/>
                  </a:lnTo>
                  <a:lnTo>
                    <a:pt x="2467" y="3424"/>
                  </a:lnTo>
                  <a:lnTo>
                    <a:pt x="2466" y="3424"/>
                  </a:lnTo>
                  <a:lnTo>
                    <a:pt x="2464" y="3422"/>
                  </a:lnTo>
                  <a:lnTo>
                    <a:pt x="2463" y="3422"/>
                  </a:lnTo>
                  <a:lnTo>
                    <a:pt x="2461" y="3422"/>
                  </a:lnTo>
                  <a:lnTo>
                    <a:pt x="2461" y="3424"/>
                  </a:lnTo>
                  <a:lnTo>
                    <a:pt x="2459" y="3424"/>
                  </a:lnTo>
                  <a:lnTo>
                    <a:pt x="2461" y="3425"/>
                  </a:lnTo>
                  <a:lnTo>
                    <a:pt x="2459" y="3425"/>
                  </a:lnTo>
                  <a:lnTo>
                    <a:pt x="2458" y="3425"/>
                  </a:lnTo>
                  <a:lnTo>
                    <a:pt x="2456" y="3427"/>
                  </a:lnTo>
                  <a:lnTo>
                    <a:pt x="2454" y="3429"/>
                  </a:lnTo>
                  <a:lnTo>
                    <a:pt x="2453" y="3430"/>
                  </a:lnTo>
                  <a:lnTo>
                    <a:pt x="2451" y="3430"/>
                  </a:lnTo>
                  <a:lnTo>
                    <a:pt x="2451" y="3432"/>
                  </a:lnTo>
                  <a:lnTo>
                    <a:pt x="2450" y="3434"/>
                  </a:lnTo>
                  <a:lnTo>
                    <a:pt x="2450" y="3435"/>
                  </a:lnTo>
                  <a:lnTo>
                    <a:pt x="2448" y="3435"/>
                  </a:lnTo>
                  <a:lnTo>
                    <a:pt x="2446" y="3435"/>
                  </a:lnTo>
                  <a:lnTo>
                    <a:pt x="2445" y="3434"/>
                  </a:lnTo>
                  <a:lnTo>
                    <a:pt x="2443" y="3434"/>
                  </a:lnTo>
                  <a:lnTo>
                    <a:pt x="2441" y="3435"/>
                  </a:lnTo>
                  <a:lnTo>
                    <a:pt x="2440" y="3435"/>
                  </a:lnTo>
                  <a:lnTo>
                    <a:pt x="2438" y="3437"/>
                  </a:lnTo>
                  <a:lnTo>
                    <a:pt x="2437" y="3437"/>
                  </a:lnTo>
                  <a:lnTo>
                    <a:pt x="2437" y="3435"/>
                  </a:lnTo>
                  <a:lnTo>
                    <a:pt x="2433" y="3437"/>
                  </a:lnTo>
                  <a:lnTo>
                    <a:pt x="2432" y="3437"/>
                  </a:lnTo>
                  <a:lnTo>
                    <a:pt x="2432" y="3435"/>
                  </a:lnTo>
                  <a:lnTo>
                    <a:pt x="2430" y="3435"/>
                  </a:lnTo>
                  <a:lnTo>
                    <a:pt x="2428" y="3435"/>
                  </a:lnTo>
                  <a:lnTo>
                    <a:pt x="2428" y="3437"/>
                  </a:lnTo>
                  <a:lnTo>
                    <a:pt x="2428" y="3438"/>
                  </a:lnTo>
                  <a:lnTo>
                    <a:pt x="2428" y="3440"/>
                  </a:lnTo>
                  <a:lnTo>
                    <a:pt x="2427" y="3442"/>
                  </a:lnTo>
                  <a:lnTo>
                    <a:pt x="2425" y="3442"/>
                  </a:lnTo>
                  <a:lnTo>
                    <a:pt x="2425" y="3445"/>
                  </a:lnTo>
                  <a:lnTo>
                    <a:pt x="2424" y="3445"/>
                  </a:lnTo>
                  <a:lnTo>
                    <a:pt x="2422" y="3443"/>
                  </a:lnTo>
                  <a:lnTo>
                    <a:pt x="2420" y="3443"/>
                  </a:lnTo>
                  <a:lnTo>
                    <a:pt x="2419" y="3443"/>
                  </a:lnTo>
                  <a:lnTo>
                    <a:pt x="2417" y="3443"/>
                  </a:lnTo>
                  <a:lnTo>
                    <a:pt x="2415" y="3443"/>
                  </a:lnTo>
                  <a:lnTo>
                    <a:pt x="2414" y="3443"/>
                  </a:lnTo>
                  <a:lnTo>
                    <a:pt x="2414" y="3445"/>
                  </a:lnTo>
                  <a:lnTo>
                    <a:pt x="2414" y="3447"/>
                  </a:lnTo>
                  <a:lnTo>
                    <a:pt x="2412" y="3447"/>
                  </a:lnTo>
                  <a:lnTo>
                    <a:pt x="2412" y="3448"/>
                  </a:lnTo>
                  <a:lnTo>
                    <a:pt x="2409" y="3447"/>
                  </a:lnTo>
                  <a:lnTo>
                    <a:pt x="2407" y="3447"/>
                  </a:lnTo>
                  <a:lnTo>
                    <a:pt x="2407" y="3448"/>
                  </a:lnTo>
                  <a:lnTo>
                    <a:pt x="2407" y="3450"/>
                  </a:lnTo>
                  <a:lnTo>
                    <a:pt x="2406" y="3450"/>
                  </a:lnTo>
                  <a:lnTo>
                    <a:pt x="2402" y="3450"/>
                  </a:lnTo>
                  <a:lnTo>
                    <a:pt x="2401" y="3448"/>
                  </a:lnTo>
                  <a:lnTo>
                    <a:pt x="2399" y="3448"/>
                  </a:lnTo>
                  <a:lnTo>
                    <a:pt x="2398" y="3448"/>
                  </a:lnTo>
                  <a:lnTo>
                    <a:pt x="2396" y="3447"/>
                  </a:lnTo>
                  <a:lnTo>
                    <a:pt x="2393" y="3448"/>
                  </a:lnTo>
                  <a:lnTo>
                    <a:pt x="2391" y="3447"/>
                  </a:lnTo>
                  <a:lnTo>
                    <a:pt x="2389" y="3447"/>
                  </a:lnTo>
                  <a:lnTo>
                    <a:pt x="2388" y="3447"/>
                  </a:lnTo>
                  <a:lnTo>
                    <a:pt x="2386" y="3445"/>
                  </a:lnTo>
                  <a:lnTo>
                    <a:pt x="2385" y="3447"/>
                  </a:lnTo>
                  <a:lnTo>
                    <a:pt x="2383" y="3447"/>
                  </a:lnTo>
                  <a:lnTo>
                    <a:pt x="2381" y="3445"/>
                  </a:lnTo>
                  <a:lnTo>
                    <a:pt x="2380" y="3445"/>
                  </a:lnTo>
                  <a:lnTo>
                    <a:pt x="2380" y="3442"/>
                  </a:lnTo>
                  <a:lnTo>
                    <a:pt x="2378" y="3442"/>
                  </a:lnTo>
                  <a:lnTo>
                    <a:pt x="2376" y="3440"/>
                  </a:lnTo>
                  <a:lnTo>
                    <a:pt x="2375" y="3440"/>
                  </a:lnTo>
                  <a:lnTo>
                    <a:pt x="2375" y="3442"/>
                  </a:lnTo>
                  <a:lnTo>
                    <a:pt x="2373" y="3443"/>
                  </a:lnTo>
                  <a:lnTo>
                    <a:pt x="2373" y="3445"/>
                  </a:lnTo>
                  <a:lnTo>
                    <a:pt x="2372" y="3447"/>
                  </a:lnTo>
                  <a:lnTo>
                    <a:pt x="2368" y="3448"/>
                  </a:lnTo>
                  <a:lnTo>
                    <a:pt x="2367" y="3448"/>
                  </a:lnTo>
                  <a:lnTo>
                    <a:pt x="2365" y="3447"/>
                  </a:lnTo>
                  <a:lnTo>
                    <a:pt x="2362" y="3447"/>
                  </a:lnTo>
                  <a:lnTo>
                    <a:pt x="2360" y="3447"/>
                  </a:lnTo>
                  <a:lnTo>
                    <a:pt x="2354" y="3448"/>
                  </a:lnTo>
                  <a:lnTo>
                    <a:pt x="2352" y="3448"/>
                  </a:lnTo>
                  <a:lnTo>
                    <a:pt x="2352" y="3447"/>
                  </a:lnTo>
                  <a:lnTo>
                    <a:pt x="2350" y="3447"/>
                  </a:lnTo>
                  <a:lnTo>
                    <a:pt x="2350" y="3448"/>
                  </a:lnTo>
                  <a:lnTo>
                    <a:pt x="2349" y="3448"/>
                  </a:lnTo>
                  <a:lnTo>
                    <a:pt x="2347" y="3448"/>
                  </a:lnTo>
                  <a:lnTo>
                    <a:pt x="2347" y="3450"/>
                  </a:lnTo>
                  <a:lnTo>
                    <a:pt x="2347" y="3451"/>
                  </a:lnTo>
                  <a:lnTo>
                    <a:pt x="2345" y="3451"/>
                  </a:lnTo>
                  <a:lnTo>
                    <a:pt x="2342" y="3451"/>
                  </a:lnTo>
                  <a:lnTo>
                    <a:pt x="2341" y="3450"/>
                  </a:lnTo>
                  <a:lnTo>
                    <a:pt x="2337" y="3450"/>
                  </a:lnTo>
                  <a:lnTo>
                    <a:pt x="2336" y="3448"/>
                  </a:lnTo>
                  <a:lnTo>
                    <a:pt x="2334" y="3450"/>
                  </a:lnTo>
                  <a:lnTo>
                    <a:pt x="2332" y="3451"/>
                  </a:lnTo>
                  <a:lnTo>
                    <a:pt x="2331" y="3451"/>
                  </a:lnTo>
                  <a:lnTo>
                    <a:pt x="2329" y="3451"/>
                  </a:lnTo>
                  <a:lnTo>
                    <a:pt x="2328" y="3450"/>
                  </a:lnTo>
                  <a:lnTo>
                    <a:pt x="2326" y="3450"/>
                  </a:lnTo>
                  <a:lnTo>
                    <a:pt x="2324" y="3450"/>
                  </a:lnTo>
                  <a:lnTo>
                    <a:pt x="2324" y="3448"/>
                  </a:lnTo>
                  <a:lnTo>
                    <a:pt x="2323" y="3447"/>
                  </a:lnTo>
                  <a:lnTo>
                    <a:pt x="2321" y="3447"/>
                  </a:lnTo>
                  <a:lnTo>
                    <a:pt x="2319" y="3448"/>
                  </a:lnTo>
                  <a:lnTo>
                    <a:pt x="2316" y="3448"/>
                  </a:lnTo>
                  <a:lnTo>
                    <a:pt x="2313" y="3448"/>
                  </a:lnTo>
                  <a:lnTo>
                    <a:pt x="2311" y="3448"/>
                  </a:lnTo>
                  <a:lnTo>
                    <a:pt x="2308" y="3448"/>
                  </a:lnTo>
                  <a:lnTo>
                    <a:pt x="2306" y="3447"/>
                  </a:lnTo>
                  <a:lnTo>
                    <a:pt x="2303" y="3448"/>
                  </a:lnTo>
                  <a:lnTo>
                    <a:pt x="2302" y="3448"/>
                  </a:lnTo>
                  <a:lnTo>
                    <a:pt x="2300" y="3447"/>
                  </a:lnTo>
                  <a:lnTo>
                    <a:pt x="2298" y="3447"/>
                  </a:lnTo>
                  <a:lnTo>
                    <a:pt x="2298" y="3445"/>
                  </a:lnTo>
                  <a:lnTo>
                    <a:pt x="2297" y="3445"/>
                  </a:lnTo>
                  <a:lnTo>
                    <a:pt x="2297" y="3447"/>
                  </a:lnTo>
                  <a:lnTo>
                    <a:pt x="2295" y="3448"/>
                  </a:lnTo>
                  <a:lnTo>
                    <a:pt x="2293" y="3450"/>
                  </a:lnTo>
                  <a:lnTo>
                    <a:pt x="2292" y="3450"/>
                  </a:lnTo>
                  <a:lnTo>
                    <a:pt x="2292" y="3451"/>
                  </a:lnTo>
                  <a:lnTo>
                    <a:pt x="2290" y="3455"/>
                  </a:lnTo>
                  <a:lnTo>
                    <a:pt x="2289" y="3456"/>
                  </a:lnTo>
                  <a:lnTo>
                    <a:pt x="2287" y="3456"/>
                  </a:lnTo>
                  <a:lnTo>
                    <a:pt x="2285" y="3456"/>
                  </a:lnTo>
                  <a:lnTo>
                    <a:pt x="2284" y="3456"/>
                  </a:lnTo>
                  <a:lnTo>
                    <a:pt x="2282" y="3456"/>
                  </a:lnTo>
                  <a:lnTo>
                    <a:pt x="2282" y="3455"/>
                  </a:lnTo>
                  <a:lnTo>
                    <a:pt x="2280" y="3455"/>
                  </a:lnTo>
                  <a:lnTo>
                    <a:pt x="2279" y="3456"/>
                  </a:lnTo>
                  <a:lnTo>
                    <a:pt x="2277" y="3456"/>
                  </a:lnTo>
                  <a:lnTo>
                    <a:pt x="2276" y="3456"/>
                  </a:lnTo>
                  <a:lnTo>
                    <a:pt x="2274" y="3458"/>
                  </a:lnTo>
                  <a:lnTo>
                    <a:pt x="2272" y="3458"/>
                  </a:lnTo>
                  <a:lnTo>
                    <a:pt x="2271" y="3458"/>
                  </a:lnTo>
                  <a:lnTo>
                    <a:pt x="2269" y="3458"/>
                  </a:lnTo>
                  <a:lnTo>
                    <a:pt x="2267" y="3458"/>
                  </a:lnTo>
                  <a:lnTo>
                    <a:pt x="2266" y="3458"/>
                  </a:lnTo>
                  <a:lnTo>
                    <a:pt x="2264" y="3458"/>
                  </a:lnTo>
                  <a:lnTo>
                    <a:pt x="2263" y="3458"/>
                  </a:lnTo>
                  <a:lnTo>
                    <a:pt x="2263" y="3460"/>
                  </a:lnTo>
                  <a:lnTo>
                    <a:pt x="2261" y="3460"/>
                  </a:lnTo>
                  <a:lnTo>
                    <a:pt x="2259" y="3460"/>
                  </a:lnTo>
                  <a:lnTo>
                    <a:pt x="2258" y="3460"/>
                  </a:lnTo>
                  <a:lnTo>
                    <a:pt x="2256" y="3460"/>
                  </a:lnTo>
                  <a:lnTo>
                    <a:pt x="2254" y="3461"/>
                  </a:lnTo>
                  <a:lnTo>
                    <a:pt x="2253" y="3463"/>
                  </a:lnTo>
                  <a:lnTo>
                    <a:pt x="2251" y="3464"/>
                  </a:lnTo>
                  <a:lnTo>
                    <a:pt x="2250" y="3464"/>
                  </a:lnTo>
                  <a:lnTo>
                    <a:pt x="2248" y="3464"/>
                  </a:lnTo>
                  <a:lnTo>
                    <a:pt x="2248" y="3466"/>
                  </a:lnTo>
                  <a:lnTo>
                    <a:pt x="2246" y="3466"/>
                  </a:lnTo>
                  <a:lnTo>
                    <a:pt x="2246" y="3468"/>
                  </a:lnTo>
                  <a:lnTo>
                    <a:pt x="2245" y="3468"/>
                  </a:lnTo>
                  <a:lnTo>
                    <a:pt x="2243" y="3468"/>
                  </a:lnTo>
                  <a:lnTo>
                    <a:pt x="2243" y="3469"/>
                  </a:lnTo>
                  <a:lnTo>
                    <a:pt x="2243" y="3471"/>
                  </a:lnTo>
                  <a:lnTo>
                    <a:pt x="2245" y="3473"/>
                  </a:lnTo>
                  <a:lnTo>
                    <a:pt x="2245" y="3474"/>
                  </a:lnTo>
                  <a:lnTo>
                    <a:pt x="2243" y="3476"/>
                  </a:lnTo>
                  <a:lnTo>
                    <a:pt x="2243" y="3477"/>
                  </a:lnTo>
                  <a:lnTo>
                    <a:pt x="2243" y="3481"/>
                  </a:lnTo>
                  <a:lnTo>
                    <a:pt x="2243" y="3482"/>
                  </a:lnTo>
                  <a:lnTo>
                    <a:pt x="2243" y="3484"/>
                  </a:lnTo>
                  <a:lnTo>
                    <a:pt x="2243" y="3486"/>
                  </a:lnTo>
                  <a:lnTo>
                    <a:pt x="2243" y="3487"/>
                  </a:lnTo>
                  <a:lnTo>
                    <a:pt x="2243" y="3489"/>
                  </a:lnTo>
                  <a:lnTo>
                    <a:pt x="2243" y="3490"/>
                  </a:lnTo>
                  <a:lnTo>
                    <a:pt x="2243" y="3492"/>
                  </a:lnTo>
                  <a:lnTo>
                    <a:pt x="2243" y="3494"/>
                  </a:lnTo>
                  <a:lnTo>
                    <a:pt x="2243" y="3495"/>
                  </a:lnTo>
                  <a:lnTo>
                    <a:pt x="2245" y="3497"/>
                  </a:lnTo>
                  <a:lnTo>
                    <a:pt x="2243" y="3497"/>
                  </a:lnTo>
                  <a:lnTo>
                    <a:pt x="2241" y="3497"/>
                  </a:lnTo>
                  <a:lnTo>
                    <a:pt x="2240" y="3497"/>
                  </a:lnTo>
                  <a:lnTo>
                    <a:pt x="2238" y="3497"/>
                  </a:lnTo>
                  <a:lnTo>
                    <a:pt x="2237" y="3497"/>
                  </a:lnTo>
                  <a:lnTo>
                    <a:pt x="2237" y="3495"/>
                  </a:lnTo>
                  <a:lnTo>
                    <a:pt x="2235" y="3495"/>
                  </a:lnTo>
                  <a:lnTo>
                    <a:pt x="2233" y="3495"/>
                  </a:lnTo>
                  <a:lnTo>
                    <a:pt x="2233" y="3494"/>
                  </a:lnTo>
                  <a:lnTo>
                    <a:pt x="2230" y="3492"/>
                  </a:lnTo>
                  <a:lnTo>
                    <a:pt x="2227" y="3487"/>
                  </a:lnTo>
                  <a:lnTo>
                    <a:pt x="2227" y="3486"/>
                  </a:lnTo>
                  <a:lnTo>
                    <a:pt x="2225" y="3486"/>
                  </a:lnTo>
                  <a:lnTo>
                    <a:pt x="2224" y="3486"/>
                  </a:lnTo>
                  <a:lnTo>
                    <a:pt x="2222" y="3486"/>
                  </a:lnTo>
                  <a:lnTo>
                    <a:pt x="2219" y="3484"/>
                  </a:lnTo>
                  <a:lnTo>
                    <a:pt x="2217" y="3484"/>
                  </a:lnTo>
                  <a:lnTo>
                    <a:pt x="2215" y="3484"/>
                  </a:lnTo>
                  <a:lnTo>
                    <a:pt x="2214" y="3484"/>
                  </a:lnTo>
                  <a:lnTo>
                    <a:pt x="2212" y="3484"/>
                  </a:lnTo>
                  <a:lnTo>
                    <a:pt x="2210" y="3484"/>
                  </a:lnTo>
                  <a:lnTo>
                    <a:pt x="2209" y="3484"/>
                  </a:lnTo>
                  <a:lnTo>
                    <a:pt x="2209" y="3482"/>
                  </a:lnTo>
                  <a:lnTo>
                    <a:pt x="2207" y="3482"/>
                  </a:lnTo>
                  <a:lnTo>
                    <a:pt x="2206" y="3482"/>
                  </a:lnTo>
                  <a:lnTo>
                    <a:pt x="2206" y="3481"/>
                  </a:lnTo>
                  <a:lnTo>
                    <a:pt x="2202" y="3477"/>
                  </a:lnTo>
                  <a:lnTo>
                    <a:pt x="2201" y="3476"/>
                  </a:lnTo>
                  <a:lnTo>
                    <a:pt x="2199" y="3476"/>
                  </a:lnTo>
                  <a:lnTo>
                    <a:pt x="2197" y="3476"/>
                  </a:lnTo>
                  <a:lnTo>
                    <a:pt x="2196" y="3476"/>
                  </a:lnTo>
                  <a:lnTo>
                    <a:pt x="2194" y="3476"/>
                  </a:lnTo>
                  <a:lnTo>
                    <a:pt x="2193" y="3474"/>
                  </a:lnTo>
                  <a:lnTo>
                    <a:pt x="2191" y="3474"/>
                  </a:lnTo>
                  <a:lnTo>
                    <a:pt x="2189" y="3473"/>
                  </a:lnTo>
                  <a:lnTo>
                    <a:pt x="2188" y="3473"/>
                  </a:lnTo>
                  <a:lnTo>
                    <a:pt x="2186" y="3471"/>
                  </a:lnTo>
                  <a:lnTo>
                    <a:pt x="2184" y="3471"/>
                  </a:lnTo>
                  <a:lnTo>
                    <a:pt x="2183" y="3469"/>
                  </a:lnTo>
                  <a:lnTo>
                    <a:pt x="2181" y="3469"/>
                  </a:lnTo>
                  <a:lnTo>
                    <a:pt x="2178" y="3468"/>
                  </a:lnTo>
                  <a:lnTo>
                    <a:pt x="2176" y="3466"/>
                  </a:lnTo>
                  <a:lnTo>
                    <a:pt x="2175" y="3466"/>
                  </a:lnTo>
                  <a:lnTo>
                    <a:pt x="2173" y="3464"/>
                  </a:lnTo>
                  <a:lnTo>
                    <a:pt x="2171" y="3464"/>
                  </a:lnTo>
                  <a:lnTo>
                    <a:pt x="2170" y="3464"/>
                  </a:lnTo>
                  <a:lnTo>
                    <a:pt x="2170" y="3463"/>
                  </a:lnTo>
                  <a:lnTo>
                    <a:pt x="2168" y="3461"/>
                  </a:lnTo>
                  <a:lnTo>
                    <a:pt x="2167" y="3461"/>
                  </a:lnTo>
                  <a:lnTo>
                    <a:pt x="2165" y="3461"/>
                  </a:lnTo>
                  <a:lnTo>
                    <a:pt x="2165" y="3460"/>
                  </a:lnTo>
                  <a:lnTo>
                    <a:pt x="2163" y="3460"/>
                  </a:lnTo>
                  <a:lnTo>
                    <a:pt x="2162" y="3458"/>
                  </a:lnTo>
                  <a:lnTo>
                    <a:pt x="2160" y="3456"/>
                  </a:lnTo>
                  <a:lnTo>
                    <a:pt x="2158" y="3456"/>
                  </a:lnTo>
                  <a:lnTo>
                    <a:pt x="2157" y="3456"/>
                  </a:lnTo>
                  <a:lnTo>
                    <a:pt x="2155" y="3455"/>
                  </a:lnTo>
                  <a:lnTo>
                    <a:pt x="2154" y="3455"/>
                  </a:lnTo>
                  <a:lnTo>
                    <a:pt x="2152" y="3455"/>
                  </a:lnTo>
                  <a:lnTo>
                    <a:pt x="2149" y="3451"/>
                  </a:lnTo>
                  <a:lnTo>
                    <a:pt x="2147" y="3450"/>
                  </a:lnTo>
                  <a:lnTo>
                    <a:pt x="2145" y="3450"/>
                  </a:lnTo>
                  <a:lnTo>
                    <a:pt x="2144" y="3450"/>
                  </a:lnTo>
                  <a:lnTo>
                    <a:pt x="2142" y="3448"/>
                  </a:lnTo>
                  <a:lnTo>
                    <a:pt x="2141" y="3448"/>
                  </a:lnTo>
                  <a:lnTo>
                    <a:pt x="2139" y="3448"/>
                  </a:lnTo>
                  <a:lnTo>
                    <a:pt x="2137" y="3448"/>
                  </a:lnTo>
                  <a:lnTo>
                    <a:pt x="2137" y="3447"/>
                  </a:lnTo>
                  <a:lnTo>
                    <a:pt x="2136" y="3447"/>
                  </a:lnTo>
                  <a:lnTo>
                    <a:pt x="2134" y="3447"/>
                  </a:lnTo>
                  <a:lnTo>
                    <a:pt x="2132" y="3447"/>
                  </a:lnTo>
                  <a:lnTo>
                    <a:pt x="2131" y="3447"/>
                  </a:lnTo>
                  <a:lnTo>
                    <a:pt x="2131" y="3445"/>
                  </a:lnTo>
                  <a:lnTo>
                    <a:pt x="2129" y="3445"/>
                  </a:lnTo>
                  <a:lnTo>
                    <a:pt x="2126" y="3443"/>
                  </a:lnTo>
                  <a:lnTo>
                    <a:pt x="2124" y="3442"/>
                  </a:lnTo>
                  <a:lnTo>
                    <a:pt x="2121" y="3440"/>
                  </a:lnTo>
                  <a:lnTo>
                    <a:pt x="2119" y="3440"/>
                  </a:lnTo>
                  <a:lnTo>
                    <a:pt x="2119" y="3438"/>
                  </a:lnTo>
                  <a:lnTo>
                    <a:pt x="2119" y="3440"/>
                  </a:lnTo>
                  <a:lnTo>
                    <a:pt x="2119" y="3438"/>
                  </a:lnTo>
                  <a:lnTo>
                    <a:pt x="2118" y="3438"/>
                  </a:lnTo>
                  <a:lnTo>
                    <a:pt x="2118" y="3440"/>
                  </a:lnTo>
                  <a:lnTo>
                    <a:pt x="2118" y="3438"/>
                  </a:lnTo>
                  <a:lnTo>
                    <a:pt x="2116" y="3438"/>
                  </a:lnTo>
                  <a:lnTo>
                    <a:pt x="2116" y="3440"/>
                  </a:lnTo>
                  <a:lnTo>
                    <a:pt x="2116" y="3438"/>
                  </a:lnTo>
                  <a:lnTo>
                    <a:pt x="2116" y="3440"/>
                  </a:lnTo>
                  <a:lnTo>
                    <a:pt x="2115" y="3440"/>
                  </a:lnTo>
                  <a:lnTo>
                    <a:pt x="2115" y="3438"/>
                  </a:lnTo>
                  <a:lnTo>
                    <a:pt x="2113" y="3437"/>
                  </a:lnTo>
                  <a:lnTo>
                    <a:pt x="2111" y="3435"/>
                  </a:lnTo>
                  <a:lnTo>
                    <a:pt x="2110" y="3434"/>
                  </a:lnTo>
                  <a:lnTo>
                    <a:pt x="2108" y="3434"/>
                  </a:lnTo>
                  <a:lnTo>
                    <a:pt x="2108" y="3432"/>
                  </a:lnTo>
                  <a:lnTo>
                    <a:pt x="2108" y="3434"/>
                  </a:lnTo>
                  <a:lnTo>
                    <a:pt x="2106" y="3432"/>
                  </a:lnTo>
                  <a:lnTo>
                    <a:pt x="2105" y="3432"/>
                  </a:lnTo>
                  <a:lnTo>
                    <a:pt x="2105" y="3434"/>
                  </a:lnTo>
                  <a:lnTo>
                    <a:pt x="2103" y="3434"/>
                  </a:lnTo>
                  <a:lnTo>
                    <a:pt x="2102" y="3434"/>
                  </a:lnTo>
                  <a:lnTo>
                    <a:pt x="2098" y="3432"/>
                  </a:lnTo>
                  <a:lnTo>
                    <a:pt x="2097" y="3434"/>
                  </a:lnTo>
                  <a:lnTo>
                    <a:pt x="2095" y="3434"/>
                  </a:lnTo>
                  <a:lnTo>
                    <a:pt x="2093" y="3434"/>
                  </a:lnTo>
                  <a:lnTo>
                    <a:pt x="2093" y="3432"/>
                  </a:lnTo>
                  <a:lnTo>
                    <a:pt x="2092" y="3432"/>
                  </a:lnTo>
                  <a:lnTo>
                    <a:pt x="2092" y="3430"/>
                  </a:lnTo>
                  <a:lnTo>
                    <a:pt x="2090" y="3430"/>
                  </a:lnTo>
                  <a:lnTo>
                    <a:pt x="2089" y="3429"/>
                  </a:lnTo>
                  <a:lnTo>
                    <a:pt x="2087" y="3429"/>
                  </a:lnTo>
                  <a:lnTo>
                    <a:pt x="2087" y="3427"/>
                  </a:lnTo>
                  <a:lnTo>
                    <a:pt x="2085" y="3427"/>
                  </a:lnTo>
                  <a:lnTo>
                    <a:pt x="2085" y="3425"/>
                  </a:lnTo>
                  <a:lnTo>
                    <a:pt x="2084" y="3425"/>
                  </a:lnTo>
                  <a:lnTo>
                    <a:pt x="2082" y="3425"/>
                  </a:lnTo>
                  <a:lnTo>
                    <a:pt x="2082" y="3424"/>
                  </a:lnTo>
                  <a:lnTo>
                    <a:pt x="2080" y="3424"/>
                  </a:lnTo>
                  <a:lnTo>
                    <a:pt x="2079" y="3424"/>
                  </a:lnTo>
                  <a:lnTo>
                    <a:pt x="2077" y="3424"/>
                  </a:lnTo>
                  <a:lnTo>
                    <a:pt x="2076" y="3424"/>
                  </a:lnTo>
                  <a:lnTo>
                    <a:pt x="2074" y="3425"/>
                  </a:lnTo>
                  <a:lnTo>
                    <a:pt x="2072" y="3424"/>
                  </a:lnTo>
                  <a:lnTo>
                    <a:pt x="2071" y="3425"/>
                  </a:lnTo>
                  <a:lnTo>
                    <a:pt x="2069" y="3425"/>
                  </a:lnTo>
                  <a:lnTo>
                    <a:pt x="2067" y="3425"/>
                  </a:lnTo>
                  <a:lnTo>
                    <a:pt x="2066" y="3425"/>
                  </a:lnTo>
                  <a:lnTo>
                    <a:pt x="2064" y="3425"/>
                  </a:lnTo>
                  <a:lnTo>
                    <a:pt x="2062" y="3424"/>
                  </a:lnTo>
                  <a:lnTo>
                    <a:pt x="2062" y="3425"/>
                  </a:lnTo>
                  <a:lnTo>
                    <a:pt x="2061" y="3425"/>
                  </a:lnTo>
                  <a:lnTo>
                    <a:pt x="2059" y="3424"/>
                  </a:lnTo>
                  <a:lnTo>
                    <a:pt x="2058" y="3424"/>
                  </a:lnTo>
                  <a:lnTo>
                    <a:pt x="2054" y="3425"/>
                  </a:lnTo>
                  <a:lnTo>
                    <a:pt x="2054" y="3424"/>
                  </a:lnTo>
                  <a:lnTo>
                    <a:pt x="2053" y="3425"/>
                  </a:lnTo>
                  <a:lnTo>
                    <a:pt x="2048" y="3425"/>
                  </a:lnTo>
                  <a:lnTo>
                    <a:pt x="2046" y="3425"/>
                  </a:lnTo>
                  <a:lnTo>
                    <a:pt x="2045" y="3425"/>
                  </a:lnTo>
                  <a:lnTo>
                    <a:pt x="2045" y="3427"/>
                  </a:lnTo>
                  <a:lnTo>
                    <a:pt x="2043" y="3427"/>
                  </a:lnTo>
                  <a:lnTo>
                    <a:pt x="2041" y="3427"/>
                  </a:lnTo>
                  <a:lnTo>
                    <a:pt x="2040" y="3429"/>
                  </a:lnTo>
                  <a:lnTo>
                    <a:pt x="2038" y="3429"/>
                  </a:lnTo>
                  <a:lnTo>
                    <a:pt x="2036" y="3429"/>
                  </a:lnTo>
                  <a:lnTo>
                    <a:pt x="2035" y="3429"/>
                  </a:lnTo>
                  <a:lnTo>
                    <a:pt x="2033" y="3429"/>
                  </a:lnTo>
                  <a:lnTo>
                    <a:pt x="2033" y="3427"/>
                  </a:lnTo>
                  <a:lnTo>
                    <a:pt x="2033" y="3429"/>
                  </a:lnTo>
                  <a:lnTo>
                    <a:pt x="2032" y="3427"/>
                  </a:lnTo>
                  <a:lnTo>
                    <a:pt x="2030" y="3427"/>
                  </a:lnTo>
                  <a:lnTo>
                    <a:pt x="2028" y="3427"/>
                  </a:lnTo>
                  <a:lnTo>
                    <a:pt x="2025" y="3427"/>
                  </a:lnTo>
                  <a:lnTo>
                    <a:pt x="2023" y="3429"/>
                  </a:lnTo>
                  <a:lnTo>
                    <a:pt x="2022" y="3429"/>
                  </a:lnTo>
                  <a:lnTo>
                    <a:pt x="2020" y="3429"/>
                  </a:lnTo>
                  <a:lnTo>
                    <a:pt x="2019" y="3429"/>
                  </a:lnTo>
                  <a:lnTo>
                    <a:pt x="2019" y="3427"/>
                  </a:lnTo>
                  <a:lnTo>
                    <a:pt x="2017" y="3427"/>
                  </a:lnTo>
                  <a:lnTo>
                    <a:pt x="2015" y="3425"/>
                  </a:lnTo>
                  <a:lnTo>
                    <a:pt x="2014" y="3425"/>
                  </a:lnTo>
                  <a:lnTo>
                    <a:pt x="2012" y="3425"/>
                  </a:lnTo>
                  <a:lnTo>
                    <a:pt x="2012" y="3424"/>
                  </a:lnTo>
                  <a:lnTo>
                    <a:pt x="2010" y="3424"/>
                  </a:lnTo>
                  <a:lnTo>
                    <a:pt x="2010" y="3422"/>
                  </a:lnTo>
                  <a:lnTo>
                    <a:pt x="2009" y="3422"/>
                  </a:lnTo>
                  <a:lnTo>
                    <a:pt x="2009" y="3421"/>
                  </a:lnTo>
                  <a:lnTo>
                    <a:pt x="2007" y="3421"/>
                  </a:lnTo>
                  <a:lnTo>
                    <a:pt x="2006" y="3419"/>
                  </a:lnTo>
                  <a:lnTo>
                    <a:pt x="2004" y="3419"/>
                  </a:lnTo>
                  <a:lnTo>
                    <a:pt x="2002" y="3417"/>
                  </a:lnTo>
                  <a:lnTo>
                    <a:pt x="2001" y="3417"/>
                  </a:lnTo>
                  <a:lnTo>
                    <a:pt x="1999" y="3417"/>
                  </a:lnTo>
                  <a:lnTo>
                    <a:pt x="1999" y="3416"/>
                  </a:lnTo>
                  <a:lnTo>
                    <a:pt x="2001" y="3416"/>
                  </a:lnTo>
                  <a:lnTo>
                    <a:pt x="2001" y="3414"/>
                  </a:lnTo>
                  <a:lnTo>
                    <a:pt x="1999" y="3412"/>
                  </a:lnTo>
                  <a:lnTo>
                    <a:pt x="1997" y="3412"/>
                  </a:lnTo>
                  <a:lnTo>
                    <a:pt x="1996" y="3412"/>
                  </a:lnTo>
                  <a:lnTo>
                    <a:pt x="1994" y="3414"/>
                  </a:lnTo>
                  <a:lnTo>
                    <a:pt x="1996" y="3414"/>
                  </a:lnTo>
                  <a:lnTo>
                    <a:pt x="1996" y="3416"/>
                  </a:lnTo>
                  <a:lnTo>
                    <a:pt x="1994" y="3417"/>
                  </a:lnTo>
                  <a:lnTo>
                    <a:pt x="1993" y="3417"/>
                  </a:lnTo>
                  <a:lnTo>
                    <a:pt x="1991" y="3417"/>
                  </a:lnTo>
                  <a:lnTo>
                    <a:pt x="1991" y="3416"/>
                  </a:lnTo>
                  <a:lnTo>
                    <a:pt x="1989" y="3416"/>
                  </a:lnTo>
                  <a:lnTo>
                    <a:pt x="1988" y="3416"/>
                  </a:lnTo>
                  <a:lnTo>
                    <a:pt x="1986" y="3414"/>
                  </a:lnTo>
                  <a:lnTo>
                    <a:pt x="1984" y="3414"/>
                  </a:lnTo>
                  <a:lnTo>
                    <a:pt x="1983" y="3412"/>
                  </a:lnTo>
                  <a:lnTo>
                    <a:pt x="1981" y="3411"/>
                  </a:lnTo>
                  <a:lnTo>
                    <a:pt x="1983" y="3409"/>
                  </a:lnTo>
                  <a:lnTo>
                    <a:pt x="1983" y="3407"/>
                  </a:lnTo>
                  <a:lnTo>
                    <a:pt x="1981" y="3407"/>
                  </a:lnTo>
                  <a:lnTo>
                    <a:pt x="1980" y="3406"/>
                  </a:lnTo>
                  <a:lnTo>
                    <a:pt x="1978" y="3406"/>
                  </a:lnTo>
                  <a:lnTo>
                    <a:pt x="1976" y="3406"/>
                  </a:lnTo>
                  <a:lnTo>
                    <a:pt x="1973" y="3404"/>
                  </a:lnTo>
                  <a:lnTo>
                    <a:pt x="1971" y="3404"/>
                  </a:lnTo>
                  <a:lnTo>
                    <a:pt x="1971" y="3403"/>
                  </a:lnTo>
                  <a:lnTo>
                    <a:pt x="1970" y="3403"/>
                  </a:lnTo>
                  <a:lnTo>
                    <a:pt x="1971" y="3403"/>
                  </a:lnTo>
                  <a:lnTo>
                    <a:pt x="1970" y="3403"/>
                  </a:lnTo>
                  <a:lnTo>
                    <a:pt x="1968" y="3403"/>
                  </a:lnTo>
                  <a:lnTo>
                    <a:pt x="1967" y="3403"/>
                  </a:lnTo>
                  <a:lnTo>
                    <a:pt x="1968" y="3403"/>
                  </a:lnTo>
                  <a:lnTo>
                    <a:pt x="1967" y="3403"/>
                  </a:lnTo>
                  <a:lnTo>
                    <a:pt x="1967" y="3401"/>
                  </a:lnTo>
                  <a:lnTo>
                    <a:pt x="1965" y="3401"/>
                  </a:lnTo>
                  <a:lnTo>
                    <a:pt x="1967" y="3403"/>
                  </a:lnTo>
                  <a:lnTo>
                    <a:pt x="1965" y="3403"/>
                  </a:lnTo>
                  <a:lnTo>
                    <a:pt x="1965" y="3401"/>
                  </a:lnTo>
                  <a:lnTo>
                    <a:pt x="1965" y="3403"/>
                  </a:lnTo>
                  <a:lnTo>
                    <a:pt x="1965" y="3404"/>
                  </a:lnTo>
                  <a:lnTo>
                    <a:pt x="1967" y="3406"/>
                  </a:lnTo>
                  <a:lnTo>
                    <a:pt x="1967" y="3407"/>
                  </a:lnTo>
                  <a:lnTo>
                    <a:pt x="1968" y="3407"/>
                  </a:lnTo>
                  <a:lnTo>
                    <a:pt x="1970" y="3409"/>
                  </a:lnTo>
                  <a:lnTo>
                    <a:pt x="1970" y="3407"/>
                  </a:lnTo>
                  <a:lnTo>
                    <a:pt x="1970" y="3409"/>
                  </a:lnTo>
                  <a:lnTo>
                    <a:pt x="1968" y="3409"/>
                  </a:lnTo>
                  <a:lnTo>
                    <a:pt x="1970" y="3409"/>
                  </a:lnTo>
                  <a:lnTo>
                    <a:pt x="1968" y="3411"/>
                  </a:lnTo>
                  <a:lnTo>
                    <a:pt x="1968" y="3412"/>
                  </a:lnTo>
                  <a:lnTo>
                    <a:pt x="1967" y="3412"/>
                  </a:lnTo>
                  <a:lnTo>
                    <a:pt x="1967" y="3414"/>
                  </a:lnTo>
                  <a:lnTo>
                    <a:pt x="1965" y="3414"/>
                  </a:lnTo>
                  <a:lnTo>
                    <a:pt x="1963" y="3416"/>
                  </a:lnTo>
                  <a:lnTo>
                    <a:pt x="1962" y="3416"/>
                  </a:lnTo>
                  <a:lnTo>
                    <a:pt x="1960" y="3416"/>
                  </a:lnTo>
                  <a:lnTo>
                    <a:pt x="1958" y="3416"/>
                  </a:lnTo>
                  <a:lnTo>
                    <a:pt x="1955" y="3416"/>
                  </a:lnTo>
                  <a:lnTo>
                    <a:pt x="1954" y="3416"/>
                  </a:lnTo>
                  <a:lnTo>
                    <a:pt x="1952" y="3417"/>
                  </a:lnTo>
                  <a:lnTo>
                    <a:pt x="1950" y="3417"/>
                  </a:lnTo>
                  <a:lnTo>
                    <a:pt x="1949" y="3417"/>
                  </a:lnTo>
                  <a:lnTo>
                    <a:pt x="1947" y="3419"/>
                  </a:lnTo>
                  <a:lnTo>
                    <a:pt x="1945" y="3417"/>
                  </a:lnTo>
                  <a:lnTo>
                    <a:pt x="1945" y="3419"/>
                  </a:lnTo>
                  <a:lnTo>
                    <a:pt x="1944" y="3419"/>
                  </a:lnTo>
                  <a:lnTo>
                    <a:pt x="1942" y="3419"/>
                  </a:lnTo>
                  <a:lnTo>
                    <a:pt x="1941" y="3419"/>
                  </a:lnTo>
                  <a:lnTo>
                    <a:pt x="1939" y="3419"/>
                  </a:lnTo>
                  <a:lnTo>
                    <a:pt x="1937" y="3419"/>
                  </a:lnTo>
                  <a:lnTo>
                    <a:pt x="1937" y="3417"/>
                  </a:lnTo>
                  <a:lnTo>
                    <a:pt x="1936" y="3417"/>
                  </a:lnTo>
                  <a:lnTo>
                    <a:pt x="1934" y="3417"/>
                  </a:lnTo>
                  <a:lnTo>
                    <a:pt x="1932" y="3417"/>
                  </a:lnTo>
                  <a:lnTo>
                    <a:pt x="1932" y="3416"/>
                  </a:lnTo>
                  <a:lnTo>
                    <a:pt x="1931" y="3416"/>
                  </a:lnTo>
                  <a:lnTo>
                    <a:pt x="1929" y="3416"/>
                  </a:lnTo>
                  <a:lnTo>
                    <a:pt x="1929" y="3414"/>
                  </a:lnTo>
                  <a:lnTo>
                    <a:pt x="1928" y="3414"/>
                  </a:lnTo>
                  <a:lnTo>
                    <a:pt x="1926" y="3414"/>
                  </a:lnTo>
                  <a:lnTo>
                    <a:pt x="1924" y="3414"/>
                  </a:lnTo>
                  <a:lnTo>
                    <a:pt x="1926" y="3414"/>
                  </a:lnTo>
                  <a:lnTo>
                    <a:pt x="1926" y="3412"/>
                  </a:lnTo>
                  <a:lnTo>
                    <a:pt x="1924" y="3411"/>
                  </a:lnTo>
                  <a:lnTo>
                    <a:pt x="1923" y="3409"/>
                  </a:lnTo>
                  <a:lnTo>
                    <a:pt x="1919" y="3407"/>
                  </a:lnTo>
                  <a:lnTo>
                    <a:pt x="1919" y="3406"/>
                  </a:lnTo>
                  <a:lnTo>
                    <a:pt x="1918" y="3406"/>
                  </a:lnTo>
                  <a:lnTo>
                    <a:pt x="1918" y="3403"/>
                  </a:lnTo>
                  <a:lnTo>
                    <a:pt x="1916" y="3403"/>
                  </a:lnTo>
                  <a:lnTo>
                    <a:pt x="1914" y="3401"/>
                  </a:lnTo>
                  <a:lnTo>
                    <a:pt x="1913" y="3401"/>
                  </a:lnTo>
                  <a:lnTo>
                    <a:pt x="1911" y="3399"/>
                  </a:lnTo>
                  <a:lnTo>
                    <a:pt x="1911" y="3398"/>
                  </a:lnTo>
                  <a:lnTo>
                    <a:pt x="1911" y="3396"/>
                  </a:lnTo>
                  <a:lnTo>
                    <a:pt x="1911" y="3394"/>
                  </a:lnTo>
                  <a:lnTo>
                    <a:pt x="1908" y="3391"/>
                  </a:lnTo>
                  <a:lnTo>
                    <a:pt x="1906" y="3390"/>
                  </a:lnTo>
                  <a:lnTo>
                    <a:pt x="1903" y="3390"/>
                  </a:lnTo>
                  <a:lnTo>
                    <a:pt x="1903" y="3388"/>
                  </a:lnTo>
                  <a:lnTo>
                    <a:pt x="1901" y="3388"/>
                  </a:lnTo>
                  <a:lnTo>
                    <a:pt x="1900" y="3388"/>
                  </a:lnTo>
                  <a:lnTo>
                    <a:pt x="1898" y="3386"/>
                  </a:lnTo>
                  <a:lnTo>
                    <a:pt x="1897" y="3386"/>
                  </a:lnTo>
                  <a:lnTo>
                    <a:pt x="1895" y="3386"/>
                  </a:lnTo>
                  <a:lnTo>
                    <a:pt x="1893" y="3386"/>
                  </a:lnTo>
                  <a:lnTo>
                    <a:pt x="1888" y="3385"/>
                  </a:lnTo>
                  <a:lnTo>
                    <a:pt x="1884" y="3385"/>
                  </a:lnTo>
                  <a:lnTo>
                    <a:pt x="1879" y="3385"/>
                  </a:lnTo>
                  <a:lnTo>
                    <a:pt x="1877" y="3385"/>
                  </a:lnTo>
                  <a:lnTo>
                    <a:pt x="1874" y="3385"/>
                  </a:lnTo>
                  <a:lnTo>
                    <a:pt x="1867" y="3385"/>
                  </a:lnTo>
                  <a:lnTo>
                    <a:pt x="1864" y="3385"/>
                  </a:lnTo>
                  <a:lnTo>
                    <a:pt x="1862" y="3385"/>
                  </a:lnTo>
                  <a:lnTo>
                    <a:pt x="1859" y="3385"/>
                  </a:lnTo>
                  <a:lnTo>
                    <a:pt x="1854" y="3385"/>
                  </a:lnTo>
                  <a:lnTo>
                    <a:pt x="1853" y="3386"/>
                  </a:lnTo>
                  <a:lnTo>
                    <a:pt x="1851" y="3388"/>
                  </a:lnTo>
                  <a:lnTo>
                    <a:pt x="1848" y="3388"/>
                  </a:lnTo>
                  <a:lnTo>
                    <a:pt x="1848" y="3390"/>
                  </a:lnTo>
                  <a:lnTo>
                    <a:pt x="1846" y="3390"/>
                  </a:lnTo>
                  <a:lnTo>
                    <a:pt x="1845" y="3388"/>
                  </a:lnTo>
                  <a:lnTo>
                    <a:pt x="1845" y="3390"/>
                  </a:lnTo>
                  <a:lnTo>
                    <a:pt x="1843" y="3390"/>
                  </a:lnTo>
                  <a:lnTo>
                    <a:pt x="1841" y="3390"/>
                  </a:lnTo>
                  <a:lnTo>
                    <a:pt x="1840" y="3388"/>
                  </a:lnTo>
                  <a:lnTo>
                    <a:pt x="1838" y="3390"/>
                  </a:lnTo>
                  <a:lnTo>
                    <a:pt x="1836" y="3390"/>
                  </a:lnTo>
                  <a:lnTo>
                    <a:pt x="1833" y="3386"/>
                  </a:lnTo>
                  <a:lnTo>
                    <a:pt x="1833" y="3385"/>
                  </a:lnTo>
                  <a:lnTo>
                    <a:pt x="1832" y="3385"/>
                  </a:lnTo>
                  <a:lnTo>
                    <a:pt x="1832" y="3383"/>
                  </a:lnTo>
                  <a:lnTo>
                    <a:pt x="1830" y="3383"/>
                  </a:lnTo>
                  <a:lnTo>
                    <a:pt x="1830" y="3381"/>
                  </a:lnTo>
                  <a:lnTo>
                    <a:pt x="1830" y="3380"/>
                  </a:lnTo>
                  <a:lnTo>
                    <a:pt x="1832" y="3380"/>
                  </a:lnTo>
                  <a:lnTo>
                    <a:pt x="1833" y="3378"/>
                  </a:lnTo>
                  <a:lnTo>
                    <a:pt x="1835" y="3378"/>
                  </a:lnTo>
                  <a:lnTo>
                    <a:pt x="1835" y="3377"/>
                  </a:lnTo>
                  <a:lnTo>
                    <a:pt x="1836" y="3377"/>
                  </a:lnTo>
                  <a:lnTo>
                    <a:pt x="1836" y="3375"/>
                  </a:lnTo>
                  <a:lnTo>
                    <a:pt x="1838" y="3375"/>
                  </a:lnTo>
                  <a:lnTo>
                    <a:pt x="1840" y="3375"/>
                  </a:lnTo>
                  <a:lnTo>
                    <a:pt x="1841" y="3375"/>
                  </a:lnTo>
                  <a:lnTo>
                    <a:pt x="1843" y="3373"/>
                  </a:lnTo>
                  <a:lnTo>
                    <a:pt x="1843" y="3372"/>
                  </a:lnTo>
                  <a:lnTo>
                    <a:pt x="1843" y="3370"/>
                  </a:lnTo>
                  <a:lnTo>
                    <a:pt x="1845" y="3370"/>
                  </a:lnTo>
                  <a:lnTo>
                    <a:pt x="1845" y="3372"/>
                  </a:lnTo>
                  <a:lnTo>
                    <a:pt x="1845" y="3370"/>
                  </a:lnTo>
                  <a:lnTo>
                    <a:pt x="1849" y="3367"/>
                  </a:lnTo>
                  <a:lnTo>
                    <a:pt x="1851" y="3367"/>
                  </a:lnTo>
                  <a:lnTo>
                    <a:pt x="1853" y="3365"/>
                  </a:lnTo>
                  <a:lnTo>
                    <a:pt x="1854" y="3364"/>
                  </a:lnTo>
                  <a:lnTo>
                    <a:pt x="1856" y="3364"/>
                  </a:lnTo>
                  <a:lnTo>
                    <a:pt x="1854" y="3364"/>
                  </a:lnTo>
                  <a:lnTo>
                    <a:pt x="1856" y="3364"/>
                  </a:lnTo>
                  <a:lnTo>
                    <a:pt x="1856" y="3362"/>
                  </a:lnTo>
                  <a:lnTo>
                    <a:pt x="1859" y="3359"/>
                  </a:lnTo>
                  <a:lnTo>
                    <a:pt x="1861" y="3357"/>
                  </a:lnTo>
                  <a:lnTo>
                    <a:pt x="1862" y="3357"/>
                  </a:lnTo>
                  <a:lnTo>
                    <a:pt x="1862" y="3355"/>
                  </a:lnTo>
                  <a:lnTo>
                    <a:pt x="1861" y="3354"/>
                  </a:lnTo>
                  <a:lnTo>
                    <a:pt x="1861" y="3352"/>
                  </a:lnTo>
                  <a:lnTo>
                    <a:pt x="1862" y="3351"/>
                  </a:lnTo>
                  <a:lnTo>
                    <a:pt x="1861" y="3351"/>
                  </a:lnTo>
                  <a:lnTo>
                    <a:pt x="1859" y="3351"/>
                  </a:lnTo>
                  <a:lnTo>
                    <a:pt x="1859" y="3352"/>
                  </a:lnTo>
                  <a:lnTo>
                    <a:pt x="1858" y="3352"/>
                  </a:lnTo>
                  <a:lnTo>
                    <a:pt x="1856" y="3352"/>
                  </a:lnTo>
                  <a:lnTo>
                    <a:pt x="1854" y="3352"/>
                  </a:lnTo>
                  <a:lnTo>
                    <a:pt x="1853" y="3354"/>
                  </a:lnTo>
                  <a:lnTo>
                    <a:pt x="1851" y="3355"/>
                  </a:lnTo>
                  <a:lnTo>
                    <a:pt x="1848" y="3357"/>
                  </a:lnTo>
                  <a:lnTo>
                    <a:pt x="1846" y="3359"/>
                  </a:lnTo>
                  <a:lnTo>
                    <a:pt x="1845" y="3360"/>
                  </a:lnTo>
                  <a:lnTo>
                    <a:pt x="1843" y="3360"/>
                  </a:lnTo>
                  <a:lnTo>
                    <a:pt x="1843" y="3359"/>
                  </a:lnTo>
                  <a:lnTo>
                    <a:pt x="1841" y="3357"/>
                  </a:lnTo>
                  <a:lnTo>
                    <a:pt x="1840" y="3357"/>
                  </a:lnTo>
                  <a:lnTo>
                    <a:pt x="1840" y="3355"/>
                  </a:lnTo>
                  <a:lnTo>
                    <a:pt x="1840" y="3354"/>
                  </a:lnTo>
                  <a:lnTo>
                    <a:pt x="1838" y="3354"/>
                  </a:lnTo>
                  <a:lnTo>
                    <a:pt x="1836" y="3352"/>
                  </a:lnTo>
                  <a:lnTo>
                    <a:pt x="1838" y="3352"/>
                  </a:lnTo>
                  <a:lnTo>
                    <a:pt x="1838" y="3354"/>
                  </a:lnTo>
                  <a:lnTo>
                    <a:pt x="1838" y="3352"/>
                  </a:lnTo>
                  <a:lnTo>
                    <a:pt x="1840" y="3354"/>
                  </a:lnTo>
                  <a:lnTo>
                    <a:pt x="1841" y="3354"/>
                  </a:lnTo>
                  <a:lnTo>
                    <a:pt x="1843" y="3354"/>
                  </a:lnTo>
                  <a:lnTo>
                    <a:pt x="1845" y="3351"/>
                  </a:lnTo>
                  <a:lnTo>
                    <a:pt x="1845" y="3349"/>
                  </a:lnTo>
                  <a:lnTo>
                    <a:pt x="1846" y="3349"/>
                  </a:lnTo>
                  <a:lnTo>
                    <a:pt x="1845" y="3349"/>
                  </a:lnTo>
                  <a:lnTo>
                    <a:pt x="1841" y="3349"/>
                  </a:lnTo>
                  <a:lnTo>
                    <a:pt x="1840" y="3349"/>
                  </a:lnTo>
                  <a:lnTo>
                    <a:pt x="1838" y="3349"/>
                  </a:lnTo>
                  <a:lnTo>
                    <a:pt x="1836" y="3347"/>
                  </a:lnTo>
                  <a:lnTo>
                    <a:pt x="1835" y="3347"/>
                  </a:lnTo>
                  <a:lnTo>
                    <a:pt x="1835" y="3351"/>
                  </a:lnTo>
                  <a:lnTo>
                    <a:pt x="1835" y="3352"/>
                  </a:lnTo>
                  <a:lnTo>
                    <a:pt x="1833" y="3352"/>
                  </a:lnTo>
                  <a:lnTo>
                    <a:pt x="1835" y="3354"/>
                  </a:lnTo>
                  <a:lnTo>
                    <a:pt x="1833" y="3354"/>
                  </a:lnTo>
                  <a:lnTo>
                    <a:pt x="1835" y="3354"/>
                  </a:lnTo>
                  <a:lnTo>
                    <a:pt x="1833" y="3355"/>
                  </a:lnTo>
                  <a:lnTo>
                    <a:pt x="1835" y="3355"/>
                  </a:lnTo>
                  <a:lnTo>
                    <a:pt x="1833" y="3355"/>
                  </a:lnTo>
                  <a:lnTo>
                    <a:pt x="1833" y="3357"/>
                  </a:lnTo>
                  <a:lnTo>
                    <a:pt x="1833" y="3359"/>
                  </a:lnTo>
                  <a:lnTo>
                    <a:pt x="1833" y="3357"/>
                  </a:lnTo>
                  <a:lnTo>
                    <a:pt x="1833" y="3359"/>
                  </a:lnTo>
                  <a:lnTo>
                    <a:pt x="1833" y="3357"/>
                  </a:lnTo>
                  <a:lnTo>
                    <a:pt x="1833" y="3359"/>
                  </a:lnTo>
                  <a:lnTo>
                    <a:pt x="1833" y="3360"/>
                  </a:lnTo>
                  <a:lnTo>
                    <a:pt x="1832" y="3360"/>
                  </a:lnTo>
                  <a:lnTo>
                    <a:pt x="1830" y="3362"/>
                  </a:lnTo>
                  <a:lnTo>
                    <a:pt x="1832" y="3362"/>
                  </a:lnTo>
                  <a:lnTo>
                    <a:pt x="1830" y="3364"/>
                  </a:lnTo>
                  <a:lnTo>
                    <a:pt x="1830" y="3362"/>
                  </a:lnTo>
                  <a:lnTo>
                    <a:pt x="1830" y="3364"/>
                  </a:lnTo>
                  <a:lnTo>
                    <a:pt x="1830" y="3365"/>
                  </a:lnTo>
                  <a:lnTo>
                    <a:pt x="1828" y="3365"/>
                  </a:lnTo>
                  <a:lnTo>
                    <a:pt x="1828" y="3367"/>
                  </a:lnTo>
                  <a:lnTo>
                    <a:pt x="1827" y="3367"/>
                  </a:lnTo>
                  <a:lnTo>
                    <a:pt x="1828" y="3365"/>
                  </a:lnTo>
                  <a:lnTo>
                    <a:pt x="1828" y="3364"/>
                  </a:lnTo>
                  <a:lnTo>
                    <a:pt x="1830" y="3362"/>
                  </a:lnTo>
                  <a:lnTo>
                    <a:pt x="1828" y="3362"/>
                  </a:lnTo>
                  <a:lnTo>
                    <a:pt x="1830" y="3362"/>
                  </a:lnTo>
                  <a:lnTo>
                    <a:pt x="1830" y="3360"/>
                  </a:lnTo>
                  <a:lnTo>
                    <a:pt x="1830" y="3359"/>
                  </a:lnTo>
                  <a:lnTo>
                    <a:pt x="1832" y="3359"/>
                  </a:lnTo>
                  <a:lnTo>
                    <a:pt x="1832" y="3357"/>
                  </a:lnTo>
                  <a:lnTo>
                    <a:pt x="1833" y="3355"/>
                  </a:lnTo>
                  <a:lnTo>
                    <a:pt x="1835" y="3351"/>
                  </a:lnTo>
                  <a:lnTo>
                    <a:pt x="1835" y="3346"/>
                  </a:lnTo>
                  <a:lnTo>
                    <a:pt x="1836" y="3342"/>
                  </a:lnTo>
                  <a:lnTo>
                    <a:pt x="1838" y="3341"/>
                  </a:lnTo>
                  <a:lnTo>
                    <a:pt x="1841" y="3339"/>
                  </a:lnTo>
                  <a:lnTo>
                    <a:pt x="1843" y="3339"/>
                  </a:lnTo>
                  <a:lnTo>
                    <a:pt x="1846" y="3339"/>
                  </a:lnTo>
                  <a:lnTo>
                    <a:pt x="1848" y="3339"/>
                  </a:lnTo>
                  <a:lnTo>
                    <a:pt x="1849" y="3339"/>
                  </a:lnTo>
                  <a:lnTo>
                    <a:pt x="1851" y="3339"/>
                  </a:lnTo>
                  <a:lnTo>
                    <a:pt x="1854" y="3341"/>
                  </a:lnTo>
                  <a:lnTo>
                    <a:pt x="1856" y="3341"/>
                  </a:lnTo>
                  <a:lnTo>
                    <a:pt x="1859" y="3342"/>
                  </a:lnTo>
                  <a:lnTo>
                    <a:pt x="1862" y="3342"/>
                  </a:lnTo>
                  <a:lnTo>
                    <a:pt x="1867" y="3342"/>
                  </a:lnTo>
                  <a:lnTo>
                    <a:pt x="1869" y="3342"/>
                  </a:lnTo>
                  <a:lnTo>
                    <a:pt x="1871" y="3342"/>
                  </a:lnTo>
                  <a:lnTo>
                    <a:pt x="1872" y="3342"/>
                  </a:lnTo>
                  <a:lnTo>
                    <a:pt x="1877" y="3342"/>
                  </a:lnTo>
                  <a:lnTo>
                    <a:pt x="1880" y="3342"/>
                  </a:lnTo>
                  <a:lnTo>
                    <a:pt x="1882" y="3341"/>
                  </a:lnTo>
                  <a:lnTo>
                    <a:pt x="1885" y="3341"/>
                  </a:lnTo>
                  <a:lnTo>
                    <a:pt x="1888" y="3339"/>
                  </a:lnTo>
                  <a:lnTo>
                    <a:pt x="1893" y="3338"/>
                  </a:lnTo>
                  <a:lnTo>
                    <a:pt x="1895" y="3336"/>
                  </a:lnTo>
                  <a:lnTo>
                    <a:pt x="1897" y="3338"/>
                  </a:lnTo>
                  <a:lnTo>
                    <a:pt x="1898" y="3338"/>
                  </a:lnTo>
                  <a:lnTo>
                    <a:pt x="1897" y="3338"/>
                  </a:lnTo>
                  <a:lnTo>
                    <a:pt x="1895" y="3336"/>
                  </a:lnTo>
                  <a:lnTo>
                    <a:pt x="1897" y="3336"/>
                  </a:lnTo>
                  <a:lnTo>
                    <a:pt x="1897" y="3334"/>
                  </a:lnTo>
                  <a:lnTo>
                    <a:pt x="1898" y="3334"/>
                  </a:lnTo>
                  <a:lnTo>
                    <a:pt x="1897" y="3334"/>
                  </a:lnTo>
                  <a:lnTo>
                    <a:pt x="1897" y="3333"/>
                  </a:lnTo>
                  <a:lnTo>
                    <a:pt x="1898" y="3333"/>
                  </a:lnTo>
                  <a:lnTo>
                    <a:pt x="1898" y="3331"/>
                  </a:lnTo>
                  <a:lnTo>
                    <a:pt x="1900" y="3333"/>
                  </a:lnTo>
                  <a:lnTo>
                    <a:pt x="1901" y="3331"/>
                  </a:lnTo>
                  <a:lnTo>
                    <a:pt x="1903" y="3331"/>
                  </a:lnTo>
                  <a:lnTo>
                    <a:pt x="1903" y="3329"/>
                  </a:lnTo>
                  <a:lnTo>
                    <a:pt x="1905" y="3329"/>
                  </a:lnTo>
                  <a:lnTo>
                    <a:pt x="1908" y="3325"/>
                  </a:lnTo>
                  <a:lnTo>
                    <a:pt x="1908" y="3323"/>
                  </a:lnTo>
                  <a:lnTo>
                    <a:pt x="1910" y="3321"/>
                  </a:lnTo>
                  <a:lnTo>
                    <a:pt x="1910" y="3320"/>
                  </a:lnTo>
                  <a:lnTo>
                    <a:pt x="1910" y="3318"/>
                  </a:lnTo>
                  <a:lnTo>
                    <a:pt x="1911" y="3318"/>
                  </a:lnTo>
                  <a:lnTo>
                    <a:pt x="1911" y="3316"/>
                  </a:lnTo>
                  <a:lnTo>
                    <a:pt x="1911" y="3315"/>
                  </a:lnTo>
                  <a:lnTo>
                    <a:pt x="1911" y="3313"/>
                  </a:lnTo>
                  <a:lnTo>
                    <a:pt x="1911" y="3312"/>
                  </a:lnTo>
                  <a:lnTo>
                    <a:pt x="1911" y="3310"/>
                  </a:lnTo>
                  <a:lnTo>
                    <a:pt x="1910" y="3308"/>
                  </a:lnTo>
                  <a:lnTo>
                    <a:pt x="1911" y="3308"/>
                  </a:lnTo>
                  <a:lnTo>
                    <a:pt x="1910" y="3307"/>
                  </a:lnTo>
                  <a:lnTo>
                    <a:pt x="1910" y="3308"/>
                  </a:lnTo>
                  <a:lnTo>
                    <a:pt x="1910" y="3307"/>
                  </a:lnTo>
                  <a:lnTo>
                    <a:pt x="1910" y="3305"/>
                  </a:lnTo>
                  <a:lnTo>
                    <a:pt x="1908" y="3303"/>
                  </a:lnTo>
                  <a:lnTo>
                    <a:pt x="1908" y="3302"/>
                  </a:lnTo>
                  <a:lnTo>
                    <a:pt x="1905" y="3294"/>
                  </a:lnTo>
                  <a:lnTo>
                    <a:pt x="1903" y="3289"/>
                  </a:lnTo>
                  <a:lnTo>
                    <a:pt x="1901" y="3286"/>
                  </a:lnTo>
                  <a:lnTo>
                    <a:pt x="1901" y="3284"/>
                  </a:lnTo>
                  <a:lnTo>
                    <a:pt x="1901" y="3282"/>
                  </a:lnTo>
                  <a:lnTo>
                    <a:pt x="1901" y="3281"/>
                  </a:lnTo>
                  <a:lnTo>
                    <a:pt x="1903" y="3279"/>
                  </a:lnTo>
                  <a:lnTo>
                    <a:pt x="1905" y="3277"/>
                  </a:lnTo>
                  <a:lnTo>
                    <a:pt x="1906" y="3276"/>
                  </a:lnTo>
                  <a:lnTo>
                    <a:pt x="1910" y="3272"/>
                  </a:lnTo>
                  <a:lnTo>
                    <a:pt x="1913" y="3271"/>
                  </a:lnTo>
                  <a:lnTo>
                    <a:pt x="1913" y="3269"/>
                  </a:lnTo>
                  <a:lnTo>
                    <a:pt x="1913" y="3268"/>
                  </a:lnTo>
                  <a:lnTo>
                    <a:pt x="1913" y="3266"/>
                  </a:lnTo>
                  <a:lnTo>
                    <a:pt x="1914" y="3264"/>
                  </a:lnTo>
                  <a:lnTo>
                    <a:pt x="1916" y="3264"/>
                  </a:lnTo>
                  <a:lnTo>
                    <a:pt x="1918" y="3263"/>
                  </a:lnTo>
                  <a:lnTo>
                    <a:pt x="1918" y="3261"/>
                  </a:lnTo>
                  <a:lnTo>
                    <a:pt x="1918" y="3258"/>
                  </a:lnTo>
                  <a:lnTo>
                    <a:pt x="1918" y="3256"/>
                  </a:lnTo>
                  <a:lnTo>
                    <a:pt x="1918" y="3255"/>
                  </a:lnTo>
                  <a:lnTo>
                    <a:pt x="1918" y="3250"/>
                  </a:lnTo>
                  <a:lnTo>
                    <a:pt x="1916" y="3243"/>
                  </a:lnTo>
                  <a:lnTo>
                    <a:pt x="1916" y="3238"/>
                  </a:lnTo>
                  <a:lnTo>
                    <a:pt x="1914" y="3229"/>
                  </a:lnTo>
                  <a:lnTo>
                    <a:pt x="1914" y="3227"/>
                  </a:lnTo>
                  <a:lnTo>
                    <a:pt x="1914" y="3225"/>
                  </a:lnTo>
                  <a:lnTo>
                    <a:pt x="1916" y="3225"/>
                  </a:lnTo>
                  <a:lnTo>
                    <a:pt x="1914" y="3224"/>
                  </a:lnTo>
                  <a:lnTo>
                    <a:pt x="1916" y="3222"/>
                  </a:lnTo>
                  <a:lnTo>
                    <a:pt x="1916" y="3219"/>
                  </a:lnTo>
                  <a:lnTo>
                    <a:pt x="1918" y="3217"/>
                  </a:lnTo>
                  <a:lnTo>
                    <a:pt x="1919" y="3216"/>
                  </a:lnTo>
                  <a:lnTo>
                    <a:pt x="1921" y="3216"/>
                  </a:lnTo>
                  <a:lnTo>
                    <a:pt x="1921" y="3214"/>
                  </a:lnTo>
                  <a:lnTo>
                    <a:pt x="1924" y="3212"/>
                  </a:lnTo>
                  <a:lnTo>
                    <a:pt x="1928" y="3211"/>
                  </a:lnTo>
                  <a:lnTo>
                    <a:pt x="1929" y="3212"/>
                  </a:lnTo>
                  <a:lnTo>
                    <a:pt x="1929" y="3214"/>
                  </a:lnTo>
                  <a:lnTo>
                    <a:pt x="1929" y="3216"/>
                  </a:lnTo>
                  <a:lnTo>
                    <a:pt x="1928" y="3216"/>
                  </a:lnTo>
                  <a:lnTo>
                    <a:pt x="1928" y="3217"/>
                  </a:lnTo>
                  <a:lnTo>
                    <a:pt x="1928" y="3219"/>
                  </a:lnTo>
                  <a:lnTo>
                    <a:pt x="1928" y="3220"/>
                  </a:lnTo>
                  <a:lnTo>
                    <a:pt x="1929" y="3222"/>
                  </a:lnTo>
                  <a:lnTo>
                    <a:pt x="1929" y="3220"/>
                  </a:lnTo>
                  <a:lnTo>
                    <a:pt x="1929" y="3222"/>
                  </a:lnTo>
                  <a:lnTo>
                    <a:pt x="1929" y="3220"/>
                  </a:lnTo>
                  <a:lnTo>
                    <a:pt x="1929" y="3222"/>
                  </a:lnTo>
                  <a:lnTo>
                    <a:pt x="1929" y="3224"/>
                  </a:lnTo>
                  <a:lnTo>
                    <a:pt x="1929" y="3222"/>
                  </a:lnTo>
                  <a:lnTo>
                    <a:pt x="1929" y="3224"/>
                  </a:lnTo>
                  <a:lnTo>
                    <a:pt x="1929" y="3225"/>
                  </a:lnTo>
                  <a:lnTo>
                    <a:pt x="1929" y="3224"/>
                  </a:lnTo>
                  <a:lnTo>
                    <a:pt x="1931" y="3224"/>
                  </a:lnTo>
                  <a:lnTo>
                    <a:pt x="1931" y="3225"/>
                  </a:lnTo>
                  <a:lnTo>
                    <a:pt x="1932" y="3225"/>
                  </a:lnTo>
                  <a:lnTo>
                    <a:pt x="1932" y="3227"/>
                  </a:lnTo>
                  <a:lnTo>
                    <a:pt x="1931" y="3227"/>
                  </a:lnTo>
                  <a:lnTo>
                    <a:pt x="1932" y="3227"/>
                  </a:lnTo>
                  <a:lnTo>
                    <a:pt x="1932" y="3225"/>
                  </a:lnTo>
                  <a:lnTo>
                    <a:pt x="1932" y="3224"/>
                  </a:lnTo>
                  <a:lnTo>
                    <a:pt x="1932" y="3222"/>
                  </a:lnTo>
                  <a:lnTo>
                    <a:pt x="1932" y="3220"/>
                  </a:lnTo>
                  <a:lnTo>
                    <a:pt x="1932" y="3219"/>
                  </a:lnTo>
                  <a:lnTo>
                    <a:pt x="1934" y="3217"/>
                  </a:lnTo>
                  <a:lnTo>
                    <a:pt x="1934" y="3214"/>
                  </a:lnTo>
                  <a:lnTo>
                    <a:pt x="1932" y="3212"/>
                  </a:lnTo>
                  <a:lnTo>
                    <a:pt x="1932" y="3211"/>
                  </a:lnTo>
                  <a:lnTo>
                    <a:pt x="1932" y="3209"/>
                  </a:lnTo>
                  <a:lnTo>
                    <a:pt x="1932" y="3206"/>
                  </a:lnTo>
                  <a:lnTo>
                    <a:pt x="1932" y="3204"/>
                  </a:lnTo>
                  <a:lnTo>
                    <a:pt x="1932" y="3201"/>
                  </a:lnTo>
                  <a:lnTo>
                    <a:pt x="1932" y="3199"/>
                  </a:lnTo>
                  <a:lnTo>
                    <a:pt x="1932" y="3198"/>
                  </a:lnTo>
                  <a:lnTo>
                    <a:pt x="1934" y="3194"/>
                  </a:lnTo>
                  <a:lnTo>
                    <a:pt x="1936" y="3193"/>
                  </a:lnTo>
                  <a:lnTo>
                    <a:pt x="1934" y="3188"/>
                  </a:lnTo>
                  <a:lnTo>
                    <a:pt x="1932" y="3185"/>
                  </a:lnTo>
                  <a:lnTo>
                    <a:pt x="1932" y="3181"/>
                  </a:lnTo>
                  <a:lnTo>
                    <a:pt x="1932" y="3180"/>
                  </a:lnTo>
                  <a:lnTo>
                    <a:pt x="1932" y="3178"/>
                  </a:lnTo>
                  <a:lnTo>
                    <a:pt x="1932" y="3177"/>
                  </a:lnTo>
                  <a:lnTo>
                    <a:pt x="1934" y="3177"/>
                  </a:lnTo>
                  <a:lnTo>
                    <a:pt x="1934" y="3178"/>
                  </a:lnTo>
                  <a:lnTo>
                    <a:pt x="1934" y="3180"/>
                  </a:lnTo>
                  <a:lnTo>
                    <a:pt x="1934" y="3181"/>
                  </a:lnTo>
                  <a:lnTo>
                    <a:pt x="1932" y="3183"/>
                  </a:lnTo>
                  <a:lnTo>
                    <a:pt x="1934" y="3185"/>
                  </a:lnTo>
                  <a:lnTo>
                    <a:pt x="1932" y="3185"/>
                  </a:lnTo>
                  <a:lnTo>
                    <a:pt x="1934" y="3185"/>
                  </a:lnTo>
                  <a:lnTo>
                    <a:pt x="1932" y="3186"/>
                  </a:lnTo>
                  <a:lnTo>
                    <a:pt x="1934" y="3186"/>
                  </a:lnTo>
                  <a:lnTo>
                    <a:pt x="1936" y="3186"/>
                  </a:lnTo>
                  <a:lnTo>
                    <a:pt x="1936" y="3188"/>
                  </a:lnTo>
                  <a:lnTo>
                    <a:pt x="1936" y="3190"/>
                  </a:lnTo>
                  <a:lnTo>
                    <a:pt x="1936" y="3191"/>
                  </a:lnTo>
                  <a:lnTo>
                    <a:pt x="1937" y="3191"/>
                  </a:lnTo>
                  <a:lnTo>
                    <a:pt x="1936" y="3193"/>
                  </a:lnTo>
                  <a:lnTo>
                    <a:pt x="1937" y="3193"/>
                  </a:lnTo>
                  <a:lnTo>
                    <a:pt x="1937" y="3191"/>
                  </a:lnTo>
                  <a:lnTo>
                    <a:pt x="1939" y="3191"/>
                  </a:lnTo>
                  <a:lnTo>
                    <a:pt x="1937" y="3191"/>
                  </a:lnTo>
                  <a:lnTo>
                    <a:pt x="1939" y="3193"/>
                  </a:lnTo>
                  <a:lnTo>
                    <a:pt x="1939" y="3191"/>
                  </a:lnTo>
                  <a:lnTo>
                    <a:pt x="1941" y="3193"/>
                  </a:lnTo>
                  <a:lnTo>
                    <a:pt x="1942" y="3193"/>
                  </a:lnTo>
                  <a:lnTo>
                    <a:pt x="1944" y="3193"/>
                  </a:lnTo>
                  <a:lnTo>
                    <a:pt x="1944" y="3194"/>
                  </a:lnTo>
                  <a:lnTo>
                    <a:pt x="1945" y="3194"/>
                  </a:lnTo>
                  <a:lnTo>
                    <a:pt x="1949" y="3196"/>
                  </a:lnTo>
                  <a:lnTo>
                    <a:pt x="1950" y="3196"/>
                  </a:lnTo>
                  <a:lnTo>
                    <a:pt x="1952" y="3198"/>
                  </a:lnTo>
                  <a:lnTo>
                    <a:pt x="1954" y="3198"/>
                  </a:lnTo>
                  <a:lnTo>
                    <a:pt x="1955" y="3199"/>
                  </a:lnTo>
                  <a:lnTo>
                    <a:pt x="1958" y="3199"/>
                  </a:lnTo>
                  <a:lnTo>
                    <a:pt x="1960" y="3199"/>
                  </a:lnTo>
                  <a:lnTo>
                    <a:pt x="1962" y="3199"/>
                  </a:lnTo>
                  <a:lnTo>
                    <a:pt x="1963" y="3199"/>
                  </a:lnTo>
                  <a:lnTo>
                    <a:pt x="1965" y="3198"/>
                  </a:lnTo>
                  <a:lnTo>
                    <a:pt x="1965" y="3196"/>
                  </a:lnTo>
                  <a:lnTo>
                    <a:pt x="1967" y="3196"/>
                  </a:lnTo>
                  <a:lnTo>
                    <a:pt x="1968" y="3196"/>
                  </a:lnTo>
                  <a:lnTo>
                    <a:pt x="1971" y="3196"/>
                  </a:lnTo>
                  <a:lnTo>
                    <a:pt x="1971" y="3194"/>
                  </a:lnTo>
                  <a:lnTo>
                    <a:pt x="1971" y="3193"/>
                  </a:lnTo>
                  <a:lnTo>
                    <a:pt x="1971" y="3191"/>
                  </a:lnTo>
                  <a:lnTo>
                    <a:pt x="1970" y="3191"/>
                  </a:lnTo>
                  <a:lnTo>
                    <a:pt x="1970" y="3190"/>
                  </a:lnTo>
                  <a:lnTo>
                    <a:pt x="1970" y="3188"/>
                  </a:lnTo>
                  <a:lnTo>
                    <a:pt x="1968" y="3188"/>
                  </a:lnTo>
                  <a:lnTo>
                    <a:pt x="1968" y="3186"/>
                  </a:lnTo>
                  <a:lnTo>
                    <a:pt x="1967" y="3186"/>
                  </a:lnTo>
                  <a:lnTo>
                    <a:pt x="1965" y="3186"/>
                  </a:lnTo>
                  <a:lnTo>
                    <a:pt x="1963" y="3186"/>
                  </a:lnTo>
                  <a:lnTo>
                    <a:pt x="1963" y="3185"/>
                  </a:lnTo>
                  <a:lnTo>
                    <a:pt x="1962" y="3185"/>
                  </a:lnTo>
                  <a:lnTo>
                    <a:pt x="1960" y="3185"/>
                  </a:lnTo>
                  <a:lnTo>
                    <a:pt x="1957" y="3185"/>
                  </a:lnTo>
                  <a:lnTo>
                    <a:pt x="1954" y="3183"/>
                  </a:lnTo>
                  <a:lnTo>
                    <a:pt x="1952" y="3183"/>
                  </a:lnTo>
                  <a:lnTo>
                    <a:pt x="1949" y="3183"/>
                  </a:lnTo>
                  <a:lnTo>
                    <a:pt x="1944" y="3181"/>
                  </a:lnTo>
                  <a:lnTo>
                    <a:pt x="1941" y="3181"/>
                  </a:lnTo>
                  <a:lnTo>
                    <a:pt x="1939" y="3180"/>
                  </a:lnTo>
                  <a:lnTo>
                    <a:pt x="1937" y="3180"/>
                  </a:lnTo>
                  <a:lnTo>
                    <a:pt x="1934" y="3178"/>
                  </a:lnTo>
                  <a:lnTo>
                    <a:pt x="1934" y="3177"/>
                  </a:lnTo>
                  <a:lnTo>
                    <a:pt x="1932" y="3175"/>
                  </a:lnTo>
                  <a:lnTo>
                    <a:pt x="1924" y="3172"/>
                  </a:lnTo>
                  <a:lnTo>
                    <a:pt x="1926" y="3172"/>
                  </a:lnTo>
                  <a:lnTo>
                    <a:pt x="1924" y="3170"/>
                  </a:lnTo>
                  <a:lnTo>
                    <a:pt x="1924" y="3172"/>
                  </a:lnTo>
                  <a:lnTo>
                    <a:pt x="1924" y="3170"/>
                  </a:lnTo>
                  <a:lnTo>
                    <a:pt x="1921" y="3168"/>
                  </a:lnTo>
                  <a:lnTo>
                    <a:pt x="1918" y="3167"/>
                  </a:lnTo>
                  <a:lnTo>
                    <a:pt x="1913" y="3167"/>
                  </a:lnTo>
                  <a:lnTo>
                    <a:pt x="1911" y="3165"/>
                  </a:lnTo>
                  <a:lnTo>
                    <a:pt x="1910" y="3165"/>
                  </a:lnTo>
                  <a:lnTo>
                    <a:pt x="1908" y="3165"/>
                  </a:lnTo>
                  <a:lnTo>
                    <a:pt x="1905" y="3167"/>
                  </a:lnTo>
                  <a:lnTo>
                    <a:pt x="1903" y="3167"/>
                  </a:lnTo>
                  <a:lnTo>
                    <a:pt x="1901" y="3167"/>
                  </a:lnTo>
                  <a:lnTo>
                    <a:pt x="1900" y="3167"/>
                  </a:lnTo>
                  <a:lnTo>
                    <a:pt x="1898" y="3168"/>
                  </a:lnTo>
                  <a:lnTo>
                    <a:pt x="1898" y="3170"/>
                  </a:lnTo>
                  <a:lnTo>
                    <a:pt x="1898" y="3168"/>
                  </a:lnTo>
                  <a:lnTo>
                    <a:pt x="1900" y="3170"/>
                  </a:lnTo>
                  <a:lnTo>
                    <a:pt x="1900" y="3172"/>
                  </a:lnTo>
                  <a:lnTo>
                    <a:pt x="1901" y="3172"/>
                  </a:lnTo>
                  <a:lnTo>
                    <a:pt x="1903" y="3172"/>
                  </a:lnTo>
                  <a:lnTo>
                    <a:pt x="1903" y="3173"/>
                  </a:lnTo>
                  <a:lnTo>
                    <a:pt x="1901" y="3173"/>
                  </a:lnTo>
                  <a:lnTo>
                    <a:pt x="1900" y="3173"/>
                  </a:lnTo>
                  <a:lnTo>
                    <a:pt x="1898" y="3173"/>
                  </a:lnTo>
                  <a:lnTo>
                    <a:pt x="1892" y="3170"/>
                  </a:lnTo>
                  <a:lnTo>
                    <a:pt x="1888" y="3168"/>
                  </a:lnTo>
                  <a:lnTo>
                    <a:pt x="1887" y="3168"/>
                  </a:lnTo>
                  <a:lnTo>
                    <a:pt x="1885" y="3167"/>
                  </a:lnTo>
                  <a:lnTo>
                    <a:pt x="1884" y="3164"/>
                  </a:lnTo>
                  <a:lnTo>
                    <a:pt x="1882" y="3164"/>
                  </a:lnTo>
                  <a:lnTo>
                    <a:pt x="1880" y="3160"/>
                  </a:lnTo>
                  <a:lnTo>
                    <a:pt x="1875" y="3155"/>
                  </a:lnTo>
                  <a:lnTo>
                    <a:pt x="1872" y="3152"/>
                  </a:lnTo>
                  <a:lnTo>
                    <a:pt x="1871" y="3149"/>
                  </a:lnTo>
                  <a:lnTo>
                    <a:pt x="1869" y="3149"/>
                  </a:lnTo>
                  <a:lnTo>
                    <a:pt x="1864" y="3142"/>
                  </a:lnTo>
                  <a:lnTo>
                    <a:pt x="1862" y="3141"/>
                  </a:lnTo>
                  <a:lnTo>
                    <a:pt x="1861" y="3139"/>
                  </a:lnTo>
                  <a:lnTo>
                    <a:pt x="1869" y="3142"/>
                  </a:lnTo>
                  <a:lnTo>
                    <a:pt x="1871" y="3142"/>
                  </a:lnTo>
                  <a:lnTo>
                    <a:pt x="1875" y="3141"/>
                  </a:lnTo>
                  <a:lnTo>
                    <a:pt x="1879" y="3141"/>
                  </a:lnTo>
                  <a:lnTo>
                    <a:pt x="1882" y="3139"/>
                  </a:lnTo>
                  <a:lnTo>
                    <a:pt x="1885" y="3138"/>
                  </a:lnTo>
                  <a:lnTo>
                    <a:pt x="1888" y="3138"/>
                  </a:lnTo>
                  <a:lnTo>
                    <a:pt x="1892" y="3134"/>
                  </a:lnTo>
                  <a:lnTo>
                    <a:pt x="1893" y="3133"/>
                  </a:lnTo>
                  <a:lnTo>
                    <a:pt x="1893" y="3131"/>
                  </a:lnTo>
                  <a:lnTo>
                    <a:pt x="1895" y="3129"/>
                  </a:lnTo>
                  <a:lnTo>
                    <a:pt x="1897" y="3126"/>
                  </a:lnTo>
                  <a:lnTo>
                    <a:pt x="1898" y="3124"/>
                  </a:lnTo>
                  <a:lnTo>
                    <a:pt x="1900" y="3123"/>
                  </a:lnTo>
                  <a:lnTo>
                    <a:pt x="1905" y="3120"/>
                  </a:lnTo>
                  <a:lnTo>
                    <a:pt x="1906" y="3118"/>
                  </a:lnTo>
                  <a:lnTo>
                    <a:pt x="1906" y="3116"/>
                  </a:lnTo>
                  <a:lnTo>
                    <a:pt x="1908" y="3115"/>
                  </a:lnTo>
                  <a:lnTo>
                    <a:pt x="1908" y="3113"/>
                  </a:lnTo>
                  <a:lnTo>
                    <a:pt x="1910" y="3111"/>
                  </a:lnTo>
                  <a:lnTo>
                    <a:pt x="1910" y="3113"/>
                  </a:lnTo>
                  <a:lnTo>
                    <a:pt x="1910" y="3115"/>
                  </a:lnTo>
                  <a:lnTo>
                    <a:pt x="1910" y="3116"/>
                  </a:lnTo>
                  <a:lnTo>
                    <a:pt x="1913" y="3118"/>
                  </a:lnTo>
                  <a:lnTo>
                    <a:pt x="1913" y="3120"/>
                  </a:lnTo>
                  <a:lnTo>
                    <a:pt x="1914" y="3120"/>
                  </a:lnTo>
                  <a:lnTo>
                    <a:pt x="1916" y="3120"/>
                  </a:lnTo>
                  <a:lnTo>
                    <a:pt x="1916" y="3121"/>
                  </a:lnTo>
                  <a:lnTo>
                    <a:pt x="1918" y="3121"/>
                  </a:lnTo>
                  <a:lnTo>
                    <a:pt x="1921" y="3120"/>
                  </a:lnTo>
                  <a:lnTo>
                    <a:pt x="1923" y="3120"/>
                  </a:lnTo>
                  <a:lnTo>
                    <a:pt x="1926" y="3118"/>
                  </a:lnTo>
                  <a:lnTo>
                    <a:pt x="1929" y="3118"/>
                  </a:lnTo>
                  <a:lnTo>
                    <a:pt x="1931" y="3118"/>
                  </a:lnTo>
                  <a:lnTo>
                    <a:pt x="1932" y="3118"/>
                  </a:lnTo>
                  <a:lnTo>
                    <a:pt x="1934" y="3116"/>
                  </a:lnTo>
                  <a:lnTo>
                    <a:pt x="1936" y="3115"/>
                  </a:lnTo>
                  <a:lnTo>
                    <a:pt x="1936" y="3113"/>
                  </a:lnTo>
                  <a:lnTo>
                    <a:pt x="1937" y="3113"/>
                  </a:lnTo>
                  <a:lnTo>
                    <a:pt x="1937" y="3111"/>
                  </a:lnTo>
                  <a:lnTo>
                    <a:pt x="1939" y="3111"/>
                  </a:lnTo>
                  <a:lnTo>
                    <a:pt x="1941" y="3111"/>
                  </a:lnTo>
                  <a:lnTo>
                    <a:pt x="1941" y="3110"/>
                  </a:lnTo>
                  <a:lnTo>
                    <a:pt x="1941" y="3108"/>
                  </a:lnTo>
                  <a:lnTo>
                    <a:pt x="1939" y="3107"/>
                  </a:lnTo>
                  <a:lnTo>
                    <a:pt x="1937" y="3105"/>
                  </a:lnTo>
                  <a:lnTo>
                    <a:pt x="1937" y="3103"/>
                  </a:lnTo>
                  <a:lnTo>
                    <a:pt x="1936" y="3103"/>
                  </a:lnTo>
                  <a:lnTo>
                    <a:pt x="1932" y="3103"/>
                  </a:lnTo>
                  <a:lnTo>
                    <a:pt x="1928" y="3102"/>
                  </a:lnTo>
                  <a:lnTo>
                    <a:pt x="1928" y="3103"/>
                  </a:lnTo>
                  <a:lnTo>
                    <a:pt x="1926" y="3103"/>
                  </a:lnTo>
                  <a:lnTo>
                    <a:pt x="1923" y="3103"/>
                  </a:lnTo>
                  <a:lnTo>
                    <a:pt x="1921" y="3105"/>
                  </a:lnTo>
                  <a:lnTo>
                    <a:pt x="1919" y="3105"/>
                  </a:lnTo>
                  <a:lnTo>
                    <a:pt x="1919" y="3107"/>
                  </a:lnTo>
                  <a:lnTo>
                    <a:pt x="1919" y="3108"/>
                  </a:lnTo>
                  <a:lnTo>
                    <a:pt x="1919" y="3110"/>
                  </a:lnTo>
                  <a:lnTo>
                    <a:pt x="1918" y="3107"/>
                  </a:lnTo>
                  <a:lnTo>
                    <a:pt x="1918" y="3105"/>
                  </a:lnTo>
                  <a:lnTo>
                    <a:pt x="1916" y="3098"/>
                  </a:lnTo>
                  <a:lnTo>
                    <a:pt x="1916" y="3095"/>
                  </a:lnTo>
                  <a:lnTo>
                    <a:pt x="1918" y="3092"/>
                  </a:lnTo>
                  <a:lnTo>
                    <a:pt x="1918" y="3089"/>
                  </a:lnTo>
                  <a:lnTo>
                    <a:pt x="1919" y="3087"/>
                  </a:lnTo>
                  <a:lnTo>
                    <a:pt x="1921" y="3085"/>
                  </a:lnTo>
                  <a:lnTo>
                    <a:pt x="1926" y="3087"/>
                  </a:lnTo>
                  <a:lnTo>
                    <a:pt x="1928" y="3085"/>
                  </a:lnTo>
                  <a:lnTo>
                    <a:pt x="1929" y="3085"/>
                  </a:lnTo>
                  <a:lnTo>
                    <a:pt x="1929" y="3084"/>
                  </a:lnTo>
                  <a:lnTo>
                    <a:pt x="1932" y="3082"/>
                  </a:lnTo>
                  <a:lnTo>
                    <a:pt x="1934" y="3081"/>
                  </a:lnTo>
                  <a:lnTo>
                    <a:pt x="1937" y="3081"/>
                  </a:lnTo>
                  <a:lnTo>
                    <a:pt x="1939" y="3079"/>
                  </a:lnTo>
                  <a:lnTo>
                    <a:pt x="1941" y="3079"/>
                  </a:lnTo>
                  <a:lnTo>
                    <a:pt x="1942" y="3077"/>
                  </a:lnTo>
                  <a:lnTo>
                    <a:pt x="1942" y="3076"/>
                  </a:lnTo>
                  <a:lnTo>
                    <a:pt x="1944" y="3076"/>
                  </a:lnTo>
                  <a:lnTo>
                    <a:pt x="1945" y="3074"/>
                  </a:lnTo>
                  <a:lnTo>
                    <a:pt x="1945" y="3072"/>
                  </a:lnTo>
                  <a:lnTo>
                    <a:pt x="1947" y="3071"/>
                  </a:lnTo>
                  <a:lnTo>
                    <a:pt x="1949" y="3069"/>
                  </a:lnTo>
                  <a:lnTo>
                    <a:pt x="1950" y="3069"/>
                  </a:lnTo>
                  <a:lnTo>
                    <a:pt x="1950" y="3068"/>
                  </a:lnTo>
                  <a:lnTo>
                    <a:pt x="1950" y="3066"/>
                  </a:lnTo>
                  <a:lnTo>
                    <a:pt x="1950" y="3064"/>
                  </a:lnTo>
                  <a:lnTo>
                    <a:pt x="1950" y="3063"/>
                  </a:lnTo>
                  <a:lnTo>
                    <a:pt x="1950" y="3061"/>
                  </a:lnTo>
                  <a:lnTo>
                    <a:pt x="1952" y="3061"/>
                  </a:lnTo>
                  <a:lnTo>
                    <a:pt x="1952" y="3059"/>
                  </a:lnTo>
                  <a:lnTo>
                    <a:pt x="1952" y="3058"/>
                  </a:lnTo>
                  <a:lnTo>
                    <a:pt x="1954" y="3059"/>
                  </a:lnTo>
                  <a:lnTo>
                    <a:pt x="1955" y="3059"/>
                  </a:lnTo>
                  <a:lnTo>
                    <a:pt x="1955" y="3058"/>
                  </a:lnTo>
                  <a:lnTo>
                    <a:pt x="1957" y="3056"/>
                  </a:lnTo>
                  <a:lnTo>
                    <a:pt x="1958" y="3056"/>
                  </a:lnTo>
                  <a:lnTo>
                    <a:pt x="1958" y="3053"/>
                  </a:lnTo>
                  <a:lnTo>
                    <a:pt x="1962" y="3050"/>
                  </a:lnTo>
                  <a:lnTo>
                    <a:pt x="1962" y="3048"/>
                  </a:lnTo>
                  <a:lnTo>
                    <a:pt x="1963" y="3046"/>
                  </a:lnTo>
                  <a:lnTo>
                    <a:pt x="1965" y="3045"/>
                  </a:lnTo>
                  <a:lnTo>
                    <a:pt x="1965" y="3043"/>
                  </a:lnTo>
                  <a:lnTo>
                    <a:pt x="1967" y="3042"/>
                  </a:lnTo>
                  <a:lnTo>
                    <a:pt x="1968" y="3043"/>
                  </a:lnTo>
                  <a:lnTo>
                    <a:pt x="1973" y="3040"/>
                  </a:lnTo>
                  <a:lnTo>
                    <a:pt x="1975" y="3038"/>
                  </a:lnTo>
                  <a:lnTo>
                    <a:pt x="1976" y="3038"/>
                  </a:lnTo>
                  <a:lnTo>
                    <a:pt x="1980" y="3038"/>
                  </a:lnTo>
                  <a:lnTo>
                    <a:pt x="1981" y="3038"/>
                  </a:lnTo>
                  <a:lnTo>
                    <a:pt x="1984" y="3037"/>
                  </a:lnTo>
                  <a:lnTo>
                    <a:pt x="1984" y="3035"/>
                  </a:lnTo>
                  <a:lnTo>
                    <a:pt x="1984" y="3032"/>
                  </a:lnTo>
                  <a:lnTo>
                    <a:pt x="1983" y="3030"/>
                  </a:lnTo>
                  <a:lnTo>
                    <a:pt x="1983" y="3032"/>
                  </a:lnTo>
                  <a:lnTo>
                    <a:pt x="1981" y="3030"/>
                  </a:lnTo>
                  <a:lnTo>
                    <a:pt x="1983" y="3029"/>
                  </a:lnTo>
                  <a:lnTo>
                    <a:pt x="1981" y="3027"/>
                  </a:lnTo>
                  <a:lnTo>
                    <a:pt x="1981" y="3025"/>
                  </a:lnTo>
                  <a:lnTo>
                    <a:pt x="1981" y="3024"/>
                  </a:lnTo>
                  <a:lnTo>
                    <a:pt x="1981" y="3022"/>
                  </a:lnTo>
                  <a:lnTo>
                    <a:pt x="1981" y="3020"/>
                  </a:lnTo>
                  <a:lnTo>
                    <a:pt x="1983" y="3020"/>
                  </a:lnTo>
                  <a:lnTo>
                    <a:pt x="1984" y="3020"/>
                  </a:lnTo>
                  <a:lnTo>
                    <a:pt x="1984" y="3019"/>
                  </a:lnTo>
                  <a:lnTo>
                    <a:pt x="1986" y="3019"/>
                  </a:lnTo>
                  <a:lnTo>
                    <a:pt x="1988" y="3020"/>
                  </a:lnTo>
                  <a:lnTo>
                    <a:pt x="1988" y="3019"/>
                  </a:lnTo>
                  <a:lnTo>
                    <a:pt x="1989" y="3019"/>
                  </a:lnTo>
                  <a:lnTo>
                    <a:pt x="1991" y="3019"/>
                  </a:lnTo>
                  <a:lnTo>
                    <a:pt x="1993" y="3017"/>
                  </a:lnTo>
                  <a:lnTo>
                    <a:pt x="1993" y="3016"/>
                  </a:lnTo>
                  <a:lnTo>
                    <a:pt x="1994" y="3016"/>
                  </a:lnTo>
                  <a:lnTo>
                    <a:pt x="1994" y="3017"/>
                  </a:lnTo>
                  <a:lnTo>
                    <a:pt x="1996" y="3017"/>
                  </a:lnTo>
                  <a:lnTo>
                    <a:pt x="1996" y="3016"/>
                  </a:lnTo>
                  <a:lnTo>
                    <a:pt x="1996" y="3014"/>
                  </a:lnTo>
                  <a:lnTo>
                    <a:pt x="1996" y="3012"/>
                  </a:lnTo>
                  <a:lnTo>
                    <a:pt x="1997" y="3012"/>
                  </a:lnTo>
                  <a:lnTo>
                    <a:pt x="1999" y="3012"/>
                  </a:lnTo>
                  <a:lnTo>
                    <a:pt x="2001" y="3012"/>
                  </a:lnTo>
                  <a:lnTo>
                    <a:pt x="2001" y="3011"/>
                  </a:lnTo>
                  <a:lnTo>
                    <a:pt x="2001" y="3009"/>
                  </a:lnTo>
                  <a:lnTo>
                    <a:pt x="2002" y="3009"/>
                  </a:lnTo>
                  <a:lnTo>
                    <a:pt x="2004" y="3009"/>
                  </a:lnTo>
                  <a:lnTo>
                    <a:pt x="2004" y="3011"/>
                  </a:lnTo>
                  <a:lnTo>
                    <a:pt x="2006" y="3011"/>
                  </a:lnTo>
                  <a:lnTo>
                    <a:pt x="2007" y="3011"/>
                  </a:lnTo>
                  <a:lnTo>
                    <a:pt x="2009" y="3011"/>
                  </a:lnTo>
                  <a:lnTo>
                    <a:pt x="2009" y="3009"/>
                  </a:lnTo>
                  <a:lnTo>
                    <a:pt x="2009" y="3007"/>
                  </a:lnTo>
                  <a:lnTo>
                    <a:pt x="2010" y="3009"/>
                  </a:lnTo>
                  <a:lnTo>
                    <a:pt x="2012" y="3009"/>
                  </a:lnTo>
                  <a:lnTo>
                    <a:pt x="2010" y="3009"/>
                  </a:lnTo>
                  <a:lnTo>
                    <a:pt x="2009" y="3007"/>
                  </a:lnTo>
                  <a:lnTo>
                    <a:pt x="2009" y="3009"/>
                  </a:lnTo>
                  <a:lnTo>
                    <a:pt x="2009" y="3011"/>
                  </a:lnTo>
                  <a:lnTo>
                    <a:pt x="2007" y="3011"/>
                  </a:lnTo>
                  <a:lnTo>
                    <a:pt x="2006" y="3011"/>
                  </a:lnTo>
                  <a:lnTo>
                    <a:pt x="2006" y="3009"/>
                  </a:lnTo>
                  <a:lnTo>
                    <a:pt x="2002" y="3009"/>
                  </a:lnTo>
                  <a:lnTo>
                    <a:pt x="2001" y="3009"/>
                  </a:lnTo>
                  <a:lnTo>
                    <a:pt x="1999" y="3007"/>
                  </a:lnTo>
                  <a:lnTo>
                    <a:pt x="2001" y="3007"/>
                  </a:lnTo>
                  <a:lnTo>
                    <a:pt x="2001" y="3006"/>
                  </a:lnTo>
                  <a:lnTo>
                    <a:pt x="2002" y="3004"/>
                  </a:lnTo>
                  <a:lnTo>
                    <a:pt x="2004" y="3004"/>
                  </a:lnTo>
                  <a:lnTo>
                    <a:pt x="2006" y="3004"/>
                  </a:lnTo>
                  <a:lnTo>
                    <a:pt x="2006" y="3003"/>
                  </a:lnTo>
                  <a:lnTo>
                    <a:pt x="2007" y="3001"/>
                  </a:lnTo>
                  <a:lnTo>
                    <a:pt x="2009" y="2999"/>
                  </a:lnTo>
                  <a:lnTo>
                    <a:pt x="2009" y="2998"/>
                  </a:lnTo>
                  <a:lnTo>
                    <a:pt x="2010" y="2998"/>
                  </a:lnTo>
                  <a:lnTo>
                    <a:pt x="2010" y="2996"/>
                  </a:lnTo>
                  <a:lnTo>
                    <a:pt x="2010" y="2994"/>
                  </a:lnTo>
                  <a:lnTo>
                    <a:pt x="2012" y="2994"/>
                  </a:lnTo>
                  <a:lnTo>
                    <a:pt x="2014" y="2993"/>
                  </a:lnTo>
                  <a:lnTo>
                    <a:pt x="2015" y="2993"/>
                  </a:lnTo>
                  <a:lnTo>
                    <a:pt x="2017" y="2993"/>
                  </a:lnTo>
                  <a:lnTo>
                    <a:pt x="2019" y="2993"/>
                  </a:lnTo>
                  <a:lnTo>
                    <a:pt x="2020" y="2991"/>
                  </a:lnTo>
                  <a:lnTo>
                    <a:pt x="2020" y="2989"/>
                  </a:lnTo>
                  <a:lnTo>
                    <a:pt x="2020" y="2988"/>
                  </a:lnTo>
                  <a:lnTo>
                    <a:pt x="2022" y="2988"/>
                  </a:lnTo>
                  <a:lnTo>
                    <a:pt x="2022" y="2986"/>
                  </a:lnTo>
                  <a:lnTo>
                    <a:pt x="2022" y="2985"/>
                  </a:lnTo>
                  <a:lnTo>
                    <a:pt x="2023" y="2983"/>
                  </a:lnTo>
                  <a:lnTo>
                    <a:pt x="2025" y="2983"/>
                  </a:lnTo>
                  <a:lnTo>
                    <a:pt x="2025" y="2985"/>
                  </a:lnTo>
                  <a:lnTo>
                    <a:pt x="2027" y="2985"/>
                  </a:lnTo>
                  <a:lnTo>
                    <a:pt x="2028" y="2985"/>
                  </a:lnTo>
                  <a:lnTo>
                    <a:pt x="2030" y="2985"/>
                  </a:lnTo>
                  <a:lnTo>
                    <a:pt x="2030" y="2983"/>
                  </a:lnTo>
                  <a:lnTo>
                    <a:pt x="2032" y="2980"/>
                  </a:lnTo>
                  <a:lnTo>
                    <a:pt x="2033" y="2980"/>
                  </a:lnTo>
                  <a:lnTo>
                    <a:pt x="2035" y="2980"/>
                  </a:lnTo>
                  <a:lnTo>
                    <a:pt x="2036" y="2980"/>
                  </a:lnTo>
                  <a:lnTo>
                    <a:pt x="2038" y="2980"/>
                  </a:lnTo>
                  <a:lnTo>
                    <a:pt x="2040" y="2980"/>
                  </a:lnTo>
                  <a:lnTo>
                    <a:pt x="2041" y="2980"/>
                  </a:lnTo>
                  <a:lnTo>
                    <a:pt x="2043" y="2980"/>
                  </a:lnTo>
                  <a:lnTo>
                    <a:pt x="2041" y="2980"/>
                  </a:lnTo>
                  <a:lnTo>
                    <a:pt x="2043" y="2978"/>
                  </a:lnTo>
                  <a:lnTo>
                    <a:pt x="2043" y="2976"/>
                  </a:lnTo>
                  <a:lnTo>
                    <a:pt x="2045" y="2975"/>
                  </a:lnTo>
                  <a:lnTo>
                    <a:pt x="2046" y="2973"/>
                  </a:lnTo>
                  <a:lnTo>
                    <a:pt x="2048" y="2972"/>
                  </a:lnTo>
                  <a:lnTo>
                    <a:pt x="2049" y="2972"/>
                  </a:lnTo>
                  <a:lnTo>
                    <a:pt x="2051" y="2972"/>
                  </a:lnTo>
                  <a:lnTo>
                    <a:pt x="2051" y="2973"/>
                  </a:lnTo>
                  <a:lnTo>
                    <a:pt x="2053" y="2973"/>
                  </a:lnTo>
                  <a:lnTo>
                    <a:pt x="2053" y="2975"/>
                  </a:lnTo>
                  <a:lnTo>
                    <a:pt x="2054" y="2975"/>
                  </a:lnTo>
                  <a:lnTo>
                    <a:pt x="2054" y="2973"/>
                  </a:lnTo>
                  <a:lnTo>
                    <a:pt x="2056" y="2973"/>
                  </a:lnTo>
                  <a:lnTo>
                    <a:pt x="2056" y="2972"/>
                  </a:lnTo>
                  <a:lnTo>
                    <a:pt x="2058" y="2970"/>
                  </a:lnTo>
                  <a:lnTo>
                    <a:pt x="2058" y="2968"/>
                  </a:lnTo>
                  <a:lnTo>
                    <a:pt x="2056" y="2968"/>
                  </a:lnTo>
                  <a:lnTo>
                    <a:pt x="2056" y="2967"/>
                  </a:lnTo>
                  <a:lnTo>
                    <a:pt x="2058" y="2965"/>
                  </a:lnTo>
                  <a:lnTo>
                    <a:pt x="2058" y="2963"/>
                  </a:lnTo>
                  <a:lnTo>
                    <a:pt x="2059" y="2963"/>
                  </a:lnTo>
                  <a:lnTo>
                    <a:pt x="2059" y="2962"/>
                  </a:lnTo>
                  <a:lnTo>
                    <a:pt x="2058" y="2960"/>
                  </a:lnTo>
                  <a:lnTo>
                    <a:pt x="2059" y="2959"/>
                  </a:lnTo>
                  <a:lnTo>
                    <a:pt x="2061" y="2957"/>
                  </a:lnTo>
                  <a:lnTo>
                    <a:pt x="2062" y="2955"/>
                  </a:lnTo>
                  <a:lnTo>
                    <a:pt x="2062" y="2952"/>
                  </a:lnTo>
                  <a:lnTo>
                    <a:pt x="2062" y="2950"/>
                  </a:lnTo>
                  <a:lnTo>
                    <a:pt x="2062" y="2947"/>
                  </a:lnTo>
                  <a:lnTo>
                    <a:pt x="2064" y="2946"/>
                  </a:lnTo>
                  <a:lnTo>
                    <a:pt x="2066" y="2946"/>
                  </a:lnTo>
                  <a:lnTo>
                    <a:pt x="2064" y="2946"/>
                  </a:lnTo>
                  <a:lnTo>
                    <a:pt x="2062" y="2947"/>
                  </a:lnTo>
                  <a:lnTo>
                    <a:pt x="2062" y="2949"/>
                  </a:lnTo>
                  <a:lnTo>
                    <a:pt x="2062" y="2952"/>
                  </a:lnTo>
                  <a:lnTo>
                    <a:pt x="2062" y="2954"/>
                  </a:lnTo>
                  <a:lnTo>
                    <a:pt x="2062" y="2955"/>
                  </a:lnTo>
                  <a:lnTo>
                    <a:pt x="2061" y="2957"/>
                  </a:lnTo>
                  <a:lnTo>
                    <a:pt x="2059" y="2959"/>
                  </a:lnTo>
                  <a:lnTo>
                    <a:pt x="2058" y="2959"/>
                  </a:lnTo>
                  <a:lnTo>
                    <a:pt x="2058" y="2960"/>
                  </a:lnTo>
                  <a:lnTo>
                    <a:pt x="2058" y="2963"/>
                  </a:lnTo>
                  <a:lnTo>
                    <a:pt x="2056" y="2967"/>
                  </a:lnTo>
                  <a:lnTo>
                    <a:pt x="2056" y="2968"/>
                  </a:lnTo>
                  <a:lnTo>
                    <a:pt x="2056" y="2970"/>
                  </a:lnTo>
                  <a:lnTo>
                    <a:pt x="2056" y="2972"/>
                  </a:lnTo>
                  <a:lnTo>
                    <a:pt x="2056" y="2973"/>
                  </a:lnTo>
                  <a:lnTo>
                    <a:pt x="2054" y="2973"/>
                  </a:lnTo>
                  <a:lnTo>
                    <a:pt x="2053" y="2973"/>
                  </a:lnTo>
                  <a:lnTo>
                    <a:pt x="2051" y="2973"/>
                  </a:lnTo>
                  <a:lnTo>
                    <a:pt x="2049" y="2972"/>
                  </a:lnTo>
                  <a:lnTo>
                    <a:pt x="2049" y="2970"/>
                  </a:lnTo>
                  <a:lnTo>
                    <a:pt x="2048" y="2972"/>
                  </a:lnTo>
                  <a:lnTo>
                    <a:pt x="2046" y="2972"/>
                  </a:lnTo>
                  <a:lnTo>
                    <a:pt x="2046" y="2973"/>
                  </a:lnTo>
                  <a:lnTo>
                    <a:pt x="2045" y="2975"/>
                  </a:lnTo>
                  <a:lnTo>
                    <a:pt x="2043" y="2976"/>
                  </a:lnTo>
                  <a:lnTo>
                    <a:pt x="2043" y="2975"/>
                  </a:lnTo>
                  <a:lnTo>
                    <a:pt x="2045" y="2975"/>
                  </a:lnTo>
                  <a:lnTo>
                    <a:pt x="2043" y="2975"/>
                  </a:lnTo>
                  <a:lnTo>
                    <a:pt x="2043" y="2978"/>
                  </a:lnTo>
                  <a:lnTo>
                    <a:pt x="2043" y="2980"/>
                  </a:lnTo>
                  <a:lnTo>
                    <a:pt x="2041" y="2980"/>
                  </a:lnTo>
                  <a:lnTo>
                    <a:pt x="2040" y="2980"/>
                  </a:lnTo>
                  <a:lnTo>
                    <a:pt x="2038" y="2980"/>
                  </a:lnTo>
                  <a:lnTo>
                    <a:pt x="2036" y="2978"/>
                  </a:lnTo>
                  <a:lnTo>
                    <a:pt x="2036" y="2980"/>
                  </a:lnTo>
                  <a:lnTo>
                    <a:pt x="2035" y="2980"/>
                  </a:lnTo>
                  <a:lnTo>
                    <a:pt x="2033" y="2978"/>
                  </a:lnTo>
                  <a:lnTo>
                    <a:pt x="2033" y="2980"/>
                  </a:lnTo>
                  <a:lnTo>
                    <a:pt x="2032" y="2980"/>
                  </a:lnTo>
                  <a:lnTo>
                    <a:pt x="2030" y="2983"/>
                  </a:lnTo>
                  <a:lnTo>
                    <a:pt x="2028" y="2985"/>
                  </a:lnTo>
                  <a:lnTo>
                    <a:pt x="2027" y="2985"/>
                  </a:lnTo>
                  <a:lnTo>
                    <a:pt x="2025" y="2985"/>
                  </a:lnTo>
                  <a:lnTo>
                    <a:pt x="2025" y="2983"/>
                  </a:lnTo>
                  <a:lnTo>
                    <a:pt x="2023" y="2983"/>
                  </a:lnTo>
                  <a:lnTo>
                    <a:pt x="2025" y="2981"/>
                  </a:lnTo>
                  <a:lnTo>
                    <a:pt x="2027" y="2981"/>
                  </a:lnTo>
                  <a:lnTo>
                    <a:pt x="2027" y="2980"/>
                  </a:lnTo>
                  <a:lnTo>
                    <a:pt x="2027" y="2978"/>
                  </a:lnTo>
                  <a:lnTo>
                    <a:pt x="2028" y="2978"/>
                  </a:lnTo>
                  <a:lnTo>
                    <a:pt x="2030" y="2976"/>
                  </a:lnTo>
                  <a:lnTo>
                    <a:pt x="2030" y="2975"/>
                  </a:lnTo>
                  <a:lnTo>
                    <a:pt x="2030" y="2973"/>
                  </a:lnTo>
                  <a:lnTo>
                    <a:pt x="2030" y="2975"/>
                  </a:lnTo>
                  <a:lnTo>
                    <a:pt x="2030" y="2976"/>
                  </a:lnTo>
                  <a:lnTo>
                    <a:pt x="2028" y="2976"/>
                  </a:lnTo>
                  <a:lnTo>
                    <a:pt x="2027" y="2978"/>
                  </a:lnTo>
                  <a:lnTo>
                    <a:pt x="2027" y="2980"/>
                  </a:lnTo>
                  <a:lnTo>
                    <a:pt x="2027" y="2981"/>
                  </a:lnTo>
                  <a:lnTo>
                    <a:pt x="2025" y="2981"/>
                  </a:lnTo>
                  <a:lnTo>
                    <a:pt x="2023" y="2983"/>
                  </a:lnTo>
                  <a:lnTo>
                    <a:pt x="2022" y="2985"/>
                  </a:lnTo>
                  <a:lnTo>
                    <a:pt x="2022" y="2986"/>
                  </a:lnTo>
                  <a:lnTo>
                    <a:pt x="2020" y="2988"/>
                  </a:lnTo>
                  <a:lnTo>
                    <a:pt x="2019" y="2989"/>
                  </a:lnTo>
                  <a:lnTo>
                    <a:pt x="2017" y="2991"/>
                  </a:lnTo>
                  <a:lnTo>
                    <a:pt x="2015" y="2991"/>
                  </a:lnTo>
                  <a:lnTo>
                    <a:pt x="2014" y="2993"/>
                  </a:lnTo>
                  <a:lnTo>
                    <a:pt x="2012" y="2993"/>
                  </a:lnTo>
                  <a:lnTo>
                    <a:pt x="2012" y="2994"/>
                  </a:lnTo>
                  <a:lnTo>
                    <a:pt x="2010" y="2996"/>
                  </a:lnTo>
                  <a:lnTo>
                    <a:pt x="2009" y="2998"/>
                  </a:lnTo>
                  <a:lnTo>
                    <a:pt x="2007" y="2999"/>
                  </a:lnTo>
                  <a:lnTo>
                    <a:pt x="2007" y="3001"/>
                  </a:lnTo>
                  <a:lnTo>
                    <a:pt x="2006" y="3001"/>
                  </a:lnTo>
                  <a:lnTo>
                    <a:pt x="2004" y="3003"/>
                  </a:lnTo>
                  <a:lnTo>
                    <a:pt x="2002" y="3004"/>
                  </a:lnTo>
                  <a:lnTo>
                    <a:pt x="2001" y="3004"/>
                  </a:lnTo>
                  <a:lnTo>
                    <a:pt x="2001" y="3006"/>
                  </a:lnTo>
                  <a:lnTo>
                    <a:pt x="1999" y="3007"/>
                  </a:lnTo>
                  <a:lnTo>
                    <a:pt x="2001" y="3009"/>
                  </a:lnTo>
                  <a:lnTo>
                    <a:pt x="2001" y="3011"/>
                  </a:lnTo>
                  <a:lnTo>
                    <a:pt x="1999" y="3011"/>
                  </a:lnTo>
                  <a:lnTo>
                    <a:pt x="1997" y="3011"/>
                  </a:lnTo>
                  <a:lnTo>
                    <a:pt x="1996" y="3011"/>
                  </a:lnTo>
                  <a:lnTo>
                    <a:pt x="1994" y="3012"/>
                  </a:lnTo>
                  <a:lnTo>
                    <a:pt x="1994" y="3014"/>
                  </a:lnTo>
                  <a:lnTo>
                    <a:pt x="1993" y="3012"/>
                  </a:lnTo>
                  <a:lnTo>
                    <a:pt x="1993" y="3014"/>
                  </a:lnTo>
                  <a:lnTo>
                    <a:pt x="1991" y="3012"/>
                  </a:lnTo>
                  <a:lnTo>
                    <a:pt x="1988" y="3014"/>
                  </a:lnTo>
                  <a:lnTo>
                    <a:pt x="1986" y="3012"/>
                  </a:lnTo>
                  <a:lnTo>
                    <a:pt x="1986" y="3014"/>
                  </a:lnTo>
                  <a:lnTo>
                    <a:pt x="1986" y="3016"/>
                  </a:lnTo>
                  <a:lnTo>
                    <a:pt x="1984" y="3016"/>
                  </a:lnTo>
                  <a:lnTo>
                    <a:pt x="1984" y="3017"/>
                  </a:lnTo>
                  <a:lnTo>
                    <a:pt x="1983" y="3017"/>
                  </a:lnTo>
                  <a:lnTo>
                    <a:pt x="1983" y="3016"/>
                  </a:lnTo>
                  <a:lnTo>
                    <a:pt x="1981" y="3016"/>
                  </a:lnTo>
                  <a:lnTo>
                    <a:pt x="1980" y="3014"/>
                  </a:lnTo>
                  <a:lnTo>
                    <a:pt x="1980" y="3012"/>
                  </a:lnTo>
                  <a:lnTo>
                    <a:pt x="1978" y="3012"/>
                  </a:lnTo>
                  <a:lnTo>
                    <a:pt x="1976" y="3012"/>
                  </a:lnTo>
                  <a:lnTo>
                    <a:pt x="1975" y="3012"/>
                  </a:lnTo>
                  <a:lnTo>
                    <a:pt x="1973" y="3011"/>
                  </a:lnTo>
                  <a:lnTo>
                    <a:pt x="1971" y="3009"/>
                  </a:lnTo>
                  <a:lnTo>
                    <a:pt x="1970" y="3009"/>
                  </a:lnTo>
                  <a:lnTo>
                    <a:pt x="1968" y="3009"/>
                  </a:lnTo>
                  <a:lnTo>
                    <a:pt x="1970" y="3009"/>
                  </a:lnTo>
                  <a:lnTo>
                    <a:pt x="1971" y="3009"/>
                  </a:lnTo>
                  <a:lnTo>
                    <a:pt x="1973" y="3011"/>
                  </a:lnTo>
                  <a:lnTo>
                    <a:pt x="1973" y="3012"/>
                  </a:lnTo>
                  <a:lnTo>
                    <a:pt x="1973" y="3014"/>
                  </a:lnTo>
                  <a:lnTo>
                    <a:pt x="1971" y="3014"/>
                  </a:lnTo>
                  <a:lnTo>
                    <a:pt x="1970" y="3016"/>
                  </a:lnTo>
                  <a:lnTo>
                    <a:pt x="1968" y="3016"/>
                  </a:lnTo>
                  <a:lnTo>
                    <a:pt x="1968" y="3014"/>
                  </a:lnTo>
                  <a:lnTo>
                    <a:pt x="1968" y="3012"/>
                  </a:lnTo>
                  <a:lnTo>
                    <a:pt x="1967" y="3012"/>
                  </a:lnTo>
                  <a:lnTo>
                    <a:pt x="1967" y="3011"/>
                  </a:lnTo>
                  <a:lnTo>
                    <a:pt x="1967" y="3009"/>
                  </a:lnTo>
                  <a:lnTo>
                    <a:pt x="1968" y="3009"/>
                  </a:lnTo>
                  <a:lnTo>
                    <a:pt x="1970" y="3007"/>
                  </a:lnTo>
                  <a:lnTo>
                    <a:pt x="1971" y="3006"/>
                  </a:lnTo>
                  <a:lnTo>
                    <a:pt x="1970" y="3006"/>
                  </a:lnTo>
                  <a:lnTo>
                    <a:pt x="1968" y="3007"/>
                  </a:lnTo>
                  <a:lnTo>
                    <a:pt x="1967" y="3007"/>
                  </a:lnTo>
                  <a:lnTo>
                    <a:pt x="1968" y="3007"/>
                  </a:lnTo>
                  <a:lnTo>
                    <a:pt x="1970" y="3007"/>
                  </a:lnTo>
                  <a:lnTo>
                    <a:pt x="1970" y="3006"/>
                  </a:lnTo>
                  <a:lnTo>
                    <a:pt x="1970" y="3004"/>
                  </a:lnTo>
                  <a:lnTo>
                    <a:pt x="1971" y="3003"/>
                  </a:lnTo>
                  <a:lnTo>
                    <a:pt x="1973" y="3003"/>
                  </a:lnTo>
                  <a:lnTo>
                    <a:pt x="1975" y="3003"/>
                  </a:lnTo>
                  <a:lnTo>
                    <a:pt x="1976" y="3003"/>
                  </a:lnTo>
                  <a:lnTo>
                    <a:pt x="1978" y="3001"/>
                  </a:lnTo>
                  <a:lnTo>
                    <a:pt x="1980" y="3001"/>
                  </a:lnTo>
                  <a:lnTo>
                    <a:pt x="1981" y="3001"/>
                  </a:lnTo>
                  <a:lnTo>
                    <a:pt x="1983" y="2999"/>
                  </a:lnTo>
                  <a:lnTo>
                    <a:pt x="1984" y="2999"/>
                  </a:lnTo>
                  <a:lnTo>
                    <a:pt x="1988" y="2998"/>
                  </a:lnTo>
                  <a:lnTo>
                    <a:pt x="1991" y="2999"/>
                  </a:lnTo>
                  <a:lnTo>
                    <a:pt x="1993" y="2999"/>
                  </a:lnTo>
                  <a:lnTo>
                    <a:pt x="1994" y="2999"/>
                  </a:lnTo>
                  <a:lnTo>
                    <a:pt x="1996" y="2999"/>
                  </a:lnTo>
                  <a:lnTo>
                    <a:pt x="1997" y="2999"/>
                  </a:lnTo>
                  <a:lnTo>
                    <a:pt x="1999" y="3001"/>
                  </a:lnTo>
                  <a:lnTo>
                    <a:pt x="2001" y="3001"/>
                  </a:lnTo>
                  <a:lnTo>
                    <a:pt x="2002" y="3001"/>
                  </a:lnTo>
                  <a:lnTo>
                    <a:pt x="2001" y="3001"/>
                  </a:lnTo>
                  <a:lnTo>
                    <a:pt x="1999" y="3001"/>
                  </a:lnTo>
                  <a:lnTo>
                    <a:pt x="1999" y="2999"/>
                  </a:lnTo>
                  <a:lnTo>
                    <a:pt x="1997" y="2999"/>
                  </a:lnTo>
                  <a:lnTo>
                    <a:pt x="1996" y="2999"/>
                  </a:lnTo>
                  <a:lnTo>
                    <a:pt x="1993" y="2999"/>
                  </a:lnTo>
                  <a:lnTo>
                    <a:pt x="1989" y="2998"/>
                  </a:lnTo>
                  <a:lnTo>
                    <a:pt x="1988" y="2998"/>
                  </a:lnTo>
                  <a:lnTo>
                    <a:pt x="1986" y="2998"/>
                  </a:lnTo>
                  <a:lnTo>
                    <a:pt x="1984" y="2998"/>
                  </a:lnTo>
                  <a:lnTo>
                    <a:pt x="1983" y="2999"/>
                  </a:lnTo>
                  <a:lnTo>
                    <a:pt x="1981" y="2999"/>
                  </a:lnTo>
                  <a:lnTo>
                    <a:pt x="1980" y="3001"/>
                  </a:lnTo>
                  <a:lnTo>
                    <a:pt x="1978" y="3001"/>
                  </a:lnTo>
                  <a:lnTo>
                    <a:pt x="1976" y="3003"/>
                  </a:lnTo>
                  <a:lnTo>
                    <a:pt x="1975" y="3003"/>
                  </a:lnTo>
                  <a:lnTo>
                    <a:pt x="1973" y="3003"/>
                  </a:lnTo>
                  <a:lnTo>
                    <a:pt x="1970" y="3003"/>
                  </a:lnTo>
                  <a:lnTo>
                    <a:pt x="1970" y="3004"/>
                  </a:lnTo>
                  <a:lnTo>
                    <a:pt x="1970" y="3006"/>
                  </a:lnTo>
                  <a:lnTo>
                    <a:pt x="1968" y="3007"/>
                  </a:lnTo>
                  <a:lnTo>
                    <a:pt x="1967" y="3007"/>
                  </a:lnTo>
                  <a:lnTo>
                    <a:pt x="1967" y="3006"/>
                  </a:lnTo>
                  <a:lnTo>
                    <a:pt x="1965" y="3007"/>
                  </a:lnTo>
                  <a:lnTo>
                    <a:pt x="1965" y="3006"/>
                  </a:lnTo>
                  <a:lnTo>
                    <a:pt x="1963" y="3006"/>
                  </a:lnTo>
                  <a:lnTo>
                    <a:pt x="1962" y="3004"/>
                  </a:lnTo>
                  <a:lnTo>
                    <a:pt x="1960" y="3006"/>
                  </a:lnTo>
                  <a:lnTo>
                    <a:pt x="1958" y="3006"/>
                  </a:lnTo>
                  <a:lnTo>
                    <a:pt x="1957" y="3007"/>
                  </a:lnTo>
                  <a:lnTo>
                    <a:pt x="1954" y="3007"/>
                  </a:lnTo>
                  <a:lnTo>
                    <a:pt x="1952" y="3007"/>
                  </a:lnTo>
                  <a:lnTo>
                    <a:pt x="1950" y="3009"/>
                  </a:lnTo>
                  <a:lnTo>
                    <a:pt x="1950" y="3011"/>
                  </a:lnTo>
                  <a:lnTo>
                    <a:pt x="1949" y="3014"/>
                  </a:lnTo>
                  <a:lnTo>
                    <a:pt x="1947" y="3014"/>
                  </a:lnTo>
                  <a:lnTo>
                    <a:pt x="1945" y="3014"/>
                  </a:lnTo>
                  <a:lnTo>
                    <a:pt x="1944" y="3014"/>
                  </a:lnTo>
                  <a:lnTo>
                    <a:pt x="1942" y="3016"/>
                  </a:lnTo>
                  <a:lnTo>
                    <a:pt x="1941" y="3016"/>
                  </a:lnTo>
                  <a:lnTo>
                    <a:pt x="1941" y="3017"/>
                  </a:lnTo>
                  <a:lnTo>
                    <a:pt x="1941" y="3019"/>
                  </a:lnTo>
                  <a:lnTo>
                    <a:pt x="1941" y="3020"/>
                  </a:lnTo>
                  <a:lnTo>
                    <a:pt x="1941" y="3022"/>
                  </a:lnTo>
                  <a:lnTo>
                    <a:pt x="1942" y="3022"/>
                  </a:lnTo>
                  <a:lnTo>
                    <a:pt x="1942" y="3024"/>
                  </a:lnTo>
                  <a:lnTo>
                    <a:pt x="1944" y="3024"/>
                  </a:lnTo>
                  <a:lnTo>
                    <a:pt x="1944" y="3025"/>
                  </a:lnTo>
                  <a:lnTo>
                    <a:pt x="1942" y="3027"/>
                  </a:lnTo>
                  <a:lnTo>
                    <a:pt x="1939" y="3027"/>
                  </a:lnTo>
                  <a:lnTo>
                    <a:pt x="1939" y="3029"/>
                  </a:lnTo>
                  <a:lnTo>
                    <a:pt x="1937" y="3029"/>
                  </a:lnTo>
                  <a:lnTo>
                    <a:pt x="1939" y="3029"/>
                  </a:lnTo>
                  <a:lnTo>
                    <a:pt x="1937" y="3030"/>
                  </a:lnTo>
                  <a:lnTo>
                    <a:pt x="1937" y="3032"/>
                  </a:lnTo>
                  <a:lnTo>
                    <a:pt x="1936" y="3032"/>
                  </a:lnTo>
                  <a:lnTo>
                    <a:pt x="1934" y="3033"/>
                  </a:lnTo>
                  <a:lnTo>
                    <a:pt x="1932" y="3033"/>
                  </a:lnTo>
                  <a:lnTo>
                    <a:pt x="1932" y="3035"/>
                  </a:lnTo>
                  <a:lnTo>
                    <a:pt x="1931" y="3035"/>
                  </a:lnTo>
                  <a:lnTo>
                    <a:pt x="1931" y="3037"/>
                  </a:lnTo>
                  <a:lnTo>
                    <a:pt x="1929" y="3037"/>
                  </a:lnTo>
                  <a:lnTo>
                    <a:pt x="1926" y="3038"/>
                  </a:lnTo>
                  <a:lnTo>
                    <a:pt x="1923" y="3042"/>
                  </a:lnTo>
                  <a:lnTo>
                    <a:pt x="1921" y="3042"/>
                  </a:lnTo>
                  <a:lnTo>
                    <a:pt x="1919" y="3045"/>
                  </a:lnTo>
                  <a:lnTo>
                    <a:pt x="1918" y="3045"/>
                  </a:lnTo>
                  <a:lnTo>
                    <a:pt x="1918" y="3046"/>
                  </a:lnTo>
                  <a:lnTo>
                    <a:pt x="1916" y="3046"/>
                  </a:lnTo>
                  <a:lnTo>
                    <a:pt x="1913" y="3046"/>
                  </a:lnTo>
                  <a:lnTo>
                    <a:pt x="1913" y="3048"/>
                  </a:lnTo>
                  <a:lnTo>
                    <a:pt x="1913" y="3050"/>
                  </a:lnTo>
                  <a:lnTo>
                    <a:pt x="1913" y="3051"/>
                  </a:lnTo>
                  <a:lnTo>
                    <a:pt x="1914" y="3051"/>
                  </a:lnTo>
                  <a:lnTo>
                    <a:pt x="1914" y="3050"/>
                  </a:lnTo>
                  <a:lnTo>
                    <a:pt x="1916" y="3050"/>
                  </a:lnTo>
                  <a:lnTo>
                    <a:pt x="1914" y="3050"/>
                  </a:lnTo>
                  <a:lnTo>
                    <a:pt x="1916" y="3050"/>
                  </a:lnTo>
                  <a:lnTo>
                    <a:pt x="1914" y="3051"/>
                  </a:lnTo>
                  <a:lnTo>
                    <a:pt x="1911" y="3051"/>
                  </a:lnTo>
                  <a:lnTo>
                    <a:pt x="1910" y="3051"/>
                  </a:lnTo>
                  <a:lnTo>
                    <a:pt x="1908" y="3051"/>
                  </a:lnTo>
                  <a:lnTo>
                    <a:pt x="1906" y="3051"/>
                  </a:lnTo>
                  <a:lnTo>
                    <a:pt x="1906" y="3050"/>
                  </a:lnTo>
                  <a:lnTo>
                    <a:pt x="1905" y="3050"/>
                  </a:lnTo>
                  <a:lnTo>
                    <a:pt x="1906" y="3050"/>
                  </a:lnTo>
                  <a:lnTo>
                    <a:pt x="1906" y="3048"/>
                  </a:lnTo>
                  <a:lnTo>
                    <a:pt x="1906" y="3046"/>
                  </a:lnTo>
                  <a:lnTo>
                    <a:pt x="1906" y="3045"/>
                  </a:lnTo>
                  <a:lnTo>
                    <a:pt x="1906" y="3043"/>
                  </a:lnTo>
                  <a:lnTo>
                    <a:pt x="1905" y="3043"/>
                  </a:lnTo>
                  <a:lnTo>
                    <a:pt x="1906" y="3043"/>
                  </a:lnTo>
                  <a:lnTo>
                    <a:pt x="1905" y="3043"/>
                  </a:lnTo>
                  <a:lnTo>
                    <a:pt x="1905" y="3045"/>
                  </a:lnTo>
                  <a:lnTo>
                    <a:pt x="1903" y="3046"/>
                  </a:lnTo>
                  <a:lnTo>
                    <a:pt x="1903" y="3048"/>
                  </a:lnTo>
                  <a:lnTo>
                    <a:pt x="1903" y="3050"/>
                  </a:lnTo>
                  <a:lnTo>
                    <a:pt x="1905" y="3050"/>
                  </a:lnTo>
                  <a:lnTo>
                    <a:pt x="1905" y="3051"/>
                  </a:lnTo>
                  <a:lnTo>
                    <a:pt x="1903" y="3051"/>
                  </a:lnTo>
                  <a:lnTo>
                    <a:pt x="1901" y="3051"/>
                  </a:lnTo>
                  <a:lnTo>
                    <a:pt x="1900" y="3051"/>
                  </a:lnTo>
                  <a:lnTo>
                    <a:pt x="1900" y="3053"/>
                  </a:lnTo>
                  <a:lnTo>
                    <a:pt x="1898" y="3055"/>
                  </a:lnTo>
                  <a:lnTo>
                    <a:pt x="1897" y="3055"/>
                  </a:lnTo>
                  <a:lnTo>
                    <a:pt x="1893" y="3056"/>
                  </a:lnTo>
                  <a:lnTo>
                    <a:pt x="1892" y="3056"/>
                  </a:lnTo>
                  <a:lnTo>
                    <a:pt x="1892" y="3058"/>
                  </a:lnTo>
                  <a:lnTo>
                    <a:pt x="1890" y="3058"/>
                  </a:lnTo>
                  <a:lnTo>
                    <a:pt x="1888" y="3059"/>
                  </a:lnTo>
                  <a:lnTo>
                    <a:pt x="1887" y="3061"/>
                  </a:lnTo>
                  <a:lnTo>
                    <a:pt x="1885" y="3063"/>
                  </a:lnTo>
                  <a:lnTo>
                    <a:pt x="1884" y="3063"/>
                  </a:lnTo>
                  <a:lnTo>
                    <a:pt x="1884" y="3061"/>
                  </a:lnTo>
                  <a:lnTo>
                    <a:pt x="1884" y="3059"/>
                  </a:lnTo>
                  <a:lnTo>
                    <a:pt x="1880" y="3051"/>
                  </a:lnTo>
                  <a:lnTo>
                    <a:pt x="1880" y="3050"/>
                  </a:lnTo>
                  <a:lnTo>
                    <a:pt x="1879" y="3048"/>
                  </a:lnTo>
                  <a:lnTo>
                    <a:pt x="1880" y="3046"/>
                  </a:lnTo>
                  <a:lnTo>
                    <a:pt x="1884" y="3045"/>
                  </a:lnTo>
                  <a:lnTo>
                    <a:pt x="1882" y="3043"/>
                  </a:lnTo>
                  <a:lnTo>
                    <a:pt x="1884" y="3042"/>
                  </a:lnTo>
                  <a:lnTo>
                    <a:pt x="1885" y="3042"/>
                  </a:lnTo>
                  <a:lnTo>
                    <a:pt x="1885" y="3040"/>
                  </a:lnTo>
                  <a:lnTo>
                    <a:pt x="1885" y="3038"/>
                  </a:lnTo>
                  <a:lnTo>
                    <a:pt x="1884" y="3038"/>
                  </a:lnTo>
                  <a:lnTo>
                    <a:pt x="1884" y="3037"/>
                  </a:lnTo>
                  <a:lnTo>
                    <a:pt x="1884" y="3035"/>
                  </a:lnTo>
                  <a:lnTo>
                    <a:pt x="1884" y="3033"/>
                  </a:lnTo>
                  <a:lnTo>
                    <a:pt x="1874" y="3038"/>
                  </a:lnTo>
                  <a:lnTo>
                    <a:pt x="1872" y="3035"/>
                  </a:lnTo>
                  <a:lnTo>
                    <a:pt x="1872" y="3033"/>
                  </a:lnTo>
                  <a:lnTo>
                    <a:pt x="1872" y="3032"/>
                  </a:lnTo>
                  <a:lnTo>
                    <a:pt x="1874" y="3032"/>
                  </a:lnTo>
                  <a:lnTo>
                    <a:pt x="1874" y="3030"/>
                  </a:lnTo>
                  <a:lnTo>
                    <a:pt x="1872" y="3029"/>
                  </a:lnTo>
                  <a:lnTo>
                    <a:pt x="1874" y="3027"/>
                  </a:lnTo>
                  <a:lnTo>
                    <a:pt x="1875" y="3027"/>
                  </a:lnTo>
                  <a:lnTo>
                    <a:pt x="1875" y="3025"/>
                  </a:lnTo>
                  <a:lnTo>
                    <a:pt x="1875" y="3024"/>
                  </a:lnTo>
                  <a:lnTo>
                    <a:pt x="1872" y="3012"/>
                  </a:lnTo>
                  <a:lnTo>
                    <a:pt x="1871" y="3012"/>
                  </a:lnTo>
                  <a:lnTo>
                    <a:pt x="1869" y="3009"/>
                  </a:lnTo>
                  <a:lnTo>
                    <a:pt x="1867" y="3004"/>
                  </a:lnTo>
                  <a:lnTo>
                    <a:pt x="1869" y="3003"/>
                  </a:lnTo>
                  <a:lnTo>
                    <a:pt x="1867" y="2998"/>
                  </a:lnTo>
                  <a:lnTo>
                    <a:pt x="1871" y="2998"/>
                  </a:lnTo>
                  <a:lnTo>
                    <a:pt x="1869" y="2991"/>
                  </a:lnTo>
                  <a:lnTo>
                    <a:pt x="1879" y="2988"/>
                  </a:lnTo>
                  <a:lnTo>
                    <a:pt x="1877" y="2985"/>
                  </a:lnTo>
                  <a:lnTo>
                    <a:pt x="1877" y="2983"/>
                  </a:lnTo>
                  <a:lnTo>
                    <a:pt x="1890" y="2978"/>
                  </a:lnTo>
                  <a:lnTo>
                    <a:pt x="1892" y="2976"/>
                  </a:lnTo>
                  <a:lnTo>
                    <a:pt x="1892" y="2975"/>
                  </a:lnTo>
                  <a:lnTo>
                    <a:pt x="1892" y="2973"/>
                  </a:lnTo>
                  <a:lnTo>
                    <a:pt x="1893" y="2973"/>
                  </a:lnTo>
                  <a:lnTo>
                    <a:pt x="1892" y="2968"/>
                  </a:lnTo>
                  <a:lnTo>
                    <a:pt x="1897" y="2967"/>
                  </a:lnTo>
                  <a:lnTo>
                    <a:pt x="1898" y="2967"/>
                  </a:lnTo>
                  <a:lnTo>
                    <a:pt x="1900" y="2968"/>
                  </a:lnTo>
                  <a:lnTo>
                    <a:pt x="1903" y="2967"/>
                  </a:lnTo>
                  <a:lnTo>
                    <a:pt x="1900" y="2962"/>
                  </a:lnTo>
                  <a:lnTo>
                    <a:pt x="1900" y="2960"/>
                  </a:lnTo>
                  <a:lnTo>
                    <a:pt x="1901" y="2959"/>
                  </a:lnTo>
                  <a:lnTo>
                    <a:pt x="1900" y="2955"/>
                  </a:lnTo>
                  <a:lnTo>
                    <a:pt x="1900" y="2954"/>
                  </a:lnTo>
                  <a:lnTo>
                    <a:pt x="1898" y="2954"/>
                  </a:lnTo>
                  <a:lnTo>
                    <a:pt x="1898" y="2952"/>
                  </a:lnTo>
                  <a:lnTo>
                    <a:pt x="1898" y="2950"/>
                  </a:lnTo>
                  <a:lnTo>
                    <a:pt x="1897" y="2950"/>
                  </a:lnTo>
                  <a:lnTo>
                    <a:pt x="1898" y="2949"/>
                  </a:lnTo>
                  <a:lnTo>
                    <a:pt x="1900" y="2947"/>
                  </a:lnTo>
                  <a:lnTo>
                    <a:pt x="1900" y="2944"/>
                  </a:lnTo>
                  <a:lnTo>
                    <a:pt x="1898" y="2942"/>
                  </a:lnTo>
                  <a:lnTo>
                    <a:pt x="1900" y="2942"/>
                  </a:lnTo>
                  <a:lnTo>
                    <a:pt x="1900" y="2941"/>
                  </a:lnTo>
                  <a:lnTo>
                    <a:pt x="1898" y="2941"/>
                  </a:lnTo>
                  <a:lnTo>
                    <a:pt x="1901" y="2939"/>
                  </a:lnTo>
                  <a:lnTo>
                    <a:pt x="1901" y="2937"/>
                  </a:lnTo>
                  <a:lnTo>
                    <a:pt x="1905" y="2936"/>
                  </a:lnTo>
                  <a:lnTo>
                    <a:pt x="1906" y="2936"/>
                  </a:lnTo>
                  <a:lnTo>
                    <a:pt x="1910" y="2934"/>
                  </a:lnTo>
                  <a:lnTo>
                    <a:pt x="1911" y="2934"/>
                  </a:lnTo>
                  <a:lnTo>
                    <a:pt x="1916" y="2933"/>
                  </a:lnTo>
                  <a:lnTo>
                    <a:pt x="1919" y="2931"/>
                  </a:lnTo>
                  <a:lnTo>
                    <a:pt x="1921" y="2931"/>
                  </a:lnTo>
                  <a:lnTo>
                    <a:pt x="1921" y="2933"/>
                  </a:lnTo>
                  <a:lnTo>
                    <a:pt x="1924" y="2931"/>
                  </a:lnTo>
                  <a:lnTo>
                    <a:pt x="1924" y="2933"/>
                  </a:lnTo>
                  <a:lnTo>
                    <a:pt x="1926" y="2933"/>
                  </a:lnTo>
                  <a:lnTo>
                    <a:pt x="1926" y="2931"/>
                  </a:lnTo>
                  <a:lnTo>
                    <a:pt x="1928" y="2931"/>
                  </a:lnTo>
                  <a:lnTo>
                    <a:pt x="1928" y="2929"/>
                  </a:lnTo>
                  <a:lnTo>
                    <a:pt x="1929" y="2929"/>
                  </a:lnTo>
                  <a:lnTo>
                    <a:pt x="1934" y="2926"/>
                  </a:lnTo>
                  <a:lnTo>
                    <a:pt x="1934" y="2924"/>
                  </a:lnTo>
                  <a:lnTo>
                    <a:pt x="1944" y="2921"/>
                  </a:lnTo>
                  <a:lnTo>
                    <a:pt x="1944" y="2920"/>
                  </a:lnTo>
                  <a:lnTo>
                    <a:pt x="1947" y="2920"/>
                  </a:lnTo>
                  <a:lnTo>
                    <a:pt x="1950" y="2923"/>
                  </a:lnTo>
                  <a:lnTo>
                    <a:pt x="1952" y="2921"/>
                  </a:lnTo>
                  <a:lnTo>
                    <a:pt x="1952" y="2920"/>
                  </a:lnTo>
                  <a:lnTo>
                    <a:pt x="1954" y="2918"/>
                  </a:lnTo>
                  <a:lnTo>
                    <a:pt x="1955" y="2916"/>
                  </a:lnTo>
                  <a:lnTo>
                    <a:pt x="1960" y="2920"/>
                  </a:lnTo>
                  <a:lnTo>
                    <a:pt x="1962" y="2918"/>
                  </a:lnTo>
                  <a:lnTo>
                    <a:pt x="1963" y="2918"/>
                  </a:lnTo>
                  <a:lnTo>
                    <a:pt x="1965" y="2916"/>
                  </a:lnTo>
                  <a:lnTo>
                    <a:pt x="1970" y="2913"/>
                  </a:lnTo>
                  <a:lnTo>
                    <a:pt x="1971" y="2915"/>
                  </a:lnTo>
                  <a:lnTo>
                    <a:pt x="1980" y="2911"/>
                  </a:lnTo>
                  <a:lnTo>
                    <a:pt x="1981" y="2907"/>
                  </a:lnTo>
                  <a:lnTo>
                    <a:pt x="1980" y="2905"/>
                  </a:lnTo>
                  <a:lnTo>
                    <a:pt x="1983" y="2903"/>
                  </a:lnTo>
                  <a:lnTo>
                    <a:pt x="1981" y="2898"/>
                  </a:lnTo>
                  <a:lnTo>
                    <a:pt x="1980" y="2897"/>
                  </a:lnTo>
                  <a:lnTo>
                    <a:pt x="1980" y="2895"/>
                  </a:lnTo>
                  <a:lnTo>
                    <a:pt x="1980" y="2892"/>
                  </a:lnTo>
                  <a:lnTo>
                    <a:pt x="1980" y="2890"/>
                  </a:lnTo>
                  <a:lnTo>
                    <a:pt x="1980" y="2889"/>
                  </a:lnTo>
                  <a:lnTo>
                    <a:pt x="1978" y="2887"/>
                  </a:lnTo>
                  <a:lnTo>
                    <a:pt x="1976" y="2885"/>
                  </a:lnTo>
                  <a:lnTo>
                    <a:pt x="1975" y="2884"/>
                  </a:lnTo>
                  <a:lnTo>
                    <a:pt x="1973" y="2884"/>
                  </a:lnTo>
                  <a:lnTo>
                    <a:pt x="1971" y="2882"/>
                  </a:lnTo>
                  <a:lnTo>
                    <a:pt x="1980" y="2877"/>
                  </a:lnTo>
                  <a:lnTo>
                    <a:pt x="1980" y="2876"/>
                  </a:lnTo>
                  <a:lnTo>
                    <a:pt x="1976" y="2876"/>
                  </a:lnTo>
                  <a:lnTo>
                    <a:pt x="1975" y="2876"/>
                  </a:lnTo>
                  <a:lnTo>
                    <a:pt x="1978" y="2872"/>
                  </a:lnTo>
                  <a:lnTo>
                    <a:pt x="1976" y="2868"/>
                  </a:lnTo>
                  <a:lnTo>
                    <a:pt x="1976" y="2866"/>
                  </a:lnTo>
                  <a:lnTo>
                    <a:pt x="1976" y="2864"/>
                  </a:lnTo>
                  <a:lnTo>
                    <a:pt x="1976" y="2861"/>
                  </a:lnTo>
                  <a:lnTo>
                    <a:pt x="1976" y="2859"/>
                  </a:lnTo>
                  <a:lnTo>
                    <a:pt x="1976" y="2858"/>
                  </a:lnTo>
                  <a:lnTo>
                    <a:pt x="1978" y="2856"/>
                  </a:lnTo>
                  <a:lnTo>
                    <a:pt x="1976" y="2853"/>
                  </a:lnTo>
                  <a:lnTo>
                    <a:pt x="1975" y="2850"/>
                  </a:lnTo>
                  <a:lnTo>
                    <a:pt x="1976" y="2850"/>
                  </a:lnTo>
                  <a:lnTo>
                    <a:pt x="1980" y="2850"/>
                  </a:lnTo>
                  <a:lnTo>
                    <a:pt x="1983" y="2848"/>
                  </a:lnTo>
                  <a:lnTo>
                    <a:pt x="1981" y="2846"/>
                  </a:lnTo>
                  <a:lnTo>
                    <a:pt x="1981" y="2845"/>
                  </a:lnTo>
                  <a:lnTo>
                    <a:pt x="1981" y="2843"/>
                  </a:lnTo>
                  <a:lnTo>
                    <a:pt x="1976" y="2838"/>
                  </a:lnTo>
                  <a:lnTo>
                    <a:pt x="1975" y="2837"/>
                  </a:lnTo>
                  <a:lnTo>
                    <a:pt x="1973" y="2837"/>
                  </a:lnTo>
                  <a:lnTo>
                    <a:pt x="1973" y="2838"/>
                  </a:lnTo>
                  <a:lnTo>
                    <a:pt x="1973" y="2840"/>
                  </a:lnTo>
                  <a:lnTo>
                    <a:pt x="1971" y="2840"/>
                  </a:lnTo>
                  <a:lnTo>
                    <a:pt x="1971" y="2841"/>
                  </a:lnTo>
                  <a:lnTo>
                    <a:pt x="1970" y="2843"/>
                  </a:lnTo>
                  <a:lnTo>
                    <a:pt x="1967" y="2845"/>
                  </a:lnTo>
                  <a:lnTo>
                    <a:pt x="1965" y="2841"/>
                  </a:lnTo>
                  <a:lnTo>
                    <a:pt x="1963" y="2843"/>
                  </a:lnTo>
                  <a:lnTo>
                    <a:pt x="1962" y="2843"/>
                  </a:lnTo>
                  <a:lnTo>
                    <a:pt x="1962" y="2840"/>
                  </a:lnTo>
                  <a:lnTo>
                    <a:pt x="1963" y="2838"/>
                  </a:lnTo>
                  <a:lnTo>
                    <a:pt x="1967" y="2835"/>
                  </a:lnTo>
                  <a:lnTo>
                    <a:pt x="1968" y="2833"/>
                  </a:lnTo>
                  <a:lnTo>
                    <a:pt x="1968" y="2832"/>
                  </a:lnTo>
                  <a:lnTo>
                    <a:pt x="1967" y="2832"/>
                  </a:lnTo>
                  <a:lnTo>
                    <a:pt x="1967" y="2830"/>
                  </a:lnTo>
                  <a:lnTo>
                    <a:pt x="1967" y="2828"/>
                  </a:lnTo>
                  <a:lnTo>
                    <a:pt x="1967" y="2830"/>
                  </a:lnTo>
                  <a:lnTo>
                    <a:pt x="1965" y="2832"/>
                  </a:lnTo>
                  <a:lnTo>
                    <a:pt x="1965" y="2830"/>
                  </a:lnTo>
                  <a:lnTo>
                    <a:pt x="1963" y="2830"/>
                  </a:lnTo>
                  <a:lnTo>
                    <a:pt x="1963" y="2828"/>
                  </a:lnTo>
                  <a:lnTo>
                    <a:pt x="1962" y="2828"/>
                  </a:lnTo>
                  <a:lnTo>
                    <a:pt x="1962" y="2825"/>
                  </a:lnTo>
                  <a:lnTo>
                    <a:pt x="1960" y="2825"/>
                  </a:lnTo>
                  <a:lnTo>
                    <a:pt x="1958" y="2824"/>
                  </a:lnTo>
                  <a:lnTo>
                    <a:pt x="1960" y="2822"/>
                  </a:lnTo>
                  <a:lnTo>
                    <a:pt x="1958" y="2822"/>
                  </a:lnTo>
                  <a:lnTo>
                    <a:pt x="1957" y="2822"/>
                  </a:lnTo>
                  <a:lnTo>
                    <a:pt x="1955" y="2822"/>
                  </a:lnTo>
                  <a:lnTo>
                    <a:pt x="1954" y="2822"/>
                  </a:lnTo>
                  <a:lnTo>
                    <a:pt x="1954" y="2820"/>
                  </a:lnTo>
                  <a:lnTo>
                    <a:pt x="1954" y="2819"/>
                  </a:lnTo>
                  <a:lnTo>
                    <a:pt x="1952" y="2819"/>
                  </a:lnTo>
                  <a:lnTo>
                    <a:pt x="1952" y="2817"/>
                  </a:lnTo>
                  <a:lnTo>
                    <a:pt x="1954" y="2817"/>
                  </a:lnTo>
                  <a:lnTo>
                    <a:pt x="1954" y="2815"/>
                  </a:lnTo>
                  <a:lnTo>
                    <a:pt x="1952" y="2812"/>
                  </a:lnTo>
                  <a:lnTo>
                    <a:pt x="1950" y="2812"/>
                  </a:lnTo>
                  <a:lnTo>
                    <a:pt x="1950" y="2811"/>
                  </a:lnTo>
                  <a:lnTo>
                    <a:pt x="1950" y="2809"/>
                  </a:lnTo>
                  <a:lnTo>
                    <a:pt x="1949" y="2809"/>
                  </a:lnTo>
                  <a:lnTo>
                    <a:pt x="1949" y="2807"/>
                  </a:lnTo>
                  <a:lnTo>
                    <a:pt x="1945" y="2807"/>
                  </a:lnTo>
                  <a:lnTo>
                    <a:pt x="1945" y="2806"/>
                  </a:lnTo>
                  <a:lnTo>
                    <a:pt x="1944" y="2807"/>
                  </a:lnTo>
                  <a:lnTo>
                    <a:pt x="1942" y="2807"/>
                  </a:lnTo>
                  <a:lnTo>
                    <a:pt x="1941" y="2807"/>
                  </a:lnTo>
                  <a:lnTo>
                    <a:pt x="1941" y="2809"/>
                  </a:lnTo>
                  <a:lnTo>
                    <a:pt x="1939" y="2811"/>
                  </a:lnTo>
                  <a:lnTo>
                    <a:pt x="1939" y="2809"/>
                  </a:lnTo>
                  <a:lnTo>
                    <a:pt x="1937" y="2811"/>
                  </a:lnTo>
                  <a:lnTo>
                    <a:pt x="1936" y="2811"/>
                  </a:lnTo>
                  <a:lnTo>
                    <a:pt x="1934" y="2812"/>
                  </a:lnTo>
                  <a:lnTo>
                    <a:pt x="1932" y="2811"/>
                  </a:lnTo>
                  <a:lnTo>
                    <a:pt x="1932" y="2812"/>
                  </a:lnTo>
                  <a:lnTo>
                    <a:pt x="1932" y="2811"/>
                  </a:lnTo>
                  <a:lnTo>
                    <a:pt x="1931" y="2811"/>
                  </a:lnTo>
                  <a:lnTo>
                    <a:pt x="1931" y="2809"/>
                  </a:lnTo>
                  <a:lnTo>
                    <a:pt x="1929" y="2809"/>
                  </a:lnTo>
                  <a:lnTo>
                    <a:pt x="1931" y="2809"/>
                  </a:lnTo>
                  <a:lnTo>
                    <a:pt x="1929" y="2809"/>
                  </a:lnTo>
                  <a:lnTo>
                    <a:pt x="1929" y="2807"/>
                  </a:lnTo>
                  <a:lnTo>
                    <a:pt x="1931" y="2807"/>
                  </a:lnTo>
                  <a:lnTo>
                    <a:pt x="1931" y="2804"/>
                  </a:lnTo>
                  <a:lnTo>
                    <a:pt x="1931" y="2802"/>
                  </a:lnTo>
                  <a:lnTo>
                    <a:pt x="1931" y="2801"/>
                  </a:lnTo>
                  <a:lnTo>
                    <a:pt x="1931" y="2802"/>
                  </a:lnTo>
                  <a:lnTo>
                    <a:pt x="1932" y="2801"/>
                  </a:lnTo>
                  <a:lnTo>
                    <a:pt x="1931" y="2801"/>
                  </a:lnTo>
                  <a:lnTo>
                    <a:pt x="1931" y="2799"/>
                  </a:lnTo>
                  <a:lnTo>
                    <a:pt x="1931" y="2801"/>
                  </a:lnTo>
                  <a:lnTo>
                    <a:pt x="1931" y="2799"/>
                  </a:lnTo>
                  <a:lnTo>
                    <a:pt x="1931" y="2798"/>
                  </a:lnTo>
                  <a:lnTo>
                    <a:pt x="1931" y="2796"/>
                  </a:lnTo>
                  <a:lnTo>
                    <a:pt x="1929" y="2796"/>
                  </a:lnTo>
                  <a:lnTo>
                    <a:pt x="1931" y="2796"/>
                  </a:lnTo>
                  <a:lnTo>
                    <a:pt x="1929" y="2794"/>
                  </a:lnTo>
                  <a:lnTo>
                    <a:pt x="1929" y="2796"/>
                  </a:lnTo>
                  <a:lnTo>
                    <a:pt x="1928" y="2794"/>
                  </a:lnTo>
                  <a:lnTo>
                    <a:pt x="1929" y="2794"/>
                  </a:lnTo>
                  <a:lnTo>
                    <a:pt x="1929" y="2793"/>
                  </a:lnTo>
                  <a:lnTo>
                    <a:pt x="1928" y="2793"/>
                  </a:lnTo>
                  <a:lnTo>
                    <a:pt x="1928" y="2791"/>
                  </a:lnTo>
                  <a:lnTo>
                    <a:pt x="1929" y="2791"/>
                  </a:lnTo>
                  <a:lnTo>
                    <a:pt x="1928" y="2789"/>
                  </a:lnTo>
                  <a:lnTo>
                    <a:pt x="1929" y="2789"/>
                  </a:lnTo>
                  <a:lnTo>
                    <a:pt x="1928" y="2786"/>
                  </a:lnTo>
                  <a:lnTo>
                    <a:pt x="1929" y="2785"/>
                  </a:lnTo>
                  <a:lnTo>
                    <a:pt x="1931" y="2785"/>
                  </a:lnTo>
                  <a:lnTo>
                    <a:pt x="1929" y="2785"/>
                  </a:lnTo>
                  <a:lnTo>
                    <a:pt x="1929" y="2783"/>
                  </a:lnTo>
                  <a:lnTo>
                    <a:pt x="1931" y="2781"/>
                  </a:lnTo>
                  <a:lnTo>
                    <a:pt x="1929" y="2780"/>
                  </a:lnTo>
                  <a:lnTo>
                    <a:pt x="1929" y="2778"/>
                  </a:lnTo>
                  <a:lnTo>
                    <a:pt x="1929" y="2776"/>
                  </a:lnTo>
                  <a:lnTo>
                    <a:pt x="1929" y="2775"/>
                  </a:lnTo>
                  <a:lnTo>
                    <a:pt x="1929" y="2773"/>
                  </a:lnTo>
                  <a:lnTo>
                    <a:pt x="1931" y="2773"/>
                  </a:lnTo>
                  <a:lnTo>
                    <a:pt x="1932" y="2773"/>
                  </a:lnTo>
                  <a:lnTo>
                    <a:pt x="1937" y="2773"/>
                  </a:lnTo>
                  <a:lnTo>
                    <a:pt x="1944" y="2773"/>
                  </a:lnTo>
                  <a:lnTo>
                    <a:pt x="1945" y="2773"/>
                  </a:lnTo>
                  <a:lnTo>
                    <a:pt x="1947" y="2773"/>
                  </a:lnTo>
                  <a:lnTo>
                    <a:pt x="1950" y="2760"/>
                  </a:lnTo>
                  <a:lnTo>
                    <a:pt x="1950" y="2759"/>
                  </a:lnTo>
                  <a:lnTo>
                    <a:pt x="1947" y="2755"/>
                  </a:lnTo>
                  <a:lnTo>
                    <a:pt x="1944" y="2755"/>
                  </a:lnTo>
                  <a:lnTo>
                    <a:pt x="1944" y="2757"/>
                  </a:lnTo>
                  <a:lnTo>
                    <a:pt x="1944" y="2762"/>
                  </a:lnTo>
                  <a:lnTo>
                    <a:pt x="1942" y="2762"/>
                  </a:lnTo>
                  <a:lnTo>
                    <a:pt x="1941" y="2763"/>
                  </a:lnTo>
                  <a:lnTo>
                    <a:pt x="1939" y="2763"/>
                  </a:lnTo>
                  <a:lnTo>
                    <a:pt x="1939" y="2762"/>
                  </a:lnTo>
                  <a:lnTo>
                    <a:pt x="1937" y="2762"/>
                  </a:lnTo>
                  <a:lnTo>
                    <a:pt x="1936" y="2760"/>
                  </a:lnTo>
                  <a:lnTo>
                    <a:pt x="1934" y="2760"/>
                  </a:lnTo>
                  <a:lnTo>
                    <a:pt x="1932" y="2762"/>
                  </a:lnTo>
                  <a:lnTo>
                    <a:pt x="1932" y="2763"/>
                  </a:lnTo>
                  <a:lnTo>
                    <a:pt x="1931" y="2763"/>
                  </a:lnTo>
                  <a:lnTo>
                    <a:pt x="1929" y="2763"/>
                  </a:lnTo>
                  <a:lnTo>
                    <a:pt x="1929" y="2765"/>
                  </a:lnTo>
                  <a:lnTo>
                    <a:pt x="1929" y="2767"/>
                  </a:lnTo>
                  <a:lnTo>
                    <a:pt x="1928" y="2765"/>
                  </a:lnTo>
                  <a:lnTo>
                    <a:pt x="1926" y="2765"/>
                  </a:lnTo>
                  <a:lnTo>
                    <a:pt x="1924" y="2763"/>
                  </a:lnTo>
                  <a:lnTo>
                    <a:pt x="1924" y="2765"/>
                  </a:lnTo>
                  <a:lnTo>
                    <a:pt x="1924" y="2763"/>
                  </a:lnTo>
                  <a:lnTo>
                    <a:pt x="1923" y="2763"/>
                  </a:lnTo>
                  <a:lnTo>
                    <a:pt x="1923" y="2762"/>
                  </a:lnTo>
                  <a:lnTo>
                    <a:pt x="1923" y="2760"/>
                  </a:lnTo>
                  <a:lnTo>
                    <a:pt x="1921" y="2760"/>
                  </a:lnTo>
                  <a:lnTo>
                    <a:pt x="1921" y="2759"/>
                  </a:lnTo>
                  <a:lnTo>
                    <a:pt x="1919" y="2759"/>
                  </a:lnTo>
                  <a:lnTo>
                    <a:pt x="1918" y="2759"/>
                  </a:lnTo>
                  <a:lnTo>
                    <a:pt x="1918" y="2757"/>
                  </a:lnTo>
                  <a:lnTo>
                    <a:pt x="1916" y="2757"/>
                  </a:lnTo>
                  <a:lnTo>
                    <a:pt x="1916" y="2755"/>
                  </a:lnTo>
                  <a:lnTo>
                    <a:pt x="1914" y="2757"/>
                  </a:lnTo>
                  <a:lnTo>
                    <a:pt x="1913" y="2757"/>
                  </a:lnTo>
                  <a:lnTo>
                    <a:pt x="1911" y="2755"/>
                  </a:lnTo>
                  <a:lnTo>
                    <a:pt x="1911" y="2757"/>
                  </a:lnTo>
                  <a:lnTo>
                    <a:pt x="1910" y="2757"/>
                  </a:lnTo>
                  <a:lnTo>
                    <a:pt x="1910" y="2755"/>
                  </a:lnTo>
                  <a:lnTo>
                    <a:pt x="1908" y="2755"/>
                  </a:lnTo>
                  <a:lnTo>
                    <a:pt x="1908" y="2754"/>
                  </a:lnTo>
                  <a:lnTo>
                    <a:pt x="1908" y="2752"/>
                  </a:lnTo>
                  <a:lnTo>
                    <a:pt x="1908" y="2750"/>
                  </a:lnTo>
                  <a:lnTo>
                    <a:pt x="1908" y="2749"/>
                  </a:lnTo>
                  <a:lnTo>
                    <a:pt x="1913" y="2749"/>
                  </a:lnTo>
                  <a:lnTo>
                    <a:pt x="1914" y="2747"/>
                  </a:lnTo>
                  <a:lnTo>
                    <a:pt x="1916" y="2747"/>
                  </a:lnTo>
                  <a:lnTo>
                    <a:pt x="1918" y="2744"/>
                  </a:lnTo>
                  <a:lnTo>
                    <a:pt x="1921" y="2742"/>
                  </a:lnTo>
                  <a:lnTo>
                    <a:pt x="1923" y="2741"/>
                  </a:lnTo>
                  <a:lnTo>
                    <a:pt x="1926" y="2741"/>
                  </a:lnTo>
                  <a:lnTo>
                    <a:pt x="1929" y="2739"/>
                  </a:lnTo>
                  <a:lnTo>
                    <a:pt x="1928" y="2737"/>
                  </a:lnTo>
                  <a:lnTo>
                    <a:pt x="1928" y="2736"/>
                  </a:lnTo>
                  <a:lnTo>
                    <a:pt x="1928" y="2731"/>
                  </a:lnTo>
                  <a:lnTo>
                    <a:pt x="1928" y="2729"/>
                  </a:lnTo>
                  <a:lnTo>
                    <a:pt x="1929" y="2724"/>
                  </a:lnTo>
                  <a:lnTo>
                    <a:pt x="1929" y="2720"/>
                  </a:lnTo>
                  <a:lnTo>
                    <a:pt x="1932" y="2716"/>
                  </a:lnTo>
                  <a:lnTo>
                    <a:pt x="1934" y="2715"/>
                  </a:lnTo>
                  <a:lnTo>
                    <a:pt x="1934" y="2711"/>
                  </a:lnTo>
                  <a:lnTo>
                    <a:pt x="1934" y="2710"/>
                  </a:lnTo>
                  <a:lnTo>
                    <a:pt x="1934" y="2708"/>
                  </a:lnTo>
                  <a:lnTo>
                    <a:pt x="1936" y="2708"/>
                  </a:lnTo>
                  <a:lnTo>
                    <a:pt x="1939" y="2707"/>
                  </a:lnTo>
                  <a:lnTo>
                    <a:pt x="1941" y="2705"/>
                  </a:lnTo>
                  <a:lnTo>
                    <a:pt x="1942" y="2703"/>
                  </a:lnTo>
                  <a:lnTo>
                    <a:pt x="1941" y="2702"/>
                  </a:lnTo>
                  <a:lnTo>
                    <a:pt x="1937" y="2700"/>
                  </a:lnTo>
                  <a:lnTo>
                    <a:pt x="1936" y="2698"/>
                  </a:lnTo>
                  <a:lnTo>
                    <a:pt x="1936" y="2697"/>
                  </a:lnTo>
                  <a:lnTo>
                    <a:pt x="1934" y="2692"/>
                  </a:lnTo>
                  <a:lnTo>
                    <a:pt x="1932" y="2690"/>
                  </a:lnTo>
                  <a:lnTo>
                    <a:pt x="1931" y="2689"/>
                  </a:lnTo>
                  <a:lnTo>
                    <a:pt x="1929" y="2689"/>
                  </a:lnTo>
                  <a:lnTo>
                    <a:pt x="1928" y="2689"/>
                  </a:lnTo>
                  <a:lnTo>
                    <a:pt x="1926" y="2689"/>
                  </a:lnTo>
                  <a:lnTo>
                    <a:pt x="1924" y="2689"/>
                  </a:lnTo>
                  <a:lnTo>
                    <a:pt x="1921" y="2687"/>
                  </a:lnTo>
                  <a:lnTo>
                    <a:pt x="1918" y="2684"/>
                  </a:lnTo>
                  <a:lnTo>
                    <a:pt x="1916" y="2684"/>
                  </a:lnTo>
                  <a:lnTo>
                    <a:pt x="1914" y="2682"/>
                  </a:lnTo>
                  <a:lnTo>
                    <a:pt x="1913" y="2680"/>
                  </a:lnTo>
                  <a:lnTo>
                    <a:pt x="1913" y="2679"/>
                  </a:lnTo>
                  <a:lnTo>
                    <a:pt x="1913" y="2677"/>
                  </a:lnTo>
                  <a:lnTo>
                    <a:pt x="1911" y="2676"/>
                  </a:lnTo>
                  <a:lnTo>
                    <a:pt x="1911" y="2674"/>
                  </a:lnTo>
                  <a:lnTo>
                    <a:pt x="1913" y="2672"/>
                  </a:lnTo>
                  <a:lnTo>
                    <a:pt x="1916" y="2666"/>
                  </a:lnTo>
                  <a:lnTo>
                    <a:pt x="1919" y="2663"/>
                  </a:lnTo>
                  <a:lnTo>
                    <a:pt x="1916" y="2659"/>
                  </a:lnTo>
                  <a:lnTo>
                    <a:pt x="1914" y="2658"/>
                  </a:lnTo>
                  <a:lnTo>
                    <a:pt x="1908" y="2663"/>
                  </a:lnTo>
                  <a:lnTo>
                    <a:pt x="1908" y="2661"/>
                  </a:lnTo>
                  <a:lnTo>
                    <a:pt x="1900" y="2666"/>
                  </a:lnTo>
                  <a:lnTo>
                    <a:pt x="1900" y="2671"/>
                  </a:lnTo>
                  <a:lnTo>
                    <a:pt x="1897" y="2674"/>
                  </a:lnTo>
                  <a:lnTo>
                    <a:pt x="1893" y="2676"/>
                  </a:lnTo>
                  <a:lnTo>
                    <a:pt x="1892" y="2676"/>
                  </a:lnTo>
                  <a:lnTo>
                    <a:pt x="1890" y="2677"/>
                  </a:lnTo>
                  <a:lnTo>
                    <a:pt x="1888" y="2677"/>
                  </a:lnTo>
                  <a:lnTo>
                    <a:pt x="1882" y="2674"/>
                  </a:lnTo>
                  <a:lnTo>
                    <a:pt x="1879" y="2674"/>
                  </a:lnTo>
                  <a:lnTo>
                    <a:pt x="1877" y="2676"/>
                  </a:lnTo>
                  <a:lnTo>
                    <a:pt x="1875" y="2674"/>
                  </a:lnTo>
                  <a:lnTo>
                    <a:pt x="1874" y="2676"/>
                  </a:lnTo>
                  <a:lnTo>
                    <a:pt x="1871" y="2674"/>
                  </a:lnTo>
                  <a:lnTo>
                    <a:pt x="1866" y="2667"/>
                  </a:lnTo>
                  <a:lnTo>
                    <a:pt x="1862" y="2664"/>
                  </a:lnTo>
                  <a:lnTo>
                    <a:pt x="1862" y="2661"/>
                  </a:lnTo>
                  <a:lnTo>
                    <a:pt x="1858" y="2663"/>
                  </a:lnTo>
                  <a:lnTo>
                    <a:pt x="1856" y="2663"/>
                  </a:lnTo>
                  <a:lnTo>
                    <a:pt x="1851" y="2663"/>
                  </a:lnTo>
                  <a:lnTo>
                    <a:pt x="1849" y="2663"/>
                  </a:lnTo>
                  <a:lnTo>
                    <a:pt x="1848" y="2664"/>
                  </a:lnTo>
                  <a:lnTo>
                    <a:pt x="1846" y="2664"/>
                  </a:lnTo>
                  <a:lnTo>
                    <a:pt x="1845" y="2666"/>
                  </a:lnTo>
                  <a:lnTo>
                    <a:pt x="1843" y="2669"/>
                  </a:lnTo>
                  <a:lnTo>
                    <a:pt x="1836" y="2669"/>
                  </a:lnTo>
                  <a:lnTo>
                    <a:pt x="1835" y="2671"/>
                  </a:lnTo>
                  <a:lnTo>
                    <a:pt x="1833" y="2669"/>
                  </a:lnTo>
                  <a:lnTo>
                    <a:pt x="1832" y="2669"/>
                  </a:lnTo>
                  <a:lnTo>
                    <a:pt x="1830" y="2669"/>
                  </a:lnTo>
                  <a:lnTo>
                    <a:pt x="1830" y="2667"/>
                  </a:lnTo>
                  <a:lnTo>
                    <a:pt x="1828" y="2667"/>
                  </a:lnTo>
                  <a:lnTo>
                    <a:pt x="1827" y="2666"/>
                  </a:lnTo>
                  <a:lnTo>
                    <a:pt x="1825" y="2663"/>
                  </a:lnTo>
                  <a:lnTo>
                    <a:pt x="1823" y="2661"/>
                  </a:lnTo>
                  <a:lnTo>
                    <a:pt x="1822" y="2658"/>
                  </a:lnTo>
                  <a:lnTo>
                    <a:pt x="1820" y="2658"/>
                  </a:lnTo>
                  <a:lnTo>
                    <a:pt x="1819" y="2658"/>
                  </a:lnTo>
                  <a:lnTo>
                    <a:pt x="1819" y="2656"/>
                  </a:lnTo>
                  <a:lnTo>
                    <a:pt x="1815" y="2661"/>
                  </a:lnTo>
                  <a:lnTo>
                    <a:pt x="1815" y="2666"/>
                  </a:lnTo>
                  <a:lnTo>
                    <a:pt x="1812" y="2669"/>
                  </a:lnTo>
                  <a:lnTo>
                    <a:pt x="1809" y="2671"/>
                  </a:lnTo>
                  <a:lnTo>
                    <a:pt x="1807" y="2674"/>
                  </a:lnTo>
                  <a:lnTo>
                    <a:pt x="1806" y="2674"/>
                  </a:lnTo>
                  <a:lnTo>
                    <a:pt x="1804" y="2676"/>
                  </a:lnTo>
                  <a:lnTo>
                    <a:pt x="1804" y="2677"/>
                  </a:lnTo>
                  <a:lnTo>
                    <a:pt x="1802" y="2677"/>
                  </a:lnTo>
                  <a:lnTo>
                    <a:pt x="1801" y="2677"/>
                  </a:lnTo>
                  <a:lnTo>
                    <a:pt x="1801" y="2676"/>
                  </a:lnTo>
                  <a:lnTo>
                    <a:pt x="1799" y="2674"/>
                  </a:lnTo>
                  <a:lnTo>
                    <a:pt x="1799" y="2672"/>
                  </a:lnTo>
                  <a:lnTo>
                    <a:pt x="1797" y="2671"/>
                  </a:lnTo>
                  <a:lnTo>
                    <a:pt x="1797" y="2672"/>
                  </a:lnTo>
                  <a:lnTo>
                    <a:pt x="1797" y="2671"/>
                  </a:lnTo>
                  <a:lnTo>
                    <a:pt x="1797" y="2669"/>
                  </a:lnTo>
                  <a:lnTo>
                    <a:pt x="1796" y="2669"/>
                  </a:lnTo>
                  <a:lnTo>
                    <a:pt x="1794" y="2669"/>
                  </a:lnTo>
                  <a:lnTo>
                    <a:pt x="1794" y="2671"/>
                  </a:lnTo>
                  <a:lnTo>
                    <a:pt x="1793" y="2671"/>
                  </a:lnTo>
                  <a:lnTo>
                    <a:pt x="1791" y="2671"/>
                  </a:lnTo>
                  <a:lnTo>
                    <a:pt x="1789" y="2671"/>
                  </a:lnTo>
                  <a:lnTo>
                    <a:pt x="1786" y="2671"/>
                  </a:lnTo>
                  <a:lnTo>
                    <a:pt x="1784" y="2671"/>
                  </a:lnTo>
                  <a:lnTo>
                    <a:pt x="1783" y="2669"/>
                  </a:lnTo>
                  <a:lnTo>
                    <a:pt x="1781" y="2671"/>
                  </a:lnTo>
                  <a:lnTo>
                    <a:pt x="1780" y="2669"/>
                  </a:lnTo>
                  <a:lnTo>
                    <a:pt x="1778" y="2667"/>
                  </a:lnTo>
                  <a:lnTo>
                    <a:pt x="1775" y="2667"/>
                  </a:lnTo>
                  <a:lnTo>
                    <a:pt x="1773" y="2664"/>
                  </a:lnTo>
                  <a:lnTo>
                    <a:pt x="1773" y="2661"/>
                  </a:lnTo>
                  <a:lnTo>
                    <a:pt x="1773" y="2659"/>
                  </a:lnTo>
                  <a:lnTo>
                    <a:pt x="1770" y="2658"/>
                  </a:lnTo>
                  <a:lnTo>
                    <a:pt x="1770" y="2659"/>
                  </a:lnTo>
                  <a:lnTo>
                    <a:pt x="1770" y="2661"/>
                  </a:lnTo>
                  <a:lnTo>
                    <a:pt x="1771" y="2663"/>
                  </a:lnTo>
                  <a:lnTo>
                    <a:pt x="1770" y="2663"/>
                  </a:lnTo>
                  <a:lnTo>
                    <a:pt x="1770" y="2666"/>
                  </a:lnTo>
                  <a:lnTo>
                    <a:pt x="1765" y="2664"/>
                  </a:lnTo>
                  <a:lnTo>
                    <a:pt x="1763" y="2666"/>
                  </a:lnTo>
                  <a:lnTo>
                    <a:pt x="1760" y="2669"/>
                  </a:lnTo>
                  <a:lnTo>
                    <a:pt x="1757" y="2671"/>
                  </a:lnTo>
                  <a:lnTo>
                    <a:pt x="1755" y="2669"/>
                  </a:lnTo>
                  <a:lnTo>
                    <a:pt x="1753" y="2669"/>
                  </a:lnTo>
                  <a:lnTo>
                    <a:pt x="1752" y="2669"/>
                  </a:lnTo>
                  <a:lnTo>
                    <a:pt x="1752" y="2667"/>
                  </a:lnTo>
                  <a:lnTo>
                    <a:pt x="1750" y="2667"/>
                  </a:lnTo>
                  <a:lnTo>
                    <a:pt x="1749" y="2667"/>
                  </a:lnTo>
                  <a:lnTo>
                    <a:pt x="1749" y="2671"/>
                  </a:lnTo>
                  <a:lnTo>
                    <a:pt x="1745" y="2671"/>
                  </a:lnTo>
                  <a:lnTo>
                    <a:pt x="1742" y="2669"/>
                  </a:lnTo>
                  <a:lnTo>
                    <a:pt x="1740" y="2669"/>
                  </a:lnTo>
                  <a:lnTo>
                    <a:pt x="1740" y="2667"/>
                  </a:lnTo>
                  <a:lnTo>
                    <a:pt x="1740" y="2666"/>
                  </a:lnTo>
                  <a:lnTo>
                    <a:pt x="1739" y="2666"/>
                  </a:lnTo>
                  <a:lnTo>
                    <a:pt x="1739" y="2664"/>
                  </a:lnTo>
                  <a:lnTo>
                    <a:pt x="1737" y="2663"/>
                  </a:lnTo>
                  <a:lnTo>
                    <a:pt x="1736" y="2659"/>
                  </a:lnTo>
                  <a:lnTo>
                    <a:pt x="1734" y="2659"/>
                  </a:lnTo>
                  <a:lnTo>
                    <a:pt x="1734" y="2661"/>
                  </a:lnTo>
                  <a:lnTo>
                    <a:pt x="1732" y="2661"/>
                  </a:lnTo>
                  <a:lnTo>
                    <a:pt x="1732" y="2663"/>
                  </a:lnTo>
                  <a:lnTo>
                    <a:pt x="1731" y="2664"/>
                  </a:lnTo>
                  <a:lnTo>
                    <a:pt x="1723" y="2666"/>
                  </a:lnTo>
                  <a:lnTo>
                    <a:pt x="1726" y="2669"/>
                  </a:lnTo>
                  <a:lnTo>
                    <a:pt x="1726" y="2671"/>
                  </a:lnTo>
                  <a:lnTo>
                    <a:pt x="1727" y="2672"/>
                  </a:lnTo>
                  <a:lnTo>
                    <a:pt x="1732" y="2677"/>
                  </a:lnTo>
                  <a:lnTo>
                    <a:pt x="1732" y="2679"/>
                  </a:lnTo>
                  <a:lnTo>
                    <a:pt x="1732" y="2680"/>
                  </a:lnTo>
                  <a:lnTo>
                    <a:pt x="1731" y="2682"/>
                  </a:lnTo>
                  <a:lnTo>
                    <a:pt x="1732" y="2684"/>
                  </a:lnTo>
                  <a:lnTo>
                    <a:pt x="1731" y="2685"/>
                  </a:lnTo>
                  <a:lnTo>
                    <a:pt x="1727" y="2689"/>
                  </a:lnTo>
                  <a:lnTo>
                    <a:pt x="1727" y="2687"/>
                  </a:lnTo>
                  <a:lnTo>
                    <a:pt x="1726" y="2687"/>
                  </a:lnTo>
                  <a:lnTo>
                    <a:pt x="1721" y="2692"/>
                  </a:lnTo>
                  <a:lnTo>
                    <a:pt x="1721" y="2693"/>
                  </a:lnTo>
                  <a:lnTo>
                    <a:pt x="1721" y="2695"/>
                  </a:lnTo>
                  <a:lnTo>
                    <a:pt x="1719" y="2693"/>
                  </a:lnTo>
                  <a:lnTo>
                    <a:pt x="1719" y="2692"/>
                  </a:lnTo>
                  <a:lnTo>
                    <a:pt x="1719" y="2690"/>
                  </a:lnTo>
                  <a:lnTo>
                    <a:pt x="1714" y="2687"/>
                  </a:lnTo>
                  <a:lnTo>
                    <a:pt x="1713" y="2685"/>
                  </a:lnTo>
                  <a:lnTo>
                    <a:pt x="1713" y="2687"/>
                  </a:lnTo>
                  <a:lnTo>
                    <a:pt x="1711" y="2687"/>
                  </a:lnTo>
                  <a:lnTo>
                    <a:pt x="1710" y="2685"/>
                  </a:lnTo>
                  <a:lnTo>
                    <a:pt x="1708" y="2685"/>
                  </a:lnTo>
                  <a:lnTo>
                    <a:pt x="1706" y="2682"/>
                  </a:lnTo>
                  <a:lnTo>
                    <a:pt x="1705" y="2682"/>
                  </a:lnTo>
                  <a:lnTo>
                    <a:pt x="1705" y="2680"/>
                  </a:lnTo>
                  <a:lnTo>
                    <a:pt x="1701" y="2680"/>
                  </a:lnTo>
                  <a:lnTo>
                    <a:pt x="1698" y="2680"/>
                  </a:lnTo>
                  <a:lnTo>
                    <a:pt x="1695" y="2680"/>
                  </a:lnTo>
                  <a:lnTo>
                    <a:pt x="1693" y="2679"/>
                  </a:lnTo>
                  <a:lnTo>
                    <a:pt x="1690" y="2679"/>
                  </a:lnTo>
                  <a:lnTo>
                    <a:pt x="1688" y="2680"/>
                  </a:lnTo>
                  <a:lnTo>
                    <a:pt x="1687" y="2680"/>
                  </a:lnTo>
                  <a:lnTo>
                    <a:pt x="1685" y="2679"/>
                  </a:lnTo>
                  <a:lnTo>
                    <a:pt x="1684" y="2677"/>
                  </a:lnTo>
                  <a:lnTo>
                    <a:pt x="1679" y="2674"/>
                  </a:lnTo>
                  <a:lnTo>
                    <a:pt x="1677" y="2674"/>
                  </a:lnTo>
                  <a:lnTo>
                    <a:pt x="1672" y="2671"/>
                  </a:lnTo>
                  <a:lnTo>
                    <a:pt x="1671" y="2669"/>
                  </a:lnTo>
                  <a:lnTo>
                    <a:pt x="1671" y="2667"/>
                  </a:lnTo>
                  <a:lnTo>
                    <a:pt x="1669" y="2667"/>
                  </a:lnTo>
                  <a:lnTo>
                    <a:pt x="1667" y="2664"/>
                  </a:lnTo>
                  <a:lnTo>
                    <a:pt x="1667" y="2663"/>
                  </a:lnTo>
                  <a:lnTo>
                    <a:pt x="1667" y="2661"/>
                  </a:lnTo>
                  <a:lnTo>
                    <a:pt x="1666" y="2658"/>
                  </a:lnTo>
                  <a:lnTo>
                    <a:pt x="1666" y="2656"/>
                  </a:lnTo>
                  <a:lnTo>
                    <a:pt x="1666" y="2654"/>
                  </a:lnTo>
                  <a:lnTo>
                    <a:pt x="1666" y="2653"/>
                  </a:lnTo>
                  <a:lnTo>
                    <a:pt x="1664" y="2653"/>
                  </a:lnTo>
                  <a:lnTo>
                    <a:pt x="1661" y="2654"/>
                  </a:lnTo>
                  <a:lnTo>
                    <a:pt x="1661" y="2656"/>
                  </a:lnTo>
                  <a:lnTo>
                    <a:pt x="1658" y="2654"/>
                  </a:lnTo>
                  <a:lnTo>
                    <a:pt x="1654" y="2654"/>
                  </a:lnTo>
                  <a:lnTo>
                    <a:pt x="1653" y="2653"/>
                  </a:lnTo>
                  <a:lnTo>
                    <a:pt x="1649" y="2653"/>
                  </a:lnTo>
                  <a:lnTo>
                    <a:pt x="1649" y="2651"/>
                  </a:lnTo>
                  <a:lnTo>
                    <a:pt x="1648" y="2650"/>
                  </a:lnTo>
                  <a:lnTo>
                    <a:pt x="1645" y="2643"/>
                  </a:lnTo>
                  <a:lnTo>
                    <a:pt x="1646" y="2641"/>
                  </a:lnTo>
                  <a:lnTo>
                    <a:pt x="1646" y="2640"/>
                  </a:lnTo>
                  <a:lnTo>
                    <a:pt x="1645" y="2638"/>
                  </a:lnTo>
                  <a:lnTo>
                    <a:pt x="1645" y="2640"/>
                  </a:lnTo>
                  <a:lnTo>
                    <a:pt x="1641" y="2643"/>
                  </a:lnTo>
                  <a:lnTo>
                    <a:pt x="1641" y="2645"/>
                  </a:lnTo>
                  <a:lnTo>
                    <a:pt x="1638" y="2645"/>
                  </a:lnTo>
                  <a:lnTo>
                    <a:pt x="1633" y="2646"/>
                  </a:lnTo>
                  <a:lnTo>
                    <a:pt x="1633" y="2648"/>
                  </a:lnTo>
                  <a:lnTo>
                    <a:pt x="1632" y="2648"/>
                  </a:lnTo>
                  <a:lnTo>
                    <a:pt x="1632" y="2650"/>
                  </a:lnTo>
                  <a:lnTo>
                    <a:pt x="1632" y="2651"/>
                  </a:lnTo>
                  <a:lnTo>
                    <a:pt x="1632" y="2653"/>
                  </a:lnTo>
                  <a:lnTo>
                    <a:pt x="1630" y="2654"/>
                  </a:lnTo>
                  <a:lnTo>
                    <a:pt x="1623" y="2661"/>
                  </a:lnTo>
                  <a:lnTo>
                    <a:pt x="1622" y="2664"/>
                  </a:lnTo>
                  <a:lnTo>
                    <a:pt x="1620" y="2664"/>
                  </a:lnTo>
                  <a:lnTo>
                    <a:pt x="1618" y="2664"/>
                  </a:lnTo>
                  <a:lnTo>
                    <a:pt x="1618" y="2666"/>
                  </a:lnTo>
                  <a:lnTo>
                    <a:pt x="1615" y="2667"/>
                  </a:lnTo>
                  <a:lnTo>
                    <a:pt x="1614" y="2669"/>
                  </a:lnTo>
                  <a:lnTo>
                    <a:pt x="1612" y="2669"/>
                  </a:lnTo>
                  <a:lnTo>
                    <a:pt x="1604" y="2672"/>
                  </a:lnTo>
                  <a:lnTo>
                    <a:pt x="1602" y="2672"/>
                  </a:lnTo>
                  <a:lnTo>
                    <a:pt x="1601" y="2676"/>
                  </a:lnTo>
                  <a:lnTo>
                    <a:pt x="1599" y="2676"/>
                  </a:lnTo>
                  <a:lnTo>
                    <a:pt x="1599" y="2677"/>
                  </a:lnTo>
                  <a:lnTo>
                    <a:pt x="1597" y="2679"/>
                  </a:lnTo>
                  <a:lnTo>
                    <a:pt x="1594" y="2682"/>
                  </a:lnTo>
                  <a:lnTo>
                    <a:pt x="1592" y="2684"/>
                  </a:lnTo>
                  <a:lnTo>
                    <a:pt x="1592" y="2685"/>
                  </a:lnTo>
                  <a:lnTo>
                    <a:pt x="1591" y="2685"/>
                  </a:lnTo>
                  <a:lnTo>
                    <a:pt x="1591" y="2687"/>
                  </a:lnTo>
                  <a:lnTo>
                    <a:pt x="1591" y="2689"/>
                  </a:lnTo>
                  <a:lnTo>
                    <a:pt x="1589" y="2689"/>
                  </a:lnTo>
                  <a:lnTo>
                    <a:pt x="1589" y="2690"/>
                  </a:lnTo>
                  <a:lnTo>
                    <a:pt x="1588" y="2690"/>
                  </a:lnTo>
                  <a:lnTo>
                    <a:pt x="1588" y="2692"/>
                  </a:lnTo>
                  <a:lnTo>
                    <a:pt x="1588" y="2693"/>
                  </a:lnTo>
                  <a:lnTo>
                    <a:pt x="1588" y="2695"/>
                  </a:lnTo>
                  <a:lnTo>
                    <a:pt x="1588" y="2698"/>
                  </a:lnTo>
                  <a:lnTo>
                    <a:pt x="1586" y="2698"/>
                  </a:lnTo>
                  <a:lnTo>
                    <a:pt x="1584" y="2698"/>
                  </a:lnTo>
                  <a:lnTo>
                    <a:pt x="1583" y="2698"/>
                  </a:lnTo>
                  <a:lnTo>
                    <a:pt x="1578" y="2698"/>
                  </a:lnTo>
                  <a:lnTo>
                    <a:pt x="1578" y="2697"/>
                  </a:lnTo>
                  <a:lnTo>
                    <a:pt x="1578" y="2695"/>
                  </a:lnTo>
                  <a:lnTo>
                    <a:pt x="1578" y="2693"/>
                  </a:lnTo>
                  <a:lnTo>
                    <a:pt x="1576" y="2693"/>
                  </a:lnTo>
                  <a:lnTo>
                    <a:pt x="1578" y="2693"/>
                  </a:lnTo>
                  <a:lnTo>
                    <a:pt x="1578" y="2692"/>
                  </a:lnTo>
                  <a:lnTo>
                    <a:pt x="1576" y="2692"/>
                  </a:lnTo>
                  <a:lnTo>
                    <a:pt x="1575" y="2693"/>
                  </a:lnTo>
                  <a:lnTo>
                    <a:pt x="1573" y="2693"/>
                  </a:lnTo>
                  <a:lnTo>
                    <a:pt x="1571" y="2693"/>
                  </a:lnTo>
                  <a:lnTo>
                    <a:pt x="1570" y="2693"/>
                  </a:lnTo>
                  <a:lnTo>
                    <a:pt x="1570" y="2692"/>
                  </a:lnTo>
                  <a:lnTo>
                    <a:pt x="1568" y="2692"/>
                  </a:lnTo>
                  <a:lnTo>
                    <a:pt x="1566" y="2692"/>
                  </a:lnTo>
                  <a:lnTo>
                    <a:pt x="1565" y="2693"/>
                  </a:lnTo>
                  <a:lnTo>
                    <a:pt x="1563" y="2692"/>
                  </a:lnTo>
                  <a:lnTo>
                    <a:pt x="1562" y="2690"/>
                  </a:lnTo>
                  <a:lnTo>
                    <a:pt x="1562" y="2692"/>
                  </a:lnTo>
                  <a:lnTo>
                    <a:pt x="1562" y="2695"/>
                  </a:lnTo>
                  <a:lnTo>
                    <a:pt x="1560" y="2697"/>
                  </a:lnTo>
                  <a:lnTo>
                    <a:pt x="1558" y="2698"/>
                  </a:lnTo>
                  <a:lnTo>
                    <a:pt x="1557" y="2700"/>
                  </a:lnTo>
                  <a:lnTo>
                    <a:pt x="1555" y="2700"/>
                  </a:lnTo>
                  <a:lnTo>
                    <a:pt x="1553" y="2700"/>
                  </a:lnTo>
                  <a:lnTo>
                    <a:pt x="1552" y="2698"/>
                  </a:lnTo>
                  <a:lnTo>
                    <a:pt x="1550" y="2698"/>
                  </a:lnTo>
                  <a:lnTo>
                    <a:pt x="1550" y="2697"/>
                  </a:lnTo>
                  <a:lnTo>
                    <a:pt x="1549" y="2697"/>
                  </a:lnTo>
                  <a:lnTo>
                    <a:pt x="1550" y="2693"/>
                  </a:lnTo>
                  <a:lnTo>
                    <a:pt x="1549" y="2693"/>
                  </a:lnTo>
                  <a:lnTo>
                    <a:pt x="1547" y="2693"/>
                  </a:lnTo>
                  <a:lnTo>
                    <a:pt x="1545" y="2693"/>
                  </a:lnTo>
                  <a:lnTo>
                    <a:pt x="1545" y="2692"/>
                  </a:lnTo>
                  <a:lnTo>
                    <a:pt x="1544" y="2692"/>
                  </a:lnTo>
                  <a:lnTo>
                    <a:pt x="1542" y="2692"/>
                  </a:lnTo>
                  <a:lnTo>
                    <a:pt x="1540" y="2690"/>
                  </a:lnTo>
                  <a:lnTo>
                    <a:pt x="1539" y="2689"/>
                  </a:lnTo>
                  <a:lnTo>
                    <a:pt x="1537" y="2689"/>
                  </a:lnTo>
                  <a:lnTo>
                    <a:pt x="1537" y="2690"/>
                  </a:lnTo>
                  <a:lnTo>
                    <a:pt x="1536" y="2689"/>
                  </a:lnTo>
                  <a:lnTo>
                    <a:pt x="1534" y="2685"/>
                  </a:lnTo>
                  <a:lnTo>
                    <a:pt x="1532" y="2685"/>
                  </a:lnTo>
                  <a:lnTo>
                    <a:pt x="1531" y="2687"/>
                  </a:lnTo>
                  <a:lnTo>
                    <a:pt x="1527" y="2687"/>
                  </a:lnTo>
                  <a:lnTo>
                    <a:pt x="1527" y="2685"/>
                  </a:lnTo>
                  <a:lnTo>
                    <a:pt x="1526" y="2687"/>
                  </a:lnTo>
                  <a:lnTo>
                    <a:pt x="1524" y="2687"/>
                  </a:lnTo>
                  <a:lnTo>
                    <a:pt x="1523" y="2687"/>
                  </a:lnTo>
                  <a:lnTo>
                    <a:pt x="1521" y="2689"/>
                  </a:lnTo>
                  <a:lnTo>
                    <a:pt x="1519" y="2690"/>
                  </a:lnTo>
                  <a:lnTo>
                    <a:pt x="1518" y="2690"/>
                  </a:lnTo>
                  <a:lnTo>
                    <a:pt x="1518" y="2692"/>
                  </a:lnTo>
                  <a:lnTo>
                    <a:pt x="1516" y="2692"/>
                  </a:lnTo>
                  <a:lnTo>
                    <a:pt x="1514" y="2693"/>
                  </a:lnTo>
                  <a:lnTo>
                    <a:pt x="1513" y="2693"/>
                  </a:lnTo>
                  <a:lnTo>
                    <a:pt x="1511" y="2693"/>
                  </a:lnTo>
                  <a:lnTo>
                    <a:pt x="1510" y="2697"/>
                  </a:lnTo>
                  <a:lnTo>
                    <a:pt x="1508" y="2697"/>
                  </a:lnTo>
                  <a:lnTo>
                    <a:pt x="1506" y="2697"/>
                  </a:lnTo>
                  <a:lnTo>
                    <a:pt x="1505" y="2698"/>
                  </a:lnTo>
                  <a:lnTo>
                    <a:pt x="1505" y="2700"/>
                  </a:lnTo>
                  <a:lnTo>
                    <a:pt x="1505" y="2702"/>
                  </a:lnTo>
                  <a:lnTo>
                    <a:pt x="1505" y="2703"/>
                  </a:lnTo>
                  <a:lnTo>
                    <a:pt x="1503" y="2707"/>
                  </a:lnTo>
                  <a:lnTo>
                    <a:pt x="1501" y="2710"/>
                  </a:lnTo>
                  <a:lnTo>
                    <a:pt x="1497" y="2711"/>
                  </a:lnTo>
                  <a:lnTo>
                    <a:pt x="1497" y="2713"/>
                  </a:lnTo>
                  <a:lnTo>
                    <a:pt x="1495" y="2713"/>
                  </a:lnTo>
                  <a:lnTo>
                    <a:pt x="1492" y="2713"/>
                  </a:lnTo>
                  <a:lnTo>
                    <a:pt x="1490" y="2713"/>
                  </a:lnTo>
                  <a:lnTo>
                    <a:pt x="1488" y="2711"/>
                  </a:lnTo>
                  <a:lnTo>
                    <a:pt x="1487" y="2710"/>
                  </a:lnTo>
                  <a:lnTo>
                    <a:pt x="1485" y="2703"/>
                  </a:lnTo>
                  <a:lnTo>
                    <a:pt x="1484" y="2702"/>
                  </a:lnTo>
                  <a:lnTo>
                    <a:pt x="1482" y="2700"/>
                  </a:lnTo>
                  <a:lnTo>
                    <a:pt x="1482" y="2702"/>
                  </a:lnTo>
                  <a:lnTo>
                    <a:pt x="1480" y="2702"/>
                  </a:lnTo>
                  <a:lnTo>
                    <a:pt x="1477" y="2702"/>
                  </a:lnTo>
                  <a:lnTo>
                    <a:pt x="1475" y="2700"/>
                  </a:lnTo>
                  <a:lnTo>
                    <a:pt x="1474" y="2700"/>
                  </a:lnTo>
                  <a:lnTo>
                    <a:pt x="1472" y="2698"/>
                  </a:lnTo>
                  <a:lnTo>
                    <a:pt x="1470" y="2697"/>
                  </a:lnTo>
                  <a:lnTo>
                    <a:pt x="1469" y="2697"/>
                  </a:lnTo>
                  <a:lnTo>
                    <a:pt x="1469" y="2695"/>
                  </a:lnTo>
                  <a:lnTo>
                    <a:pt x="1467" y="2695"/>
                  </a:lnTo>
                  <a:lnTo>
                    <a:pt x="1467" y="2693"/>
                  </a:lnTo>
                  <a:lnTo>
                    <a:pt x="1466" y="2692"/>
                  </a:lnTo>
                  <a:lnTo>
                    <a:pt x="1464" y="2690"/>
                  </a:lnTo>
                  <a:lnTo>
                    <a:pt x="1462" y="2690"/>
                  </a:lnTo>
                  <a:lnTo>
                    <a:pt x="1461" y="2690"/>
                  </a:lnTo>
                  <a:lnTo>
                    <a:pt x="1462" y="2689"/>
                  </a:lnTo>
                  <a:lnTo>
                    <a:pt x="1462" y="2687"/>
                  </a:lnTo>
                  <a:lnTo>
                    <a:pt x="1462" y="2685"/>
                  </a:lnTo>
                  <a:lnTo>
                    <a:pt x="1461" y="2685"/>
                  </a:lnTo>
                  <a:lnTo>
                    <a:pt x="1461" y="2684"/>
                  </a:lnTo>
                  <a:lnTo>
                    <a:pt x="1459" y="2682"/>
                  </a:lnTo>
                  <a:lnTo>
                    <a:pt x="1459" y="2680"/>
                  </a:lnTo>
                  <a:lnTo>
                    <a:pt x="1459" y="2679"/>
                  </a:lnTo>
                  <a:lnTo>
                    <a:pt x="1461" y="2679"/>
                  </a:lnTo>
                  <a:lnTo>
                    <a:pt x="1462" y="2677"/>
                  </a:lnTo>
                  <a:lnTo>
                    <a:pt x="1464" y="2677"/>
                  </a:lnTo>
                  <a:lnTo>
                    <a:pt x="1466" y="2677"/>
                  </a:lnTo>
                  <a:lnTo>
                    <a:pt x="1466" y="2676"/>
                  </a:lnTo>
                  <a:lnTo>
                    <a:pt x="1466" y="2674"/>
                  </a:lnTo>
                  <a:lnTo>
                    <a:pt x="1464" y="2674"/>
                  </a:lnTo>
                  <a:lnTo>
                    <a:pt x="1462" y="2674"/>
                  </a:lnTo>
                  <a:lnTo>
                    <a:pt x="1462" y="2672"/>
                  </a:lnTo>
                  <a:lnTo>
                    <a:pt x="1462" y="2671"/>
                  </a:lnTo>
                  <a:lnTo>
                    <a:pt x="1461" y="2671"/>
                  </a:lnTo>
                  <a:lnTo>
                    <a:pt x="1461" y="2669"/>
                  </a:lnTo>
                  <a:lnTo>
                    <a:pt x="1459" y="2667"/>
                  </a:lnTo>
                  <a:lnTo>
                    <a:pt x="1459" y="2666"/>
                  </a:lnTo>
                  <a:lnTo>
                    <a:pt x="1459" y="2664"/>
                  </a:lnTo>
                  <a:lnTo>
                    <a:pt x="1461" y="2664"/>
                  </a:lnTo>
                  <a:lnTo>
                    <a:pt x="1461" y="2661"/>
                  </a:lnTo>
                  <a:lnTo>
                    <a:pt x="1459" y="2661"/>
                  </a:lnTo>
                  <a:lnTo>
                    <a:pt x="1459" y="2659"/>
                  </a:lnTo>
                  <a:lnTo>
                    <a:pt x="1457" y="2661"/>
                  </a:lnTo>
                  <a:lnTo>
                    <a:pt x="1456" y="2661"/>
                  </a:lnTo>
                  <a:lnTo>
                    <a:pt x="1453" y="2659"/>
                  </a:lnTo>
                  <a:lnTo>
                    <a:pt x="1451" y="2659"/>
                  </a:lnTo>
                  <a:lnTo>
                    <a:pt x="1453" y="2658"/>
                  </a:lnTo>
                  <a:lnTo>
                    <a:pt x="1453" y="2656"/>
                  </a:lnTo>
                  <a:lnTo>
                    <a:pt x="1451" y="2656"/>
                  </a:lnTo>
                  <a:lnTo>
                    <a:pt x="1451" y="2654"/>
                  </a:lnTo>
                  <a:lnTo>
                    <a:pt x="1449" y="2653"/>
                  </a:lnTo>
                  <a:lnTo>
                    <a:pt x="1449" y="2651"/>
                  </a:lnTo>
                  <a:lnTo>
                    <a:pt x="1448" y="2651"/>
                  </a:lnTo>
                  <a:lnTo>
                    <a:pt x="1446" y="2651"/>
                  </a:lnTo>
                  <a:lnTo>
                    <a:pt x="1446" y="2650"/>
                  </a:lnTo>
                  <a:lnTo>
                    <a:pt x="1444" y="2648"/>
                  </a:lnTo>
                  <a:lnTo>
                    <a:pt x="1446" y="2646"/>
                  </a:lnTo>
                  <a:lnTo>
                    <a:pt x="1446" y="2645"/>
                  </a:lnTo>
                  <a:lnTo>
                    <a:pt x="1444" y="2643"/>
                  </a:lnTo>
                  <a:lnTo>
                    <a:pt x="1443" y="2645"/>
                  </a:lnTo>
                  <a:lnTo>
                    <a:pt x="1443" y="2643"/>
                  </a:lnTo>
                  <a:lnTo>
                    <a:pt x="1441" y="2643"/>
                  </a:lnTo>
                  <a:lnTo>
                    <a:pt x="1440" y="2643"/>
                  </a:lnTo>
                  <a:lnTo>
                    <a:pt x="1440" y="2641"/>
                  </a:lnTo>
                  <a:lnTo>
                    <a:pt x="1438" y="2641"/>
                  </a:lnTo>
                  <a:lnTo>
                    <a:pt x="1438" y="2640"/>
                  </a:lnTo>
                  <a:lnTo>
                    <a:pt x="1440" y="2638"/>
                  </a:lnTo>
                  <a:lnTo>
                    <a:pt x="1438" y="2637"/>
                  </a:lnTo>
                  <a:lnTo>
                    <a:pt x="1436" y="2637"/>
                  </a:lnTo>
                  <a:lnTo>
                    <a:pt x="1435" y="2633"/>
                  </a:lnTo>
                  <a:lnTo>
                    <a:pt x="1436" y="2633"/>
                  </a:lnTo>
                  <a:lnTo>
                    <a:pt x="1438" y="2632"/>
                  </a:lnTo>
                  <a:lnTo>
                    <a:pt x="1440" y="2632"/>
                  </a:lnTo>
                  <a:lnTo>
                    <a:pt x="1440" y="2630"/>
                  </a:lnTo>
                  <a:lnTo>
                    <a:pt x="1441" y="2630"/>
                  </a:lnTo>
                  <a:lnTo>
                    <a:pt x="1440" y="2627"/>
                  </a:lnTo>
                  <a:lnTo>
                    <a:pt x="1440" y="2625"/>
                  </a:lnTo>
                  <a:lnTo>
                    <a:pt x="1438" y="2625"/>
                  </a:lnTo>
                  <a:lnTo>
                    <a:pt x="1436" y="2625"/>
                  </a:lnTo>
                  <a:lnTo>
                    <a:pt x="1435" y="2625"/>
                  </a:lnTo>
                  <a:lnTo>
                    <a:pt x="1433" y="2625"/>
                  </a:lnTo>
                  <a:lnTo>
                    <a:pt x="1431" y="2625"/>
                  </a:lnTo>
                  <a:lnTo>
                    <a:pt x="1430" y="2625"/>
                  </a:lnTo>
                  <a:lnTo>
                    <a:pt x="1428" y="2627"/>
                  </a:lnTo>
                  <a:lnTo>
                    <a:pt x="1428" y="2628"/>
                  </a:lnTo>
                  <a:lnTo>
                    <a:pt x="1427" y="2628"/>
                  </a:lnTo>
                  <a:lnTo>
                    <a:pt x="1425" y="2628"/>
                  </a:lnTo>
                  <a:lnTo>
                    <a:pt x="1425" y="2630"/>
                  </a:lnTo>
                  <a:lnTo>
                    <a:pt x="1425" y="2632"/>
                  </a:lnTo>
                  <a:lnTo>
                    <a:pt x="1423" y="2632"/>
                  </a:lnTo>
                  <a:lnTo>
                    <a:pt x="1422" y="2632"/>
                  </a:lnTo>
                  <a:lnTo>
                    <a:pt x="1418" y="2630"/>
                  </a:lnTo>
                  <a:lnTo>
                    <a:pt x="1417" y="2628"/>
                  </a:lnTo>
                  <a:lnTo>
                    <a:pt x="1418" y="2627"/>
                  </a:lnTo>
                  <a:lnTo>
                    <a:pt x="1417" y="2627"/>
                  </a:lnTo>
                  <a:lnTo>
                    <a:pt x="1417" y="2625"/>
                  </a:lnTo>
                  <a:lnTo>
                    <a:pt x="1417" y="2624"/>
                  </a:lnTo>
                  <a:lnTo>
                    <a:pt x="1415" y="2622"/>
                  </a:lnTo>
                  <a:lnTo>
                    <a:pt x="1414" y="2622"/>
                  </a:lnTo>
                  <a:lnTo>
                    <a:pt x="1412" y="2620"/>
                  </a:lnTo>
                  <a:lnTo>
                    <a:pt x="1412" y="2619"/>
                  </a:lnTo>
                  <a:lnTo>
                    <a:pt x="1410" y="2615"/>
                  </a:lnTo>
                  <a:lnTo>
                    <a:pt x="1410" y="2614"/>
                  </a:lnTo>
                  <a:lnTo>
                    <a:pt x="1410" y="2612"/>
                  </a:lnTo>
                  <a:lnTo>
                    <a:pt x="1409" y="2612"/>
                  </a:lnTo>
                  <a:lnTo>
                    <a:pt x="1409" y="2611"/>
                  </a:lnTo>
                  <a:lnTo>
                    <a:pt x="1410" y="2611"/>
                  </a:lnTo>
                  <a:lnTo>
                    <a:pt x="1409" y="2611"/>
                  </a:lnTo>
                  <a:lnTo>
                    <a:pt x="1407" y="2609"/>
                  </a:lnTo>
                  <a:lnTo>
                    <a:pt x="1405" y="2611"/>
                  </a:lnTo>
                  <a:lnTo>
                    <a:pt x="1404" y="2611"/>
                  </a:lnTo>
                  <a:lnTo>
                    <a:pt x="1402" y="2612"/>
                  </a:lnTo>
                  <a:lnTo>
                    <a:pt x="1402" y="2614"/>
                  </a:lnTo>
                  <a:lnTo>
                    <a:pt x="1402" y="2615"/>
                  </a:lnTo>
                  <a:lnTo>
                    <a:pt x="1401" y="2614"/>
                  </a:lnTo>
                  <a:lnTo>
                    <a:pt x="1399" y="2614"/>
                  </a:lnTo>
                  <a:lnTo>
                    <a:pt x="1397" y="2614"/>
                  </a:lnTo>
                  <a:lnTo>
                    <a:pt x="1396" y="2614"/>
                  </a:lnTo>
                  <a:lnTo>
                    <a:pt x="1394" y="2614"/>
                  </a:lnTo>
                  <a:lnTo>
                    <a:pt x="1392" y="2615"/>
                  </a:lnTo>
                  <a:lnTo>
                    <a:pt x="1394" y="2617"/>
                  </a:lnTo>
                  <a:lnTo>
                    <a:pt x="1392" y="2617"/>
                  </a:lnTo>
                  <a:lnTo>
                    <a:pt x="1392" y="2619"/>
                  </a:lnTo>
                  <a:lnTo>
                    <a:pt x="1391" y="2620"/>
                  </a:lnTo>
                  <a:lnTo>
                    <a:pt x="1391" y="2622"/>
                  </a:lnTo>
                  <a:lnTo>
                    <a:pt x="1389" y="2622"/>
                  </a:lnTo>
                  <a:lnTo>
                    <a:pt x="1388" y="2622"/>
                  </a:lnTo>
                  <a:lnTo>
                    <a:pt x="1386" y="2624"/>
                  </a:lnTo>
                  <a:lnTo>
                    <a:pt x="1386" y="2625"/>
                  </a:lnTo>
                  <a:lnTo>
                    <a:pt x="1386" y="2627"/>
                  </a:lnTo>
                  <a:lnTo>
                    <a:pt x="1384" y="2627"/>
                  </a:lnTo>
                  <a:lnTo>
                    <a:pt x="1383" y="2627"/>
                  </a:lnTo>
                  <a:lnTo>
                    <a:pt x="1381" y="2627"/>
                  </a:lnTo>
                  <a:lnTo>
                    <a:pt x="1381" y="2628"/>
                  </a:lnTo>
                  <a:lnTo>
                    <a:pt x="1379" y="2628"/>
                  </a:lnTo>
                  <a:lnTo>
                    <a:pt x="1378" y="2628"/>
                  </a:lnTo>
                  <a:lnTo>
                    <a:pt x="1376" y="2628"/>
                  </a:lnTo>
                  <a:lnTo>
                    <a:pt x="1375" y="2630"/>
                  </a:lnTo>
                  <a:lnTo>
                    <a:pt x="1373" y="2630"/>
                  </a:lnTo>
                  <a:lnTo>
                    <a:pt x="1371" y="2628"/>
                  </a:lnTo>
                  <a:lnTo>
                    <a:pt x="1368" y="2622"/>
                  </a:lnTo>
                  <a:lnTo>
                    <a:pt x="1363" y="2622"/>
                  </a:lnTo>
                  <a:lnTo>
                    <a:pt x="1362" y="2625"/>
                  </a:lnTo>
                  <a:lnTo>
                    <a:pt x="1357" y="2625"/>
                  </a:lnTo>
                  <a:lnTo>
                    <a:pt x="1355" y="2627"/>
                  </a:lnTo>
                  <a:lnTo>
                    <a:pt x="1353" y="2627"/>
                  </a:lnTo>
                  <a:lnTo>
                    <a:pt x="1350" y="2627"/>
                  </a:lnTo>
                  <a:lnTo>
                    <a:pt x="1349" y="2627"/>
                  </a:lnTo>
                  <a:lnTo>
                    <a:pt x="1347" y="2627"/>
                  </a:lnTo>
                  <a:lnTo>
                    <a:pt x="1345" y="2627"/>
                  </a:lnTo>
                  <a:lnTo>
                    <a:pt x="1344" y="2627"/>
                  </a:lnTo>
                  <a:lnTo>
                    <a:pt x="1340" y="2632"/>
                  </a:lnTo>
                  <a:lnTo>
                    <a:pt x="1339" y="2633"/>
                  </a:lnTo>
                  <a:lnTo>
                    <a:pt x="1334" y="2633"/>
                  </a:lnTo>
                  <a:lnTo>
                    <a:pt x="1331" y="2632"/>
                  </a:lnTo>
                  <a:lnTo>
                    <a:pt x="1331" y="2630"/>
                  </a:lnTo>
                  <a:lnTo>
                    <a:pt x="1331" y="2628"/>
                  </a:lnTo>
                  <a:lnTo>
                    <a:pt x="1331" y="2627"/>
                  </a:lnTo>
                  <a:lnTo>
                    <a:pt x="1332" y="2627"/>
                  </a:lnTo>
                  <a:lnTo>
                    <a:pt x="1332" y="2625"/>
                  </a:lnTo>
                  <a:lnTo>
                    <a:pt x="1332" y="2624"/>
                  </a:lnTo>
                  <a:lnTo>
                    <a:pt x="1332" y="2622"/>
                  </a:lnTo>
                  <a:lnTo>
                    <a:pt x="1332" y="2620"/>
                  </a:lnTo>
                  <a:lnTo>
                    <a:pt x="1334" y="2620"/>
                  </a:lnTo>
                  <a:lnTo>
                    <a:pt x="1336" y="2619"/>
                  </a:lnTo>
                  <a:lnTo>
                    <a:pt x="1334" y="2619"/>
                  </a:lnTo>
                  <a:lnTo>
                    <a:pt x="1336" y="2617"/>
                  </a:lnTo>
                  <a:lnTo>
                    <a:pt x="1336" y="2615"/>
                  </a:lnTo>
                  <a:lnTo>
                    <a:pt x="1334" y="2615"/>
                  </a:lnTo>
                  <a:lnTo>
                    <a:pt x="1336" y="2615"/>
                  </a:lnTo>
                  <a:lnTo>
                    <a:pt x="1334" y="2615"/>
                  </a:lnTo>
                  <a:lnTo>
                    <a:pt x="1332" y="2615"/>
                  </a:lnTo>
                  <a:lnTo>
                    <a:pt x="1331" y="2615"/>
                  </a:lnTo>
                  <a:lnTo>
                    <a:pt x="1329" y="2615"/>
                  </a:lnTo>
                  <a:lnTo>
                    <a:pt x="1329" y="2614"/>
                  </a:lnTo>
                  <a:lnTo>
                    <a:pt x="1327" y="2614"/>
                  </a:lnTo>
                  <a:lnTo>
                    <a:pt x="1326" y="2614"/>
                  </a:lnTo>
                  <a:lnTo>
                    <a:pt x="1324" y="2614"/>
                  </a:lnTo>
                  <a:lnTo>
                    <a:pt x="1324" y="2612"/>
                  </a:lnTo>
                  <a:lnTo>
                    <a:pt x="1322" y="2612"/>
                  </a:lnTo>
                  <a:lnTo>
                    <a:pt x="1322" y="2611"/>
                  </a:lnTo>
                  <a:lnTo>
                    <a:pt x="1322" y="2609"/>
                  </a:lnTo>
                  <a:lnTo>
                    <a:pt x="1324" y="2609"/>
                  </a:lnTo>
                  <a:lnTo>
                    <a:pt x="1324" y="2607"/>
                  </a:lnTo>
                  <a:lnTo>
                    <a:pt x="1324" y="2606"/>
                  </a:lnTo>
                  <a:lnTo>
                    <a:pt x="1322" y="2606"/>
                  </a:lnTo>
                  <a:lnTo>
                    <a:pt x="1322" y="2604"/>
                  </a:lnTo>
                  <a:lnTo>
                    <a:pt x="1324" y="2604"/>
                  </a:lnTo>
                  <a:lnTo>
                    <a:pt x="1324" y="2602"/>
                  </a:lnTo>
                  <a:lnTo>
                    <a:pt x="1326" y="2601"/>
                  </a:lnTo>
                  <a:lnTo>
                    <a:pt x="1326" y="2599"/>
                  </a:lnTo>
                  <a:lnTo>
                    <a:pt x="1324" y="2598"/>
                  </a:lnTo>
                  <a:lnTo>
                    <a:pt x="1324" y="2596"/>
                  </a:lnTo>
                  <a:lnTo>
                    <a:pt x="1326" y="2596"/>
                  </a:lnTo>
                  <a:lnTo>
                    <a:pt x="1326" y="2594"/>
                  </a:lnTo>
                  <a:lnTo>
                    <a:pt x="1324" y="2594"/>
                  </a:lnTo>
                  <a:lnTo>
                    <a:pt x="1324" y="2593"/>
                  </a:lnTo>
                  <a:lnTo>
                    <a:pt x="1321" y="2594"/>
                  </a:lnTo>
                  <a:lnTo>
                    <a:pt x="1319" y="2594"/>
                  </a:lnTo>
                  <a:lnTo>
                    <a:pt x="1319" y="2593"/>
                  </a:lnTo>
                  <a:lnTo>
                    <a:pt x="1319" y="2591"/>
                  </a:lnTo>
                  <a:lnTo>
                    <a:pt x="1318" y="2589"/>
                  </a:lnTo>
                  <a:lnTo>
                    <a:pt x="1316" y="2588"/>
                  </a:lnTo>
                  <a:lnTo>
                    <a:pt x="1316" y="2589"/>
                  </a:lnTo>
                  <a:lnTo>
                    <a:pt x="1314" y="2589"/>
                  </a:lnTo>
                  <a:lnTo>
                    <a:pt x="1313" y="2588"/>
                  </a:lnTo>
                  <a:lnTo>
                    <a:pt x="1313" y="2586"/>
                  </a:lnTo>
                  <a:lnTo>
                    <a:pt x="1311" y="2588"/>
                  </a:lnTo>
                  <a:lnTo>
                    <a:pt x="1309" y="2585"/>
                  </a:lnTo>
                  <a:lnTo>
                    <a:pt x="1308" y="2583"/>
                  </a:lnTo>
                  <a:lnTo>
                    <a:pt x="1308" y="2581"/>
                  </a:lnTo>
                  <a:lnTo>
                    <a:pt x="1305" y="2583"/>
                  </a:lnTo>
                  <a:lnTo>
                    <a:pt x="1303" y="2583"/>
                  </a:lnTo>
                  <a:lnTo>
                    <a:pt x="1301" y="2581"/>
                  </a:lnTo>
                  <a:lnTo>
                    <a:pt x="1300" y="2581"/>
                  </a:lnTo>
                  <a:lnTo>
                    <a:pt x="1300" y="2580"/>
                  </a:lnTo>
                  <a:lnTo>
                    <a:pt x="1301" y="2580"/>
                  </a:lnTo>
                  <a:lnTo>
                    <a:pt x="1301" y="2578"/>
                  </a:lnTo>
                  <a:lnTo>
                    <a:pt x="1303" y="2578"/>
                  </a:lnTo>
                  <a:lnTo>
                    <a:pt x="1303" y="2576"/>
                  </a:lnTo>
                  <a:lnTo>
                    <a:pt x="1305" y="2576"/>
                  </a:lnTo>
                  <a:lnTo>
                    <a:pt x="1306" y="2576"/>
                  </a:lnTo>
                  <a:lnTo>
                    <a:pt x="1306" y="2575"/>
                  </a:lnTo>
                  <a:lnTo>
                    <a:pt x="1308" y="2575"/>
                  </a:lnTo>
                  <a:lnTo>
                    <a:pt x="1306" y="2573"/>
                  </a:lnTo>
                  <a:lnTo>
                    <a:pt x="1308" y="2575"/>
                  </a:lnTo>
                  <a:lnTo>
                    <a:pt x="1308" y="2573"/>
                  </a:lnTo>
                  <a:lnTo>
                    <a:pt x="1308" y="2575"/>
                  </a:lnTo>
                  <a:lnTo>
                    <a:pt x="1308" y="2573"/>
                  </a:lnTo>
                  <a:lnTo>
                    <a:pt x="1309" y="2572"/>
                  </a:lnTo>
                  <a:lnTo>
                    <a:pt x="1309" y="2573"/>
                  </a:lnTo>
                  <a:lnTo>
                    <a:pt x="1311" y="2573"/>
                  </a:lnTo>
                  <a:lnTo>
                    <a:pt x="1311" y="2572"/>
                  </a:lnTo>
                  <a:lnTo>
                    <a:pt x="1313" y="2572"/>
                  </a:lnTo>
                  <a:lnTo>
                    <a:pt x="1314" y="2570"/>
                  </a:lnTo>
                  <a:lnTo>
                    <a:pt x="1316" y="2570"/>
                  </a:lnTo>
                  <a:lnTo>
                    <a:pt x="1316" y="2568"/>
                  </a:lnTo>
                  <a:lnTo>
                    <a:pt x="1316" y="2567"/>
                  </a:lnTo>
                  <a:lnTo>
                    <a:pt x="1318" y="2568"/>
                  </a:lnTo>
                  <a:lnTo>
                    <a:pt x="1319" y="2567"/>
                  </a:lnTo>
                  <a:lnTo>
                    <a:pt x="1321" y="2567"/>
                  </a:lnTo>
                  <a:lnTo>
                    <a:pt x="1322" y="2565"/>
                  </a:lnTo>
                  <a:lnTo>
                    <a:pt x="1324" y="2565"/>
                  </a:lnTo>
                  <a:lnTo>
                    <a:pt x="1326" y="2563"/>
                  </a:lnTo>
                  <a:lnTo>
                    <a:pt x="1326" y="2562"/>
                  </a:lnTo>
                  <a:lnTo>
                    <a:pt x="1326" y="2560"/>
                  </a:lnTo>
                  <a:lnTo>
                    <a:pt x="1324" y="2558"/>
                  </a:lnTo>
                  <a:lnTo>
                    <a:pt x="1324" y="2557"/>
                  </a:lnTo>
                  <a:lnTo>
                    <a:pt x="1322" y="2557"/>
                  </a:lnTo>
                  <a:lnTo>
                    <a:pt x="1321" y="2555"/>
                  </a:lnTo>
                  <a:lnTo>
                    <a:pt x="1321" y="2554"/>
                  </a:lnTo>
                  <a:lnTo>
                    <a:pt x="1321" y="2552"/>
                  </a:lnTo>
                  <a:lnTo>
                    <a:pt x="1319" y="2550"/>
                  </a:lnTo>
                  <a:lnTo>
                    <a:pt x="1319" y="2549"/>
                  </a:lnTo>
                  <a:lnTo>
                    <a:pt x="1318" y="2549"/>
                  </a:lnTo>
                  <a:lnTo>
                    <a:pt x="1316" y="2549"/>
                  </a:lnTo>
                  <a:lnTo>
                    <a:pt x="1314" y="2549"/>
                  </a:lnTo>
                  <a:lnTo>
                    <a:pt x="1314" y="2547"/>
                  </a:lnTo>
                  <a:lnTo>
                    <a:pt x="1311" y="2545"/>
                  </a:lnTo>
                  <a:lnTo>
                    <a:pt x="1309" y="2545"/>
                  </a:lnTo>
                  <a:lnTo>
                    <a:pt x="1308" y="2545"/>
                  </a:lnTo>
                  <a:lnTo>
                    <a:pt x="1308" y="2544"/>
                  </a:lnTo>
                  <a:lnTo>
                    <a:pt x="1306" y="2545"/>
                  </a:lnTo>
                  <a:lnTo>
                    <a:pt x="1305" y="2545"/>
                  </a:lnTo>
                  <a:lnTo>
                    <a:pt x="1305" y="2547"/>
                  </a:lnTo>
                  <a:lnTo>
                    <a:pt x="1303" y="2545"/>
                  </a:lnTo>
                  <a:lnTo>
                    <a:pt x="1303" y="2542"/>
                  </a:lnTo>
                  <a:lnTo>
                    <a:pt x="1301" y="2542"/>
                  </a:lnTo>
                  <a:lnTo>
                    <a:pt x="1301" y="2544"/>
                  </a:lnTo>
                  <a:lnTo>
                    <a:pt x="1300" y="2542"/>
                  </a:lnTo>
                  <a:lnTo>
                    <a:pt x="1298" y="2542"/>
                  </a:lnTo>
                  <a:lnTo>
                    <a:pt x="1296" y="2541"/>
                  </a:lnTo>
                  <a:lnTo>
                    <a:pt x="1295" y="2537"/>
                  </a:lnTo>
                  <a:lnTo>
                    <a:pt x="1293" y="2537"/>
                  </a:lnTo>
                  <a:lnTo>
                    <a:pt x="1290" y="2539"/>
                  </a:lnTo>
                  <a:lnTo>
                    <a:pt x="1290" y="2537"/>
                  </a:lnTo>
                  <a:lnTo>
                    <a:pt x="1288" y="2537"/>
                  </a:lnTo>
                  <a:lnTo>
                    <a:pt x="1288" y="2536"/>
                  </a:lnTo>
                  <a:lnTo>
                    <a:pt x="1288" y="2534"/>
                  </a:lnTo>
                  <a:lnTo>
                    <a:pt x="1287" y="2532"/>
                  </a:lnTo>
                  <a:lnTo>
                    <a:pt x="1283" y="2534"/>
                  </a:lnTo>
                  <a:lnTo>
                    <a:pt x="1283" y="2531"/>
                  </a:lnTo>
                  <a:lnTo>
                    <a:pt x="1283" y="2529"/>
                  </a:lnTo>
                  <a:lnTo>
                    <a:pt x="1282" y="2528"/>
                  </a:lnTo>
                  <a:lnTo>
                    <a:pt x="1280" y="2526"/>
                  </a:lnTo>
                  <a:lnTo>
                    <a:pt x="1279" y="2526"/>
                  </a:lnTo>
                  <a:lnTo>
                    <a:pt x="1280" y="2523"/>
                  </a:lnTo>
                  <a:lnTo>
                    <a:pt x="1280" y="2521"/>
                  </a:lnTo>
                  <a:lnTo>
                    <a:pt x="1280" y="2519"/>
                  </a:lnTo>
                  <a:lnTo>
                    <a:pt x="1280" y="2518"/>
                  </a:lnTo>
                  <a:lnTo>
                    <a:pt x="1280" y="2515"/>
                  </a:lnTo>
                  <a:lnTo>
                    <a:pt x="1277" y="2515"/>
                  </a:lnTo>
                  <a:lnTo>
                    <a:pt x="1275" y="2515"/>
                  </a:lnTo>
                  <a:lnTo>
                    <a:pt x="1274" y="2513"/>
                  </a:lnTo>
                  <a:lnTo>
                    <a:pt x="1274" y="2511"/>
                  </a:lnTo>
                  <a:lnTo>
                    <a:pt x="1272" y="2510"/>
                  </a:lnTo>
                  <a:lnTo>
                    <a:pt x="1272" y="2508"/>
                  </a:lnTo>
                  <a:lnTo>
                    <a:pt x="1270" y="2508"/>
                  </a:lnTo>
                  <a:lnTo>
                    <a:pt x="1269" y="2510"/>
                  </a:lnTo>
                  <a:lnTo>
                    <a:pt x="1267" y="2508"/>
                  </a:lnTo>
                  <a:lnTo>
                    <a:pt x="1266" y="2506"/>
                  </a:lnTo>
                  <a:lnTo>
                    <a:pt x="1264" y="2506"/>
                  </a:lnTo>
                  <a:lnTo>
                    <a:pt x="1262" y="2506"/>
                  </a:lnTo>
                  <a:lnTo>
                    <a:pt x="1261" y="2506"/>
                  </a:lnTo>
                  <a:lnTo>
                    <a:pt x="1261" y="2505"/>
                  </a:lnTo>
                  <a:lnTo>
                    <a:pt x="1259" y="2503"/>
                  </a:lnTo>
                  <a:lnTo>
                    <a:pt x="1259" y="2500"/>
                  </a:lnTo>
                  <a:lnTo>
                    <a:pt x="1257" y="2500"/>
                  </a:lnTo>
                  <a:lnTo>
                    <a:pt x="1256" y="2498"/>
                  </a:lnTo>
                  <a:lnTo>
                    <a:pt x="1256" y="2500"/>
                  </a:lnTo>
                  <a:lnTo>
                    <a:pt x="1254" y="2500"/>
                  </a:lnTo>
                  <a:lnTo>
                    <a:pt x="1254" y="2498"/>
                  </a:lnTo>
                  <a:lnTo>
                    <a:pt x="1253" y="2500"/>
                  </a:lnTo>
                  <a:lnTo>
                    <a:pt x="1249" y="2498"/>
                  </a:lnTo>
                  <a:lnTo>
                    <a:pt x="1249" y="2497"/>
                  </a:lnTo>
                  <a:lnTo>
                    <a:pt x="1248" y="2495"/>
                  </a:lnTo>
                  <a:lnTo>
                    <a:pt x="1246" y="2493"/>
                  </a:lnTo>
                  <a:lnTo>
                    <a:pt x="1243" y="2493"/>
                  </a:lnTo>
                  <a:lnTo>
                    <a:pt x="1241" y="2495"/>
                  </a:lnTo>
                  <a:lnTo>
                    <a:pt x="1240" y="2495"/>
                  </a:lnTo>
                  <a:lnTo>
                    <a:pt x="1238" y="2497"/>
                  </a:lnTo>
                  <a:lnTo>
                    <a:pt x="1236" y="2497"/>
                  </a:lnTo>
                  <a:lnTo>
                    <a:pt x="1235" y="2498"/>
                  </a:lnTo>
                  <a:lnTo>
                    <a:pt x="1235" y="2500"/>
                  </a:lnTo>
                  <a:lnTo>
                    <a:pt x="1233" y="2500"/>
                  </a:lnTo>
                  <a:lnTo>
                    <a:pt x="1231" y="2502"/>
                  </a:lnTo>
                  <a:lnTo>
                    <a:pt x="1230" y="2502"/>
                  </a:lnTo>
                  <a:lnTo>
                    <a:pt x="1228" y="2503"/>
                  </a:lnTo>
                  <a:lnTo>
                    <a:pt x="1228" y="2505"/>
                  </a:lnTo>
                  <a:lnTo>
                    <a:pt x="1228" y="2506"/>
                  </a:lnTo>
                  <a:lnTo>
                    <a:pt x="1227" y="2506"/>
                  </a:lnTo>
                  <a:lnTo>
                    <a:pt x="1225" y="2506"/>
                  </a:lnTo>
                  <a:lnTo>
                    <a:pt x="1227" y="2508"/>
                  </a:lnTo>
                  <a:lnTo>
                    <a:pt x="1227" y="2510"/>
                  </a:lnTo>
                  <a:lnTo>
                    <a:pt x="1225" y="2510"/>
                  </a:lnTo>
                  <a:lnTo>
                    <a:pt x="1223" y="2510"/>
                  </a:lnTo>
                  <a:lnTo>
                    <a:pt x="1222" y="2510"/>
                  </a:lnTo>
                  <a:lnTo>
                    <a:pt x="1220" y="2510"/>
                  </a:lnTo>
                  <a:lnTo>
                    <a:pt x="1218" y="2510"/>
                  </a:lnTo>
                  <a:lnTo>
                    <a:pt x="1218" y="2508"/>
                  </a:lnTo>
                  <a:lnTo>
                    <a:pt x="1220" y="2508"/>
                  </a:lnTo>
                  <a:lnTo>
                    <a:pt x="1220" y="2506"/>
                  </a:lnTo>
                  <a:lnTo>
                    <a:pt x="1222" y="2506"/>
                  </a:lnTo>
                  <a:lnTo>
                    <a:pt x="1222" y="2505"/>
                  </a:lnTo>
                  <a:lnTo>
                    <a:pt x="1220" y="2503"/>
                  </a:lnTo>
                  <a:lnTo>
                    <a:pt x="1215" y="2503"/>
                  </a:lnTo>
                  <a:lnTo>
                    <a:pt x="1215" y="2505"/>
                  </a:lnTo>
                  <a:lnTo>
                    <a:pt x="1215" y="2506"/>
                  </a:lnTo>
                  <a:lnTo>
                    <a:pt x="1214" y="2506"/>
                  </a:lnTo>
                  <a:lnTo>
                    <a:pt x="1212" y="2506"/>
                  </a:lnTo>
                  <a:lnTo>
                    <a:pt x="1212" y="2505"/>
                  </a:lnTo>
                  <a:lnTo>
                    <a:pt x="1210" y="2505"/>
                  </a:lnTo>
                  <a:lnTo>
                    <a:pt x="1210" y="2503"/>
                  </a:lnTo>
                  <a:lnTo>
                    <a:pt x="1209" y="2503"/>
                  </a:lnTo>
                  <a:lnTo>
                    <a:pt x="1209" y="2505"/>
                  </a:lnTo>
                  <a:lnTo>
                    <a:pt x="1209" y="2506"/>
                  </a:lnTo>
                  <a:lnTo>
                    <a:pt x="1207" y="2506"/>
                  </a:lnTo>
                  <a:lnTo>
                    <a:pt x="1205" y="2508"/>
                  </a:lnTo>
                  <a:lnTo>
                    <a:pt x="1204" y="2508"/>
                  </a:lnTo>
                  <a:lnTo>
                    <a:pt x="1202" y="2510"/>
                  </a:lnTo>
                  <a:lnTo>
                    <a:pt x="1201" y="2508"/>
                  </a:lnTo>
                  <a:lnTo>
                    <a:pt x="1197" y="2508"/>
                  </a:lnTo>
                  <a:lnTo>
                    <a:pt x="1192" y="2508"/>
                  </a:lnTo>
                  <a:lnTo>
                    <a:pt x="1192" y="2510"/>
                  </a:lnTo>
                  <a:lnTo>
                    <a:pt x="1191" y="2510"/>
                  </a:lnTo>
                  <a:lnTo>
                    <a:pt x="1192" y="2511"/>
                  </a:lnTo>
                  <a:lnTo>
                    <a:pt x="1192" y="2515"/>
                  </a:lnTo>
                  <a:lnTo>
                    <a:pt x="1191" y="2515"/>
                  </a:lnTo>
                  <a:lnTo>
                    <a:pt x="1189" y="2515"/>
                  </a:lnTo>
                  <a:lnTo>
                    <a:pt x="1189" y="2518"/>
                  </a:lnTo>
                  <a:lnTo>
                    <a:pt x="1188" y="2519"/>
                  </a:lnTo>
                  <a:lnTo>
                    <a:pt x="1186" y="2523"/>
                  </a:lnTo>
                  <a:lnTo>
                    <a:pt x="1186" y="2521"/>
                  </a:lnTo>
                  <a:lnTo>
                    <a:pt x="1184" y="2521"/>
                  </a:lnTo>
                  <a:lnTo>
                    <a:pt x="1186" y="2521"/>
                  </a:lnTo>
                  <a:lnTo>
                    <a:pt x="1186" y="2519"/>
                  </a:lnTo>
                  <a:lnTo>
                    <a:pt x="1184" y="2519"/>
                  </a:lnTo>
                  <a:lnTo>
                    <a:pt x="1184" y="2521"/>
                  </a:lnTo>
                  <a:lnTo>
                    <a:pt x="1184" y="2523"/>
                  </a:lnTo>
                  <a:lnTo>
                    <a:pt x="1181" y="2526"/>
                  </a:lnTo>
                  <a:lnTo>
                    <a:pt x="1181" y="2528"/>
                  </a:lnTo>
                  <a:lnTo>
                    <a:pt x="1181" y="2529"/>
                  </a:lnTo>
                  <a:lnTo>
                    <a:pt x="1179" y="2529"/>
                  </a:lnTo>
                  <a:lnTo>
                    <a:pt x="1178" y="2531"/>
                  </a:lnTo>
                  <a:lnTo>
                    <a:pt x="1174" y="2534"/>
                  </a:lnTo>
                  <a:lnTo>
                    <a:pt x="1174" y="2536"/>
                  </a:lnTo>
                  <a:lnTo>
                    <a:pt x="1173" y="2536"/>
                  </a:lnTo>
                  <a:lnTo>
                    <a:pt x="1173" y="2534"/>
                  </a:lnTo>
                  <a:lnTo>
                    <a:pt x="1171" y="2532"/>
                  </a:lnTo>
                  <a:lnTo>
                    <a:pt x="1168" y="2532"/>
                  </a:lnTo>
                  <a:lnTo>
                    <a:pt x="1168" y="2534"/>
                  </a:lnTo>
                  <a:lnTo>
                    <a:pt x="1166" y="2534"/>
                  </a:lnTo>
                  <a:lnTo>
                    <a:pt x="1166" y="2536"/>
                  </a:lnTo>
                  <a:lnTo>
                    <a:pt x="1165" y="2536"/>
                  </a:lnTo>
                  <a:lnTo>
                    <a:pt x="1163" y="2537"/>
                  </a:lnTo>
                  <a:lnTo>
                    <a:pt x="1161" y="2536"/>
                  </a:lnTo>
                  <a:lnTo>
                    <a:pt x="1160" y="2539"/>
                  </a:lnTo>
                  <a:lnTo>
                    <a:pt x="1158" y="2539"/>
                  </a:lnTo>
                  <a:lnTo>
                    <a:pt x="1157" y="2539"/>
                  </a:lnTo>
                  <a:lnTo>
                    <a:pt x="1155" y="2539"/>
                  </a:lnTo>
                  <a:lnTo>
                    <a:pt x="1155" y="2537"/>
                  </a:lnTo>
                  <a:lnTo>
                    <a:pt x="1153" y="2537"/>
                  </a:lnTo>
                  <a:lnTo>
                    <a:pt x="1150" y="2536"/>
                  </a:lnTo>
                  <a:lnTo>
                    <a:pt x="1148" y="2536"/>
                  </a:lnTo>
                  <a:lnTo>
                    <a:pt x="1147" y="2536"/>
                  </a:lnTo>
                  <a:lnTo>
                    <a:pt x="1145" y="2536"/>
                  </a:lnTo>
                  <a:lnTo>
                    <a:pt x="1142" y="2534"/>
                  </a:lnTo>
                  <a:lnTo>
                    <a:pt x="1140" y="2534"/>
                  </a:lnTo>
                  <a:lnTo>
                    <a:pt x="1139" y="2534"/>
                  </a:lnTo>
                  <a:lnTo>
                    <a:pt x="1137" y="2536"/>
                  </a:lnTo>
                  <a:lnTo>
                    <a:pt x="1135" y="2536"/>
                  </a:lnTo>
                  <a:lnTo>
                    <a:pt x="1134" y="2536"/>
                  </a:lnTo>
                  <a:lnTo>
                    <a:pt x="1132" y="2537"/>
                  </a:lnTo>
                  <a:lnTo>
                    <a:pt x="1131" y="2537"/>
                  </a:lnTo>
                  <a:lnTo>
                    <a:pt x="1129" y="2536"/>
                  </a:lnTo>
                  <a:lnTo>
                    <a:pt x="1127" y="2536"/>
                  </a:lnTo>
                  <a:lnTo>
                    <a:pt x="1127" y="2537"/>
                  </a:lnTo>
                  <a:lnTo>
                    <a:pt x="1126" y="2539"/>
                  </a:lnTo>
                  <a:lnTo>
                    <a:pt x="1126" y="2541"/>
                  </a:lnTo>
                  <a:lnTo>
                    <a:pt x="1127" y="2542"/>
                  </a:lnTo>
                  <a:lnTo>
                    <a:pt x="1129" y="2545"/>
                  </a:lnTo>
                  <a:lnTo>
                    <a:pt x="1131" y="2544"/>
                  </a:lnTo>
                  <a:lnTo>
                    <a:pt x="1131" y="2545"/>
                  </a:lnTo>
                  <a:lnTo>
                    <a:pt x="1131" y="2547"/>
                  </a:lnTo>
                  <a:lnTo>
                    <a:pt x="1132" y="2549"/>
                  </a:lnTo>
                  <a:lnTo>
                    <a:pt x="1132" y="2550"/>
                  </a:lnTo>
                  <a:lnTo>
                    <a:pt x="1131" y="2550"/>
                  </a:lnTo>
                  <a:lnTo>
                    <a:pt x="1129" y="2550"/>
                  </a:lnTo>
                  <a:lnTo>
                    <a:pt x="1127" y="2554"/>
                  </a:lnTo>
                  <a:lnTo>
                    <a:pt x="1127" y="2555"/>
                  </a:lnTo>
                  <a:lnTo>
                    <a:pt x="1131" y="2557"/>
                  </a:lnTo>
                  <a:lnTo>
                    <a:pt x="1131" y="2558"/>
                  </a:lnTo>
                  <a:lnTo>
                    <a:pt x="1131" y="2560"/>
                  </a:lnTo>
                  <a:lnTo>
                    <a:pt x="1131" y="2562"/>
                  </a:lnTo>
                  <a:lnTo>
                    <a:pt x="1131" y="2563"/>
                  </a:lnTo>
                  <a:lnTo>
                    <a:pt x="1131" y="2562"/>
                  </a:lnTo>
                  <a:lnTo>
                    <a:pt x="1131" y="2563"/>
                  </a:lnTo>
                  <a:lnTo>
                    <a:pt x="1134" y="2562"/>
                  </a:lnTo>
                  <a:lnTo>
                    <a:pt x="1134" y="2563"/>
                  </a:lnTo>
                  <a:lnTo>
                    <a:pt x="1134" y="2565"/>
                  </a:lnTo>
                  <a:lnTo>
                    <a:pt x="1132" y="2565"/>
                  </a:lnTo>
                  <a:lnTo>
                    <a:pt x="1131" y="2567"/>
                  </a:lnTo>
                  <a:lnTo>
                    <a:pt x="1132" y="2567"/>
                  </a:lnTo>
                  <a:lnTo>
                    <a:pt x="1131" y="2568"/>
                  </a:lnTo>
                  <a:lnTo>
                    <a:pt x="1129" y="2568"/>
                  </a:lnTo>
                  <a:lnTo>
                    <a:pt x="1131" y="2570"/>
                  </a:lnTo>
                  <a:lnTo>
                    <a:pt x="1131" y="2572"/>
                  </a:lnTo>
                  <a:lnTo>
                    <a:pt x="1129" y="2572"/>
                  </a:lnTo>
                  <a:lnTo>
                    <a:pt x="1129" y="2573"/>
                  </a:lnTo>
                  <a:lnTo>
                    <a:pt x="1127" y="2573"/>
                  </a:lnTo>
                  <a:lnTo>
                    <a:pt x="1127" y="2575"/>
                  </a:lnTo>
                  <a:lnTo>
                    <a:pt x="1127" y="2573"/>
                  </a:lnTo>
                  <a:lnTo>
                    <a:pt x="1127" y="2575"/>
                  </a:lnTo>
                  <a:lnTo>
                    <a:pt x="1126" y="2575"/>
                  </a:lnTo>
                  <a:lnTo>
                    <a:pt x="1126" y="2576"/>
                  </a:lnTo>
                  <a:lnTo>
                    <a:pt x="1124" y="2576"/>
                  </a:lnTo>
                  <a:lnTo>
                    <a:pt x="1124" y="2578"/>
                  </a:lnTo>
                  <a:lnTo>
                    <a:pt x="1124" y="2580"/>
                  </a:lnTo>
                  <a:lnTo>
                    <a:pt x="1124" y="2578"/>
                  </a:lnTo>
                  <a:lnTo>
                    <a:pt x="1124" y="2580"/>
                  </a:lnTo>
                  <a:lnTo>
                    <a:pt x="1122" y="2578"/>
                  </a:lnTo>
                  <a:lnTo>
                    <a:pt x="1121" y="2578"/>
                  </a:lnTo>
                  <a:lnTo>
                    <a:pt x="1119" y="2580"/>
                  </a:lnTo>
                  <a:lnTo>
                    <a:pt x="1119" y="2583"/>
                  </a:lnTo>
                  <a:lnTo>
                    <a:pt x="1118" y="2585"/>
                  </a:lnTo>
                  <a:lnTo>
                    <a:pt x="1116" y="2585"/>
                  </a:lnTo>
                  <a:lnTo>
                    <a:pt x="1116" y="2586"/>
                  </a:lnTo>
                  <a:lnTo>
                    <a:pt x="1114" y="2586"/>
                  </a:lnTo>
                  <a:lnTo>
                    <a:pt x="1113" y="2586"/>
                  </a:lnTo>
                  <a:lnTo>
                    <a:pt x="1111" y="2586"/>
                  </a:lnTo>
                  <a:lnTo>
                    <a:pt x="1109" y="2586"/>
                  </a:lnTo>
                  <a:lnTo>
                    <a:pt x="1108" y="2586"/>
                  </a:lnTo>
                  <a:lnTo>
                    <a:pt x="1106" y="2586"/>
                  </a:lnTo>
                  <a:lnTo>
                    <a:pt x="1105" y="2586"/>
                  </a:lnTo>
                  <a:lnTo>
                    <a:pt x="1105" y="2588"/>
                  </a:lnTo>
                  <a:lnTo>
                    <a:pt x="1103" y="2588"/>
                  </a:lnTo>
                  <a:lnTo>
                    <a:pt x="1103" y="2589"/>
                  </a:lnTo>
                  <a:lnTo>
                    <a:pt x="1101" y="2589"/>
                  </a:lnTo>
                  <a:lnTo>
                    <a:pt x="1101" y="2588"/>
                  </a:lnTo>
                  <a:lnTo>
                    <a:pt x="1101" y="2586"/>
                  </a:lnTo>
                  <a:lnTo>
                    <a:pt x="1103" y="2586"/>
                  </a:lnTo>
                  <a:lnTo>
                    <a:pt x="1103" y="2585"/>
                  </a:lnTo>
                  <a:lnTo>
                    <a:pt x="1105" y="2585"/>
                  </a:lnTo>
                  <a:lnTo>
                    <a:pt x="1103" y="2583"/>
                  </a:lnTo>
                  <a:lnTo>
                    <a:pt x="1101" y="2583"/>
                  </a:lnTo>
                  <a:lnTo>
                    <a:pt x="1100" y="2583"/>
                  </a:lnTo>
                  <a:lnTo>
                    <a:pt x="1098" y="2581"/>
                  </a:lnTo>
                  <a:lnTo>
                    <a:pt x="1096" y="2581"/>
                  </a:lnTo>
                  <a:lnTo>
                    <a:pt x="1095" y="2581"/>
                  </a:lnTo>
                  <a:lnTo>
                    <a:pt x="1093" y="2583"/>
                  </a:lnTo>
                  <a:lnTo>
                    <a:pt x="1092" y="2583"/>
                  </a:lnTo>
                  <a:lnTo>
                    <a:pt x="1092" y="2585"/>
                  </a:lnTo>
                  <a:lnTo>
                    <a:pt x="1090" y="2585"/>
                  </a:lnTo>
                  <a:lnTo>
                    <a:pt x="1088" y="2585"/>
                  </a:lnTo>
                  <a:lnTo>
                    <a:pt x="1088" y="2583"/>
                  </a:lnTo>
                  <a:lnTo>
                    <a:pt x="1087" y="2583"/>
                  </a:lnTo>
                  <a:lnTo>
                    <a:pt x="1088" y="2583"/>
                  </a:lnTo>
                  <a:lnTo>
                    <a:pt x="1087" y="2581"/>
                  </a:lnTo>
                  <a:lnTo>
                    <a:pt x="1085" y="2576"/>
                  </a:lnTo>
                  <a:lnTo>
                    <a:pt x="1083" y="2573"/>
                  </a:lnTo>
                  <a:lnTo>
                    <a:pt x="1082" y="2573"/>
                  </a:lnTo>
                  <a:lnTo>
                    <a:pt x="1080" y="2573"/>
                  </a:lnTo>
                  <a:lnTo>
                    <a:pt x="1079" y="2573"/>
                  </a:lnTo>
                  <a:lnTo>
                    <a:pt x="1079" y="2575"/>
                  </a:lnTo>
                  <a:lnTo>
                    <a:pt x="1077" y="2575"/>
                  </a:lnTo>
                  <a:lnTo>
                    <a:pt x="1075" y="2575"/>
                  </a:lnTo>
                  <a:lnTo>
                    <a:pt x="1075" y="2573"/>
                  </a:lnTo>
                  <a:lnTo>
                    <a:pt x="1075" y="2572"/>
                  </a:lnTo>
                  <a:lnTo>
                    <a:pt x="1077" y="2572"/>
                  </a:lnTo>
                  <a:lnTo>
                    <a:pt x="1074" y="2567"/>
                  </a:lnTo>
                  <a:lnTo>
                    <a:pt x="1074" y="2565"/>
                  </a:lnTo>
                  <a:lnTo>
                    <a:pt x="1075" y="2565"/>
                  </a:lnTo>
                  <a:lnTo>
                    <a:pt x="1074" y="2565"/>
                  </a:lnTo>
                  <a:lnTo>
                    <a:pt x="1070" y="2563"/>
                  </a:lnTo>
                  <a:lnTo>
                    <a:pt x="1069" y="2563"/>
                  </a:lnTo>
                  <a:lnTo>
                    <a:pt x="1067" y="2562"/>
                  </a:lnTo>
                  <a:lnTo>
                    <a:pt x="1067" y="2563"/>
                  </a:lnTo>
                  <a:lnTo>
                    <a:pt x="1066" y="2563"/>
                  </a:lnTo>
                  <a:lnTo>
                    <a:pt x="1062" y="2560"/>
                  </a:lnTo>
                  <a:lnTo>
                    <a:pt x="1062" y="2558"/>
                  </a:lnTo>
                  <a:lnTo>
                    <a:pt x="1064" y="2558"/>
                  </a:lnTo>
                  <a:lnTo>
                    <a:pt x="1064" y="2557"/>
                  </a:lnTo>
                  <a:lnTo>
                    <a:pt x="1062" y="2549"/>
                  </a:lnTo>
                  <a:lnTo>
                    <a:pt x="1062" y="2547"/>
                  </a:lnTo>
                  <a:lnTo>
                    <a:pt x="1061" y="2545"/>
                  </a:lnTo>
                  <a:lnTo>
                    <a:pt x="1059" y="2547"/>
                  </a:lnTo>
                  <a:lnTo>
                    <a:pt x="1059" y="2545"/>
                  </a:lnTo>
                  <a:lnTo>
                    <a:pt x="1059" y="2544"/>
                  </a:lnTo>
                  <a:lnTo>
                    <a:pt x="1057" y="2544"/>
                  </a:lnTo>
                  <a:lnTo>
                    <a:pt x="1057" y="2542"/>
                  </a:lnTo>
                  <a:lnTo>
                    <a:pt x="1059" y="2542"/>
                  </a:lnTo>
                  <a:lnTo>
                    <a:pt x="1059" y="2541"/>
                  </a:lnTo>
                  <a:lnTo>
                    <a:pt x="1057" y="2541"/>
                  </a:lnTo>
                  <a:lnTo>
                    <a:pt x="1056" y="2541"/>
                  </a:lnTo>
                  <a:lnTo>
                    <a:pt x="1054" y="2541"/>
                  </a:lnTo>
                  <a:lnTo>
                    <a:pt x="1054" y="2539"/>
                  </a:lnTo>
                  <a:lnTo>
                    <a:pt x="1051" y="2541"/>
                  </a:lnTo>
                  <a:lnTo>
                    <a:pt x="1051" y="2539"/>
                  </a:lnTo>
                  <a:lnTo>
                    <a:pt x="1053" y="2537"/>
                  </a:lnTo>
                  <a:lnTo>
                    <a:pt x="1054" y="2537"/>
                  </a:lnTo>
                  <a:lnTo>
                    <a:pt x="1056" y="2537"/>
                  </a:lnTo>
                  <a:lnTo>
                    <a:pt x="1057" y="2536"/>
                  </a:lnTo>
                  <a:lnTo>
                    <a:pt x="1056" y="2534"/>
                  </a:lnTo>
                  <a:lnTo>
                    <a:pt x="1054" y="2534"/>
                  </a:lnTo>
                  <a:lnTo>
                    <a:pt x="1053" y="2534"/>
                  </a:lnTo>
                  <a:lnTo>
                    <a:pt x="1051" y="2532"/>
                  </a:lnTo>
                  <a:lnTo>
                    <a:pt x="1053" y="2532"/>
                  </a:lnTo>
                  <a:lnTo>
                    <a:pt x="1054" y="2532"/>
                  </a:lnTo>
                  <a:lnTo>
                    <a:pt x="1054" y="2531"/>
                  </a:lnTo>
                  <a:lnTo>
                    <a:pt x="1054" y="2529"/>
                  </a:lnTo>
                  <a:lnTo>
                    <a:pt x="1054" y="2528"/>
                  </a:lnTo>
                  <a:lnTo>
                    <a:pt x="1056" y="2528"/>
                  </a:lnTo>
                  <a:lnTo>
                    <a:pt x="1057" y="2528"/>
                  </a:lnTo>
                  <a:lnTo>
                    <a:pt x="1057" y="2526"/>
                  </a:lnTo>
                  <a:lnTo>
                    <a:pt x="1057" y="2524"/>
                  </a:lnTo>
                  <a:lnTo>
                    <a:pt x="1056" y="2526"/>
                  </a:lnTo>
                  <a:lnTo>
                    <a:pt x="1054" y="2524"/>
                  </a:lnTo>
                  <a:lnTo>
                    <a:pt x="1053" y="2524"/>
                  </a:lnTo>
                  <a:lnTo>
                    <a:pt x="1051" y="2523"/>
                  </a:lnTo>
                  <a:lnTo>
                    <a:pt x="1049" y="2523"/>
                  </a:lnTo>
                  <a:lnTo>
                    <a:pt x="1048" y="2521"/>
                  </a:lnTo>
                  <a:lnTo>
                    <a:pt x="1048" y="2519"/>
                  </a:lnTo>
                  <a:lnTo>
                    <a:pt x="1048" y="2518"/>
                  </a:lnTo>
                  <a:lnTo>
                    <a:pt x="1048" y="2516"/>
                  </a:lnTo>
                  <a:lnTo>
                    <a:pt x="1046" y="2516"/>
                  </a:lnTo>
                  <a:lnTo>
                    <a:pt x="1044" y="2515"/>
                  </a:lnTo>
                  <a:lnTo>
                    <a:pt x="1043" y="2513"/>
                  </a:lnTo>
                  <a:lnTo>
                    <a:pt x="1040" y="2511"/>
                  </a:lnTo>
                  <a:lnTo>
                    <a:pt x="1040" y="2510"/>
                  </a:lnTo>
                  <a:lnTo>
                    <a:pt x="1041" y="2508"/>
                  </a:lnTo>
                  <a:lnTo>
                    <a:pt x="1043" y="2506"/>
                  </a:lnTo>
                  <a:lnTo>
                    <a:pt x="1044" y="2506"/>
                  </a:lnTo>
                  <a:lnTo>
                    <a:pt x="1044" y="2505"/>
                  </a:lnTo>
                  <a:lnTo>
                    <a:pt x="1044" y="2502"/>
                  </a:lnTo>
                  <a:lnTo>
                    <a:pt x="1046" y="2502"/>
                  </a:lnTo>
                  <a:lnTo>
                    <a:pt x="1044" y="2500"/>
                  </a:lnTo>
                  <a:lnTo>
                    <a:pt x="1044" y="2498"/>
                  </a:lnTo>
                  <a:lnTo>
                    <a:pt x="1043" y="2497"/>
                  </a:lnTo>
                  <a:lnTo>
                    <a:pt x="1043" y="2495"/>
                  </a:lnTo>
                  <a:lnTo>
                    <a:pt x="1041" y="2495"/>
                  </a:lnTo>
                  <a:lnTo>
                    <a:pt x="1040" y="2495"/>
                  </a:lnTo>
                  <a:lnTo>
                    <a:pt x="1040" y="2493"/>
                  </a:lnTo>
                  <a:lnTo>
                    <a:pt x="1036" y="2493"/>
                  </a:lnTo>
                  <a:lnTo>
                    <a:pt x="1035" y="2492"/>
                  </a:lnTo>
                  <a:lnTo>
                    <a:pt x="1035" y="2490"/>
                  </a:lnTo>
                  <a:lnTo>
                    <a:pt x="1036" y="2490"/>
                  </a:lnTo>
                  <a:lnTo>
                    <a:pt x="1036" y="2489"/>
                  </a:lnTo>
                  <a:lnTo>
                    <a:pt x="1035" y="2487"/>
                  </a:lnTo>
                  <a:lnTo>
                    <a:pt x="1031" y="2489"/>
                  </a:lnTo>
                  <a:lnTo>
                    <a:pt x="1030" y="2487"/>
                  </a:lnTo>
                  <a:lnTo>
                    <a:pt x="1028" y="2487"/>
                  </a:lnTo>
                  <a:lnTo>
                    <a:pt x="1026" y="2485"/>
                  </a:lnTo>
                  <a:lnTo>
                    <a:pt x="1023" y="2484"/>
                  </a:lnTo>
                  <a:lnTo>
                    <a:pt x="1022" y="2484"/>
                  </a:lnTo>
                  <a:lnTo>
                    <a:pt x="1020" y="2482"/>
                  </a:lnTo>
                  <a:lnTo>
                    <a:pt x="1018" y="2480"/>
                  </a:lnTo>
                  <a:lnTo>
                    <a:pt x="1018" y="2479"/>
                  </a:lnTo>
                  <a:lnTo>
                    <a:pt x="1018" y="2477"/>
                  </a:lnTo>
                  <a:lnTo>
                    <a:pt x="1017" y="2477"/>
                  </a:lnTo>
                  <a:lnTo>
                    <a:pt x="1017" y="2476"/>
                  </a:lnTo>
                  <a:lnTo>
                    <a:pt x="1015" y="2474"/>
                  </a:lnTo>
                  <a:lnTo>
                    <a:pt x="1013" y="2474"/>
                  </a:lnTo>
                  <a:lnTo>
                    <a:pt x="1012" y="2474"/>
                  </a:lnTo>
                  <a:lnTo>
                    <a:pt x="1010" y="2472"/>
                  </a:lnTo>
                  <a:lnTo>
                    <a:pt x="1009" y="2472"/>
                  </a:lnTo>
                  <a:lnTo>
                    <a:pt x="1007" y="2472"/>
                  </a:lnTo>
                  <a:lnTo>
                    <a:pt x="1005" y="2471"/>
                  </a:lnTo>
                  <a:lnTo>
                    <a:pt x="1004" y="2471"/>
                  </a:lnTo>
                  <a:lnTo>
                    <a:pt x="1004" y="2469"/>
                  </a:lnTo>
                  <a:lnTo>
                    <a:pt x="1005" y="2469"/>
                  </a:lnTo>
                  <a:lnTo>
                    <a:pt x="1009" y="2467"/>
                  </a:lnTo>
                  <a:lnTo>
                    <a:pt x="1010" y="2467"/>
                  </a:lnTo>
                  <a:lnTo>
                    <a:pt x="1010" y="2466"/>
                  </a:lnTo>
                  <a:lnTo>
                    <a:pt x="1009" y="2464"/>
                  </a:lnTo>
                  <a:lnTo>
                    <a:pt x="1009" y="2463"/>
                  </a:lnTo>
                  <a:lnTo>
                    <a:pt x="1009" y="2461"/>
                  </a:lnTo>
                  <a:lnTo>
                    <a:pt x="1009" y="2459"/>
                  </a:lnTo>
                  <a:lnTo>
                    <a:pt x="1012" y="2458"/>
                  </a:lnTo>
                  <a:lnTo>
                    <a:pt x="1013" y="2458"/>
                  </a:lnTo>
                  <a:lnTo>
                    <a:pt x="1012" y="2456"/>
                  </a:lnTo>
                  <a:lnTo>
                    <a:pt x="1013" y="2456"/>
                  </a:lnTo>
                  <a:lnTo>
                    <a:pt x="1012" y="2454"/>
                  </a:lnTo>
                  <a:lnTo>
                    <a:pt x="1010" y="2454"/>
                  </a:lnTo>
                  <a:lnTo>
                    <a:pt x="1010" y="2453"/>
                  </a:lnTo>
                  <a:lnTo>
                    <a:pt x="1010" y="2451"/>
                  </a:lnTo>
                  <a:lnTo>
                    <a:pt x="1010" y="2450"/>
                  </a:lnTo>
                  <a:lnTo>
                    <a:pt x="1010" y="2448"/>
                  </a:lnTo>
                  <a:lnTo>
                    <a:pt x="1012" y="2446"/>
                  </a:lnTo>
                  <a:lnTo>
                    <a:pt x="1012" y="2445"/>
                  </a:lnTo>
                  <a:lnTo>
                    <a:pt x="1010" y="2443"/>
                  </a:lnTo>
                  <a:lnTo>
                    <a:pt x="1010" y="2441"/>
                  </a:lnTo>
                  <a:lnTo>
                    <a:pt x="1013" y="2440"/>
                  </a:lnTo>
                  <a:lnTo>
                    <a:pt x="1017" y="2440"/>
                  </a:lnTo>
                  <a:lnTo>
                    <a:pt x="1018" y="2440"/>
                  </a:lnTo>
                  <a:lnTo>
                    <a:pt x="1020" y="2440"/>
                  </a:lnTo>
                  <a:lnTo>
                    <a:pt x="1022" y="2441"/>
                  </a:lnTo>
                  <a:lnTo>
                    <a:pt x="1023" y="2440"/>
                  </a:lnTo>
                  <a:lnTo>
                    <a:pt x="1025" y="2440"/>
                  </a:lnTo>
                  <a:lnTo>
                    <a:pt x="1025" y="2438"/>
                  </a:lnTo>
                  <a:lnTo>
                    <a:pt x="1026" y="2437"/>
                  </a:lnTo>
                  <a:lnTo>
                    <a:pt x="1026" y="2433"/>
                  </a:lnTo>
                  <a:lnTo>
                    <a:pt x="1028" y="2435"/>
                  </a:lnTo>
                  <a:lnTo>
                    <a:pt x="1030" y="2435"/>
                  </a:lnTo>
                  <a:lnTo>
                    <a:pt x="1031" y="2435"/>
                  </a:lnTo>
                  <a:lnTo>
                    <a:pt x="1033" y="2435"/>
                  </a:lnTo>
                  <a:lnTo>
                    <a:pt x="1035" y="2435"/>
                  </a:lnTo>
                  <a:lnTo>
                    <a:pt x="1036" y="2435"/>
                  </a:lnTo>
                  <a:lnTo>
                    <a:pt x="1038" y="2435"/>
                  </a:lnTo>
                  <a:lnTo>
                    <a:pt x="1040" y="2437"/>
                  </a:lnTo>
                  <a:lnTo>
                    <a:pt x="1041" y="2437"/>
                  </a:lnTo>
                  <a:lnTo>
                    <a:pt x="1043" y="2437"/>
                  </a:lnTo>
                  <a:lnTo>
                    <a:pt x="1043" y="2438"/>
                  </a:lnTo>
                  <a:lnTo>
                    <a:pt x="1043" y="2440"/>
                  </a:lnTo>
                  <a:lnTo>
                    <a:pt x="1046" y="2443"/>
                  </a:lnTo>
                  <a:lnTo>
                    <a:pt x="1048" y="2445"/>
                  </a:lnTo>
                  <a:lnTo>
                    <a:pt x="1049" y="2445"/>
                  </a:lnTo>
                  <a:lnTo>
                    <a:pt x="1051" y="2445"/>
                  </a:lnTo>
                  <a:lnTo>
                    <a:pt x="1053" y="2443"/>
                  </a:lnTo>
                  <a:lnTo>
                    <a:pt x="1054" y="2443"/>
                  </a:lnTo>
                  <a:lnTo>
                    <a:pt x="1056" y="2443"/>
                  </a:lnTo>
                  <a:lnTo>
                    <a:pt x="1056" y="2445"/>
                  </a:lnTo>
                  <a:lnTo>
                    <a:pt x="1057" y="2446"/>
                  </a:lnTo>
                  <a:lnTo>
                    <a:pt x="1062" y="2445"/>
                  </a:lnTo>
                  <a:lnTo>
                    <a:pt x="1062" y="2443"/>
                  </a:lnTo>
                  <a:lnTo>
                    <a:pt x="1062" y="2441"/>
                  </a:lnTo>
                  <a:lnTo>
                    <a:pt x="1064" y="2441"/>
                  </a:lnTo>
                  <a:lnTo>
                    <a:pt x="1064" y="2443"/>
                  </a:lnTo>
                  <a:lnTo>
                    <a:pt x="1066" y="2443"/>
                  </a:lnTo>
                  <a:lnTo>
                    <a:pt x="1067" y="2443"/>
                  </a:lnTo>
                  <a:lnTo>
                    <a:pt x="1070" y="2443"/>
                  </a:lnTo>
                  <a:lnTo>
                    <a:pt x="1072" y="2443"/>
                  </a:lnTo>
                  <a:lnTo>
                    <a:pt x="1074" y="2441"/>
                  </a:lnTo>
                  <a:lnTo>
                    <a:pt x="1075" y="2440"/>
                  </a:lnTo>
                  <a:lnTo>
                    <a:pt x="1077" y="2438"/>
                  </a:lnTo>
                  <a:lnTo>
                    <a:pt x="1077" y="2437"/>
                  </a:lnTo>
                  <a:lnTo>
                    <a:pt x="1079" y="2435"/>
                  </a:lnTo>
                  <a:lnTo>
                    <a:pt x="1082" y="2437"/>
                  </a:lnTo>
                  <a:lnTo>
                    <a:pt x="1082" y="2433"/>
                  </a:lnTo>
                  <a:lnTo>
                    <a:pt x="1082" y="2432"/>
                  </a:lnTo>
                  <a:lnTo>
                    <a:pt x="1087" y="2430"/>
                  </a:lnTo>
                  <a:lnTo>
                    <a:pt x="1087" y="2428"/>
                  </a:lnTo>
                  <a:lnTo>
                    <a:pt x="1088" y="2425"/>
                  </a:lnTo>
                  <a:lnTo>
                    <a:pt x="1087" y="2424"/>
                  </a:lnTo>
                  <a:lnTo>
                    <a:pt x="1087" y="2422"/>
                  </a:lnTo>
                  <a:lnTo>
                    <a:pt x="1088" y="2420"/>
                  </a:lnTo>
                  <a:lnTo>
                    <a:pt x="1090" y="2419"/>
                  </a:lnTo>
                  <a:lnTo>
                    <a:pt x="1093" y="2419"/>
                  </a:lnTo>
                  <a:lnTo>
                    <a:pt x="1093" y="2417"/>
                  </a:lnTo>
                  <a:lnTo>
                    <a:pt x="1093" y="2415"/>
                  </a:lnTo>
                  <a:lnTo>
                    <a:pt x="1095" y="2415"/>
                  </a:lnTo>
                  <a:lnTo>
                    <a:pt x="1095" y="2409"/>
                  </a:lnTo>
                  <a:lnTo>
                    <a:pt x="1096" y="2407"/>
                  </a:lnTo>
                  <a:lnTo>
                    <a:pt x="1096" y="2406"/>
                  </a:lnTo>
                  <a:lnTo>
                    <a:pt x="1096" y="2402"/>
                  </a:lnTo>
                  <a:lnTo>
                    <a:pt x="1093" y="2401"/>
                  </a:lnTo>
                  <a:lnTo>
                    <a:pt x="1095" y="2401"/>
                  </a:lnTo>
                  <a:lnTo>
                    <a:pt x="1096" y="2399"/>
                  </a:lnTo>
                  <a:lnTo>
                    <a:pt x="1096" y="2401"/>
                  </a:lnTo>
                  <a:lnTo>
                    <a:pt x="1098" y="2399"/>
                  </a:lnTo>
                  <a:lnTo>
                    <a:pt x="1100" y="2399"/>
                  </a:lnTo>
                  <a:lnTo>
                    <a:pt x="1101" y="2401"/>
                  </a:lnTo>
                  <a:lnTo>
                    <a:pt x="1101" y="2399"/>
                  </a:lnTo>
                  <a:lnTo>
                    <a:pt x="1101" y="2397"/>
                  </a:lnTo>
                  <a:lnTo>
                    <a:pt x="1103" y="2397"/>
                  </a:lnTo>
                  <a:lnTo>
                    <a:pt x="1103" y="2396"/>
                  </a:lnTo>
                  <a:lnTo>
                    <a:pt x="1103" y="2394"/>
                  </a:lnTo>
                  <a:lnTo>
                    <a:pt x="1101" y="2394"/>
                  </a:lnTo>
                  <a:lnTo>
                    <a:pt x="1101" y="2393"/>
                  </a:lnTo>
                  <a:lnTo>
                    <a:pt x="1103" y="2393"/>
                  </a:lnTo>
                  <a:lnTo>
                    <a:pt x="1105" y="2394"/>
                  </a:lnTo>
                  <a:lnTo>
                    <a:pt x="1106" y="2394"/>
                  </a:lnTo>
                  <a:lnTo>
                    <a:pt x="1106" y="2393"/>
                  </a:lnTo>
                  <a:lnTo>
                    <a:pt x="1108" y="2391"/>
                  </a:lnTo>
                  <a:lnTo>
                    <a:pt x="1109" y="2393"/>
                  </a:lnTo>
                  <a:lnTo>
                    <a:pt x="1111" y="2391"/>
                  </a:lnTo>
                  <a:lnTo>
                    <a:pt x="1113" y="2391"/>
                  </a:lnTo>
                  <a:lnTo>
                    <a:pt x="1113" y="2389"/>
                  </a:lnTo>
                  <a:lnTo>
                    <a:pt x="1113" y="2388"/>
                  </a:lnTo>
                  <a:lnTo>
                    <a:pt x="1111" y="2388"/>
                  </a:lnTo>
                  <a:lnTo>
                    <a:pt x="1109" y="2386"/>
                  </a:lnTo>
                  <a:lnTo>
                    <a:pt x="1109" y="2384"/>
                  </a:lnTo>
                  <a:lnTo>
                    <a:pt x="1111" y="2383"/>
                  </a:lnTo>
                  <a:lnTo>
                    <a:pt x="1111" y="2381"/>
                  </a:lnTo>
                  <a:lnTo>
                    <a:pt x="1113" y="2381"/>
                  </a:lnTo>
                  <a:lnTo>
                    <a:pt x="1113" y="2380"/>
                  </a:lnTo>
                  <a:lnTo>
                    <a:pt x="1111" y="2380"/>
                  </a:lnTo>
                  <a:lnTo>
                    <a:pt x="1109" y="2381"/>
                  </a:lnTo>
                  <a:lnTo>
                    <a:pt x="1109" y="2378"/>
                  </a:lnTo>
                  <a:lnTo>
                    <a:pt x="1108" y="2378"/>
                  </a:lnTo>
                  <a:lnTo>
                    <a:pt x="1109" y="2378"/>
                  </a:lnTo>
                  <a:lnTo>
                    <a:pt x="1109" y="2376"/>
                  </a:lnTo>
                  <a:lnTo>
                    <a:pt x="1108" y="2375"/>
                  </a:lnTo>
                  <a:lnTo>
                    <a:pt x="1108" y="2373"/>
                  </a:lnTo>
                  <a:lnTo>
                    <a:pt x="1106" y="2373"/>
                  </a:lnTo>
                  <a:lnTo>
                    <a:pt x="1105" y="2373"/>
                  </a:lnTo>
                  <a:lnTo>
                    <a:pt x="1101" y="2375"/>
                  </a:lnTo>
                  <a:lnTo>
                    <a:pt x="1100" y="2375"/>
                  </a:lnTo>
                  <a:lnTo>
                    <a:pt x="1100" y="2373"/>
                  </a:lnTo>
                  <a:lnTo>
                    <a:pt x="1100" y="2371"/>
                  </a:lnTo>
                  <a:lnTo>
                    <a:pt x="1096" y="2370"/>
                  </a:lnTo>
                  <a:lnTo>
                    <a:pt x="1098" y="2373"/>
                  </a:lnTo>
                  <a:lnTo>
                    <a:pt x="1096" y="2373"/>
                  </a:lnTo>
                  <a:lnTo>
                    <a:pt x="1095" y="2373"/>
                  </a:lnTo>
                  <a:lnTo>
                    <a:pt x="1093" y="2370"/>
                  </a:lnTo>
                  <a:lnTo>
                    <a:pt x="1093" y="2368"/>
                  </a:lnTo>
                  <a:lnTo>
                    <a:pt x="1090" y="2370"/>
                  </a:lnTo>
                  <a:lnTo>
                    <a:pt x="1088" y="2370"/>
                  </a:lnTo>
                  <a:lnTo>
                    <a:pt x="1088" y="2368"/>
                  </a:lnTo>
                  <a:lnTo>
                    <a:pt x="1087" y="2368"/>
                  </a:lnTo>
                  <a:lnTo>
                    <a:pt x="1085" y="2367"/>
                  </a:lnTo>
                  <a:lnTo>
                    <a:pt x="1083" y="2367"/>
                  </a:lnTo>
                  <a:lnTo>
                    <a:pt x="1082" y="2367"/>
                  </a:lnTo>
                  <a:lnTo>
                    <a:pt x="1082" y="2365"/>
                  </a:lnTo>
                  <a:lnTo>
                    <a:pt x="1080" y="2365"/>
                  </a:lnTo>
                  <a:lnTo>
                    <a:pt x="1077" y="2362"/>
                  </a:lnTo>
                  <a:lnTo>
                    <a:pt x="1075" y="2362"/>
                  </a:lnTo>
                  <a:lnTo>
                    <a:pt x="1075" y="2360"/>
                  </a:lnTo>
                  <a:lnTo>
                    <a:pt x="1075" y="2357"/>
                  </a:lnTo>
                  <a:lnTo>
                    <a:pt x="1074" y="2355"/>
                  </a:lnTo>
                  <a:lnTo>
                    <a:pt x="1074" y="2357"/>
                  </a:lnTo>
                  <a:lnTo>
                    <a:pt x="1072" y="2357"/>
                  </a:lnTo>
                  <a:lnTo>
                    <a:pt x="1072" y="2355"/>
                  </a:lnTo>
                  <a:lnTo>
                    <a:pt x="1072" y="2354"/>
                  </a:lnTo>
                  <a:lnTo>
                    <a:pt x="1072" y="2352"/>
                  </a:lnTo>
                  <a:lnTo>
                    <a:pt x="1074" y="2352"/>
                  </a:lnTo>
                  <a:lnTo>
                    <a:pt x="1075" y="2352"/>
                  </a:lnTo>
                  <a:lnTo>
                    <a:pt x="1075" y="2350"/>
                  </a:lnTo>
                  <a:lnTo>
                    <a:pt x="1077" y="2349"/>
                  </a:lnTo>
                  <a:lnTo>
                    <a:pt x="1077" y="2347"/>
                  </a:lnTo>
                  <a:lnTo>
                    <a:pt x="1077" y="2345"/>
                  </a:lnTo>
                  <a:lnTo>
                    <a:pt x="1075" y="2344"/>
                  </a:lnTo>
                  <a:lnTo>
                    <a:pt x="1074" y="2344"/>
                  </a:lnTo>
                  <a:lnTo>
                    <a:pt x="1072" y="2344"/>
                  </a:lnTo>
                  <a:lnTo>
                    <a:pt x="1072" y="2342"/>
                  </a:lnTo>
                  <a:lnTo>
                    <a:pt x="1070" y="2342"/>
                  </a:lnTo>
                  <a:lnTo>
                    <a:pt x="1069" y="2344"/>
                  </a:lnTo>
                  <a:lnTo>
                    <a:pt x="1067" y="2344"/>
                  </a:lnTo>
                  <a:lnTo>
                    <a:pt x="1067" y="2345"/>
                  </a:lnTo>
                  <a:lnTo>
                    <a:pt x="1066" y="2345"/>
                  </a:lnTo>
                  <a:lnTo>
                    <a:pt x="1066" y="2347"/>
                  </a:lnTo>
                  <a:lnTo>
                    <a:pt x="1064" y="2347"/>
                  </a:lnTo>
                  <a:lnTo>
                    <a:pt x="1064" y="2345"/>
                  </a:lnTo>
                  <a:lnTo>
                    <a:pt x="1062" y="2344"/>
                  </a:lnTo>
                  <a:lnTo>
                    <a:pt x="1061" y="2344"/>
                  </a:lnTo>
                  <a:lnTo>
                    <a:pt x="1059" y="2344"/>
                  </a:lnTo>
                  <a:lnTo>
                    <a:pt x="1057" y="2342"/>
                  </a:lnTo>
                  <a:lnTo>
                    <a:pt x="1056" y="2344"/>
                  </a:lnTo>
                  <a:lnTo>
                    <a:pt x="1056" y="2342"/>
                  </a:lnTo>
                  <a:lnTo>
                    <a:pt x="1054" y="2342"/>
                  </a:lnTo>
                  <a:lnTo>
                    <a:pt x="1053" y="2344"/>
                  </a:lnTo>
                  <a:lnTo>
                    <a:pt x="1051" y="2344"/>
                  </a:lnTo>
                  <a:lnTo>
                    <a:pt x="1051" y="2342"/>
                  </a:lnTo>
                  <a:lnTo>
                    <a:pt x="1049" y="2341"/>
                  </a:lnTo>
                  <a:lnTo>
                    <a:pt x="1048" y="2341"/>
                  </a:lnTo>
                  <a:lnTo>
                    <a:pt x="1046" y="2342"/>
                  </a:lnTo>
                  <a:lnTo>
                    <a:pt x="1046" y="2341"/>
                  </a:lnTo>
                  <a:lnTo>
                    <a:pt x="1044" y="2341"/>
                  </a:lnTo>
                  <a:lnTo>
                    <a:pt x="1043" y="2341"/>
                  </a:lnTo>
                  <a:lnTo>
                    <a:pt x="1041" y="2339"/>
                  </a:lnTo>
                  <a:lnTo>
                    <a:pt x="1040" y="2341"/>
                  </a:lnTo>
                  <a:lnTo>
                    <a:pt x="1040" y="2342"/>
                  </a:lnTo>
                  <a:lnTo>
                    <a:pt x="1038" y="2342"/>
                  </a:lnTo>
                  <a:lnTo>
                    <a:pt x="1036" y="2344"/>
                  </a:lnTo>
                  <a:lnTo>
                    <a:pt x="1033" y="2344"/>
                  </a:lnTo>
                  <a:lnTo>
                    <a:pt x="1031" y="2345"/>
                  </a:lnTo>
                  <a:lnTo>
                    <a:pt x="1031" y="2347"/>
                  </a:lnTo>
                  <a:lnTo>
                    <a:pt x="1030" y="2347"/>
                  </a:lnTo>
                  <a:lnTo>
                    <a:pt x="1030" y="2349"/>
                  </a:lnTo>
                  <a:lnTo>
                    <a:pt x="1028" y="2349"/>
                  </a:lnTo>
                  <a:lnTo>
                    <a:pt x="1030" y="2349"/>
                  </a:lnTo>
                  <a:lnTo>
                    <a:pt x="1028" y="2349"/>
                  </a:lnTo>
                  <a:lnTo>
                    <a:pt x="1026" y="2349"/>
                  </a:lnTo>
                  <a:lnTo>
                    <a:pt x="1025" y="2350"/>
                  </a:lnTo>
                  <a:lnTo>
                    <a:pt x="1025" y="2349"/>
                  </a:lnTo>
                  <a:lnTo>
                    <a:pt x="1025" y="2350"/>
                  </a:lnTo>
                  <a:lnTo>
                    <a:pt x="1025" y="2352"/>
                  </a:lnTo>
                  <a:lnTo>
                    <a:pt x="1025" y="2350"/>
                  </a:lnTo>
                  <a:lnTo>
                    <a:pt x="1023" y="2350"/>
                  </a:lnTo>
                  <a:lnTo>
                    <a:pt x="1022" y="2350"/>
                  </a:lnTo>
                  <a:lnTo>
                    <a:pt x="1020" y="2350"/>
                  </a:lnTo>
                  <a:lnTo>
                    <a:pt x="1018" y="2350"/>
                  </a:lnTo>
                  <a:lnTo>
                    <a:pt x="1018" y="2349"/>
                  </a:lnTo>
                  <a:lnTo>
                    <a:pt x="1018" y="2350"/>
                  </a:lnTo>
                  <a:lnTo>
                    <a:pt x="1017" y="2350"/>
                  </a:lnTo>
                  <a:lnTo>
                    <a:pt x="1017" y="2349"/>
                  </a:lnTo>
                  <a:lnTo>
                    <a:pt x="1017" y="2350"/>
                  </a:lnTo>
                  <a:lnTo>
                    <a:pt x="1015" y="2350"/>
                  </a:lnTo>
                  <a:lnTo>
                    <a:pt x="1015" y="2352"/>
                  </a:lnTo>
                  <a:lnTo>
                    <a:pt x="1013" y="2352"/>
                  </a:lnTo>
                  <a:lnTo>
                    <a:pt x="1013" y="2350"/>
                  </a:lnTo>
                  <a:lnTo>
                    <a:pt x="1013" y="2349"/>
                  </a:lnTo>
                  <a:lnTo>
                    <a:pt x="1013" y="2347"/>
                  </a:lnTo>
                  <a:lnTo>
                    <a:pt x="1012" y="2349"/>
                  </a:lnTo>
                  <a:lnTo>
                    <a:pt x="1012" y="2347"/>
                  </a:lnTo>
                  <a:lnTo>
                    <a:pt x="1012" y="2345"/>
                  </a:lnTo>
                  <a:lnTo>
                    <a:pt x="1013" y="2345"/>
                  </a:lnTo>
                  <a:lnTo>
                    <a:pt x="1013" y="2347"/>
                  </a:lnTo>
                  <a:lnTo>
                    <a:pt x="1013" y="2345"/>
                  </a:lnTo>
                  <a:lnTo>
                    <a:pt x="1013" y="2344"/>
                  </a:lnTo>
                  <a:lnTo>
                    <a:pt x="1013" y="2342"/>
                  </a:lnTo>
                  <a:lnTo>
                    <a:pt x="1015" y="2342"/>
                  </a:lnTo>
                  <a:lnTo>
                    <a:pt x="1015" y="2341"/>
                  </a:lnTo>
                  <a:lnTo>
                    <a:pt x="1013" y="2339"/>
                  </a:lnTo>
                  <a:lnTo>
                    <a:pt x="1015" y="2339"/>
                  </a:lnTo>
                  <a:lnTo>
                    <a:pt x="1015" y="2337"/>
                  </a:lnTo>
                  <a:lnTo>
                    <a:pt x="1013" y="2336"/>
                  </a:lnTo>
                  <a:lnTo>
                    <a:pt x="1013" y="2334"/>
                  </a:lnTo>
                  <a:lnTo>
                    <a:pt x="1015" y="2334"/>
                  </a:lnTo>
                  <a:lnTo>
                    <a:pt x="1013" y="2332"/>
                  </a:lnTo>
                  <a:lnTo>
                    <a:pt x="1013" y="2331"/>
                  </a:lnTo>
                  <a:lnTo>
                    <a:pt x="1015" y="2331"/>
                  </a:lnTo>
                  <a:lnTo>
                    <a:pt x="1013" y="2331"/>
                  </a:lnTo>
                  <a:lnTo>
                    <a:pt x="1015" y="2329"/>
                  </a:lnTo>
                  <a:lnTo>
                    <a:pt x="1013" y="2329"/>
                  </a:lnTo>
                  <a:lnTo>
                    <a:pt x="1013" y="2328"/>
                  </a:lnTo>
                  <a:lnTo>
                    <a:pt x="1015" y="2328"/>
                  </a:lnTo>
                  <a:lnTo>
                    <a:pt x="1015" y="2326"/>
                  </a:lnTo>
                  <a:lnTo>
                    <a:pt x="1017" y="2326"/>
                  </a:lnTo>
                  <a:lnTo>
                    <a:pt x="1015" y="2321"/>
                  </a:lnTo>
                  <a:lnTo>
                    <a:pt x="1013" y="2321"/>
                  </a:lnTo>
                  <a:lnTo>
                    <a:pt x="1012" y="2321"/>
                  </a:lnTo>
                  <a:lnTo>
                    <a:pt x="1012" y="2319"/>
                  </a:lnTo>
                  <a:lnTo>
                    <a:pt x="1013" y="2319"/>
                  </a:lnTo>
                  <a:lnTo>
                    <a:pt x="1012" y="2318"/>
                  </a:lnTo>
                  <a:lnTo>
                    <a:pt x="1013" y="2318"/>
                  </a:lnTo>
                  <a:lnTo>
                    <a:pt x="1013" y="2316"/>
                  </a:lnTo>
                  <a:lnTo>
                    <a:pt x="1012" y="2316"/>
                  </a:lnTo>
                  <a:lnTo>
                    <a:pt x="1013" y="2316"/>
                  </a:lnTo>
                  <a:lnTo>
                    <a:pt x="1013" y="2315"/>
                  </a:lnTo>
                  <a:lnTo>
                    <a:pt x="1013" y="2313"/>
                  </a:lnTo>
                  <a:lnTo>
                    <a:pt x="1012" y="2313"/>
                  </a:lnTo>
                  <a:lnTo>
                    <a:pt x="1012" y="2311"/>
                  </a:lnTo>
                  <a:lnTo>
                    <a:pt x="1012" y="2310"/>
                  </a:lnTo>
                  <a:lnTo>
                    <a:pt x="1010" y="2310"/>
                  </a:lnTo>
                  <a:lnTo>
                    <a:pt x="1009" y="2310"/>
                  </a:lnTo>
                  <a:lnTo>
                    <a:pt x="1007" y="2310"/>
                  </a:lnTo>
                  <a:lnTo>
                    <a:pt x="1005" y="2310"/>
                  </a:lnTo>
                  <a:lnTo>
                    <a:pt x="1004" y="2311"/>
                  </a:lnTo>
                  <a:lnTo>
                    <a:pt x="1002" y="2313"/>
                  </a:lnTo>
                  <a:lnTo>
                    <a:pt x="1000" y="2313"/>
                  </a:lnTo>
                  <a:lnTo>
                    <a:pt x="1000" y="2311"/>
                  </a:lnTo>
                  <a:lnTo>
                    <a:pt x="1002" y="2311"/>
                  </a:lnTo>
                  <a:lnTo>
                    <a:pt x="1000" y="2308"/>
                  </a:lnTo>
                  <a:lnTo>
                    <a:pt x="999" y="2310"/>
                  </a:lnTo>
                  <a:lnTo>
                    <a:pt x="997" y="2310"/>
                  </a:lnTo>
                  <a:lnTo>
                    <a:pt x="996" y="2311"/>
                  </a:lnTo>
                  <a:lnTo>
                    <a:pt x="994" y="2311"/>
                  </a:lnTo>
                  <a:lnTo>
                    <a:pt x="992" y="2308"/>
                  </a:lnTo>
                  <a:lnTo>
                    <a:pt x="991" y="2308"/>
                  </a:lnTo>
                  <a:lnTo>
                    <a:pt x="989" y="2308"/>
                  </a:lnTo>
                  <a:lnTo>
                    <a:pt x="987" y="2308"/>
                  </a:lnTo>
                  <a:lnTo>
                    <a:pt x="986" y="2310"/>
                  </a:lnTo>
                  <a:lnTo>
                    <a:pt x="983" y="2310"/>
                  </a:lnTo>
                  <a:lnTo>
                    <a:pt x="981" y="2308"/>
                  </a:lnTo>
                  <a:lnTo>
                    <a:pt x="979" y="2308"/>
                  </a:lnTo>
                  <a:lnTo>
                    <a:pt x="978" y="2308"/>
                  </a:lnTo>
                  <a:lnTo>
                    <a:pt x="976" y="2308"/>
                  </a:lnTo>
                  <a:lnTo>
                    <a:pt x="976" y="2306"/>
                  </a:lnTo>
                  <a:lnTo>
                    <a:pt x="976" y="2305"/>
                  </a:lnTo>
                  <a:lnTo>
                    <a:pt x="974" y="2305"/>
                  </a:lnTo>
                  <a:lnTo>
                    <a:pt x="973" y="2305"/>
                  </a:lnTo>
                  <a:lnTo>
                    <a:pt x="971" y="2303"/>
                  </a:lnTo>
                  <a:lnTo>
                    <a:pt x="970" y="2303"/>
                  </a:lnTo>
                  <a:lnTo>
                    <a:pt x="968" y="2303"/>
                  </a:lnTo>
                  <a:lnTo>
                    <a:pt x="965" y="2305"/>
                  </a:lnTo>
                  <a:lnTo>
                    <a:pt x="965" y="2303"/>
                  </a:lnTo>
                  <a:lnTo>
                    <a:pt x="966" y="2303"/>
                  </a:lnTo>
                  <a:lnTo>
                    <a:pt x="968" y="2302"/>
                  </a:lnTo>
                  <a:lnTo>
                    <a:pt x="966" y="2302"/>
                  </a:lnTo>
                  <a:lnTo>
                    <a:pt x="965" y="2302"/>
                  </a:lnTo>
                  <a:lnTo>
                    <a:pt x="963" y="2298"/>
                  </a:lnTo>
                  <a:lnTo>
                    <a:pt x="963" y="2300"/>
                  </a:lnTo>
                  <a:lnTo>
                    <a:pt x="961" y="2300"/>
                  </a:lnTo>
                  <a:lnTo>
                    <a:pt x="960" y="2300"/>
                  </a:lnTo>
                  <a:lnTo>
                    <a:pt x="960" y="2302"/>
                  </a:lnTo>
                  <a:lnTo>
                    <a:pt x="958" y="2302"/>
                  </a:lnTo>
                  <a:lnTo>
                    <a:pt x="957" y="2297"/>
                  </a:lnTo>
                  <a:lnTo>
                    <a:pt x="957" y="2295"/>
                  </a:lnTo>
                  <a:lnTo>
                    <a:pt x="957" y="2293"/>
                  </a:lnTo>
                  <a:lnTo>
                    <a:pt x="957" y="2292"/>
                  </a:lnTo>
                  <a:lnTo>
                    <a:pt x="955" y="2292"/>
                  </a:lnTo>
                  <a:lnTo>
                    <a:pt x="953" y="2290"/>
                  </a:lnTo>
                  <a:lnTo>
                    <a:pt x="955" y="2289"/>
                  </a:lnTo>
                  <a:lnTo>
                    <a:pt x="955" y="2287"/>
                  </a:lnTo>
                  <a:lnTo>
                    <a:pt x="953" y="2287"/>
                  </a:lnTo>
                  <a:lnTo>
                    <a:pt x="953" y="2285"/>
                  </a:lnTo>
                  <a:lnTo>
                    <a:pt x="952" y="2285"/>
                  </a:lnTo>
                  <a:lnTo>
                    <a:pt x="950" y="2284"/>
                  </a:lnTo>
                  <a:lnTo>
                    <a:pt x="948" y="2284"/>
                  </a:lnTo>
                  <a:lnTo>
                    <a:pt x="947" y="2284"/>
                  </a:lnTo>
                  <a:lnTo>
                    <a:pt x="948" y="2280"/>
                  </a:lnTo>
                  <a:lnTo>
                    <a:pt x="947" y="2280"/>
                  </a:lnTo>
                  <a:lnTo>
                    <a:pt x="947" y="2279"/>
                  </a:lnTo>
                  <a:lnTo>
                    <a:pt x="945" y="2279"/>
                  </a:lnTo>
                  <a:lnTo>
                    <a:pt x="944" y="2277"/>
                  </a:lnTo>
                  <a:lnTo>
                    <a:pt x="944" y="2274"/>
                  </a:lnTo>
                  <a:lnTo>
                    <a:pt x="942" y="2272"/>
                  </a:lnTo>
                  <a:lnTo>
                    <a:pt x="940" y="2272"/>
                  </a:lnTo>
                  <a:lnTo>
                    <a:pt x="939" y="2272"/>
                  </a:lnTo>
                  <a:lnTo>
                    <a:pt x="939" y="2271"/>
                  </a:lnTo>
                  <a:lnTo>
                    <a:pt x="939" y="2272"/>
                  </a:lnTo>
                  <a:lnTo>
                    <a:pt x="937" y="2272"/>
                  </a:lnTo>
                  <a:lnTo>
                    <a:pt x="935" y="2272"/>
                  </a:lnTo>
                  <a:lnTo>
                    <a:pt x="934" y="2272"/>
                  </a:lnTo>
                  <a:lnTo>
                    <a:pt x="932" y="2271"/>
                  </a:lnTo>
                  <a:lnTo>
                    <a:pt x="931" y="2272"/>
                  </a:lnTo>
                  <a:lnTo>
                    <a:pt x="929" y="2269"/>
                  </a:lnTo>
                  <a:lnTo>
                    <a:pt x="929" y="2267"/>
                  </a:lnTo>
                  <a:lnTo>
                    <a:pt x="929" y="2266"/>
                  </a:lnTo>
                  <a:lnTo>
                    <a:pt x="931" y="2266"/>
                  </a:lnTo>
                  <a:lnTo>
                    <a:pt x="931" y="2264"/>
                  </a:lnTo>
                  <a:lnTo>
                    <a:pt x="931" y="2262"/>
                  </a:lnTo>
                  <a:lnTo>
                    <a:pt x="931" y="2261"/>
                  </a:lnTo>
                  <a:lnTo>
                    <a:pt x="931" y="2259"/>
                  </a:lnTo>
                  <a:lnTo>
                    <a:pt x="932" y="2258"/>
                  </a:lnTo>
                  <a:lnTo>
                    <a:pt x="932" y="2256"/>
                  </a:lnTo>
                  <a:lnTo>
                    <a:pt x="934" y="2254"/>
                  </a:lnTo>
                  <a:lnTo>
                    <a:pt x="932" y="2253"/>
                  </a:lnTo>
                  <a:lnTo>
                    <a:pt x="934" y="2253"/>
                  </a:lnTo>
                  <a:lnTo>
                    <a:pt x="932" y="2253"/>
                  </a:lnTo>
                  <a:lnTo>
                    <a:pt x="934" y="2251"/>
                  </a:lnTo>
                  <a:lnTo>
                    <a:pt x="932" y="2251"/>
                  </a:lnTo>
                  <a:lnTo>
                    <a:pt x="934" y="2251"/>
                  </a:lnTo>
                  <a:lnTo>
                    <a:pt x="932" y="2251"/>
                  </a:lnTo>
                  <a:lnTo>
                    <a:pt x="934" y="2249"/>
                  </a:lnTo>
                  <a:lnTo>
                    <a:pt x="932" y="2249"/>
                  </a:lnTo>
                  <a:lnTo>
                    <a:pt x="932" y="2248"/>
                  </a:lnTo>
                  <a:lnTo>
                    <a:pt x="931" y="2246"/>
                  </a:lnTo>
                  <a:lnTo>
                    <a:pt x="929" y="2246"/>
                  </a:lnTo>
                  <a:lnTo>
                    <a:pt x="927" y="2246"/>
                  </a:lnTo>
                  <a:lnTo>
                    <a:pt x="926" y="2248"/>
                  </a:lnTo>
                  <a:lnTo>
                    <a:pt x="924" y="2248"/>
                  </a:lnTo>
                  <a:lnTo>
                    <a:pt x="922" y="2249"/>
                  </a:lnTo>
                  <a:lnTo>
                    <a:pt x="922" y="2248"/>
                  </a:lnTo>
                  <a:lnTo>
                    <a:pt x="921" y="2248"/>
                  </a:lnTo>
                  <a:lnTo>
                    <a:pt x="921" y="2249"/>
                  </a:lnTo>
                  <a:lnTo>
                    <a:pt x="919" y="2249"/>
                  </a:lnTo>
                  <a:lnTo>
                    <a:pt x="918" y="2249"/>
                  </a:lnTo>
                  <a:lnTo>
                    <a:pt x="916" y="2249"/>
                  </a:lnTo>
                  <a:lnTo>
                    <a:pt x="914" y="2249"/>
                  </a:lnTo>
                  <a:lnTo>
                    <a:pt x="914" y="2245"/>
                  </a:lnTo>
                  <a:lnTo>
                    <a:pt x="914" y="2243"/>
                  </a:lnTo>
                  <a:lnTo>
                    <a:pt x="913" y="2243"/>
                  </a:lnTo>
                  <a:lnTo>
                    <a:pt x="911" y="2245"/>
                  </a:lnTo>
                  <a:lnTo>
                    <a:pt x="909" y="2243"/>
                  </a:lnTo>
                  <a:lnTo>
                    <a:pt x="908" y="2241"/>
                  </a:lnTo>
                  <a:lnTo>
                    <a:pt x="908" y="2240"/>
                  </a:lnTo>
                  <a:lnTo>
                    <a:pt x="908" y="2241"/>
                  </a:lnTo>
                  <a:lnTo>
                    <a:pt x="906" y="2241"/>
                  </a:lnTo>
                  <a:lnTo>
                    <a:pt x="905" y="2240"/>
                  </a:lnTo>
                  <a:lnTo>
                    <a:pt x="901" y="2240"/>
                  </a:lnTo>
                  <a:lnTo>
                    <a:pt x="898" y="2238"/>
                  </a:lnTo>
                  <a:lnTo>
                    <a:pt x="896" y="2236"/>
                  </a:lnTo>
                  <a:lnTo>
                    <a:pt x="893" y="2238"/>
                  </a:lnTo>
                  <a:lnTo>
                    <a:pt x="890" y="2236"/>
                  </a:lnTo>
                  <a:lnTo>
                    <a:pt x="890" y="2232"/>
                  </a:lnTo>
                  <a:lnTo>
                    <a:pt x="890" y="2227"/>
                  </a:lnTo>
                  <a:lnTo>
                    <a:pt x="893" y="2225"/>
                  </a:lnTo>
                  <a:lnTo>
                    <a:pt x="892" y="2223"/>
                  </a:lnTo>
                  <a:lnTo>
                    <a:pt x="892" y="2222"/>
                  </a:lnTo>
                  <a:lnTo>
                    <a:pt x="892" y="2220"/>
                  </a:lnTo>
                  <a:lnTo>
                    <a:pt x="892" y="2219"/>
                  </a:lnTo>
                  <a:lnTo>
                    <a:pt x="890" y="2219"/>
                  </a:lnTo>
                  <a:lnTo>
                    <a:pt x="890" y="2217"/>
                  </a:lnTo>
                  <a:lnTo>
                    <a:pt x="890" y="2215"/>
                  </a:lnTo>
                  <a:lnTo>
                    <a:pt x="892" y="2215"/>
                  </a:lnTo>
                  <a:lnTo>
                    <a:pt x="893" y="2214"/>
                  </a:lnTo>
                  <a:lnTo>
                    <a:pt x="895" y="2214"/>
                  </a:lnTo>
                  <a:lnTo>
                    <a:pt x="896" y="2214"/>
                  </a:lnTo>
                  <a:lnTo>
                    <a:pt x="895" y="2212"/>
                  </a:lnTo>
                  <a:lnTo>
                    <a:pt x="898" y="2210"/>
                  </a:lnTo>
                  <a:lnTo>
                    <a:pt x="898" y="2209"/>
                  </a:lnTo>
                  <a:lnTo>
                    <a:pt x="900" y="2207"/>
                  </a:lnTo>
                  <a:lnTo>
                    <a:pt x="898" y="2207"/>
                  </a:lnTo>
                  <a:lnTo>
                    <a:pt x="898" y="2206"/>
                  </a:lnTo>
                  <a:lnTo>
                    <a:pt x="895" y="2204"/>
                  </a:lnTo>
                  <a:lnTo>
                    <a:pt x="893" y="2204"/>
                  </a:lnTo>
                  <a:lnTo>
                    <a:pt x="895" y="2202"/>
                  </a:lnTo>
                  <a:lnTo>
                    <a:pt x="893" y="2202"/>
                  </a:lnTo>
                  <a:lnTo>
                    <a:pt x="895" y="2201"/>
                  </a:lnTo>
                  <a:lnTo>
                    <a:pt x="896" y="2201"/>
                  </a:lnTo>
                  <a:lnTo>
                    <a:pt x="898" y="2201"/>
                  </a:lnTo>
                  <a:lnTo>
                    <a:pt x="900" y="2201"/>
                  </a:lnTo>
                  <a:lnTo>
                    <a:pt x="901" y="2196"/>
                  </a:lnTo>
                  <a:lnTo>
                    <a:pt x="900" y="2194"/>
                  </a:lnTo>
                  <a:lnTo>
                    <a:pt x="896" y="2193"/>
                  </a:lnTo>
                  <a:lnTo>
                    <a:pt x="896" y="2191"/>
                  </a:lnTo>
                  <a:lnTo>
                    <a:pt x="896" y="2188"/>
                  </a:lnTo>
                  <a:lnTo>
                    <a:pt x="895" y="2186"/>
                  </a:lnTo>
                  <a:lnTo>
                    <a:pt x="896" y="2186"/>
                  </a:lnTo>
                  <a:lnTo>
                    <a:pt x="898" y="2184"/>
                  </a:lnTo>
                  <a:lnTo>
                    <a:pt x="896" y="2184"/>
                  </a:lnTo>
                  <a:lnTo>
                    <a:pt x="893" y="2184"/>
                  </a:lnTo>
                  <a:lnTo>
                    <a:pt x="893" y="2183"/>
                  </a:lnTo>
                  <a:lnTo>
                    <a:pt x="893" y="2181"/>
                  </a:lnTo>
                  <a:lnTo>
                    <a:pt x="892" y="2181"/>
                  </a:lnTo>
                  <a:lnTo>
                    <a:pt x="892" y="2180"/>
                  </a:lnTo>
                  <a:lnTo>
                    <a:pt x="890" y="2178"/>
                  </a:lnTo>
                  <a:lnTo>
                    <a:pt x="888" y="2180"/>
                  </a:lnTo>
                  <a:lnTo>
                    <a:pt x="888" y="2178"/>
                  </a:lnTo>
                  <a:lnTo>
                    <a:pt x="887" y="2178"/>
                  </a:lnTo>
                  <a:lnTo>
                    <a:pt x="885" y="2175"/>
                  </a:lnTo>
                  <a:lnTo>
                    <a:pt x="883" y="2173"/>
                  </a:lnTo>
                  <a:lnTo>
                    <a:pt x="883" y="2171"/>
                  </a:lnTo>
                  <a:lnTo>
                    <a:pt x="882" y="2171"/>
                  </a:lnTo>
                  <a:lnTo>
                    <a:pt x="882" y="2170"/>
                  </a:lnTo>
                  <a:lnTo>
                    <a:pt x="880" y="2170"/>
                  </a:lnTo>
                  <a:lnTo>
                    <a:pt x="877" y="2170"/>
                  </a:lnTo>
                  <a:lnTo>
                    <a:pt x="875" y="2170"/>
                  </a:lnTo>
                  <a:lnTo>
                    <a:pt x="875" y="2167"/>
                  </a:lnTo>
                  <a:lnTo>
                    <a:pt x="874" y="2163"/>
                  </a:lnTo>
                  <a:lnTo>
                    <a:pt x="877" y="2157"/>
                  </a:lnTo>
                  <a:lnTo>
                    <a:pt x="877" y="2155"/>
                  </a:lnTo>
                  <a:lnTo>
                    <a:pt x="878" y="2155"/>
                  </a:lnTo>
                  <a:lnTo>
                    <a:pt x="878" y="2154"/>
                  </a:lnTo>
                  <a:lnTo>
                    <a:pt x="880" y="2154"/>
                  </a:lnTo>
                  <a:lnTo>
                    <a:pt x="878" y="2150"/>
                  </a:lnTo>
                  <a:lnTo>
                    <a:pt x="875" y="2145"/>
                  </a:lnTo>
                  <a:lnTo>
                    <a:pt x="875" y="2144"/>
                  </a:lnTo>
                  <a:lnTo>
                    <a:pt x="875" y="2142"/>
                  </a:lnTo>
                  <a:lnTo>
                    <a:pt x="874" y="2142"/>
                  </a:lnTo>
                  <a:lnTo>
                    <a:pt x="874" y="2141"/>
                  </a:lnTo>
                  <a:lnTo>
                    <a:pt x="875" y="2141"/>
                  </a:lnTo>
                  <a:lnTo>
                    <a:pt x="875" y="2139"/>
                  </a:lnTo>
                  <a:lnTo>
                    <a:pt x="877" y="2137"/>
                  </a:lnTo>
                  <a:lnTo>
                    <a:pt x="877" y="2136"/>
                  </a:lnTo>
                  <a:lnTo>
                    <a:pt x="875" y="2136"/>
                  </a:lnTo>
                  <a:lnTo>
                    <a:pt x="874" y="2134"/>
                  </a:lnTo>
                  <a:lnTo>
                    <a:pt x="872" y="2134"/>
                  </a:lnTo>
                  <a:lnTo>
                    <a:pt x="872" y="2132"/>
                  </a:lnTo>
                  <a:lnTo>
                    <a:pt x="874" y="2132"/>
                  </a:lnTo>
                  <a:lnTo>
                    <a:pt x="874" y="2131"/>
                  </a:lnTo>
                  <a:lnTo>
                    <a:pt x="875" y="2131"/>
                  </a:lnTo>
                  <a:lnTo>
                    <a:pt x="874" y="2127"/>
                  </a:lnTo>
                  <a:lnTo>
                    <a:pt x="872" y="2126"/>
                  </a:lnTo>
                  <a:lnTo>
                    <a:pt x="872" y="2124"/>
                  </a:lnTo>
                  <a:lnTo>
                    <a:pt x="872" y="2123"/>
                  </a:lnTo>
                  <a:lnTo>
                    <a:pt x="870" y="2121"/>
                  </a:lnTo>
                  <a:lnTo>
                    <a:pt x="869" y="2121"/>
                  </a:lnTo>
                  <a:lnTo>
                    <a:pt x="867" y="2121"/>
                  </a:lnTo>
                  <a:lnTo>
                    <a:pt x="865" y="2121"/>
                  </a:lnTo>
                  <a:lnTo>
                    <a:pt x="864" y="2121"/>
                  </a:lnTo>
                  <a:lnTo>
                    <a:pt x="862" y="2121"/>
                  </a:lnTo>
                  <a:lnTo>
                    <a:pt x="864" y="2123"/>
                  </a:lnTo>
                  <a:lnTo>
                    <a:pt x="862" y="2124"/>
                  </a:lnTo>
                  <a:lnTo>
                    <a:pt x="862" y="2126"/>
                  </a:lnTo>
                  <a:lnTo>
                    <a:pt x="861" y="2127"/>
                  </a:lnTo>
                  <a:lnTo>
                    <a:pt x="857" y="2127"/>
                  </a:lnTo>
                  <a:lnTo>
                    <a:pt x="857" y="2126"/>
                  </a:lnTo>
                  <a:lnTo>
                    <a:pt x="856" y="2124"/>
                  </a:lnTo>
                  <a:lnTo>
                    <a:pt x="854" y="2123"/>
                  </a:lnTo>
                  <a:lnTo>
                    <a:pt x="852" y="2119"/>
                  </a:lnTo>
                  <a:lnTo>
                    <a:pt x="851" y="2119"/>
                  </a:lnTo>
                  <a:lnTo>
                    <a:pt x="851" y="2121"/>
                  </a:lnTo>
                  <a:lnTo>
                    <a:pt x="849" y="2121"/>
                  </a:lnTo>
                  <a:lnTo>
                    <a:pt x="851" y="2121"/>
                  </a:lnTo>
                  <a:lnTo>
                    <a:pt x="851" y="2123"/>
                  </a:lnTo>
                  <a:lnTo>
                    <a:pt x="849" y="2124"/>
                  </a:lnTo>
                  <a:lnTo>
                    <a:pt x="849" y="2123"/>
                  </a:lnTo>
                  <a:lnTo>
                    <a:pt x="848" y="2121"/>
                  </a:lnTo>
                  <a:lnTo>
                    <a:pt x="848" y="2119"/>
                  </a:lnTo>
                  <a:lnTo>
                    <a:pt x="846" y="2119"/>
                  </a:lnTo>
                  <a:lnTo>
                    <a:pt x="844" y="2119"/>
                  </a:lnTo>
                  <a:lnTo>
                    <a:pt x="844" y="2118"/>
                  </a:lnTo>
                  <a:lnTo>
                    <a:pt x="844" y="2116"/>
                  </a:lnTo>
                  <a:lnTo>
                    <a:pt x="844" y="2114"/>
                  </a:lnTo>
                  <a:lnTo>
                    <a:pt x="843" y="2113"/>
                  </a:lnTo>
                  <a:lnTo>
                    <a:pt x="841" y="2113"/>
                  </a:lnTo>
                  <a:lnTo>
                    <a:pt x="839" y="2111"/>
                  </a:lnTo>
                  <a:lnTo>
                    <a:pt x="838" y="2111"/>
                  </a:lnTo>
                  <a:lnTo>
                    <a:pt x="836" y="2111"/>
                  </a:lnTo>
                  <a:lnTo>
                    <a:pt x="833" y="2111"/>
                  </a:lnTo>
                  <a:lnTo>
                    <a:pt x="831" y="2110"/>
                  </a:lnTo>
                  <a:lnTo>
                    <a:pt x="830" y="2108"/>
                  </a:lnTo>
                  <a:lnTo>
                    <a:pt x="831" y="2106"/>
                  </a:lnTo>
                  <a:lnTo>
                    <a:pt x="830" y="2106"/>
                  </a:lnTo>
                  <a:lnTo>
                    <a:pt x="830" y="2105"/>
                  </a:lnTo>
                  <a:lnTo>
                    <a:pt x="828" y="2105"/>
                  </a:lnTo>
                  <a:lnTo>
                    <a:pt x="826" y="2105"/>
                  </a:lnTo>
                  <a:lnTo>
                    <a:pt x="823" y="2106"/>
                  </a:lnTo>
                  <a:lnTo>
                    <a:pt x="822" y="2106"/>
                  </a:lnTo>
                  <a:lnTo>
                    <a:pt x="822" y="2105"/>
                  </a:lnTo>
                  <a:lnTo>
                    <a:pt x="820" y="2105"/>
                  </a:lnTo>
                  <a:lnTo>
                    <a:pt x="820" y="2106"/>
                  </a:lnTo>
                  <a:lnTo>
                    <a:pt x="818" y="2106"/>
                  </a:lnTo>
                  <a:lnTo>
                    <a:pt x="817" y="2106"/>
                  </a:lnTo>
                  <a:lnTo>
                    <a:pt x="815" y="2105"/>
                  </a:lnTo>
                  <a:lnTo>
                    <a:pt x="813" y="2105"/>
                  </a:lnTo>
                  <a:lnTo>
                    <a:pt x="812" y="2105"/>
                  </a:lnTo>
                  <a:lnTo>
                    <a:pt x="810" y="2105"/>
                  </a:lnTo>
                  <a:lnTo>
                    <a:pt x="810" y="2103"/>
                  </a:lnTo>
                  <a:lnTo>
                    <a:pt x="810" y="2101"/>
                  </a:lnTo>
                  <a:lnTo>
                    <a:pt x="809" y="2101"/>
                  </a:lnTo>
                  <a:lnTo>
                    <a:pt x="807" y="2101"/>
                  </a:lnTo>
                  <a:lnTo>
                    <a:pt x="805" y="2101"/>
                  </a:lnTo>
                  <a:lnTo>
                    <a:pt x="804" y="2101"/>
                  </a:lnTo>
                  <a:lnTo>
                    <a:pt x="802" y="2103"/>
                  </a:lnTo>
                  <a:lnTo>
                    <a:pt x="800" y="2103"/>
                  </a:lnTo>
                  <a:lnTo>
                    <a:pt x="800" y="2105"/>
                  </a:lnTo>
                  <a:lnTo>
                    <a:pt x="800" y="2106"/>
                  </a:lnTo>
                  <a:lnTo>
                    <a:pt x="799" y="2106"/>
                  </a:lnTo>
                  <a:lnTo>
                    <a:pt x="799" y="2108"/>
                  </a:lnTo>
                  <a:lnTo>
                    <a:pt x="799" y="2110"/>
                  </a:lnTo>
                  <a:lnTo>
                    <a:pt x="797" y="2110"/>
                  </a:lnTo>
                  <a:lnTo>
                    <a:pt x="796" y="2110"/>
                  </a:lnTo>
                  <a:lnTo>
                    <a:pt x="794" y="2108"/>
                  </a:lnTo>
                  <a:lnTo>
                    <a:pt x="792" y="2110"/>
                  </a:lnTo>
                  <a:lnTo>
                    <a:pt x="792" y="2108"/>
                  </a:lnTo>
                  <a:lnTo>
                    <a:pt x="791" y="2108"/>
                  </a:lnTo>
                  <a:lnTo>
                    <a:pt x="789" y="2108"/>
                  </a:lnTo>
                  <a:lnTo>
                    <a:pt x="787" y="2108"/>
                  </a:lnTo>
                  <a:lnTo>
                    <a:pt x="786" y="2108"/>
                  </a:lnTo>
                  <a:lnTo>
                    <a:pt x="786" y="2110"/>
                  </a:lnTo>
                  <a:lnTo>
                    <a:pt x="784" y="2110"/>
                  </a:lnTo>
                  <a:lnTo>
                    <a:pt x="781" y="2110"/>
                  </a:lnTo>
                  <a:lnTo>
                    <a:pt x="779" y="2110"/>
                  </a:lnTo>
                  <a:lnTo>
                    <a:pt x="779" y="2113"/>
                  </a:lnTo>
                  <a:lnTo>
                    <a:pt x="779" y="2114"/>
                  </a:lnTo>
                  <a:lnTo>
                    <a:pt x="779" y="2116"/>
                  </a:lnTo>
                  <a:lnTo>
                    <a:pt x="778" y="2116"/>
                  </a:lnTo>
                  <a:lnTo>
                    <a:pt x="778" y="2118"/>
                  </a:lnTo>
                  <a:lnTo>
                    <a:pt x="778" y="2119"/>
                  </a:lnTo>
                  <a:lnTo>
                    <a:pt x="776" y="2121"/>
                  </a:lnTo>
                  <a:lnTo>
                    <a:pt x="776" y="2123"/>
                  </a:lnTo>
                  <a:lnTo>
                    <a:pt x="778" y="2124"/>
                  </a:lnTo>
                  <a:lnTo>
                    <a:pt x="776" y="2124"/>
                  </a:lnTo>
                  <a:lnTo>
                    <a:pt x="774" y="2124"/>
                  </a:lnTo>
                  <a:lnTo>
                    <a:pt x="773" y="2124"/>
                  </a:lnTo>
                  <a:lnTo>
                    <a:pt x="773" y="2123"/>
                  </a:lnTo>
                  <a:lnTo>
                    <a:pt x="771" y="2123"/>
                  </a:lnTo>
                  <a:lnTo>
                    <a:pt x="770" y="2123"/>
                  </a:lnTo>
                  <a:lnTo>
                    <a:pt x="768" y="2124"/>
                  </a:lnTo>
                  <a:lnTo>
                    <a:pt x="766" y="2126"/>
                  </a:lnTo>
                  <a:lnTo>
                    <a:pt x="765" y="2126"/>
                  </a:lnTo>
                  <a:lnTo>
                    <a:pt x="765" y="2127"/>
                  </a:lnTo>
                  <a:lnTo>
                    <a:pt x="763" y="2129"/>
                  </a:lnTo>
                  <a:lnTo>
                    <a:pt x="761" y="2131"/>
                  </a:lnTo>
                  <a:lnTo>
                    <a:pt x="760" y="2132"/>
                  </a:lnTo>
                  <a:lnTo>
                    <a:pt x="760" y="2134"/>
                  </a:lnTo>
                  <a:lnTo>
                    <a:pt x="760" y="2136"/>
                  </a:lnTo>
                  <a:lnTo>
                    <a:pt x="758" y="2137"/>
                  </a:lnTo>
                  <a:lnTo>
                    <a:pt x="757" y="2141"/>
                  </a:lnTo>
                  <a:lnTo>
                    <a:pt x="755" y="2141"/>
                  </a:lnTo>
                  <a:lnTo>
                    <a:pt x="752" y="2141"/>
                  </a:lnTo>
                  <a:lnTo>
                    <a:pt x="752" y="2139"/>
                  </a:lnTo>
                  <a:lnTo>
                    <a:pt x="750" y="2139"/>
                  </a:lnTo>
                  <a:lnTo>
                    <a:pt x="747" y="2137"/>
                  </a:lnTo>
                  <a:lnTo>
                    <a:pt x="744" y="2137"/>
                  </a:lnTo>
                  <a:lnTo>
                    <a:pt x="742" y="2136"/>
                  </a:lnTo>
                  <a:lnTo>
                    <a:pt x="742" y="2132"/>
                  </a:lnTo>
                  <a:lnTo>
                    <a:pt x="742" y="2131"/>
                  </a:lnTo>
                  <a:lnTo>
                    <a:pt x="742" y="2127"/>
                  </a:lnTo>
                  <a:lnTo>
                    <a:pt x="742" y="2126"/>
                  </a:lnTo>
                  <a:lnTo>
                    <a:pt x="742" y="2124"/>
                  </a:lnTo>
                  <a:lnTo>
                    <a:pt x="742" y="2123"/>
                  </a:lnTo>
                  <a:lnTo>
                    <a:pt x="742" y="2121"/>
                  </a:lnTo>
                  <a:lnTo>
                    <a:pt x="742" y="2119"/>
                  </a:lnTo>
                  <a:lnTo>
                    <a:pt x="742" y="2118"/>
                  </a:lnTo>
                  <a:lnTo>
                    <a:pt x="740" y="2116"/>
                  </a:lnTo>
                  <a:lnTo>
                    <a:pt x="742" y="2114"/>
                  </a:lnTo>
                  <a:lnTo>
                    <a:pt x="745" y="2111"/>
                  </a:lnTo>
                  <a:lnTo>
                    <a:pt x="745" y="2110"/>
                  </a:lnTo>
                  <a:lnTo>
                    <a:pt x="744" y="2110"/>
                  </a:lnTo>
                  <a:lnTo>
                    <a:pt x="742" y="2110"/>
                  </a:lnTo>
                  <a:lnTo>
                    <a:pt x="740" y="2110"/>
                  </a:lnTo>
                  <a:lnTo>
                    <a:pt x="740" y="2108"/>
                  </a:lnTo>
                  <a:lnTo>
                    <a:pt x="740" y="2106"/>
                  </a:lnTo>
                  <a:lnTo>
                    <a:pt x="739" y="2106"/>
                  </a:lnTo>
                  <a:lnTo>
                    <a:pt x="737" y="2106"/>
                  </a:lnTo>
                  <a:lnTo>
                    <a:pt x="734" y="2106"/>
                  </a:lnTo>
                  <a:lnTo>
                    <a:pt x="729" y="2105"/>
                  </a:lnTo>
                  <a:lnTo>
                    <a:pt x="726" y="2106"/>
                  </a:lnTo>
                  <a:lnTo>
                    <a:pt x="724" y="2106"/>
                  </a:lnTo>
                  <a:lnTo>
                    <a:pt x="722" y="2108"/>
                  </a:lnTo>
                  <a:lnTo>
                    <a:pt x="722" y="2106"/>
                  </a:lnTo>
                  <a:lnTo>
                    <a:pt x="721" y="2106"/>
                  </a:lnTo>
                  <a:lnTo>
                    <a:pt x="717" y="2103"/>
                  </a:lnTo>
                  <a:lnTo>
                    <a:pt x="714" y="2105"/>
                  </a:lnTo>
                  <a:lnTo>
                    <a:pt x="714" y="2106"/>
                  </a:lnTo>
                  <a:lnTo>
                    <a:pt x="713" y="2106"/>
                  </a:lnTo>
                  <a:lnTo>
                    <a:pt x="711" y="2105"/>
                  </a:lnTo>
                  <a:lnTo>
                    <a:pt x="709" y="2105"/>
                  </a:lnTo>
                  <a:lnTo>
                    <a:pt x="706" y="2106"/>
                  </a:lnTo>
                  <a:lnTo>
                    <a:pt x="706" y="2108"/>
                  </a:lnTo>
                  <a:lnTo>
                    <a:pt x="703" y="2110"/>
                  </a:lnTo>
                  <a:lnTo>
                    <a:pt x="701" y="2110"/>
                  </a:lnTo>
                  <a:lnTo>
                    <a:pt x="701" y="2111"/>
                  </a:lnTo>
                  <a:lnTo>
                    <a:pt x="701" y="2113"/>
                  </a:lnTo>
                  <a:lnTo>
                    <a:pt x="700" y="2113"/>
                  </a:lnTo>
                  <a:lnTo>
                    <a:pt x="698" y="2113"/>
                  </a:lnTo>
                  <a:lnTo>
                    <a:pt x="696" y="2114"/>
                  </a:lnTo>
                  <a:lnTo>
                    <a:pt x="695" y="2116"/>
                  </a:lnTo>
                  <a:lnTo>
                    <a:pt x="695" y="2118"/>
                  </a:lnTo>
                  <a:lnTo>
                    <a:pt x="695" y="2119"/>
                  </a:lnTo>
                  <a:lnTo>
                    <a:pt x="693" y="2119"/>
                  </a:lnTo>
                  <a:lnTo>
                    <a:pt x="691" y="2118"/>
                  </a:lnTo>
                  <a:lnTo>
                    <a:pt x="690" y="2119"/>
                  </a:lnTo>
                  <a:lnTo>
                    <a:pt x="688" y="2119"/>
                  </a:lnTo>
                  <a:lnTo>
                    <a:pt x="687" y="2119"/>
                  </a:lnTo>
                  <a:lnTo>
                    <a:pt x="685" y="2119"/>
                  </a:lnTo>
                  <a:lnTo>
                    <a:pt x="683" y="2119"/>
                  </a:lnTo>
                  <a:lnTo>
                    <a:pt x="683" y="2118"/>
                  </a:lnTo>
                  <a:lnTo>
                    <a:pt x="682" y="2116"/>
                  </a:lnTo>
                  <a:lnTo>
                    <a:pt x="682" y="2114"/>
                  </a:lnTo>
                  <a:lnTo>
                    <a:pt x="680" y="2113"/>
                  </a:lnTo>
                  <a:lnTo>
                    <a:pt x="678" y="2113"/>
                  </a:lnTo>
                  <a:lnTo>
                    <a:pt x="678" y="2111"/>
                  </a:lnTo>
                  <a:lnTo>
                    <a:pt x="677" y="2111"/>
                  </a:lnTo>
                  <a:lnTo>
                    <a:pt x="677" y="2110"/>
                  </a:lnTo>
                  <a:lnTo>
                    <a:pt x="675" y="2110"/>
                  </a:lnTo>
                  <a:lnTo>
                    <a:pt x="674" y="2108"/>
                  </a:lnTo>
                  <a:lnTo>
                    <a:pt x="675" y="2106"/>
                  </a:lnTo>
                  <a:lnTo>
                    <a:pt x="675" y="2105"/>
                  </a:lnTo>
                  <a:lnTo>
                    <a:pt x="677" y="2105"/>
                  </a:lnTo>
                  <a:lnTo>
                    <a:pt x="677" y="2103"/>
                  </a:lnTo>
                  <a:lnTo>
                    <a:pt x="675" y="2103"/>
                  </a:lnTo>
                  <a:lnTo>
                    <a:pt x="674" y="2103"/>
                  </a:lnTo>
                  <a:lnTo>
                    <a:pt x="672" y="2105"/>
                  </a:lnTo>
                  <a:lnTo>
                    <a:pt x="669" y="2105"/>
                  </a:lnTo>
                  <a:lnTo>
                    <a:pt x="667" y="2105"/>
                  </a:lnTo>
                  <a:lnTo>
                    <a:pt x="665" y="2105"/>
                  </a:lnTo>
                  <a:lnTo>
                    <a:pt x="664" y="2105"/>
                  </a:lnTo>
                  <a:lnTo>
                    <a:pt x="664" y="2106"/>
                  </a:lnTo>
                  <a:lnTo>
                    <a:pt x="662" y="2106"/>
                  </a:lnTo>
                  <a:lnTo>
                    <a:pt x="661" y="2106"/>
                  </a:lnTo>
                  <a:lnTo>
                    <a:pt x="661" y="2108"/>
                  </a:lnTo>
                  <a:lnTo>
                    <a:pt x="659" y="2108"/>
                  </a:lnTo>
                  <a:lnTo>
                    <a:pt x="659" y="2110"/>
                  </a:lnTo>
                  <a:lnTo>
                    <a:pt x="657" y="2110"/>
                  </a:lnTo>
                  <a:lnTo>
                    <a:pt x="656" y="2108"/>
                  </a:lnTo>
                  <a:lnTo>
                    <a:pt x="654" y="2108"/>
                  </a:lnTo>
                  <a:lnTo>
                    <a:pt x="654" y="2110"/>
                  </a:lnTo>
                  <a:lnTo>
                    <a:pt x="656" y="2111"/>
                  </a:lnTo>
                  <a:lnTo>
                    <a:pt x="654" y="2114"/>
                  </a:lnTo>
                  <a:lnTo>
                    <a:pt x="654" y="2116"/>
                  </a:lnTo>
                  <a:lnTo>
                    <a:pt x="652" y="2116"/>
                  </a:lnTo>
                  <a:lnTo>
                    <a:pt x="652" y="2114"/>
                  </a:lnTo>
                  <a:lnTo>
                    <a:pt x="651" y="2114"/>
                  </a:lnTo>
                  <a:lnTo>
                    <a:pt x="651" y="2116"/>
                  </a:lnTo>
                  <a:lnTo>
                    <a:pt x="649" y="2116"/>
                  </a:lnTo>
                  <a:lnTo>
                    <a:pt x="648" y="2114"/>
                  </a:lnTo>
                  <a:lnTo>
                    <a:pt x="646" y="2113"/>
                  </a:lnTo>
                  <a:lnTo>
                    <a:pt x="644" y="2114"/>
                  </a:lnTo>
                  <a:lnTo>
                    <a:pt x="643" y="2113"/>
                  </a:lnTo>
                  <a:lnTo>
                    <a:pt x="643" y="2111"/>
                  </a:lnTo>
                  <a:lnTo>
                    <a:pt x="643" y="2110"/>
                  </a:lnTo>
                  <a:lnTo>
                    <a:pt x="641" y="2110"/>
                  </a:lnTo>
                  <a:lnTo>
                    <a:pt x="639" y="2110"/>
                  </a:lnTo>
                  <a:lnTo>
                    <a:pt x="638" y="2108"/>
                  </a:lnTo>
                  <a:lnTo>
                    <a:pt x="636" y="2108"/>
                  </a:lnTo>
                  <a:lnTo>
                    <a:pt x="635" y="2108"/>
                  </a:lnTo>
                  <a:lnTo>
                    <a:pt x="635" y="2105"/>
                  </a:lnTo>
                  <a:lnTo>
                    <a:pt x="633" y="2105"/>
                  </a:lnTo>
                  <a:lnTo>
                    <a:pt x="635" y="2105"/>
                  </a:lnTo>
                  <a:lnTo>
                    <a:pt x="635" y="2103"/>
                  </a:lnTo>
                  <a:lnTo>
                    <a:pt x="635" y="2101"/>
                  </a:lnTo>
                  <a:lnTo>
                    <a:pt x="635" y="2100"/>
                  </a:lnTo>
                  <a:lnTo>
                    <a:pt x="635" y="2098"/>
                  </a:lnTo>
                  <a:lnTo>
                    <a:pt x="636" y="2097"/>
                  </a:lnTo>
                  <a:lnTo>
                    <a:pt x="635" y="2097"/>
                  </a:lnTo>
                  <a:lnTo>
                    <a:pt x="635" y="2095"/>
                  </a:lnTo>
                  <a:lnTo>
                    <a:pt x="635" y="2093"/>
                  </a:lnTo>
                  <a:lnTo>
                    <a:pt x="636" y="2092"/>
                  </a:lnTo>
                  <a:lnTo>
                    <a:pt x="636" y="2090"/>
                  </a:lnTo>
                  <a:lnTo>
                    <a:pt x="636" y="2088"/>
                  </a:lnTo>
                  <a:lnTo>
                    <a:pt x="636" y="2087"/>
                  </a:lnTo>
                  <a:lnTo>
                    <a:pt x="635" y="2085"/>
                  </a:lnTo>
                  <a:lnTo>
                    <a:pt x="635" y="2084"/>
                  </a:lnTo>
                  <a:lnTo>
                    <a:pt x="633" y="2082"/>
                  </a:lnTo>
                  <a:lnTo>
                    <a:pt x="631" y="2080"/>
                  </a:lnTo>
                  <a:lnTo>
                    <a:pt x="630" y="2077"/>
                  </a:lnTo>
                  <a:lnTo>
                    <a:pt x="628" y="2075"/>
                  </a:lnTo>
                  <a:lnTo>
                    <a:pt x="626" y="2075"/>
                  </a:lnTo>
                  <a:lnTo>
                    <a:pt x="626" y="2074"/>
                  </a:lnTo>
                  <a:lnTo>
                    <a:pt x="626" y="2072"/>
                  </a:lnTo>
                  <a:lnTo>
                    <a:pt x="628" y="2072"/>
                  </a:lnTo>
                  <a:lnTo>
                    <a:pt x="628" y="2071"/>
                  </a:lnTo>
                  <a:lnTo>
                    <a:pt x="626" y="2069"/>
                  </a:lnTo>
                  <a:lnTo>
                    <a:pt x="626" y="2067"/>
                  </a:lnTo>
                  <a:lnTo>
                    <a:pt x="626" y="2066"/>
                  </a:lnTo>
                  <a:lnTo>
                    <a:pt x="625" y="2064"/>
                  </a:lnTo>
                  <a:lnTo>
                    <a:pt x="623" y="2064"/>
                  </a:lnTo>
                  <a:lnTo>
                    <a:pt x="623" y="2062"/>
                  </a:lnTo>
                  <a:lnTo>
                    <a:pt x="622" y="2062"/>
                  </a:lnTo>
                  <a:lnTo>
                    <a:pt x="622" y="2061"/>
                  </a:lnTo>
                  <a:lnTo>
                    <a:pt x="620" y="2061"/>
                  </a:lnTo>
                  <a:lnTo>
                    <a:pt x="620" y="2059"/>
                  </a:lnTo>
                  <a:lnTo>
                    <a:pt x="620" y="2058"/>
                  </a:lnTo>
                  <a:lnTo>
                    <a:pt x="618" y="2058"/>
                  </a:lnTo>
                  <a:lnTo>
                    <a:pt x="617" y="2058"/>
                  </a:lnTo>
                  <a:lnTo>
                    <a:pt x="617" y="2056"/>
                  </a:lnTo>
                  <a:lnTo>
                    <a:pt x="615" y="2056"/>
                  </a:lnTo>
                  <a:lnTo>
                    <a:pt x="617" y="2056"/>
                  </a:lnTo>
                  <a:lnTo>
                    <a:pt x="615" y="2054"/>
                  </a:lnTo>
                  <a:lnTo>
                    <a:pt x="617" y="2053"/>
                  </a:lnTo>
                  <a:lnTo>
                    <a:pt x="618" y="2053"/>
                  </a:lnTo>
                  <a:lnTo>
                    <a:pt x="618" y="2051"/>
                  </a:lnTo>
                  <a:lnTo>
                    <a:pt x="617" y="2049"/>
                  </a:lnTo>
                  <a:lnTo>
                    <a:pt x="618" y="2049"/>
                  </a:lnTo>
                  <a:lnTo>
                    <a:pt x="618" y="2048"/>
                  </a:lnTo>
                  <a:lnTo>
                    <a:pt x="617" y="2048"/>
                  </a:lnTo>
                  <a:lnTo>
                    <a:pt x="613" y="2048"/>
                  </a:lnTo>
                  <a:lnTo>
                    <a:pt x="612" y="2048"/>
                  </a:lnTo>
                  <a:lnTo>
                    <a:pt x="610" y="2049"/>
                  </a:lnTo>
                  <a:lnTo>
                    <a:pt x="609" y="2048"/>
                  </a:lnTo>
                  <a:lnTo>
                    <a:pt x="609" y="2046"/>
                  </a:lnTo>
                  <a:lnTo>
                    <a:pt x="607" y="2045"/>
                  </a:lnTo>
                  <a:lnTo>
                    <a:pt x="605" y="2043"/>
                  </a:lnTo>
                  <a:lnTo>
                    <a:pt x="605" y="2040"/>
                  </a:lnTo>
                  <a:lnTo>
                    <a:pt x="604" y="2038"/>
                  </a:lnTo>
                  <a:lnTo>
                    <a:pt x="604" y="2036"/>
                  </a:lnTo>
                  <a:lnTo>
                    <a:pt x="604" y="2035"/>
                  </a:lnTo>
                  <a:lnTo>
                    <a:pt x="602" y="2035"/>
                  </a:lnTo>
                  <a:lnTo>
                    <a:pt x="599" y="2033"/>
                  </a:lnTo>
                  <a:lnTo>
                    <a:pt x="597" y="2033"/>
                  </a:lnTo>
                  <a:lnTo>
                    <a:pt x="597" y="2032"/>
                  </a:lnTo>
                  <a:lnTo>
                    <a:pt x="596" y="2032"/>
                  </a:lnTo>
                  <a:lnTo>
                    <a:pt x="594" y="2030"/>
                  </a:lnTo>
                  <a:lnTo>
                    <a:pt x="594" y="2028"/>
                  </a:lnTo>
                  <a:lnTo>
                    <a:pt x="592" y="2028"/>
                  </a:lnTo>
                  <a:lnTo>
                    <a:pt x="592" y="2027"/>
                  </a:lnTo>
                  <a:lnTo>
                    <a:pt x="592" y="2025"/>
                  </a:lnTo>
                  <a:lnTo>
                    <a:pt x="594" y="2025"/>
                  </a:lnTo>
                  <a:lnTo>
                    <a:pt x="596" y="2023"/>
                  </a:lnTo>
                  <a:lnTo>
                    <a:pt x="594" y="2022"/>
                  </a:lnTo>
                  <a:lnTo>
                    <a:pt x="594" y="2020"/>
                  </a:lnTo>
                  <a:lnTo>
                    <a:pt x="596" y="2020"/>
                  </a:lnTo>
                  <a:lnTo>
                    <a:pt x="596" y="2019"/>
                  </a:lnTo>
                  <a:lnTo>
                    <a:pt x="596" y="2017"/>
                  </a:lnTo>
                  <a:lnTo>
                    <a:pt x="596" y="2015"/>
                  </a:lnTo>
                  <a:lnTo>
                    <a:pt x="594" y="2015"/>
                  </a:lnTo>
                  <a:lnTo>
                    <a:pt x="592" y="2017"/>
                  </a:lnTo>
                  <a:lnTo>
                    <a:pt x="591" y="2019"/>
                  </a:lnTo>
                  <a:lnTo>
                    <a:pt x="589" y="2017"/>
                  </a:lnTo>
                  <a:lnTo>
                    <a:pt x="587" y="2014"/>
                  </a:lnTo>
                  <a:lnTo>
                    <a:pt x="586" y="2012"/>
                  </a:lnTo>
                  <a:lnTo>
                    <a:pt x="584" y="2012"/>
                  </a:lnTo>
                  <a:lnTo>
                    <a:pt x="582" y="2014"/>
                  </a:lnTo>
                  <a:lnTo>
                    <a:pt x="581" y="2015"/>
                  </a:lnTo>
                  <a:lnTo>
                    <a:pt x="579" y="2015"/>
                  </a:lnTo>
                  <a:lnTo>
                    <a:pt x="578" y="2015"/>
                  </a:lnTo>
                  <a:lnTo>
                    <a:pt x="578" y="2017"/>
                  </a:lnTo>
                  <a:lnTo>
                    <a:pt x="576" y="2017"/>
                  </a:lnTo>
                  <a:lnTo>
                    <a:pt x="576" y="2019"/>
                  </a:lnTo>
                  <a:lnTo>
                    <a:pt x="574" y="2019"/>
                  </a:lnTo>
                  <a:lnTo>
                    <a:pt x="574" y="2020"/>
                  </a:lnTo>
                  <a:lnTo>
                    <a:pt x="573" y="2020"/>
                  </a:lnTo>
                  <a:lnTo>
                    <a:pt x="573" y="2022"/>
                  </a:lnTo>
                  <a:lnTo>
                    <a:pt x="571" y="2022"/>
                  </a:lnTo>
                  <a:lnTo>
                    <a:pt x="571" y="2020"/>
                  </a:lnTo>
                  <a:lnTo>
                    <a:pt x="571" y="2019"/>
                  </a:lnTo>
                  <a:lnTo>
                    <a:pt x="569" y="2019"/>
                  </a:lnTo>
                  <a:lnTo>
                    <a:pt x="571" y="2017"/>
                  </a:lnTo>
                  <a:lnTo>
                    <a:pt x="571" y="2014"/>
                  </a:lnTo>
                  <a:lnTo>
                    <a:pt x="569" y="2014"/>
                  </a:lnTo>
                  <a:lnTo>
                    <a:pt x="569" y="2012"/>
                  </a:lnTo>
                  <a:lnTo>
                    <a:pt x="571" y="2012"/>
                  </a:lnTo>
                  <a:lnTo>
                    <a:pt x="571" y="2010"/>
                  </a:lnTo>
                  <a:lnTo>
                    <a:pt x="573" y="2009"/>
                  </a:lnTo>
                  <a:lnTo>
                    <a:pt x="574" y="2007"/>
                  </a:lnTo>
                  <a:lnTo>
                    <a:pt x="573" y="2002"/>
                  </a:lnTo>
                  <a:lnTo>
                    <a:pt x="573" y="1996"/>
                  </a:lnTo>
                  <a:lnTo>
                    <a:pt x="569" y="1997"/>
                  </a:lnTo>
                  <a:lnTo>
                    <a:pt x="569" y="1996"/>
                  </a:lnTo>
                  <a:lnTo>
                    <a:pt x="569" y="1993"/>
                  </a:lnTo>
                  <a:lnTo>
                    <a:pt x="569" y="1991"/>
                  </a:lnTo>
                  <a:lnTo>
                    <a:pt x="569" y="1989"/>
                  </a:lnTo>
                  <a:lnTo>
                    <a:pt x="569" y="1988"/>
                  </a:lnTo>
                  <a:lnTo>
                    <a:pt x="569" y="1986"/>
                  </a:lnTo>
                  <a:lnTo>
                    <a:pt x="569" y="1984"/>
                  </a:lnTo>
                  <a:lnTo>
                    <a:pt x="568" y="1984"/>
                  </a:lnTo>
                  <a:lnTo>
                    <a:pt x="566" y="1984"/>
                  </a:lnTo>
                  <a:lnTo>
                    <a:pt x="566" y="1983"/>
                  </a:lnTo>
                  <a:lnTo>
                    <a:pt x="568" y="1983"/>
                  </a:lnTo>
                  <a:lnTo>
                    <a:pt x="566" y="1981"/>
                  </a:lnTo>
                  <a:lnTo>
                    <a:pt x="568" y="1979"/>
                  </a:lnTo>
                  <a:lnTo>
                    <a:pt x="568" y="1978"/>
                  </a:lnTo>
                  <a:lnTo>
                    <a:pt x="569" y="1978"/>
                  </a:lnTo>
                  <a:lnTo>
                    <a:pt x="571" y="1976"/>
                  </a:lnTo>
                  <a:lnTo>
                    <a:pt x="573" y="1976"/>
                  </a:lnTo>
                  <a:lnTo>
                    <a:pt x="571" y="1975"/>
                  </a:lnTo>
                  <a:lnTo>
                    <a:pt x="573" y="1970"/>
                  </a:lnTo>
                  <a:lnTo>
                    <a:pt x="571" y="1968"/>
                  </a:lnTo>
                  <a:lnTo>
                    <a:pt x="571" y="1965"/>
                  </a:lnTo>
                  <a:lnTo>
                    <a:pt x="571" y="1963"/>
                  </a:lnTo>
                  <a:lnTo>
                    <a:pt x="571" y="1962"/>
                  </a:lnTo>
                  <a:lnTo>
                    <a:pt x="571" y="1960"/>
                  </a:lnTo>
                  <a:lnTo>
                    <a:pt x="571" y="1958"/>
                  </a:lnTo>
                  <a:lnTo>
                    <a:pt x="571" y="1955"/>
                  </a:lnTo>
                  <a:lnTo>
                    <a:pt x="571" y="1953"/>
                  </a:lnTo>
                  <a:lnTo>
                    <a:pt x="569" y="1953"/>
                  </a:lnTo>
                  <a:lnTo>
                    <a:pt x="569" y="1952"/>
                  </a:lnTo>
                  <a:lnTo>
                    <a:pt x="566" y="1950"/>
                  </a:lnTo>
                  <a:lnTo>
                    <a:pt x="565" y="1950"/>
                  </a:lnTo>
                  <a:lnTo>
                    <a:pt x="563" y="1952"/>
                  </a:lnTo>
                  <a:lnTo>
                    <a:pt x="561" y="1950"/>
                  </a:lnTo>
                  <a:lnTo>
                    <a:pt x="561" y="1949"/>
                  </a:lnTo>
                  <a:lnTo>
                    <a:pt x="560" y="1949"/>
                  </a:lnTo>
                  <a:lnTo>
                    <a:pt x="558" y="1947"/>
                  </a:lnTo>
                  <a:lnTo>
                    <a:pt x="555" y="1947"/>
                  </a:lnTo>
                  <a:lnTo>
                    <a:pt x="553" y="1945"/>
                  </a:lnTo>
                  <a:lnTo>
                    <a:pt x="553" y="1944"/>
                  </a:lnTo>
                  <a:lnTo>
                    <a:pt x="552" y="1944"/>
                  </a:lnTo>
                  <a:lnTo>
                    <a:pt x="550" y="1944"/>
                  </a:lnTo>
                  <a:lnTo>
                    <a:pt x="548" y="1944"/>
                  </a:lnTo>
                  <a:lnTo>
                    <a:pt x="547" y="1942"/>
                  </a:lnTo>
                  <a:lnTo>
                    <a:pt x="545" y="1942"/>
                  </a:lnTo>
                  <a:lnTo>
                    <a:pt x="543" y="1942"/>
                  </a:lnTo>
                  <a:lnTo>
                    <a:pt x="542" y="1942"/>
                  </a:lnTo>
                  <a:lnTo>
                    <a:pt x="540" y="1940"/>
                  </a:lnTo>
                  <a:lnTo>
                    <a:pt x="539" y="1940"/>
                  </a:lnTo>
                  <a:lnTo>
                    <a:pt x="539" y="1939"/>
                  </a:lnTo>
                  <a:lnTo>
                    <a:pt x="539" y="1937"/>
                  </a:lnTo>
                  <a:lnTo>
                    <a:pt x="540" y="1937"/>
                  </a:lnTo>
                  <a:lnTo>
                    <a:pt x="540" y="1936"/>
                  </a:lnTo>
                  <a:lnTo>
                    <a:pt x="540" y="1934"/>
                  </a:lnTo>
                  <a:lnTo>
                    <a:pt x="540" y="1932"/>
                  </a:lnTo>
                  <a:lnTo>
                    <a:pt x="539" y="1931"/>
                  </a:lnTo>
                  <a:lnTo>
                    <a:pt x="540" y="1929"/>
                  </a:lnTo>
                  <a:lnTo>
                    <a:pt x="540" y="1927"/>
                  </a:lnTo>
                  <a:lnTo>
                    <a:pt x="539" y="1927"/>
                  </a:lnTo>
                  <a:lnTo>
                    <a:pt x="539" y="1926"/>
                  </a:lnTo>
                  <a:lnTo>
                    <a:pt x="534" y="1926"/>
                  </a:lnTo>
                  <a:lnTo>
                    <a:pt x="530" y="1929"/>
                  </a:lnTo>
                  <a:lnTo>
                    <a:pt x="529" y="1929"/>
                  </a:lnTo>
                  <a:lnTo>
                    <a:pt x="527" y="1931"/>
                  </a:lnTo>
                  <a:lnTo>
                    <a:pt x="526" y="1929"/>
                  </a:lnTo>
                  <a:lnTo>
                    <a:pt x="524" y="1929"/>
                  </a:lnTo>
                  <a:lnTo>
                    <a:pt x="524" y="1931"/>
                  </a:lnTo>
                  <a:lnTo>
                    <a:pt x="522" y="1931"/>
                  </a:lnTo>
                  <a:lnTo>
                    <a:pt x="522" y="1929"/>
                  </a:lnTo>
                  <a:lnTo>
                    <a:pt x="521" y="1927"/>
                  </a:lnTo>
                  <a:lnTo>
                    <a:pt x="521" y="1926"/>
                  </a:lnTo>
                  <a:lnTo>
                    <a:pt x="521" y="1924"/>
                  </a:lnTo>
                  <a:lnTo>
                    <a:pt x="521" y="1923"/>
                  </a:lnTo>
                  <a:lnTo>
                    <a:pt x="521" y="1921"/>
                  </a:lnTo>
                  <a:lnTo>
                    <a:pt x="522" y="1919"/>
                  </a:lnTo>
                  <a:lnTo>
                    <a:pt x="524" y="1919"/>
                  </a:lnTo>
                  <a:lnTo>
                    <a:pt x="524" y="1918"/>
                  </a:lnTo>
                  <a:lnTo>
                    <a:pt x="524" y="1916"/>
                  </a:lnTo>
                  <a:lnTo>
                    <a:pt x="524" y="1914"/>
                  </a:lnTo>
                  <a:lnTo>
                    <a:pt x="522" y="1913"/>
                  </a:lnTo>
                  <a:lnTo>
                    <a:pt x="521" y="1911"/>
                  </a:lnTo>
                  <a:lnTo>
                    <a:pt x="521" y="1910"/>
                  </a:lnTo>
                  <a:lnTo>
                    <a:pt x="521" y="1908"/>
                  </a:lnTo>
                  <a:lnTo>
                    <a:pt x="522" y="1906"/>
                  </a:lnTo>
                  <a:lnTo>
                    <a:pt x="522" y="1905"/>
                  </a:lnTo>
                  <a:lnTo>
                    <a:pt x="522" y="1903"/>
                  </a:lnTo>
                  <a:lnTo>
                    <a:pt x="524" y="1903"/>
                  </a:lnTo>
                  <a:lnTo>
                    <a:pt x="526" y="1903"/>
                  </a:lnTo>
                  <a:lnTo>
                    <a:pt x="526" y="1901"/>
                  </a:lnTo>
                  <a:lnTo>
                    <a:pt x="527" y="1901"/>
                  </a:lnTo>
                  <a:lnTo>
                    <a:pt x="527" y="1903"/>
                  </a:lnTo>
                  <a:lnTo>
                    <a:pt x="529" y="1903"/>
                  </a:lnTo>
                  <a:lnTo>
                    <a:pt x="529" y="1901"/>
                  </a:lnTo>
                  <a:lnTo>
                    <a:pt x="529" y="1900"/>
                  </a:lnTo>
                  <a:lnTo>
                    <a:pt x="529" y="1898"/>
                  </a:lnTo>
                  <a:lnTo>
                    <a:pt x="530" y="1898"/>
                  </a:lnTo>
                  <a:lnTo>
                    <a:pt x="529" y="1898"/>
                  </a:lnTo>
                  <a:lnTo>
                    <a:pt x="529" y="1897"/>
                  </a:lnTo>
                  <a:lnTo>
                    <a:pt x="527" y="1897"/>
                  </a:lnTo>
                  <a:lnTo>
                    <a:pt x="527" y="1895"/>
                  </a:lnTo>
                  <a:lnTo>
                    <a:pt x="526" y="1895"/>
                  </a:lnTo>
                  <a:lnTo>
                    <a:pt x="526" y="1893"/>
                  </a:lnTo>
                  <a:lnTo>
                    <a:pt x="524" y="1892"/>
                  </a:lnTo>
                  <a:lnTo>
                    <a:pt x="526" y="1892"/>
                  </a:lnTo>
                  <a:lnTo>
                    <a:pt x="527" y="1892"/>
                  </a:lnTo>
                  <a:lnTo>
                    <a:pt x="527" y="1890"/>
                  </a:lnTo>
                  <a:lnTo>
                    <a:pt x="527" y="1888"/>
                  </a:lnTo>
                  <a:lnTo>
                    <a:pt x="527" y="1887"/>
                  </a:lnTo>
                  <a:lnTo>
                    <a:pt x="527" y="1885"/>
                  </a:lnTo>
                  <a:lnTo>
                    <a:pt x="527" y="1884"/>
                  </a:lnTo>
                  <a:lnTo>
                    <a:pt x="529" y="1884"/>
                  </a:lnTo>
                  <a:lnTo>
                    <a:pt x="530" y="1884"/>
                  </a:lnTo>
                  <a:lnTo>
                    <a:pt x="532" y="1882"/>
                  </a:lnTo>
                  <a:lnTo>
                    <a:pt x="534" y="1882"/>
                  </a:lnTo>
                  <a:lnTo>
                    <a:pt x="535" y="1882"/>
                  </a:lnTo>
                  <a:lnTo>
                    <a:pt x="537" y="1882"/>
                  </a:lnTo>
                  <a:lnTo>
                    <a:pt x="537" y="1880"/>
                  </a:lnTo>
                  <a:lnTo>
                    <a:pt x="539" y="1880"/>
                  </a:lnTo>
                  <a:lnTo>
                    <a:pt x="540" y="1882"/>
                  </a:lnTo>
                  <a:lnTo>
                    <a:pt x="542" y="1880"/>
                  </a:lnTo>
                  <a:lnTo>
                    <a:pt x="543" y="1880"/>
                  </a:lnTo>
                  <a:lnTo>
                    <a:pt x="545" y="1879"/>
                  </a:lnTo>
                  <a:lnTo>
                    <a:pt x="543" y="1877"/>
                  </a:lnTo>
                  <a:lnTo>
                    <a:pt x="545" y="1875"/>
                  </a:lnTo>
                  <a:lnTo>
                    <a:pt x="545" y="1874"/>
                  </a:lnTo>
                  <a:lnTo>
                    <a:pt x="545" y="1872"/>
                  </a:lnTo>
                  <a:lnTo>
                    <a:pt x="543" y="1872"/>
                  </a:lnTo>
                  <a:lnTo>
                    <a:pt x="540" y="1872"/>
                  </a:lnTo>
                  <a:lnTo>
                    <a:pt x="539" y="1871"/>
                  </a:lnTo>
                  <a:lnTo>
                    <a:pt x="537" y="1871"/>
                  </a:lnTo>
                  <a:lnTo>
                    <a:pt x="537" y="1872"/>
                  </a:lnTo>
                  <a:lnTo>
                    <a:pt x="535" y="1871"/>
                  </a:lnTo>
                  <a:lnTo>
                    <a:pt x="537" y="1871"/>
                  </a:lnTo>
                  <a:lnTo>
                    <a:pt x="537" y="1869"/>
                  </a:lnTo>
                  <a:lnTo>
                    <a:pt x="535" y="1869"/>
                  </a:lnTo>
                  <a:lnTo>
                    <a:pt x="534" y="1869"/>
                  </a:lnTo>
                  <a:lnTo>
                    <a:pt x="534" y="1867"/>
                  </a:lnTo>
                  <a:lnTo>
                    <a:pt x="532" y="1867"/>
                  </a:lnTo>
                  <a:lnTo>
                    <a:pt x="530" y="1866"/>
                  </a:lnTo>
                  <a:lnTo>
                    <a:pt x="532" y="1864"/>
                  </a:lnTo>
                  <a:lnTo>
                    <a:pt x="532" y="1862"/>
                  </a:lnTo>
                  <a:lnTo>
                    <a:pt x="532" y="1861"/>
                  </a:lnTo>
                  <a:lnTo>
                    <a:pt x="532" y="1859"/>
                  </a:lnTo>
                  <a:lnTo>
                    <a:pt x="532" y="1858"/>
                  </a:lnTo>
                  <a:lnTo>
                    <a:pt x="530" y="1858"/>
                  </a:lnTo>
                  <a:lnTo>
                    <a:pt x="529" y="1858"/>
                  </a:lnTo>
                  <a:lnTo>
                    <a:pt x="529" y="1856"/>
                  </a:lnTo>
                  <a:lnTo>
                    <a:pt x="527" y="1856"/>
                  </a:lnTo>
                  <a:lnTo>
                    <a:pt x="527" y="1858"/>
                  </a:lnTo>
                  <a:lnTo>
                    <a:pt x="529" y="1859"/>
                  </a:lnTo>
                  <a:lnTo>
                    <a:pt x="527" y="1859"/>
                  </a:lnTo>
                  <a:lnTo>
                    <a:pt x="526" y="1859"/>
                  </a:lnTo>
                  <a:lnTo>
                    <a:pt x="524" y="1858"/>
                  </a:lnTo>
                  <a:lnTo>
                    <a:pt x="524" y="1856"/>
                  </a:lnTo>
                  <a:lnTo>
                    <a:pt x="524" y="1854"/>
                  </a:lnTo>
                  <a:lnTo>
                    <a:pt x="522" y="1853"/>
                  </a:lnTo>
                  <a:lnTo>
                    <a:pt x="522" y="1849"/>
                  </a:lnTo>
                  <a:lnTo>
                    <a:pt x="522" y="1848"/>
                  </a:lnTo>
                  <a:lnTo>
                    <a:pt x="522" y="1846"/>
                  </a:lnTo>
                  <a:lnTo>
                    <a:pt x="521" y="1843"/>
                  </a:lnTo>
                  <a:lnTo>
                    <a:pt x="513" y="1835"/>
                  </a:lnTo>
                  <a:lnTo>
                    <a:pt x="511" y="1833"/>
                  </a:lnTo>
                  <a:lnTo>
                    <a:pt x="508" y="1831"/>
                  </a:lnTo>
                  <a:lnTo>
                    <a:pt x="506" y="1822"/>
                  </a:lnTo>
                  <a:lnTo>
                    <a:pt x="504" y="1818"/>
                  </a:lnTo>
                  <a:lnTo>
                    <a:pt x="506" y="1812"/>
                  </a:lnTo>
                  <a:lnTo>
                    <a:pt x="508" y="1812"/>
                  </a:lnTo>
                  <a:lnTo>
                    <a:pt x="508" y="1810"/>
                  </a:lnTo>
                  <a:lnTo>
                    <a:pt x="498" y="1794"/>
                  </a:lnTo>
                  <a:lnTo>
                    <a:pt x="490" y="1776"/>
                  </a:lnTo>
                  <a:lnTo>
                    <a:pt x="483" y="1765"/>
                  </a:lnTo>
                  <a:lnTo>
                    <a:pt x="478" y="1755"/>
                  </a:lnTo>
                  <a:lnTo>
                    <a:pt x="485" y="1744"/>
                  </a:lnTo>
                  <a:lnTo>
                    <a:pt x="488" y="1739"/>
                  </a:lnTo>
                  <a:lnTo>
                    <a:pt x="498" y="1723"/>
                  </a:lnTo>
                  <a:lnTo>
                    <a:pt x="498" y="1721"/>
                  </a:lnTo>
                  <a:lnTo>
                    <a:pt x="498" y="1719"/>
                  </a:lnTo>
                  <a:lnTo>
                    <a:pt x="498" y="1718"/>
                  </a:lnTo>
                  <a:lnTo>
                    <a:pt x="498" y="1716"/>
                  </a:lnTo>
                  <a:lnTo>
                    <a:pt x="496" y="1714"/>
                  </a:lnTo>
                  <a:lnTo>
                    <a:pt x="498" y="1714"/>
                  </a:lnTo>
                  <a:lnTo>
                    <a:pt x="498" y="1713"/>
                  </a:lnTo>
                  <a:lnTo>
                    <a:pt x="498" y="1711"/>
                  </a:lnTo>
                  <a:lnTo>
                    <a:pt x="498" y="1710"/>
                  </a:lnTo>
                  <a:lnTo>
                    <a:pt x="498" y="1708"/>
                  </a:lnTo>
                  <a:lnTo>
                    <a:pt x="498" y="1706"/>
                  </a:lnTo>
                  <a:lnTo>
                    <a:pt x="498" y="1705"/>
                  </a:lnTo>
                  <a:lnTo>
                    <a:pt x="498" y="1703"/>
                  </a:lnTo>
                  <a:lnTo>
                    <a:pt x="498" y="1701"/>
                  </a:lnTo>
                  <a:lnTo>
                    <a:pt x="498" y="1700"/>
                  </a:lnTo>
                  <a:lnTo>
                    <a:pt x="500" y="1696"/>
                  </a:lnTo>
                  <a:lnTo>
                    <a:pt x="500" y="1695"/>
                  </a:lnTo>
                  <a:lnTo>
                    <a:pt x="501" y="1690"/>
                  </a:lnTo>
                  <a:lnTo>
                    <a:pt x="501" y="1688"/>
                  </a:lnTo>
                  <a:lnTo>
                    <a:pt x="501" y="1685"/>
                  </a:lnTo>
                  <a:lnTo>
                    <a:pt x="501" y="1682"/>
                  </a:lnTo>
                  <a:lnTo>
                    <a:pt x="501" y="1680"/>
                  </a:lnTo>
                  <a:lnTo>
                    <a:pt x="501" y="1679"/>
                  </a:lnTo>
                  <a:lnTo>
                    <a:pt x="503" y="1677"/>
                  </a:lnTo>
                  <a:lnTo>
                    <a:pt x="504" y="1675"/>
                  </a:lnTo>
                  <a:lnTo>
                    <a:pt x="506" y="1675"/>
                  </a:lnTo>
                  <a:lnTo>
                    <a:pt x="506" y="1674"/>
                  </a:lnTo>
                  <a:lnTo>
                    <a:pt x="508" y="1674"/>
                  </a:lnTo>
                  <a:lnTo>
                    <a:pt x="508" y="1672"/>
                  </a:lnTo>
                  <a:lnTo>
                    <a:pt x="509" y="1672"/>
                  </a:lnTo>
                  <a:lnTo>
                    <a:pt x="513" y="1672"/>
                  </a:lnTo>
                  <a:lnTo>
                    <a:pt x="514" y="1670"/>
                  </a:lnTo>
                  <a:lnTo>
                    <a:pt x="516" y="1669"/>
                  </a:lnTo>
                  <a:lnTo>
                    <a:pt x="516" y="1666"/>
                  </a:lnTo>
                  <a:lnTo>
                    <a:pt x="516" y="1662"/>
                  </a:lnTo>
                  <a:lnTo>
                    <a:pt x="517" y="1661"/>
                  </a:lnTo>
                  <a:lnTo>
                    <a:pt x="517" y="1659"/>
                  </a:lnTo>
                  <a:lnTo>
                    <a:pt x="516" y="1657"/>
                  </a:lnTo>
                  <a:lnTo>
                    <a:pt x="517" y="1657"/>
                  </a:lnTo>
                  <a:lnTo>
                    <a:pt x="516" y="1656"/>
                  </a:lnTo>
                  <a:lnTo>
                    <a:pt x="514" y="1654"/>
                  </a:lnTo>
                  <a:lnTo>
                    <a:pt x="513" y="1653"/>
                  </a:lnTo>
                  <a:lnTo>
                    <a:pt x="511" y="1653"/>
                  </a:lnTo>
                  <a:lnTo>
                    <a:pt x="509" y="1651"/>
                  </a:lnTo>
                  <a:lnTo>
                    <a:pt x="508" y="1649"/>
                  </a:lnTo>
                  <a:lnTo>
                    <a:pt x="504" y="1648"/>
                  </a:lnTo>
                  <a:lnTo>
                    <a:pt x="503" y="1648"/>
                  </a:lnTo>
                  <a:lnTo>
                    <a:pt x="501" y="1648"/>
                  </a:lnTo>
                  <a:lnTo>
                    <a:pt x="501" y="1646"/>
                  </a:lnTo>
                  <a:lnTo>
                    <a:pt x="501" y="1644"/>
                  </a:lnTo>
                  <a:lnTo>
                    <a:pt x="503" y="1643"/>
                  </a:lnTo>
                  <a:lnTo>
                    <a:pt x="503" y="1638"/>
                  </a:lnTo>
                  <a:lnTo>
                    <a:pt x="501" y="1636"/>
                  </a:lnTo>
                  <a:lnTo>
                    <a:pt x="501" y="1633"/>
                  </a:lnTo>
                  <a:lnTo>
                    <a:pt x="501" y="1630"/>
                  </a:lnTo>
                  <a:lnTo>
                    <a:pt x="500" y="1630"/>
                  </a:lnTo>
                  <a:lnTo>
                    <a:pt x="500" y="1628"/>
                  </a:lnTo>
                  <a:lnTo>
                    <a:pt x="500" y="1627"/>
                  </a:lnTo>
                  <a:lnTo>
                    <a:pt x="498" y="1627"/>
                  </a:lnTo>
                  <a:lnTo>
                    <a:pt x="496" y="1625"/>
                  </a:lnTo>
                  <a:lnTo>
                    <a:pt x="496" y="1623"/>
                  </a:lnTo>
                  <a:lnTo>
                    <a:pt x="495" y="1623"/>
                  </a:lnTo>
                  <a:lnTo>
                    <a:pt x="495" y="1622"/>
                  </a:lnTo>
                  <a:lnTo>
                    <a:pt x="495" y="1623"/>
                  </a:lnTo>
                  <a:lnTo>
                    <a:pt x="493" y="1623"/>
                  </a:lnTo>
                  <a:lnTo>
                    <a:pt x="495" y="1623"/>
                  </a:lnTo>
                  <a:lnTo>
                    <a:pt x="493" y="1623"/>
                  </a:lnTo>
                  <a:lnTo>
                    <a:pt x="493" y="1622"/>
                  </a:lnTo>
                  <a:lnTo>
                    <a:pt x="493" y="1620"/>
                  </a:lnTo>
                  <a:lnTo>
                    <a:pt x="491" y="1622"/>
                  </a:lnTo>
                  <a:lnTo>
                    <a:pt x="491" y="1620"/>
                  </a:lnTo>
                  <a:lnTo>
                    <a:pt x="493" y="1620"/>
                  </a:lnTo>
                  <a:lnTo>
                    <a:pt x="493" y="1618"/>
                  </a:lnTo>
                  <a:lnTo>
                    <a:pt x="491" y="1618"/>
                  </a:lnTo>
                  <a:lnTo>
                    <a:pt x="491" y="1620"/>
                  </a:lnTo>
                  <a:lnTo>
                    <a:pt x="491" y="1618"/>
                  </a:lnTo>
                  <a:lnTo>
                    <a:pt x="490" y="1618"/>
                  </a:lnTo>
                  <a:lnTo>
                    <a:pt x="490" y="1617"/>
                  </a:lnTo>
                  <a:lnTo>
                    <a:pt x="490" y="1615"/>
                  </a:lnTo>
                  <a:lnTo>
                    <a:pt x="491" y="1615"/>
                  </a:lnTo>
                  <a:lnTo>
                    <a:pt x="491" y="1614"/>
                  </a:lnTo>
                  <a:lnTo>
                    <a:pt x="491" y="1612"/>
                  </a:lnTo>
                  <a:lnTo>
                    <a:pt x="491" y="1610"/>
                  </a:lnTo>
                  <a:lnTo>
                    <a:pt x="490" y="1609"/>
                  </a:lnTo>
                  <a:lnTo>
                    <a:pt x="491" y="1609"/>
                  </a:lnTo>
                  <a:lnTo>
                    <a:pt x="491" y="1607"/>
                  </a:lnTo>
                  <a:lnTo>
                    <a:pt x="491" y="1605"/>
                  </a:lnTo>
                  <a:lnTo>
                    <a:pt x="491" y="1607"/>
                  </a:lnTo>
                  <a:lnTo>
                    <a:pt x="493" y="1607"/>
                  </a:lnTo>
                  <a:lnTo>
                    <a:pt x="493" y="1605"/>
                  </a:lnTo>
                  <a:lnTo>
                    <a:pt x="491" y="1605"/>
                  </a:lnTo>
                  <a:lnTo>
                    <a:pt x="493" y="1605"/>
                  </a:lnTo>
                  <a:lnTo>
                    <a:pt x="493" y="1604"/>
                  </a:lnTo>
                  <a:lnTo>
                    <a:pt x="493" y="1602"/>
                  </a:lnTo>
                  <a:lnTo>
                    <a:pt x="495" y="1602"/>
                  </a:lnTo>
                  <a:lnTo>
                    <a:pt x="495" y="1601"/>
                  </a:lnTo>
                  <a:lnTo>
                    <a:pt x="496" y="1602"/>
                  </a:lnTo>
                  <a:lnTo>
                    <a:pt x="498" y="1602"/>
                  </a:lnTo>
                  <a:lnTo>
                    <a:pt x="498" y="1601"/>
                  </a:lnTo>
                  <a:lnTo>
                    <a:pt x="498" y="1602"/>
                  </a:lnTo>
                  <a:lnTo>
                    <a:pt x="500" y="1602"/>
                  </a:lnTo>
                  <a:lnTo>
                    <a:pt x="501" y="1602"/>
                  </a:lnTo>
                  <a:lnTo>
                    <a:pt x="500" y="1602"/>
                  </a:lnTo>
                  <a:lnTo>
                    <a:pt x="501" y="1604"/>
                  </a:lnTo>
                  <a:lnTo>
                    <a:pt x="501" y="1605"/>
                  </a:lnTo>
                  <a:lnTo>
                    <a:pt x="503" y="1607"/>
                  </a:lnTo>
                  <a:lnTo>
                    <a:pt x="503" y="1609"/>
                  </a:lnTo>
                  <a:lnTo>
                    <a:pt x="504" y="1609"/>
                  </a:lnTo>
                  <a:lnTo>
                    <a:pt x="504" y="1610"/>
                  </a:lnTo>
                  <a:lnTo>
                    <a:pt x="504" y="1612"/>
                  </a:lnTo>
                  <a:lnTo>
                    <a:pt x="504" y="1614"/>
                  </a:lnTo>
                  <a:lnTo>
                    <a:pt x="506" y="1614"/>
                  </a:lnTo>
                  <a:lnTo>
                    <a:pt x="508" y="1615"/>
                  </a:lnTo>
                  <a:lnTo>
                    <a:pt x="509" y="1614"/>
                  </a:lnTo>
                  <a:lnTo>
                    <a:pt x="511" y="1614"/>
                  </a:lnTo>
                  <a:lnTo>
                    <a:pt x="513" y="1614"/>
                  </a:lnTo>
                  <a:lnTo>
                    <a:pt x="513" y="1615"/>
                  </a:lnTo>
                  <a:lnTo>
                    <a:pt x="511" y="1615"/>
                  </a:lnTo>
                  <a:lnTo>
                    <a:pt x="511" y="1617"/>
                  </a:lnTo>
                  <a:lnTo>
                    <a:pt x="509" y="1618"/>
                  </a:lnTo>
                  <a:lnTo>
                    <a:pt x="508" y="1620"/>
                  </a:lnTo>
                  <a:lnTo>
                    <a:pt x="506" y="1620"/>
                  </a:lnTo>
                  <a:lnTo>
                    <a:pt x="504" y="1622"/>
                  </a:lnTo>
                  <a:lnTo>
                    <a:pt x="503" y="1623"/>
                  </a:lnTo>
                  <a:lnTo>
                    <a:pt x="503" y="1625"/>
                  </a:lnTo>
                  <a:lnTo>
                    <a:pt x="504" y="1625"/>
                  </a:lnTo>
                  <a:lnTo>
                    <a:pt x="506" y="1625"/>
                  </a:lnTo>
                  <a:lnTo>
                    <a:pt x="508" y="1627"/>
                  </a:lnTo>
                  <a:lnTo>
                    <a:pt x="508" y="1628"/>
                  </a:lnTo>
                  <a:lnTo>
                    <a:pt x="508" y="1630"/>
                  </a:lnTo>
                  <a:lnTo>
                    <a:pt x="511" y="1631"/>
                  </a:lnTo>
                  <a:lnTo>
                    <a:pt x="508" y="1630"/>
                  </a:lnTo>
                  <a:lnTo>
                    <a:pt x="508" y="1628"/>
                  </a:lnTo>
                  <a:lnTo>
                    <a:pt x="508" y="1627"/>
                  </a:lnTo>
                  <a:lnTo>
                    <a:pt x="506" y="1625"/>
                  </a:lnTo>
                  <a:lnTo>
                    <a:pt x="504" y="1625"/>
                  </a:lnTo>
                  <a:lnTo>
                    <a:pt x="503" y="1625"/>
                  </a:lnTo>
                  <a:lnTo>
                    <a:pt x="503" y="1623"/>
                  </a:lnTo>
                  <a:lnTo>
                    <a:pt x="504" y="1622"/>
                  </a:lnTo>
                  <a:lnTo>
                    <a:pt x="506" y="1622"/>
                  </a:lnTo>
                  <a:lnTo>
                    <a:pt x="506" y="1620"/>
                  </a:lnTo>
                  <a:lnTo>
                    <a:pt x="509" y="1620"/>
                  </a:lnTo>
                  <a:lnTo>
                    <a:pt x="509" y="1618"/>
                  </a:lnTo>
                  <a:lnTo>
                    <a:pt x="511" y="1617"/>
                  </a:lnTo>
                  <a:lnTo>
                    <a:pt x="511" y="1615"/>
                  </a:lnTo>
                  <a:lnTo>
                    <a:pt x="513" y="1615"/>
                  </a:lnTo>
                  <a:lnTo>
                    <a:pt x="513" y="1614"/>
                  </a:lnTo>
                  <a:lnTo>
                    <a:pt x="514" y="1614"/>
                  </a:lnTo>
                  <a:lnTo>
                    <a:pt x="514" y="1615"/>
                  </a:lnTo>
                  <a:lnTo>
                    <a:pt x="514" y="1614"/>
                  </a:lnTo>
                  <a:lnTo>
                    <a:pt x="516" y="1614"/>
                  </a:lnTo>
                  <a:lnTo>
                    <a:pt x="516" y="1615"/>
                  </a:lnTo>
                  <a:lnTo>
                    <a:pt x="517" y="1615"/>
                  </a:lnTo>
                  <a:lnTo>
                    <a:pt x="519" y="1614"/>
                  </a:lnTo>
                  <a:lnTo>
                    <a:pt x="521" y="1612"/>
                  </a:lnTo>
                  <a:lnTo>
                    <a:pt x="521" y="1610"/>
                  </a:lnTo>
                  <a:lnTo>
                    <a:pt x="519" y="1607"/>
                  </a:lnTo>
                  <a:lnTo>
                    <a:pt x="519" y="1605"/>
                  </a:lnTo>
                  <a:lnTo>
                    <a:pt x="519" y="1604"/>
                  </a:lnTo>
                  <a:lnTo>
                    <a:pt x="519" y="1601"/>
                  </a:lnTo>
                  <a:lnTo>
                    <a:pt x="517" y="1599"/>
                  </a:lnTo>
                  <a:lnTo>
                    <a:pt x="517" y="1597"/>
                  </a:lnTo>
                  <a:lnTo>
                    <a:pt x="517" y="1596"/>
                  </a:lnTo>
                  <a:lnTo>
                    <a:pt x="517" y="1594"/>
                  </a:lnTo>
                  <a:lnTo>
                    <a:pt x="517" y="1592"/>
                  </a:lnTo>
                  <a:lnTo>
                    <a:pt x="517" y="1591"/>
                  </a:lnTo>
                  <a:lnTo>
                    <a:pt x="517" y="1589"/>
                  </a:lnTo>
                  <a:lnTo>
                    <a:pt x="519" y="1589"/>
                  </a:lnTo>
                  <a:lnTo>
                    <a:pt x="521" y="1588"/>
                  </a:lnTo>
                  <a:lnTo>
                    <a:pt x="522" y="1588"/>
                  </a:lnTo>
                  <a:lnTo>
                    <a:pt x="522" y="1586"/>
                  </a:lnTo>
                  <a:lnTo>
                    <a:pt x="526" y="1588"/>
                  </a:lnTo>
                  <a:lnTo>
                    <a:pt x="529" y="1588"/>
                  </a:lnTo>
                  <a:lnTo>
                    <a:pt x="530" y="1588"/>
                  </a:lnTo>
                  <a:lnTo>
                    <a:pt x="532" y="1589"/>
                  </a:lnTo>
                  <a:lnTo>
                    <a:pt x="534" y="1591"/>
                  </a:lnTo>
                  <a:lnTo>
                    <a:pt x="535" y="1591"/>
                  </a:lnTo>
                  <a:lnTo>
                    <a:pt x="535" y="1592"/>
                  </a:lnTo>
                  <a:lnTo>
                    <a:pt x="537" y="1592"/>
                  </a:lnTo>
                  <a:lnTo>
                    <a:pt x="539" y="1592"/>
                  </a:lnTo>
                  <a:lnTo>
                    <a:pt x="540" y="1591"/>
                  </a:lnTo>
                  <a:lnTo>
                    <a:pt x="542" y="1591"/>
                  </a:lnTo>
                  <a:lnTo>
                    <a:pt x="540" y="1589"/>
                  </a:lnTo>
                  <a:lnTo>
                    <a:pt x="540" y="1588"/>
                  </a:lnTo>
                  <a:lnTo>
                    <a:pt x="542" y="1588"/>
                  </a:lnTo>
                  <a:lnTo>
                    <a:pt x="542" y="1589"/>
                  </a:lnTo>
                  <a:lnTo>
                    <a:pt x="543" y="1589"/>
                  </a:lnTo>
                  <a:lnTo>
                    <a:pt x="543" y="1591"/>
                  </a:lnTo>
                  <a:lnTo>
                    <a:pt x="545" y="1589"/>
                  </a:lnTo>
                  <a:lnTo>
                    <a:pt x="547" y="1588"/>
                  </a:lnTo>
                  <a:lnTo>
                    <a:pt x="547" y="1586"/>
                  </a:lnTo>
                  <a:lnTo>
                    <a:pt x="547" y="1584"/>
                  </a:lnTo>
                  <a:lnTo>
                    <a:pt x="548" y="1584"/>
                  </a:lnTo>
                  <a:lnTo>
                    <a:pt x="550" y="1584"/>
                  </a:lnTo>
                  <a:lnTo>
                    <a:pt x="552" y="1584"/>
                  </a:lnTo>
                  <a:lnTo>
                    <a:pt x="552" y="1583"/>
                  </a:lnTo>
                  <a:lnTo>
                    <a:pt x="553" y="1583"/>
                  </a:lnTo>
                  <a:lnTo>
                    <a:pt x="553" y="1581"/>
                  </a:lnTo>
                  <a:lnTo>
                    <a:pt x="555" y="1579"/>
                  </a:lnTo>
                  <a:lnTo>
                    <a:pt x="555" y="1578"/>
                  </a:lnTo>
                  <a:lnTo>
                    <a:pt x="556" y="1576"/>
                  </a:lnTo>
                  <a:lnTo>
                    <a:pt x="556" y="1575"/>
                  </a:lnTo>
                  <a:lnTo>
                    <a:pt x="558" y="1573"/>
                  </a:lnTo>
                  <a:lnTo>
                    <a:pt x="556" y="1570"/>
                  </a:lnTo>
                  <a:lnTo>
                    <a:pt x="555" y="1570"/>
                  </a:lnTo>
                  <a:lnTo>
                    <a:pt x="553" y="1570"/>
                  </a:lnTo>
                  <a:lnTo>
                    <a:pt x="552" y="1568"/>
                  </a:lnTo>
                  <a:lnTo>
                    <a:pt x="552" y="1570"/>
                  </a:lnTo>
                  <a:lnTo>
                    <a:pt x="550" y="1568"/>
                  </a:lnTo>
                  <a:lnTo>
                    <a:pt x="552" y="1568"/>
                  </a:lnTo>
                  <a:lnTo>
                    <a:pt x="553" y="1568"/>
                  </a:lnTo>
                  <a:lnTo>
                    <a:pt x="553" y="1566"/>
                  </a:lnTo>
                  <a:lnTo>
                    <a:pt x="555" y="1565"/>
                  </a:lnTo>
                  <a:lnTo>
                    <a:pt x="555" y="1563"/>
                  </a:lnTo>
                  <a:lnTo>
                    <a:pt x="553" y="1563"/>
                  </a:lnTo>
                  <a:lnTo>
                    <a:pt x="553" y="1562"/>
                  </a:lnTo>
                  <a:lnTo>
                    <a:pt x="553" y="1560"/>
                  </a:lnTo>
                  <a:lnTo>
                    <a:pt x="555" y="1560"/>
                  </a:lnTo>
                  <a:lnTo>
                    <a:pt x="556" y="1558"/>
                  </a:lnTo>
                  <a:lnTo>
                    <a:pt x="558" y="1558"/>
                  </a:lnTo>
                  <a:lnTo>
                    <a:pt x="558" y="1557"/>
                  </a:lnTo>
                  <a:lnTo>
                    <a:pt x="556" y="1557"/>
                  </a:lnTo>
                  <a:lnTo>
                    <a:pt x="558" y="1557"/>
                  </a:lnTo>
                  <a:lnTo>
                    <a:pt x="556" y="1557"/>
                  </a:lnTo>
                  <a:lnTo>
                    <a:pt x="556" y="1555"/>
                  </a:lnTo>
                  <a:lnTo>
                    <a:pt x="558" y="1555"/>
                  </a:lnTo>
                  <a:lnTo>
                    <a:pt x="558" y="1557"/>
                  </a:lnTo>
                  <a:lnTo>
                    <a:pt x="556" y="1557"/>
                  </a:lnTo>
                  <a:lnTo>
                    <a:pt x="558" y="1557"/>
                  </a:lnTo>
                  <a:lnTo>
                    <a:pt x="560" y="1555"/>
                  </a:lnTo>
                  <a:lnTo>
                    <a:pt x="561" y="1555"/>
                  </a:lnTo>
                  <a:lnTo>
                    <a:pt x="563" y="1555"/>
                  </a:lnTo>
                  <a:lnTo>
                    <a:pt x="563" y="1553"/>
                  </a:lnTo>
                  <a:lnTo>
                    <a:pt x="565" y="1553"/>
                  </a:lnTo>
                  <a:lnTo>
                    <a:pt x="566" y="1553"/>
                  </a:lnTo>
                  <a:lnTo>
                    <a:pt x="568" y="1553"/>
                  </a:lnTo>
                  <a:lnTo>
                    <a:pt x="569" y="1553"/>
                  </a:lnTo>
                  <a:lnTo>
                    <a:pt x="571" y="1552"/>
                  </a:lnTo>
                  <a:lnTo>
                    <a:pt x="573" y="1553"/>
                  </a:lnTo>
                  <a:lnTo>
                    <a:pt x="574" y="1552"/>
                  </a:lnTo>
                  <a:lnTo>
                    <a:pt x="576" y="1552"/>
                  </a:lnTo>
                  <a:lnTo>
                    <a:pt x="578" y="1552"/>
                  </a:lnTo>
                  <a:lnTo>
                    <a:pt x="579" y="1553"/>
                  </a:lnTo>
                  <a:lnTo>
                    <a:pt x="581" y="1553"/>
                  </a:lnTo>
                  <a:lnTo>
                    <a:pt x="582" y="1552"/>
                  </a:lnTo>
                  <a:lnTo>
                    <a:pt x="586" y="1552"/>
                  </a:lnTo>
                  <a:lnTo>
                    <a:pt x="587" y="1552"/>
                  </a:lnTo>
                  <a:lnTo>
                    <a:pt x="589" y="1552"/>
                  </a:lnTo>
                  <a:lnTo>
                    <a:pt x="591" y="1552"/>
                  </a:lnTo>
                  <a:lnTo>
                    <a:pt x="592" y="1553"/>
                  </a:lnTo>
                  <a:lnTo>
                    <a:pt x="594" y="1553"/>
                  </a:lnTo>
                  <a:lnTo>
                    <a:pt x="596" y="1553"/>
                  </a:lnTo>
                  <a:lnTo>
                    <a:pt x="596" y="1552"/>
                  </a:lnTo>
                  <a:lnTo>
                    <a:pt x="597" y="1552"/>
                  </a:lnTo>
                  <a:lnTo>
                    <a:pt x="597" y="1550"/>
                  </a:lnTo>
                  <a:lnTo>
                    <a:pt x="596" y="1545"/>
                  </a:lnTo>
                  <a:lnTo>
                    <a:pt x="596" y="1548"/>
                  </a:lnTo>
                  <a:lnTo>
                    <a:pt x="597" y="1548"/>
                  </a:lnTo>
                  <a:lnTo>
                    <a:pt x="597" y="1550"/>
                  </a:lnTo>
                  <a:lnTo>
                    <a:pt x="597" y="1552"/>
                  </a:lnTo>
                  <a:lnTo>
                    <a:pt x="599" y="1552"/>
                  </a:lnTo>
                  <a:lnTo>
                    <a:pt x="600" y="1552"/>
                  </a:lnTo>
                  <a:lnTo>
                    <a:pt x="602" y="1552"/>
                  </a:lnTo>
                  <a:lnTo>
                    <a:pt x="604" y="1550"/>
                  </a:lnTo>
                  <a:lnTo>
                    <a:pt x="605" y="1550"/>
                  </a:lnTo>
                  <a:lnTo>
                    <a:pt x="604" y="1550"/>
                  </a:lnTo>
                  <a:lnTo>
                    <a:pt x="605" y="1550"/>
                  </a:lnTo>
                  <a:lnTo>
                    <a:pt x="605" y="1552"/>
                  </a:lnTo>
                  <a:lnTo>
                    <a:pt x="607" y="1553"/>
                  </a:lnTo>
                  <a:lnTo>
                    <a:pt x="609" y="1553"/>
                  </a:lnTo>
                  <a:lnTo>
                    <a:pt x="610" y="1553"/>
                  </a:lnTo>
                  <a:lnTo>
                    <a:pt x="612" y="1553"/>
                  </a:lnTo>
                  <a:lnTo>
                    <a:pt x="613" y="1553"/>
                  </a:lnTo>
                  <a:lnTo>
                    <a:pt x="615" y="1553"/>
                  </a:lnTo>
                  <a:lnTo>
                    <a:pt x="617" y="1553"/>
                  </a:lnTo>
                  <a:lnTo>
                    <a:pt x="618" y="1553"/>
                  </a:lnTo>
                  <a:lnTo>
                    <a:pt x="620" y="1553"/>
                  </a:lnTo>
                  <a:lnTo>
                    <a:pt x="622" y="1555"/>
                  </a:lnTo>
                  <a:lnTo>
                    <a:pt x="623" y="1555"/>
                  </a:lnTo>
                  <a:lnTo>
                    <a:pt x="625" y="1555"/>
                  </a:lnTo>
                  <a:lnTo>
                    <a:pt x="626" y="1555"/>
                  </a:lnTo>
                  <a:lnTo>
                    <a:pt x="626" y="1553"/>
                  </a:lnTo>
                  <a:lnTo>
                    <a:pt x="628" y="1553"/>
                  </a:lnTo>
                  <a:lnTo>
                    <a:pt x="630" y="1553"/>
                  </a:lnTo>
                  <a:lnTo>
                    <a:pt x="631" y="1553"/>
                  </a:lnTo>
                  <a:lnTo>
                    <a:pt x="631" y="1552"/>
                  </a:lnTo>
                  <a:lnTo>
                    <a:pt x="633" y="1552"/>
                  </a:lnTo>
                  <a:lnTo>
                    <a:pt x="633" y="1553"/>
                  </a:lnTo>
                  <a:lnTo>
                    <a:pt x="633" y="1552"/>
                  </a:lnTo>
                  <a:lnTo>
                    <a:pt x="633" y="1550"/>
                  </a:lnTo>
                  <a:lnTo>
                    <a:pt x="635" y="1550"/>
                  </a:lnTo>
                  <a:lnTo>
                    <a:pt x="633" y="1550"/>
                  </a:lnTo>
                  <a:lnTo>
                    <a:pt x="633" y="1548"/>
                  </a:lnTo>
                  <a:lnTo>
                    <a:pt x="628" y="1548"/>
                  </a:lnTo>
                  <a:lnTo>
                    <a:pt x="626" y="1547"/>
                  </a:lnTo>
                  <a:lnTo>
                    <a:pt x="628" y="1548"/>
                  </a:lnTo>
                  <a:lnTo>
                    <a:pt x="633" y="1548"/>
                  </a:lnTo>
                  <a:lnTo>
                    <a:pt x="635" y="1548"/>
                  </a:lnTo>
                  <a:lnTo>
                    <a:pt x="635" y="1547"/>
                  </a:lnTo>
                  <a:lnTo>
                    <a:pt x="635" y="1545"/>
                  </a:lnTo>
                  <a:lnTo>
                    <a:pt x="635" y="1544"/>
                  </a:lnTo>
                  <a:lnTo>
                    <a:pt x="636" y="1544"/>
                  </a:lnTo>
                  <a:lnTo>
                    <a:pt x="638" y="1544"/>
                  </a:lnTo>
                  <a:lnTo>
                    <a:pt x="636" y="1544"/>
                  </a:lnTo>
                  <a:lnTo>
                    <a:pt x="638" y="1542"/>
                  </a:lnTo>
                  <a:lnTo>
                    <a:pt x="638" y="1540"/>
                  </a:lnTo>
                  <a:lnTo>
                    <a:pt x="639" y="1539"/>
                  </a:lnTo>
                  <a:lnTo>
                    <a:pt x="641" y="1539"/>
                  </a:lnTo>
                  <a:lnTo>
                    <a:pt x="641" y="1537"/>
                  </a:lnTo>
                  <a:lnTo>
                    <a:pt x="643" y="1535"/>
                  </a:lnTo>
                  <a:lnTo>
                    <a:pt x="644" y="1535"/>
                  </a:lnTo>
                  <a:lnTo>
                    <a:pt x="644" y="1534"/>
                  </a:lnTo>
                  <a:lnTo>
                    <a:pt x="646" y="1535"/>
                  </a:lnTo>
                  <a:lnTo>
                    <a:pt x="646" y="1537"/>
                  </a:lnTo>
                  <a:lnTo>
                    <a:pt x="646" y="1539"/>
                  </a:lnTo>
                  <a:lnTo>
                    <a:pt x="648" y="1539"/>
                  </a:lnTo>
                  <a:lnTo>
                    <a:pt x="649" y="1540"/>
                  </a:lnTo>
                  <a:lnTo>
                    <a:pt x="651" y="1540"/>
                  </a:lnTo>
                  <a:lnTo>
                    <a:pt x="651" y="1542"/>
                  </a:lnTo>
                  <a:lnTo>
                    <a:pt x="652" y="1544"/>
                  </a:lnTo>
                  <a:lnTo>
                    <a:pt x="654" y="1545"/>
                  </a:lnTo>
                  <a:lnTo>
                    <a:pt x="656" y="1545"/>
                  </a:lnTo>
                  <a:lnTo>
                    <a:pt x="657" y="1545"/>
                  </a:lnTo>
                  <a:lnTo>
                    <a:pt x="656" y="1547"/>
                  </a:lnTo>
                  <a:lnTo>
                    <a:pt x="657" y="1547"/>
                  </a:lnTo>
                  <a:lnTo>
                    <a:pt x="657" y="1548"/>
                  </a:lnTo>
                  <a:lnTo>
                    <a:pt x="657" y="1547"/>
                  </a:lnTo>
                  <a:lnTo>
                    <a:pt x="659" y="1548"/>
                  </a:lnTo>
                  <a:lnTo>
                    <a:pt x="661" y="1548"/>
                  </a:lnTo>
                  <a:lnTo>
                    <a:pt x="662" y="1547"/>
                  </a:lnTo>
                  <a:lnTo>
                    <a:pt x="662" y="1548"/>
                  </a:lnTo>
                  <a:lnTo>
                    <a:pt x="665" y="1550"/>
                  </a:lnTo>
                  <a:lnTo>
                    <a:pt x="667" y="1550"/>
                  </a:lnTo>
                  <a:lnTo>
                    <a:pt x="669" y="1552"/>
                  </a:lnTo>
                  <a:lnTo>
                    <a:pt x="670" y="1552"/>
                  </a:lnTo>
                  <a:lnTo>
                    <a:pt x="672" y="1552"/>
                  </a:lnTo>
                  <a:lnTo>
                    <a:pt x="674" y="1552"/>
                  </a:lnTo>
                  <a:lnTo>
                    <a:pt x="677" y="1552"/>
                  </a:lnTo>
                  <a:lnTo>
                    <a:pt x="678" y="1553"/>
                  </a:lnTo>
                  <a:lnTo>
                    <a:pt x="680" y="1553"/>
                  </a:lnTo>
                  <a:lnTo>
                    <a:pt x="680" y="1552"/>
                  </a:lnTo>
                  <a:lnTo>
                    <a:pt x="678" y="1552"/>
                  </a:lnTo>
                  <a:lnTo>
                    <a:pt x="677" y="1552"/>
                  </a:lnTo>
                  <a:lnTo>
                    <a:pt x="675" y="1552"/>
                  </a:lnTo>
                  <a:lnTo>
                    <a:pt x="674" y="1552"/>
                  </a:lnTo>
                  <a:lnTo>
                    <a:pt x="672" y="1552"/>
                  </a:lnTo>
                  <a:lnTo>
                    <a:pt x="670" y="1552"/>
                  </a:lnTo>
                  <a:lnTo>
                    <a:pt x="669" y="1552"/>
                  </a:lnTo>
                  <a:lnTo>
                    <a:pt x="667" y="1550"/>
                  </a:lnTo>
                  <a:lnTo>
                    <a:pt x="665" y="1550"/>
                  </a:lnTo>
                  <a:lnTo>
                    <a:pt x="664" y="1548"/>
                  </a:lnTo>
                  <a:lnTo>
                    <a:pt x="662" y="1548"/>
                  </a:lnTo>
                  <a:lnTo>
                    <a:pt x="662" y="1547"/>
                  </a:lnTo>
                  <a:lnTo>
                    <a:pt x="661" y="1548"/>
                  </a:lnTo>
                  <a:lnTo>
                    <a:pt x="659" y="1548"/>
                  </a:lnTo>
                  <a:lnTo>
                    <a:pt x="659" y="1547"/>
                  </a:lnTo>
                  <a:lnTo>
                    <a:pt x="657" y="1547"/>
                  </a:lnTo>
                  <a:lnTo>
                    <a:pt x="657" y="1545"/>
                  </a:lnTo>
                  <a:lnTo>
                    <a:pt x="656" y="1545"/>
                  </a:lnTo>
                  <a:lnTo>
                    <a:pt x="654" y="1545"/>
                  </a:lnTo>
                  <a:lnTo>
                    <a:pt x="654" y="1544"/>
                  </a:lnTo>
                  <a:lnTo>
                    <a:pt x="652" y="1544"/>
                  </a:lnTo>
                  <a:lnTo>
                    <a:pt x="652" y="1542"/>
                  </a:lnTo>
                  <a:lnTo>
                    <a:pt x="651" y="1540"/>
                  </a:lnTo>
                  <a:lnTo>
                    <a:pt x="649" y="1540"/>
                  </a:lnTo>
                  <a:lnTo>
                    <a:pt x="648" y="1539"/>
                  </a:lnTo>
                  <a:lnTo>
                    <a:pt x="648" y="1537"/>
                  </a:lnTo>
                  <a:lnTo>
                    <a:pt x="648" y="1535"/>
                  </a:lnTo>
                  <a:lnTo>
                    <a:pt x="646" y="1534"/>
                  </a:lnTo>
                  <a:lnTo>
                    <a:pt x="644" y="1534"/>
                  </a:lnTo>
                  <a:lnTo>
                    <a:pt x="644" y="1535"/>
                  </a:lnTo>
                  <a:lnTo>
                    <a:pt x="643" y="1535"/>
                  </a:lnTo>
                  <a:lnTo>
                    <a:pt x="641" y="1535"/>
                  </a:lnTo>
                  <a:lnTo>
                    <a:pt x="641" y="1534"/>
                  </a:lnTo>
                  <a:lnTo>
                    <a:pt x="639" y="1532"/>
                  </a:lnTo>
                  <a:lnTo>
                    <a:pt x="638" y="1532"/>
                  </a:lnTo>
                  <a:lnTo>
                    <a:pt x="636" y="1532"/>
                  </a:lnTo>
                  <a:lnTo>
                    <a:pt x="636" y="1534"/>
                  </a:lnTo>
                  <a:lnTo>
                    <a:pt x="635" y="1534"/>
                  </a:lnTo>
                  <a:lnTo>
                    <a:pt x="633" y="1534"/>
                  </a:lnTo>
                  <a:lnTo>
                    <a:pt x="631" y="1535"/>
                  </a:lnTo>
                  <a:lnTo>
                    <a:pt x="630" y="1535"/>
                  </a:lnTo>
                  <a:lnTo>
                    <a:pt x="630" y="1534"/>
                  </a:lnTo>
                  <a:lnTo>
                    <a:pt x="630" y="1532"/>
                  </a:lnTo>
                  <a:lnTo>
                    <a:pt x="628" y="1532"/>
                  </a:lnTo>
                  <a:lnTo>
                    <a:pt x="626" y="1531"/>
                  </a:lnTo>
                  <a:lnTo>
                    <a:pt x="625" y="1531"/>
                  </a:lnTo>
                  <a:lnTo>
                    <a:pt x="626" y="1531"/>
                  </a:lnTo>
                  <a:lnTo>
                    <a:pt x="628" y="1532"/>
                  </a:lnTo>
                  <a:lnTo>
                    <a:pt x="630" y="1534"/>
                  </a:lnTo>
                  <a:lnTo>
                    <a:pt x="630" y="1535"/>
                  </a:lnTo>
                  <a:lnTo>
                    <a:pt x="628" y="1535"/>
                  </a:lnTo>
                  <a:lnTo>
                    <a:pt x="626" y="1535"/>
                  </a:lnTo>
                  <a:lnTo>
                    <a:pt x="625" y="1535"/>
                  </a:lnTo>
                  <a:lnTo>
                    <a:pt x="623" y="1535"/>
                  </a:lnTo>
                  <a:lnTo>
                    <a:pt x="620" y="1535"/>
                  </a:lnTo>
                  <a:lnTo>
                    <a:pt x="618" y="1535"/>
                  </a:lnTo>
                  <a:lnTo>
                    <a:pt x="618" y="1537"/>
                  </a:lnTo>
                  <a:lnTo>
                    <a:pt x="617" y="1537"/>
                  </a:lnTo>
                  <a:lnTo>
                    <a:pt x="617" y="1535"/>
                  </a:lnTo>
                  <a:lnTo>
                    <a:pt x="613" y="1535"/>
                  </a:lnTo>
                  <a:lnTo>
                    <a:pt x="613" y="1534"/>
                  </a:lnTo>
                  <a:lnTo>
                    <a:pt x="612" y="1532"/>
                  </a:lnTo>
                  <a:lnTo>
                    <a:pt x="613" y="1534"/>
                  </a:lnTo>
                  <a:lnTo>
                    <a:pt x="613" y="1532"/>
                  </a:lnTo>
                  <a:lnTo>
                    <a:pt x="612" y="1532"/>
                  </a:lnTo>
                  <a:lnTo>
                    <a:pt x="612" y="1531"/>
                  </a:lnTo>
                  <a:lnTo>
                    <a:pt x="612" y="1529"/>
                  </a:lnTo>
                  <a:lnTo>
                    <a:pt x="609" y="1527"/>
                  </a:lnTo>
                  <a:lnTo>
                    <a:pt x="610" y="1527"/>
                  </a:lnTo>
                  <a:lnTo>
                    <a:pt x="610" y="1526"/>
                  </a:lnTo>
                  <a:lnTo>
                    <a:pt x="610" y="1527"/>
                  </a:lnTo>
                  <a:lnTo>
                    <a:pt x="609" y="1527"/>
                  </a:lnTo>
                  <a:lnTo>
                    <a:pt x="609" y="1526"/>
                  </a:lnTo>
                  <a:lnTo>
                    <a:pt x="607" y="1526"/>
                  </a:lnTo>
                  <a:lnTo>
                    <a:pt x="609" y="1524"/>
                  </a:lnTo>
                  <a:lnTo>
                    <a:pt x="609" y="1522"/>
                  </a:lnTo>
                  <a:lnTo>
                    <a:pt x="607" y="1519"/>
                  </a:lnTo>
                  <a:lnTo>
                    <a:pt x="605" y="1518"/>
                  </a:lnTo>
                  <a:lnTo>
                    <a:pt x="604" y="1518"/>
                  </a:lnTo>
                  <a:lnTo>
                    <a:pt x="600" y="1516"/>
                  </a:lnTo>
                  <a:lnTo>
                    <a:pt x="600" y="1518"/>
                  </a:lnTo>
                  <a:lnTo>
                    <a:pt x="599" y="1518"/>
                  </a:lnTo>
                  <a:lnTo>
                    <a:pt x="597" y="1516"/>
                  </a:lnTo>
                  <a:lnTo>
                    <a:pt x="596" y="1516"/>
                  </a:lnTo>
                  <a:lnTo>
                    <a:pt x="594" y="1516"/>
                  </a:lnTo>
                  <a:lnTo>
                    <a:pt x="591" y="1516"/>
                  </a:lnTo>
                  <a:lnTo>
                    <a:pt x="589" y="1516"/>
                  </a:lnTo>
                  <a:lnTo>
                    <a:pt x="587" y="1516"/>
                  </a:lnTo>
                  <a:lnTo>
                    <a:pt x="586" y="1516"/>
                  </a:lnTo>
                  <a:lnTo>
                    <a:pt x="584" y="1518"/>
                  </a:lnTo>
                  <a:lnTo>
                    <a:pt x="582" y="1518"/>
                  </a:lnTo>
                  <a:lnTo>
                    <a:pt x="581" y="1518"/>
                  </a:lnTo>
                  <a:lnTo>
                    <a:pt x="579" y="1518"/>
                  </a:lnTo>
                  <a:lnTo>
                    <a:pt x="578" y="1518"/>
                  </a:lnTo>
                  <a:lnTo>
                    <a:pt x="578" y="1519"/>
                  </a:lnTo>
                  <a:lnTo>
                    <a:pt x="578" y="1518"/>
                  </a:lnTo>
                  <a:lnTo>
                    <a:pt x="578" y="1519"/>
                  </a:lnTo>
                  <a:lnTo>
                    <a:pt x="576" y="1519"/>
                  </a:lnTo>
                  <a:lnTo>
                    <a:pt x="576" y="1521"/>
                  </a:lnTo>
                  <a:lnTo>
                    <a:pt x="574" y="1522"/>
                  </a:lnTo>
                  <a:lnTo>
                    <a:pt x="573" y="1522"/>
                  </a:lnTo>
                  <a:lnTo>
                    <a:pt x="573" y="1524"/>
                  </a:lnTo>
                  <a:lnTo>
                    <a:pt x="571" y="1526"/>
                  </a:lnTo>
                  <a:lnTo>
                    <a:pt x="569" y="1526"/>
                  </a:lnTo>
                  <a:lnTo>
                    <a:pt x="571" y="1526"/>
                  </a:lnTo>
                  <a:lnTo>
                    <a:pt x="568" y="1526"/>
                  </a:lnTo>
                  <a:lnTo>
                    <a:pt x="566" y="1526"/>
                  </a:lnTo>
                  <a:lnTo>
                    <a:pt x="566" y="1527"/>
                  </a:lnTo>
                  <a:lnTo>
                    <a:pt x="565" y="1527"/>
                  </a:lnTo>
                  <a:lnTo>
                    <a:pt x="563" y="1527"/>
                  </a:lnTo>
                  <a:lnTo>
                    <a:pt x="561" y="1527"/>
                  </a:lnTo>
                  <a:lnTo>
                    <a:pt x="560" y="1529"/>
                  </a:lnTo>
                  <a:lnTo>
                    <a:pt x="558" y="1529"/>
                  </a:lnTo>
                  <a:lnTo>
                    <a:pt x="553" y="1529"/>
                  </a:lnTo>
                  <a:lnTo>
                    <a:pt x="552" y="1531"/>
                  </a:lnTo>
                  <a:lnTo>
                    <a:pt x="550" y="1531"/>
                  </a:lnTo>
                  <a:lnTo>
                    <a:pt x="548" y="1531"/>
                  </a:lnTo>
                  <a:lnTo>
                    <a:pt x="547" y="1531"/>
                  </a:lnTo>
                  <a:lnTo>
                    <a:pt x="545" y="1529"/>
                  </a:lnTo>
                  <a:lnTo>
                    <a:pt x="543" y="1531"/>
                  </a:lnTo>
                  <a:lnTo>
                    <a:pt x="542" y="1531"/>
                  </a:lnTo>
                  <a:lnTo>
                    <a:pt x="542" y="1529"/>
                  </a:lnTo>
                  <a:lnTo>
                    <a:pt x="540" y="1529"/>
                  </a:lnTo>
                  <a:lnTo>
                    <a:pt x="540" y="1527"/>
                  </a:lnTo>
                  <a:lnTo>
                    <a:pt x="539" y="1527"/>
                  </a:lnTo>
                  <a:lnTo>
                    <a:pt x="539" y="1526"/>
                  </a:lnTo>
                  <a:lnTo>
                    <a:pt x="539" y="1524"/>
                  </a:lnTo>
                  <a:lnTo>
                    <a:pt x="539" y="1522"/>
                  </a:lnTo>
                  <a:lnTo>
                    <a:pt x="537" y="1522"/>
                  </a:lnTo>
                  <a:lnTo>
                    <a:pt x="537" y="1524"/>
                  </a:lnTo>
                  <a:lnTo>
                    <a:pt x="535" y="1522"/>
                  </a:lnTo>
                  <a:lnTo>
                    <a:pt x="534" y="1522"/>
                  </a:lnTo>
                  <a:lnTo>
                    <a:pt x="534" y="1521"/>
                  </a:lnTo>
                  <a:lnTo>
                    <a:pt x="534" y="1522"/>
                  </a:lnTo>
                  <a:lnTo>
                    <a:pt x="534" y="1521"/>
                  </a:lnTo>
                  <a:lnTo>
                    <a:pt x="532" y="1519"/>
                  </a:lnTo>
                  <a:lnTo>
                    <a:pt x="530" y="1519"/>
                  </a:lnTo>
                  <a:lnTo>
                    <a:pt x="530" y="1521"/>
                  </a:lnTo>
                  <a:lnTo>
                    <a:pt x="529" y="1521"/>
                  </a:lnTo>
                  <a:lnTo>
                    <a:pt x="527" y="1519"/>
                  </a:lnTo>
                  <a:lnTo>
                    <a:pt x="526" y="1519"/>
                  </a:lnTo>
                  <a:lnTo>
                    <a:pt x="526" y="1518"/>
                  </a:lnTo>
                  <a:lnTo>
                    <a:pt x="524" y="1516"/>
                  </a:lnTo>
                  <a:lnTo>
                    <a:pt x="522" y="1514"/>
                  </a:lnTo>
                  <a:lnTo>
                    <a:pt x="522" y="1513"/>
                  </a:lnTo>
                  <a:lnTo>
                    <a:pt x="521" y="1511"/>
                  </a:lnTo>
                  <a:lnTo>
                    <a:pt x="519" y="1509"/>
                  </a:lnTo>
                  <a:lnTo>
                    <a:pt x="519" y="1511"/>
                  </a:lnTo>
                  <a:lnTo>
                    <a:pt x="519" y="1513"/>
                  </a:lnTo>
                  <a:lnTo>
                    <a:pt x="521" y="1514"/>
                  </a:lnTo>
                  <a:lnTo>
                    <a:pt x="519" y="1514"/>
                  </a:lnTo>
                  <a:lnTo>
                    <a:pt x="519" y="1516"/>
                  </a:lnTo>
                  <a:lnTo>
                    <a:pt x="517" y="1516"/>
                  </a:lnTo>
                  <a:lnTo>
                    <a:pt x="516" y="1516"/>
                  </a:lnTo>
                  <a:lnTo>
                    <a:pt x="516" y="1514"/>
                  </a:lnTo>
                  <a:lnTo>
                    <a:pt x="514" y="1514"/>
                  </a:lnTo>
                  <a:lnTo>
                    <a:pt x="513" y="1514"/>
                  </a:lnTo>
                  <a:lnTo>
                    <a:pt x="511" y="1514"/>
                  </a:lnTo>
                  <a:lnTo>
                    <a:pt x="509" y="1514"/>
                  </a:lnTo>
                  <a:lnTo>
                    <a:pt x="509" y="1513"/>
                  </a:lnTo>
                  <a:lnTo>
                    <a:pt x="508" y="1514"/>
                  </a:lnTo>
                  <a:lnTo>
                    <a:pt x="508" y="1513"/>
                  </a:lnTo>
                  <a:lnTo>
                    <a:pt x="506" y="1513"/>
                  </a:lnTo>
                  <a:lnTo>
                    <a:pt x="504" y="1513"/>
                  </a:lnTo>
                  <a:lnTo>
                    <a:pt x="504" y="1511"/>
                  </a:lnTo>
                  <a:lnTo>
                    <a:pt x="504" y="1509"/>
                  </a:lnTo>
                  <a:lnTo>
                    <a:pt x="503" y="1508"/>
                  </a:lnTo>
                  <a:lnTo>
                    <a:pt x="501" y="1506"/>
                  </a:lnTo>
                  <a:lnTo>
                    <a:pt x="503" y="1506"/>
                  </a:lnTo>
                  <a:lnTo>
                    <a:pt x="501" y="1505"/>
                  </a:lnTo>
                  <a:lnTo>
                    <a:pt x="500" y="1505"/>
                  </a:lnTo>
                  <a:lnTo>
                    <a:pt x="500" y="1503"/>
                  </a:lnTo>
                  <a:lnTo>
                    <a:pt x="498" y="1503"/>
                  </a:lnTo>
                  <a:lnTo>
                    <a:pt x="495" y="1500"/>
                  </a:lnTo>
                  <a:lnTo>
                    <a:pt x="495" y="1498"/>
                  </a:lnTo>
                  <a:lnTo>
                    <a:pt x="493" y="1496"/>
                  </a:lnTo>
                  <a:lnTo>
                    <a:pt x="491" y="1495"/>
                  </a:lnTo>
                  <a:lnTo>
                    <a:pt x="490" y="1493"/>
                  </a:lnTo>
                  <a:lnTo>
                    <a:pt x="490" y="1492"/>
                  </a:lnTo>
                  <a:lnTo>
                    <a:pt x="488" y="1492"/>
                  </a:lnTo>
                  <a:lnTo>
                    <a:pt x="488" y="1490"/>
                  </a:lnTo>
                  <a:lnTo>
                    <a:pt x="490" y="1490"/>
                  </a:lnTo>
                  <a:lnTo>
                    <a:pt x="490" y="1488"/>
                  </a:lnTo>
                  <a:lnTo>
                    <a:pt x="490" y="1490"/>
                  </a:lnTo>
                  <a:lnTo>
                    <a:pt x="491" y="1490"/>
                  </a:lnTo>
                  <a:lnTo>
                    <a:pt x="493" y="1492"/>
                  </a:lnTo>
                  <a:lnTo>
                    <a:pt x="493" y="1493"/>
                  </a:lnTo>
                  <a:lnTo>
                    <a:pt x="495" y="1493"/>
                  </a:lnTo>
                  <a:lnTo>
                    <a:pt x="495" y="1495"/>
                  </a:lnTo>
                  <a:lnTo>
                    <a:pt x="496" y="1496"/>
                  </a:lnTo>
                  <a:lnTo>
                    <a:pt x="498" y="1496"/>
                  </a:lnTo>
                  <a:lnTo>
                    <a:pt x="498" y="1498"/>
                  </a:lnTo>
                  <a:lnTo>
                    <a:pt x="500" y="1498"/>
                  </a:lnTo>
                  <a:lnTo>
                    <a:pt x="501" y="1498"/>
                  </a:lnTo>
                  <a:lnTo>
                    <a:pt x="503" y="1498"/>
                  </a:lnTo>
                  <a:lnTo>
                    <a:pt x="503" y="1500"/>
                  </a:lnTo>
                  <a:lnTo>
                    <a:pt x="504" y="1500"/>
                  </a:lnTo>
                  <a:lnTo>
                    <a:pt x="504" y="1501"/>
                  </a:lnTo>
                  <a:lnTo>
                    <a:pt x="506" y="1501"/>
                  </a:lnTo>
                  <a:lnTo>
                    <a:pt x="508" y="1501"/>
                  </a:lnTo>
                  <a:lnTo>
                    <a:pt x="508" y="1503"/>
                  </a:lnTo>
                  <a:lnTo>
                    <a:pt x="509" y="1503"/>
                  </a:lnTo>
                  <a:lnTo>
                    <a:pt x="509" y="1501"/>
                  </a:lnTo>
                  <a:lnTo>
                    <a:pt x="511" y="1501"/>
                  </a:lnTo>
                  <a:lnTo>
                    <a:pt x="511" y="1500"/>
                  </a:lnTo>
                  <a:lnTo>
                    <a:pt x="509" y="1500"/>
                  </a:lnTo>
                  <a:lnTo>
                    <a:pt x="509" y="1498"/>
                  </a:lnTo>
                  <a:lnTo>
                    <a:pt x="509" y="1496"/>
                  </a:lnTo>
                  <a:lnTo>
                    <a:pt x="508" y="1495"/>
                  </a:lnTo>
                  <a:lnTo>
                    <a:pt x="508" y="1493"/>
                  </a:lnTo>
                  <a:lnTo>
                    <a:pt x="506" y="1493"/>
                  </a:lnTo>
                  <a:lnTo>
                    <a:pt x="506" y="1492"/>
                  </a:lnTo>
                  <a:lnTo>
                    <a:pt x="506" y="1493"/>
                  </a:lnTo>
                  <a:lnTo>
                    <a:pt x="506" y="1492"/>
                  </a:lnTo>
                  <a:lnTo>
                    <a:pt x="504" y="1492"/>
                  </a:lnTo>
                  <a:lnTo>
                    <a:pt x="503" y="1492"/>
                  </a:lnTo>
                  <a:lnTo>
                    <a:pt x="503" y="1490"/>
                  </a:lnTo>
                  <a:lnTo>
                    <a:pt x="501" y="1490"/>
                  </a:lnTo>
                  <a:lnTo>
                    <a:pt x="501" y="1492"/>
                  </a:lnTo>
                  <a:lnTo>
                    <a:pt x="501" y="1490"/>
                  </a:lnTo>
                  <a:lnTo>
                    <a:pt x="501" y="1488"/>
                  </a:lnTo>
                  <a:lnTo>
                    <a:pt x="503" y="1488"/>
                  </a:lnTo>
                  <a:lnTo>
                    <a:pt x="503" y="1490"/>
                  </a:lnTo>
                  <a:lnTo>
                    <a:pt x="503" y="1488"/>
                  </a:lnTo>
                  <a:lnTo>
                    <a:pt x="503" y="1490"/>
                  </a:lnTo>
                  <a:lnTo>
                    <a:pt x="504" y="1492"/>
                  </a:lnTo>
                  <a:lnTo>
                    <a:pt x="504" y="1490"/>
                  </a:lnTo>
                  <a:lnTo>
                    <a:pt x="503" y="1490"/>
                  </a:lnTo>
                  <a:lnTo>
                    <a:pt x="503" y="1488"/>
                  </a:lnTo>
                  <a:lnTo>
                    <a:pt x="503" y="1487"/>
                  </a:lnTo>
                  <a:lnTo>
                    <a:pt x="503" y="1488"/>
                  </a:lnTo>
                  <a:lnTo>
                    <a:pt x="503" y="1487"/>
                  </a:lnTo>
                  <a:lnTo>
                    <a:pt x="501" y="1485"/>
                  </a:lnTo>
                  <a:lnTo>
                    <a:pt x="503" y="1487"/>
                  </a:lnTo>
                  <a:lnTo>
                    <a:pt x="503" y="1485"/>
                  </a:lnTo>
                  <a:lnTo>
                    <a:pt x="504" y="1485"/>
                  </a:lnTo>
                  <a:lnTo>
                    <a:pt x="503" y="1485"/>
                  </a:lnTo>
                  <a:lnTo>
                    <a:pt x="503" y="1483"/>
                  </a:lnTo>
                  <a:lnTo>
                    <a:pt x="501" y="1483"/>
                  </a:lnTo>
                  <a:lnTo>
                    <a:pt x="500" y="1482"/>
                  </a:lnTo>
                  <a:lnTo>
                    <a:pt x="500" y="1480"/>
                  </a:lnTo>
                  <a:lnTo>
                    <a:pt x="500" y="1479"/>
                  </a:lnTo>
                  <a:lnTo>
                    <a:pt x="501" y="1479"/>
                  </a:lnTo>
                  <a:lnTo>
                    <a:pt x="501" y="1480"/>
                  </a:lnTo>
                  <a:lnTo>
                    <a:pt x="501" y="1479"/>
                  </a:lnTo>
                  <a:lnTo>
                    <a:pt x="503" y="1480"/>
                  </a:lnTo>
                  <a:lnTo>
                    <a:pt x="503" y="1479"/>
                  </a:lnTo>
                  <a:lnTo>
                    <a:pt x="501" y="1479"/>
                  </a:lnTo>
                  <a:lnTo>
                    <a:pt x="501" y="1477"/>
                  </a:lnTo>
                  <a:lnTo>
                    <a:pt x="503" y="1477"/>
                  </a:lnTo>
                  <a:lnTo>
                    <a:pt x="503" y="1475"/>
                  </a:lnTo>
                  <a:lnTo>
                    <a:pt x="501" y="1475"/>
                  </a:lnTo>
                  <a:lnTo>
                    <a:pt x="500" y="1474"/>
                  </a:lnTo>
                  <a:lnTo>
                    <a:pt x="500" y="1475"/>
                  </a:lnTo>
                  <a:lnTo>
                    <a:pt x="501" y="1475"/>
                  </a:lnTo>
                  <a:lnTo>
                    <a:pt x="500" y="1475"/>
                  </a:lnTo>
                  <a:lnTo>
                    <a:pt x="501" y="1477"/>
                  </a:lnTo>
                  <a:lnTo>
                    <a:pt x="500" y="1477"/>
                  </a:lnTo>
                  <a:lnTo>
                    <a:pt x="500" y="1475"/>
                  </a:lnTo>
                  <a:lnTo>
                    <a:pt x="498" y="1475"/>
                  </a:lnTo>
                  <a:lnTo>
                    <a:pt x="500" y="1475"/>
                  </a:lnTo>
                  <a:lnTo>
                    <a:pt x="500" y="1474"/>
                  </a:lnTo>
                  <a:lnTo>
                    <a:pt x="498" y="1474"/>
                  </a:lnTo>
                  <a:lnTo>
                    <a:pt x="498" y="1472"/>
                  </a:lnTo>
                  <a:lnTo>
                    <a:pt x="496" y="1472"/>
                  </a:lnTo>
                  <a:lnTo>
                    <a:pt x="498" y="1472"/>
                  </a:lnTo>
                  <a:lnTo>
                    <a:pt x="498" y="1470"/>
                  </a:lnTo>
                  <a:lnTo>
                    <a:pt x="498" y="1472"/>
                  </a:lnTo>
                  <a:lnTo>
                    <a:pt x="498" y="1470"/>
                  </a:lnTo>
                  <a:lnTo>
                    <a:pt x="498" y="1472"/>
                  </a:lnTo>
                  <a:lnTo>
                    <a:pt x="498" y="1470"/>
                  </a:lnTo>
                  <a:lnTo>
                    <a:pt x="496" y="1470"/>
                  </a:lnTo>
                  <a:lnTo>
                    <a:pt x="498" y="1470"/>
                  </a:lnTo>
                  <a:lnTo>
                    <a:pt x="498" y="1469"/>
                  </a:lnTo>
                  <a:lnTo>
                    <a:pt x="498" y="1470"/>
                  </a:lnTo>
                  <a:lnTo>
                    <a:pt x="500" y="1470"/>
                  </a:lnTo>
                  <a:lnTo>
                    <a:pt x="501" y="1472"/>
                  </a:lnTo>
                  <a:lnTo>
                    <a:pt x="501" y="1474"/>
                  </a:lnTo>
                  <a:lnTo>
                    <a:pt x="503" y="1474"/>
                  </a:lnTo>
                  <a:lnTo>
                    <a:pt x="503" y="1472"/>
                  </a:lnTo>
                  <a:lnTo>
                    <a:pt x="501" y="1472"/>
                  </a:lnTo>
                  <a:lnTo>
                    <a:pt x="501" y="1470"/>
                  </a:lnTo>
                  <a:lnTo>
                    <a:pt x="503" y="1470"/>
                  </a:lnTo>
                  <a:lnTo>
                    <a:pt x="501" y="1469"/>
                  </a:lnTo>
                  <a:lnTo>
                    <a:pt x="503" y="1469"/>
                  </a:lnTo>
                  <a:lnTo>
                    <a:pt x="501" y="1469"/>
                  </a:lnTo>
                  <a:lnTo>
                    <a:pt x="503" y="1469"/>
                  </a:lnTo>
                  <a:lnTo>
                    <a:pt x="503" y="1470"/>
                  </a:lnTo>
                  <a:lnTo>
                    <a:pt x="503" y="1469"/>
                  </a:lnTo>
                  <a:lnTo>
                    <a:pt x="504" y="1469"/>
                  </a:lnTo>
                  <a:lnTo>
                    <a:pt x="503" y="1469"/>
                  </a:lnTo>
                  <a:lnTo>
                    <a:pt x="504" y="1469"/>
                  </a:lnTo>
                  <a:lnTo>
                    <a:pt x="503" y="1467"/>
                  </a:lnTo>
                  <a:lnTo>
                    <a:pt x="501" y="1467"/>
                  </a:lnTo>
                  <a:lnTo>
                    <a:pt x="501" y="1466"/>
                  </a:lnTo>
                  <a:lnTo>
                    <a:pt x="501" y="1464"/>
                  </a:lnTo>
                  <a:lnTo>
                    <a:pt x="503" y="1464"/>
                  </a:lnTo>
                  <a:lnTo>
                    <a:pt x="503" y="1466"/>
                  </a:lnTo>
                  <a:lnTo>
                    <a:pt x="504" y="1467"/>
                  </a:lnTo>
                  <a:lnTo>
                    <a:pt x="504" y="1466"/>
                  </a:lnTo>
                  <a:lnTo>
                    <a:pt x="503" y="1466"/>
                  </a:lnTo>
                  <a:lnTo>
                    <a:pt x="503" y="1464"/>
                  </a:lnTo>
                  <a:lnTo>
                    <a:pt x="501" y="1464"/>
                  </a:lnTo>
                  <a:lnTo>
                    <a:pt x="501" y="1462"/>
                  </a:lnTo>
                  <a:lnTo>
                    <a:pt x="501" y="1461"/>
                  </a:lnTo>
                  <a:lnTo>
                    <a:pt x="503" y="1461"/>
                  </a:lnTo>
                  <a:lnTo>
                    <a:pt x="501" y="1461"/>
                  </a:lnTo>
                  <a:lnTo>
                    <a:pt x="503" y="1461"/>
                  </a:lnTo>
                  <a:lnTo>
                    <a:pt x="504" y="1461"/>
                  </a:lnTo>
                  <a:lnTo>
                    <a:pt x="503" y="1461"/>
                  </a:lnTo>
                  <a:lnTo>
                    <a:pt x="503" y="1459"/>
                  </a:lnTo>
                  <a:lnTo>
                    <a:pt x="501" y="1459"/>
                  </a:lnTo>
                  <a:lnTo>
                    <a:pt x="501" y="1457"/>
                  </a:lnTo>
                  <a:lnTo>
                    <a:pt x="500" y="1457"/>
                  </a:lnTo>
                  <a:lnTo>
                    <a:pt x="498" y="1456"/>
                  </a:lnTo>
                  <a:lnTo>
                    <a:pt x="496" y="1456"/>
                  </a:lnTo>
                  <a:lnTo>
                    <a:pt x="496" y="1454"/>
                  </a:lnTo>
                  <a:lnTo>
                    <a:pt x="498" y="1454"/>
                  </a:lnTo>
                  <a:lnTo>
                    <a:pt x="498" y="1453"/>
                  </a:lnTo>
                  <a:lnTo>
                    <a:pt x="496" y="1453"/>
                  </a:lnTo>
                  <a:lnTo>
                    <a:pt x="498" y="1451"/>
                  </a:lnTo>
                  <a:lnTo>
                    <a:pt x="496" y="1451"/>
                  </a:lnTo>
                  <a:lnTo>
                    <a:pt x="498" y="1451"/>
                  </a:lnTo>
                  <a:lnTo>
                    <a:pt x="498" y="1449"/>
                  </a:lnTo>
                  <a:lnTo>
                    <a:pt x="498" y="1451"/>
                  </a:lnTo>
                  <a:lnTo>
                    <a:pt x="498" y="1449"/>
                  </a:lnTo>
                  <a:lnTo>
                    <a:pt x="496" y="1449"/>
                  </a:lnTo>
                  <a:lnTo>
                    <a:pt x="498" y="1449"/>
                  </a:lnTo>
                  <a:lnTo>
                    <a:pt x="496" y="1449"/>
                  </a:lnTo>
                  <a:lnTo>
                    <a:pt x="496" y="1451"/>
                  </a:lnTo>
                  <a:lnTo>
                    <a:pt x="496" y="1453"/>
                  </a:lnTo>
                  <a:lnTo>
                    <a:pt x="498" y="1453"/>
                  </a:lnTo>
                  <a:lnTo>
                    <a:pt x="498" y="1454"/>
                  </a:lnTo>
                  <a:lnTo>
                    <a:pt x="496" y="1454"/>
                  </a:lnTo>
                  <a:lnTo>
                    <a:pt x="495" y="1456"/>
                  </a:lnTo>
                  <a:lnTo>
                    <a:pt x="496" y="1457"/>
                  </a:lnTo>
                  <a:lnTo>
                    <a:pt x="496" y="1459"/>
                  </a:lnTo>
                  <a:lnTo>
                    <a:pt x="496" y="1461"/>
                  </a:lnTo>
                  <a:lnTo>
                    <a:pt x="495" y="1461"/>
                  </a:lnTo>
                  <a:lnTo>
                    <a:pt x="496" y="1461"/>
                  </a:lnTo>
                  <a:lnTo>
                    <a:pt x="495" y="1461"/>
                  </a:lnTo>
                  <a:lnTo>
                    <a:pt x="496" y="1461"/>
                  </a:lnTo>
                  <a:lnTo>
                    <a:pt x="496" y="1462"/>
                  </a:lnTo>
                  <a:lnTo>
                    <a:pt x="495" y="1461"/>
                  </a:lnTo>
                  <a:lnTo>
                    <a:pt x="496" y="1462"/>
                  </a:lnTo>
                  <a:lnTo>
                    <a:pt x="496" y="1464"/>
                  </a:lnTo>
                  <a:lnTo>
                    <a:pt x="495" y="1464"/>
                  </a:lnTo>
                  <a:lnTo>
                    <a:pt x="496" y="1464"/>
                  </a:lnTo>
                  <a:lnTo>
                    <a:pt x="496" y="1466"/>
                  </a:lnTo>
                  <a:lnTo>
                    <a:pt x="495" y="1466"/>
                  </a:lnTo>
                  <a:lnTo>
                    <a:pt x="493" y="1466"/>
                  </a:lnTo>
                  <a:lnTo>
                    <a:pt x="495" y="1466"/>
                  </a:lnTo>
                  <a:lnTo>
                    <a:pt x="496" y="1466"/>
                  </a:lnTo>
                  <a:lnTo>
                    <a:pt x="496" y="1467"/>
                  </a:lnTo>
                  <a:lnTo>
                    <a:pt x="496" y="1466"/>
                  </a:lnTo>
                  <a:lnTo>
                    <a:pt x="496" y="1467"/>
                  </a:lnTo>
                  <a:lnTo>
                    <a:pt x="496" y="1469"/>
                  </a:lnTo>
                  <a:lnTo>
                    <a:pt x="495" y="1470"/>
                  </a:lnTo>
                  <a:lnTo>
                    <a:pt x="495" y="1469"/>
                  </a:lnTo>
                  <a:lnTo>
                    <a:pt x="495" y="1470"/>
                  </a:lnTo>
                  <a:lnTo>
                    <a:pt x="493" y="1470"/>
                  </a:lnTo>
                  <a:lnTo>
                    <a:pt x="493" y="1469"/>
                  </a:lnTo>
                  <a:lnTo>
                    <a:pt x="493" y="1467"/>
                  </a:lnTo>
                  <a:lnTo>
                    <a:pt x="493" y="1469"/>
                  </a:lnTo>
                  <a:lnTo>
                    <a:pt x="491" y="1469"/>
                  </a:lnTo>
                  <a:lnTo>
                    <a:pt x="493" y="1469"/>
                  </a:lnTo>
                  <a:lnTo>
                    <a:pt x="493" y="1470"/>
                  </a:lnTo>
                  <a:lnTo>
                    <a:pt x="491" y="1470"/>
                  </a:lnTo>
                  <a:lnTo>
                    <a:pt x="493" y="1470"/>
                  </a:lnTo>
                  <a:lnTo>
                    <a:pt x="495" y="1470"/>
                  </a:lnTo>
                  <a:lnTo>
                    <a:pt x="495" y="1472"/>
                  </a:lnTo>
                  <a:lnTo>
                    <a:pt x="493" y="1472"/>
                  </a:lnTo>
                  <a:lnTo>
                    <a:pt x="491" y="1472"/>
                  </a:lnTo>
                  <a:lnTo>
                    <a:pt x="493" y="1472"/>
                  </a:lnTo>
                  <a:lnTo>
                    <a:pt x="493" y="1474"/>
                  </a:lnTo>
                  <a:lnTo>
                    <a:pt x="491" y="1474"/>
                  </a:lnTo>
                  <a:lnTo>
                    <a:pt x="491" y="1472"/>
                  </a:lnTo>
                  <a:lnTo>
                    <a:pt x="490" y="1472"/>
                  </a:lnTo>
                  <a:lnTo>
                    <a:pt x="490" y="1470"/>
                  </a:lnTo>
                  <a:lnTo>
                    <a:pt x="491" y="1470"/>
                  </a:lnTo>
                  <a:lnTo>
                    <a:pt x="490" y="1470"/>
                  </a:lnTo>
                  <a:lnTo>
                    <a:pt x="490" y="1472"/>
                  </a:lnTo>
                  <a:lnTo>
                    <a:pt x="490" y="1470"/>
                  </a:lnTo>
                  <a:lnTo>
                    <a:pt x="490" y="1472"/>
                  </a:lnTo>
                  <a:lnTo>
                    <a:pt x="488" y="1472"/>
                  </a:lnTo>
                  <a:lnTo>
                    <a:pt x="490" y="1472"/>
                  </a:lnTo>
                  <a:lnTo>
                    <a:pt x="490" y="1474"/>
                  </a:lnTo>
                  <a:lnTo>
                    <a:pt x="490" y="1472"/>
                  </a:lnTo>
                  <a:lnTo>
                    <a:pt x="488" y="1472"/>
                  </a:lnTo>
                  <a:lnTo>
                    <a:pt x="487" y="1470"/>
                  </a:lnTo>
                  <a:lnTo>
                    <a:pt x="487" y="1472"/>
                  </a:lnTo>
                  <a:lnTo>
                    <a:pt x="488" y="1472"/>
                  </a:lnTo>
                  <a:lnTo>
                    <a:pt x="487" y="1472"/>
                  </a:lnTo>
                  <a:lnTo>
                    <a:pt x="487" y="1474"/>
                  </a:lnTo>
                  <a:lnTo>
                    <a:pt x="488" y="1474"/>
                  </a:lnTo>
                  <a:lnTo>
                    <a:pt x="487" y="1474"/>
                  </a:lnTo>
                  <a:lnTo>
                    <a:pt x="485" y="1474"/>
                  </a:lnTo>
                  <a:lnTo>
                    <a:pt x="485" y="1475"/>
                  </a:lnTo>
                  <a:lnTo>
                    <a:pt x="487" y="1475"/>
                  </a:lnTo>
                  <a:lnTo>
                    <a:pt x="487" y="1477"/>
                  </a:lnTo>
                  <a:lnTo>
                    <a:pt x="487" y="1475"/>
                  </a:lnTo>
                  <a:lnTo>
                    <a:pt x="485" y="1475"/>
                  </a:lnTo>
                  <a:lnTo>
                    <a:pt x="483" y="1475"/>
                  </a:lnTo>
                  <a:lnTo>
                    <a:pt x="483" y="1477"/>
                  </a:lnTo>
                  <a:lnTo>
                    <a:pt x="483" y="1475"/>
                  </a:lnTo>
                  <a:lnTo>
                    <a:pt x="483" y="1477"/>
                  </a:lnTo>
                  <a:lnTo>
                    <a:pt x="482" y="1477"/>
                  </a:lnTo>
                  <a:lnTo>
                    <a:pt x="482" y="1475"/>
                  </a:lnTo>
                  <a:lnTo>
                    <a:pt x="480" y="1475"/>
                  </a:lnTo>
                  <a:lnTo>
                    <a:pt x="480" y="1477"/>
                  </a:lnTo>
                  <a:lnTo>
                    <a:pt x="480" y="1479"/>
                  </a:lnTo>
                  <a:lnTo>
                    <a:pt x="480" y="1477"/>
                  </a:lnTo>
                  <a:lnTo>
                    <a:pt x="480" y="1479"/>
                  </a:lnTo>
                  <a:lnTo>
                    <a:pt x="478" y="1479"/>
                  </a:lnTo>
                  <a:lnTo>
                    <a:pt x="480" y="1479"/>
                  </a:lnTo>
                  <a:lnTo>
                    <a:pt x="480" y="1480"/>
                  </a:lnTo>
                  <a:lnTo>
                    <a:pt x="482" y="1480"/>
                  </a:lnTo>
                  <a:lnTo>
                    <a:pt x="482" y="1482"/>
                  </a:lnTo>
                  <a:lnTo>
                    <a:pt x="482" y="1483"/>
                  </a:lnTo>
                  <a:lnTo>
                    <a:pt x="480" y="1483"/>
                  </a:lnTo>
                  <a:lnTo>
                    <a:pt x="478" y="1483"/>
                  </a:lnTo>
                  <a:lnTo>
                    <a:pt x="478" y="1482"/>
                  </a:lnTo>
                  <a:lnTo>
                    <a:pt x="478" y="1483"/>
                  </a:lnTo>
                  <a:lnTo>
                    <a:pt x="477" y="1482"/>
                  </a:lnTo>
                  <a:lnTo>
                    <a:pt x="475" y="1482"/>
                  </a:lnTo>
                  <a:lnTo>
                    <a:pt x="475" y="1483"/>
                  </a:lnTo>
                  <a:lnTo>
                    <a:pt x="477" y="1483"/>
                  </a:lnTo>
                  <a:lnTo>
                    <a:pt x="478" y="1485"/>
                  </a:lnTo>
                  <a:lnTo>
                    <a:pt x="478" y="1487"/>
                  </a:lnTo>
                  <a:lnTo>
                    <a:pt x="477" y="1487"/>
                  </a:lnTo>
                  <a:lnTo>
                    <a:pt x="475" y="1487"/>
                  </a:lnTo>
                  <a:lnTo>
                    <a:pt x="474" y="1487"/>
                  </a:lnTo>
                  <a:lnTo>
                    <a:pt x="475" y="1487"/>
                  </a:lnTo>
                  <a:lnTo>
                    <a:pt x="475" y="1488"/>
                  </a:lnTo>
                  <a:lnTo>
                    <a:pt x="477" y="1488"/>
                  </a:lnTo>
                  <a:lnTo>
                    <a:pt x="475" y="1488"/>
                  </a:lnTo>
                  <a:lnTo>
                    <a:pt x="477" y="1490"/>
                  </a:lnTo>
                  <a:lnTo>
                    <a:pt x="475" y="1490"/>
                  </a:lnTo>
                  <a:lnTo>
                    <a:pt x="475" y="1492"/>
                  </a:lnTo>
                  <a:lnTo>
                    <a:pt x="474" y="1490"/>
                  </a:lnTo>
                  <a:lnTo>
                    <a:pt x="474" y="1492"/>
                  </a:lnTo>
                  <a:lnTo>
                    <a:pt x="472" y="1492"/>
                  </a:lnTo>
                  <a:lnTo>
                    <a:pt x="474" y="1492"/>
                  </a:lnTo>
                  <a:lnTo>
                    <a:pt x="472" y="1492"/>
                  </a:lnTo>
                  <a:lnTo>
                    <a:pt x="474" y="1492"/>
                  </a:lnTo>
                  <a:lnTo>
                    <a:pt x="472" y="1492"/>
                  </a:lnTo>
                  <a:lnTo>
                    <a:pt x="474" y="1493"/>
                  </a:lnTo>
                  <a:lnTo>
                    <a:pt x="472" y="1493"/>
                  </a:lnTo>
                  <a:lnTo>
                    <a:pt x="474" y="1495"/>
                  </a:lnTo>
                  <a:lnTo>
                    <a:pt x="474" y="1496"/>
                  </a:lnTo>
                  <a:lnTo>
                    <a:pt x="474" y="1498"/>
                  </a:lnTo>
                  <a:lnTo>
                    <a:pt x="475" y="1498"/>
                  </a:lnTo>
                  <a:lnTo>
                    <a:pt x="475" y="1500"/>
                  </a:lnTo>
                  <a:lnTo>
                    <a:pt x="474" y="1500"/>
                  </a:lnTo>
                  <a:lnTo>
                    <a:pt x="474" y="1498"/>
                  </a:lnTo>
                  <a:lnTo>
                    <a:pt x="472" y="1498"/>
                  </a:lnTo>
                  <a:lnTo>
                    <a:pt x="472" y="1496"/>
                  </a:lnTo>
                  <a:lnTo>
                    <a:pt x="470" y="1496"/>
                  </a:lnTo>
                  <a:lnTo>
                    <a:pt x="469" y="1496"/>
                  </a:lnTo>
                  <a:lnTo>
                    <a:pt x="469" y="1498"/>
                  </a:lnTo>
                  <a:lnTo>
                    <a:pt x="467" y="1498"/>
                  </a:lnTo>
                  <a:lnTo>
                    <a:pt x="469" y="1498"/>
                  </a:lnTo>
                  <a:lnTo>
                    <a:pt x="469" y="1500"/>
                  </a:lnTo>
                  <a:lnTo>
                    <a:pt x="469" y="1501"/>
                  </a:lnTo>
                  <a:lnTo>
                    <a:pt x="469" y="1500"/>
                  </a:lnTo>
                  <a:lnTo>
                    <a:pt x="467" y="1500"/>
                  </a:lnTo>
                  <a:lnTo>
                    <a:pt x="467" y="1501"/>
                  </a:lnTo>
                  <a:lnTo>
                    <a:pt x="467" y="1500"/>
                  </a:lnTo>
                  <a:lnTo>
                    <a:pt x="465" y="1500"/>
                  </a:lnTo>
                  <a:lnTo>
                    <a:pt x="465" y="1501"/>
                  </a:lnTo>
                  <a:lnTo>
                    <a:pt x="464" y="1500"/>
                  </a:lnTo>
                  <a:lnTo>
                    <a:pt x="464" y="1501"/>
                  </a:lnTo>
                  <a:lnTo>
                    <a:pt x="462" y="1501"/>
                  </a:lnTo>
                  <a:lnTo>
                    <a:pt x="464" y="1501"/>
                  </a:lnTo>
                  <a:lnTo>
                    <a:pt x="462" y="1501"/>
                  </a:lnTo>
                  <a:lnTo>
                    <a:pt x="464" y="1501"/>
                  </a:lnTo>
                  <a:lnTo>
                    <a:pt x="464" y="1503"/>
                  </a:lnTo>
                  <a:lnTo>
                    <a:pt x="465" y="1503"/>
                  </a:lnTo>
                  <a:lnTo>
                    <a:pt x="464" y="1503"/>
                  </a:lnTo>
                  <a:lnTo>
                    <a:pt x="464" y="1505"/>
                  </a:lnTo>
                  <a:lnTo>
                    <a:pt x="464" y="1503"/>
                  </a:lnTo>
                  <a:lnTo>
                    <a:pt x="462" y="1503"/>
                  </a:lnTo>
                  <a:lnTo>
                    <a:pt x="461" y="1501"/>
                  </a:lnTo>
                  <a:lnTo>
                    <a:pt x="459" y="1501"/>
                  </a:lnTo>
                  <a:lnTo>
                    <a:pt x="459" y="1500"/>
                  </a:lnTo>
                  <a:lnTo>
                    <a:pt x="459" y="1501"/>
                  </a:lnTo>
                  <a:lnTo>
                    <a:pt x="459" y="1503"/>
                  </a:lnTo>
                  <a:lnTo>
                    <a:pt x="459" y="1501"/>
                  </a:lnTo>
                  <a:lnTo>
                    <a:pt x="459" y="1503"/>
                  </a:lnTo>
                  <a:lnTo>
                    <a:pt x="459" y="1505"/>
                  </a:lnTo>
                  <a:lnTo>
                    <a:pt x="459" y="1506"/>
                  </a:lnTo>
                  <a:lnTo>
                    <a:pt x="459" y="1505"/>
                  </a:lnTo>
                  <a:lnTo>
                    <a:pt x="457" y="1505"/>
                  </a:lnTo>
                  <a:lnTo>
                    <a:pt x="456" y="1503"/>
                  </a:lnTo>
                  <a:lnTo>
                    <a:pt x="456" y="1505"/>
                  </a:lnTo>
                  <a:lnTo>
                    <a:pt x="456" y="1503"/>
                  </a:lnTo>
                  <a:lnTo>
                    <a:pt x="454" y="1503"/>
                  </a:lnTo>
                  <a:lnTo>
                    <a:pt x="454" y="1505"/>
                  </a:lnTo>
                  <a:lnTo>
                    <a:pt x="456" y="1505"/>
                  </a:lnTo>
                  <a:lnTo>
                    <a:pt x="454" y="1505"/>
                  </a:lnTo>
                  <a:lnTo>
                    <a:pt x="454" y="1503"/>
                  </a:lnTo>
                  <a:lnTo>
                    <a:pt x="452" y="1503"/>
                  </a:lnTo>
                  <a:lnTo>
                    <a:pt x="454" y="1505"/>
                  </a:lnTo>
                  <a:lnTo>
                    <a:pt x="452" y="1505"/>
                  </a:lnTo>
                  <a:lnTo>
                    <a:pt x="452" y="1506"/>
                  </a:lnTo>
                  <a:lnTo>
                    <a:pt x="452" y="1505"/>
                  </a:lnTo>
                  <a:lnTo>
                    <a:pt x="452" y="1506"/>
                  </a:lnTo>
                  <a:lnTo>
                    <a:pt x="451" y="1506"/>
                  </a:lnTo>
                  <a:lnTo>
                    <a:pt x="449" y="1505"/>
                  </a:lnTo>
                  <a:lnTo>
                    <a:pt x="449" y="1503"/>
                  </a:lnTo>
                  <a:lnTo>
                    <a:pt x="448" y="1503"/>
                  </a:lnTo>
                  <a:lnTo>
                    <a:pt x="448" y="1501"/>
                  </a:lnTo>
                  <a:lnTo>
                    <a:pt x="449" y="1501"/>
                  </a:lnTo>
                  <a:lnTo>
                    <a:pt x="448" y="1501"/>
                  </a:lnTo>
                  <a:lnTo>
                    <a:pt x="448" y="1500"/>
                  </a:lnTo>
                  <a:lnTo>
                    <a:pt x="448" y="1501"/>
                  </a:lnTo>
                  <a:lnTo>
                    <a:pt x="446" y="1501"/>
                  </a:lnTo>
                  <a:lnTo>
                    <a:pt x="448" y="1501"/>
                  </a:lnTo>
                  <a:lnTo>
                    <a:pt x="446" y="1501"/>
                  </a:lnTo>
                  <a:lnTo>
                    <a:pt x="446" y="1503"/>
                  </a:lnTo>
                  <a:lnTo>
                    <a:pt x="448" y="1503"/>
                  </a:lnTo>
                  <a:lnTo>
                    <a:pt x="446" y="1503"/>
                  </a:lnTo>
                  <a:lnTo>
                    <a:pt x="448" y="1503"/>
                  </a:lnTo>
                  <a:lnTo>
                    <a:pt x="446" y="1503"/>
                  </a:lnTo>
                  <a:lnTo>
                    <a:pt x="446" y="1505"/>
                  </a:lnTo>
                  <a:lnTo>
                    <a:pt x="448" y="1505"/>
                  </a:lnTo>
                  <a:lnTo>
                    <a:pt x="448" y="1506"/>
                  </a:lnTo>
                  <a:lnTo>
                    <a:pt x="448" y="1508"/>
                  </a:lnTo>
                  <a:lnTo>
                    <a:pt x="448" y="1506"/>
                  </a:lnTo>
                  <a:lnTo>
                    <a:pt x="449" y="1508"/>
                  </a:lnTo>
                  <a:lnTo>
                    <a:pt x="449" y="1509"/>
                  </a:lnTo>
                  <a:lnTo>
                    <a:pt x="449" y="1511"/>
                  </a:lnTo>
                  <a:lnTo>
                    <a:pt x="448" y="1511"/>
                  </a:lnTo>
                  <a:lnTo>
                    <a:pt x="448" y="1513"/>
                  </a:lnTo>
                  <a:lnTo>
                    <a:pt x="448" y="1511"/>
                  </a:lnTo>
                  <a:lnTo>
                    <a:pt x="446" y="1511"/>
                  </a:lnTo>
                  <a:lnTo>
                    <a:pt x="446" y="1509"/>
                  </a:lnTo>
                  <a:lnTo>
                    <a:pt x="446" y="1511"/>
                  </a:lnTo>
                  <a:lnTo>
                    <a:pt x="444" y="1511"/>
                  </a:lnTo>
                  <a:lnTo>
                    <a:pt x="444" y="1509"/>
                  </a:lnTo>
                  <a:lnTo>
                    <a:pt x="444" y="1508"/>
                  </a:lnTo>
                  <a:lnTo>
                    <a:pt x="444" y="1506"/>
                  </a:lnTo>
                  <a:lnTo>
                    <a:pt x="444" y="1508"/>
                  </a:lnTo>
                  <a:lnTo>
                    <a:pt x="444" y="1506"/>
                  </a:lnTo>
                  <a:lnTo>
                    <a:pt x="446" y="1508"/>
                  </a:lnTo>
                  <a:lnTo>
                    <a:pt x="444" y="1508"/>
                  </a:lnTo>
                  <a:lnTo>
                    <a:pt x="446" y="1508"/>
                  </a:lnTo>
                  <a:lnTo>
                    <a:pt x="448" y="1508"/>
                  </a:lnTo>
                  <a:lnTo>
                    <a:pt x="446" y="1506"/>
                  </a:lnTo>
                  <a:lnTo>
                    <a:pt x="444" y="1506"/>
                  </a:lnTo>
                  <a:lnTo>
                    <a:pt x="444" y="1505"/>
                  </a:lnTo>
                  <a:lnTo>
                    <a:pt x="446" y="1505"/>
                  </a:lnTo>
                  <a:lnTo>
                    <a:pt x="444" y="1505"/>
                  </a:lnTo>
                  <a:lnTo>
                    <a:pt x="443" y="1505"/>
                  </a:lnTo>
                  <a:lnTo>
                    <a:pt x="443" y="1503"/>
                  </a:lnTo>
                  <a:lnTo>
                    <a:pt x="444" y="1503"/>
                  </a:lnTo>
                  <a:lnTo>
                    <a:pt x="444" y="1505"/>
                  </a:lnTo>
                  <a:lnTo>
                    <a:pt x="444" y="1503"/>
                  </a:lnTo>
                  <a:lnTo>
                    <a:pt x="444" y="1501"/>
                  </a:lnTo>
                  <a:lnTo>
                    <a:pt x="446" y="1500"/>
                  </a:lnTo>
                  <a:lnTo>
                    <a:pt x="446" y="1498"/>
                  </a:lnTo>
                  <a:lnTo>
                    <a:pt x="446" y="1496"/>
                  </a:lnTo>
                  <a:lnTo>
                    <a:pt x="448" y="1493"/>
                  </a:lnTo>
                  <a:lnTo>
                    <a:pt x="448" y="1492"/>
                  </a:lnTo>
                  <a:lnTo>
                    <a:pt x="456" y="1477"/>
                  </a:lnTo>
                  <a:lnTo>
                    <a:pt x="459" y="1470"/>
                  </a:lnTo>
                  <a:lnTo>
                    <a:pt x="459" y="1469"/>
                  </a:lnTo>
                  <a:lnTo>
                    <a:pt x="461" y="1464"/>
                  </a:lnTo>
                  <a:lnTo>
                    <a:pt x="464" y="1462"/>
                  </a:lnTo>
                  <a:lnTo>
                    <a:pt x="465" y="1457"/>
                  </a:lnTo>
                  <a:lnTo>
                    <a:pt x="467" y="1453"/>
                  </a:lnTo>
                  <a:lnTo>
                    <a:pt x="467" y="1449"/>
                  </a:lnTo>
                  <a:lnTo>
                    <a:pt x="469" y="1449"/>
                  </a:lnTo>
                  <a:lnTo>
                    <a:pt x="472" y="1441"/>
                  </a:lnTo>
                  <a:lnTo>
                    <a:pt x="474" y="1440"/>
                  </a:lnTo>
                  <a:lnTo>
                    <a:pt x="475" y="1438"/>
                  </a:lnTo>
                  <a:lnTo>
                    <a:pt x="475" y="1436"/>
                  </a:lnTo>
                  <a:lnTo>
                    <a:pt x="477" y="1433"/>
                  </a:lnTo>
                  <a:lnTo>
                    <a:pt x="477" y="1431"/>
                  </a:lnTo>
                  <a:lnTo>
                    <a:pt x="480" y="1431"/>
                  </a:lnTo>
                  <a:lnTo>
                    <a:pt x="482" y="1431"/>
                  </a:lnTo>
                  <a:lnTo>
                    <a:pt x="483" y="1431"/>
                  </a:lnTo>
                  <a:lnTo>
                    <a:pt x="487" y="1431"/>
                  </a:lnTo>
                  <a:lnTo>
                    <a:pt x="487" y="1430"/>
                  </a:lnTo>
                  <a:lnTo>
                    <a:pt x="487" y="1427"/>
                  </a:lnTo>
                  <a:lnTo>
                    <a:pt x="487" y="1420"/>
                  </a:lnTo>
                  <a:lnTo>
                    <a:pt x="487" y="1417"/>
                  </a:lnTo>
                  <a:lnTo>
                    <a:pt x="490" y="1412"/>
                  </a:lnTo>
                  <a:lnTo>
                    <a:pt x="491" y="1407"/>
                  </a:lnTo>
                  <a:lnTo>
                    <a:pt x="490" y="1404"/>
                  </a:lnTo>
                  <a:lnTo>
                    <a:pt x="493" y="1400"/>
                  </a:lnTo>
                  <a:lnTo>
                    <a:pt x="495" y="1400"/>
                  </a:lnTo>
                  <a:lnTo>
                    <a:pt x="495" y="1399"/>
                  </a:lnTo>
                  <a:lnTo>
                    <a:pt x="496" y="1399"/>
                  </a:lnTo>
                  <a:lnTo>
                    <a:pt x="498" y="1397"/>
                  </a:lnTo>
                  <a:lnTo>
                    <a:pt x="500" y="1394"/>
                  </a:lnTo>
                  <a:lnTo>
                    <a:pt x="501" y="1391"/>
                  </a:lnTo>
                  <a:lnTo>
                    <a:pt x="504" y="1387"/>
                  </a:lnTo>
                  <a:lnTo>
                    <a:pt x="506" y="1384"/>
                  </a:lnTo>
                  <a:lnTo>
                    <a:pt x="509" y="1381"/>
                  </a:lnTo>
                  <a:lnTo>
                    <a:pt x="509" y="1379"/>
                  </a:lnTo>
                  <a:lnTo>
                    <a:pt x="511" y="1378"/>
                  </a:lnTo>
                  <a:lnTo>
                    <a:pt x="513" y="1376"/>
                  </a:lnTo>
                  <a:lnTo>
                    <a:pt x="513" y="1374"/>
                  </a:lnTo>
                  <a:lnTo>
                    <a:pt x="513" y="1373"/>
                  </a:lnTo>
                  <a:lnTo>
                    <a:pt x="514" y="1366"/>
                  </a:lnTo>
                  <a:lnTo>
                    <a:pt x="514" y="1363"/>
                  </a:lnTo>
                  <a:lnTo>
                    <a:pt x="517" y="1357"/>
                  </a:lnTo>
                  <a:lnTo>
                    <a:pt x="522" y="1344"/>
                  </a:lnTo>
                  <a:lnTo>
                    <a:pt x="521" y="1340"/>
                  </a:lnTo>
                  <a:lnTo>
                    <a:pt x="522" y="1340"/>
                  </a:lnTo>
                  <a:lnTo>
                    <a:pt x="524" y="1339"/>
                  </a:lnTo>
                  <a:lnTo>
                    <a:pt x="526" y="1339"/>
                  </a:lnTo>
                  <a:lnTo>
                    <a:pt x="529" y="1334"/>
                  </a:lnTo>
                  <a:lnTo>
                    <a:pt x="529" y="1332"/>
                  </a:lnTo>
                  <a:lnTo>
                    <a:pt x="529" y="1331"/>
                  </a:lnTo>
                  <a:lnTo>
                    <a:pt x="530" y="1327"/>
                  </a:lnTo>
                  <a:lnTo>
                    <a:pt x="532" y="1326"/>
                  </a:lnTo>
                  <a:lnTo>
                    <a:pt x="532" y="1324"/>
                  </a:lnTo>
                  <a:lnTo>
                    <a:pt x="534" y="1322"/>
                  </a:lnTo>
                  <a:lnTo>
                    <a:pt x="532" y="1322"/>
                  </a:lnTo>
                  <a:lnTo>
                    <a:pt x="532" y="1321"/>
                  </a:lnTo>
                  <a:lnTo>
                    <a:pt x="535" y="1314"/>
                  </a:lnTo>
                  <a:lnTo>
                    <a:pt x="535" y="1311"/>
                  </a:lnTo>
                  <a:lnTo>
                    <a:pt x="535" y="1309"/>
                  </a:lnTo>
                  <a:lnTo>
                    <a:pt x="537" y="1308"/>
                  </a:lnTo>
                  <a:lnTo>
                    <a:pt x="539" y="1301"/>
                  </a:lnTo>
                  <a:lnTo>
                    <a:pt x="545" y="1292"/>
                  </a:lnTo>
                  <a:lnTo>
                    <a:pt x="545" y="1290"/>
                  </a:lnTo>
                  <a:lnTo>
                    <a:pt x="543" y="1285"/>
                  </a:lnTo>
                  <a:lnTo>
                    <a:pt x="547" y="1279"/>
                  </a:lnTo>
                  <a:lnTo>
                    <a:pt x="550" y="1274"/>
                  </a:lnTo>
                  <a:lnTo>
                    <a:pt x="548" y="1272"/>
                  </a:lnTo>
                  <a:lnTo>
                    <a:pt x="550" y="1272"/>
                  </a:lnTo>
                  <a:lnTo>
                    <a:pt x="552" y="1267"/>
                  </a:lnTo>
                  <a:lnTo>
                    <a:pt x="552" y="1265"/>
                  </a:lnTo>
                  <a:lnTo>
                    <a:pt x="553" y="1264"/>
                  </a:lnTo>
                  <a:lnTo>
                    <a:pt x="555" y="1264"/>
                  </a:lnTo>
                  <a:lnTo>
                    <a:pt x="555" y="1262"/>
                  </a:lnTo>
                  <a:lnTo>
                    <a:pt x="553" y="1259"/>
                  </a:lnTo>
                  <a:lnTo>
                    <a:pt x="555" y="1257"/>
                  </a:lnTo>
                  <a:lnTo>
                    <a:pt x="555" y="1256"/>
                  </a:lnTo>
                  <a:lnTo>
                    <a:pt x="556" y="1252"/>
                  </a:lnTo>
                  <a:lnTo>
                    <a:pt x="558" y="1249"/>
                  </a:lnTo>
                  <a:lnTo>
                    <a:pt x="563" y="1233"/>
                  </a:lnTo>
                  <a:lnTo>
                    <a:pt x="565" y="1230"/>
                  </a:lnTo>
                  <a:lnTo>
                    <a:pt x="565" y="1225"/>
                  </a:lnTo>
                  <a:lnTo>
                    <a:pt x="565" y="1223"/>
                  </a:lnTo>
                  <a:lnTo>
                    <a:pt x="563" y="1223"/>
                  </a:lnTo>
                  <a:lnTo>
                    <a:pt x="565" y="1222"/>
                  </a:lnTo>
                  <a:lnTo>
                    <a:pt x="565" y="1220"/>
                  </a:lnTo>
                  <a:lnTo>
                    <a:pt x="566" y="1218"/>
                  </a:lnTo>
                  <a:lnTo>
                    <a:pt x="569" y="1218"/>
                  </a:lnTo>
                  <a:lnTo>
                    <a:pt x="569" y="1215"/>
                  </a:lnTo>
                  <a:lnTo>
                    <a:pt x="571" y="1210"/>
                  </a:lnTo>
                  <a:lnTo>
                    <a:pt x="573" y="1209"/>
                  </a:lnTo>
                  <a:lnTo>
                    <a:pt x="571" y="1209"/>
                  </a:lnTo>
                  <a:lnTo>
                    <a:pt x="571" y="1207"/>
                  </a:lnTo>
                  <a:lnTo>
                    <a:pt x="573" y="1207"/>
                  </a:lnTo>
                  <a:lnTo>
                    <a:pt x="573" y="1205"/>
                  </a:lnTo>
                  <a:lnTo>
                    <a:pt x="574" y="1202"/>
                  </a:lnTo>
                  <a:lnTo>
                    <a:pt x="576" y="1200"/>
                  </a:lnTo>
                  <a:lnTo>
                    <a:pt x="579" y="1200"/>
                  </a:lnTo>
                  <a:lnTo>
                    <a:pt x="579" y="1199"/>
                  </a:lnTo>
                  <a:lnTo>
                    <a:pt x="579" y="1197"/>
                  </a:lnTo>
                  <a:lnTo>
                    <a:pt x="578" y="1197"/>
                  </a:lnTo>
                  <a:lnTo>
                    <a:pt x="584" y="1178"/>
                  </a:lnTo>
                  <a:lnTo>
                    <a:pt x="586" y="1176"/>
                  </a:lnTo>
                  <a:lnTo>
                    <a:pt x="586" y="1174"/>
                  </a:lnTo>
                  <a:lnTo>
                    <a:pt x="586" y="1171"/>
                  </a:lnTo>
                  <a:lnTo>
                    <a:pt x="586" y="1170"/>
                  </a:lnTo>
                  <a:lnTo>
                    <a:pt x="587" y="1168"/>
                  </a:lnTo>
                  <a:lnTo>
                    <a:pt x="587" y="1163"/>
                  </a:lnTo>
                  <a:lnTo>
                    <a:pt x="589" y="1147"/>
                  </a:lnTo>
                  <a:lnTo>
                    <a:pt x="591" y="1145"/>
                  </a:lnTo>
                  <a:lnTo>
                    <a:pt x="591" y="1144"/>
                  </a:lnTo>
                  <a:lnTo>
                    <a:pt x="589" y="1142"/>
                  </a:lnTo>
                  <a:lnTo>
                    <a:pt x="589" y="1140"/>
                  </a:lnTo>
                  <a:lnTo>
                    <a:pt x="589" y="1139"/>
                  </a:lnTo>
                  <a:lnTo>
                    <a:pt x="587" y="1126"/>
                  </a:lnTo>
                  <a:lnTo>
                    <a:pt x="589" y="1124"/>
                  </a:lnTo>
                  <a:lnTo>
                    <a:pt x="589" y="1122"/>
                  </a:lnTo>
                  <a:lnTo>
                    <a:pt x="589" y="1119"/>
                  </a:lnTo>
                  <a:lnTo>
                    <a:pt x="592" y="1106"/>
                  </a:lnTo>
                  <a:lnTo>
                    <a:pt x="589" y="1103"/>
                  </a:lnTo>
                  <a:lnTo>
                    <a:pt x="582" y="1095"/>
                  </a:lnTo>
                  <a:lnTo>
                    <a:pt x="581" y="1095"/>
                  </a:lnTo>
                  <a:lnTo>
                    <a:pt x="579" y="1095"/>
                  </a:lnTo>
                  <a:lnTo>
                    <a:pt x="578" y="1091"/>
                  </a:lnTo>
                  <a:lnTo>
                    <a:pt x="576" y="1090"/>
                  </a:lnTo>
                  <a:lnTo>
                    <a:pt x="574" y="1090"/>
                  </a:lnTo>
                  <a:lnTo>
                    <a:pt x="569" y="1087"/>
                  </a:lnTo>
                  <a:lnTo>
                    <a:pt x="568" y="1087"/>
                  </a:lnTo>
                  <a:lnTo>
                    <a:pt x="565" y="1085"/>
                  </a:lnTo>
                  <a:lnTo>
                    <a:pt x="563" y="1085"/>
                  </a:lnTo>
                  <a:lnTo>
                    <a:pt x="563" y="1083"/>
                  </a:lnTo>
                  <a:lnTo>
                    <a:pt x="561" y="1082"/>
                  </a:lnTo>
                  <a:lnTo>
                    <a:pt x="558" y="1075"/>
                  </a:lnTo>
                  <a:lnTo>
                    <a:pt x="558" y="1074"/>
                  </a:lnTo>
                  <a:lnTo>
                    <a:pt x="556" y="1074"/>
                  </a:lnTo>
                  <a:lnTo>
                    <a:pt x="556" y="1070"/>
                  </a:lnTo>
                  <a:lnTo>
                    <a:pt x="555" y="1070"/>
                  </a:lnTo>
                  <a:lnTo>
                    <a:pt x="555" y="1069"/>
                  </a:lnTo>
                  <a:lnTo>
                    <a:pt x="553" y="1069"/>
                  </a:lnTo>
                  <a:lnTo>
                    <a:pt x="552" y="1069"/>
                  </a:lnTo>
                  <a:lnTo>
                    <a:pt x="550" y="1067"/>
                  </a:lnTo>
                  <a:lnTo>
                    <a:pt x="548" y="1065"/>
                  </a:lnTo>
                  <a:lnTo>
                    <a:pt x="547" y="1065"/>
                  </a:lnTo>
                  <a:lnTo>
                    <a:pt x="545" y="1065"/>
                  </a:lnTo>
                  <a:lnTo>
                    <a:pt x="543" y="1065"/>
                  </a:lnTo>
                  <a:lnTo>
                    <a:pt x="543" y="1064"/>
                  </a:lnTo>
                  <a:lnTo>
                    <a:pt x="542" y="1064"/>
                  </a:lnTo>
                  <a:lnTo>
                    <a:pt x="539" y="1062"/>
                  </a:lnTo>
                  <a:lnTo>
                    <a:pt x="537" y="1062"/>
                  </a:lnTo>
                  <a:lnTo>
                    <a:pt x="535" y="1062"/>
                  </a:lnTo>
                  <a:lnTo>
                    <a:pt x="532" y="1059"/>
                  </a:lnTo>
                  <a:lnTo>
                    <a:pt x="530" y="1057"/>
                  </a:lnTo>
                  <a:lnTo>
                    <a:pt x="526" y="1057"/>
                  </a:lnTo>
                  <a:lnTo>
                    <a:pt x="524" y="1056"/>
                  </a:lnTo>
                  <a:lnTo>
                    <a:pt x="521" y="1054"/>
                  </a:lnTo>
                  <a:lnTo>
                    <a:pt x="519" y="1052"/>
                  </a:lnTo>
                  <a:lnTo>
                    <a:pt x="514" y="1052"/>
                  </a:lnTo>
                  <a:lnTo>
                    <a:pt x="506" y="1051"/>
                  </a:lnTo>
                  <a:lnTo>
                    <a:pt x="500" y="1051"/>
                  </a:lnTo>
                  <a:lnTo>
                    <a:pt x="498" y="1049"/>
                  </a:lnTo>
                  <a:lnTo>
                    <a:pt x="488" y="1041"/>
                  </a:lnTo>
                  <a:lnTo>
                    <a:pt x="482" y="1039"/>
                  </a:lnTo>
                  <a:lnTo>
                    <a:pt x="478" y="1038"/>
                  </a:lnTo>
                  <a:lnTo>
                    <a:pt x="477" y="1035"/>
                  </a:lnTo>
                  <a:lnTo>
                    <a:pt x="467" y="1030"/>
                  </a:lnTo>
                  <a:lnTo>
                    <a:pt x="467" y="1028"/>
                  </a:lnTo>
                  <a:lnTo>
                    <a:pt x="465" y="1028"/>
                  </a:lnTo>
                  <a:lnTo>
                    <a:pt x="464" y="1026"/>
                  </a:lnTo>
                  <a:lnTo>
                    <a:pt x="462" y="1026"/>
                  </a:lnTo>
                  <a:lnTo>
                    <a:pt x="462" y="1025"/>
                  </a:lnTo>
                  <a:lnTo>
                    <a:pt x="454" y="1020"/>
                  </a:lnTo>
                  <a:lnTo>
                    <a:pt x="464" y="1010"/>
                  </a:lnTo>
                  <a:lnTo>
                    <a:pt x="469" y="1005"/>
                  </a:lnTo>
                  <a:lnTo>
                    <a:pt x="469" y="992"/>
                  </a:lnTo>
                  <a:lnTo>
                    <a:pt x="469" y="989"/>
                  </a:lnTo>
                  <a:lnTo>
                    <a:pt x="470" y="987"/>
                  </a:lnTo>
                  <a:lnTo>
                    <a:pt x="474" y="979"/>
                  </a:lnTo>
                  <a:lnTo>
                    <a:pt x="474" y="974"/>
                  </a:lnTo>
                  <a:lnTo>
                    <a:pt x="475" y="969"/>
                  </a:lnTo>
                  <a:lnTo>
                    <a:pt x="475" y="968"/>
                  </a:lnTo>
                  <a:lnTo>
                    <a:pt x="474" y="965"/>
                  </a:lnTo>
                  <a:lnTo>
                    <a:pt x="474" y="961"/>
                  </a:lnTo>
                  <a:lnTo>
                    <a:pt x="472" y="958"/>
                  </a:lnTo>
                  <a:lnTo>
                    <a:pt x="469" y="955"/>
                  </a:lnTo>
                  <a:lnTo>
                    <a:pt x="464" y="950"/>
                  </a:lnTo>
                  <a:lnTo>
                    <a:pt x="465" y="947"/>
                  </a:lnTo>
                  <a:lnTo>
                    <a:pt x="464" y="942"/>
                  </a:lnTo>
                  <a:lnTo>
                    <a:pt x="462" y="942"/>
                  </a:lnTo>
                  <a:lnTo>
                    <a:pt x="456" y="942"/>
                  </a:lnTo>
                  <a:lnTo>
                    <a:pt x="454" y="940"/>
                  </a:lnTo>
                  <a:lnTo>
                    <a:pt x="454" y="939"/>
                  </a:lnTo>
                  <a:lnTo>
                    <a:pt x="444" y="935"/>
                  </a:lnTo>
                  <a:lnTo>
                    <a:pt x="443" y="934"/>
                  </a:lnTo>
                  <a:lnTo>
                    <a:pt x="439" y="935"/>
                  </a:lnTo>
                  <a:lnTo>
                    <a:pt x="436" y="934"/>
                  </a:lnTo>
                  <a:lnTo>
                    <a:pt x="430" y="930"/>
                  </a:lnTo>
                  <a:lnTo>
                    <a:pt x="430" y="926"/>
                  </a:lnTo>
                  <a:lnTo>
                    <a:pt x="430" y="924"/>
                  </a:lnTo>
                  <a:lnTo>
                    <a:pt x="428" y="922"/>
                  </a:lnTo>
                  <a:lnTo>
                    <a:pt x="426" y="921"/>
                  </a:lnTo>
                  <a:lnTo>
                    <a:pt x="426" y="919"/>
                  </a:lnTo>
                  <a:lnTo>
                    <a:pt x="425" y="917"/>
                  </a:lnTo>
                  <a:lnTo>
                    <a:pt x="425" y="916"/>
                  </a:lnTo>
                  <a:lnTo>
                    <a:pt x="423" y="916"/>
                  </a:lnTo>
                  <a:lnTo>
                    <a:pt x="421" y="913"/>
                  </a:lnTo>
                  <a:lnTo>
                    <a:pt x="418" y="906"/>
                  </a:lnTo>
                  <a:lnTo>
                    <a:pt x="418" y="904"/>
                  </a:lnTo>
                  <a:lnTo>
                    <a:pt x="420" y="901"/>
                  </a:lnTo>
                  <a:lnTo>
                    <a:pt x="421" y="901"/>
                  </a:lnTo>
                  <a:lnTo>
                    <a:pt x="425" y="898"/>
                  </a:lnTo>
                  <a:lnTo>
                    <a:pt x="425" y="896"/>
                  </a:lnTo>
                  <a:lnTo>
                    <a:pt x="425" y="895"/>
                  </a:lnTo>
                  <a:lnTo>
                    <a:pt x="417" y="887"/>
                  </a:lnTo>
                  <a:lnTo>
                    <a:pt x="415" y="883"/>
                  </a:lnTo>
                  <a:lnTo>
                    <a:pt x="417" y="878"/>
                  </a:lnTo>
                  <a:lnTo>
                    <a:pt x="413" y="877"/>
                  </a:lnTo>
                  <a:lnTo>
                    <a:pt x="408" y="877"/>
                  </a:lnTo>
                  <a:lnTo>
                    <a:pt x="405" y="878"/>
                  </a:lnTo>
                  <a:lnTo>
                    <a:pt x="404" y="878"/>
                  </a:lnTo>
                  <a:lnTo>
                    <a:pt x="402" y="880"/>
                  </a:lnTo>
                  <a:lnTo>
                    <a:pt x="395" y="882"/>
                  </a:lnTo>
                  <a:lnTo>
                    <a:pt x="394" y="880"/>
                  </a:lnTo>
                  <a:lnTo>
                    <a:pt x="391" y="878"/>
                  </a:lnTo>
                  <a:lnTo>
                    <a:pt x="391" y="877"/>
                  </a:lnTo>
                  <a:lnTo>
                    <a:pt x="389" y="875"/>
                  </a:lnTo>
                  <a:lnTo>
                    <a:pt x="386" y="874"/>
                  </a:lnTo>
                  <a:lnTo>
                    <a:pt x="382" y="867"/>
                  </a:lnTo>
                  <a:lnTo>
                    <a:pt x="382" y="865"/>
                  </a:lnTo>
                  <a:lnTo>
                    <a:pt x="381" y="861"/>
                  </a:lnTo>
                  <a:lnTo>
                    <a:pt x="378" y="856"/>
                  </a:lnTo>
                  <a:lnTo>
                    <a:pt x="378" y="854"/>
                  </a:lnTo>
                  <a:lnTo>
                    <a:pt x="376" y="848"/>
                  </a:lnTo>
                  <a:lnTo>
                    <a:pt x="382" y="841"/>
                  </a:lnTo>
                  <a:lnTo>
                    <a:pt x="384" y="841"/>
                  </a:lnTo>
                  <a:lnTo>
                    <a:pt x="387" y="839"/>
                  </a:lnTo>
                  <a:lnTo>
                    <a:pt x="391" y="836"/>
                  </a:lnTo>
                  <a:lnTo>
                    <a:pt x="387" y="834"/>
                  </a:lnTo>
                  <a:lnTo>
                    <a:pt x="387" y="833"/>
                  </a:lnTo>
                  <a:lnTo>
                    <a:pt x="387" y="834"/>
                  </a:lnTo>
                  <a:lnTo>
                    <a:pt x="386" y="833"/>
                  </a:lnTo>
                  <a:lnTo>
                    <a:pt x="384" y="831"/>
                  </a:lnTo>
                  <a:lnTo>
                    <a:pt x="386" y="825"/>
                  </a:lnTo>
                  <a:lnTo>
                    <a:pt x="386" y="823"/>
                  </a:lnTo>
                  <a:lnTo>
                    <a:pt x="384" y="821"/>
                  </a:lnTo>
                  <a:lnTo>
                    <a:pt x="379" y="821"/>
                  </a:lnTo>
                  <a:lnTo>
                    <a:pt x="378" y="821"/>
                  </a:lnTo>
                  <a:lnTo>
                    <a:pt x="376" y="821"/>
                  </a:lnTo>
                  <a:lnTo>
                    <a:pt x="374" y="823"/>
                  </a:lnTo>
                  <a:lnTo>
                    <a:pt x="369" y="823"/>
                  </a:lnTo>
                  <a:lnTo>
                    <a:pt x="368" y="820"/>
                  </a:lnTo>
                  <a:lnTo>
                    <a:pt x="366" y="820"/>
                  </a:lnTo>
                  <a:lnTo>
                    <a:pt x="366" y="818"/>
                  </a:lnTo>
                  <a:lnTo>
                    <a:pt x="368" y="813"/>
                  </a:lnTo>
                  <a:lnTo>
                    <a:pt x="369" y="810"/>
                  </a:lnTo>
                  <a:lnTo>
                    <a:pt x="371" y="807"/>
                  </a:lnTo>
                  <a:lnTo>
                    <a:pt x="371" y="805"/>
                  </a:lnTo>
                  <a:lnTo>
                    <a:pt x="369" y="802"/>
                  </a:lnTo>
                  <a:lnTo>
                    <a:pt x="368" y="799"/>
                  </a:lnTo>
                  <a:lnTo>
                    <a:pt x="366" y="791"/>
                  </a:lnTo>
                  <a:lnTo>
                    <a:pt x="365" y="787"/>
                  </a:lnTo>
                  <a:lnTo>
                    <a:pt x="365" y="786"/>
                  </a:lnTo>
                  <a:lnTo>
                    <a:pt x="366" y="781"/>
                  </a:lnTo>
                  <a:lnTo>
                    <a:pt x="369" y="774"/>
                  </a:lnTo>
                  <a:lnTo>
                    <a:pt x="361" y="771"/>
                  </a:lnTo>
                  <a:lnTo>
                    <a:pt x="356" y="766"/>
                  </a:lnTo>
                  <a:lnTo>
                    <a:pt x="365" y="760"/>
                  </a:lnTo>
                  <a:lnTo>
                    <a:pt x="366" y="758"/>
                  </a:lnTo>
                  <a:lnTo>
                    <a:pt x="371" y="753"/>
                  </a:lnTo>
                  <a:lnTo>
                    <a:pt x="373" y="753"/>
                  </a:lnTo>
                  <a:lnTo>
                    <a:pt x="379" y="755"/>
                  </a:lnTo>
                  <a:lnTo>
                    <a:pt x="378" y="750"/>
                  </a:lnTo>
                  <a:lnTo>
                    <a:pt x="374" y="743"/>
                  </a:lnTo>
                  <a:lnTo>
                    <a:pt x="371" y="735"/>
                  </a:lnTo>
                  <a:lnTo>
                    <a:pt x="366" y="726"/>
                  </a:lnTo>
                  <a:lnTo>
                    <a:pt x="360" y="716"/>
                  </a:lnTo>
                  <a:lnTo>
                    <a:pt x="358" y="716"/>
                  </a:lnTo>
                  <a:lnTo>
                    <a:pt x="358" y="714"/>
                  </a:lnTo>
                  <a:lnTo>
                    <a:pt x="356" y="709"/>
                  </a:lnTo>
                  <a:lnTo>
                    <a:pt x="355" y="709"/>
                  </a:lnTo>
                  <a:lnTo>
                    <a:pt x="355" y="708"/>
                  </a:lnTo>
                  <a:lnTo>
                    <a:pt x="353" y="708"/>
                  </a:lnTo>
                  <a:lnTo>
                    <a:pt x="348" y="696"/>
                  </a:lnTo>
                  <a:lnTo>
                    <a:pt x="347" y="696"/>
                  </a:lnTo>
                  <a:lnTo>
                    <a:pt x="347" y="695"/>
                  </a:lnTo>
                  <a:lnTo>
                    <a:pt x="330" y="682"/>
                  </a:lnTo>
                  <a:lnTo>
                    <a:pt x="329" y="678"/>
                  </a:lnTo>
                  <a:lnTo>
                    <a:pt x="327" y="678"/>
                  </a:lnTo>
                  <a:lnTo>
                    <a:pt x="324" y="673"/>
                  </a:lnTo>
                  <a:lnTo>
                    <a:pt x="321" y="669"/>
                  </a:lnTo>
                  <a:lnTo>
                    <a:pt x="308" y="651"/>
                  </a:lnTo>
                  <a:lnTo>
                    <a:pt x="303" y="644"/>
                  </a:lnTo>
                  <a:lnTo>
                    <a:pt x="300" y="643"/>
                  </a:lnTo>
                  <a:lnTo>
                    <a:pt x="300" y="641"/>
                  </a:lnTo>
                  <a:lnTo>
                    <a:pt x="298" y="641"/>
                  </a:lnTo>
                  <a:lnTo>
                    <a:pt x="298" y="639"/>
                  </a:lnTo>
                  <a:lnTo>
                    <a:pt x="296" y="641"/>
                  </a:lnTo>
                  <a:lnTo>
                    <a:pt x="296" y="639"/>
                  </a:lnTo>
                  <a:lnTo>
                    <a:pt x="296" y="638"/>
                  </a:lnTo>
                  <a:lnTo>
                    <a:pt x="295" y="638"/>
                  </a:lnTo>
                  <a:lnTo>
                    <a:pt x="295" y="636"/>
                  </a:lnTo>
                  <a:lnTo>
                    <a:pt x="293" y="636"/>
                  </a:lnTo>
                  <a:lnTo>
                    <a:pt x="293" y="634"/>
                  </a:lnTo>
                  <a:lnTo>
                    <a:pt x="283" y="626"/>
                  </a:lnTo>
                  <a:lnTo>
                    <a:pt x="277" y="620"/>
                  </a:lnTo>
                  <a:lnTo>
                    <a:pt x="275" y="620"/>
                  </a:lnTo>
                  <a:lnTo>
                    <a:pt x="275" y="618"/>
                  </a:lnTo>
                  <a:lnTo>
                    <a:pt x="273" y="618"/>
                  </a:lnTo>
                  <a:lnTo>
                    <a:pt x="273" y="617"/>
                  </a:lnTo>
                  <a:lnTo>
                    <a:pt x="269" y="610"/>
                  </a:lnTo>
                  <a:lnTo>
                    <a:pt x="264" y="602"/>
                  </a:lnTo>
                  <a:lnTo>
                    <a:pt x="264" y="600"/>
                  </a:lnTo>
                  <a:lnTo>
                    <a:pt x="264" y="599"/>
                  </a:lnTo>
                  <a:lnTo>
                    <a:pt x="262" y="597"/>
                  </a:lnTo>
                  <a:lnTo>
                    <a:pt x="262" y="595"/>
                  </a:lnTo>
                  <a:lnTo>
                    <a:pt x="262" y="592"/>
                  </a:lnTo>
                  <a:lnTo>
                    <a:pt x="264" y="587"/>
                  </a:lnTo>
                  <a:lnTo>
                    <a:pt x="270" y="561"/>
                  </a:lnTo>
                  <a:lnTo>
                    <a:pt x="273" y="548"/>
                  </a:lnTo>
                  <a:lnTo>
                    <a:pt x="273" y="545"/>
                  </a:lnTo>
                  <a:lnTo>
                    <a:pt x="273" y="543"/>
                  </a:lnTo>
                  <a:lnTo>
                    <a:pt x="273" y="542"/>
                  </a:lnTo>
                  <a:lnTo>
                    <a:pt x="273" y="540"/>
                  </a:lnTo>
                  <a:lnTo>
                    <a:pt x="275" y="540"/>
                  </a:lnTo>
                  <a:lnTo>
                    <a:pt x="277" y="538"/>
                  </a:lnTo>
                  <a:lnTo>
                    <a:pt x="275" y="538"/>
                  </a:lnTo>
                  <a:lnTo>
                    <a:pt x="275" y="537"/>
                  </a:lnTo>
                  <a:lnTo>
                    <a:pt x="277" y="537"/>
                  </a:lnTo>
                  <a:lnTo>
                    <a:pt x="278" y="535"/>
                  </a:lnTo>
                  <a:lnTo>
                    <a:pt x="278" y="534"/>
                  </a:lnTo>
                  <a:lnTo>
                    <a:pt x="277" y="535"/>
                  </a:lnTo>
                  <a:lnTo>
                    <a:pt x="277" y="534"/>
                  </a:lnTo>
                  <a:lnTo>
                    <a:pt x="278" y="532"/>
                  </a:lnTo>
                  <a:lnTo>
                    <a:pt x="278" y="530"/>
                  </a:lnTo>
                  <a:lnTo>
                    <a:pt x="278" y="529"/>
                  </a:lnTo>
                  <a:lnTo>
                    <a:pt x="280" y="527"/>
                  </a:lnTo>
                  <a:lnTo>
                    <a:pt x="280" y="525"/>
                  </a:lnTo>
                  <a:lnTo>
                    <a:pt x="282" y="521"/>
                  </a:lnTo>
                  <a:lnTo>
                    <a:pt x="283" y="511"/>
                  </a:lnTo>
                  <a:lnTo>
                    <a:pt x="285" y="504"/>
                  </a:lnTo>
                  <a:lnTo>
                    <a:pt x="283" y="490"/>
                  </a:lnTo>
                  <a:lnTo>
                    <a:pt x="283" y="483"/>
                  </a:lnTo>
                  <a:lnTo>
                    <a:pt x="260" y="472"/>
                  </a:lnTo>
                  <a:lnTo>
                    <a:pt x="259" y="472"/>
                  </a:lnTo>
                  <a:lnTo>
                    <a:pt x="230" y="439"/>
                  </a:lnTo>
                  <a:lnTo>
                    <a:pt x="192" y="433"/>
                  </a:lnTo>
                  <a:lnTo>
                    <a:pt x="189" y="433"/>
                  </a:lnTo>
                  <a:lnTo>
                    <a:pt x="186" y="426"/>
                  </a:lnTo>
                  <a:lnTo>
                    <a:pt x="165" y="389"/>
                  </a:lnTo>
                  <a:lnTo>
                    <a:pt x="166" y="376"/>
                  </a:lnTo>
                  <a:lnTo>
                    <a:pt x="168" y="366"/>
                  </a:lnTo>
                  <a:lnTo>
                    <a:pt x="169" y="356"/>
                  </a:lnTo>
                  <a:lnTo>
                    <a:pt x="168" y="338"/>
                  </a:lnTo>
                  <a:lnTo>
                    <a:pt x="160" y="338"/>
                  </a:lnTo>
                  <a:lnTo>
                    <a:pt x="152" y="340"/>
                  </a:lnTo>
                  <a:lnTo>
                    <a:pt x="147" y="337"/>
                  </a:lnTo>
                  <a:lnTo>
                    <a:pt x="150" y="334"/>
                  </a:lnTo>
                  <a:lnTo>
                    <a:pt x="163" y="317"/>
                  </a:lnTo>
                  <a:lnTo>
                    <a:pt x="166" y="311"/>
                  </a:lnTo>
                  <a:lnTo>
                    <a:pt x="171" y="312"/>
                  </a:lnTo>
                  <a:lnTo>
                    <a:pt x="173" y="314"/>
                  </a:lnTo>
                  <a:lnTo>
                    <a:pt x="174" y="314"/>
                  </a:lnTo>
                  <a:lnTo>
                    <a:pt x="174" y="316"/>
                  </a:lnTo>
                  <a:lnTo>
                    <a:pt x="176" y="314"/>
                  </a:lnTo>
                  <a:lnTo>
                    <a:pt x="176" y="311"/>
                  </a:lnTo>
                  <a:lnTo>
                    <a:pt x="178" y="308"/>
                  </a:lnTo>
                  <a:lnTo>
                    <a:pt x="178" y="306"/>
                  </a:lnTo>
                  <a:lnTo>
                    <a:pt x="179" y="299"/>
                  </a:lnTo>
                  <a:lnTo>
                    <a:pt x="179" y="298"/>
                  </a:lnTo>
                  <a:lnTo>
                    <a:pt x="179" y="296"/>
                  </a:lnTo>
                  <a:lnTo>
                    <a:pt x="179" y="295"/>
                  </a:lnTo>
                  <a:lnTo>
                    <a:pt x="179" y="293"/>
                  </a:lnTo>
                  <a:lnTo>
                    <a:pt x="178" y="291"/>
                  </a:lnTo>
                  <a:lnTo>
                    <a:pt x="179" y="291"/>
                  </a:lnTo>
                  <a:lnTo>
                    <a:pt x="179" y="290"/>
                  </a:lnTo>
                  <a:lnTo>
                    <a:pt x="179" y="288"/>
                  </a:lnTo>
                  <a:lnTo>
                    <a:pt x="179" y="285"/>
                  </a:lnTo>
                  <a:lnTo>
                    <a:pt x="178" y="283"/>
                  </a:lnTo>
                  <a:lnTo>
                    <a:pt x="178" y="282"/>
                  </a:lnTo>
                  <a:lnTo>
                    <a:pt x="176" y="278"/>
                  </a:lnTo>
                  <a:lnTo>
                    <a:pt x="174" y="275"/>
                  </a:lnTo>
                  <a:lnTo>
                    <a:pt x="174" y="273"/>
                  </a:lnTo>
                  <a:lnTo>
                    <a:pt x="174" y="272"/>
                  </a:lnTo>
                  <a:lnTo>
                    <a:pt x="176" y="272"/>
                  </a:lnTo>
                  <a:lnTo>
                    <a:pt x="178" y="270"/>
                  </a:lnTo>
                  <a:lnTo>
                    <a:pt x="178" y="268"/>
                  </a:lnTo>
                  <a:lnTo>
                    <a:pt x="179" y="268"/>
                  </a:lnTo>
                  <a:lnTo>
                    <a:pt x="182" y="267"/>
                  </a:lnTo>
                  <a:lnTo>
                    <a:pt x="184" y="265"/>
                  </a:lnTo>
                  <a:lnTo>
                    <a:pt x="186" y="267"/>
                  </a:lnTo>
                  <a:lnTo>
                    <a:pt x="187" y="265"/>
                  </a:lnTo>
                  <a:lnTo>
                    <a:pt x="189" y="260"/>
                  </a:lnTo>
                  <a:lnTo>
                    <a:pt x="191" y="257"/>
                  </a:lnTo>
                  <a:lnTo>
                    <a:pt x="191" y="255"/>
                  </a:lnTo>
                  <a:lnTo>
                    <a:pt x="191" y="254"/>
                  </a:lnTo>
                  <a:lnTo>
                    <a:pt x="192" y="254"/>
                  </a:lnTo>
                  <a:lnTo>
                    <a:pt x="192" y="252"/>
                  </a:lnTo>
                  <a:lnTo>
                    <a:pt x="194" y="252"/>
                  </a:lnTo>
                  <a:lnTo>
                    <a:pt x="194" y="251"/>
                  </a:lnTo>
                  <a:lnTo>
                    <a:pt x="195" y="249"/>
                  </a:lnTo>
                  <a:lnTo>
                    <a:pt x="195" y="247"/>
                  </a:lnTo>
                  <a:lnTo>
                    <a:pt x="197" y="247"/>
                  </a:lnTo>
                  <a:lnTo>
                    <a:pt x="199" y="247"/>
                  </a:lnTo>
                  <a:lnTo>
                    <a:pt x="200" y="247"/>
                  </a:lnTo>
                  <a:lnTo>
                    <a:pt x="200" y="249"/>
                  </a:lnTo>
                  <a:lnTo>
                    <a:pt x="202" y="249"/>
                  </a:lnTo>
                  <a:lnTo>
                    <a:pt x="204" y="247"/>
                  </a:lnTo>
                  <a:lnTo>
                    <a:pt x="204" y="246"/>
                  </a:lnTo>
                  <a:lnTo>
                    <a:pt x="205" y="239"/>
                  </a:lnTo>
                  <a:lnTo>
                    <a:pt x="207" y="238"/>
                  </a:lnTo>
                  <a:lnTo>
                    <a:pt x="207" y="236"/>
                  </a:lnTo>
                  <a:lnTo>
                    <a:pt x="205" y="234"/>
                  </a:lnTo>
                  <a:lnTo>
                    <a:pt x="205" y="233"/>
                  </a:lnTo>
                  <a:lnTo>
                    <a:pt x="205" y="231"/>
                  </a:lnTo>
                  <a:lnTo>
                    <a:pt x="205" y="229"/>
                  </a:lnTo>
                  <a:lnTo>
                    <a:pt x="205" y="228"/>
                  </a:lnTo>
                  <a:lnTo>
                    <a:pt x="207" y="228"/>
                  </a:lnTo>
                  <a:lnTo>
                    <a:pt x="205" y="225"/>
                  </a:lnTo>
                  <a:lnTo>
                    <a:pt x="205" y="223"/>
                  </a:lnTo>
                  <a:lnTo>
                    <a:pt x="204" y="221"/>
                  </a:lnTo>
                  <a:lnTo>
                    <a:pt x="204" y="220"/>
                  </a:lnTo>
                  <a:lnTo>
                    <a:pt x="202" y="218"/>
                  </a:lnTo>
                  <a:lnTo>
                    <a:pt x="200" y="215"/>
                  </a:lnTo>
                  <a:lnTo>
                    <a:pt x="200" y="213"/>
                  </a:lnTo>
                  <a:lnTo>
                    <a:pt x="197" y="213"/>
                  </a:lnTo>
                  <a:lnTo>
                    <a:pt x="197" y="212"/>
                  </a:lnTo>
                  <a:lnTo>
                    <a:pt x="199" y="210"/>
                  </a:lnTo>
                  <a:lnTo>
                    <a:pt x="199" y="212"/>
                  </a:lnTo>
                  <a:lnTo>
                    <a:pt x="200" y="213"/>
                  </a:lnTo>
                  <a:lnTo>
                    <a:pt x="199" y="212"/>
                  </a:lnTo>
                  <a:lnTo>
                    <a:pt x="200" y="212"/>
                  </a:lnTo>
                  <a:lnTo>
                    <a:pt x="199" y="212"/>
                  </a:lnTo>
                  <a:lnTo>
                    <a:pt x="199" y="210"/>
                  </a:lnTo>
                  <a:lnTo>
                    <a:pt x="200" y="210"/>
                  </a:lnTo>
                  <a:lnTo>
                    <a:pt x="204" y="212"/>
                  </a:lnTo>
                  <a:lnTo>
                    <a:pt x="205" y="212"/>
                  </a:lnTo>
                  <a:lnTo>
                    <a:pt x="208" y="213"/>
                  </a:lnTo>
                  <a:lnTo>
                    <a:pt x="210" y="213"/>
                  </a:lnTo>
                  <a:lnTo>
                    <a:pt x="215" y="216"/>
                  </a:lnTo>
                  <a:lnTo>
                    <a:pt x="223" y="221"/>
                  </a:lnTo>
                  <a:lnTo>
                    <a:pt x="225" y="221"/>
                  </a:lnTo>
                  <a:lnTo>
                    <a:pt x="228" y="220"/>
                  </a:lnTo>
                  <a:lnTo>
                    <a:pt x="233" y="220"/>
                  </a:lnTo>
                  <a:lnTo>
                    <a:pt x="238" y="218"/>
                  </a:lnTo>
                  <a:lnTo>
                    <a:pt x="239" y="216"/>
                  </a:lnTo>
                  <a:lnTo>
                    <a:pt x="241" y="215"/>
                  </a:lnTo>
                  <a:lnTo>
                    <a:pt x="241" y="213"/>
                  </a:lnTo>
                  <a:lnTo>
                    <a:pt x="243" y="212"/>
                  </a:lnTo>
                  <a:lnTo>
                    <a:pt x="241" y="212"/>
                  </a:lnTo>
                  <a:lnTo>
                    <a:pt x="241" y="210"/>
                  </a:lnTo>
                  <a:lnTo>
                    <a:pt x="241" y="207"/>
                  </a:lnTo>
                  <a:lnTo>
                    <a:pt x="241" y="205"/>
                  </a:lnTo>
                  <a:lnTo>
                    <a:pt x="239" y="205"/>
                  </a:lnTo>
                  <a:lnTo>
                    <a:pt x="239" y="203"/>
                  </a:lnTo>
                  <a:lnTo>
                    <a:pt x="239" y="202"/>
                  </a:lnTo>
                  <a:lnTo>
                    <a:pt x="238" y="202"/>
                  </a:lnTo>
                  <a:lnTo>
                    <a:pt x="238" y="200"/>
                  </a:lnTo>
                  <a:lnTo>
                    <a:pt x="238" y="199"/>
                  </a:lnTo>
                  <a:lnTo>
                    <a:pt x="236" y="199"/>
                  </a:lnTo>
                  <a:lnTo>
                    <a:pt x="236" y="197"/>
                  </a:lnTo>
                  <a:lnTo>
                    <a:pt x="238" y="197"/>
                  </a:lnTo>
                  <a:lnTo>
                    <a:pt x="236" y="197"/>
                  </a:lnTo>
                  <a:lnTo>
                    <a:pt x="238" y="197"/>
                  </a:lnTo>
                  <a:lnTo>
                    <a:pt x="236" y="195"/>
                  </a:lnTo>
                  <a:lnTo>
                    <a:pt x="234" y="195"/>
                  </a:lnTo>
                  <a:lnTo>
                    <a:pt x="234" y="194"/>
                  </a:lnTo>
                  <a:lnTo>
                    <a:pt x="233" y="194"/>
                  </a:lnTo>
                  <a:lnTo>
                    <a:pt x="231" y="192"/>
                  </a:lnTo>
                  <a:lnTo>
                    <a:pt x="233" y="192"/>
                  </a:lnTo>
                  <a:lnTo>
                    <a:pt x="231" y="190"/>
                  </a:lnTo>
                  <a:lnTo>
                    <a:pt x="231" y="189"/>
                  </a:lnTo>
                  <a:lnTo>
                    <a:pt x="230" y="189"/>
                  </a:lnTo>
                  <a:lnTo>
                    <a:pt x="230" y="187"/>
                  </a:lnTo>
                  <a:lnTo>
                    <a:pt x="228" y="187"/>
                  </a:lnTo>
                  <a:lnTo>
                    <a:pt x="228" y="186"/>
                  </a:lnTo>
                  <a:lnTo>
                    <a:pt x="226" y="186"/>
                  </a:lnTo>
                  <a:lnTo>
                    <a:pt x="226" y="184"/>
                  </a:lnTo>
                  <a:lnTo>
                    <a:pt x="226" y="182"/>
                  </a:lnTo>
                  <a:lnTo>
                    <a:pt x="226" y="184"/>
                  </a:lnTo>
                  <a:lnTo>
                    <a:pt x="226" y="182"/>
                  </a:lnTo>
                  <a:lnTo>
                    <a:pt x="226" y="184"/>
                  </a:lnTo>
                  <a:lnTo>
                    <a:pt x="228" y="184"/>
                  </a:lnTo>
                  <a:lnTo>
                    <a:pt x="228" y="182"/>
                  </a:lnTo>
                  <a:lnTo>
                    <a:pt x="230" y="182"/>
                  </a:lnTo>
                  <a:lnTo>
                    <a:pt x="231" y="184"/>
                  </a:lnTo>
                  <a:lnTo>
                    <a:pt x="233" y="184"/>
                  </a:lnTo>
                  <a:lnTo>
                    <a:pt x="231" y="184"/>
                  </a:lnTo>
                  <a:lnTo>
                    <a:pt x="231" y="182"/>
                  </a:lnTo>
                  <a:lnTo>
                    <a:pt x="233" y="182"/>
                  </a:lnTo>
                  <a:lnTo>
                    <a:pt x="234" y="182"/>
                  </a:lnTo>
                  <a:lnTo>
                    <a:pt x="236" y="182"/>
                  </a:lnTo>
                  <a:lnTo>
                    <a:pt x="234" y="182"/>
                  </a:lnTo>
                  <a:lnTo>
                    <a:pt x="236" y="182"/>
                  </a:lnTo>
                  <a:lnTo>
                    <a:pt x="236" y="184"/>
                  </a:lnTo>
                  <a:lnTo>
                    <a:pt x="236" y="182"/>
                  </a:lnTo>
                  <a:lnTo>
                    <a:pt x="236" y="184"/>
                  </a:lnTo>
                  <a:lnTo>
                    <a:pt x="238" y="184"/>
                  </a:lnTo>
                  <a:lnTo>
                    <a:pt x="238" y="186"/>
                  </a:lnTo>
                  <a:lnTo>
                    <a:pt x="238" y="184"/>
                  </a:lnTo>
                  <a:lnTo>
                    <a:pt x="238" y="182"/>
                  </a:lnTo>
                  <a:lnTo>
                    <a:pt x="239" y="182"/>
                  </a:lnTo>
                  <a:lnTo>
                    <a:pt x="241" y="182"/>
                  </a:lnTo>
                  <a:lnTo>
                    <a:pt x="243" y="182"/>
                  </a:lnTo>
                  <a:lnTo>
                    <a:pt x="243" y="184"/>
                  </a:lnTo>
                  <a:lnTo>
                    <a:pt x="243" y="182"/>
                  </a:lnTo>
                  <a:lnTo>
                    <a:pt x="243" y="184"/>
                  </a:lnTo>
                  <a:lnTo>
                    <a:pt x="244" y="184"/>
                  </a:lnTo>
                  <a:lnTo>
                    <a:pt x="246" y="184"/>
                  </a:lnTo>
                  <a:lnTo>
                    <a:pt x="246" y="186"/>
                  </a:lnTo>
                  <a:lnTo>
                    <a:pt x="247" y="186"/>
                  </a:lnTo>
                  <a:lnTo>
                    <a:pt x="246" y="186"/>
                  </a:lnTo>
                  <a:lnTo>
                    <a:pt x="247" y="186"/>
                  </a:lnTo>
                  <a:lnTo>
                    <a:pt x="247" y="187"/>
                  </a:lnTo>
                  <a:lnTo>
                    <a:pt x="247" y="189"/>
                  </a:lnTo>
                  <a:lnTo>
                    <a:pt x="249" y="189"/>
                  </a:lnTo>
                  <a:lnTo>
                    <a:pt x="249" y="187"/>
                  </a:lnTo>
                  <a:lnTo>
                    <a:pt x="247" y="187"/>
                  </a:lnTo>
                  <a:lnTo>
                    <a:pt x="247" y="186"/>
                  </a:lnTo>
                  <a:lnTo>
                    <a:pt x="247" y="184"/>
                  </a:lnTo>
                  <a:lnTo>
                    <a:pt x="247" y="186"/>
                  </a:lnTo>
                  <a:lnTo>
                    <a:pt x="247" y="184"/>
                  </a:lnTo>
                  <a:lnTo>
                    <a:pt x="246" y="184"/>
                  </a:lnTo>
                  <a:lnTo>
                    <a:pt x="247" y="184"/>
                  </a:lnTo>
                  <a:lnTo>
                    <a:pt x="246" y="184"/>
                  </a:lnTo>
                  <a:lnTo>
                    <a:pt x="247" y="184"/>
                  </a:lnTo>
                  <a:lnTo>
                    <a:pt x="247" y="182"/>
                  </a:lnTo>
                  <a:lnTo>
                    <a:pt x="249" y="182"/>
                  </a:lnTo>
                  <a:lnTo>
                    <a:pt x="249" y="184"/>
                  </a:lnTo>
                  <a:lnTo>
                    <a:pt x="251" y="184"/>
                  </a:lnTo>
                  <a:lnTo>
                    <a:pt x="252" y="184"/>
                  </a:lnTo>
                  <a:lnTo>
                    <a:pt x="252" y="186"/>
                  </a:lnTo>
                  <a:lnTo>
                    <a:pt x="254" y="186"/>
                  </a:lnTo>
                  <a:lnTo>
                    <a:pt x="254" y="184"/>
                  </a:lnTo>
                  <a:lnTo>
                    <a:pt x="254" y="186"/>
                  </a:lnTo>
                  <a:lnTo>
                    <a:pt x="256" y="186"/>
                  </a:lnTo>
                  <a:lnTo>
                    <a:pt x="256" y="187"/>
                  </a:lnTo>
                  <a:lnTo>
                    <a:pt x="256" y="186"/>
                  </a:lnTo>
                  <a:lnTo>
                    <a:pt x="257" y="187"/>
                  </a:lnTo>
                  <a:lnTo>
                    <a:pt x="257" y="186"/>
                  </a:lnTo>
                  <a:lnTo>
                    <a:pt x="257" y="187"/>
                  </a:lnTo>
                  <a:lnTo>
                    <a:pt x="257" y="186"/>
                  </a:lnTo>
                  <a:lnTo>
                    <a:pt x="259" y="186"/>
                  </a:lnTo>
                  <a:lnTo>
                    <a:pt x="259" y="187"/>
                  </a:lnTo>
                  <a:lnTo>
                    <a:pt x="259" y="186"/>
                  </a:lnTo>
                  <a:lnTo>
                    <a:pt x="257" y="186"/>
                  </a:lnTo>
                  <a:lnTo>
                    <a:pt x="257" y="187"/>
                  </a:lnTo>
                  <a:lnTo>
                    <a:pt x="259" y="187"/>
                  </a:lnTo>
                  <a:lnTo>
                    <a:pt x="260" y="187"/>
                  </a:lnTo>
                  <a:lnTo>
                    <a:pt x="260" y="189"/>
                  </a:lnTo>
                  <a:lnTo>
                    <a:pt x="260" y="190"/>
                  </a:lnTo>
                  <a:lnTo>
                    <a:pt x="260" y="192"/>
                  </a:lnTo>
                  <a:lnTo>
                    <a:pt x="260" y="194"/>
                  </a:lnTo>
                  <a:lnTo>
                    <a:pt x="259" y="194"/>
                  </a:lnTo>
                  <a:lnTo>
                    <a:pt x="259" y="195"/>
                  </a:lnTo>
                  <a:lnTo>
                    <a:pt x="259" y="197"/>
                  </a:lnTo>
                  <a:lnTo>
                    <a:pt x="260" y="199"/>
                  </a:lnTo>
                  <a:lnTo>
                    <a:pt x="259" y="197"/>
                  </a:lnTo>
                  <a:lnTo>
                    <a:pt x="259" y="199"/>
                  </a:lnTo>
                  <a:lnTo>
                    <a:pt x="257" y="200"/>
                  </a:lnTo>
                  <a:lnTo>
                    <a:pt x="257" y="202"/>
                  </a:lnTo>
                  <a:lnTo>
                    <a:pt x="257" y="203"/>
                  </a:lnTo>
                  <a:lnTo>
                    <a:pt x="256" y="203"/>
                  </a:lnTo>
                  <a:lnTo>
                    <a:pt x="256" y="205"/>
                  </a:lnTo>
                  <a:lnTo>
                    <a:pt x="256" y="207"/>
                  </a:lnTo>
                  <a:lnTo>
                    <a:pt x="256" y="208"/>
                  </a:lnTo>
                  <a:lnTo>
                    <a:pt x="257" y="208"/>
                  </a:lnTo>
                  <a:lnTo>
                    <a:pt x="256" y="208"/>
                  </a:lnTo>
                  <a:lnTo>
                    <a:pt x="257" y="210"/>
                  </a:lnTo>
                  <a:lnTo>
                    <a:pt x="257" y="208"/>
                  </a:lnTo>
                  <a:lnTo>
                    <a:pt x="257" y="207"/>
                  </a:lnTo>
                  <a:lnTo>
                    <a:pt x="257" y="205"/>
                  </a:lnTo>
                  <a:lnTo>
                    <a:pt x="257" y="207"/>
                  </a:lnTo>
                  <a:lnTo>
                    <a:pt x="257" y="205"/>
                  </a:lnTo>
                  <a:lnTo>
                    <a:pt x="259" y="205"/>
                  </a:lnTo>
                  <a:lnTo>
                    <a:pt x="259" y="203"/>
                  </a:lnTo>
                  <a:lnTo>
                    <a:pt x="259" y="202"/>
                  </a:lnTo>
                  <a:lnTo>
                    <a:pt x="259" y="200"/>
                  </a:lnTo>
                  <a:lnTo>
                    <a:pt x="260" y="200"/>
                  </a:lnTo>
                  <a:lnTo>
                    <a:pt x="260" y="199"/>
                  </a:lnTo>
                  <a:lnTo>
                    <a:pt x="260" y="197"/>
                  </a:lnTo>
                  <a:lnTo>
                    <a:pt x="260" y="195"/>
                  </a:lnTo>
                  <a:lnTo>
                    <a:pt x="262" y="195"/>
                  </a:lnTo>
                  <a:lnTo>
                    <a:pt x="260" y="195"/>
                  </a:lnTo>
                  <a:lnTo>
                    <a:pt x="262" y="195"/>
                  </a:lnTo>
                  <a:lnTo>
                    <a:pt x="262" y="194"/>
                  </a:lnTo>
                  <a:lnTo>
                    <a:pt x="262" y="192"/>
                  </a:lnTo>
                  <a:lnTo>
                    <a:pt x="262" y="190"/>
                  </a:lnTo>
                  <a:lnTo>
                    <a:pt x="264" y="190"/>
                  </a:lnTo>
                  <a:lnTo>
                    <a:pt x="262" y="190"/>
                  </a:lnTo>
                  <a:lnTo>
                    <a:pt x="264" y="190"/>
                  </a:lnTo>
                  <a:lnTo>
                    <a:pt x="264" y="189"/>
                  </a:lnTo>
                  <a:lnTo>
                    <a:pt x="264" y="190"/>
                  </a:lnTo>
                  <a:lnTo>
                    <a:pt x="265" y="190"/>
                  </a:lnTo>
                  <a:lnTo>
                    <a:pt x="265" y="192"/>
                  </a:lnTo>
                  <a:lnTo>
                    <a:pt x="267" y="192"/>
                  </a:lnTo>
                  <a:lnTo>
                    <a:pt x="267" y="194"/>
                  </a:lnTo>
                  <a:lnTo>
                    <a:pt x="267" y="192"/>
                  </a:lnTo>
                  <a:lnTo>
                    <a:pt x="267" y="190"/>
                  </a:lnTo>
                  <a:lnTo>
                    <a:pt x="265" y="190"/>
                  </a:lnTo>
                  <a:lnTo>
                    <a:pt x="267" y="190"/>
                  </a:lnTo>
                  <a:lnTo>
                    <a:pt x="265" y="190"/>
                  </a:lnTo>
                  <a:lnTo>
                    <a:pt x="264" y="189"/>
                  </a:lnTo>
                  <a:lnTo>
                    <a:pt x="264" y="187"/>
                  </a:lnTo>
                  <a:lnTo>
                    <a:pt x="265" y="189"/>
                  </a:lnTo>
                  <a:lnTo>
                    <a:pt x="265" y="187"/>
                  </a:lnTo>
                  <a:lnTo>
                    <a:pt x="267" y="187"/>
                  </a:lnTo>
                  <a:lnTo>
                    <a:pt x="265" y="187"/>
                  </a:lnTo>
                  <a:lnTo>
                    <a:pt x="267" y="187"/>
                  </a:lnTo>
                  <a:lnTo>
                    <a:pt x="269" y="187"/>
                  </a:lnTo>
                  <a:lnTo>
                    <a:pt x="269" y="186"/>
                  </a:lnTo>
                  <a:lnTo>
                    <a:pt x="270" y="186"/>
                  </a:lnTo>
                  <a:lnTo>
                    <a:pt x="269" y="186"/>
                  </a:lnTo>
                  <a:lnTo>
                    <a:pt x="270" y="187"/>
                  </a:lnTo>
                  <a:lnTo>
                    <a:pt x="270" y="186"/>
                  </a:lnTo>
                  <a:lnTo>
                    <a:pt x="270" y="187"/>
                  </a:lnTo>
                  <a:lnTo>
                    <a:pt x="272" y="187"/>
                  </a:lnTo>
                  <a:lnTo>
                    <a:pt x="273" y="187"/>
                  </a:lnTo>
                  <a:lnTo>
                    <a:pt x="273" y="186"/>
                  </a:lnTo>
                  <a:lnTo>
                    <a:pt x="275" y="187"/>
                  </a:lnTo>
                  <a:lnTo>
                    <a:pt x="277" y="187"/>
                  </a:lnTo>
                  <a:lnTo>
                    <a:pt x="278" y="187"/>
                  </a:lnTo>
                  <a:lnTo>
                    <a:pt x="280" y="187"/>
                  </a:lnTo>
                  <a:lnTo>
                    <a:pt x="280" y="186"/>
                  </a:lnTo>
                  <a:lnTo>
                    <a:pt x="277" y="184"/>
                  </a:lnTo>
                  <a:lnTo>
                    <a:pt x="277" y="182"/>
                  </a:lnTo>
                  <a:lnTo>
                    <a:pt x="275" y="182"/>
                  </a:lnTo>
                  <a:lnTo>
                    <a:pt x="273" y="182"/>
                  </a:lnTo>
                  <a:lnTo>
                    <a:pt x="272" y="181"/>
                  </a:lnTo>
                  <a:lnTo>
                    <a:pt x="270" y="181"/>
                  </a:lnTo>
                  <a:lnTo>
                    <a:pt x="270" y="179"/>
                  </a:lnTo>
                  <a:lnTo>
                    <a:pt x="270" y="177"/>
                  </a:lnTo>
                  <a:lnTo>
                    <a:pt x="269" y="174"/>
                  </a:lnTo>
                  <a:lnTo>
                    <a:pt x="269" y="173"/>
                  </a:lnTo>
                  <a:lnTo>
                    <a:pt x="269" y="171"/>
                  </a:lnTo>
                  <a:lnTo>
                    <a:pt x="269" y="169"/>
                  </a:lnTo>
                  <a:lnTo>
                    <a:pt x="269" y="168"/>
                  </a:lnTo>
                  <a:lnTo>
                    <a:pt x="267" y="166"/>
                  </a:lnTo>
                  <a:lnTo>
                    <a:pt x="269" y="164"/>
                  </a:lnTo>
                  <a:lnTo>
                    <a:pt x="269" y="163"/>
                  </a:lnTo>
                  <a:lnTo>
                    <a:pt x="270" y="163"/>
                  </a:lnTo>
                  <a:lnTo>
                    <a:pt x="272" y="163"/>
                  </a:lnTo>
                  <a:lnTo>
                    <a:pt x="272" y="164"/>
                  </a:lnTo>
                  <a:lnTo>
                    <a:pt x="273" y="164"/>
                  </a:lnTo>
                  <a:lnTo>
                    <a:pt x="275" y="164"/>
                  </a:lnTo>
                  <a:lnTo>
                    <a:pt x="277" y="166"/>
                  </a:lnTo>
                  <a:lnTo>
                    <a:pt x="278" y="166"/>
                  </a:lnTo>
                  <a:lnTo>
                    <a:pt x="280" y="166"/>
                  </a:lnTo>
                  <a:lnTo>
                    <a:pt x="282" y="168"/>
                  </a:lnTo>
                  <a:lnTo>
                    <a:pt x="283" y="168"/>
                  </a:lnTo>
                  <a:lnTo>
                    <a:pt x="282" y="168"/>
                  </a:lnTo>
                  <a:lnTo>
                    <a:pt x="283" y="168"/>
                  </a:lnTo>
                  <a:lnTo>
                    <a:pt x="283" y="169"/>
                  </a:lnTo>
                  <a:lnTo>
                    <a:pt x="285" y="169"/>
                  </a:lnTo>
                  <a:lnTo>
                    <a:pt x="285" y="171"/>
                  </a:lnTo>
                  <a:lnTo>
                    <a:pt x="286" y="169"/>
                  </a:lnTo>
                  <a:lnTo>
                    <a:pt x="286" y="171"/>
                  </a:lnTo>
                  <a:lnTo>
                    <a:pt x="286" y="169"/>
                  </a:lnTo>
                  <a:lnTo>
                    <a:pt x="283" y="168"/>
                  </a:lnTo>
                  <a:lnTo>
                    <a:pt x="285" y="168"/>
                  </a:lnTo>
                  <a:lnTo>
                    <a:pt x="286" y="168"/>
                  </a:lnTo>
                  <a:lnTo>
                    <a:pt x="288" y="168"/>
                  </a:lnTo>
                  <a:lnTo>
                    <a:pt x="286" y="168"/>
                  </a:lnTo>
                  <a:lnTo>
                    <a:pt x="286" y="166"/>
                  </a:lnTo>
                  <a:lnTo>
                    <a:pt x="285" y="166"/>
                  </a:lnTo>
                  <a:lnTo>
                    <a:pt x="283" y="163"/>
                  </a:lnTo>
                  <a:lnTo>
                    <a:pt x="283" y="161"/>
                  </a:lnTo>
                  <a:lnTo>
                    <a:pt x="280" y="160"/>
                  </a:lnTo>
                  <a:lnTo>
                    <a:pt x="280" y="158"/>
                  </a:lnTo>
                  <a:lnTo>
                    <a:pt x="278" y="158"/>
                  </a:lnTo>
                  <a:lnTo>
                    <a:pt x="277" y="158"/>
                  </a:lnTo>
                  <a:lnTo>
                    <a:pt x="277" y="156"/>
                  </a:lnTo>
                  <a:lnTo>
                    <a:pt x="277" y="158"/>
                  </a:lnTo>
                  <a:lnTo>
                    <a:pt x="277" y="156"/>
                  </a:lnTo>
                  <a:lnTo>
                    <a:pt x="277" y="158"/>
                  </a:lnTo>
                  <a:lnTo>
                    <a:pt x="277" y="156"/>
                  </a:lnTo>
                  <a:lnTo>
                    <a:pt x="277" y="155"/>
                  </a:lnTo>
                  <a:lnTo>
                    <a:pt x="277" y="153"/>
                  </a:lnTo>
                  <a:lnTo>
                    <a:pt x="275" y="153"/>
                  </a:lnTo>
                  <a:lnTo>
                    <a:pt x="275" y="151"/>
                  </a:lnTo>
                  <a:lnTo>
                    <a:pt x="275" y="153"/>
                  </a:lnTo>
                  <a:lnTo>
                    <a:pt x="273" y="151"/>
                  </a:lnTo>
                  <a:lnTo>
                    <a:pt x="275" y="151"/>
                  </a:lnTo>
                  <a:lnTo>
                    <a:pt x="273" y="151"/>
                  </a:lnTo>
                  <a:lnTo>
                    <a:pt x="272" y="151"/>
                  </a:lnTo>
                  <a:lnTo>
                    <a:pt x="270" y="151"/>
                  </a:lnTo>
                  <a:lnTo>
                    <a:pt x="270" y="150"/>
                  </a:lnTo>
                  <a:lnTo>
                    <a:pt x="270" y="148"/>
                  </a:lnTo>
                  <a:lnTo>
                    <a:pt x="270" y="147"/>
                  </a:lnTo>
                  <a:lnTo>
                    <a:pt x="269" y="147"/>
                  </a:lnTo>
                  <a:lnTo>
                    <a:pt x="270" y="147"/>
                  </a:lnTo>
                  <a:lnTo>
                    <a:pt x="270" y="145"/>
                  </a:lnTo>
                  <a:lnTo>
                    <a:pt x="270" y="143"/>
                  </a:lnTo>
                  <a:lnTo>
                    <a:pt x="270" y="145"/>
                  </a:lnTo>
                  <a:lnTo>
                    <a:pt x="272" y="145"/>
                  </a:lnTo>
                  <a:lnTo>
                    <a:pt x="273" y="145"/>
                  </a:lnTo>
                  <a:lnTo>
                    <a:pt x="273" y="147"/>
                  </a:lnTo>
                  <a:lnTo>
                    <a:pt x="273" y="148"/>
                  </a:lnTo>
                  <a:lnTo>
                    <a:pt x="273" y="147"/>
                  </a:lnTo>
                  <a:lnTo>
                    <a:pt x="275" y="147"/>
                  </a:lnTo>
                  <a:lnTo>
                    <a:pt x="273" y="147"/>
                  </a:lnTo>
                  <a:lnTo>
                    <a:pt x="275" y="147"/>
                  </a:lnTo>
                  <a:lnTo>
                    <a:pt x="275" y="145"/>
                  </a:lnTo>
                  <a:lnTo>
                    <a:pt x="277" y="145"/>
                  </a:lnTo>
                  <a:lnTo>
                    <a:pt x="277" y="143"/>
                  </a:lnTo>
                  <a:lnTo>
                    <a:pt x="278" y="143"/>
                  </a:lnTo>
                  <a:lnTo>
                    <a:pt x="280" y="145"/>
                  </a:lnTo>
                  <a:lnTo>
                    <a:pt x="282" y="145"/>
                  </a:lnTo>
                  <a:lnTo>
                    <a:pt x="283" y="145"/>
                  </a:lnTo>
                  <a:lnTo>
                    <a:pt x="285" y="145"/>
                  </a:lnTo>
                  <a:lnTo>
                    <a:pt x="286" y="147"/>
                  </a:lnTo>
                  <a:lnTo>
                    <a:pt x="286" y="148"/>
                  </a:lnTo>
                  <a:lnTo>
                    <a:pt x="288" y="148"/>
                  </a:lnTo>
                  <a:lnTo>
                    <a:pt x="290" y="148"/>
                  </a:lnTo>
                  <a:lnTo>
                    <a:pt x="291" y="148"/>
                  </a:lnTo>
                  <a:lnTo>
                    <a:pt x="290" y="148"/>
                  </a:lnTo>
                  <a:lnTo>
                    <a:pt x="291" y="148"/>
                  </a:lnTo>
                  <a:lnTo>
                    <a:pt x="293" y="148"/>
                  </a:lnTo>
                  <a:lnTo>
                    <a:pt x="295" y="148"/>
                  </a:lnTo>
                  <a:lnTo>
                    <a:pt x="296" y="150"/>
                  </a:lnTo>
                  <a:lnTo>
                    <a:pt x="296" y="148"/>
                  </a:lnTo>
                  <a:lnTo>
                    <a:pt x="296" y="150"/>
                  </a:lnTo>
                  <a:lnTo>
                    <a:pt x="298" y="150"/>
                  </a:lnTo>
                  <a:lnTo>
                    <a:pt x="300" y="151"/>
                  </a:lnTo>
                  <a:lnTo>
                    <a:pt x="301" y="151"/>
                  </a:lnTo>
                  <a:lnTo>
                    <a:pt x="303" y="151"/>
                  </a:lnTo>
                  <a:lnTo>
                    <a:pt x="304" y="151"/>
                  </a:lnTo>
                  <a:lnTo>
                    <a:pt x="304" y="153"/>
                  </a:lnTo>
                  <a:lnTo>
                    <a:pt x="303" y="153"/>
                  </a:lnTo>
                  <a:lnTo>
                    <a:pt x="303" y="155"/>
                  </a:lnTo>
                  <a:lnTo>
                    <a:pt x="304" y="156"/>
                  </a:lnTo>
                  <a:lnTo>
                    <a:pt x="304" y="158"/>
                  </a:lnTo>
                  <a:lnTo>
                    <a:pt x="306" y="156"/>
                  </a:lnTo>
                  <a:lnTo>
                    <a:pt x="308" y="156"/>
                  </a:lnTo>
                  <a:lnTo>
                    <a:pt x="308" y="155"/>
                  </a:lnTo>
                  <a:lnTo>
                    <a:pt x="308" y="156"/>
                  </a:lnTo>
                  <a:lnTo>
                    <a:pt x="309" y="156"/>
                  </a:lnTo>
                  <a:lnTo>
                    <a:pt x="311" y="156"/>
                  </a:lnTo>
                  <a:lnTo>
                    <a:pt x="311" y="158"/>
                  </a:lnTo>
                  <a:lnTo>
                    <a:pt x="311" y="156"/>
                  </a:lnTo>
                  <a:lnTo>
                    <a:pt x="313" y="156"/>
                  </a:lnTo>
                  <a:lnTo>
                    <a:pt x="313" y="158"/>
                  </a:lnTo>
                  <a:lnTo>
                    <a:pt x="313" y="156"/>
                  </a:lnTo>
                  <a:lnTo>
                    <a:pt x="314" y="156"/>
                  </a:lnTo>
                  <a:lnTo>
                    <a:pt x="314" y="155"/>
                  </a:lnTo>
                  <a:lnTo>
                    <a:pt x="314" y="153"/>
                  </a:lnTo>
                  <a:lnTo>
                    <a:pt x="314" y="155"/>
                  </a:lnTo>
                  <a:lnTo>
                    <a:pt x="316" y="155"/>
                  </a:lnTo>
                  <a:lnTo>
                    <a:pt x="316" y="153"/>
                  </a:lnTo>
                  <a:lnTo>
                    <a:pt x="317" y="155"/>
                  </a:lnTo>
                  <a:lnTo>
                    <a:pt x="319" y="155"/>
                  </a:lnTo>
                  <a:lnTo>
                    <a:pt x="319" y="153"/>
                  </a:lnTo>
                  <a:lnTo>
                    <a:pt x="321" y="153"/>
                  </a:lnTo>
                  <a:lnTo>
                    <a:pt x="321" y="155"/>
                  </a:lnTo>
                  <a:lnTo>
                    <a:pt x="321" y="153"/>
                  </a:lnTo>
                  <a:lnTo>
                    <a:pt x="321" y="155"/>
                  </a:lnTo>
                  <a:lnTo>
                    <a:pt x="321" y="153"/>
                  </a:lnTo>
                  <a:lnTo>
                    <a:pt x="321" y="155"/>
                  </a:lnTo>
                  <a:lnTo>
                    <a:pt x="321" y="153"/>
                  </a:lnTo>
                  <a:lnTo>
                    <a:pt x="322" y="153"/>
                  </a:lnTo>
                  <a:lnTo>
                    <a:pt x="324" y="153"/>
                  </a:lnTo>
                  <a:lnTo>
                    <a:pt x="326" y="153"/>
                  </a:lnTo>
                  <a:lnTo>
                    <a:pt x="327" y="153"/>
                  </a:lnTo>
                  <a:lnTo>
                    <a:pt x="329" y="155"/>
                  </a:lnTo>
                  <a:lnTo>
                    <a:pt x="330" y="153"/>
                  </a:lnTo>
                  <a:lnTo>
                    <a:pt x="330" y="155"/>
                  </a:lnTo>
                  <a:lnTo>
                    <a:pt x="332" y="153"/>
                  </a:lnTo>
                  <a:lnTo>
                    <a:pt x="332" y="155"/>
                  </a:lnTo>
                  <a:lnTo>
                    <a:pt x="332" y="156"/>
                  </a:lnTo>
                  <a:lnTo>
                    <a:pt x="334" y="156"/>
                  </a:lnTo>
                  <a:lnTo>
                    <a:pt x="335" y="156"/>
                  </a:lnTo>
                  <a:lnTo>
                    <a:pt x="335" y="155"/>
                  </a:lnTo>
                  <a:lnTo>
                    <a:pt x="334" y="155"/>
                  </a:lnTo>
                  <a:lnTo>
                    <a:pt x="335" y="155"/>
                  </a:lnTo>
                  <a:lnTo>
                    <a:pt x="334" y="153"/>
                  </a:lnTo>
                  <a:lnTo>
                    <a:pt x="335" y="153"/>
                  </a:lnTo>
                  <a:lnTo>
                    <a:pt x="335" y="155"/>
                  </a:lnTo>
                  <a:lnTo>
                    <a:pt x="335" y="153"/>
                  </a:lnTo>
                  <a:lnTo>
                    <a:pt x="334" y="153"/>
                  </a:lnTo>
                  <a:lnTo>
                    <a:pt x="335" y="153"/>
                  </a:lnTo>
                  <a:lnTo>
                    <a:pt x="335" y="155"/>
                  </a:lnTo>
                  <a:lnTo>
                    <a:pt x="337" y="155"/>
                  </a:lnTo>
                  <a:lnTo>
                    <a:pt x="337" y="156"/>
                  </a:lnTo>
                  <a:lnTo>
                    <a:pt x="339" y="156"/>
                  </a:lnTo>
                  <a:lnTo>
                    <a:pt x="337" y="156"/>
                  </a:lnTo>
                  <a:lnTo>
                    <a:pt x="337" y="158"/>
                  </a:lnTo>
                  <a:lnTo>
                    <a:pt x="337" y="160"/>
                  </a:lnTo>
                  <a:lnTo>
                    <a:pt x="339" y="160"/>
                  </a:lnTo>
                  <a:lnTo>
                    <a:pt x="339" y="161"/>
                  </a:lnTo>
                  <a:lnTo>
                    <a:pt x="340" y="163"/>
                  </a:lnTo>
                  <a:lnTo>
                    <a:pt x="339" y="161"/>
                  </a:lnTo>
                  <a:lnTo>
                    <a:pt x="339" y="163"/>
                  </a:lnTo>
                  <a:lnTo>
                    <a:pt x="339" y="164"/>
                  </a:lnTo>
                  <a:lnTo>
                    <a:pt x="340" y="164"/>
                  </a:lnTo>
                  <a:lnTo>
                    <a:pt x="340" y="166"/>
                  </a:lnTo>
                  <a:lnTo>
                    <a:pt x="340" y="168"/>
                  </a:lnTo>
                  <a:lnTo>
                    <a:pt x="340" y="169"/>
                  </a:lnTo>
                  <a:lnTo>
                    <a:pt x="339" y="169"/>
                  </a:lnTo>
                  <a:lnTo>
                    <a:pt x="339" y="171"/>
                  </a:lnTo>
                  <a:lnTo>
                    <a:pt x="339" y="173"/>
                  </a:lnTo>
                  <a:lnTo>
                    <a:pt x="339" y="174"/>
                  </a:lnTo>
                  <a:lnTo>
                    <a:pt x="339" y="176"/>
                  </a:lnTo>
                  <a:lnTo>
                    <a:pt x="337" y="176"/>
                  </a:lnTo>
                  <a:lnTo>
                    <a:pt x="337" y="177"/>
                  </a:lnTo>
                  <a:lnTo>
                    <a:pt x="335" y="177"/>
                  </a:lnTo>
                  <a:lnTo>
                    <a:pt x="335" y="179"/>
                  </a:lnTo>
                  <a:lnTo>
                    <a:pt x="334" y="181"/>
                  </a:lnTo>
                  <a:lnTo>
                    <a:pt x="332" y="181"/>
                  </a:lnTo>
                  <a:lnTo>
                    <a:pt x="332" y="182"/>
                  </a:lnTo>
                  <a:lnTo>
                    <a:pt x="332" y="181"/>
                  </a:lnTo>
                  <a:lnTo>
                    <a:pt x="330" y="181"/>
                  </a:lnTo>
                  <a:lnTo>
                    <a:pt x="329" y="181"/>
                  </a:lnTo>
                  <a:lnTo>
                    <a:pt x="327" y="181"/>
                  </a:lnTo>
                  <a:lnTo>
                    <a:pt x="327" y="182"/>
                  </a:lnTo>
                  <a:lnTo>
                    <a:pt x="326" y="182"/>
                  </a:lnTo>
                  <a:lnTo>
                    <a:pt x="324" y="182"/>
                  </a:lnTo>
                  <a:lnTo>
                    <a:pt x="322" y="182"/>
                  </a:lnTo>
                  <a:lnTo>
                    <a:pt x="321" y="182"/>
                  </a:lnTo>
                  <a:lnTo>
                    <a:pt x="319" y="181"/>
                  </a:lnTo>
                  <a:lnTo>
                    <a:pt x="319" y="182"/>
                  </a:lnTo>
                  <a:lnTo>
                    <a:pt x="317" y="182"/>
                  </a:lnTo>
                  <a:lnTo>
                    <a:pt x="314" y="182"/>
                  </a:lnTo>
                  <a:lnTo>
                    <a:pt x="313" y="182"/>
                  </a:lnTo>
                  <a:lnTo>
                    <a:pt x="311" y="181"/>
                  </a:lnTo>
                  <a:lnTo>
                    <a:pt x="309" y="179"/>
                  </a:lnTo>
                  <a:lnTo>
                    <a:pt x="309" y="181"/>
                  </a:lnTo>
                  <a:lnTo>
                    <a:pt x="309" y="182"/>
                  </a:lnTo>
                  <a:lnTo>
                    <a:pt x="304" y="182"/>
                  </a:lnTo>
                  <a:lnTo>
                    <a:pt x="303" y="184"/>
                  </a:lnTo>
                  <a:lnTo>
                    <a:pt x="300" y="184"/>
                  </a:lnTo>
                  <a:lnTo>
                    <a:pt x="298" y="184"/>
                  </a:lnTo>
                  <a:lnTo>
                    <a:pt x="296" y="182"/>
                  </a:lnTo>
                  <a:lnTo>
                    <a:pt x="296" y="181"/>
                  </a:lnTo>
                  <a:lnTo>
                    <a:pt x="295" y="179"/>
                  </a:lnTo>
                  <a:lnTo>
                    <a:pt x="295" y="177"/>
                  </a:lnTo>
                  <a:lnTo>
                    <a:pt x="296" y="177"/>
                  </a:lnTo>
                  <a:lnTo>
                    <a:pt x="296" y="176"/>
                  </a:lnTo>
                  <a:lnTo>
                    <a:pt x="296" y="174"/>
                  </a:lnTo>
                  <a:lnTo>
                    <a:pt x="295" y="174"/>
                  </a:lnTo>
                  <a:lnTo>
                    <a:pt x="295" y="173"/>
                  </a:lnTo>
                  <a:lnTo>
                    <a:pt x="293" y="173"/>
                  </a:lnTo>
                  <a:lnTo>
                    <a:pt x="291" y="171"/>
                  </a:lnTo>
                  <a:lnTo>
                    <a:pt x="291" y="169"/>
                  </a:lnTo>
                  <a:lnTo>
                    <a:pt x="290" y="169"/>
                  </a:lnTo>
                  <a:lnTo>
                    <a:pt x="288" y="171"/>
                  </a:lnTo>
                  <a:lnTo>
                    <a:pt x="290" y="173"/>
                  </a:lnTo>
                  <a:lnTo>
                    <a:pt x="288" y="173"/>
                  </a:lnTo>
                  <a:lnTo>
                    <a:pt x="290" y="173"/>
                  </a:lnTo>
                  <a:lnTo>
                    <a:pt x="290" y="174"/>
                  </a:lnTo>
                  <a:lnTo>
                    <a:pt x="291" y="174"/>
                  </a:lnTo>
                  <a:lnTo>
                    <a:pt x="293" y="174"/>
                  </a:lnTo>
                  <a:lnTo>
                    <a:pt x="293" y="176"/>
                  </a:lnTo>
                  <a:lnTo>
                    <a:pt x="293" y="177"/>
                  </a:lnTo>
                  <a:lnTo>
                    <a:pt x="293" y="179"/>
                  </a:lnTo>
                  <a:lnTo>
                    <a:pt x="293" y="181"/>
                  </a:lnTo>
                  <a:lnTo>
                    <a:pt x="293" y="182"/>
                  </a:lnTo>
                  <a:lnTo>
                    <a:pt x="293" y="184"/>
                  </a:lnTo>
                  <a:lnTo>
                    <a:pt x="291" y="186"/>
                  </a:lnTo>
                  <a:lnTo>
                    <a:pt x="290" y="186"/>
                  </a:lnTo>
                  <a:lnTo>
                    <a:pt x="288" y="187"/>
                  </a:lnTo>
                  <a:lnTo>
                    <a:pt x="288" y="189"/>
                  </a:lnTo>
                  <a:lnTo>
                    <a:pt x="290" y="187"/>
                  </a:lnTo>
                  <a:lnTo>
                    <a:pt x="290" y="189"/>
                  </a:lnTo>
                  <a:lnTo>
                    <a:pt x="291" y="189"/>
                  </a:lnTo>
                  <a:lnTo>
                    <a:pt x="293" y="190"/>
                  </a:lnTo>
                  <a:lnTo>
                    <a:pt x="295" y="192"/>
                  </a:lnTo>
                  <a:lnTo>
                    <a:pt x="295" y="194"/>
                  </a:lnTo>
                  <a:lnTo>
                    <a:pt x="295" y="195"/>
                  </a:lnTo>
                  <a:lnTo>
                    <a:pt x="293" y="195"/>
                  </a:lnTo>
                  <a:lnTo>
                    <a:pt x="293" y="197"/>
                  </a:lnTo>
                  <a:lnTo>
                    <a:pt x="293" y="199"/>
                  </a:lnTo>
                  <a:lnTo>
                    <a:pt x="295" y="199"/>
                  </a:lnTo>
                  <a:lnTo>
                    <a:pt x="293" y="199"/>
                  </a:lnTo>
                  <a:lnTo>
                    <a:pt x="293" y="197"/>
                  </a:lnTo>
                  <a:lnTo>
                    <a:pt x="295" y="197"/>
                  </a:lnTo>
                  <a:lnTo>
                    <a:pt x="296" y="197"/>
                  </a:lnTo>
                  <a:lnTo>
                    <a:pt x="296" y="195"/>
                  </a:lnTo>
                  <a:lnTo>
                    <a:pt x="296" y="194"/>
                  </a:lnTo>
                  <a:lnTo>
                    <a:pt x="296" y="192"/>
                  </a:lnTo>
                  <a:lnTo>
                    <a:pt x="298" y="192"/>
                  </a:lnTo>
                  <a:lnTo>
                    <a:pt x="298" y="190"/>
                  </a:lnTo>
                  <a:lnTo>
                    <a:pt x="300" y="190"/>
                  </a:lnTo>
                  <a:lnTo>
                    <a:pt x="301" y="190"/>
                  </a:lnTo>
                  <a:lnTo>
                    <a:pt x="303" y="190"/>
                  </a:lnTo>
                  <a:lnTo>
                    <a:pt x="304" y="190"/>
                  </a:lnTo>
                  <a:lnTo>
                    <a:pt x="306" y="190"/>
                  </a:lnTo>
                  <a:lnTo>
                    <a:pt x="308" y="190"/>
                  </a:lnTo>
                  <a:lnTo>
                    <a:pt x="311" y="189"/>
                  </a:lnTo>
                  <a:lnTo>
                    <a:pt x="313" y="190"/>
                  </a:lnTo>
                  <a:lnTo>
                    <a:pt x="313" y="189"/>
                  </a:lnTo>
                  <a:lnTo>
                    <a:pt x="313" y="190"/>
                  </a:lnTo>
                  <a:lnTo>
                    <a:pt x="314" y="190"/>
                  </a:lnTo>
                  <a:lnTo>
                    <a:pt x="314" y="192"/>
                  </a:lnTo>
                  <a:lnTo>
                    <a:pt x="314" y="194"/>
                  </a:lnTo>
                  <a:lnTo>
                    <a:pt x="314" y="195"/>
                  </a:lnTo>
                  <a:lnTo>
                    <a:pt x="316" y="195"/>
                  </a:lnTo>
                  <a:lnTo>
                    <a:pt x="317" y="195"/>
                  </a:lnTo>
                  <a:lnTo>
                    <a:pt x="319" y="195"/>
                  </a:lnTo>
                  <a:lnTo>
                    <a:pt x="321" y="195"/>
                  </a:lnTo>
                  <a:lnTo>
                    <a:pt x="319" y="195"/>
                  </a:lnTo>
                  <a:lnTo>
                    <a:pt x="321" y="197"/>
                  </a:lnTo>
                  <a:lnTo>
                    <a:pt x="321" y="199"/>
                  </a:lnTo>
                  <a:lnTo>
                    <a:pt x="321" y="197"/>
                  </a:lnTo>
                  <a:lnTo>
                    <a:pt x="321" y="199"/>
                  </a:lnTo>
                  <a:lnTo>
                    <a:pt x="322" y="199"/>
                  </a:lnTo>
                  <a:lnTo>
                    <a:pt x="321" y="199"/>
                  </a:lnTo>
                  <a:lnTo>
                    <a:pt x="319" y="200"/>
                  </a:lnTo>
                  <a:lnTo>
                    <a:pt x="317" y="200"/>
                  </a:lnTo>
                  <a:lnTo>
                    <a:pt x="317" y="202"/>
                  </a:lnTo>
                  <a:lnTo>
                    <a:pt x="317" y="203"/>
                  </a:lnTo>
                  <a:lnTo>
                    <a:pt x="316" y="205"/>
                  </a:lnTo>
                  <a:lnTo>
                    <a:pt x="316" y="203"/>
                  </a:lnTo>
                  <a:lnTo>
                    <a:pt x="316" y="205"/>
                  </a:lnTo>
                  <a:lnTo>
                    <a:pt x="316" y="207"/>
                  </a:lnTo>
                  <a:lnTo>
                    <a:pt x="314" y="207"/>
                  </a:lnTo>
                  <a:lnTo>
                    <a:pt x="314" y="208"/>
                  </a:lnTo>
                  <a:lnTo>
                    <a:pt x="313" y="208"/>
                  </a:lnTo>
                  <a:lnTo>
                    <a:pt x="313" y="210"/>
                  </a:lnTo>
                  <a:lnTo>
                    <a:pt x="313" y="212"/>
                  </a:lnTo>
                  <a:lnTo>
                    <a:pt x="311" y="212"/>
                  </a:lnTo>
                  <a:lnTo>
                    <a:pt x="309" y="212"/>
                  </a:lnTo>
                  <a:lnTo>
                    <a:pt x="309" y="213"/>
                  </a:lnTo>
                  <a:lnTo>
                    <a:pt x="308" y="213"/>
                  </a:lnTo>
                  <a:lnTo>
                    <a:pt x="309" y="213"/>
                  </a:lnTo>
                  <a:lnTo>
                    <a:pt x="309" y="212"/>
                  </a:lnTo>
                  <a:lnTo>
                    <a:pt x="311" y="212"/>
                  </a:lnTo>
                  <a:lnTo>
                    <a:pt x="313" y="212"/>
                  </a:lnTo>
                  <a:lnTo>
                    <a:pt x="314" y="210"/>
                  </a:lnTo>
                  <a:lnTo>
                    <a:pt x="313" y="210"/>
                  </a:lnTo>
                  <a:lnTo>
                    <a:pt x="314" y="210"/>
                  </a:lnTo>
                  <a:lnTo>
                    <a:pt x="314" y="208"/>
                  </a:lnTo>
                  <a:lnTo>
                    <a:pt x="316" y="208"/>
                  </a:lnTo>
                  <a:lnTo>
                    <a:pt x="314" y="208"/>
                  </a:lnTo>
                  <a:lnTo>
                    <a:pt x="316" y="208"/>
                  </a:lnTo>
                  <a:lnTo>
                    <a:pt x="316" y="210"/>
                  </a:lnTo>
                  <a:lnTo>
                    <a:pt x="316" y="208"/>
                  </a:lnTo>
                  <a:lnTo>
                    <a:pt x="317" y="208"/>
                  </a:lnTo>
                  <a:lnTo>
                    <a:pt x="317" y="207"/>
                  </a:lnTo>
                  <a:lnTo>
                    <a:pt x="316" y="207"/>
                  </a:lnTo>
                  <a:lnTo>
                    <a:pt x="317" y="207"/>
                  </a:lnTo>
                  <a:lnTo>
                    <a:pt x="319" y="207"/>
                  </a:lnTo>
                  <a:lnTo>
                    <a:pt x="321" y="207"/>
                  </a:lnTo>
                  <a:lnTo>
                    <a:pt x="319" y="207"/>
                  </a:lnTo>
                  <a:lnTo>
                    <a:pt x="319" y="205"/>
                  </a:lnTo>
                  <a:lnTo>
                    <a:pt x="319" y="203"/>
                  </a:lnTo>
                  <a:lnTo>
                    <a:pt x="319" y="205"/>
                  </a:lnTo>
                  <a:lnTo>
                    <a:pt x="319" y="203"/>
                  </a:lnTo>
                  <a:lnTo>
                    <a:pt x="319" y="202"/>
                  </a:lnTo>
                  <a:lnTo>
                    <a:pt x="319" y="200"/>
                  </a:lnTo>
                  <a:lnTo>
                    <a:pt x="321" y="200"/>
                  </a:lnTo>
                  <a:lnTo>
                    <a:pt x="322" y="200"/>
                  </a:lnTo>
                  <a:lnTo>
                    <a:pt x="322" y="202"/>
                  </a:lnTo>
                  <a:lnTo>
                    <a:pt x="322" y="200"/>
                  </a:lnTo>
                  <a:lnTo>
                    <a:pt x="322" y="199"/>
                  </a:lnTo>
                  <a:lnTo>
                    <a:pt x="322" y="197"/>
                  </a:lnTo>
                  <a:lnTo>
                    <a:pt x="324" y="197"/>
                  </a:lnTo>
                  <a:lnTo>
                    <a:pt x="322" y="199"/>
                  </a:lnTo>
                  <a:lnTo>
                    <a:pt x="324" y="199"/>
                  </a:lnTo>
                  <a:lnTo>
                    <a:pt x="324" y="197"/>
                  </a:lnTo>
                  <a:lnTo>
                    <a:pt x="324" y="199"/>
                  </a:lnTo>
                  <a:lnTo>
                    <a:pt x="326" y="197"/>
                  </a:lnTo>
                  <a:lnTo>
                    <a:pt x="326" y="199"/>
                  </a:lnTo>
                  <a:lnTo>
                    <a:pt x="324" y="200"/>
                  </a:lnTo>
                  <a:lnTo>
                    <a:pt x="326" y="200"/>
                  </a:lnTo>
                  <a:lnTo>
                    <a:pt x="326" y="199"/>
                  </a:lnTo>
                  <a:lnTo>
                    <a:pt x="326" y="200"/>
                  </a:lnTo>
                  <a:lnTo>
                    <a:pt x="327" y="200"/>
                  </a:lnTo>
                  <a:lnTo>
                    <a:pt x="327" y="202"/>
                  </a:lnTo>
                  <a:lnTo>
                    <a:pt x="327" y="203"/>
                  </a:lnTo>
                  <a:lnTo>
                    <a:pt x="329" y="203"/>
                  </a:lnTo>
                  <a:lnTo>
                    <a:pt x="329" y="202"/>
                  </a:lnTo>
                  <a:lnTo>
                    <a:pt x="327" y="202"/>
                  </a:lnTo>
                  <a:lnTo>
                    <a:pt x="327" y="200"/>
                  </a:lnTo>
                  <a:lnTo>
                    <a:pt x="329" y="202"/>
                  </a:lnTo>
                  <a:lnTo>
                    <a:pt x="327" y="202"/>
                  </a:lnTo>
                  <a:lnTo>
                    <a:pt x="329" y="202"/>
                  </a:lnTo>
                  <a:lnTo>
                    <a:pt x="329" y="200"/>
                  </a:lnTo>
                  <a:lnTo>
                    <a:pt x="327" y="200"/>
                  </a:lnTo>
                  <a:lnTo>
                    <a:pt x="327" y="199"/>
                  </a:lnTo>
                  <a:lnTo>
                    <a:pt x="329" y="199"/>
                  </a:lnTo>
                  <a:lnTo>
                    <a:pt x="329" y="197"/>
                  </a:lnTo>
                  <a:lnTo>
                    <a:pt x="329" y="195"/>
                  </a:lnTo>
                  <a:lnTo>
                    <a:pt x="329" y="197"/>
                  </a:lnTo>
                  <a:lnTo>
                    <a:pt x="330" y="197"/>
                  </a:lnTo>
                  <a:lnTo>
                    <a:pt x="330" y="195"/>
                  </a:lnTo>
                  <a:lnTo>
                    <a:pt x="332" y="195"/>
                  </a:lnTo>
                  <a:lnTo>
                    <a:pt x="332" y="197"/>
                  </a:lnTo>
                  <a:lnTo>
                    <a:pt x="332" y="195"/>
                  </a:lnTo>
                  <a:lnTo>
                    <a:pt x="334" y="195"/>
                  </a:lnTo>
                  <a:lnTo>
                    <a:pt x="334" y="197"/>
                  </a:lnTo>
                  <a:lnTo>
                    <a:pt x="335" y="197"/>
                  </a:lnTo>
                  <a:lnTo>
                    <a:pt x="334" y="197"/>
                  </a:lnTo>
                  <a:lnTo>
                    <a:pt x="335" y="197"/>
                  </a:lnTo>
                  <a:lnTo>
                    <a:pt x="335" y="195"/>
                  </a:lnTo>
                  <a:lnTo>
                    <a:pt x="337" y="195"/>
                  </a:lnTo>
                  <a:lnTo>
                    <a:pt x="337" y="197"/>
                  </a:lnTo>
                  <a:lnTo>
                    <a:pt x="337" y="195"/>
                  </a:lnTo>
                  <a:lnTo>
                    <a:pt x="339" y="195"/>
                  </a:lnTo>
                  <a:lnTo>
                    <a:pt x="340" y="195"/>
                  </a:lnTo>
                  <a:lnTo>
                    <a:pt x="340" y="194"/>
                  </a:lnTo>
                  <a:lnTo>
                    <a:pt x="342" y="194"/>
                  </a:lnTo>
                  <a:lnTo>
                    <a:pt x="340" y="195"/>
                  </a:lnTo>
                  <a:lnTo>
                    <a:pt x="339" y="197"/>
                  </a:lnTo>
                  <a:lnTo>
                    <a:pt x="339" y="199"/>
                  </a:lnTo>
                  <a:lnTo>
                    <a:pt x="340" y="199"/>
                  </a:lnTo>
                  <a:lnTo>
                    <a:pt x="340" y="197"/>
                  </a:lnTo>
                  <a:lnTo>
                    <a:pt x="340" y="199"/>
                  </a:lnTo>
                  <a:lnTo>
                    <a:pt x="340" y="200"/>
                  </a:lnTo>
                  <a:lnTo>
                    <a:pt x="339" y="202"/>
                  </a:lnTo>
                  <a:lnTo>
                    <a:pt x="339" y="203"/>
                  </a:lnTo>
                  <a:lnTo>
                    <a:pt x="340" y="203"/>
                  </a:lnTo>
                  <a:lnTo>
                    <a:pt x="340" y="205"/>
                  </a:lnTo>
                  <a:lnTo>
                    <a:pt x="340" y="203"/>
                  </a:lnTo>
                  <a:lnTo>
                    <a:pt x="340" y="205"/>
                  </a:lnTo>
                  <a:lnTo>
                    <a:pt x="340" y="207"/>
                  </a:lnTo>
                  <a:lnTo>
                    <a:pt x="340" y="208"/>
                  </a:lnTo>
                  <a:lnTo>
                    <a:pt x="342" y="208"/>
                  </a:lnTo>
                  <a:lnTo>
                    <a:pt x="340" y="207"/>
                  </a:lnTo>
                  <a:lnTo>
                    <a:pt x="340" y="205"/>
                  </a:lnTo>
                  <a:lnTo>
                    <a:pt x="340" y="203"/>
                  </a:lnTo>
                  <a:lnTo>
                    <a:pt x="340" y="202"/>
                  </a:lnTo>
                  <a:lnTo>
                    <a:pt x="342" y="200"/>
                  </a:lnTo>
                  <a:lnTo>
                    <a:pt x="342" y="199"/>
                  </a:lnTo>
                  <a:lnTo>
                    <a:pt x="342" y="197"/>
                  </a:lnTo>
                  <a:lnTo>
                    <a:pt x="343" y="197"/>
                  </a:lnTo>
                  <a:lnTo>
                    <a:pt x="343" y="195"/>
                  </a:lnTo>
                  <a:lnTo>
                    <a:pt x="345" y="195"/>
                  </a:lnTo>
                  <a:lnTo>
                    <a:pt x="345" y="194"/>
                  </a:lnTo>
                  <a:lnTo>
                    <a:pt x="347" y="194"/>
                  </a:lnTo>
                  <a:lnTo>
                    <a:pt x="348" y="194"/>
                  </a:lnTo>
                  <a:lnTo>
                    <a:pt x="348" y="192"/>
                  </a:lnTo>
                  <a:lnTo>
                    <a:pt x="350" y="194"/>
                  </a:lnTo>
                  <a:lnTo>
                    <a:pt x="350" y="195"/>
                  </a:lnTo>
                  <a:lnTo>
                    <a:pt x="348" y="197"/>
                  </a:lnTo>
                  <a:lnTo>
                    <a:pt x="348" y="199"/>
                  </a:lnTo>
                  <a:lnTo>
                    <a:pt x="347" y="199"/>
                  </a:lnTo>
                  <a:lnTo>
                    <a:pt x="348" y="199"/>
                  </a:lnTo>
                  <a:lnTo>
                    <a:pt x="348" y="200"/>
                  </a:lnTo>
                  <a:lnTo>
                    <a:pt x="348" y="202"/>
                  </a:lnTo>
                  <a:lnTo>
                    <a:pt x="347" y="202"/>
                  </a:lnTo>
                  <a:lnTo>
                    <a:pt x="347" y="203"/>
                  </a:lnTo>
                  <a:lnTo>
                    <a:pt x="347" y="205"/>
                  </a:lnTo>
                  <a:lnTo>
                    <a:pt x="345" y="205"/>
                  </a:lnTo>
                  <a:lnTo>
                    <a:pt x="347" y="205"/>
                  </a:lnTo>
                  <a:lnTo>
                    <a:pt x="347" y="207"/>
                  </a:lnTo>
                  <a:lnTo>
                    <a:pt x="348" y="207"/>
                  </a:lnTo>
                  <a:lnTo>
                    <a:pt x="347" y="207"/>
                  </a:lnTo>
                  <a:lnTo>
                    <a:pt x="347" y="208"/>
                  </a:lnTo>
                  <a:lnTo>
                    <a:pt x="347" y="210"/>
                  </a:lnTo>
                  <a:lnTo>
                    <a:pt x="348" y="210"/>
                  </a:lnTo>
                  <a:lnTo>
                    <a:pt x="347" y="210"/>
                  </a:lnTo>
                  <a:lnTo>
                    <a:pt x="348" y="210"/>
                  </a:lnTo>
                  <a:lnTo>
                    <a:pt x="348" y="212"/>
                  </a:lnTo>
                  <a:lnTo>
                    <a:pt x="347" y="212"/>
                  </a:lnTo>
                  <a:lnTo>
                    <a:pt x="347" y="213"/>
                  </a:lnTo>
                  <a:lnTo>
                    <a:pt x="345" y="213"/>
                  </a:lnTo>
                  <a:lnTo>
                    <a:pt x="343" y="215"/>
                  </a:lnTo>
                  <a:lnTo>
                    <a:pt x="345" y="215"/>
                  </a:lnTo>
                  <a:lnTo>
                    <a:pt x="345" y="213"/>
                  </a:lnTo>
                  <a:lnTo>
                    <a:pt x="347" y="215"/>
                  </a:lnTo>
                  <a:lnTo>
                    <a:pt x="347" y="216"/>
                  </a:lnTo>
                  <a:lnTo>
                    <a:pt x="347" y="218"/>
                  </a:lnTo>
                  <a:lnTo>
                    <a:pt x="347" y="220"/>
                  </a:lnTo>
                  <a:lnTo>
                    <a:pt x="345" y="218"/>
                  </a:lnTo>
                  <a:lnTo>
                    <a:pt x="345" y="220"/>
                  </a:lnTo>
                  <a:lnTo>
                    <a:pt x="345" y="221"/>
                  </a:lnTo>
                  <a:lnTo>
                    <a:pt x="345" y="220"/>
                  </a:lnTo>
                  <a:lnTo>
                    <a:pt x="347" y="220"/>
                  </a:lnTo>
                  <a:lnTo>
                    <a:pt x="347" y="218"/>
                  </a:lnTo>
                  <a:lnTo>
                    <a:pt x="348" y="218"/>
                  </a:lnTo>
                  <a:lnTo>
                    <a:pt x="348" y="216"/>
                  </a:lnTo>
                  <a:lnTo>
                    <a:pt x="348" y="218"/>
                  </a:lnTo>
                  <a:lnTo>
                    <a:pt x="350" y="220"/>
                  </a:lnTo>
                  <a:lnTo>
                    <a:pt x="350" y="218"/>
                  </a:lnTo>
                  <a:lnTo>
                    <a:pt x="350" y="216"/>
                  </a:lnTo>
                  <a:lnTo>
                    <a:pt x="350" y="215"/>
                  </a:lnTo>
                  <a:lnTo>
                    <a:pt x="350" y="213"/>
                  </a:lnTo>
                  <a:lnTo>
                    <a:pt x="350" y="212"/>
                  </a:lnTo>
                  <a:lnTo>
                    <a:pt x="350" y="210"/>
                  </a:lnTo>
                  <a:lnTo>
                    <a:pt x="348" y="210"/>
                  </a:lnTo>
                  <a:lnTo>
                    <a:pt x="350" y="210"/>
                  </a:lnTo>
                  <a:lnTo>
                    <a:pt x="348" y="208"/>
                  </a:lnTo>
                  <a:lnTo>
                    <a:pt x="350" y="207"/>
                  </a:lnTo>
                  <a:lnTo>
                    <a:pt x="350" y="205"/>
                  </a:lnTo>
                  <a:lnTo>
                    <a:pt x="352" y="205"/>
                  </a:lnTo>
                  <a:lnTo>
                    <a:pt x="352" y="203"/>
                  </a:lnTo>
                  <a:lnTo>
                    <a:pt x="353" y="203"/>
                  </a:lnTo>
                  <a:lnTo>
                    <a:pt x="353" y="202"/>
                  </a:lnTo>
                  <a:lnTo>
                    <a:pt x="353" y="203"/>
                  </a:lnTo>
                  <a:lnTo>
                    <a:pt x="353" y="202"/>
                  </a:lnTo>
                  <a:lnTo>
                    <a:pt x="355" y="200"/>
                  </a:lnTo>
                  <a:lnTo>
                    <a:pt x="356" y="200"/>
                  </a:lnTo>
                  <a:lnTo>
                    <a:pt x="356" y="199"/>
                  </a:lnTo>
                  <a:lnTo>
                    <a:pt x="356" y="200"/>
                  </a:lnTo>
                  <a:lnTo>
                    <a:pt x="358" y="199"/>
                  </a:lnTo>
                  <a:lnTo>
                    <a:pt x="358" y="197"/>
                  </a:lnTo>
                  <a:lnTo>
                    <a:pt x="360" y="197"/>
                  </a:lnTo>
                  <a:lnTo>
                    <a:pt x="360" y="195"/>
                  </a:lnTo>
                  <a:lnTo>
                    <a:pt x="361" y="195"/>
                  </a:lnTo>
                  <a:lnTo>
                    <a:pt x="361" y="194"/>
                  </a:lnTo>
                  <a:lnTo>
                    <a:pt x="363" y="194"/>
                  </a:lnTo>
                  <a:lnTo>
                    <a:pt x="361" y="192"/>
                  </a:lnTo>
                  <a:lnTo>
                    <a:pt x="363" y="192"/>
                  </a:lnTo>
                  <a:lnTo>
                    <a:pt x="365" y="192"/>
                  </a:lnTo>
                  <a:lnTo>
                    <a:pt x="363" y="192"/>
                  </a:lnTo>
                  <a:lnTo>
                    <a:pt x="363" y="194"/>
                  </a:lnTo>
                  <a:lnTo>
                    <a:pt x="365" y="194"/>
                  </a:lnTo>
                  <a:lnTo>
                    <a:pt x="365" y="192"/>
                  </a:lnTo>
                  <a:lnTo>
                    <a:pt x="365" y="194"/>
                  </a:lnTo>
                  <a:lnTo>
                    <a:pt x="366" y="192"/>
                  </a:lnTo>
                  <a:lnTo>
                    <a:pt x="366" y="194"/>
                  </a:lnTo>
                  <a:lnTo>
                    <a:pt x="366" y="192"/>
                  </a:lnTo>
                  <a:lnTo>
                    <a:pt x="368" y="192"/>
                  </a:lnTo>
                  <a:lnTo>
                    <a:pt x="368" y="190"/>
                  </a:lnTo>
                  <a:lnTo>
                    <a:pt x="369" y="190"/>
                  </a:lnTo>
                  <a:lnTo>
                    <a:pt x="369" y="192"/>
                  </a:lnTo>
                  <a:lnTo>
                    <a:pt x="371" y="192"/>
                  </a:lnTo>
                  <a:lnTo>
                    <a:pt x="373" y="192"/>
                  </a:lnTo>
                  <a:lnTo>
                    <a:pt x="373" y="194"/>
                  </a:lnTo>
                  <a:lnTo>
                    <a:pt x="373" y="195"/>
                  </a:lnTo>
                  <a:lnTo>
                    <a:pt x="373" y="197"/>
                  </a:lnTo>
                  <a:lnTo>
                    <a:pt x="373" y="199"/>
                  </a:lnTo>
                  <a:lnTo>
                    <a:pt x="371" y="199"/>
                  </a:lnTo>
                  <a:lnTo>
                    <a:pt x="371" y="200"/>
                  </a:lnTo>
                  <a:lnTo>
                    <a:pt x="371" y="202"/>
                  </a:lnTo>
                  <a:lnTo>
                    <a:pt x="371" y="200"/>
                  </a:lnTo>
                  <a:lnTo>
                    <a:pt x="373" y="200"/>
                  </a:lnTo>
                  <a:lnTo>
                    <a:pt x="374" y="199"/>
                  </a:lnTo>
                  <a:lnTo>
                    <a:pt x="374" y="200"/>
                  </a:lnTo>
                  <a:lnTo>
                    <a:pt x="376" y="200"/>
                  </a:lnTo>
                  <a:lnTo>
                    <a:pt x="376" y="202"/>
                  </a:lnTo>
                  <a:lnTo>
                    <a:pt x="374" y="202"/>
                  </a:lnTo>
                  <a:lnTo>
                    <a:pt x="376" y="203"/>
                  </a:lnTo>
                  <a:lnTo>
                    <a:pt x="374" y="205"/>
                  </a:lnTo>
                  <a:lnTo>
                    <a:pt x="374" y="207"/>
                  </a:lnTo>
                  <a:lnTo>
                    <a:pt x="376" y="207"/>
                  </a:lnTo>
                  <a:lnTo>
                    <a:pt x="376" y="205"/>
                  </a:lnTo>
                  <a:lnTo>
                    <a:pt x="376" y="207"/>
                  </a:lnTo>
                  <a:lnTo>
                    <a:pt x="374" y="208"/>
                  </a:lnTo>
                  <a:lnTo>
                    <a:pt x="374" y="207"/>
                  </a:lnTo>
                  <a:lnTo>
                    <a:pt x="374" y="208"/>
                  </a:lnTo>
                  <a:lnTo>
                    <a:pt x="374" y="207"/>
                  </a:lnTo>
                  <a:lnTo>
                    <a:pt x="374" y="208"/>
                  </a:lnTo>
                  <a:lnTo>
                    <a:pt x="373" y="208"/>
                  </a:lnTo>
                  <a:lnTo>
                    <a:pt x="371" y="208"/>
                  </a:lnTo>
                  <a:lnTo>
                    <a:pt x="373" y="208"/>
                  </a:lnTo>
                  <a:lnTo>
                    <a:pt x="373" y="210"/>
                  </a:lnTo>
                  <a:lnTo>
                    <a:pt x="373" y="208"/>
                  </a:lnTo>
                  <a:lnTo>
                    <a:pt x="374" y="208"/>
                  </a:lnTo>
                  <a:lnTo>
                    <a:pt x="374" y="210"/>
                  </a:lnTo>
                  <a:lnTo>
                    <a:pt x="373" y="212"/>
                  </a:lnTo>
                  <a:lnTo>
                    <a:pt x="371" y="212"/>
                  </a:lnTo>
                  <a:lnTo>
                    <a:pt x="369" y="212"/>
                  </a:lnTo>
                  <a:lnTo>
                    <a:pt x="368" y="212"/>
                  </a:lnTo>
                  <a:lnTo>
                    <a:pt x="369" y="212"/>
                  </a:lnTo>
                  <a:lnTo>
                    <a:pt x="369" y="213"/>
                  </a:lnTo>
                  <a:lnTo>
                    <a:pt x="371" y="213"/>
                  </a:lnTo>
                  <a:lnTo>
                    <a:pt x="369" y="213"/>
                  </a:lnTo>
                  <a:lnTo>
                    <a:pt x="369" y="215"/>
                  </a:lnTo>
                  <a:lnTo>
                    <a:pt x="368" y="215"/>
                  </a:lnTo>
                  <a:lnTo>
                    <a:pt x="368" y="216"/>
                  </a:lnTo>
                  <a:lnTo>
                    <a:pt x="366" y="216"/>
                  </a:lnTo>
                  <a:lnTo>
                    <a:pt x="368" y="218"/>
                  </a:lnTo>
                  <a:lnTo>
                    <a:pt x="368" y="216"/>
                  </a:lnTo>
                  <a:lnTo>
                    <a:pt x="368" y="218"/>
                  </a:lnTo>
                  <a:lnTo>
                    <a:pt x="368" y="216"/>
                  </a:lnTo>
                  <a:lnTo>
                    <a:pt x="368" y="218"/>
                  </a:lnTo>
                  <a:lnTo>
                    <a:pt x="369" y="218"/>
                  </a:lnTo>
                  <a:lnTo>
                    <a:pt x="368" y="218"/>
                  </a:lnTo>
                  <a:lnTo>
                    <a:pt x="369" y="218"/>
                  </a:lnTo>
                  <a:lnTo>
                    <a:pt x="369" y="216"/>
                  </a:lnTo>
                  <a:lnTo>
                    <a:pt x="369" y="215"/>
                  </a:lnTo>
                  <a:lnTo>
                    <a:pt x="371" y="215"/>
                  </a:lnTo>
                  <a:lnTo>
                    <a:pt x="373" y="215"/>
                  </a:lnTo>
                  <a:lnTo>
                    <a:pt x="373" y="213"/>
                  </a:lnTo>
                  <a:lnTo>
                    <a:pt x="373" y="212"/>
                  </a:lnTo>
                  <a:lnTo>
                    <a:pt x="374" y="212"/>
                  </a:lnTo>
                  <a:lnTo>
                    <a:pt x="376" y="212"/>
                  </a:lnTo>
                  <a:lnTo>
                    <a:pt x="376" y="213"/>
                  </a:lnTo>
                  <a:lnTo>
                    <a:pt x="376" y="212"/>
                  </a:lnTo>
                  <a:lnTo>
                    <a:pt x="378" y="213"/>
                  </a:lnTo>
                  <a:lnTo>
                    <a:pt x="378" y="212"/>
                  </a:lnTo>
                  <a:lnTo>
                    <a:pt x="379" y="212"/>
                  </a:lnTo>
                  <a:lnTo>
                    <a:pt x="379" y="213"/>
                  </a:lnTo>
                  <a:lnTo>
                    <a:pt x="379" y="215"/>
                  </a:lnTo>
                  <a:lnTo>
                    <a:pt x="378" y="215"/>
                  </a:lnTo>
                  <a:lnTo>
                    <a:pt x="379" y="215"/>
                  </a:lnTo>
                  <a:lnTo>
                    <a:pt x="378" y="215"/>
                  </a:lnTo>
                  <a:lnTo>
                    <a:pt x="379" y="216"/>
                  </a:lnTo>
                  <a:lnTo>
                    <a:pt x="378" y="216"/>
                  </a:lnTo>
                  <a:lnTo>
                    <a:pt x="378" y="218"/>
                  </a:lnTo>
                  <a:lnTo>
                    <a:pt x="376" y="218"/>
                  </a:lnTo>
                  <a:lnTo>
                    <a:pt x="378" y="218"/>
                  </a:lnTo>
                  <a:lnTo>
                    <a:pt x="376" y="218"/>
                  </a:lnTo>
                  <a:lnTo>
                    <a:pt x="374" y="220"/>
                  </a:lnTo>
                  <a:lnTo>
                    <a:pt x="374" y="218"/>
                  </a:lnTo>
                  <a:lnTo>
                    <a:pt x="374" y="220"/>
                  </a:lnTo>
                  <a:lnTo>
                    <a:pt x="373" y="220"/>
                  </a:lnTo>
                  <a:lnTo>
                    <a:pt x="371" y="220"/>
                  </a:lnTo>
                  <a:lnTo>
                    <a:pt x="371" y="221"/>
                  </a:lnTo>
                  <a:lnTo>
                    <a:pt x="373" y="221"/>
                  </a:lnTo>
                  <a:lnTo>
                    <a:pt x="373" y="220"/>
                  </a:lnTo>
                  <a:lnTo>
                    <a:pt x="374" y="220"/>
                  </a:lnTo>
                  <a:lnTo>
                    <a:pt x="376" y="220"/>
                  </a:lnTo>
                  <a:lnTo>
                    <a:pt x="378" y="220"/>
                  </a:lnTo>
                  <a:lnTo>
                    <a:pt x="378" y="218"/>
                  </a:lnTo>
                  <a:lnTo>
                    <a:pt x="379" y="218"/>
                  </a:lnTo>
                  <a:lnTo>
                    <a:pt x="378" y="220"/>
                  </a:lnTo>
                  <a:lnTo>
                    <a:pt x="379" y="220"/>
                  </a:lnTo>
                  <a:lnTo>
                    <a:pt x="379" y="221"/>
                  </a:lnTo>
                  <a:lnTo>
                    <a:pt x="378" y="221"/>
                  </a:lnTo>
                  <a:lnTo>
                    <a:pt x="378" y="223"/>
                  </a:lnTo>
                  <a:lnTo>
                    <a:pt x="379" y="223"/>
                  </a:lnTo>
                  <a:lnTo>
                    <a:pt x="379" y="221"/>
                  </a:lnTo>
                  <a:lnTo>
                    <a:pt x="379" y="220"/>
                  </a:lnTo>
                  <a:lnTo>
                    <a:pt x="379" y="218"/>
                  </a:lnTo>
                  <a:lnTo>
                    <a:pt x="381" y="220"/>
                  </a:lnTo>
                  <a:lnTo>
                    <a:pt x="382" y="220"/>
                  </a:lnTo>
                  <a:lnTo>
                    <a:pt x="384" y="220"/>
                  </a:lnTo>
                  <a:lnTo>
                    <a:pt x="384" y="221"/>
                  </a:lnTo>
                  <a:lnTo>
                    <a:pt x="384" y="223"/>
                  </a:lnTo>
                  <a:lnTo>
                    <a:pt x="384" y="225"/>
                  </a:lnTo>
                  <a:lnTo>
                    <a:pt x="384" y="226"/>
                  </a:lnTo>
                  <a:lnTo>
                    <a:pt x="384" y="228"/>
                  </a:lnTo>
                  <a:lnTo>
                    <a:pt x="382" y="228"/>
                  </a:lnTo>
                  <a:lnTo>
                    <a:pt x="382" y="229"/>
                  </a:lnTo>
                  <a:lnTo>
                    <a:pt x="382" y="231"/>
                  </a:lnTo>
                  <a:lnTo>
                    <a:pt x="382" y="233"/>
                  </a:lnTo>
                  <a:lnTo>
                    <a:pt x="382" y="234"/>
                  </a:lnTo>
                  <a:lnTo>
                    <a:pt x="381" y="234"/>
                  </a:lnTo>
                  <a:lnTo>
                    <a:pt x="381" y="236"/>
                  </a:lnTo>
                  <a:lnTo>
                    <a:pt x="379" y="236"/>
                  </a:lnTo>
                  <a:lnTo>
                    <a:pt x="379" y="238"/>
                  </a:lnTo>
                  <a:lnTo>
                    <a:pt x="379" y="239"/>
                  </a:lnTo>
                  <a:lnTo>
                    <a:pt x="378" y="239"/>
                  </a:lnTo>
                  <a:lnTo>
                    <a:pt x="376" y="239"/>
                  </a:lnTo>
                  <a:lnTo>
                    <a:pt x="376" y="241"/>
                  </a:lnTo>
                  <a:lnTo>
                    <a:pt x="376" y="239"/>
                  </a:lnTo>
                  <a:lnTo>
                    <a:pt x="376" y="241"/>
                  </a:lnTo>
                  <a:lnTo>
                    <a:pt x="374" y="241"/>
                  </a:lnTo>
                  <a:lnTo>
                    <a:pt x="376" y="241"/>
                  </a:lnTo>
                  <a:lnTo>
                    <a:pt x="374" y="241"/>
                  </a:lnTo>
                  <a:lnTo>
                    <a:pt x="373" y="242"/>
                  </a:lnTo>
                  <a:lnTo>
                    <a:pt x="369" y="244"/>
                  </a:lnTo>
                  <a:lnTo>
                    <a:pt x="369" y="246"/>
                  </a:lnTo>
                  <a:lnTo>
                    <a:pt x="369" y="247"/>
                  </a:lnTo>
                  <a:lnTo>
                    <a:pt x="369" y="249"/>
                  </a:lnTo>
                  <a:lnTo>
                    <a:pt x="369" y="251"/>
                  </a:lnTo>
                  <a:lnTo>
                    <a:pt x="368" y="251"/>
                  </a:lnTo>
                  <a:lnTo>
                    <a:pt x="366" y="251"/>
                  </a:lnTo>
                  <a:lnTo>
                    <a:pt x="366" y="252"/>
                  </a:lnTo>
                  <a:lnTo>
                    <a:pt x="368" y="251"/>
                  </a:lnTo>
                  <a:lnTo>
                    <a:pt x="369" y="251"/>
                  </a:lnTo>
                  <a:lnTo>
                    <a:pt x="369" y="252"/>
                  </a:lnTo>
                  <a:lnTo>
                    <a:pt x="369" y="254"/>
                  </a:lnTo>
                  <a:lnTo>
                    <a:pt x="371" y="254"/>
                  </a:lnTo>
                  <a:lnTo>
                    <a:pt x="369" y="254"/>
                  </a:lnTo>
                  <a:lnTo>
                    <a:pt x="371" y="254"/>
                  </a:lnTo>
                  <a:lnTo>
                    <a:pt x="371" y="255"/>
                  </a:lnTo>
                  <a:lnTo>
                    <a:pt x="373" y="257"/>
                  </a:lnTo>
                  <a:lnTo>
                    <a:pt x="373" y="259"/>
                  </a:lnTo>
                  <a:lnTo>
                    <a:pt x="373" y="260"/>
                  </a:lnTo>
                  <a:lnTo>
                    <a:pt x="373" y="262"/>
                  </a:lnTo>
                  <a:lnTo>
                    <a:pt x="374" y="264"/>
                  </a:lnTo>
                  <a:lnTo>
                    <a:pt x="374" y="265"/>
                  </a:lnTo>
                  <a:lnTo>
                    <a:pt x="376" y="265"/>
                  </a:lnTo>
                  <a:lnTo>
                    <a:pt x="376" y="267"/>
                  </a:lnTo>
                  <a:lnTo>
                    <a:pt x="376" y="268"/>
                  </a:lnTo>
                  <a:lnTo>
                    <a:pt x="376" y="270"/>
                  </a:lnTo>
                  <a:lnTo>
                    <a:pt x="376" y="272"/>
                  </a:lnTo>
                  <a:lnTo>
                    <a:pt x="374" y="272"/>
                  </a:lnTo>
                  <a:lnTo>
                    <a:pt x="374" y="273"/>
                  </a:lnTo>
                  <a:lnTo>
                    <a:pt x="373" y="273"/>
                  </a:lnTo>
                  <a:lnTo>
                    <a:pt x="373" y="275"/>
                  </a:lnTo>
                  <a:lnTo>
                    <a:pt x="373" y="277"/>
                  </a:lnTo>
                  <a:lnTo>
                    <a:pt x="373" y="278"/>
                  </a:lnTo>
                  <a:lnTo>
                    <a:pt x="371" y="278"/>
                  </a:lnTo>
                  <a:lnTo>
                    <a:pt x="371" y="280"/>
                  </a:lnTo>
                  <a:lnTo>
                    <a:pt x="369" y="280"/>
                  </a:lnTo>
                  <a:lnTo>
                    <a:pt x="369" y="282"/>
                  </a:lnTo>
                  <a:lnTo>
                    <a:pt x="368" y="283"/>
                  </a:lnTo>
                  <a:lnTo>
                    <a:pt x="368" y="282"/>
                  </a:lnTo>
                  <a:lnTo>
                    <a:pt x="369" y="282"/>
                  </a:lnTo>
                  <a:lnTo>
                    <a:pt x="369" y="280"/>
                  </a:lnTo>
                  <a:lnTo>
                    <a:pt x="368" y="280"/>
                  </a:lnTo>
                  <a:lnTo>
                    <a:pt x="368" y="282"/>
                  </a:lnTo>
                  <a:lnTo>
                    <a:pt x="368" y="283"/>
                  </a:lnTo>
                  <a:lnTo>
                    <a:pt x="366" y="283"/>
                  </a:lnTo>
                  <a:lnTo>
                    <a:pt x="368" y="282"/>
                  </a:lnTo>
                  <a:lnTo>
                    <a:pt x="366" y="282"/>
                  </a:lnTo>
                  <a:lnTo>
                    <a:pt x="366" y="283"/>
                  </a:lnTo>
                  <a:lnTo>
                    <a:pt x="365" y="285"/>
                  </a:lnTo>
                  <a:lnTo>
                    <a:pt x="365" y="286"/>
                  </a:lnTo>
                  <a:lnTo>
                    <a:pt x="363" y="285"/>
                  </a:lnTo>
                  <a:lnTo>
                    <a:pt x="365" y="286"/>
                  </a:lnTo>
                  <a:lnTo>
                    <a:pt x="365" y="288"/>
                  </a:lnTo>
                  <a:lnTo>
                    <a:pt x="363" y="288"/>
                  </a:lnTo>
                  <a:lnTo>
                    <a:pt x="361" y="288"/>
                  </a:lnTo>
                  <a:lnTo>
                    <a:pt x="361" y="286"/>
                  </a:lnTo>
                  <a:lnTo>
                    <a:pt x="360" y="288"/>
                  </a:lnTo>
                  <a:lnTo>
                    <a:pt x="358" y="290"/>
                  </a:lnTo>
                  <a:lnTo>
                    <a:pt x="358" y="291"/>
                  </a:lnTo>
                  <a:lnTo>
                    <a:pt x="356" y="291"/>
                  </a:lnTo>
                  <a:lnTo>
                    <a:pt x="356" y="293"/>
                  </a:lnTo>
                  <a:lnTo>
                    <a:pt x="355" y="293"/>
                  </a:lnTo>
                  <a:lnTo>
                    <a:pt x="355" y="295"/>
                  </a:lnTo>
                  <a:lnTo>
                    <a:pt x="353" y="295"/>
                  </a:lnTo>
                  <a:lnTo>
                    <a:pt x="353" y="296"/>
                  </a:lnTo>
                  <a:lnTo>
                    <a:pt x="352" y="296"/>
                  </a:lnTo>
                  <a:lnTo>
                    <a:pt x="352" y="298"/>
                  </a:lnTo>
                  <a:lnTo>
                    <a:pt x="350" y="298"/>
                  </a:lnTo>
                  <a:lnTo>
                    <a:pt x="350" y="299"/>
                  </a:lnTo>
                  <a:lnTo>
                    <a:pt x="348" y="299"/>
                  </a:lnTo>
                  <a:lnTo>
                    <a:pt x="348" y="301"/>
                  </a:lnTo>
                  <a:lnTo>
                    <a:pt x="348" y="303"/>
                  </a:lnTo>
                  <a:lnTo>
                    <a:pt x="347" y="303"/>
                  </a:lnTo>
                  <a:lnTo>
                    <a:pt x="347" y="304"/>
                  </a:lnTo>
                  <a:lnTo>
                    <a:pt x="345" y="304"/>
                  </a:lnTo>
                  <a:lnTo>
                    <a:pt x="347" y="304"/>
                  </a:lnTo>
                  <a:lnTo>
                    <a:pt x="345" y="304"/>
                  </a:lnTo>
                  <a:lnTo>
                    <a:pt x="347" y="304"/>
                  </a:lnTo>
                  <a:lnTo>
                    <a:pt x="345" y="306"/>
                  </a:lnTo>
                  <a:lnTo>
                    <a:pt x="343" y="306"/>
                  </a:lnTo>
                  <a:lnTo>
                    <a:pt x="343" y="308"/>
                  </a:lnTo>
                  <a:lnTo>
                    <a:pt x="342" y="308"/>
                  </a:lnTo>
                  <a:lnTo>
                    <a:pt x="342" y="309"/>
                  </a:lnTo>
                  <a:lnTo>
                    <a:pt x="340" y="311"/>
                  </a:lnTo>
                  <a:lnTo>
                    <a:pt x="340" y="312"/>
                  </a:lnTo>
                  <a:lnTo>
                    <a:pt x="340" y="314"/>
                  </a:lnTo>
                  <a:lnTo>
                    <a:pt x="339" y="316"/>
                  </a:lnTo>
                  <a:lnTo>
                    <a:pt x="337" y="316"/>
                  </a:lnTo>
                  <a:lnTo>
                    <a:pt x="335" y="316"/>
                  </a:lnTo>
                  <a:lnTo>
                    <a:pt x="335" y="317"/>
                  </a:lnTo>
                  <a:lnTo>
                    <a:pt x="335" y="316"/>
                  </a:lnTo>
                  <a:lnTo>
                    <a:pt x="334" y="316"/>
                  </a:lnTo>
                  <a:lnTo>
                    <a:pt x="335" y="317"/>
                  </a:lnTo>
                  <a:lnTo>
                    <a:pt x="334" y="317"/>
                  </a:lnTo>
                  <a:lnTo>
                    <a:pt x="334" y="319"/>
                  </a:lnTo>
                  <a:lnTo>
                    <a:pt x="334" y="321"/>
                  </a:lnTo>
                  <a:lnTo>
                    <a:pt x="335" y="321"/>
                  </a:lnTo>
                  <a:lnTo>
                    <a:pt x="335" y="322"/>
                  </a:lnTo>
                  <a:lnTo>
                    <a:pt x="335" y="321"/>
                  </a:lnTo>
                  <a:lnTo>
                    <a:pt x="334" y="321"/>
                  </a:lnTo>
                  <a:lnTo>
                    <a:pt x="334" y="319"/>
                  </a:lnTo>
                  <a:lnTo>
                    <a:pt x="334" y="317"/>
                  </a:lnTo>
                  <a:lnTo>
                    <a:pt x="335" y="317"/>
                  </a:lnTo>
                  <a:lnTo>
                    <a:pt x="337" y="316"/>
                  </a:lnTo>
                  <a:lnTo>
                    <a:pt x="337" y="317"/>
                  </a:lnTo>
                  <a:lnTo>
                    <a:pt x="339" y="316"/>
                  </a:lnTo>
                  <a:lnTo>
                    <a:pt x="337" y="317"/>
                  </a:lnTo>
                  <a:lnTo>
                    <a:pt x="337" y="316"/>
                  </a:lnTo>
                  <a:lnTo>
                    <a:pt x="339" y="316"/>
                  </a:lnTo>
                  <a:lnTo>
                    <a:pt x="340" y="316"/>
                  </a:lnTo>
                  <a:lnTo>
                    <a:pt x="342" y="314"/>
                  </a:lnTo>
                  <a:lnTo>
                    <a:pt x="342" y="312"/>
                  </a:lnTo>
                  <a:lnTo>
                    <a:pt x="342" y="311"/>
                  </a:lnTo>
                  <a:lnTo>
                    <a:pt x="342" y="312"/>
                  </a:lnTo>
                  <a:lnTo>
                    <a:pt x="342" y="311"/>
                  </a:lnTo>
                  <a:lnTo>
                    <a:pt x="342" y="309"/>
                  </a:lnTo>
                  <a:lnTo>
                    <a:pt x="343" y="309"/>
                  </a:lnTo>
                  <a:lnTo>
                    <a:pt x="343" y="308"/>
                  </a:lnTo>
                  <a:lnTo>
                    <a:pt x="345" y="308"/>
                  </a:lnTo>
                  <a:lnTo>
                    <a:pt x="345" y="306"/>
                  </a:lnTo>
                  <a:lnTo>
                    <a:pt x="347" y="304"/>
                  </a:lnTo>
                  <a:lnTo>
                    <a:pt x="348" y="303"/>
                  </a:lnTo>
                  <a:lnTo>
                    <a:pt x="348" y="301"/>
                  </a:lnTo>
                  <a:lnTo>
                    <a:pt x="350" y="301"/>
                  </a:lnTo>
                  <a:lnTo>
                    <a:pt x="348" y="299"/>
                  </a:lnTo>
                  <a:lnTo>
                    <a:pt x="350" y="299"/>
                  </a:lnTo>
                  <a:lnTo>
                    <a:pt x="352" y="299"/>
                  </a:lnTo>
                  <a:lnTo>
                    <a:pt x="352" y="298"/>
                  </a:lnTo>
                  <a:lnTo>
                    <a:pt x="353" y="298"/>
                  </a:lnTo>
                  <a:lnTo>
                    <a:pt x="353" y="296"/>
                  </a:lnTo>
                  <a:lnTo>
                    <a:pt x="356" y="295"/>
                  </a:lnTo>
                  <a:lnTo>
                    <a:pt x="356" y="293"/>
                  </a:lnTo>
                  <a:lnTo>
                    <a:pt x="358" y="293"/>
                  </a:lnTo>
                  <a:lnTo>
                    <a:pt x="358" y="291"/>
                  </a:lnTo>
                  <a:lnTo>
                    <a:pt x="358" y="293"/>
                  </a:lnTo>
                  <a:lnTo>
                    <a:pt x="360" y="290"/>
                  </a:lnTo>
                  <a:lnTo>
                    <a:pt x="361" y="290"/>
                  </a:lnTo>
                  <a:lnTo>
                    <a:pt x="363" y="290"/>
                  </a:lnTo>
                  <a:lnTo>
                    <a:pt x="365" y="290"/>
                  </a:lnTo>
                  <a:lnTo>
                    <a:pt x="365" y="288"/>
                  </a:lnTo>
                  <a:lnTo>
                    <a:pt x="366" y="288"/>
                  </a:lnTo>
                  <a:lnTo>
                    <a:pt x="366" y="285"/>
                  </a:lnTo>
                  <a:lnTo>
                    <a:pt x="369" y="283"/>
                  </a:lnTo>
                  <a:lnTo>
                    <a:pt x="369" y="282"/>
                  </a:lnTo>
                  <a:lnTo>
                    <a:pt x="371" y="282"/>
                  </a:lnTo>
                  <a:lnTo>
                    <a:pt x="371" y="280"/>
                  </a:lnTo>
                  <a:lnTo>
                    <a:pt x="373" y="280"/>
                  </a:lnTo>
                  <a:lnTo>
                    <a:pt x="373" y="278"/>
                  </a:lnTo>
                  <a:lnTo>
                    <a:pt x="374" y="278"/>
                  </a:lnTo>
                  <a:lnTo>
                    <a:pt x="374" y="277"/>
                  </a:lnTo>
                  <a:lnTo>
                    <a:pt x="374" y="275"/>
                  </a:lnTo>
                  <a:lnTo>
                    <a:pt x="376" y="273"/>
                  </a:lnTo>
                  <a:lnTo>
                    <a:pt x="376" y="272"/>
                  </a:lnTo>
                  <a:lnTo>
                    <a:pt x="376" y="270"/>
                  </a:lnTo>
                  <a:lnTo>
                    <a:pt x="378" y="270"/>
                  </a:lnTo>
                  <a:lnTo>
                    <a:pt x="378" y="268"/>
                  </a:lnTo>
                  <a:lnTo>
                    <a:pt x="378" y="267"/>
                  </a:lnTo>
                  <a:lnTo>
                    <a:pt x="378" y="265"/>
                  </a:lnTo>
                  <a:lnTo>
                    <a:pt x="376" y="265"/>
                  </a:lnTo>
                  <a:lnTo>
                    <a:pt x="376" y="264"/>
                  </a:lnTo>
                  <a:lnTo>
                    <a:pt x="374" y="264"/>
                  </a:lnTo>
                  <a:lnTo>
                    <a:pt x="376" y="264"/>
                  </a:lnTo>
                  <a:lnTo>
                    <a:pt x="374" y="264"/>
                  </a:lnTo>
                  <a:lnTo>
                    <a:pt x="374" y="262"/>
                  </a:lnTo>
                  <a:lnTo>
                    <a:pt x="374" y="260"/>
                  </a:lnTo>
                  <a:lnTo>
                    <a:pt x="374" y="259"/>
                  </a:lnTo>
                  <a:lnTo>
                    <a:pt x="374" y="257"/>
                  </a:lnTo>
                  <a:lnTo>
                    <a:pt x="373" y="257"/>
                  </a:lnTo>
                  <a:lnTo>
                    <a:pt x="374" y="257"/>
                  </a:lnTo>
                  <a:lnTo>
                    <a:pt x="373" y="257"/>
                  </a:lnTo>
                  <a:lnTo>
                    <a:pt x="373" y="255"/>
                  </a:lnTo>
                  <a:lnTo>
                    <a:pt x="374" y="257"/>
                  </a:lnTo>
                  <a:lnTo>
                    <a:pt x="374" y="255"/>
                  </a:lnTo>
                  <a:lnTo>
                    <a:pt x="373" y="255"/>
                  </a:lnTo>
                  <a:lnTo>
                    <a:pt x="373" y="254"/>
                  </a:lnTo>
                  <a:lnTo>
                    <a:pt x="373" y="252"/>
                  </a:lnTo>
                  <a:lnTo>
                    <a:pt x="371" y="251"/>
                  </a:lnTo>
                  <a:lnTo>
                    <a:pt x="373" y="251"/>
                  </a:lnTo>
                  <a:lnTo>
                    <a:pt x="371" y="251"/>
                  </a:lnTo>
                  <a:lnTo>
                    <a:pt x="373" y="251"/>
                  </a:lnTo>
                  <a:lnTo>
                    <a:pt x="371" y="249"/>
                  </a:lnTo>
                  <a:lnTo>
                    <a:pt x="371" y="247"/>
                  </a:lnTo>
                  <a:lnTo>
                    <a:pt x="371" y="246"/>
                  </a:lnTo>
                  <a:lnTo>
                    <a:pt x="373" y="246"/>
                  </a:lnTo>
                  <a:lnTo>
                    <a:pt x="373" y="244"/>
                  </a:lnTo>
                  <a:lnTo>
                    <a:pt x="374" y="244"/>
                  </a:lnTo>
                  <a:lnTo>
                    <a:pt x="376" y="244"/>
                  </a:lnTo>
                  <a:lnTo>
                    <a:pt x="374" y="244"/>
                  </a:lnTo>
                  <a:lnTo>
                    <a:pt x="376" y="244"/>
                  </a:lnTo>
                  <a:lnTo>
                    <a:pt x="378" y="244"/>
                  </a:lnTo>
                  <a:lnTo>
                    <a:pt x="378" y="242"/>
                  </a:lnTo>
                  <a:lnTo>
                    <a:pt x="378" y="244"/>
                  </a:lnTo>
                  <a:lnTo>
                    <a:pt x="379" y="242"/>
                  </a:lnTo>
                  <a:lnTo>
                    <a:pt x="378" y="242"/>
                  </a:lnTo>
                  <a:lnTo>
                    <a:pt x="379" y="242"/>
                  </a:lnTo>
                  <a:lnTo>
                    <a:pt x="379" y="241"/>
                  </a:lnTo>
                  <a:lnTo>
                    <a:pt x="379" y="242"/>
                  </a:lnTo>
                  <a:lnTo>
                    <a:pt x="379" y="244"/>
                  </a:lnTo>
                  <a:lnTo>
                    <a:pt x="381" y="242"/>
                  </a:lnTo>
                  <a:lnTo>
                    <a:pt x="381" y="241"/>
                  </a:lnTo>
                  <a:lnTo>
                    <a:pt x="381" y="239"/>
                  </a:lnTo>
                  <a:lnTo>
                    <a:pt x="382" y="238"/>
                  </a:lnTo>
                  <a:lnTo>
                    <a:pt x="384" y="239"/>
                  </a:lnTo>
                  <a:lnTo>
                    <a:pt x="384" y="238"/>
                  </a:lnTo>
                  <a:lnTo>
                    <a:pt x="386" y="238"/>
                  </a:lnTo>
                  <a:lnTo>
                    <a:pt x="386" y="236"/>
                  </a:lnTo>
                  <a:lnTo>
                    <a:pt x="387" y="236"/>
                  </a:lnTo>
                  <a:lnTo>
                    <a:pt x="389" y="236"/>
                  </a:lnTo>
                  <a:lnTo>
                    <a:pt x="387" y="236"/>
                  </a:lnTo>
                  <a:lnTo>
                    <a:pt x="387" y="234"/>
                  </a:lnTo>
                  <a:lnTo>
                    <a:pt x="386" y="234"/>
                  </a:lnTo>
                  <a:lnTo>
                    <a:pt x="386" y="233"/>
                  </a:lnTo>
                  <a:lnTo>
                    <a:pt x="386" y="231"/>
                  </a:lnTo>
                  <a:lnTo>
                    <a:pt x="387" y="231"/>
                  </a:lnTo>
                  <a:lnTo>
                    <a:pt x="387" y="229"/>
                  </a:lnTo>
                  <a:lnTo>
                    <a:pt x="387" y="228"/>
                  </a:lnTo>
                  <a:lnTo>
                    <a:pt x="387" y="226"/>
                  </a:lnTo>
                  <a:lnTo>
                    <a:pt x="387" y="225"/>
                  </a:lnTo>
                  <a:lnTo>
                    <a:pt x="389" y="225"/>
                  </a:lnTo>
                  <a:lnTo>
                    <a:pt x="389" y="226"/>
                  </a:lnTo>
                  <a:lnTo>
                    <a:pt x="391" y="226"/>
                  </a:lnTo>
                  <a:lnTo>
                    <a:pt x="391" y="228"/>
                  </a:lnTo>
                  <a:lnTo>
                    <a:pt x="391" y="226"/>
                  </a:lnTo>
                  <a:lnTo>
                    <a:pt x="391" y="225"/>
                  </a:lnTo>
                  <a:lnTo>
                    <a:pt x="389" y="225"/>
                  </a:lnTo>
                  <a:lnTo>
                    <a:pt x="389" y="223"/>
                  </a:lnTo>
                  <a:lnTo>
                    <a:pt x="389" y="221"/>
                  </a:lnTo>
                  <a:lnTo>
                    <a:pt x="387" y="220"/>
                  </a:lnTo>
                  <a:lnTo>
                    <a:pt x="389" y="220"/>
                  </a:lnTo>
                  <a:lnTo>
                    <a:pt x="387" y="220"/>
                  </a:lnTo>
                  <a:lnTo>
                    <a:pt x="387" y="218"/>
                  </a:lnTo>
                  <a:lnTo>
                    <a:pt x="389" y="218"/>
                  </a:lnTo>
                  <a:lnTo>
                    <a:pt x="389" y="220"/>
                  </a:lnTo>
                  <a:lnTo>
                    <a:pt x="389" y="218"/>
                  </a:lnTo>
                  <a:lnTo>
                    <a:pt x="389" y="220"/>
                  </a:lnTo>
                  <a:lnTo>
                    <a:pt x="391" y="220"/>
                  </a:lnTo>
                  <a:lnTo>
                    <a:pt x="391" y="221"/>
                  </a:lnTo>
                  <a:lnTo>
                    <a:pt x="391" y="220"/>
                  </a:lnTo>
                  <a:lnTo>
                    <a:pt x="392" y="220"/>
                  </a:lnTo>
                  <a:lnTo>
                    <a:pt x="391" y="220"/>
                  </a:lnTo>
                  <a:lnTo>
                    <a:pt x="391" y="218"/>
                  </a:lnTo>
                  <a:lnTo>
                    <a:pt x="389" y="218"/>
                  </a:lnTo>
                  <a:lnTo>
                    <a:pt x="387" y="218"/>
                  </a:lnTo>
                  <a:lnTo>
                    <a:pt x="387" y="216"/>
                  </a:lnTo>
                  <a:lnTo>
                    <a:pt x="386" y="216"/>
                  </a:lnTo>
                  <a:lnTo>
                    <a:pt x="386" y="215"/>
                  </a:lnTo>
                  <a:lnTo>
                    <a:pt x="384" y="215"/>
                  </a:lnTo>
                  <a:lnTo>
                    <a:pt x="384" y="213"/>
                  </a:lnTo>
                  <a:lnTo>
                    <a:pt x="384" y="212"/>
                  </a:lnTo>
                  <a:lnTo>
                    <a:pt x="386" y="210"/>
                  </a:lnTo>
                  <a:lnTo>
                    <a:pt x="386" y="208"/>
                  </a:lnTo>
                  <a:lnTo>
                    <a:pt x="384" y="208"/>
                  </a:lnTo>
                  <a:lnTo>
                    <a:pt x="384" y="210"/>
                  </a:lnTo>
                  <a:lnTo>
                    <a:pt x="384" y="212"/>
                  </a:lnTo>
                  <a:lnTo>
                    <a:pt x="382" y="210"/>
                  </a:lnTo>
                  <a:lnTo>
                    <a:pt x="382" y="208"/>
                  </a:lnTo>
                  <a:lnTo>
                    <a:pt x="381" y="207"/>
                  </a:lnTo>
                  <a:lnTo>
                    <a:pt x="382" y="207"/>
                  </a:lnTo>
                  <a:lnTo>
                    <a:pt x="381" y="207"/>
                  </a:lnTo>
                  <a:lnTo>
                    <a:pt x="381" y="205"/>
                  </a:lnTo>
                  <a:lnTo>
                    <a:pt x="382" y="205"/>
                  </a:lnTo>
                  <a:lnTo>
                    <a:pt x="382" y="203"/>
                  </a:lnTo>
                  <a:lnTo>
                    <a:pt x="384" y="203"/>
                  </a:lnTo>
                  <a:lnTo>
                    <a:pt x="386" y="203"/>
                  </a:lnTo>
                  <a:lnTo>
                    <a:pt x="386" y="202"/>
                  </a:lnTo>
                  <a:lnTo>
                    <a:pt x="386" y="203"/>
                  </a:lnTo>
                  <a:lnTo>
                    <a:pt x="386" y="205"/>
                  </a:lnTo>
                  <a:lnTo>
                    <a:pt x="387" y="205"/>
                  </a:lnTo>
                  <a:lnTo>
                    <a:pt x="386" y="205"/>
                  </a:lnTo>
                  <a:lnTo>
                    <a:pt x="387" y="203"/>
                  </a:lnTo>
                  <a:lnTo>
                    <a:pt x="387" y="202"/>
                  </a:lnTo>
                  <a:lnTo>
                    <a:pt x="389" y="202"/>
                  </a:lnTo>
                  <a:lnTo>
                    <a:pt x="389" y="200"/>
                  </a:lnTo>
                  <a:lnTo>
                    <a:pt x="389" y="202"/>
                  </a:lnTo>
                  <a:lnTo>
                    <a:pt x="391" y="202"/>
                  </a:lnTo>
                  <a:lnTo>
                    <a:pt x="389" y="203"/>
                  </a:lnTo>
                  <a:lnTo>
                    <a:pt x="389" y="205"/>
                  </a:lnTo>
                  <a:lnTo>
                    <a:pt x="389" y="207"/>
                  </a:lnTo>
                  <a:lnTo>
                    <a:pt x="389" y="208"/>
                  </a:lnTo>
                  <a:lnTo>
                    <a:pt x="389" y="207"/>
                  </a:lnTo>
                  <a:lnTo>
                    <a:pt x="389" y="205"/>
                  </a:lnTo>
                  <a:lnTo>
                    <a:pt x="391" y="205"/>
                  </a:lnTo>
                  <a:lnTo>
                    <a:pt x="391" y="203"/>
                  </a:lnTo>
                  <a:lnTo>
                    <a:pt x="391" y="202"/>
                  </a:lnTo>
                  <a:lnTo>
                    <a:pt x="392" y="203"/>
                  </a:lnTo>
                  <a:lnTo>
                    <a:pt x="392" y="202"/>
                  </a:lnTo>
                  <a:lnTo>
                    <a:pt x="392" y="200"/>
                  </a:lnTo>
                  <a:lnTo>
                    <a:pt x="392" y="202"/>
                  </a:lnTo>
                  <a:lnTo>
                    <a:pt x="394" y="202"/>
                  </a:lnTo>
                  <a:lnTo>
                    <a:pt x="394" y="203"/>
                  </a:lnTo>
                  <a:lnTo>
                    <a:pt x="394" y="202"/>
                  </a:lnTo>
                  <a:lnTo>
                    <a:pt x="395" y="203"/>
                  </a:lnTo>
                  <a:lnTo>
                    <a:pt x="395" y="205"/>
                  </a:lnTo>
                  <a:lnTo>
                    <a:pt x="395" y="203"/>
                  </a:lnTo>
                  <a:lnTo>
                    <a:pt x="395" y="205"/>
                  </a:lnTo>
                  <a:lnTo>
                    <a:pt x="395" y="203"/>
                  </a:lnTo>
                  <a:lnTo>
                    <a:pt x="397" y="203"/>
                  </a:lnTo>
                  <a:lnTo>
                    <a:pt x="397" y="205"/>
                  </a:lnTo>
                  <a:lnTo>
                    <a:pt x="399" y="205"/>
                  </a:lnTo>
                  <a:lnTo>
                    <a:pt x="397" y="205"/>
                  </a:lnTo>
                  <a:lnTo>
                    <a:pt x="399" y="205"/>
                  </a:lnTo>
                  <a:lnTo>
                    <a:pt x="399" y="203"/>
                  </a:lnTo>
                  <a:lnTo>
                    <a:pt x="397" y="203"/>
                  </a:lnTo>
                  <a:lnTo>
                    <a:pt x="395" y="202"/>
                  </a:lnTo>
                  <a:lnTo>
                    <a:pt x="394" y="202"/>
                  </a:lnTo>
                  <a:lnTo>
                    <a:pt x="394" y="200"/>
                  </a:lnTo>
                  <a:lnTo>
                    <a:pt x="394" y="199"/>
                  </a:lnTo>
                  <a:lnTo>
                    <a:pt x="395" y="199"/>
                  </a:lnTo>
                  <a:lnTo>
                    <a:pt x="395" y="200"/>
                  </a:lnTo>
                  <a:lnTo>
                    <a:pt x="395" y="199"/>
                  </a:lnTo>
                  <a:lnTo>
                    <a:pt x="397" y="200"/>
                  </a:lnTo>
                  <a:lnTo>
                    <a:pt x="397" y="199"/>
                  </a:lnTo>
                  <a:lnTo>
                    <a:pt x="397" y="200"/>
                  </a:lnTo>
                  <a:lnTo>
                    <a:pt x="397" y="199"/>
                  </a:lnTo>
                  <a:lnTo>
                    <a:pt x="399" y="199"/>
                  </a:lnTo>
                  <a:lnTo>
                    <a:pt x="399" y="197"/>
                  </a:lnTo>
                  <a:lnTo>
                    <a:pt x="399" y="195"/>
                  </a:lnTo>
                  <a:lnTo>
                    <a:pt x="400" y="197"/>
                  </a:lnTo>
                  <a:lnTo>
                    <a:pt x="399" y="197"/>
                  </a:lnTo>
                  <a:lnTo>
                    <a:pt x="400" y="197"/>
                  </a:lnTo>
                  <a:lnTo>
                    <a:pt x="400" y="195"/>
                  </a:lnTo>
                  <a:lnTo>
                    <a:pt x="400" y="197"/>
                  </a:lnTo>
                  <a:lnTo>
                    <a:pt x="400" y="195"/>
                  </a:lnTo>
                  <a:lnTo>
                    <a:pt x="402" y="197"/>
                  </a:lnTo>
                  <a:lnTo>
                    <a:pt x="404" y="197"/>
                  </a:lnTo>
                  <a:lnTo>
                    <a:pt x="404" y="195"/>
                  </a:lnTo>
                  <a:lnTo>
                    <a:pt x="405" y="195"/>
                  </a:lnTo>
                  <a:lnTo>
                    <a:pt x="407" y="195"/>
                  </a:lnTo>
                  <a:lnTo>
                    <a:pt x="407" y="194"/>
                  </a:lnTo>
                  <a:lnTo>
                    <a:pt x="408" y="194"/>
                  </a:lnTo>
                  <a:lnTo>
                    <a:pt x="410" y="194"/>
                  </a:lnTo>
                  <a:lnTo>
                    <a:pt x="412" y="194"/>
                  </a:lnTo>
                  <a:lnTo>
                    <a:pt x="413" y="194"/>
                  </a:lnTo>
                  <a:lnTo>
                    <a:pt x="413" y="192"/>
                  </a:lnTo>
                  <a:lnTo>
                    <a:pt x="415" y="192"/>
                  </a:lnTo>
                  <a:lnTo>
                    <a:pt x="417" y="192"/>
                  </a:lnTo>
                  <a:lnTo>
                    <a:pt x="418" y="192"/>
                  </a:lnTo>
                  <a:lnTo>
                    <a:pt x="420" y="192"/>
                  </a:lnTo>
                  <a:lnTo>
                    <a:pt x="421" y="192"/>
                  </a:lnTo>
                  <a:lnTo>
                    <a:pt x="421" y="190"/>
                  </a:lnTo>
                  <a:lnTo>
                    <a:pt x="421" y="194"/>
                  </a:lnTo>
                  <a:lnTo>
                    <a:pt x="421" y="195"/>
                  </a:lnTo>
                  <a:lnTo>
                    <a:pt x="423" y="194"/>
                  </a:lnTo>
                  <a:lnTo>
                    <a:pt x="425" y="194"/>
                  </a:lnTo>
                  <a:lnTo>
                    <a:pt x="426" y="194"/>
                  </a:lnTo>
                  <a:lnTo>
                    <a:pt x="428" y="194"/>
                  </a:lnTo>
                  <a:lnTo>
                    <a:pt x="428" y="195"/>
                  </a:lnTo>
                  <a:lnTo>
                    <a:pt x="428" y="194"/>
                  </a:lnTo>
                  <a:lnTo>
                    <a:pt x="430" y="192"/>
                  </a:lnTo>
                  <a:lnTo>
                    <a:pt x="430" y="194"/>
                  </a:lnTo>
                  <a:lnTo>
                    <a:pt x="431" y="194"/>
                  </a:lnTo>
                  <a:lnTo>
                    <a:pt x="431" y="192"/>
                  </a:lnTo>
                  <a:lnTo>
                    <a:pt x="431" y="194"/>
                  </a:lnTo>
                  <a:lnTo>
                    <a:pt x="431" y="192"/>
                  </a:lnTo>
                  <a:lnTo>
                    <a:pt x="431" y="194"/>
                  </a:lnTo>
                  <a:lnTo>
                    <a:pt x="433" y="194"/>
                  </a:lnTo>
                  <a:lnTo>
                    <a:pt x="433" y="192"/>
                  </a:lnTo>
                  <a:lnTo>
                    <a:pt x="434" y="192"/>
                  </a:lnTo>
                  <a:lnTo>
                    <a:pt x="434" y="194"/>
                  </a:lnTo>
                  <a:lnTo>
                    <a:pt x="436" y="194"/>
                  </a:lnTo>
                  <a:lnTo>
                    <a:pt x="436" y="195"/>
                  </a:lnTo>
                  <a:lnTo>
                    <a:pt x="436" y="194"/>
                  </a:lnTo>
                  <a:lnTo>
                    <a:pt x="438" y="192"/>
                  </a:lnTo>
                  <a:lnTo>
                    <a:pt x="438" y="194"/>
                  </a:lnTo>
                  <a:lnTo>
                    <a:pt x="438" y="192"/>
                  </a:lnTo>
                  <a:lnTo>
                    <a:pt x="439" y="192"/>
                  </a:lnTo>
                  <a:lnTo>
                    <a:pt x="441" y="192"/>
                  </a:lnTo>
                  <a:lnTo>
                    <a:pt x="443" y="192"/>
                  </a:lnTo>
                  <a:lnTo>
                    <a:pt x="441" y="192"/>
                  </a:lnTo>
                  <a:lnTo>
                    <a:pt x="443" y="192"/>
                  </a:lnTo>
                  <a:lnTo>
                    <a:pt x="444" y="192"/>
                  </a:lnTo>
                  <a:lnTo>
                    <a:pt x="444" y="194"/>
                  </a:lnTo>
                  <a:lnTo>
                    <a:pt x="444" y="192"/>
                  </a:lnTo>
                  <a:lnTo>
                    <a:pt x="444" y="194"/>
                  </a:lnTo>
                  <a:lnTo>
                    <a:pt x="444" y="195"/>
                  </a:lnTo>
                  <a:lnTo>
                    <a:pt x="444" y="194"/>
                  </a:lnTo>
                  <a:lnTo>
                    <a:pt x="444" y="195"/>
                  </a:lnTo>
                  <a:lnTo>
                    <a:pt x="444" y="194"/>
                  </a:lnTo>
                  <a:lnTo>
                    <a:pt x="446" y="192"/>
                  </a:lnTo>
                  <a:lnTo>
                    <a:pt x="448" y="192"/>
                  </a:lnTo>
                  <a:lnTo>
                    <a:pt x="449" y="192"/>
                  </a:lnTo>
                  <a:lnTo>
                    <a:pt x="451" y="192"/>
                  </a:lnTo>
                  <a:lnTo>
                    <a:pt x="451" y="194"/>
                  </a:lnTo>
                  <a:lnTo>
                    <a:pt x="451" y="195"/>
                  </a:lnTo>
                  <a:lnTo>
                    <a:pt x="451" y="194"/>
                  </a:lnTo>
                  <a:lnTo>
                    <a:pt x="451" y="195"/>
                  </a:lnTo>
                  <a:lnTo>
                    <a:pt x="451" y="194"/>
                  </a:lnTo>
                  <a:lnTo>
                    <a:pt x="451" y="192"/>
                  </a:lnTo>
                  <a:lnTo>
                    <a:pt x="452" y="194"/>
                  </a:lnTo>
                  <a:lnTo>
                    <a:pt x="452" y="192"/>
                  </a:lnTo>
                  <a:lnTo>
                    <a:pt x="452" y="194"/>
                  </a:lnTo>
                  <a:lnTo>
                    <a:pt x="452" y="192"/>
                  </a:lnTo>
                  <a:lnTo>
                    <a:pt x="452" y="190"/>
                  </a:lnTo>
                  <a:lnTo>
                    <a:pt x="454" y="190"/>
                  </a:lnTo>
                  <a:lnTo>
                    <a:pt x="454" y="192"/>
                  </a:lnTo>
                  <a:lnTo>
                    <a:pt x="454" y="195"/>
                  </a:lnTo>
                  <a:lnTo>
                    <a:pt x="452" y="197"/>
                  </a:lnTo>
                  <a:lnTo>
                    <a:pt x="454" y="197"/>
                  </a:lnTo>
                  <a:lnTo>
                    <a:pt x="454" y="199"/>
                  </a:lnTo>
                  <a:lnTo>
                    <a:pt x="456" y="197"/>
                  </a:lnTo>
                  <a:lnTo>
                    <a:pt x="454" y="197"/>
                  </a:lnTo>
                  <a:lnTo>
                    <a:pt x="454" y="195"/>
                  </a:lnTo>
                  <a:lnTo>
                    <a:pt x="454" y="194"/>
                  </a:lnTo>
                  <a:lnTo>
                    <a:pt x="454" y="192"/>
                  </a:lnTo>
                  <a:lnTo>
                    <a:pt x="456" y="192"/>
                  </a:lnTo>
                  <a:lnTo>
                    <a:pt x="454" y="190"/>
                  </a:lnTo>
                  <a:lnTo>
                    <a:pt x="456" y="190"/>
                  </a:lnTo>
                  <a:lnTo>
                    <a:pt x="457" y="190"/>
                  </a:lnTo>
                  <a:lnTo>
                    <a:pt x="459" y="190"/>
                  </a:lnTo>
                  <a:lnTo>
                    <a:pt x="462" y="190"/>
                  </a:lnTo>
                  <a:lnTo>
                    <a:pt x="462" y="192"/>
                  </a:lnTo>
                  <a:lnTo>
                    <a:pt x="462" y="194"/>
                  </a:lnTo>
                  <a:lnTo>
                    <a:pt x="464" y="194"/>
                  </a:lnTo>
                  <a:lnTo>
                    <a:pt x="462" y="194"/>
                  </a:lnTo>
                  <a:lnTo>
                    <a:pt x="464" y="195"/>
                  </a:lnTo>
                  <a:lnTo>
                    <a:pt x="465" y="197"/>
                  </a:lnTo>
                  <a:lnTo>
                    <a:pt x="465" y="199"/>
                  </a:lnTo>
                  <a:lnTo>
                    <a:pt x="467" y="199"/>
                  </a:lnTo>
                  <a:lnTo>
                    <a:pt x="467" y="200"/>
                  </a:lnTo>
                  <a:lnTo>
                    <a:pt x="467" y="199"/>
                  </a:lnTo>
                  <a:lnTo>
                    <a:pt x="465" y="197"/>
                  </a:lnTo>
                  <a:lnTo>
                    <a:pt x="465" y="195"/>
                  </a:lnTo>
                  <a:lnTo>
                    <a:pt x="464" y="195"/>
                  </a:lnTo>
                  <a:lnTo>
                    <a:pt x="464" y="194"/>
                  </a:lnTo>
                  <a:lnTo>
                    <a:pt x="465" y="194"/>
                  </a:lnTo>
                  <a:lnTo>
                    <a:pt x="465" y="192"/>
                  </a:lnTo>
                  <a:lnTo>
                    <a:pt x="464" y="192"/>
                  </a:lnTo>
                  <a:lnTo>
                    <a:pt x="464" y="190"/>
                  </a:lnTo>
                  <a:lnTo>
                    <a:pt x="465" y="190"/>
                  </a:lnTo>
                  <a:lnTo>
                    <a:pt x="464" y="190"/>
                  </a:lnTo>
                  <a:lnTo>
                    <a:pt x="465" y="190"/>
                  </a:lnTo>
                  <a:lnTo>
                    <a:pt x="465" y="189"/>
                  </a:lnTo>
                  <a:lnTo>
                    <a:pt x="467" y="189"/>
                  </a:lnTo>
                  <a:lnTo>
                    <a:pt x="467" y="190"/>
                  </a:lnTo>
                  <a:lnTo>
                    <a:pt x="469" y="190"/>
                  </a:lnTo>
                  <a:lnTo>
                    <a:pt x="469" y="189"/>
                  </a:lnTo>
                  <a:lnTo>
                    <a:pt x="469" y="187"/>
                  </a:lnTo>
                  <a:lnTo>
                    <a:pt x="467" y="187"/>
                  </a:lnTo>
                  <a:lnTo>
                    <a:pt x="467" y="186"/>
                  </a:lnTo>
                  <a:lnTo>
                    <a:pt x="464" y="186"/>
                  </a:lnTo>
                  <a:lnTo>
                    <a:pt x="462" y="186"/>
                  </a:lnTo>
                  <a:lnTo>
                    <a:pt x="462" y="184"/>
                  </a:lnTo>
                  <a:lnTo>
                    <a:pt x="461" y="184"/>
                  </a:lnTo>
                  <a:lnTo>
                    <a:pt x="459" y="182"/>
                  </a:lnTo>
                  <a:lnTo>
                    <a:pt x="461" y="182"/>
                  </a:lnTo>
                  <a:lnTo>
                    <a:pt x="462" y="182"/>
                  </a:lnTo>
                  <a:lnTo>
                    <a:pt x="464" y="182"/>
                  </a:lnTo>
                  <a:lnTo>
                    <a:pt x="464" y="181"/>
                  </a:lnTo>
                  <a:lnTo>
                    <a:pt x="465" y="181"/>
                  </a:lnTo>
                  <a:lnTo>
                    <a:pt x="465" y="182"/>
                  </a:lnTo>
                  <a:lnTo>
                    <a:pt x="467" y="181"/>
                  </a:lnTo>
                  <a:lnTo>
                    <a:pt x="469" y="181"/>
                  </a:lnTo>
                  <a:lnTo>
                    <a:pt x="470" y="181"/>
                  </a:lnTo>
                  <a:lnTo>
                    <a:pt x="470" y="182"/>
                  </a:lnTo>
                  <a:lnTo>
                    <a:pt x="470" y="181"/>
                  </a:lnTo>
                  <a:lnTo>
                    <a:pt x="470" y="182"/>
                  </a:lnTo>
                  <a:lnTo>
                    <a:pt x="472" y="182"/>
                  </a:lnTo>
                  <a:lnTo>
                    <a:pt x="472" y="181"/>
                  </a:lnTo>
                  <a:lnTo>
                    <a:pt x="474" y="181"/>
                  </a:lnTo>
                  <a:lnTo>
                    <a:pt x="475" y="181"/>
                  </a:lnTo>
                  <a:lnTo>
                    <a:pt x="477" y="181"/>
                  </a:lnTo>
                  <a:lnTo>
                    <a:pt x="478" y="179"/>
                  </a:lnTo>
                  <a:lnTo>
                    <a:pt x="478" y="181"/>
                  </a:lnTo>
                  <a:lnTo>
                    <a:pt x="478" y="179"/>
                  </a:lnTo>
                  <a:lnTo>
                    <a:pt x="478" y="181"/>
                  </a:lnTo>
                  <a:lnTo>
                    <a:pt x="478" y="179"/>
                  </a:lnTo>
                  <a:lnTo>
                    <a:pt x="480" y="179"/>
                  </a:lnTo>
                  <a:lnTo>
                    <a:pt x="480" y="181"/>
                  </a:lnTo>
                  <a:lnTo>
                    <a:pt x="482" y="181"/>
                  </a:lnTo>
                  <a:lnTo>
                    <a:pt x="483" y="182"/>
                  </a:lnTo>
                  <a:lnTo>
                    <a:pt x="483" y="181"/>
                  </a:lnTo>
                  <a:lnTo>
                    <a:pt x="485" y="181"/>
                  </a:lnTo>
                  <a:lnTo>
                    <a:pt x="485" y="179"/>
                  </a:lnTo>
                  <a:lnTo>
                    <a:pt x="485" y="181"/>
                  </a:lnTo>
                  <a:lnTo>
                    <a:pt x="487" y="181"/>
                  </a:lnTo>
                  <a:lnTo>
                    <a:pt x="487" y="179"/>
                  </a:lnTo>
                  <a:lnTo>
                    <a:pt x="487" y="181"/>
                  </a:lnTo>
                  <a:lnTo>
                    <a:pt x="488" y="181"/>
                  </a:lnTo>
                  <a:lnTo>
                    <a:pt x="488" y="179"/>
                  </a:lnTo>
                  <a:lnTo>
                    <a:pt x="490" y="179"/>
                  </a:lnTo>
                  <a:lnTo>
                    <a:pt x="488" y="179"/>
                  </a:lnTo>
                  <a:lnTo>
                    <a:pt x="490" y="181"/>
                  </a:lnTo>
                  <a:lnTo>
                    <a:pt x="490" y="179"/>
                  </a:lnTo>
                  <a:lnTo>
                    <a:pt x="491" y="181"/>
                  </a:lnTo>
                  <a:lnTo>
                    <a:pt x="493" y="181"/>
                  </a:lnTo>
                  <a:lnTo>
                    <a:pt x="495" y="181"/>
                  </a:lnTo>
                  <a:lnTo>
                    <a:pt x="493" y="181"/>
                  </a:lnTo>
                  <a:lnTo>
                    <a:pt x="495" y="181"/>
                  </a:lnTo>
                  <a:lnTo>
                    <a:pt x="496" y="182"/>
                  </a:lnTo>
                  <a:lnTo>
                    <a:pt x="495" y="182"/>
                  </a:lnTo>
                  <a:lnTo>
                    <a:pt x="493" y="182"/>
                  </a:lnTo>
                  <a:lnTo>
                    <a:pt x="495" y="184"/>
                  </a:lnTo>
                  <a:lnTo>
                    <a:pt x="495" y="186"/>
                  </a:lnTo>
                  <a:lnTo>
                    <a:pt x="495" y="187"/>
                  </a:lnTo>
                  <a:lnTo>
                    <a:pt x="496" y="189"/>
                  </a:lnTo>
                  <a:lnTo>
                    <a:pt x="496" y="190"/>
                  </a:lnTo>
                  <a:lnTo>
                    <a:pt x="498" y="192"/>
                  </a:lnTo>
                  <a:lnTo>
                    <a:pt x="500" y="192"/>
                  </a:lnTo>
                  <a:lnTo>
                    <a:pt x="498" y="192"/>
                  </a:lnTo>
                  <a:lnTo>
                    <a:pt x="500" y="192"/>
                  </a:lnTo>
                  <a:lnTo>
                    <a:pt x="500" y="194"/>
                  </a:lnTo>
                  <a:lnTo>
                    <a:pt x="500" y="195"/>
                  </a:lnTo>
                  <a:lnTo>
                    <a:pt x="500" y="194"/>
                  </a:lnTo>
                  <a:lnTo>
                    <a:pt x="500" y="195"/>
                  </a:lnTo>
                  <a:lnTo>
                    <a:pt x="500" y="197"/>
                  </a:lnTo>
                  <a:lnTo>
                    <a:pt x="501" y="197"/>
                  </a:lnTo>
                  <a:lnTo>
                    <a:pt x="501" y="199"/>
                  </a:lnTo>
                  <a:lnTo>
                    <a:pt x="501" y="200"/>
                  </a:lnTo>
                  <a:lnTo>
                    <a:pt x="501" y="202"/>
                  </a:lnTo>
                  <a:lnTo>
                    <a:pt x="501" y="200"/>
                  </a:lnTo>
                  <a:lnTo>
                    <a:pt x="501" y="202"/>
                  </a:lnTo>
                  <a:lnTo>
                    <a:pt x="501" y="200"/>
                  </a:lnTo>
                  <a:lnTo>
                    <a:pt x="501" y="202"/>
                  </a:lnTo>
                  <a:lnTo>
                    <a:pt x="501" y="200"/>
                  </a:lnTo>
                  <a:lnTo>
                    <a:pt x="501" y="202"/>
                  </a:lnTo>
                  <a:lnTo>
                    <a:pt x="503" y="200"/>
                  </a:lnTo>
                  <a:lnTo>
                    <a:pt x="501" y="199"/>
                  </a:lnTo>
                  <a:lnTo>
                    <a:pt x="501" y="197"/>
                  </a:lnTo>
                  <a:lnTo>
                    <a:pt x="501" y="195"/>
                  </a:lnTo>
                  <a:lnTo>
                    <a:pt x="500" y="194"/>
                  </a:lnTo>
                  <a:lnTo>
                    <a:pt x="500" y="192"/>
                  </a:lnTo>
                  <a:lnTo>
                    <a:pt x="498" y="190"/>
                  </a:lnTo>
                  <a:lnTo>
                    <a:pt x="496" y="190"/>
                  </a:lnTo>
                  <a:lnTo>
                    <a:pt x="496" y="187"/>
                  </a:lnTo>
                  <a:lnTo>
                    <a:pt x="496" y="186"/>
                  </a:lnTo>
                  <a:lnTo>
                    <a:pt x="496" y="184"/>
                  </a:lnTo>
                  <a:lnTo>
                    <a:pt x="496" y="182"/>
                  </a:lnTo>
                  <a:lnTo>
                    <a:pt x="496" y="181"/>
                  </a:lnTo>
                  <a:lnTo>
                    <a:pt x="495" y="181"/>
                  </a:lnTo>
                  <a:lnTo>
                    <a:pt x="495" y="179"/>
                  </a:lnTo>
                  <a:lnTo>
                    <a:pt x="496" y="179"/>
                  </a:lnTo>
                  <a:lnTo>
                    <a:pt x="498" y="179"/>
                  </a:lnTo>
                  <a:lnTo>
                    <a:pt x="500" y="179"/>
                  </a:lnTo>
                  <a:lnTo>
                    <a:pt x="500" y="181"/>
                  </a:lnTo>
                  <a:lnTo>
                    <a:pt x="503" y="181"/>
                  </a:lnTo>
                  <a:lnTo>
                    <a:pt x="501" y="182"/>
                  </a:lnTo>
                  <a:lnTo>
                    <a:pt x="503" y="182"/>
                  </a:lnTo>
                  <a:lnTo>
                    <a:pt x="503" y="181"/>
                  </a:lnTo>
                  <a:lnTo>
                    <a:pt x="504" y="181"/>
                  </a:lnTo>
                  <a:lnTo>
                    <a:pt x="504" y="182"/>
                  </a:lnTo>
                  <a:lnTo>
                    <a:pt x="506" y="182"/>
                  </a:lnTo>
                  <a:lnTo>
                    <a:pt x="508" y="182"/>
                  </a:lnTo>
                  <a:lnTo>
                    <a:pt x="508" y="184"/>
                  </a:lnTo>
                  <a:lnTo>
                    <a:pt x="509" y="184"/>
                  </a:lnTo>
                  <a:lnTo>
                    <a:pt x="511" y="186"/>
                  </a:lnTo>
                  <a:lnTo>
                    <a:pt x="511" y="187"/>
                  </a:lnTo>
                  <a:lnTo>
                    <a:pt x="513" y="187"/>
                  </a:lnTo>
                  <a:lnTo>
                    <a:pt x="511" y="186"/>
                  </a:lnTo>
                  <a:lnTo>
                    <a:pt x="511" y="184"/>
                  </a:lnTo>
                  <a:lnTo>
                    <a:pt x="509" y="184"/>
                  </a:lnTo>
                  <a:lnTo>
                    <a:pt x="509" y="182"/>
                  </a:lnTo>
                  <a:lnTo>
                    <a:pt x="508" y="182"/>
                  </a:lnTo>
                  <a:lnTo>
                    <a:pt x="509" y="181"/>
                  </a:lnTo>
                  <a:lnTo>
                    <a:pt x="511" y="181"/>
                  </a:lnTo>
                  <a:lnTo>
                    <a:pt x="511" y="182"/>
                  </a:lnTo>
                  <a:lnTo>
                    <a:pt x="511" y="184"/>
                  </a:lnTo>
                  <a:lnTo>
                    <a:pt x="513" y="182"/>
                  </a:lnTo>
                  <a:lnTo>
                    <a:pt x="513" y="184"/>
                  </a:lnTo>
                  <a:lnTo>
                    <a:pt x="513" y="182"/>
                  </a:lnTo>
                  <a:lnTo>
                    <a:pt x="514" y="182"/>
                  </a:lnTo>
                  <a:lnTo>
                    <a:pt x="514" y="181"/>
                  </a:lnTo>
                  <a:lnTo>
                    <a:pt x="514" y="182"/>
                  </a:lnTo>
                  <a:lnTo>
                    <a:pt x="516" y="182"/>
                  </a:lnTo>
                  <a:lnTo>
                    <a:pt x="517" y="182"/>
                  </a:lnTo>
                  <a:lnTo>
                    <a:pt x="517" y="181"/>
                  </a:lnTo>
                  <a:lnTo>
                    <a:pt x="519" y="182"/>
                  </a:lnTo>
                  <a:lnTo>
                    <a:pt x="521" y="182"/>
                  </a:lnTo>
                  <a:lnTo>
                    <a:pt x="519" y="182"/>
                  </a:lnTo>
                  <a:lnTo>
                    <a:pt x="519" y="184"/>
                  </a:lnTo>
                  <a:lnTo>
                    <a:pt x="521" y="182"/>
                  </a:lnTo>
                  <a:lnTo>
                    <a:pt x="522" y="182"/>
                  </a:lnTo>
                  <a:lnTo>
                    <a:pt x="524" y="182"/>
                  </a:lnTo>
                  <a:lnTo>
                    <a:pt x="524" y="184"/>
                  </a:lnTo>
                  <a:lnTo>
                    <a:pt x="524" y="182"/>
                  </a:lnTo>
                  <a:lnTo>
                    <a:pt x="524" y="184"/>
                  </a:lnTo>
                  <a:lnTo>
                    <a:pt x="526" y="184"/>
                  </a:lnTo>
                  <a:lnTo>
                    <a:pt x="524" y="184"/>
                  </a:lnTo>
                  <a:lnTo>
                    <a:pt x="522" y="184"/>
                  </a:lnTo>
                  <a:lnTo>
                    <a:pt x="522" y="186"/>
                  </a:lnTo>
                  <a:lnTo>
                    <a:pt x="522" y="184"/>
                  </a:lnTo>
                  <a:lnTo>
                    <a:pt x="524" y="184"/>
                  </a:lnTo>
                  <a:lnTo>
                    <a:pt x="524" y="186"/>
                  </a:lnTo>
                  <a:lnTo>
                    <a:pt x="526" y="186"/>
                  </a:lnTo>
                  <a:lnTo>
                    <a:pt x="526" y="187"/>
                  </a:lnTo>
                  <a:lnTo>
                    <a:pt x="527" y="186"/>
                  </a:lnTo>
                  <a:lnTo>
                    <a:pt x="529" y="187"/>
                  </a:lnTo>
                  <a:lnTo>
                    <a:pt x="529" y="186"/>
                  </a:lnTo>
                  <a:lnTo>
                    <a:pt x="530" y="187"/>
                  </a:lnTo>
                  <a:lnTo>
                    <a:pt x="532" y="187"/>
                  </a:lnTo>
                  <a:lnTo>
                    <a:pt x="530" y="189"/>
                  </a:lnTo>
                  <a:lnTo>
                    <a:pt x="532" y="189"/>
                  </a:lnTo>
                  <a:lnTo>
                    <a:pt x="532" y="187"/>
                  </a:lnTo>
                  <a:lnTo>
                    <a:pt x="534" y="187"/>
                  </a:lnTo>
                  <a:lnTo>
                    <a:pt x="532" y="187"/>
                  </a:lnTo>
                  <a:lnTo>
                    <a:pt x="534" y="187"/>
                  </a:lnTo>
                  <a:lnTo>
                    <a:pt x="534" y="189"/>
                  </a:lnTo>
                  <a:lnTo>
                    <a:pt x="534" y="187"/>
                  </a:lnTo>
                  <a:lnTo>
                    <a:pt x="535" y="187"/>
                  </a:lnTo>
                  <a:lnTo>
                    <a:pt x="537" y="187"/>
                  </a:lnTo>
                  <a:lnTo>
                    <a:pt x="537" y="189"/>
                  </a:lnTo>
                  <a:lnTo>
                    <a:pt x="537" y="187"/>
                  </a:lnTo>
                  <a:lnTo>
                    <a:pt x="539" y="189"/>
                  </a:lnTo>
                  <a:lnTo>
                    <a:pt x="539" y="187"/>
                  </a:lnTo>
                  <a:lnTo>
                    <a:pt x="540" y="189"/>
                  </a:lnTo>
                  <a:lnTo>
                    <a:pt x="539" y="189"/>
                  </a:lnTo>
                  <a:lnTo>
                    <a:pt x="540" y="190"/>
                  </a:lnTo>
                  <a:lnTo>
                    <a:pt x="540" y="189"/>
                  </a:lnTo>
                  <a:lnTo>
                    <a:pt x="540" y="187"/>
                  </a:lnTo>
                  <a:lnTo>
                    <a:pt x="542" y="187"/>
                  </a:lnTo>
                  <a:lnTo>
                    <a:pt x="543" y="189"/>
                  </a:lnTo>
                  <a:lnTo>
                    <a:pt x="543" y="187"/>
                  </a:lnTo>
                  <a:lnTo>
                    <a:pt x="545" y="189"/>
                  </a:lnTo>
                  <a:lnTo>
                    <a:pt x="543" y="189"/>
                  </a:lnTo>
                  <a:lnTo>
                    <a:pt x="545" y="189"/>
                  </a:lnTo>
                  <a:lnTo>
                    <a:pt x="545" y="190"/>
                  </a:lnTo>
                  <a:lnTo>
                    <a:pt x="547" y="189"/>
                  </a:lnTo>
                  <a:lnTo>
                    <a:pt x="547" y="190"/>
                  </a:lnTo>
                  <a:lnTo>
                    <a:pt x="547" y="189"/>
                  </a:lnTo>
                  <a:lnTo>
                    <a:pt x="548" y="190"/>
                  </a:lnTo>
                  <a:lnTo>
                    <a:pt x="548" y="189"/>
                  </a:lnTo>
                  <a:lnTo>
                    <a:pt x="548" y="190"/>
                  </a:lnTo>
                  <a:lnTo>
                    <a:pt x="548" y="189"/>
                  </a:lnTo>
                  <a:lnTo>
                    <a:pt x="550" y="189"/>
                  </a:lnTo>
                  <a:lnTo>
                    <a:pt x="550" y="190"/>
                  </a:lnTo>
                  <a:lnTo>
                    <a:pt x="552" y="190"/>
                  </a:lnTo>
                  <a:lnTo>
                    <a:pt x="550" y="192"/>
                  </a:lnTo>
                  <a:lnTo>
                    <a:pt x="552" y="192"/>
                  </a:lnTo>
                  <a:lnTo>
                    <a:pt x="553" y="192"/>
                  </a:lnTo>
                  <a:lnTo>
                    <a:pt x="555" y="192"/>
                  </a:lnTo>
                  <a:lnTo>
                    <a:pt x="555" y="194"/>
                  </a:lnTo>
                  <a:lnTo>
                    <a:pt x="556" y="192"/>
                  </a:lnTo>
                  <a:lnTo>
                    <a:pt x="556" y="194"/>
                  </a:lnTo>
                  <a:lnTo>
                    <a:pt x="558" y="194"/>
                  </a:lnTo>
                  <a:lnTo>
                    <a:pt x="558" y="195"/>
                  </a:lnTo>
                  <a:lnTo>
                    <a:pt x="560" y="195"/>
                  </a:lnTo>
                  <a:lnTo>
                    <a:pt x="558" y="197"/>
                  </a:lnTo>
                  <a:lnTo>
                    <a:pt x="560" y="197"/>
                  </a:lnTo>
                  <a:lnTo>
                    <a:pt x="560" y="195"/>
                  </a:lnTo>
                  <a:lnTo>
                    <a:pt x="558" y="195"/>
                  </a:lnTo>
                  <a:lnTo>
                    <a:pt x="558" y="194"/>
                  </a:lnTo>
                  <a:lnTo>
                    <a:pt x="560" y="194"/>
                  </a:lnTo>
                  <a:lnTo>
                    <a:pt x="561" y="194"/>
                  </a:lnTo>
                  <a:lnTo>
                    <a:pt x="563" y="194"/>
                  </a:lnTo>
                  <a:lnTo>
                    <a:pt x="561" y="195"/>
                  </a:lnTo>
                  <a:lnTo>
                    <a:pt x="563" y="195"/>
                  </a:lnTo>
                  <a:lnTo>
                    <a:pt x="565" y="195"/>
                  </a:lnTo>
                  <a:lnTo>
                    <a:pt x="566" y="195"/>
                  </a:lnTo>
                  <a:lnTo>
                    <a:pt x="565" y="195"/>
                  </a:lnTo>
                  <a:lnTo>
                    <a:pt x="566" y="195"/>
                  </a:lnTo>
                  <a:lnTo>
                    <a:pt x="568" y="195"/>
                  </a:lnTo>
                  <a:lnTo>
                    <a:pt x="569" y="197"/>
                  </a:lnTo>
                  <a:lnTo>
                    <a:pt x="571" y="197"/>
                  </a:lnTo>
                  <a:lnTo>
                    <a:pt x="571" y="199"/>
                  </a:lnTo>
                  <a:lnTo>
                    <a:pt x="571" y="197"/>
                  </a:lnTo>
                  <a:lnTo>
                    <a:pt x="573" y="197"/>
                  </a:lnTo>
                  <a:lnTo>
                    <a:pt x="574" y="197"/>
                  </a:lnTo>
                  <a:lnTo>
                    <a:pt x="573" y="197"/>
                  </a:lnTo>
                  <a:lnTo>
                    <a:pt x="574" y="199"/>
                  </a:lnTo>
                  <a:lnTo>
                    <a:pt x="576" y="199"/>
                  </a:lnTo>
                  <a:lnTo>
                    <a:pt x="574" y="197"/>
                  </a:lnTo>
                  <a:lnTo>
                    <a:pt x="576" y="199"/>
                  </a:lnTo>
                  <a:lnTo>
                    <a:pt x="576" y="197"/>
                  </a:lnTo>
                  <a:lnTo>
                    <a:pt x="576" y="199"/>
                  </a:lnTo>
                  <a:lnTo>
                    <a:pt x="578" y="199"/>
                  </a:lnTo>
                  <a:lnTo>
                    <a:pt x="579" y="199"/>
                  </a:lnTo>
                  <a:lnTo>
                    <a:pt x="581" y="199"/>
                  </a:lnTo>
                  <a:lnTo>
                    <a:pt x="582" y="199"/>
                  </a:lnTo>
                  <a:lnTo>
                    <a:pt x="584" y="200"/>
                  </a:lnTo>
                  <a:lnTo>
                    <a:pt x="586" y="200"/>
                  </a:lnTo>
                  <a:lnTo>
                    <a:pt x="584" y="202"/>
                  </a:lnTo>
                  <a:lnTo>
                    <a:pt x="586" y="202"/>
                  </a:lnTo>
                  <a:lnTo>
                    <a:pt x="587" y="202"/>
                  </a:lnTo>
                  <a:lnTo>
                    <a:pt x="589" y="202"/>
                  </a:lnTo>
                  <a:lnTo>
                    <a:pt x="591" y="202"/>
                  </a:lnTo>
                  <a:lnTo>
                    <a:pt x="592" y="202"/>
                  </a:lnTo>
                  <a:lnTo>
                    <a:pt x="592" y="203"/>
                  </a:lnTo>
                  <a:lnTo>
                    <a:pt x="594" y="203"/>
                  </a:lnTo>
                  <a:lnTo>
                    <a:pt x="594" y="202"/>
                  </a:lnTo>
                  <a:lnTo>
                    <a:pt x="594" y="203"/>
                  </a:lnTo>
                  <a:lnTo>
                    <a:pt x="594" y="202"/>
                  </a:lnTo>
                  <a:lnTo>
                    <a:pt x="594" y="203"/>
                  </a:lnTo>
                  <a:lnTo>
                    <a:pt x="596" y="203"/>
                  </a:lnTo>
                  <a:lnTo>
                    <a:pt x="597" y="203"/>
                  </a:lnTo>
                  <a:lnTo>
                    <a:pt x="597" y="205"/>
                  </a:lnTo>
                  <a:lnTo>
                    <a:pt x="599" y="205"/>
                  </a:lnTo>
                  <a:lnTo>
                    <a:pt x="599" y="207"/>
                  </a:lnTo>
                  <a:lnTo>
                    <a:pt x="600" y="207"/>
                  </a:lnTo>
                  <a:lnTo>
                    <a:pt x="600" y="205"/>
                  </a:lnTo>
                  <a:lnTo>
                    <a:pt x="602" y="205"/>
                  </a:lnTo>
                  <a:lnTo>
                    <a:pt x="602" y="207"/>
                  </a:lnTo>
                  <a:lnTo>
                    <a:pt x="602" y="205"/>
                  </a:lnTo>
                  <a:lnTo>
                    <a:pt x="602" y="207"/>
                  </a:lnTo>
                  <a:lnTo>
                    <a:pt x="604" y="205"/>
                  </a:lnTo>
                  <a:lnTo>
                    <a:pt x="605" y="207"/>
                  </a:lnTo>
                  <a:lnTo>
                    <a:pt x="605" y="205"/>
                  </a:lnTo>
                  <a:lnTo>
                    <a:pt x="607" y="205"/>
                  </a:lnTo>
                  <a:lnTo>
                    <a:pt x="605" y="205"/>
                  </a:lnTo>
                  <a:lnTo>
                    <a:pt x="607" y="207"/>
                  </a:lnTo>
                  <a:lnTo>
                    <a:pt x="607" y="208"/>
                  </a:lnTo>
                  <a:lnTo>
                    <a:pt x="609" y="210"/>
                  </a:lnTo>
                  <a:lnTo>
                    <a:pt x="607" y="208"/>
                  </a:lnTo>
                  <a:lnTo>
                    <a:pt x="607" y="207"/>
                  </a:lnTo>
                  <a:lnTo>
                    <a:pt x="609" y="207"/>
                  </a:lnTo>
                  <a:lnTo>
                    <a:pt x="610" y="207"/>
                  </a:lnTo>
                  <a:lnTo>
                    <a:pt x="612" y="208"/>
                  </a:lnTo>
                  <a:lnTo>
                    <a:pt x="612" y="207"/>
                  </a:lnTo>
                  <a:lnTo>
                    <a:pt x="612" y="208"/>
                  </a:lnTo>
                  <a:lnTo>
                    <a:pt x="613" y="207"/>
                  </a:lnTo>
                  <a:lnTo>
                    <a:pt x="613" y="208"/>
                  </a:lnTo>
                  <a:lnTo>
                    <a:pt x="615" y="208"/>
                  </a:lnTo>
                  <a:lnTo>
                    <a:pt x="617" y="208"/>
                  </a:lnTo>
                  <a:lnTo>
                    <a:pt x="617" y="210"/>
                  </a:lnTo>
                  <a:lnTo>
                    <a:pt x="617" y="208"/>
                  </a:lnTo>
                  <a:lnTo>
                    <a:pt x="617" y="210"/>
                  </a:lnTo>
                  <a:lnTo>
                    <a:pt x="618" y="210"/>
                  </a:lnTo>
                  <a:lnTo>
                    <a:pt x="618" y="212"/>
                  </a:lnTo>
                  <a:lnTo>
                    <a:pt x="618" y="210"/>
                  </a:lnTo>
                  <a:lnTo>
                    <a:pt x="620" y="210"/>
                  </a:lnTo>
                  <a:lnTo>
                    <a:pt x="622" y="212"/>
                  </a:lnTo>
                  <a:lnTo>
                    <a:pt x="622" y="210"/>
                  </a:lnTo>
                  <a:lnTo>
                    <a:pt x="623" y="212"/>
                  </a:lnTo>
                  <a:lnTo>
                    <a:pt x="622" y="213"/>
                  </a:lnTo>
                  <a:lnTo>
                    <a:pt x="623" y="212"/>
                  </a:lnTo>
                  <a:lnTo>
                    <a:pt x="623" y="213"/>
                  </a:lnTo>
                  <a:lnTo>
                    <a:pt x="623" y="212"/>
                  </a:lnTo>
                  <a:lnTo>
                    <a:pt x="625" y="213"/>
                  </a:lnTo>
                  <a:lnTo>
                    <a:pt x="625" y="215"/>
                  </a:lnTo>
                  <a:lnTo>
                    <a:pt x="626" y="215"/>
                  </a:lnTo>
                  <a:lnTo>
                    <a:pt x="626" y="216"/>
                  </a:lnTo>
                  <a:lnTo>
                    <a:pt x="626" y="215"/>
                  </a:lnTo>
                  <a:lnTo>
                    <a:pt x="626" y="213"/>
                  </a:lnTo>
                  <a:lnTo>
                    <a:pt x="628" y="215"/>
                  </a:lnTo>
                  <a:lnTo>
                    <a:pt x="628" y="216"/>
                  </a:lnTo>
                  <a:lnTo>
                    <a:pt x="630" y="215"/>
                  </a:lnTo>
                  <a:lnTo>
                    <a:pt x="630" y="216"/>
                  </a:lnTo>
                  <a:lnTo>
                    <a:pt x="630" y="215"/>
                  </a:lnTo>
                  <a:lnTo>
                    <a:pt x="631" y="216"/>
                  </a:lnTo>
                  <a:lnTo>
                    <a:pt x="631" y="215"/>
                  </a:lnTo>
                  <a:lnTo>
                    <a:pt x="631" y="216"/>
                  </a:lnTo>
                  <a:lnTo>
                    <a:pt x="633" y="216"/>
                  </a:lnTo>
                  <a:lnTo>
                    <a:pt x="635" y="216"/>
                  </a:lnTo>
                  <a:lnTo>
                    <a:pt x="636" y="216"/>
                  </a:lnTo>
                  <a:lnTo>
                    <a:pt x="636" y="218"/>
                  </a:lnTo>
                  <a:lnTo>
                    <a:pt x="638" y="218"/>
                  </a:lnTo>
                  <a:lnTo>
                    <a:pt x="638" y="220"/>
                  </a:lnTo>
                  <a:lnTo>
                    <a:pt x="639" y="220"/>
                  </a:lnTo>
                  <a:lnTo>
                    <a:pt x="639" y="221"/>
                  </a:lnTo>
                  <a:lnTo>
                    <a:pt x="641" y="221"/>
                  </a:lnTo>
                  <a:lnTo>
                    <a:pt x="643" y="221"/>
                  </a:lnTo>
                  <a:lnTo>
                    <a:pt x="641" y="221"/>
                  </a:lnTo>
                  <a:lnTo>
                    <a:pt x="641" y="223"/>
                  </a:lnTo>
                  <a:lnTo>
                    <a:pt x="643" y="223"/>
                  </a:lnTo>
                  <a:lnTo>
                    <a:pt x="644" y="223"/>
                  </a:lnTo>
                  <a:lnTo>
                    <a:pt x="644" y="225"/>
                  </a:lnTo>
                  <a:lnTo>
                    <a:pt x="646" y="225"/>
                  </a:lnTo>
                  <a:lnTo>
                    <a:pt x="646" y="226"/>
                  </a:lnTo>
                  <a:lnTo>
                    <a:pt x="646" y="225"/>
                  </a:lnTo>
                  <a:lnTo>
                    <a:pt x="648" y="225"/>
                  </a:lnTo>
                  <a:lnTo>
                    <a:pt x="648" y="226"/>
                  </a:lnTo>
                  <a:lnTo>
                    <a:pt x="648" y="225"/>
                  </a:lnTo>
                  <a:lnTo>
                    <a:pt x="648" y="226"/>
                  </a:lnTo>
                  <a:lnTo>
                    <a:pt x="649" y="225"/>
                  </a:lnTo>
                  <a:lnTo>
                    <a:pt x="651" y="225"/>
                  </a:lnTo>
                  <a:lnTo>
                    <a:pt x="651" y="226"/>
                  </a:lnTo>
                  <a:lnTo>
                    <a:pt x="651" y="225"/>
                  </a:lnTo>
                  <a:lnTo>
                    <a:pt x="651" y="226"/>
                  </a:lnTo>
                  <a:lnTo>
                    <a:pt x="652" y="226"/>
                  </a:lnTo>
                  <a:lnTo>
                    <a:pt x="654" y="226"/>
                  </a:lnTo>
                  <a:lnTo>
                    <a:pt x="654" y="228"/>
                  </a:lnTo>
                  <a:lnTo>
                    <a:pt x="656" y="229"/>
                  </a:lnTo>
                  <a:lnTo>
                    <a:pt x="654" y="229"/>
                  </a:lnTo>
                  <a:lnTo>
                    <a:pt x="656" y="229"/>
                  </a:lnTo>
                  <a:lnTo>
                    <a:pt x="656" y="228"/>
                  </a:lnTo>
                  <a:lnTo>
                    <a:pt x="657" y="228"/>
                  </a:lnTo>
                  <a:lnTo>
                    <a:pt x="659" y="228"/>
                  </a:lnTo>
                  <a:lnTo>
                    <a:pt x="657" y="229"/>
                  </a:lnTo>
                  <a:lnTo>
                    <a:pt x="659" y="229"/>
                  </a:lnTo>
                  <a:lnTo>
                    <a:pt x="659" y="231"/>
                  </a:lnTo>
                  <a:lnTo>
                    <a:pt x="661" y="229"/>
                  </a:lnTo>
                  <a:lnTo>
                    <a:pt x="659" y="229"/>
                  </a:lnTo>
                  <a:lnTo>
                    <a:pt x="661" y="229"/>
                  </a:lnTo>
                  <a:lnTo>
                    <a:pt x="662" y="229"/>
                  </a:lnTo>
                  <a:lnTo>
                    <a:pt x="661" y="229"/>
                  </a:lnTo>
                  <a:lnTo>
                    <a:pt x="662" y="229"/>
                  </a:lnTo>
                  <a:lnTo>
                    <a:pt x="662" y="231"/>
                  </a:lnTo>
                  <a:lnTo>
                    <a:pt x="662" y="229"/>
                  </a:lnTo>
                  <a:lnTo>
                    <a:pt x="664" y="231"/>
                  </a:lnTo>
                  <a:lnTo>
                    <a:pt x="665" y="231"/>
                  </a:lnTo>
                  <a:lnTo>
                    <a:pt x="665" y="233"/>
                  </a:lnTo>
                  <a:lnTo>
                    <a:pt x="665" y="234"/>
                  </a:lnTo>
                  <a:lnTo>
                    <a:pt x="667" y="234"/>
                  </a:lnTo>
                  <a:lnTo>
                    <a:pt x="667" y="236"/>
                  </a:lnTo>
                  <a:lnTo>
                    <a:pt x="665" y="236"/>
                  </a:lnTo>
                  <a:lnTo>
                    <a:pt x="665" y="238"/>
                  </a:lnTo>
                  <a:lnTo>
                    <a:pt x="664" y="238"/>
                  </a:lnTo>
                  <a:lnTo>
                    <a:pt x="665" y="238"/>
                  </a:lnTo>
                  <a:lnTo>
                    <a:pt x="665" y="239"/>
                  </a:lnTo>
                  <a:lnTo>
                    <a:pt x="665" y="238"/>
                  </a:lnTo>
                  <a:lnTo>
                    <a:pt x="667" y="238"/>
                  </a:lnTo>
                  <a:lnTo>
                    <a:pt x="667" y="236"/>
                  </a:lnTo>
                  <a:lnTo>
                    <a:pt x="667" y="234"/>
                  </a:lnTo>
                  <a:lnTo>
                    <a:pt x="667" y="233"/>
                  </a:lnTo>
                  <a:lnTo>
                    <a:pt x="665" y="233"/>
                  </a:lnTo>
                  <a:lnTo>
                    <a:pt x="667" y="233"/>
                  </a:lnTo>
                  <a:lnTo>
                    <a:pt x="669" y="233"/>
                  </a:lnTo>
                  <a:lnTo>
                    <a:pt x="669" y="234"/>
                  </a:lnTo>
                  <a:lnTo>
                    <a:pt x="670" y="234"/>
                  </a:lnTo>
                  <a:lnTo>
                    <a:pt x="669" y="236"/>
                  </a:lnTo>
                  <a:lnTo>
                    <a:pt x="669" y="234"/>
                  </a:lnTo>
                  <a:lnTo>
                    <a:pt x="669" y="236"/>
                  </a:lnTo>
                  <a:lnTo>
                    <a:pt x="670" y="234"/>
                  </a:lnTo>
                  <a:lnTo>
                    <a:pt x="670" y="236"/>
                  </a:lnTo>
                  <a:lnTo>
                    <a:pt x="670" y="238"/>
                  </a:lnTo>
                  <a:lnTo>
                    <a:pt x="672" y="239"/>
                  </a:lnTo>
                  <a:lnTo>
                    <a:pt x="670" y="239"/>
                  </a:lnTo>
                  <a:lnTo>
                    <a:pt x="672" y="239"/>
                  </a:lnTo>
                  <a:lnTo>
                    <a:pt x="672" y="241"/>
                  </a:lnTo>
                  <a:lnTo>
                    <a:pt x="672" y="242"/>
                  </a:lnTo>
                  <a:lnTo>
                    <a:pt x="674" y="242"/>
                  </a:lnTo>
                  <a:lnTo>
                    <a:pt x="674" y="241"/>
                  </a:lnTo>
                  <a:lnTo>
                    <a:pt x="674" y="242"/>
                  </a:lnTo>
                  <a:lnTo>
                    <a:pt x="674" y="241"/>
                  </a:lnTo>
                  <a:lnTo>
                    <a:pt x="674" y="242"/>
                  </a:lnTo>
                  <a:lnTo>
                    <a:pt x="675" y="242"/>
                  </a:lnTo>
                  <a:lnTo>
                    <a:pt x="675" y="244"/>
                  </a:lnTo>
                  <a:lnTo>
                    <a:pt x="675" y="242"/>
                  </a:lnTo>
                  <a:lnTo>
                    <a:pt x="674" y="241"/>
                  </a:lnTo>
                  <a:lnTo>
                    <a:pt x="674" y="239"/>
                  </a:lnTo>
                  <a:lnTo>
                    <a:pt x="672" y="239"/>
                  </a:lnTo>
                  <a:lnTo>
                    <a:pt x="672" y="238"/>
                  </a:lnTo>
                  <a:lnTo>
                    <a:pt x="672" y="236"/>
                  </a:lnTo>
                  <a:lnTo>
                    <a:pt x="672" y="234"/>
                  </a:lnTo>
                  <a:lnTo>
                    <a:pt x="672" y="236"/>
                  </a:lnTo>
                  <a:lnTo>
                    <a:pt x="672" y="238"/>
                  </a:lnTo>
                  <a:lnTo>
                    <a:pt x="672" y="236"/>
                  </a:lnTo>
                  <a:lnTo>
                    <a:pt x="674" y="236"/>
                  </a:lnTo>
                  <a:lnTo>
                    <a:pt x="672" y="236"/>
                  </a:lnTo>
                  <a:lnTo>
                    <a:pt x="674" y="236"/>
                  </a:lnTo>
                  <a:lnTo>
                    <a:pt x="674" y="238"/>
                  </a:lnTo>
                  <a:lnTo>
                    <a:pt x="674" y="236"/>
                  </a:lnTo>
                  <a:lnTo>
                    <a:pt x="674" y="238"/>
                  </a:lnTo>
                  <a:lnTo>
                    <a:pt x="675" y="236"/>
                  </a:lnTo>
                  <a:lnTo>
                    <a:pt x="675" y="238"/>
                  </a:lnTo>
                  <a:lnTo>
                    <a:pt x="675" y="236"/>
                  </a:lnTo>
                  <a:lnTo>
                    <a:pt x="675" y="238"/>
                  </a:lnTo>
                  <a:lnTo>
                    <a:pt x="677" y="238"/>
                  </a:lnTo>
                  <a:lnTo>
                    <a:pt x="678" y="238"/>
                  </a:lnTo>
                  <a:lnTo>
                    <a:pt x="677" y="238"/>
                  </a:lnTo>
                  <a:lnTo>
                    <a:pt x="678" y="239"/>
                  </a:lnTo>
                  <a:lnTo>
                    <a:pt x="678" y="238"/>
                  </a:lnTo>
                  <a:lnTo>
                    <a:pt x="680" y="238"/>
                  </a:lnTo>
                  <a:lnTo>
                    <a:pt x="682" y="238"/>
                  </a:lnTo>
                  <a:lnTo>
                    <a:pt x="682" y="239"/>
                  </a:lnTo>
                  <a:lnTo>
                    <a:pt x="682" y="238"/>
                  </a:lnTo>
                  <a:lnTo>
                    <a:pt x="683" y="239"/>
                  </a:lnTo>
                  <a:lnTo>
                    <a:pt x="685" y="239"/>
                  </a:lnTo>
                  <a:lnTo>
                    <a:pt x="685" y="238"/>
                  </a:lnTo>
                  <a:lnTo>
                    <a:pt x="685" y="239"/>
                  </a:lnTo>
                  <a:lnTo>
                    <a:pt x="687" y="239"/>
                  </a:lnTo>
                  <a:lnTo>
                    <a:pt x="688" y="239"/>
                  </a:lnTo>
                  <a:lnTo>
                    <a:pt x="690" y="239"/>
                  </a:lnTo>
                  <a:lnTo>
                    <a:pt x="690" y="241"/>
                  </a:lnTo>
                  <a:lnTo>
                    <a:pt x="691" y="241"/>
                  </a:lnTo>
                  <a:lnTo>
                    <a:pt x="691" y="239"/>
                  </a:lnTo>
                  <a:lnTo>
                    <a:pt x="691" y="241"/>
                  </a:lnTo>
                  <a:lnTo>
                    <a:pt x="691" y="239"/>
                  </a:lnTo>
                  <a:lnTo>
                    <a:pt x="690" y="238"/>
                  </a:lnTo>
                  <a:lnTo>
                    <a:pt x="688" y="238"/>
                  </a:lnTo>
                  <a:lnTo>
                    <a:pt x="688" y="236"/>
                  </a:lnTo>
                  <a:lnTo>
                    <a:pt x="687" y="236"/>
                  </a:lnTo>
                  <a:lnTo>
                    <a:pt x="685" y="236"/>
                  </a:lnTo>
                  <a:lnTo>
                    <a:pt x="685" y="238"/>
                  </a:lnTo>
                  <a:lnTo>
                    <a:pt x="683" y="238"/>
                  </a:lnTo>
                  <a:lnTo>
                    <a:pt x="682" y="238"/>
                  </a:lnTo>
                  <a:lnTo>
                    <a:pt x="680" y="236"/>
                  </a:lnTo>
                  <a:lnTo>
                    <a:pt x="678" y="236"/>
                  </a:lnTo>
                  <a:lnTo>
                    <a:pt x="680" y="236"/>
                  </a:lnTo>
                  <a:lnTo>
                    <a:pt x="678" y="236"/>
                  </a:lnTo>
                  <a:lnTo>
                    <a:pt x="677" y="236"/>
                  </a:lnTo>
                  <a:lnTo>
                    <a:pt x="675" y="236"/>
                  </a:lnTo>
                  <a:lnTo>
                    <a:pt x="675" y="234"/>
                  </a:lnTo>
                  <a:lnTo>
                    <a:pt x="674" y="234"/>
                  </a:lnTo>
                  <a:lnTo>
                    <a:pt x="674" y="233"/>
                  </a:lnTo>
                  <a:lnTo>
                    <a:pt x="675" y="233"/>
                  </a:lnTo>
                  <a:lnTo>
                    <a:pt x="675" y="234"/>
                  </a:lnTo>
                  <a:lnTo>
                    <a:pt x="675" y="233"/>
                  </a:lnTo>
                  <a:lnTo>
                    <a:pt x="677" y="233"/>
                  </a:lnTo>
                  <a:lnTo>
                    <a:pt x="678" y="233"/>
                  </a:lnTo>
                  <a:lnTo>
                    <a:pt x="678" y="234"/>
                  </a:lnTo>
                  <a:lnTo>
                    <a:pt x="678" y="233"/>
                  </a:lnTo>
                  <a:lnTo>
                    <a:pt x="680" y="234"/>
                  </a:lnTo>
                  <a:lnTo>
                    <a:pt x="680" y="233"/>
                  </a:lnTo>
                  <a:lnTo>
                    <a:pt x="682" y="233"/>
                  </a:lnTo>
                  <a:lnTo>
                    <a:pt x="680" y="233"/>
                  </a:lnTo>
                  <a:lnTo>
                    <a:pt x="680" y="231"/>
                  </a:lnTo>
                  <a:lnTo>
                    <a:pt x="678" y="231"/>
                  </a:lnTo>
                  <a:lnTo>
                    <a:pt x="678" y="229"/>
                  </a:lnTo>
                  <a:lnTo>
                    <a:pt x="680" y="229"/>
                  </a:lnTo>
                  <a:lnTo>
                    <a:pt x="678" y="229"/>
                  </a:lnTo>
                  <a:lnTo>
                    <a:pt x="678" y="228"/>
                  </a:lnTo>
                  <a:lnTo>
                    <a:pt x="678" y="229"/>
                  </a:lnTo>
                  <a:lnTo>
                    <a:pt x="680" y="228"/>
                  </a:lnTo>
                  <a:lnTo>
                    <a:pt x="680" y="229"/>
                  </a:lnTo>
                  <a:lnTo>
                    <a:pt x="682" y="229"/>
                  </a:lnTo>
                  <a:lnTo>
                    <a:pt x="683" y="229"/>
                  </a:lnTo>
                  <a:lnTo>
                    <a:pt x="683" y="231"/>
                  </a:lnTo>
                  <a:lnTo>
                    <a:pt x="685" y="231"/>
                  </a:lnTo>
                  <a:lnTo>
                    <a:pt x="687" y="231"/>
                  </a:lnTo>
                  <a:lnTo>
                    <a:pt x="687" y="233"/>
                  </a:lnTo>
                  <a:lnTo>
                    <a:pt x="688" y="233"/>
                  </a:lnTo>
                  <a:lnTo>
                    <a:pt x="690" y="233"/>
                  </a:lnTo>
                  <a:lnTo>
                    <a:pt x="690" y="234"/>
                  </a:lnTo>
                  <a:lnTo>
                    <a:pt x="690" y="233"/>
                  </a:lnTo>
                  <a:lnTo>
                    <a:pt x="690" y="234"/>
                  </a:lnTo>
                  <a:lnTo>
                    <a:pt x="691" y="234"/>
                  </a:lnTo>
                  <a:lnTo>
                    <a:pt x="691" y="233"/>
                  </a:lnTo>
                  <a:lnTo>
                    <a:pt x="693" y="233"/>
                  </a:lnTo>
                  <a:lnTo>
                    <a:pt x="691" y="233"/>
                  </a:lnTo>
                  <a:lnTo>
                    <a:pt x="693" y="233"/>
                  </a:lnTo>
                  <a:lnTo>
                    <a:pt x="693" y="234"/>
                  </a:lnTo>
                  <a:lnTo>
                    <a:pt x="695" y="234"/>
                  </a:lnTo>
                  <a:lnTo>
                    <a:pt x="695" y="233"/>
                  </a:lnTo>
                  <a:lnTo>
                    <a:pt x="696" y="233"/>
                  </a:lnTo>
                  <a:lnTo>
                    <a:pt x="698" y="233"/>
                  </a:lnTo>
                  <a:lnTo>
                    <a:pt x="698" y="234"/>
                  </a:lnTo>
                  <a:lnTo>
                    <a:pt x="698" y="233"/>
                  </a:lnTo>
                  <a:lnTo>
                    <a:pt x="700" y="233"/>
                  </a:lnTo>
                  <a:lnTo>
                    <a:pt x="700" y="234"/>
                  </a:lnTo>
                  <a:lnTo>
                    <a:pt x="700" y="233"/>
                  </a:lnTo>
                  <a:lnTo>
                    <a:pt x="701" y="234"/>
                  </a:lnTo>
                  <a:lnTo>
                    <a:pt x="701" y="233"/>
                  </a:lnTo>
                  <a:lnTo>
                    <a:pt x="701" y="234"/>
                  </a:lnTo>
                  <a:lnTo>
                    <a:pt x="703" y="234"/>
                  </a:lnTo>
                  <a:lnTo>
                    <a:pt x="701" y="234"/>
                  </a:lnTo>
                  <a:lnTo>
                    <a:pt x="700" y="234"/>
                  </a:lnTo>
                  <a:lnTo>
                    <a:pt x="700" y="236"/>
                  </a:lnTo>
                  <a:lnTo>
                    <a:pt x="701" y="236"/>
                  </a:lnTo>
                  <a:lnTo>
                    <a:pt x="701" y="238"/>
                  </a:lnTo>
                  <a:lnTo>
                    <a:pt x="701" y="236"/>
                  </a:lnTo>
                  <a:lnTo>
                    <a:pt x="701" y="238"/>
                  </a:lnTo>
                  <a:lnTo>
                    <a:pt x="703" y="238"/>
                  </a:lnTo>
                  <a:lnTo>
                    <a:pt x="704" y="238"/>
                  </a:lnTo>
                  <a:lnTo>
                    <a:pt x="704" y="239"/>
                  </a:lnTo>
                  <a:lnTo>
                    <a:pt x="706" y="239"/>
                  </a:lnTo>
                  <a:lnTo>
                    <a:pt x="708" y="239"/>
                  </a:lnTo>
                  <a:lnTo>
                    <a:pt x="709" y="239"/>
                  </a:lnTo>
                  <a:lnTo>
                    <a:pt x="711" y="239"/>
                  </a:lnTo>
                  <a:lnTo>
                    <a:pt x="711" y="241"/>
                  </a:lnTo>
                  <a:lnTo>
                    <a:pt x="713" y="241"/>
                  </a:lnTo>
                  <a:lnTo>
                    <a:pt x="713" y="242"/>
                  </a:lnTo>
                  <a:lnTo>
                    <a:pt x="714" y="242"/>
                  </a:lnTo>
                  <a:lnTo>
                    <a:pt x="714" y="244"/>
                  </a:lnTo>
                  <a:lnTo>
                    <a:pt x="714" y="242"/>
                  </a:lnTo>
                  <a:lnTo>
                    <a:pt x="714" y="244"/>
                  </a:lnTo>
                  <a:lnTo>
                    <a:pt x="714" y="246"/>
                  </a:lnTo>
                  <a:lnTo>
                    <a:pt x="714" y="244"/>
                  </a:lnTo>
                  <a:lnTo>
                    <a:pt x="714" y="242"/>
                  </a:lnTo>
                  <a:lnTo>
                    <a:pt x="714" y="244"/>
                  </a:lnTo>
                  <a:lnTo>
                    <a:pt x="714" y="242"/>
                  </a:lnTo>
                  <a:lnTo>
                    <a:pt x="716" y="242"/>
                  </a:lnTo>
                  <a:lnTo>
                    <a:pt x="714" y="241"/>
                  </a:lnTo>
                  <a:lnTo>
                    <a:pt x="716" y="241"/>
                  </a:lnTo>
                  <a:lnTo>
                    <a:pt x="716" y="239"/>
                  </a:lnTo>
                  <a:lnTo>
                    <a:pt x="716" y="241"/>
                  </a:lnTo>
                  <a:lnTo>
                    <a:pt x="716" y="239"/>
                  </a:lnTo>
                  <a:lnTo>
                    <a:pt x="717" y="239"/>
                  </a:lnTo>
                  <a:lnTo>
                    <a:pt x="719" y="241"/>
                  </a:lnTo>
                  <a:lnTo>
                    <a:pt x="717" y="241"/>
                  </a:lnTo>
                  <a:lnTo>
                    <a:pt x="719" y="241"/>
                  </a:lnTo>
                  <a:lnTo>
                    <a:pt x="719" y="242"/>
                  </a:lnTo>
                  <a:lnTo>
                    <a:pt x="719" y="241"/>
                  </a:lnTo>
                  <a:lnTo>
                    <a:pt x="721" y="242"/>
                  </a:lnTo>
                  <a:lnTo>
                    <a:pt x="722" y="242"/>
                  </a:lnTo>
                  <a:lnTo>
                    <a:pt x="724" y="244"/>
                  </a:lnTo>
                  <a:lnTo>
                    <a:pt x="724" y="242"/>
                  </a:lnTo>
                  <a:lnTo>
                    <a:pt x="724" y="244"/>
                  </a:lnTo>
                  <a:lnTo>
                    <a:pt x="724" y="242"/>
                  </a:lnTo>
                  <a:lnTo>
                    <a:pt x="724" y="244"/>
                  </a:lnTo>
                  <a:lnTo>
                    <a:pt x="726" y="244"/>
                  </a:lnTo>
                  <a:lnTo>
                    <a:pt x="727" y="244"/>
                  </a:lnTo>
                  <a:lnTo>
                    <a:pt x="729" y="244"/>
                  </a:lnTo>
                  <a:lnTo>
                    <a:pt x="729" y="246"/>
                  </a:lnTo>
                  <a:lnTo>
                    <a:pt x="730" y="246"/>
                  </a:lnTo>
                  <a:lnTo>
                    <a:pt x="732" y="246"/>
                  </a:lnTo>
                  <a:lnTo>
                    <a:pt x="732" y="247"/>
                  </a:lnTo>
                  <a:lnTo>
                    <a:pt x="732" y="246"/>
                  </a:lnTo>
                  <a:lnTo>
                    <a:pt x="734" y="247"/>
                  </a:lnTo>
                  <a:lnTo>
                    <a:pt x="735" y="247"/>
                  </a:lnTo>
                  <a:lnTo>
                    <a:pt x="737" y="247"/>
                  </a:lnTo>
                  <a:lnTo>
                    <a:pt x="737" y="249"/>
                  </a:lnTo>
                  <a:lnTo>
                    <a:pt x="737" y="247"/>
                  </a:lnTo>
                  <a:lnTo>
                    <a:pt x="737" y="249"/>
                  </a:lnTo>
                  <a:lnTo>
                    <a:pt x="737" y="247"/>
                  </a:lnTo>
                  <a:lnTo>
                    <a:pt x="737" y="249"/>
                  </a:lnTo>
                  <a:lnTo>
                    <a:pt x="737" y="247"/>
                  </a:lnTo>
                  <a:lnTo>
                    <a:pt x="739" y="249"/>
                  </a:lnTo>
                  <a:lnTo>
                    <a:pt x="740" y="249"/>
                  </a:lnTo>
                  <a:lnTo>
                    <a:pt x="740" y="251"/>
                  </a:lnTo>
                  <a:lnTo>
                    <a:pt x="740" y="249"/>
                  </a:lnTo>
                  <a:lnTo>
                    <a:pt x="742" y="249"/>
                  </a:lnTo>
                  <a:lnTo>
                    <a:pt x="742" y="251"/>
                  </a:lnTo>
                  <a:lnTo>
                    <a:pt x="742" y="249"/>
                  </a:lnTo>
                  <a:lnTo>
                    <a:pt x="744" y="249"/>
                  </a:lnTo>
                  <a:lnTo>
                    <a:pt x="744" y="251"/>
                  </a:lnTo>
                  <a:lnTo>
                    <a:pt x="745" y="251"/>
                  </a:lnTo>
                  <a:lnTo>
                    <a:pt x="747" y="251"/>
                  </a:lnTo>
                  <a:lnTo>
                    <a:pt x="747" y="252"/>
                  </a:lnTo>
                  <a:lnTo>
                    <a:pt x="747" y="251"/>
                  </a:lnTo>
                  <a:lnTo>
                    <a:pt x="748" y="251"/>
                  </a:lnTo>
                  <a:lnTo>
                    <a:pt x="748" y="252"/>
                  </a:lnTo>
                  <a:lnTo>
                    <a:pt x="748" y="251"/>
                  </a:lnTo>
                  <a:lnTo>
                    <a:pt x="750" y="252"/>
                  </a:lnTo>
                  <a:lnTo>
                    <a:pt x="752" y="251"/>
                  </a:lnTo>
                  <a:lnTo>
                    <a:pt x="752" y="252"/>
                  </a:lnTo>
                  <a:lnTo>
                    <a:pt x="753" y="252"/>
                  </a:lnTo>
                  <a:lnTo>
                    <a:pt x="755" y="252"/>
                  </a:lnTo>
                  <a:lnTo>
                    <a:pt x="753" y="252"/>
                  </a:lnTo>
                  <a:lnTo>
                    <a:pt x="752" y="251"/>
                  </a:lnTo>
                  <a:lnTo>
                    <a:pt x="750" y="251"/>
                  </a:lnTo>
                  <a:lnTo>
                    <a:pt x="748" y="247"/>
                  </a:lnTo>
                  <a:lnTo>
                    <a:pt x="750" y="247"/>
                  </a:lnTo>
                  <a:lnTo>
                    <a:pt x="752" y="247"/>
                  </a:lnTo>
                  <a:lnTo>
                    <a:pt x="753" y="247"/>
                  </a:lnTo>
                  <a:lnTo>
                    <a:pt x="753" y="249"/>
                  </a:lnTo>
                  <a:lnTo>
                    <a:pt x="755" y="249"/>
                  </a:lnTo>
                  <a:lnTo>
                    <a:pt x="757" y="249"/>
                  </a:lnTo>
                  <a:lnTo>
                    <a:pt x="757" y="247"/>
                  </a:lnTo>
                  <a:lnTo>
                    <a:pt x="758" y="247"/>
                  </a:lnTo>
                  <a:lnTo>
                    <a:pt x="757" y="246"/>
                  </a:lnTo>
                  <a:lnTo>
                    <a:pt x="758" y="247"/>
                  </a:lnTo>
                  <a:lnTo>
                    <a:pt x="758" y="246"/>
                  </a:lnTo>
                  <a:lnTo>
                    <a:pt x="760" y="246"/>
                  </a:lnTo>
                  <a:lnTo>
                    <a:pt x="761" y="246"/>
                  </a:lnTo>
                  <a:lnTo>
                    <a:pt x="761" y="244"/>
                  </a:lnTo>
                  <a:lnTo>
                    <a:pt x="760" y="244"/>
                  </a:lnTo>
                  <a:lnTo>
                    <a:pt x="758" y="242"/>
                  </a:lnTo>
                  <a:lnTo>
                    <a:pt x="757" y="241"/>
                  </a:lnTo>
                  <a:lnTo>
                    <a:pt x="755" y="239"/>
                  </a:lnTo>
                  <a:lnTo>
                    <a:pt x="753" y="239"/>
                  </a:lnTo>
                  <a:lnTo>
                    <a:pt x="753" y="238"/>
                  </a:lnTo>
                  <a:lnTo>
                    <a:pt x="752" y="238"/>
                  </a:lnTo>
                  <a:lnTo>
                    <a:pt x="752" y="236"/>
                  </a:lnTo>
                  <a:lnTo>
                    <a:pt x="750" y="234"/>
                  </a:lnTo>
                  <a:lnTo>
                    <a:pt x="748" y="233"/>
                  </a:lnTo>
                  <a:lnTo>
                    <a:pt x="747" y="233"/>
                  </a:lnTo>
                  <a:lnTo>
                    <a:pt x="747" y="231"/>
                  </a:lnTo>
                  <a:lnTo>
                    <a:pt x="748" y="231"/>
                  </a:lnTo>
                  <a:lnTo>
                    <a:pt x="748" y="233"/>
                  </a:lnTo>
                  <a:lnTo>
                    <a:pt x="748" y="231"/>
                  </a:lnTo>
                  <a:lnTo>
                    <a:pt x="748" y="233"/>
                  </a:lnTo>
                  <a:lnTo>
                    <a:pt x="750" y="233"/>
                  </a:lnTo>
                  <a:lnTo>
                    <a:pt x="752" y="233"/>
                  </a:lnTo>
                  <a:lnTo>
                    <a:pt x="752" y="234"/>
                  </a:lnTo>
                  <a:lnTo>
                    <a:pt x="752" y="233"/>
                  </a:lnTo>
                  <a:lnTo>
                    <a:pt x="753" y="233"/>
                  </a:lnTo>
                  <a:lnTo>
                    <a:pt x="755" y="234"/>
                  </a:lnTo>
                  <a:lnTo>
                    <a:pt x="755" y="236"/>
                  </a:lnTo>
                  <a:lnTo>
                    <a:pt x="757" y="236"/>
                  </a:lnTo>
                  <a:lnTo>
                    <a:pt x="758" y="236"/>
                  </a:lnTo>
                  <a:lnTo>
                    <a:pt x="760" y="238"/>
                  </a:lnTo>
                  <a:lnTo>
                    <a:pt x="761" y="238"/>
                  </a:lnTo>
                  <a:lnTo>
                    <a:pt x="761" y="239"/>
                  </a:lnTo>
                  <a:lnTo>
                    <a:pt x="763" y="241"/>
                  </a:lnTo>
                  <a:lnTo>
                    <a:pt x="765" y="242"/>
                  </a:lnTo>
                  <a:lnTo>
                    <a:pt x="766" y="242"/>
                  </a:lnTo>
                  <a:lnTo>
                    <a:pt x="766" y="244"/>
                  </a:lnTo>
                  <a:lnTo>
                    <a:pt x="768" y="244"/>
                  </a:lnTo>
                  <a:lnTo>
                    <a:pt x="768" y="246"/>
                  </a:lnTo>
                  <a:lnTo>
                    <a:pt x="770" y="246"/>
                  </a:lnTo>
                  <a:lnTo>
                    <a:pt x="770" y="247"/>
                  </a:lnTo>
                  <a:lnTo>
                    <a:pt x="770" y="246"/>
                  </a:lnTo>
                  <a:lnTo>
                    <a:pt x="770" y="247"/>
                  </a:lnTo>
                  <a:lnTo>
                    <a:pt x="771" y="247"/>
                  </a:lnTo>
                  <a:lnTo>
                    <a:pt x="773" y="247"/>
                  </a:lnTo>
                  <a:lnTo>
                    <a:pt x="771" y="246"/>
                  </a:lnTo>
                  <a:lnTo>
                    <a:pt x="773" y="246"/>
                  </a:lnTo>
                  <a:lnTo>
                    <a:pt x="774" y="246"/>
                  </a:lnTo>
                  <a:lnTo>
                    <a:pt x="774" y="247"/>
                  </a:lnTo>
                  <a:lnTo>
                    <a:pt x="776" y="247"/>
                  </a:lnTo>
                  <a:lnTo>
                    <a:pt x="776" y="249"/>
                  </a:lnTo>
                  <a:lnTo>
                    <a:pt x="778" y="249"/>
                  </a:lnTo>
                  <a:lnTo>
                    <a:pt x="778" y="251"/>
                  </a:lnTo>
                  <a:lnTo>
                    <a:pt x="778" y="249"/>
                  </a:lnTo>
                  <a:lnTo>
                    <a:pt x="779" y="249"/>
                  </a:lnTo>
                  <a:lnTo>
                    <a:pt x="779" y="251"/>
                  </a:lnTo>
                  <a:lnTo>
                    <a:pt x="781" y="251"/>
                  </a:lnTo>
                  <a:lnTo>
                    <a:pt x="783" y="251"/>
                  </a:lnTo>
                  <a:lnTo>
                    <a:pt x="783" y="252"/>
                  </a:lnTo>
                  <a:lnTo>
                    <a:pt x="783" y="251"/>
                  </a:lnTo>
                  <a:lnTo>
                    <a:pt x="783" y="249"/>
                  </a:lnTo>
                  <a:lnTo>
                    <a:pt x="784" y="251"/>
                  </a:lnTo>
                  <a:lnTo>
                    <a:pt x="784" y="252"/>
                  </a:lnTo>
                  <a:lnTo>
                    <a:pt x="784" y="251"/>
                  </a:lnTo>
                  <a:lnTo>
                    <a:pt x="786" y="251"/>
                  </a:lnTo>
                  <a:lnTo>
                    <a:pt x="786" y="252"/>
                  </a:lnTo>
                  <a:lnTo>
                    <a:pt x="786" y="251"/>
                  </a:lnTo>
                  <a:lnTo>
                    <a:pt x="786" y="252"/>
                  </a:lnTo>
                  <a:lnTo>
                    <a:pt x="786" y="251"/>
                  </a:lnTo>
                  <a:lnTo>
                    <a:pt x="787" y="251"/>
                  </a:lnTo>
                  <a:lnTo>
                    <a:pt x="787" y="252"/>
                  </a:lnTo>
                  <a:lnTo>
                    <a:pt x="786" y="252"/>
                  </a:lnTo>
                  <a:lnTo>
                    <a:pt x="787" y="254"/>
                  </a:lnTo>
                  <a:lnTo>
                    <a:pt x="787" y="252"/>
                  </a:lnTo>
                  <a:lnTo>
                    <a:pt x="787" y="251"/>
                  </a:lnTo>
                  <a:lnTo>
                    <a:pt x="789" y="251"/>
                  </a:lnTo>
                  <a:lnTo>
                    <a:pt x="789" y="252"/>
                  </a:lnTo>
                  <a:lnTo>
                    <a:pt x="789" y="254"/>
                  </a:lnTo>
                  <a:lnTo>
                    <a:pt x="789" y="252"/>
                  </a:lnTo>
                  <a:lnTo>
                    <a:pt x="789" y="254"/>
                  </a:lnTo>
                  <a:lnTo>
                    <a:pt x="789" y="255"/>
                  </a:lnTo>
                  <a:lnTo>
                    <a:pt x="789" y="254"/>
                  </a:lnTo>
                  <a:lnTo>
                    <a:pt x="791" y="254"/>
                  </a:lnTo>
                  <a:lnTo>
                    <a:pt x="791" y="252"/>
                  </a:lnTo>
                  <a:lnTo>
                    <a:pt x="791" y="254"/>
                  </a:lnTo>
                  <a:lnTo>
                    <a:pt x="792" y="254"/>
                  </a:lnTo>
                  <a:lnTo>
                    <a:pt x="792" y="252"/>
                  </a:lnTo>
                  <a:lnTo>
                    <a:pt x="792" y="251"/>
                  </a:lnTo>
                  <a:lnTo>
                    <a:pt x="792" y="252"/>
                  </a:lnTo>
                  <a:lnTo>
                    <a:pt x="794" y="252"/>
                  </a:lnTo>
                  <a:lnTo>
                    <a:pt x="796" y="252"/>
                  </a:lnTo>
                  <a:lnTo>
                    <a:pt x="796" y="254"/>
                  </a:lnTo>
                  <a:lnTo>
                    <a:pt x="796" y="255"/>
                  </a:lnTo>
                  <a:lnTo>
                    <a:pt x="797" y="255"/>
                  </a:lnTo>
                  <a:lnTo>
                    <a:pt x="796" y="255"/>
                  </a:lnTo>
                  <a:lnTo>
                    <a:pt x="797" y="255"/>
                  </a:lnTo>
                  <a:lnTo>
                    <a:pt x="797" y="254"/>
                  </a:lnTo>
                  <a:lnTo>
                    <a:pt x="797" y="255"/>
                  </a:lnTo>
                  <a:lnTo>
                    <a:pt x="799" y="254"/>
                  </a:lnTo>
                  <a:lnTo>
                    <a:pt x="799" y="255"/>
                  </a:lnTo>
                  <a:lnTo>
                    <a:pt x="797" y="255"/>
                  </a:lnTo>
                  <a:lnTo>
                    <a:pt x="799" y="255"/>
                  </a:lnTo>
                  <a:lnTo>
                    <a:pt x="799" y="257"/>
                  </a:lnTo>
                  <a:lnTo>
                    <a:pt x="797" y="257"/>
                  </a:lnTo>
                  <a:lnTo>
                    <a:pt x="797" y="259"/>
                  </a:lnTo>
                  <a:lnTo>
                    <a:pt x="797" y="257"/>
                  </a:lnTo>
                  <a:lnTo>
                    <a:pt x="797" y="259"/>
                  </a:lnTo>
                  <a:lnTo>
                    <a:pt x="797" y="257"/>
                  </a:lnTo>
                  <a:lnTo>
                    <a:pt x="796" y="257"/>
                  </a:lnTo>
                  <a:lnTo>
                    <a:pt x="796" y="259"/>
                  </a:lnTo>
                  <a:lnTo>
                    <a:pt x="794" y="257"/>
                  </a:lnTo>
                  <a:lnTo>
                    <a:pt x="794" y="259"/>
                  </a:lnTo>
                  <a:lnTo>
                    <a:pt x="794" y="260"/>
                  </a:lnTo>
                  <a:lnTo>
                    <a:pt x="792" y="260"/>
                  </a:lnTo>
                  <a:lnTo>
                    <a:pt x="794" y="260"/>
                  </a:lnTo>
                  <a:lnTo>
                    <a:pt x="796" y="262"/>
                  </a:lnTo>
                  <a:lnTo>
                    <a:pt x="797" y="262"/>
                  </a:lnTo>
                  <a:lnTo>
                    <a:pt x="799" y="262"/>
                  </a:lnTo>
                  <a:lnTo>
                    <a:pt x="799" y="264"/>
                  </a:lnTo>
                  <a:lnTo>
                    <a:pt x="800" y="264"/>
                  </a:lnTo>
                  <a:lnTo>
                    <a:pt x="802" y="264"/>
                  </a:lnTo>
                  <a:lnTo>
                    <a:pt x="802" y="265"/>
                  </a:lnTo>
                  <a:lnTo>
                    <a:pt x="804" y="265"/>
                  </a:lnTo>
                  <a:lnTo>
                    <a:pt x="805" y="267"/>
                  </a:lnTo>
                  <a:lnTo>
                    <a:pt x="807" y="267"/>
                  </a:lnTo>
                  <a:lnTo>
                    <a:pt x="807" y="265"/>
                  </a:lnTo>
                  <a:lnTo>
                    <a:pt x="809" y="267"/>
                  </a:lnTo>
                  <a:lnTo>
                    <a:pt x="810" y="267"/>
                  </a:lnTo>
                  <a:lnTo>
                    <a:pt x="812" y="268"/>
                  </a:lnTo>
                  <a:lnTo>
                    <a:pt x="812" y="270"/>
                  </a:lnTo>
                  <a:lnTo>
                    <a:pt x="812" y="268"/>
                  </a:lnTo>
                  <a:lnTo>
                    <a:pt x="813" y="267"/>
                  </a:lnTo>
                  <a:lnTo>
                    <a:pt x="813" y="268"/>
                  </a:lnTo>
                  <a:lnTo>
                    <a:pt x="813" y="267"/>
                  </a:lnTo>
                  <a:lnTo>
                    <a:pt x="812" y="267"/>
                  </a:lnTo>
                  <a:lnTo>
                    <a:pt x="813" y="265"/>
                  </a:lnTo>
                  <a:lnTo>
                    <a:pt x="813" y="264"/>
                  </a:lnTo>
                  <a:lnTo>
                    <a:pt x="813" y="262"/>
                  </a:lnTo>
                  <a:lnTo>
                    <a:pt x="812" y="264"/>
                  </a:lnTo>
                  <a:lnTo>
                    <a:pt x="812" y="262"/>
                  </a:lnTo>
                  <a:lnTo>
                    <a:pt x="812" y="260"/>
                  </a:lnTo>
                  <a:lnTo>
                    <a:pt x="810" y="260"/>
                  </a:lnTo>
                  <a:lnTo>
                    <a:pt x="810" y="259"/>
                  </a:lnTo>
                  <a:lnTo>
                    <a:pt x="810" y="257"/>
                  </a:lnTo>
                  <a:lnTo>
                    <a:pt x="812" y="257"/>
                  </a:lnTo>
                  <a:lnTo>
                    <a:pt x="812" y="259"/>
                  </a:lnTo>
                  <a:lnTo>
                    <a:pt x="812" y="257"/>
                  </a:lnTo>
                  <a:lnTo>
                    <a:pt x="813" y="257"/>
                  </a:lnTo>
                  <a:lnTo>
                    <a:pt x="813" y="259"/>
                  </a:lnTo>
                  <a:lnTo>
                    <a:pt x="815" y="259"/>
                  </a:lnTo>
                  <a:lnTo>
                    <a:pt x="813" y="257"/>
                  </a:lnTo>
                  <a:lnTo>
                    <a:pt x="815" y="257"/>
                  </a:lnTo>
                  <a:lnTo>
                    <a:pt x="813" y="257"/>
                  </a:lnTo>
                  <a:lnTo>
                    <a:pt x="813" y="255"/>
                  </a:lnTo>
                  <a:lnTo>
                    <a:pt x="815" y="255"/>
                  </a:lnTo>
                  <a:lnTo>
                    <a:pt x="815" y="257"/>
                  </a:lnTo>
                  <a:lnTo>
                    <a:pt x="817" y="257"/>
                  </a:lnTo>
                  <a:lnTo>
                    <a:pt x="817" y="259"/>
                  </a:lnTo>
                  <a:lnTo>
                    <a:pt x="818" y="259"/>
                  </a:lnTo>
                  <a:lnTo>
                    <a:pt x="818" y="260"/>
                  </a:lnTo>
                  <a:lnTo>
                    <a:pt x="818" y="259"/>
                  </a:lnTo>
                  <a:lnTo>
                    <a:pt x="818" y="260"/>
                  </a:lnTo>
                  <a:lnTo>
                    <a:pt x="820" y="260"/>
                  </a:lnTo>
                  <a:lnTo>
                    <a:pt x="822" y="260"/>
                  </a:lnTo>
                  <a:lnTo>
                    <a:pt x="823" y="260"/>
                  </a:lnTo>
                  <a:lnTo>
                    <a:pt x="823" y="262"/>
                  </a:lnTo>
                  <a:lnTo>
                    <a:pt x="825" y="262"/>
                  </a:lnTo>
                  <a:lnTo>
                    <a:pt x="825" y="264"/>
                  </a:lnTo>
                  <a:lnTo>
                    <a:pt x="825" y="262"/>
                  </a:lnTo>
                  <a:lnTo>
                    <a:pt x="825" y="264"/>
                  </a:lnTo>
                  <a:lnTo>
                    <a:pt x="825" y="262"/>
                  </a:lnTo>
                  <a:lnTo>
                    <a:pt x="825" y="264"/>
                  </a:lnTo>
                  <a:lnTo>
                    <a:pt x="826" y="264"/>
                  </a:lnTo>
                  <a:lnTo>
                    <a:pt x="828" y="264"/>
                  </a:lnTo>
                  <a:lnTo>
                    <a:pt x="828" y="262"/>
                  </a:lnTo>
                  <a:lnTo>
                    <a:pt x="830" y="262"/>
                  </a:lnTo>
                  <a:lnTo>
                    <a:pt x="828" y="262"/>
                  </a:lnTo>
                  <a:lnTo>
                    <a:pt x="830" y="262"/>
                  </a:lnTo>
                  <a:lnTo>
                    <a:pt x="828" y="262"/>
                  </a:lnTo>
                  <a:lnTo>
                    <a:pt x="830" y="262"/>
                  </a:lnTo>
                  <a:lnTo>
                    <a:pt x="830" y="260"/>
                  </a:lnTo>
                  <a:lnTo>
                    <a:pt x="831" y="260"/>
                  </a:lnTo>
                  <a:lnTo>
                    <a:pt x="831" y="259"/>
                  </a:lnTo>
                  <a:lnTo>
                    <a:pt x="831" y="260"/>
                  </a:lnTo>
                  <a:lnTo>
                    <a:pt x="833" y="260"/>
                  </a:lnTo>
                  <a:lnTo>
                    <a:pt x="833" y="262"/>
                  </a:lnTo>
                  <a:lnTo>
                    <a:pt x="835" y="262"/>
                  </a:lnTo>
                  <a:lnTo>
                    <a:pt x="835" y="260"/>
                  </a:lnTo>
                  <a:lnTo>
                    <a:pt x="835" y="262"/>
                  </a:lnTo>
                  <a:lnTo>
                    <a:pt x="835" y="260"/>
                  </a:lnTo>
                  <a:lnTo>
                    <a:pt x="836" y="260"/>
                  </a:lnTo>
                  <a:lnTo>
                    <a:pt x="836" y="262"/>
                  </a:lnTo>
                  <a:lnTo>
                    <a:pt x="838" y="262"/>
                  </a:lnTo>
                  <a:lnTo>
                    <a:pt x="838" y="264"/>
                  </a:lnTo>
                  <a:lnTo>
                    <a:pt x="839" y="264"/>
                  </a:lnTo>
                  <a:lnTo>
                    <a:pt x="839" y="265"/>
                  </a:lnTo>
                  <a:lnTo>
                    <a:pt x="841" y="265"/>
                  </a:lnTo>
                  <a:lnTo>
                    <a:pt x="841" y="267"/>
                  </a:lnTo>
                  <a:lnTo>
                    <a:pt x="843" y="267"/>
                  </a:lnTo>
                  <a:lnTo>
                    <a:pt x="843" y="268"/>
                  </a:lnTo>
                  <a:lnTo>
                    <a:pt x="843" y="267"/>
                  </a:lnTo>
                  <a:lnTo>
                    <a:pt x="844" y="268"/>
                  </a:lnTo>
                  <a:lnTo>
                    <a:pt x="843" y="268"/>
                  </a:lnTo>
                  <a:lnTo>
                    <a:pt x="844" y="268"/>
                  </a:lnTo>
                  <a:lnTo>
                    <a:pt x="844" y="270"/>
                  </a:lnTo>
                  <a:lnTo>
                    <a:pt x="844" y="272"/>
                  </a:lnTo>
                  <a:lnTo>
                    <a:pt x="846" y="272"/>
                  </a:lnTo>
                  <a:lnTo>
                    <a:pt x="846" y="273"/>
                  </a:lnTo>
                  <a:lnTo>
                    <a:pt x="846" y="275"/>
                  </a:lnTo>
                  <a:lnTo>
                    <a:pt x="848" y="275"/>
                  </a:lnTo>
                  <a:lnTo>
                    <a:pt x="848" y="277"/>
                  </a:lnTo>
                  <a:lnTo>
                    <a:pt x="848" y="278"/>
                  </a:lnTo>
                  <a:lnTo>
                    <a:pt x="846" y="278"/>
                  </a:lnTo>
                  <a:lnTo>
                    <a:pt x="848" y="278"/>
                  </a:lnTo>
                  <a:lnTo>
                    <a:pt x="846" y="278"/>
                  </a:lnTo>
                  <a:lnTo>
                    <a:pt x="846" y="280"/>
                  </a:lnTo>
                  <a:lnTo>
                    <a:pt x="846" y="282"/>
                  </a:lnTo>
                  <a:lnTo>
                    <a:pt x="848" y="282"/>
                  </a:lnTo>
                  <a:lnTo>
                    <a:pt x="849" y="282"/>
                  </a:lnTo>
                  <a:lnTo>
                    <a:pt x="849" y="283"/>
                  </a:lnTo>
                  <a:lnTo>
                    <a:pt x="849" y="285"/>
                  </a:lnTo>
                  <a:lnTo>
                    <a:pt x="849" y="283"/>
                  </a:lnTo>
                  <a:lnTo>
                    <a:pt x="849" y="285"/>
                  </a:lnTo>
                  <a:lnTo>
                    <a:pt x="851" y="285"/>
                  </a:lnTo>
                  <a:lnTo>
                    <a:pt x="852" y="285"/>
                  </a:lnTo>
                  <a:lnTo>
                    <a:pt x="852" y="286"/>
                  </a:lnTo>
                  <a:lnTo>
                    <a:pt x="851" y="286"/>
                  </a:lnTo>
                  <a:lnTo>
                    <a:pt x="852" y="286"/>
                  </a:lnTo>
                  <a:lnTo>
                    <a:pt x="852" y="288"/>
                  </a:lnTo>
                  <a:lnTo>
                    <a:pt x="851" y="288"/>
                  </a:lnTo>
                  <a:lnTo>
                    <a:pt x="852" y="288"/>
                  </a:lnTo>
                  <a:lnTo>
                    <a:pt x="852" y="290"/>
                  </a:lnTo>
                  <a:lnTo>
                    <a:pt x="852" y="291"/>
                  </a:lnTo>
                  <a:lnTo>
                    <a:pt x="852" y="293"/>
                  </a:lnTo>
                  <a:lnTo>
                    <a:pt x="854" y="291"/>
                  </a:lnTo>
                  <a:lnTo>
                    <a:pt x="854" y="293"/>
                  </a:lnTo>
                  <a:lnTo>
                    <a:pt x="852" y="293"/>
                  </a:lnTo>
                  <a:lnTo>
                    <a:pt x="852" y="295"/>
                  </a:lnTo>
                  <a:lnTo>
                    <a:pt x="854" y="295"/>
                  </a:lnTo>
                  <a:lnTo>
                    <a:pt x="852" y="295"/>
                  </a:lnTo>
                  <a:lnTo>
                    <a:pt x="854" y="295"/>
                  </a:lnTo>
                  <a:lnTo>
                    <a:pt x="854" y="293"/>
                  </a:lnTo>
                  <a:lnTo>
                    <a:pt x="854" y="291"/>
                  </a:lnTo>
                  <a:lnTo>
                    <a:pt x="856" y="291"/>
                  </a:lnTo>
                  <a:lnTo>
                    <a:pt x="857" y="291"/>
                  </a:lnTo>
                  <a:lnTo>
                    <a:pt x="859" y="291"/>
                  </a:lnTo>
                  <a:lnTo>
                    <a:pt x="861" y="293"/>
                  </a:lnTo>
                  <a:lnTo>
                    <a:pt x="861" y="295"/>
                  </a:lnTo>
                  <a:lnTo>
                    <a:pt x="862" y="296"/>
                  </a:lnTo>
                  <a:lnTo>
                    <a:pt x="862" y="295"/>
                  </a:lnTo>
                  <a:lnTo>
                    <a:pt x="864" y="295"/>
                  </a:lnTo>
                  <a:lnTo>
                    <a:pt x="864" y="296"/>
                  </a:lnTo>
                  <a:lnTo>
                    <a:pt x="864" y="298"/>
                  </a:lnTo>
                  <a:lnTo>
                    <a:pt x="865" y="298"/>
                  </a:lnTo>
                  <a:lnTo>
                    <a:pt x="864" y="298"/>
                  </a:lnTo>
                  <a:lnTo>
                    <a:pt x="865" y="298"/>
                  </a:lnTo>
                  <a:lnTo>
                    <a:pt x="865" y="299"/>
                  </a:lnTo>
                  <a:lnTo>
                    <a:pt x="865" y="301"/>
                  </a:lnTo>
                  <a:lnTo>
                    <a:pt x="865" y="303"/>
                  </a:lnTo>
                  <a:lnTo>
                    <a:pt x="867" y="301"/>
                  </a:lnTo>
                  <a:lnTo>
                    <a:pt x="867" y="303"/>
                  </a:lnTo>
                  <a:lnTo>
                    <a:pt x="867" y="304"/>
                  </a:lnTo>
                  <a:lnTo>
                    <a:pt x="869" y="304"/>
                  </a:lnTo>
                  <a:lnTo>
                    <a:pt x="869" y="306"/>
                  </a:lnTo>
                  <a:lnTo>
                    <a:pt x="869" y="308"/>
                  </a:lnTo>
                  <a:lnTo>
                    <a:pt x="870" y="308"/>
                  </a:lnTo>
                  <a:lnTo>
                    <a:pt x="869" y="309"/>
                  </a:lnTo>
                  <a:lnTo>
                    <a:pt x="870" y="309"/>
                  </a:lnTo>
                  <a:lnTo>
                    <a:pt x="870" y="311"/>
                  </a:lnTo>
                  <a:lnTo>
                    <a:pt x="872" y="312"/>
                  </a:lnTo>
                  <a:lnTo>
                    <a:pt x="870" y="312"/>
                  </a:lnTo>
                  <a:lnTo>
                    <a:pt x="872" y="312"/>
                  </a:lnTo>
                  <a:lnTo>
                    <a:pt x="872" y="314"/>
                  </a:lnTo>
                  <a:lnTo>
                    <a:pt x="870" y="314"/>
                  </a:lnTo>
                  <a:lnTo>
                    <a:pt x="869" y="314"/>
                  </a:lnTo>
                  <a:lnTo>
                    <a:pt x="870" y="314"/>
                  </a:lnTo>
                  <a:lnTo>
                    <a:pt x="872" y="314"/>
                  </a:lnTo>
                  <a:lnTo>
                    <a:pt x="872" y="316"/>
                  </a:lnTo>
                  <a:lnTo>
                    <a:pt x="872" y="317"/>
                  </a:lnTo>
                  <a:lnTo>
                    <a:pt x="874" y="317"/>
                  </a:lnTo>
                  <a:lnTo>
                    <a:pt x="875" y="317"/>
                  </a:lnTo>
                  <a:lnTo>
                    <a:pt x="875" y="319"/>
                  </a:lnTo>
                  <a:lnTo>
                    <a:pt x="877" y="319"/>
                  </a:lnTo>
                  <a:lnTo>
                    <a:pt x="878" y="319"/>
                  </a:lnTo>
                  <a:lnTo>
                    <a:pt x="880" y="319"/>
                  </a:lnTo>
                  <a:lnTo>
                    <a:pt x="878" y="319"/>
                  </a:lnTo>
                  <a:lnTo>
                    <a:pt x="880" y="319"/>
                  </a:lnTo>
                  <a:lnTo>
                    <a:pt x="882" y="319"/>
                  </a:lnTo>
                  <a:lnTo>
                    <a:pt x="883" y="319"/>
                  </a:lnTo>
                  <a:lnTo>
                    <a:pt x="885" y="319"/>
                  </a:lnTo>
                  <a:lnTo>
                    <a:pt x="885" y="317"/>
                  </a:lnTo>
                  <a:lnTo>
                    <a:pt x="885" y="316"/>
                  </a:lnTo>
                  <a:lnTo>
                    <a:pt x="885" y="317"/>
                  </a:lnTo>
                  <a:lnTo>
                    <a:pt x="887" y="317"/>
                  </a:lnTo>
                  <a:lnTo>
                    <a:pt x="887" y="316"/>
                  </a:lnTo>
                  <a:lnTo>
                    <a:pt x="888" y="316"/>
                  </a:lnTo>
                  <a:lnTo>
                    <a:pt x="890" y="317"/>
                  </a:lnTo>
                  <a:lnTo>
                    <a:pt x="890" y="319"/>
                  </a:lnTo>
                  <a:lnTo>
                    <a:pt x="890" y="321"/>
                  </a:lnTo>
                  <a:lnTo>
                    <a:pt x="890" y="322"/>
                  </a:lnTo>
                  <a:lnTo>
                    <a:pt x="890" y="324"/>
                  </a:lnTo>
                  <a:lnTo>
                    <a:pt x="892" y="325"/>
                  </a:lnTo>
                  <a:lnTo>
                    <a:pt x="890" y="325"/>
                  </a:lnTo>
                  <a:lnTo>
                    <a:pt x="890" y="327"/>
                  </a:lnTo>
                  <a:lnTo>
                    <a:pt x="890" y="325"/>
                  </a:lnTo>
                  <a:lnTo>
                    <a:pt x="892" y="325"/>
                  </a:lnTo>
                  <a:lnTo>
                    <a:pt x="892" y="327"/>
                  </a:lnTo>
                  <a:lnTo>
                    <a:pt x="892" y="325"/>
                  </a:lnTo>
                  <a:lnTo>
                    <a:pt x="893" y="325"/>
                  </a:lnTo>
                  <a:lnTo>
                    <a:pt x="893" y="327"/>
                  </a:lnTo>
                  <a:lnTo>
                    <a:pt x="893" y="325"/>
                  </a:lnTo>
                  <a:lnTo>
                    <a:pt x="893" y="327"/>
                  </a:lnTo>
                  <a:lnTo>
                    <a:pt x="893" y="325"/>
                  </a:lnTo>
                  <a:lnTo>
                    <a:pt x="893" y="327"/>
                  </a:lnTo>
                  <a:lnTo>
                    <a:pt x="893" y="325"/>
                  </a:lnTo>
                  <a:lnTo>
                    <a:pt x="895" y="327"/>
                  </a:lnTo>
                  <a:lnTo>
                    <a:pt x="895" y="325"/>
                  </a:lnTo>
                  <a:lnTo>
                    <a:pt x="896" y="327"/>
                  </a:lnTo>
                  <a:lnTo>
                    <a:pt x="896" y="325"/>
                  </a:lnTo>
                  <a:lnTo>
                    <a:pt x="896" y="327"/>
                  </a:lnTo>
                  <a:lnTo>
                    <a:pt x="898" y="327"/>
                  </a:lnTo>
                  <a:lnTo>
                    <a:pt x="898" y="329"/>
                  </a:lnTo>
                  <a:lnTo>
                    <a:pt x="896" y="330"/>
                  </a:lnTo>
                  <a:lnTo>
                    <a:pt x="898" y="330"/>
                  </a:lnTo>
                  <a:lnTo>
                    <a:pt x="898" y="332"/>
                  </a:lnTo>
                  <a:lnTo>
                    <a:pt x="898" y="334"/>
                  </a:lnTo>
                  <a:lnTo>
                    <a:pt x="896" y="332"/>
                  </a:lnTo>
                  <a:lnTo>
                    <a:pt x="898" y="334"/>
                  </a:lnTo>
                  <a:lnTo>
                    <a:pt x="898" y="335"/>
                  </a:lnTo>
                  <a:lnTo>
                    <a:pt x="900" y="335"/>
                  </a:lnTo>
                  <a:lnTo>
                    <a:pt x="900" y="337"/>
                  </a:lnTo>
                  <a:lnTo>
                    <a:pt x="901" y="338"/>
                  </a:lnTo>
                  <a:lnTo>
                    <a:pt x="901" y="340"/>
                  </a:lnTo>
                  <a:lnTo>
                    <a:pt x="903" y="340"/>
                  </a:lnTo>
                  <a:lnTo>
                    <a:pt x="901" y="340"/>
                  </a:lnTo>
                  <a:lnTo>
                    <a:pt x="903" y="340"/>
                  </a:lnTo>
                  <a:lnTo>
                    <a:pt x="903" y="342"/>
                  </a:lnTo>
                  <a:lnTo>
                    <a:pt x="903" y="343"/>
                  </a:lnTo>
                  <a:lnTo>
                    <a:pt x="905" y="345"/>
                  </a:lnTo>
                  <a:lnTo>
                    <a:pt x="903" y="345"/>
                  </a:lnTo>
                  <a:lnTo>
                    <a:pt x="903" y="343"/>
                  </a:lnTo>
                  <a:lnTo>
                    <a:pt x="903" y="345"/>
                  </a:lnTo>
                  <a:lnTo>
                    <a:pt x="903" y="347"/>
                  </a:lnTo>
                  <a:lnTo>
                    <a:pt x="901" y="347"/>
                  </a:lnTo>
                  <a:lnTo>
                    <a:pt x="901" y="345"/>
                  </a:lnTo>
                  <a:lnTo>
                    <a:pt x="900" y="345"/>
                  </a:lnTo>
                  <a:lnTo>
                    <a:pt x="900" y="343"/>
                  </a:lnTo>
                  <a:lnTo>
                    <a:pt x="898" y="343"/>
                  </a:lnTo>
                  <a:lnTo>
                    <a:pt x="896" y="343"/>
                  </a:lnTo>
                  <a:lnTo>
                    <a:pt x="895" y="342"/>
                  </a:lnTo>
                  <a:lnTo>
                    <a:pt x="893" y="342"/>
                  </a:lnTo>
                  <a:lnTo>
                    <a:pt x="892" y="342"/>
                  </a:lnTo>
                  <a:lnTo>
                    <a:pt x="892" y="340"/>
                  </a:lnTo>
                  <a:lnTo>
                    <a:pt x="888" y="338"/>
                  </a:lnTo>
                  <a:lnTo>
                    <a:pt x="887" y="338"/>
                  </a:lnTo>
                  <a:lnTo>
                    <a:pt x="887" y="337"/>
                  </a:lnTo>
                  <a:lnTo>
                    <a:pt x="885" y="337"/>
                  </a:lnTo>
                  <a:lnTo>
                    <a:pt x="885" y="335"/>
                  </a:lnTo>
                  <a:lnTo>
                    <a:pt x="883" y="335"/>
                  </a:lnTo>
                  <a:lnTo>
                    <a:pt x="882" y="334"/>
                  </a:lnTo>
                  <a:lnTo>
                    <a:pt x="880" y="334"/>
                  </a:lnTo>
                  <a:lnTo>
                    <a:pt x="880" y="332"/>
                  </a:lnTo>
                  <a:lnTo>
                    <a:pt x="878" y="332"/>
                  </a:lnTo>
                  <a:lnTo>
                    <a:pt x="877" y="332"/>
                  </a:lnTo>
                  <a:lnTo>
                    <a:pt x="877" y="334"/>
                  </a:lnTo>
                  <a:lnTo>
                    <a:pt x="875" y="334"/>
                  </a:lnTo>
                  <a:lnTo>
                    <a:pt x="877" y="335"/>
                  </a:lnTo>
                  <a:lnTo>
                    <a:pt x="875" y="335"/>
                  </a:lnTo>
                  <a:lnTo>
                    <a:pt x="874" y="335"/>
                  </a:lnTo>
                  <a:lnTo>
                    <a:pt x="874" y="337"/>
                  </a:lnTo>
                  <a:lnTo>
                    <a:pt x="872" y="337"/>
                  </a:lnTo>
                  <a:lnTo>
                    <a:pt x="872" y="338"/>
                  </a:lnTo>
                  <a:lnTo>
                    <a:pt x="872" y="340"/>
                  </a:lnTo>
                  <a:lnTo>
                    <a:pt x="870" y="340"/>
                  </a:lnTo>
                  <a:lnTo>
                    <a:pt x="870" y="342"/>
                  </a:lnTo>
                  <a:lnTo>
                    <a:pt x="869" y="342"/>
                  </a:lnTo>
                  <a:lnTo>
                    <a:pt x="867" y="342"/>
                  </a:lnTo>
                  <a:lnTo>
                    <a:pt x="865" y="342"/>
                  </a:lnTo>
                  <a:lnTo>
                    <a:pt x="864" y="342"/>
                  </a:lnTo>
                  <a:lnTo>
                    <a:pt x="862" y="340"/>
                  </a:lnTo>
                  <a:lnTo>
                    <a:pt x="861" y="340"/>
                  </a:lnTo>
                  <a:lnTo>
                    <a:pt x="861" y="342"/>
                  </a:lnTo>
                  <a:lnTo>
                    <a:pt x="859" y="342"/>
                  </a:lnTo>
                  <a:lnTo>
                    <a:pt x="857" y="342"/>
                  </a:lnTo>
                  <a:lnTo>
                    <a:pt x="857" y="343"/>
                  </a:lnTo>
                  <a:lnTo>
                    <a:pt x="856" y="345"/>
                  </a:lnTo>
                  <a:lnTo>
                    <a:pt x="854" y="345"/>
                  </a:lnTo>
                  <a:lnTo>
                    <a:pt x="854" y="347"/>
                  </a:lnTo>
                  <a:lnTo>
                    <a:pt x="854" y="348"/>
                  </a:lnTo>
                  <a:lnTo>
                    <a:pt x="854" y="347"/>
                  </a:lnTo>
                  <a:lnTo>
                    <a:pt x="856" y="345"/>
                  </a:lnTo>
                  <a:lnTo>
                    <a:pt x="857" y="343"/>
                  </a:lnTo>
                  <a:lnTo>
                    <a:pt x="859" y="343"/>
                  </a:lnTo>
                  <a:lnTo>
                    <a:pt x="859" y="342"/>
                  </a:lnTo>
                  <a:lnTo>
                    <a:pt x="861" y="342"/>
                  </a:lnTo>
                  <a:lnTo>
                    <a:pt x="861" y="340"/>
                  </a:lnTo>
                  <a:lnTo>
                    <a:pt x="862" y="340"/>
                  </a:lnTo>
                  <a:lnTo>
                    <a:pt x="864" y="342"/>
                  </a:lnTo>
                  <a:lnTo>
                    <a:pt x="865" y="342"/>
                  </a:lnTo>
                  <a:lnTo>
                    <a:pt x="867" y="342"/>
                  </a:lnTo>
                  <a:lnTo>
                    <a:pt x="869" y="342"/>
                  </a:lnTo>
                  <a:lnTo>
                    <a:pt x="870" y="342"/>
                  </a:lnTo>
                  <a:lnTo>
                    <a:pt x="870" y="340"/>
                  </a:lnTo>
                  <a:lnTo>
                    <a:pt x="872" y="340"/>
                  </a:lnTo>
                  <a:lnTo>
                    <a:pt x="870" y="340"/>
                  </a:lnTo>
                  <a:lnTo>
                    <a:pt x="872" y="340"/>
                  </a:lnTo>
                  <a:lnTo>
                    <a:pt x="872" y="338"/>
                  </a:lnTo>
                  <a:lnTo>
                    <a:pt x="874" y="337"/>
                  </a:lnTo>
                  <a:lnTo>
                    <a:pt x="874" y="335"/>
                  </a:lnTo>
                  <a:lnTo>
                    <a:pt x="875" y="335"/>
                  </a:lnTo>
                  <a:lnTo>
                    <a:pt x="874" y="335"/>
                  </a:lnTo>
                  <a:lnTo>
                    <a:pt x="875" y="335"/>
                  </a:lnTo>
                  <a:lnTo>
                    <a:pt x="877" y="335"/>
                  </a:lnTo>
                  <a:lnTo>
                    <a:pt x="877" y="334"/>
                  </a:lnTo>
                  <a:lnTo>
                    <a:pt x="878" y="332"/>
                  </a:lnTo>
                  <a:lnTo>
                    <a:pt x="880" y="332"/>
                  </a:lnTo>
                  <a:lnTo>
                    <a:pt x="880" y="334"/>
                  </a:lnTo>
                  <a:lnTo>
                    <a:pt x="882" y="334"/>
                  </a:lnTo>
                  <a:lnTo>
                    <a:pt x="882" y="335"/>
                  </a:lnTo>
                  <a:lnTo>
                    <a:pt x="883" y="335"/>
                  </a:lnTo>
                  <a:lnTo>
                    <a:pt x="885" y="337"/>
                  </a:lnTo>
                  <a:lnTo>
                    <a:pt x="887" y="337"/>
                  </a:lnTo>
                  <a:lnTo>
                    <a:pt x="887" y="338"/>
                  </a:lnTo>
                  <a:lnTo>
                    <a:pt x="888" y="338"/>
                  </a:lnTo>
                  <a:lnTo>
                    <a:pt x="887" y="338"/>
                  </a:lnTo>
                  <a:lnTo>
                    <a:pt x="890" y="340"/>
                  </a:lnTo>
                  <a:lnTo>
                    <a:pt x="890" y="342"/>
                  </a:lnTo>
                  <a:lnTo>
                    <a:pt x="892" y="342"/>
                  </a:lnTo>
                  <a:lnTo>
                    <a:pt x="893" y="342"/>
                  </a:lnTo>
                  <a:lnTo>
                    <a:pt x="895" y="342"/>
                  </a:lnTo>
                  <a:lnTo>
                    <a:pt x="895" y="343"/>
                  </a:lnTo>
                  <a:lnTo>
                    <a:pt x="896" y="343"/>
                  </a:lnTo>
                  <a:lnTo>
                    <a:pt x="896" y="345"/>
                  </a:lnTo>
                  <a:lnTo>
                    <a:pt x="896" y="343"/>
                  </a:lnTo>
                  <a:lnTo>
                    <a:pt x="898" y="345"/>
                  </a:lnTo>
                  <a:lnTo>
                    <a:pt x="900" y="345"/>
                  </a:lnTo>
                  <a:lnTo>
                    <a:pt x="901" y="347"/>
                  </a:lnTo>
                  <a:lnTo>
                    <a:pt x="900" y="347"/>
                  </a:lnTo>
                  <a:lnTo>
                    <a:pt x="900" y="348"/>
                  </a:lnTo>
                  <a:lnTo>
                    <a:pt x="901" y="348"/>
                  </a:lnTo>
                  <a:lnTo>
                    <a:pt x="901" y="350"/>
                  </a:lnTo>
                  <a:lnTo>
                    <a:pt x="903" y="350"/>
                  </a:lnTo>
                  <a:lnTo>
                    <a:pt x="903" y="351"/>
                  </a:lnTo>
                  <a:lnTo>
                    <a:pt x="905" y="351"/>
                  </a:lnTo>
                  <a:lnTo>
                    <a:pt x="905" y="353"/>
                  </a:lnTo>
                  <a:lnTo>
                    <a:pt x="905" y="355"/>
                  </a:lnTo>
                  <a:lnTo>
                    <a:pt x="905" y="356"/>
                  </a:lnTo>
                  <a:lnTo>
                    <a:pt x="905" y="358"/>
                  </a:lnTo>
                  <a:lnTo>
                    <a:pt x="906" y="360"/>
                  </a:lnTo>
                  <a:lnTo>
                    <a:pt x="906" y="361"/>
                  </a:lnTo>
                  <a:lnTo>
                    <a:pt x="906" y="363"/>
                  </a:lnTo>
                  <a:lnTo>
                    <a:pt x="908" y="363"/>
                  </a:lnTo>
                  <a:lnTo>
                    <a:pt x="908" y="364"/>
                  </a:lnTo>
                  <a:lnTo>
                    <a:pt x="908" y="366"/>
                  </a:lnTo>
                  <a:lnTo>
                    <a:pt x="908" y="368"/>
                  </a:lnTo>
                  <a:lnTo>
                    <a:pt x="908" y="369"/>
                  </a:lnTo>
                  <a:lnTo>
                    <a:pt x="908" y="371"/>
                  </a:lnTo>
                  <a:lnTo>
                    <a:pt x="908" y="373"/>
                  </a:lnTo>
                  <a:lnTo>
                    <a:pt x="908" y="374"/>
                  </a:lnTo>
                  <a:lnTo>
                    <a:pt x="908" y="376"/>
                  </a:lnTo>
                  <a:lnTo>
                    <a:pt x="908" y="377"/>
                  </a:lnTo>
                  <a:lnTo>
                    <a:pt x="908" y="376"/>
                  </a:lnTo>
                  <a:lnTo>
                    <a:pt x="908" y="377"/>
                  </a:lnTo>
                  <a:lnTo>
                    <a:pt x="908" y="379"/>
                  </a:lnTo>
                  <a:lnTo>
                    <a:pt x="908" y="381"/>
                  </a:lnTo>
                  <a:lnTo>
                    <a:pt x="908" y="382"/>
                  </a:lnTo>
                  <a:lnTo>
                    <a:pt x="906" y="382"/>
                  </a:lnTo>
                  <a:lnTo>
                    <a:pt x="906" y="384"/>
                  </a:lnTo>
                  <a:lnTo>
                    <a:pt x="905" y="384"/>
                  </a:lnTo>
                  <a:lnTo>
                    <a:pt x="906" y="384"/>
                  </a:lnTo>
                  <a:lnTo>
                    <a:pt x="906" y="386"/>
                  </a:lnTo>
                  <a:lnTo>
                    <a:pt x="906" y="387"/>
                  </a:lnTo>
                  <a:lnTo>
                    <a:pt x="905" y="387"/>
                  </a:lnTo>
                  <a:lnTo>
                    <a:pt x="903" y="387"/>
                  </a:lnTo>
                  <a:lnTo>
                    <a:pt x="905" y="387"/>
                  </a:lnTo>
                  <a:lnTo>
                    <a:pt x="905" y="389"/>
                  </a:lnTo>
                  <a:lnTo>
                    <a:pt x="905" y="390"/>
                  </a:lnTo>
                  <a:lnTo>
                    <a:pt x="905" y="392"/>
                  </a:lnTo>
                  <a:lnTo>
                    <a:pt x="905" y="394"/>
                  </a:lnTo>
                  <a:lnTo>
                    <a:pt x="905" y="395"/>
                  </a:lnTo>
                  <a:lnTo>
                    <a:pt x="903" y="395"/>
                  </a:lnTo>
                  <a:lnTo>
                    <a:pt x="905" y="395"/>
                  </a:lnTo>
                  <a:lnTo>
                    <a:pt x="903" y="395"/>
                  </a:lnTo>
                  <a:lnTo>
                    <a:pt x="903" y="397"/>
                  </a:lnTo>
                  <a:lnTo>
                    <a:pt x="903" y="399"/>
                  </a:lnTo>
                  <a:lnTo>
                    <a:pt x="903" y="400"/>
                  </a:lnTo>
                  <a:lnTo>
                    <a:pt x="901" y="400"/>
                  </a:lnTo>
                  <a:lnTo>
                    <a:pt x="903" y="400"/>
                  </a:lnTo>
                  <a:lnTo>
                    <a:pt x="903" y="402"/>
                  </a:lnTo>
                  <a:lnTo>
                    <a:pt x="901" y="402"/>
                  </a:lnTo>
                  <a:lnTo>
                    <a:pt x="903" y="402"/>
                  </a:lnTo>
                  <a:lnTo>
                    <a:pt x="901" y="402"/>
                  </a:lnTo>
                  <a:lnTo>
                    <a:pt x="903" y="402"/>
                  </a:lnTo>
                  <a:lnTo>
                    <a:pt x="901" y="402"/>
                  </a:lnTo>
                  <a:lnTo>
                    <a:pt x="903" y="402"/>
                  </a:lnTo>
                  <a:lnTo>
                    <a:pt x="903" y="403"/>
                  </a:lnTo>
                  <a:lnTo>
                    <a:pt x="903" y="405"/>
                  </a:lnTo>
                  <a:lnTo>
                    <a:pt x="901" y="405"/>
                  </a:lnTo>
                  <a:lnTo>
                    <a:pt x="903" y="405"/>
                  </a:lnTo>
                  <a:lnTo>
                    <a:pt x="901" y="405"/>
                  </a:lnTo>
                  <a:lnTo>
                    <a:pt x="903" y="405"/>
                  </a:lnTo>
                  <a:lnTo>
                    <a:pt x="901" y="405"/>
                  </a:lnTo>
                  <a:lnTo>
                    <a:pt x="901" y="407"/>
                  </a:lnTo>
                  <a:lnTo>
                    <a:pt x="901" y="408"/>
                  </a:lnTo>
                  <a:lnTo>
                    <a:pt x="901" y="407"/>
                  </a:lnTo>
                  <a:lnTo>
                    <a:pt x="901" y="408"/>
                  </a:lnTo>
                  <a:lnTo>
                    <a:pt x="901" y="410"/>
                  </a:lnTo>
                  <a:lnTo>
                    <a:pt x="900" y="410"/>
                  </a:lnTo>
                  <a:lnTo>
                    <a:pt x="900" y="412"/>
                  </a:lnTo>
                  <a:lnTo>
                    <a:pt x="898" y="412"/>
                  </a:lnTo>
                  <a:lnTo>
                    <a:pt x="900" y="412"/>
                  </a:lnTo>
                  <a:lnTo>
                    <a:pt x="900" y="413"/>
                  </a:lnTo>
                  <a:lnTo>
                    <a:pt x="900" y="415"/>
                  </a:lnTo>
                  <a:lnTo>
                    <a:pt x="900" y="413"/>
                  </a:lnTo>
                  <a:lnTo>
                    <a:pt x="900" y="415"/>
                  </a:lnTo>
                  <a:lnTo>
                    <a:pt x="900" y="417"/>
                  </a:lnTo>
                  <a:lnTo>
                    <a:pt x="901" y="417"/>
                  </a:lnTo>
                  <a:lnTo>
                    <a:pt x="901" y="418"/>
                  </a:lnTo>
                  <a:lnTo>
                    <a:pt x="901" y="420"/>
                  </a:lnTo>
                  <a:lnTo>
                    <a:pt x="901" y="421"/>
                  </a:lnTo>
                  <a:lnTo>
                    <a:pt x="900" y="421"/>
                  </a:lnTo>
                  <a:lnTo>
                    <a:pt x="901" y="421"/>
                  </a:lnTo>
                  <a:lnTo>
                    <a:pt x="900" y="421"/>
                  </a:lnTo>
                  <a:lnTo>
                    <a:pt x="900" y="423"/>
                  </a:lnTo>
                  <a:lnTo>
                    <a:pt x="900" y="425"/>
                  </a:lnTo>
                  <a:lnTo>
                    <a:pt x="898" y="425"/>
                  </a:lnTo>
                  <a:lnTo>
                    <a:pt x="898" y="423"/>
                  </a:lnTo>
                  <a:lnTo>
                    <a:pt x="898" y="425"/>
                  </a:lnTo>
                  <a:lnTo>
                    <a:pt x="898" y="426"/>
                  </a:lnTo>
                  <a:lnTo>
                    <a:pt x="898" y="428"/>
                  </a:lnTo>
                  <a:lnTo>
                    <a:pt x="898" y="430"/>
                  </a:lnTo>
                  <a:lnTo>
                    <a:pt x="900" y="430"/>
                  </a:lnTo>
                  <a:lnTo>
                    <a:pt x="900" y="431"/>
                  </a:lnTo>
                  <a:lnTo>
                    <a:pt x="900" y="433"/>
                  </a:lnTo>
                  <a:lnTo>
                    <a:pt x="900" y="434"/>
                  </a:lnTo>
                  <a:lnTo>
                    <a:pt x="900" y="436"/>
                  </a:lnTo>
                  <a:lnTo>
                    <a:pt x="898" y="436"/>
                  </a:lnTo>
                  <a:lnTo>
                    <a:pt x="898" y="438"/>
                  </a:lnTo>
                  <a:lnTo>
                    <a:pt x="898" y="439"/>
                  </a:lnTo>
                  <a:lnTo>
                    <a:pt x="898" y="441"/>
                  </a:lnTo>
                  <a:lnTo>
                    <a:pt x="896" y="441"/>
                  </a:lnTo>
                  <a:lnTo>
                    <a:pt x="896" y="443"/>
                  </a:lnTo>
                  <a:lnTo>
                    <a:pt x="896" y="444"/>
                  </a:lnTo>
                  <a:lnTo>
                    <a:pt x="895" y="444"/>
                  </a:lnTo>
                  <a:lnTo>
                    <a:pt x="896" y="444"/>
                  </a:lnTo>
                  <a:lnTo>
                    <a:pt x="895" y="446"/>
                  </a:lnTo>
                  <a:lnTo>
                    <a:pt x="893" y="446"/>
                  </a:lnTo>
                  <a:lnTo>
                    <a:pt x="893" y="447"/>
                  </a:lnTo>
                  <a:lnTo>
                    <a:pt x="892" y="446"/>
                  </a:lnTo>
                  <a:lnTo>
                    <a:pt x="892" y="447"/>
                  </a:lnTo>
                  <a:lnTo>
                    <a:pt x="893" y="447"/>
                  </a:lnTo>
                  <a:lnTo>
                    <a:pt x="892" y="449"/>
                  </a:lnTo>
                  <a:lnTo>
                    <a:pt x="892" y="447"/>
                  </a:lnTo>
                  <a:lnTo>
                    <a:pt x="892" y="449"/>
                  </a:lnTo>
                  <a:lnTo>
                    <a:pt x="892" y="451"/>
                  </a:lnTo>
                  <a:lnTo>
                    <a:pt x="890" y="451"/>
                  </a:lnTo>
                  <a:lnTo>
                    <a:pt x="892" y="451"/>
                  </a:lnTo>
                  <a:lnTo>
                    <a:pt x="890" y="451"/>
                  </a:lnTo>
                  <a:lnTo>
                    <a:pt x="892" y="451"/>
                  </a:lnTo>
                  <a:lnTo>
                    <a:pt x="890" y="451"/>
                  </a:lnTo>
                  <a:lnTo>
                    <a:pt x="890" y="452"/>
                  </a:lnTo>
                  <a:lnTo>
                    <a:pt x="890" y="454"/>
                  </a:lnTo>
                  <a:lnTo>
                    <a:pt x="890" y="456"/>
                  </a:lnTo>
                  <a:lnTo>
                    <a:pt x="888" y="456"/>
                  </a:lnTo>
                  <a:lnTo>
                    <a:pt x="888" y="457"/>
                  </a:lnTo>
                  <a:lnTo>
                    <a:pt x="888" y="459"/>
                  </a:lnTo>
                  <a:lnTo>
                    <a:pt x="888" y="460"/>
                  </a:lnTo>
                  <a:lnTo>
                    <a:pt x="887" y="460"/>
                  </a:lnTo>
                  <a:lnTo>
                    <a:pt x="887" y="462"/>
                  </a:lnTo>
                  <a:lnTo>
                    <a:pt x="887" y="464"/>
                  </a:lnTo>
                  <a:lnTo>
                    <a:pt x="887" y="465"/>
                  </a:lnTo>
                  <a:lnTo>
                    <a:pt x="885" y="467"/>
                  </a:lnTo>
                  <a:lnTo>
                    <a:pt x="885" y="469"/>
                  </a:lnTo>
                  <a:lnTo>
                    <a:pt x="885" y="470"/>
                  </a:lnTo>
                  <a:lnTo>
                    <a:pt x="885" y="472"/>
                  </a:lnTo>
                  <a:lnTo>
                    <a:pt x="883" y="472"/>
                  </a:lnTo>
                  <a:lnTo>
                    <a:pt x="883" y="470"/>
                  </a:lnTo>
                  <a:lnTo>
                    <a:pt x="883" y="472"/>
                  </a:lnTo>
                  <a:lnTo>
                    <a:pt x="882" y="472"/>
                  </a:lnTo>
                  <a:lnTo>
                    <a:pt x="883" y="472"/>
                  </a:lnTo>
                  <a:lnTo>
                    <a:pt x="882" y="473"/>
                  </a:lnTo>
                  <a:lnTo>
                    <a:pt x="880" y="475"/>
                  </a:lnTo>
                  <a:lnTo>
                    <a:pt x="878" y="477"/>
                  </a:lnTo>
                  <a:lnTo>
                    <a:pt x="877" y="478"/>
                  </a:lnTo>
                  <a:lnTo>
                    <a:pt x="877" y="480"/>
                  </a:lnTo>
                  <a:lnTo>
                    <a:pt x="875" y="482"/>
                  </a:lnTo>
                  <a:lnTo>
                    <a:pt x="874" y="483"/>
                  </a:lnTo>
                  <a:lnTo>
                    <a:pt x="872" y="485"/>
                  </a:lnTo>
                  <a:lnTo>
                    <a:pt x="870" y="486"/>
                  </a:lnTo>
                  <a:lnTo>
                    <a:pt x="869" y="488"/>
                  </a:lnTo>
                  <a:lnTo>
                    <a:pt x="869" y="490"/>
                  </a:lnTo>
                  <a:lnTo>
                    <a:pt x="867" y="488"/>
                  </a:lnTo>
                  <a:lnTo>
                    <a:pt x="867" y="490"/>
                  </a:lnTo>
                  <a:lnTo>
                    <a:pt x="864" y="491"/>
                  </a:lnTo>
                  <a:lnTo>
                    <a:pt x="862" y="493"/>
                  </a:lnTo>
                  <a:lnTo>
                    <a:pt x="861" y="493"/>
                  </a:lnTo>
                  <a:lnTo>
                    <a:pt x="861" y="495"/>
                  </a:lnTo>
                  <a:lnTo>
                    <a:pt x="861" y="496"/>
                  </a:lnTo>
                  <a:lnTo>
                    <a:pt x="857" y="499"/>
                  </a:lnTo>
                  <a:lnTo>
                    <a:pt x="856" y="499"/>
                  </a:lnTo>
                  <a:lnTo>
                    <a:pt x="856" y="501"/>
                  </a:lnTo>
                  <a:lnTo>
                    <a:pt x="854" y="503"/>
                  </a:lnTo>
                  <a:lnTo>
                    <a:pt x="852" y="503"/>
                  </a:lnTo>
                  <a:lnTo>
                    <a:pt x="852" y="504"/>
                  </a:lnTo>
                  <a:lnTo>
                    <a:pt x="851" y="506"/>
                  </a:lnTo>
                  <a:lnTo>
                    <a:pt x="851" y="508"/>
                  </a:lnTo>
                  <a:lnTo>
                    <a:pt x="849" y="509"/>
                  </a:lnTo>
                  <a:lnTo>
                    <a:pt x="849" y="511"/>
                  </a:lnTo>
                  <a:lnTo>
                    <a:pt x="848" y="512"/>
                  </a:lnTo>
                  <a:lnTo>
                    <a:pt x="846" y="514"/>
                  </a:lnTo>
                  <a:lnTo>
                    <a:pt x="844" y="514"/>
                  </a:lnTo>
                  <a:lnTo>
                    <a:pt x="843" y="514"/>
                  </a:lnTo>
                  <a:lnTo>
                    <a:pt x="841" y="514"/>
                  </a:lnTo>
                  <a:lnTo>
                    <a:pt x="839" y="516"/>
                  </a:lnTo>
                  <a:lnTo>
                    <a:pt x="838" y="517"/>
                  </a:lnTo>
                  <a:lnTo>
                    <a:pt x="836" y="517"/>
                  </a:lnTo>
                  <a:lnTo>
                    <a:pt x="835" y="517"/>
                  </a:lnTo>
                  <a:lnTo>
                    <a:pt x="836" y="517"/>
                  </a:lnTo>
                  <a:lnTo>
                    <a:pt x="836" y="519"/>
                  </a:lnTo>
                  <a:lnTo>
                    <a:pt x="835" y="519"/>
                  </a:lnTo>
                  <a:lnTo>
                    <a:pt x="833" y="521"/>
                  </a:lnTo>
                  <a:lnTo>
                    <a:pt x="833" y="522"/>
                  </a:lnTo>
                  <a:lnTo>
                    <a:pt x="833" y="524"/>
                  </a:lnTo>
                  <a:lnTo>
                    <a:pt x="831" y="524"/>
                  </a:lnTo>
                  <a:lnTo>
                    <a:pt x="831" y="525"/>
                  </a:lnTo>
                  <a:lnTo>
                    <a:pt x="830" y="525"/>
                  </a:lnTo>
                  <a:lnTo>
                    <a:pt x="828" y="527"/>
                  </a:lnTo>
                  <a:lnTo>
                    <a:pt x="826" y="529"/>
                  </a:lnTo>
                  <a:lnTo>
                    <a:pt x="825" y="527"/>
                  </a:lnTo>
                  <a:lnTo>
                    <a:pt x="825" y="529"/>
                  </a:lnTo>
                  <a:lnTo>
                    <a:pt x="823" y="529"/>
                  </a:lnTo>
                  <a:lnTo>
                    <a:pt x="823" y="530"/>
                  </a:lnTo>
                  <a:lnTo>
                    <a:pt x="822" y="530"/>
                  </a:lnTo>
                  <a:lnTo>
                    <a:pt x="820" y="530"/>
                  </a:lnTo>
                  <a:lnTo>
                    <a:pt x="820" y="532"/>
                  </a:lnTo>
                  <a:lnTo>
                    <a:pt x="818" y="532"/>
                  </a:lnTo>
                  <a:lnTo>
                    <a:pt x="817" y="532"/>
                  </a:lnTo>
                  <a:lnTo>
                    <a:pt x="817" y="534"/>
                  </a:lnTo>
                  <a:lnTo>
                    <a:pt x="815" y="534"/>
                  </a:lnTo>
                  <a:lnTo>
                    <a:pt x="815" y="532"/>
                  </a:lnTo>
                  <a:lnTo>
                    <a:pt x="815" y="534"/>
                  </a:lnTo>
                  <a:lnTo>
                    <a:pt x="813" y="534"/>
                  </a:lnTo>
                  <a:lnTo>
                    <a:pt x="815" y="534"/>
                  </a:lnTo>
                  <a:lnTo>
                    <a:pt x="813" y="534"/>
                  </a:lnTo>
                  <a:lnTo>
                    <a:pt x="813" y="535"/>
                  </a:lnTo>
                  <a:lnTo>
                    <a:pt x="812" y="535"/>
                  </a:lnTo>
                  <a:lnTo>
                    <a:pt x="810" y="535"/>
                  </a:lnTo>
                  <a:lnTo>
                    <a:pt x="809" y="537"/>
                  </a:lnTo>
                  <a:lnTo>
                    <a:pt x="810" y="537"/>
                  </a:lnTo>
                  <a:lnTo>
                    <a:pt x="809" y="537"/>
                  </a:lnTo>
                  <a:lnTo>
                    <a:pt x="807" y="538"/>
                  </a:lnTo>
                  <a:lnTo>
                    <a:pt x="805" y="538"/>
                  </a:lnTo>
                  <a:lnTo>
                    <a:pt x="804" y="538"/>
                  </a:lnTo>
                  <a:lnTo>
                    <a:pt x="800" y="538"/>
                  </a:lnTo>
                  <a:lnTo>
                    <a:pt x="797" y="538"/>
                  </a:lnTo>
                  <a:lnTo>
                    <a:pt x="796" y="538"/>
                  </a:lnTo>
                  <a:lnTo>
                    <a:pt x="796" y="540"/>
                  </a:lnTo>
                  <a:lnTo>
                    <a:pt x="792" y="540"/>
                  </a:lnTo>
                  <a:lnTo>
                    <a:pt x="791" y="540"/>
                  </a:lnTo>
                  <a:lnTo>
                    <a:pt x="791" y="542"/>
                  </a:lnTo>
                  <a:lnTo>
                    <a:pt x="789" y="542"/>
                  </a:lnTo>
                  <a:lnTo>
                    <a:pt x="787" y="542"/>
                  </a:lnTo>
                  <a:lnTo>
                    <a:pt x="786" y="542"/>
                  </a:lnTo>
                  <a:lnTo>
                    <a:pt x="786" y="543"/>
                  </a:lnTo>
                  <a:lnTo>
                    <a:pt x="784" y="543"/>
                  </a:lnTo>
                  <a:lnTo>
                    <a:pt x="783" y="543"/>
                  </a:lnTo>
                  <a:lnTo>
                    <a:pt x="781" y="542"/>
                  </a:lnTo>
                  <a:lnTo>
                    <a:pt x="779" y="542"/>
                  </a:lnTo>
                  <a:lnTo>
                    <a:pt x="778" y="543"/>
                  </a:lnTo>
                  <a:lnTo>
                    <a:pt x="776" y="543"/>
                  </a:lnTo>
                  <a:lnTo>
                    <a:pt x="774" y="545"/>
                  </a:lnTo>
                  <a:lnTo>
                    <a:pt x="773" y="543"/>
                  </a:lnTo>
                  <a:lnTo>
                    <a:pt x="773" y="545"/>
                  </a:lnTo>
                  <a:lnTo>
                    <a:pt x="773" y="543"/>
                  </a:lnTo>
                  <a:lnTo>
                    <a:pt x="771" y="545"/>
                  </a:lnTo>
                  <a:lnTo>
                    <a:pt x="770" y="545"/>
                  </a:lnTo>
                  <a:lnTo>
                    <a:pt x="768" y="545"/>
                  </a:lnTo>
                  <a:lnTo>
                    <a:pt x="768" y="543"/>
                  </a:lnTo>
                  <a:lnTo>
                    <a:pt x="766" y="543"/>
                  </a:lnTo>
                  <a:lnTo>
                    <a:pt x="765" y="543"/>
                  </a:lnTo>
                  <a:lnTo>
                    <a:pt x="765" y="545"/>
                  </a:lnTo>
                  <a:lnTo>
                    <a:pt x="763" y="545"/>
                  </a:lnTo>
                  <a:lnTo>
                    <a:pt x="763" y="543"/>
                  </a:lnTo>
                  <a:lnTo>
                    <a:pt x="761" y="543"/>
                  </a:lnTo>
                  <a:lnTo>
                    <a:pt x="760" y="542"/>
                  </a:lnTo>
                  <a:lnTo>
                    <a:pt x="758" y="542"/>
                  </a:lnTo>
                  <a:lnTo>
                    <a:pt x="757" y="542"/>
                  </a:lnTo>
                  <a:lnTo>
                    <a:pt x="755" y="542"/>
                  </a:lnTo>
                  <a:lnTo>
                    <a:pt x="753" y="542"/>
                  </a:lnTo>
                  <a:lnTo>
                    <a:pt x="750" y="540"/>
                  </a:lnTo>
                  <a:lnTo>
                    <a:pt x="748" y="540"/>
                  </a:lnTo>
                  <a:lnTo>
                    <a:pt x="745" y="540"/>
                  </a:lnTo>
                  <a:lnTo>
                    <a:pt x="744" y="540"/>
                  </a:lnTo>
                  <a:lnTo>
                    <a:pt x="742" y="540"/>
                  </a:lnTo>
                  <a:lnTo>
                    <a:pt x="737" y="540"/>
                  </a:lnTo>
                  <a:lnTo>
                    <a:pt x="735" y="540"/>
                  </a:lnTo>
                  <a:lnTo>
                    <a:pt x="730" y="540"/>
                  </a:lnTo>
                  <a:lnTo>
                    <a:pt x="726" y="540"/>
                  </a:lnTo>
                  <a:lnTo>
                    <a:pt x="724" y="542"/>
                  </a:lnTo>
                  <a:lnTo>
                    <a:pt x="722" y="542"/>
                  </a:lnTo>
                  <a:lnTo>
                    <a:pt x="722" y="540"/>
                  </a:lnTo>
                  <a:lnTo>
                    <a:pt x="721" y="540"/>
                  </a:lnTo>
                  <a:lnTo>
                    <a:pt x="719" y="540"/>
                  </a:lnTo>
                  <a:lnTo>
                    <a:pt x="719" y="538"/>
                  </a:lnTo>
                  <a:lnTo>
                    <a:pt x="717" y="538"/>
                  </a:lnTo>
                  <a:lnTo>
                    <a:pt x="717" y="537"/>
                  </a:lnTo>
                  <a:lnTo>
                    <a:pt x="716" y="535"/>
                  </a:lnTo>
                  <a:lnTo>
                    <a:pt x="717" y="537"/>
                  </a:lnTo>
                  <a:lnTo>
                    <a:pt x="717" y="538"/>
                  </a:lnTo>
                  <a:lnTo>
                    <a:pt x="717" y="537"/>
                  </a:lnTo>
                  <a:lnTo>
                    <a:pt x="717" y="538"/>
                  </a:lnTo>
                  <a:lnTo>
                    <a:pt x="714" y="540"/>
                  </a:lnTo>
                  <a:lnTo>
                    <a:pt x="713" y="538"/>
                  </a:lnTo>
                  <a:lnTo>
                    <a:pt x="711" y="537"/>
                  </a:lnTo>
                  <a:lnTo>
                    <a:pt x="709" y="537"/>
                  </a:lnTo>
                  <a:lnTo>
                    <a:pt x="709" y="538"/>
                  </a:lnTo>
                  <a:lnTo>
                    <a:pt x="708" y="537"/>
                  </a:lnTo>
                  <a:lnTo>
                    <a:pt x="708" y="538"/>
                  </a:lnTo>
                  <a:lnTo>
                    <a:pt x="706" y="537"/>
                  </a:lnTo>
                  <a:lnTo>
                    <a:pt x="704" y="535"/>
                  </a:lnTo>
                  <a:lnTo>
                    <a:pt x="704" y="534"/>
                  </a:lnTo>
                  <a:lnTo>
                    <a:pt x="703" y="532"/>
                  </a:lnTo>
                  <a:lnTo>
                    <a:pt x="703" y="534"/>
                  </a:lnTo>
                  <a:lnTo>
                    <a:pt x="703" y="532"/>
                  </a:lnTo>
                  <a:lnTo>
                    <a:pt x="701" y="532"/>
                  </a:lnTo>
                  <a:lnTo>
                    <a:pt x="700" y="530"/>
                  </a:lnTo>
                  <a:lnTo>
                    <a:pt x="700" y="529"/>
                  </a:lnTo>
                  <a:lnTo>
                    <a:pt x="698" y="529"/>
                  </a:lnTo>
                  <a:lnTo>
                    <a:pt x="698" y="530"/>
                  </a:lnTo>
                  <a:lnTo>
                    <a:pt x="696" y="532"/>
                  </a:lnTo>
                  <a:lnTo>
                    <a:pt x="696" y="530"/>
                  </a:lnTo>
                  <a:lnTo>
                    <a:pt x="696" y="532"/>
                  </a:lnTo>
                  <a:lnTo>
                    <a:pt x="695" y="532"/>
                  </a:lnTo>
                  <a:lnTo>
                    <a:pt x="695" y="530"/>
                  </a:lnTo>
                  <a:lnTo>
                    <a:pt x="695" y="532"/>
                  </a:lnTo>
                  <a:lnTo>
                    <a:pt x="696" y="532"/>
                  </a:lnTo>
                  <a:lnTo>
                    <a:pt x="698" y="530"/>
                  </a:lnTo>
                  <a:lnTo>
                    <a:pt x="698" y="529"/>
                  </a:lnTo>
                  <a:lnTo>
                    <a:pt x="700" y="530"/>
                  </a:lnTo>
                  <a:lnTo>
                    <a:pt x="701" y="532"/>
                  </a:lnTo>
                  <a:lnTo>
                    <a:pt x="703" y="534"/>
                  </a:lnTo>
                  <a:lnTo>
                    <a:pt x="704" y="535"/>
                  </a:lnTo>
                  <a:lnTo>
                    <a:pt x="704" y="537"/>
                  </a:lnTo>
                  <a:lnTo>
                    <a:pt x="706" y="537"/>
                  </a:lnTo>
                  <a:lnTo>
                    <a:pt x="706" y="538"/>
                  </a:lnTo>
                  <a:lnTo>
                    <a:pt x="708" y="538"/>
                  </a:lnTo>
                  <a:lnTo>
                    <a:pt x="709" y="538"/>
                  </a:lnTo>
                  <a:lnTo>
                    <a:pt x="711" y="538"/>
                  </a:lnTo>
                  <a:lnTo>
                    <a:pt x="713" y="540"/>
                  </a:lnTo>
                  <a:lnTo>
                    <a:pt x="714" y="542"/>
                  </a:lnTo>
                  <a:lnTo>
                    <a:pt x="714" y="540"/>
                  </a:lnTo>
                  <a:lnTo>
                    <a:pt x="716" y="540"/>
                  </a:lnTo>
                  <a:lnTo>
                    <a:pt x="717" y="540"/>
                  </a:lnTo>
                  <a:lnTo>
                    <a:pt x="719" y="540"/>
                  </a:lnTo>
                  <a:lnTo>
                    <a:pt x="721" y="540"/>
                  </a:lnTo>
                  <a:lnTo>
                    <a:pt x="722" y="540"/>
                  </a:lnTo>
                  <a:lnTo>
                    <a:pt x="722" y="542"/>
                  </a:lnTo>
                  <a:lnTo>
                    <a:pt x="719" y="542"/>
                  </a:lnTo>
                  <a:lnTo>
                    <a:pt x="716" y="542"/>
                  </a:lnTo>
                  <a:lnTo>
                    <a:pt x="711" y="543"/>
                  </a:lnTo>
                  <a:lnTo>
                    <a:pt x="708" y="545"/>
                  </a:lnTo>
                  <a:lnTo>
                    <a:pt x="704" y="545"/>
                  </a:lnTo>
                  <a:lnTo>
                    <a:pt x="703" y="547"/>
                  </a:lnTo>
                  <a:lnTo>
                    <a:pt x="703" y="548"/>
                  </a:lnTo>
                  <a:lnTo>
                    <a:pt x="701" y="548"/>
                  </a:lnTo>
                  <a:lnTo>
                    <a:pt x="700" y="548"/>
                  </a:lnTo>
                  <a:lnTo>
                    <a:pt x="698" y="548"/>
                  </a:lnTo>
                  <a:lnTo>
                    <a:pt x="696" y="548"/>
                  </a:lnTo>
                  <a:lnTo>
                    <a:pt x="695" y="550"/>
                  </a:lnTo>
                  <a:lnTo>
                    <a:pt x="693" y="550"/>
                  </a:lnTo>
                  <a:lnTo>
                    <a:pt x="690" y="550"/>
                  </a:lnTo>
                  <a:lnTo>
                    <a:pt x="687" y="550"/>
                  </a:lnTo>
                  <a:lnTo>
                    <a:pt x="682" y="550"/>
                  </a:lnTo>
                  <a:lnTo>
                    <a:pt x="680" y="550"/>
                  </a:lnTo>
                  <a:lnTo>
                    <a:pt x="678" y="551"/>
                  </a:lnTo>
                  <a:lnTo>
                    <a:pt x="675" y="550"/>
                  </a:lnTo>
                  <a:lnTo>
                    <a:pt x="670" y="551"/>
                  </a:lnTo>
                  <a:lnTo>
                    <a:pt x="669" y="551"/>
                  </a:lnTo>
                  <a:lnTo>
                    <a:pt x="665" y="551"/>
                  </a:lnTo>
                  <a:lnTo>
                    <a:pt x="662" y="551"/>
                  </a:lnTo>
                  <a:lnTo>
                    <a:pt x="659" y="553"/>
                  </a:lnTo>
                  <a:lnTo>
                    <a:pt x="657" y="553"/>
                  </a:lnTo>
                  <a:lnTo>
                    <a:pt x="656" y="553"/>
                  </a:lnTo>
                  <a:lnTo>
                    <a:pt x="654" y="553"/>
                  </a:lnTo>
                  <a:lnTo>
                    <a:pt x="651" y="553"/>
                  </a:lnTo>
                  <a:lnTo>
                    <a:pt x="649" y="553"/>
                  </a:lnTo>
                  <a:lnTo>
                    <a:pt x="648" y="553"/>
                  </a:lnTo>
                  <a:lnTo>
                    <a:pt x="648" y="555"/>
                  </a:lnTo>
                  <a:lnTo>
                    <a:pt x="646" y="555"/>
                  </a:lnTo>
                  <a:lnTo>
                    <a:pt x="643" y="555"/>
                  </a:lnTo>
                  <a:lnTo>
                    <a:pt x="639" y="555"/>
                  </a:lnTo>
                  <a:lnTo>
                    <a:pt x="636" y="555"/>
                  </a:lnTo>
                  <a:lnTo>
                    <a:pt x="635" y="555"/>
                  </a:lnTo>
                  <a:lnTo>
                    <a:pt x="635" y="553"/>
                  </a:lnTo>
                  <a:lnTo>
                    <a:pt x="633" y="555"/>
                  </a:lnTo>
                  <a:lnTo>
                    <a:pt x="631" y="555"/>
                  </a:lnTo>
                  <a:lnTo>
                    <a:pt x="628" y="555"/>
                  </a:lnTo>
                  <a:lnTo>
                    <a:pt x="628" y="553"/>
                  </a:lnTo>
                  <a:lnTo>
                    <a:pt x="628" y="551"/>
                  </a:lnTo>
                  <a:lnTo>
                    <a:pt x="626" y="551"/>
                  </a:lnTo>
                  <a:lnTo>
                    <a:pt x="626" y="550"/>
                  </a:lnTo>
                  <a:lnTo>
                    <a:pt x="625" y="550"/>
                  </a:lnTo>
                  <a:lnTo>
                    <a:pt x="625" y="548"/>
                  </a:lnTo>
                  <a:lnTo>
                    <a:pt x="625" y="550"/>
                  </a:lnTo>
                  <a:lnTo>
                    <a:pt x="623" y="550"/>
                  </a:lnTo>
                  <a:lnTo>
                    <a:pt x="622" y="550"/>
                  </a:lnTo>
                  <a:lnTo>
                    <a:pt x="620" y="550"/>
                  </a:lnTo>
                  <a:lnTo>
                    <a:pt x="620" y="551"/>
                  </a:lnTo>
                  <a:lnTo>
                    <a:pt x="618" y="551"/>
                  </a:lnTo>
                  <a:lnTo>
                    <a:pt x="617" y="550"/>
                  </a:lnTo>
                  <a:lnTo>
                    <a:pt x="615" y="548"/>
                  </a:lnTo>
                  <a:lnTo>
                    <a:pt x="613" y="548"/>
                  </a:lnTo>
                  <a:lnTo>
                    <a:pt x="612" y="548"/>
                  </a:lnTo>
                  <a:lnTo>
                    <a:pt x="610" y="548"/>
                  </a:lnTo>
                  <a:lnTo>
                    <a:pt x="610" y="547"/>
                  </a:lnTo>
                  <a:lnTo>
                    <a:pt x="609" y="547"/>
                  </a:lnTo>
                  <a:lnTo>
                    <a:pt x="607" y="545"/>
                  </a:lnTo>
                  <a:lnTo>
                    <a:pt x="605" y="545"/>
                  </a:lnTo>
                  <a:lnTo>
                    <a:pt x="604" y="545"/>
                  </a:lnTo>
                  <a:lnTo>
                    <a:pt x="604" y="543"/>
                  </a:lnTo>
                  <a:lnTo>
                    <a:pt x="602" y="543"/>
                  </a:lnTo>
                  <a:lnTo>
                    <a:pt x="600" y="543"/>
                  </a:lnTo>
                  <a:lnTo>
                    <a:pt x="599" y="542"/>
                  </a:lnTo>
                  <a:lnTo>
                    <a:pt x="597" y="542"/>
                  </a:lnTo>
                  <a:lnTo>
                    <a:pt x="596" y="540"/>
                  </a:lnTo>
                  <a:lnTo>
                    <a:pt x="596" y="542"/>
                  </a:lnTo>
                  <a:lnTo>
                    <a:pt x="591" y="542"/>
                  </a:lnTo>
                  <a:lnTo>
                    <a:pt x="591" y="540"/>
                  </a:lnTo>
                  <a:lnTo>
                    <a:pt x="591" y="542"/>
                  </a:lnTo>
                  <a:lnTo>
                    <a:pt x="587" y="543"/>
                  </a:lnTo>
                  <a:lnTo>
                    <a:pt x="586" y="545"/>
                  </a:lnTo>
                  <a:lnTo>
                    <a:pt x="584" y="547"/>
                  </a:lnTo>
                  <a:lnTo>
                    <a:pt x="586" y="547"/>
                  </a:lnTo>
                  <a:lnTo>
                    <a:pt x="586" y="548"/>
                  </a:lnTo>
                  <a:lnTo>
                    <a:pt x="586" y="550"/>
                  </a:lnTo>
                  <a:lnTo>
                    <a:pt x="586" y="551"/>
                  </a:lnTo>
                  <a:lnTo>
                    <a:pt x="584" y="551"/>
                  </a:lnTo>
                  <a:lnTo>
                    <a:pt x="582" y="553"/>
                  </a:lnTo>
                  <a:lnTo>
                    <a:pt x="581" y="553"/>
                  </a:lnTo>
                  <a:lnTo>
                    <a:pt x="581" y="555"/>
                  </a:lnTo>
                  <a:lnTo>
                    <a:pt x="579" y="555"/>
                  </a:lnTo>
                  <a:lnTo>
                    <a:pt x="579" y="556"/>
                  </a:lnTo>
                  <a:lnTo>
                    <a:pt x="578" y="556"/>
                  </a:lnTo>
                  <a:lnTo>
                    <a:pt x="576" y="556"/>
                  </a:lnTo>
                  <a:lnTo>
                    <a:pt x="573" y="555"/>
                  </a:lnTo>
                  <a:lnTo>
                    <a:pt x="571" y="553"/>
                  </a:lnTo>
                  <a:lnTo>
                    <a:pt x="569" y="553"/>
                  </a:lnTo>
                  <a:lnTo>
                    <a:pt x="568" y="551"/>
                  </a:lnTo>
                  <a:lnTo>
                    <a:pt x="568" y="550"/>
                  </a:lnTo>
                  <a:lnTo>
                    <a:pt x="566" y="550"/>
                  </a:lnTo>
                  <a:lnTo>
                    <a:pt x="566" y="548"/>
                  </a:lnTo>
                  <a:lnTo>
                    <a:pt x="566" y="547"/>
                  </a:lnTo>
                  <a:lnTo>
                    <a:pt x="568" y="547"/>
                  </a:lnTo>
                  <a:lnTo>
                    <a:pt x="568" y="545"/>
                  </a:lnTo>
                  <a:lnTo>
                    <a:pt x="569" y="545"/>
                  </a:lnTo>
                  <a:lnTo>
                    <a:pt x="571" y="545"/>
                  </a:lnTo>
                  <a:lnTo>
                    <a:pt x="573" y="545"/>
                  </a:lnTo>
                  <a:lnTo>
                    <a:pt x="573" y="543"/>
                  </a:lnTo>
                  <a:lnTo>
                    <a:pt x="571" y="543"/>
                  </a:lnTo>
                  <a:lnTo>
                    <a:pt x="573" y="543"/>
                  </a:lnTo>
                  <a:lnTo>
                    <a:pt x="574" y="543"/>
                  </a:lnTo>
                  <a:lnTo>
                    <a:pt x="573" y="542"/>
                  </a:lnTo>
                  <a:lnTo>
                    <a:pt x="571" y="542"/>
                  </a:lnTo>
                  <a:lnTo>
                    <a:pt x="571" y="540"/>
                  </a:lnTo>
                  <a:lnTo>
                    <a:pt x="569" y="540"/>
                  </a:lnTo>
                  <a:lnTo>
                    <a:pt x="569" y="538"/>
                  </a:lnTo>
                  <a:lnTo>
                    <a:pt x="569" y="540"/>
                  </a:lnTo>
                  <a:lnTo>
                    <a:pt x="571" y="542"/>
                  </a:lnTo>
                  <a:lnTo>
                    <a:pt x="571" y="543"/>
                  </a:lnTo>
                  <a:lnTo>
                    <a:pt x="573" y="543"/>
                  </a:lnTo>
                  <a:lnTo>
                    <a:pt x="571" y="543"/>
                  </a:lnTo>
                  <a:lnTo>
                    <a:pt x="569" y="543"/>
                  </a:lnTo>
                  <a:lnTo>
                    <a:pt x="568" y="543"/>
                  </a:lnTo>
                  <a:lnTo>
                    <a:pt x="566" y="543"/>
                  </a:lnTo>
                  <a:lnTo>
                    <a:pt x="565" y="543"/>
                  </a:lnTo>
                  <a:lnTo>
                    <a:pt x="566" y="545"/>
                  </a:lnTo>
                  <a:lnTo>
                    <a:pt x="565" y="545"/>
                  </a:lnTo>
                  <a:lnTo>
                    <a:pt x="565" y="543"/>
                  </a:lnTo>
                  <a:lnTo>
                    <a:pt x="563" y="543"/>
                  </a:lnTo>
                  <a:lnTo>
                    <a:pt x="563" y="542"/>
                  </a:lnTo>
                  <a:lnTo>
                    <a:pt x="563" y="540"/>
                  </a:lnTo>
                  <a:lnTo>
                    <a:pt x="561" y="540"/>
                  </a:lnTo>
                  <a:lnTo>
                    <a:pt x="561" y="538"/>
                  </a:lnTo>
                  <a:lnTo>
                    <a:pt x="561" y="540"/>
                  </a:lnTo>
                  <a:lnTo>
                    <a:pt x="563" y="542"/>
                  </a:lnTo>
                  <a:lnTo>
                    <a:pt x="563" y="543"/>
                  </a:lnTo>
                  <a:lnTo>
                    <a:pt x="561" y="543"/>
                  </a:lnTo>
                  <a:lnTo>
                    <a:pt x="561" y="542"/>
                  </a:lnTo>
                  <a:lnTo>
                    <a:pt x="561" y="540"/>
                  </a:lnTo>
                  <a:lnTo>
                    <a:pt x="560" y="538"/>
                  </a:lnTo>
                  <a:lnTo>
                    <a:pt x="560" y="540"/>
                  </a:lnTo>
                  <a:lnTo>
                    <a:pt x="561" y="542"/>
                  </a:lnTo>
                  <a:lnTo>
                    <a:pt x="561" y="543"/>
                  </a:lnTo>
                  <a:lnTo>
                    <a:pt x="560" y="543"/>
                  </a:lnTo>
                  <a:lnTo>
                    <a:pt x="560" y="542"/>
                  </a:lnTo>
                  <a:lnTo>
                    <a:pt x="560" y="543"/>
                  </a:lnTo>
                  <a:lnTo>
                    <a:pt x="560" y="545"/>
                  </a:lnTo>
                  <a:lnTo>
                    <a:pt x="558" y="543"/>
                  </a:lnTo>
                  <a:lnTo>
                    <a:pt x="558" y="545"/>
                  </a:lnTo>
                  <a:lnTo>
                    <a:pt x="556" y="545"/>
                  </a:lnTo>
                  <a:lnTo>
                    <a:pt x="556" y="543"/>
                  </a:lnTo>
                  <a:lnTo>
                    <a:pt x="556" y="545"/>
                  </a:lnTo>
                  <a:lnTo>
                    <a:pt x="555" y="543"/>
                  </a:lnTo>
                  <a:lnTo>
                    <a:pt x="556" y="543"/>
                  </a:lnTo>
                  <a:lnTo>
                    <a:pt x="555" y="543"/>
                  </a:lnTo>
                  <a:lnTo>
                    <a:pt x="555" y="542"/>
                  </a:lnTo>
                  <a:lnTo>
                    <a:pt x="556" y="540"/>
                  </a:lnTo>
                  <a:lnTo>
                    <a:pt x="555" y="540"/>
                  </a:lnTo>
                  <a:lnTo>
                    <a:pt x="555" y="538"/>
                  </a:lnTo>
                  <a:lnTo>
                    <a:pt x="555" y="540"/>
                  </a:lnTo>
                  <a:lnTo>
                    <a:pt x="555" y="542"/>
                  </a:lnTo>
                  <a:lnTo>
                    <a:pt x="555" y="543"/>
                  </a:lnTo>
                  <a:lnTo>
                    <a:pt x="555" y="545"/>
                  </a:lnTo>
                  <a:lnTo>
                    <a:pt x="553" y="543"/>
                  </a:lnTo>
                  <a:lnTo>
                    <a:pt x="553" y="545"/>
                  </a:lnTo>
                  <a:lnTo>
                    <a:pt x="553" y="543"/>
                  </a:lnTo>
                  <a:lnTo>
                    <a:pt x="552" y="543"/>
                  </a:lnTo>
                  <a:lnTo>
                    <a:pt x="552" y="542"/>
                  </a:lnTo>
                  <a:lnTo>
                    <a:pt x="552" y="540"/>
                  </a:lnTo>
                  <a:lnTo>
                    <a:pt x="552" y="542"/>
                  </a:lnTo>
                  <a:lnTo>
                    <a:pt x="550" y="542"/>
                  </a:lnTo>
                  <a:lnTo>
                    <a:pt x="552" y="543"/>
                  </a:lnTo>
                  <a:lnTo>
                    <a:pt x="550" y="543"/>
                  </a:lnTo>
                  <a:lnTo>
                    <a:pt x="552" y="543"/>
                  </a:lnTo>
                  <a:lnTo>
                    <a:pt x="552" y="545"/>
                  </a:lnTo>
                  <a:lnTo>
                    <a:pt x="552" y="547"/>
                  </a:lnTo>
                  <a:lnTo>
                    <a:pt x="550" y="545"/>
                  </a:lnTo>
                  <a:lnTo>
                    <a:pt x="548" y="547"/>
                  </a:lnTo>
                  <a:lnTo>
                    <a:pt x="548" y="545"/>
                  </a:lnTo>
                  <a:lnTo>
                    <a:pt x="550" y="545"/>
                  </a:lnTo>
                  <a:lnTo>
                    <a:pt x="548" y="543"/>
                  </a:lnTo>
                  <a:lnTo>
                    <a:pt x="550" y="543"/>
                  </a:lnTo>
                  <a:lnTo>
                    <a:pt x="550" y="542"/>
                  </a:lnTo>
                  <a:lnTo>
                    <a:pt x="548" y="540"/>
                  </a:lnTo>
                  <a:lnTo>
                    <a:pt x="550" y="540"/>
                  </a:lnTo>
                  <a:lnTo>
                    <a:pt x="550" y="538"/>
                  </a:lnTo>
                  <a:lnTo>
                    <a:pt x="550" y="540"/>
                  </a:lnTo>
                  <a:lnTo>
                    <a:pt x="550" y="538"/>
                  </a:lnTo>
                  <a:lnTo>
                    <a:pt x="548" y="537"/>
                  </a:lnTo>
                  <a:lnTo>
                    <a:pt x="548" y="535"/>
                  </a:lnTo>
                  <a:lnTo>
                    <a:pt x="550" y="535"/>
                  </a:lnTo>
                  <a:lnTo>
                    <a:pt x="548" y="534"/>
                  </a:lnTo>
                  <a:lnTo>
                    <a:pt x="547" y="530"/>
                  </a:lnTo>
                  <a:lnTo>
                    <a:pt x="545" y="530"/>
                  </a:lnTo>
                  <a:lnTo>
                    <a:pt x="547" y="532"/>
                  </a:lnTo>
                  <a:lnTo>
                    <a:pt x="547" y="534"/>
                  </a:lnTo>
                  <a:lnTo>
                    <a:pt x="547" y="535"/>
                  </a:lnTo>
                  <a:lnTo>
                    <a:pt x="548" y="535"/>
                  </a:lnTo>
                  <a:lnTo>
                    <a:pt x="548" y="537"/>
                  </a:lnTo>
                  <a:lnTo>
                    <a:pt x="547" y="537"/>
                  </a:lnTo>
                  <a:lnTo>
                    <a:pt x="548" y="537"/>
                  </a:lnTo>
                  <a:lnTo>
                    <a:pt x="548" y="538"/>
                  </a:lnTo>
                  <a:lnTo>
                    <a:pt x="548" y="540"/>
                  </a:lnTo>
                  <a:lnTo>
                    <a:pt x="548" y="542"/>
                  </a:lnTo>
                  <a:lnTo>
                    <a:pt x="548" y="543"/>
                  </a:lnTo>
                  <a:lnTo>
                    <a:pt x="547" y="543"/>
                  </a:lnTo>
                  <a:lnTo>
                    <a:pt x="547" y="542"/>
                  </a:lnTo>
                  <a:lnTo>
                    <a:pt x="545" y="542"/>
                  </a:lnTo>
                  <a:lnTo>
                    <a:pt x="547" y="543"/>
                  </a:lnTo>
                  <a:lnTo>
                    <a:pt x="547" y="545"/>
                  </a:lnTo>
                  <a:lnTo>
                    <a:pt x="547" y="547"/>
                  </a:lnTo>
                  <a:lnTo>
                    <a:pt x="547" y="545"/>
                  </a:lnTo>
                  <a:lnTo>
                    <a:pt x="545" y="545"/>
                  </a:lnTo>
                  <a:lnTo>
                    <a:pt x="545" y="543"/>
                  </a:lnTo>
                  <a:lnTo>
                    <a:pt x="543" y="542"/>
                  </a:lnTo>
                  <a:lnTo>
                    <a:pt x="545" y="542"/>
                  </a:lnTo>
                  <a:lnTo>
                    <a:pt x="545" y="540"/>
                  </a:lnTo>
                  <a:lnTo>
                    <a:pt x="542" y="538"/>
                  </a:lnTo>
                  <a:lnTo>
                    <a:pt x="542" y="537"/>
                  </a:lnTo>
                  <a:lnTo>
                    <a:pt x="542" y="535"/>
                  </a:lnTo>
                  <a:lnTo>
                    <a:pt x="542" y="537"/>
                  </a:lnTo>
                  <a:lnTo>
                    <a:pt x="540" y="537"/>
                  </a:lnTo>
                  <a:lnTo>
                    <a:pt x="540" y="538"/>
                  </a:lnTo>
                  <a:lnTo>
                    <a:pt x="542" y="538"/>
                  </a:lnTo>
                  <a:lnTo>
                    <a:pt x="542" y="540"/>
                  </a:lnTo>
                  <a:lnTo>
                    <a:pt x="543" y="540"/>
                  </a:lnTo>
                  <a:lnTo>
                    <a:pt x="543" y="542"/>
                  </a:lnTo>
                  <a:lnTo>
                    <a:pt x="543" y="543"/>
                  </a:lnTo>
                  <a:lnTo>
                    <a:pt x="543" y="545"/>
                  </a:lnTo>
                  <a:lnTo>
                    <a:pt x="543" y="547"/>
                  </a:lnTo>
                  <a:lnTo>
                    <a:pt x="542" y="547"/>
                  </a:lnTo>
                  <a:lnTo>
                    <a:pt x="540" y="547"/>
                  </a:lnTo>
                  <a:lnTo>
                    <a:pt x="540" y="548"/>
                  </a:lnTo>
                  <a:lnTo>
                    <a:pt x="539" y="548"/>
                  </a:lnTo>
                  <a:lnTo>
                    <a:pt x="537" y="547"/>
                  </a:lnTo>
                  <a:lnTo>
                    <a:pt x="535" y="545"/>
                  </a:lnTo>
                  <a:lnTo>
                    <a:pt x="535" y="543"/>
                  </a:lnTo>
                  <a:lnTo>
                    <a:pt x="535" y="545"/>
                  </a:lnTo>
                  <a:lnTo>
                    <a:pt x="534" y="545"/>
                  </a:lnTo>
                  <a:lnTo>
                    <a:pt x="534" y="547"/>
                  </a:lnTo>
                  <a:lnTo>
                    <a:pt x="535" y="548"/>
                  </a:lnTo>
                  <a:lnTo>
                    <a:pt x="534" y="547"/>
                  </a:lnTo>
                  <a:lnTo>
                    <a:pt x="532" y="545"/>
                  </a:lnTo>
                  <a:lnTo>
                    <a:pt x="532" y="547"/>
                  </a:lnTo>
                  <a:lnTo>
                    <a:pt x="530" y="545"/>
                  </a:lnTo>
                  <a:lnTo>
                    <a:pt x="530" y="543"/>
                  </a:lnTo>
                  <a:lnTo>
                    <a:pt x="530" y="542"/>
                  </a:lnTo>
                  <a:lnTo>
                    <a:pt x="529" y="542"/>
                  </a:lnTo>
                  <a:lnTo>
                    <a:pt x="529" y="540"/>
                  </a:lnTo>
                  <a:lnTo>
                    <a:pt x="527" y="540"/>
                  </a:lnTo>
                  <a:lnTo>
                    <a:pt x="527" y="542"/>
                  </a:lnTo>
                  <a:lnTo>
                    <a:pt x="527" y="540"/>
                  </a:lnTo>
                  <a:lnTo>
                    <a:pt x="527" y="542"/>
                  </a:lnTo>
                  <a:lnTo>
                    <a:pt x="526" y="542"/>
                  </a:lnTo>
                  <a:lnTo>
                    <a:pt x="526" y="540"/>
                  </a:lnTo>
                  <a:lnTo>
                    <a:pt x="524" y="540"/>
                  </a:lnTo>
                  <a:lnTo>
                    <a:pt x="522" y="540"/>
                  </a:lnTo>
                  <a:lnTo>
                    <a:pt x="522" y="538"/>
                  </a:lnTo>
                  <a:lnTo>
                    <a:pt x="521" y="538"/>
                  </a:lnTo>
                  <a:lnTo>
                    <a:pt x="522" y="538"/>
                  </a:lnTo>
                  <a:lnTo>
                    <a:pt x="521" y="537"/>
                  </a:lnTo>
                  <a:lnTo>
                    <a:pt x="519" y="537"/>
                  </a:lnTo>
                  <a:lnTo>
                    <a:pt x="519" y="535"/>
                  </a:lnTo>
                  <a:lnTo>
                    <a:pt x="519" y="534"/>
                  </a:lnTo>
                  <a:lnTo>
                    <a:pt x="519" y="535"/>
                  </a:lnTo>
                  <a:lnTo>
                    <a:pt x="519" y="534"/>
                  </a:lnTo>
                  <a:lnTo>
                    <a:pt x="519" y="535"/>
                  </a:lnTo>
                  <a:lnTo>
                    <a:pt x="519" y="537"/>
                  </a:lnTo>
                  <a:lnTo>
                    <a:pt x="517" y="537"/>
                  </a:lnTo>
                  <a:lnTo>
                    <a:pt x="519" y="537"/>
                  </a:lnTo>
                  <a:lnTo>
                    <a:pt x="519" y="538"/>
                  </a:lnTo>
                  <a:lnTo>
                    <a:pt x="517" y="537"/>
                  </a:lnTo>
                  <a:lnTo>
                    <a:pt x="516" y="535"/>
                  </a:lnTo>
                  <a:lnTo>
                    <a:pt x="514" y="534"/>
                  </a:lnTo>
                  <a:lnTo>
                    <a:pt x="513" y="532"/>
                  </a:lnTo>
                  <a:lnTo>
                    <a:pt x="514" y="534"/>
                  </a:lnTo>
                  <a:lnTo>
                    <a:pt x="514" y="535"/>
                  </a:lnTo>
                  <a:lnTo>
                    <a:pt x="516" y="537"/>
                  </a:lnTo>
                  <a:lnTo>
                    <a:pt x="514" y="537"/>
                  </a:lnTo>
                  <a:lnTo>
                    <a:pt x="514" y="538"/>
                  </a:lnTo>
                  <a:lnTo>
                    <a:pt x="516" y="538"/>
                  </a:lnTo>
                  <a:lnTo>
                    <a:pt x="517" y="540"/>
                  </a:lnTo>
                  <a:lnTo>
                    <a:pt x="516" y="540"/>
                  </a:lnTo>
                  <a:lnTo>
                    <a:pt x="516" y="538"/>
                  </a:lnTo>
                  <a:lnTo>
                    <a:pt x="516" y="540"/>
                  </a:lnTo>
                  <a:lnTo>
                    <a:pt x="514" y="540"/>
                  </a:lnTo>
                  <a:lnTo>
                    <a:pt x="514" y="538"/>
                  </a:lnTo>
                  <a:lnTo>
                    <a:pt x="514" y="537"/>
                  </a:lnTo>
                  <a:lnTo>
                    <a:pt x="513" y="537"/>
                  </a:lnTo>
                  <a:lnTo>
                    <a:pt x="511" y="537"/>
                  </a:lnTo>
                  <a:lnTo>
                    <a:pt x="511" y="538"/>
                  </a:lnTo>
                  <a:lnTo>
                    <a:pt x="513" y="540"/>
                  </a:lnTo>
                  <a:lnTo>
                    <a:pt x="513" y="542"/>
                  </a:lnTo>
                  <a:lnTo>
                    <a:pt x="514" y="542"/>
                  </a:lnTo>
                  <a:lnTo>
                    <a:pt x="514" y="543"/>
                  </a:lnTo>
                  <a:lnTo>
                    <a:pt x="516" y="543"/>
                  </a:lnTo>
                  <a:lnTo>
                    <a:pt x="516" y="545"/>
                  </a:lnTo>
                  <a:lnTo>
                    <a:pt x="517" y="545"/>
                  </a:lnTo>
                  <a:lnTo>
                    <a:pt x="517" y="543"/>
                  </a:lnTo>
                  <a:lnTo>
                    <a:pt x="517" y="545"/>
                  </a:lnTo>
                  <a:lnTo>
                    <a:pt x="519" y="545"/>
                  </a:lnTo>
                  <a:lnTo>
                    <a:pt x="521" y="545"/>
                  </a:lnTo>
                  <a:lnTo>
                    <a:pt x="521" y="547"/>
                  </a:lnTo>
                  <a:lnTo>
                    <a:pt x="517" y="547"/>
                  </a:lnTo>
                  <a:lnTo>
                    <a:pt x="516" y="545"/>
                  </a:lnTo>
                  <a:lnTo>
                    <a:pt x="514" y="543"/>
                  </a:lnTo>
                  <a:lnTo>
                    <a:pt x="513" y="543"/>
                  </a:lnTo>
                  <a:lnTo>
                    <a:pt x="514" y="543"/>
                  </a:lnTo>
                  <a:lnTo>
                    <a:pt x="514" y="545"/>
                  </a:lnTo>
                  <a:lnTo>
                    <a:pt x="516" y="545"/>
                  </a:lnTo>
                  <a:lnTo>
                    <a:pt x="516" y="547"/>
                  </a:lnTo>
                  <a:lnTo>
                    <a:pt x="517" y="547"/>
                  </a:lnTo>
                  <a:lnTo>
                    <a:pt x="519" y="548"/>
                  </a:lnTo>
                  <a:lnTo>
                    <a:pt x="521" y="548"/>
                  </a:lnTo>
                  <a:lnTo>
                    <a:pt x="519" y="548"/>
                  </a:lnTo>
                  <a:lnTo>
                    <a:pt x="517" y="548"/>
                  </a:lnTo>
                  <a:lnTo>
                    <a:pt x="516" y="548"/>
                  </a:lnTo>
                  <a:lnTo>
                    <a:pt x="519" y="550"/>
                  </a:lnTo>
                  <a:lnTo>
                    <a:pt x="521" y="550"/>
                  </a:lnTo>
                  <a:lnTo>
                    <a:pt x="522" y="550"/>
                  </a:lnTo>
                  <a:lnTo>
                    <a:pt x="521" y="550"/>
                  </a:lnTo>
                  <a:lnTo>
                    <a:pt x="522" y="550"/>
                  </a:lnTo>
                  <a:lnTo>
                    <a:pt x="522" y="551"/>
                  </a:lnTo>
                  <a:lnTo>
                    <a:pt x="521" y="550"/>
                  </a:lnTo>
                  <a:lnTo>
                    <a:pt x="519" y="550"/>
                  </a:lnTo>
                  <a:lnTo>
                    <a:pt x="517" y="550"/>
                  </a:lnTo>
                  <a:lnTo>
                    <a:pt x="516" y="550"/>
                  </a:lnTo>
                  <a:lnTo>
                    <a:pt x="516" y="548"/>
                  </a:lnTo>
                  <a:lnTo>
                    <a:pt x="517" y="550"/>
                  </a:lnTo>
                  <a:lnTo>
                    <a:pt x="517" y="551"/>
                  </a:lnTo>
                  <a:lnTo>
                    <a:pt x="516" y="551"/>
                  </a:lnTo>
                  <a:lnTo>
                    <a:pt x="514" y="551"/>
                  </a:lnTo>
                  <a:lnTo>
                    <a:pt x="514" y="550"/>
                  </a:lnTo>
                  <a:lnTo>
                    <a:pt x="513" y="550"/>
                  </a:lnTo>
                  <a:lnTo>
                    <a:pt x="511" y="550"/>
                  </a:lnTo>
                  <a:lnTo>
                    <a:pt x="509" y="550"/>
                  </a:lnTo>
                  <a:lnTo>
                    <a:pt x="508" y="550"/>
                  </a:lnTo>
                  <a:lnTo>
                    <a:pt x="506" y="550"/>
                  </a:lnTo>
                  <a:lnTo>
                    <a:pt x="504" y="548"/>
                  </a:lnTo>
                  <a:lnTo>
                    <a:pt x="503" y="547"/>
                  </a:lnTo>
                  <a:lnTo>
                    <a:pt x="501" y="547"/>
                  </a:lnTo>
                  <a:lnTo>
                    <a:pt x="498" y="545"/>
                  </a:lnTo>
                  <a:lnTo>
                    <a:pt x="496" y="545"/>
                  </a:lnTo>
                  <a:lnTo>
                    <a:pt x="495" y="545"/>
                  </a:lnTo>
                  <a:lnTo>
                    <a:pt x="493" y="545"/>
                  </a:lnTo>
                  <a:lnTo>
                    <a:pt x="491" y="545"/>
                  </a:lnTo>
                  <a:lnTo>
                    <a:pt x="490" y="543"/>
                  </a:lnTo>
                  <a:lnTo>
                    <a:pt x="490" y="542"/>
                  </a:lnTo>
                  <a:lnTo>
                    <a:pt x="488" y="542"/>
                  </a:lnTo>
                  <a:lnTo>
                    <a:pt x="487" y="540"/>
                  </a:lnTo>
                  <a:lnTo>
                    <a:pt x="485" y="540"/>
                  </a:lnTo>
                  <a:lnTo>
                    <a:pt x="483" y="538"/>
                  </a:lnTo>
                  <a:lnTo>
                    <a:pt x="482" y="538"/>
                  </a:lnTo>
                  <a:lnTo>
                    <a:pt x="480" y="537"/>
                  </a:lnTo>
                  <a:lnTo>
                    <a:pt x="477" y="537"/>
                  </a:lnTo>
                  <a:lnTo>
                    <a:pt x="475" y="537"/>
                  </a:lnTo>
                  <a:lnTo>
                    <a:pt x="472" y="534"/>
                  </a:lnTo>
                  <a:lnTo>
                    <a:pt x="470" y="534"/>
                  </a:lnTo>
                  <a:lnTo>
                    <a:pt x="470" y="532"/>
                  </a:lnTo>
                  <a:lnTo>
                    <a:pt x="467" y="530"/>
                  </a:lnTo>
                  <a:lnTo>
                    <a:pt x="465" y="529"/>
                  </a:lnTo>
                  <a:lnTo>
                    <a:pt x="464" y="527"/>
                  </a:lnTo>
                  <a:lnTo>
                    <a:pt x="462" y="525"/>
                  </a:lnTo>
                  <a:lnTo>
                    <a:pt x="461" y="524"/>
                  </a:lnTo>
                  <a:lnTo>
                    <a:pt x="461" y="522"/>
                  </a:lnTo>
                  <a:lnTo>
                    <a:pt x="461" y="521"/>
                  </a:lnTo>
                  <a:lnTo>
                    <a:pt x="459" y="519"/>
                  </a:lnTo>
                  <a:lnTo>
                    <a:pt x="461" y="519"/>
                  </a:lnTo>
                  <a:lnTo>
                    <a:pt x="462" y="517"/>
                  </a:lnTo>
                  <a:lnTo>
                    <a:pt x="464" y="517"/>
                  </a:lnTo>
                  <a:lnTo>
                    <a:pt x="462" y="516"/>
                  </a:lnTo>
                  <a:lnTo>
                    <a:pt x="464" y="516"/>
                  </a:lnTo>
                  <a:lnTo>
                    <a:pt x="465" y="514"/>
                  </a:lnTo>
                  <a:lnTo>
                    <a:pt x="467" y="512"/>
                  </a:lnTo>
                  <a:lnTo>
                    <a:pt x="469" y="512"/>
                  </a:lnTo>
                  <a:lnTo>
                    <a:pt x="467" y="512"/>
                  </a:lnTo>
                  <a:lnTo>
                    <a:pt x="465" y="512"/>
                  </a:lnTo>
                  <a:lnTo>
                    <a:pt x="462" y="516"/>
                  </a:lnTo>
                  <a:lnTo>
                    <a:pt x="461" y="516"/>
                  </a:lnTo>
                  <a:lnTo>
                    <a:pt x="459" y="516"/>
                  </a:lnTo>
                  <a:lnTo>
                    <a:pt x="459" y="517"/>
                  </a:lnTo>
                  <a:lnTo>
                    <a:pt x="457" y="517"/>
                  </a:lnTo>
                  <a:lnTo>
                    <a:pt x="456" y="517"/>
                  </a:lnTo>
                  <a:lnTo>
                    <a:pt x="454" y="517"/>
                  </a:lnTo>
                  <a:lnTo>
                    <a:pt x="454" y="516"/>
                  </a:lnTo>
                  <a:lnTo>
                    <a:pt x="452" y="516"/>
                  </a:lnTo>
                  <a:lnTo>
                    <a:pt x="452" y="514"/>
                  </a:lnTo>
                  <a:lnTo>
                    <a:pt x="451" y="516"/>
                  </a:lnTo>
                  <a:lnTo>
                    <a:pt x="451" y="514"/>
                  </a:lnTo>
                  <a:lnTo>
                    <a:pt x="449" y="514"/>
                  </a:lnTo>
                  <a:lnTo>
                    <a:pt x="448" y="514"/>
                  </a:lnTo>
                  <a:lnTo>
                    <a:pt x="449" y="514"/>
                  </a:lnTo>
                  <a:lnTo>
                    <a:pt x="448" y="514"/>
                  </a:lnTo>
                  <a:lnTo>
                    <a:pt x="446" y="514"/>
                  </a:lnTo>
                  <a:lnTo>
                    <a:pt x="444" y="514"/>
                  </a:lnTo>
                  <a:lnTo>
                    <a:pt x="444" y="516"/>
                  </a:lnTo>
                  <a:lnTo>
                    <a:pt x="443" y="516"/>
                  </a:lnTo>
                  <a:lnTo>
                    <a:pt x="443" y="517"/>
                  </a:lnTo>
                  <a:lnTo>
                    <a:pt x="443" y="516"/>
                  </a:lnTo>
                  <a:lnTo>
                    <a:pt x="441" y="516"/>
                  </a:lnTo>
                  <a:lnTo>
                    <a:pt x="441" y="517"/>
                  </a:lnTo>
                  <a:lnTo>
                    <a:pt x="439" y="517"/>
                  </a:lnTo>
                  <a:lnTo>
                    <a:pt x="438" y="517"/>
                  </a:lnTo>
                  <a:lnTo>
                    <a:pt x="436" y="516"/>
                  </a:lnTo>
                  <a:lnTo>
                    <a:pt x="434" y="516"/>
                  </a:lnTo>
                  <a:lnTo>
                    <a:pt x="434" y="514"/>
                  </a:lnTo>
                  <a:lnTo>
                    <a:pt x="433" y="514"/>
                  </a:lnTo>
                  <a:lnTo>
                    <a:pt x="431" y="514"/>
                  </a:lnTo>
                  <a:lnTo>
                    <a:pt x="430" y="514"/>
                  </a:lnTo>
                  <a:lnTo>
                    <a:pt x="430" y="512"/>
                  </a:lnTo>
                  <a:lnTo>
                    <a:pt x="430" y="514"/>
                  </a:lnTo>
                  <a:lnTo>
                    <a:pt x="430" y="516"/>
                  </a:lnTo>
                  <a:lnTo>
                    <a:pt x="430" y="517"/>
                  </a:lnTo>
                  <a:lnTo>
                    <a:pt x="428" y="517"/>
                  </a:lnTo>
                  <a:lnTo>
                    <a:pt x="426" y="517"/>
                  </a:lnTo>
                  <a:lnTo>
                    <a:pt x="428" y="517"/>
                  </a:lnTo>
                  <a:lnTo>
                    <a:pt x="428" y="519"/>
                  </a:lnTo>
                  <a:lnTo>
                    <a:pt x="428" y="521"/>
                  </a:lnTo>
                  <a:lnTo>
                    <a:pt x="426" y="521"/>
                  </a:lnTo>
                  <a:lnTo>
                    <a:pt x="425" y="519"/>
                  </a:lnTo>
                  <a:lnTo>
                    <a:pt x="423" y="519"/>
                  </a:lnTo>
                  <a:lnTo>
                    <a:pt x="421" y="521"/>
                  </a:lnTo>
                  <a:lnTo>
                    <a:pt x="421" y="519"/>
                  </a:lnTo>
                  <a:lnTo>
                    <a:pt x="421" y="521"/>
                  </a:lnTo>
                  <a:lnTo>
                    <a:pt x="421" y="522"/>
                  </a:lnTo>
                  <a:lnTo>
                    <a:pt x="421" y="524"/>
                  </a:lnTo>
                  <a:lnTo>
                    <a:pt x="423" y="524"/>
                  </a:lnTo>
                  <a:lnTo>
                    <a:pt x="421" y="524"/>
                  </a:lnTo>
                  <a:lnTo>
                    <a:pt x="421" y="525"/>
                  </a:lnTo>
                  <a:lnTo>
                    <a:pt x="423" y="524"/>
                  </a:lnTo>
                  <a:lnTo>
                    <a:pt x="425" y="524"/>
                  </a:lnTo>
                  <a:lnTo>
                    <a:pt x="423" y="524"/>
                  </a:lnTo>
                  <a:lnTo>
                    <a:pt x="423" y="522"/>
                  </a:lnTo>
                  <a:lnTo>
                    <a:pt x="423" y="524"/>
                  </a:lnTo>
                  <a:lnTo>
                    <a:pt x="421" y="524"/>
                  </a:lnTo>
                  <a:lnTo>
                    <a:pt x="423" y="524"/>
                  </a:lnTo>
                  <a:lnTo>
                    <a:pt x="421" y="522"/>
                  </a:lnTo>
                  <a:lnTo>
                    <a:pt x="423" y="522"/>
                  </a:lnTo>
                  <a:lnTo>
                    <a:pt x="425" y="522"/>
                  </a:lnTo>
                  <a:lnTo>
                    <a:pt x="423" y="522"/>
                  </a:lnTo>
                  <a:lnTo>
                    <a:pt x="425" y="522"/>
                  </a:lnTo>
                  <a:lnTo>
                    <a:pt x="426" y="522"/>
                  </a:lnTo>
                  <a:lnTo>
                    <a:pt x="428" y="522"/>
                  </a:lnTo>
                  <a:lnTo>
                    <a:pt x="430" y="522"/>
                  </a:lnTo>
                  <a:lnTo>
                    <a:pt x="431" y="522"/>
                  </a:lnTo>
                  <a:lnTo>
                    <a:pt x="431" y="524"/>
                  </a:lnTo>
                  <a:lnTo>
                    <a:pt x="433" y="525"/>
                  </a:lnTo>
                  <a:lnTo>
                    <a:pt x="434" y="525"/>
                  </a:lnTo>
                  <a:lnTo>
                    <a:pt x="434" y="527"/>
                  </a:lnTo>
                  <a:lnTo>
                    <a:pt x="434" y="525"/>
                  </a:lnTo>
                  <a:lnTo>
                    <a:pt x="434" y="527"/>
                  </a:lnTo>
                  <a:lnTo>
                    <a:pt x="433" y="527"/>
                  </a:lnTo>
                  <a:lnTo>
                    <a:pt x="433" y="525"/>
                  </a:lnTo>
                  <a:lnTo>
                    <a:pt x="431" y="527"/>
                  </a:lnTo>
                  <a:lnTo>
                    <a:pt x="433" y="527"/>
                  </a:lnTo>
                  <a:lnTo>
                    <a:pt x="433" y="529"/>
                  </a:lnTo>
                  <a:lnTo>
                    <a:pt x="433" y="527"/>
                  </a:lnTo>
                  <a:lnTo>
                    <a:pt x="433" y="529"/>
                  </a:lnTo>
                  <a:lnTo>
                    <a:pt x="434" y="527"/>
                  </a:lnTo>
                  <a:lnTo>
                    <a:pt x="434" y="529"/>
                  </a:lnTo>
                  <a:lnTo>
                    <a:pt x="434" y="530"/>
                  </a:lnTo>
                  <a:lnTo>
                    <a:pt x="436" y="530"/>
                  </a:lnTo>
                  <a:lnTo>
                    <a:pt x="438" y="529"/>
                  </a:lnTo>
                  <a:lnTo>
                    <a:pt x="439" y="529"/>
                  </a:lnTo>
                  <a:lnTo>
                    <a:pt x="441" y="529"/>
                  </a:lnTo>
                  <a:lnTo>
                    <a:pt x="443" y="529"/>
                  </a:lnTo>
                  <a:lnTo>
                    <a:pt x="444" y="530"/>
                  </a:lnTo>
                  <a:lnTo>
                    <a:pt x="444" y="529"/>
                  </a:lnTo>
                  <a:lnTo>
                    <a:pt x="444" y="530"/>
                  </a:lnTo>
                  <a:lnTo>
                    <a:pt x="446" y="530"/>
                  </a:lnTo>
                  <a:lnTo>
                    <a:pt x="448" y="530"/>
                  </a:lnTo>
                  <a:lnTo>
                    <a:pt x="449" y="532"/>
                  </a:lnTo>
                  <a:lnTo>
                    <a:pt x="449" y="534"/>
                  </a:lnTo>
                  <a:lnTo>
                    <a:pt x="451" y="534"/>
                  </a:lnTo>
                  <a:lnTo>
                    <a:pt x="451" y="535"/>
                  </a:lnTo>
                  <a:lnTo>
                    <a:pt x="452" y="537"/>
                  </a:lnTo>
                  <a:lnTo>
                    <a:pt x="451" y="537"/>
                  </a:lnTo>
                  <a:lnTo>
                    <a:pt x="449" y="538"/>
                  </a:lnTo>
                  <a:lnTo>
                    <a:pt x="448" y="538"/>
                  </a:lnTo>
                  <a:lnTo>
                    <a:pt x="446" y="538"/>
                  </a:lnTo>
                  <a:lnTo>
                    <a:pt x="448" y="538"/>
                  </a:lnTo>
                  <a:lnTo>
                    <a:pt x="449" y="538"/>
                  </a:lnTo>
                  <a:lnTo>
                    <a:pt x="451" y="538"/>
                  </a:lnTo>
                  <a:lnTo>
                    <a:pt x="451" y="540"/>
                  </a:lnTo>
                  <a:lnTo>
                    <a:pt x="452" y="540"/>
                  </a:lnTo>
                  <a:lnTo>
                    <a:pt x="451" y="542"/>
                  </a:lnTo>
                  <a:lnTo>
                    <a:pt x="451" y="540"/>
                  </a:lnTo>
                  <a:lnTo>
                    <a:pt x="451" y="542"/>
                  </a:lnTo>
                  <a:lnTo>
                    <a:pt x="449" y="542"/>
                  </a:lnTo>
                  <a:lnTo>
                    <a:pt x="448" y="542"/>
                  </a:lnTo>
                  <a:lnTo>
                    <a:pt x="446" y="542"/>
                  </a:lnTo>
                  <a:lnTo>
                    <a:pt x="446" y="540"/>
                  </a:lnTo>
                  <a:lnTo>
                    <a:pt x="444" y="542"/>
                  </a:lnTo>
                  <a:lnTo>
                    <a:pt x="446" y="543"/>
                  </a:lnTo>
                  <a:lnTo>
                    <a:pt x="446" y="542"/>
                  </a:lnTo>
                  <a:lnTo>
                    <a:pt x="448" y="542"/>
                  </a:lnTo>
                  <a:lnTo>
                    <a:pt x="449" y="542"/>
                  </a:lnTo>
                  <a:lnTo>
                    <a:pt x="449" y="543"/>
                  </a:lnTo>
                  <a:lnTo>
                    <a:pt x="449" y="542"/>
                  </a:lnTo>
                  <a:lnTo>
                    <a:pt x="451" y="542"/>
                  </a:lnTo>
                  <a:lnTo>
                    <a:pt x="452" y="542"/>
                  </a:lnTo>
                  <a:lnTo>
                    <a:pt x="454" y="543"/>
                  </a:lnTo>
                  <a:lnTo>
                    <a:pt x="452" y="543"/>
                  </a:lnTo>
                  <a:lnTo>
                    <a:pt x="452" y="545"/>
                  </a:lnTo>
                  <a:lnTo>
                    <a:pt x="452" y="543"/>
                  </a:lnTo>
                  <a:lnTo>
                    <a:pt x="451" y="543"/>
                  </a:lnTo>
                  <a:lnTo>
                    <a:pt x="449" y="543"/>
                  </a:lnTo>
                  <a:lnTo>
                    <a:pt x="448" y="545"/>
                  </a:lnTo>
                  <a:lnTo>
                    <a:pt x="449" y="545"/>
                  </a:lnTo>
                  <a:lnTo>
                    <a:pt x="451" y="545"/>
                  </a:lnTo>
                  <a:lnTo>
                    <a:pt x="451" y="547"/>
                  </a:lnTo>
                  <a:lnTo>
                    <a:pt x="452" y="547"/>
                  </a:lnTo>
                  <a:lnTo>
                    <a:pt x="451" y="547"/>
                  </a:lnTo>
                  <a:lnTo>
                    <a:pt x="451" y="548"/>
                  </a:lnTo>
                  <a:lnTo>
                    <a:pt x="452" y="548"/>
                  </a:lnTo>
                  <a:lnTo>
                    <a:pt x="451" y="548"/>
                  </a:lnTo>
                  <a:lnTo>
                    <a:pt x="451" y="550"/>
                  </a:lnTo>
                  <a:lnTo>
                    <a:pt x="449" y="550"/>
                  </a:lnTo>
                  <a:lnTo>
                    <a:pt x="448" y="550"/>
                  </a:lnTo>
                  <a:lnTo>
                    <a:pt x="448" y="551"/>
                  </a:lnTo>
                  <a:lnTo>
                    <a:pt x="449" y="551"/>
                  </a:lnTo>
                  <a:lnTo>
                    <a:pt x="451" y="550"/>
                  </a:lnTo>
                  <a:lnTo>
                    <a:pt x="452" y="550"/>
                  </a:lnTo>
                  <a:lnTo>
                    <a:pt x="454" y="550"/>
                  </a:lnTo>
                  <a:lnTo>
                    <a:pt x="452" y="548"/>
                  </a:lnTo>
                  <a:lnTo>
                    <a:pt x="454" y="550"/>
                  </a:lnTo>
                  <a:lnTo>
                    <a:pt x="456" y="548"/>
                  </a:lnTo>
                  <a:lnTo>
                    <a:pt x="456" y="550"/>
                  </a:lnTo>
                  <a:lnTo>
                    <a:pt x="457" y="550"/>
                  </a:lnTo>
                  <a:lnTo>
                    <a:pt x="457" y="551"/>
                  </a:lnTo>
                  <a:lnTo>
                    <a:pt x="459" y="551"/>
                  </a:lnTo>
                  <a:lnTo>
                    <a:pt x="461" y="551"/>
                  </a:lnTo>
                  <a:lnTo>
                    <a:pt x="462" y="553"/>
                  </a:lnTo>
                  <a:lnTo>
                    <a:pt x="464" y="553"/>
                  </a:lnTo>
                  <a:lnTo>
                    <a:pt x="465" y="555"/>
                  </a:lnTo>
                  <a:lnTo>
                    <a:pt x="467" y="555"/>
                  </a:lnTo>
                  <a:lnTo>
                    <a:pt x="465" y="555"/>
                  </a:lnTo>
                  <a:lnTo>
                    <a:pt x="465" y="556"/>
                  </a:lnTo>
                  <a:lnTo>
                    <a:pt x="467" y="556"/>
                  </a:lnTo>
                  <a:lnTo>
                    <a:pt x="465" y="556"/>
                  </a:lnTo>
                  <a:lnTo>
                    <a:pt x="467" y="556"/>
                  </a:lnTo>
                  <a:lnTo>
                    <a:pt x="467" y="558"/>
                  </a:lnTo>
                  <a:lnTo>
                    <a:pt x="467" y="556"/>
                  </a:lnTo>
                  <a:lnTo>
                    <a:pt x="467" y="558"/>
                  </a:lnTo>
                  <a:lnTo>
                    <a:pt x="469" y="558"/>
                  </a:lnTo>
                  <a:lnTo>
                    <a:pt x="470" y="558"/>
                  </a:lnTo>
                  <a:lnTo>
                    <a:pt x="472" y="558"/>
                  </a:lnTo>
                  <a:lnTo>
                    <a:pt x="475" y="558"/>
                  </a:lnTo>
                  <a:lnTo>
                    <a:pt x="475" y="556"/>
                  </a:lnTo>
                  <a:lnTo>
                    <a:pt x="477" y="556"/>
                  </a:lnTo>
                  <a:lnTo>
                    <a:pt x="478" y="558"/>
                  </a:lnTo>
                  <a:lnTo>
                    <a:pt x="480" y="558"/>
                  </a:lnTo>
                  <a:lnTo>
                    <a:pt x="482" y="558"/>
                  </a:lnTo>
                  <a:lnTo>
                    <a:pt x="482" y="560"/>
                  </a:lnTo>
                  <a:lnTo>
                    <a:pt x="483" y="560"/>
                  </a:lnTo>
                  <a:lnTo>
                    <a:pt x="485" y="561"/>
                  </a:lnTo>
                  <a:lnTo>
                    <a:pt x="482" y="561"/>
                  </a:lnTo>
                  <a:lnTo>
                    <a:pt x="480" y="561"/>
                  </a:lnTo>
                  <a:lnTo>
                    <a:pt x="478" y="561"/>
                  </a:lnTo>
                  <a:lnTo>
                    <a:pt x="477" y="561"/>
                  </a:lnTo>
                  <a:lnTo>
                    <a:pt x="477" y="563"/>
                  </a:lnTo>
                  <a:lnTo>
                    <a:pt x="477" y="561"/>
                  </a:lnTo>
                  <a:lnTo>
                    <a:pt x="478" y="563"/>
                  </a:lnTo>
                  <a:lnTo>
                    <a:pt x="478" y="561"/>
                  </a:lnTo>
                  <a:lnTo>
                    <a:pt x="480" y="563"/>
                  </a:lnTo>
                  <a:lnTo>
                    <a:pt x="478" y="563"/>
                  </a:lnTo>
                  <a:lnTo>
                    <a:pt x="480" y="563"/>
                  </a:lnTo>
                  <a:lnTo>
                    <a:pt x="482" y="563"/>
                  </a:lnTo>
                  <a:lnTo>
                    <a:pt x="480" y="563"/>
                  </a:lnTo>
                  <a:lnTo>
                    <a:pt x="482" y="563"/>
                  </a:lnTo>
                  <a:lnTo>
                    <a:pt x="482" y="565"/>
                  </a:lnTo>
                  <a:lnTo>
                    <a:pt x="480" y="565"/>
                  </a:lnTo>
                  <a:lnTo>
                    <a:pt x="478" y="565"/>
                  </a:lnTo>
                  <a:lnTo>
                    <a:pt x="477" y="565"/>
                  </a:lnTo>
                  <a:lnTo>
                    <a:pt x="477" y="563"/>
                  </a:lnTo>
                  <a:lnTo>
                    <a:pt x="475" y="565"/>
                  </a:lnTo>
                  <a:lnTo>
                    <a:pt x="475" y="563"/>
                  </a:lnTo>
                  <a:lnTo>
                    <a:pt x="474" y="563"/>
                  </a:lnTo>
                  <a:lnTo>
                    <a:pt x="475" y="563"/>
                  </a:lnTo>
                  <a:lnTo>
                    <a:pt x="475" y="561"/>
                  </a:lnTo>
                  <a:lnTo>
                    <a:pt x="477" y="563"/>
                  </a:lnTo>
                  <a:lnTo>
                    <a:pt x="477" y="561"/>
                  </a:lnTo>
                  <a:lnTo>
                    <a:pt x="475" y="561"/>
                  </a:lnTo>
                  <a:lnTo>
                    <a:pt x="475" y="560"/>
                  </a:lnTo>
                  <a:lnTo>
                    <a:pt x="474" y="560"/>
                  </a:lnTo>
                  <a:lnTo>
                    <a:pt x="474" y="561"/>
                  </a:lnTo>
                  <a:lnTo>
                    <a:pt x="475" y="561"/>
                  </a:lnTo>
                  <a:lnTo>
                    <a:pt x="474" y="561"/>
                  </a:lnTo>
                  <a:lnTo>
                    <a:pt x="472" y="561"/>
                  </a:lnTo>
                  <a:lnTo>
                    <a:pt x="472" y="563"/>
                  </a:lnTo>
                  <a:lnTo>
                    <a:pt x="470" y="563"/>
                  </a:lnTo>
                  <a:lnTo>
                    <a:pt x="469" y="563"/>
                  </a:lnTo>
                  <a:lnTo>
                    <a:pt x="470" y="563"/>
                  </a:lnTo>
                  <a:lnTo>
                    <a:pt x="472" y="565"/>
                  </a:lnTo>
                  <a:lnTo>
                    <a:pt x="474" y="565"/>
                  </a:lnTo>
                  <a:lnTo>
                    <a:pt x="474" y="563"/>
                  </a:lnTo>
                  <a:lnTo>
                    <a:pt x="474" y="565"/>
                  </a:lnTo>
                  <a:lnTo>
                    <a:pt x="474" y="563"/>
                  </a:lnTo>
                  <a:lnTo>
                    <a:pt x="475" y="565"/>
                  </a:lnTo>
                  <a:lnTo>
                    <a:pt x="475" y="563"/>
                  </a:lnTo>
                  <a:lnTo>
                    <a:pt x="477" y="565"/>
                  </a:lnTo>
                  <a:lnTo>
                    <a:pt x="477" y="566"/>
                  </a:lnTo>
                  <a:lnTo>
                    <a:pt x="477" y="565"/>
                  </a:lnTo>
                  <a:lnTo>
                    <a:pt x="478" y="566"/>
                  </a:lnTo>
                  <a:lnTo>
                    <a:pt x="480" y="566"/>
                  </a:lnTo>
                  <a:lnTo>
                    <a:pt x="478" y="566"/>
                  </a:lnTo>
                  <a:lnTo>
                    <a:pt x="480" y="566"/>
                  </a:lnTo>
                  <a:lnTo>
                    <a:pt x="482" y="566"/>
                  </a:lnTo>
                  <a:lnTo>
                    <a:pt x="480" y="568"/>
                  </a:lnTo>
                  <a:lnTo>
                    <a:pt x="482" y="568"/>
                  </a:lnTo>
                  <a:lnTo>
                    <a:pt x="480" y="568"/>
                  </a:lnTo>
                  <a:lnTo>
                    <a:pt x="482" y="568"/>
                  </a:lnTo>
                  <a:lnTo>
                    <a:pt x="482" y="569"/>
                  </a:lnTo>
                  <a:lnTo>
                    <a:pt x="483" y="569"/>
                  </a:lnTo>
                  <a:lnTo>
                    <a:pt x="482" y="569"/>
                  </a:lnTo>
                  <a:lnTo>
                    <a:pt x="482" y="568"/>
                  </a:lnTo>
                  <a:lnTo>
                    <a:pt x="482" y="566"/>
                  </a:lnTo>
                  <a:lnTo>
                    <a:pt x="483" y="566"/>
                  </a:lnTo>
                  <a:lnTo>
                    <a:pt x="483" y="568"/>
                  </a:lnTo>
                  <a:lnTo>
                    <a:pt x="483" y="566"/>
                  </a:lnTo>
                  <a:lnTo>
                    <a:pt x="485" y="566"/>
                  </a:lnTo>
                  <a:lnTo>
                    <a:pt x="485" y="568"/>
                  </a:lnTo>
                  <a:lnTo>
                    <a:pt x="487" y="568"/>
                  </a:lnTo>
                  <a:lnTo>
                    <a:pt x="487" y="566"/>
                  </a:lnTo>
                  <a:lnTo>
                    <a:pt x="487" y="568"/>
                  </a:lnTo>
                  <a:lnTo>
                    <a:pt x="488" y="568"/>
                  </a:lnTo>
                  <a:lnTo>
                    <a:pt x="490" y="566"/>
                  </a:lnTo>
                  <a:lnTo>
                    <a:pt x="491" y="566"/>
                  </a:lnTo>
                  <a:lnTo>
                    <a:pt x="493" y="566"/>
                  </a:lnTo>
                  <a:lnTo>
                    <a:pt x="495" y="566"/>
                  </a:lnTo>
                  <a:lnTo>
                    <a:pt x="496" y="566"/>
                  </a:lnTo>
                  <a:lnTo>
                    <a:pt x="496" y="565"/>
                  </a:lnTo>
                  <a:lnTo>
                    <a:pt x="496" y="566"/>
                  </a:lnTo>
                  <a:lnTo>
                    <a:pt x="496" y="565"/>
                  </a:lnTo>
                  <a:lnTo>
                    <a:pt x="496" y="566"/>
                  </a:lnTo>
                  <a:lnTo>
                    <a:pt x="496" y="565"/>
                  </a:lnTo>
                  <a:lnTo>
                    <a:pt x="498" y="565"/>
                  </a:lnTo>
                  <a:lnTo>
                    <a:pt x="500" y="565"/>
                  </a:lnTo>
                  <a:lnTo>
                    <a:pt x="501" y="565"/>
                  </a:lnTo>
                  <a:lnTo>
                    <a:pt x="503" y="565"/>
                  </a:lnTo>
                  <a:lnTo>
                    <a:pt x="504" y="565"/>
                  </a:lnTo>
                  <a:lnTo>
                    <a:pt x="503" y="565"/>
                  </a:lnTo>
                  <a:lnTo>
                    <a:pt x="504" y="565"/>
                  </a:lnTo>
                  <a:lnTo>
                    <a:pt x="504" y="566"/>
                  </a:lnTo>
                  <a:lnTo>
                    <a:pt x="504" y="565"/>
                  </a:lnTo>
                  <a:lnTo>
                    <a:pt x="504" y="566"/>
                  </a:lnTo>
                  <a:lnTo>
                    <a:pt x="506" y="566"/>
                  </a:lnTo>
                  <a:lnTo>
                    <a:pt x="508" y="566"/>
                  </a:lnTo>
                  <a:lnTo>
                    <a:pt x="509" y="566"/>
                  </a:lnTo>
                  <a:lnTo>
                    <a:pt x="508" y="568"/>
                  </a:lnTo>
                  <a:lnTo>
                    <a:pt x="509" y="568"/>
                  </a:lnTo>
                  <a:lnTo>
                    <a:pt x="509" y="569"/>
                  </a:lnTo>
                  <a:lnTo>
                    <a:pt x="511" y="569"/>
                  </a:lnTo>
                  <a:lnTo>
                    <a:pt x="509" y="569"/>
                  </a:lnTo>
                  <a:lnTo>
                    <a:pt x="509" y="571"/>
                  </a:lnTo>
                  <a:lnTo>
                    <a:pt x="508" y="569"/>
                  </a:lnTo>
                  <a:lnTo>
                    <a:pt x="506" y="569"/>
                  </a:lnTo>
                  <a:lnTo>
                    <a:pt x="506" y="568"/>
                  </a:lnTo>
                  <a:lnTo>
                    <a:pt x="504" y="568"/>
                  </a:lnTo>
                  <a:lnTo>
                    <a:pt x="504" y="569"/>
                  </a:lnTo>
                  <a:lnTo>
                    <a:pt x="503" y="569"/>
                  </a:lnTo>
                  <a:lnTo>
                    <a:pt x="503" y="568"/>
                  </a:lnTo>
                  <a:lnTo>
                    <a:pt x="501" y="568"/>
                  </a:lnTo>
                  <a:lnTo>
                    <a:pt x="500" y="568"/>
                  </a:lnTo>
                  <a:lnTo>
                    <a:pt x="500" y="569"/>
                  </a:lnTo>
                  <a:lnTo>
                    <a:pt x="498" y="569"/>
                  </a:lnTo>
                  <a:lnTo>
                    <a:pt x="500" y="569"/>
                  </a:lnTo>
                  <a:lnTo>
                    <a:pt x="500" y="571"/>
                  </a:lnTo>
                  <a:lnTo>
                    <a:pt x="498" y="571"/>
                  </a:lnTo>
                  <a:lnTo>
                    <a:pt x="500" y="571"/>
                  </a:lnTo>
                  <a:lnTo>
                    <a:pt x="498" y="571"/>
                  </a:lnTo>
                  <a:lnTo>
                    <a:pt x="498" y="573"/>
                  </a:lnTo>
                  <a:lnTo>
                    <a:pt x="500" y="573"/>
                  </a:lnTo>
                  <a:lnTo>
                    <a:pt x="500" y="574"/>
                  </a:lnTo>
                  <a:lnTo>
                    <a:pt x="500" y="576"/>
                  </a:lnTo>
                  <a:lnTo>
                    <a:pt x="498" y="576"/>
                  </a:lnTo>
                  <a:lnTo>
                    <a:pt x="498" y="578"/>
                  </a:lnTo>
                  <a:lnTo>
                    <a:pt x="500" y="578"/>
                  </a:lnTo>
                  <a:lnTo>
                    <a:pt x="498" y="578"/>
                  </a:lnTo>
                  <a:lnTo>
                    <a:pt x="498" y="579"/>
                  </a:lnTo>
                  <a:lnTo>
                    <a:pt x="496" y="579"/>
                  </a:lnTo>
                  <a:lnTo>
                    <a:pt x="495" y="579"/>
                  </a:lnTo>
                  <a:lnTo>
                    <a:pt x="493" y="579"/>
                  </a:lnTo>
                  <a:lnTo>
                    <a:pt x="491" y="579"/>
                  </a:lnTo>
                  <a:lnTo>
                    <a:pt x="490" y="579"/>
                  </a:lnTo>
                  <a:lnTo>
                    <a:pt x="488" y="579"/>
                  </a:lnTo>
                  <a:lnTo>
                    <a:pt x="487" y="579"/>
                  </a:lnTo>
                  <a:lnTo>
                    <a:pt x="485" y="581"/>
                  </a:lnTo>
                  <a:lnTo>
                    <a:pt x="487" y="581"/>
                  </a:lnTo>
                  <a:lnTo>
                    <a:pt x="485" y="581"/>
                  </a:lnTo>
                  <a:lnTo>
                    <a:pt x="487" y="581"/>
                  </a:lnTo>
                  <a:lnTo>
                    <a:pt x="485" y="581"/>
                  </a:lnTo>
                  <a:lnTo>
                    <a:pt x="485" y="582"/>
                  </a:lnTo>
                  <a:lnTo>
                    <a:pt x="488" y="582"/>
                  </a:lnTo>
                  <a:lnTo>
                    <a:pt x="488" y="584"/>
                  </a:lnTo>
                  <a:lnTo>
                    <a:pt x="490" y="584"/>
                  </a:lnTo>
                  <a:lnTo>
                    <a:pt x="491" y="584"/>
                  </a:lnTo>
                  <a:lnTo>
                    <a:pt x="491" y="582"/>
                  </a:lnTo>
                  <a:lnTo>
                    <a:pt x="491" y="584"/>
                  </a:lnTo>
                  <a:lnTo>
                    <a:pt x="493" y="584"/>
                  </a:lnTo>
                  <a:lnTo>
                    <a:pt x="493" y="582"/>
                  </a:lnTo>
                  <a:lnTo>
                    <a:pt x="491" y="582"/>
                  </a:lnTo>
                  <a:lnTo>
                    <a:pt x="493" y="582"/>
                  </a:lnTo>
                  <a:lnTo>
                    <a:pt x="495" y="582"/>
                  </a:lnTo>
                  <a:lnTo>
                    <a:pt x="496" y="582"/>
                  </a:lnTo>
                  <a:lnTo>
                    <a:pt x="498" y="582"/>
                  </a:lnTo>
                  <a:lnTo>
                    <a:pt x="501" y="582"/>
                  </a:lnTo>
                  <a:lnTo>
                    <a:pt x="501" y="581"/>
                  </a:lnTo>
                  <a:lnTo>
                    <a:pt x="503" y="582"/>
                  </a:lnTo>
                  <a:lnTo>
                    <a:pt x="503" y="581"/>
                  </a:lnTo>
                  <a:lnTo>
                    <a:pt x="504" y="581"/>
                  </a:lnTo>
                  <a:lnTo>
                    <a:pt x="504" y="582"/>
                  </a:lnTo>
                  <a:lnTo>
                    <a:pt x="504" y="581"/>
                  </a:lnTo>
                  <a:lnTo>
                    <a:pt x="506" y="582"/>
                  </a:lnTo>
                  <a:lnTo>
                    <a:pt x="506" y="581"/>
                  </a:lnTo>
                  <a:lnTo>
                    <a:pt x="506" y="582"/>
                  </a:lnTo>
                  <a:lnTo>
                    <a:pt x="508" y="582"/>
                  </a:lnTo>
                  <a:lnTo>
                    <a:pt x="506" y="582"/>
                  </a:lnTo>
                  <a:lnTo>
                    <a:pt x="504" y="582"/>
                  </a:lnTo>
                  <a:lnTo>
                    <a:pt x="503" y="584"/>
                  </a:lnTo>
                  <a:lnTo>
                    <a:pt x="501" y="584"/>
                  </a:lnTo>
                  <a:lnTo>
                    <a:pt x="500" y="584"/>
                  </a:lnTo>
                  <a:lnTo>
                    <a:pt x="501" y="584"/>
                  </a:lnTo>
                  <a:lnTo>
                    <a:pt x="503" y="584"/>
                  </a:lnTo>
                  <a:lnTo>
                    <a:pt x="504" y="584"/>
                  </a:lnTo>
                  <a:lnTo>
                    <a:pt x="503" y="584"/>
                  </a:lnTo>
                  <a:lnTo>
                    <a:pt x="503" y="586"/>
                  </a:lnTo>
                  <a:lnTo>
                    <a:pt x="501" y="586"/>
                  </a:lnTo>
                  <a:lnTo>
                    <a:pt x="500" y="586"/>
                  </a:lnTo>
                  <a:lnTo>
                    <a:pt x="500" y="587"/>
                  </a:lnTo>
                  <a:lnTo>
                    <a:pt x="500" y="586"/>
                  </a:lnTo>
                  <a:lnTo>
                    <a:pt x="498" y="587"/>
                  </a:lnTo>
                  <a:lnTo>
                    <a:pt x="495" y="587"/>
                  </a:lnTo>
                  <a:lnTo>
                    <a:pt x="496" y="587"/>
                  </a:lnTo>
                  <a:lnTo>
                    <a:pt x="496" y="589"/>
                  </a:lnTo>
                  <a:lnTo>
                    <a:pt x="495" y="589"/>
                  </a:lnTo>
                  <a:lnTo>
                    <a:pt x="496" y="589"/>
                  </a:lnTo>
                  <a:lnTo>
                    <a:pt x="498" y="589"/>
                  </a:lnTo>
                  <a:lnTo>
                    <a:pt x="500" y="589"/>
                  </a:lnTo>
                  <a:lnTo>
                    <a:pt x="501" y="589"/>
                  </a:lnTo>
                  <a:lnTo>
                    <a:pt x="501" y="591"/>
                  </a:lnTo>
                  <a:lnTo>
                    <a:pt x="501" y="589"/>
                  </a:lnTo>
                  <a:lnTo>
                    <a:pt x="501" y="591"/>
                  </a:lnTo>
                  <a:lnTo>
                    <a:pt x="501" y="589"/>
                  </a:lnTo>
                  <a:lnTo>
                    <a:pt x="503" y="589"/>
                  </a:lnTo>
                  <a:lnTo>
                    <a:pt x="504" y="589"/>
                  </a:lnTo>
                  <a:lnTo>
                    <a:pt x="504" y="587"/>
                  </a:lnTo>
                  <a:lnTo>
                    <a:pt x="506" y="587"/>
                  </a:lnTo>
                  <a:lnTo>
                    <a:pt x="508" y="587"/>
                  </a:lnTo>
                  <a:lnTo>
                    <a:pt x="506" y="586"/>
                  </a:lnTo>
                  <a:lnTo>
                    <a:pt x="506" y="587"/>
                  </a:lnTo>
                  <a:lnTo>
                    <a:pt x="506" y="586"/>
                  </a:lnTo>
                  <a:lnTo>
                    <a:pt x="508" y="586"/>
                  </a:lnTo>
                  <a:lnTo>
                    <a:pt x="509" y="584"/>
                  </a:lnTo>
                  <a:lnTo>
                    <a:pt x="511" y="584"/>
                  </a:lnTo>
                  <a:lnTo>
                    <a:pt x="513" y="584"/>
                  </a:lnTo>
                  <a:lnTo>
                    <a:pt x="513" y="586"/>
                  </a:lnTo>
                  <a:lnTo>
                    <a:pt x="514" y="586"/>
                  </a:lnTo>
                  <a:lnTo>
                    <a:pt x="516" y="586"/>
                  </a:lnTo>
                  <a:lnTo>
                    <a:pt x="514" y="586"/>
                  </a:lnTo>
                  <a:lnTo>
                    <a:pt x="516" y="586"/>
                  </a:lnTo>
                  <a:lnTo>
                    <a:pt x="514" y="586"/>
                  </a:lnTo>
                  <a:lnTo>
                    <a:pt x="514" y="587"/>
                  </a:lnTo>
                  <a:lnTo>
                    <a:pt x="516" y="587"/>
                  </a:lnTo>
                  <a:lnTo>
                    <a:pt x="514" y="587"/>
                  </a:lnTo>
                  <a:lnTo>
                    <a:pt x="516" y="587"/>
                  </a:lnTo>
                  <a:lnTo>
                    <a:pt x="516" y="589"/>
                  </a:lnTo>
                  <a:lnTo>
                    <a:pt x="516" y="587"/>
                  </a:lnTo>
                  <a:lnTo>
                    <a:pt x="516" y="589"/>
                  </a:lnTo>
                  <a:lnTo>
                    <a:pt x="517" y="589"/>
                  </a:lnTo>
                  <a:lnTo>
                    <a:pt x="519" y="589"/>
                  </a:lnTo>
                  <a:lnTo>
                    <a:pt x="521" y="587"/>
                  </a:lnTo>
                  <a:lnTo>
                    <a:pt x="521" y="589"/>
                  </a:lnTo>
                  <a:lnTo>
                    <a:pt x="522" y="589"/>
                  </a:lnTo>
                  <a:lnTo>
                    <a:pt x="524" y="589"/>
                  </a:lnTo>
                  <a:lnTo>
                    <a:pt x="524" y="587"/>
                  </a:lnTo>
                  <a:lnTo>
                    <a:pt x="524" y="589"/>
                  </a:lnTo>
                  <a:lnTo>
                    <a:pt x="526" y="589"/>
                  </a:lnTo>
                  <a:lnTo>
                    <a:pt x="527" y="589"/>
                  </a:lnTo>
                  <a:lnTo>
                    <a:pt x="529" y="589"/>
                  </a:lnTo>
                  <a:lnTo>
                    <a:pt x="529" y="587"/>
                  </a:lnTo>
                  <a:lnTo>
                    <a:pt x="529" y="589"/>
                  </a:lnTo>
                  <a:lnTo>
                    <a:pt x="530" y="589"/>
                  </a:lnTo>
                  <a:lnTo>
                    <a:pt x="530" y="587"/>
                  </a:lnTo>
                  <a:lnTo>
                    <a:pt x="529" y="587"/>
                  </a:lnTo>
                  <a:lnTo>
                    <a:pt x="529" y="586"/>
                  </a:lnTo>
                  <a:lnTo>
                    <a:pt x="529" y="587"/>
                  </a:lnTo>
                  <a:lnTo>
                    <a:pt x="529" y="586"/>
                  </a:lnTo>
                  <a:lnTo>
                    <a:pt x="530" y="587"/>
                  </a:lnTo>
                  <a:lnTo>
                    <a:pt x="529" y="586"/>
                  </a:lnTo>
                  <a:lnTo>
                    <a:pt x="529" y="584"/>
                  </a:lnTo>
                  <a:lnTo>
                    <a:pt x="530" y="584"/>
                  </a:lnTo>
                  <a:lnTo>
                    <a:pt x="532" y="582"/>
                  </a:lnTo>
                  <a:lnTo>
                    <a:pt x="534" y="582"/>
                  </a:lnTo>
                  <a:lnTo>
                    <a:pt x="534" y="584"/>
                  </a:lnTo>
                  <a:lnTo>
                    <a:pt x="532" y="584"/>
                  </a:lnTo>
                  <a:lnTo>
                    <a:pt x="532" y="586"/>
                  </a:lnTo>
                  <a:lnTo>
                    <a:pt x="530" y="586"/>
                  </a:lnTo>
                  <a:lnTo>
                    <a:pt x="530" y="587"/>
                  </a:lnTo>
                  <a:lnTo>
                    <a:pt x="532" y="587"/>
                  </a:lnTo>
                  <a:lnTo>
                    <a:pt x="534" y="587"/>
                  </a:lnTo>
                  <a:lnTo>
                    <a:pt x="534" y="589"/>
                  </a:lnTo>
                  <a:lnTo>
                    <a:pt x="535" y="589"/>
                  </a:lnTo>
                  <a:lnTo>
                    <a:pt x="537" y="589"/>
                  </a:lnTo>
                  <a:lnTo>
                    <a:pt x="539" y="589"/>
                  </a:lnTo>
                  <a:lnTo>
                    <a:pt x="540" y="589"/>
                  </a:lnTo>
                  <a:lnTo>
                    <a:pt x="542" y="589"/>
                  </a:lnTo>
                  <a:lnTo>
                    <a:pt x="540" y="589"/>
                  </a:lnTo>
                  <a:lnTo>
                    <a:pt x="540" y="591"/>
                  </a:lnTo>
                  <a:lnTo>
                    <a:pt x="539" y="591"/>
                  </a:lnTo>
                  <a:lnTo>
                    <a:pt x="539" y="592"/>
                  </a:lnTo>
                  <a:lnTo>
                    <a:pt x="539" y="591"/>
                  </a:lnTo>
                  <a:lnTo>
                    <a:pt x="537" y="592"/>
                  </a:lnTo>
                  <a:lnTo>
                    <a:pt x="539" y="592"/>
                  </a:lnTo>
                  <a:lnTo>
                    <a:pt x="537" y="592"/>
                  </a:lnTo>
                  <a:lnTo>
                    <a:pt x="537" y="591"/>
                  </a:lnTo>
                  <a:lnTo>
                    <a:pt x="537" y="592"/>
                  </a:lnTo>
                  <a:lnTo>
                    <a:pt x="535" y="592"/>
                  </a:lnTo>
                  <a:lnTo>
                    <a:pt x="535" y="594"/>
                  </a:lnTo>
                  <a:lnTo>
                    <a:pt x="534" y="594"/>
                  </a:lnTo>
                  <a:lnTo>
                    <a:pt x="532" y="594"/>
                  </a:lnTo>
                  <a:lnTo>
                    <a:pt x="532" y="595"/>
                  </a:lnTo>
                  <a:lnTo>
                    <a:pt x="530" y="595"/>
                  </a:lnTo>
                  <a:lnTo>
                    <a:pt x="532" y="595"/>
                  </a:lnTo>
                  <a:lnTo>
                    <a:pt x="530" y="597"/>
                  </a:lnTo>
                  <a:lnTo>
                    <a:pt x="532" y="597"/>
                  </a:lnTo>
                  <a:lnTo>
                    <a:pt x="530" y="597"/>
                  </a:lnTo>
                  <a:lnTo>
                    <a:pt x="532" y="597"/>
                  </a:lnTo>
                  <a:lnTo>
                    <a:pt x="530" y="599"/>
                  </a:lnTo>
                  <a:lnTo>
                    <a:pt x="530" y="597"/>
                  </a:lnTo>
                  <a:lnTo>
                    <a:pt x="530" y="599"/>
                  </a:lnTo>
                  <a:lnTo>
                    <a:pt x="532" y="599"/>
                  </a:lnTo>
                  <a:lnTo>
                    <a:pt x="534" y="597"/>
                  </a:lnTo>
                  <a:lnTo>
                    <a:pt x="535" y="597"/>
                  </a:lnTo>
                  <a:lnTo>
                    <a:pt x="537" y="597"/>
                  </a:lnTo>
                  <a:lnTo>
                    <a:pt x="539" y="597"/>
                  </a:lnTo>
                  <a:lnTo>
                    <a:pt x="537" y="597"/>
                  </a:lnTo>
                  <a:lnTo>
                    <a:pt x="537" y="599"/>
                  </a:lnTo>
                  <a:lnTo>
                    <a:pt x="539" y="599"/>
                  </a:lnTo>
                  <a:lnTo>
                    <a:pt x="540" y="599"/>
                  </a:lnTo>
                  <a:lnTo>
                    <a:pt x="542" y="599"/>
                  </a:lnTo>
                  <a:lnTo>
                    <a:pt x="543" y="599"/>
                  </a:lnTo>
                  <a:lnTo>
                    <a:pt x="542" y="600"/>
                  </a:lnTo>
                  <a:lnTo>
                    <a:pt x="543" y="600"/>
                  </a:lnTo>
                  <a:lnTo>
                    <a:pt x="542" y="600"/>
                  </a:lnTo>
                  <a:lnTo>
                    <a:pt x="540" y="600"/>
                  </a:lnTo>
                  <a:lnTo>
                    <a:pt x="539" y="602"/>
                  </a:lnTo>
                  <a:lnTo>
                    <a:pt x="537" y="604"/>
                  </a:lnTo>
                  <a:lnTo>
                    <a:pt x="535" y="604"/>
                  </a:lnTo>
                  <a:lnTo>
                    <a:pt x="534" y="604"/>
                  </a:lnTo>
                  <a:lnTo>
                    <a:pt x="532" y="605"/>
                  </a:lnTo>
                  <a:lnTo>
                    <a:pt x="530" y="607"/>
                  </a:lnTo>
                  <a:lnTo>
                    <a:pt x="529" y="607"/>
                  </a:lnTo>
                  <a:lnTo>
                    <a:pt x="530" y="608"/>
                  </a:lnTo>
                  <a:lnTo>
                    <a:pt x="529" y="608"/>
                  </a:lnTo>
                  <a:lnTo>
                    <a:pt x="526" y="610"/>
                  </a:lnTo>
                  <a:lnTo>
                    <a:pt x="526" y="612"/>
                  </a:lnTo>
                  <a:lnTo>
                    <a:pt x="524" y="612"/>
                  </a:lnTo>
                  <a:lnTo>
                    <a:pt x="524" y="613"/>
                  </a:lnTo>
                  <a:lnTo>
                    <a:pt x="524" y="615"/>
                  </a:lnTo>
                  <a:lnTo>
                    <a:pt x="522" y="615"/>
                  </a:lnTo>
                  <a:lnTo>
                    <a:pt x="522" y="617"/>
                  </a:lnTo>
                  <a:lnTo>
                    <a:pt x="521" y="617"/>
                  </a:lnTo>
                  <a:lnTo>
                    <a:pt x="519" y="618"/>
                  </a:lnTo>
                  <a:lnTo>
                    <a:pt x="517" y="618"/>
                  </a:lnTo>
                  <a:lnTo>
                    <a:pt x="516" y="618"/>
                  </a:lnTo>
                  <a:lnTo>
                    <a:pt x="514" y="620"/>
                  </a:lnTo>
                  <a:lnTo>
                    <a:pt x="514" y="621"/>
                  </a:lnTo>
                  <a:lnTo>
                    <a:pt x="513" y="621"/>
                  </a:lnTo>
                  <a:lnTo>
                    <a:pt x="514" y="621"/>
                  </a:lnTo>
                  <a:lnTo>
                    <a:pt x="513" y="621"/>
                  </a:lnTo>
                  <a:lnTo>
                    <a:pt x="513" y="623"/>
                  </a:lnTo>
                  <a:lnTo>
                    <a:pt x="513" y="621"/>
                  </a:lnTo>
                  <a:lnTo>
                    <a:pt x="513" y="623"/>
                  </a:lnTo>
                  <a:lnTo>
                    <a:pt x="511" y="623"/>
                  </a:lnTo>
                  <a:lnTo>
                    <a:pt x="511" y="625"/>
                  </a:lnTo>
                  <a:lnTo>
                    <a:pt x="513" y="623"/>
                  </a:lnTo>
                  <a:lnTo>
                    <a:pt x="514" y="623"/>
                  </a:lnTo>
                  <a:lnTo>
                    <a:pt x="514" y="621"/>
                  </a:lnTo>
                  <a:lnTo>
                    <a:pt x="516" y="621"/>
                  </a:lnTo>
                  <a:lnTo>
                    <a:pt x="516" y="620"/>
                  </a:lnTo>
                  <a:lnTo>
                    <a:pt x="516" y="621"/>
                  </a:lnTo>
                  <a:lnTo>
                    <a:pt x="517" y="620"/>
                  </a:lnTo>
                  <a:lnTo>
                    <a:pt x="519" y="620"/>
                  </a:lnTo>
                  <a:lnTo>
                    <a:pt x="519" y="618"/>
                  </a:lnTo>
                  <a:lnTo>
                    <a:pt x="521" y="618"/>
                  </a:lnTo>
                  <a:lnTo>
                    <a:pt x="522" y="618"/>
                  </a:lnTo>
                  <a:lnTo>
                    <a:pt x="522" y="617"/>
                  </a:lnTo>
                  <a:lnTo>
                    <a:pt x="524" y="617"/>
                  </a:lnTo>
                  <a:lnTo>
                    <a:pt x="524" y="615"/>
                  </a:lnTo>
                  <a:lnTo>
                    <a:pt x="526" y="615"/>
                  </a:lnTo>
                  <a:lnTo>
                    <a:pt x="526" y="613"/>
                  </a:lnTo>
                  <a:lnTo>
                    <a:pt x="527" y="613"/>
                  </a:lnTo>
                  <a:lnTo>
                    <a:pt x="526" y="613"/>
                  </a:lnTo>
                  <a:lnTo>
                    <a:pt x="526" y="612"/>
                  </a:lnTo>
                  <a:lnTo>
                    <a:pt x="527" y="612"/>
                  </a:lnTo>
                  <a:lnTo>
                    <a:pt x="527" y="610"/>
                  </a:lnTo>
                  <a:lnTo>
                    <a:pt x="529" y="610"/>
                  </a:lnTo>
                  <a:lnTo>
                    <a:pt x="530" y="610"/>
                  </a:lnTo>
                  <a:lnTo>
                    <a:pt x="532" y="610"/>
                  </a:lnTo>
                  <a:lnTo>
                    <a:pt x="532" y="608"/>
                  </a:lnTo>
                  <a:lnTo>
                    <a:pt x="534" y="608"/>
                  </a:lnTo>
                  <a:lnTo>
                    <a:pt x="534" y="610"/>
                  </a:lnTo>
                  <a:lnTo>
                    <a:pt x="534" y="608"/>
                  </a:lnTo>
                  <a:lnTo>
                    <a:pt x="535" y="608"/>
                  </a:lnTo>
                  <a:lnTo>
                    <a:pt x="537" y="607"/>
                  </a:lnTo>
                  <a:lnTo>
                    <a:pt x="537" y="605"/>
                  </a:lnTo>
                  <a:lnTo>
                    <a:pt x="539" y="605"/>
                  </a:lnTo>
                  <a:lnTo>
                    <a:pt x="540" y="605"/>
                  </a:lnTo>
                  <a:lnTo>
                    <a:pt x="540" y="604"/>
                  </a:lnTo>
                  <a:lnTo>
                    <a:pt x="542" y="605"/>
                  </a:lnTo>
                  <a:lnTo>
                    <a:pt x="543" y="605"/>
                  </a:lnTo>
                  <a:lnTo>
                    <a:pt x="542" y="605"/>
                  </a:lnTo>
                  <a:lnTo>
                    <a:pt x="542" y="607"/>
                  </a:lnTo>
                  <a:lnTo>
                    <a:pt x="540" y="607"/>
                  </a:lnTo>
                  <a:lnTo>
                    <a:pt x="542" y="607"/>
                  </a:lnTo>
                  <a:lnTo>
                    <a:pt x="542" y="608"/>
                  </a:lnTo>
                  <a:lnTo>
                    <a:pt x="540" y="610"/>
                  </a:lnTo>
                  <a:lnTo>
                    <a:pt x="542" y="610"/>
                  </a:lnTo>
                  <a:lnTo>
                    <a:pt x="542" y="608"/>
                  </a:lnTo>
                  <a:lnTo>
                    <a:pt x="543" y="608"/>
                  </a:lnTo>
                  <a:lnTo>
                    <a:pt x="550" y="607"/>
                  </a:lnTo>
                  <a:lnTo>
                    <a:pt x="552" y="607"/>
                  </a:lnTo>
                  <a:lnTo>
                    <a:pt x="553" y="607"/>
                  </a:lnTo>
                  <a:lnTo>
                    <a:pt x="555" y="607"/>
                  </a:lnTo>
                  <a:lnTo>
                    <a:pt x="555" y="608"/>
                  </a:lnTo>
                  <a:lnTo>
                    <a:pt x="556" y="608"/>
                  </a:lnTo>
                  <a:lnTo>
                    <a:pt x="555" y="608"/>
                  </a:lnTo>
                  <a:lnTo>
                    <a:pt x="555" y="610"/>
                  </a:lnTo>
                  <a:lnTo>
                    <a:pt x="555" y="608"/>
                  </a:lnTo>
                  <a:lnTo>
                    <a:pt x="556" y="608"/>
                  </a:lnTo>
                  <a:lnTo>
                    <a:pt x="558" y="608"/>
                  </a:lnTo>
                  <a:lnTo>
                    <a:pt x="560" y="610"/>
                  </a:lnTo>
                  <a:lnTo>
                    <a:pt x="560" y="608"/>
                  </a:lnTo>
                  <a:lnTo>
                    <a:pt x="561" y="608"/>
                  </a:lnTo>
                  <a:lnTo>
                    <a:pt x="561" y="610"/>
                  </a:lnTo>
                  <a:lnTo>
                    <a:pt x="561" y="612"/>
                  </a:lnTo>
                  <a:lnTo>
                    <a:pt x="560" y="612"/>
                  </a:lnTo>
                  <a:lnTo>
                    <a:pt x="561" y="612"/>
                  </a:lnTo>
                  <a:lnTo>
                    <a:pt x="561" y="610"/>
                  </a:lnTo>
                  <a:lnTo>
                    <a:pt x="561" y="612"/>
                  </a:lnTo>
                  <a:lnTo>
                    <a:pt x="563" y="612"/>
                  </a:lnTo>
                  <a:lnTo>
                    <a:pt x="561" y="613"/>
                  </a:lnTo>
                  <a:lnTo>
                    <a:pt x="563" y="613"/>
                  </a:lnTo>
                  <a:lnTo>
                    <a:pt x="563" y="612"/>
                  </a:lnTo>
                  <a:lnTo>
                    <a:pt x="563" y="613"/>
                  </a:lnTo>
                  <a:lnTo>
                    <a:pt x="563" y="612"/>
                  </a:lnTo>
                  <a:lnTo>
                    <a:pt x="565" y="612"/>
                  </a:lnTo>
                  <a:lnTo>
                    <a:pt x="565" y="610"/>
                  </a:lnTo>
                  <a:lnTo>
                    <a:pt x="565" y="608"/>
                  </a:lnTo>
                  <a:lnTo>
                    <a:pt x="566" y="608"/>
                  </a:lnTo>
                  <a:lnTo>
                    <a:pt x="568" y="608"/>
                  </a:lnTo>
                  <a:lnTo>
                    <a:pt x="569" y="608"/>
                  </a:lnTo>
                  <a:lnTo>
                    <a:pt x="569" y="607"/>
                  </a:lnTo>
                  <a:lnTo>
                    <a:pt x="569" y="608"/>
                  </a:lnTo>
                  <a:lnTo>
                    <a:pt x="569" y="607"/>
                  </a:lnTo>
                  <a:lnTo>
                    <a:pt x="571" y="607"/>
                  </a:lnTo>
                  <a:lnTo>
                    <a:pt x="571" y="605"/>
                  </a:lnTo>
                  <a:lnTo>
                    <a:pt x="573" y="605"/>
                  </a:lnTo>
                  <a:lnTo>
                    <a:pt x="573" y="607"/>
                  </a:lnTo>
                  <a:lnTo>
                    <a:pt x="574" y="607"/>
                  </a:lnTo>
                  <a:lnTo>
                    <a:pt x="576" y="607"/>
                  </a:lnTo>
                  <a:lnTo>
                    <a:pt x="576" y="608"/>
                  </a:lnTo>
                  <a:lnTo>
                    <a:pt x="578" y="608"/>
                  </a:lnTo>
                  <a:lnTo>
                    <a:pt x="576" y="608"/>
                  </a:lnTo>
                  <a:lnTo>
                    <a:pt x="576" y="610"/>
                  </a:lnTo>
                  <a:lnTo>
                    <a:pt x="576" y="608"/>
                  </a:lnTo>
                  <a:lnTo>
                    <a:pt x="578" y="608"/>
                  </a:lnTo>
                  <a:lnTo>
                    <a:pt x="579" y="610"/>
                  </a:lnTo>
                  <a:lnTo>
                    <a:pt x="578" y="610"/>
                  </a:lnTo>
                  <a:lnTo>
                    <a:pt x="579" y="610"/>
                  </a:lnTo>
                  <a:lnTo>
                    <a:pt x="579" y="612"/>
                  </a:lnTo>
                  <a:lnTo>
                    <a:pt x="578" y="612"/>
                  </a:lnTo>
                  <a:lnTo>
                    <a:pt x="578" y="613"/>
                  </a:lnTo>
                  <a:lnTo>
                    <a:pt x="579" y="613"/>
                  </a:lnTo>
                  <a:lnTo>
                    <a:pt x="578" y="613"/>
                  </a:lnTo>
                  <a:lnTo>
                    <a:pt x="579" y="612"/>
                  </a:lnTo>
                  <a:lnTo>
                    <a:pt x="581" y="612"/>
                  </a:lnTo>
                  <a:lnTo>
                    <a:pt x="579" y="612"/>
                  </a:lnTo>
                  <a:lnTo>
                    <a:pt x="581" y="612"/>
                  </a:lnTo>
                  <a:lnTo>
                    <a:pt x="582" y="612"/>
                  </a:lnTo>
                  <a:lnTo>
                    <a:pt x="581" y="612"/>
                  </a:lnTo>
                  <a:lnTo>
                    <a:pt x="581" y="613"/>
                  </a:lnTo>
                  <a:lnTo>
                    <a:pt x="582" y="613"/>
                  </a:lnTo>
                  <a:lnTo>
                    <a:pt x="584" y="613"/>
                  </a:lnTo>
                  <a:lnTo>
                    <a:pt x="586" y="613"/>
                  </a:lnTo>
                  <a:lnTo>
                    <a:pt x="584" y="613"/>
                  </a:lnTo>
                  <a:lnTo>
                    <a:pt x="586" y="613"/>
                  </a:lnTo>
                  <a:lnTo>
                    <a:pt x="586" y="612"/>
                  </a:lnTo>
                  <a:lnTo>
                    <a:pt x="587" y="613"/>
                  </a:lnTo>
                  <a:lnTo>
                    <a:pt x="589" y="613"/>
                  </a:lnTo>
                  <a:lnTo>
                    <a:pt x="591" y="613"/>
                  </a:lnTo>
                  <a:lnTo>
                    <a:pt x="591" y="615"/>
                  </a:lnTo>
                  <a:lnTo>
                    <a:pt x="594" y="615"/>
                  </a:lnTo>
                  <a:lnTo>
                    <a:pt x="594" y="617"/>
                  </a:lnTo>
                  <a:lnTo>
                    <a:pt x="594" y="618"/>
                  </a:lnTo>
                  <a:lnTo>
                    <a:pt x="594" y="620"/>
                  </a:lnTo>
                  <a:lnTo>
                    <a:pt x="592" y="620"/>
                  </a:lnTo>
                  <a:lnTo>
                    <a:pt x="592" y="621"/>
                  </a:lnTo>
                  <a:lnTo>
                    <a:pt x="591" y="623"/>
                  </a:lnTo>
                  <a:lnTo>
                    <a:pt x="592" y="623"/>
                  </a:lnTo>
                  <a:lnTo>
                    <a:pt x="594" y="621"/>
                  </a:lnTo>
                  <a:lnTo>
                    <a:pt x="594" y="620"/>
                  </a:lnTo>
                  <a:lnTo>
                    <a:pt x="596" y="620"/>
                  </a:lnTo>
                  <a:lnTo>
                    <a:pt x="597" y="620"/>
                  </a:lnTo>
                  <a:lnTo>
                    <a:pt x="597" y="618"/>
                  </a:lnTo>
                  <a:lnTo>
                    <a:pt x="596" y="620"/>
                  </a:lnTo>
                  <a:lnTo>
                    <a:pt x="594" y="620"/>
                  </a:lnTo>
                  <a:lnTo>
                    <a:pt x="594" y="618"/>
                  </a:lnTo>
                  <a:lnTo>
                    <a:pt x="594" y="617"/>
                  </a:lnTo>
                  <a:lnTo>
                    <a:pt x="594" y="615"/>
                  </a:lnTo>
                  <a:lnTo>
                    <a:pt x="596" y="615"/>
                  </a:lnTo>
                  <a:lnTo>
                    <a:pt x="596" y="617"/>
                  </a:lnTo>
                  <a:lnTo>
                    <a:pt x="597" y="617"/>
                  </a:lnTo>
                  <a:lnTo>
                    <a:pt x="599" y="617"/>
                  </a:lnTo>
                  <a:lnTo>
                    <a:pt x="602" y="618"/>
                  </a:lnTo>
                  <a:lnTo>
                    <a:pt x="604" y="618"/>
                  </a:lnTo>
                  <a:lnTo>
                    <a:pt x="605" y="618"/>
                  </a:lnTo>
                  <a:lnTo>
                    <a:pt x="605" y="620"/>
                  </a:lnTo>
                  <a:lnTo>
                    <a:pt x="607" y="620"/>
                  </a:lnTo>
                  <a:lnTo>
                    <a:pt x="605" y="620"/>
                  </a:lnTo>
                  <a:lnTo>
                    <a:pt x="605" y="621"/>
                  </a:lnTo>
                  <a:lnTo>
                    <a:pt x="607" y="621"/>
                  </a:lnTo>
                  <a:lnTo>
                    <a:pt x="607" y="620"/>
                  </a:lnTo>
                  <a:lnTo>
                    <a:pt x="609" y="620"/>
                  </a:lnTo>
                  <a:lnTo>
                    <a:pt x="609" y="621"/>
                  </a:lnTo>
                  <a:lnTo>
                    <a:pt x="610" y="621"/>
                  </a:lnTo>
                  <a:lnTo>
                    <a:pt x="609" y="621"/>
                  </a:lnTo>
                  <a:lnTo>
                    <a:pt x="610" y="623"/>
                  </a:lnTo>
                  <a:lnTo>
                    <a:pt x="612" y="625"/>
                  </a:lnTo>
                  <a:lnTo>
                    <a:pt x="613" y="625"/>
                  </a:lnTo>
                  <a:lnTo>
                    <a:pt x="613" y="626"/>
                  </a:lnTo>
                  <a:lnTo>
                    <a:pt x="615" y="626"/>
                  </a:lnTo>
                  <a:lnTo>
                    <a:pt x="617" y="626"/>
                  </a:lnTo>
                  <a:lnTo>
                    <a:pt x="618" y="626"/>
                  </a:lnTo>
                  <a:lnTo>
                    <a:pt x="618" y="628"/>
                  </a:lnTo>
                  <a:lnTo>
                    <a:pt x="620" y="628"/>
                  </a:lnTo>
                  <a:lnTo>
                    <a:pt x="620" y="630"/>
                  </a:lnTo>
                  <a:lnTo>
                    <a:pt x="618" y="630"/>
                  </a:lnTo>
                  <a:lnTo>
                    <a:pt x="618" y="631"/>
                  </a:lnTo>
                  <a:lnTo>
                    <a:pt x="618" y="633"/>
                  </a:lnTo>
                  <a:lnTo>
                    <a:pt x="620" y="633"/>
                  </a:lnTo>
                  <a:lnTo>
                    <a:pt x="620" y="634"/>
                  </a:lnTo>
                  <a:lnTo>
                    <a:pt x="618" y="634"/>
                  </a:lnTo>
                  <a:lnTo>
                    <a:pt x="620" y="634"/>
                  </a:lnTo>
                  <a:lnTo>
                    <a:pt x="618" y="634"/>
                  </a:lnTo>
                  <a:lnTo>
                    <a:pt x="618" y="636"/>
                  </a:lnTo>
                  <a:lnTo>
                    <a:pt x="620" y="636"/>
                  </a:lnTo>
                  <a:lnTo>
                    <a:pt x="620" y="634"/>
                  </a:lnTo>
                  <a:lnTo>
                    <a:pt x="620" y="636"/>
                  </a:lnTo>
                  <a:lnTo>
                    <a:pt x="622" y="636"/>
                  </a:lnTo>
                  <a:lnTo>
                    <a:pt x="622" y="634"/>
                  </a:lnTo>
                  <a:lnTo>
                    <a:pt x="622" y="636"/>
                  </a:lnTo>
                  <a:lnTo>
                    <a:pt x="623" y="636"/>
                  </a:lnTo>
                  <a:lnTo>
                    <a:pt x="622" y="636"/>
                  </a:lnTo>
                  <a:lnTo>
                    <a:pt x="622" y="638"/>
                  </a:lnTo>
                  <a:lnTo>
                    <a:pt x="620" y="638"/>
                  </a:lnTo>
                  <a:lnTo>
                    <a:pt x="622" y="638"/>
                  </a:lnTo>
                  <a:lnTo>
                    <a:pt x="623" y="638"/>
                  </a:lnTo>
                  <a:lnTo>
                    <a:pt x="623" y="639"/>
                  </a:lnTo>
                  <a:lnTo>
                    <a:pt x="623" y="641"/>
                  </a:lnTo>
                  <a:lnTo>
                    <a:pt x="623" y="643"/>
                  </a:lnTo>
                  <a:lnTo>
                    <a:pt x="625" y="641"/>
                  </a:lnTo>
                  <a:lnTo>
                    <a:pt x="623" y="641"/>
                  </a:lnTo>
                  <a:lnTo>
                    <a:pt x="625" y="641"/>
                  </a:lnTo>
                  <a:lnTo>
                    <a:pt x="625" y="643"/>
                  </a:lnTo>
                  <a:lnTo>
                    <a:pt x="626" y="643"/>
                  </a:lnTo>
                  <a:lnTo>
                    <a:pt x="625" y="643"/>
                  </a:lnTo>
                  <a:lnTo>
                    <a:pt x="625" y="641"/>
                  </a:lnTo>
                  <a:lnTo>
                    <a:pt x="623" y="641"/>
                  </a:lnTo>
                  <a:lnTo>
                    <a:pt x="623" y="639"/>
                  </a:lnTo>
                  <a:lnTo>
                    <a:pt x="623" y="638"/>
                  </a:lnTo>
                  <a:lnTo>
                    <a:pt x="625" y="638"/>
                  </a:lnTo>
                  <a:lnTo>
                    <a:pt x="625" y="639"/>
                  </a:lnTo>
                  <a:lnTo>
                    <a:pt x="625" y="638"/>
                  </a:lnTo>
                  <a:lnTo>
                    <a:pt x="625" y="636"/>
                  </a:lnTo>
                  <a:lnTo>
                    <a:pt x="626" y="636"/>
                  </a:lnTo>
                  <a:lnTo>
                    <a:pt x="626" y="638"/>
                  </a:lnTo>
                  <a:lnTo>
                    <a:pt x="628" y="638"/>
                  </a:lnTo>
                  <a:lnTo>
                    <a:pt x="630" y="638"/>
                  </a:lnTo>
                  <a:lnTo>
                    <a:pt x="628" y="638"/>
                  </a:lnTo>
                  <a:lnTo>
                    <a:pt x="630" y="638"/>
                  </a:lnTo>
                  <a:lnTo>
                    <a:pt x="630" y="636"/>
                  </a:lnTo>
                  <a:lnTo>
                    <a:pt x="631" y="638"/>
                  </a:lnTo>
                  <a:lnTo>
                    <a:pt x="631" y="639"/>
                  </a:lnTo>
                  <a:lnTo>
                    <a:pt x="633" y="639"/>
                  </a:lnTo>
                  <a:lnTo>
                    <a:pt x="633" y="641"/>
                  </a:lnTo>
                  <a:lnTo>
                    <a:pt x="631" y="641"/>
                  </a:lnTo>
                  <a:lnTo>
                    <a:pt x="633" y="643"/>
                  </a:lnTo>
                  <a:lnTo>
                    <a:pt x="631" y="643"/>
                  </a:lnTo>
                  <a:lnTo>
                    <a:pt x="633" y="643"/>
                  </a:lnTo>
                  <a:lnTo>
                    <a:pt x="631" y="643"/>
                  </a:lnTo>
                  <a:lnTo>
                    <a:pt x="633" y="643"/>
                  </a:lnTo>
                  <a:lnTo>
                    <a:pt x="633" y="644"/>
                  </a:lnTo>
                  <a:lnTo>
                    <a:pt x="633" y="643"/>
                  </a:lnTo>
                  <a:lnTo>
                    <a:pt x="633" y="644"/>
                  </a:lnTo>
                  <a:lnTo>
                    <a:pt x="633" y="646"/>
                  </a:lnTo>
                  <a:lnTo>
                    <a:pt x="633" y="647"/>
                  </a:lnTo>
                  <a:lnTo>
                    <a:pt x="631" y="647"/>
                  </a:lnTo>
                  <a:lnTo>
                    <a:pt x="633" y="647"/>
                  </a:lnTo>
                  <a:lnTo>
                    <a:pt x="635" y="647"/>
                  </a:lnTo>
                  <a:lnTo>
                    <a:pt x="635" y="646"/>
                  </a:lnTo>
                  <a:lnTo>
                    <a:pt x="635" y="644"/>
                  </a:lnTo>
                  <a:lnTo>
                    <a:pt x="635" y="646"/>
                  </a:lnTo>
                  <a:lnTo>
                    <a:pt x="635" y="647"/>
                  </a:lnTo>
                  <a:lnTo>
                    <a:pt x="636" y="647"/>
                  </a:lnTo>
                  <a:lnTo>
                    <a:pt x="636" y="646"/>
                  </a:lnTo>
                  <a:lnTo>
                    <a:pt x="638" y="646"/>
                  </a:lnTo>
                  <a:lnTo>
                    <a:pt x="638" y="644"/>
                  </a:lnTo>
                  <a:lnTo>
                    <a:pt x="636" y="644"/>
                  </a:lnTo>
                  <a:lnTo>
                    <a:pt x="638" y="644"/>
                  </a:lnTo>
                  <a:lnTo>
                    <a:pt x="636" y="644"/>
                  </a:lnTo>
                  <a:lnTo>
                    <a:pt x="638" y="646"/>
                  </a:lnTo>
                  <a:lnTo>
                    <a:pt x="636" y="646"/>
                  </a:lnTo>
                  <a:lnTo>
                    <a:pt x="636" y="644"/>
                  </a:lnTo>
                  <a:lnTo>
                    <a:pt x="636" y="646"/>
                  </a:lnTo>
                  <a:lnTo>
                    <a:pt x="636" y="644"/>
                  </a:lnTo>
                  <a:lnTo>
                    <a:pt x="636" y="643"/>
                  </a:lnTo>
                  <a:lnTo>
                    <a:pt x="636" y="644"/>
                  </a:lnTo>
                  <a:lnTo>
                    <a:pt x="638" y="643"/>
                  </a:lnTo>
                  <a:lnTo>
                    <a:pt x="638" y="644"/>
                  </a:lnTo>
                  <a:lnTo>
                    <a:pt x="636" y="644"/>
                  </a:lnTo>
                  <a:lnTo>
                    <a:pt x="638" y="644"/>
                  </a:lnTo>
                  <a:lnTo>
                    <a:pt x="639" y="644"/>
                  </a:lnTo>
                  <a:lnTo>
                    <a:pt x="638" y="644"/>
                  </a:lnTo>
                  <a:lnTo>
                    <a:pt x="639" y="644"/>
                  </a:lnTo>
                  <a:lnTo>
                    <a:pt x="639" y="646"/>
                  </a:lnTo>
                  <a:lnTo>
                    <a:pt x="638" y="646"/>
                  </a:lnTo>
                  <a:lnTo>
                    <a:pt x="639" y="646"/>
                  </a:lnTo>
                  <a:lnTo>
                    <a:pt x="639" y="647"/>
                  </a:lnTo>
                  <a:lnTo>
                    <a:pt x="639" y="649"/>
                  </a:lnTo>
                  <a:lnTo>
                    <a:pt x="639" y="647"/>
                  </a:lnTo>
                  <a:lnTo>
                    <a:pt x="641" y="649"/>
                  </a:lnTo>
                  <a:lnTo>
                    <a:pt x="639" y="649"/>
                  </a:lnTo>
                  <a:lnTo>
                    <a:pt x="639" y="651"/>
                  </a:lnTo>
                  <a:lnTo>
                    <a:pt x="641" y="649"/>
                  </a:lnTo>
                  <a:lnTo>
                    <a:pt x="641" y="651"/>
                  </a:lnTo>
                  <a:lnTo>
                    <a:pt x="641" y="649"/>
                  </a:lnTo>
                  <a:lnTo>
                    <a:pt x="643" y="649"/>
                  </a:lnTo>
                  <a:lnTo>
                    <a:pt x="643" y="647"/>
                  </a:lnTo>
                  <a:lnTo>
                    <a:pt x="643" y="649"/>
                  </a:lnTo>
                  <a:lnTo>
                    <a:pt x="644" y="649"/>
                  </a:lnTo>
                  <a:lnTo>
                    <a:pt x="644" y="647"/>
                  </a:lnTo>
                  <a:lnTo>
                    <a:pt x="644" y="649"/>
                  </a:lnTo>
                  <a:lnTo>
                    <a:pt x="646" y="647"/>
                  </a:lnTo>
                  <a:lnTo>
                    <a:pt x="646" y="649"/>
                  </a:lnTo>
                  <a:lnTo>
                    <a:pt x="648" y="649"/>
                  </a:lnTo>
                  <a:lnTo>
                    <a:pt x="646" y="649"/>
                  </a:lnTo>
                  <a:lnTo>
                    <a:pt x="646" y="651"/>
                  </a:lnTo>
                  <a:lnTo>
                    <a:pt x="646" y="649"/>
                  </a:lnTo>
                  <a:lnTo>
                    <a:pt x="648" y="649"/>
                  </a:lnTo>
                  <a:lnTo>
                    <a:pt x="648" y="651"/>
                  </a:lnTo>
                  <a:lnTo>
                    <a:pt x="649" y="651"/>
                  </a:lnTo>
                  <a:lnTo>
                    <a:pt x="648" y="652"/>
                  </a:lnTo>
                  <a:lnTo>
                    <a:pt x="649" y="652"/>
                  </a:lnTo>
                  <a:lnTo>
                    <a:pt x="648" y="652"/>
                  </a:lnTo>
                  <a:lnTo>
                    <a:pt x="649" y="652"/>
                  </a:lnTo>
                  <a:lnTo>
                    <a:pt x="648" y="654"/>
                  </a:lnTo>
                  <a:lnTo>
                    <a:pt x="648" y="656"/>
                  </a:lnTo>
                  <a:lnTo>
                    <a:pt x="646" y="656"/>
                  </a:lnTo>
                  <a:lnTo>
                    <a:pt x="648" y="654"/>
                  </a:lnTo>
                  <a:lnTo>
                    <a:pt x="646" y="654"/>
                  </a:lnTo>
                  <a:lnTo>
                    <a:pt x="646" y="656"/>
                  </a:lnTo>
                  <a:lnTo>
                    <a:pt x="646" y="654"/>
                  </a:lnTo>
                  <a:lnTo>
                    <a:pt x="646" y="656"/>
                  </a:lnTo>
                  <a:lnTo>
                    <a:pt x="644" y="656"/>
                  </a:lnTo>
                  <a:lnTo>
                    <a:pt x="643" y="656"/>
                  </a:lnTo>
                  <a:lnTo>
                    <a:pt x="644" y="656"/>
                  </a:lnTo>
                  <a:lnTo>
                    <a:pt x="643" y="656"/>
                  </a:lnTo>
                  <a:lnTo>
                    <a:pt x="643" y="654"/>
                  </a:lnTo>
                  <a:lnTo>
                    <a:pt x="644" y="652"/>
                  </a:lnTo>
                  <a:lnTo>
                    <a:pt x="644" y="654"/>
                  </a:lnTo>
                  <a:lnTo>
                    <a:pt x="644" y="652"/>
                  </a:lnTo>
                  <a:lnTo>
                    <a:pt x="643" y="652"/>
                  </a:lnTo>
                  <a:lnTo>
                    <a:pt x="643" y="651"/>
                  </a:lnTo>
                  <a:lnTo>
                    <a:pt x="641" y="651"/>
                  </a:lnTo>
                  <a:lnTo>
                    <a:pt x="643" y="651"/>
                  </a:lnTo>
                  <a:lnTo>
                    <a:pt x="641" y="651"/>
                  </a:lnTo>
                  <a:lnTo>
                    <a:pt x="643" y="651"/>
                  </a:lnTo>
                  <a:lnTo>
                    <a:pt x="641" y="651"/>
                  </a:lnTo>
                  <a:lnTo>
                    <a:pt x="639" y="651"/>
                  </a:lnTo>
                  <a:lnTo>
                    <a:pt x="638" y="651"/>
                  </a:lnTo>
                  <a:lnTo>
                    <a:pt x="639" y="651"/>
                  </a:lnTo>
                  <a:lnTo>
                    <a:pt x="641" y="651"/>
                  </a:lnTo>
                  <a:lnTo>
                    <a:pt x="641" y="652"/>
                  </a:lnTo>
                  <a:lnTo>
                    <a:pt x="639" y="652"/>
                  </a:lnTo>
                  <a:lnTo>
                    <a:pt x="638" y="652"/>
                  </a:lnTo>
                  <a:lnTo>
                    <a:pt x="639" y="652"/>
                  </a:lnTo>
                  <a:lnTo>
                    <a:pt x="638" y="652"/>
                  </a:lnTo>
                  <a:lnTo>
                    <a:pt x="639" y="652"/>
                  </a:lnTo>
                  <a:lnTo>
                    <a:pt x="639" y="654"/>
                  </a:lnTo>
                  <a:lnTo>
                    <a:pt x="639" y="652"/>
                  </a:lnTo>
                  <a:lnTo>
                    <a:pt x="638" y="654"/>
                  </a:lnTo>
                  <a:lnTo>
                    <a:pt x="639" y="654"/>
                  </a:lnTo>
                  <a:lnTo>
                    <a:pt x="641" y="654"/>
                  </a:lnTo>
                  <a:lnTo>
                    <a:pt x="641" y="656"/>
                  </a:lnTo>
                  <a:lnTo>
                    <a:pt x="643" y="656"/>
                  </a:lnTo>
                  <a:lnTo>
                    <a:pt x="644" y="656"/>
                  </a:lnTo>
                  <a:lnTo>
                    <a:pt x="644" y="657"/>
                  </a:lnTo>
                  <a:lnTo>
                    <a:pt x="644" y="656"/>
                  </a:lnTo>
                  <a:lnTo>
                    <a:pt x="646" y="656"/>
                  </a:lnTo>
                  <a:lnTo>
                    <a:pt x="644" y="657"/>
                  </a:lnTo>
                  <a:lnTo>
                    <a:pt x="646" y="657"/>
                  </a:lnTo>
                  <a:lnTo>
                    <a:pt x="646" y="656"/>
                  </a:lnTo>
                  <a:lnTo>
                    <a:pt x="646" y="657"/>
                  </a:lnTo>
                  <a:lnTo>
                    <a:pt x="646" y="656"/>
                  </a:lnTo>
                  <a:lnTo>
                    <a:pt x="648" y="656"/>
                  </a:lnTo>
                  <a:lnTo>
                    <a:pt x="648" y="657"/>
                  </a:lnTo>
                  <a:lnTo>
                    <a:pt x="646" y="657"/>
                  </a:lnTo>
                  <a:lnTo>
                    <a:pt x="648" y="659"/>
                  </a:lnTo>
                  <a:lnTo>
                    <a:pt x="648" y="657"/>
                  </a:lnTo>
                  <a:lnTo>
                    <a:pt x="648" y="659"/>
                  </a:lnTo>
                  <a:lnTo>
                    <a:pt x="648" y="657"/>
                  </a:lnTo>
                  <a:lnTo>
                    <a:pt x="649" y="657"/>
                  </a:lnTo>
                  <a:lnTo>
                    <a:pt x="648" y="659"/>
                  </a:lnTo>
                  <a:lnTo>
                    <a:pt x="648" y="660"/>
                  </a:lnTo>
                  <a:lnTo>
                    <a:pt x="649" y="662"/>
                  </a:lnTo>
                  <a:lnTo>
                    <a:pt x="648" y="662"/>
                  </a:lnTo>
                  <a:lnTo>
                    <a:pt x="648" y="664"/>
                  </a:lnTo>
                  <a:lnTo>
                    <a:pt x="648" y="662"/>
                  </a:lnTo>
                  <a:lnTo>
                    <a:pt x="646" y="662"/>
                  </a:lnTo>
                  <a:lnTo>
                    <a:pt x="644" y="662"/>
                  </a:lnTo>
                  <a:lnTo>
                    <a:pt x="644" y="660"/>
                  </a:lnTo>
                  <a:lnTo>
                    <a:pt x="643" y="660"/>
                  </a:lnTo>
                  <a:lnTo>
                    <a:pt x="641" y="660"/>
                  </a:lnTo>
                  <a:lnTo>
                    <a:pt x="641" y="659"/>
                  </a:lnTo>
                  <a:lnTo>
                    <a:pt x="639" y="660"/>
                  </a:lnTo>
                  <a:lnTo>
                    <a:pt x="639" y="659"/>
                  </a:lnTo>
                  <a:lnTo>
                    <a:pt x="638" y="659"/>
                  </a:lnTo>
                  <a:lnTo>
                    <a:pt x="638" y="657"/>
                  </a:lnTo>
                  <a:lnTo>
                    <a:pt x="636" y="657"/>
                  </a:lnTo>
                  <a:lnTo>
                    <a:pt x="635" y="657"/>
                  </a:lnTo>
                  <a:lnTo>
                    <a:pt x="635" y="656"/>
                  </a:lnTo>
                  <a:lnTo>
                    <a:pt x="636" y="657"/>
                  </a:lnTo>
                  <a:lnTo>
                    <a:pt x="636" y="656"/>
                  </a:lnTo>
                  <a:lnTo>
                    <a:pt x="635" y="656"/>
                  </a:lnTo>
                  <a:lnTo>
                    <a:pt x="633" y="656"/>
                  </a:lnTo>
                  <a:lnTo>
                    <a:pt x="635" y="656"/>
                  </a:lnTo>
                  <a:lnTo>
                    <a:pt x="633" y="656"/>
                  </a:lnTo>
                  <a:lnTo>
                    <a:pt x="633" y="654"/>
                  </a:lnTo>
                  <a:lnTo>
                    <a:pt x="631" y="656"/>
                  </a:lnTo>
                  <a:lnTo>
                    <a:pt x="630" y="656"/>
                  </a:lnTo>
                  <a:lnTo>
                    <a:pt x="631" y="656"/>
                  </a:lnTo>
                  <a:lnTo>
                    <a:pt x="631" y="654"/>
                  </a:lnTo>
                  <a:lnTo>
                    <a:pt x="631" y="656"/>
                  </a:lnTo>
                  <a:lnTo>
                    <a:pt x="631" y="654"/>
                  </a:lnTo>
                  <a:lnTo>
                    <a:pt x="630" y="656"/>
                  </a:lnTo>
                  <a:lnTo>
                    <a:pt x="631" y="654"/>
                  </a:lnTo>
                  <a:lnTo>
                    <a:pt x="630" y="654"/>
                  </a:lnTo>
                  <a:lnTo>
                    <a:pt x="628" y="654"/>
                  </a:lnTo>
                  <a:lnTo>
                    <a:pt x="628" y="652"/>
                  </a:lnTo>
                  <a:lnTo>
                    <a:pt x="626" y="652"/>
                  </a:lnTo>
                  <a:lnTo>
                    <a:pt x="628" y="652"/>
                  </a:lnTo>
                  <a:lnTo>
                    <a:pt x="626" y="652"/>
                  </a:lnTo>
                  <a:lnTo>
                    <a:pt x="626" y="654"/>
                  </a:lnTo>
                  <a:lnTo>
                    <a:pt x="628" y="654"/>
                  </a:lnTo>
                  <a:lnTo>
                    <a:pt x="630" y="654"/>
                  </a:lnTo>
                  <a:lnTo>
                    <a:pt x="628" y="654"/>
                  </a:lnTo>
                  <a:lnTo>
                    <a:pt x="630" y="654"/>
                  </a:lnTo>
                  <a:lnTo>
                    <a:pt x="630" y="656"/>
                  </a:lnTo>
                  <a:lnTo>
                    <a:pt x="628" y="656"/>
                  </a:lnTo>
                  <a:lnTo>
                    <a:pt x="626" y="656"/>
                  </a:lnTo>
                  <a:lnTo>
                    <a:pt x="628" y="656"/>
                  </a:lnTo>
                  <a:lnTo>
                    <a:pt x="628" y="657"/>
                  </a:lnTo>
                  <a:lnTo>
                    <a:pt x="628" y="656"/>
                  </a:lnTo>
                  <a:lnTo>
                    <a:pt x="630" y="656"/>
                  </a:lnTo>
                  <a:lnTo>
                    <a:pt x="628" y="657"/>
                  </a:lnTo>
                  <a:lnTo>
                    <a:pt x="630" y="657"/>
                  </a:lnTo>
                  <a:lnTo>
                    <a:pt x="630" y="659"/>
                  </a:lnTo>
                  <a:lnTo>
                    <a:pt x="631" y="659"/>
                  </a:lnTo>
                  <a:lnTo>
                    <a:pt x="631" y="660"/>
                  </a:lnTo>
                  <a:lnTo>
                    <a:pt x="633" y="660"/>
                  </a:lnTo>
                  <a:lnTo>
                    <a:pt x="631" y="662"/>
                  </a:lnTo>
                  <a:lnTo>
                    <a:pt x="633" y="662"/>
                  </a:lnTo>
                  <a:lnTo>
                    <a:pt x="631" y="662"/>
                  </a:lnTo>
                  <a:lnTo>
                    <a:pt x="633" y="662"/>
                  </a:lnTo>
                  <a:lnTo>
                    <a:pt x="631" y="662"/>
                  </a:lnTo>
                  <a:lnTo>
                    <a:pt x="631" y="664"/>
                  </a:lnTo>
                  <a:lnTo>
                    <a:pt x="633" y="664"/>
                  </a:lnTo>
                  <a:lnTo>
                    <a:pt x="633" y="662"/>
                  </a:lnTo>
                  <a:lnTo>
                    <a:pt x="635" y="664"/>
                  </a:lnTo>
                  <a:lnTo>
                    <a:pt x="633" y="664"/>
                  </a:lnTo>
                  <a:lnTo>
                    <a:pt x="633" y="665"/>
                  </a:lnTo>
                  <a:lnTo>
                    <a:pt x="633" y="664"/>
                  </a:lnTo>
                  <a:lnTo>
                    <a:pt x="633" y="665"/>
                  </a:lnTo>
                  <a:lnTo>
                    <a:pt x="633" y="664"/>
                  </a:lnTo>
                  <a:lnTo>
                    <a:pt x="635" y="664"/>
                  </a:lnTo>
                  <a:lnTo>
                    <a:pt x="635" y="662"/>
                  </a:lnTo>
                  <a:lnTo>
                    <a:pt x="635" y="664"/>
                  </a:lnTo>
                  <a:lnTo>
                    <a:pt x="635" y="662"/>
                  </a:lnTo>
                  <a:lnTo>
                    <a:pt x="635" y="664"/>
                  </a:lnTo>
                  <a:lnTo>
                    <a:pt x="636" y="664"/>
                  </a:lnTo>
                  <a:lnTo>
                    <a:pt x="638" y="664"/>
                  </a:lnTo>
                  <a:lnTo>
                    <a:pt x="638" y="665"/>
                  </a:lnTo>
                  <a:lnTo>
                    <a:pt x="636" y="665"/>
                  </a:lnTo>
                  <a:lnTo>
                    <a:pt x="638" y="667"/>
                  </a:lnTo>
                  <a:lnTo>
                    <a:pt x="636" y="667"/>
                  </a:lnTo>
                  <a:lnTo>
                    <a:pt x="636" y="669"/>
                  </a:lnTo>
                  <a:lnTo>
                    <a:pt x="635" y="669"/>
                  </a:lnTo>
                  <a:lnTo>
                    <a:pt x="636" y="669"/>
                  </a:lnTo>
                  <a:lnTo>
                    <a:pt x="635" y="669"/>
                  </a:lnTo>
                  <a:lnTo>
                    <a:pt x="636" y="669"/>
                  </a:lnTo>
                  <a:lnTo>
                    <a:pt x="636" y="670"/>
                  </a:lnTo>
                  <a:lnTo>
                    <a:pt x="638" y="670"/>
                  </a:lnTo>
                  <a:lnTo>
                    <a:pt x="636" y="670"/>
                  </a:lnTo>
                  <a:lnTo>
                    <a:pt x="638" y="669"/>
                  </a:lnTo>
                  <a:lnTo>
                    <a:pt x="638" y="670"/>
                  </a:lnTo>
                  <a:lnTo>
                    <a:pt x="638" y="669"/>
                  </a:lnTo>
                  <a:lnTo>
                    <a:pt x="638" y="670"/>
                  </a:lnTo>
                  <a:lnTo>
                    <a:pt x="639" y="670"/>
                  </a:lnTo>
                  <a:lnTo>
                    <a:pt x="638" y="670"/>
                  </a:lnTo>
                  <a:lnTo>
                    <a:pt x="639" y="670"/>
                  </a:lnTo>
                  <a:lnTo>
                    <a:pt x="639" y="672"/>
                  </a:lnTo>
                  <a:lnTo>
                    <a:pt x="638" y="670"/>
                  </a:lnTo>
                  <a:lnTo>
                    <a:pt x="638" y="672"/>
                  </a:lnTo>
                  <a:lnTo>
                    <a:pt x="639" y="672"/>
                  </a:lnTo>
                  <a:lnTo>
                    <a:pt x="639" y="673"/>
                  </a:lnTo>
                  <a:lnTo>
                    <a:pt x="641" y="673"/>
                  </a:lnTo>
                  <a:lnTo>
                    <a:pt x="641" y="675"/>
                  </a:lnTo>
                  <a:lnTo>
                    <a:pt x="641" y="677"/>
                  </a:lnTo>
                  <a:lnTo>
                    <a:pt x="643" y="677"/>
                  </a:lnTo>
                  <a:lnTo>
                    <a:pt x="644" y="677"/>
                  </a:lnTo>
                  <a:lnTo>
                    <a:pt x="644" y="678"/>
                  </a:lnTo>
                  <a:lnTo>
                    <a:pt x="646" y="678"/>
                  </a:lnTo>
                  <a:lnTo>
                    <a:pt x="644" y="678"/>
                  </a:lnTo>
                  <a:lnTo>
                    <a:pt x="644" y="680"/>
                  </a:lnTo>
                  <a:lnTo>
                    <a:pt x="643" y="678"/>
                  </a:lnTo>
                  <a:lnTo>
                    <a:pt x="643" y="680"/>
                  </a:lnTo>
                  <a:lnTo>
                    <a:pt x="643" y="678"/>
                  </a:lnTo>
                  <a:lnTo>
                    <a:pt x="643" y="680"/>
                  </a:lnTo>
                  <a:lnTo>
                    <a:pt x="643" y="682"/>
                  </a:lnTo>
                  <a:lnTo>
                    <a:pt x="643" y="683"/>
                  </a:lnTo>
                  <a:lnTo>
                    <a:pt x="644" y="683"/>
                  </a:lnTo>
                  <a:lnTo>
                    <a:pt x="643" y="683"/>
                  </a:lnTo>
                  <a:lnTo>
                    <a:pt x="644" y="683"/>
                  </a:lnTo>
                  <a:lnTo>
                    <a:pt x="644" y="685"/>
                  </a:lnTo>
                  <a:lnTo>
                    <a:pt x="644" y="686"/>
                  </a:lnTo>
                  <a:lnTo>
                    <a:pt x="646" y="686"/>
                  </a:lnTo>
                  <a:lnTo>
                    <a:pt x="644" y="688"/>
                  </a:lnTo>
                  <a:lnTo>
                    <a:pt x="646" y="690"/>
                  </a:lnTo>
                  <a:lnTo>
                    <a:pt x="646" y="688"/>
                  </a:lnTo>
                  <a:lnTo>
                    <a:pt x="646" y="690"/>
                  </a:lnTo>
                  <a:lnTo>
                    <a:pt x="644" y="690"/>
                  </a:lnTo>
                  <a:lnTo>
                    <a:pt x="646" y="690"/>
                  </a:lnTo>
                  <a:lnTo>
                    <a:pt x="644" y="690"/>
                  </a:lnTo>
                  <a:lnTo>
                    <a:pt x="643" y="691"/>
                  </a:lnTo>
                  <a:lnTo>
                    <a:pt x="643" y="693"/>
                  </a:lnTo>
                  <a:lnTo>
                    <a:pt x="643" y="695"/>
                  </a:lnTo>
                  <a:lnTo>
                    <a:pt x="641" y="695"/>
                  </a:lnTo>
                  <a:lnTo>
                    <a:pt x="643" y="695"/>
                  </a:lnTo>
                  <a:lnTo>
                    <a:pt x="641" y="695"/>
                  </a:lnTo>
                  <a:lnTo>
                    <a:pt x="643" y="695"/>
                  </a:lnTo>
                  <a:lnTo>
                    <a:pt x="643" y="696"/>
                  </a:lnTo>
                  <a:lnTo>
                    <a:pt x="643" y="695"/>
                  </a:lnTo>
                  <a:lnTo>
                    <a:pt x="643" y="696"/>
                  </a:lnTo>
                  <a:lnTo>
                    <a:pt x="644" y="696"/>
                  </a:lnTo>
                  <a:lnTo>
                    <a:pt x="643" y="696"/>
                  </a:lnTo>
                  <a:lnTo>
                    <a:pt x="644" y="696"/>
                  </a:lnTo>
                  <a:lnTo>
                    <a:pt x="643" y="696"/>
                  </a:lnTo>
                  <a:lnTo>
                    <a:pt x="644" y="696"/>
                  </a:lnTo>
                  <a:lnTo>
                    <a:pt x="644" y="698"/>
                  </a:lnTo>
                  <a:lnTo>
                    <a:pt x="646" y="696"/>
                  </a:lnTo>
                  <a:lnTo>
                    <a:pt x="644" y="698"/>
                  </a:lnTo>
                  <a:lnTo>
                    <a:pt x="646" y="698"/>
                  </a:lnTo>
                  <a:lnTo>
                    <a:pt x="646" y="699"/>
                  </a:lnTo>
                  <a:lnTo>
                    <a:pt x="648" y="699"/>
                  </a:lnTo>
                  <a:lnTo>
                    <a:pt x="648" y="701"/>
                  </a:lnTo>
                  <a:lnTo>
                    <a:pt x="646" y="699"/>
                  </a:lnTo>
                  <a:lnTo>
                    <a:pt x="646" y="701"/>
                  </a:lnTo>
                  <a:lnTo>
                    <a:pt x="646" y="703"/>
                  </a:lnTo>
                  <a:lnTo>
                    <a:pt x="646" y="701"/>
                  </a:lnTo>
                  <a:lnTo>
                    <a:pt x="646" y="703"/>
                  </a:lnTo>
                  <a:lnTo>
                    <a:pt x="644" y="703"/>
                  </a:lnTo>
                  <a:lnTo>
                    <a:pt x="643" y="703"/>
                  </a:lnTo>
                  <a:lnTo>
                    <a:pt x="643" y="704"/>
                  </a:lnTo>
                  <a:lnTo>
                    <a:pt x="641" y="704"/>
                  </a:lnTo>
                  <a:lnTo>
                    <a:pt x="643" y="703"/>
                  </a:lnTo>
                  <a:lnTo>
                    <a:pt x="641" y="703"/>
                  </a:lnTo>
                  <a:lnTo>
                    <a:pt x="639" y="703"/>
                  </a:lnTo>
                  <a:lnTo>
                    <a:pt x="638" y="704"/>
                  </a:lnTo>
                  <a:lnTo>
                    <a:pt x="636" y="704"/>
                  </a:lnTo>
                  <a:lnTo>
                    <a:pt x="636" y="706"/>
                  </a:lnTo>
                  <a:lnTo>
                    <a:pt x="635" y="706"/>
                  </a:lnTo>
                  <a:lnTo>
                    <a:pt x="636" y="706"/>
                  </a:lnTo>
                  <a:lnTo>
                    <a:pt x="638" y="706"/>
                  </a:lnTo>
                  <a:lnTo>
                    <a:pt x="638" y="708"/>
                  </a:lnTo>
                  <a:lnTo>
                    <a:pt x="639" y="708"/>
                  </a:lnTo>
                  <a:lnTo>
                    <a:pt x="639" y="709"/>
                  </a:lnTo>
                  <a:lnTo>
                    <a:pt x="638" y="709"/>
                  </a:lnTo>
                  <a:lnTo>
                    <a:pt x="638" y="708"/>
                  </a:lnTo>
                  <a:lnTo>
                    <a:pt x="639" y="708"/>
                  </a:lnTo>
                  <a:lnTo>
                    <a:pt x="638" y="708"/>
                  </a:lnTo>
                  <a:lnTo>
                    <a:pt x="638" y="709"/>
                  </a:lnTo>
                  <a:lnTo>
                    <a:pt x="638" y="708"/>
                  </a:lnTo>
                  <a:lnTo>
                    <a:pt x="636" y="708"/>
                  </a:lnTo>
                  <a:lnTo>
                    <a:pt x="638" y="709"/>
                  </a:lnTo>
                  <a:lnTo>
                    <a:pt x="639" y="709"/>
                  </a:lnTo>
                  <a:lnTo>
                    <a:pt x="639" y="711"/>
                  </a:lnTo>
                  <a:lnTo>
                    <a:pt x="639" y="709"/>
                  </a:lnTo>
                  <a:lnTo>
                    <a:pt x="638" y="709"/>
                  </a:lnTo>
                  <a:lnTo>
                    <a:pt x="638" y="711"/>
                  </a:lnTo>
                  <a:lnTo>
                    <a:pt x="638" y="709"/>
                  </a:lnTo>
                  <a:lnTo>
                    <a:pt x="636" y="709"/>
                  </a:lnTo>
                  <a:lnTo>
                    <a:pt x="635" y="709"/>
                  </a:lnTo>
                  <a:lnTo>
                    <a:pt x="636" y="709"/>
                  </a:lnTo>
                  <a:lnTo>
                    <a:pt x="636" y="711"/>
                  </a:lnTo>
                  <a:lnTo>
                    <a:pt x="635" y="711"/>
                  </a:lnTo>
                  <a:lnTo>
                    <a:pt x="635" y="709"/>
                  </a:lnTo>
                  <a:lnTo>
                    <a:pt x="635" y="711"/>
                  </a:lnTo>
                  <a:lnTo>
                    <a:pt x="633" y="711"/>
                  </a:lnTo>
                  <a:lnTo>
                    <a:pt x="635" y="711"/>
                  </a:lnTo>
                  <a:lnTo>
                    <a:pt x="633" y="711"/>
                  </a:lnTo>
                  <a:lnTo>
                    <a:pt x="631" y="711"/>
                  </a:lnTo>
                  <a:lnTo>
                    <a:pt x="630" y="711"/>
                  </a:lnTo>
                  <a:lnTo>
                    <a:pt x="631" y="711"/>
                  </a:lnTo>
                  <a:lnTo>
                    <a:pt x="631" y="713"/>
                  </a:lnTo>
                  <a:lnTo>
                    <a:pt x="633" y="713"/>
                  </a:lnTo>
                  <a:lnTo>
                    <a:pt x="635" y="713"/>
                  </a:lnTo>
                  <a:lnTo>
                    <a:pt x="633" y="713"/>
                  </a:lnTo>
                  <a:lnTo>
                    <a:pt x="635" y="713"/>
                  </a:lnTo>
                  <a:lnTo>
                    <a:pt x="636" y="713"/>
                  </a:lnTo>
                  <a:lnTo>
                    <a:pt x="636" y="714"/>
                  </a:lnTo>
                  <a:lnTo>
                    <a:pt x="638" y="714"/>
                  </a:lnTo>
                  <a:lnTo>
                    <a:pt x="636" y="714"/>
                  </a:lnTo>
                  <a:lnTo>
                    <a:pt x="635" y="716"/>
                  </a:lnTo>
                  <a:lnTo>
                    <a:pt x="635" y="714"/>
                  </a:lnTo>
                  <a:lnTo>
                    <a:pt x="633" y="714"/>
                  </a:lnTo>
                  <a:lnTo>
                    <a:pt x="631" y="714"/>
                  </a:lnTo>
                  <a:lnTo>
                    <a:pt x="630" y="714"/>
                  </a:lnTo>
                  <a:lnTo>
                    <a:pt x="630" y="716"/>
                  </a:lnTo>
                  <a:lnTo>
                    <a:pt x="628" y="716"/>
                  </a:lnTo>
                  <a:lnTo>
                    <a:pt x="630" y="716"/>
                  </a:lnTo>
                  <a:lnTo>
                    <a:pt x="628" y="717"/>
                  </a:lnTo>
                  <a:lnTo>
                    <a:pt x="626" y="717"/>
                  </a:lnTo>
                  <a:lnTo>
                    <a:pt x="625" y="717"/>
                  </a:lnTo>
                  <a:lnTo>
                    <a:pt x="626" y="717"/>
                  </a:lnTo>
                  <a:lnTo>
                    <a:pt x="628" y="717"/>
                  </a:lnTo>
                  <a:lnTo>
                    <a:pt x="628" y="719"/>
                  </a:lnTo>
                  <a:lnTo>
                    <a:pt x="628" y="717"/>
                  </a:lnTo>
                  <a:lnTo>
                    <a:pt x="630" y="717"/>
                  </a:lnTo>
                  <a:lnTo>
                    <a:pt x="631" y="717"/>
                  </a:lnTo>
                  <a:lnTo>
                    <a:pt x="633" y="717"/>
                  </a:lnTo>
                  <a:lnTo>
                    <a:pt x="633" y="716"/>
                  </a:lnTo>
                  <a:lnTo>
                    <a:pt x="635" y="716"/>
                  </a:lnTo>
                  <a:lnTo>
                    <a:pt x="633" y="717"/>
                  </a:lnTo>
                  <a:lnTo>
                    <a:pt x="635" y="717"/>
                  </a:lnTo>
                  <a:lnTo>
                    <a:pt x="636" y="717"/>
                  </a:lnTo>
                  <a:lnTo>
                    <a:pt x="638" y="717"/>
                  </a:lnTo>
                  <a:lnTo>
                    <a:pt x="639" y="717"/>
                  </a:lnTo>
                  <a:lnTo>
                    <a:pt x="641" y="717"/>
                  </a:lnTo>
                  <a:lnTo>
                    <a:pt x="639" y="717"/>
                  </a:lnTo>
                  <a:lnTo>
                    <a:pt x="641" y="717"/>
                  </a:lnTo>
                  <a:lnTo>
                    <a:pt x="641" y="719"/>
                  </a:lnTo>
                  <a:lnTo>
                    <a:pt x="641" y="717"/>
                  </a:lnTo>
                  <a:lnTo>
                    <a:pt x="643" y="717"/>
                  </a:lnTo>
                  <a:lnTo>
                    <a:pt x="643" y="719"/>
                  </a:lnTo>
                  <a:lnTo>
                    <a:pt x="643" y="717"/>
                  </a:lnTo>
                  <a:lnTo>
                    <a:pt x="644" y="717"/>
                  </a:lnTo>
                  <a:lnTo>
                    <a:pt x="644" y="719"/>
                  </a:lnTo>
                  <a:lnTo>
                    <a:pt x="643" y="719"/>
                  </a:lnTo>
                  <a:lnTo>
                    <a:pt x="641" y="719"/>
                  </a:lnTo>
                  <a:lnTo>
                    <a:pt x="643" y="719"/>
                  </a:lnTo>
                  <a:lnTo>
                    <a:pt x="643" y="721"/>
                  </a:lnTo>
                  <a:lnTo>
                    <a:pt x="641" y="721"/>
                  </a:lnTo>
                  <a:lnTo>
                    <a:pt x="639" y="721"/>
                  </a:lnTo>
                  <a:lnTo>
                    <a:pt x="641" y="721"/>
                  </a:lnTo>
                  <a:lnTo>
                    <a:pt x="643" y="721"/>
                  </a:lnTo>
                  <a:lnTo>
                    <a:pt x="643" y="722"/>
                  </a:lnTo>
                  <a:lnTo>
                    <a:pt x="641" y="722"/>
                  </a:lnTo>
                  <a:lnTo>
                    <a:pt x="643" y="722"/>
                  </a:lnTo>
                  <a:lnTo>
                    <a:pt x="643" y="724"/>
                  </a:lnTo>
                  <a:lnTo>
                    <a:pt x="643" y="726"/>
                  </a:lnTo>
                  <a:lnTo>
                    <a:pt x="644" y="726"/>
                  </a:lnTo>
                  <a:lnTo>
                    <a:pt x="644" y="727"/>
                  </a:lnTo>
                  <a:lnTo>
                    <a:pt x="643" y="727"/>
                  </a:lnTo>
                  <a:lnTo>
                    <a:pt x="644" y="727"/>
                  </a:lnTo>
                  <a:lnTo>
                    <a:pt x="644" y="729"/>
                  </a:lnTo>
                  <a:lnTo>
                    <a:pt x="646" y="729"/>
                  </a:lnTo>
                  <a:lnTo>
                    <a:pt x="646" y="727"/>
                  </a:lnTo>
                  <a:lnTo>
                    <a:pt x="648" y="729"/>
                  </a:lnTo>
                  <a:lnTo>
                    <a:pt x="646" y="729"/>
                  </a:lnTo>
                  <a:lnTo>
                    <a:pt x="648" y="729"/>
                  </a:lnTo>
                  <a:lnTo>
                    <a:pt x="648" y="730"/>
                  </a:lnTo>
                  <a:lnTo>
                    <a:pt x="648" y="729"/>
                  </a:lnTo>
                  <a:lnTo>
                    <a:pt x="648" y="727"/>
                  </a:lnTo>
                  <a:lnTo>
                    <a:pt x="649" y="727"/>
                  </a:lnTo>
                  <a:lnTo>
                    <a:pt x="648" y="729"/>
                  </a:lnTo>
                  <a:lnTo>
                    <a:pt x="649" y="729"/>
                  </a:lnTo>
                  <a:lnTo>
                    <a:pt x="649" y="730"/>
                  </a:lnTo>
                  <a:lnTo>
                    <a:pt x="649" y="732"/>
                  </a:lnTo>
                  <a:lnTo>
                    <a:pt x="651" y="732"/>
                  </a:lnTo>
                  <a:lnTo>
                    <a:pt x="649" y="732"/>
                  </a:lnTo>
                  <a:lnTo>
                    <a:pt x="651" y="732"/>
                  </a:lnTo>
                  <a:lnTo>
                    <a:pt x="652" y="730"/>
                  </a:lnTo>
                  <a:lnTo>
                    <a:pt x="654" y="730"/>
                  </a:lnTo>
                  <a:lnTo>
                    <a:pt x="656" y="730"/>
                  </a:lnTo>
                  <a:lnTo>
                    <a:pt x="654" y="732"/>
                  </a:lnTo>
                  <a:lnTo>
                    <a:pt x="654" y="730"/>
                  </a:lnTo>
                  <a:lnTo>
                    <a:pt x="654" y="732"/>
                  </a:lnTo>
                  <a:lnTo>
                    <a:pt x="656" y="732"/>
                  </a:lnTo>
                  <a:lnTo>
                    <a:pt x="659" y="734"/>
                  </a:lnTo>
                  <a:lnTo>
                    <a:pt x="657" y="734"/>
                  </a:lnTo>
                  <a:lnTo>
                    <a:pt x="656" y="734"/>
                  </a:lnTo>
                  <a:lnTo>
                    <a:pt x="656" y="735"/>
                  </a:lnTo>
                  <a:lnTo>
                    <a:pt x="657" y="734"/>
                  </a:lnTo>
                  <a:lnTo>
                    <a:pt x="659" y="734"/>
                  </a:lnTo>
                  <a:lnTo>
                    <a:pt x="661" y="734"/>
                  </a:lnTo>
                  <a:lnTo>
                    <a:pt x="661" y="732"/>
                  </a:lnTo>
                  <a:lnTo>
                    <a:pt x="662" y="732"/>
                  </a:lnTo>
                  <a:lnTo>
                    <a:pt x="662" y="734"/>
                  </a:lnTo>
                  <a:lnTo>
                    <a:pt x="662" y="735"/>
                  </a:lnTo>
                  <a:lnTo>
                    <a:pt x="661" y="735"/>
                  </a:lnTo>
                  <a:lnTo>
                    <a:pt x="661" y="734"/>
                  </a:lnTo>
                  <a:lnTo>
                    <a:pt x="659" y="734"/>
                  </a:lnTo>
                  <a:lnTo>
                    <a:pt x="661" y="735"/>
                  </a:lnTo>
                  <a:lnTo>
                    <a:pt x="661" y="737"/>
                  </a:lnTo>
                  <a:lnTo>
                    <a:pt x="662" y="737"/>
                  </a:lnTo>
                  <a:lnTo>
                    <a:pt x="662" y="739"/>
                  </a:lnTo>
                  <a:lnTo>
                    <a:pt x="662" y="737"/>
                  </a:lnTo>
                  <a:lnTo>
                    <a:pt x="664" y="737"/>
                  </a:lnTo>
                  <a:lnTo>
                    <a:pt x="662" y="737"/>
                  </a:lnTo>
                  <a:lnTo>
                    <a:pt x="662" y="739"/>
                  </a:lnTo>
                  <a:lnTo>
                    <a:pt x="661" y="739"/>
                  </a:lnTo>
                  <a:lnTo>
                    <a:pt x="661" y="740"/>
                  </a:lnTo>
                  <a:lnTo>
                    <a:pt x="661" y="739"/>
                  </a:lnTo>
                  <a:lnTo>
                    <a:pt x="661" y="740"/>
                  </a:lnTo>
                  <a:lnTo>
                    <a:pt x="659" y="740"/>
                  </a:lnTo>
                  <a:lnTo>
                    <a:pt x="657" y="739"/>
                  </a:lnTo>
                  <a:lnTo>
                    <a:pt x="656" y="739"/>
                  </a:lnTo>
                  <a:lnTo>
                    <a:pt x="654" y="739"/>
                  </a:lnTo>
                  <a:lnTo>
                    <a:pt x="654" y="740"/>
                  </a:lnTo>
                  <a:lnTo>
                    <a:pt x="656" y="739"/>
                  </a:lnTo>
                  <a:lnTo>
                    <a:pt x="657" y="739"/>
                  </a:lnTo>
                  <a:lnTo>
                    <a:pt x="657" y="740"/>
                  </a:lnTo>
                  <a:lnTo>
                    <a:pt x="659" y="740"/>
                  </a:lnTo>
                  <a:lnTo>
                    <a:pt x="657" y="740"/>
                  </a:lnTo>
                  <a:lnTo>
                    <a:pt x="659" y="740"/>
                  </a:lnTo>
                  <a:lnTo>
                    <a:pt x="661" y="740"/>
                  </a:lnTo>
                  <a:lnTo>
                    <a:pt x="661" y="742"/>
                  </a:lnTo>
                  <a:lnTo>
                    <a:pt x="661" y="740"/>
                  </a:lnTo>
                  <a:lnTo>
                    <a:pt x="662" y="742"/>
                  </a:lnTo>
                  <a:lnTo>
                    <a:pt x="661" y="742"/>
                  </a:lnTo>
                  <a:lnTo>
                    <a:pt x="662" y="742"/>
                  </a:lnTo>
                  <a:lnTo>
                    <a:pt x="662" y="743"/>
                  </a:lnTo>
                  <a:lnTo>
                    <a:pt x="664" y="742"/>
                  </a:lnTo>
                  <a:lnTo>
                    <a:pt x="664" y="743"/>
                  </a:lnTo>
                  <a:lnTo>
                    <a:pt x="664" y="745"/>
                  </a:lnTo>
                  <a:lnTo>
                    <a:pt x="665" y="745"/>
                  </a:lnTo>
                  <a:lnTo>
                    <a:pt x="664" y="745"/>
                  </a:lnTo>
                  <a:lnTo>
                    <a:pt x="665" y="747"/>
                  </a:lnTo>
                  <a:lnTo>
                    <a:pt x="665" y="745"/>
                  </a:lnTo>
                  <a:lnTo>
                    <a:pt x="667" y="747"/>
                  </a:lnTo>
                  <a:lnTo>
                    <a:pt x="665" y="747"/>
                  </a:lnTo>
                  <a:lnTo>
                    <a:pt x="667" y="747"/>
                  </a:lnTo>
                  <a:lnTo>
                    <a:pt x="667" y="748"/>
                  </a:lnTo>
                  <a:lnTo>
                    <a:pt x="667" y="747"/>
                  </a:lnTo>
                  <a:lnTo>
                    <a:pt x="669" y="747"/>
                  </a:lnTo>
                  <a:lnTo>
                    <a:pt x="670" y="747"/>
                  </a:lnTo>
                  <a:lnTo>
                    <a:pt x="672" y="747"/>
                  </a:lnTo>
                  <a:lnTo>
                    <a:pt x="672" y="745"/>
                  </a:lnTo>
                  <a:lnTo>
                    <a:pt x="672" y="747"/>
                  </a:lnTo>
                  <a:lnTo>
                    <a:pt x="674" y="747"/>
                  </a:lnTo>
                  <a:lnTo>
                    <a:pt x="674" y="748"/>
                  </a:lnTo>
                  <a:lnTo>
                    <a:pt x="672" y="748"/>
                  </a:lnTo>
                  <a:lnTo>
                    <a:pt x="674" y="748"/>
                  </a:lnTo>
                  <a:lnTo>
                    <a:pt x="674" y="750"/>
                  </a:lnTo>
                  <a:lnTo>
                    <a:pt x="674" y="752"/>
                  </a:lnTo>
                  <a:lnTo>
                    <a:pt x="672" y="752"/>
                  </a:lnTo>
                  <a:lnTo>
                    <a:pt x="674" y="752"/>
                  </a:lnTo>
                  <a:lnTo>
                    <a:pt x="675" y="752"/>
                  </a:lnTo>
                  <a:lnTo>
                    <a:pt x="675" y="753"/>
                  </a:lnTo>
                  <a:lnTo>
                    <a:pt x="675" y="755"/>
                  </a:lnTo>
                  <a:lnTo>
                    <a:pt x="675" y="753"/>
                  </a:lnTo>
                  <a:lnTo>
                    <a:pt x="677" y="753"/>
                  </a:lnTo>
                  <a:lnTo>
                    <a:pt x="675" y="755"/>
                  </a:lnTo>
                  <a:lnTo>
                    <a:pt x="677" y="755"/>
                  </a:lnTo>
                  <a:lnTo>
                    <a:pt x="675" y="755"/>
                  </a:lnTo>
                  <a:lnTo>
                    <a:pt x="677" y="755"/>
                  </a:lnTo>
                  <a:lnTo>
                    <a:pt x="675" y="756"/>
                  </a:lnTo>
                  <a:lnTo>
                    <a:pt x="677" y="756"/>
                  </a:lnTo>
                  <a:lnTo>
                    <a:pt x="675" y="756"/>
                  </a:lnTo>
                  <a:lnTo>
                    <a:pt x="677" y="758"/>
                  </a:lnTo>
                  <a:lnTo>
                    <a:pt x="677" y="756"/>
                  </a:lnTo>
                  <a:lnTo>
                    <a:pt x="677" y="755"/>
                  </a:lnTo>
                  <a:lnTo>
                    <a:pt x="677" y="753"/>
                  </a:lnTo>
                  <a:lnTo>
                    <a:pt x="678" y="753"/>
                  </a:lnTo>
                  <a:lnTo>
                    <a:pt x="677" y="755"/>
                  </a:lnTo>
                  <a:lnTo>
                    <a:pt x="677" y="756"/>
                  </a:lnTo>
                  <a:lnTo>
                    <a:pt x="677" y="758"/>
                  </a:lnTo>
                  <a:lnTo>
                    <a:pt x="677" y="760"/>
                  </a:lnTo>
                  <a:lnTo>
                    <a:pt x="677" y="758"/>
                  </a:lnTo>
                  <a:lnTo>
                    <a:pt x="675" y="760"/>
                  </a:lnTo>
                  <a:lnTo>
                    <a:pt x="677" y="760"/>
                  </a:lnTo>
                  <a:lnTo>
                    <a:pt x="675" y="760"/>
                  </a:lnTo>
                  <a:lnTo>
                    <a:pt x="675" y="761"/>
                  </a:lnTo>
                  <a:lnTo>
                    <a:pt x="675" y="763"/>
                  </a:lnTo>
                  <a:lnTo>
                    <a:pt x="674" y="761"/>
                  </a:lnTo>
                  <a:lnTo>
                    <a:pt x="674" y="763"/>
                  </a:lnTo>
                  <a:lnTo>
                    <a:pt x="672" y="763"/>
                  </a:lnTo>
                  <a:lnTo>
                    <a:pt x="672" y="765"/>
                  </a:lnTo>
                  <a:lnTo>
                    <a:pt x="670" y="765"/>
                  </a:lnTo>
                  <a:lnTo>
                    <a:pt x="670" y="766"/>
                  </a:lnTo>
                  <a:lnTo>
                    <a:pt x="669" y="766"/>
                  </a:lnTo>
                  <a:lnTo>
                    <a:pt x="670" y="766"/>
                  </a:lnTo>
                  <a:lnTo>
                    <a:pt x="669" y="768"/>
                  </a:lnTo>
                  <a:lnTo>
                    <a:pt x="667" y="768"/>
                  </a:lnTo>
                  <a:lnTo>
                    <a:pt x="669" y="768"/>
                  </a:lnTo>
                  <a:lnTo>
                    <a:pt x="667" y="768"/>
                  </a:lnTo>
                  <a:lnTo>
                    <a:pt x="665" y="769"/>
                  </a:lnTo>
                  <a:lnTo>
                    <a:pt x="665" y="771"/>
                  </a:lnTo>
                  <a:lnTo>
                    <a:pt x="664" y="771"/>
                  </a:lnTo>
                  <a:lnTo>
                    <a:pt x="662" y="773"/>
                  </a:lnTo>
                  <a:lnTo>
                    <a:pt x="661" y="774"/>
                  </a:lnTo>
                  <a:lnTo>
                    <a:pt x="659" y="774"/>
                  </a:lnTo>
                  <a:lnTo>
                    <a:pt x="657" y="776"/>
                  </a:lnTo>
                  <a:lnTo>
                    <a:pt x="656" y="778"/>
                  </a:lnTo>
                  <a:lnTo>
                    <a:pt x="654" y="778"/>
                  </a:lnTo>
                  <a:lnTo>
                    <a:pt x="652" y="778"/>
                  </a:lnTo>
                  <a:lnTo>
                    <a:pt x="654" y="778"/>
                  </a:lnTo>
                  <a:lnTo>
                    <a:pt x="652" y="779"/>
                  </a:lnTo>
                  <a:lnTo>
                    <a:pt x="651" y="779"/>
                  </a:lnTo>
                  <a:lnTo>
                    <a:pt x="649" y="779"/>
                  </a:lnTo>
                  <a:lnTo>
                    <a:pt x="649" y="781"/>
                  </a:lnTo>
                  <a:lnTo>
                    <a:pt x="648" y="781"/>
                  </a:lnTo>
                  <a:lnTo>
                    <a:pt x="646" y="781"/>
                  </a:lnTo>
                  <a:lnTo>
                    <a:pt x="646" y="779"/>
                  </a:lnTo>
                  <a:lnTo>
                    <a:pt x="643" y="779"/>
                  </a:lnTo>
                  <a:lnTo>
                    <a:pt x="641" y="779"/>
                  </a:lnTo>
                  <a:lnTo>
                    <a:pt x="641" y="778"/>
                  </a:lnTo>
                  <a:lnTo>
                    <a:pt x="641" y="779"/>
                  </a:lnTo>
                  <a:lnTo>
                    <a:pt x="641" y="778"/>
                  </a:lnTo>
                  <a:lnTo>
                    <a:pt x="639" y="778"/>
                  </a:lnTo>
                  <a:lnTo>
                    <a:pt x="639" y="776"/>
                  </a:lnTo>
                  <a:lnTo>
                    <a:pt x="638" y="776"/>
                  </a:lnTo>
                  <a:lnTo>
                    <a:pt x="636" y="776"/>
                  </a:lnTo>
                  <a:lnTo>
                    <a:pt x="635" y="776"/>
                  </a:lnTo>
                  <a:lnTo>
                    <a:pt x="633" y="776"/>
                  </a:lnTo>
                  <a:lnTo>
                    <a:pt x="631" y="776"/>
                  </a:lnTo>
                  <a:lnTo>
                    <a:pt x="630" y="776"/>
                  </a:lnTo>
                  <a:lnTo>
                    <a:pt x="630" y="778"/>
                  </a:lnTo>
                  <a:lnTo>
                    <a:pt x="623" y="776"/>
                  </a:lnTo>
                  <a:lnTo>
                    <a:pt x="622" y="776"/>
                  </a:lnTo>
                  <a:lnTo>
                    <a:pt x="618" y="778"/>
                  </a:lnTo>
                  <a:lnTo>
                    <a:pt x="617" y="778"/>
                  </a:lnTo>
                  <a:lnTo>
                    <a:pt x="615" y="778"/>
                  </a:lnTo>
                  <a:lnTo>
                    <a:pt x="613" y="778"/>
                  </a:lnTo>
                  <a:lnTo>
                    <a:pt x="613" y="776"/>
                  </a:lnTo>
                  <a:lnTo>
                    <a:pt x="612" y="776"/>
                  </a:lnTo>
                  <a:lnTo>
                    <a:pt x="612" y="774"/>
                  </a:lnTo>
                  <a:lnTo>
                    <a:pt x="612" y="776"/>
                  </a:lnTo>
                  <a:lnTo>
                    <a:pt x="613" y="778"/>
                  </a:lnTo>
                  <a:lnTo>
                    <a:pt x="615" y="778"/>
                  </a:lnTo>
                  <a:lnTo>
                    <a:pt x="617" y="778"/>
                  </a:lnTo>
                  <a:lnTo>
                    <a:pt x="618" y="778"/>
                  </a:lnTo>
                  <a:lnTo>
                    <a:pt x="620" y="778"/>
                  </a:lnTo>
                  <a:lnTo>
                    <a:pt x="623" y="776"/>
                  </a:lnTo>
                  <a:lnTo>
                    <a:pt x="628" y="778"/>
                  </a:lnTo>
                  <a:lnTo>
                    <a:pt x="630" y="778"/>
                  </a:lnTo>
                  <a:lnTo>
                    <a:pt x="628" y="778"/>
                  </a:lnTo>
                  <a:lnTo>
                    <a:pt x="630" y="778"/>
                  </a:lnTo>
                  <a:lnTo>
                    <a:pt x="631" y="778"/>
                  </a:lnTo>
                  <a:lnTo>
                    <a:pt x="633" y="776"/>
                  </a:lnTo>
                  <a:lnTo>
                    <a:pt x="635" y="778"/>
                  </a:lnTo>
                  <a:lnTo>
                    <a:pt x="635" y="776"/>
                  </a:lnTo>
                  <a:lnTo>
                    <a:pt x="635" y="778"/>
                  </a:lnTo>
                  <a:lnTo>
                    <a:pt x="636" y="776"/>
                  </a:lnTo>
                  <a:lnTo>
                    <a:pt x="638" y="778"/>
                  </a:lnTo>
                  <a:lnTo>
                    <a:pt x="639" y="778"/>
                  </a:lnTo>
                  <a:lnTo>
                    <a:pt x="641" y="779"/>
                  </a:lnTo>
                  <a:lnTo>
                    <a:pt x="643" y="781"/>
                  </a:lnTo>
                  <a:lnTo>
                    <a:pt x="643" y="779"/>
                  </a:lnTo>
                  <a:lnTo>
                    <a:pt x="644" y="779"/>
                  </a:lnTo>
                  <a:lnTo>
                    <a:pt x="648" y="781"/>
                  </a:lnTo>
                  <a:lnTo>
                    <a:pt x="646" y="782"/>
                  </a:lnTo>
                  <a:lnTo>
                    <a:pt x="648" y="781"/>
                  </a:lnTo>
                  <a:lnTo>
                    <a:pt x="649" y="781"/>
                  </a:lnTo>
                  <a:lnTo>
                    <a:pt x="649" y="779"/>
                  </a:lnTo>
                  <a:lnTo>
                    <a:pt x="651" y="779"/>
                  </a:lnTo>
                  <a:lnTo>
                    <a:pt x="652" y="779"/>
                  </a:lnTo>
                  <a:lnTo>
                    <a:pt x="654" y="779"/>
                  </a:lnTo>
                  <a:lnTo>
                    <a:pt x="654" y="778"/>
                  </a:lnTo>
                  <a:lnTo>
                    <a:pt x="656" y="778"/>
                  </a:lnTo>
                  <a:lnTo>
                    <a:pt x="657" y="776"/>
                  </a:lnTo>
                  <a:lnTo>
                    <a:pt x="659" y="776"/>
                  </a:lnTo>
                  <a:lnTo>
                    <a:pt x="661" y="774"/>
                  </a:lnTo>
                  <a:lnTo>
                    <a:pt x="662" y="774"/>
                  </a:lnTo>
                  <a:lnTo>
                    <a:pt x="662" y="773"/>
                  </a:lnTo>
                  <a:lnTo>
                    <a:pt x="664" y="773"/>
                  </a:lnTo>
                  <a:lnTo>
                    <a:pt x="664" y="771"/>
                  </a:lnTo>
                  <a:lnTo>
                    <a:pt x="665" y="771"/>
                  </a:lnTo>
                  <a:lnTo>
                    <a:pt x="665" y="769"/>
                  </a:lnTo>
                  <a:lnTo>
                    <a:pt x="667" y="768"/>
                  </a:lnTo>
                  <a:lnTo>
                    <a:pt x="669" y="768"/>
                  </a:lnTo>
                  <a:lnTo>
                    <a:pt x="670" y="768"/>
                  </a:lnTo>
                  <a:lnTo>
                    <a:pt x="670" y="766"/>
                  </a:lnTo>
                  <a:lnTo>
                    <a:pt x="672" y="766"/>
                  </a:lnTo>
                  <a:lnTo>
                    <a:pt x="672" y="765"/>
                  </a:lnTo>
                  <a:lnTo>
                    <a:pt x="674" y="765"/>
                  </a:lnTo>
                  <a:lnTo>
                    <a:pt x="675" y="765"/>
                  </a:lnTo>
                  <a:lnTo>
                    <a:pt x="677" y="765"/>
                  </a:lnTo>
                  <a:lnTo>
                    <a:pt x="678" y="763"/>
                  </a:lnTo>
                  <a:lnTo>
                    <a:pt x="678" y="765"/>
                  </a:lnTo>
                  <a:lnTo>
                    <a:pt x="680" y="765"/>
                  </a:lnTo>
                  <a:lnTo>
                    <a:pt x="682" y="765"/>
                  </a:lnTo>
                  <a:lnTo>
                    <a:pt x="682" y="766"/>
                  </a:lnTo>
                  <a:lnTo>
                    <a:pt x="683" y="766"/>
                  </a:lnTo>
                  <a:lnTo>
                    <a:pt x="683" y="768"/>
                  </a:lnTo>
                  <a:lnTo>
                    <a:pt x="683" y="769"/>
                  </a:lnTo>
                  <a:lnTo>
                    <a:pt x="683" y="768"/>
                  </a:lnTo>
                  <a:lnTo>
                    <a:pt x="683" y="769"/>
                  </a:lnTo>
                  <a:lnTo>
                    <a:pt x="683" y="771"/>
                  </a:lnTo>
                  <a:lnTo>
                    <a:pt x="682" y="771"/>
                  </a:lnTo>
                  <a:lnTo>
                    <a:pt x="683" y="771"/>
                  </a:lnTo>
                  <a:lnTo>
                    <a:pt x="683" y="769"/>
                  </a:lnTo>
                  <a:lnTo>
                    <a:pt x="685" y="769"/>
                  </a:lnTo>
                  <a:lnTo>
                    <a:pt x="685" y="768"/>
                  </a:lnTo>
                  <a:lnTo>
                    <a:pt x="683" y="768"/>
                  </a:lnTo>
                  <a:lnTo>
                    <a:pt x="683" y="766"/>
                  </a:lnTo>
                  <a:lnTo>
                    <a:pt x="685" y="766"/>
                  </a:lnTo>
                  <a:lnTo>
                    <a:pt x="685" y="768"/>
                  </a:lnTo>
                  <a:lnTo>
                    <a:pt x="687" y="769"/>
                  </a:lnTo>
                  <a:lnTo>
                    <a:pt x="687" y="768"/>
                  </a:lnTo>
                  <a:lnTo>
                    <a:pt x="688" y="768"/>
                  </a:lnTo>
                  <a:lnTo>
                    <a:pt x="688" y="769"/>
                  </a:lnTo>
                  <a:lnTo>
                    <a:pt x="690" y="769"/>
                  </a:lnTo>
                  <a:lnTo>
                    <a:pt x="688" y="769"/>
                  </a:lnTo>
                  <a:lnTo>
                    <a:pt x="688" y="771"/>
                  </a:lnTo>
                  <a:lnTo>
                    <a:pt x="690" y="771"/>
                  </a:lnTo>
                  <a:lnTo>
                    <a:pt x="690" y="773"/>
                  </a:lnTo>
                  <a:lnTo>
                    <a:pt x="691" y="773"/>
                  </a:lnTo>
                  <a:lnTo>
                    <a:pt x="691" y="771"/>
                  </a:lnTo>
                  <a:lnTo>
                    <a:pt x="691" y="773"/>
                  </a:lnTo>
                  <a:lnTo>
                    <a:pt x="691" y="771"/>
                  </a:lnTo>
                  <a:lnTo>
                    <a:pt x="690" y="771"/>
                  </a:lnTo>
                  <a:lnTo>
                    <a:pt x="690" y="769"/>
                  </a:lnTo>
                  <a:lnTo>
                    <a:pt x="691" y="769"/>
                  </a:lnTo>
                  <a:lnTo>
                    <a:pt x="691" y="771"/>
                  </a:lnTo>
                  <a:lnTo>
                    <a:pt x="693" y="771"/>
                  </a:lnTo>
                  <a:lnTo>
                    <a:pt x="691" y="771"/>
                  </a:lnTo>
                  <a:lnTo>
                    <a:pt x="693" y="771"/>
                  </a:lnTo>
                  <a:lnTo>
                    <a:pt x="691" y="771"/>
                  </a:lnTo>
                  <a:lnTo>
                    <a:pt x="691" y="773"/>
                  </a:lnTo>
                  <a:lnTo>
                    <a:pt x="691" y="774"/>
                  </a:lnTo>
                  <a:lnTo>
                    <a:pt x="693" y="774"/>
                  </a:lnTo>
                  <a:lnTo>
                    <a:pt x="693" y="776"/>
                  </a:lnTo>
                  <a:lnTo>
                    <a:pt x="693" y="774"/>
                  </a:lnTo>
                  <a:lnTo>
                    <a:pt x="693" y="776"/>
                  </a:lnTo>
                  <a:lnTo>
                    <a:pt x="695" y="776"/>
                  </a:lnTo>
                  <a:lnTo>
                    <a:pt x="695" y="774"/>
                  </a:lnTo>
                  <a:lnTo>
                    <a:pt x="695" y="776"/>
                  </a:lnTo>
                  <a:lnTo>
                    <a:pt x="695" y="778"/>
                  </a:lnTo>
                  <a:lnTo>
                    <a:pt x="695" y="779"/>
                  </a:lnTo>
                  <a:lnTo>
                    <a:pt x="695" y="781"/>
                  </a:lnTo>
                  <a:lnTo>
                    <a:pt x="693" y="782"/>
                  </a:lnTo>
                  <a:lnTo>
                    <a:pt x="695" y="782"/>
                  </a:lnTo>
                  <a:lnTo>
                    <a:pt x="693" y="784"/>
                  </a:lnTo>
                  <a:lnTo>
                    <a:pt x="695" y="784"/>
                  </a:lnTo>
                  <a:lnTo>
                    <a:pt x="695" y="786"/>
                  </a:lnTo>
                  <a:lnTo>
                    <a:pt x="693" y="786"/>
                  </a:lnTo>
                  <a:lnTo>
                    <a:pt x="693" y="787"/>
                  </a:lnTo>
                  <a:lnTo>
                    <a:pt x="691" y="787"/>
                  </a:lnTo>
                  <a:lnTo>
                    <a:pt x="691" y="789"/>
                  </a:lnTo>
                  <a:lnTo>
                    <a:pt x="690" y="791"/>
                  </a:lnTo>
                  <a:lnTo>
                    <a:pt x="688" y="791"/>
                  </a:lnTo>
                  <a:lnTo>
                    <a:pt x="688" y="792"/>
                  </a:lnTo>
                  <a:lnTo>
                    <a:pt x="687" y="792"/>
                  </a:lnTo>
                  <a:lnTo>
                    <a:pt x="685" y="792"/>
                  </a:lnTo>
                  <a:lnTo>
                    <a:pt x="687" y="792"/>
                  </a:lnTo>
                  <a:lnTo>
                    <a:pt x="688" y="792"/>
                  </a:lnTo>
                  <a:lnTo>
                    <a:pt x="688" y="791"/>
                  </a:lnTo>
                  <a:lnTo>
                    <a:pt x="688" y="792"/>
                  </a:lnTo>
                  <a:lnTo>
                    <a:pt x="690" y="791"/>
                  </a:lnTo>
                  <a:lnTo>
                    <a:pt x="691" y="791"/>
                  </a:lnTo>
                  <a:lnTo>
                    <a:pt x="690" y="792"/>
                  </a:lnTo>
                  <a:lnTo>
                    <a:pt x="691" y="792"/>
                  </a:lnTo>
                  <a:lnTo>
                    <a:pt x="693" y="792"/>
                  </a:lnTo>
                  <a:lnTo>
                    <a:pt x="693" y="794"/>
                  </a:lnTo>
                  <a:lnTo>
                    <a:pt x="695" y="795"/>
                  </a:lnTo>
                  <a:lnTo>
                    <a:pt x="695" y="797"/>
                  </a:lnTo>
                  <a:lnTo>
                    <a:pt x="696" y="797"/>
                  </a:lnTo>
                  <a:lnTo>
                    <a:pt x="696" y="799"/>
                  </a:lnTo>
                  <a:lnTo>
                    <a:pt x="698" y="799"/>
                  </a:lnTo>
                  <a:lnTo>
                    <a:pt x="700" y="799"/>
                  </a:lnTo>
                  <a:lnTo>
                    <a:pt x="701" y="799"/>
                  </a:lnTo>
                  <a:lnTo>
                    <a:pt x="703" y="799"/>
                  </a:lnTo>
                  <a:lnTo>
                    <a:pt x="701" y="800"/>
                  </a:lnTo>
                  <a:lnTo>
                    <a:pt x="703" y="800"/>
                  </a:lnTo>
                  <a:lnTo>
                    <a:pt x="703" y="802"/>
                  </a:lnTo>
                  <a:lnTo>
                    <a:pt x="704" y="802"/>
                  </a:lnTo>
                  <a:lnTo>
                    <a:pt x="703" y="802"/>
                  </a:lnTo>
                  <a:lnTo>
                    <a:pt x="704" y="802"/>
                  </a:lnTo>
                  <a:lnTo>
                    <a:pt x="704" y="804"/>
                  </a:lnTo>
                  <a:lnTo>
                    <a:pt x="706" y="804"/>
                  </a:lnTo>
                  <a:lnTo>
                    <a:pt x="706" y="802"/>
                  </a:lnTo>
                  <a:lnTo>
                    <a:pt x="708" y="802"/>
                  </a:lnTo>
                  <a:lnTo>
                    <a:pt x="708" y="804"/>
                  </a:lnTo>
                  <a:lnTo>
                    <a:pt x="708" y="802"/>
                  </a:lnTo>
                  <a:lnTo>
                    <a:pt x="709" y="804"/>
                  </a:lnTo>
                  <a:lnTo>
                    <a:pt x="709" y="805"/>
                  </a:lnTo>
                  <a:lnTo>
                    <a:pt x="708" y="805"/>
                  </a:lnTo>
                  <a:lnTo>
                    <a:pt x="708" y="804"/>
                  </a:lnTo>
                  <a:lnTo>
                    <a:pt x="708" y="805"/>
                  </a:lnTo>
                  <a:lnTo>
                    <a:pt x="708" y="807"/>
                  </a:lnTo>
                  <a:lnTo>
                    <a:pt x="706" y="807"/>
                  </a:lnTo>
                  <a:lnTo>
                    <a:pt x="708" y="807"/>
                  </a:lnTo>
                  <a:lnTo>
                    <a:pt x="706" y="808"/>
                  </a:lnTo>
                  <a:lnTo>
                    <a:pt x="706" y="810"/>
                  </a:lnTo>
                  <a:lnTo>
                    <a:pt x="704" y="810"/>
                  </a:lnTo>
                  <a:lnTo>
                    <a:pt x="706" y="812"/>
                  </a:lnTo>
                  <a:lnTo>
                    <a:pt x="704" y="812"/>
                  </a:lnTo>
                  <a:lnTo>
                    <a:pt x="704" y="813"/>
                  </a:lnTo>
                  <a:lnTo>
                    <a:pt x="703" y="813"/>
                  </a:lnTo>
                  <a:lnTo>
                    <a:pt x="703" y="815"/>
                  </a:lnTo>
                  <a:lnTo>
                    <a:pt x="703" y="817"/>
                  </a:lnTo>
                  <a:lnTo>
                    <a:pt x="703" y="818"/>
                  </a:lnTo>
                  <a:lnTo>
                    <a:pt x="701" y="818"/>
                  </a:lnTo>
                  <a:lnTo>
                    <a:pt x="701" y="820"/>
                  </a:lnTo>
                  <a:lnTo>
                    <a:pt x="700" y="820"/>
                  </a:lnTo>
                  <a:lnTo>
                    <a:pt x="698" y="820"/>
                  </a:lnTo>
                  <a:lnTo>
                    <a:pt x="698" y="821"/>
                  </a:lnTo>
                  <a:lnTo>
                    <a:pt x="698" y="820"/>
                  </a:lnTo>
                  <a:lnTo>
                    <a:pt x="700" y="820"/>
                  </a:lnTo>
                  <a:lnTo>
                    <a:pt x="701" y="820"/>
                  </a:lnTo>
                  <a:lnTo>
                    <a:pt x="700" y="820"/>
                  </a:lnTo>
                  <a:lnTo>
                    <a:pt x="700" y="821"/>
                  </a:lnTo>
                  <a:lnTo>
                    <a:pt x="698" y="821"/>
                  </a:lnTo>
                  <a:lnTo>
                    <a:pt x="696" y="821"/>
                  </a:lnTo>
                  <a:lnTo>
                    <a:pt x="698" y="823"/>
                  </a:lnTo>
                  <a:lnTo>
                    <a:pt x="696" y="823"/>
                  </a:lnTo>
                  <a:lnTo>
                    <a:pt x="698" y="823"/>
                  </a:lnTo>
                  <a:lnTo>
                    <a:pt x="698" y="825"/>
                  </a:lnTo>
                  <a:lnTo>
                    <a:pt x="698" y="823"/>
                  </a:lnTo>
                  <a:lnTo>
                    <a:pt x="698" y="821"/>
                  </a:lnTo>
                  <a:lnTo>
                    <a:pt x="700" y="821"/>
                  </a:lnTo>
                  <a:lnTo>
                    <a:pt x="701" y="820"/>
                  </a:lnTo>
                  <a:lnTo>
                    <a:pt x="703" y="821"/>
                  </a:lnTo>
                  <a:lnTo>
                    <a:pt x="704" y="821"/>
                  </a:lnTo>
                  <a:lnTo>
                    <a:pt x="704" y="820"/>
                  </a:lnTo>
                  <a:lnTo>
                    <a:pt x="704" y="821"/>
                  </a:lnTo>
                  <a:lnTo>
                    <a:pt x="706" y="821"/>
                  </a:lnTo>
                  <a:lnTo>
                    <a:pt x="704" y="821"/>
                  </a:lnTo>
                  <a:lnTo>
                    <a:pt x="706" y="821"/>
                  </a:lnTo>
                  <a:lnTo>
                    <a:pt x="708" y="821"/>
                  </a:lnTo>
                  <a:lnTo>
                    <a:pt x="708" y="823"/>
                  </a:lnTo>
                  <a:lnTo>
                    <a:pt x="709" y="823"/>
                  </a:lnTo>
                  <a:lnTo>
                    <a:pt x="711" y="823"/>
                  </a:lnTo>
                  <a:lnTo>
                    <a:pt x="709" y="825"/>
                  </a:lnTo>
                  <a:lnTo>
                    <a:pt x="711" y="823"/>
                  </a:lnTo>
                  <a:lnTo>
                    <a:pt x="711" y="821"/>
                  </a:lnTo>
                  <a:lnTo>
                    <a:pt x="711" y="820"/>
                  </a:lnTo>
                  <a:lnTo>
                    <a:pt x="713" y="820"/>
                  </a:lnTo>
                  <a:lnTo>
                    <a:pt x="711" y="821"/>
                  </a:lnTo>
                  <a:lnTo>
                    <a:pt x="711" y="820"/>
                  </a:lnTo>
                  <a:lnTo>
                    <a:pt x="713" y="820"/>
                  </a:lnTo>
                  <a:lnTo>
                    <a:pt x="713" y="821"/>
                  </a:lnTo>
                  <a:lnTo>
                    <a:pt x="713" y="820"/>
                  </a:lnTo>
                  <a:lnTo>
                    <a:pt x="714" y="820"/>
                  </a:lnTo>
                  <a:lnTo>
                    <a:pt x="714" y="821"/>
                  </a:lnTo>
                  <a:lnTo>
                    <a:pt x="716" y="821"/>
                  </a:lnTo>
                  <a:lnTo>
                    <a:pt x="714" y="821"/>
                  </a:lnTo>
                  <a:lnTo>
                    <a:pt x="714" y="820"/>
                  </a:lnTo>
                  <a:lnTo>
                    <a:pt x="713" y="820"/>
                  </a:lnTo>
                  <a:lnTo>
                    <a:pt x="713" y="818"/>
                  </a:lnTo>
                  <a:lnTo>
                    <a:pt x="714" y="818"/>
                  </a:lnTo>
                  <a:lnTo>
                    <a:pt x="716" y="818"/>
                  </a:lnTo>
                  <a:lnTo>
                    <a:pt x="716" y="820"/>
                  </a:lnTo>
                  <a:lnTo>
                    <a:pt x="716" y="818"/>
                  </a:lnTo>
                  <a:lnTo>
                    <a:pt x="717" y="818"/>
                  </a:lnTo>
                  <a:lnTo>
                    <a:pt x="717" y="820"/>
                  </a:lnTo>
                  <a:lnTo>
                    <a:pt x="719" y="820"/>
                  </a:lnTo>
                  <a:lnTo>
                    <a:pt x="717" y="820"/>
                  </a:lnTo>
                  <a:lnTo>
                    <a:pt x="717" y="821"/>
                  </a:lnTo>
                  <a:lnTo>
                    <a:pt x="716" y="821"/>
                  </a:lnTo>
                  <a:lnTo>
                    <a:pt x="716" y="823"/>
                  </a:lnTo>
                  <a:lnTo>
                    <a:pt x="717" y="823"/>
                  </a:lnTo>
                  <a:lnTo>
                    <a:pt x="717" y="825"/>
                  </a:lnTo>
                  <a:lnTo>
                    <a:pt x="717" y="826"/>
                  </a:lnTo>
                  <a:lnTo>
                    <a:pt x="717" y="828"/>
                  </a:lnTo>
                  <a:lnTo>
                    <a:pt x="719" y="828"/>
                  </a:lnTo>
                  <a:lnTo>
                    <a:pt x="717" y="828"/>
                  </a:lnTo>
                  <a:lnTo>
                    <a:pt x="717" y="830"/>
                  </a:lnTo>
                  <a:lnTo>
                    <a:pt x="717" y="831"/>
                  </a:lnTo>
                  <a:lnTo>
                    <a:pt x="717" y="830"/>
                  </a:lnTo>
                  <a:lnTo>
                    <a:pt x="719" y="830"/>
                  </a:lnTo>
                  <a:lnTo>
                    <a:pt x="721" y="830"/>
                  </a:lnTo>
                  <a:lnTo>
                    <a:pt x="722" y="831"/>
                  </a:lnTo>
                  <a:lnTo>
                    <a:pt x="722" y="830"/>
                  </a:lnTo>
                  <a:lnTo>
                    <a:pt x="722" y="831"/>
                  </a:lnTo>
                  <a:lnTo>
                    <a:pt x="722" y="830"/>
                  </a:lnTo>
                  <a:lnTo>
                    <a:pt x="722" y="831"/>
                  </a:lnTo>
                  <a:lnTo>
                    <a:pt x="724" y="830"/>
                  </a:lnTo>
                  <a:lnTo>
                    <a:pt x="724" y="828"/>
                  </a:lnTo>
                  <a:lnTo>
                    <a:pt x="726" y="828"/>
                  </a:lnTo>
                  <a:lnTo>
                    <a:pt x="727" y="828"/>
                  </a:lnTo>
                  <a:lnTo>
                    <a:pt x="727" y="826"/>
                  </a:lnTo>
                  <a:lnTo>
                    <a:pt x="727" y="828"/>
                  </a:lnTo>
                  <a:lnTo>
                    <a:pt x="727" y="830"/>
                  </a:lnTo>
                  <a:lnTo>
                    <a:pt x="729" y="830"/>
                  </a:lnTo>
                  <a:lnTo>
                    <a:pt x="729" y="831"/>
                  </a:lnTo>
                  <a:lnTo>
                    <a:pt x="730" y="831"/>
                  </a:lnTo>
                  <a:lnTo>
                    <a:pt x="730" y="833"/>
                  </a:lnTo>
                  <a:lnTo>
                    <a:pt x="730" y="834"/>
                  </a:lnTo>
                  <a:lnTo>
                    <a:pt x="732" y="833"/>
                  </a:lnTo>
                  <a:lnTo>
                    <a:pt x="732" y="834"/>
                  </a:lnTo>
                  <a:lnTo>
                    <a:pt x="732" y="836"/>
                  </a:lnTo>
                  <a:lnTo>
                    <a:pt x="732" y="834"/>
                  </a:lnTo>
                  <a:lnTo>
                    <a:pt x="734" y="836"/>
                  </a:lnTo>
                  <a:lnTo>
                    <a:pt x="734" y="834"/>
                  </a:lnTo>
                  <a:lnTo>
                    <a:pt x="735" y="834"/>
                  </a:lnTo>
                  <a:lnTo>
                    <a:pt x="735" y="836"/>
                  </a:lnTo>
                  <a:lnTo>
                    <a:pt x="737" y="834"/>
                  </a:lnTo>
                  <a:lnTo>
                    <a:pt x="739" y="833"/>
                  </a:lnTo>
                  <a:lnTo>
                    <a:pt x="739" y="831"/>
                  </a:lnTo>
                  <a:lnTo>
                    <a:pt x="737" y="831"/>
                  </a:lnTo>
                  <a:lnTo>
                    <a:pt x="737" y="830"/>
                  </a:lnTo>
                  <a:lnTo>
                    <a:pt x="735" y="830"/>
                  </a:lnTo>
                  <a:lnTo>
                    <a:pt x="734" y="828"/>
                  </a:lnTo>
                  <a:lnTo>
                    <a:pt x="735" y="830"/>
                  </a:lnTo>
                  <a:lnTo>
                    <a:pt x="735" y="828"/>
                  </a:lnTo>
                  <a:lnTo>
                    <a:pt x="737" y="828"/>
                  </a:lnTo>
                  <a:lnTo>
                    <a:pt x="737" y="826"/>
                  </a:lnTo>
                  <a:lnTo>
                    <a:pt x="737" y="825"/>
                  </a:lnTo>
                  <a:lnTo>
                    <a:pt x="739" y="825"/>
                  </a:lnTo>
                  <a:lnTo>
                    <a:pt x="739" y="826"/>
                  </a:lnTo>
                  <a:lnTo>
                    <a:pt x="739" y="825"/>
                  </a:lnTo>
                  <a:lnTo>
                    <a:pt x="739" y="826"/>
                  </a:lnTo>
                  <a:lnTo>
                    <a:pt x="740" y="828"/>
                  </a:lnTo>
                  <a:lnTo>
                    <a:pt x="739" y="828"/>
                  </a:lnTo>
                  <a:lnTo>
                    <a:pt x="740" y="828"/>
                  </a:lnTo>
                  <a:lnTo>
                    <a:pt x="740" y="830"/>
                  </a:lnTo>
                  <a:lnTo>
                    <a:pt x="740" y="831"/>
                  </a:lnTo>
                  <a:lnTo>
                    <a:pt x="739" y="831"/>
                  </a:lnTo>
                  <a:lnTo>
                    <a:pt x="739" y="833"/>
                  </a:lnTo>
                  <a:lnTo>
                    <a:pt x="740" y="833"/>
                  </a:lnTo>
                  <a:lnTo>
                    <a:pt x="742" y="833"/>
                  </a:lnTo>
                  <a:lnTo>
                    <a:pt x="742" y="831"/>
                  </a:lnTo>
                  <a:lnTo>
                    <a:pt x="744" y="831"/>
                  </a:lnTo>
                  <a:lnTo>
                    <a:pt x="744" y="833"/>
                  </a:lnTo>
                  <a:lnTo>
                    <a:pt x="744" y="831"/>
                  </a:lnTo>
                  <a:lnTo>
                    <a:pt x="744" y="833"/>
                  </a:lnTo>
                  <a:lnTo>
                    <a:pt x="745" y="833"/>
                  </a:lnTo>
                  <a:lnTo>
                    <a:pt x="744" y="834"/>
                  </a:lnTo>
                  <a:lnTo>
                    <a:pt x="745" y="836"/>
                  </a:lnTo>
                  <a:lnTo>
                    <a:pt x="745" y="838"/>
                  </a:lnTo>
                  <a:lnTo>
                    <a:pt x="748" y="838"/>
                  </a:lnTo>
                  <a:lnTo>
                    <a:pt x="748" y="836"/>
                  </a:lnTo>
                  <a:lnTo>
                    <a:pt x="748" y="838"/>
                  </a:lnTo>
                  <a:lnTo>
                    <a:pt x="748" y="836"/>
                  </a:lnTo>
                  <a:lnTo>
                    <a:pt x="748" y="838"/>
                  </a:lnTo>
                  <a:lnTo>
                    <a:pt x="750" y="838"/>
                  </a:lnTo>
                  <a:lnTo>
                    <a:pt x="750" y="839"/>
                  </a:lnTo>
                  <a:lnTo>
                    <a:pt x="752" y="839"/>
                  </a:lnTo>
                  <a:lnTo>
                    <a:pt x="750" y="839"/>
                  </a:lnTo>
                  <a:lnTo>
                    <a:pt x="750" y="838"/>
                  </a:lnTo>
                  <a:lnTo>
                    <a:pt x="752" y="838"/>
                  </a:lnTo>
                  <a:lnTo>
                    <a:pt x="753" y="836"/>
                  </a:lnTo>
                  <a:lnTo>
                    <a:pt x="753" y="834"/>
                  </a:lnTo>
                  <a:lnTo>
                    <a:pt x="752" y="833"/>
                  </a:lnTo>
                  <a:lnTo>
                    <a:pt x="753" y="833"/>
                  </a:lnTo>
                  <a:lnTo>
                    <a:pt x="755" y="833"/>
                  </a:lnTo>
                  <a:lnTo>
                    <a:pt x="755" y="831"/>
                  </a:lnTo>
                  <a:lnTo>
                    <a:pt x="757" y="831"/>
                  </a:lnTo>
                  <a:lnTo>
                    <a:pt x="755" y="830"/>
                  </a:lnTo>
                  <a:lnTo>
                    <a:pt x="757" y="830"/>
                  </a:lnTo>
                  <a:lnTo>
                    <a:pt x="758" y="830"/>
                  </a:lnTo>
                  <a:lnTo>
                    <a:pt x="760" y="830"/>
                  </a:lnTo>
                  <a:lnTo>
                    <a:pt x="761" y="828"/>
                  </a:lnTo>
                  <a:lnTo>
                    <a:pt x="761" y="826"/>
                  </a:lnTo>
                  <a:lnTo>
                    <a:pt x="760" y="825"/>
                  </a:lnTo>
                  <a:lnTo>
                    <a:pt x="758" y="825"/>
                  </a:lnTo>
                  <a:lnTo>
                    <a:pt x="758" y="823"/>
                  </a:lnTo>
                  <a:lnTo>
                    <a:pt x="757" y="823"/>
                  </a:lnTo>
                  <a:lnTo>
                    <a:pt x="757" y="821"/>
                  </a:lnTo>
                  <a:lnTo>
                    <a:pt x="757" y="820"/>
                  </a:lnTo>
                  <a:lnTo>
                    <a:pt x="758" y="820"/>
                  </a:lnTo>
                  <a:lnTo>
                    <a:pt x="758" y="821"/>
                  </a:lnTo>
                  <a:lnTo>
                    <a:pt x="760" y="821"/>
                  </a:lnTo>
                  <a:lnTo>
                    <a:pt x="761" y="821"/>
                  </a:lnTo>
                  <a:lnTo>
                    <a:pt x="763" y="821"/>
                  </a:lnTo>
                  <a:lnTo>
                    <a:pt x="765" y="821"/>
                  </a:lnTo>
                  <a:lnTo>
                    <a:pt x="765" y="823"/>
                  </a:lnTo>
                  <a:lnTo>
                    <a:pt x="765" y="821"/>
                  </a:lnTo>
                  <a:lnTo>
                    <a:pt x="766" y="823"/>
                  </a:lnTo>
                  <a:lnTo>
                    <a:pt x="766" y="825"/>
                  </a:lnTo>
                  <a:lnTo>
                    <a:pt x="768" y="823"/>
                  </a:lnTo>
                  <a:lnTo>
                    <a:pt x="766" y="823"/>
                  </a:lnTo>
                  <a:lnTo>
                    <a:pt x="768" y="823"/>
                  </a:lnTo>
                  <a:lnTo>
                    <a:pt x="768" y="825"/>
                  </a:lnTo>
                  <a:lnTo>
                    <a:pt x="770" y="825"/>
                  </a:lnTo>
                  <a:lnTo>
                    <a:pt x="770" y="826"/>
                  </a:lnTo>
                  <a:lnTo>
                    <a:pt x="771" y="825"/>
                  </a:lnTo>
                  <a:lnTo>
                    <a:pt x="771" y="823"/>
                  </a:lnTo>
                  <a:lnTo>
                    <a:pt x="773" y="825"/>
                  </a:lnTo>
                  <a:lnTo>
                    <a:pt x="773" y="823"/>
                  </a:lnTo>
                  <a:lnTo>
                    <a:pt x="773" y="825"/>
                  </a:lnTo>
                  <a:lnTo>
                    <a:pt x="773" y="823"/>
                  </a:lnTo>
                  <a:lnTo>
                    <a:pt x="774" y="825"/>
                  </a:lnTo>
                  <a:lnTo>
                    <a:pt x="776" y="825"/>
                  </a:lnTo>
                  <a:lnTo>
                    <a:pt x="776" y="826"/>
                  </a:lnTo>
                  <a:lnTo>
                    <a:pt x="778" y="826"/>
                  </a:lnTo>
                  <a:lnTo>
                    <a:pt x="779" y="826"/>
                  </a:lnTo>
                  <a:lnTo>
                    <a:pt x="779" y="828"/>
                  </a:lnTo>
                  <a:lnTo>
                    <a:pt x="781" y="828"/>
                  </a:lnTo>
                  <a:lnTo>
                    <a:pt x="781" y="830"/>
                  </a:lnTo>
                  <a:lnTo>
                    <a:pt x="783" y="830"/>
                  </a:lnTo>
                  <a:lnTo>
                    <a:pt x="781" y="831"/>
                  </a:lnTo>
                  <a:lnTo>
                    <a:pt x="783" y="831"/>
                  </a:lnTo>
                  <a:lnTo>
                    <a:pt x="783" y="833"/>
                  </a:lnTo>
                  <a:lnTo>
                    <a:pt x="781" y="833"/>
                  </a:lnTo>
                  <a:lnTo>
                    <a:pt x="781" y="834"/>
                  </a:lnTo>
                  <a:lnTo>
                    <a:pt x="783" y="834"/>
                  </a:lnTo>
                  <a:lnTo>
                    <a:pt x="784" y="834"/>
                  </a:lnTo>
                  <a:lnTo>
                    <a:pt x="784" y="836"/>
                  </a:lnTo>
                  <a:lnTo>
                    <a:pt x="786" y="836"/>
                  </a:lnTo>
                  <a:lnTo>
                    <a:pt x="786" y="834"/>
                  </a:lnTo>
                  <a:lnTo>
                    <a:pt x="786" y="836"/>
                  </a:lnTo>
                  <a:lnTo>
                    <a:pt x="787" y="836"/>
                  </a:lnTo>
                  <a:lnTo>
                    <a:pt x="787" y="838"/>
                  </a:lnTo>
                  <a:lnTo>
                    <a:pt x="789" y="839"/>
                  </a:lnTo>
                  <a:lnTo>
                    <a:pt x="789" y="838"/>
                  </a:lnTo>
                  <a:lnTo>
                    <a:pt x="789" y="839"/>
                  </a:lnTo>
                  <a:lnTo>
                    <a:pt x="791" y="839"/>
                  </a:lnTo>
                  <a:lnTo>
                    <a:pt x="791" y="838"/>
                  </a:lnTo>
                  <a:lnTo>
                    <a:pt x="792" y="838"/>
                  </a:lnTo>
                  <a:lnTo>
                    <a:pt x="792" y="836"/>
                  </a:lnTo>
                  <a:lnTo>
                    <a:pt x="791" y="836"/>
                  </a:lnTo>
                  <a:lnTo>
                    <a:pt x="792" y="834"/>
                  </a:lnTo>
                  <a:lnTo>
                    <a:pt x="792" y="833"/>
                  </a:lnTo>
                  <a:lnTo>
                    <a:pt x="792" y="834"/>
                  </a:lnTo>
                  <a:lnTo>
                    <a:pt x="794" y="834"/>
                  </a:lnTo>
                  <a:lnTo>
                    <a:pt x="794" y="833"/>
                  </a:lnTo>
                  <a:lnTo>
                    <a:pt x="794" y="834"/>
                  </a:lnTo>
                  <a:lnTo>
                    <a:pt x="796" y="834"/>
                  </a:lnTo>
                  <a:lnTo>
                    <a:pt x="796" y="836"/>
                  </a:lnTo>
                  <a:lnTo>
                    <a:pt x="797" y="836"/>
                  </a:lnTo>
                  <a:lnTo>
                    <a:pt x="799" y="836"/>
                  </a:lnTo>
                  <a:lnTo>
                    <a:pt x="800" y="836"/>
                  </a:lnTo>
                  <a:lnTo>
                    <a:pt x="800" y="838"/>
                  </a:lnTo>
                  <a:lnTo>
                    <a:pt x="800" y="836"/>
                  </a:lnTo>
                  <a:lnTo>
                    <a:pt x="800" y="838"/>
                  </a:lnTo>
                  <a:lnTo>
                    <a:pt x="802" y="838"/>
                  </a:lnTo>
                  <a:lnTo>
                    <a:pt x="802" y="839"/>
                  </a:lnTo>
                  <a:lnTo>
                    <a:pt x="804" y="839"/>
                  </a:lnTo>
                  <a:lnTo>
                    <a:pt x="805" y="839"/>
                  </a:lnTo>
                  <a:lnTo>
                    <a:pt x="807" y="839"/>
                  </a:lnTo>
                  <a:lnTo>
                    <a:pt x="809" y="839"/>
                  </a:lnTo>
                  <a:lnTo>
                    <a:pt x="809" y="841"/>
                  </a:lnTo>
                  <a:lnTo>
                    <a:pt x="807" y="841"/>
                  </a:lnTo>
                  <a:lnTo>
                    <a:pt x="807" y="844"/>
                  </a:lnTo>
                  <a:lnTo>
                    <a:pt x="805" y="844"/>
                  </a:lnTo>
                  <a:lnTo>
                    <a:pt x="805" y="846"/>
                  </a:lnTo>
                  <a:lnTo>
                    <a:pt x="807" y="848"/>
                  </a:lnTo>
                  <a:lnTo>
                    <a:pt x="809" y="848"/>
                  </a:lnTo>
                  <a:lnTo>
                    <a:pt x="807" y="849"/>
                  </a:lnTo>
                  <a:lnTo>
                    <a:pt x="809" y="849"/>
                  </a:lnTo>
                  <a:lnTo>
                    <a:pt x="810" y="849"/>
                  </a:lnTo>
                  <a:lnTo>
                    <a:pt x="812" y="849"/>
                  </a:lnTo>
                  <a:lnTo>
                    <a:pt x="813" y="849"/>
                  </a:lnTo>
                  <a:lnTo>
                    <a:pt x="813" y="851"/>
                  </a:lnTo>
                  <a:lnTo>
                    <a:pt x="815" y="852"/>
                  </a:lnTo>
                  <a:lnTo>
                    <a:pt x="815" y="854"/>
                  </a:lnTo>
                  <a:lnTo>
                    <a:pt x="815" y="856"/>
                  </a:lnTo>
                  <a:lnTo>
                    <a:pt x="817" y="857"/>
                  </a:lnTo>
                  <a:lnTo>
                    <a:pt x="818" y="859"/>
                  </a:lnTo>
                  <a:lnTo>
                    <a:pt x="820" y="859"/>
                  </a:lnTo>
                  <a:lnTo>
                    <a:pt x="820" y="861"/>
                  </a:lnTo>
                  <a:lnTo>
                    <a:pt x="822" y="861"/>
                  </a:lnTo>
                  <a:lnTo>
                    <a:pt x="820" y="861"/>
                  </a:lnTo>
                  <a:lnTo>
                    <a:pt x="822" y="862"/>
                  </a:lnTo>
                  <a:lnTo>
                    <a:pt x="822" y="861"/>
                  </a:lnTo>
                  <a:lnTo>
                    <a:pt x="822" y="862"/>
                  </a:lnTo>
                  <a:lnTo>
                    <a:pt x="823" y="862"/>
                  </a:lnTo>
                  <a:lnTo>
                    <a:pt x="822" y="862"/>
                  </a:lnTo>
                  <a:lnTo>
                    <a:pt x="822" y="861"/>
                  </a:lnTo>
                  <a:lnTo>
                    <a:pt x="820" y="861"/>
                  </a:lnTo>
                  <a:lnTo>
                    <a:pt x="820" y="859"/>
                  </a:lnTo>
                  <a:lnTo>
                    <a:pt x="820" y="857"/>
                  </a:lnTo>
                  <a:lnTo>
                    <a:pt x="822" y="857"/>
                  </a:lnTo>
                  <a:lnTo>
                    <a:pt x="822" y="856"/>
                  </a:lnTo>
                  <a:lnTo>
                    <a:pt x="823" y="857"/>
                  </a:lnTo>
                  <a:lnTo>
                    <a:pt x="825" y="857"/>
                  </a:lnTo>
                  <a:lnTo>
                    <a:pt x="826" y="857"/>
                  </a:lnTo>
                  <a:lnTo>
                    <a:pt x="828" y="857"/>
                  </a:lnTo>
                  <a:lnTo>
                    <a:pt x="828" y="856"/>
                  </a:lnTo>
                  <a:lnTo>
                    <a:pt x="830" y="856"/>
                  </a:lnTo>
                  <a:lnTo>
                    <a:pt x="828" y="854"/>
                  </a:lnTo>
                  <a:lnTo>
                    <a:pt x="830" y="854"/>
                  </a:lnTo>
                  <a:lnTo>
                    <a:pt x="830" y="856"/>
                  </a:lnTo>
                  <a:lnTo>
                    <a:pt x="830" y="857"/>
                  </a:lnTo>
                  <a:lnTo>
                    <a:pt x="831" y="857"/>
                  </a:lnTo>
                  <a:lnTo>
                    <a:pt x="833" y="857"/>
                  </a:lnTo>
                  <a:lnTo>
                    <a:pt x="835" y="857"/>
                  </a:lnTo>
                  <a:lnTo>
                    <a:pt x="836" y="857"/>
                  </a:lnTo>
                  <a:lnTo>
                    <a:pt x="836" y="856"/>
                  </a:lnTo>
                  <a:lnTo>
                    <a:pt x="838" y="856"/>
                  </a:lnTo>
                  <a:lnTo>
                    <a:pt x="838" y="854"/>
                  </a:lnTo>
                  <a:lnTo>
                    <a:pt x="838" y="856"/>
                  </a:lnTo>
                  <a:lnTo>
                    <a:pt x="839" y="854"/>
                  </a:lnTo>
                  <a:lnTo>
                    <a:pt x="839" y="856"/>
                  </a:lnTo>
                  <a:lnTo>
                    <a:pt x="841" y="856"/>
                  </a:lnTo>
                  <a:lnTo>
                    <a:pt x="843" y="856"/>
                  </a:lnTo>
                  <a:lnTo>
                    <a:pt x="843" y="857"/>
                  </a:lnTo>
                  <a:lnTo>
                    <a:pt x="843" y="859"/>
                  </a:lnTo>
                  <a:lnTo>
                    <a:pt x="844" y="859"/>
                  </a:lnTo>
                  <a:lnTo>
                    <a:pt x="846" y="859"/>
                  </a:lnTo>
                  <a:lnTo>
                    <a:pt x="849" y="859"/>
                  </a:lnTo>
                  <a:lnTo>
                    <a:pt x="851" y="857"/>
                  </a:lnTo>
                  <a:lnTo>
                    <a:pt x="851" y="859"/>
                  </a:lnTo>
                  <a:lnTo>
                    <a:pt x="851" y="857"/>
                  </a:lnTo>
                  <a:lnTo>
                    <a:pt x="852" y="857"/>
                  </a:lnTo>
                  <a:lnTo>
                    <a:pt x="852" y="856"/>
                  </a:lnTo>
                  <a:lnTo>
                    <a:pt x="854" y="856"/>
                  </a:lnTo>
                  <a:lnTo>
                    <a:pt x="854" y="857"/>
                  </a:lnTo>
                  <a:lnTo>
                    <a:pt x="856" y="857"/>
                  </a:lnTo>
                  <a:lnTo>
                    <a:pt x="857" y="857"/>
                  </a:lnTo>
                  <a:lnTo>
                    <a:pt x="859" y="857"/>
                  </a:lnTo>
                  <a:lnTo>
                    <a:pt x="859" y="856"/>
                  </a:lnTo>
                  <a:lnTo>
                    <a:pt x="861" y="856"/>
                  </a:lnTo>
                  <a:lnTo>
                    <a:pt x="861" y="854"/>
                  </a:lnTo>
                  <a:lnTo>
                    <a:pt x="861" y="852"/>
                  </a:lnTo>
                  <a:lnTo>
                    <a:pt x="859" y="852"/>
                  </a:lnTo>
                  <a:lnTo>
                    <a:pt x="861" y="852"/>
                  </a:lnTo>
                  <a:lnTo>
                    <a:pt x="862" y="852"/>
                  </a:lnTo>
                  <a:lnTo>
                    <a:pt x="862" y="854"/>
                  </a:lnTo>
                  <a:lnTo>
                    <a:pt x="864" y="854"/>
                  </a:lnTo>
                  <a:lnTo>
                    <a:pt x="865" y="854"/>
                  </a:lnTo>
                  <a:lnTo>
                    <a:pt x="865" y="856"/>
                  </a:lnTo>
                  <a:lnTo>
                    <a:pt x="869" y="854"/>
                  </a:lnTo>
                  <a:lnTo>
                    <a:pt x="870" y="854"/>
                  </a:lnTo>
                  <a:lnTo>
                    <a:pt x="870" y="852"/>
                  </a:lnTo>
                  <a:lnTo>
                    <a:pt x="872" y="852"/>
                  </a:lnTo>
                  <a:lnTo>
                    <a:pt x="874" y="851"/>
                  </a:lnTo>
                  <a:lnTo>
                    <a:pt x="875" y="851"/>
                  </a:lnTo>
                  <a:lnTo>
                    <a:pt x="877" y="851"/>
                  </a:lnTo>
                  <a:lnTo>
                    <a:pt x="878" y="851"/>
                  </a:lnTo>
                  <a:lnTo>
                    <a:pt x="880" y="851"/>
                  </a:lnTo>
                  <a:lnTo>
                    <a:pt x="880" y="852"/>
                  </a:lnTo>
                  <a:lnTo>
                    <a:pt x="882" y="854"/>
                  </a:lnTo>
                  <a:lnTo>
                    <a:pt x="883" y="856"/>
                  </a:lnTo>
                  <a:lnTo>
                    <a:pt x="883" y="857"/>
                  </a:lnTo>
                  <a:lnTo>
                    <a:pt x="883" y="856"/>
                  </a:lnTo>
                  <a:lnTo>
                    <a:pt x="883" y="857"/>
                  </a:lnTo>
                  <a:lnTo>
                    <a:pt x="882" y="857"/>
                  </a:lnTo>
                  <a:lnTo>
                    <a:pt x="882" y="859"/>
                  </a:lnTo>
                  <a:lnTo>
                    <a:pt x="882" y="857"/>
                  </a:lnTo>
                  <a:lnTo>
                    <a:pt x="883" y="857"/>
                  </a:lnTo>
                  <a:lnTo>
                    <a:pt x="885" y="857"/>
                  </a:lnTo>
                  <a:lnTo>
                    <a:pt x="885" y="859"/>
                  </a:lnTo>
                  <a:lnTo>
                    <a:pt x="887" y="859"/>
                  </a:lnTo>
                  <a:lnTo>
                    <a:pt x="890" y="859"/>
                  </a:lnTo>
                  <a:lnTo>
                    <a:pt x="890" y="857"/>
                  </a:lnTo>
                  <a:lnTo>
                    <a:pt x="892" y="859"/>
                  </a:lnTo>
                  <a:lnTo>
                    <a:pt x="892" y="857"/>
                  </a:lnTo>
                  <a:lnTo>
                    <a:pt x="893" y="859"/>
                  </a:lnTo>
                  <a:lnTo>
                    <a:pt x="893" y="857"/>
                  </a:lnTo>
                  <a:lnTo>
                    <a:pt x="895" y="857"/>
                  </a:lnTo>
                  <a:lnTo>
                    <a:pt x="896" y="857"/>
                  </a:lnTo>
                  <a:lnTo>
                    <a:pt x="896" y="859"/>
                  </a:lnTo>
                  <a:lnTo>
                    <a:pt x="896" y="861"/>
                  </a:lnTo>
                  <a:lnTo>
                    <a:pt x="896" y="859"/>
                  </a:lnTo>
                  <a:lnTo>
                    <a:pt x="898" y="857"/>
                  </a:lnTo>
                  <a:lnTo>
                    <a:pt x="898" y="856"/>
                  </a:lnTo>
                  <a:lnTo>
                    <a:pt x="900" y="856"/>
                  </a:lnTo>
                  <a:lnTo>
                    <a:pt x="901" y="854"/>
                  </a:lnTo>
                  <a:lnTo>
                    <a:pt x="903" y="852"/>
                  </a:lnTo>
                  <a:lnTo>
                    <a:pt x="905" y="851"/>
                  </a:lnTo>
                  <a:lnTo>
                    <a:pt x="905" y="849"/>
                  </a:lnTo>
                  <a:lnTo>
                    <a:pt x="906" y="849"/>
                  </a:lnTo>
                  <a:lnTo>
                    <a:pt x="905" y="849"/>
                  </a:lnTo>
                  <a:lnTo>
                    <a:pt x="906" y="849"/>
                  </a:lnTo>
                  <a:lnTo>
                    <a:pt x="908" y="849"/>
                  </a:lnTo>
                  <a:lnTo>
                    <a:pt x="906" y="848"/>
                  </a:lnTo>
                  <a:lnTo>
                    <a:pt x="906" y="846"/>
                  </a:lnTo>
                  <a:lnTo>
                    <a:pt x="905" y="846"/>
                  </a:lnTo>
                  <a:lnTo>
                    <a:pt x="906" y="846"/>
                  </a:lnTo>
                  <a:lnTo>
                    <a:pt x="906" y="844"/>
                  </a:lnTo>
                  <a:lnTo>
                    <a:pt x="905" y="843"/>
                  </a:lnTo>
                  <a:lnTo>
                    <a:pt x="905" y="841"/>
                  </a:lnTo>
                  <a:lnTo>
                    <a:pt x="903" y="841"/>
                  </a:lnTo>
                  <a:lnTo>
                    <a:pt x="905" y="841"/>
                  </a:lnTo>
                  <a:lnTo>
                    <a:pt x="903" y="841"/>
                  </a:lnTo>
                  <a:lnTo>
                    <a:pt x="903" y="839"/>
                  </a:lnTo>
                  <a:lnTo>
                    <a:pt x="903" y="838"/>
                  </a:lnTo>
                  <a:lnTo>
                    <a:pt x="905" y="836"/>
                  </a:lnTo>
                  <a:lnTo>
                    <a:pt x="906" y="836"/>
                  </a:lnTo>
                  <a:lnTo>
                    <a:pt x="906" y="834"/>
                  </a:lnTo>
                  <a:lnTo>
                    <a:pt x="908" y="834"/>
                  </a:lnTo>
                  <a:lnTo>
                    <a:pt x="909" y="834"/>
                  </a:lnTo>
                  <a:lnTo>
                    <a:pt x="908" y="834"/>
                  </a:lnTo>
                  <a:lnTo>
                    <a:pt x="909" y="834"/>
                  </a:lnTo>
                  <a:lnTo>
                    <a:pt x="911" y="834"/>
                  </a:lnTo>
                  <a:lnTo>
                    <a:pt x="913" y="834"/>
                  </a:lnTo>
                  <a:lnTo>
                    <a:pt x="914" y="834"/>
                  </a:lnTo>
                  <a:lnTo>
                    <a:pt x="916" y="833"/>
                  </a:lnTo>
                  <a:lnTo>
                    <a:pt x="916" y="831"/>
                  </a:lnTo>
                  <a:lnTo>
                    <a:pt x="918" y="830"/>
                  </a:lnTo>
                  <a:lnTo>
                    <a:pt x="918" y="828"/>
                  </a:lnTo>
                  <a:lnTo>
                    <a:pt x="919" y="826"/>
                  </a:lnTo>
                  <a:lnTo>
                    <a:pt x="919" y="825"/>
                  </a:lnTo>
                  <a:lnTo>
                    <a:pt x="921" y="825"/>
                  </a:lnTo>
                  <a:lnTo>
                    <a:pt x="922" y="825"/>
                  </a:lnTo>
                  <a:lnTo>
                    <a:pt x="924" y="826"/>
                  </a:lnTo>
                  <a:lnTo>
                    <a:pt x="926" y="826"/>
                  </a:lnTo>
                  <a:lnTo>
                    <a:pt x="927" y="826"/>
                  </a:lnTo>
                  <a:lnTo>
                    <a:pt x="929" y="826"/>
                  </a:lnTo>
                  <a:lnTo>
                    <a:pt x="931" y="826"/>
                  </a:lnTo>
                  <a:lnTo>
                    <a:pt x="932" y="826"/>
                  </a:lnTo>
                  <a:lnTo>
                    <a:pt x="935" y="828"/>
                  </a:lnTo>
                  <a:lnTo>
                    <a:pt x="937" y="828"/>
                  </a:lnTo>
                  <a:lnTo>
                    <a:pt x="939" y="830"/>
                  </a:lnTo>
                  <a:lnTo>
                    <a:pt x="940" y="830"/>
                  </a:lnTo>
                  <a:lnTo>
                    <a:pt x="942" y="831"/>
                  </a:lnTo>
                  <a:lnTo>
                    <a:pt x="944" y="830"/>
                  </a:lnTo>
                  <a:lnTo>
                    <a:pt x="944" y="831"/>
                  </a:lnTo>
                  <a:lnTo>
                    <a:pt x="945" y="831"/>
                  </a:lnTo>
                  <a:lnTo>
                    <a:pt x="947" y="831"/>
                  </a:lnTo>
                  <a:lnTo>
                    <a:pt x="948" y="831"/>
                  </a:lnTo>
                  <a:lnTo>
                    <a:pt x="948" y="830"/>
                  </a:lnTo>
                  <a:lnTo>
                    <a:pt x="950" y="830"/>
                  </a:lnTo>
                  <a:lnTo>
                    <a:pt x="952" y="830"/>
                  </a:lnTo>
                  <a:lnTo>
                    <a:pt x="952" y="828"/>
                  </a:lnTo>
                  <a:lnTo>
                    <a:pt x="952" y="826"/>
                  </a:lnTo>
                  <a:lnTo>
                    <a:pt x="953" y="826"/>
                  </a:lnTo>
                  <a:lnTo>
                    <a:pt x="955" y="826"/>
                  </a:lnTo>
                  <a:lnTo>
                    <a:pt x="957" y="826"/>
                  </a:lnTo>
                  <a:lnTo>
                    <a:pt x="958" y="828"/>
                  </a:lnTo>
                  <a:lnTo>
                    <a:pt x="958" y="830"/>
                  </a:lnTo>
                  <a:lnTo>
                    <a:pt x="960" y="831"/>
                  </a:lnTo>
                  <a:lnTo>
                    <a:pt x="961" y="831"/>
                  </a:lnTo>
                  <a:lnTo>
                    <a:pt x="961" y="833"/>
                  </a:lnTo>
                  <a:lnTo>
                    <a:pt x="961" y="834"/>
                  </a:lnTo>
                  <a:lnTo>
                    <a:pt x="965" y="836"/>
                  </a:lnTo>
                  <a:lnTo>
                    <a:pt x="966" y="836"/>
                  </a:lnTo>
                  <a:lnTo>
                    <a:pt x="966" y="838"/>
                  </a:lnTo>
                  <a:lnTo>
                    <a:pt x="966" y="839"/>
                  </a:lnTo>
                  <a:lnTo>
                    <a:pt x="970" y="841"/>
                  </a:lnTo>
                  <a:lnTo>
                    <a:pt x="970" y="843"/>
                  </a:lnTo>
                  <a:lnTo>
                    <a:pt x="971" y="843"/>
                  </a:lnTo>
                  <a:lnTo>
                    <a:pt x="973" y="843"/>
                  </a:lnTo>
                  <a:lnTo>
                    <a:pt x="974" y="841"/>
                  </a:lnTo>
                  <a:lnTo>
                    <a:pt x="976" y="841"/>
                  </a:lnTo>
                  <a:lnTo>
                    <a:pt x="978" y="843"/>
                  </a:lnTo>
                  <a:lnTo>
                    <a:pt x="979" y="843"/>
                  </a:lnTo>
                  <a:lnTo>
                    <a:pt x="981" y="843"/>
                  </a:lnTo>
                  <a:lnTo>
                    <a:pt x="983" y="843"/>
                  </a:lnTo>
                  <a:lnTo>
                    <a:pt x="981" y="844"/>
                  </a:lnTo>
                  <a:lnTo>
                    <a:pt x="981" y="846"/>
                  </a:lnTo>
                  <a:lnTo>
                    <a:pt x="979" y="848"/>
                  </a:lnTo>
                  <a:lnTo>
                    <a:pt x="981" y="848"/>
                  </a:lnTo>
                  <a:lnTo>
                    <a:pt x="981" y="846"/>
                  </a:lnTo>
                  <a:lnTo>
                    <a:pt x="983" y="846"/>
                  </a:lnTo>
                  <a:lnTo>
                    <a:pt x="984" y="846"/>
                  </a:lnTo>
                  <a:lnTo>
                    <a:pt x="986" y="846"/>
                  </a:lnTo>
                  <a:lnTo>
                    <a:pt x="987" y="848"/>
                  </a:lnTo>
                  <a:lnTo>
                    <a:pt x="987" y="846"/>
                  </a:lnTo>
                  <a:lnTo>
                    <a:pt x="989" y="846"/>
                  </a:lnTo>
                  <a:lnTo>
                    <a:pt x="989" y="844"/>
                  </a:lnTo>
                  <a:lnTo>
                    <a:pt x="991" y="846"/>
                  </a:lnTo>
                  <a:lnTo>
                    <a:pt x="992" y="848"/>
                  </a:lnTo>
                  <a:lnTo>
                    <a:pt x="994" y="848"/>
                  </a:lnTo>
                  <a:lnTo>
                    <a:pt x="996" y="848"/>
                  </a:lnTo>
                  <a:lnTo>
                    <a:pt x="997" y="848"/>
                  </a:lnTo>
                  <a:lnTo>
                    <a:pt x="997" y="846"/>
                  </a:lnTo>
                  <a:lnTo>
                    <a:pt x="999" y="846"/>
                  </a:lnTo>
                  <a:lnTo>
                    <a:pt x="999" y="844"/>
                  </a:lnTo>
                  <a:lnTo>
                    <a:pt x="1000" y="844"/>
                  </a:lnTo>
                  <a:lnTo>
                    <a:pt x="1000" y="846"/>
                  </a:lnTo>
                  <a:lnTo>
                    <a:pt x="1000" y="848"/>
                  </a:lnTo>
                  <a:lnTo>
                    <a:pt x="1000" y="849"/>
                  </a:lnTo>
                  <a:lnTo>
                    <a:pt x="1002" y="851"/>
                  </a:lnTo>
                  <a:lnTo>
                    <a:pt x="1002" y="852"/>
                  </a:lnTo>
                  <a:lnTo>
                    <a:pt x="1004" y="852"/>
                  </a:lnTo>
                  <a:lnTo>
                    <a:pt x="1005" y="854"/>
                  </a:lnTo>
                  <a:lnTo>
                    <a:pt x="1007" y="856"/>
                  </a:lnTo>
                  <a:lnTo>
                    <a:pt x="1009" y="857"/>
                  </a:lnTo>
                  <a:lnTo>
                    <a:pt x="1010" y="857"/>
                  </a:lnTo>
                  <a:lnTo>
                    <a:pt x="1010" y="859"/>
                  </a:lnTo>
                  <a:lnTo>
                    <a:pt x="1010" y="861"/>
                  </a:lnTo>
                  <a:lnTo>
                    <a:pt x="1010" y="862"/>
                  </a:lnTo>
                  <a:lnTo>
                    <a:pt x="1012" y="862"/>
                  </a:lnTo>
                  <a:lnTo>
                    <a:pt x="1013" y="862"/>
                  </a:lnTo>
                  <a:lnTo>
                    <a:pt x="1017" y="865"/>
                  </a:lnTo>
                  <a:lnTo>
                    <a:pt x="1018" y="865"/>
                  </a:lnTo>
                  <a:lnTo>
                    <a:pt x="1018" y="867"/>
                  </a:lnTo>
                  <a:lnTo>
                    <a:pt x="1018" y="869"/>
                  </a:lnTo>
                  <a:lnTo>
                    <a:pt x="1020" y="870"/>
                  </a:lnTo>
                  <a:lnTo>
                    <a:pt x="1020" y="872"/>
                  </a:lnTo>
                  <a:lnTo>
                    <a:pt x="1020" y="874"/>
                  </a:lnTo>
                  <a:lnTo>
                    <a:pt x="1022" y="874"/>
                  </a:lnTo>
                  <a:lnTo>
                    <a:pt x="1023" y="874"/>
                  </a:lnTo>
                  <a:lnTo>
                    <a:pt x="1025" y="878"/>
                  </a:lnTo>
                  <a:lnTo>
                    <a:pt x="1025" y="882"/>
                  </a:lnTo>
                  <a:lnTo>
                    <a:pt x="1026" y="882"/>
                  </a:lnTo>
                  <a:lnTo>
                    <a:pt x="1026" y="883"/>
                  </a:lnTo>
                  <a:lnTo>
                    <a:pt x="1028" y="883"/>
                  </a:lnTo>
                  <a:lnTo>
                    <a:pt x="1030" y="885"/>
                  </a:lnTo>
                  <a:lnTo>
                    <a:pt x="1030" y="887"/>
                  </a:lnTo>
                  <a:lnTo>
                    <a:pt x="1031" y="887"/>
                  </a:lnTo>
                  <a:lnTo>
                    <a:pt x="1033" y="887"/>
                  </a:lnTo>
                  <a:lnTo>
                    <a:pt x="1035" y="888"/>
                  </a:lnTo>
                  <a:lnTo>
                    <a:pt x="1036" y="890"/>
                  </a:lnTo>
                  <a:lnTo>
                    <a:pt x="1036" y="891"/>
                  </a:lnTo>
                  <a:lnTo>
                    <a:pt x="1036" y="893"/>
                  </a:lnTo>
                  <a:lnTo>
                    <a:pt x="1038" y="895"/>
                  </a:lnTo>
                  <a:lnTo>
                    <a:pt x="1040" y="898"/>
                  </a:lnTo>
                  <a:lnTo>
                    <a:pt x="1041" y="898"/>
                  </a:lnTo>
                  <a:lnTo>
                    <a:pt x="1043" y="900"/>
                  </a:lnTo>
                  <a:lnTo>
                    <a:pt x="1044" y="900"/>
                  </a:lnTo>
                  <a:lnTo>
                    <a:pt x="1044" y="901"/>
                  </a:lnTo>
                  <a:lnTo>
                    <a:pt x="1046" y="901"/>
                  </a:lnTo>
                  <a:lnTo>
                    <a:pt x="1048" y="903"/>
                  </a:lnTo>
                  <a:lnTo>
                    <a:pt x="1049" y="904"/>
                  </a:lnTo>
                  <a:lnTo>
                    <a:pt x="1051" y="908"/>
                  </a:lnTo>
                  <a:lnTo>
                    <a:pt x="1051" y="909"/>
                  </a:lnTo>
                  <a:lnTo>
                    <a:pt x="1053" y="911"/>
                  </a:lnTo>
                  <a:lnTo>
                    <a:pt x="1054" y="913"/>
                  </a:lnTo>
                  <a:lnTo>
                    <a:pt x="1056" y="914"/>
                  </a:lnTo>
                  <a:lnTo>
                    <a:pt x="1057" y="914"/>
                  </a:lnTo>
                  <a:lnTo>
                    <a:pt x="1057" y="916"/>
                  </a:lnTo>
                  <a:lnTo>
                    <a:pt x="1059" y="916"/>
                  </a:lnTo>
                  <a:lnTo>
                    <a:pt x="1061" y="916"/>
                  </a:lnTo>
                  <a:lnTo>
                    <a:pt x="1062" y="916"/>
                  </a:lnTo>
                  <a:lnTo>
                    <a:pt x="1062" y="914"/>
                  </a:lnTo>
                  <a:lnTo>
                    <a:pt x="1064" y="916"/>
                  </a:lnTo>
                  <a:lnTo>
                    <a:pt x="1066" y="914"/>
                  </a:lnTo>
                  <a:lnTo>
                    <a:pt x="1067" y="914"/>
                  </a:lnTo>
                  <a:lnTo>
                    <a:pt x="1069" y="914"/>
                  </a:lnTo>
                  <a:lnTo>
                    <a:pt x="1070" y="914"/>
                  </a:lnTo>
                  <a:lnTo>
                    <a:pt x="1072" y="914"/>
                  </a:lnTo>
                  <a:lnTo>
                    <a:pt x="1074" y="914"/>
                  </a:lnTo>
                  <a:lnTo>
                    <a:pt x="1075" y="914"/>
                  </a:lnTo>
                  <a:lnTo>
                    <a:pt x="1077" y="916"/>
                  </a:lnTo>
                  <a:lnTo>
                    <a:pt x="1077" y="917"/>
                  </a:lnTo>
                  <a:lnTo>
                    <a:pt x="1079" y="917"/>
                  </a:lnTo>
                  <a:lnTo>
                    <a:pt x="1080" y="917"/>
                  </a:lnTo>
                  <a:lnTo>
                    <a:pt x="1082" y="917"/>
                  </a:lnTo>
                  <a:lnTo>
                    <a:pt x="1082" y="916"/>
                  </a:lnTo>
                  <a:lnTo>
                    <a:pt x="1082" y="917"/>
                  </a:lnTo>
                  <a:lnTo>
                    <a:pt x="1083" y="917"/>
                  </a:lnTo>
                  <a:lnTo>
                    <a:pt x="1085" y="917"/>
                  </a:lnTo>
                  <a:lnTo>
                    <a:pt x="1087" y="917"/>
                  </a:lnTo>
                  <a:lnTo>
                    <a:pt x="1087" y="916"/>
                  </a:lnTo>
                  <a:lnTo>
                    <a:pt x="1088" y="917"/>
                  </a:lnTo>
                  <a:lnTo>
                    <a:pt x="1090" y="917"/>
                  </a:lnTo>
                  <a:lnTo>
                    <a:pt x="1092" y="917"/>
                  </a:lnTo>
                  <a:lnTo>
                    <a:pt x="1092" y="919"/>
                  </a:lnTo>
                  <a:lnTo>
                    <a:pt x="1092" y="921"/>
                  </a:lnTo>
                  <a:lnTo>
                    <a:pt x="1093" y="921"/>
                  </a:lnTo>
                  <a:lnTo>
                    <a:pt x="1095" y="922"/>
                  </a:lnTo>
                  <a:lnTo>
                    <a:pt x="1096" y="922"/>
                  </a:lnTo>
                  <a:lnTo>
                    <a:pt x="1098" y="922"/>
                  </a:lnTo>
                  <a:lnTo>
                    <a:pt x="1098" y="924"/>
                  </a:lnTo>
                  <a:lnTo>
                    <a:pt x="1100" y="924"/>
                  </a:lnTo>
                  <a:lnTo>
                    <a:pt x="1101" y="924"/>
                  </a:lnTo>
                  <a:lnTo>
                    <a:pt x="1101" y="926"/>
                  </a:lnTo>
                  <a:lnTo>
                    <a:pt x="1101" y="927"/>
                  </a:lnTo>
                  <a:lnTo>
                    <a:pt x="1103" y="929"/>
                  </a:lnTo>
                  <a:lnTo>
                    <a:pt x="1103" y="930"/>
                  </a:lnTo>
                  <a:lnTo>
                    <a:pt x="1105" y="930"/>
                  </a:lnTo>
                  <a:lnTo>
                    <a:pt x="1106" y="930"/>
                  </a:lnTo>
                  <a:lnTo>
                    <a:pt x="1108" y="932"/>
                  </a:lnTo>
                  <a:lnTo>
                    <a:pt x="1109" y="932"/>
                  </a:lnTo>
                  <a:lnTo>
                    <a:pt x="1109" y="934"/>
                  </a:lnTo>
                  <a:lnTo>
                    <a:pt x="1109" y="935"/>
                  </a:lnTo>
                  <a:lnTo>
                    <a:pt x="1111" y="937"/>
                  </a:lnTo>
                  <a:lnTo>
                    <a:pt x="1111" y="939"/>
                  </a:lnTo>
                  <a:lnTo>
                    <a:pt x="1111" y="940"/>
                  </a:lnTo>
                  <a:lnTo>
                    <a:pt x="1113" y="942"/>
                  </a:lnTo>
                  <a:lnTo>
                    <a:pt x="1111" y="943"/>
                  </a:lnTo>
                  <a:lnTo>
                    <a:pt x="1113" y="943"/>
                  </a:lnTo>
                  <a:lnTo>
                    <a:pt x="1113" y="945"/>
                  </a:lnTo>
                  <a:lnTo>
                    <a:pt x="1114" y="947"/>
                  </a:lnTo>
                  <a:lnTo>
                    <a:pt x="1113" y="947"/>
                  </a:lnTo>
                  <a:lnTo>
                    <a:pt x="1113" y="948"/>
                  </a:lnTo>
                  <a:lnTo>
                    <a:pt x="1114" y="948"/>
                  </a:lnTo>
                  <a:lnTo>
                    <a:pt x="1114" y="950"/>
                  </a:lnTo>
                  <a:lnTo>
                    <a:pt x="1113" y="952"/>
                  </a:lnTo>
                  <a:lnTo>
                    <a:pt x="1113" y="953"/>
                  </a:lnTo>
                  <a:lnTo>
                    <a:pt x="1111" y="955"/>
                  </a:lnTo>
                  <a:lnTo>
                    <a:pt x="1113" y="955"/>
                  </a:lnTo>
                  <a:lnTo>
                    <a:pt x="1113" y="956"/>
                  </a:lnTo>
                  <a:lnTo>
                    <a:pt x="1113" y="958"/>
                  </a:lnTo>
                  <a:lnTo>
                    <a:pt x="1114" y="960"/>
                  </a:lnTo>
                  <a:lnTo>
                    <a:pt x="1113" y="961"/>
                  </a:lnTo>
                  <a:lnTo>
                    <a:pt x="1113" y="963"/>
                  </a:lnTo>
                  <a:lnTo>
                    <a:pt x="1114" y="965"/>
                  </a:lnTo>
                  <a:lnTo>
                    <a:pt x="1116" y="966"/>
                  </a:lnTo>
                  <a:lnTo>
                    <a:pt x="1116" y="968"/>
                  </a:lnTo>
                  <a:lnTo>
                    <a:pt x="1116" y="969"/>
                  </a:lnTo>
                  <a:lnTo>
                    <a:pt x="1118" y="969"/>
                  </a:lnTo>
                  <a:lnTo>
                    <a:pt x="1119" y="971"/>
                  </a:lnTo>
                  <a:lnTo>
                    <a:pt x="1121" y="971"/>
                  </a:lnTo>
                  <a:lnTo>
                    <a:pt x="1121" y="973"/>
                  </a:lnTo>
                  <a:lnTo>
                    <a:pt x="1121" y="974"/>
                  </a:lnTo>
                  <a:lnTo>
                    <a:pt x="1119" y="974"/>
                  </a:lnTo>
                  <a:lnTo>
                    <a:pt x="1119" y="976"/>
                  </a:lnTo>
                  <a:lnTo>
                    <a:pt x="1118" y="976"/>
                  </a:lnTo>
                  <a:lnTo>
                    <a:pt x="1118" y="978"/>
                  </a:lnTo>
                  <a:lnTo>
                    <a:pt x="1116" y="978"/>
                  </a:lnTo>
                  <a:lnTo>
                    <a:pt x="1116" y="979"/>
                  </a:lnTo>
                  <a:lnTo>
                    <a:pt x="1116" y="981"/>
                  </a:lnTo>
                  <a:lnTo>
                    <a:pt x="1114" y="982"/>
                  </a:lnTo>
                  <a:lnTo>
                    <a:pt x="1116" y="984"/>
                  </a:lnTo>
                  <a:lnTo>
                    <a:pt x="1114" y="984"/>
                  </a:lnTo>
                  <a:lnTo>
                    <a:pt x="1114" y="986"/>
                  </a:lnTo>
                  <a:lnTo>
                    <a:pt x="1114" y="987"/>
                  </a:lnTo>
                  <a:lnTo>
                    <a:pt x="1114" y="989"/>
                  </a:lnTo>
                  <a:lnTo>
                    <a:pt x="1114" y="991"/>
                  </a:lnTo>
                  <a:lnTo>
                    <a:pt x="1113" y="991"/>
                  </a:lnTo>
                  <a:lnTo>
                    <a:pt x="1113" y="992"/>
                  </a:lnTo>
                  <a:lnTo>
                    <a:pt x="1113" y="994"/>
                  </a:lnTo>
                  <a:lnTo>
                    <a:pt x="1111" y="994"/>
                  </a:lnTo>
                  <a:lnTo>
                    <a:pt x="1111" y="996"/>
                  </a:lnTo>
                  <a:lnTo>
                    <a:pt x="1111" y="997"/>
                  </a:lnTo>
                  <a:lnTo>
                    <a:pt x="1111" y="999"/>
                  </a:lnTo>
                  <a:lnTo>
                    <a:pt x="1111" y="1000"/>
                  </a:lnTo>
                  <a:lnTo>
                    <a:pt x="1111" y="1002"/>
                  </a:lnTo>
                  <a:lnTo>
                    <a:pt x="1111" y="1004"/>
                  </a:lnTo>
                  <a:lnTo>
                    <a:pt x="1111" y="1005"/>
                  </a:lnTo>
                  <a:lnTo>
                    <a:pt x="1111" y="1007"/>
                  </a:lnTo>
                  <a:lnTo>
                    <a:pt x="1111" y="1009"/>
                  </a:lnTo>
                  <a:lnTo>
                    <a:pt x="1111" y="1010"/>
                  </a:lnTo>
                  <a:lnTo>
                    <a:pt x="1109" y="1012"/>
                  </a:lnTo>
                  <a:lnTo>
                    <a:pt x="1109" y="1013"/>
                  </a:lnTo>
                  <a:lnTo>
                    <a:pt x="1109" y="1015"/>
                  </a:lnTo>
                  <a:lnTo>
                    <a:pt x="1109" y="1017"/>
                  </a:lnTo>
                  <a:lnTo>
                    <a:pt x="1109" y="1018"/>
                  </a:lnTo>
                  <a:lnTo>
                    <a:pt x="1109" y="1020"/>
                  </a:lnTo>
                  <a:lnTo>
                    <a:pt x="1109" y="1022"/>
                  </a:lnTo>
                  <a:lnTo>
                    <a:pt x="1109" y="1023"/>
                  </a:lnTo>
                  <a:lnTo>
                    <a:pt x="1109" y="1025"/>
                  </a:lnTo>
                  <a:lnTo>
                    <a:pt x="1109" y="1026"/>
                  </a:lnTo>
                  <a:lnTo>
                    <a:pt x="1109" y="1028"/>
                  </a:lnTo>
                  <a:lnTo>
                    <a:pt x="1108" y="1028"/>
                  </a:lnTo>
                  <a:lnTo>
                    <a:pt x="1108" y="1030"/>
                  </a:lnTo>
                  <a:lnTo>
                    <a:pt x="1106" y="1030"/>
                  </a:lnTo>
                  <a:lnTo>
                    <a:pt x="1105" y="1031"/>
                  </a:lnTo>
                  <a:lnTo>
                    <a:pt x="1103" y="1031"/>
                  </a:lnTo>
                  <a:lnTo>
                    <a:pt x="1100" y="1033"/>
                  </a:lnTo>
                  <a:lnTo>
                    <a:pt x="1096" y="1033"/>
                  </a:lnTo>
                  <a:lnTo>
                    <a:pt x="1095" y="1033"/>
                  </a:lnTo>
                  <a:lnTo>
                    <a:pt x="1095" y="1035"/>
                  </a:lnTo>
                  <a:lnTo>
                    <a:pt x="1095" y="1036"/>
                  </a:lnTo>
                  <a:lnTo>
                    <a:pt x="1095" y="1038"/>
                  </a:lnTo>
                  <a:lnTo>
                    <a:pt x="1092" y="1039"/>
                  </a:lnTo>
                  <a:lnTo>
                    <a:pt x="1093" y="1039"/>
                  </a:lnTo>
                  <a:lnTo>
                    <a:pt x="1095" y="1038"/>
                  </a:lnTo>
                  <a:lnTo>
                    <a:pt x="1095" y="1036"/>
                  </a:lnTo>
                  <a:lnTo>
                    <a:pt x="1096" y="1038"/>
                  </a:lnTo>
                  <a:lnTo>
                    <a:pt x="1096" y="1039"/>
                  </a:lnTo>
                  <a:lnTo>
                    <a:pt x="1096" y="1041"/>
                  </a:lnTo>
                  <a:lnTo>
                    <a:pt x="1095" y="1041"/>
                  </a:lnTo>
                  <a:lnTo>
                    <a:pt x="1095" y="1043"/>
                  </a:lnTo>
                  <a:lnTo>
                    <a:pt x="1093" y="1043"/>
                  </a:lnTo>
                  <a:lnTo>
                    <a:pt x="1092" y="1044"/>
                  </a:lnTo>
                  <a:lnTo>
                    <a:pt x="1092" y="1046"/>
                  </a:lnTo>
                  <a:lnTo>
                    <a:pt x="1093" y="1048"/>
                  </a:lnTo>
                  <a:lnTo>
                    <a:pt x="1095" y="1051"/>
                  </a:lnTo>
                  <a:lnTo>
                    <a:pt x="1096" y="1051"/>
                  </a:lnTo>
                  <a:lnTo>
                    <a:pt x="1098" y="1052"/>
                  </a:lnTo>
                  <a:lnTo>
                    <a:pt x="1098" y="1054"/>
                  </a:lnTo>
                  <a:lnTo>
                    <a:pt x="1100" y="1054"/>
                  </a:lnTo>
                  <a:lnTo>
                    <a:pt x="1100" y="1056"/>
                  </a:lnTo>
                  <a:lnTo>
                    <a:pt x="1100" y="1057"/>
                  </a:lnTo>
                  <a:lnTo>
                    <a:pt x="1100" y="1059"/>
                  </a:lnTo>
                  <a:lnTo>
                    <a:pt x="1101" y="1059"/>
                  </a:lnTo>
                  <a:lnTo>
                    <a:pt x="1103" y="1059"/>
                  </a:lnTo>
                  <a:lnTo>
                    <a:pt x="1103" y="1057"/>
                  </a:lnTo>
                  <a:lnTo>
                    <a:pt x="1105" y="1057"/>
                  </a:lnTo>
                  <a:lnTo>
                    <a:pt x="1106" y="1057"/>
                  </a:lnTo>
                  <a:lnTo>
                    <a:pt x="1106" y="1059"/>
                  </a:lnTo>
                  <a:lnTo>
                    <a:pt x="1106" y="1057"/>
                  </a:lnTo>
                  <a:lnTo>
                    <a:pt x="1108" y="1057"/>
                  </a:lnTo>
                  <a:lnTo>
                    <a:pt x="1108" y="1056"/>
                  </a:lnTo>
                  <a:lnTo>
                    <a:pt x="1109" y="1056"/>
                  </a:lnTo>
                  <a:lnTo>
                    <a:pt x="1109" y="1057"/>
                  </a:lnTo>
                  <a:lnTo>
                    <a:pt x="1109" y="1059"/>
                  </a:lnTo>
                  <a:lnTo>
                    <a:pt x="1109" y="1061"/>
                  </a:lnTo>
                  <a:lnTo>
                    <a:pt x="1111" y="1062"/>
                  </a:lnTo>
                  <a:lnTo>
                    <a:pt x="1113" y="1062"/>
                  </a:lnTo>
                  <a:lnTo>
                    <a:pt x="1113" y="1064"/>
                  </a:lnTo>
                  <a:lnTo>
                    <a:pt x="1113" y="1065"/>
                  </a:lnTo>
                  <a:lnTo>
                    <a:pt x="1113" y="1067"/>
                  </a:lnTo>
                  <a:lnTo>
                    <a:pt x="1113" y="1069"/>
                  </a:lnTo>
                  <a:lnTo>
                    <a:pt x="1114" y="1069"/>
                  </a:lnTo>
                  <a:lnTo>
                    <a:pt x="1116" y="1070"/>
                  </a:lnTo>
                  <a:lnTo>
                    <a:pt x="1116" y="1072"/>
                  </a:lnTo>
                  <a:lnTo>
                    <a:pt x="1118" y="1072"/>
                  </a:lnTo>
                  <a:lnTo>
                    <a:pt x="1119" y="1072"/>
                  </a:lnTo>
                  <a:lnTo>
                    <a:pt x="1119" y="1074"/>
                  </a:lnTo>
                  <a:lnTo>
                    <a:pt x="1121" y="1074"/>
                  </a:lnTo>
                  <a:lnTo>
                    <a:pt x="1121" y="1072"/>
                  </a:lnTo>
                  <a:lnTo>
                    <a:pt x="1121" y="1074"/>
                  </a:lnTo>
                  <a:lnTo>
                    <a:pt x="1122" y="1074"/>
                  </a:lnTo>
                  <a:lnTo>
                    <a:pt x="1121" y="1075"/>
                  </a:lnTo>
                  <a:lnTo>
                    <a:pt x="1122" y="1075"/>
                  </a:lnTo>
                  <a:lnTo>
                    <a:pt x="1124" y="1077"/>
                  </a:lnTo>
                  <a:lnTo>
                    <a:pt x="1126" y="1078"/>
                  </a:lnTo>
                  <a:lnTo>
                    <a:pt x="1127" y="1080"/>
                  </a:lnTo>
                  <a:lnTo>
                    <a:pt x="1129" y="1080"/>
                  </a:lnTo>
                  <a:lnTo>
                    <a:pt x="1129" y="1082"/>
                  </a:lnTo>
                  <a:lnTo>
                    <a:pt x="1131" y="1082"/>
                  </a:lnTo>
                  <a:lnTo>
                    <a:pt x="1131" y="1083"/>
                  </a:lnTo>
                  <a:lnTo>
                    <a:pt x="1131" y="1085"/>
                  </a:lnTo>
                  <a:lnTo>
                    <a:pt x="1131" y="1087"/>
                  </a:lnTo>
                  <a:lnTo>
                    <a:pt x="1131" y="1088"/>
                  </a:lnTo>
                  <a:lnTo>
                    <a:pt x="1131" y="1090"/>
                  </a:lnTo>
                  <a:lnTo>
                    <a:pt x="1129" y="1090"/>
                  </a:lnTo>
                  <a:lnTo>
                    <a:pt x="1129" y="1091"/>
                  </a:lnTo>
                  <a:lnTo>
                    <a:pt x="1129" y="1090"/>
                  </a:lnTo>
                  <a:lnTo>
                    <a:pt x="1131" y="1090"/>
                  </a:lnTo>
                  <a:lnTo>
                    <a:pt x="1131" y="1088"/>
                  </a:lnTo>
                  <a:lnTo>
                    <a:pt x="1131" y="1087"/>
                  </a:lnTo>
                  <a:lnTo>
                    <a:pt x="1131" y="1085"/>
                  </a:lnTo>
                  <a:lnTo>
                    <a:pt x="1132" y="1085"/>
                  </a:lnTo>
                  <a:lnTo>
                    <a:pt x="1134" y="1085"/>
                  </a:lnTo>
                  <a:lnTo>
                    <a:pt x="1135" y="1085"/>
                  </a:lnTo>
                  <a:lnTo>
                    <a:pt x="1137" y="1085"/>
                  </a:lnTo>
                  <a:lnTo>
                    <a:pt x="1139" y="1085"/>
                  </a:lnTo>
                  <a:lnTo>
                    <a:pt x="1139" y="1083"/>
                  </a:lnTo>
                  <a:lnTo>
                    <a:pt x="1140" y="1083"/>
                  </a:lnTo>
                  <a:lnTo>
                    <a:pt x="1142" y="1083"/>
                  </a:lnTo>
                  <a:lnTo>
                    <a:pt x="1144" y="1083"/>
                  </a:lnTo>
                  <a:lnTo>
                    <a:pt x="1142" y="1083"/>
                  </a:lnTo>
                  <a:lnTo>
                    <a:pt x="1140" y="1083"/>
                  </a:lnTo>
                  <a:lnTo>
                    <a:pt x="1139" y="1083"/>
                  </a:lnTo>
                  <a:lnTo>
                    <a:pt x="1139" y="1085"/>
                  </a:lnTo>
                  <a:lnTo>
                    <a:pt x="1137" y="1085"/>
                  </a:lnTo>
                  <a:lnTo>
                    <a:pt x="1135" y="1085"/>
                  </a:lnTo>
                  <a:lnTo>
                    <a:pt x="1134" y="1085"/>
                  </a:lnTo>
                  <a:lnTo>
                    <a:pt x="1131" y="1085"/>
                  </a:lnTo>
                  <a:lnTo>
                    <a:pt x="1131" y="1083"/>
                  </a:lnTo>
                  <a:lnTo>
                    <a:pt x="1131" y="1082"/>
                  </a:lnTo>
                  <a:lnTo>
                    <a:pt x="1129" y="1082"/>
                  </a:lnTo>
                  <a:lnTo>
                    <a:pt x="1129" y="1080"/>
                  </a:lnTo>
                  <a:lnTo>
                    <a:pt x="1127" y="1080"/>
                  </a:lnTo>
                  <a:lnTo>
                    <a:pt x="1127" y="1078"/>
                  </a:lnTo>
                  <a:lnTo>
                    <a:pt x="1126" y="1078"/>
                  </a:lnTo>
                  <a:lnTo>
                    <a:pt x="1124" y="1077"/>
                  </a:lnTo>
                  <a:lnTo>
                    <a:pt x="1124" y="1075"/>
                  </a:lnTo>
                  <a:lnTo>
                    <a:pt x="1122" y="1075"/>
                  </a:lnTo>
                  <a:lnTo>
                    <a:pt x="1122" y="1074"/>
                  </a:lnTo>
                  <a:lnTo>
                    <a:pt x="1121" y="1072"/>
                  </a:lnTo>
                  <a:lnTo>
                    <a:pt x="1121" y="1074"/>
                  </a:lnTo>
                  <a:lnTo>
                    <a:pt x="1119" y="1074"/>
                  </a:lnTo>
                  <a:lnTo>
                    <a:pt x="1119" y="1072"/>
                  </a:lnTo>
                  <a:lnTo>
                    <a:pt x="1118" y="1072"/>
                  </a:lnTo>
                  <a:lnTo>
                    <a:pt x="1116" y="1072"/>
                  </a:lnTo>
                  <a:lnTo>
                    <a:pt x="1116" y="1070"/>
                  </a:lnTo>
                  <a:lnTo>
                    <a:pt x="1114" y="1069"/>
                  </a:lnTo>
                  <a:lnTo>
                    <a:pt x="1113" y="1069"/>
                  </a:lnTo>
                  <a:lnTo>
                    <a:pt x="1113" y="1067"/>
                  </a:lnTo>
                  <a:lnTo>
                    <a:pt x="1113" y="1065"/>
                  </a:lnTo>
                  <a:lnTo>
                    <a:pt x="1113" y="1064"/>
                  </a:lnTo>
                  <a:lnTo>
                    <a:pt x="1111" y="1062"/>
                  </a:lnTo>
                  <a:lnTo>
                    <a:pt x="1109" y="1061"/>
                  </a:lnTo>
                  <a:lnTo>
                    <a:pt x="1109" y="1059"/>
                  </a:lnTo>
                  <a:lnTo>
                    <a:pt x="1109" y="1057"/>
                  </a:lnTo>
                  <a:lnTo>
                    <a:pt x="1109" y="1056"/>
                  </a:lnTo>
                  <a:lnTo>
                    <a:pt x="1108" y="1056"/>
                  </a:lnTo>
                  <a:lnTo>
                    <a:pt x="1106" y="1057"/>
                  </a:lnTo>
                  <a:lnTo>
                    <a:pt x="1105" y="1057"/>
                  </a:lnTo>
                  <a:lnTo>
                    <a:pt x="1103" y="1057"/>
                  </a:lnTo>
                  <a:lnTo>
                    <a:pt x="1103" y="1059"/>
                  </a:lnTo>
                  <a:lnTo>
                    <a:pt x="1101" y="1059"/>
                  </a:lnTo>
                  <a:lnTo>
                    <a:pt x="1100" y="1057"/>
                  </a:lnTo>
                  <a:lnTo>
                    <a:pt x="1100" y="1056"/>
                  </a:lnTo>
                  <a:lnTo>
                    <a:pt x="1100" y="1054"/>
                  </a:lnTo>
                  <a:lnTo>
                    <a:pt x="1098" y="1054"/>
                  </a:lnTo>
                  <a:lnTo>
                    <a:pt x="1098" y="1052"/>
                  </a:lnTo>
                  <a:lnTo>
                    <a:pt x="1098" y="1051"/>
                  </a:lnTo>
                  <a:lnTo>
                    <a:pt x="1096" y="1051"/>
                  </a:lnTo>
                  <a:lnTo>
                    <a:pt x="1095" y="1051"/>
                  </a:lnTo>
                  <a:lnTo>
                    <a:pt x="1095" y="1049"/>
                  </a:lnTo>
                  <a:lnTo>
                    <a:pt x="1093" y="1048"/>
                  </a:lnTo>
                  <a:lnTo>
                    <a:pt x="1093" y="1046"/>
                  </a:lnTo>
                  <a:lnTo>
                    <a:pt x="1092" y="1046"/>
                  </a:lnTo>
                  <a:lnTo>
                    <a:pt x="1092" y="1044"/>
                  </a:lnTo>
                  <a:lnTo>
                    <a:pt x="1093" y="1043"/>
                  </a:lnTo>
                  <a:lnTo>
                    <a:pt x="1095" y="1043"/>
                  </a:lnTo>
                  <a:lnTo>
                    <a:pt x="1095" y="1041"/>
                  </a:lnTo>
                  <a:lnTo>
                    <a:pt x="1096" y="1041"/>
                  </a:lnTo>
                  <a:lnTo>
                    <a:pt x="1096" y="1039"/>
                  </a:lnTo>
                  <a:lnTo>
                    <a:pt x="1096" y="1038"/>
                  </a:lnTo>
                  <a:lnTo>
                    <a:pt x="1096" y="1036"/>
                  </a:lnTo>
                  <a:lnTo>
                    <a:pt x="1095" y="1036"/>
                  </a:lnTo>
                  <a:lnTo>
                    <a:pt x="1095" y="1035"/>
                  </a:lnTo>
                  <a:lnTo>
                    <a:pt x="1095" y="1033"/>
                  </a:lnTo>
                  <a:lnTo>
                    <a:pt x="1096" y="1033"/>
                  </a:lnTo>
                  <a:lnTo>
                    <a:pt x="1100" y="1033"/>
                  </a:lnTo>
                  <a:lnTo>
                    <a:pt x="1103" y="1031"/>
                  </a:lnTo>
                  <a:lnTo>
                    <a:pt x="1105" y="1031"/>
                  </a:lnTo>
                  <a:lnTo>
                    <a:pt x="1106" y="1031"/>
                  </a:lnTo>
                  <a:lnTo>
                    <a:pt x="1106" y="1030"/>
                  </a:lnTo>
                  <a:lnTo>
                    <a:pt x="1108" y="1030"/>
                  </a:lnTo>
                  <a:lnTo>
                    <a:pt x="1108" y="1028"/>
                  </a:lnTo>
                  <a:lnTo>
                    <a:pt x="1109" y="1028"/>
                  </a:lnTo>
                  <a:lnTo>
                    <a:pt x="1109" y="1026"/>
                  </a:lnTo>
                  <a:lnTo>
                    <a:pt x="1109" y="1025"/>
                  </a:lnTo>
                  <a:lnTo>
                    <a:pt x="1109" y="1023"/>
                  </a:lnTo>
                  <a:lnTo>
                    <a:pt x="1109" y="1022"/>
                  </a:lnTo>
                  <a:lnTo>
                    <a:pt x="1109" y="1020"/>
                  </a:lnTo>
                  <a:lnTo>
                    <a:pt x="1109" y="1018"/>
                  </a:lnTo>
                  <a:lnTo>
                    <a:pt x="1109" y="1017"/>
                  </a:lnTo>
                  <a:lnTo>
                    <a:pt x="1109" y="1015"/>
                  </a:lnTo>
                  <a:lnTo>
                    <a:pt x="1109" y="1013"/>
                  </a:lnTo>
                  <a:lnTo>
                    <a:pt x="1109" y="1012"/>
                  </a:lnTo>
                  <a:lnTo>
                    <a:pt x="1111" y="1012"/>
                  </a:lnTo>
                  <a:lnTo>
                    <a:pt x="1111" y="1010"/>
                  </a:lnTo>
                  <a:lnTo>
                    <a:pt x="1111" y="1009"/>
                  </a:lnTo>
                  <a:lnTo>
                    <a:pt x="1111" y="1007"/>
                  </a:lnTo>
                  <a:lnTo>
                    <a:pt x="1111" y="1005"/>
                  </a:lnTo>
                  <a:lnTo>
                    <a:pt x="1111" y="1004"/>
                  </a:lnTo>
                  <a:lnTo>
                    <a:pt x="1111" y="1002"/>
                  </a:lnTo>
                  <a:lnTo>
                    <a:pt x="1111" y="1000"/>
                  </a:lnTo>
                  <a:lnTo>
                    <a:pt x="1111" y="999"/>
                  </a:lnTo>
                  <a:lnTo>
                    <a:pt x="1111" y="997"/>
                  </a:lnTo>
                  <a:lnTo>
                    <a:pt x="1111" y="996"/>
                  </a:lnTo>
                  <a:lnTo>
                    <a:pt x="1113" y="994"/>
                  </a:lnTo>
                  <a:lnTo>
                    <a:pt x="1113" y="992"/>
                  </a:lnTo>
                  <a:lnTo>
                    <a:pt x="1113" y="991"/>
                  </a:lnTo>
                  <a:lnTo>
                    <a:pt x="1114" y="991"/>
                  </a:lnTo>
                  <a:lnTo>
                    <a:pt x="1114" y="989"/>
                  </a:lnTo>
                  <a:lnTo>
                    <a:pt x="1114" y="987"/>
                  </a:lnTo>
                  <a:lnTo>
                    <a:pt x="1114" y="986"/>
                  </a:lnTo>
                  <a:lnTo>
                    <a:pt x="1116" y="986"/>
                  </a:lnTo>
                  <a:lnTo>
                    <a:pt x="1116" y="984"/>
                  </a:lnTo>
                  <a:lnTo>
                    <a:pt x="1116" y="982"/>
                  </a:lnTo>
                  <a:lnTo>
                    <a:pt x="1116" y="981"/>
                  </a:lnTo>
                  <a:lnTo>
                    <a:pt x="1118" y="979"/>
                  </a:lnTo>
                  <a:lnTo>
                    <a:pt x="1118" y="978"/>
                  </a:lnTo>
                  <a:lnTo>
                    <a:pt x="1118" y="979"/>
                  </a:lnTo>
                  <a:lnTo>
                    <a:pt x="1116" y="981"/>
                  </a:lnTo>
                  <a:lnTo>
                    <a:pt x="1116" y="978"/>
                  </a:lnTo>
                  <a:lnTo>
                    <a:pt x="1118" y="978"/>
                  </a:lnTo>
                  <a:lnTo>
                    <a:pt x="1118" y="976"/>
                  </a:lnTo>
                  <a:lnTo>
                    <a:pt x="1119" y="978"/>
                  </a:lnTo>
                  <a:lnTo>
                    <a:pt x="1118" y="978"/>
                  </a:lnTo>
                  <a:lnTo>
                    <a:pt x="1119" y="978"/>
                  </a:lnTo>
                  <a:lnTo>
                    <a:pt x="1118" y="978"/>
                  </a:lnTo>
                  <a:lnTo>
                    <a:pt x="1118" y="979"/>
                  </a:lnTo>
                  <a:lnTo>
                    <a:pt x="1119" y="979"/>
                  </a:lnTo>
                  <a:lnTo>
                    <a:pt x="1119" y="978"/>
                  </a:lnTo>
                  <a:lnTo>
                    <a:pt x="1118" y="978"/>
                  </a:lnTo>
                  <a:lnTo>
                    <a:pt x="1119" y="978"/>
                  </a:lnTo>
                  <a:lnTo>
                    <a:pt x="1119" y="976"/>
                  </a:lnTo>
                  <a:lnTo>
                    <a:pt x="1121" y="976"/>
                  </a:lnTo>
                  <a:lnTo>
                    <a:pt x="1122" y="976"/>
                  </a:lnTo>
                  <a:lnTo>
                    <a:pt x="1122" y="978"/>
                  </a:lnTo>
                  <a:lnTo>
                    <a:pt x="1122" y="976"/>
                  </a:lnTo>
                  <a:lnTo>
                    <a:pt x="1122" y="978"/>
                  </a:lnTo>
                  <a:lnTo>
                    <a:pt x="1122" y="979"/>
                  </a:lnTo>
                  <a:lnTo>
                    <a:pt x="1124" y="979"/>
                  </a:lnTo>
                  <a:lnTo>
                    <a:pt x="1126" y="979"/>
                  </a:lnTo>
                  <a:lnTo>
                    <a:pt x="1126" y="981"/>
                  </a:lnTo>
                  <a:lnTo>
                    <a:pt x="1127" y="981"/>
                  </a:lnTo>
                  <a:lnTo>
                    <a:pt x="1129" y="981"/>
                  </a:lnTo>
                  <a:lnTo>
                    <a:pt x="1129" y="979"/>
                  </a:lnTo>
                  <a:lnTo>
                    <a:pt x="1131" y="979"/>
                  </a:lnTo>
                  <a:lnTo>
                    <a:pt x="1132" y="981"/>
                  </a:lnTo>
                  <a:lnTo>
                    <a:pt x="1134" y="981"/>
                  </a:lnTo>
                  <a:lnTo>
                    <a:pt x="1135" y="979"/>
                  </a:lnTo>
                  <a:lnTo>
                    <a:pt x="1137" y="979"/>
                  </a:lnTo>
                  <a:lnTo>
                    <a:pt x="1139" y="979"/>
                  </a:lnTo>
                  <a:lnTo>
                    <a:pt x="1140" y="978"/>
                  </a:lnTo>
                  <a:lnTo>
                    <a:pt x="1142" y="978"/>
                  </a:lnTo>
                  <a:lnTo>
                    <a:pt x="1144" y="978"/>
                  </a:lnTo>
                  <a:lnTo>
                    <a:pt x="1142" y="978"/>
                  </a:lnTo>
                  <a:lnTo>
                    <a:pt x="1140" y="976"/>
                  </a:lnTo>
                  <a:lnTo>
                    <a:pt x="1142" y="976"/>
                  </a:lnTo>
                  <a:lnTo>
                    <a:pt x="1140" y="976"/>
                  </a:lnTo>
                  <a:lnTo>
                    <a:pt x="1140" y="974"/>
                  </a:lnTo>
                  <a:lnTo>
                    <a:pt x="1140" y="976"/>
                  </a:lnTo>
                  <a:lnTo>
                    <a:pt x="1142" y="978"/>
                  </a:lnTo>
                  <a:lnTo>
                    <a:pt x="1140" y="978"/>
                  </a:lnTo>
                  <a:lnTo>
                    <a:pt x="1139" y="978"/>
                  </a:lnTo>
                  <a:lnTo>
                    <a:pt x="1139" y="979"/>
                  </a:lnTo>
                  <a:lnTo>
                    <a:pt x="1137" y="979"/>
                  </a:lnTo>
                  <a:lnTo>
                    <a:pt x="1135" y="979"/>
                  </a:lnTo>
                  <a:lnTo>
                    <a:pt x="1134" y="981"/>
                  </a:lnTo>
                  <a:lnTo>
                    <a:pt x="1132" y="981"/>
                  </a:lnTo>
                  <a:lnTo>
                    <a:pt x="1131" y="979"/>
                  </a:lnTo>
                  <a:lnTo>
                    <a:pt x="1129" y="979"/>
                  </a:lnTo>
                  <a:lnTo>
                    <a:pt x="1129" y="981"/>
                  </a:lnTo>
                  <a:lnTo>
                    <a:pt x="1127" y="981"/>
                  </a:lnTo>
                  <a:lnTo>
                    <a:pt x="1126" y="979"/>
                  </a:lnTo>
                  <a:lnTo>
                    <a:pt x="1124" y="979"/>
                  </a:lnTo>
                  <a:lnTo>
                    <a:pt x="1122" y="979"/>
                  </a:lnTo>
                  <a:lnTo>
                    <a:pt x="1124" y="979"/>
                  </a:lnTo>
                  <a:lnTo>
                    <a:pt x="1122" y="978"/>
                  </a:lnTo>
                  <a:lnTo>
                    <a:pt x="1122" y="976"/>
                  </a:lnTo>
                  <a:lnTo>
                    <a:pt x="1122" y="978"/>
                  </a:lnTo>
                  <a:lnTo>
                    <a:pt x="1122" y="976"/>
                  </a:lnTo>
                  <a:lnTo>
                    <a:pt x="1121" y="976"/>
                  </a:lnTo>
                  <a:lnTo>
                    <a:pt x="1119" y="976"/>
                  </a:lnTo>
                  <a:lnTo>
                    <a:pt x="1119" y="974"/>
                  </a:lnTo>
                  <a:lnTo>
                    <a:pt x="1121" y="974"/>
                  </a:lnTo>
                  <a:lnTo>
                    <a:pt x="1121" y="973"/>
                  </a:lnTo>
                  <a:lnTo>
                    <a:pt x="1122" y="973"/>
                  </a:lnTo>
                  <a:lnTo>
                    <a:pt x="1122" y="974"/>
                  </a:lnTo>
                  <a:lnTo>
                    <a:pt x="1122" y="973"/>
                  </a:lnTo>
                  <a:lnTo>
                    <a:pt x="1121" y="971"/>
                  </a:lnTo>
                  <a:lnTo>
                    <a:pt x="1119" y="969"/>
                  </a:lnTo>
                  <a:lnTo>
                    <a:pt x="1118" y="969"/>
                  </a:lnTo>
                  <a:lnTo>
                    <a:pt x="1118" y="968"/>
                  </a:lnTo>
                  <a:lnTo>
                    <a:pt x="1116" y="968"/>
                  </a:lnTo>
                  <a:lnTo>
                    <a:pt x="1116" y="966"/>
                  </a:lnTo>
                  <a:lnTo>
                    <a:pt x="1116" y="965"/>
                  </a:lnTo>
                  <a:lnTo>
                    <a:pt x="1114" y="963"/>
                  </a:lnTo>
                  <a:lnTo>
                    <a:pt x="1113" y="963"/>
                  </a:lnTo>
                  <a:lnTo>
                    <a:pt x="1113" y="961"/>
                  </a:lnTo>
                  <a:lnTo>
                    <a:pt x="1114" y="960"/>
                  </a:lnTo>
                  <a:lnTo>
                    <a:pt x="1113" y="958"/>
                  </a:lnTo>
                  <a:lnTo>
                    <a:pt x="1113" y="956"/>
                  </a:lnTo>
                  <a:lnTo>
                    <a:pt x="1113" y="955"/>
                  </a:lnTo>
                  <a:lnTo>
                    <a:pt x="1113" y="953"/>
                  </a:lnTo>
                  <a:lnTo>
                    <a:pt x="1113" y="952"/>
                  </a:lnTo>
                  <a:lnTo>
                    <a:pt x="1114" y="950"/>
                  </a:lnTo>
                  <a:lnTo>
                    <a:pt x="1114" y="948"/>
                  </a:lnTo>
                  <a:lnTo>
                    <a:pt x="1113" y="948"/>
                  </a:lnTo>
                  <a:lnTo>
                    <a:pt x="1114" y="947"/>
                  </a:lnTo>
                  <a:lnTo>
                    <a:pt x="1114" y="945"/>
                  </a:lnTo>
                  <a:lnTo>
                    <a:pt x="1113" y="945"/>
                  </a:lnTo>
                  <a:lnTo>
                    <a:pt x="1113" y="943"/>
                  </a:lnTo>
                  <a:lnTo>
                    <a:pt x="1113" y="942"/>
                  </a:lnTo>
                  <a:lnTo>
                    <a:pt x="1111" y="940"/>
                  </a:lnTo>
                  <a:lnTo>
                    <a:pt x="1111" y="939"/>
                  </a:lnTo>
                  <a:lnTo>
                    <a:pt x="1111" y="937"/>
                  </a:lnTo>
                  <a:lnTo>
                    <a:pt x="1109" y="935"/>
                  </a:lnTo>
                  <a:lnTo>
                    <a:pt x="1109" y="934"/>
                  </a:lnTo>
                  <a:lnTo>
                    <a:pt x="1109" y="932"/>
                  </a:lnTo>
                  <a:lnTo>
                    <a:pt x="1108" y="932"/>
                  </a:lnTo>
                  <a:lnTo>
                    <a:pt x="1106" y="930"/>
                  </a:lnTo>
                  <a:lnTo>
                    <a:pt x="1105" y="930"/>
                  </a:lnTo>
                  <a:lnTo>
                    <a:pt x="1103" y="929"/>
                  </a:lnTo>
                  <a:lnTo>
                    <a:pt x="1101" y="927"/>
                  </a:lnTo>
                  <a:lnTo>
                    <a:pt x="1101" y="926"/>
                  </a:lnTo>
                  <a:lnTo>
                    <a:pt x="1101" y="924"/>
                  </a:lnTo>
                  <a:lnTo>
                    <a:pt x="1100" y="924"/>
                  </a:lnTo>
                  <a:lnTo>
                    <a:pt x="1098" y="924"/>
                  </a:lnTo>
                  <a:lnTo>
                    <a:pt x="1098" y="922"/>
                  </a:lnTo>
                  <a:lnTo>
                    <a:pt x="1096" y="922"/>
                  </a:lnTo>
                  <a:lnTo>
                    <a:pt x="1095" y="922"/>
                  </a:lnTo>
                  <a:lnTo>
                    <a:pt x="1093" y="921"/>
                  </a:lnTo>
                  <a:lnTo>
                    <a:pt x="1092" y="921"/>
                  </a:lnTo>
                  <a:lnTo>
                    <a:pt x="1092" y="919"/>
                  </a:lnTo>
                  <a:lnTo>
                    <a:pt x="1092" y="917"/>
                  </a:lnTo>
                  <a:lnTo>
                    <a:pt x="1090" y="917"/>
                  </a:lnTo>
                  <a:lnTo>
                    <a:pt x="1088" y="917"/>
                  </a:lnTo>
                  <a:lnTo>
                    <a:pt x="1087" y="916"/>
                  </a:lnTo>
                  <a:lnTo>
                    <a:pt x="1087" y="917"/>
                  </a:lnTo>
                  <a:lnTo>
                    <a:pt x="1085" y="917"/>
                  </a:lnTo>
                  <a:lnTo>
                    <a:pt x="1083" y="917"/>
                  </a:lnTo>
                  <a:lnTo>
                    <a:pt x="1082" y="916"/>
                  </a:lnTo>
                  <a:lnTo>
                    <a:pt x="1080" y="917"/>
                  </a:lnTo>
                  <a:lnTo>
                    <a:pt x="1079" y="916"/>
                  </a:lnTo>
                  <a:lnTo>
                    <a:pt x="1079" y="917"/>
                  </a:lnTo>
                  <a:lnTo>
                    <a:pt x="1077" y="916"/>
                  </a:lnTo>
                  <a:lnTo>
                    <a:pt x="1077" y="914"/>
                  </a:lnTo>
                  <a:lnTo>
                    <a:pt x="1075" y="914"/>
                  </a:lnTo>
                  <a:lnTo>
                    <a:pt x="1074" y="914"/>
                  </a:lnTo>
                  <a:lnTo>
                    <a:pt x="1070" y="913"/>
                  </a:lnTo>
                  <a:lnTo>
                    <a:pt x="1070" y="914"/>
                  </a:lnTo>
                  <a:lnTo>
                    <a:pt x="1069" y="914"/>
                  </a:lnTo>
                  <a:lnTo>
                    <a:pt x="1067" y="913"/>
                  </a:lnTo>
                  <a:lnTo>
                    <a:pt x="1066" y="914"/>
                  </a:lnTo>
                  <a:lnTo>
                    <a:pt x="1064" y="914"/>
                  </a:lnTo>
                  <a:lnTo>
                    <a:pt x="1062" y="914"/>
                  </a:lnTo>
                  <a:lnTo>
                    <a:pt x="1062" y="916"/>
                  </a:lnTo>
                  <a:lnTo>
                    <a:pt x="1061" y="916"/>
                  </a:lnTo>
                  <a:lnTo>
                    <a:pt x="1059" y="916"/>
                  </a:lnTo>
                  <a:lnTo>
                    <a:pt x="1057" y="916"/>
                  </a:lnTo>
                  <a:lnTo>
                    <a:pt x="1057" y="914"/>
                  </a:lnTo>
                  <a:lnTo>
                    <a:pt x="1056" y="914"/>
                  </a:lnTo>
                  <a:lnTo>
                    <a:pt x="1053" y="911"/>
                  </a:lnTo>
                  <a:lnTo>
                    <a:pt x="1053" y="909"/>
                  </a:lnTo>
                  <a:lnTo>
                    <a:pt x="1051" y="908"/>
                  </a:lnTo>
                  <a:lnTo>
                    <a:pt x="1051" y="906"/>
                  </a:lnTo>
                  <a:lnTo>
                    <a:pt x="1049" y="906"/>
                  </a:lnTo>
                  <a:lnTo>
                    <a:pt x="1049" y="904"/>
                  </a:lnTo>
                  <a:lnTo>
                    <a:pt x="1048" y="903"/>
                  </a:lnTo>
                  <a:lnTo>
                    <a:pt x="1046" y="901"/>
                  </a:lnTo>
                  <a:lnTo>
                    <a:pt x="1044" y="901"/>
                  </a:lnTo>
                  <a:lnTo>
                    <a:pt x="1044" y="900"/>
                  </a:lnTo>
                  <a:lnTo>
                    <a:pt x="1043" y="900"/>
                  </a:lnTo>
                  <a:lnTo>
                    <a:pt x="1041" y="898"/>
                  </a:lnTo>
                  <a:lnTo>
                    <a:pt x="1040" y="896"/>
                  </a:lnTo>
                  <a:lnTo>
                    <a:pt x="1038" y="895"/>
                  </a:lnTo>
                  <a:lnTo>
                    <a:pt x="1036" y="895"/>
                  </a:lnTo>
                  <a:lnTo>
                    <a:pt x="1038" y="895"/>
                  </a:lnTo>
                  <a:lnTo>
                    <a:pt x="1036" y="893"/>
                  </a:lnTo>
                  <a:lnTo>
                    <a:pt x="1036" y="891"/>
                  </a:lnTo>
                  <a:lnTo>
                    <a:pt x="1036" y="890"/>
                  </a:lnTo>
                  <a:lnTo>
                    <a:pt x="1036" y="888"/>
                  </a:lnTo>
                  <a:lnTo>
                    <a:pt x="1035" y="887"/>
                  </a:lnTo>
                  <a:lnTo>
                    <a:pt x="1033" y="887"/>
                  </a:lnTo>
                  <a:lnTo>
                    <a:pt x="1031" y="887"/>
                  </a:lnTo>
                  <a:lnTo>
                    <a:pt x="1030" y="887"/>
                  </a:lnTo>
                  <a:lnTo>
                    <a:pt x="1030" y="885"/>
                  </a:lnTo>
                  <a:lnTo>
                    <a:pt x="1030" y="883"/>
                  </a:lnTo>
                  <a:lnTo>
                    <a:pt x="1026" y="882"/>
                  </a:lnTo>
                  <a:lnTo>
                    <a:pt x="1025" y="882"/>
                  </a:lnTo>
                  <a:lnTo>
                    <a:pt x="1026" y="878"/>
                  </a:lnTo>
                  <a:lnTo>
                    <a:pt x="1025" y="877"/>
                  </a:lnTo>
                  <a:lnTo>
                    <a:pt x="1025" y="875"/>
                  </a:lnTo>
                  <a:lnTo>
                    <a:pt x="1025" y="874"/>
                  </a:lnTo>
                  <a:lnTo>
                    <a:pt x="1023" y="874"/>
                  </a:lnTo>
                  <a:lnTo>
                    <a:pt x="1022" y="874"/>
                  </a:lnTo>
                  <a:lnTo>
                    <a:pt x="1020" y="874"/>
                  </a:lnTo>
                  <a:lnTo>
                    <a:pt x="1020" y="872"/>
                  </a:lnTo>
                  <a:lnTo>
                    <a:pt x="1020" y="870"/>
                  </a:lnTo>
                  <a:lnTo>
                    <a:pt x="1018" y="869"/>
                  </a:lnTo>
                  <a:lnTo>
                    <a:pt x="1018" y="867"/>
                  </a:lnTo>
                  <a:lnTo>
                    <a:pt x="1018" y="865"/>
                  </a:lnTo>
                  <a:lnTo>
                    <a:pt x="1013" y="862"/>
                  </a:lnTo>
                  <a:lnTo>
                    <a:pt x="1012" y="861"/>
                  </a:lnTo>
                  <a:lnTo>
                    <a:pt x="1010" y="861"/>
                  </a:lnTo>
                  <a:lnTo>
                    <a:pt x="1010" y="859"/>
                  </a:lnTo>
                  <a:lnTo>
                    <a:pt x="1012" y="857"/>
                  </a:lnTo>
                  <a:lnTo>
                    <a:pt x="1010" y="857"/>
                  </a:lnTo>
                  <a:lnTo>
                    <a:pt x="1009" y="857"/>
                  </a:lnTo>
                  <a:lnTo>
                    <a:pt x="1009" y="856"/>
                  </a:lnTo>
                  <a:lnTo>
                    <a:pt x="1007" y="854"/>
                  </a:lnTo>
                  <a:lnTo>
                    <a:pt x="1005" y="852"/>
                  </a:lnTo>
                  <a:lnTo>
                    <a:pt x="1004" y="852"/>
                  </a:lnTo>
                  <a:lnTo>
                    <a:pt x="1004" y="851"/>
                  </a:lnTo>
                  <a:lnTo>
                    <a:pt x="1002" y="849"/>
                  </a:lnTo>
                  <a:lnTo>
                    <a:pt x="1000" y="849"/>
                  </a:lnTo>
                  <a:lnTo>
                    <a:pt x="1000" y="848"/>
                  </a:lnTo>
                  <a:lnTo>
                    <a:pt x="1000" y="846"/>
                  </a:lnTo>
                  <a:lnTo>
                    <a:pt x="1000" y="844"/>
                  </a:lnTo>
                  <a:lnTo>
                    <a:pt x="999" y="844"/>
                  </a:lnTo>
                  <a:lnTo>
                    <a:pt x="999" y="843"/>
                  </a:lnTo>
                  <a:lnTo>
                    <a:pt x="999" y="841"/>
                  </a:lnTo>
                  <a:lnTo>
                    <a:pt x="999" y="839"/>
                  </a:lnTo>
                  <a:lnTo>
                    <a:pt x="1000" y="839"/>
                  </a:lnTo>
                  <a:lnTo>
                    <a:pt x="1000" y="836"/>
                  </a:lnTo>
                  <a:lnTo>
                    <a:pt x="999" y="836"/>
                  </a:lnTo>
                  <a:lnTo>
                    <a:pt x="997" y="836"/>
                  </a:lnTo>
                  <a:lnTo>
                    <a:pt x="996" y="836"/>
                  </a:lnTo>
                  <a:lnTo>
                    <a:pt x="994" y="836"/>
                  </a:lnTo>
                  <a:lnTo>
                    <a:pt x="992" y="834"/>
                  </a:lnTo>
                  <a:lnTo>
                    <a:pt x="991" y="833"/>
                  </a:lnTo>
                  <a:lnTo>
                    <a:pt x="989" y="833"/>
                  </a:lnTo>
                  <a:lnTo>
                    <a:pt x="987" y="833"/>
                  </a:lnTo>
                  <a:lnTo>
                    <a:pt x="987" y="831"/>
                  </a:lnTo>
                  <a:lnTo>
                    <a:pt x="986" y="831"/>
                  </a:lnTo>
                  <a:lnTo>
                    <a:pt x="984" y="831"/>
                  </a:lnTo>
                  <a:lnTo>
                    <a:pt x="983" y="831"/>
                  </a:lnTo>
                  <a:lnTo>
                    <a:pt x="981" y="831"/>
                  </a:lnTo>
                  <a:lnTo>
                    <a:pt x="979" y="833"/>
                  </a:lnTo>
                  <a:lnTo>
                    <a:pt x="981" y="833"/>
                  </a:lnTo>
                  <a:lnTo>
                    <a:pt x="981" y="834"/>
                  </a:lnTo>
                  <a:lnTo>
                    <a:pt x="981" y="836"/>
                  </a:lnTo>
                  <a:lnTo>
                    <a:pt x="981" y="838"/>
                  </a:lnTo>
                  <a:lnTo>
                    <a:pt x="981" y="839"/>
                  </a:lnTo>
                  <a:lnTo>
                    <a:pt x="981" y="841"/>
                  </a:lnTo>
                  <a:lnTo>
                    <a:pt x="981" y="843"/>
                  </a:lnTo>
                  <a:lnTo>
                    <a:pt x="979" y="843"/>
                  </a:lnTo>
                  <a:lnTo>
                    <a:pt x="978" y="843"/>
                  </a:lnTo>
                  <a:lnTo>
                    <a:pt x="976" y="841"/>
                  </a:lnTo>
                  <a:lnTo>
                    <a:pt x="974" y="841"/>
                  </a:lnTo>
                  <a:lnTo>
                    <a:pt x="973" y="841"/>
                  </a:lnTo>
                  <a:lnTo>
                    <a:pt x="971" y="843"/>
                  </a:lnTo>
                  <a:lnTo>
                    <a:pt x="970" y="843"/>
                  </a:lnTo>
                  <a:lnTo>
                    <a:pt x="970" y="841"/>
                  </a:lnTo>
                  <a:lnTo>
                    <a:pt x="968" y="841"/>
                  </a:lnTo>
                  <a:lnTo>
                    <a:pt x="968" y="839"/>
                  </a:lnTo>
                  <a:lnTo>
                    <a:pt x="966" y="838"/>
                  </a:lnTo>
                  <a:lnTo>
                    <a:pt x="966" y="836"/>
                  </a:lnTo>
                  <a:lnTo>
                    <a:pt x="965" y="836"/>
                  </a:lnTo>
                  <a:lnTo>
                    <a:pt x="963" y="834"/>
                  </a:lnTo>
                  <a:lnTo>
                    <a:pt x="961" y="833"/>
                  </a:lnTo>
                  <a:lnTo>
                    <a:pt x="961" y="831"/>
                  </a:lnTo>
                  <a:lnTo>
                    <a:pt x="960" y="830"/>
                  </a:lnTo>
                  <a:lnTo>
                    <a:pt x="958" y="830"/>
                  </a:lnTo>
                  <a:lnTo>
                    <a:pt x="958" y="828"/>
                  </a:lnTo>
                  <a:lnTo>
                    <a:pt x="957" y="826"/>
                  </a:lnTo>
                  <a:lnTo>
                    <a:pt x="955" y="826"/>
                  </a:lnTo>
                  <a:lnTo>
                    <a:pt x="955" y="825"/>
                  </a:lnTo>
                  <a:lnTo>
                    <a:pt x="953" y="826"/>
                  </a:lnTo>
                  <a:lnTo>
                    <a:pt x="952" y="826"/>
                  </a:lnTo>
                  <a:lnTo>
                    <a:pt x="950" y="828"/>
                  </a:lnTo>
                  <a:lnTo>
                    <a:pt x="952" y="828"/>
                  </a:lnTo>
                  <a:lnTo>
                    <a:pt x="952" y="830"/>
                  </a:lnTo>
                  <a:lnTo>
                    <a:pt x="950" y="828"/>
                  </a:lnTo>
                  <a:lnTo>
                    <a:pt x="950" y="830"/>
                  </a:lnTo>
                  <a:lnTo>
                    <a:pt x="948" y="830"/>
                  </a:lnTo>
                  <a:lnTo>
                    <a:pt x="948" y="831"/>
                  </a:lnTo>
                  <a:lnTo>
                    <a:pt x="947" y="831"/>
                  </a:lnTo>
                  <a:lnTo>
                    <a:pt x="947" y="830"/>
                  </a:lnTo>
                  <a:lnTo>
                    <a:pt x="945" y="830"/>
                  </a:lnTo>
                  <a:lnTo>
                    <a:pt x="944" y="830"/>
                  </a:lnTo>
                  <a:lnTo>
                    <a:pt x="942" y="830"/>
                  </a:lnTo>
                  <a:lnTo>
                    <a:pt x="940" y="830"/>
                  </a:lnTo>
                  <a:lnTo>
                    <a:pt x="940" y="828"/>
                  </a:lnTo>
                  <a:lnTo>
                    <a:pt x="937" y="828"/>
                  </a:lnTo>
                  <a:lnTo>
                    <a:pt x="937" y="826"/>
                  </a:lnTo>
                  <a:lnTo>
                    <a:pt x="935" y="826"/>
                  </a:lnTo>
                  <a:lnTo>
                    <a:pt x="934" y="826"/>
                  </a:lnTo>
                  <a:lnTo>
                    <a:pt x="934" y="825"/>
                  </a:lnTo>
                  <a:lnTo>
                    <a:pt x="932" y="825"/>
                  </a:lnTo>
                  <a:lnTo>
                    <a:pt x="931" y="825"/>
                  </a:lnTo>
                  <a:lnTo>
                    <a:pt x="929" y="825"/>
                  </a:lnTo>
                  <a:lnTo>
                    <a:pt x="927" y="825"/>
                  </a:lnTo>
                  <a:lnTo>
                    <a:pt x="926" y="825"/>
                  </a:lnTo>
                  <a:lnTo>
                    <a:pt x="926" y="823"/>
                  </a:lnTo>
                  <a:lnTo>
                    <a:pt x="924" y="823"/>
                  </a:lnTo>
                  <a:lnTo>
                    <a:pt x="922" y="823"/>
                  </a:lnTo>
                  <a:lnTo>
                    <a:pt x="921" y="823"/>
                  </a:lnTo>
                  <a:lnTo>
                    <a:pt x="921" y="821"/>
                  </a:lnTo>
                  <a:lnTo>
                    <a:pt x="921" y="820"/>
                  </a:lnTo>
                  <a:lnTo>
                    <a:pt x="921" y="818"/>
                  </a:lnTo>
                  <a:lnTo>
                    <a:pt x="921" y="817"/>
                  </a:lnTo>
                  <a:lnTo>
                    <a:pt x="921" y="815"/>
                  </a:lnTo>
                  <a:lnTo>
                    <a:pt x="921" y="813"/>
                  </a:lnTo>
                  <a:lnTo>
                    <a:pt x="921" y="812"/>
                  </a:lnTo>
                  <a:lnTo>
                    <a:pt x="919" y="812"/>
                  </a:lnTo>
                  <a:lnTo>
                    <a:pt x="918" y="812"/>
                  </a:lnTo>
                  <a:lnTo>
                    <a:pt x="919" y="810"/>
                  </a:lnTo>
                  <a:lnTo>
                    <a:pt x="918" y="810"/>
                  </a:lnTo>
                  <a:lnTo>
                    <a:pt x="918" y="808"/>
                  </a:lnTo>
                  <a:lnTo>
                    <a:pt x="918" y="807"/>
                  </a:lnTo>
                  <a:lnTo>
                    <a:pt x="918" y="805"/>
                  </a:lnTo>
                  <a:lnTo>
                    <a:pt x="916" y="805"/>
                  </a:lnTo>
                  <a:lnTo>
                    <a:pt x="916" y="804"/>
                  </a:lnTo>
                  <a:lnTo>
                    <a:pt x="914" y="804"/>
                  </a:lnTo>
                  <a:lnTo>
                    <a:pt x="913" y="802"/>
                  </a:lnTo>
                  <a:lnTo>
                    <a:pt x="911" y="800"/>
                  </a:lnTo>
                  <a:lnTo>
                    <a:pt x="909" y="799"/>
                  </a:lnTo>
                  <a:lnTo>
                    <a:pt x="908" y="797"/>
                  </a:lnTo>
                  <a:lnTo>
                    <a:pt x="908" y="795"/>
                  </a:lnTo>
                  <a:lnTo>
                    <a:pt x="908" y="797"/>
                  </a:lnTo>
                  <a:lnTo>
                    <a:pt x="908" y="795"/>
                  </a:lnTo>
                  <a:lnTo>
                    <a:pt x="906" y="795"/>
                  </a:lnTo>
                  <a:lnTo>
                    <a:pt x="905" y="795"/>
                  </a:lnTo>
                  <a:lnTo>
                    <a:pt x="903" y="795"/>
                  </a:lnTo>
                  <a:lnTo>
                    <a:pt x="903" y="794"/>
                  </a:lnTo>
                  <a:lnTo>
                    <a:pt x="901" y="794"/>
                  </a:lnTo>
                  <a:lnTo>
                    <a:pt x="900" y="792"/>
                  </a:lnTo>
                  <a:lnTo>
                    <a:pt x="900" y="791"/>
                  </a:lnTo>
                  <a:lnTo>
                    <a:pt x="898" y="791"/>
                  </a:lnTo>
                  <a:lnTo>
                    <a:pt x="898" y="789"/>
                  </a:lnTo>
                  <a:lnTo>
                    <a:pt x="898" y="787"/>
                  </a:lnTo>
                  <a:lnTo>
                    <a:pt x="898" y="786"/>
                  </a:lnTo>
                  <a:lnTo>
                    <a:pt x="898" y="784"/>
                  </a:lnTo>
                  <a:lnTo>
                    <a:pt x="898" y="782"/>
                  </a:lnTo>
                  <a:lnTo>
                    <a:pt x="898" y="781"/>
                  </a:lnTo>
                  <a:lnTo>
                    <a:pt x="898" y="779"/>
                  </a:lnTo>
                  <a:lnTo>
                    <a:pt x="900" y="779"/>
                  </a:lnTo>
                  <a:lnTo>
                    <a:pt x="900" y="778"/>
                  </a:lnTo>
                  <a:lnTo>
                    <a:pt x="900" y="776"/>
                  </a:lnTo>
                  <a:lnTo>
                    <a:pt x="901" y="778"/>
                  </a:lnTo>
                  <a:lnTo>
                    <a:pt x="901" y="776"/>
                  </a:lnTo>
                  <a:lnTo>
                    <a:pt x="901" y="778"/>
                  </a:lnTo>
                  <a:lnTo>
                    <a:pt x="900" y="776"/>
                  </a:lnTo>
                  <a:lnTo>
                    <a:pt x="898" y="776"/>
                  </a:lnTo>
                  <a:lnTo>
                    <a:pt x="896" y="776"/>
                  </a:lnTo>
                  <a:lnTo>
                    <a:pt x="895" y="776"/>
                  </a:lnTo>
                  <a:lnTo>
                    <a:pt x="895" y="778"/>
                  </a:lnTo>
                  <a:lnTo>
                    <a:pt x="893" y="776"/>
                  </a:lnTo>
                  <a:lnTo>
                    <a:pt x="893" y="774"/>
                  </a:lnTo>
                  <a:lnTo>
                    <a:pt x="893" y="773"/>
                  </a:lnTo>
                  <a:lnTo>
                    <a:pt x="895" y="773"/>
                  </a:lnTo>
                  <a:lnTo>
                    <a:pt x="895" y="771"/>
                  </a:lnTo>
                  <a:lnTo>
                    <a:pt x="893" y="771"/>
                  </a:lnTo>
                  <a:lnTo>
                    <a:pt x="892" y="771"/>
                  </a:lnTo>
                  <a:lnTo>
                    <a:pt x="890" y="773"/>
                  </a:lnTo>
                  <a:lnTo>
                    <a:pt x="888" y="771"/>
                  </a:lnTo>
                  <a:lnTo>
                    <a:pt x="887" y="771"/>
                  </a:lnTo>
                  <a:lnTo>
                    <a:pt x="887" y="773"/>
                  </a:lnTo>
                  <a:lnTo>
                    <a:pt x="883" y="773"/>
                  </a:lnTo>
                  <a:lnTo>
                    <a:pt x="883" y="771"/>
                  </a:lnTo>
                  <a:lnTo>
                    <a:pt x="882" y="771"/>
                  </a:lnTo>
                  <a:lnTo>
                    <a:pt x="882" y="769"/>
                  </a:lnTo>
                  <a:lnTo>
                    <a:pt x="882" y="768"/>
                  </a:lnTo>
                  <a:lnTo>
                    <a:pt x="880" y="765"/>
                  </a:lnTo>
                  <a:lnTo>
                    <a:pt x="880" y="763"/>
                  </a:lnTo>
                  <a:lnTo>
                    <a:pt x="878" y="763"/>
                  </a:lnTo>
                  <a:lnTo>
                    <a:pt x="877" y="763"/>
                  </a:lnTo>
                  <a:lnTo>
                    <a:pt x="875" y="763"/>
                  </a:lnTo>
                  <a:lnTo>
                    <a:pt x="874" y="763"/>
                  </a:lnTo>
                  <a:lnTo>
                    <a:pt x="874" y="765"/>
                  </a:lnTo>
                  <a:lnTo>
                    <a:pt x="872" y="766"/>
                  </a:lnTo>
                  <a:lnTo>
                    <a:pt x="872" y="768"/>
                  </a:lnTo>
                  <a:lnTo>
                    <a:pt x="872" y="769"/>
                  </a:lnTo>
                  <a:lnTo>
                    <a:pt x="872" y="773"/>
                  </a:lnTo>
                  <a:lnTo>
                    <a:pt x="872" y="774"/>
                  </a:lnTo>
                  <a:lnTo>
                    <a:pt x="874" y="776"/>
                  </a:lnTo>
                  <a:lnTo>
                    <a:pt x="874" y="778"/>
                  </a:lnTo>
                  <a:lnTo>
                    <a:pt x="872" y="778"/>
                  </a:lnTo>
                  <a:lnTo>
                    <a:pt x="870" y="778"/>
                  </a:lnTo>
                  <a:lnTo>
                    <a:pt x="869" y="776"/>
                  </a:lnTo>
                  <a:lnTo>
                    <a:pt x="870" y="776"/>
                  </a:lnTo>
                  <a:lnTo>
                    <a:pt x="869" y="774"/>
                  </a:lnTo>
                  <a:lnTo>
                    <a:pt x="870" y="776"/>
                  </a:lnTo>
                  <a:lnTo>
                    <a:pt x="869" y="776"/>
                  </a:lnTo>
                  <a:lnTo>
                    <a:pt x="867" y="776"/>
                  </a:lnTo>
                  <a:lnTo>
                    <a:pt x="865" y="778"/>
                  </a:lnTo>
                  <a:lnTo>
                    <a:pt x="864" y="778"/>
                  </a:lnTo>
                  <a:lnTo>
                    <a:pt x="862" y="778"/>
                  </a:lnTo>
                  <a:lnTo>
                    <a:pt x="862" y="779"/>
                  </a:lnTo>
                  <a:lnTo>
                    <a:pt x="862" y="778"/>
                  </a:lnTo>
                  <a:lnTo>
                    <a:pt x="862" y="779"/>
                  </a:lnTo>
                  <a:lnTo>
                    <a:pt x="861" y="781"/>
                  </a:lnTo>
                  <a:lnTo>
                    <a:pt x="859" y="784"/>
                  </a:lnTo>
                  <a:lnTo>
                    <a:pt x="859" y="786"/>
                  </a:lnTo>
                  <a:lnTo>
                    <a:pt x="857" y="786"/>
                  </a:lnTo>
                  <a:lnTo>
                    <a:pt x="854" y="786"/>
                  </a:lnTo>
                  <a:lnTo>
                    <a:pt x="851" y="786"/>
                  </a:lnTo>
                  <a:lnTo>
                    <a:pt x="849" y="786"/>
                  </a:lnTo>
                  <a:lnTo>
                    <a:pt x="848" y="786"/>
                  </a:lnTo>
                  <a:lnTo>
                    <a:pt x="844" y="784"/>
                  </a:lnTo>
                  <a:lnTo>
                    <a:pt x="843" y="784"/>
                  </a:lnTo>
                  <a:lnTo>
                    <a:pt x="839" y="781"/>
                  </a:lnTo>
                  <a:lnTo>
                    <a:pt x="838" y="779"/>
                  </a:lnTo>
                  <a:lnTo>
                    <a:pt x="836" y="779"/>
                  </a:lnTo>
                  <a:lnTo>
                    <a:pt x="835" y="778"/>
                  </a:lnTo>
                  <a:lnTo>
                    <a:pt x="833" y="778"/>
                  </a:lnTo>
                  <a:lnTo>
                    <a:pt x="831" y="776"/>
                  </a:lnTo>
                  <a:lnTo>
                    <a:pt x="830" y="774"/>
                  </a:lnTo>
                  <a:lnTo>
                    <a:pt x="828" y="774"/>
                  </a:lnTo>
                  <a:lnTo>
                    <a:pt x="826" y="773"/>
                  </a:lnTo>
                  <a:lnTo>
                    <a:pt x="823" y="771"/>
                  </a:lnTo>
                  <a:lnTo>
                    <a:pt x="820" y="768"/>
                  </a:lnTo>
                  <a:lnTo>
                    <a:pt x="818" y="768"/>
                  </a:lnTo>
                  <a:lnTo>
                    <a:pt x="818" y="766"/>
                  </a:lnTo>
                  <a:lnTo>
                    <a:pt x="815" y="765"/>
                  </a:lnTo>
                  <a:lnTo>
                    <a:pt x="815" y="763"/>
                  </a:lnTo>
                  <a:lnTo>
                    <a:pt x="813" y="763"/>
                  </a:lnTo>
                  <a:lnTo>
                    <a:pt x="812" y="761"/>
                  </a:lnTo>
                  <a:lnTo>
                    <a:pt x="810" y="761"/>
                  </a:lnTo>
                  <a:lnTo>
                    <a:pt x="810" y="760"/>
                  </a:lnTo>
                  <a:lnTo>
                    <a:pt x="809" y="760"/>
                  </a:lnTo>
                  <a:lnTo>
                    <a:pt x="807" y="758"/>
                  </a:lnTo>
                  <a:lnTo>
                    <a:pt x="807" y="756"/>
                  </a:lnTo>
                  <a:lnTo>
                    <a:pt x="805" y="755"/>
                  </a:lnTo>
                  <a:lnTo>
                    <a:pt x="804" y="755"/>
                  </a:lnTo>
                  <a:lnTo>
                    <a:pt x="802" y="753"/>
                  </a:lnTo>
                  <a:lnTo>
                    <a:pt x="800" y="753"/>
                  </a:lnTo>
                  <a:lnTo>
                    <a:pt x="799" y="753"/>
                  </a:lnTo>
                  <a:lnTo>
                    <a:pt x="797" y="753"/>
                  </a:lnTo>
                  <a:lnTo>
                    <a:pt x="796" y="753"/>
                  </a:lnTo>
                  <a:lnTo>
                    <a:pt x="794" y="753"/>
                  </a:lnTo>
                  <a:lnTo>
                    <a:pt x="792" y="753"/>
                  </a:lnTo>
                  <a:lnTo>
                    <a:pt x="792" y="755"/>
                  </a:lnTo>
                  <a:lnTo>
                    <a:pt x="791" y="755"/>
                  </a:lnTo>
                  <a:lnTo>
                    <a:pt x="791" y="753"/>
                  </a:lnTo>
                  <a:lnTo>
                    <a:pt x="791" y="752"/>
                  </a:lnTo>
                  <a:lnTo>
                    <a:pt x="789" y="750"/>
                  </a:lnTo>
                  <a:lnTo>
                    <a:pt x="787" y="748"/>
                  </a:lnTo>
                  <a:lnTo>
                    <a:pt x="787" y="747"/>
                  </a:lnTo>
                  <a:lnTo>
                    <a:pt x="786" y="747"/>
                  </a:lnTo>
                  <a:lnTo>
                    <a:pt x="786" y="745"/>
                  </a:lnTo>
                  <a:lnTo>
                    <a:pt x="786" y="743"/>
                  </a:lnTo>
                  <a:lnTo>
                    <a:pt x="784" y="743"/>
                  </a:lnTo>
                  <a:lnTo>
                    <a:pt x="784" y="742"/>
                  </a:lnTo>
                  <a:lnTo>
                    <a:pt x="784" y="743"/>
                  </a:lnTo>
                  <a:lnTo>
                    <a:pt x="783" y="742"/>
                  </a:lnTo>
                  <a:lnTo>
                    <a:pt x="784" y="742"/>
                  </a:lnTo>
                  <a:lnTo>
                    <a:pt x="786" y="742"/>
                  </a:lnTo>
                  <a:lnTo>
                    <a:pt x="786" y="743"/>
                  </a:lnTo>
                  <a:lnTo>
                    <a:pt x="787" y="742"/>
                  </a:lnTo>
                  <a:lnTo>
                    <a:pt x="787" y="743"/>
                  </a:lnTo>
                  <a:lnTo>
                    <a:pt x="787" y="742"/>
                  </a:lnTo>
                  <a:lnTo>
                    <a:pt x="786" y="742"/>
                  </a:lnTo>
                  <a:lnTo>
                    <a:pt x="784" y="740"/>
                  </a:lnTo>
                  <a:lnTo>
                    <a:pt x="783" y="740"/>
                  </a:lnTo>
                  <a:lnTo>
                    <a:pt x="783" y="739"/>
                  </a:lnTo>
                  <a:lnTo>
                    <a:pt x="781" y="739"/>
                  </a:lnTo>
                  <a:lnTo>
                    <a:pt x="779" y="739"/>
                  </a:lnTo>
                  <a:lnTo>
                    <a:pt x="779" y="737"/>
                  </a:lnTo>
                  <a:lnTo>
                    <a:pt x="778" y="737"/>
                  </a:lnTo>
                  <a:lnTo>
                    <a:pt x="778" y="735"/>
                  </a:lnTo>
                  <a:lnTo>
                    <a:pt x="776" y="735"/>
                  </a:lnTo>
                  <a:lnTo>
                    <a:pt x="776" y="734"/>
                  </a:lnTo>
                  <a:lnTo>
                    <a:pt x="776" y="732"/>
                  </a:lnTo>
                  <a:lnTo>
                    <a:pt x="774" y="732"/>
                  </a:lnTo>
                  <a:lnTo>
                    <a:pt x="774" y="730"/>
                  </a:lnTo>
                  <a:lnTo>
                    <a:pt x="774" y="729"/>
                  </a:lnTo>
                  <a:lnTo>
                    <a:pt x="776" y="729"/>
                  </a:lnTo>
                  <a:lnTo>
                    <a:pt x="776" y="727"/>
                  </a:lnTo>
                  <a:lnTo>
                    <a:pt x="776" y="729"/>
                  </a:lnTo>
                  <a:lnTo>
                    <a:pt x="776" y="727"/>
                  </a:lnTo>
                  <a:lnTo>
                    <a:pt x="778" y="727"/>
                  </a:lnTo>
                  <a:lnTo>
                    <a:pt x="779" y="727"/>
                  </a:lnTo>
                  <a:lnTo>
                    <a:pt x="781" y="729"/>
                  </a:lnTo>
                  <a:lnTo>
                    <a:pt x="781" y="730"/>
                  </a:lnTo>
                  <a:lnTo>
                    <a:pt x="783" y="730"/>
                  </a:lnTo>
                  <a:lnTo>
                    <a:pt x="784" y="730"/>
                  </a:lnTo>
                  <a:lnTo>
                    <a:pt x="784" y="729"/>
                  </a:lnTo>
                  <a:lnTo>
                    <a:pt x="784" y="730"/>
                  </a:lnTo>
                  <a:lnTo>
                    <a:pt x="784" y="729"/>
                  </a:lnTo>
                  <a:lnTo>
                    <a:pt x="786" y="729"/>
                  </a:lnTo>
                  <a:lnTo>
                    <a:pt x="786" y="727"/>
                  </a:lnTo>
                  <a:lnTo>
                    <a:pt x="787" y="727"/>
                  </a:lnTo>
                  <a:lnTo>
                    <a:pt x="787" y="726"/>
                  </a:lnTo>
                  <a:lnTo>
                    <a:pt x="786" y="724"/>
                  </a:lnTo>
                  <a:lnTo>
                    <a:pt x="787" y="724"/>
                  </a:lnTo>
                  <a:lnTo>
                    <a:pt x="787" y="722"/>
                  </a:lnTo>
                  <a:lnTo>
                    <a:pt x="787" y="721"/>
                  </a:lnTo>
                  <a:lnTo>
                    <a:pt x="789" y="721"/>
                  </a:lnTo>
                  <a:lnTo>
                    <a:pt x="789" y="719"/>
                  </a:lnTo>
                  <a:lnTo>
                    <a:pt x="791" y="719"/>
                  </a:lnTo>
                  <a:lnTo>
                    <a:pt x="792" y="717"/>
                  </a:lnTo>
                  <a:lnTo>
                    <a:pt x="792" y="716"/>
                  </a:lnTo>
                  <a:lnTo>
                    <a:pt x="792" y="714"/>
                  </a:lnTo>
                  <a:lnTo>
                    <a:pt x="791" y="714"/>
                  </a:lnTo>
                  <a:lnTo>
                    <a:pt x="791" y="713"/>
                  </a:lnTo>
                  <a:lnTo>
                    <a:pt x="791" y="711"/>
                  </a:lnTo>
                  <a:lnTo>
                    <a:pt x="791" y="709"/>
                  </a:lnTo>
                  <a:lnTo>
                    <a:pt x="791" y="708"/>
                  </a:lnTo>
                  <a:lnTo>
                    <a:pt x="791" y="706"/>
                  </a:lnTo>
                  <a:lnTo>
                    <a:pt x="789" y="706"/>
                  </a:lnTo>
                  <a:lnTo>
                    <a:pt x="791" y="706"/>
                  </a:lnTo>
                  <a:lnTo>
                    <a:pt x="789" y="704"/>
                  </a:lnTo>
                  <a:lnTo>
                    <a:pt x="789" y="703"/>
                  </a:lnTo>
                  <a:lnTo>
                    <a:pt x="789" y="701"/>
                  </a:lnTo>
                  <a:lnTo>
                    <a:pt x="787" y="699"/>
                  </a:lnTo>
                  <a:lnTo>
                    <a:pt x="787" y="698"/>
                  </a:lnTo>
                  <a:lnTo>
                    <a:pt x="787" y="696"/>
                  </a:lnTo>
                  <a:lnTo>
                    <a:pt x="786" y="696"/>
                  </a:lnTo>
                  <a:lnTo>
                    <a:pt x="784" y="695"/>
                  </a:lnTo>
                  <a:lnTo>
                    <a:pt x="784" y="696"/>
                  </a:lnTo>
                  <a:lnTo>
                    <a:pt x="784" y="695"/>
                  </a:lnTo>
                  <a:lnTo>
                    <a:pt x="783" y="693"/>
                  </a:lnTo>
                  <a:lnTo>
                    <a:pt x="783" y="691"/>
                  </a:lnTo>
                  <a:lnTo>
                    <a:pt x="784" y="690"/>
                  </a:lnTo>
                  <a:lnTo>
                    <a:pt x="784" y="691"/>
                  </a:lnTo>
                  <a:lnTo>
                    <a:pt x="786" y="690"/>
                  </a:lnTo>
                  <a:lnTo>
                    <a:pt x="787" y="690"/>
                  </a:lnTo>
                  <a:lnTo>
                    <a:pt x="787" y="688"/>
                  </a:lnTo>
                  <a:lnTo>
                    <a:pt x="789" y="688"/>
                  </a:lnTo>
                  <a:lnTo>
                    <a:pt x="789" y="686"/>
                  </a:lnTo>
                  <a:lnTo>
                    <a:pt x="789" y="685"/>
                  </a:lnTo>
                  <a:lnTo>
                    <a:pt x="791" y="685"/>
                  </a:lnTo>
                  <a:lnTo>
                    <a:pt x="792" y="685"/>
                  </a:lnTo>
                  <a:lnTo>
                    <a:pt x="792" y="683"/>
                  </a:lnTo>
                  <a:lnTo>
                    <a:pt x="794" y="683"/>
                  </a:lnTo>
                  <a:lnTo>
                    <a:pt x="796" y="685"/>
                  </a:lnTo>
                  <a:lnTo>
                    <a:pt x="797" y="683"/>
                  </a:lnTo>
                  <a:lnTo>
                    <a:pt x="799" y="683"/>
                  </a:lnTo>
                  <a:lnTo>
                    <a:pt x="800" y="683"/>
                  </a:lnTo>
                  <a:lnTo>
                    <a:pt x="802" y="683"/>
                  </a:lnTo>
                  <a:lnTo>
                    <a:pt x="804" y="683"/>
                  </a:lnTo>
                  <a:lnTo>
                    <a:pt x="805" y="683"/>
                  </a:lnTo>
                  <a:lnTo>
                    <a:pt x="807" y="683"/>
                  </a:lnTo>
                  <a:lnTo>
                    <a:pt x="812" y="685"/>
                  </a:lnTo>
                  <a:lnTo>
                    <a:pt x="815" y="685"/>
                  </a:lnTo>
                  <a:lnTo>
                    <a:pt x="817" y="685"/>
                  </a:lnTo>
                  <a:lnTo>
                    <a:pt x="818" y="685"/>
                  </a:lnTo>
                  <a:lnTo>
                    <a:pt x="820" y="685"/>
                  </a:lnTo>
                  <a:lnTo>
                    <a:pt x="822" y="685"/>
                  </a:lnTo>
                  <a:lnTo>
                    <a:pt x="825" y="686"/>
                  </a:lnTo>
                  <a:lnTo>
                    <a:pt x="828" y="686"/>
                  </a:lnTo>
                  <a:lnTo>
                    <a:pt x="830" y="686"/>
                  </a:lnTo>
                  <a:lnTo>
                    <a:pt x="831" y="686"/>
                  </a:lnTo>
                  <a:lnTo>
                    <a:pt x="833" y="686"/>
                  </a:lnTo>
                  <a:lnTo>
                    <a:pt x="835" y="686"/>
                  </a:lnTo>
                  <a:lnTo>
                    <a:pt x="836" y="686"/>
                  </a:lnTo>
                  <a:lnTo>
                    <a:pt x="838" y="688"/>
                  </a:lnTo>
                  <a:lnTo>
                    <a:pt x="839" y="690"/>
                  </a:lnTo>
                  <a:lnTo>
                    <a:pt x="841" y="690"/>
                  </a:lnTo>
                  <a:lnTo>
                    <a:pt x="841" y="695"/>
                  </a:lnTo>
                  <a:lnTo>
                    <a:pt x="843" y="695"/>
                  </a:lnTo>
                  <a:lnTo>
                    <a:pt x="844" y="696"/>
                  </a:lnTo>
                  <a:lnTo>
                    <a:pt x="846" y="698"/>
                  </a:lnTo>
                  <a:lnTo>
                    <a:pt x="848" y="698"/>
                  </a:lnTo>
                  <a:lnTo>
                    <a:pt x="849" y="698"/>
                  </a:lnTo>
                  <a:lnTo>
                    <a:pt x="852" y="699"/>
                  </a:lnTo>
                  <a:lnTo>
                    <a:pt x="854" y="699"/>
                  </a:lnTo>
                  <a:lnTo>
                    <a:pt x="856" y="699"/>
                  </a:lnTo>
                  <a:lnTo>
                    <a:pt x="861" y="701"/>
                  </a:lnTo>
                  <a:lnTo>
                    <a:pt x="864" y="701"/>
                  </a:lnTo>
                  <a:lnTo>
                    <a:pt x="865" y="701"/>
                  </a:lnTo>
                  <a:lnTo>
                    <a:pt x="869" y="701"/>
                  </a:lnTo>
                  <a:lnTo>
                    <a:pt x="872" y="701"/>
                  </a:lnTo>
                  <a:lnTo>
                    <a:pt x="874" y="701"/>
                  </a:lnTo>
                  <a:lnTo>
                    <a:pt x="875" y="699"/>
                  </a:lnTo>
                  <a:lnTo>
                    <a:pt x="877" y="699"/>
                  </a:lnTo>
                  <a:lnTo>
                    <a:pt x="878" y="698"/>
                  </a:lnTo>
                  <a:lnTo>
                    <a:pt x="880" y="698"/>
                  </a:lnTo>
                  <a:lnTo>
                    <a:pt x="882" y="696"/>
                  </a:lnTo>
                  <a:lnTo>
                    <a:pt x="885" y="695"/>
                  </a:lnTo>
                  <a:lnTo>
                    <a:pt x="887" y="695"/>
                  </a:lnTo>
                  <a:lnTo>
                    <a:pt x="887" y="698"/>
                  </a:lnTo>
                  <a:lnTo>
                    <a:pt x="887" y="699"/>
                  </a:lnTo>
                  <a:lnTo>
                    <a:pt x="887" y="701"/>
                  </a:lnTo>
                  <a:lnTo>
                    <a:pt x="888" y="703"/>
                  </a:lnTo>
                  <a:lnTo>
                    <a:pt x="890" y="703"/>
                  </a:lnTo>
                  <a:lnTo>
                    <a:pt x="892" y="704"/>
                  </a:lnTo>
                  <a:lnTo>
                    <a:pt x="892" y="706"/>
                  </a:lnTo>
                  <a:lnTo>
                    <a:pt x="890" y="706"/>
                  </a:lnTo>
                  <a:lnTo>
                    <a:pt x="888" y="704"/>
                  </a:lnTo>
                  <a:lnTo>
                    <a:pt x="887" y="704"/>
                  </a:lnTo>
                  <a:lnTo>
                    <a:pt x="887" y="703"/>
                  </a:lnTo>
                  <a:lnTo>
                    <a:pt x="885" y="703"/>
                  </a:lnTo>
                  <a:lnTo>
                    <a:pt x="883" y="703"/>
                  </a:lnTo>
                  <a:lnTo>
                    <a:pt x="883" y="704"/>
                  </a:lnTo>
                  <a:lnTo>
                    <a:pt x="883" y="706"/>
                  </a:lnTo>
                  <a:lnTo>
                    <a:pt x="882" y="708"/>
                  </a:lnTo>
                  <a:lnTo>
                    <a:pt x="880" y="708"/>
                  </a:lnTo>
                  <a:lnTo>
                    <a:pt x="878" y="708"/>
                  </a:lnTo>
                  <a:lnTo>
                    <a:pt x="877" y="708"/>
                  </a:lnTo>
                  <a:lnTo>
                    <a:pt x="877" y="709"/>
                  </a:lnTo>
                  <a:lnTo>
                    <a:pt x="875" y="711"/>
                  </a:lnTo>
                  <a:lnTo>
                    <a:pt x="874" y="711"/>
                  </a:lnTo>
                  <a:lnTo>
                    <a:pt x="874" y="713"/>
                  </a:lnTo>
                  <a:lnTo>
                    <a:pt x="874" y="711"/>
                  </a:lnTo>
                  <a:lnTo>
                    <a:pt x="874" y="713"/>
                  </a:lnTo>
                  <a:lnTo>
                    <a:pt x="872" y="713"/>
                  </a:lnTo>
                  <a:lnTo>
                    <a:pt x="872" y="714"/>
                  </a:lnTo>
                  <a:lnTo>
                    <a:pt x="872" y="716"/>
                  </a:lnTo>
                  <a:lnTo>
                    <a:pt x="872" y="717"/>
                  </a:lnTo>
                  <a:lnTo>
                    <a:pt x="872" y="719"/>
                  </a:lnTo>
                  <a:lnTo>
                    <a:pt x="874" y="719"/>
                  </a:lnTo>
                  <a:lnTo>
                    <a:pt x="875" y="719"/>
                  </a:lnTo>
                  <a:lnTo>
                    <a:pt x="877" y="719"/>
                  </a:lnTo>
                  <a:lnTo>
                    <a:pt x="877" y="721"/>
                  </a:lnTo>
                  <a:lnTo>
                    <a:pt x="878" y="721"/>
                  </a:lnTo>
                  <a:lnTo>
                    <a:pt x="880" y="721"/>
                  </a:lnTo>
                  <a:lnTo>
                    <a:pt x="880" y="722"/>
                  </a:lnTo>
                  <a:lnTo>
                    <a:pt x="883" y="724"/>
                  </a:lnTo>
                  <a:lnTo>
                    <a:pt x="883" y="726"/>
                  </a:lnTo>
                  <a:lnTo>
                    <a:pt x="882" y="726"/>
                  </a:lnTo>
                  <a:lnTo>
                    <a:pt x="882" y="727"/>
                  </a:lnTo>
                  <a:lnTo>
                    <a:pt x="882" y="729"/>
                  </a:lnTo>
                  <a:lnTo>
                    <a:pt x="880" y="730"/>
                  </a:lnTo>
                  <a:lnTo>
                    <a:pt x="882" y="732"/>
                  </a:lnTo>
                  <a:lnTo>
                    <a:pt x="880" y="732"/>
                  </a:lnTo>
                  <a:lnTo>
                    <a:pt x="880" y="734"/>
                  </a:lnTo>
                  <a:lnTo>
                    <a:pt x="880" y="735"/>
                  </a:lnTo>
                  <a:lnTo>
                    <a:pt x="880" y="734"/>
                  </a:lnTo>
                  <a:lnTo>
                    <a:pt x="882" y="734"/>
                  </a:lnTo>
                  <a:lnTo>
                    <a:pt x="880" y="735"/>
                  </a:lnTo>
                  <a:lnTo>
                    <a:pt x="880" y="737"/>
                  </a:lnTo>
                  <a:lnTo>
                    <a:pt x="882" y="737"/>
                  </a:lnTo>
                  <a:lnTo>
                    <a:pt x="883" y="735"/>
                  </a:lnTo>
                  <a:lnTo>
                    <a:pt x="883" y="734"/>
                  </a:lnTo>
                  <a:lnTo>
                    <a:pt x="882" y="734"/>
                  </a:lnTo>
                  <a:lnTo>
                    <a:pt x="882" y="732"/>
                  </a:lnTo>
                  <a:lnTo>
                    <a:pt x="882" y="730"/>
                  </a:lnTo>
                  <a:lnTo>
                    <a:pt x="882" y="729"/>
                  </a:lnTo>
                  <a:lnTo>
                    <a:pt x="883" y="727"/>
                  </a:lnTo>
                  <a:lnTo>
                    <a:pt x="883" y="726"/>
                  </a:lnTo>
                  <a:lnTo>
                    <a:pt x="885" y="726"/>
                  </a:lnTo>
                  <a:lnTo>
                    <a:pt x="887" y="727"/>
                  </a:lnTo>
                  <a:lnTo>
                    <a:pt x="887" y="726"/>
                  </a:lnTo>
                  <a:lnTo>
                    <a:pt x="885" y="724"/>
                  </a:lnTo>
                  <a:lnTo>
                    <a:pt x="883" y="722"/>
                  </a:lnTo>
                  <a:lnTo>
                    <a:pt x="883" y="721"/>
                  </a:lnTo>
                  <a:lnTo>
                    <a:pt x="883" y="719"/>
                  </a:lnTo>
                  <a:lnTo>
                    <a:pt x="883" y="717"/>
                  </a:lnTo>
                  <a:lnTo>
                    <a:pt x="885" y="716"/>
                  </a:lnTo>
                  <a:lnTo>
                    <a:pt x="887" y="716"/>
                  </a:lnTo>
                  <a:lnTo>
                    <a:pt x="888" y="714"/>
                  </a:lnTo>
                  <a:lnTo>
                    <a:pt x="888" y="713"/>
                  </a:lnTo>
                  <a:lnTo>
                    <a:pt x="890" y="711"/>
                  </a:lnTo>
                  <a:lnTo>
                    <a:pt x="893" y="708"/>
                  </a:lnTo>
                  <a:lnTo>
                    <a:pt x="895" y="708"/>
                  </a:lnTo>
                  <a:lnTo>
                    <a:pt x="895" y="706"/>
                  </a:lnTo>
                  <a:lnTo>
                    <a:pt x="896" y="708"/>
                  </a:lnTo>
                  <a:lnTo>
                    <a:pt x="898" y="708"/>
                  </a:lnTo>
                  <a:lnTo>
                    <a:pt x="898" y="706"/>
                  </a:lnTo>
                  <a:lnTo>
                    <a:pt x="900" y="706"/>
                  </a:lnTo>
                  <a:lnTo>
                    <a:pt x="900" y="704"/>
                  </a:lnTo>
                  <a:lnTo>
                    <a:pt x="898" y="704"/>
                  </a:lnTo>
                  <a:lnTo>
                    <a:pt x="896" y="704"/>
                  </a:lnTo>
                  <a:lnTo>
                    <a:pt x="895" y="703"/>
                  </a:lnTo>
                  <a:lnTo>
                    <a:pt x="895" y="704"/>
                  </a:lnTo>
                  <a:lnTo>
                    <a:pt x="895" y="703"/>
                  </a:lnTo>
                  <a:lnTo>
                    <a:pt x="895" y="704"/>
                  </a:lnTo>
                  <a:lnTo>
                    <a:pt x="893" y="703"/>
                  </a:lnTo>
                  <a:lnTo>
                    <a:pt x="893" y="701"/>
                  </a:lnTo>
                  <a:lnTo>
                    <a:pt x="892" y="701"/>
                  </a:lnTo>
                  <a:lnTo>
                    <a:pt x="890" y="699"/>
                  </a:lnTo>
                  <a:lnTo>
                    <a:pt x="892" y="699"/>
                  </a:lnTo>
                  <a:lnTo>
                    <a:pt x="892" y="698"/>
                  </a:lnTo>
                  <a:lnTo>
                    <a:pt x="893" y="698"/>
                  </a:lnTo>
                  <a:lnTo>
                    <a:pt x="895" y="698"/>
                  </a:lnTo>
                  <a:lnTo>
                    <a:pt x="895" y="699"/>
                  </a:lnTo>
                  <a:lnTo>
                    <a:pt x="900" y="699"/>
                  </a:lnTo>
                  <a:lnTo>
                    <a:pt x="901" y="699"/>
                  </a:lnTo>
                  <a:lnTo>
                    <a:pt x="903" y="699"/>
                  </a:lnTo>
                  <a:lnTo>
                    <a:pt x="906" y="699"/>
                  </a:lnTo>
                  <a:lnTo>
                    <a:pt x="909" y="698"/>
                  </a:lnTo>
                  <a:lnTo>
                    <a:pt x="913" y="698"/>
                  </a:lnTo>
                  <a:lnTo>
                    <a:pt x="916" y="698"/>
                  </a:lnTo>
                  <a:lnTo>
                    <a:pt x="918" y="696"/>
                  </a:lnTo>
                  <a:lnTo>
                    <a:pt x="919" y="696"/>
                  </a:lnTo>
                  <a:lnTo>
                    <a:pt x="922" y="696"/>
                  </a:lnTo>
                  <a:lnTo>
                    <a:pt x="926" y="696"/>
                  </a:lnTo>
                  <a:lnTo>
                    <a:pt x="927" y="696"/>
                  </a:lnTo>
                  <a:lnTo>
                    <a:pt x="929" y="696"/>
                  </a:lnTo>
                  <a:lnTo>
                    <a:pt x="931" y="696"/>
                  </a:lnTo>
                  <a:lnTo>
                    <a:pt x="932" y="698"/>
                  </a:lnTo>
                  <a:lnTo>
                    <a:pt x="934" y="698"/>
                  </a:lnTo>
                  <a:lnTo>
                    <a:pt x="931" y="696"/>
                  </a:lnTo>
                  <a:lnTo>
                    <a:pt x="931" y="698"/>
                  </a:lnTo>
                  <a:lnTo>
                    <a:pt x="931" y="699"/>
                  </a:lnTo>
                  <a:lnTo>
                    <a:pt x="929" y="699"/>
                  </a:lnTo>
                  <a:lnTo>
                    <a:pt x="929" y="698"/>
                  </a:lnTo>
                  <a:lnTo>
                    <a:pt x="929" y="699"/>
                  </a:lnTo>
                  <a:lnTo>
                    <a:pt x="931" y="699"/>
                  </a:lnTo>
                  <a:lnTo>
                    <a:pt x="931" y="698"/>
                  </a:lnTo>
                  <a:lnTo>
                    <a:pt x="932" y="698"/>
                  </a:lnTo>
                  <a:lnTo>
                    <a:pt x="934" y="698"/>
                  </a:lnTo>
                  <a:lnTo>
                    <a:pt x="935" y="699"/>
                  </a:lnTo>
                  <a:lnTo>
                    <a:pt x="937" y="699"/>
                  </a:lnTo>
                  <a:lnTo>
                    <a:pt x="940" y="699"/>
                  </a:lnTo>
                  <a:lnTo>
                    <a:pt x="944" y="699"/>
                  </a:lnTo>
                  <a:lnTo>
                    <a:pt x="947" y="699"/>
                  </a:lnTo>
                  <a:lnTo>
                    <a:pt x="948" y="698"/>
                  </a:lnTo>
                  <a:lnTo>
                    <a:pt x="952" y="698"/>
                  </a:lnTo>
                  <a:lnTo>
                    <a:pt x="953" y="698"/>
                  </a:lnTo>
                  <a:lnTo>
                    <a:pt x="953" y="699"/>
                  </a:lnTo>
                  <a:lnTo>
                    <a:pt x="955" y="699"/>
                  </a:lnTo>
                  <a:lnTo>
                    <a:pt x="957" y="701"/>
                  </a:lnTo>
                  <a:lnTo>
                    <a:pt x="958" y="701"/>
                  </a:lnTo>
                  <a:lnTo>
                    <a:pt x="963" y="703"/>
                  </a:lnTo>
                  <a:lnTo>
                    <a:pt x="965" y="703"/>
                  </a:lnTo>
                  <a:lnTo>
                    <a:pt x="966" y="703"/>
                  </a:lnTo>
                  <a:lnTo>
                    <a:pt x="968" y="704"/>
                  </a:lnTo>
                  <a:lnTo>
                    <a:pt x="970" y="704"/>
                  </a:lnTo>
                  <a:lnTo>
                    <a:pt x="971" y="704"/>
                  </a:lnTo>
                  <a:lnTo>
                    <a:pt x="970" y="704"/>
                  </a:lnTo>
                  <a:lnTo>
                    <a:pt x="971" y="704"/>
                  </a:lnTo>
                  <a:lnTo>
                    <a:pt x="970" y="704"/>
                  </a:lnTo>
                  <a:lnTo>
                    <a:pt x="971" y="704"/>
                  </a:lnTo>
                  <a:lnTo>
                    <a:pt x="971" y="706"/>
                  </a:lnTo>
                  <a:lnTo>
                    <a:pt x="971" y="708"/>
                  </a:lnTo>
                  <a:lnTo>
                    <a:pt x="971" y="709"/>
                  </a:lnTo>
                  <a:lnTo>
                    <a:pt x="973" y="709"/>
                  </a:lnTo>
                  <a:lnTo>
                    <a:pt x="971" y="708"/>
                  </a:lnTo>
                  <a:lnTo>
                    <a:pt x="971" y="706"/>
                  </a:lnTo>
                  <a:lnTo>
                    <a:pt x="973" y="704"/>
                  </a:lnTo>
                  <a:lnTo>
                    <a:pt x="971" y="704"/>
                  </a:lnTo>
                  <a:lnTo>
                    <a:pt x="973" y="704"/>
                  </a:lnTo>
                  <a:lnTo>
                    <a:pt x="974" y="704"/>
                  </a:lnTo>
                  <a:lnTo>
                    <a:pt x="974" y="703"/>
                  </a:lnTo>
                  <a:lnTo>
                    <a:pt x="974" y="704"/>
                  </a:lnTo>
                  <a:lnTo>
                    <a:pt x="973" y="704"/>
                  </a:lnTo>
                  <a:lnTo>
                    <a:pt x="971" y="704"/>
                  </a:lnTo>
                  <a:lnTo>
                    <a:pt x="973" y="704"/>
                  </a:lnTo>
                  <a:lnTo>
                    <a:pt x="973" y="703"/>
                  </a:lnTo>
                  <a:lnTo>
                    <a:pt x="974" y="703"/>
                  </a:lnTo>
                  <a:lnTo>
                    <a:pt x="976" y="701"/>
                  </a:lnTo>
                  <a:lnTo>
                    <a:pt x="978" y="699"/>
                  </a:lnTo>
                  <a:lnTo>
                    <a:pt x="979" y="699"/>
                  </a:lnTo>
                  <a:lnTo>
                    <a:pt x="981" y="699"/>
                  </a:lnTo>
                  <a:lnTo>
                    <a:pt x="979" y="699"/>
                  </a:lnTo>
                  <a:lnTo>
                    <a:pt x="979" y="701"/>
                  </a:lnTo>
                  <a:lnTo>
                    <a:pt x="981" y="701"/>
                  </a:lnTo>
                  <a:lnTo>
                    <a:pt x="983" y="701"/>
                  </a:lnTo>
                  <a:lnTo>
                    <a:pt x="983" y="699"/>
                  </a:lnTo>
                  <a:lnTo>
                    <a:pt x="983" y="701"/>
                  </a:lnTo>
                  <a:lnTo>
                    <a:pt x="984" y="701"/>
                  </a:lnTo>
                  <a:lnTo>
                    <a:pt x="983" y="701"/>
                  </a:lnTo>
                  <a:lnTo>
                    <a:pt x="983" y="699"/>
                  </a:lnTo>
                  <a:lnTo>
                    <a:pt x="984" y="699"/>
                  </a:lnTo>
                  <a:lnTo>
                    <a:pt x="984" y="701"/>
                  </a:lnTo>
                  <a:lnTo>
                    <a:pt x="983" y="701"/>
                  </a:lnTo>
                  <a:lnTo>
                    <a:pt x="984" y="701"/>
                  </a:lnTo>
                  <a:lnTo>
                    <a:pt x="984" y="699"/>
                  </a:lnTo>
                  <a:lnTo>
                    <a:pt x="983" y="699"/>
                  </a:lnTo>
                  <a:lnTo>
                    <a:pt x="981" y="699"/>
                  </a:lnTo>
                  <a:lnTo>
                    <a:pt x="981" y="698"/>
                  </a:lnTo>
                  <a:lnTo>
                    <a:pt x="979" y="698"/>
                  </a:lnTo>
                  <a:lnTo>
                    <a:pt x="979" y="696"/>
                  </a:lnTo>
                  <a:lnTo>
                    <a:pt x="981" y="696"/>
                  </a:lnTo>
                  <a:lnTo>
                    <a:pt x="981" y="695"/>
                  </a:lnTo>
                  <a:lnTo>
                    <a:pt x="981" y="696"/>
                  </a:lnTo>
                  <a:lnTo>
                    <a:pt x="983" y="695"/>
                  </a:lnTo>
                  <a:lnTo>
                    <a:pt x="984" y="693"/>
                  </a:lnTo>
                  <a:lnTo>
                    <a:pt x="983" y="693"/>
                  </a:lnTo>
                  <a:lnTo>
                    <a:pt x="984" y="691"/>
                  </a:lnTo>
                  <a:lnTo>
                    <a:pt x="986" y="691"/>
                  </a:lnTo>
                  <a:lnTo>
                    <a:pt x="984" y="691"/>
                  </a:lnTo>
                  <a:lnTo>
                    <a:pt x="984" y="690"/>
                  </a:lnTo>
                  <a:lnTo>
                    <a:pt x="986" y="690"/>
                  </a:lnTo>
                  <a:lnTo>
                    <a:pt x="986" y="691"/>
                  </a:lnTo>
                  <a:lnTo>
                    <a:pt x="986" y="690"/>
                  </a:lnTo>
                  <a:lnTo>
                    <a:pt x="987" y="690"/>
                  </a:lnTo>
                  <a:lnTo>
                    <a:pt x="987" y="688"/>
                  </a:lnTo>
                  <a:lnTo>
                    <a:pt x="989" y="688"/>
                  </a:lnTo>
                  <a:lnTo>
                    <a:pt x="987" y="690"/>
                  </a:lnTo>
                  <a:lnTo>
                    <a:pt x="989" y="690"/>
                  </a:lnTo>
                  <a:lnTo>
                    <a:pt x="991" y="690"/>
                  </a:lnTo>
                  <a:lnTo>
                    <a:pt x="989" y="690"/>
                  </a:lnTo>
                  <a:lnTo>
                    <a:pt x="989" y="688"/>
                  </a:lnTo>
                  <a:lnTo>
                    <a:pt x="987" y="688"/>
                  </a:lnTo>
                  <a:lnTo>
                    <a:pt x="989" y="688"/>
                  </a:lnTo>
                  <a:lnTo>
                    <a:pt x="987" y="688"/>
                  </a:lnTo>
                  <a:lnTo>
                    <a:pt x="989" y="688"/>
                  </a:lnTo>
                  <a:lnTo>
                    <a:pt x="987" y="688"/>
                  </a:lnTo>
                  <a:lnTo>
                    <a:pt x="986" y="688"/>
                  </a:lnTo>
                  <a:lnTo>
                    <a:pt x="986" y="686"/>
                  </a:lnTo>
                  <a:lnTo>
                    <a:pt x="986" y="688"/>
                  </a:lnTo>
                  <a:lnTo>
                    <a:pt x="987" y="688"/>
                  </a:lnTo>
                  <a:lnTo>
                    <a:pt x="986" y="688"/>
                  </a:lnTo>
                  <a:lnTo>
                    <a:pt x="986" y="686"/>
                  </a:lnTo>
                  <a:lnTo>
                    <a:pt x="987" y="686"/>
                  </a:lnTo>
                  <a:lnTo>
                    <a:pt x="989" y="686"/>
                  </a:lnTo>
                  <a:lnTo>
                    <a:pt x="991" y="686"/>
                  </a:lnTo>
                  <a:lnTo>
                    <a:pt x="991" y="685"/>
                  </a:lnTo>
                  <a:lnTo>
                    <a:pt x="991" y="683"/>
                  </a:lnTo>
                  <a:lnTo>
                    <a:pt x="992" y="683"/>
                  </a:lnTo>
                  <a:lnTo>
                    <a:pt x="994" y="683"/>
                  </a:lnTo>
                  <a:lnTo>
                    <a:pt x="996" y="683"/>
                  </a:lnTo>
                  <a:lnTo>
                    <a:pt x="994" y="683"/>
                  </a:lnTo>
                  <a:lnTo>
                    <a:pt x="994" y="682"/>
                  </a:lnTo>
                  <a:lnTo>
                    <a:pt x="997" y="683"/>
                  </a:lnTo>
                  <a:lnTo>
                    <a:pt x="997" y="685"/>
                  </a:lnTo>
                  <a:lnTo>
                    <a:pt x="997" y="683"/>
                  </a:lnTo>
                  <a:lnTo>
                    <a:pt x="997" y="685"/>
                  </a:lnTo>
                  <a:lnTo>
                    <a:pt x="997" y="683"/>
                  </a:lnTo>
                  <a:lnTo>
                    <a:pt x="999" y="683"/>
                  </a:lnTo>
                  <a:lnTo>
                    <a:pt x="999" y="685"/>
                  </a:lnTo>
                  <a:lnTo>
                    <a:pt x="999" y="686"/>
                  </a:lnTo>
                  <a:lnTo>
                    <a:pt x="999" y="685"/>
                  </a:lnTo>
                  <a:lnTo>
                    <a:pt x="999" y="686"/>
                  </a:lnTo>
                  <a:lnTo>
                    <a:pt x="1000" y="686"/>
                  </a:lnTo>
                  <a:lnTo>
                    <a:pt x="1000" y="688"/>
                  </a:lnTo>
                  <a:lnTo>
                    <a:pt x="1002" y="688"/>
                  </a:lnTo>
                  <a:lnTo>
                    <a:pt x="1004" y="688"/>
                  </a:lnTo>
                  <a:lnTo>
                    <a:pt x="1005" y="688"/>
                  </a:lnTo>
                  <a:lnTo>
                    <a:pt x="1007" y="688"/>
                  </a:lnTo>
                  <a:lnTo>
                    <a:pt x="1007" y="686"/>
                  </a:lnTo>
                  <a:lnTo>
                    <a:pt x="1010" y="686"/>
                  </a:lnTo>
                  <a:lnTo>
                    <a:pt x="1010" y="688"/>
                  </a:lnTo>
                  <a:lnTo>
                    <a:pt x="1012" y="690"/>
                  </a:lnTo>
                  <a:lnTo>
                    <a:pt x="1013" y="690"/>
                  </a:lnTo>
                  <a:lnTo>
                    <a:pt x="1012" y="691"/>
                  </a:lnTo>
                  <a:lnTo>
                    <a:pt x="1012" y="693"/>
                  </a:lnTo>
                  <a:lnTo>
                    <a:pt x="1012" y="691"/>
                  </a:lnTo>
                  <a:lnTo>
                    <a:pt x="1012" y="693"/>
                  </a:lnTo>
                  <a:lnTo>
                    <a:pt x="1012" y="695"/>
                  </a:lnTo>
                  <a:lnTo>
                    <a:pt x="1013" y="695"/>
                  </a:lnTo>
                  <a:lnTo>
                    <a:pt x="1013" y="696"/>
                  </a:lnTo>
                  <a:lnTo>
                    <a:pt x="1015" y="696"/>
                  </a:lnTo>
                  <a:lnTo>
                    <a:pt x="1013" y="696"/>
                  </a:lnTo>
                  <a:lnTo>
                    <a:pt x="1015" y="696"/>
                  </a:lnTo>
                  <a:lnTo>
                    <a:pt x="1013" y="695"/>
                  </a:lnTo>
                  <a:lnTo>
                    <a:pt x="1012" y="695"/>
                  </a:lnTo>
                  <a:lnTo>
                    <a:pt x="1012" y="693"/>
                  </a:lnTo>
                  <a:lnTo>
                    <a:pt x="1012" y="691"/>
                  </a:lnTo>
                  <a:lnTo>
                    <a:pt x="1013" y="690"/>
                  </a:lnTo>
                  <a:lnTo>
                    <a:pt x="1012" y="690"/>
                  </a:lnTo>
                  <a:lnTo>
                    <a:pt x="1012" y="688"/>
                  </a:lnTo>
                  <a:lnTo>
                    <a:pt x="1010" y="688"/>
                  </a:lnTo>
                  <a:lnTo>
                    <a:pt x="1010" y="686"/>
                  </a:lnTo>
                  <a:lnTo>
                    <a:pt x="1010" y="685"/>
                  </a:lnTo>
                  <a:lnTo>
                    <a:pt x="1012" y="683"/>
                  </a:lnTo>
                  <a:lnTo>
                    <a:pt x="1013" y="683"/>
                  </a:lnTo>
                  <a:lnTo>
                    <a:pt x="1015" y="683"/>
                  </a:lnTo>
                  <a:lnTo>
                    <a:pt x="1017" y="685"/>
                  </a:lnTo>
                  <a:lnTo>
                    <a:pt x="1017" y="686"/>
                  </a:lnTo>
                  <a:lnTo>
                    <a:pt x="1018" y="686"/>
                  </a:lnTo>
                  <a:lnTo>
                    <a:pt x="1020" y="686"/>
                  </a:lnTo>
                  <a:lnTo>
                    <a:pt x="1022" y="686"/>
                  </a:lnTo>
                  <a:lnTo>
                    <a:pt x="1022" y="688"/>
                  </a:lnTo>
                  <a:lnTo>
                    <a:pt x="1023" y="690"/>
                  </a:lnTo>
                  <a:lnTo>
                    <a:pt x="1026" y="691"/>
                  </a:lnTo>
                  <a:lnTo>
                    <a:pt x="1028" y="691"/>
                  </a:lnTo>
                  <a:lnTo>
                    <a:pt x="1028" y="690"/>
                  </a:lnTo>
                  <a:lnTo>
                    <a:pt x="1030" y="690"/>
                  </a:lnTo>
                  <a:lnTo>
                    <a:pt x="1031" y="690"/>
                  </a:lnTo>
                  <a:lnTo>
                    <a:pt x="1030" y="690"/>
                  </a:lnTo>
                  <a:lnTo>
                    <a:pt x="1026" y="691"/>
                  </a:lnTo>
                  <a:lnTo>
                    <a:pt x="1025" y="690"/>
                  </a:lnTo>
                  <a:lnTo>
                    <a:pt x="1026" y="690"/>
                  </a:lnTo>
                  <a:lnTo>
                    <a:pt x="1025" y="690"/>
                  </a:lnTo>
                  <a:lnTo>
                    <a:pt x="1023" y="690"/>
                  </a:lnTo>
                  <a:lnTo>
                    <a:pt x="1022" y="688"/>
                  </a:lnTo>
                  <a:lnTo>
                    <a:pt x="1022" y="686"/>
                  </a:lnTo>
                  <a:lnTo>
                    <a:pt x="1020" y="686"/>
                  </a:lnTo>
                  <a:lnTo>
                    <a:pt x="1018" y="686"/>
                  </a:lnTo>
                  <a:lnTo>
                    <a:pt x="1017" y="685"/>
                  </a:lnTo>
                  <a:lnTo>
                    <a:pt x="1018" y="685"/>
                  </a:lnTo>
                  <a:lnTo>
                    <a:pt x="1020" y="685"/>
                  </a:lnTo>
                  <a:lnTo>
                    <a:pt x="1022" y="685"/>
                  </a:lnTo>
                  <a:lnTo>
                    <a:pt x="1023" y="685"/>
                  </a:lnTo>
                  <a:lnTo>
                    <a:pt x="1025" y="683"/>
                  </a:lnTo>
                  <a:lnTo>
                    <a:pt x="1023" y="685"/>
                  </a:lnTo>
                  <a:lnTo>
                    <a:pt x="1023" y="683"/>
                  </a:lnTo>
                  <a:lnTo>
                    <a:pt x="1025" y="683"/>
                  </a:lnTo>
                  <a:lnTo>
                    <a:pt x="1025" y="682"/>
                  </a:lnTo>
                  <a:lnTo>
                    <a:pt x="1026" y="683"/>
                  </a:lnTo>
                  <a:lnTo>
                    <a:pt x="1026" y="682"/>
                  </a:lnTo>
                  <a:lnTo>
                    <a:pt x="1028" y="682"/>
                  </a:lnTo>
                  <a:lnTo>
                    <a:pt x="1030" y="682"/>
                  </a:lnTo>
                  <a:lnTo>
                    <a:pt x="1031" y="682"/>
                  </a:lnTo>
                  <a:lnTo>
                    <a:pt x="1033" y="683"/>
                  </a:lnTo>
                  <a:lnTo>
                    <a:pt x="1033" y="685"/>
                  </a:lnTo>
                  <a:lnTo>
                    <a:pt x="1035" y="686"/>
                  </a:lnTo>
                  <a:lnTo>
                    <a:pt x="1036" y="686"/>
                  </a:lnTo>
                  <a:lnTo>
                    <a:pt x="1038" y="686"/>
                  </a:lnTo>
                  <a:lnTo>
                    <a:pt x="1038" y="688"/>
                  </a:lnTo>
                  <a:lnTo>
                    <a:pt x="1036" y="688"/>
                  </a:lnTo>
                  <a:lnTo>
                    <a:pt x="1038" y="688"/>
                  </a:lnTo>
                  <a:lnTo>
                    <a:pt x="1038" y="686"/>
                  </a:lnTo>
                  <a:lnTo>
                    <a:pt x="1036" y="686"/>
                  </a:lnTo>
                  <a:lnTo>
                    <a:pt x="1036" y="685"/>
                  </a:lnTo>
                  <a:lnTo>
                    <a:pt x="1038" y="685"/>
                  </a:lnTo>
                  <a:lnTo>
                    <a:pt x="1040" y="685"/>
                  </a:lnTo>
                  <a:lnTo>
                    <a:pt x="1041" y="685"/>
                  </a:lnTo>
                  <a:lnTo>
                    <a:pt x="1041" y="683"/>
                  </a:lnTo>
                  <a:lnTo>
                    <a:pt x="1043" y="683"/>
                  </a:lnTo>
                  <a:lnTo>
                    <a:pt x="1044" y="683"/>
                  </a:lnTo>
                  <a:lnTo>
                    <a:pt x="1046" y="683"/>
                  </a:lnTo>
                  <a:lnTo>
                    <a:pt x="1048" y="683"/>
                  </a:lnTo>
                  <a:lnTo>
                    <a:pt x="1049" y="685"/>
                  </a:lnTo>
                  <a:lnTo>
                    <a:pt x="1051" y="686"/>
                  </a:lnTo>
                  <a:lnTo>
                    <a:pt x="1051" y="688"/>
                  </a:lnTo>
                  <a:lnTo>
                    <a:pt x="1053" y="690"/>
                  </a:lnTo>
                  <a:lnTo>
                    <a:pt x="1054" y="691"/>
                  </a:lnTo>
                  <a:lnTo>
                    <a:pt x="1056" y="691"/>
                  </a:lnTo>
                  <a:lnTo>
                    <a:pt x="1059" y="693"/>
                  </a:lnTo>
                  <a:lnTo>
                    <a:pt x="1059" y="695"/>
                  </a:lnTo>
                  <a:lnTo>
                    <a:pt x="1061" y="693"/>
                  </a:lnTo>
                  <a:lnTo>
                    <a:pt x="1062" y="693"/>
                  </a:lnTo>
                  <a:lnTo>
                    <a:pt x="1064" y="693"/>
                  </a:lnTo>
                  <a:lnTo>
                    <a:pt x="1066" y="693"/>
                  </a:lnTo>
                  <a:lnTo>
                    <a:pt x="1067" y="693"/>
                  </a:lnTo>
                  <a:lnTo>
                    <a:pt x="1064" y="693"/>
                  </a:lnTo>
                  <a:lnTo>
                    <a:pt x="1064" y="691"/>
                  </a:lnTo>
                  <a:lnTo>
                    <a:pt x="1064" y="693"/>
                  </a:lnTo>
                  <a:lnTo>
                    <a:pt x="1062" y="693"/>
                  </a:lnTo>
                  <a:lnTo>
                    <a:pt x="1064" y="691"/>
                  </a:lnTo>
                  <a:lnTo>
                    <a:pt x="1062" y="693"/>
                  </a:lnTo>
                  <a:lnTo>
                    <a:pt x="1062" y="691"/>
                  </a:lnTo>
                  <a:lnTo>
                    <a:pt x="1062" y="693"/>
                  </a:lnTo>
                  <a:lnTo>
                    <a:pt x="1062" y="691"/>
                  </a:lnTo>
                  <a:lnTo>
                    <a:pt x="1064" y="691"/>
                  </a:lnTo>
                  <a:lnTo>
                    <a:pt x="1064" y="690"/>
                  </a:lnTo>
                  <a:lnTo>
                    <a:pt x="1067" y="690"/>
                  </a:lnTo>
                  <a:lnTo>
                    <a:pt x="1069" y="690"/>
                  </a:lnTo>
                  <a:lnTo>
                    <a:pt x="1070" y="690"/>
                  </a:lnTo>
                  <a:lnTo>
                    <a:pt x="1072" y="690"/>
                  </a:lnTo>
                  <a:lnTo>
                    <a:pt x="1075" y="690"/>
                  </a:lnTo>
                  <a:lnTo>
                    <a:pt x="1077" y="690"/>
                  </a:lnTo>
                  <a:lnTo>
                    <a:pt x="1079" y="690"/>
                  </a:lnTo>
                  <a:lnTo>
                    <a:pt x="1080" y="690"/>
                  </a:lnTo>
                  <a:lnTo>
                    <a:pt x="1082" y="690"/>
                  </a:lnTo>
                  <a:lnTo>
                    <a:pt x="1080" y="690"/>
                  </a:lnTo>
                  <a:lnTo>
                    <a:pt x="1079" y="690"/>
                  </a:lnTo>
                  <a:lnTo>
                    <a:pt x="1077" y="690"/>
                  </a:lnTo>
                  <a:lnTo>
                    <a:pt x="1080" y="688"/>
                  </a:lnTo>
                  <a:lnTo>
                    <a:pt x="1082" y="688"/>
                  </a:lnTo>
                  <a:lnTo>
                    <a:pt x="1083" y="686"/>
                  </a:lnTo>
                  <a:lnTo>
                    <a:pt x="1085" y="686"/>
                  </a:lnTo>
                  <a:lnTo>
                    <a:pt x="1087" y="686"/>
                  </a:lnTo>
                  <a:lnTo>
                    <a:pt x="1087" y="685"/>
                  </a:lnTo>
                  <a:lnTo>
                    <a:pt x="1087" y="686"/>
                  </a:lnTo>
                  <a:lnTo>
                    <a:pt x="1087" y="685"/>
                  </a:lnTo>
                  <a:lnTo>
                    <a:pt x="1088" y="685"/>
                  </a:lnTo>
                  <a:lnTo>
                    <a:pt x="1090" y="685"/>
                  </a:lnTo>
                  <a:lnTo>
                    <a:pt x="1090" y="683"/>
                  </a:lnTo>
                  <a:lnTo>
                    <a:pt x="1092" y="683"/>
                  </a:lnTo>
                  <a:lnTo>
                    <a:pt x="1092" y="685"/>
                  </a:lnTo>
                  <a:lnTo>
                    <a:pt x="1093" y="685"/>
                  </a:lnTo>
                  <a:lnTo>
                    <a:pt x="1095" y="685"/>
                  </a:lnTo>
                  <a:lnTo>
                    <a:pt x="1096" y="686"/>
                  </a:lnTo>
                  <a:lnTo>
                    <a:pt x="1098" y="686"/>
                  </a:lnTo>
                  <a:lnTo>
                    <a:pt x="1098" y="688"/>
                  </a:lnTo>
                  <a:lnTo>
                    <a:pt x="1101" y="688"/>
                  </a:lnTo>
                  <a:lnTo>
                    <a:pt x="1103" y="688"/>
                  </a:lnTo>
                  <a:lnTo>
                    <a:pt x="1108" y="690"/>
                  </a:lnTo>
                  <a:lnTo>
                    <a:pt x="1105" y="688"/>
                  </a:lnTo>
                  <a:lnTo>
                    <a:pt x="1106" y="688"/>
                  </a:lnTo>
                  <a:lnTo>
                    <a:pt x="1108" y="688"/>
                  </a:lnTo>
                  <a:lnTo>
                    <a:pt x="1109" y="690"/>
                  </a:lnTo>
                  <a:lnTo>
                    <a:pt x="1111" y="690"/>
                  </a:lnTo>
                  <a:lnTo>
                    <a:pt x="1111" y="691"/>
                  </a:lnTo>
                  <a:lnTo>
                    <a:pt x="1111" y="693"/>
                  </a:lnTo>
                  <a:lnTo>
                    <a:pt x="1111" y="695"/>
                  </a:lnTo>
                  <a:lnTo>
                    <a:pt x="1113" y="695"/>
                  </a:lnTo>
                  <a:lnTo>
                    <a:pt x="1114" y="695"/>
                  </a:lnTo>
                  <a:lnTo>
                    <a:pt x="1113" y="695"/>
                  </a:lnTo>
                  <a:lnTo>
                    <a:pt x="1111" y="695"/>
                  </a:lnTo>
                  <a:lnTo>
                    <a:pt x="1111" y="693"/>
                  </a:lnTo>
                  <a:lnTo>
                    <a:pt x="1111" y="691"/>
                  </a:lnTo>
                  <a:lnTo>
                    <a:pt x="1111" y="690"/>
                  </a:lnTo>
                  <a:lnTo>
                    <a:pt x="1113" y="691"/>
                  </a:lnTo>
                  <a:lnTo>
                    <a:pt x="1114" y="691"/>
                  </a:lnTo>
                  <a:lnTo>
                    <a:pt x="1116" y="691"/>
                  </a:lnTo>
                  <a:lnTo>
                    <a:pt x="1118" y="691"/>
                  </a:lnTo>
                  <a:lnTo>
                    <a:pt x="1119" y="691"/>
                  </a:lnTo>
                  <a:lnTo>
                    <a:pt x="1122" y="688"/>
                  </a:lnTo>
                  <a:lnTo>
                    <a:pt x="1124" y="688"/>
                  </a:lnTo>
                  <a:lnTo>
                    <a:pt x="1126" y="690"/>
                  </a:lnTo>
                  <a:lnTo>
                    <a:pt x="1127" y="691"/>
                  </a:lnTo>
                  <a:lnTo>
                    <a:pt x="1127" y="693"/>
                  </a:lnTo>
                  <a:lnTo>
                    <a:pt x="1126" y="696"/>
                  </a:lnTo>
                  <a:lnTo>
                    <a:pt x="1124" y="696"/>
                  </a:lnTo>
                  <a:lnTo>
                    <a:pt x="1121" y="698"/>
                  </a:lnTo>
                  <a:lnTo>
                    <a:pt x="1119" y="698"/>
                  </a:lnTo>
                  <a:lnTo>
                    <a:pt x="1119" y="699"/>
                  </a:lnTo>
                  <a:lnTo>
                    <a:pt x="1119" y="701"/>
                  </a:lnTo>
                  <a:lnTo>
                    <a:pt x="1119" y="703"/>
                  </a:lnTo>
                  <a:lnTo>
                    <a:pt x="1121" y="703"/>
                  </a:lnTo>
                  <a:lnTo>
                    <a:pt x="1121" y="704"/>
                  </a:lnTo>
                  <a:lnTo>
                    <a:pt x="1122" y="708"/>
                  </a:lnTo>
                  <a:lnTo>
                    <a:pt x="1124" y="709"/>
                  </a:lnTo>
                  <a:lnTo>
                    <a:pt x="1124" y="711"/>
                  </a:lnTo>
                  <a:lnTo>
                    <a:pt x="1124" y="713"/>
                  </a:lnTo>
                  <a:lnTo>
                    <a:pt x="1124" y="714"/>
                  </a:lnTo>
                  <a:lnTo>
                    <a:pt x="1126" y="714"/>
                  </a:lnTo>
                  <a:lnTo>
                    <a:pt x="1129" y="713"/>
                  </a:lnTo>
                  <a:lnTo>
                    <a:pt x="1131" y="714"/>
                  </a:lnTo>
                  <a:lnTo>
                    <a:pt x="1131" y="716"/>
                  </a:lnTo>
                  <a:lnTo>
                    <a:pt x="1129" y="719"/>
                  </a:lnTo>
                  <a:lnTo>
                    <a:pt x="1131" y="722"/>
                  </a:lnTo>
                  <a:lnTo>
                    <a:pt x="1131" y="724"/>
                  </a:lnTo>
                  <a:lnTo>
                    <a:pt x="1131" y="729"/>
                  </a:lnTo>
                  <a:lnTo>
                    <a:pt x="1129" y="729"/>
                  </a:lnTo>
                  <a:lnTo>
                    <a:pt x="1129" y="730"/>
                  </a:lnTo>
                  <a:lnTo>
                    <a:pt x="1129" y="732"/>
                  </a:lnTo>
                  <a:lnTo>
                    <a:pt x="1131" y="732"/>
                  </a:lnTo>
                  <a:lnTo>
                    <a:pt x="1131" y="734"/>
                  </a:lnTo>
                  <a:lnTo>
                    <a:pt x="1132" y="734"/>
                  </a:lnTo>
                  <a:lnTo>
                    <a:pt x="1132" y="737"/>
                  </a:lnTo>
                  <a:lnTo>
                    <a:pt x="1132" y="739"/>
                  </a:lnTo>
                  <a:lnTo>
                    <a:pt x="1132" y="740"/>
                  </a:lnTo>
                  <a:lnTo>
                    <a:pt x="1131" y="742"/>
                  </a:lnTo>
                  <a:lnTo>
                    <a:pt x="1131" y="743"/>
                  </a:lnTo>
                  <a:lnTo>
                    <a:pt x="1131" y="745"/>
                  </a:lnTo>
                  <a:lnTo>
                    <a:pt x="1129" y="747"/>
                  </a:lnTo>
                  <a:lnTo>
                    <a:pt x="1129" y="748"/>
                  </a:lnTo>
                  <a:lnTo>
                    <a:pt x="1127" y="750"/>
                  </a:lnTo>
                  <a:lnTo>
                    <a:pt x="1127" y="756"/>
                  </a:lnTo>
                  <a:lnTo>
                    <a:pt x="1129" y="758"/>
                  </a:lnTo>
                  <a:lnTo>
                    <a:pt x="1129" y="760"/>
                  </a:lnTo>
                  <a:lnTo>
                    <a:pt x="1131" y="760"/>
                  </a:lnTo>
                  <a:lnTo>
                    <a:pt x="1135" y="761"/>
                  </a:lnTo>
                  <a:lnTo>
                    <a:pt x="1137" y="763"/>
                  </a:lnTo>
                  <a:lnTo>
                    <a:pt x="1137" y="765"/>
                  </a:lnTo>
                  <a:lnTo>
                    <a:pt x="1139" y="766"/>
                  </a:lnTo>
                  <a:lnTo>
                    <a:pt x="1140" y="768"/>
                  </a:lnTo>
                  <a:lnTo>
                    <a:pt x="1144" y="768"/>
                  </a:lnTo>
                  <a:lnTo>
                    <a:pt x="1145" y="768"/>
                  </a:lnTo>
                  <a:lnTo>
                    <a:pt x="1147" y="766"/>
                  </a:lnTo>
                  <a:lnTo>
                    <a:pt x="1148" y="763"/>
                  </a:lnTo>
                  <a:lnTo>
                    <a:pt x="1150" y="763"/>
                  </a:lnTo>
                  <a:lnTo>
                    <a:pt x="1150" y="761"/>
                  </a:lnTo>
                  <a:lnTo>
                    <a:pt x="1152" y="763"/>
                  </a:lnTo>
                  <a:lnTo>
                    <a:pt x="1153" y="763"/>
                  </a:lnTo>
                  <a:lnTo>
                    <a:pt x="1157" y="766"/>
                  </a:lnTo>
                  <a:lnTo>
                    <a:pt x="1158" y="768"/>
                  </a:lnTo>
                  <a:lnTo>
                    <a:pt x="1157" y="768"/>
                  </a:lnTo>
                  <a:lnTo>
                    <a:pt x="1158" y="768"/>
                  </a:lnTo>
                  <a:lnTo>
                    <a:pt x="1160" y="768"/>
                  </a:lnTo>
                  <a:lnTo>
                    <a:pt x="1161" y="768"/>
                  </a:lnTo>
                  <a:lnTo>
                    <a:pt x="1160" y="768"/>
                  </a:lnTo>
                  <a:lnTo>
                    <a:pt x="1161" y="766"/>
                  </a:lnTo>
                  <a:lnTo>
                    <a:pt x="1163" y="766"/>
                  </a:lnTo>
                  <a:lnTo>
                    <a:pt x="1165" y="766"/>
                  </a:lnTo>
                  <a:lnTo>
                    <a:pt x="1166" y="768"/>
                  </a:lnTo>
                  <a:lnTo>
                    <a:pt x="1168" y="769"/>
                  </a:lnTo>
                  <a:lnTo>
                    <a:pt x="1166" y="769"/>
                  </a:lnTo>
                  <a:lnTo>
                    <a:pt x="1168" y="769"/>
                  </a:lnTo>
                  <a:lnTo>
                    <a:pt x="1168" y="771"/>
                  </a:lnTo>
                  <a:lnTo>
                    <a:pt x="1168" y="773"/>
                  </a:lnTo>
                  <a:lnTo>
                    <a:pt x="1168" y="774"/>
                  </a:lnTo>
                  <a:lnTo>
                    <a:pt x="1168" y="778"/>
                  </a:lnTo>
                  <a:lnTo>
                    <a:pt x="1166" y="779"/>
                  </a:lnTo>
                  <a:lnTo>
                    <a:pt x="1168" y="779"/>
                  </a:lnTo>
                  <a:lnTo>
                    <a:pt x="1166" y="779"/>
                  </a:lnTo>
                  <a:lnTo>
                    <a:pt x="1168" y="782"/>
                  </a:lnTo>
                  <a:lnTo>
                    <a:pt x="1168" y="784"/>
                  </a:lnTo>
                  <a:lnTo>
                    <a:pt x="1166" y="784"/>
                  </a:lnTo>
                  <a:lnTo>
                    <a:pt x="1166" y="786"/>
                  </a:lnTo>
                  <a:lnTo>
                    <a:pt x="1165" y="786"/>
                  </a:lnTo>
                  <a:lnTo>
                    <a:pt x="1165" y="784"/>
                  </a:lnTo>
                  <a:lnTo>
                    <a:pt x="1165" y="786"/>
                  </a:lnTo>
                  <a:lnTo>
                    <a:pt x="1163" y="786"/>
                  </a:lnTo>
                  <a:lnTo>
                    <a:pt x="1165" y="786"/>
                  </a:lnTo>
                  <a:lnTo>
                    <a:pt x="1163" y="786"/>
                  </a:lnTo>
                  <a:lnTo>
                    <a:pt x="1163" y="784"/>
                  </a:lnTo>
                  <a:lnTo>
                    <a:pt x="1163" y="786"/>
                  </a:lnTo>
                  <a:lnTo>
                    <a:pt x="1161" y="786"/>
                  </a:lnTo>
                  <a:lnTo>
                    <a:pt x="1161" y="787"/>
                  </a:lnTo>
                  <a:lnTo>
                    <a:pt x="1160" y="789"/>
                  </a:lnTo>
                  <a:lnTo>
                    <a:pt x="1158" y="789"/>
                  </a:lnTo>
                  <a:lnTo>
                    <a:pt x="1158" y="787"/>
                  </a:lnTo>
                  <a:lnTo>
                    <a:pt x="1158" y="786"/>
                  </a:lnTo>
                  <a:lnTo>
                    <a:pt x="1157" y="786"/>
                  </a:lnTo>
                  <a:lnTo>
                    <a:pt x="1157" y="787"/>
                  </a:lnTo>
                  <a:lnTo>
                    <a:pt x="1155" y="789"/>
                  </a:lnTo>
                  <a:lnTo>
                    <a:pt x="1155" y="787"/>
                  </a:lnTo>
                  <a:lnTo>
                    <a:pt x="1153" y="787"/>
                  </a:lnTo>
                  <a:lnTo>
                    <a:pt x="1155" y="787"/>
                  </a:lnTo>
                  <a:lnTo>
                    <a:pt x="1155" y="789"/>
                  </a:lnTo>
                  <a:lnTo>
                    <a:pt x="1157" y="787"/>
                  </a:lnTo>
                  <a:lnTo>
                    <a:pt x="1158" y="786"/>
                  </a:lnTo>
                  <a:lnTo>
                    <a:pt x="1158" y="787"/>
                  </a:lnTo>
                  <a:lnTo>
                    <a:pt x="1158" y="789"/>
                  </a:lnTo>
                  <a:lnTo>
                    <a:pt x="1160" y="789"/>
                  </a:lnTo>
                  <a:lnTo>
                    <a:pt x="1161" y="789"/>
                  </a:lnTo>
                  <a:lnTo>
                    <a:pt x="1161" y="787"/>
                  </a:lnTo>
                  <a:lnTo>
                    <a:pt x="1161" y="786"/>
                  </a:lnTo>
                  <a:lnTo>
                    <a:pt x="1163" y="786"/>
                  </a:lnTo>
                  <a:lnTo>
                    <a:pt x="1165" y="786"/>
                  </a:lnTo>
                  <a:lnTo>
                    <a:pt x="1166" y="786"/>
                  </a:lnTo>
                  <a:lnTo>
                    <a:pt x="1165" y="786"/>
                  </a:lnTo>
                  <a:lnTo>
                    <a:pt x="1166" y="786"/>
                  </a:lnTo>
                  <a:lnTo>
                    <a:pt x="1165" y="786"/>
                  </a:lnTo>
                  <a:lnTo>
                    <a:pt x="1165" y="787"/>
                  </a:lnTo>
                  <a:lnTo>
                    <a:pt x="1163" y="787"/>
                  </a:lnTo>
                  <a:lnTo>
                    <a:pt x="1163" y="789"/>
                  </a:lnTo>
                  <a:lnTo>
                    <a:pt x="1161" y="789"/>
                  </a:lnTo>
                  <a:lnTo>
                    <a:pt x="1163" y="789"/>
                  </a:lnTo>
                  <a:lnTo>
                    <a:pt x="1165" y="787"/>
                  </a:lnTo>
                  <a:lnTo>
                    <a:pt x="1165" y="786"/>
                  </a:lnTo>
                  <a:lnTo>
                    <a:pt x="1166" y="786"/>
                  </a:lnTo>
                  <a:lnTo>
                    <a:pt x="1166" y="784"/>
                  </a:lnTo>
                  <a:lnTo>
                    <a:pt x="1168" y="784"/>
                  </a:lnTo>
                  <a:lnTo>
                    <a:pt x="1168" y="782"/>
                  </a:lnTo>
                  <a:lnTo>
                    <a:pt x="1168" y="779"/>
                  </a:lnTo>
                  <a:lnTo>
                    <a:pt x="1168" y="778"/>
                  </a:lnTo>
                  <a:lnTo>
                    <a:pt x="1168" y="776"/>
                  </a:lnTo>
                  <a:lnTo>
                    <a:pt x="1168" y="774"/>
                  </a:lnTo>
                  <a:lnTo>
                    <a:pt x="1168" y="773"/>
                  </a:lnTo>
                  <a:lnTo>
                    <a:pt x="1168" y="771"/>
                  </a:lnTo>
                  <a:lnTo>
                    <a:pt x="1168" y="773"/>
                  </a:lnTo>
                  <a:lnTo>
                    <a:pt x="1168" y="774"/>
                  </a:lnTo>
                  <a:lnTo>
                    <a:pt x="1170" y="778"/>
                  </a:lnTo>
                  <a:lnTo>
                    <a:pt x="1170" y="779"/>
                  </a:lnTo>
                  <a:lnTo>
                    <a:pt x="1170" y="781"/>
                  </a:lnTo>
                  <a:lnTo>
                    <a:pt x="1171" y="786"/>
                  </a:lnTo>
                  <a:lnTo>
                    <a:pt x="1173" y="787"/>
                  </a:lnTo>
                  <a:lnTo>
                    <a:pt x="1174" y="787"/>
                  </a:lnTo>
                  <a:lnTo>
                    <a:pt x="1176" y="789"/>
                  </a:lnTo>
                  <a:lnTo>
                    <a:pt x="1178" y="789"/>
                  </a:lnTo>
                  <a:lnTo>
                    <a:pt x="1178" y="791"/>
                  </a:lnTo>
                  <a:lnTo>
                    <a:pt x="1176" y="789"/>
                  </a:lnTo>
                  <a:lnTo>
                    <a:pt x="1178" y="791"/>
                  </a:lnTo>
                  <a:lnTo>
                    <a:pt x="1181" y="792"/>
                  </a:lnTo>
                  <a:lnTo>
                    <a:pt x="1183" y="792"/>
                  </a:lnTo>
                  <a:lnTo>
                    <a:pt x="1183" y="794"/>
                  </a:lnTo>
                  <a:lnTo>
                    <a:pt x="1183" y="792"/>
                  </a:lnTo>
                  <a:lnTo>
                    <a:pt x="1184" y="792"/>
                  </a:lnTo>
                  <a:lnTo>
                    <a:pt x="1183" y="792"/>
                  </a:lnTo>
                  <a:lnTo>
                    <a:pt x="1184" y="794"/>
                  </a:lnTo>
                  <a:lnTo>
                    <a:pt x="1188" y="795"/>
                  </a:lnTo>
                  <a:lnTo>
                    <a:pt x="1189" y="795"/>
                  </a:lnTo>
                  <a:lnTo>
                    <a:pt x="1189" y="797"/>
                  </a:lnTo>
                  <a:lnTo>
                    <a:pt x="1189" y="795"/>
                  </a:lnTo>
                  <a:lnTo>
                    <a:pt x="1191" y="797"/>
                  </a:lnTo>
                  <a:lnTo>
                    <a:pt x="1191" y="795"/>
                  </a:lnTo>
                  <a:lnTo>
                    <a:pt x="1189" y="795"/>
                  </a:lnTo>
                  <a:lnTo>
                    <a:pt x="1191" y="795"/>
                  </a:lnTo>
                  <a:lnTo>
                    <a:pt x="1192" y="795"/>
                  </a:lnTo>
                  <a:lnTo>
                    <a:pt x="1191" y="795"/>
                  </a:lnTo>
                  <a:lnTo>
                    <a:pt x="1191" y="797"/>
                  </a:lnTo>
                  <a:lnTo>
                    <a:pt x="1191" y="795"/>
                  </a:lnTo>
                  <a:lnTo>
                    <a:pt x="1191" y="797"/>
                  </a:lnTo>
                  <a:lnTo>
                    <a:pt x="1192" y="797"/>
                  </a:lnTo>
                  <a:lnTo>
                    <a:pt x="1191" y="795"/>
                  </a:lnTo>
                  <a:lnTo>
                    <a:pt x="1192" y="795"/>
                  </a:lnTo>
                  <a:lnTo>
                    <a:pt x="1192" y="797"/>
                  </a:lnTo>
                  <a:lnTo>
                    <a:pt x="1194" y="799"/>
                  </a:lnTo>
                  <a:lnTo>
                    <a:pt x="1196" y="800"/>
                  </a:lnTo>
                  <a:lnTo>
                    <a:pt x="1196" y="802"/>
                  </a:lnTo>
                  <a:lnTo>
                    <a:pt x="1196" y="804"/>
                  </a:lnTo>
                  <a:lnTo>
                    <a:pt x="1194" y="807"/>
                  </a:lnTo>
                  <a:lnTo>
                    <a:pt x="1196" y="808"/>
                  </a:lnTo>
                  <a:lnTo>
                    <a:pt x="1196" y="810"/>
                  </a:lnTo>
                  <a:lnTo>
                    <a:pt x="1197" y="812"/>
                  </a:lnTo>
                  <a:lnTo>
                    <a:pt x="1197" y="813"/>
                  </a:lnTo>
                  <a:lnTo>
                    <a:pt x="1201" y="815"/>
                  </a:lnTo>
                  <a:lnTo>
                    <a:pt x="1202" y="817"/>
                  </a:lnTo>
                  <a:lnTo>
                    <a:pt x="1202" y="818"/>
                  </a:lnTo>
                  <a:lnTo>
                    <a:pt x="1204" y="820"/>
                  </a:lnTo>
                  <a:lnTo>
                    <a:pt x="1205" y="823"/>
                  </a:lnTo>
                  <a:lnTo>
                    <a:pt x="1207" y="825"/>
                  </a:lnTo>
                  <a:lnTo>
                    <a:pt x="1209" y="826"/>
                  </a:lnTo>
                  <a:lnTo>
                    <a:pt x="1210" y="826"/>
                  </a:lnTo>
                  <a:lnTo>
                    <a:pt x="1210" y="828"/>
                  </a:lnTo>
                  <a:lnTo>
                    <a:pt x="1209" y="828"/>
                  </a:lnTo>
                  <a:lnTo>
                    <a:pt x="1210" y="830"/>
                  </a:lnTo>
                  <a:lnTo>
                    <a:pt x="1209" y="830"/>
                  </a:lnTo>
                  <a:lnTo>
                    <a:pt x="1207" y="830"/>
                  </a:lnTo>
                  <a:lnTo>
                    <a:pt x="1205" y="830"/>
                  </a:lnTo>
                  <a:lnTo>
                    <a:pt x="1207" y="830"/>
                  </a:lnTo>
                  <a:lnTo>
                    <a:pt x="1207" y="831"/>
                  </a:lnTo>
                  <a:lnTo>
                    <a:pt x="1207" y="830"/>
                  </a:lnTo>
                  <a:lnTo>
                    <a:pt x="1207" y="831"/>
                  </a:lnTo>
                  <a:lnTo>
                    <a:pt x="1209" y="831"/>
                  </a:lnTo>
                  <a:lnTo>
                    <a:pt x="1209" y="830"/>
                  </a:lnTo>
                  <a:lnTo>
                    <a:pt x="1209" y="831"/>
                  </a:lnTo>
                  <a:lnTo>
                    <a:pt x="1209" y="830"/>
                  </a:lnTo>
                  <a:lnTo>
                    <a:pt x="1210" y="830"/>
                  </a:lnTo>
                  <a:lnTo>
                    <a:pt x="1210" y="828"/>
                  </a:lnTo>
                  <a:lnTo>
                    <a:pt x="1210" y="826"/>
                  </a:lnTo>
                  <a:lnTo>
                    <a:pt x="1210" y="828"/>
                  </a:lnTo>
                  <a:lnTo>
                    <a:pt x="1210" y="826"/>
                  </a:lnTo>
                  <a:lnTo>
                    <a:pt x="1212" y="826"/>
                  </a:lnTo>
                  <a:lnTo>
                    <a:pt x="1215" y="826"/>
                  </a:lnTo>
                  <a:lnTo>
                    <a:pt x="1215" y="828"/>
                  </a:lnTo>
                  <a:lnTo>
                    <a:pt x="1215" y="826"/>
                  </a:lnTo>
                  <a:lnTo>
                    <a:pt x="1218" y="826"/>
                  </a:lnTo>
                  <a:lnTo>
                    <a:pt x="1220" y="826"/>
                  </a:lnTo>
                  <a:lnTo>
                    <a:pt x="1218" y="825"/>
                  </a:lnTo>
                  <a:lnTo>
                    <a:pt x="1220" y="825"/>
                  </a:lnTo>
                  <a:lnTo>
                    <a:pt x="1218" y="825"/>
                  </a:lnTo>
                  <a:lnTo>
                    <a:pt x="1218" y="826"/>
                  </a:lnTo>
                  <a:lnTo>
                    <a:pt x="1217" y="825"/>
                  </a:lnTo>
                  <a:lnTo>
                    <a:pt x="1218" y="825"/>
                  </a:lnTo>
                  <a:lnTo>
                    <a:pt x="1217" y="825"/>
                  </a:lnTo>
                  <a:lnTo>
                    <a:pt x="1218" y="825"/>
                  </a:lnTo>
                  <a:lnTo>
                    <a:pt x="1220" y="825"/>
                  </a:lnTo>
                  <a:lnTo>
                    <a:pt x="1223" y="825"/>
                  </a:lnTo>
                  <a:lnTo>
                    <a:pt x="1225" y="825"/>
                  </a:lnTo>
                  <a:lnTo>
                    <a:pt x="1227" y="823"/>
                  </a:lnTo>
                  <a:lnTo>
                    <a:pt x="1227" y="825"/>
                  </a:lnTo>
                  <a:lnTo>
                    <a:pt x="1227" y="826"/>
                  </a:lnTo>
                  <a:lnTo>
                    <a:pt x="1228" y="825"/>
                  </a:lnTo>
                  <a:lnTo>
                    <a:pt x="1228" y="826"/>
                  </a:lnTo>
                  <a:lnTo>
                    <a:pt x="1227" y="826"/>
                  </a:lnTo>
                  <a:lnTo>
                    <a:pt x="1227" y="828"/>
                  </a:lnTo>
                  <a:lnTo>
                    <a:pt x="1228" y="826"/>
                  </a:lnTo>
                  <a:lnTo>
                    <a:pt x="1228" y="825"/>
                  </a:lnTo>
                  <a:lnTo>
                    <a:pt x="1227" y="825"/>
                  </a:lnTo>
                  <a:lnTo>
                    <a:pt x="1227" y="823"/>
                  </a:lnTo>
                  <a:lnTo>
                    <a:pt x="1228" y="823"/>
                  </a:lnTo>
                  <a:lnTo>
                    <a:pt x="1230" y="823"/>
                  </a:lnTo>
                  <a:lnTo>
                    <a:pt x="1233" y="821"/>
                  </a:lnTo>
                  <a:lnTo>
                    <a:pt x="1236" y="820"/>
                  </a:lnTo>
                  <a:lnTo>
                    <a:pt x="1236" y="818"/>
                  </a:lnTo>
                  <a:lnTo>
                    <a:pt x="1238" y="818"/>
                  </a:lnTo>
                  <a:lnTo>
                    <a:pt x="1240" y="818"/>
                  </a:lnTo>
                  <a:lnTo>
                    <a:pt x="1241" y="818"/>
                  </a:lnTo>
                  <a:lnTo>
                    <a:pt x="1243" y="820"/>
                  </a:lnTo>
                  <a:lnTo>
                    <a:pt x="1244" y="820"/>
                  </a:lnTo>
                  <a:lnTo>
                    <a:pt x="1246" y="820"/>
                  </a:lnTo>
                  <a:lnTo>
                    <a:pt x="1248" y="821"/>
                  </a:lnTo>
                  <a:lnTo>
                    <a:pt x="1249" y="823"/>
                  </a:lnTo>
                  <a:lnTo>
                    <a:pt x="1249" y="825"/>
                  </a:lnTo>
                  <a:lnTo>
                    <a:pt x="1249" y="826"/>
                  </a:lnTo>
                  <a:lnTo>
                    <a:pt x="1249" y="828"/>
                  </a:lnTo>
                  <a:lnTo>
                    <a:pt x="1248" y="828"/>
                  </a:lnTo>
                  <a:lnTo>
                    <a:pt x="1248" y="830"/>
                  </a:lnTo>
                  <a:lnTo>
                    <a:pt x="1246" y="830"/>
                  </a:lnTo>
                  <a:lnTo>
                    <a:pt x="1246" y="831"/>
                  </a:lnTo>
                  <a:lnTo>
                    <a:pt x="1246" y="830"/>
                  </a:lnTo>
                  <a:lnTo>
                    <a:pt x="1248" y="830"/>
                  </a:lnTo>
                  <a:lnTo>
                    <a:pt x="1249" y="830"/>
                  </a:lnTo>
                  <a:lnTo>
                    <a:pt x="1249" y="831"/>
                  </a:lnTo>
                  <a:lnTo>
                    <a:pt x="1251" y="831"/>
                  </a:lnTo>
                  <a:lnTo>
                    <a:pt x="1251" y="833"/>
                  </a:lnTo>
                  <a:lnTo>
                    <a:pt x="1253" y="833"/>
                  </a:lnTo>
                  <a:lnTo>
                    <a:pt x="1253" y="834"/>
                  </a:lnTo>
                  <a:lnTo>
                    <a:pt x="1254" y="834"/>
                  </a:lnTo>
                  <a:lnTo>
                    <a:pt x="1254" y="836"/>
                  </a:lnTo>
                  <a:lnTo>
                    <a:pt x="1256" y="838"/>
                  </a:lnTo>
                  <a:lnTo>
                    <a:pt x="1256" y="836"/>
                  </a:lnTo>
                  <a:lnTo>
                    <a:pt x="1256" y="838"/>
                  </a:lnTo>
                  <a:lnTo>
                    <a:pt x="1257" y="838"/>
                  </a:lnTo>
                  <a:lnTo>
                    <a:pt x="1256" y="838"/>
                  </a:lnTo>
                  <a:lnTo>
                    <a:pt x="1257" y="839"/>
                  </a:lnTo>
                  <a:lnTo>
                    <a:pt x="1256" y="839"/>
                  </a:lnTo>
                  <a:lnTo>
                    <a:pt x="1257" y="839"/>
                  </a:lnTo>
                  <a:lnTo>
                    <a:pt x="1257" y="838"/>
                  </a:lnTo>
                  <a:lnTo>
                    <a:pt x="1256" y="838"/>
                  </a:lnTo>
                  <a:lnTo>
                    <a:pt x="1256" y="836"/>
                  </a:lnTo>
                  <a:lnTo>
                    <a:pt x="1254" y="836"/>
                  </a:lnTo>
                  <a:lnTo>
                    <a:pt x="1254" y="834"/>
                  </a:lnTo>
                  <a:lnTo>
                    <a:pt x="1253" y="834"/>
                  </a:lnTo>
                  <a:lnTo>
                    <a:pt x="1253" y="833"/>
                  </a:lnTo>
                  <a:lnTo>
                    <a:pt x="1251" y="833"/>
                  </a:lnTo>
                  <a:lnTo>
                    <a:pt x="1251" y="831"/>
                  </a:lnTo>
                  <a:lnTo>
                    <a:pt x="1249" y="831"/>
                  </a:lnTo>
                  <a:lnTo>
                    <a:pt x="1249" y="830"/>
                  </a:lnTo>
                  <a:lnTo>
                    <a:pt x="1248" y="830"/>
                  </a:lnTo>
                  <a:lnTo>
                    <a:pt x="1249" y="830"/>
                  </a:lnTo>
                  <a:lnTo>
                    <a:pt x="1249" y="828"/>
                  </a:lnTo>
                  <a:lnTo>
                    <a:pt x="1249" y="830"/>
                  </a:lnTo>
                  <a:lnTo>
                    <a:pt x="1251" y="831"/>
                  </a:lnTo>
                  <a:lnTo>
                    <a:pt x="1253" y="833"/>
                  </a:lnTo>
                  <a:lnTo>
                    <a:pt x="1254" y="833"/>
                  </a:lnTo>
                  <a:lnTo>
                    <a:pt x="1256" y="833"/>
                  </a:lnTo>
                  <a:lnTo>
                    <a:pt x="1254" y="831"/>
                  </a:lnTo>
                  <a:lnTo>
                    <a:pt x="1256" y="833"/>
                  </a:lnTo>
                  <a:lnTo>
                    <a:pt x="1256" y="834"/>
                  </a:lnTo>
                  <a:lnTo>
                    <a:pt x="1257" y="834"/>
                  </a:lnTo>
                  <a:lnTo>
                    <a:pt x="1259" y="834"/>
                  </a:lnTo>
                  <a:lnTo>
                    <a:pt x="1261" y="834"/>
                  </a:lnTo>
                  <a:lnTo>
                    <a:pt x="1262" y="834"/>
                  </a:lnTo>
                  <a:lnTo>
                    <a:pt x="1264" y="834"/>
                  </a:lnTo>
                  <a:lnTo>
                    <a:pt x="1264" y="836"/>
                  </a:lnTo>
                  <a:lnTo>
                    <a:pt x="1266" y="836"/>
                  </a:lnTo>
                  <a:lnTo>
                    <a:pt x="1267" y="836"/>
                  </a:lnTo>
                  <a:lnTo>
                    <a:pt x="1269" y="834"/>
                  </a:lnTo>
                  <a:lnTo>
                    <a:pt x="1269" y="836"/>
                  </a:lnTo>
                  <a:lnTo>
                    <a:pt x="1270" y="836"/>
                  </a:lnTo>
                  <a:lnTo>
                    <a:pt x="1269" y="834"/>
                  </a:lnTo>
                  <a:lnTo>
                    <a:pt x="1270" y="834"/>
                  </a:lnTo>
                  <a:lnTo>
                    <a:pt x="1269" y="834"/>
                  </a:lnTo>
                  <a:lnTo>
                    <a:pt x="1270" y="834"/>
                  </a:lnTo>
                  <a:lnTo>
                    <a:pt x="1269" y="834"/>
                  </a:lnTo>
                  <a:lnTo>
                    <a:pt x="1267" y="834"/>
                  </a:lnTo>
                  <a:lnTo>
                    <a:pt x="1266" y="834"/>
                  </a:lnTo>
                  <a:lnTo>
                    <a:pt x="1267" y="834"/>
                  </a:lnTo>
                  <a:lnTo>
                    <a:pt x="1269" y="834"/>
                  </a:lnTo>
                  <a:lnTo>
                    <a:pt x="1270" y="834"/>
                  </a:lnTo>
                  <a:lnTo>
                    <a:pt x="1272" y="834"/>
                  </a:lnTo>
                  <a:lnTo>
                    <a:pt x="1274" y="836"/>
                  </a:lnTo>
                  <a:lnTo>
                    <a:pt x="1274" y="838"/>
                  </a:lnTo>
                  <a:lnTo>
                    <a:pt x="1275" y="838"/>
                  </a:lnTo>
                  <a:lnTo>
                    <a:pt x="1275" y="839"/>
                  </a:lnTo>
                  <a:lnTo>
                    <a:pt x="1274" y="839"/>
                  </a:lnTo>
                  <a:lnTo>
                    <a:pt x="1275" y="839"/>
                  </a:lnTo>
                  <a:lnTo>
                    <a:pt x="1274" y="843"/>
                  </a:lnTo>
                  <a:lnTo>
                    <a:pt x="1274" y="844"/>
                  </a:lnTo>
                  <a:lnTo>
                    <a:pt x="1274" y="846"/>
                  </a:lnTo>
                  <a:lnTo>
                    <a:pt x="1274" y="844"/>
                  </a:lnTo>
                  <a:lnTo>
                    <a:pt x="1272" y="844"/>
                  </a:lnTo>
                  <a:lnTo>
                    <a:pt x="1274" y="846"/>
                  </a:lnTo>
                  <a:lnTo>
                    <a:pt x="1274" y="844"/>
                  </a:lnTo>
                  <a:lnTo>
                    <a:pt x="1274" y="846"/>
                  </a:lnTo>
                  <a:lnTo>
                    <a:pt x="1275" y="846"/>
                  </a:lnTo>
                  <a:lnTo>
                    <a:pt x="1277" y="846"/>
                  </a:lnTo>
                  <a:lnTo>
                    <a:pt x="1279" y="848"/>
                  </a:lnTo>
                  <a:lnTo>
                    <a:pt x="1280" y="848"/>
                  </a:lnTo>
                  <a:lnTo>
                    <a:pt x="1279" y="848"/>
                  </a:lnTo>
                  <a:lnTo>
                    <a:pt x="1282" y="848"/>
                  </a:lnTo>
                  <a:lnTo>
                    <a:pt x="1283" y="849"/>
                  </a:lnTo>
                  <a:lnTo>
                    <a:pt x="1282" y="848"/>
                  </a:lnTo>
                  <a:lnTo>
                    <a:pt x="1283" y="848"/>
                  </a:lnTo>
                  <a:lnTo>
                    <a:pt x="1283" y="849"/>
                  </a:lnTo>
                  <a:lnTo>
                    <a:pt x="1285" y="851"/>
                  </a:lnTo>
                  <a:lnTo>
                    <a:pt x="1285" y="852"/>
                  </a:lnTo>
                  <a:lnTo>
                    <a:pt x="1285" y="854"/>
                  </a:lnTo>
                  <a:lnTo>
                    <a:pt x="1287" y="854"/>
                  </a:lnTo>
                  <a:lnTo>
                    <a:pt x="1287" y="856"/>
                  </a:lnTo>
                  <a:lnTo>
                    <a:pt x="1288" y="856"/>
                  </a:lnTo>
                  <a:lnTo>
                    <a:pt x="1288" y="854"/>
                  </a:lnTo>
                  <a:lnTo>
                    <a:pt x="1290" y="854"/>
                  </a:lnTo>
                  <a:lnTo>
                    <a:pt x="1290" y="856"/>
                  </a:lnTo>
                  <a:lnTo>
                    <a:pt x="1290" y="854"/>
                  </a:lnTo>
                  <a:lnTo>
                    <a:pt x="1292" y="854"/>
                  </a:lnTo>
                  <a:lnTo>
                    <a:pt x="1292" y="856"/>
                  </a:lnTo>
                  <a:lnTo>
                    <a:pt x="1292" y="857"/>
                  </a:lnTo>
                  <a:lnTo>
                    <a:pt x="1292" y="859"/>
                  </a:lnTo>
                  <a:lnTo>
                    <a:pt x="1293" y="859"/>
                  </a:lnTo>
                  <a:lnTo>
                    <a:pt x="1295" y="861"/>
                  </a:lnTo>
                  <a:lnTo>
                    <a:pt x="1295" y="859"/>
                  </a:lnTo>
                  <a:lnTo>
                    <a:pt x="1295" y="861"/>
                  </a:lnTo>
                  <a:lnTo>
                    <a:pt x="1295" y="859"/>
                  </a:lnTo>
                  <a:lnTo>
                    <a:pt x="1295" y="861"/>
                  </a:lnTo>
                  <a:lnTo>
                    <a:pt x="1295" y="862"/>
                  </a:lnTo>
                  <a:lnTo>
                    <a:pt x="1296" y="861"/>
                  </a:lnTo>
                  <a:lnTo>
                    <a:pt x="1296" y="862"/>
                  </a:lnTo>
                  <a:lnTo>
                    <a:pt x="1295" y="862"/>
                  </a:lnTo>
                  <a:lnTo>
                    <a:pt x="1295" y="864"/>
                  </a:lnTo>
                  <a:lnTo>
                    <a:pt x="1293" y="864"/>
                  </a:lnTo>
                  <a:lnTo>
                    <a:pt x="1293" y="865"/>
                  </a:lnTo>
                  <a:lnTo>
                    <a:pt x="1293" y="867"/>
                  </a:lnTo>
                  <a:lnTo>
                    <a:pt x="1292" y="867"/>
                  </a:lnTo>
                  <a:lnTo>
                    <a:pt x="1293" y="867"/>
                  </a:lnTo>
                  <a:lnTo>
                    <a:pt x="1295" y="869"/>
                  </a:lnTo>
                  <a:lnTo>
                    <a:pt x="1296" y="869"/>
                  </a:lnTo>
                  <a:lnTo>
                    <a:pt x="1296" y="870"/>
                  </a:lnTo>
                  <a:lnTo>
                    <a:pt x="1296" y="872"/>
                  </a:lnTo>
                  <a:lnTo>
                    <a:pt x="1295" y="874"/>
                  </a:lnTo>
                  <a:lnTo>
                    <a:pt x="1296" y="874"/>
                  </a:lnTo>
                  <a:lnTo>
                    <a:pt x="1295" y="874"/>
                  </a:lnTo>
                  <a:lnTo>
                    <a:pt x="1293" y="872"/>
                  </a:lnTo>
                  <a:lnTo>
                    <a:pt x="1293" y="870"/>
                  </a:lnTo>
                  <a:lnTo>
                    <a:pt x="1292" y="870"/>
                  </a:lnTo>
                  <a:lnTo>
                    <a:pt x="1290" y="870"/>
                  </a:lnTo>
                  <a:lnTo>
                    <a:pt x="1288" y="872"/>
                  </a:lnTo>
                  <a:lnTo>
                    <a:pt x="1288" y="874"/>
                  </a:lnTo>
                  <a:lnTo>
                    <a:pt x="1288" y="875"/>
                  </a:lnTo>
                  <a:lnTo>
                    <a:pt x="1288" y="877"/>
                  </a:lnTo>
                  <a:lnTo>
                    <a:pt x="1290" y="877"/>
                  </a:lnTo>
                  <a:lnTo>
                    <a:pt x="1292" y="877"/>
                  </a:lnTo>
                  <a:lnTo>
                    <a:pt x="1292" y="878"/>
                  </a:lnTo>
                  <a:lnTo>
                    <a:pt x="1290" y="878"/>
                  </a:lnTo>
                  <a:lnTo>
                    <a:pt x="1290" y="880"/>
                  </a:lnTo>
                  <a:lnTo>
                    <a:pt x="1290" y="878"/>
                  </a:lnTo>
                  <a:lnTo>
                    <a:pt x="1292" y="878"/>
                  </a:lnTo>
                  <a:lnTo>
                    <a:pt x="1292" y="880"/>
                  </a:lnTo>
                  <a:lnTo>
                    <a:pt x="1292" y="878"/>
                  </a:lnTo>
                  <a:lnTo>
                    <a:pt x="1293" y="878"/>
                  </a:lnTo>
                  <a:lnTo>
                    <a:pt x="1295" y="878"/>
                  </a:lnTo>
                  <a:lnTo>
                    <a:pt x="1296" y="878"/>
                  </a:lnTo>
                  <a:lnTo>
                    <a:pt x="1298" y="877"/>
                  </a:lnTo>
                  <a:lnTo>
                    <a:pt x="1300" y="877"/>
                  </a:lnTo>
                  <a:lnTo>
                    <a:pt x="1301" y="878"/>
                  </a:lnTo>
                  <a:lnTo>
                    <a:pt x="1301" y="880"/>
                  </a:lnTo>
                  <a:lnTo>
                    <a:pt x="1300" y="880"/>
                  </a:lnTo>
                  <a:lnTo>
                    <a:pt x="1300" y="882"/>
                  </a:lnTo>
                  <a:lnTo>
                    <a:pt x="1300" y="883"/>
                  </a:lnTo>
                  <a:lnTo>
                    <a:pt x="1301" y="883"/>
                  </a:lnTo>
                  <a:lnTo>
                    <a:pt x="1301" y="885"/>
                  </a:lnTo>
                  <a:lnTo>
                    <a:pt x="1301" y="883"/>
                  </a:lnTo>
                  <a:lnTo>
                    <a:pt x="1301" y="885"/>
                  </a:lnTo>
                  <a:lnTo>
                    <a:pt x="1303" y="885"/>
                  </a:lnTo>
                  <a:lnTo>
                    <a:pt x="1303" y="887"/>
                  </a:lnTo>
                  <a:lnTo>
                    <a:pt x="1305" y="888"/>
                  </a:lnTo>
                  <a:lnTo>
                    <a:pt x="1303" y="887"/>
                  </a:lnTo>
                  <a:lnTo>
                    <a:pt x="1305" y="888"/>
                  </a:lnTo>
                  <a:lnTo>
                    <a:pt x="1306" y="890"/>
                  </a:lnTo>
                  <a:lnTo>
                    <a:pt x="1308" y="891"/>
                  </a:lnTo>
                  <a:lnTo>
                    <a:pt x="1308" y="890"/>
                  </a:lnTo>
                  <a:lnTo>
                    <a:pt x="1309" y="890"/>
                  </a:lnTo>
                  <a:lnTo>
                    <a:pt x="1309" y="888"/>
                  </a:lnTo>
                  <a:lnTo>
                    <a:pt x="1311" y="887"/>
                  </a:lnTo>
                  <a:lnTo>
                    <a:pt x="1311" y="885"/>
                  </a:lnTo>
                  <a:lnTo>
                    <a:pt x="1313" y="887"/>
                  </a:lnTo>
                  <a:lnTo>
                    <a:pt x="1313" y="885"/>
                  </a:lnTo>
                  <a:lnTo>
                    <a:pt x="1313" y="887"/>
                  </a:lnTo>
                  <a:lnTo>
                    <a:pt x="1311" y="887"/>
                  </a:lnTo>
                  <a:lnTo>
                    <a:pt x="1313" y="887"/>
                  </a:lnTo>
                  <a:lnTo>
                    <a:pt x="1311" y="887"/>
                  </a:lnTo>
                  <a:lnTo>
                    <a:pt x="1311" y="888"/>
                  </a:lnTo>
                  <a:lnTo>
                    <a:pt x="1311" y="890"/>
                  </a:lnTo>
                  <a:lnTo>
                    <a:pt x="1311" y="891"/>
                  </a:lnTo>
                  <a:lnTo>
                    <a:pt x="1311" y="893"/>
                  </a:lnTo>
                  <a:lnTo>
                    <a:pt x="1313" y="893"/>
                  </a:lnTo>
                  <a:lnTo>
                    <a:pt x="1311" y="893"/>
                  </a:lnTo>
                  <a:lnTo>
                    <a:pt x="1313" y="893"/>
                  </a:lnTo>
                  <a:lnTo>
                    <a:pt x="1314" y="895"/>
                  </a:lnTo>
                  <a:lnTo>
                    <a:pt x="1314" y="896"/>
                  </a:lnTo>
                  <a:lnTo>
                    <a:pt x="1314" y="895"/>
                  </a:lnTo>
                  <a:lnTo>
                    <a:pt x="1313" y="896"/>
                  </a:lnTo>
                  <a:lnTo>
                    <a:pt x="1313" y="898"/>
                  </a:lnTo>
                  <a:lnTo>
                    <a:pt x="1313" y="900"/>
                  </a:lnTo>
                  <a:lnTo>
                    <a:pt x="1313" y="901"/>
                  </a:lnTo>
                  <a:lnTo>
                    <a:pt x="1313" y="900"/>
                  </a:lnTo>
                  <a:lnTo>
                    <a:pt x="1313" y="901"/>
                  </a:lnTo>
                  <a:lnTo>
                    <a:pt x="1313" y="900"/>
                  </a:lnTo>
                  <a:lnTo>
                    <a:pt x="1314" y="900"/>
                  </a:lnTo>
                  <a:lnTo>
                    <a:pt x="1313" y="900"/>
                  </a:lnTo>
                  <a:lnTo>
                    <a:pt x="1314" y="900"/>
                  </a:lnTo>
                  <a:lnTo>
                    <a:pt x="1313" y="900"/>
                  </a:lnTo>
                  <a:lnTo>
                    <a:pt x="1313" y="898"/>
                  </a:lnTo>
                  <a:lnTo>
                    <a:pt x="1314" y="898"/>
                  </a:lnTo>
                  <a:lnTo>
                    <a:pt x="1314" y="896"/>
                  </a:lnTo>
                  <a:lnTo>
                    <a:pt x="1314" y="898"/>
                  </a:lnTo>
                  <a:lnTo>
                    <a:pt x="1316" y="898"/>
                  </a:lnTo>
                  <a:lnTo>
                    <a:pt x="1314" y="896"/>
                  </a:lnTo>
                  <a:lnTo>
                    <a:pt x="1316" y="896"/>
                  </a:lnTo>
                  <a:lnTo>
                    <a:pt x="1316" y="895"/>
                  </a:lnTo>
                  <a:lnTo>
                    <a:pt x="1316" y="893"/>
                  </a:lnTo>
                  <a:lnTo>
                    <a:pt x="1316" y="895"/>
                  </a:lnTo>
                  <a:lnTo>
                    <a:pt x="1318" y="895"/>
                  </a:lnTo>
                  <a:lnTo>
                    <a:pt x="1316" y="895"/>
                  </a:lnTo>
                  <a:lnTo>
                    <a:pt x="1318" y="895"/>
                  </a:lnTo>
                  <a:lnTo>
                    <a:pt x="1319" y="896"/>
                  </a:lnTo>
                  <a:lnTo>
                    <a:pt x="1319" y="898"/>
                  </a:lnTo>
                  <a:lnTo>
                    <a:pt x="1321" y="900"/>
                  </a:lnTo>
                  <a:lnTo>
                    <a:pt x="1322" y="900"/>
                  </a:lnTo>
                  <a:lnTo>
                    <a:pt x="1324" y="900"/>
                  </a:lnTo>
                  <a:lnTo>
                    <a:pt x="1324" y="901"/>
                  </a:lnTo>
                  <a:lnTo>
                    <a:pt x="1324" y="900"/>
                  </a:lnTo>
                  <a:lnTo>
                    <a:pt x="1326" y="901"/>
                  </a:lnTo>
                  <a:lnTo>
                    <a:pt x="1326" y="900"/>
                  </a:lnTo>
                  <a:lnTo>
                    <a:pt x="1327" y="901"/>
                  </a:lnTo>
                  <a:lnTo>
                    <a:pt x="1327" y="903"/>
                  </a:lnTo>
                  <a:lnTo>
                    <a:pt x="1327" y="901"/>
                  </a:lnTo>
                  <a:lnTo>
                    <a:pt x="1327" y="900"/>
                  </a:lnTo>
                  <a:lnTo>
                    <a:pt x="1326" y="900"/>
                  </a:lnTo>
                  <a:lnTo>
                    <a:pt x="1324" y="900"/>
                  </a:lnTo>
                  <a:lnTo>
                    <a:pt x="1322" y="900"/>
                  </a:lnTo>
                  <a:lnTo>
                    <a:pt x="1324" y="900"/>
                  </a:lnTo>
                  <a:lnTo>
                    <a:pt x="1326" y="900"/>
                  </a:lnTo>
                  <a:lnTo>
                    <a:pt x="1327" y="900"/>
                  </a:lnTo>
                  <a:lnTo>
                    <a:pt x="1327" y="901"/>
                  </a:lnTo>
                  <a:lnTo>
                    <a:pt x="1329" y="901"/>
                  </a:lnTo>
                  <a:lnTo>
                    <a:pt x="1327" y="903"/>
                  </a:lnTo>
                  <a:lnTo>
                    <a:pt x="1329" y="903"/>
                  </a:lnTo>
                  <a:lnTo>
                    <a:pt x="1327" y="904"/>
                  </a:lnTo>
                  <a:lnTo>
                    <a:pt x="1326" y="906"/>
                  </a:lnTo>
                  <a:lnTo>
                    <a:pt x="1324" y="906"/>
                  </a:lnTo>
                  <a:lnTo>
                    <a:pt x="1324" y="908"/>
                  </a:lnTo>
                  <a:lnTo>
                    <a:pt x="1322" y="908"/>
                  </a:lnTo>
                  <a:lnTo>
                    <a:pt x="1321" y="908"/>
                  </a:lnTo>
                  <a:lnTo>
                    <a:pt x="1319" y="906"/>
                  </a:lnTo>
                  <a:lnTo>
                    <a:pt x="1318" y="906"/>
                  </a:lnTo>
                  <a:lnTo>
                    <a:pt x="1316" y="906"/>
                  </a:lnTo>
                  <a:lnTo>
                    <a:pt x="1314" y="906"/>
                  </a:lnTo>
                  <a:lnTo>
                    <a:pt x="1314" y="908"/>
                  </a:lnTo>
                  <a:lnTo>
                    <a:pt x="1313" y="909"/>
                  </a:lnTo>
                  <a:lnTo>
                    <a:pt x="1314" y="911"/>
                  </a:lnTo>
                  <a:lnTo>
                    <a:pt x="1314" y="913"/>
                  </a:lnTo>
                  <a:lnTo>
                    <a:pt x="1316" y="913"/>
                  </a:lnTo>
                  <a:lnTo>
                    <a:pt x="1318" y="913"/>
                  </a:lnTo>
                  <a:lnTo>
                    <a:pt x="1319" y="913"/>
                  </a:lnTo>
                  <a:lnTo>
                    <a:pt x="1322" y="913"/>
                  </a:lnTo>
                  <a:lnTo>
                    <a:pt x="1324" y="913"/>
                  </a:lnTo>
                  <a:lnTo>
                    <a:pt x="1324" y="914"/>
                  </a:lnTo>
                  <a:lnTo>
                    <a:pt x="1326" y="914"/>
                  </a:lnTo>
                  <a:lnTo>
                    <a:pt x="1326" y="916"/>
                  </a:lnTo>
                  <a:lnTo>
                    <a:pt x="1327" y="916"/>
                  </a:lnTo>
                  <a:lnTo>
                    <a:pt x="1326" y="914"/>
                  </a:lnTo>
                  <a:lnTo>
                    <a:pt x="1327" y="914"/>
                  </a:lnTo>
                  <a:lnTo>
                    <a:pt x="1327" y="916"/>
                  </a:lnTo>
                  <a:lnTo>
                    <a:pt x="1326" y="916"/>
                  </a:lnTo>
                  <a:lnTo>
                    <a:pt x="1326" y="917"/>
                  </a:lnTo>
                  <a:lnTo>
                    <a:pt x="1326" y="919"/>
                  </a:lnTo>
                  <a:lnTo>
                    <a:pt x="1324" y="919"/>
                  </a:lnTo>
                  <a:lnTo>
                    <a:pt x="1324" y="921"/>
                  </a:lnTo>
                  <a:lnTo>
                    <a:pt x="1322" y="921"/>
                  </a:lnTo>
                  <a:lnTo>
                    <a:pt x="1321" y="921"/>
                  </a:lnTo>
                  <a:lnTo>
                    <a:pt x="1322" y="921"/>
                  </a:lnTo>
                  <a:lnTo>
                    <a:pt x="1321" y="921"/>
                  </a:lnTo>
                  <a:lnTo>
                    <a:pt x="1319" y="921"/>
                  </a:lnTo>
                  <a:lnTo>
                    <a:pt x="1319" y="922"/>
                  </a:lnTo>
                  <a:lnTo>
                    <a:pt x="1318" y="922"/>
                  </a:lnTo>
                  <a:lnTo>
                    <a:pt x="1318" y="924"/>
                  </a:lnTo>
                  <a:lnTo>
                    <a:pt x="1319" y="924"/>
                  </a:lnTo>
                  <a:lnTo>
                    <a:pt x="1319" y="926"/>
                  </a:lnTo>
                  <a:lnTo>
                    <a:pt x="1318" y="926"/>
                  </a:lnTo>
                  <a:lnTo>
                    <a:pt x="1318" y="927"/>
                  </a:lnTo>
                  <a:lnTo>
                    <a:pt x="1319" y="929"/>
                  </a:lnTo>
                  <a:lnTo>
                    <a:pt x="1321" y="929"/>
                  </a:lnTo>
                  <a:lnTo>
                    <a:pt x="1322" y="929"/>
                  </a:lnTo>
                  <a:lnTo>
                    <a:pt x="1324" y="930"/>
                  </a:lnTo>
                  <a:lnTo>
                    <a:pt x="1326" y="930"/>
                  </a:lnTo>
                  <a:lnTo>
                    <a:pt x="1326" y="929"/>
                  </a:lnTo>
                  <a:lnTo>
                    <a:pt x="1326" y="930"/>
                  </a:lnTo>
                  <a:lnTo>
                    <a:pt x="1326" y="929"/>
                  </a:lnTo>
                  <a:lnTo>
                    <a:pt x="1324" y="929"/>
                  </a:lnTo>
                  <a:lnTo>
                    <a:pt x="1324" y="927"/>
                  </a:lnTo>
                  <a:lnTo>
                    <a:pt x="1322" y="927"/>
                  </a:lnTo>
                  <a:lnTo>
                    <a:pt x="1324" y="927"/>
                  </a:lnTo>
                  <a:lnTo>
                    <a:pt x="1322" y="926"/>
                  </a:lnTo>
                  <a:lnTo>
                    <a:pt x="1324" y="927"/>
                  </a:lnTo>
                  <a:lnTo>
                    <a:pt x="1326" y="927"/>
                  </a:lnTo>
                  <a:lnTo>
                    <a:pt x="1327" y="929"/>
                  </a:lnTo>
                  <a:lnTo>
                    <a:pt x="1327" y="930"/>
                  </a:lnTo>
                  <a:lnTo>
                    <a:pt x="1326" y="932"/>
                  </a:lnTo>
                  <a:lnTo>
                    <a:pt x="1324" y="932"/>
                  </a:lnTo>
                  <a:lnTo>
                    <a:pt x="1322" y="935"/>
                  </a:lnTo>
                  <a:lnTo>
                    <a:pt x="1322" y="937"/>
                  </a:lnTo>
                  <a:lnTo>
                    <a:pt x="1322" y="935"/>
                  </a:lnTo>
                  <a:lnTo>
                    <a:pt x="1322" y="937"/>
                  </a:lnTo>
                  <a:lnTo>
                    <a:pt x="1324" y="937"/>
                  </a:lnTo>
                  <a:lnTo>
                    <a:pt x="1322" y="937"/>
                  </a:lnTo>
                  <a:lnTo>
                    <a:pt x="1324" y="937"/>
                  </a:lnTo>
                  <a:lnTo>
                    <a:pt x="1324" y="935"/>
                  </a:lnTo>
                  <a:lnTo>
                    <a:pt x="1322" y="934"/>
                  </a:lnTo>
                  <a:lnTo>
                    <a:pt x="1322" y="935"/>
                  </a:lnTo>
                  <a:lnTo>
                    <a:pt x="1322" y="934"/>
                  </a:lnTo>
                  <a:lnTo>
                    <a:pt x="1324" y="932"/>
                  </a:lnTo>
                  <a:lnTo>
                    <a:pt x="1324" y="934"/>
                  </a:lnTo>
                  <a:lnTo>
                    <a:pt x="1324" y="935"/>
                  </a:lnTo>
                  <a:lnTo>
                    <a:pt x="1324" y="937"/>
                  </a:lnTo>
                  <a:lnTo>
                    <a:pt x="1324" y="939"/>
                  </a:lnTo>
                  <a:lnTo>
                    <a:pt x="1324" y="937"/>
                  </a:lnTo>
                  <a:lnTo>
                    <a:pt x="1324" y="939"/>
                  </a:lnTo>
                  <a:lnTo>
                    <a:pt x="1324" y="937"/>
                  </a:lnTo>
                  <a:lnTo>
                    <a:pt x="1326" y="939"/>
                  </a:lnTo>
                  <a:lnTo>
                    <a:pt x="1324" y="937"/>
                  </a:lnTo>
                  <a:lnTo>
                    <a:pt x="1324" y="935"/>
                  </a:lnTo>
                  <a:lnTo>
                    <a:pt x="1326" y="937"/>
                  </a:lnTo>
                  <a:lnTo>
                    <a:pt x="1324" y="939"/>
                  </a:lnTo>
                  <a:lnTo>
                    <a:pt x="1324" y="937"/>
                  </a:lnTo>
                  <a:lnTo>
                    <a:pt x="1324" y="939"/>
                  </a:lnTo>
                  <a:lnTo>
                    <a:pt x="1324" y="940"/>
                  </a:lnTo>
                  <a:lnTo>
                    <a:pt x="1324" y="942"/>
                  </a:lnTo>
                  <a:lnTo>
                    <a:pt x="1324" y="940"/>
                  </a:lnTo>
                  <a:lnTo>
                    <a:pt x="1324" y="942"/>
                  </a:lnTo>
                  <a:lnTo>
                    <a:pt x="1326" y="943"/>
                  </a:lnTo>
                  <a:lnTo>
                    <a:pt x="1326" y="945"/>
                  </a:lnTo>
                  <a:lnTo>
                    <a:pt x="1326" y="947"/>
                  </a:lnTo>
                  <a:lnTo>
                    <a:pt x="1326" y="950"/>
                  </a:lnTo>
                  <a:lnTo>
                    <a:pt x="1326" y="952"/>
                  </a:lnTo>
                  <a:lnTo>
                    <a:pt x="1326" y="953"/>
                  </a:lnTo>
                  <a:lnTo>
                    <a:pt x="1324" y="955"/>
                  </a:lnTo>
                  <a:lnTo>
                    <a:pt x="1324" y="956"/>
                  </a:lnTo>
                  <a:lnTo>
                    <a:pt x="1324" y="958"/>
                  </a:lnTo>
                  <a:lnTo>
                    <a:pt x="1324" y="956"/>
                  </a:lnTo>
                  <a:lnTo>
                    <a:pt x="1324" y="958"/>
                  </a:lnTo>
                  <a:lnTo>
                    <a:pt x="1326" y="960"/>
                  </a:lnTo>
                  <a:lnTo>
                    <a:pt x="1326" y="961"/>
                  </a:lnTo>
                  <a:lnTo>
                    <a:pt x="1326" y="963"/>
                  </a:lnTo>
                  <a:lnTo>
                    <a:pt x="1326" y="965"/>
                  </a:lnTo>
                  <a:lnTo>
                    <a:pt x="1327" y="965"/>
                  </a:lnTo>
                  <a:lnTo>
                    <a:pt x="1327" y="966"/>
                  </a:lnTo>
                  <a:lnTo>
                    <a:pt x="1327" y="968"/>
                  </a:lnTo>
                  <a:lnTo>
                    <a:pt x="1329" y="969"/>
                  </a:lnTo>
                  <a:lnTo>
                    <a:pt x="1329" y="971"/>
                  </a:lnTo>
                  <a:lnTo>
                    <a:pt x="1329" y="974"/>
                  </a:lnTo>
                  <a:lnTo>
                    <a:pt x="1331" y="976"/>
                  </a:lnTo>
                  <a:lnTo>
                    <a:pt x="1331" y="978"/>
                  </a:lnTo>
                  <a:lnTo>
                    <a:pt x="1329" y="979"/>
                  </a:lnTo>
                  <a:lnTo>
                    <a:pt x="1329" y="981"/>
                  </a:lnTo>
                  <a:lnTo>
                    <a:pt x="1329" y="982"/>
                  </a:lnTo>
                  <a:lnTo>
                    <a:pt x="1327" y="982"/>
                  </a:lnTo>
                  <a:lnTo>
                    <a:pt x="1329" y="984"/>
                  </a:lnTo>
                  <a:lnTo>
                    <a:pt x="1329" y="982"/>
                  </a:lnTo>
                  <a:lnTo>
                    <a:pt x="1329" y="984"/>
                  </a:lnTo>
                  <a:lnTo>
                    <a:pt x="1331" y="984"/>
                  </a:lnTo>
                  <a:lnTo>
                    <a:pt x="1331" y="986"/>
                  </a:lnTo>
                  <a:lnTo>
                    <a:pt x="1329" y="986"/>
                  </a:lnTo>
                  <a:lnTo>
                    <a:pt x="1331" y="986"/>
                  </a:lnTo>
                  <a:lnTo>
                    <a:pt x="1329" y="987"/>
                  </a:lnTo>
                  <a:lnTo>
                    <a:pt x="1331" y="987"/>
                  </a:lnTo>
                  <a:lnTo>
                    <a:pt x="1329" y="987"/>
                  </a:lnTo>
                  <a:lnTo>
                    <a:pt x="1331" y="987"/>
                  </a:lnTo>
                  <a:lnTo>
                    <a:pt x="1329" y="987"/>
                  </a:lnTo>
                  <a:lnTo>
                    <a:pt x="1329" y="986"/>
                  </a:lnTo>
                  <a:lnTo>
                    <a:pt x="1329" y="987"/>
                  </a:lnTo>
                  <a:lnTo>
                    <a:pt x="1331" y="987"/>
                  </a:lnTo>
                  <a:lnTo>
                    <a:pt x="1331" y="986"/>
                  </a:lnTo>
                  <a:lnTo>
                    <a:pt x="1332" y="987"/>
                  </a:lnTo>
                  <a:lnTo>
                    <a:pt x="1334" y="987"/>
                  </a:lnTo>
                  <a:lnTo>
                    <a:pt x="1336" y="987"/>
                  </a:lnTo>
                  <a:lnTo>
                    <a:pt x="1337" y="987"/>
                  </a:lnTo>
                  <a:lnTo>
                    <a:pt x="1339" y="987"/>
                  </a:lnTo>
                  <a:lnTo>
                    <a:pt x="1339" y="989"/>
                  </a:lnTo>
                  <a:lnTo>
                    <a:pt x="1337" y="991"/>
                  </a:lnTo>
                  <a:lnTo>
                    <a:pt x="1336" y="992"/>
                  </a:lnTo>
                  <a:lnTo>
                    <a:pt x="1334" y="992"/>
                  </a:lnTo>
                  <a:lnTo>
                    <a:pt x="1334" y="991"/>
                  </a:lnTo>
                  <a:lnTo>
                    <a:pt x="1332" y="991"/>
                  </a:lnTo>
                  <a:lnTo>
                    <a:pt x="1332" y="992"/>
                  </a:lnTo>
                  <a:lnTo>
                    <a:pt x="1332" y="994"/>
                  </a:lnTo>
                  <a:lnTo>
                    <a:pt x="1334" y="996"/>
                  </a:lnTo>
                  <a:lnTo>
                    <a:pt x="1332" y="994"/>
                  </a:lnTo>
                  <a:lnTo>
                    <a:pt x="1332" y="992"/>
                  </a:lnTo>
                  <a:lnTo>
                    <a:pt x="1332" y="994"/>
                  </a:lnTo>
                  <a:lnTo>
                    <a:pt x="1332" y="992"/>
                  </a:lnTo>
                  <a:lnTo>
                    <a:pt x="1332" y="994"/>
                  </a:lnTo>
                  <a:lnTo>
                    <a:pt x="1334" y="994"/>
                  </a:lnTo>
                  <a:lnTo>
                    <a:pt x="1334" y="996"/>
                  </a:lnTo>
                  <a:lnTo>
                    <a:pt x="1336" y="996"/>
                  </a:lnTo>
                  <a:lnTo>
                    <a:pt x="1337" y="996"/>
                  </a:lnTo>
                  <a:lnTo>
                    <a:pt x="1340" y="996"/>
                  </a:lnTo>
                  <a:lnTo>
                    <a:pt x="1342" y="996"/>
                  </a:lnTo>
                  <a:lnTo>
                    <a:pt x="1344" y="996"/>
                  </a:lnTo>
                  <a:lnTo>
                    <a:pt x="1347" y="997"/>
                  </a:lnTo>
                  <a:lnTo>
                    <a:pt x="1349" y="997"/>
                  </a:lnTo>
                  <a:lnTo>
                    <a:pt x="1349" y="999"/>
                  </a:lnTo>
                  <a:lnTo>
                    <a:pt x="1347" y="999"/>
                  </a:lnTo>
                  <a:lnTo>
                    <a:pt x="1347" y="1000"/>
                  </a:lnTo>
                  <a:lnTo>
                    <a:pt x="1345" y="1000"/>
                  </a:lnTo>
                  <a:lnTo>
                    <a:pt x="1345" y="1002"/>
                  </a:lnTo>
                  <a:lnTo>
                    <a:pt x="1345" y="1000"/>
                  </a:lnTo>
                  <a:lnTo>
                    <a:pt x="1345" y="1002"/>
                  </a:lnTo>
                  <a:lnTo>
                    <a:pt x="1345" y="1000"/>
                  </a:lnTo>
                  <a:lnTo>
                    <a:pt x="1345" y="1002"/>
                  </a:lnTo>
                  <a:lnTo>
                    <a:pt x="1345" y="1004"/>
                  </a:lnTo>
                  <a:lnTo>
                    <a:pt x="1345" y="1002"/>
                  </a:lnTo>
                  <a:lnTo>
                    <a:pt x="1344" y="1002"/>
                  </a:lnTo>
                  <a:lnTo>
                    <a:pt x="1342" y="1002"/>
                  </a:lnTo>
                  <a:lnTo>
                    <a:pt x="1340" y="1004"/>
                  </a:lnTo>
                  <a:lnTo>
                    <a:pt x="1339" y="1002"/>
                  </a:lnTo>
                  <a:lnTo>
                    <a:pt x="1337" y="1002"/>
                  </a:lnTo>
                  <a:lnTo>
                    <a:pt x="1337" y="1004"/>
                  </a:lnTo>
                  <a:lnTo>
                    <a:pt x="1337" y="1005"/>
                  </a:lnTo>
                  <a:lnTo>
                    <a:pt x="1340" y="1005"/>
                  </a:lnTo>
                  <a:lnTo>
                    <a:pt x="1342" y="1005"/>
                  </a:lnTo>
                  <a:lnTo>
                    <a:pt x="1340" y="1005"/>
                  </a:lnTo>
                  <a:lnTo>
                    <a:pt x="1339" y="1005"/>
                  </a:lnTo>
                  <a:lnTo>
                    <a:pt x="1337" y="1004"/>
                  </a:lnTo>
                  <a:lnTo>
                    <a:pt x="1337" y="1002"/>
                  </a:lnTo>
                  <a:lnTo>
                    <a:pt x="1339" y="1002"/>
                  </a:lnTo>
                  <a:lnTo>
                    <a:pt x="1340" y="1004"/>
                  </a:lnTo>
                  <a:lnTo>
                    <a:pt x="1342" y="1005"/>
                  </a:lnTo>
                  <a:lnTo>
                    <a:pt x="1347" y="1005"/>
                  </a:lnTo>
                  <a:lnTo>
                    <a:pt x="1347" y="1007"/>
                  </a:lnTo>
                  <a:lnTo>
                    <a:pt x="1347" y="1009"/>
                  </a:lnTo>
                  <a:lnTo>
                    <a:pt x="1347" y="1007"/>
                  </a:lnTo>
                  <a:lnTo>
                    <a:pt x="1347" y="1009"/>
                  </a:lnTo>
                  <a:lnTo>
                    <a:pt x="1347" y="1010"/>
                  </a:lnTo>
                  <a:lnTo>
                    <a:pt x="1345" y="1010"/>
                  </a:lnTo>
                  <a:lnTo>
                    <a:pt x="1344" y="1010"/>
                  </a:lnTo>
                  <a:lnTo>
                    <a:pt x="1344" y="1012"/>
                  </a:lnTo>
                  <a:lnTo>
                    <a:pt x="1345" y="1013"/>
                  </a:lnTo>
                  <a:lnTo>
                    <a:pt x="1345" y="1015"/>
                  </a:lnTo>
                  <a:lnTo>
                    <a:pt x="1342" y="1018"/>
                  </a:lnTo>
                  <a:lnTo>
                    <a:pt x="1342" y="1017"/>
                  </a:lnTo>
                  <a:lnTo>
                    <a:pt x="1342" y="1018"/>
                  </a:lnTo>
                  <a:lnTo>
                    <a:pt x="1340" y="1020"/>
                  </a:lnTo>
                  <a:lnTo>
                    <a:pt x="1340" y="1022"/>
                  </a:lnTo>
                  <a:lnTo>
                    <a:pt x="1340" y="1023"/>
                  </a:lnTo>
                  <a:lnTo>
                    <a:pt x="1340" y="1025"/>
                  </a:lnTo>
                  <a:lnTo>
                    <a:pt x="1342" y="1026"/>
                  </a:lnTo>
                  <a:lnTo>
                    <a:pt x="1344" y="1026"/>
                  </a:lnTo>
                  <a:lnTo>
                    <a:pt x="1345" y="1025"/>
                  </a:lnTo>
                  <a:lnTo>
                    <a:pt x="1347" y="1025"/>
                  </a:lnTo>
                  <a:lnTo>
                    <a:pt x="1349" y="1025"/>
                  </a:lnTo>
                  <a:lnTo>
                    <a:pt x="1349" y="1026"/>
                  </a:lnTo>
                  <a:lnTo>
                    <a:pt x="1349" y="1030"/>
                  </a:lnTo>
                  <a:lnTo>
                    <a:pt x="1350" y="1031"/>
                  </a:lnTo>
                  <a:lnTo>
                    <a:pt x="1352" y="1030"/>
                  </a:lnTo>
                  <a:lnTo>
                    <a:pt x="1353" y="1031"/>
                  </a:lnTo>
                  <a:lnTo>
                    <a:pt x="1353" y="1033"/>
                  </a:lnTo>
                  <a:lnTo>
                    <a:pt x="1352" y="1035"/>
                  </a:lnTo>
                  <a:lnTo>
                    <a:pt x="1350" y="1035"/>
                  </a:lnTo>
                  <a:lnTo>
                    <a:pt x="1349" y="1035"/>
                  </a:lnTo>
                  <a:lnTo>
                    <a:pt x="1347" y="1035"/>
                  </a:lnTo>
                  <a:lnTo>
                    <a:pt x="1347" y="1036"/>
                  </a:lnTo>
                  <a:lnTo>
                    <a:pt x="1349" y="1036"/>
                  </a:lnTo>
                  <a:lnTo>
                    <a:pt x="1349" y="1038"/>
                  </a:lnTo>
                  <a:lnTo>
                    <a:pt x="1350" y="1036"/>
                  </a:lnTo>
                  <a:lnTo>
                    <a:pt x="1352" y="1036"/>
                  </a:lnTo>
                  <a:lnTo>
                    <a:pt x="1352" y="1038"/>
                  </a:lnTo>
                  <a:lnTo>
                    <a:pt x="1352" y="1039"/>
                  </a:lnTo>
                  <a:lnTo>
                    <a:pt x="1352" y="1041"/>
                  </a:lnTo>
                  <a:lnTo>
                    <a:pt x="1350" y="1041"/>
                  </a:lnTo>
                  <a:lnTo>
                    <a:pt x="1349" y="1041"/>
                  </a:lnTo>
                  <a:lnTo>
                    <a:pt x="1349" y="1043"/>
                  </a:lnTo>
                  <a:lnTo>
                    <a:pt x="1349" y="1044"/>
                  </a:lnTo>
                  <a:lnTo>
                    <a:pt x="1349" y="1043"/>
                  </a:lnTo>
                  <a:lnTo>
                    <a:pt x="1352" y="1043"/>
                  </a:lnTo>
                  <a:lnTo>
                    <a:pt x="1352" y="1044"/>
                  </a:lnTo>
                  <a:lnTo>
                    <a:pt x="1350" y="1044"/>
                  </a:lnTo>
                  <a:lnTo>
                    <a:pt x="1350" y="1046"/>
                  </a:lnTo>
                  <a:lnTo>
                    <a:pt x="1350" y="1048"/>
                  </a:lnTo>
                  <a:lnTo>
                    <a:pt x="1352" y="1048"/>
                  </a:lnTo>
                  <a:lnTo>
                    <a:pt x="1350" y="1048"/>
                  </a:lnTo>
                  <a:lnTo>
                    <a:pt x="1352" y="1048"/>
                  </a:lnTo>
                  <a:lnTo>
                    <a:pt x="1353" y="1048"/>
                  </a:lnTo>
                  <a:lnTo>
                    <a:pt x="1352" y="1049"/>
                  </a:lnTo>
                  <a:lnTo>
                    <a:pt x="1353" y="1051"/>
                  </a:lnTo>
                  <a:lnTo>
                    <a:pt x="1355" y="1051"/>
                  </a:lnTo>
                  <a:lnTo>
                    <a:pt x="1355" y="1052"/>
                  </a:lnTo>
                  <a:lnTo>
                    <a:pt x="1355" y="1054"/>
                  </a:lnTo>
                  <a:lnTo>
                    <a:pt x="1353" y="1056"/>
                  </a:lnTo>
                  <a:lnTo>
                    <a:pt x="1353" y="1057"/>
                  </a:lnTo>
                  <a:lnTo>
                    <a:pt x="1355" y="1057"/>
                  </a:lnTo>
                  <a:lnTo>
                    <a:pt x="1357" y="1057"/>
                  </a:lnTo>
                  <a:lnTo>
                    <a:pt x="1357" y="1059"/>
                  </a:lnTo>
                  <a:lnTo>
                    <a:pt x="1358" y="1061"/>
                  </a:lnTo>
                  <a:lnTo>
                    <a:pt x="1358" y="1062"/>
                  </a:lnTo>
                  <a:lnTo>
                    <a:pt x="1357" y="1062"/>
                  </a:lnTo>
                  <a:lnTo>
                    <a:pt x="1355" y="1064"/>
                  </a:lnTo>
                  <a:lnTo>
                    <a:pt x="1355" y="1065"/>
                  </a:lnTo>
                  <a:lnTo>
                    <a:pt x="1355" y="1067"/>
                  </a:lnTo>
                  <a:lnTo>
                    <a:pt x="1353" y="1067"/>
                  </a:lnTo>
                  <a:lnTo>
                    <a:pt x="1352" y="1067"/>
                  </a:lnTo>
                  <a:lnTo>
                    <a:pt x="1350" y="1067"/>
                  </a:lnTo>
                  <a:lnTo>
                    <a:pt x="1349" y="1069"/>
                  </a:lnTo>
                  <a:lnTo>
                    <a:pt x="1350" y="1072"/>
                  </a:lnTo>
                  <a:lnTo>
                    <a:pt x="1349" y="1074"/>
                  </a:lnTo>
                  <a:lnTo>
                    <a:pt x="1350" y="1075"/>
                  </a:lnTo>
                  <a:lnTo>
                    <a:pt x="1350" y="1077"/>
                  </a:lnTo>
                  <a:lnTo>
                    <a:pt x="1349" y="1077"/>
                  </a:lnTo>
                  <a:lnTo>
                    <a:pt x="1349" y="1078"/>
                  </a:lnTo>
                  <a:lnTo>
                    <a:pt x="1350" y="1078"/>
                  </a:lnTo>
                  <a:lnTo>
                    <a:pt x="1350" y="1082"/>
                  </a:lnTo>
                  <a:lnTo>
                    <a:pt x="1349" y="1080"/>
                  </a:lnTo>
                  <a:lnTo>
                    <a:pt x="1347" y="1080"/>
                  </a:lnTo>
                  <a:lnTo>
                    <a:pt x="1347" y="1082"/>
                  </a:lnTo>
                  <a:lnTo>
                    <a:pt x="1345" y="1083"/>
                  </a:lnTo>
                  <a:lnTo>
                    <a:pt x="1345" y="1085"/>
                  </a:lnTo>
                  <a:lnTo>
                    <a:pt x="1344" y="1085"/>
                  </a:lnTo>
                  <a:lnTo>
                    <a:pt x="1342" y="1085"/>
                  </a:lnTo>
                  <a:lnTo>
                    <a:pt x="1340" y="1085"/>
                  </a:lnTo>
                  <a:lnTo>
                    <a:pt x="1340" y="1087"/>
                  </a:lnTo>
                  <a:lnTo>
                    <a:pt x="1339" y="1087"/>
                  </a:lnTo>
                  <a:lnTo>
                    <a:pt x="1339" y="1085"/>
                  </a:lnTo>
                  <a:lnTo>
                    <a:pt x="1339" y="1083"/>
                  </a:lnTo>
                  <a:lnTo>
                    <a:pt x="1339" y="1082"/>
                  </a:lnTo>
                  <a:lnTo>
                    <a:pt x="1337" y="1082"/>
                  </a:lnTo>
                  <a:lnTo>
                    <a:pt x="1336" y="1080"/>
                  </a:lnTo>
                  <a:lnTo>
                    <a:pt x="1336" y="1078"/>
                  </a:lnTo>
                  <a:lnTo>
                    <a:pt x="1336" y="1077"/>
                  </a:lnTo>
                  <a:lnTo>
                    <a:pt x="1336" y="1080"/>
                  </a:lnTo>
                  <a:lnTo>
                    <a:pt x="1337" y="1082"/>
                  </a:lnTo>
                  <a:lnTo>
                    <a:pt x="1339" y="1083"/>
                  </a:lnTo>
                  <a:lnTo>
                    <a:pt x="1339" y="1085"/>
                  </a:lnTo>
                  <a:lnTo>
                    <a:pt x="1339" y="1087"/>
                  </a:lnTo>
                  <a:lnTo>
                    <a:pt x="1340" y="1087"/>
                  </a:lnTo>
                  <a:lnTo>
                    <a:pt x="1340" y="1085"/>
                  </a:lnTo>
                  <a:lnTo>
                    <a:pt x="1342" y="1085"/>
                  </a:lnTo>
                  <a:lnTo>
                    <a:pt x="1344" y="1085"/>
                  </a:lnTo>
                  <a:lnTo>
                    <a:pt x="1345" y="1085"/>
                  </a:lnTo>
                  <a:lnTo>
                    <a:pt x="1347" y="1083"/>
                  </a:lnTo>
                  <a:lnTo>
                    <a:pt x="1347" y="1082"/>
                  </a:lnTo>
                  <a:lnTo>
                    <a:pt x="1349" y="1080"/>
                  </a:lnTo>
                  <a:lnTo>
                    <a:pt x="1349" y="1082"/>
                  </a:lnTo>
                  <a:lnTo>
                    <a:pt x="1349" y="1083"/>
                  </a:lnTo>
                  <a:lnTo>
                    <a:pt x="1350" y="1083"/>
                  </a:lnTo>
                  <a:lnTo>
                    <a:pt x="1350" y="1085"/>
                  </a:lnTo>
                  <a:lnTo>
                    <a:pt x="1352" y="1085"/>
                  </a:lnTo>
                  <a:lnTo>
                    <a:pt x="1353" y="1085"/>
                  </a:lnTo>
                  <a:lnTo>
                    <a:pt x="1355" y="1085"/>
                  </a:lnTo>
                  <a:lnTo>
                    <a:pt x="1355" y="1087"/>
                  </a:lnTo>
                  <a:lnTo>
                    <a:pt x="1355" y="1088"/>
                  </a:lnTo>
                  <a:lnTo>
                    <a:pt x="1357" y="1088"/>
                  </a:lnTo>
                  <a:lnTo>
                    <a:pt x="1358" y="1090"/>
                  </a:lnTo>
                  <a:lnTo>
                    <a:pt x="1357" y="1091"/>
                  </a:lnTo>
                  <a:lnTo>
                    <a:pt x="1357" y="1093"/>
                  </a:lnTo>
                  <a:lnTo>
                    <a:pt x="1358" y="1093"/>
                  </a:lnTo>
                  <a:lnTo>
                    <a:pt x="1360" y="1095"/>
                  </a:lnTo>
                  <a:lnTo>
                    <a:pt x="1358" y="1095"/>
                  </a:lnTo>
                  <a:lnTo>
                    <a:pt x="1358" y="1096"/>
                  </a:lnTo>
                  <a:lnTo>
                    <a:pt x="1360" y="1096"/>
                  </a:lnTo>
                  <a:lnTo>
                    <a:pt x="1358" y="1096"/>
                  </a:lnTo>
                  <a:lnTo>
                    <a:pt x="1358" y="1095"/>
                  </a:lnTo>
                  <a:lnTo>
                    <a:pt x="1360" y="1095"/>
                  </a:lnTo>
                  <a:lnTo>
                    <a:pt x="1358" y="1093"/>
                  </a:lnTo>
                  <a:lnTo>
                    <a:pt x="1357" y="1093"/>
                  </a:lnTo>
                  <a:lnTo>
                    <a:pt x="1358" y="1091"/>
                  </a:lnTo>
                  <a:lnTo>
                    <a:pt x="1358" y="1090"/>
                  </a:lnTo>
                  <a:lnTo>
                    <a:pt x="1360" y="1090"/>
                  </a:lnTo>
                  <a:lnTo>
                    <a:pt x="1358" y="1090"/>
                  </a:lnTo>
                  <a:lnTo>
                    <a:pt x="1360" y="1090"/>
                  </a:lnTo>
                  <a:lnTo>
                    <a:pt x="1358" y="1090"/>
                  </a:lnTo>
                  <a:lnTo>
                    <a:pt x="1357" y="1088"/>
                  </a:lnTo>
                  <a:lnTo>
                    <a:pt x="1355" y="1088"/>
                  </a:lnTo>
                  <a:lnTo>
                    <a:pt x="1355" y="1087"/>
                  </a:lnTo>
                  <a:lnTo>
                    <a:pt x="1355" y="1085"/>
                  </a:lnTo>
                  <a:lnTo>
                    <a:pt x="1353" y="1085"/>
                  </a:lnTo>
                  <a:lnTo>
                    <a:pt x="1352" y="1085"/>
                  </a:lnTo>
                  <a:lnTo>
                    <a:pt x="1350" y="1085"/>
                  </a:lnTo>
                  <a:lnTo>
                    <a:pt x="1350" y="1083"/>
                  </a:lnTo>
                  <a:lnTo>
                    <a:pt x="1349" y="1082"/>
                  </a:lnTo>
                  <a:lnTo>
                    <a:pt x="1349" y="1080"/>
                  </a:lnTo>
                  <a:lnTo>
                    <a:pt x="1350" y="1082"/>
                  </a:lnTo>
                  <a:lnTo>
                    <a:pt x="1352" y="1082"/>
                  </a:lnTo>
                  <a:lnTo>
                    <a:pt x="1350" y="1082"/>
                  </a:lnTo>
                  <a:lnTo>
                    <a:pt x="1352" y="1082"/>
                  </a:lnTo>
                  <a:lnTo>
                    <a:pt x="1350" y="1082"/>
                  </a:lnTo>
                  <a:lnTo>
                    <a:pt x="1350" y="1080"/>
                  </a:lnTo>
                  <a:lnTo>
                    <a:pt x="1350" y="1078"/>
                  </a:lnTo>
                  <a:lnTo>
                    <a:pt x="1349" y="1078"/>
                  </a:lnTo>
                  <a:lnTo>
                    <a:pt x="1349" y="1077"/>
                  </a:lnTo>
                  <a:lnTo>
                    <a:pt x="1350" y="1077"/>
                  </a:lnTo>
                  <a:lnTo>
                    <a:pt x="1350" y="1075"/>
                  </a:lnTo>
                  <a:lnTo>
                    <a:pt x="1349" y="1074"/>
                  </a:lnTo>
                  <a:lnTo>
                    <a:pt x="1350" y="1074"/>
                  </a:lnTo>
                  <a:lnTo>
                    <a:pt x="1350" y="1072"/>
                  </a:lnTo>
                  <a:lnTo>
                    <a:pt x="1349" y="1070"/>
                  </a:lnTo>
                  <a:lnTo>
                    <a:pt x="1349" y="1069"/>
                  </a:lnTo>
                  <a:lnTo>
                    <a:pt x="1350" y="1069"/>
                  </a:lnTo>
                  <a:lnTo>
                    <a:pt x="1350" y="1067"/>
                  </a:lnTo>
                  <a:lnTo>
                    <a:pt x="1352" y="1067"/>
                  </a:lnTo>
                  <a:lnTo>
                    <a:pt x="1353" y="1067"/>
                  </a:lnTo>
                  <a:lnTo>
                    <a:pt x="1355" y="1067"/>
                  </a:lnTo>
                  <a:lnTo>
                    <a:pt x="1355" y="1065"/>
                  </a:lnTo>
                  <a:lnTo>
                    <a:pt x="1355" y="1064"/>
                  </a:lnTo>
                  <a:lnTo>
                    <a:pt x="1357" y="1064"/>
                  </a:lnTo>
                  <a:lnTo>
                    <a:pt x="1358" y="1061"/>
                  </a:lnTo>
                  <a:lnTo>
                    <a:pt x="1357" y="1059"/>
                  </a:lnTo>
                  <a:lnTo>
                    <a:pt x="1357" y="1057"/>
                  </a:lnTo>
                  <a:lnTo>
                    <a:pt x="1355" y="1057"/>
                  </a:lnTo>
                  <a:lnTo>
                    <a:pt x="1353" y="1057"/>
                  </a:lnTo>
                  <a:lnTo>
                    <a:pt x="1355" y="1057"/>
                  </a:lnTo>
                  <a:lnTo>
                    <a:pt x="1353" y="1056"/>
                  </a:lnTo>
                  <a:lnTo>
                    <a:pt x="1355" y="1054"/>
                  </a:lnTo>
                  <a:lnTo>
                    <a:pt x="1355" y="1052"/>
                  </a:lnTo>
                  <a:lnTo>
                    <a:pt x="1355" y="1051"/>
                  </a:lnTo>
                  <a:lnTo>
                    <a:pt x="1353" y="1051"/>
                  </a:lnTo>
                  <a:lnTo>
                    <a:pt x="1353" y="1049"/>
                  </a:lnTo>
                  <a:lnTo>
                    <a:pt x="1353" y="1048"/>
                  </a:lnTo>
                  <a:lnTo>
                    <a:pt x="1353" y="1049"/>
                  </a:lnTo>
                  <a:lnTo>
                    <a:pt x="1353" y="1048"/>
                  </a:lnTo>
                  <a:lnTo>
                    <a:pt x="1352" y="1048"/>
                  </a:lnTo>
                  <a:lnTo>
                    <a:pt x="1352" y="1046"/>
                  </a:lnTo>
                  <a:lnTo>
                    <a:pt x="1350" y="1048"/>
                  </a:lnTo>
                  <a:lnTo>
                    <a:pt x="1350" y="1046"/>
                  </a:lnTo>
                  <a:lnTo>
                    <a:pt x="1350" y="1044"/>
                  </a:lnTo>
                  <a:lnTo>
                    <a:pt x="1352" y="1044"/>
                  </a:lnTo>
                  <a:lnTo>
                    <a:pt x="1353" y="1044"/>
                  </a:lnTo>
                  <a:lnTo>
                    <a:pt x="1353" y="1046"/>
                  </a:lnTo>
                  <a:lnTo>
                    <a:pt x="1353" y="1044"/>
                  </a:lnTo>
                  <a:lnTo>
                    <a:pt x="1352" y="1044"/>
                  </a:lnTo>
                  <a:lnTo>
                    <a:pt x="1352" y="1043"/>
                  </a:lnTo>
                  <a:lnTo>
                    <a:pt x="1350" y="1043"/>
                  </a:lnTo>
                  <a:lnTo>
                    <a:pt x="1349" y="1043"/>
                  </a:lnTo>
                  <a:lnTo>
                    <a:pt x="1350" y="1041"/>
                  </a:lnTo>
                  <a:lnTo>
                    <a:pt x="1352" y="1041"/>
                  </a:lnTo>
                  <a:lnTo>
                    <a:pt x="1352" y="1039"/>
                  </a:lnTo>
                  <a:lnTo>
                    <a:pt x="1353" y="1039"/>
                  </a:lnTo>
                  <a:lnTo>
                    <a:pt x="1353" y="1038"/>
                  </a:lnTo>
                  <a:lnTo>
                    <a:pt x="1352" y="1038"/>
                  </a:lnTo>
                  <a:lnTo>
                    <a:pt x="1352" y="1036"/>
                  </a:lnTo>
                  <a:lnTo>
                    <a:pt x="1349" y="1036"/>
                  </a:lnTo>
                  <a:lnTo>
                    <a:pt x="1349" y="1035"/>
                  </a:lnTo>
                  <a:lnTo>
                    <a:pt x="1350" y="1035"/>
                  </a:lnTo>
                  <a:lnTo>
                    <a:pt x="1352" y="1035"/>
                  </a:lnTo>
                  <a:lnTo>
                    <a:pt x="1353" y="1035"/>
                  </a:lnTo>
                  <a:lnTo>
                    <a:pt x="1353" y="1033"/>
                  </a:lnTo>
                  <a:lnTo>
                    <a:pt x="1353" y="1031"/>
                  </a:lnTo>
                  <a:lnTo>
                    <a:pt x="1352" y="1030"/>
                  </a:lnTo>
                  <a:lnTo>
                    <a:pt x="1350" y="1030"/>
                  </a:lnTo>
                  <a:lnTo>
                    <a:pt x="1349" y="1030"/>
                  </a:lnTo>
                  <a:lnTo>
                    <a:pt x="1349" y="1026"/>
                  </a:lnTo>
                  <a:lnTo>
                    <a:pt x="1349" y="1025"/>
                  </a:lnTo>
                  <a:lnTo>
                    <a:pt x="1347" y="1025"/>
                  </a:lnTo>
                  <a:lnTo>
                    <a:pt x="1345" y="1025"/>
                  </a:lnTo>
                  <a:lnTo>
                    <a:pt x="1344" y="1025"/>
                  </a:lnTo>
                  <a:lnTo>
                    <a:pt x="1342" y="1025"/>
                  </a:lnTo>
                  <a:lnTo>
                    <a:pt x="1340" y="1025"/>
                  </a:lnTo>
                  <a:lnTo>
                    <a:pt x="1340" y="1023"/>
                  </a:lnTo>
                  <a:lnTo>
                    <a:pt x="1340" y="1022"/>
                  </a:lnTo>
                  <a:lnTo>
                    <a:pt x="1342" y="1020"/>
                  </a:lnTo>
                  <a:lnTo>
                    <a:pt x="1342" y="1018"/>
                  </a:lnTo>
                  <a:lnTo>
                    <a:pt x="1344" y="1017"/>
                  </a:lnTo>
                  <a:lnTo>
                    <a:pt x="1345" y="1017"/>
                  </a:lnTo>
                  <a:lnTo>
                    <a:pt x="1345" y="1015"/>
                  </a:lnTo>
                  <a:lnTo>
                    <a:pt x="1345" y="1013"/>
                  </a:lnTo>
                  <a:lnTo>
                    <a:pt x="1347" y="1015"/>
                  </a:lnTo>
                  <a:lnTo>
                    <a:pt x="1347" y="1013"/>
                  </a:lnTo>
                  <a:lnTo>
                    <a:pt x="1345" y="1013"/>
                  </a:lnTo>
                  <a:lnTo>
                    <a:pt x="1344" y="1012"/>
                  </a:lnTo>
                  <a:lnTo>
                    <a:pt x="1344" y="1010"/>
                  </a:lnTo>
                  <a:lnTo>
                    <a:pt x="1345" y="1010"/>
                  </a:lnTo>
                  <a:lnTo>
                    <a:pt x="1347" y="1010"/>
                  </a:lnTo>
                  <a:lnTo>
                    <a:pt x="1350" y="1012"/>
                  </a:lnTo>
                  <a:lnTo>
                    <a:pt x="1352" y="1012"/>
                  </a:lnTo>
                  <a:lnTo>
                    <a:pt x="1352" y="1013"/>
                  </a:lnTo>
                  <a:lnTo>
                    <a:pt x="1353" y="1015"/>
                  </a:lnTo>
                  <a:lnTo>
                    <a:pt x="1353" y="1017"/>
                  </a:lnTo>
                  <a:lnTo>
                    <a:pt x="1350" y="1017"/>
                  </a:lnTo>
                  <a:lnTo>
                    <a:pt x="1350" y="1018"/>
                  </a:lnTo>
                  <a:lnTo>
                    <a:pt x="1350" y="1017"/>
                  </a:lnTo>
                  <a:lnTo>
                    <a:pt x="1349" y="1017"/>
                  </a:lnTo>
                  <a:lnTo>
                    <a:pt x="1349" y="1018"/>
                  </a:lnTo>
                  <a:lnTo>
                    <a:pt x="1350" y="1020"/>
                  </a:lnTo>
                  <a:lnTo>
                    <a:pt x="1352" y="1020"/>
                  </a:lnTo>
                  <a:lnTo>
                    <a:pt x="1353" y="1020"/>
                  </a:lnTo>
                  <a:lnTo>
                    <a:pt x="1355" y="1020"/>
                  </a:lnTo>
                  <a:lnTo>
                    <a:pt x="1353" y="1020"/>
                  </a:lnTo>
                  <a:lnTo>
                    <a:pt x="1353" y="1022"/>
                  </a:lnTo>
                  <a:lnTo>
                    <a:pt x="1355" y="1022"/>
                  </a:lnTo>
                  <a:lnTo>
                    <a:pt x="1353" y="1023"/>
                  </a:lnTo>
                  <a:lnTo>
                    <a:pt x="1353" y="1025"/>
                  </a:lnTo>
                  <a:lnTo>
                    <a:pt x="1352" y="1025"/>
                  </a:lnTo>
                  <a:lnTo>
                    <a:pt x="1350" y="1025"/>
                  </a:lnTo>
                  <a:lnTo>
                    <a:pt x="1352" y="1026"/>
                  </a:lnTo>
                  <a:lnTo>
                    <a:pt x="1352" y="1028"/>
                  </a:lnTo>
                  <a:lnTo>
                    <a:pt x="1353" y="1030"/>
                  </a:lnTo>
                  <a:lnTo>
                    <a:pt x="1353" y="1028"/>
                  </a:lnTo>
                  <a:lnTo>
                    <a:pt x="1355" y="1028"/>
                  </a:lnTo>
                  <a:lnTo>
                    <a:pt x="1355" y="1030"/>
                  </a:lnTo>
                  <a:lnTo>
                    <a:pt x="1355" y="1031"/>
                  </a:lnTo>
                  <a:lnTo>
                    <a:pt x="1355" y="1033"/>
                  </a:lnTo>
                  <a:lnTo>
                    <a:pt x="1357" y="1035"/>
                  </a:lnTo>
                  <a:lnTo>
                    <a:pt x="1357" y="1036"/>
                  </a:lnTo>
                  <a:lnTo>
                    <a:pt x="1358" y="1036"/>
                  </a:lnTo>
                  <a:lnTo>
                    <a:pt x="1358" y="1038"/>
                  </a:lnTo>
                  <a:lnTo>
                    <a:pt x="1360" y="1039"/>
                  </a:lnTo>
                  <a:lnTo>
                    <a:pt x="1362" y="1041"/>
                  </a:lnTo>
                  <a:lnTo>
                    <a:pt x="1363" y="1041"/>
                  </a:lnTo>
                  <a:lnTo>
                    <a:pt x="1363" y="1043"/>
                  </a:lnTo>
                  <a:lnTo>
                    <a:pt x="1363" y="1044"/>
                  </a:lnTo>
                  <a:lnTo>
                    <a:pt x="1365" y="1044"/>
                  </a:lnTo>
                  <a:lnTo>
                    <a:pt x="1366" y="1043"/>
                  </a:lnTo>
                  <a:lnTo>
                    <a:pt x="1365" y="1044"/>
                  </a:lnTo>
                  <a:lnTo>
                    <a:pt x="1363" y="1044"/>
                  </a:lnTo>
                  <a:lnTo>
                    <a:pt x="1363" y="1043"/>
                  </a:lnTo>
                  <a:lnTo>
                    <a:pt x="1363" y="1041"/>
                  </a:lnTo>
                  <a:lnTo>
                    <a:pt x="1362" y="1041"/>
                  </a:lnTo>
                  <a:lnTo>
                    <a:pt x="1362" y="1039"/>
                  </a:lnTo>
                  <a:lnTo>
                    <a:pt x="1360" y="1039"/>
                  </a:lnTo>
                  <a:lnTo>
                    <a:pt x="1358" y="1038"/>
                  </a:lnTo>
                  <a:lnTo>
                    <a:pt x="1360" y="1038"/>
                  </a:lnTo>
                  <a:lnTo>
                    <a:pt x="1358" y="1036"/>
                  </a:lnTo>
                  <a:lnTo>
                    <a:pt x="1357" y="1036"/>
                  </a:lnTo>
                  <a:lnTo>
                    <a:pt x="1357" y="1035"/>
                  </a:lnTo>
                  <a:lnTo>
                    <a:pt x="1355" y="1033"/>
                  </a:lnTo>
                  <a:lnTo>
                    <a:pt x="1355" y="1030"/>
                  </a:lnTo>
                  <a:lnTo>
                    <a:pt x="1357" y="1030"/>
                  </a:lnTo>
                  <a:lnTo>
                    <a:pt x="1355" y="1028"/>
                  </a:lnTo>
                  <a:lnTo>
                    <a:pt x="1353" y="1028"/>
                  </a:lnTo>
                  <a:lnTo>
                    <a:pt x="1353" y="1030"/>
                  </a:lnTo>
                  <a:lnTo>
                    <a:pt x="1352" y="1028"/>
                  </a:lnTo>
                  <a:lnTo>
                    <a:pt x="1352" y="1026"/>
                  </a:lnTo>
                  <a:lnTo>
                    <a:pt x="1352" y="1025"/>
                  </a:lnTo>
                  <a:lnTo>
                    <a:pt x="1353" y="1025"/>
                  </a:lnTo>
                  <a:lnTo>
                    <a:pt x="1353" y="1023"/>
                  </a:lnTo>
                  <a:lnTo>
                    <a:pt x="1355" y="1022"/>
                  </a:lnTo>
                  <a:lnTo>
                    <a:pt x="1355" y="1020"/>
                  </a:lnTo>
                  <a:lnTo>
                    <a:pt x="1355" y="1022"/>
                  </a:lnTo>
                  <a:lnTo>
                    <a:pt x="1353" y="1022"/>
                  </a:lnTo>
                  <a:lnTo>
                    <a:pt x="1353" y="1020"/>
                  </a:lnTo>
                  <a:lnTo>
                    <a:pt x="1355" y="1020"/>
                  </a:lnTo>
                  <a:lnTo>
                    <a:pt x="1355" y="1022"/>
                  </a:lnTo>
                  <a:lnTo>
                    <a:pt x="1355" y="1020"/>
                  </a:lnTo>
                  <a:lnTo>
                    <a:pt x="1357" y="1020"/>
                  </a:lnTo>
                  <a:lnTo>
                    <a:pt x="1358" y="1020"/>
                  </a:lnTo>
                  <a:lnTo>
                    <a:pt x="1360" y="1022"/>
                  </a:lnTo>
                  <a:lnTo>
                    <a:pt x="1362" y="1023"/>
                  </a:lnTo>
                  <a:lnTo>
                    <a:pt x="1362" y="1025"/>
                  </a:lnTo>
                  <a:lnTo>
                    <a:pt x="1363" y="1025"/>
                  </a:lnTo>
                  <a:lnTo>
                    <a:pt x="1363" y="1023"/>
                  </a:lnTo>
                  <a:lnTo>
                    <a:pt x="1365" y="1023"/>
                  </a:lnTo>
                  <a:lnTo>
                    <a:pt x="1366" y="1025"/>
                  </a:lnTo>
                  <a:lnTo>
                    <a:pt x="1366" y="1026"/>
                  </a:lnTo>
                  <a:lnTo>
                    <a:pt x="1368" y="1026"/>
                  </a:lnTo>
                  <a:lnTo>
                    <a:pt x="1370" y="1026"/>
                  </a:lnTo>
                  <a:lnTo>
                    <a:pt x="1371" y="1026"/>
                  </a:lnTo>
                  <a:lnTo>
                    <a:pt x="1371" y="1028"/>
                  </a:lnTo>
                  <a:lnTo>
                    <a:pt x="1371" y="1030"/>
                  </a:lnTo>
                  <a:lnTo>
                    <a:pt x="1371" y="1031"/>
                  </a:lnTo>
                  <a:lnTo>
                    <a:pt x="1373" y="1033"/>
                  </a:lnTo>
                  <a:lnTo>
                    <a:pt x="1375" y="1031"/>
                  </a:lnTo>
                  <a:lnTo>
                    <a:pt x="1376" y="1033"/>
                  </a:lnTo>
                  <a:lnTo>
                    <a:pt x="1378" y="1033"/>
                  </a:lnTo>
                  <a:lnTo>
                    <a:pt x="1379" y="1033"/>
                  </a:lnTo>
                  <a:lnTo>
                    <a:pt x="1379" y="1035"/>
                  </a:lnTo>
                  <a:lnTo>
                    <a:pt x="1381" y="1036"/>
                  </a:lnTo>
                  <a:lnTo>
                    <a:pt x="1381" y="1038"/>
                  </a:lnTo>
                  <a:lnTo>
                    <a:pt x="1383" y="1038"/>
                  </a:lnTo>
                  <a:lnTo>
                    <a:pt x="1384" y="1039"/>
                  </a:lnTo>
                  <a:lnTo>
                    <a:pt x="1386" y="1039"/>
                  </a:lnTo>
                  <a:lnTo>
                    <a:pt x="1384" y="1039"/>
                  </a:lnTo>
                  <a:lnTo>
                    <a:pt x="1383" y="1038"/>
                  </a:lnTo>
                  <a:lnTo>
                    <a:pt x="1381" y="1038"/>
                  </a:lnTo>
                  <a:lnTo>
                    <a:pt x="1381" y="1036"/>
                  </a:lnTo>
                  <a:lnTo>
                    <a:pt x="1379" y="1036"/>
                  </a:lnTo>
                  <a:lnTo>
                    <a:pt x="1379" y="1035"/>
                  </a:lnTo>
                  <a:lnTo>
                    <a:pt x="1379" y="1033"/>
                  </a:lnTo>
                  <a:lnTo>
                    <a:pt x="1378" y="1033"/>
                  </a:lnTo>
                  <a:lnTo>
                    <a:pt x="1376" y="1033"/>
                  </a:lnTo>
                  <a:lnTo>
                    <a:pt x="1376" y="1031"/>
                  </a:lnTo>
                  <a:lnTo>
                    <a:pt x="1375" y="1031"/>
                  </a:lnTo>
                  <a:lnTo>
                    <a:pt x="1373" y="1031"/>
                  </a:lnTo>
                  <a:lnTo>
                    <a:pt x="1373" y="1033"/>
                  </a:lnTo>
                  <a:lnTo>
                    <a:pt x="1371" y="1031"/>
                  </a:lnTo>
                  <a:lnTo>
                    <a:pt x="1371" y="1030"/>
                  </a:lnTo>
                  <a:lnTo>
                    <a:pt x="1371" y="1026"/>
                  </a:lnTo>
                  <a:lnTo>
                    <a:pt x="1370" y="1026"/>
                  </a:lnTo>
                  <a:lnTo>
                    <a:pt x="1368" y="1026"/>
                  </a:lnTo>
                  <a:lnTo>
                    <a:pt x="1366" y="1025"/>
                  </a:lnTo>
                  <a:lnTo>
                    <a:pt x="1365" y="1023"/>
                  </a:lnTo>
                  <a:lnTo>
                    <a:pt x="1363" y="1023"/>
                  </a:lnTo>
                  <a:lnTo>
                    <a:pt x="1363" y="1025"/>
                  </a:lnTo>
                  <a:lnTo>
                    <a:pt x="1362" y="1023"/>
                  </a:lnTo>
                  <a:lnTo>
                    <a:pt x="1360" y="1022"/>
                  </a:lnTo>
                  <a:lnTo>
                    <a:pt x="1358" y="1022"/>
                  </a:lnTo>
                  <a:lnTo>
                    <a:pt x="1358" y="1020"/>
                  </a:lnTo>
                  <a:lnTo>
                    <a:pt x="1357" y="1020"/>
                  </a:lnTo>
                  <a:lnTo>
                    <a:pt x="1357" y="1018"/>
                  </a:lnTo>
                  <a:lnTo>
                    <a:pt x="1355" y="1018"/>
                  </a:lnTo>
                  <a:lnTo>
                    <a:pt x="1353" y="1020"/>
                  </a:lnTo>
                  <a:lnTo>
                    <a:pt x="1352" y="1020"/>
                  </a:lnTo>
                  <a:lnTo>
                    <a:pt x="1350" y="1020"/>
                  </a:lnTo>
                  <a:lnTo>
                    <a:pt x="1350" y="1018"/>
                  </a:lnTo>
                  <a:lnTo>
                    <a:pt x="1349" y="1018"/>
                  </a:lnTo>
                  <a:lnTo>
                    <a:pt x="1350" y="1018"/>
                  </a:lnTo>
                  <a:lnTo>
                    <a:pt x="1349" y="1018"/>
                  </a:lnTo>
                  <a:lnTo>
                    <a:pt x="1349" y="1017"/>
                  </a:lnTo>
                  <a:lnTo>
                    <a:pt x="1350" y="1017"/>
                  </a:lnTo>
                  <a:lnTo>
                    <a:pt x="1350" y="1018"/>
                  </a:lnTo>
                  <a:lnTo>
                    <a:pt x="1352" y="1017"/>
                  </a:lnTo>
                  <a:lnTo>
                    <a:pt x="1353" y="1017"/>
                  </a:lnTo>
                  <a:lnTo>
                    <a:pt x="1353" y="1015"/>
                  </a:lnTo>
                  <a:lnTo>
                    <a:pt x="1353" y="1013"/>
                  </a:lnTo>
                  <a:lnTo>
                    <a:pt x="1352" y="1013"/>
                  </a:lnTo>
                  <a:lnTo>
                    <a:pt x="1352" y="1012"/>
                  </a:lnTo>
                  <a:lnTo>
                    <a:pt x="1350" y="1012"/>
                  </a:lnTo>
                  <a:lnTo>
                    <a:pt x="1349" y="1010"/>
                  </a:lnTo>
                  <a:lnTo>
                    <a:pt x="1347" y="1010"/>
                  </a:lnTo>
                  <a:lnTo>
                    <a:pt x="1347" y="1007"/>
                  </a:lnTo>
                  <a:lnTo>
                    <a:pt x="1347" y="1005"/>
                  </a:lnTo>
                  <a:lnTo>
                    <a:pt x="1345" y="1005"/>
                  </a:lnTo>
                  <a:lnTo>
                    <a:pt x="1344" y="1005"/>
                  </a:lnTo>
                  <a:lnTo>
                    <a:pt x="1342" y="1005"/>
                  </a:lnTo>
                  <a:lnTo>
                    <a:pt x="1342" y="1004"/>
                  </a:lnTo>
                  <a:lnTo>
                    <a:pt x="1342" y="1002"/>
                  </a:lnTo>
                  <a:lnTo>
                    <a:pt x="1344" y="1002"/>
                  </a:lnTo>
                  <a:lnTo>
                    <a:pt x="1344" y="1004"/>
                  </a:lnTo>
                  <a:lnTo>
                    <a:pt x="1345" y="1004"/>
                  </a:lnTo>
                  <a:lnTo>
                    <a:pt x="1344" y="1004"/>
                  </a:lnTo>
                  <a:lnTo>
                    <a:pt x="1345" y="1004"/>
                  </a:lnTo>
                  <a:lnTo>
                    <a:pt x="1344" y="1004"/>
                  </a:lnTo>
                  <a:lnTo>
                    <a:pt x="1345" y="1004"/>
                  </a:lnTo>
                  <a:lnTo>
                    <a:pt x="1347" y="1002"/>
                  </a:lnTo>
                  <a:lnTo>
                    <a:pt x="1347" y="1000"/>
                  </a:lnTo>
                  <a:lnTo>
                    <a:pt x="1349" y="999"/>
                  </a:lnTo>
                  <a:lnTo>
                    <a:pt x="1349" y="1000"/>
                  </a:lnTo>
                  <a:lnTo>
                    <a:pt x="1347" y="1000"/>
                  </a:lnTo>
                  <a:lnTo>
                    <a:pt x="1349" y="1000"/>
                  </a:lnTo>
                  <a:lnTo>
                    <a:pt x="1349" y="999"/>
                  </a:lnTo>
                  <a:lnTo>
                    <a:pt x="1349" y="1000"/>
                  </a:lnTo>
                  <a:lnTo>
                    <a:pt x="1349" y="999"/>
                  </a:lnTo>
                  <a:lnTo>
                    <a:pt x="1349" y="997"/>
                  </a:lnTo>
                  <a:lnTo>
                    <a:pt x="1347" y="997"/>
                  </a:lnTo>
                  <a:lnTo>
                    <a:pt x="1345" y="996"/>
                  </a:lnTo>
                  <a:lnTo>
                    <a:pt x="1344" y="996"/>
                  </a:lnTo>
                  <a:lnTo>
                    <a:pt x="1342" y="996"/>
                  </a:lnTo>
                  <a:lnTo>
                    <a:pt x="1340" y="994"/>
                  </a:lnTo>
                  <a:lnTo>
                    <a:pt x="1337" y="996"/>
                  </a:lnTo>
                  <a:lnTo>
                    <a:pt x="1336" y="996"/>
                  </a:lnTo>
                  <a:lnTo>
                    <a:pt x="1336" y="994"/>
                  </a:lnTo>
                  <a:lnTo>
                    <a:pt x="1334" y="994"/>
                  </a:lnTo>
                  <a:lnTo>
                    <a:pt x="1334" y="992"/>
                  </a:lnTo>
                  <a:lnTo>
                    <a:pt x="1336" y="992"/>
                  </a:lnTo>
                  <a:lnTo>
                    <a:pt x="1337" y="991"/>
                  </a:lnTo>
                  <a:lnTo>
                    <a:pt x="1339" y="991"/>
                  </a:lnTo>
                  <a:lnTo>
                    <a:pt x="1339" y="989"/>
                  </a:lnTo>
                  <a:lnTo>
                    <a:pt x="1339" y="991"/>
                  </a:lnTo>
                  <a:lnTo>
                    <a:pt x="1340" y="989"/>
                  </a:lnTo>
                  <a:lnTo>
                    <a:pt x="1339" y="989"/>
                  </a:lnTo>
                  <a:lnTo>
                    <a:pt x="1340" y="989"/>
                  </a:lnTo>
                  <a:lnTo>
                    <a:pt x="1339" y="989"/>
                  </a:lnTo>
                  <a:lnTo>
                    <a:pt x="1339" y="987"/>
                  </a:lnTo>
                  <a:lnTo>
                    <a:pt x="1340" y="987"/>
                  </a:lnTo>
                  <a:lnTo>
                    <a:pt x="1339" y="987"/>
                  </a:lnTo>
                  <a:lnTo>
                    <a:pt x="1337" y="987"/>
                  </a:lnTo>
                  <a:lnTo>
                    <a:pt x="1336" y="987"/>
                  </a:lnTo>
                  <a:lnTo>
                    <a:pt x="1334" y="987"/>
                  </a:lnTo>
                  <a:lnTo>
                    <a:pt x="1332" y="986"/>
                  </a:lnTo>
                  <a:lnTo>
                    <a:pt x="1331" y="986"/>
                  </a:lnTo>
                  <a:lnTo>
                    <a:pt x="1329" y="984"/>
                  </a:lnTo>
                  <a:lnTo>
                    <a:pt x="1329" y="982"/>
                  </a:lnTo>
                  <a:lnTo>
                    <a:pt x="1329" y="981"/>
                  </a:lnTo>
                  <a:lnTo>
                    <a:pt x="1329" y="979"/>
                  </a:lnTo>
                  <a:lnTo>
                    <a:pt x="1331" y="978"/>
                  </a:lnTo>
                  <a:lnTo>
                    <a:pt x="1331" y="976"/>
                  </a:lnTo>
                  <a:lnTo>
                    <a:pt x="1331" y="974"/>
                  </a:lnTo>
                  <a:lnTo>
                    <a:pt x="1329" y="973"/>
                  </a:lnTo>
                  <a:lnTo>
                    <a:pt x="1329" y="971"/>
                  </a:lnTo>
                  <a:lnTo>
                    <a:pt x="1331" y="971"/>
                  </a:lnTo>
                  <a:lnTo>
                    <a:pt x="1329" y="971"/>
                  </a:lnTo>
                  <a:lnTo>
                    <a:pt x="1329" y="969"/>
                  </a:lnTo>
                  <a:lnTo>
                    <a:pt x="1329" y="968"/>
                  </a:lnTo>
                  <a:lnTo>
                    <a:pt x="1327" y="968"/>
                  </a:lnTo>
                  <a:lnTo>
                    <a:pt x="1327" y="965"/>
                  </a:lnTo>
                  <a:lnTo>
                    <a:pt x="1326" y="963"/>
                  </a:lnTo>
                  <a:lnTo>
                    <a:pt x="1326" y="961"/>
                  </a:lnTo>
                  <a:lnTo>
                    <a:pt x="1326" y="960"/>
                  </a:lnTo>
                  <a:lnTo>
                    <a:pt x="1326" y="958"/>
                  </a:lnTo>
                  <a:lnTo>
                    <a:pt x="1324" y="956"/>
                  </a:lnTo>
                  <a:lnTo>
                    <a:pt x="1324" y="955"/>
                  </a:lnTo>
                  <a:lnTo>
                    <a:pt x="1326" y="953"/>
                  </a:lnTo>
                  <a:lnTo>
                    <a:pt x="1326" y="950"/>
                  </a:lnTo>
                  <a:lnTo>
                    <a:pt x="1326" y="948"/>
                  </a:lnTo>
                  <a:lnTo>
                    <a:pt x="1327" y="948"/>
                  </a:lnTo>
                  <a:lnTo>
                    <a:pt x="1326" y="948"/>
                  </a:lnTo>
                  <a:lnTo>
                    <a:pt x="1326" y="945"/>
                  </a:lnTo>
                  <a:lnTo>
                    <a:pt x="1326" y="943"/>
                  </a:lnTo>
                  <a:lnTo>
                    <a:pt x="1326" y="942"/>
                  </a:lnTo>
                  <a:lnTo>
                    <a:pt x="1326" y="939"/>
                  </a:lnTo>
                  <a:lnTo>
                    <a:pt x="1326" y="940"/>
                  </a:lnTo>
                  <a:lnTo>
                    <a:pt x="1326" y="942"/>
                  </a:lnTo>
                  <a:lnTo>
                    <a:pt x="1326" y="940"/>
                  </a:lnTo>
                  <a:lnTo>
                    <a:pt x="1326" y="939"/>
                  </a:lnTo>
                  <a:lnTo>
                    <a:pt x="1326" y="937"/>
                  </a:lnTo>
                  <a:lnTo>
                    <a:pt x="1324" y="935"/>
                  </a:lnTo>
                  <a:lnTo>
                    <a:pt x="1324" y="934"/>
                  </a:lnTo>
                  <a:lnTo>
                    <a:pt x="1326" y="934"/>
                  </a:lnTo>
                  <a:lnTo>
                    <a:pt x="1326" y="932"/>
                  </a:lnTo>
                  <a:lnTo>
                    <a:pt x="1327" y="932"/>
                  </a:lnTo>
                  <a:lnTo>
                    <a:pt x="1329" y="932"/>
                  </a:lnTo>
                  <a:lnTo>
                    <a:pt x="1329" y="930"/>
                  </a:lnTo>
                  <a:lnTo>
                    <a:pt x="1329" y="932"/>
                  </a:lnTo>
                  <a:lnTo>
                    <a:pt x="1327" y="932"/>
                  </a:lnTo>
                  <a:lnTo>
                    <a:pt x="1329" y="932"/>
                  </a:lnTo>
                  <a:lnTo>
                    <a:pt x="1329" y="930"/>
                  </a:lnTo>
                  <a:lnTo>
                    <a:pt x="1329" y="932"/>
                  </a:lnTo>
                  <a:lnTo>
                    <a:pt x="1327" y="932"/>
                  </a:lnTo>
                  <a:lnTo>
                    <a:pt x="1327" y="934"/>
                  </a:lnTo>
                  <a:lnTo>
                    <a:pt x="1327" y="932"/>
                  </a:lnTo>
                  <a:lnTo>
                    <a:pt x="1326" y="932"/>
                  </a:lnTo>
                  <a:lnTo>
                    <a:pt x="1327" y="932"/>
                  </a:lnTo>
                  <a:lnTo>
                    <a:pt x="1327" y="934"/>
                  </a:lnTo>
                  <a:lnTo>
                    <a:pt x="1326" y="934"/>
                  </a:lnTo>
                  <a:lnTo>
                    <a:pt x="1327" y="934"/>
                  </a:lnTo>
                  <a:lnTo>
                    <a:pt x="1329" y="932"/>
                  </a:lnTo>
                  <a:lnTo>
                    <a:pt x="1331" y="932"/>
                  </a:lnTo>
                  <a:lnTo>
                    <a:pt x="1332" y="932"/>
                  </a:lnTo>
                  <a:lnTo>
                    <a:pt x="1332" y="930"/>
                  </a:lnTo>
                  <a:lnTo>
                    <a:pt x="1331" y="930"/>
                  </a:lnTo>
                  <a:lnTo>
                    <a:pt x="1327" y="927"/>
                  </a:lnTo>
                  <a:lnTo>
                    <a:pt x="1326" y="927"/>
                  </a:lnTo>
                  <a:lnTo>
                    <a:pt x="1324" y="926"/>
                  </a:lnTo>
                  <a:lnTo>
                    <a:pt x="1322" y="924"/>
                  </a:lnTo>
                  <a:lnTo>
                    <a:pt x="1322" y="922"/>
                  </a:lnTo>
                  <a:lnTo>
                    <a:pt x="1324" y="922"/>
                  </a:lnTo>
                  <a:lnTo>
                    <a:pt x="1326" y="922"/>
                  </a:lnTo>
                  <a:lnTo>
                    <a:pt x="1324" y="922"/>
                  </a:lnTo>
                  <a:lnTo>
                    <a:pt x="1322" y="922"/>
                  </a:lnTo>
                  <a:lnTo>
                    <a:pt x="1322" y="924"/>
                  </a:lnTo>
                  <a:lnTo>
                    <a:pt x="1324" y="924"/>
                  </a:lnTo>
                  <a:lnTo>
                    <a:pt x="1326" y="922"/>
                  </a:lnTo>
                  <a:lnTo>
                    <a:pt x="1326" y="924"/>
                  </a:lnTo>
                  <a:lnTo>
                    <a:pt x="1327" y="922"/>
                  </a:lnTo>
                  <a:lnTo>
                    <a:pt x="1329" y="922"/>
                  </a:lnTo>
                  <a:lnTo>
                    <a:pt x="1329" y="921"/>
                  </a:lnTo>
                  <a:lnTo>
                    <a:pt x="1329" y="919"/>
                  </a:lnTo>
                  <a:lnTo>
                    <a:pt x="1331" y="919"/>
                  </a:lnTo>
                  <a:lnTo>
                    <a:pt x="1331" y="917"/>
                  </a:lnTo>
                  <a:lnTo>
                    <a:pt x="1329" y="917"/>
                  </a:lnTo>
                  <a:lnTo>
                    <a:pt x="1329" y="914"/>
                  </a:lnTo>
                  <a:lnTo>
                    <a:pt x="1327" y="914"/>
                  </a:lnTo>
                  <a:lnTo>
                    <a:pt x="1326" y="913"/>
                  </a:lnTo>
                  <a:lnTo>
                    <a:pt x="1324" y="913"/>
                  </a:lnTo>
                  <a:lnTo>
                    <a:pt x="1322" y="913"/>
                  </a:lnTo>
                  <a:lnTo>
                    <a:pt x="1319" y="913"/>
                  </a:lnTo>
                  <a:lnTo>
                    <a:pt x="1318" y="911"/>
                  </a:lnTo>
                  <a:lnTo>
                    <a:pt x="1316" y="909"/>
                  </a:lnTo>
                  <a:lnTo>
                    <a:pt x="1314" y="908"/>
                  </a:lnTo>
                  <a:lnTo>
                    <a:pt x="1316" y="906"/>
                  </a:lnTo>
                  <a:lnTo>
                    <a:pt x="1318" y="908"/>
                  </a:lnTo>
                  <a:lnTo>
                    <a:pt x="1316" y="908"/>
                  </a:lnTo>
                  <a:lnTo>
                    <a:pt x="1318" y="908"/>
                  </a:lnTo>
                  <a:lnTo>
                    <a:pt x="1319" y="908"/>
                  </a:lnTo>
                  <a:lnTo>
                    <a:pt x="1318" y="908"/>
                  </a:lnTo>
                  <a:lnTo>
                    <a:pt x="1319" y="908"/>
                  </a:lnTo>
                  <a:lnTo>
                    <a:pt x="1321" y="908"/>
                  </a:lnTo>
                  <a:lnTo>
                    <a:pt x="1321" y="909"/>
                  </a:lnTo>
                  <a:lnTo>
                    <a:pt x="1322" y="908"/>
                  </a:lnTo>
                  <a:lnTo>
                    <a:pt x="1322" y="909"/>
                  </a:lnTo>
                  <a:lnTo>
                    <a:pt x="1322" y="908"/>
                  </a:lnTo>
                  <a:lnTo>
                    <a:pt x="1324" y="908"/>
                  </a:lnTo>
                  <a:lnTo>
                    <a:pt x="1326" y="906"/>
                  </a:lnTo>
                  <a:lnTo>
                    <a:pt x="1327" y="906"/>
                  </a:lnTo>
                  <a:lnTo>
                    <a:pt x="1327" y="908"/>
                  </a:lnTo>
                  <a:lnTo>
                    <a:pt x="1327" y="906"/>
                  </a:lnTo>
                  <a:lnTo>
                    <a:pt x="1327" y="904"/>
                  </a:lnTo>
                  <a:lnTo>
                    <a:pt x="1329" y="904"/>
                  </a:lnTo>
                  <a:lnTo>
                    <a:pt x="1329" y="903"/>
                  </a:lnTo>
                  <a:lnTo>
                    <a:pt x="1329" y="901"/>
                  </a:lnTo>
                  <a:lnTo>
                    <a:pt x="1327" y="900"/>
                  </a:lnTo>
                  <a:lnTo>
                    <a:pt x="1324" y="900"/>
                  </a:lnTo>
                  <a:lnTo>
                    <a:pt x="1322" y="898"/>
                  </a:lnTo>
                  <a:lnTo>
                    <a:pt x="1321" y="898"/>
                  </a:lnTo>
                  <a:lnTo>
                    <a:pt x="1322" y="898"/>
                  </a:lnTo>
                  <a:lnTo>
                    <a:pt x="1324" y="898"/>
                  </a:lnTo>
                  <a:lnTo>
                    <a:pt x="1321" y="896"/>
                  </a:lnTo>
                  <a:lnTo>
                    <a:pt x="1324" y="898"/>
                  </a:lnTo>
                  <a:lnTo>
                    <a:pt x="1322" y="896"/>
                  </a:lnTo>
                  <a:lnTo>
                    <a:pt x="1321" y="895"/>
                  </a:lnTo>
                  <a:lnTo>
                    <a:pt x="1321" y="893"/>
                  </a:lnTo>
                  <a:lnTo>
                    <a:pt x="1321" y="891"/>
                  </a:lnTo>
                  <a:lnTo>
                    <a:pt x="1319" y="891"/>
                  </a:lnTo>
                  <a:lnTo>
                    <a:pt x="1318" y="891"/>
                  </a:lnTo>
                  <a:lnTo>
                    <a:pt x="1318" y="893"/>
                  </a:lnTo>
                  <a:lnTo>
                    <a:pt x="1318" y="891"/>
                  </a:lnTo>
                  <a:lnTo>
                    <a:pt x="1318" y="893"/>
                  </a:lnTo>
                  <a:lnTo>
                    <a:pt x="1316" y="893"/>
                  </a:lnTo>
                  <a:lnTo>
                    <a:pt x="1314" y="891"/>
                  </a:lnTo>
                  <a:lnTo>
                    <a:pt x="1316" y="891"/>
                  </a:lnTo>
                  <a:lnTo>
                    <a:pt x="1318" y="891"/>
                  </a:lnTo>
                  <a:lnTo>
                    <a:pt x="1316" y="891"/>
                  </a:lnTo>
                  <a:lnTo>
                    <a:pt x="1314" y="891"/>
                  </a:lnTo>
                  <a:lnTo>
                    <a:pt x="1314" y="890"/>
                  </a:lnTo>
                  <a:lnTo>
                    <a:pt x="1314" y="891"/>
                  </a:lnTo>
                  <a:lnTo>
                    <a:pt x="1314" y="890"/>
                  </a:lnTo>
                  <a:lnTo>
                    <a:pt x="1313" y="890"/>
                  </a:lnTo>
                  <a:lnTo>
                    <a:pt x="1313" y="888"/>
                  </a:lnTo>
                  <a:lnTo>
                    <a:pt x="1314" y="887"/>
                  </a:lnTo>
                  <a:lnTo>
                    <a:pt x="1316" y="887"/>
                  </a:lnTo>
                  <a:lnTo>
                    <a:pt x="1316" y="888"/>
                  </a:lnTo>
                  <a:lnTo>
                    <a:pt x="1318" y="888"/>
                  </a:lnTo>
                  <a:lnTo>
                    <a:pt x="1316" y="888"/>
                  </a:lnTo>
                  <a:lnTo>
                    <a:pt x="1316" y="887"/>
                  </a:lnTo>
                  <a:lnTo>
                    <a:pt x="1314" y="887"/>
                  </a:lnTo>
                  <a:lnTo>
                    <a:pt x="1316" y="887"/>
                  </a:lnTo>
                  <a:lnTo>
                    <a:pt x="1314" y="887"/>
                  </a:lnTo>
                  <a:lnTo>
                    <a:pt x="1314" y="885"/>
                  </a:lnTo>
                  <a:lnTo>
                    <a:pt x="1316" y="885"/>
                  </a:lnTo>
                  <a:lnTo>
                    <a:pt x="1314" y="885"/>
                  </a:lnTo>
                  <a:lnTo>
                    <a:pt x="1316" y="883"/>
                  </a:lnTo>
                  <a:lnTo>
                    <a:pt x="1318" y="883"/>
                  </a:lnTo>
                  <a:lnTo>
                    <a:pt x="1318" y="882"/>
                  </a:lnTo>
                  <a:lnTo>
                    <a:pt x="1318" y="883"/>
                  </a:lnTo>
                  <a:lnTo>
                    <a:pt x="1316" y="883"/>
                  </a:lnTo>
                  <a:lnTo>
                    <a:pt x="1314" y="883"/>
                  </a:lnTo>
                  <a:lnTo>
                    <a:pt x="1313" y="885"/>
                  </a:lnTo>
                  <a:lnTo>
                    <a:pt x="1311" y="883"/>
                  </a:lnTo>
                  <a:lnTo>
                    <a:pt x="1309" y="883"/>
                  </a:lnTo>
                  <a:lnTo>
                    <a:pt x="1309" y="885"/>
                  </a:lnTo>
                  <a:lnTo>
                    <a:pt x="1308" y="885"/>
                  </a:lnTo>
                  <a:lnTo>
                    <a:pt x="1308" y="888"/>
                  </a:lnTo>
                  <a:lnTo>
                    <a:pt x="1308" y="890"/>
                  </a:lnTo>
                  <a:lnTo>
                    <a:pt x="1306" y="890"/>
                  </a:lnTo>
                  <a:lnTo>
                    <a:pt x="1306" y="888"/>
                  </a:lnTo>
                  <a:lnTo>
                    <a:pt x="1306" y="890"/>
                  </a:lnTo>
                  <a:lnTo>
                    <a:pt x="1308" y="890"/>
                  </a:lnTo>
                  <a:lnTo>
                    <a:pt x="1308" y="888"/>
                  </a:lnTo>
                  <a:lnTo>
                    <a:pt x="1306" y="888"/>
                  </a:lnTo>
                  <a:lnTo>
                    <a:pt x="1305" y="888"/>
                  </a:lnTo>
                  <a:lnTo>
                    <a:pt x="1305" y="887"/>
                  </a:lnTo>
                  <a:lnTo>
                    <a:pt x="1303" y="885"/>
                  </a:lnTo>
                  <a:lnTo>
                    <a:pt x="1303" y="883"/>
                  </a:lnTo>
                  <a:lnTo>
                    <a:pt x="1301" y="883"/>
                  </a:lnTo>
                  <a:lnTo>
                    <a:pt x="1300" y="883"/>
                  </a:lnTo>
                  <a:lnTo>
                    <a:pt x="1300" y="882"/>
                  </a:lnTo>
                  <a:lnTo>
                    <a:pt x="1301" y="880"/>
                  </a:lnTo>
                  <a:lnTo>
                    <a:pt x="1301" y="882"/>
                  </a:lnTo>
                  <a:lnTo>
                    <a:pt x="1301" y="880"/>
                  </a:lnTo>
                  <a:lnTo>
                    <a:pt x="1301" y="878"/>
                  </a:lnTo>
                  <a:lnTo>
                    <a:pt x="1301" y="877"/>
                  </a:lnTo>
                  <a:lnTo>
                    <a:pt x="1298" y="877"/>
                  </a:lnTo>
                  <a:lnTo>
                    <a:pt x="1296" y="877"/>
                  </a:lnTo>
                  <a:lnTo>
                    <a:pt x="1296" y="878"/>
                  </a:lnTo>
                  <a:lnTo>
                    <a:pt x="1295" y="878"/>
                  </a:lnTo>
                  <a:lnTo>
                    <a:pt x="1293" y="878"/>
                  </a:lnTo>
                  <a:lnTo>
                    <a:pt x="1293" y="877"/>
                  </a:lnTo>
                  <a:lnTo>
                    <a:pt x="1295" y="878"/>
                  </a:lnTo>
                  <a:lnTo>
                    <a:pt x="1293" y="877"/>
                  </a:lnTo>
                  <a:lnTo>
                    <a:pt x="1292" y="877"/>
                  </a:lnTo>
                  <a:lnTo>
                    <a:pt x="1290" y="877"/>
                  </a:lnTo>
                  <a:lnTo>
                    <a:pt x="1290" y="875"/>
                  </a:lnTo>
                  <a:lnTo>
                    <a:pt x="1288" y="874"/>
                  </a:lnTo>
                  <a:lnTo>
                    <a:pt x="1290" y="874"/>
                  </a:lnTo>
                  <a:lnTo>
                    <a:pt x="1290" y="875"/>
                  </a:lnTo>
                  <a:lnTo>
                    <a:pt x="1290" y="874"/>
                  </a:lnTo>
                  <a:lnTo>
                    <a:pt x="1290" y="872"/>
                  </a:lnTo>
                  <a:lnTo>
                    <a:pt x="1292" y="872"/>
                  </a:lnTo>
                  <a:lnTo>
                    <a:pt x="1292" y="870"/>
                  </a:lnTo>
                  <a:lnTo>
                    <a:pt x="1292" y="872"/>
                  </a:lnTo>
                  <a:lnTo>
                    <a:pt x="1293" y="872"/>
                  </a:lnTo>
                  <a:lnTo>
                    <a:pt x="1293" y="874"/>
                  </a:lnTo>
                  <a:lnTo>
                    <a:pt x="1295" y="874"/>
                  </a:lnTo>
                  <a:lnTo>
                    <a:pt x="1296" y="874"/>
                  </a:lnTo>
                  <a:lnTo>
                    <a:pt x="1298" y="872"/>
                  </a:lnTo>
                  <a:lnTo>
                    <a:pt x="1298" y="870"/>
                  </a:lnTo>
                  <a:lnTo>
                    <a:pt x="1296" y="870"/>
                  </a:lnTo>
                  <a:lnTo>
                    <a:pt x="1296" y="869"/>
                  </a:lnTo>
                  <a:lnTo>
                    <a:pt x="1295" y="867"/>
                  </a:lnTo>
                  <a:lnTo>
                    <a:pt x="1293" y="867"/>
                  </a:lnTo>
                  <a:lnTo>
                    <a:pt x="1293" y="865"/>
                  </a:lnTo>
                  <a:lnTo>
                    <a:pt x="1293" y="867"/>
                  </a:lnTo>
                  <a:lnTo>
                    <a:pt x="1295" y="865"/>
                  </a:lnTo>
                  <a:lnTo>
                    <a:pt x="1295" y="864"/>
                  </a:lnTo>
                  <a:lnTo>
                    <a:pt x="1295" y="862"/>
                  </a:lnTo>
                  <a:lnTo>
                    <a:pt x="1296" y="862"/>
                  </a:lnTo>
                  <a:lnTo>
                    <a:pt x="1296" y="864"/>
                  </a:lnTo>
                  <a:lnTo>
                    <a:pt x="1296" y="862"/>
                  </a:lnTo>
                  <a:lnTo>
                    <a:pt x="1296" y="861"/>
                  </a:lnTo>
                  <a:lnTo>
                    <a:pt x="1296" y="859"/>
                  </a:lnTo>
                  <a:lnTo>
                    <a:pt x="1295" y="859"/>
                  </a:lnTo>
                  <a:lnTo>
                    <a:pt x="1293" y="859"/>
                  </a:lnTo>
                  <a:lnTo>
                    <a:pt x="1292" y="857"/>
                  </a:lnTo>
                  <a:lnTo>
                    <a:pt x="1292" y="856"/>
                  </a:lnTo>
                  <a:lnTo>
                    <a:pt x="1293" y="856"/>
                  </a:lnTo>
                  <a:lnTo>
                    <a:pt x="1292" y="856"/>
                  </a:lnTo>
                  <a:lnTo>
                    <a:pt x="1292" y="854"/>
                  </a:lnTo>
                  <a:lnTo>
                    <a:pt x="1292" y="856"/>
                  </a:lnTo>
                  <a:lnTo>
                    <a:pt x="1292" y="854"/>
                  </a:lnTo>
                  <a:lnTo>
                    <a:pt x="1290" y="854"/>
                  </a:lnTo>
                  <a:lnTo>
                    <a:pt x="1288" y="854"/>
                  </a:lnTo>
                  <a:lnTo>
                    <a:pt x="1287" y="854"/>
                  </a:lnTo>
                  <a:lnTo>
                    <a:pt x="1287" y="852"/>
                  </a:lnTo>
                  <a:lnTo>
                    <a:pt x="1287" y="854"/>
                  </a:lnTo>
                  <a:lnTo>
                    <a:pt x="1287" y="852"/>
                  </a:lnTo>
                  <a:lnTo>
                    <a:pt x="1287" y="851"/>
                  </a:lnTo>
                  <a:lnTo>
                    <a:pt x="1285" y="849"/>
                  </a:lnTo>
                  <a:lnTo>
                    <a:pt x="1283" y="849"/>
                  </a:lnTo>
                  <a:lnTo>
                    <a:pt x="1283" y="848"/>
                  </a:lnTo>
                  <a:lnTo>
                    <a:pt x="1282" y="848"/>
                  </a:lnTo>
                  <a:lnTo>
                    <a:pt x="1279" y="846"/>
                  </a:lnTo>
                  <a:lnTo>
                    <a:pt x="1277" y="844"/>
                  </a:lnTo>
                  <a:lnTo>
                    <a:pt x="1277" y="843"/>
                  </a:lnTo>
                  <a:lnTo>
                    <a:pt x="1275" y="843"/>
                  </a:lnTo>
                  <a:lnTo>
                    <a:pt x="1277" y="841"/>
                  </a:lnTo>
                  <a:lnTo>
                    <a:pt x="1277" y="839"/>
                  </a:lnTo>
                  <a:lnTo>
                    <a:pt x="1279" y="841"/>
                  </a:lnTo>
                  <a:lnTo>
                    <a:pt x="1277" y="841"/>
                  </a:lnTo>
                  <a:lnTo>
                    <a:pt x="1277" y="839"/>
                  </a:lnTo>
                  <a:lnTo>
                    <a:pt x="1275" y="838"/>
                  </a:lnTo>
                  <a:lnTo>
                    <a:pt x="1277" y="838"/>
                  </a:lnTo>
                  <a:lnTo>
                    <a:pt x="1279" y="838"/>
                  </a:lnTo>
                  <a:lnTo>
                    <a:pt x="1277" y="838"/>
                  </a:lnTo>
                  <a:lnTo>
                    <a:pt x="1279" y="838"/>
                  </a:lnTo>
                  <a:lnTo>
                    <a:pt x="1277" y="836"/>
                  </a:lnTo>
                  <a:lnTo>
                    <a:pt x="1279" y="836"/>
                  </a:lnTo>
                  <a:lnTo>
                    <a:pt x="1279" y="838"/>
                  </a:lnTo>
                  <a:lnTo>
                    <a:pt x="1279" y="836"/>
                  </a:lnTo>
                  <a:lnTo>
                    <a:pt x="1280" y="836"/>
                  </a:lnTo>
                  <a:lnTo>
                    <a:pt x="1279" y="836"/>
                  </a:lnTo>
                  <a:lnTo>
                    <a:pt x="1279" y="834"/>
                  </a:lnTo>
                  <a:lnTo>
                    <a:pt x="1279" y="836"/>
                  </a:lnTo>
                  <a:lnTo>
                    <a:pt x="1279" y="834"/>
                  </a:lnTo>
                  <a:lnTo>
                    <a:pt x="1280" y="834"/>
                  </a:lnTo>
                  <a:lnTo>
                    <a:pt x="1282" y="836"/>
                  </a:lnTo>
                  <a:lnTo>
                    <a:pt x="1283" y="836"/>
                  </a:lnTo>
                  <a:lnTo>
                    <a:pt x="1285" y="836"/>
                  </a:lnTo>
                  <a:lnTo>
                    <a:pt x="1287" y="836"/>
                  </a:lnTo>
                  <a:lnTo>
                    <a:pt x="1288" y="838"/>
                  </a:lnTo>
                  <a:lnTo>
                    <a:pt x="1290" y="839"/>
                  </a:lnTo>
                  <a:lnTo>
                    <a:pt x="1292" y="841"/>
                  </a:lnTo>
                  <a:lnTo>
                    <a:pt x="1293" y="841"/>
                  </a:lnTo>
                  <a:lnTo>
                    <a:pt x="1293" y="839"/>
                  </a:lnTo>
                  <a:lnTo>
                    <a:pt x="1295" y="839"/>
                  </a:lnTo>
                  <a:lnTo>
                    <a:pt x="1296" y="839"/>
                  </a:lnTo>
                  <a:lnTo>
                    <a:pt x="1298" y="839"/>
                  </a:lnTo>
                  <a:lnTo>
                    <a:pt x="1300" y="839"/>
                  </a:lnTo>
                  <a:lnTo>
                    <a:pt x="1300" y="838"/>
                  </a:lnTo>
                  <a:lnTo>
                    <a:pt x="1301" y="838"/>
                  </a:lnTo>
                  <a:lnTo>
                    <a:pt x="1303" y="839"/>
                  </a:lnTo>
                  <a:lnTo>
                    <a:pt x="1305" y="839"/>
                  </a:lnTo>
                  <a:lnTo>
                    <a:pt x="1306" y="839"/>
                  </a:lnTo>
                  <a:lnTo>
                    <a:pt x="1305" y="839"/>
                  </a:lnTo>
                  <a:lnTo>
                    <a:pt x="1305" y="841"/>
                  </a:lnTo>
                  <a:lnTo>
                    <a:pt x="1306" y="841"/>
                  </a:lnTo>
                  <a:lnTo>
                    <a:pt x="1308" y="841"/>
                  </a:lnTo>
                  <a:lnTo>
                    <a:pt x="1306" y="843"/>
                  </a:lnTo>
                  <a:lnTo>
                    <a:pt x="1306" y="841"/>
                  </a:lnTo>
                  <a:lnTo>
                    <a:pt x="1306" y="843"/>
                  </a:lnTo>
                  <a:lnTo>
                    <a:pt x="1308" y="843"/>
                  </a:lnTo>
                  <a:lnTo>
                    <a:pt x="1308" y="841"/>
                  </a:lnTo>
                  <a:lnTo>
                    <a:pt x="1309" y="841"/>
                  </a:lnTo>
                  <a:lnTo>
                    <a:pt x="1311" y="839"/>
                  </a:lnTo>
                  <a:lnTo>
                    <a:pt x="1313" y="839"/>
                  </a:lnTo>
                  <a:lnTo>
                    <a:pt x="1311" y="839"/>
                  </a:lnTo>
                  <a:lnTo>
                    <a:pt x="1313" y="841"/>
                  </a:lnTo>
                  <a:lnTo>
                    <a:pt x="1313" y="839"/>
                  </a:lnTo>
                  <a:lnTo>
                    <a:pt x="1313" y="841"/>
                  </a:lnTo>
                  <a:lnTo>
                    <a:pt x="1314" y="841"/>
                  </a:lnTo>
                  <a:lnTo>
                    <a:pt x="1316" y="841"/>
                  </a:lnTo>
                  <a:lnTo>
                    <a:pt x="1318" y="841"/>
                  </a:lnTo>
                  <a:lnTo>
                    <a:pt x="1321" y="841"/>
                  </a:lnTo>
                  <a:lnTo>
                    <a:pt x="1322" y="843"/>
                  </a:lnTo>
                  <a:lnTo>
                    <a:pt x="1324" y="843"/>
                  </a:lnTo>
                  <a:lnTo>
                    <a:pt x="1326" y="844"/>
                  </a:lnTo>
                  <a:lnTo>
                    <a:pt x="1327" y="844"/>
                  </a:lnTo>
                  <a:lnTo>
                    <a:pt x="1329" y="844"/>
                  </a:lnTo>
                  <a:lnTo>
                    <a:pt x="1331" y="844"/>
                  </a:lnTo>
                  <a:lnTo>
                    <a:pt x="1332" y="844"/>
                  </a:lnTo>
                  <a:lnTo>
                    <a:pt x="1334" y="844"/>
                  </a:lnTo>
                  <a:lnTo>
                    <a:pt x="1332" y="844"/>
                  </a:lnTo>
                  <a:lnTo>
                    <a:pt x="1334" y="844"/>
                  </a:lnTo>
                  <a:lnTo>
                    <a:pt x="1334" y="846"/>
                  </a:lnTo>
                  <a:lnTo>
                    <a:pt x="1336" y="846"/>
                  </a:lnTo>
                  <a:lnTo>
                    <a:pt x="1336" y="848"/>
                  </a:lnTo>
                  <a:lnTo>
                    <a:pt x="1337" y="848"/>
                  </a:lnTo>
                  <a:lnTo>
                    <a:pt x="1336" y="846"/>
                  </a:lnTo>
                  <a:lnTo>
                    <a:pt x="1337" y="848"/>
                  </a:lnTo>
                  <a:lnTo>
                    <a:pt x="1339" y="848"/>
                  </a:lnTo>
                  <a:lnTo>
                    <a:pt x="1340" y="849"/>
                  </a:lnTo>
                  <a:lnTo>
                    <a:pt x="1342" y="849"/>
                  </a:lnTo>
                  <a:lnTo>
                    <a:pt x="1342" y="851"/>
                  </a:lnTo>
                  <a:lnTo>
                    <a:pt x="1340" y="851"/>
                  </a:lnTo>
                  <a:lnTo>
                    <a:pt x="1340" y="852"/>
                  </a:lnTo>
                  <a:lnTo>
                    <a:pt x="1342" y="852"/>
                  </a:lnTo>
                  <a:lnTo>
                    <a:pt x="1342" y="854"/>
                  </a:lnTo>
                  <a:lnTo>
                    <a:pt x="1342" y="852"/>
                  </a:lnTo>
                  <a:lnTo>
                    <a:pt x="1342" y="851"/>
                  </a:lnTo>
                  <a:lnTo>
                    <a:pt x="1344" y="851"/>
                  </a:lnTo>
                  <a:lnTo>
                    <a:pt x="1344" y="849"/>
                  </a:lnTo>
                  <a:lnTo>
                    <a:pt x="1344" y="851"/>
                  </a:lnTo>
                  <a:lnTo>
                    <a:pt x="1342" y="851"/>
                  </a:lnTo>
                  <a:lnTo>
                    <a:pt x="1342" y="849"/>
                  </a:lnTo>
                  <a:lnTo>
                    <a:pt x="1342" y="848"/>
                  </a:lnTo>
                  <a:lnTo>
                    <a:pt x="1340" y="848"/>
                  </a:lnTo>
                  <a:lnTo>
                    <a:pt x="1342" y="848"/>
                  </a:lnTo>
                  <a:lnTo>
                    <a:pt x="1344" y="849"/>
                  </a:lnTo>
                  <a:lnTo>
                    <a:pt x="1347" y="849"/>
                  </a:lnTo>
                  <a:lnTo>
                    <a:pt x="1349" y="849"/>
                  </a:lnTo>
                  <a:lnTo>
                    <a:pt x="1349" y="851"/>
                  </a:lnTo>
                  <a:lnTo>
                    <a:pt x="1347" y="849"/>
                  </a:lnTo>
                  <a:lnTo>
                    <a:pt x="1347" y="851"/>
                  </a:lnTo>
                  <a:lnTo>
                    <a:pt x="1349" y="851"/>
                  </a:lnTo>
                  <a:lnTo>
                    <a:pt x="1349" y="849"/>
                  </a:lnTo>
                  <a:lnTo>
                    <a:pt x="1349" y="851"/>
                  </a:lnTo>
                  <a:lnTo>
                    <a:pt x="1350" y="849"/>
                  </a:lnTo>
                  <a:lnTo>
                    <a:pt x="1353" y="851"/>
                  </a:lnTo>
                  <a:lnTo>
                    <a:pt x="1357" y="852"/>
                  </a:lnTo>
                  <a:lnTo>
                    <a:pt x="1358" y="854"/>
                  </a:lnTo>
                  <a:lnTo>
                    <a:pt x="1362" y="856"/>
                  </a:lnTo>
                  <a:lnTo>
                    <a:pt x="1363" y="857"/>
                  </a:lnTo>
                  <a:lnTo>
                    <a:pt x="1363" y="859"/>
                  </a:lnTo>
                  <a:lnTo>
                    <a:pt x="1362" y="859"/>
                  </a:lnTo>
                  <a:lnTo>
                    <a:pt x="1363" y="859"/>
                  </a:lnTo>
                  <a:lnTo>
                    <a:pt x="1363" y="857"/>
                  </a:lnTo>
                  <a:lnTo>
                    <a:pt x="1365" y="857"/>
                  </a:lnTo>
                  <a:lnTo>
                    <a:pt x="1363" y="857"/>
                  </a:lnTo>
                  <a:lnTo>
                    <a:pt x="1365" y="857"/>
                  </a:lnTo>
                  <a:lnTo>
                    <a:pt x="1366" y="857"/>
                  </a:lnTo>
                  <a:lnTo>
                    <a:pt x="1365" y="857"/>
                  </a:lnTo>
                  <a:lnTo>
                    <a:pt x="1366" y="857"/>
                  </a:lnTo>
                  <a:lnTo>
                    <a:pt x="1368" y="857"/>
                  </a:lnTo>
                  <a:lnTo>
                    <a:pt x="1366" y="857"/>
                  </a:lnTo>
                  <a:lnTo>
                    <a:pt x="1368" y="857"/>
                  </a:lnTo>
                  <a:lnTo>
                    <a:pt x="1370" y="857"/>
                  </a:lnTo>
                  <a:lnTo>
                    <a:pt x="1368" y="857"/>
                  </a:lnTo>
                  <a:lnTo>
                    <a:pt x="1370" y="856"/>
                  </a:lnTo>
                  <a:lnTo>
                    <a:pt x="1371" y="854"/>
                  </a:lnTo>
                  <a:lnTo>
                    <a:pt x="1373" y="854"/>
                  </a:lnTo>
                  <a:lnTo>
                    <a:pt x="1375" y="852"/>
                  </a:lnTo>
                  <a:lnTo>
                    <a:pt x="1376" y="852"/>
                  </a:lnTo>
                  <a:lnTo>
                    <a:pt x="1376" y="854"/>
                  </a:lnTo>
                  <a:lnTo>
                    <a:pt x="1378" y="854"/>
                  </a:lnTo>
                  <a:lnTo>
                    <a:pt x="1379" y="854"/>
                  </a:lnTo>
                  <a:lnTo>
                    <a:pt x="1378" y="854"/>
                  </a:lnTo>
                  <a:lnTo>
                    <a:pt x="1378" y="852"/>
                  </a:lnTo>
                  <a:lnTo>
                    <a:pt x="1376" y="854"/>
                  </a:lnTo>
                  <a:lnTo>
                    <a:pt x="1376" y="852"/>
                  </a:lnTo>
                  <a:lnTo>
                    <a:pt x="1378" y="852"/>
                  </a:lnTo>
                  <a:lnTo>
                    <a:pt x="1379" y="852"/>
                  </a:lnTo>
                  <a:lnTo>
                    <a:pt x="1378" y="851"/>
                  </a:lnTo>
                  <a:lnTo>
                    <a:pt x="1381" y="852"/>
                  </a:lnTo>
                  <a:lnTo>
                    <a:pt x="1383" y="852"/>
                  </a:lnTo>
                  <a:lnTo>
                    <a:pt x="1384" y="852"/>
                  </a:lnTo>
                  <a:lnTo>
                    <a:pt x="1386" y="852"/>
                  </a:lnTo>
                  <a:lnTo>
                    <a:pt x="1384" y="852"/>
                  </a:lnTo>
                  <a:lnTo>
                    <a:pt x="1386" y="852"/>
                  </a:lnTo>
                  <a:lnTo>
                    <a:pt x="1388" y="852"/>
                  </a:lnTo>
                  <a:lnTo>
                    <a:pt x="1391" y="852"/>
                  </a:lnTo>
                  <a:lnTo>
                    <a:pt x="1394" y="851"/>
                  </a:lnTo>
                  <a:lnTo>
                    <a:pt x="1396" y="851"/>
                  </a:lnTo>
                  <a:lnTo>
                    <a:pt x="1397" y="851"/>
                  </a:lnTo>
                  <a:lnTo>
                    <a:pt x="1399" y="851"/>
                  </a:lnTo>
                  <a:lnTo>
                    <a:pt x="1399" y="849"/>
                  </a:lnTo>
                  <a:lnTo>
                    <a:pt x="1401" y="849"/>
                  </a:lnTo>
                  <a:lnTo>
                    <a:pt x="1399" y="849"/>
                  </a:lnTo>
                  <a:lnTo>
                    <a:pt x="1401" y="848"/>
                  </a:lnTo>
                  <a:lnTo>
                    <a:pt x="1402" y="848"/>
                  </a:lnTo>
                  <a:lnTo>
                    <a:pt x="1401" y="848"/>
                  </a:lnTo>
                  <a:lnTo>
                    <a:pt x="1402" y="846"/>
                  </a:lnTo>
                  <a:lnTo>
                    <a:pt x="1404" y="846"/>
                  </a:lnTo>
                  <a:lnTo>
                    <a:pt x="1405" y="844"/>
                  </a:lnTo>
                  <a:lnTo>
                    <a:pt x="1407" y="844"/>
                  </a:lnTo>
                  <a:lnTo>
                    <a:pt x="1407" y="843"/>
                  </a:lnTo>
                  <a:lnTo>
                    <a:pt x="1405" y="844"/>
                  </a:lnTo>
                  <a:lnTo>
                    <a:pt x="1405" y="843"/>
                  </a:lnTo>
                  <a:lnTo>
                    <a:pt x="1407" y="843"/>
                  </a:lnTo>
                  <a:lnTo>
                    <a:pt x="1409" y="843"/>
                  </a:lnTo>
                  <a:lnTo>
                    <a:pt x="1414" y="841"/>
                  </a:lnTo>
                  <a:lnTo>
                    <a:pt x="1415" y="841"/>
                  </a:lnTo>
                  <a:lnTo>
                    <a:pt x="1418" y="841"/>
                  </a:lnTo>
                  <a:lnTo>
                    <a:pt x="1420" y="841"/>
                  </a:lnTo>
                  <a:lnTo>
                    <a:pt x="1422" y="843"/>
                  </a:lnTo>
                  <a:lnTo>
                    <a:pt x="1422" y="844"/>
                  </a:lnTo>
                  <a:lnTo>
                    <a:pt x="1423" y="844"/>
                  </a:lnTo>
                  <a:lnTo>
                    <a:pt x="1422" y="844"/>
                  </a:lnTo>
                  <a:lnTo>
                    <a:pt x="1423" y="844"/>
                  </a:lnTo>
                  <a:lnTo>
                    <a:pt x="1423" y="843"/>
                  </a:lnTo>
                  <a:lnTo>
                    <a:pt x="1422" y="843"/>
                  </a:lnTo>
                  <a:lnTo>
                    <a:pt x="1422" y="841"/>
                  </a:lnTo>
                  <a:lnTo>
                    <a:pt x="1422" y="843"/>
                  </a:lnTo>
                  <a:lnTo>
                    <a:pt x="1423" y="843"/>
                  </a:lnTo>
                  <a:lnTo>
                    <a:pt x="1422" y="841"/>
                  </a:lnTo>
                  <a:lnTo>
                    <a:pt x="1422" y="839"/>
                  </a:lnTo>
                  <a:lnTo>
                    <a:pt x="1420" y="839"/>
                  </a:lnTo>
                  <a:lnTo>
                    <a:pt x="1418" y="839"/>
                  </a:lnTo>
                  <a:lnTo>
                    <a:pt x="1417" y="839"/>
                  </a:lnTo>
                  <a:lnTo>
                    <a:pt x="1415" y="839"/>
                  </a:lnTo>
                  <a:lnTo>
                    <a:pt x="1414" y="839"/>
                  </a:lnTo>
                  <a:lnTo>
                    <a:pt x="1412" y="841"/>
                  </a:lnTo>
                  <a:lnTo>
                    <a:pt x="1410" y="841"/>
                  </a:lnTo>
                  <a:lnTo>
                    <a:pt x="1405" y="843"/>
                  </a:lnTo>
                  <a:lnTo>
                    <a:pt x="1405" y="841"/>
                  </a:lnTo>
                  <a:lnTo>
                    <a:pt x="1405" y="843"/>
                  </a:lnTo>
                  <a:lnTo>
                    <a:pt x="1402" y="844"/>
                  </a:lnTo>
                  <a:lnTo>
                    <a:pt x="1401" y="846"/>
                  </a:lnTo>
                  <a:lnTo>
                    <a:pt x="1399" y="848"/>
                  </a:lnTo>
                  <a:lnTo>
                    <a:pt x="1397" y="849"/>
                  </a:lnTo>
                  <a:lnTo>
                    <a:pt x="1396" y="849"/>
                  </a:lnTo>
                  <a:lnTo>
                    <a:pt x="1394" y="851"/>
                  </a:lnTo>
                  <a:lnTo>
                    <a:pt x="1391" y="851"/>
                  </a:lnTo>
                  <a:lnTo>
                    <a:pt x="1389" y="851"/>
                  </a:lnTo>
                  <a:lnTo>
                    <a:pt x="1388" y="851"/>
                  </a:lnTo>
                  <a:lnTo>
                    <a:pt x="1386" y="851"/>
                  </a:lnTo>
                  <a:lnTo>
                    <a:pt x="1384" y="852"/>
                  </a:lnTo>
                  <a:lnTo>
                    <a:pt x="1383" y="852"/>
                  </a:lnTo>
                  <a:lnTo>
                    <a:pt x="1379" y="851"/>
                  </a:lnTo>
                  <a:lnTo>
                    <a:pt x="1376" y="851"/>
                  </a:lnTo>
                  <a:lnTo>
                    <a:pt x="1375" y="852"/>
                  </a:lnTo>
                  <a:lnTo>
                    <a:pt x="1373" y="852"/>
                  </a:lnTo>
                  <a:lnTo>
                    <a:pt x="1371" y="854"/>
                  </a:lnTo>
                  <a:lnTo>
                    <a:pt x="1368" y="856"/>
                  </a:lnTo>
                  <a:lnTo>
                    <a:pt x="1366" y="856"/>
                  </a:lnTo>
                  <a:lnTo>
                    <a:pt x="1365" y="854"/>
                  </a:lnTo>
                  <a:lnTo>
                    <a:pt x="1362" y="851"/>
                  </a:lnTo>
                  <a:lnTo>
                    <a:pt x="1360" y="851"/>
                  </a:lnTo>
                  <a:lnTo>
                    <a:pt x="1358" y="849"/>
                  </a:lnTo>
                  <a:lnTo>
                    <a:pt x="1357" y="849"/>
                  </a:lnTo>
                  <a:lnTo>
                    <a:pt x="1353" y="849"/>
                  </a:lnTo>
                  <a:lnTo>
                    <a:pt x="1352" y="849"/>
                  </a:lnTo>
                  <a:lnTo>
                    <a:pt x="1350" y="848"/>
                  </a:lnTo>
                  <a:lnTo>
                    <a:pt x="1352" y="848"/>
                  </a:lnTo>
                  <a:lnTo>
                    <a:pt x="1353" y="849"/>
                  </a:lnTo>
                  <a:lnTo>
                    <a:pt x="1353" y="848"/>
                  </a:lnTo>
                  <a:lnTo>
                    <a:pt x="1352" y="848"/>
                  </a:lnTo>
                  <a:lnTo>
                    <a:pt x="1353" y="848"/>
                  </a:lnTo>
                  <a:lnTo>
                    <a:pt x="1352" y="848"/>
                  </a:lnTo>
                  <a:lnTo>
                    <a:pt x="1353" y="848"/>
                  </a:lnTo>
                  <a:lnTo>
                    <a:pt x="1355" y="849"/>
                  </a:lnTo>
                  <a:lnTo>
                    <a:pt x="1355" y="848"/>
                  </a:lnTo>
                  <a:lnTo>
                    <a:pt x="1357" y="848"/>
                  </a:lnTo>
                  <a:lnTo>
                    <a:pt x="1355" y="848"/>
                  </a:lnTo>
                  <a:lnTo>
                    <a:pt x="1355" y="846"/>
                  </a:lnTo>
                  <a:lnTo>
                    <a:pt x="1357" y="846"/>
                  </a:lnTo>
                  <a:lnTo>
                    <a:pt x="1358" y="848"/>
                  </a:lnTo>
                  <a:lnTo>
                    <a:pt x="1358" y="849"/>
                  </a:lnTo>
                  <a:lnTo>
                    <a:pt x="1360" y="849"/>
                  </a:lnTo>
                  <a:lnTo>
                    <a:pt x="1358" y="849"/>
                  </a:lnTo>
                  <a:lnTo>
                    <a:pt x="1358" y="848"/>
                  </a:lnTo>
                  <a:lnTo>
                    <a:pt x="1357" y="846"/>
                  </a:lnTo>
                  <a:lnTo>
                    <a:pt x="1355" y="846"/>
                  </a:lnTo>
                  <a:lnTo>
                    <a:pt x="1357" y="846"/>
                  </a:lnTo>
                  <a:lnTo>
                    <a:pt x="1355" y="846"/>
                  </a:lnTo>
                  <a:lnTo>
                    <a:pt x="1353" y="846"/>
                  </a:lnTo>
                  <a:lnTo>
                    <a:pt x="1352" y="848"/>
                  </a:lnTo>
                  <a:lnTo>
                    <a:pt x="1350" y="848"/>
                  </a:lnTo>
                  <a:lnTo>
                    <a:pt x="1349" y="846"/>
                  </a:lnTo>
                  <a:lnTo>
                    <a:pt x="1347" y="846"/>
                  </a:lnTo>
                  <a:lnTo>
                    <a:pt x="1345" y="846"/>
                  </a:lnTo>
                  <a:lnTo>
                    <a:pt x="1345" y="844"/>
                  </a:lnTo>
                  <a:lnTo>
                    <a:pt x="1340" y="844"/>
                  </a:lnTo>
                  <a:lnTo>
                    <a:pt x="1339" y="844"/>
                  </a:lnTo>
                  <a:lnTo>
                    <a:pt x="1339" y="843"/>
                  </a:lnTo>
                  <a:lnTo>
                    <a:pt x="1337" y="843"/>
                  </a:lnTo>
                  <a:lnTo>
                    <a:pt x="1336" y="843"/>
                  </a:lnTo>
                  <a:lnTo>
                    <a:pt x="1334" y="843"/>
                  </a:lnTo>
                  <a:lnTo>
                    <a:pt x="1334" y="841"/>
                  </a:lnTo>
                  <a:lnTo>
                    <a:pt x="1332" y="841"/>
                  </a:lnTo>
                  <a:lnTo>
                    <a:pt x="1331" y="839"/>
                  </a:lnTo>
                  <a:lnTo>
                    <a:pt x="1331" y="841"/>
                  </a:lnTo>
                  <a:lnTo>
                    <a:pt x="1329" y="841"/>
                  </a:lnTo>
                  <a:lnTo>
                    <a:pt x="1329" y="839"/>
                  </a:lnTo>
                  <a:lnTo>
                    <a:pt x="1331" y="839"/>
                  </a:lnTo>
                  <a:lnTo>
                    <a:pt x="1329" y="839"/>
                  </a:lnTo>
                  <a:lnTo>
                    <a:pt x="1331" y="839"/>
                  </a:lnTo>
                  <a:lnTo>
                    <a:pt x="1329" y="839"/>
                  </a:lnTo>
                  <a:lnTo>
                    <a:pt x="1331" y="839"/>
                  </a:lnTo>
                  <a:lnTo>
                    <a:pt x="1329" y="839"/>
                  </a:lnTo>
                  <a:lnTo>
                    <a:pt x="1329" y="838"/>
                  </a:lnTo>
                  <a:lnTo>
                    <a:pt x="1327" y="838"/>
                  </a:lnTo>
                  <a:lnTo>
                    <a:pt x="1326" y="838"/>
                  </a:lnTo>
                  <a:lnTo>
                    <a:pt x="1324" y="838"/>
                  </a:lnTo>
                  <a:lnTo>
                    <a:pt x="1324" y="839"/>
                  </a:lnTo>
                  <a:lnTo>
                    <a:pt x="1322" y="839"/>
                  </a:lnTo>
                  <a:lnTo>
                    <a:pt x="1324" y="839"/>
                  </a:lnTo>
                  <a:lnTo>
                    <a:pt x="1324" y="838"/>
                  </a:lnTo>
                  <a:lnTo>
                    <a:pt x="1322" y="838"/>
                  </a:lnTo>
                  <a:lnTo>
                    <a:pt x="1322" y="839"/>
                  </a:lnTo>
                  <a:lnTo>
                    <a:pt x="1321" y="839"/>
                  </a:lnTo>
                  <a:lnTo>
                    <a:pt x="1319" y="838"/>
                  </a:lnTo>
                  <a:lnTo>
                    <a:pt x="1318" y="838"/>
                  </a:lnTo>
                  <a:lnTo>
                    <a:pt x="1314" y="839"/>
                  </a:lnTo>
                  <a:lnTo>
                    <a:pt x="1311" y="838"/>
                  </a:lnTo>
                  <a:lnTo>
                    <a:pt x="1309" y="838"/>
                  </a:lnTo>
                  <a:lnTo>
                    <a:pt x="1308" y="836"/>
                  </a:lnTo>
                  <a:lnTo>
                    <a:pt x="1306" y="836"/>
                  </a:lnTo>
                  <a:lnTo>
                    <a:pt x="1303" y="834"/>
                  </a:lnTo>
                  <a:lnTo>
                    <a:pt x="1303" y="833"/>
                  </a:lnTo>
                  <a:lnTo>
                    <a:pt x="1301" y="833"/>
                  </a:lnTo>
                  <a:lnTo>
                    <a:pt x="1301" y="831"/>
                  </a:lnTo>
                  <a:lnTo>
                    <a:pt x="1301" y="833"/>
                  </a:lnTo>
                  <a:lnTo>
                    <a:pt x="1300" y="833"/>
                  </a:lnTo>
                  <a:lnTo>
                    <a:pt x="1298" y="833"/>
                  </a:lnTo>
                  <a:lnTo>
                    <a:pt x="1295" y="833"/>
                  </a:lnTo>
                  <a:lnTo>
                    <a:pt x="1292" y="831"/>
                  </a:lnTo>
                  <a:lnTo>
                    <a:pt x="1290" y="831"/>
                  </a:lnTo>
                  <a:lnTo>
                    <a:pt x="1287" y="831"/>
                  </a:lnTo>
                  <a:lnTo>
                    <a:pt x="1283" y="831"/>
                  </a:lnTo>
                  <a:lnTo>
                    <a:pt x="1280" y="831"/>
                  </a:lnTo>
                  <a:lnTo>
                    <a:pt x="1280" y="833"/>
                  </a:lnTo>
                  <a:lnTo>
                    <a:pt x="1279" y="833"/>
                  </a:lnTo>
                  <a:lnTo>
                    <a:pt x="1277" y="833"/>
                  </a:lnTo>
                  <a:lnTo>
                    <a:pt x="1274" y="833"/>
                  </a:lnTo>
                  <a:lnTo>
                    <a:pt x="1272" y="833"/>
                  </a:lnTo>
                  <a:lnTo>
                    <a:pt x="1270" y="833"/>
                  </a:lnTo>
                  <a:lnTo>
                    <a:pt x="1269" y="833"/>
                  </a:lnTo>
                  <a:lnTo>
                    <a:pt x="1269" y="831"/>
                  </a:lnTo>
                  <a:lnTo>
                    <a:pt x="1267" y="831"/>
                  </a:lnTo>
                  <a:lnTo>
                    <a:pt x="1266" y="831"/>
                  </a:lnTo>
                  <a:lnTo>
                    <a:pt x="1267" y="831"/>
                  </a:lnTo>
                  <a:lnTo>
                    <a:pt x="1267" y="833"/>
                  </a:lnTo>
                  <a:lnTo>
                    <a:pt x="1267" y="831"/>
                  </a:lnTo>
                  <a:lnTo>
                    <a:pt x="1267" y="833"/>
                  </a:lnTo>
                  <a:lnTo>
                    <a:pt x="1266" y="833"/>
                  </a:lnTo>
                  <a:lnTo>
                    <a:pt x="1264" y="833"/>
                  </a:lnTo>
                  <a:lnTo>
                    <a:pt x="1266" y="833"/>
                  </a:lnTo>
                  <a:lnTo>
                    <a:pt x="1264" y="833"/>
                  </a:lnTo>
                  <a:lnTo>
                    <a:pt x="1262" y="831"/>
                  </a:lnTo>
                  <a:lnTo>
                    <a:pt x="1262" y="833"/>
                  </a:lnTo>
                  <a:lnTo>
                    <a:pt x="1261" y="833"/>
                  </a:lnTo>
                  <a:lnTo>
                    <a:pt x="1259" y="833"/>
                  </a:lnTo>
                  <a:lnTo>
                    <a:pt x="1257" y="833"/>
                  </a:lnTo>
                  <a:lnTo>
                    <a:pt x="1256" y="831"/>
                  </a:lnTo>
                  <a:lnTo>
                    <a:pt x="1254" y="830"/>
                  </a:lnTo>
                  <a:lnTo>
                    <a:pt x="1256" y="831"/>
                  </a:lnTo>
                  <a:lnTo>
                    <a:pt x="1256" y="830"/>
                  </a:lnTo>
                  <a:lnTo>
                    <a:pt x="1254" y="830"/>
                  </a:lnTo>
                  <a:lnTo>
                    <a:pt x="1251" y="826"/>
                  </a:lnTo>
                  <a:lnTo>
                    <a:pt x="1251" y="828"/>
                  </a:lnTo>
                  <a:lnTo>
                    <a:pt x="1251" y="826"/>
                  </a:lnTo>
                  <a:lnTo>
                    <a:pt x="1251" y="825"/>
                  </a:lnTo>
                  <a:lnTo>
                    <a:pt x="1251" y="823"/>
                  </a:lnTo>
                  <a:lnTo>
                    <a:pt x="1249" y="821"/>
                  </a:lnTo>
                  <a:lnTo>
                    <a:pt x="1251" y="821"/>
                  </a:lnTo>
                  <a:lnTo>
                    <a:pt x="1251" y="820"/>
                  </a:lnTo>
                  <a:lnTo>
                    <a:pt x="1253" y="820"/>
                  </a:lnTo>
                  <a:lnTo>
                    <a:pt x="1254" y="820"/>
                  </a:lnTo>
                  <a:lnTo>
                    <a:pt x="1253" y="820"/>
                  </a:lnTo>
                  <a:lnTo>
                    <a:pt x="1254" y="820"/>
                  </a:lnTo>
                  <a:lnTo>
                    <a:pt x="1254" y="818"/>
                  </a:lnTo>
                  <a:lnTo>
                    <a:pt x="1256" y="820"/>
                  </a:lnTo>
                  <a:lnTo>
                    <a:pt x="1256" y="818"/>
                  </a:lnTo>
                  <a:lnTo>
                    <a:pt x="1256" y="817"/>
                  </a:lnTo>
                  <a:lnTo>
                    <a:pt x="1257" y="818"/>
                  </a:lnTo>
                  <a:lnTo>
                    <a:pt x="1257" y="817"/>
                  </a:lnTo>
                  <a:lnTo>
                    <a:pt x="1259" y="817"/>
                  </a:lnTo>
                  <a:lnTo>
                    <a:pt x="1261" y="817"/>
                  </a:lnTo>
                  <a:lnTo>
                    <a:pt x="1262" y="817"/>
                  </a:lnTo>
                  <a:lnTo>
                    <a:pt x="1264" y="817"/>
                  </a:lnTo>
                  <a:lnTo>
                    <a:pt x="1264" y="818"/>
                  </a:lnTo>
                  <a:lnTo>
                    <a:pt x="1266" y="818"/>
                  </a:lnTo>
                  <a:lnTo>
                    <a:pt x="1264" y="818"/>
                  </a:lnTo>
                  <a:lnTo>
                    <a:pt x="1266" y="818"/>
                  </a:lnTo>
                  <a:lnTo>
                    <a:pt x="1266" y="820"/>
                  </a:lnTo>
                  <a:lnTo>
                    <a:pt x="1266" y="818"/>
                  </a:lnTo>
                  <a:lnTo>
                    <a:pt x="1266" y="820"/>
                  </a:lnTo>
                  <a:lnTo>
                    <a:pt x="1267" y="820"/>
                  </a:lnTo>
                  <a:lnTo>
                    <a:pt x="1269" y="820"/>
                  </a:lnTo>
                  <a:lnTo>
                    <a:pt x="1270" y="820"/>
                  </a:lnTo>
                  <a:lnTo>
                    <a:pt x="1272" y="820"/>
                  </a:lnTo>
                  <a:lnTo>
                    <a:pt x="1272" y="821"/>
                  </a:lnTo>
                  <a:lnTo>
                    <a:pt x="1272" y="820"/>
                  </a:lnTo>
                  <a:lnTo>
                    <a:pt x="1270" y="820"/>
                  </a:lnTo>
                  <a:lnTo>
                    <a:pt x="1272" y="820"/>
                  </a:lnTo>
                  <a:lnTo>
                    <a:pt x="1274" y="818"/>
                  </a:lnTo>
                  <a:lnTo>
                    <a:pt x="1274" y="820"/>
                  </a:lnTo>
                  <a:lnTo>
                    <a:pt x="1275" y="820"/>
                  </a:lnTo>
                  <a:lnTo>
                    <a:pt x="1277" y="820"/>
                  </a:lnTo>
                  <a:lnTo>
                    <a:pt x="1279" y="821"/>
                  </a:lnTo>
                  <a:lnTo>
                    <a:pt x="1279" y="820"/>
                  </a:lnTo>
                  <a:lnTo>
                    <a:pt x="1279" y="818"/>
                  </a:lnTo>
                  <a:lnTo>
                    <a:pt x="1280" y="820"/>
                  </a:lnTo>
                  <a:lnTo>
                    <a:pt x="1279" y="818"/>
                  </a:lnTo>
                  <a:lnTo>
                    <a:pt x="1279" y="820"/>
                  </a:lnTo>
                  <a:lnTo>
                    <a:pt x="1279" y="821"/>
                  </a:lnTo>
                  <a:lnTo>
                    <a:pt x="1277" y="820"/>
                  </a:lnTo>
                  <a:lnTo>
                    <a:pt x="1275" y="820"/>
                  </a:lnTo>
                  <a:lnTo>
                    <a:pt x="1274" y="818"/>
                  </a:lnTo>
                  <a:lnTo>
                    <a:pt x="1272" y="820"/>
                  </a:lnTo>
                  <a:lnTo>
                    <a:pt x="1270" y="820"/>
                  </a:lnTo>
                  <a:lnTo>
                    <a:pt x="1269" y="820"/>
                  </a:lnTo>
                  <a:lnTo>
                    <a:pt x="1269" y="818"/>
                  </a:lnTo>
                  <a:lnTo>
                    <a:pt x="1270" y="818"/>
                  </a:lnTo>
                  <a:lnTo>
                    <a:pt x="1272" y="818"/>
                  </a:lnTo>
                  <a:lnTo>
                    <a:pt x="1272" y="817"/>
                  </a:lnTo>
                  <a:lnTo>
                    <a:pt x="1272" y="818"/>
                  </a:lnTo>
                  <a:lnTo>
                    <a:pt x="1272" y="817"/>
                  </a:lnTo>
                  <a:lnTo>
                    <a:pt x="1272" y="818"/>
                  </a:lnTo>
                  <a:lnTo>
                    <a:pt x="1270" y="818"/>
                  </a:lnTo>
                  <a:lnTo>
                    <a:pt x="1269" y="818"/>
                  </a:lnTo>
                  <a:lnTo>
                    <a:pt x="1269" y="820"/>
                  </a:lnTo>
                  <a:lnTo>
                    <a:pt x="1269" y="818"/>
                  </a:lnTo>
                  <a:lnTo>
                    <a:pt x="1269" y="820"/>
                  </a:lnTo>
                  <a:lnTo>
                    <a:pt x="1267" y="820"/>
                  </a:lnTo>
                  <a:lnTo>
                    <a:pt x="1266" y="820"/>
                  </a:lnTo>
                  <a:lnTo>
                    <a:pt x="1267" y="820"/>
                  </a:lnTo>
                  <a:lnTo>
                    <a:pt x="1267" y="818"/>
                  </a:lnTo>
                  <a:lnTo>
                    <a:pt x="1267" y="820"/>
                  </a:lnTo>
                  <a:lnTo>
                    <a:pt x="1266" y="818"/>
                  </a:lnTo>
                  <a:lnTo>
                    <a:pt x="1267" y="818"/>
                  </a:lnTo>
                  <a:lnTo>
                    <a:pt x="1266" y="818"/>
                  </a:lnTo>
                  <a:lnTo>
                    <a:pt x="1267" y="818"/>
                  </a:lnTo>
                  <a:lnTo>
                    <a:pt x="1269" y="817"/>
                  </a:lnTo>
                  <a:lnTo>
                    <a:pt x="1266" y="818"/>
                  </a:lnTo>
                  <a:lnTo>
                    <a:pt x="1266" y="817"/>
                  </a:lnTo>
                  <a:lnTo>
                    <a:pt x="1264" y="817"/>
                  </a:lnTo>
                  <a:lnTo>
                    <a:pt x="1262" y="817"/>
                  </a:lnTo>
                  <a:lnTo>
                    <a:pt x="1262" y="815"/>
                  </a:lnTo>
                  <a:lnTo>
                    <a:pt x="1262" y="817"/>
                  </a:lnTo>
                  <a:lnTo>
                    <a:pt x="1262" y="815"/>
                  </a:lnTo>
                  <a:lnTo>
                    <a:pt x="1261" y="815"/>
                  </a:lnTo>
                  <a:lnTo>
                    <a:pt x="1261" y="817"/>
                  </a:lnTo>
                  <a:lnTo>
                    <a:pt x="1257" y="817"/>
                  </a:lnTo>
                  <a:lnTo>
                    <a:pt x="1256" y="817"/>
                  </a:lnTo>
                  <a:lnTo>
                    <a:pt x="1257" y="817"/>
                  </a:lnTo>
                  <a:lnTo>
                    <a:pt x="1256" y="817"/>
                  </a:lnTo>
                  <a:lnTo>
                    <a:pt x="1254" y="817"/>
                  </a:lnTo>
                  <a:lnTo>
                    <a:pt x="1254" y="818"/>
                  </a:lnTo>
                  <a:lnTo>
                    <a:pt x="1254" y="820"/>
                  </a:lnTo>
                  <a:lnTo>
                    <a:pt x="1253" y="820"/>
                  </a:lnTo>
                  <a:lnTo>
                    <a:pt x="1251" y="820"/>
                  </a:lnTo>
                  <a:lnTo>
                    <a:pt x="1251" y="818"/>
                  </a:lnTo>
                  <a:lnTo>
                    <a:pt x="1249" y="818"/>
                  </a:lnTo>
                  <a:lnTo>
                    <a:pt x="1249" y="820"/>
                  </a:lnTo>
                  <a:lnTo>
                    <a:pt x="1248" y="818"/>
                  </a:lnTo>
                  <a:lnTo>
                    <a:pt x="1249" y="820"/>
                  </a:lnTo>
                  <a:lnTo>
                    <a:pt x="1248" y="820"/>
                  </a:lnTo>
                  <a:lnTo>
                    <a:pt x="1246" y="820"/>
                  </a:lnTo>
                  <a:lnTo>
                    <a:pt x="1246" y="818"/>
                  </a:lnTo>
                  <a:lnTo>
                    <a:pt x="1244" y="817"/>
                  </a:lnTo>
                  <a:lnTo>
                    <a:pt x="1241" y="817"/>
                  </a:lnTo>
                  <a:lnTo>
                    <a:pt x="1240" y="817"/>
                  </a:lnTo>
                  <a:lnTo>
                    <a:pt x="1238" y="817"/>
                  </a:lnTo>
                  <a:lnTo>
                    <a:pt x="1236" y="817"/>
                  </a:lnTo>
                  <a:lnTo>
                    <a:pt x="1235" y="818"/>
                  </a:lnTo>
                  <a:lnTo>
                    <a:pt x="1233" y="820"/>
                  </a:lnTo>
                  <a:lnTo>
                    <a:pt x="1230" y="820"/>
                  </a:lnTo>
                  <a:lnTo>
                    <a:pt x="1227" y="821"/>
                  </a:lnTo>
                  <a:lnTo>
                    <a:pt x="1225" y="821"/>
                  </a:lnTo>
                  <a:lnTo>
                    <a:pt x="1227" y="821"/>
                  </a:lnTo>
                  <a:lnTo>
                    <a:pt x="1225" y="821"/>
                  </a:lnTo>
                  <a:lnTo>
                    <a:pt x="1222" y="821"/>
                  </a:lnTo>
                  <a:lnTo>
                    <a:pt x="1222" y="820"/>
                  </a:lnTo>
                  <a:lnTo>
                    <a:pt x="1220" y="820"/>
                  </a:lnTo>
                  <a:lnTo>
                    <a:pt x="1222" y="818"/>
                  </a:lnTo>
                  <a:lnTo>
                    <a:pt x="1220" y="818"/>
                  </a:lnTo>
                  <a:lnTo>
                    <a:pt x="1220" y="820"/>
                  </a:lnTo>
                  <a:lnTo>
                    <a:pt x="1220" y="818"/>
                  </a:lnTo>
                  <a:lnTo>
                    <a:pt x="1220" y="820"/>
                  </a:lnTo>
                  <a:lnTo>
                    <a:pt x="1222" y="820"/>
                  </a:lnTo>
                  <a:lnTo>
                    <a:pt x="1222" y="821"/>
                  </a:lnTo>
                  <a:lnTo>
                    <a:pt x="1218" y="823"/>
                  </a:lnTo>
                  <a:lnTo>
                    <a:pt x="1214" y="825"/>
                  </a:lnTo>
                  <a:lnTo>
                    <a:pt x="1212" y="823"/>
                  </a:lnTo>
                  <a:lnTo>
                    <a:pt x="1210" y="823"/>
                  </a:lnTo>
                  <a:lnTo>
                    <a:pt x="1207" y="821"/>
                  </a:lnTo>
                  <a:lnTo>
                    <a:pt x="1205" y="820"/>
                  </a:lnTo>
                  <a:lnTo>
                    <a:pt x="1207" y="821"/>
                  </a:lnTo>
                  <a:lnTo>
                    <a:pt x="1209" y="821"/>
                  </a:lnTo>
                  <a:lnTo>
                    <a:pt x="1207" y="821"/>
                  </a:lnTo>
                  <a:lnTo>
                    <a:pt x="1207" y="820"/>
                  </a:lnTo>
                  <a:lnTo>
                    <a:pt x="1205" y="818"/>
                  </a:lnTo>
                  <a:lnTo>
                    <a:pt x="1205" y="817"/>
                  </a:lnTo>
                  <a:lnTo>
                    <a:pt x="1204" y="817"/>
                  </a:lnTo>
                  <a:lnTo>
                    <a:pt x="1204" y="815"/>
                  </a:lnTo>
                  <a:lnTo>
                    <a:pt x="1202" y="813"/>
                  </a:lnTo>
                  <a:lnTo>
                    <a:pt x="1199" y="812"/>
                  </a:lnTo>
                  <a:lnTo>
                    <a:pt x="1197" y="808"/>
                  </a:lnTo>
                  <a:lnTo>
                    <a:pt x="1196" y="807"/>
                  </a:lnTo>
                  <a:lnTo>
                    <a:pt x="1196" y="805"/>
                  </a:lnTo>
                  <a:lnTo>
                    <a:pt x="1197" y="804"/>
                  </a:lnTo>
                  <a:lnTo>
                    <a:pt x="1197" y="800"/>
                  </a:lnTo>
                  <a:lnTo>
                    <a:pt x="1197" y="802"/>
                  </a:lnTo>
                  <a:lnTo>
                    <a:pt x="1199" y="802"/>
                  </a:lnTo>
                  <a:lnTo>
                    <a:pt x="1199" y="804"/>
                  </a:lnTo>
                  <a:lnTo>
                    <a:pt x="1201" y="804"/>
                  </a:lnTo>
                  <a:lnTo>
                    <a:pt x="1199" y="802"/>
                  </a:lnTo>
                  <a:lnTo>
                    <a:pt x="1199" y="800"/>
                  </a:lnTo>
                  <a:lnTo>
                    <a:pt x="1197" y="800"/>
                  </a:lnTo>
                  <a:lnTo>
                    <a:pt x="1197" y="799"/>
                  </a:lnTo>
                  <a:lnTo>
                    <a:pt x="1196" y="797"/>
                  </a:lnTo>
                  <a:lnTo>
                    <a:pt x="1197" y="797"/>
                  </a:lnTo>
                  <a:lnTo>
                    <a:pt x="1196" y="797"/>
                  </a:lnTo>
                  <a:lnTo>
                    <a:pt x="1194" y="795"/>
                  </a:lnTo>
                  <a:lnTo>
                    <a:pt x="1192" y="795"/>
                  </a:lnTo>
                  <a:lnTo>
                    <a:pt x="1191" y="794"/>
                  </a:lnTo>
                  <a:lnTo>
                    <a:pt x="1188" y="792"/>
                  </a:lnTo>
                  <a:lnTo>
                    <a:pt x="1186" y="791"/>
                  </a:lnTo>
                  <a:lnTo>
                    <a:pt x="1184" y="789"/>
                  </a:lnTo>
                  <a:lnTo>
                    <a:pt x="1183" y="787"/>
                  </a:lnTo>
                  <a:lnTo>
                    <a:pt x="1179" y="787"/>
                  </a:lnTo>
                  <a:lnTo>
                    <a:pt x="1178" y="787"/>
                  </a:lnTo>
                  <a:lnTo>
                    <a:pt x="1178" y="786"/>
                  </a:lnTo>
                  <a:lnTo>
                    <a:pt x="1176" y="786"/>
                  </a:lnTo>
                  <a:lnTo>
                    <a:pt x="1174" y="784"/>
                  </a:lnTo>
                  <a:lnTo>
                    <a:pt x="1173" y="784"/>
                  </a:lnTo>
                  <a:lnTo>
                    <a:pt x="1173" y="781"/>
                  </a:lnTo>
                  <a:lnTo>
                    <a:pt x="1171" y="778"/>
                  </a:lnTo>
                  <a:lnTo>
                    <a:pt x="1173" y="779"/>
                  </a:lnTo>
                  <a:lnTo>
                    <a:pt x="1173" y="778"/>
                  </a:lnTo>
                  <a:lnTo>
                    <a:pt x="1171" y="778"/>
                  </a:lnTo>
                  <a:lnTo>
                    <a:pt x="1171" y="776"/>
                  </a:lnTo>
                  <a:lnTo>
                    <a:pt x="1170" y="774"/>
                  </a:lnTo>
                  <a:lnTo>
                    <a:pt x="1170" y="773"/>
                  </a:lnTo>
                  <a:lnTo>
                    <a:pt x="1171" y="773"/>
                  </a:lnTo>
                  <a:lnTo>
                    <a:pt x="1171" y="771"/>
                  </a:lnTo>
                  <a:lnTo>
                    <a:pt x="1170" y="769"/>
                  </a:lnTo>
                  <a:lnTo>
                    <a:pt x="1171" y="769"/>
                  </a:lnTo>
                  <a:lnTo>
                    <a:pt x="1171" y="771"/>
                  </a:lnTo>
                  <a:lnTo>
                    <a:pt x="1171" y="773"/>
                  </a:lnTo>
                  <a:lnTo>
                    <a:pt x="1173" y="773"/>
                  </a:lnTo>
                  <a:lnTo>
                    <a:pt x="1173" y="774"/>
                  </a:lnTo>
                  <a:lnTo>
                    <a:pt x="1171" y="773"/>
                  </a:lnTo>
                  <a:lnTo>
                    <a:pt x="1173" y="773"/>
                  </a:lnTo>
                  <a:lnTo>
                    <a:pt x="1173" y="771"/>
                  </a:lnTo>
                  <a:lnTo>
                    <a:pt x="1173" y="773"/>
                  </a:lnTo>
                  <a:lnTo>
                    <a:pt x="1173" y="771"/>
                  </a:lnTo>
                  <a:lnTo>
                    <a:pt x="1173" y="769"/>
                  </a:lnTo>
                  <a:lnTo>
                    <a:pt x="1171" y="769"/>
                  </a:lnTo>
                  <a:lnTo>
                    <a:pt x="1170" y="769"/>
                  </a:lnTo>
                  <a:lnTo>
                    <a:pt x="1168" y="766"/>
                  </a:lnTo>
                  <a:lnTo>
                    <a:pt x="1165" y="765"/>
                  </a:lnTo>
                  <a:lnTo>
                    <a:pt x="1163" y="765"/>
                  </a:lnTo>
                  <a:lnTo>
                    <a:pt x="1161" y="765"/>
                  </a:lnTo>
                  <a:lnTo>
                    <a:pt x="1160" y="766"/>
                  </a:lnTo>
                  <a:lnTo>
                    <a:pt x="1158" y="766"/>
                  </a:lnTo>
                  <a:lnTo>
                    <a:pt x="1157" y="766"/>
                  </a:lnTo>
                  <a:lnTo>
                    <a:pt x="1155" y="763"/>
                  </a:lnTo>
                  <a:lnTo>
                    <a:pt x="1153" y="761"/>
                  </a:lnTo>
                  <a:lnTo>
                    <a:pt x="1152" y="761"/>
                  </a:lnTo>
                  <a:lnTo>
                    <a:pt x="1150" y="761"/>
                  </a:lnTo>
                  <a:lnTo>
                    <a:pt x="1148" y="761"/>
                  </a:lnTo>
                  <a:lnTo>
                    <a:pt x="1147" y="765"/>
                  </a:lnTo>
                  <a:lnTo>
                    <a:pt x="1145" y="765"/>
                  </a:lnTo>
                  <a:lnTo>
                    <a:pt x="1144" y="766"/>
                  </a:lnTo>
                  <a:lnTo>
                    <a:pt x="1142" y="766"/>
                  </a:lnTo>
                  <a:lnTo>
                    <a:pt x="1140" y="765"/>
                  </a:lnTo>
                  <a:lnTo>
                    <a:pt x="1139" y="765"/>
                  </a:lnTo>
                  <a:lnTo>
                    <a:pt x="1137" y="761"/>
                  </a:lnTo>
                  <a:lnTo>
                    <a:pt x="1135" y="761"/>
                  </a:lnTo>
                  <a:lnTo>
                    <a:pt x="1135" y="760"/>
                  </a:lnTo>
                  <a:lnTo>
                    <a:pt x="1132" y="760"/>
                  </a:lnTo>
                  <a:lnTo>
                    <a:pt x="1131" y="760"/>
                  </a:lnTo>
                  <a:lnTo>
                    <a:pt x="1129" y="760"/>
                  </a:lnTo>
                  <a:lnTo>
                    <a:pt x="1129" y="758"/>
                  </a:lnTo>
                  <a:lnTo>
                    <a:pt x="1129" y="756"/>
                  </a:lnTo>
                  <a:lnTo>
                    <a:pt x="1129" y="752"/>
                  </a:lnTo>
                  <a:lnTo>
                    <a:pt x="1129" y="750"/>
                  </a:lnTo>
                  <a:lnTo>
                    <a:pt x="1129" y="748"/>
                  </a:lnTo>
                  <a:lnTo>
                    <a:pt x="1131" y="747"/>
                  </a:lnTo>
                  <a:lnTo>
                    <a:pt x="1131" y="745"/>
                  </a:lnTo>
                  <a:lnTo>
                    <a:pt x="1132" y="742"/>
                  </a:lnTo>
                  <a:lnTo>
                    <a:pt x="1134" y="740"/>
                  </a:lnTo>
                  <a:lnTo>
                    <a:pt x="1134" y="739"/>
                  </a:lnTo>
                  <a:lnTo>
                    <a:pt x="1134" y="735"/>
                  </a:lnTo>
                  <a:lnTo>
                    <a:pt x="1132" y="734"/>
                  </a:lnTo>
                  <a:lnTo>
                    <a:pt x="1132" y="732"/>
                  </a:lnTo>
                  <a:lnTo>
                    <a:pt x="1131" y="732"/>
                  </a:lnTo>
                  <a:lnTo>
                    <a:pt x="1129" y="732"/>
                  </a:lnTo>
                  <a:lnTo>
                    <a:pt x="1129" y="730"/>
                  </a:lnTo>
                  <a:lnTo>
                    <a:pt x="1131" y="729"/>
                  </a:lnTo>
                  <a:lnTo>
                    <a:pt x="1131" y="724"/>
                  </a:lnTo>
                  <a:lnTo>
                    <a:pt x="1131" y="721"/>
                  </a:lnTo>
                  <a:lnTo>
                    <a:pt x="1131" y="719"/>
                  </a:lnTo>
                  <a:lnTo>
                    <a:pt x="1131" y="716"/>
                  </a:lnTo>
                  <a:lnTo>
                    <a:pt x="1132" y="716"/>
                  </a:lnTo>
                  <a:lnTo>
                    <a:pt x="1132" y="714"/>
                  </a:lnTo>
                  <a:lnTo>
                    <a:pt x="1131" y="713"/>
                  </a:lnTo>
                  <a:lnTo>
                    <a:pt x="1129" y="713"/>
                  </a:lnTo>
                  <a:lnTo>
                    <a:pt x="1127" y="713"/>
                  </a:lnTo>
                  <a:lnTo>
                    <a:pt x="1126" y="713"/>
                  </a:lnTo>
                  <a:lnTo>
                    <a:pt x="1124" y="713"/>
                  </a:lnTo>
                  <a:lnTo>
                    <a:pt x="1124" y="709"/>
                  </a:lnTo>
                  <a:lnTo>
                    <a:pt x="1124" y="708"/>
                  </a:lnTo>
                  <a:lnTo>
                    <a:pt x="1122" y="704"/>
                  </a:lnTo>
                  <a:lnTo>
                    <a:pt x="1122" y="703"/>
                  </a:lnTo>
                  <a:lnTo>
                    <a:pt x="1122" y="701"/>
                  </a:lnTo>
                  <a:lnTo>
                    <a:pt x="1126" y="698"/>
                  </a:lnTo>
                  <a:lnTo>
                    <a:pt x="1127" y="696"/>
                  </a:lnTo>
                  <a:lnTo>
                    <a:pt x="1129" y="695"/>
                  </a:lnTo>
                  <a:lnTo>
                    <a:pt x="1131" y="696"/>
                  </a:lnTo>
                  <a:lnTo>
                    <a:pt x="1131" y="695"/>
                  </a:lnTo>
                  <a:lnTo>
                    <a:pt x="1132" y="695"/>
                  </a:lnTo>
                  <a:lnTo>
                    <a:pt x="1132" y="693"/>
                  </a:lnTo>
                  <a:lnTo>
                    <a:pt x="1134" y="693"/>
                  </a:lnTo>
                  <a:lnTo>
                    <a:pt x="1135" y="693"/>
                  </a:lnTo>
                  <a:lnTo>
                    <a:pt x="1139" y="691"/>
                  </a:lnTo>
                  <a:lnTo>
                    <a:pt x="1140" y="691"/>
                  </a:lnTo>
                  <a:lnTo>
                    <a:pt x="1142" y="690"/>
                  </a:lnTo>
                  <a:lnTo>
                    <a:pt x="1144" y="690"/>
                  </a:lnTo>
                  <a:lnTo>
                    <a:pt x="1145" y="690"/>
                  </a:lnTo>
                  <a:lnTo>
                    <a:pt x="1145" y="688"/>
                  </a:lnTo>
                  <a:lnTo>
                    <a:pt x="1147" y="686"/>
                  </a:lnTo>
                  <a:lnTo>
                    <a:pt x="1147" y="685"/>
                  </a:lnTo>
                  <a:lnTo>
                    <a:pt x="1148" y="682"/>
                  </a:lnTo>
                  <a:lnTo>
                    <a:pt x="1148" y="680"/>
                  </a:lnTo>
                  <a:lnTo>
                    <a:pt x="1150" y="677"/>
                  </a:lnTo>
                  <a:lnTo>
                    <a:pt x="1150" y="675"/>
                  </a:lnTo>
                  <a:lnTo>
                    <a:pt x="1150" y="673"/>
                  </a:lnTo>
                  <a:lnTo>
                    <a:pt x="1152" y="672"/>
                  </a:lnTo>
                  <a:lnTo>
                    <a:pt x="1155" y="670"/>
                  </a:lnTo>
                  <a:lnTo>
                    <a:pt x="1155" y="669"/>
                  </a:lnTo>
                  <a:lnTo>
                    <a:pt x="1157" y="669"/>
                  </a:lnTo>
                  <a:lnTo>
                    <a:pt x="1157" y="667"/>
                  </a:lnTo>
                  <a:lnTo>
                    <a:pt x="1158" y="667"/>
                  </a:lnTo>
                  <a:lnTo>
                    <a:pt x="1163" y="664"/>
                  </a:lnTo>
                  <a:lnTo>
                    <a:pt x="1165" y="660"/>
                  </a:lnTo>
                  <a:lnTo>
                    <a:pt x="1166" y="659"/>
                  </a:lnTo>
                  <a:lnTo>
                    <a:pt x="1168" y="659"/>
                  </a:lnTo>
                  <a:lnTo>
                    <a:pt x="1166" y="659"/>
                  </a:lnTo>
                  <a:lnTo>
                    <a:pt x="1170" y="657"/>
                  </a:lnTo>
                  <a:lnTo>
                    <a:pt x="1171" y="656"/>
                  </a:lnTo>
                  <a:lnTo>
                    <a:pt x="1171" y="654"/>
                  </a:lnTo>
                  <a:lnTo>
                    <a:pt x="1173" y="652"/>
                  </a:lnTo>
                  <a:lnTo>
                    <a:pt x="1173" y="651"/>
                  </a:lnTo>
                  <a:lnTo>
                    <a:pt x="1174" y="649"/>
                  </a:lnTo>
                  <a:lnTo>
                    <a:pt x="1176" y="649"/>
                  </a:lnTo>
                  <a:lnTo>
                    <a:pt x="1178" y="646"/>
                  </a:lnTo>
                  <a:lnTo>
                    <a:pt x="1178" y="644"/>
                  </a:lnTo>
                  <a:lnTo>
                    <a:pt x="1178" y="643"/>
                  </a:lnTo>
                  <a:lnTo>
                    <a:pt x="1179" y="639"/>
                  </a:lnTo>
                  <a:lnTo>
                    <a:pt x="1179" y="638"/>
                  </a:lnTo>
                  <a:lnTo>
                    <a:pt x="1181" y="636"/>
                  </a:lnTo>
                  <a:lnTo>
                    <a:pt x="1179" y="636"/>
                  </a:lnTo>
                  <a:lnTo>
                    <a:pt x="1181" y="634"/>
                  </a:lnTo>
                  <a:lnTo>
                    <a:pt x="1181" y="633"/>
                  </a:lnTo>
                  <a:lnTo>
                    <a:pt x="1183" y="630"/>
                  </a:lnTo>
                  <a:lnTo>
                    <a:pt x="1183" y="628"/>
                  </a:lnTo>
                  <a:lnTo>
                    <a:pt x="1183" y="626"/>
                  </a:lnTo>
                  <a:lnTo>
                    <a:pt x="1183" y="625"/>
                  </a:lnTo>
                  <a:lnTo>
                    <a:pt x="1181" y="623"/>
                  </a:lnTo>
                  <a:lnTo>
                    <a:pt x="1181" y="625"/>
                  </a:lnTo>
                  <a:lnTo>
                    <a:pt x="1179" y="623"/>
                  </a:lnTo>
                  <a:lnTo>
                    <a:pt x="1178" y="621"/>
                  </a:lnTo>
                  <a:lnTo>
                    <a:pt x="1178" y="618"/>
                  </a:lnTo>
                  <a:lnTo>
                    <a:pt x="1179" y="615"/>
                  </a:lnTo>
                  <a:lnTo>
                    <a:pt x="1179" y="617"/>
                  </a:lnTo>
                  <a:lnTo>
                    <a:pt x="1179" y="615"/>
                  </a:lnTo>
                  <a:lnTo>
                    <a:pt x="1178" y="615"/>
                  </a:lnTo>
                  <a:lnTo>
                    <a:pt x="1179" y="613"/>
                  </a:lnTo>
                  <a:lnTo>
                    <a:pt x="1179" y="615"/>
                  </a:lnTo>
                  <a:lnTo>
                    <a:pt x="1179" y="613"/>
                  </a:lnTo>
                  <a:lnTo>
                    <a:pt x="1178" y="612"/>
                  </a:lnTo>
                  <a:lnTo>
                    <a:pt x="1178" y="610"/>
                  </a:lnTo>
                  <a:lnTo>
                    <a:pt x="1176" y="608"/>
                  </a:lnTo>
                  <a:lnTo>
                    <a:pt x="1176" y="607"/>
                  </a:lnTo>
                  <a:lnTo>
                    <a:pt x="1176" y="605"/>
                  </a:lnTo>
                  <a:lnTo>
                    <a:pt x="1174" y="605"/>
                  </a:lnTo>
                  <a:lnTo>
                    <a:pt x="1174" y="604"/>
                  </a:lnTo>
                  <a:lnTo>
                    <a:pt x="1174" y="602"/>
                  </a:lnTo>
                  <a:lnTo>
                    <a:pt x="1174" y="600"/>
                  </a:lnTo>
                  <a:lnTo>
                    <a:pt x="1174" y="599"/>
                  </a:lnTo>
                  <a:lnTo>
                    <a:pt x="1174" y="597"/>
                  </a:lnTo>
                  <a:lnTo>
                    <a:pt x="1176" y="595"/>
                  </a:lnTo>
                  <a:lnTo>
                    <a:pt x="1176" y="594"/>
                  </a:lnTo>
                  <a:lnTo>
                    <a:pt x="1176" y="592"/>
                  </a:lnTo>
                  <a:lnTo>
                    <a:pt x="1176" y="591"/>
                  </a:lnTo>
                  <a:lnTo>
                    <a:pt x="1176" y="589"/>
                  </a:lnTo>
                  <a:lnTo>
                    <a:pt x="1176" y="587"/>
                  </a:lnTo>
                  <a:lnTo>
                    <a:pt x="1176" y="586"/>
                  </a:lnTo>
                  <a:lnTo>
                    <a:pt x="1176" y="584"/>
                  </a:lnTo>
                  <a:lnTo>
                    <a:pt x="1176" y="582"/>
                  </a:lnTo>
                  <a:lnTo>
                    <a:pt x="1174" y="582"/>
                  </a:lnTo>
                  <a:lnTo>
                    <a:pt x="1174" y="581"/>
                  </a:lnTo>
                  <a:lnTo>
                    <a:pt x="1173" y="579"/>
                  </a:lnTo>
                  <a:lnTo>
                    <a:pt x="1173" y="578"/>
                  </a:lnTo>
                  <a:lnTo>
                    <a:pt x="1171" y="578"/>
                  </a:lnTo>
                  <a:lnTo>
                    <a:pt x="1173" y="576"/>
                  </a:lnTo>
                  <a:lnTo>
                    <a:pt x="1174" y="576"/>
                  </a:lnTo>
                  <a:lnTo>
                    <a:pt x="1176" y="576"/>
                  </a:lnTo>
                  <a:lnTo>
                    <a:pt x="1178" y="574"/>
                  </a:lnTo>
                  <a:lnTo>
                    <a:pt x="1178" y="573"/>
                  </a:lnTo>
                  <a:lnTo>
                    <a:pt x="1179" y="573"/>
                  </a:lnTo>
                  <a:lnTo>
                    <a:pt x="1181" y="571"/>
                  </a:lnTo>
                  <a:lnTo>
                    <a:pt x="1184" y="573"/>
                  </a:lnTo>
                  <a:lnTo>
                    <a:pt x="1183" y="571"/>
                  </a:lnTo>
                  <a:lnTo>
                    <a:pt x="1184" y="571"/>
                  </a:lnTo>
                  <a:lnTo>
                    <a:pt x="1184" y="573"/>
                  </a:lnTo>
                  <a:lnTo>
                    <a:pt x="1186" y="571"/>
                  </a:lnTo>
                  <a:lnTo>
                    <a:pt x="1188" y="571"/>
                  </a:lnTo>
                  <a:lnTo>
                    <a:pt x="1186" y="571"/>
                  </a:lnTo>
                  <a:lnTo>
                    <a:pt x="1188" y="571"/>
                  </a:lnTo>
                  <a:lnTo>
                    <a:pt x="1189" y="571"/>
                  </a:lnTo>
                  <a:lnTo>
                    <a:pt x="1189" y="569"/>
                  </a:lnTo>
                  <a:lnTo>
                    <a:pt x="1191" y="569"/>
                  </a:lnTo>
                  <a:lnTo>
                    <a:pt x="1192" y="569"/>
                  </a:lnTo>
                  <a:lnTo>
                    <a:pt x="1194" y="569"/>
                  </a:lnTo>
                  <a:lnTo>
                    <a:pt x="1194" y="568"/>
                  </a:lnTo>
                  <a:lnTo>
                    <a:pt x="1196" y="568"/>
                  </a:lnTo>
                  <a:lnTo>
                    <a:pt x="1196" y="569"/>
                  </a:lnTo>
                  <a:lnTo>
                    <a:pt x="1197" y="569"/>
                  </a:lnTo>
                  <a:lnTo>
                    <a:pt x="1199" y="571"/>
                  </a:lnTo>
                  <a:lnTo>
                    <a:pt x="1197" y="571"/>
                  </a:lnTo>
                  <a:lnTo>
                    <a:pt x="1199" y="571"/>
                  </a:lnTo>
                  <a:lnTo>
                    <a:pt x="1201" y="573"/>
                  </a:lnTo>
                  <a:lnTo>
                    <a:pt x="1202" y="573"/>
                  </a:lnTo>
                  <a:lnTo>
                    <a:pt x="1202" y="574"/>
                  </a:lnTo>
                  <a:lnTo>
                    <a:pt x="1202" y="576"/>
                  </a:lnTo>
                  <a:lnTo>
                    <a:pt x="1204" y="578"/>
                  </a:lnTo>
                  <a:lnTo>
                    <a:pt x="1205" y="578"/>
                  </a:lnTo>
                  <a:lnTo>
                    <a:pt x="1207" y="578"/>
                  </a:lnTo>
                  <a:lnTo>
                    <a:pt x="1205" y="578"/>
                  </a:lnTo>
                  <a:lnTo>
                    <a:pt x="1207" y="578"/>
                  </a:lnTo>
                  <a:lnTo>
                    <a:pt x="1207" y="579"/>
                  </a:lnTo>
                  <a:lnTo>
                    <a:pt x="1209" y="579"/>
                  </a:lnTo>
                  <a:lnTo>
                    <a:pt x="1209" y="582"/>
                  </a:lnTo>
                  <a:lnTo>
                    <a:pt x="1210" y="582"/>
                  </a:lnTo>
                  <a:lnTo>
                    <a:pt x="1212" y="584"/>
                  </a:lnTo>
                  <a:lnTo>
                    <a:pt x="1212" y="582"/>
                  </a:lnTo>
                  <a:lnTo>
                    <a:pt x="1214" y="584"/>
                  </a:lnTo>
                  <a:lnTo>
                    <a:pt x="1212" y="584"/>
                  </a:lnTo>
                  <a:lnTo>
                    <a:pt x="1214" y="584"/>
                  </a:lnTo>
                  <a:lnTo>
                    <a:pt x="1215" y="584"/>
                  </a:lnTo>
                  <a:lnTo>
                    <a:pt x="1217" y="582"/>
                  </a:lnTo>
                  <a:lnTo>
                    <a:pt x="1215" y="582"/>
                  </a:lnTo>
                  <a:lnTo>
                    <a:pt x="1217" y="582"/>
                  </a:lnTo>
                  <a:lnTo>
                    <a:pt x="1217" y="581"/>
                  </a:lnTo>
                  <a:lnTo>
                    <a:pt x="1218" y="581"/>
                  </a:lnTo>
                  <a:lnTo>
                    <a:pt x="1220" y="581"/>
                  </a:lnTo>
                  <a:lnTo>
                    <a:pt x="1222" y="582"/>
                  </a:lnTo>
                  <a:lnTo>
                    <a:pt x="1222" y="584"/>
                  </a:lnTo>
                  <a:lnTo>
                    <a:pt x="1222" y="582"/>
                  </a:lnTo>
                  <a:lnTo>
                    <a:pt x="1223" y="584"/>
                  </a:lnTo>
                  <a:lnTo>
                    <a:pt x="1223" y="586"/>
                  </a:lnTo>
                  <a:lnTo>
                    <a:pt x="1225" y="587"/>
                  </a:lnTo>
                  <a:lnTo>
                    <a:pt x="1223" y="586"/>
                  </a:lnTo>
                  <a:lnTo>
                    <a:pt x="1225" y="587"/>
                  </a:lnTo>
                  <a:lnTo>
                    <a:pt x="1225" y="586"/>
                  </a:lnTo>
                  <a:lnTo>
                    <a:pt x="1227" y="586"/>
                  </a:lnTo>
                  <a:lnTo>
                    <a:pt x="1228" y="586"/>
                  </a:lnTo>
                  <a:lnTo>
                    <a:pt x="1228" y="584"/>
                  </a:lnTo>
                  <a:lnTo>
                    <a:pt x="1230" y="584"/>
                  </a:lnTo>
                  <a:lnTo>
                    <a:pt x="1228" y="584"/>
                  </a:lnTo>
                  <a:lnTo>
                    <a:pt x="1228" y="586"/>
                  </a:lnTo>
                  <a:lnTo>
                    <a:pt x="1227" y="586"/>
                  </a:lnTo>
                  <a:lnTo>
                    <a:pt x="1228" y="586"/>
                  </a:lnTo>
                  <a:lnTo>
                    <a:pt x="1227" y="586"/>
                  </a:lnTo>
                  <a:lnTo>
                    <a:pt x="1225" y="586"/>
                  </a:lnTo>
                  <a:lnTo>
                    <a:pt x="1223" y="586"/>
                  </a:lnTo>
                  <a:lnTo>
                    <a:pt x="1222" y="581"/>
                  </a:lnTo>
                  <a:lnTo>
                    <a:pt x="1220" y="581"/>
                  </a:lnTo>
                  <a:lnTo>
                    <a:pt x="1218" y="581"/>
                  </a:lnTo>
                  <a:lnTo>
                    <a:pt x="1220" y="579"/>
                  </a:lnTo>
                  <a:lnTo>
                    <a:pt x="1218" y="579"/>
                  </a:lnTo>
                  <a:lnTo>
                    <a:pt x="1218" y="581"/>
                  </a:lnTo>
                  <a:lnTo>
                    <a:pt x="1217" y="582"/>
                  </a:lnTo>
                  <a:lnTo>
                    <a:pt x="1215" y="582"/>
                  </a:lnTo>
                  <a:lnTo>
                    <a:pt x="1214" y="582"/>
                  </a:lnTo>
                  <a:lnTo>
                    <a:pt x="1215" y="582"/>
                  </a:lnTo>
                  <a:lnTo>
                    <a:pt x="1215" y="584"/>
                  </a:lnTo>
                  <a:lnTo>
                    <a:pt x="1214" y="582"/>
                  </a:lnTo>
                  <a:lnTo>
                    <a:pt x="1210" y="582"/>
                  </a:lnTo>
                  <a:lnTo>
                    <a:pt x="1209" y="581"/>
                  </a:lnTo>
                  <a:lnTo>
                    <a:pt x="1209" y="579"/>
                  </a:lnTo>
                  <a:lnTo>
                    <a:pt x="1207" y="578"/>
                  </a:lnTo>
                  <a:lnTo>
                    <a:pt x="1205" y="578"/>
                  </a:lnTo>
                  <a:lnTo>
                    <a:pt x="1204" y="578"/>
                  </a:lnTo>
                  <a:lnTo>
                    <a:pt x="1204" y="576"/>
                  </a:lnTo>
                  <a:lnTo>
                    <a:pt x="1204" y="574"/>
                  </a:lnTo>
                  <a:lnTo>
                    <a:pt x="1202" y="574"/>
                  </a:lnTo>
                  <a:lnTo>
                    <a:pt x="1202" y="573"/>
                  </a:lnTo>
                  <a:lnTo>
                    <a:pt x="1201" y="573"/>
                  </a:lnTo>
                  <a:lnTo>
                    <a:pt x="1199" y="573"/>
                  </a:lnTo>
                  <a:lnTo>
                    <a:pt x="1199" y="571"/>
                  </a:lnTo>
                  <a:lnTo>
                    <a:pt x="1197" y="569"/>
                  </a:lnTo>
                  <a:lnTo>
                    <a:pt x="1197" y="568"/>
                  </a:lnTo>
                  <a:lnTo>
                    <a:pt x="1196" y="568"/>
                  </a:lnTo>
                  <a:lnTo>
                    <a:pt x="1192" y="568"/>
                  </a:lnTo>
                  <a:lnTo>
                    <a:pt x="1191" y="568"/>
                  </a:lnTo>
                  <a:lnTo>
                    <a:pt x="1191" y="569"/>
                  </a:lnTo>
                  <a:lnTo>
                    <a:pt x="1189" y="569"/>
                  </a:lnTo>
                  <a:lnTo>
                    <a:pt x="1191" y="568"/>
                  </a:lnTo>
                  <a:lnTo>
                    <a:pt x="1188" y="571"/>
                  </a:lnTo>
                  <a:lnTo>
                    <a:pt x="1186" y="571"/>
                  </a:lnTo>
                  <a:lnTo>
                    <a:pt x="1184" y="571"/>
                  </a:lnTo>
                  <a:lnTo>
                    <a:pt x="1183" y="571"/>
                  </a:lnTo>
                  <a:lnTo>
                    <a:pt x="1181" y="571"/>
                  </a:lnTo>
                  <a:lnTo>
                    <a:pt x="1179" y="571"/>
                  </a:lnTo>
                  <a:lnTo>
                    <a:pt x="1178" y="573"/>
                  </a:lnTo>
                  <a:lnTo>
                    <a:pt x="1176" y="574"/>
                  </a:lnTo>
                  <a:lnTo>
                    <a:pt x="1174" y="574"/>
                  </a:lnTo>
                  <a:lnTo>
                    <a:pt x="1173" y="574"/>
                  </a:lnTo>
                  <a:lnTo>
                    <a:pt x="1171" y="576"/>
                  </a:lnTo>
                  <a:lnTo>
                    <a:pt x="1171" y="578"/>
                  </a:lnTo>
                  <a:lnTo>
                    <a:pt x="1170" y="578"/>
                  </a:lnTo>
                  <a:lnTo>
                    <a:pt x="1170" y="579"/>
                  </a:lnTo>
                  <a:lnTo>
                    <a:pt x="1171" y="582"/>
                  </a:lnTo>
                  <a:lnTo>
                    <a:pt x="1173" y="584"/>
                  </a:lnTo>
                  <a:lnTo>
                    <a:pt x="1173" y="586"/>
                  </a:lnTo>
                  <a:lnTo>
                    <a:pt x="1173" y="587"/>
                  </a:lnTo>
                  <a:lnTo>
                    <a:pt x="1174" y="587"/>
                  </a:lnTo>
                  <a:lnTo>
                    <a:pt x="1173" y="587"/>
                  </a:lnTo>
                  <a:lnTo>
                    <a:pt x="1174" y="589"/>
                  </a:lnTo>
                  <a:lnTo>
                    <a:pt x="1176" y="589"/>
                  </a:lnTo>
                  <a:lnTo>
                    <a:pt x="1176" y="591"/>
                  </a:lnTo>
                  <a:lnTo>
                    <a:pt x="1176" y="592"/>
                  </a:lnTo>
                  <a:lnTo>
                    <a:pt x="1174" y="594"/>
                  </a:lnTo>
                  <a:lnTo>
                    <a:pt x="1174" y="595"/>
                  </a:lnTo>
                  <a:lnTo>
                    <a:pt x="1174" y="599"/>
                  </a:lnTo>
                  <a:lnTo>
                    <a:pt x="1174" y="600"/>
                  </a:lnTo>
                  <a:lnTo>
                    <a:pt x="1174" y="602"/>
                  </a:lnTo>
                  <a:lnTo>
                    <a:pt x="1174" y="605"/>
                  </a:lnTo>
                  <a:lnTo>
                    <a:pt x="1174" y="607"/>
                  </a:lnTo>
                  <a:lnTo>
                    <a:pt x="1176" y="607"/>
                  </a:lnTo>
                  <a:lnTo>
                    <a:pt x="1174" y="608"/>
                  </a:lnTo>
                  <a:lnTo>
                    <a:pt x="1176" y="610"/>
                  </a:lnTo>
                  <a:lnTo>
                    <a:pt x="1176" y="612"/>
                  </a:lnTo>
                  <a:lnTo>
                    <a:pt x="1178" y="613"/>
                  </a:lnTo>
                  <a:lnTo>
                    <a:pt x="1178" y="615"/>
                  </a:lnTo>
                  <a:lnTo>
                    <a:pt x="1178" y="617"/>
                  </a:lnTo>
                  <a:lnTo>
                    <a:pt x="1178" y="618"/>
                  </a:lnTo>
                  <a:lnTo>
                    <a:pt x="1178" y="620"/>
                  </a:lnTo>
                  <a:lnTo>
                    <a:pt x="1178" y="621"/>
                  </a:lnTo>
                  <a:lnTo>
                    <a:pt x="1178" y="620"/>
                  </a:lnTo>
                  <a:lnTo>
                    <a:pt x="1178" y="621"/>
                  </a:lnTo>
                  <a:lnTo>
                    <a:pt x="1178" y="623"/>
                  </a:lnTo>
                  <a:lnTo>
                    <a:pt x="1179" y="623"/>
                  </a:lnTo>
                  <a:lnTo>
                    <a:pt x="1181" y="625"/>
                  </a:lnTo>
                  <a:lnTo>
                    <a:pt x="1183" y="626"/>
                  </a:lnTo>
                  <a:lnTo>
                    <a:pt x="1183" y="628"/>
                  </a:lnTo>
                  <a:lnTo>
                    <a:pt x="1181" y="628"/>
                  </a:lnTo>
                  <a:lnTo>
                    <a:pt x="1181" y="630"/>
                  </a:lnTo>
                  <a:lnTo>
                    <a:pt x="1181" y="633"/>
                  </a:lnTo>
                  <a:lnTo>
                    <a:pt x="1179" y="634"/>
                  </a:lnTo>
                  <a:lnTo>
                    <a:pt x="1179" y="638"/>
                  </a:lnTo>
                  <a:lnTo>
                    <a:pt x="1178" y="641"/>
                  </a:lnTo>
                  <a:lnTo>
                    <a:pt x="1178" y="643"/>
                  </a:lnTo>
                  <a:lnTo>
                    <a:pt x="1178" y="644"/>
                  </a:lnTo>
                  <a:lnTo>
                    <a:pt x="1178" y="646"/>
                  </a:lnTo>
                  <a:lnTo>
                    <a:pt x="1176" y="647"/>
                  </a:lnTo>
                  <a:lnTo>
                    <a:pt x="1176" y="649"/>
                  </a:lnTo>
                  <a:lnTo>
                    <a:pt x="1174" y="649"/>
                  </a:lnTo>
                  <a:lnTo>
                    <a:pt x="1173" y="651"/>
                  </a:lnTo>
                  <a:lnTo>
                    <a:pt x="1171" y="652"/>
                  </a:lnTo>
                  <a:lnTo>
                    <a:pt x="1171" y="654"/>
                  </a:lnTo>
                  <a:lnTo>
                    <a:pt x="1170" y="656"/>
                  </a:lnTo>
                  <a:lnTo>
                    <a:pt x="1170" y="657"/>
                  </a:lnTo>
                  <a:lnTo>
                    <a:pt x="1168" y="657"/>
                  </a:lnTo>
                  <a:lnTo>
                    <a:pt x="1168" y="659"/>
                  </a:lnTo>
                  <a:lnTo>
                    <a:pt x="1166" y="659"/>
                  </a:lnTo>
                  <a:lnTo>
                    <a:pt x="1166" y="660"/>
                  </a:lnTo>
                  <a:lnTo>
                    <a:pt x="1166" y="659"/>
                  </a:lnTo>
                  <a:lnTo>
                    <a:pt x="1163" y="662"/>
                  </a:lnTo>
                  <a:lnTo>
                    <a:pt x="1161" y="664"/>
                  </a:lnTo>
                  <a:lnTo>
                    <a:pt x="1158" y="667"/>
                  </a:lnTo>
                  <a:lnTo>
                    <a:pt x="1157" y="669"/>
                  </a:lnTo>
                  <a:lnTo>
                    <a:pt x="1157" y="667"/>
                  </a:lnTo>
                  <a:lnTo>
                    <a:pt x="1155" y="669"/>
                  </a:lnTo>
                  <a:lnTo>
                    <a:pt x="1155" y="670"/>
                  </a:lnTo>
                  <a:lnTo>
                    <a:pt x="1153" y="670"/>
                  </a:lnTo>
                  <a:lnTo>
                    <a:pt x="1153" y="672"/>
                  </a:lnTo>
                  <a:lnTo>
                    <a:pt x="1150" y="673"/>
                  </a:lnTo>
                  <a:lnTo>
                    <a:pt x="1148" y="675"/>
                  </a:lnTo>
                  <a:lnTo>
                    <a:pt x="1148" y="677"/>
                  </a:lnTo>
                  <a:lnTo>
                    <a:pt x="1148" y="680"/>
                  </a:lnTo>
                  <a:lnTo>
                    <a:pt x="1145" y="686"/>
                  </a:lnTo>
                  <a:lnTo>
                    <a:pt x="1144" y="690"/>
                  </a:lnTo>
                  <a:lnTo>
                    <a:pt x="1142" y="690"/>
                  </a:lnTo>
                  <a:lnTo>
                    <a:pt x="1140" y="690"/>
                  </a:lnTo>
                  <a:lnTo>
                    <a:pt x="1139" y="691"/>
                  </a:lnTo>
                  <a:lnTo>
                    <a:pt x="1135" y="691"/>
                  </a:lnTo>
                  <a:lnTo>
                    <a:pt x="1134" y="693"/>
                  </a:lnTo>
                  <a:lnTo>
                    <a:pt x="1132" y="693"/>
                  </a:lnTo>
                  <a:lnTo>
                    <a:pt x="1132" y="695"/>
                  </a:lnTo>
                  <a:lnTo>
                    <a:pt x="1131" y="695"/>
                  </a:lnTo>
                  <a:lnTo>
                    <a:pt x="1129" y="695"/>
                  </a:lnTo>
                  <a:lnTo>
                    <a:pt x="1129" y="693"/>
                  </a:lnTo>
                  <a:lnTo>
                    <a:pt x="1129" y="691"/>
                  </a:lnTo>
                  <a:lnTo>
                    <a:pt x="1127" y="690"/>
                  </a:lnTo>
                  <a:lnTo>
                    <a:pt x="1127" y="688"/>
                  </a:lnTo>
                  <a:lnTo>
                    <a:pt x="1124" y="686"/>
                  </a:lnTo>
                  <a:lnTo>
                    <a:pt x="1124" y="685"/>
                  </a:lnTo>
                  <a:lnTo>
                    <a:pt x="1124" y="683"/>
                  </a:lnTo>
                  <a:lnTo>
                    <a:pt x="1122" y="682"/>
                  </a:lnTo>
                  <a:lnTo>
                    <a:pt x="1121" y="680"/>
                  </a:lnTo>
                  <a:lnTo>
                    <a:pt x="1119" y="680"/>
                  </a:lnTo>
                  <a:lnTo>
                    <a:pt x="1116" y="680"/>
                  </a:lnTo>
                  <a:lnTo>
                    <a:pt x="1114" y="678"/>
                  </a:lnTo>
                  <a:lnTo>
                    <a:pt x="1114" y="675"/>
                  </a:lnTo>
                  <a:lnTo>
                    <a:pt x="1113" y="675"/>
                  </a:lnTo>
                  <a:lnTo>
                    <a:pt x="1111" y="673"/>
                  </a:lnTo>
                  <a:lnTo>
                    <a:pt x="1111" y="675"/>
                  </a:lnTo>
                  <a:lnTo>
                    <a:pt x="1108" y="675"/>
                  </a:lnTo>
                  <a:lnTo>
                    <a:pt x="1106" y="677"/>
                  </a:lnTo>
                  <a:lnTo>
                    <a:pt x="1105" y="678"/>
                  </a:lnTo>
                  <a:lnTo>
                    <a:pt x="1105" y="680"/>
                  </a:lnTo>
                  <a:lnTo>
                    <a:pt x="1101" y="680"/>
                  </a:lnTo>
                  <a:lnTo>
                    <a:pt x="1096" y="678"/>
                  </a:lnTo>
                  <a:lnTo>
                    <a:pt x="1095" y="678"/>
                  </a:lnTo>
                  <a:lnTo>
                    <a:pt x="1093" y="680"/>
                  </a:lnTo>
                  <a:lnTo>
                    <a:pt x="1092" y="682"/>
                  </a:lnTo>
                  <a:lnTo>
                    <a:pt x="1090" y="682"/>
                  </a:lnTo>
                  <a:lnTo>
                    <a:pt x="1088" y="683"/>
                  </a:lnTo>
                  <a:lnTo>
                    <a:pt x="1087" y="683"/>
                  </a:lnTo>
                  <a:lnTo>
                    <a:pt x="1085" y="683"/>
                  </a:lnTo>
                  <a:lnTo>
                    <a:pt x="1083" y="683"/>
                  </a:lnTo>
                  <a:lnTo>
                    <a:pt x="1082" y="683"/>
                  </a:lnTo>
                  <a:lnTo>
                    <a:pt x="1079" y="685"/>
                  </a:lnTo>
                  <a:lnTo>
                    <a:pt x="1077" y="685"/>
                  </a:lnTo>
                  <a:lnTo>
                    <a:pt x="1074" y="686"/>
                  </a:lnTo>
                  <a:lnTo>
                    <a:pt x="1070" y="688"/>
                  </a:lnTo>
                  <a:lnTo>
                    <a:pt x="1069" y="688"/>
                  </a:lnTo>
                  <a:lnTo>
                    <a:pt x="1067" y="688"/>
                  </a:lnTo>
                  <a:lnTo>
                    <a:pt x="1064" y="688"/>
                  </a:lnTo>
                  <a:lnTo>
                    <a:pt x="1062" y="688"/>
                  </a:lnTo>
                  <a:lnTo>
                    <a:pt x="1062" y="686"/>
                  </a:lnTo>
                  <a:lnTo>
                    <a:pt x="1061" y="685"/>
                  </a:lnTo>
                  <a:lnTo>
                    <a:pt x="1059" y="683"/>
                  </a:lnTo>
                  <a:lnTo>
                    <a:pt x="1057" y="682"/>
                  </a:lnTo>
                  <a:lnTo>
                    <a:pt x="1056" y="682"/>
                  </a:lnTo>
                  <a:lnTo>
                    <a:pt x="1054" y="682"/>
                  </a:lnTo>
                  <a:lnTo>
                    <a:pt x="1053" y="683"/>
                  </a:lnTo>
                  <a:lnTo>
                    <a:pt x="1051" y="682"/>
                  </a:lnTo>
                  <a:lnTo>
                    <a:pt x="1049" y="682"/>
                  </a:lnTo>
                  <a:lnTo>
                    <a:pt x="1046" y="680"/>
                  </a:lnTo>
                  <a:lnTo>
                    <a:pt x="1044" y="680"/>
                  </a:lnTo>
                  <a:lnTo>
                    <a:pt x="1046" y="680"/>
                  </a:lnTo>
                  <a:lnTo>
                    <a:pt x="1048" y="680"/>
                  </a:lnTo>
                  <a:lnTo>
                    <a:pt x="1049" y="680"/>
                  </a:lnTo>
                  <a:lnTo>
                    <a:pt x="1048" y="680"/>
                  </a:lnTo>
                  <a:lnTo>
                    <a:pt x="1046" y="680"/>
                  </a:lnTo>
                  <a:lnTo>
                    <a:pt x="1044" y="680"/>
                  </a:lnTo>
                  <a:lnTo>
                    <a:pt x="1043" y="680"/>
                  </a:lnTo>
                  <a:lnTo>
                    <a:pt x="1041" y="682"/>
                  </a:lnTo>
                  <a:lnTo>
                    <a:pt x="1040" y="682"/>
                  </a:lnTo>
                  <a:lnTo>
                    <a:pt x="1040" y="683"/>
                  </a:lnTo>
                  <a:lnTo>
                    <a:pt x="1038" y="682"/>
                  </a:lnTo>
                  <a:lnTo>
                    <a:pt x="1036" y="682"/>
                  </a:lnTo>
                  <a:lnTo>
                    <a:pt x="1035" y="680"/>
                  </a:lnTo>
                  <a:lnTo>
                    <a:pt x="1033" y="680"/>
                  </a:lnTo>
                  <a:lnTo>
                    <a:pt x="1031" y="680"/>
                  </a:lnTo>
                  <a:lnTo>
                    <a:pt x="1028" y="680"/>
                  </a:lnTo>
                  <a:lnTo>
                    <a:pt x="1026" y="682"/>
                  </a:lnTo>
                  <a:lnTo>
                    <a:pt x="1025" y="682"/>
                  </a:lnTo>
                  <a:lnTo>
                    <a:pt x="1025" y="680"/>
                  </a:lnTo>
                  <a:lnTo>
                    <a:pt x="1023" y="680"/>
                  </a:lnTo>
                  <a:lnTo>
                    <a:pt x="1023" y="677"/>
                  </a:lnTo>
                  <a:lnTo>
                    <a:pt x="1025" y="673"/>
                  </a:lnTo>
                  <a:lnTo>
                    <a:pt x="1026" y="672"/>
                  </a:lnTo>
                  <a:lnTo>
                    <a:pt x="1026" y="669"/>
                  </a:lnTo>
                  <a:lnTo>
                    <a:pt x="1025" y="669"/>
                  </a:lnTo>
                  <a:lnTo>
                    <a:pt x="1026" y="669"/>
                  </a:lnTo>
                  <a:lnTo>
                    <a:pt x="1028" y="669"/>
                  </a:lnTo>
                  <a:lnTo>
                    <a:pt x="1028" y="670"/>
                  </a:lnTo>
                  <a:lnTo>
                    <a:pt x="1030" y="670"/>
                  </a:lnTo>
                  <a:lnTo>
                    <a:pt x="1028" y="670"/>
                  </a:lnTo>
                  <a:lnTo>
                    <a:pt x="1028" y="669"/>
                  </a:lnTo>
                  <a:lnTo>
                    <a:pt x="1026" y="669"/>
                  </a:lnTo>
                  <a:lnTo>
                    <a:pt x="1025" y="669"/>
                  </a:lnTo>
                  <a:lnTo>
                    <a:pt x="1025" y="667"/>
                  </a:lnTo>
                  <a:lnTo>
                    <a:pt x="1025" y="665"/>
                  </a:lnTo>
                  <a:lnTo>
                    <a:pt x="1025" y="664"/>
                  </a:lnTo>
                  <a:lnTo>
                    <a:pt x="1025" y="662"/>
                  </a:lnTo>
                  <a:lnTo>
                    <a:pt x="1025" y="660"/>
                  </a:lnTo>
                  <a:lnTo>
                    <a:pt x="1025" y="659"/>
                  </a:lnTo>
                  <a:lnTo>
                    <a:pt x="1025" y="657"/>
                  </a:lnTo>
                  <a:lnTo>
                    <a:pt x="1023" y="657"/>
                  </a:lnTo>
                  <a:lnTo>
                    <a:pt x="1025" y="657"/>
                  </a:lnTo>
                  <a:lnTo>
                    <a:pt x="1025" y="656"/>
                  </a:lnTo>
                  <a:lnTo>
                    <a:pt x="1026" y="656"/>
                  </a:lnTo>
                  <a:lnTo>
                    <a:pt x="1028" y="656"/>
                  </a:lnTo>
                  <a:lnTo>
                    <a:pt x="1030" y="656"/>
                  </a:lnTo>
                  <a:lnTo>
                    <a:pt x="1030" y="657"/>
                  </a:lnTo>
                  <a:lnTo>
                    <a:pt x="1031" y="657"/>
                  </a:lnTo>
                  <a:lnTo>
                    <a:pt x="1033" y="657"/>
                  </a:lnTo>
                  <a:lnTo>
                    <a:pt x="1033" y="656"/>
                  </a:lnTo>
                  <a:lnTo>
                    <a:pt x="1035" y="657"/>
                  </a:lnTo>
                  <a:lnTo>
                    <a:pt x="1036" y="657"/>
                  </a:lnTo>
                  <a:lnTo>
                    <a:pt x="1036" y="659"/>
                  </a:lnTo>
                  <a:lnTo>
                    <a:pt x="1038" y="659"/>
                  </a:lnTo>
                  <a:lnTo>
                    <a:pt x="1040" y="659"/>
                  </a:lnTo>
                  <a:lnTo>
                    <a:pt x="1040" y="657"/>
                  </a:lnTo>
                  <a:lnTo>
                    <a:pt x="1041" y="659"/>
                  </a:lnTo>
                  <a:lnTo>
                    <a:pt x="1041" y="657"/>
                  </a:lnTo>
                  <a:lnTo>
                    <a:pt x="1043" y="657"/>
                  </a:lnTo>
                  <a:lnTo>
                    <a:pt x="1041" y="657"/>
                  </a:lnTo>
                  <a:lnTo>
                    <a:pt x="1041" y="659"/>
                  </a:lnTo>
                  <a:lnTo>
                    <a:pt x="1040" y="657"/>
                  </a:lnTo>
                  <a:lnTo>
                    <a:pt x="1040" y="659"/>
                  </a:lnTo>
                  <a:lnTo>
                    <a:pt x="1038" y="659"/>
                  </a:lnTo>
                  <a:lnTo>
                    <a:pt x="1040" y="657"/>
                  </a:lnTo>
                  <a:lnTo>
                    <a:pt x="1038" y="657"/>
                  </a:lnTo>
                  <a:lnTo>
                    <a:pt x="1038" y="656"/>
                  </a:lnTo>
                  <a:lnTo>
                    <a:pt x="1040" y="656"/>
                  </a:lnTo>
                  <a:lnTo>
                    <a:pt x="1038" y="656"/>
                  </a:lnTo>
                  <a:lnTo>
                    <a:pt x="1038" y="657"/>
                  </a:lnTo>
                  <a:lnTo>
                    <a:pt x="1040" y="657"/>
                  </a:lnTo>
                  <a:lnTo>
                    <a:pt x="1038" y="659"/>
                  </a:lnTo>
                  <a:lnTo>
                    <a:pt x="1036" y="659"/>
                  </a:lnTo>
                  <a:lnTo>
                    <a:pt x="1036" y="657"/>
                  </a:lnTo>
                  <a:lnTo>
                    <a:pt x="1035" y="657"/>
                  </a:lnTo>
                  <a:lnTo>
                    <a:pt x="1035" y="656"/>
                  </a:lnTo>
                  <a:lnTo>
                    <a:pt x="1033" y="656"/>
                  </a:lnTo>
                  <a:lnTo>
                    <a:pt x="1033" y="657"/>
                  </a:lnTo>
                  <a:lnTo>
                    <a:pt x="1031" y="657"/>
                  </a:lnTo>
                  <a:lnTo>
                    <a:pt x="1030" y="657"/>
                  </a:lnTo>
                  <a:lnTo>
                    <a:pt x="1030" y="656"/>
                  </a:lnTo>
                  <a:lnTo>
                    <a:pt x="1028" y="656"/>
                  </a:lnTo>
                  <a:lnTo>
                    <a:pt x="1026" y="656"/>
                  </a:lnTo>
                  <a:lnTo>
                    <a:pt x="1025" y="656"/>
                  </a:lnTo>
                  <a:lnTo>
                    <a:pt x="1023" y="657"/>
                  </a:lnTo>
                  <a:lnTo>
                    <a:pt x="1025" y="657"/>
                  </a:lnTo>
                  <a:lnTo>
                    <a:pt x="1023" y="659"/>
                  </a:lnTo>
                  <a:lnTo>
                    <a:pt x="1022" y="657"/>
                  </a:lnTo>
                  <a:lnTo>
                    <a:pt x="1020" y="657"/>
                  </a:lnTo>
                  <a:lnTo>
                    <a:pt x="1018" y="657"/>
                  </a:lnTo>
                  <a:lnTo>
                    <a:pt x="1018" y="656"/>
                  </a:lnTo>
                  <a:lnTo>
                    <a:pt x="1017" y="656"/>
                  </a:lnTo>
                  <a:lnTo>
                    <a:pt x="1017" y="657"/>
                  </a:lnTo>
                  <a:lnTo>
                    <a:pt x="1015" y="657"/>
                  </a:lnTo>
                  <a:lnTo>
                    <a:pt x="1013" y="657"/>
                  </a:lnTo>
                  <a:lnTo>
                    <a:pt x="1012" y="656"/>
                  </a:lnTo>
                  <a:lnTo>
                    <a:pt x="1012" y="654"/>
                  </a:lnTo>
                  <a:lnTo>
                    <a:pt x="1010" y="654"/>
                  </a:lnTo>
                  <a:lnTo>
                    <a:pt x="1012" y="652"/>
                  </a:lnTo>
                  <a:lnTo>
                    <a:pt x="1012" y="654"/>
                  </a:lnTo>
                  <a:lnTo>
                    <a:pt x="1013" y="654"/>
                  </a:lnTo>
                  <a:lnTo>
                    <a:pt x="1013" y="656"/>
                  </a:lnTo>
                  <a:lnTo>
                    <a:pt x="1015" y="656"/>
                  </a:lnTo>
                  <a:lnTo>
                    <a:pt x="1013" y="656"/>
                  </a:lnTo>
                  <a:lnTo>
                    <a:pt x="1013" y="654"/>
                  </a:lnTo>
                  <a:lnTo>
                    <a:pt x="1012" y="654"/>
                  </a:lnTo>
                  <a:lnTo>
                    <a:pt x="1012" y="652"/>
                  </a:lnTo>
                  <a:lnTo>
                    <a:pt x="1010" y="651"/>
                  </a:lnTo>
                  <a:lnTo>
                    <a:pt x="1009" y="651"/>
                  </a:lnTo>
                  <a:lnTo>
                    <a:pt x="1009" y="649"/>
                  </a:lnTo>
                  <a:lnTo>
                    <a:pt x="1007" y="649"/>
                  </a:lnTo>
                  <a:lnTo>
                    <a:pt x="1005" y="649"/>
                  </a:lnTo>
                  <a:lnTo>
                    <a:pt x="1005" y="651"/>
                  </a:lnTo>
                  <a:lnTo>
                    <a:pt x="1004" y="651"/>
                  </a:lnTo>
                  <a:lnTo>
                    <a:pt x="1002" y="651"/>
                  </a:lnTo>
                  <a:lnTo>
                    <a:pt x="1000" y="649"/>
                  </a:lnTo>
                  <a:lnTo>
                    <a:pt x="999" y="649"/>
                  </a:lnTo>
                  <a:lnTo>
                    <a:pt x="997" y="649"/>
                  </a:lnTo>
                  <a:lnTo>
                    <a:pt x="997" y="647"/>
                  </a:lnTo>
                  <a:lnTo>
                    <a:pt x="999" y="647"/>
                  </a:lnTo>
                  <a:lnTo>
                    <a:pt x="1000" y="647"/>
                  </a:lnTo>
                  <a:lnTo>
                    <a:pt x="999" y="647"/>
                  </a:lnTo>
                  <a:lnTo>
                    <a:pt x="999" y="646"/>
                  </a:lnTo>
                  <a:lnTo>
                    <a:pt x="999" y="644"/>
                  </a:lnTo>
                  <a:lnTo>
                    <a:pt x="999" y="643"/>
                  </a:lnTo>
                  <a:lnTo>
                    <a:pt x="999" y="641"/>
                  </a:lnTo>
                  <a:lnTo>
                    <a:pt x="996" y="641"/>
                  </a:lnTo>
                  <a:lnTo>
                    <a:pt x="994" y="639"/>
                  </a:lnTo>
                  <a:lnTo>
                    <a:pt x="994" y="638"/>
                  </a:lnTo>
                  <a:lnTo>
                    <a:pt x="994" y="636"/>
                  </a:lnTo>
                  <a:lnTo>
                    <a:pt x="994" y="634"/>
                  </a:lnTo>
                  <a:lnTo>
                    <a:pt x="992" y="634"/>
                  </a:lnTo>
                  <a:lnTo>
                    <a:pt x="992" y="633"/>
                  </a:lnTo>
                  <a:lnTo>
                    <a:pt x="991" y="633"/>
                  </a:lnTo>
                  <a:lnTo>
                    <a:pt x="991" y="634"/>
                  </a:lnTo>
                  <a:lnTo>
                    <a:pt x="989" y="634"/>
                  </a:lnTo>
                  <a:lnTo>
                    <a:pt x="989" y="636"/>
                  </a:lnTo>
                  <a:lnTo>
                    <a:pt x="989" y="634"/>
                  </a:lnTo>
                  <a:lnTo>
                    <a:pt x="987" y="633"/>
                  </a:lnTo>
                  <a:lnTo>
                    <a:pt x="989" y="633"/>
                  </a:lnTo>
                  <a:lnTo>
                    <a:pt x="989" y="634"/>
                  </a:lnTo>
                  <a:lnTo>
                    <a:pt x="989" y="636"/>
                  </a:lnTo>
                  <a:lnTo>
                    <a:pt x="987" y="634"/>
                  </a:lnTo>
                  <a:lnTo>
                    <a:pt x="987" y="633"/>
                  </a:lnTo>
                  <a:lnTo>
                    <a:pt x="987" y="634"/>
                  </a:lnTo>
                  <a:lnTo>
                    <a:pt x="986" y="634"/>
                  </a:lnTo>
                  <a:lnTo>
                    <a:pt x="987" y="634"/>
                  </a:lnTo>
                  <a:lnTo>
                    <a:pt x="986" y="633"/>
                  </a:lnTo>
                  <a:lnTo>
                    <a:pt x="986" y="631"/>
                  </a:lnTo>
                  <a:lnTo>
                    <a:pt x="984" y="631"/>
                  </a:lnTo>
                  <a:lnTo>
                    <a:pt x="984" y="630"/>
                  </a:lnTo>
                  <a:lnTo>
                    <a:pt x="983" y="630"/>
                  </a:lnTo>
                  <a:lnTo>
                    <a:pt x="984" y="630"/>
                  </a:lnTo>
                  <a:lnTo>
                    <a:pt x="983" y="630"/>
                  </a:lnTo>
                  <a:lnTo>
                    <a:pt x="983" y="628"/>
                  </a:lnTo>
                  <a:lnTo>
                    <a:pt x="983" y="626"/>
                  </a:lnTo>
                  <a:lnTo>
                    <a:pt x="983" y="625"/>
                  </a:lnTo>
                  <a:lnTo>
                    <a:pt x="979" y="625"/>
                  </a:lnTo>
                  <a:lnTo>
                    <a:pt x="978" y="625"/>
                  </a:lnTo>
                  <a:lnTo>
                    <a:pt x="978" y="623"/>
                  </a:lnTo>
                  <a:lnTo>
                    <a:pt x="976" y="623"/>
                  </a:lnTo>
                  <a:lnTo>
                    <a:pt x="974" y="623"/>
                  </a:lnTo>
                  <a:lnTo>
                    <a:pt x="973" y="623"/>
                  </a:lnTo>
                  <a:lnTo>
                    <a:pt x="971" y="623"/>
                  </a:lnTo>
                  <a:lnTo>
                    <a:pt x="973" y="625"/>
                  </a:lnTo>
                  <a:lnTo>
                    <a:pt x="973" y="626"/>
                  </a:lnTo>
                  <a:lnTo>
                    <a:pt x="973" y="625"/>
                  </a:lnTo>
                  <a:lnTo>
                    <a:pt x="974" y="625"/>
                  </a:lnTo>
                  <a:lnTo>
                    <a:pt x="974" y="626"/>
                  </a:lnTo>
                  <a:lnTo>
                    <a:pt x="976" y="628"/>
                  </a:lnTo>
                  <a:lnTo>
                    <a:pt x="974" y="628"/>
                  </a:lnTo>
                  <a:lnTo>
                    <a:pt x="974" y="626"/>
                  </a:lnTo>
                  <a:lnTo>
                    <a:pt x="973" y="625"/>
                  </a:lnTo>
                  <a:lnTo>
                    <a:pt x="971" y="623"/>
                  </a:lnTo>
                  <a:lnTo>
                    <a:pt x="968" y="621"/>
                  </a:lnTo>
                  <a:lnTo>
                    <a:pt x="966" y="621"/>
                  </a:lnTo>
                  <a:lnTo>
                    <a:pt x="966" y="620"/>
                  </a:lnTo>
                  <a:lnTo>
                    <a:pt x="965" y="620"/>
                  </a:lnTo>
                  <a:lnTo>
                    <a:pt x="963" y="620"/>
                  </a:lnTo>
                  <a:lnTo>
                    <a:pt x="961" y="618"/>
                  </a:lnTo>
                  <a:lnTo>
                    <a:pt x="960" y="617"/>
                  </a:lnTo>
                  <a:lnTo>
                    <a:pt x="960" y="615"/>
                  </a:lnTo>
                  <a:lnTo>
                    <a:pt x="958" y="615"/>
                  </a:lnTo>
                  <a:lnTo>
                    <a:pt x="958" y="613"/>
                  </a:lnTo>
                  <a:lnTo>
                    <a:pt x="957" y="612"/>
                  </a:lnTo>
                  <a:lnTo>
                    <a:pt x="955" y="612"/>
                  </a:lnTo>
                  <a:lnTo>
                    <a:pt x="953" y="610"/>
                  </a:lnTo>
                  <a:lnTo>
                    <a:pt x="953" y="612"/>
                  </a:lnTo>
                  <a:lnTo>
                    <a:pt x="952" y="610"/>
                  </a:lnTo>
                  <a:lnTo>
                    <a:pt x="950" y="610"/>
                  </a:lnTo>
                  <a:lnTo>
                    <a:pt x="950" y="608"/>
                  </a:lnTo>
                  <a:lnTo>
                    <a:pt x="948" y="607"/>
                  </a:lnTo>
                  <a:lnTo>
                    <a:pt x="947" y="607"/>
                  </a:lnTo>
                  <a:lnTo>
                    <a:pt x="945" y="605"/>
                  </a:lnTo>
                  <a:lnTo>
                    <a:pt x="944" y="604"/>
                  </a:lnTo>
                  <a:lnTo>
                    <a:pt x="942" y="604"/>
                  </a:lnTo>
                  <a:lnTo>
                    <a:pt x="940" y="602"/>
                  </a:lnTo>
                  <a:lnTo>
                    <a:pt x="939" y="602"/>
                  </a:lnTo>
                  <a:lnTo>
                    <a:pt x="937" y="600"/>
                  </a:lnTo>
                  <a:lnTo>
                    <a:pt x="935" y="600"/>
                  </a:lnTo>
                  <a:lnTo>
                    <a:pt x="932" y="599"/>
                  </a:lnTo>
                  <a:lnTo>
                    <a:pt x="929" y="597"/>
                  </a:lnTo>
                  <a:lnTo>
                    <a:pt x="927" y="594"/>
                  </a:lnTo>
                  <a:lnTo>
                    <a:pt x="926" y="591"/>
                  </a:lnTo>
                  <a:lnTo>
                    <a:pt x="922" y="586"/>
                  </a:lnTo>
                  <a:lnTo>
                    <a:pt x="922" y="584"/>
                  </a:lnTo>
                  <a:lnTo>
                    <a:pt x="921" y="582"/>
                  </a:lnTo>
                  <a:lnTo>
                    <a:pt x="921" y="581"/>
                  </a:lnTo>
                  <a:lnTo>
                    <a:pt x="919" y="579"/>
                  </a:lnTo>
                  <a:lnTo>
                    <a:pt x="919" y="578"/>
                  </a:lnTo>
                  <a:lnTo>
                    <a:pt x="918" y="571"/>
                  </a:lnTo>
                  <a:lnTo>
                    <a:pt x="918" y="569"/>
                  </a:lnTo>
                  <a:lnTo>
                    <a:pt x="918" y="568"/>
                  </a:lnTo>
                  <a:lnTo>
                    <a:pt x="918" y="566"/>
                  </a:lnTo>
                  <a:lnTo>
                    <a:pt x="918" y="565"/>
                  </a:lnTo>
                  <a:lnTo>
                    <a:pt x="918" y="561"/>
                  </a:lnTo>
                  <a:lnTo>
                    <a:pt x="918" y="560"/>
                  </a:lnTo>
                  <a:lnTo>
                    <a:pt x="918" y="558"/>
                  </a:lnTo>
                  <a:lnTo>
                    <a:pt x="919" y="556"/>
                  </a:lnTo>
                  <a:lnTo>
                    <a:pt x="921" y="553"/>
                  </a:lnTo>
                  <a:lnTo>
                    <a:pt x="922" y="551"/>
                  </a:lnTo>
                  <a:lnTo>
                    <a:pt x="924" y="550"/>
                  </a:lnTo>
                  <a:lnTo>
                    <a:pt x="924" y="548"/>
                  </a:lnTo>
                  <a:lnTo>
                    <a:pt x="927" y="545"/>
                  </a:lnTo>
                  <a:lnTo>
                    <a:pt x="927" y="543"/>
                  </a:lnTo>
                  <a:lnTo>
                    <a:pt x="929" y="542"/>
                  </a:lnTo>
                  <a:lnTo>
                    <a:pt x="929" y="540"/>
                  </a:lnTo>
                  <a:lnTo>
                    <a:pt x="931" y="540"/>
                  </a:lnTo>
                  <a:lnTo>
                    <a:pt x="931" y="538"/>
                  </a:lnTo>
                  <a:lnTo>
                    <a:pt x="932" y="540"/>
                  </a:lnTo>
                  <a:lnTo>
                    <a:pt x="931" y="540"/>
                  </a:lnTo>
                  <a:lnTo>
                    <a:pt x="932" y="540"/>
                  </a:lnTo>
                  <a:lnTo>
                    <a:pt x="934" y="538"/>
                  </a:lnTo>
                  <a:lnTo>
                    <a:pt x="934" y="540"/>
                  </a:lnTo>
                  <a:lnTo>
                    <a:pt x="935" y="540"/>
                  </a:lnTo>
                  <a:lnTo>
                    <a:pt x="934" y="540"/>
                  </a:lnTo>
                  <a:lnTo>
                    <a:pt x="934" y="538"/>
                  </a:lnTo>
                  <a:lnTo>
                    <a:pt x="932" y="538"/>
                  </a:lnTo>
                  <a:lnTo>
                    <a:pt x="932" y="540"/>
                  </a:lnTo>
                  <a:lnTo>
                    <a:pt x="932" y="538"/>
                  </a:lnTo>
                  <a:lnTo>
                    <a:pt x="934" y="538"/>
                  </a:lnTo>
                  <a:lnTo>
                    <a:pt x="935" y="538"/>
                  </a:lnTo>
                  <a:lnTo>
                    <a:pt x="937" y="537"/>
                  </a:lnTo>
                  <a:lnTo>
                    <a:pt x="939" y="537"/>
                  </a:lnTo>
                  <a:lnTo>
                    <a:pt x="939" y="538"/>
                  </a:lnTo>
                  <a:lnTo>
                    <a:pt x="940" y="537"/>
                  </a:lnTo>
                  <a:lnTo>
                    <a:pt x="940" y="535"/>
                  </a:lnTo>
                  <a:lnTo>
                    <a:pt x="942" y="535"/>
                  </a:lnTo>
                  <a:lnTo>
                    <a:pt x="944" y="535"/>
                  </a:lnTo>
                  <a:lnTo>
                    <a:pt x="944" y="537"/>
                  </a:lnTo>
                  <a:lnTo>
                    <a:pt x="945" y="537"/>
                  </a:lnTo>
                  <a:lnTo>
                    <a:pt x="944" y="537"/>
                  </a:lnTo>
                  <a:lnTo>
                    <a:pt x="944" y="535"/>
                  </a:lnTo>
                  <a:lnTo>
                    <a:pt x="942" y="535"/>
                  </a:lnTo>
                  <a:lnTo>
                    <a:pt x="940" y="535"/>
                  </a:lnTo>
                  <a:lnTo>
                    <a:pt x="940" y="537"/>
                  </a:lnTo>
                  <a:lnTo>
                    <a:pt x="937" y="537"/>
                  </a:lnTo>
                  <a:lnTo>
                    <a:pt x="935" y="538"/>
                  </a:lnTo>
                  <a:lnTo>
                    <a:pt x="934" y="538"/>
                  </a:lnTo>
                  <a:lnTo>
                    <a:pt x="932" y="538"/>
                  </a:lnTo>
                  <a:lnTo>
                    <a:pt x="932" y="540"/>
                  </a:lnTo>
                  <a:lnTo>
                    <a:pt x="932" y="538"/>
                  </a:lnTo>
                  <a:lnTo>
                    <a:pt x="931" y="538"/>
                  </a:lnTo>
                  <a:lnTo>
                    <a:pt x="931" y="537"/>
                  </a:lnTo>
                  <a:lnTo>
                    <a:pt x="932" y="534"/>
                  </a:lnTo>
                  <a:lnTo>
                    <a:pt x="932" y="530"/>
                  </a:lnTo>
                  <a:lnTo>
                    <a:pt x="934" y="529"/>
                  </a:lnTo>
                  <a:lnTo>
                    <a:pt x="935" y="525"/>
                  </a:lnTo>
                  <a:lnTo>
                    <a:pt x="937" y="521"/>
                  </a:lnTo>
                  <a:lnTo>
                    <a:pt x="939" y="519"/>
                  </a:lnTo>
                  <a:lnTo>
                    <a:pt x="939" y="516"/>
                  </a:lnTo>
                  <a:lnTo>
                    <a:pt x="939" y="514"/>
                  </a:lnTo>
                  <a:lnTo>
                    <a:pt x="939" y="509"/>
                  </a:lnTo>
                  <a:lnTo>
                    <a:pt x="939" y="508"/>
                  </a:lnTo>
                  <a:lnTo>
                    <a:pt x="939" y="504"/>
                  </a:lnTo>
                  <a:lnTo>
                    <a:pt x="939" y="503"/>
                  </a:lnTo>
                  <a:lnTo>
                    <a:pt x="939" y="501"/>
                  </a:lnTo>
                  <a:lnTo>
                    <a:pt x="939" y="498"/>
                  </a:lnTo>
                  <a:lnTo>
                    <a:pt x="939" y="496"/>
                  </a:lnTo>
                  <a:lnTo>
                    <a:pt x="940" y="495"/>
                  </a:lnTo>
                  <a:lnTo>
                    <a:pt x="940" y="491"/>
                  </a:lnTo>
                  <a:lnTo>
                    <a:pt x="940" y="490"/>
                  </a:lnTo>
                  <a:lnTo>
                    <a:pt x="940" y="488"/>
                  </a:lnTo>
                  <a:lnTo>
                    <a:pt x="942" y="486"/>
                  </a:lnTo>
                  <a:lnTo>
                    <a:pt x="944" y="485"/>
                  </a:lnTo>
                  <a:lnTo>
                    <a:pt x="945" y="485"/>
                  </a:lnTo>
                  <a:lnTo>
                    <a:pt x="945" y="483"/>
                  </a:lnTo>
                  <a:lnTo>
                    <a:pt x="947" y="483"/>
                  </a:lnTo>
                  <a:lnTo>
                    <a:pt x="948" y="482"/>
                  </a:lnTo>
                  <a:lnTo>
                    <a:pt x="952" y="478"/>
                  </a:lnTo>
                  <a:lnTo>
                    <a:pt x="953" y="477"/>
                  </a:lnTo>
                  <a:lnTo>
                    <a:pt x="955" y="475"/>
                  </a:lnTo>
                  <a:lnTo>
                    <a:pt x="961" y="470"/>
                  </a:lnTo>
                  <a:lnTo>
                    <a:pt x="963" y="467"/>
                  </a:lnTo>
                  <a:lnTo>
                    <a:pt x="965" y="467"/>
                  </a:lnTo>
                  <a:lnTo>
                    <a:pt x="965" y="469"/>
                  </a:lnTo>
                  <a:lnTo>
                    <a:pt x="963" y="469"/>
                  </a:lnTo>
                  <a:lnTo>
                    <a:pt x="963" y="470"/>
                  </a:lnTo>
                  <a:lnTo>
                    <a:pt x="961" y="472"/>
                  </a:lnTo>
                  <a:lnTo>
                    <a:pt x="963" y="472"/>
                  </a:lnTo>
                  <a:lnTo>
                    <a:pt x="963" y="470"/>
                  </a:lnTo>
                  <a:lnTo>
                    <a:pt x="963" y="469"/>
                  </a:lnTo>
                  <a:lnTo>
                    <a:pt x="965" y="469"/>
                  </a:lnTo>
                  <a:lnTo>
                    <a:pt x="965" y="467"/>
                  </a:lnTo>
                  <a:lnTo>
                    <a:pt x="965" y="465"/>
                  </a:lnTo>
                  <a:lnTo>
                    <a:pt x="963" y="467"/>
                  </a:lnTo>
                  <a:lnTo>
                    <a:pt x="966" y="462"/>
                  </a:lnTo>
                  <a:lnTo>
                    <a:pt x="968" y="460"/>
                  </a:lnTo>
                  <a:lnTo>
                    <a:pt x="968" y="459"/>
                  </a:lnTo>
                  <a:lnTo>
                    <a:pt x="970" y="457"/>
                  </a:lnTo>
                  <a:lnTo>
                    <a:pt x="970" y="456"/>
                  </a:lnTo>
                  <a:lnTo>
                    <a:pt x="971" y="452"/>
                  </a:lnTo>
                  <a:lnTo>
                    <a:pt x="973" y="451"/>
                  </a:lnTo>
                  <a:lnTo>
                    <a:pt x="973" y="449"/>
                  </a:lnTo>
                  <a:lnTo>
                    <a:pt x="973" y="447"/>
                  </a:lnTo>
                  <a:lnTo>
                    <a:pt x="973" y="446"/>
                  </a:lnTo>
                  <a:lnTo>
                    <a:pt x="973" y="444"/>
                  </a:lnTo>
                  <a:lnTo>
                    <a:pt x="974" y="444"/>
                  </a:lnTo>
                  <a:lnTo>
                    <a:pt x="976" y="443"/>
                  </a:lnTo>
                  <a:lnTo>
                    <a:pt x="976" y="444"/>
                  </a:lnTo>
                  <a:lnTo>
                    <a:pt x="978" y="446"/>
                  </a:lnTo>
                  <a:lnTo>
                    <a:pt x="979" y="446"/>
                  </a:lnTo>
                  <a:lnTo>
                    <a:pt x="979" y="444"/>
                  </a:lnTo>
                  <a:lnTo>
                    <a:pt x="983" y="444"/>
                  </a:lnTo>
                  <a:lnTo>
                    <a:pt x="984" y="446"/>
                  </a:lnTo>
                  <a:lnTo>
                    <a:pt x="984" y="447"/>
                  </a:lnTo>
                  <a:lnTo>
                    <a:pt x="984" y="449"/>
                  </a:lnTo>
                  <a:lnTo>
                    <a:pt x="984" y="451"/>
                  </a:lnTo>
                  <a:lnTo>
                    <a:pt x="986" y="449"/>
                  </a:lnTo>
                  <a:lnTo>
                    <a:pt x="984" y="449"/>
                  </a:lnTo>
                  <a:lnTo>
                    <a:pt x="984" y="447"/>
                  </a:lnTo>
                  <a:lnTo>
                    <a:pt x="984" y="446"/>
                  </a:lnTo>
                  <a:lnTo>
                    <a:pt x="983" y="444"/>
                  </a:lnTo>
                  <a:lnTo>
                    <a:pt x="979" y="444"/>
                  </a:lnTo>
                  <a:lnTo>
                    <a:pt x="979" y="446"/>
                  </a:lnTo>
                  <a:lnTo>
                    <a:pt x="978" y="446"/>
                  </a:lnTo>
                  <a:lnTo>
                    <a:pt x="976" y="444"/>
                  </a:lnTo>
                  <a:lnTo>
                    <a:pt x="976" y="443"/>
                  </a:lnTo>
                  <a:lnTo>
                    <a:pt x="974" y="443"/>
                  </a:lnTo>
                  <a:lnTo>
                    <a:pt x="974" y="441"/>
                  </a:lnTo>
                  <a:lnTo>
                    <a:pt x="973" y="443"/>
                  </a:lnTo>
                  <a:lnTo>
                    <a:pt x="974" y="444"/>
                  </a:lnTo>
                  <a:lnTo>
                    <a:pt x="973" y="444"/>
                  </a:lnTo>
                  <a:lnTo>
                    <a:pt x="973" y="443"/>
                  </a:lnTo>
                  <a:lnTo>
                    <a:pt x="974" y="439"/>
                  </a:lnTo>
                  <a:lnTo>
                    <a:pt x="974" y="434"/>
                  </a:lnTo>
                  <a:lnTo>
                    <a:pt x="976" y="433"/>
                  </a:lnTo>
                  <a:lnTo>
                    <a:pt x="976" y="428"/>
                  </a:lnTo>
                  <a:lnTo>
                    <a:pt x="976" y="426"/>
                  </a:lnTo>
                  <a:lnTo>
                    <a:pt x="976" y="420"/>
                  </a:lnTo>
                  <a:lnTo>
                    <a:pt x="976" y="417"/>
                  </a:lnTo>
                  <a:lnTo>
                    <a:pt x="976" y="413"/>
                  </a:lnTo>
                  <a:lnTo>
                    <a:pt x="978" y="413"/>
                  </a:lnTo>
                  <a:lnTo>
                    <a:pt x="979" y="412"/>
                  </a:lnTo>
                  <a:lnTo>
                    <a:pt x="979" y="410"/>
                  </a:lnTo>
                  <a:lnTo>
                    <a:pt x="981" y="412"/>
                  </a:lnTo>
                  <a:lnTo>
                    <a:pt x="981" y="413"/>
                  </a:lnTo>
                  <a:lnTo>
                    <a:pt x="983" y="413"/>
                  </a:lnTo>
                  <a:lnTo>
                    <a:pt x="983" y="412"/>
                  </a:lnTo>
                  <a:lnTo>
                    <a:pt x="983" y="413"/>
                  </a:lnTo>
                  <a:lnTo>
                    <a:pt x="984" y="413"/>
                  </a:lnTo>
                  <a:lnTo>
                    <a:pt x="983" y="413"/>
                  </a:lnTo>
                  <a:lnTo>
                    <a:pt x="983" y="412"/>
                  </a:lnTo>
                  <a:lnTo>
                    <a:pt x="983" y="413"/>
                  </a:lnTo>
                  <a:lnTo>
                    <a:pt x="981" y="413"/>
                  </a:lnTo>
                  <a:lnTo>
                    <a:pt x="981" y="412"/>
                  </a:lnTo>
                  <a:lnTo>
                    <a:pt x="981" y="410"/>
                  </a:lnTo>
                  <a:lnTo>
                    <a:pt x="979" y="410"/>
                  </a:lnTo>
                  <a:lnTo>
                    <a:pt x="979" y="412"/>
                  </a:lnTo>
                  <a:lnTo>
                    <a:pt x="978" y="412"/>
                  </a:lnTo>
                  <a:lnTo>
                    <a:pt x="978" y="413"/>
                  </a:lnTo>
                  <a:lnTo>
                    <a:pt x="978" y="412"/>
                  </a:lnTo>
                  <a:lnTo>
                    <a:pt x="978" y="407"/>
                  </a:lnTo>
                  <a:lnTo>
                    <a:pt x="978" y="405"/>
                  </a:lnTo>
                  <a:lnTo>
                    <a:pt x="978" y="403"/>
                  </a:lnTo>
                  <a:lnTo>
                    <a:pt x="978" y="400"/>
                  </a:lnTo>
                  <a:lnTo>
                    <a:pt x="978" y="399"/>
                  </a:lnTo>
                  <a:lnTo>
                    <a:pt x="976" y="395"/>
                  </a:lnTo>
                  <a:lnTo>
                    <a:pt x="978" y="394"/>
                  </a:lnTo>
                  <a:lnTo>
                    <a:pt x="976" y="392"/>
                  </a:lnTo>
                  <a:lnTo>
                    <a:pt x="978" y="392"/>
                  </a:lnTo>
                  <a:lnTo>
                    <a:pt x="978" y="389"/>
                  </a:lnTo>
                  <a:lnTo>
                    <a:pt x="976" y="389"/>
                  </a:lnTo>
                  <a:lnTo>
                    <a:pt x="976" y="387"/>
                  </a:lnTo>
                  <a:lnTo>
                    <a:pt x="978" y="387"/>
                  </a:lnTo>
                  <a:lnTo>
                    <a:pt x="978" y="386"/>
                  </a:lnTo>
                  <a:lnTo>
                    <a:pt x="979" y="384"/>
                  </a:lnTo>
                  <a:lnTo>
                    <a:pt x="979" y="382"/>
                  </a:lnTo>
                  <a:lnTo>
                    <a:pt x="983" y="381"/>
                  </a:lnTo>
                  <a:lnTo>
                    <a:pt x="986" y="381"/>
                  </a:lnTo>
                  <a:lnTo>
                    <a:pt x="987" y="381"/>
                  </a:lnTo>
                  <a:lnTo>
                    <a:pt x="989" y="381"/>
                  </a:lnTo>
                  <a:lnTo>
                    <a:pt x="991" y="381"/>
                  </a:lnTo>
                  <a:lnTo>
                    <a:pt x="994" y="381"/>
                  </a:lnTo>
                  <a:lnTo>
                    <a:pt x="996" y="381"/>
                  </a:lnTo>
                  <a:lnTo>
                    <a:pt x="997" y="382"/>
                  </a:lnTo>
                  <a:lnTo>
                    <a:pt x="999" y="382"/>
                  </a:lnTo>
                  <a:lnTo>
                    <a:pt x="1004" y="381"/>
                  </a:lnTo>
                  <a:lnTo>
                    <a:pt x="1002" y="381"/>
                  </a:lnTo>
                  <a:lnTo>
                    <a:pt x="1004" y="381"/>
                  </a:lnTo>
                  <a:lnTo>
                    <a:pt x="1005" y="382"/>
                  </a:lnTo>
                  <a:lnTo>
                    <a:pt x="1007" y="382"/>
                  </a:lnTo>
                  <a:lnTo>
                    <a:pt x="1009" y="382"/>
                  </a:lnTo>
                  <a:lnTo>
                    <a:pt x="1009" y="384"/>
                  </a:lnTo>
                  <a:lnTo>
                    <a:pt x="1009" y="386"/>
                  </a:lnTo>
                  <a:lnTo>
                    <a:pt x="1007" y="386"/>
                  </a:lnTo>
                  <a:lnTo>
                    <a:pt x="1009" y="386"/>
                  </a:lnTo>
                  <a:lnTo>
                    <a:pt x="1007" y="386"/>
                  </a:lnTo>
                  <a:lnTo>
                    <a:pt x="1007" y="387"/>
                  </a:lnTo>
                  <a:lnTo>
                    <a:pt x="1007" y="389"/>
                  </a:lnTo>
                  <a:lnTo>
                    <a:pt x="1005" y="390"/>
                  </a:lnTo>
                  <a:lnTo>
                    <a:pt x="1005" y="392"/>
                  </a:lnTo>
                  <a:lnTo>
                    <a:pt x="1005" y="390"/>
                  </a:lnTo>
                  <a:lnTo>
                    <a:pt x="1005" y="392"/>
                  </a:lnTo>
                  <a:lnTo>
                    <a:pt x="1005" y="394"/>
                  </a:lnTo>
                  <a:lnTo>
                    <a:pt x="1005" y="395"/>
                  </a:lnTo>
                  <a:lnTo>
                    <a:pt x="1005" y="397"/>
                  </a:lnTo>
                  <a:lnTo>
                    <a:pt x="1005" y="395"/>
                  </a:lnTo>
                  <a:lnTo>
                    <a:pt x="1005" y="394"/>
                  </a:lnTo>
                  <a:lnTo>
                    <a:pt x="1005" y="392"/>
                  </a:lnTo>
                  <a:lnTo>
                    <a:pt x="1005" y="390"/>
                  </a:lnTo>
                  <a:lnTo>
                    <a:pt x="1007" y="390"/>
                  </a:lnTo>
                  <a:lnTo>
                    <a:pt x="1007" y="389"/>
                  </a:lnTo>
                  <a:lnTo>
                    <a:pt x="1007" y="387"/>
                  </a:lnTo>
                  <a:lnTo>
                    <a:pt x="1009" y="387"/>
                  </a:lnTo>
                  <a:lnTo>
                    <a:pt x="1010" y="386"/>
                  </a:lnTo>
                  <a:lnTo>
                    <a:pt x="1012" y="386"/>
                  </a:lnTo>
                  <a:lnTo>
                    <a:pt x="1010" y="386"/>
                  </a:lnTo>
                  <a:lnTo>
                    <a:pt x="1012" y="386"/>
                  </a:lnTo>
                  <a:lnTo>
                    <a:pt x="1012" y="384"/>
                  </a:lnTo>
                  <a:lnTo>
                    <a:pt x="1012" y="386"/>
                  </a:lnTo>
                  <a:lnTo>
                    <a:pt x="1012" y="384"/>
                  </a:lnTo>
                  <a:lnTo>
                    <a:pt x="1013" y="384"/>
                  </a:lnTo>
                  <a:lnTo>
                    <a:pt x="1012" y="384"/>
                  </a:lnTo>
                  <a:lnTo>
                    <a:pt x="1013" y="384"/>
                  </a:lnTo>
                  <a:lnTo>
                    <a:pt x="1015" y="384"/>
                  </a:lnTo>
                  <a:lnTo>
                    <a:pt x="1015" y="382"/>
                  </a:lnTo>
                  <a:lnTo>
                    <a:pt x="1017" y="384"/>
                  </a:lnTo>
                  <a:lnTo>
                    <a:pt x="1017" y="382"/>
                  </a:lnTo>
                  <a:lnTo>
                    <a:pt x="1017" y="384"/>
                  </a:lnTo>
                  <a:lnTo>
                    <a:pt x="1017" y="382"/>
                  </a:lnTo>
                  <a:lnTo>
                    <a:pt x="1018" y="382"/>
                  </a:lnTo>
                  <a:lnTo>
                    <a:pt x="1020" y="382"/>
                  </a:lnTo>
                  <a:lnTo>
                    <a:pt x="1022" y="381"/>
                  </a:lnTo>
                  <a:lnTo>
                    <a:pt x="1023" y="379"/>
                  </a:lnTo>
                  <a:lnTo>
                    <a:pt x="1023" y="377"/>
                  </a:lnTo>
                  <a:lnTo>
                    <a:pt x="1023" y="379"/>
                  </a:lnTo>
                  <a:lnTo>
                    <a:pt x="1023" y="377"/>
                  </a:lnTo>
                  <a:lnTo>
                    <a:pt x="1025" y="377"/>
                  </a:lnTo>
                  <a:lnTo>
                    <a:pt x="1026" y="376"/>
                  </a:lnTo>
                  <a:lnTo>
                    <a:pt x="1028" y="374"/>
                  </a:lnTo>
                  <a:lnTo>
                    <a:pt x="1030" y="374"/>
                  </a:lnTo>
                  <a:lnTo>
                    <a:pt x="1031" y="373"/>
                  </a:lnTo>
                  <a:lnTo>
                    <a:pt x="1033" y="373"/>
                  </a:lnTo>
                  <a:lnTo>
                    <a:pt x="1033" y="371"/>
                  </a:lnTo>
                  <a:lnTo>
                    <a:pt x="1035" y="369"/>
                  </a:lnTo>
                  <a:lnTo>
                    <a:pt x="1036" y="369"/>
                  </a:lnTo>
                  <a:lnTo>
                    <a:pt x="1036" y="368"/>
                  </a:lnTo>
                  <a:lnTo>
                    <a:pt x="1036" y="369"/>
                  </a:lnTo>
                  <a:lnTo>
                    <a:pt x="1036" y="368"/>
                  </a:lnTo>
                  <a:lnTo>
                    <a:pt x="1038" y="368"/>
                  </a:lnTo>
                  <a:lnTo>
                    <a:pt x="1040" y="368"/>
                  </a:lnTo>
                  <a:lnTo>
                    <a:pt x="1041" y="368"/>
                  </a:lnTo>
                  <a:lnTo>
                    <a:pt x="1043" y="368"/>
                  </a:lnTo>
                  <a:lnTo>
                    <a:pt x="1041" y="368"/>
                  </a:lnTo>
                  <a:lnTo>
                    <a:pt x="1043" y="368"/>
                  </a:lnTo>
                  <a:lnTo>
                    <a:pt x="1044" y="369"/>
                  </a:lnTo>
                  <a:lnTo>
                    <a:pt x="1046" y="369"/>
                  </a:lnTo>
                  <a:lnTo>
                    <a:pt x="1044" y="369"/>
                  </a:lnTo>
                  <a:lnTo>
                    <a:pt x="1048" y="371"/>
                  </a:lnTo>
                  <a:lnTo>
                    <a:pt x="1048" y="373"/>
                  </a:lnTo>
                  <a:lnTo>
                    <a:pt x="1049" y="373"/>
                  </a:lnTo>
                  <a:lnTo>
                    <a:pt x="1049" y="374"/>
                  </a:lnTo>
                  <a:lnTo>
                    <a:pt x="1051" y="374"/>
                  </a:lnTo>
                  <a:lnTo>
                    <a:pt x="1051" y="376"/>
                  </a:lnTo>
                  <a:lnTo>
                    <a:pt x="1051" y="374"/>
                  </a:lnTo>
                  <a:lnTo>
                    <a:pt x="1053" y="374"/>
                  </a:lnTo>
                  <a:lnTo>
                    <a:pt x="1054" y="374"/>
                  </a:lnTo>
                  <a:lnTo>
                    <a:pt x="1053" y="373"/>
                  </a:lnTo>
                  <a:lnTo>
                    <a:pt x="1054" y="374"/>
                  </a:lnTo>
                  <a:lnTo>
                    <a:pt x="1057" y="373"/>
                  </a:lnTo>
                  <a:lnTo>
                    <a:pt x="1059" y="373"/>
                  </a:lnTo>
                  <a:lnTo>
                    <a:pt x="1062" y="373"/>
                  </a:lnTo>
                  <a:lnTo>
                    <a:pt x="1064" y="373"/>
                  </a:lnTo>
                  <a:lnTo>
                    <a:pt x="1066" y="373"/>
                  </a:lnTo>
                  <a:lnTo>
                    <a:pt x="1067" y="373"/>
                  </a:lnTo>
                  <a:lnTo>
                    <a:pt x="1067" y="374"/>
                  </a:lnTo>
                  <a:lnTo>
                    <a:pt x="1069" y="374"/>
                  </a:lnTo>
                  <a:lnTo>
                    <a:pt x="1070" y="376"/>
                  </a:lnTo>
                  <a:lnTo>
                    <a:pt x="1070" y="374"/>
                  </a:lnTo>
                  <a:lnTo>
                    <a:pt x="1070" y="376"/>
                  </a:lnTo>
                  <a:lnTo>
                    <a:pt x="1074" y="377"/>
                  </a:lnTo>
                  <a:lnTo>
                    <a:pt x="1074" y="379"/>
                  </a:lnTo>
                  <a:lnTo>
                    <a:pt x="1075" y="379"/>
                  </a:lnTo>
                  <a:lnTo>
                    <a:pt x="1074" y="379"/>
                  </a:lnTo>
                  <a:lnTo>
                    <a:pt x="1074" y="381"/>
                  </a:lnTo>
                  <a:lnTo>
                    <a:pt x="1074" y="382"/>
                  </a:lnTo>
                  <a:lnTo>
                    <a:pt x="1075" y="382"/>
                  </a:lnTo>
                  <a:lnTo>
                    <a:pt x="1074" y="382"/>
                  </a:lnTo>
                  <a:lnTo>
                    <a:pt x="1075" y="381"/>
                  </a:lnTo>
                  <a:lnTo>
                    <a:pt x="1074" y="381"/>
                  </a:lnTo>
                  <a:lnTo>
                    <a:pt x="1075" y="381"/>
                  </a:lnTo>
                  <a:lnTo>
                    <a:pt x="1074" y="381"/>
                  </a:lnTo>
                  <a:lnTo>
                    <a:pt x="1075" y="381"/>
                  </a:lnTo>
                  <a:lnTo>
                    <a:pt x="1074" y="382"/>
                  </a:lnTo>
                  <a:lnTo>
                    <a:pt x="1074" y="384"/>
                  </a:lnTo>
                  <a:lnTo>
                    <a:pt x="1074" y="386"/>
                  </a:lnTo>
                  <a:lnTo>
                    <a:pt x="1072" y="386"/>
                  </a:lnTo>
                  <a:lnTo>
                    <a:pt x="1070" y="386"/>
                  </a:lnTo>
                  <a:lnTo>
                    <a:pt x="1070" y="387"/>
                  </a:lnTo>
                  <a:lnTo>
                    <a:pt x="1069" y="390"/>
                  </a:lnTo>
                  <a:lnTo>
                    <a:pt x="1069" y="392"/>
                  </a:lnTo>
                  <a:lnTo>
                    <a:pt x="1067" y="392"/>
                  </a:lnTo>
                  <a:lnTo>
                    <a:pt x="1069" y="394"/>
                  </a:lnTo>
                  <a:lnTo>
                    <a:pt x="1069" y="395"/>
                  </a:lnTo>
                  <a:lnTo>
                    <a:pt x="1067" y="395"/>
                  </a:lnTo>
                  <a:lnTo>
                    <a:pt x="1067" y="397"/>
                  </a:lnTo>
                  <a:lnTo>
                    <a:pt x="1067" y="399"/>
                  </a:lnTo>
                  <a:lnTo>
                    <a:pt x="1069" y="400"/>
                  </a:lnTo>
                  <a:lnTo>
                    <a:pt x="1067" y="403"/>
                  </a:lnTo>
                  <a:lnTo>
                    <a:pt x="1066" y="405"/>
                  </a:lnTo>
                  <a:lnTo>
                    <a:pt x="1064" y="407"/>
                  </a:lnTo>
                  <a:lnTo>
                    <a:pt x="1066" y="407"/>
                  </a:lnTo>
                  <a:lnTo>
                    <a:pt x="1066" y="405"/>
                  </a:lnTo>
                  <a:lnTo>
                    <a:pt x="1067" y="405"/>
                  </a:lnTo>
                  <a:lnTo>
                    <a:pt x="1066" y="405"/>
                  </a:lnTo>
                  <a:lnTo>
                    <a:pt x="1067" y="405"/>
                  </a:lnTo>
                  <a:lnTo>
                    <a:pt x="1067" y="407"/>
                  </a:lnTo>
                  <a:lnTo>
                    <a:pt x="1067" y="405"/>
                  </a:lnTo>
                  <a:lnTo>
                    <a:pt x="1069" y="405"/>
                  </a:lnTo>
                  <a:lnTo>
                    <a:pt x="1069" y="407"/>
                  </a:lnTo>
                  <a:lnTo>
                    <a:pt x="1069" y="408"/>
                  </a:lnTo>
                  <a:lnTo>
                    <a:pt x="1069" y="407"/>
                  </a:lnTo>
                  <a:lnTo>
                    <a:pt x="1070" y="408"/>
                  </a:lnTo>
                  <a:lnTo>
                    <a:pt x="1069" y="408"/>
                  </a:lnTo>
                  <a:lnTo>
                    <a:pt x="1069" y="410"/>
                  </a:lnTo>
                  <a:lnTo>
                    <a:pt x="1069" y="408"/>
                  </a:lnTo>
                  <a:lnTo>
                    <a:pt x="1069" y="410"/>
                  </a:lnTo>
                  <a:lnTo>
                    <a:pt x="1072" y="413"/>
                  </a:lnTo>
                  <a:lnTo>
                    <a:pt x="1074" y="413"/>
                  </a:lnTo>
                  <a:lnTo>
                    <a:pt x="1075" y="412"/>
                  </a:lnTo>
                  <a:lnTo>
                    <a:pt x="1075" y="410"/>
                  </a:lnTo>
                  <a:lnTo>
                    <a:pt x="1077" y="410"/>
                  </a:lnTo>
                  <a:lnTo>
                    <a:pt x="1080" y="413"/>
                  </a:lnTo>
                  <a:lnTo>
                    <a:pt x="1080" y="415"/>
                  </a:lnTo>
                  <a:lnTo>
                    <a:pt x="1082" y="415"/>
                  </a:lnTo>
                  <a:lnTo>
                    <a:pt x="1083" y="417"/>
                  </a:lnTo>
                  <a:lnTo>
                    <a:pt x="1083" y="418"/>
                  </a:lnTo>
                  <a:lnTo>
                    <a:pt x="1085" y="420"/>
                  </a:lnTo>
                  <a:lnTo>
                    <a:pt x="1083" y="421"/>
                  </a:lnTo>
                  <a:lnTo>
                    <a:pt x="1085" y="423"/>
                  </a:lnTo>
                  <a:lnTo>
                    <a:pt x="1087" y="423"/>
                  </a:lnTo>
                  <a:lnTo>
                    <a:pt x="1087" y="425"/>
                  </a:lnTo>
                  <a:lnTo>
                    <a:pt x="1088" y="425"/>
                  </a:lnTo>
                  <a:lnTo>
                    <a:pt x="1088" y="426"/>
                  </a:lnTo>
                  <a:lnTo>
                    <a:pt x="1088" y="428"/>
                  </a:lnTo>
                  <a:lnTo>
                    <a:pt x="1088" y="430"/>
                  </a:lnTo>
                  <a:lnTo>
                    <a:pt x="1088" y="431"/>
                  </a:lnTo>
                  <a:lnTo>
                    <a:pt x="1090" y="433"/>
                  </a:lnTo>
                  <a:lnTo>
                    <a:pt x="1090" y="434"/>
                  </a:lnTo>
                  <a:lnTo>
                    <a:pt x="1092" y="434"/>
                  </a:lnTo>
                  <a:lnTo>
                    <a:pt x="1092" y="436"/>
                  </a:lnTo>
                  <a:lnTo>
                    <a:pt x="1090" y="438"/>
                  </a:lnTo>
                  <a:lnTo>
                    <a:pt x="1088" y="439"/>
                  </a:lnTo>
                  <a:lnTo>
                    <a:pt x="1088" y="441"/>
                  </a:lnTo>
                  <a:lnTo>
                    <a:pt x="1090" y="441"/>
                  </a:lnTo>
                  <a:lnTo>
                    <a:pt x="1090" y="443"/>
                  </a:lnTo>
                  <a:lnTo>
                    <a:pt x="1090" y="444"/>
                  </a:lnTo>
                  <a:lnTo>
                    <a:pt x="1092" y="444"/>
                  </a:lnTo>
                  <a:lnTo>
                    <a:pt x="1093" y="444"/>
                  </a:lnTo>
                  <a:lnTo>
                    <a:pt x="1092" y="447"/>
                  </a:lnTo>
                  <a:lnTo>
                    <a:pt x="1093" y="446"/>
                  </a:lnTo>
                  <a:lnTo>
                    <a:pt x="1093" y="444"/>
                  </a:lnTo>
                  <a:lnTo>
                    <a:pt x="1092" y="444"/>
                  </a:lnTo>
                  <a:lnTo>
                    <a:pt x="1090" y="444"/>
                  </a:lnTo>
                  <a:lnTo>
                    <a:pt x="1090" y="443"/>
                  </a:lnTo>
                  <a:lnTo>
                    <a:pt x="1090" y="441"/>
                  </a:lnTo>
                  <a:lnTo>
                    <a:pt x="1088" y="441"/>
                  </a:lnTo>
                  <a:lnTo>
                    <a:pt x="1088" y="439"/>
                  </a:lnTo>
                  <a:lnTo>
                    <a:pt x="1090" y="438"/>
                  </a:lnTo>
                  <a:lnTo>
                    <a:pt x="1092" y="436"/>
                  </a:lnTo>
                  <a:lnTo>
                    <a:pt x="1092" y="434"/>
                  </a:lnTo>
                  <a:lnTo>
                    <a:pt x="1090" y="434"/>
                  </a:lnTo>
                  <a:lnTo>
                    <a:pt x="1090" y="433"/>
                  </a:lnTo>
                  <a:lnTo>
                    <a:pt x="1088" y="431"/>
                  </a:lnTo>
                  <a:lnTo>
                    <a:pt x="1090" y="430"/>
                  </a:lnTo>
                  <a:lnTo>
                    <a:pt x="1088" y="428"/>
                  </a:lnTo>
                  <a:lnTo>
                    <a:pt x="1090" y="428"/>
                  </a:lnTo>
                  <a:lnTo>
                    <a:pt x="1093" y="430"/>
                  </a:lnTo>
                  <a:lnTo>
                    <a:pt x="1095" y="430"/>
                  </a:lnTo>
                  <a:lnTo>
                    <a:pt x="1095" y="431"/>
                  </a:lnTo>
                  <a:lnTo>
                    <a:pt x="1096" y="431"/>
                  </a:lnTo>
                  <a:lnTo>
                    <a:pt x="1098" y="431"/>
                  </a:lnTo>
                  <a:lnTo>
                    <a:pt x="1098" y="433"/>
                  </a:lnTo>
                  <a:lnTo>
                    <a:pt x="1100" y="433"/>
                  </a:lnTo>
                  <a:lnTo>
                    <a:pt x="1100" y="434"/>
                  </a:lnTo>
                  <a:lnTo>
                    <a:pt x="1098" y="436"/>
                  </a:lnTo>
                  <a:lnTo>
                    <a:pt x="1098" y="438"/>
                  </a:lnTo>
                  <a:lnTo>
                    <a:pt x="1098" y="439"/>
                  </a:lnTo>
                  <a:lnTo>
                    <a:pt x="1098" y="441"/>
                  </a:lnTo>
                  <a:lnTo>
                    <a:pt x="1098" y="443"/>
                  </a:lnTo>
                  <a:lnTo>
                    <a:pt x="1100" y="443"/>
                  </a:lnTo>
                  <a:lnTo>
                    <a:pt x="1100" y="444"/>
                  </a:lnTo>
                  <a:lnTo>
                    <a:pt x="1101" y="444"/>
                  </a:lnTo>
                  <a:lnTo>
                    <a:pt x="1101" y="446"/>
                  </a:lnTo>
                  <a:lnTo>
                    <a:pt x="1103" y="446"/>
                  </a:lnTo>
                  <a:lnTo>
                    <a:pt x="1103" y="447"/>
                  </a:lnTo>
                  <a:lnTo>
                    <a:pt x="1101" y="449"/>
                  </a:lnTo>
                  <a:lnTo>
                    <a:pt x="1103" y="449"/>
                  </a:lnTo>
                  <a:lnTo>
                    <a:pt x="1105" y="449"/>
                  </a:lnTo>
                  <a:lnTo>
                    <a:pt x="1108" y="451"/>
                  </a:lnTo>
                  <a:lnTo>
                    <a:pt x="1108" y="452"/>
                  </a:lnTo>
                  <a:lnTo>
                    <a:pt x="1109" y="452"/>
                  </a:lnTo>
                  <a:lnTo>
                    <a:pt x="1109" y="454"/>
                  </a:lnTo>
                  <a:lnTo>
                    <a:pt x="1111" y="454"/>
                  </a:lnTo>
                  <a:lnTo>
                    <a:pt x="1109" y="456"/>
                  </a:lnTo>
                  <a:lnTo>
                    <a:pt x="1111" y="456"/>
                  </a:lnTo>
                  <a:lnTo>
                    <a:pt x="1111" y="454"/>
                  </a:lnTo>
                  <a:lnTo>
                    <a:pt x="1113" y="456"/>
                  </a:lnTo>
                  <a:lnTo>
                    <a:pt x="1114" y="457"/>
                  </a:lnTo>
                  <a:lnTo>
                    <a:pt x="1116" y="459"/>
                  </a:lnTo>
                  <a:lnTo>
                    <a:pt x="1116" y="460"/>
                  </a:lnTo>
                  <a:lnTo>
                    <a:pt x="1118" y="462"/>
                  </a:lnTo>
                  <a:lnTo>
                    <a:pt x="1121" y="464"/>
                  </a:lnTo>
                  <a:lnTo>
                    <a:pt x="1119" y="464"/>
                  </a:lnTo>
                  <a:lnTo>
                    <a:pt x="1121" y="464"/>
                  </a:lnTo>
                  <a:lnTo>
                    <a:pt x="1121" y="465"/>
                  </a:lnTo>
                  <a:lnTo>
                    <a:pt x="1122" y="465"/>
                  </a:lnTo>
                  <a:lnTo>
                    <a:pt x="1124" y="465"/>
                  </a:lnTo>
                  <a:lnTo>
                    <a:pt x="1122" y="465"/>
                  </a:lnTo>
                  <a:lnTo>
                    <a:pt x="1124" y="465"/>
                  </a:lnTo>
                  <a:lnTo>
                    <a:pt x="1126" y="467"/>
                  </a:lnTo>
                  <a:lnTo>
                    <a:pt x="1127" y="469"/>
                  </a:lnTo>
                  <a:lnTo>
                    <a:pt x="1129" y="470"/>
                  </a:lnTo>
                  <a:lnTo>
                    <a:pt x="1129" y="472"/>
                  </a:lnTo>
                  <a:lnTo>
                    <a:pt x="1129" y="473"/>
                  </a:lnTo>
                  <a:lnTo>
                    <a:pt x="1131" y="473"/>
                  </a:lnTo>
                  <a:lnTo>
                    <a:pt x="1131" y="475"/>
                  </a:lnTo>
                  <a:lnTo>
                    <a:pt x="1131" y="477"/>
                  </a:lnTo>
                  <a:lnTo>
                    <a:pt x="1131" y="475"/>
                  </a:lnTo>
                  <a:lnTo>
                    <a:pt x="1132" y="475"/>
                  </a:lnTo>
                  <a:lnTo>
                    <a:pt x="1132" y="473"/>
                  </a:lnTo>
                  <a:lnTo>
                    <a:pt x="1134" y="473"/>
                  </a:lnTo>
                  <a:lnTo>
                    <a:pt x="1132" y="473"/>
                  </a:lnTo>
                  <a:lnTo>
                    <a:pt x="1132" y="475"/>
                  </a:lnTo>
                  <a:lnTo>
                    <a:pt x="1131" y="475"/>
                  </a:lnTo>
                  <a:lnTo>
                    <a:pt x="1131" y="473"/>
                  </a:lnTo>
                  <a:lnTo>
                    <a:pt x="1129" y="473"/>
                  </a:lnTo>
                  <a:lnTo>
                    <a:pt x="1129" y="472"/>
                  </a:lnTo>
                  <a:lnTo>
                    <a:pt x="1131" y="472"/>
                  </a:lnTo>
                  <a:lnTo>
                    <a:pt x="1129" y="470"/>
                  </a:lnTo>
                  <a:lnTo>
                    <a:pt x="1127" y="469"/>
                  </a:lnTo>
                  <a:lnTo>
                    <a:pt x="1126" y="467"/>
                  </a:lnTo>
                  <a:lnTo>
                    <a:pt x="1124" y="465"/>
                  </a:lnTo>
                  <a:lnTo>
                    <a:pt x="1122" y="465"/>
                  </a:lnTo>
                  <a:lnTo>
                    <a:pt x="1121" y="465"/>
                  </a:lnTo>
                  <a:lnTo>
                    <a:pt x="1121" y="464"/>
                  </a:lnTo>
                  <a:lnTo>
                    <a:pt x="1119" y="464"/>
                  </a:lnTo>
                  <a:lnTo>
                    <a:pt x="1121" y="464"/>
                  </a:lnTo>
                  <a:lnTo>
                    <a:pt x="1119" y="462"/>
                  </a:lnTo>
                  <a:lnTo>
                    <a:pt x="1118" y="462"/>
                  </a:lnTo>
                  <a:lnTo>
                    <a:pt x="1118" y="460"/>
                  </a:lnTo>
                  <a:lnTo>
                    <a:pt x="1116" y="460"/>
                  </a:lnTo>
                  <a:lnTo>
                    <a:pt x="1116" y="459"/>
                  </a:lnTo>
                  <a:lnTo>
                    <a:pt x="1114" y="459"/>
                  </a:lnTo>
                  <a:lnTo>
                    <a:pt x="1114" y="457"/>
                  </a:lnTo>
                  <a:lnTo>
                    <a:pt x="1113" y="456"/>
                  </a:lnTo>
                  <a:lnTo>
                    <a:pt x="1111" y="454"/>
                  </a:lnTo>
                  <a:lnTo>
                    <a:pt x="1109" y="454"/>
                  </a:lnTo>
                  <a:lnTo>
                    <a:pt x="1109" y="452"/>
                  </a:lnTo>
                  <a:lnTo>
                    <a:pt x="1108" y="451"/>
                  </a:lnTo>
                  <a:lnTo>
                    <a:pt x="1109" y="451"/>
                  </a:lnTo>
                  <a:lnTo>
                    <a:pt x="1108" y="451"/>
                  </a:lnTo>
                  <a:lnTo>
                    <a:pt x="1108" y="449"/>
                  </a:lnTo>
                  <a:lnTo>
                    <a:pt x="1105" y="449"/>
                  </a:lnTo>
                  <a:lnTo>
                    <a:pt x="1103" y="449"/>
                  </a:lnTo>
                  <a:lnTo>
                    <a:pt x="1101" y="449"/>
                  </a:lnTo>
                  <a:lnTo>
                    <a:pt x="1103" y="447"/>
                  </a:lnTo>
                  <a:lnTo>
                    <a:pt x="1103" y="446"/>
                  </a:lnTo>
                  <a:lnTo>
                    <a:pt x="1101" y="444"/>
                  </a:lnTo>
                  <a:lnTo>
                    <a:pt x="1100" y="443"/>
                  </a:lnTo>
                  <a:lnTo>
                    <a:pt x="1098" y="443"/>
                  </a:lnTo>
                  <a:lnTo>
                    <a:pt x="1098" y="441"/>
                  </a:lnTo>
                  <a:lnTo>
                    <a:pt x="1100" y="441"/>
                  </a:lnTo>
                  <a:lnTo>
                    <a:pt x="1098" y="439"/>
                  </a:lnTo>
                  <a:lnTo>
                    <a:pt x="1098" y="438"/>
                  </a:lnTo>
                  <a:lnTo>
                    <a:pt x="1098" y="436"/>
                  </a:lnTo>
                  <a:lnTo>
                    <a:pt x="1100" y="436"/>
                  </a:lnTo>
                  <a:lnTo>
                    <a:pt x="1100" y="434"/>
                  </a:lnTo>
                  <a:lnTo>
                    <a:pt x="1098" y="433"/>
                  </a:lnTo>
                  <a:lnTo>
                    <a:pt x="1098" y="431"/>
                  </a:lnTo>
                  <a:lnTo>
                    <a:pt x="1095" y="431"/>
                  </a:lnTo>
                  <a:lnTo>
                    <a:pt x="1095" y="430"/>
                  </a:lnTo>
                  <a:lnTo>
                    <a:pt x="1093" y="430"/>
                  </a:lnTo>
                  <a:lnTo>
                    <a:pt x="1090" y="428"/>
                  </a:lnTo>
                  <a:lnTo>
                    <a:pt x="1088" y="426"/>
                  </a:lnTo>
                  <a:lnTo>
                    <a:pt x="1088" y="425"/>
                  </a:lnTo>
                  <a:lnTo>
                    <a:pt x="1087" y="425"/>
                  </a:lnTo>
                  <a:lnTo>
                    <a:pt x="1087" y="423"/>
                  </a:lnTo>
                  <a:lnTo>
                    <a:pt x="1085" y="421"/>
                  </a:lnTo>
                  <a:lnTo>
                    <a:pt x="1085" y="420"/>
                  </a:lnTo>
                  <a:lnTo>
                    <a:pt x="1085" y="418"/>
                  </a:lnTo>
                  <a:lnTo>
                    <a:pt x="1083" y="417"/>
                  </a:lnTo>
                  <a:lnTo>
                    <a:pt x="1083" y="415"/>
                  </a:lnTo>
                  <a:lnTo>
                    <a:pt x="1082" y="415"/>
                  </a:lnTo>
                  <a:lnTo>
                    <a:pt x="1082" y="413"/>
                  </a:lnTo>
                  <a:lnTo>
                    <a:pt x="1080" y="412"/>
                  </a:lnTo>
                  <a:lnTo>
                    <a:pt x="1077" y="410"/>
                  </a:lnTo>
                  <a:lnTo>
                    <a:pt x="1074" y="408"/>
                  </a:lnTo>
                  <a:lnTo>
                    <a:pt x="1074" y="412"/>
                  </a:lnTo>
                  <a:lnTo>
                    <a:pt x="1072" y="412"/>
                  </a:lnTo>
                  <a:lnTo>
                    <a:pt x="1070" y="412"/>
                  </a:lnTo>
                  <a:lnTo>
                    <a:pt x="1070" y="410"/>
                  </a:lnTo>
                  <a:lnTo>
                    <a:pt x="1070" y="408"/>
                  </a:lnTo>
                  <a:lnTo>
                    <a:pt x="1070" y="407"/>
                  </a:lnTo>
                  <a:lnTo>
                    <a:pt x="1070" y="405"/>
                  </a:lnTo>
                  <a:lnTo>
                    <a:pt x="1070" y="403"/>
                  </a:lnTo>
                  <a:lnTo>
                    <a:pt x="1070" y="400"/>
                  </a:lnTo>
                  <a:lnTo>
                    <a:pt x="1070" y="397"/>
                  </a:lnTo>
                  <a:lnTo>
                    <a:pt x="1072" y="394"/>
                  </a:lnTo>
                  <a:lnTo>
                    <a:pt x="1074" y="392"/>
                  </a:lnTo>
                  <a:lnTo>
                    <a:pt x="1075" y="390"/>
                  </a:lnTo>
                  <a:lnTo>
                    <a:pt x="1077" y="390"/>
                  </a:lnTo>
                  <a:lnTo>
                    <a:pt x="1075" y="390"/>
                  </a:lnTo>
                  <a:lnTo>
                    <a:pt x="1077" y="389"/>
                  </a:lnTo>
                  <a:lnTo>
                    <a:pt x="1077" y="387"/>
                  </a:lnTo>
                  <a:lnTo>
                    <a:pt x="1079" y="386"/>
                  </a:lnTo>
                  <a:lnTo>
                    <a:pt x="1079" y="384"/>
                  </a:lnTo>
                  <a:lnTo>
                    <a:pt x="1079" y="382"/>
                  </a:lnTo>
                  <a:lnTo>
                    <a:pt x="1079" y="381"/>
                  </a:lnTo>
                  <a:lnTo>
                    <a:pt x="1079" y="382"/>
                  </a:lnTo>
                  <a:lnTo>
                    <a:pt x="1079" y="381"/>
                  </a:lnTo>
                  <a:lnTo>
                    <a:pt x="1079" y="382"/>
                  </a:lnTo>
                  <a:lnTo>
                    <a:pt x="1080" y="382"/>
                  </a:lnTo>
                  <a:lnTo>
                    <a:pt x="1080" y="384"/>
                  </a:lnTo>
                  <a:lnTo>
                    <a:pt x="1082" y="382"/>
                  </a:lnTo>
                  <a:lnTo>
                    <a:pt x="1080" y="382"/>
                  </a:lnTo>
                  <a:lnTo>
                    <a:pt x="1082" y="382"/>
                  </a:lnTo>
                  <a:lnTo>
                    <a:pt x="1082" y="384"/>
                  </a:lnTo>
                  <a:lnTo>
                    <a:pt x="1082" y="382"/>
                  </a:lnTo>
                  <a:lnTo>
                    <a:pt x="1080" y="382"/>
                  </a:lnTo>
                  <a:lnTo>
                    <a:pt x="1082" y="382"/>
                  </a:lnTo>
                  <a:lnTo>
                    <a:pt x="1082" y="381"/>
                  </a:lnTo>
                  <a:lnTo>
                    <a:pt x="1083" y="381"/>
                  </a:lnTo>
                  <a:lnTo>
                    <a:pt x="1083" y="379"/>
                  </a:lnTo>
                  <a:lnTo>
                    <a:pt x="1085" y="379"/>
                  </a:lnTo>
                  <a:lnTo>
                    <a:pt x="1087" y="379"/>
                  </a:lnTo>
                  <a:lnTo>
                    <a:pt x="1085" y="379"/>
                  </a:lnTo>
                  <a:lnTo>
                    <a:pt x="1087" y="379"/>
                  </a:lnTo>
                  <a:lnTo>
                    <a:pt x="1088" y="379"/>
                  </a:lnTo>
                  <a:lnTo>
                    <a:pt x="1090" y="379"/>
                  </a:lnTo>
                  <a:lnTo>
                    <a:pt x="1090" y="381"/>
                  </a:lnTo>
                  <a:lnTo>
                    <a:pt x="1092" y="382"/>
                  </a:lnTo>
                  <a:lnTo>
                    <a:pt x="1093" y="382"/>
                  </a:lnTo>
                  <a:lnTo>
                    <a:pt x="1093" y="384"/>
                  </a:lnTo>
                  <a:lnTo>
                    <a:pt x="1095" y="386"/>
                  </a:lnTo>
                  <a:lnTo>
                    <a:pt x="1096" y="387"/>
                  </a:lnTo>
                  <a:lnTo>
                    <a:pt x="1098" y="387"/>
                  </a:lnTo>
                  <a:lnTo>
                    <a:pt x="1101" y="389"/>
                  </a:lnTo>
                  <a:lnTo>
                    <a:pt x="1103" y="389"/>
                  </a:lnTo>
                  <a:lnTo>
                    <a:pt x="1105" y="389"/>
                  </a:lnTo>
                  <a:lnTo>
                    <a:pt x="1106" y="389"/>
                  </a:lnTo>
                  <a:lnTo>
                    <a:pt x="1108" y="389"/>
                  </a:lnTo>
                  <a:lnTo>
                    <a:pt x="1108" y="390"/>
                  </a:lnTo>
                  <a:lnTo>
                    <a:pt x="1108" y="392"/>
                  </a:lnTo>
                  <a:lnTo>
                    <a:pt x="1108" y="395"/>
                  </a:lnTo>
                  <a:lnTo>
                    <a:pt x="1108" y="397"/>
                  </a:lnTo>
                  <a:lnTo>
                    <a:pt x="1109" y="400"/>
                  </a:lnTo>
                  <a:lnTo>
                    <a:pt x="1111" y="400"/>
                  </a:lnTo>
                  <a:lnTo>
                    <a:pt x="1109" y="399"/>
                  </a:lnTo>
                  <a:lnTo>
                    <a:pt x="1111" y="400"/>
                  </a:lnTo>
                  <a:lnTo>
                    <a:pt x="1111" y="402"/>
                  </a:lnTo>
                  <a:lnTo>
                    <a:pt x="1113" y="402"/>
                  </a:lnTo>
                  <a:lnTo>
                    <a:pt x="1114" y="403"/>
                  </a:lnTo>
                  <a:lnTo>
                    <a:pt x="1116" y="402"/>
                  </a:lnTo>
                  <a:lnTo>
                    <a:pt x="1116" y="403"/>
                  </a:lnTo>
                  <a:lnTo>
                    <a:pt x="1118" y="403"/>
                  </a:lnTo>
                  <a:lnTo>
                    <a:pt x="1119" y="405"/>
                  </a:lnTo>
                  <a:lnTo>
                    <a:pt x="1121" y="407"/>
                  </a:lnTo>
                  <a:lnTo>
                    <a:pt x="1122" y="410"/>
                  </a:lnTo>
                  <a:lnTo>
                    <a:pt x="1126" y="412"/>
                  </a:lnTo>
                  <a:lnTo>
                    <a:pt x="1127" y="413"/>
                  </a:lnTo>
                  <a:lnTo>
                    <a:pt x="1127" y="415"/>
                  </a:lnTo>
                  <a:lnTo>
                    <a:pt x="1129" y="417"/>
                  </a:lnTo>
                  <a:lnTo>
                    <a:pt x="1131" y="417"/>
                  </a:lnTo>
                  <a:lnTo>
                    <a:pt x="1132" y="418"/>
                  </a:lnTo>
                  <a:lnTo>
                    <a:pt x="1132" y="420"/>
                  </a:lnTo>
                  <a:lnTo>
                    <a:pt x="1135" y="421"/>
                  </a:lnTo>
                  <a:lnTo>
                    <a:pt x="1137" y="423"/>
                  </a:lnTo>
                  <a:lnTo>
                    <a:pt x="1140" y="426"/>
                  </a:lnTo>
                  <a:lnTo>
                    <a:pt x="1142" y="430"/>
                  </a:lnTo>
                  <a:lnTo>
                    <a:pt x="1144" y="431"/>
                  </a:lnTo>
                  <a:lnTo>
                    <a:pt x="1147" y="431"/>
                  </a:lnTo>
                  <a:lnTo>
                    <a:pt x="1148" y="431"/>
                  </a:lnTo>
                  <a:lnTo>
                    <a:pt x="1150" y="433"/>
                  </a:lnTo>
                  <a:lnTo>
                    <a:pt x="1152" y="433"/>
                  </a:lnTo>
                  <a:lnTo>
                    <a:pt x="1153" y="433"/>
                  </a:lnTo>
                  <a:lnTo>
                    <a:pt x="1153" y="434"/>
                  </a:lnTo>
                  <a:lnTo>
                    <a:pt x="1153" y="436"/>
                  </a:lnTo>
                  <a:lnTo>
                    <a:pt x="1155" y="436"/>
                  </a:lnTo>
                  <a:lnTo>
                    <a:pt x="1158" y="438"/>
                  </a:lnTo>
                  <a:lnTo>
                    <a:pt x="1155" y="436"/>
                  </a:lnTo>
                  <a:lnTo>
                    <a:pt x="1153" y="436"/>
                  </a:lnTo>
                  <a:lnTo>
                    <a:pt x="1153" y="434"/>
                  </a:lnTo>
                  <a:lnTo>
                    <a:pt x="1153" y="433"/>
                  </a:lnTo>
                  <a:lnTo>
                    <a:pt x="1155" y="434"/>
                  </a:lnTo>
                  <a:lnTo>
                    <a:pt x="1157" y="434"/>
                  </a:lnTo>
                  <a:lnTo>
                    <a:pt x="1158" y="434"/>
                  </a:lnTo>
                  <a:lnTo>
                    <a:pt x="1160" y="436"/>
                  </a:lnTo>
                  <a:lnTo>
                    <a:pt x="1161" y="436"/>
                  </a:lnTo>
                  <a:lnTo>
                    <a:pt x="1161" y="438"/>
                  </a:lnTo>
                  <a:lnTo>
                    <a:pt x="1160" y="436"/>
                  </a:lnTo>
                  <a:lnTo>
                    <a:pt x="1158" y="436"/>
                  </a:lnTo>
                  <a:lnTo>
                    <a:pt x="1157" y="434"/>
                  </a:lnTo>
                  <a:lnTo>
                    <a:pt x="1158" y="436"/>
                  </a:lnTo>
                  <a:lnTo>
                    <a:pt x="1160" y="436"/>
                  </a:lnTo>
                  <a:lnTo>
                    <a:pt x="1161" y="438"/>
                  </a:lnTo>
                  <a:lnTo>
                    <a:pt x="1161" y="436"/>
                  </a:lnTo>
                  <a:lnTo>
                    <a:pt x="1163" y="436"/>
                  </a:lnTo>
                  <a:lnTo>
                    <a:pt x="1165" y="436"/>
                  </a:lnTo>
                  <a:lnTo>
                    <a:pt x="1163" y="436"/>
                  </a:lnTo>
                  <a:lnTo>
                    <a:pt x="1161" y="436"/>
                  </a:lnTo>
                  <a:lnTo>
                    <a:pt x="1163" y="436"/>
                  </a:lnTo>
                  <a:lnTo>
                    <a:pt x="1165" y="436"/>
                  </a:lnTo>
                  <a:lnTo>
                    <a:pt x="1165" y="434"/>
                  </a:lnTo>
                  <a:lnTo>
                    <a:pt x="1166" y="434"/>
                  </a:lnTo>
                  <a:lnTo>
                    <a:pt x="1165" y="434"/>
                  </a:lnTo>
                  <a:lnTo>
                    <a:pt x="1166" y="434"/>
                  </a:lnTo>
                  <a:lnTo>
                    <a:pt x="1166" y="433"/>
                  </a:lnTo>
                  <a:lnTo>
                    <a:pt x="1166" y="434"/>
                  </a:lnTo>
                  <a:lnTo>
                    <a:pt x="1168" y="433"/>
                  </a:lnTo>
                  <a:lnTo>
                    <a:pt x="1170" y="433"/>
                  </a:lnTo>
                  <a:lnTo>
                    <a:pt x="1171" y="434"/>
                  </a:lnTo>
                  <a:lnTo>
                    <a:pt x="1171" y="436"/>
                  </a:lnTo>
                  <a:lnTo>
                    <a:pt x="1171" y="434"/>
                  </a:lnTo>
                  <a:lnTo>
                    <a:pt x="1174" y="436"/>
                  </a:lnTo>
                  <a:lnTo>
                    <a:pt x="1174" y="438"/>
                  </a:lnTo>
                  <a:lnTo>
                    <a:pt x="1176" y="438"/>
                  </a:lnTo>
                  <a:lnTo>
                    <a:pt x="1178" y="438"/>
                  </a:lnTo>
                  <a:lnTo>
                    <a:pt x="1179" y="438"/>
                  </a:lnTo>
                  <a:lnTo>
                    <a:pt x="1181" y="438"/>
                  </a:lnTo>
                  <a:lnTo>
                    <a:pt x="1183" y="439"/>
                  </a:lnTo>
                  <a:lnTo>
                    <a:pt x="1183" y="438"/>
                  </a:lnTo>
                  <a:lnTo>
                    <a:pt x="1184" y="438"/>
                  </a:lnTo>
                  <a:lnTo>
                    <a:pt x="1186" y="438"/>
                  </a:lnTo>
                  <a:lnTo>
                    <a:pt x="1184" y="438"/>
                  </a:lnTo>
                  <a:lnTo>
                    <a:pt x="1184" y="436"/>
                  </a:lnTo>
                  <a:lnTo>
                    <a:pt x="1186" y="436"/>
                  </a:lnTo>
                  <a:lnTo>
                    <a:pt x="1186" y="438"/>
                  </a:lnTo>
                  <a:lnTo>
                    <a:pt x="1188" y="436"/>
                  </a:lnTo>
                  <a:lnTo>
                    <a:pt x="1189" y="436"/>
                  </a:lnTo>
                  <a:lnTo>
                    <a:pt x="1191" y="436"/>
                  </a:lnTo>
                  <a:lnTo>
                    <a:pt x="1189" y="438"/>
                  </a:lnTo>
                  <a:lnTo>
                    <a:pt x="1188" y="438"/>
                  </a:lnTo>
                  <a:lnTo>
                    <a:pt x="1189" y="438"/>
                  </a:lnTo>
                  <a:lnTo>
                    <a:pt x="1188" y="438"/>
                  </a:lnTo>
                  <a:lnTo>
                    <a:pt x="1189" y="438"/>
                  </a:lnTo>
                  <a:lnTo>
                    <a:pt x="1191" y="438"/>
                  </a:lnTo>
                  <a:lnTo>
                    <a:pt x="1191" y="436"/>
                  </a:lnTo>
                  <a:lnTo>
                    <a:pt x="1192" y="438"/>
                  </a:lnTo>
                  <a:lnTo>
                    <a:pt x="1194" y="438"/>
                  </a:lnTo>
                  <a:lnTo>
                    <a:pt x="1196" y="438"/>
                  </a:lnTo>
                  <a:lnTo>
                    <a:pt x="1201" y="441"/>
                  </a:lnTo>
                  <a:lnTo>
                    <a:pt x="1202" y="443"/>
                  </a:lnTo>
                  <a:lnTo>
                    <a:pt x="1202" y="441"/>
                  </a:lnTo>
                  <a:lnTo>
                    <a:pt x="1201" y="441"/>
                  </a:lnTo>
                  <a:lnTo>
                    <a:pt x="1202" y="441"/>
                  </a:lnTo>
                  <a:lnTo>
                    <a:pt x="1204" y="443"/>
                  </a:lnTo>
                  <a:lnTo>
                    <a:pt x="1205" y="444"/>
                  </a:lnTo>
                  <a:lnTo>
                    <a:pt x="1207" y="446"/>
                  </a:lnTo>
                  <a:lnTo>
                    <a:pt x="1209" y="447"/>
                  </a:lnTo>
                  <a:lnTo>
                    <a:pt x="1209" y="446"/>
                  </a:lnTo>
                  <a:lnTo>
                    <a:pt x="1209" y="447"/>
                  </a:lnTo>
                  <a:lnTo>
                    <a:pt x="1210" y="449"/>
                  </a:lnTo>
                  <a:lnTo>
                    <a:pt x="1212" y="451"/>
                  </a:lnTo>
                  <a:lnTo>
                    <a:pt x="1212" y="452"/>
                  </a:lnTo>
                  <a:lnTo>
                    <a:pt x="1214" y="452"/>
                  </a:lnTo>
                  <a:lnTo>
                    <a:pt x="1215" y="452"/>
                  </a:lnTo>
                  <a:lnTo>
                    <a:pt x="1214" y="452"/>
                  </a:lnTo>
                  <a:lnTo>
                    <a:pt x="1215" y="452"/>
                  </a:lnTo>
                  <a:lnTo>
                    <a:pt x="1217" y="452"/>
                  </a:lnTo>
                  <a:lnTo>
                    <a:pt x="1215" y="452"/>
                  </a:lnTo>
                  <a:lnTo>
                    <a:pt x="1217" y="451"/>
                  </a:lnTo>
                  <a:lnTo>
                    <a:pt x="1218" y="452"/>
                  </a:lnTo>
                  <a:lnTo>
                    <a:pt x="1220" y="454"/>
                  </a:lnTo>
                  <a:lnTo>
                    <a:pt x="1220" y="456"/>
                  </a:lnTo>
                  <a:lnTo>
                    <a:pt x="1222" y="456"/>
                  </a:lnTo>
                  <a:lnTo>
                    <a:pt x="1220" y="456"/>
                  </a:lnTo>
                  <a:lnTo>
                    <a:pt x="1222" y="456"/>
                  </a:lnTo>
                  <a:lnTo>
                    <a:pt x="1222" y="454"/>
                  </a:lnTo>
                  <a:lnTo>
                    <a:pt x="1222" y="456"/>
                  </a:lnTo>
                  <a:lnTo>
                    <a:pt x="1223" y="456"/>
                  </a:lnTo>
                  <a:lnTo>
                    <a:pt x="1223" y="457"/>
                  </a:lnTo>
                  <a:lnTo>
                    <a:pt x="1225" y="459"/>
                  </a:lnTo>
                  <a:lnTo>
                    <a:pt x="1227" y="460"/>
                  </a:lnTo>
                  <a:lnTo>
                    <a:pt x="1227" y="459"/>
                  </a:lnTo>
                  <a:lnTo>
                    <a:pt x="1228" y="459"/>
                  </a:lnTo>
                  <a:lnTo>
                    <a:pt x="1228" y="460"/>
                  </a:lnTo>
                  <a:lnTo>
                    <a:pt x="1230" y="460"/>
                  </a:lnTo>
                  <a:lnTo>
                    <a:pt x="1233" y="460"/>
                  </a:lnTo>
                  <a:lnTo>
                    <a:pt x="1235" y="460"/>
                  </a:lnTo>
                  <a:lnTo>
                    <a:pt x="1236" y="460"/>
                  </a:lnTo>
                  <a:lnTo>
                    <a:pt x="1238" y="460"/>
                  </a:lnTo>
                  <a:lnTo>
                    <a:pt x="1240" y="460"/>
                  </a:lnTo>
                  <a:lnTo>
                    <a:pt x="1240" y="459"/>
                  </a:lnTo>
                  <a:lnTo>
                    <a:pt x="1241" y="459"/>
                  </a:lnTo>
                  <a:lnTo>
                    <a:pt x="1243" y="459"/>
                  </a:lnTo>
                  <a:lnTo>
                    <a:pt x="1244" y="460"/>
                  </a:lnTo>
                  <a:lnTo>
                    <a:pt x="1244" y="459"/>
                  </a:lnTo>
                  <a:lnTo>
                    <a:pt x="1243" y="459"/>
                  </a:lnTo>
                  <a:lnTo>
                    <a:pt x="1241" y="457"/>
                  </a:lnTo>
                  <a:lnTo>
                    <a:pt x="1243" y="457"/>
                  </a:lnTo>
                  <a:lnTo>
                    <a:pt x="1243" y="459"/>
                  </a:lnTo>
                  <a:lnTo>
                    <a:pt x="1243" y="457"/>
                  </a:lnTo>
                  <a:lnTo>
                    <a:pt x="1244" y="457"/>
                  </a:lnTo>
                  <a:lnTo>
                    <a:pt x="1246" y="459"/>
                  </a:lnTo>
                  <a:lnTo>
                    <a:pt x="1248" y="459"/>
                  </a:lnTo>
                  <a:lnTo>
                    <a:pt x="1248" y="460"/>
                  </a:lnTo>
                  <a:lnTo>
                    <a:pt x="1249" y="460"/>
                  </a:lnTo>
                  <a:lnTo>
                    <a:pt x="1248" y="460"/>
                  </a:lnTo>
                  <a:lnTo>
                    <a:pt x="1249" y="460"/>
                  </a:lnTo>
                  <a:lnTo>
                    <a:pt x="1251" y="462"/>
                  </a:lnTo>
                  <a:lnTo>
                    <a:pt x="1253" y="462"/>
                  </a:lnTo>
                  <a:lnTo>
                    <a:pt x="1254" y="462"/>
                  </a:lnTo>
                  <a:lnTo>
                    <a:pt x="1256" y="462"/>
                  </a:lnTo>
                  <a:lnTo>
                    <a:pt x="1257" y="464"/>
                  </a:lnTo>
                  <a:lnTo>
                    <a:pt x="1259" y="465"/>
                  </a:lnTo>
                  <a:lnTo>
                    <a:pt x="1261" y="467"/>
                  </a:lnTo>
                  <a:lnTo>
                    <a:pt x="1261" y="469"/>
                  </a:lnTo>
                  <a:lnTo>
                    <a:pt x="1261" y="470"/>
                  </a:lnTo>
                  <a:lnTo>
                    <a:pt x="1262" y="470"/>
                  </a:lnTo>
                  <a:lnTo>
                    <a:pt x="1264" y="472"/>
                  </a:lnTo>
                  <a:lnTo>
                    <a:pt x="1266" y="473"/>
                  </a:lnTo>
                  <a:lnTo>
                    <a:pt x="1267" y="473"/>
                  </a:lnTo>
                  <a:lnTo>
                    <a:pt x="1267" y="475"/>
                  </a:lnTo>
                  <a:lnTo>
                    <a:pt x="1267" y="477"/>
                  </a:lnTo>
                  <a:lnTo>
                    <a:pt x="1267" y="475"/>
                  </a:lnTo>
                  <a:lnTo>
                    <a:pt x="1267" y="473"/>
                  </a:lnTo>
                  <a:lnTo>
                    <a:pt x="1266" y="473"/>
                  </a:lnTo>
                  <a:lnTo>
                    <a:pt x="1264" y="472"/>
                  </a:lnTo>
                  <a:lnTo>
                    <a:pt x="1262" y="470"/>
                  </a:lnTo>
                  <a:lnTo>
                    <a:pt x="1261" y="470"/>
                  </a:lnTo>
                  <a:lnTo>
                    <a:pt x="1261" y="469"/>
                  </a:lnTo>
                  <a:lnTo>
                    <a:pt x="1261" y="467"/>
                  </a:lnTo>
                  <a:lnTo>
                    <a:pt x="1261" y="465"/>
                  </a:lnTo>
                  <a:lnTo>
                    <a:pt x="1259" y="465"/>
                  </a:lnTo>
                  <a:lnTo>
                    <a:pt x="1259" y="464"/>
                  </a:lnTo>
                  <a:lnTo>
                    <a:pt x="1257" y="464"/>
                  </a:lnTo>
                  <a:lnTo>
                    <a:pt x="1259" y="464"/>
                  </a:lnTo>
                  <a:lnTo>
                    <a:pt x="1257" y="464"/>
                  </a:lnTo>
                  <a:lnTo>
                    <a:pt x="1256" y="462"/>
                  </a:lnTo>
                  <a:lnTo>
                    <a:pt x="1257" y="462"/>
                  </a:lnTo>
                  <a:lnTo>
                    <a:pt x="1259" y="462"/>
                  </a:lnTo>
                  <a:lnTo>
                    <a:pt x="1259" y="464"/>
                  </a:lnTo>
                  <a:lnTo>
                    <a:pt x="1261" y="464"/>
                  </a:lnTo>
                  <a:lnTo>
                    <a:pt x="1259" y="464"/>
                  </a:lnTo>
                  <a:lnTo>
                    <a:pt x="1259" y="462"/>
                  </a:lnTo>
                  <a:lnTo>
                    <a:pt x="1257" y="462"/>
                  </a:lnTo>
                  <a:lnTo>
                    <a:pt x="1256" y="462"/>
                  </a:lnTo>
                  <a:lnTo>
                    <a:pt x="1254" y="460"/>
                  </a:lnTo>
                  <a:lnTo>
                    <a:pt x="1253" y="460"/>
                  </a:lnTo>
                  <a:lnTo>
                    <a:pt x="1251" y="460"/>
                  </a:lnTo>
                  <a:lnTo>
                    <a:pt x="1249" y="460"/>
                  </a:lnTo>
                  <a:lnTo>
                    <a:pt x="1246" y="457"/>
                  </a:lnTo>
                  <a:lnTo>
                    <a:pt x="1246" y="459"/>
                  </a:lnTo>
                  <a:lnTo>
                    <a:pt x="1246" y="457"/>
                  </a:lnTo>
                  <a:lnTo>
                    <a:pt x="1244" y="457"/>
                  </a:lnTo>
                  <a:lnTo>
                    <a:pt x="1243" y="457"/>
                  </a:lnTo>
                  <a:lnTo>
                    <a:pt x="1240" y="459"/>
                  </a:lnTo>
                  <a:lnTo>
                    <a:pt x="1238" y="459"/>
                  </a:lnTo>
                  <a:lnTo>
                    <a:pt x="1236" y="459"/>
                  </a:lnTo>
                  <a:lnTo>
                    <a:pt x="1235" y="460"/>
                  </a:lnTo>
                  <a:lnTo>
                    <a:pt x="1231" y="459"/>
                  </a:lnTo>
                  <a:lnTo>
                    <a:pt x="1230" y="459"/>
                  </a:lnTo>
                  <a:lnTo>
                    <a:pt x="1228" y="459"/>
                  </a:lnTo>
                  <a:lnTo>
                    <a:pt x="1227" y="459"/>
                  </a:lnTo>
                  <a:lnTo>
                    <a:pt x="1225" y="459"/>
                  </a:lnTo>
                  <a:lnTo>
                    <a:pt x="1225" y="457"/>
                  </a:lnTo>
                  <a:lnTo>
                    <a:pt x="1223" y="456"/>
                  </a:lnTo>
                  <a:lnTo>
                    <a:pt x="1223" y="454"/>
                  </a:lnTo>
                  <a:lnTo>
                    <a:pt x="1222" y="454"/>
                  </a:lnTo>
                  <a:lnTo>
                    <a:pt x="1220" y="451"/>
                  </a:lnTo>
                  <a:lnTo>
                    <a:pt x="1218" y="451"/>
                  </a:lnTo>
                  <a:lnTo>
                    <a:pt x="1217" y="451"/>
                  </a:lnTo>
                  <a:lnTo>
                    <a:pt x="1215" y="451"/>
                  </a:lnTo>
                  <a:lnTo>
                    <a:pt x="1214" y="452"/>
                  </a:lnTo>
                  <a:lnTo>
                    <a:pt x="1212" y="452"/>
                  </a:lnTo>
                  <a:lnTo>
                    <a:pt x="1212" y="451"/>
                  </a:lnTo>
                  <a:lnTo>
                    <a:pt x="1210" y="449"/>
                  </a:lnTo>
                  <a:lnTo>
                    <a:pt x="1210" y="447"/>
                  </a:lnTo>
                  <a:lnTo>
                    <a:pt x="1210" y="449"/>
                  </a:lnTo>
                  <a:lnTo>
                    <a:pt x="1210" y="447"/>
                  </a:lnTo>
                  <a:lnTo>
                    <a:pt x="1209" y="446"/>
                  </a:lnTo>
                  <a:lnTo>
                    <a:pt x="1209" y="444"/>
                  </a:lnTo>
                  <a:lnTo>
                    <a:pt x="1207" y="443"/>
                  </a:lnTo>
                  <a:lnTo>
                    <a:pt x="1205" y="443"/>
                  </a:lnTo>
                  <a:lnTo>
                    <a:pt x="1204" y="441"/>
                  </a:lnTo>
                  <a:lnTo>
                    <a:pt x="1202" y="441"/>
                  </a:lnTo>
                  <a:lnTo>
                    <a:pt x="1202" y="439"/>
                  </a:lnTo>
                  <a:lnTo>
                    <a:pt x="1201" y="439"/>
                  </a:lnTo>
                  <a:lnTo>
                    <a:pt x="1201" y="438"/>
                  </a:lnTo>
                  <a:lnTo>
                    <a:pt x="1199" y="438"/>
                  </a:lnTo>
                  <a:lnTo>
                    <a:pt x="1197" y="438"/>
                  </a:lnTo>
                  <a:lnTo>
                    <a:pt x="1197" y="436"/>
                  </a:lnTo>
                  <a:lnTo>
                    <a:pt x="1196" y="436"/>
                  </a:lnTo>
                  <a:lnTo>
                    <a:pt x="1194" y="436"/>
                  </a:lnTo>
                  <a:lnTo>
                    <a:pt x="1196" y="436"/>
                  </a:lnTo>
                  <a:lnTo>
                    <a:pt x="1194" y="436"/>
                  </a:lnTo>
                  <a:lnTo>
                    <a:pt x="1194" y="434"/>
                  </a:lnTo>
                  <a:lnTo>
                    <a:pt x="1192" y="434"/>
                  </a:lnTo>
                  <a:lnTo>
                    <a:pt x="1192" y="436"/>
                  </a:lnTo>
                  <a:lnTo>
                    <a:pt x="1191" y="434"/>
                  </a:lnTo>
                  <a:lnTo>
                    <a:pt x="1189" y="434"/>
                  </a:lnTo>
                  <a:lnTo>
                    <a:pt x="1184" y="436"/>
                  </a:lnTo>
                  <a:lnTo>
                    <a:pt x="1183" y="436"/>
                  </a:lnTo>
                  <a:lnTo>
                    <a:pt x="1181" y="438"/>
                  </a:lnTo>
                  <a:lnTo>
                    <a:pt x="1179" y="438"/>
                  </a:lnTo>
                  <a:lnTo>
                    <a:pt x="1178" y="438"/>
                  </a:lnTo>
                  <a:lnTo>
                    <a:pt x="1176" y="438"/>
                  </a:lnTo>
                  <a:lnTo>
                    <a:pt x="1174" y="436"/>
                  </a:lnTo>
                  <a:lnTo>
                    <a:pt x="1174" y="434"/>
                  </a:lnTo>
                  <a:lnTo>
                    <a:pt x="1173" y="434"/>
                  </a:lnTo>
                  <a:lnTo>
                    <a:pt x="1171" y="433"/>
                  </a:lnTo>
                  <a:lnTo>
                    <a:pt x="1168" y="433"/>
                  </a:lnTo>
                  <a:lnTo>
                    <a:pt x="1168" y="431"/>
                  </a:lnTo>
                  <a:lnTo>
                    <a:pt x="1168" y="433"/>
                  </a:lnTo>
                  <a:lnTo>
                    <a:pt x="1168" y="431"/>
                  </a:lnTo>
                  <a:lnTo>
                    <a:pt x="1168" y="430"/>
                  </a:lnTo>
                  <a:lnTo>
                    <a:pt x="1166" y="430"/>
                  </a:lnTo>
                  <a:lnTo>
                    <a:pt x="1165" y="428"/>
                  </a:lnTo>
                  <a:lnTo>
                    <a:pt x="1165" y="426"/>
                  </a:lnTo>
                  <a:lnTo>
                    <a:pt x="1165" y="425"/>
                  </a:lnTo>
                  <a:lnTo>
                    <a:pt x="1168" y="425"/>
                  </a:lnTo>
                  <a:lnTo>
                    <a:pt x="1170" y="425"/>
                  </a:lnTo>
                  <a:lnTo>
                    <a:pt x="1170" y="423"/>
                  </a:lnTo>
                  <a:lnTo>
                    <a:pt x="1171" y="423"/>
                  </a:lnTo>
                  <a:lnTo>
                    <a:pt x="1170" y="421"/>
                  </a:lnTo>
                  <a:lnTo>
                    <a:pt x="1168" y="421"/>
                  </a:lnTo>
                  <a:lnTo>
                    <a:pt x="1166" y="421"/>
                  </a:lnTo>
                  <a:lnTo>
                    <a:pt x="1166" y="420"/>
                  </a:lnTo>
                  <a:lnTo>
                    <a:pt x="1168" y="418"/>
                  </a:lnTo>
                  <a:lnTo>
                    <a:pt x="1170" y="418"/>
                  </a:lnTo>
                  <a:lnTo>
                    <a:pt x="1171" y="418"/>
                  </a:lnTo>
                  <a:lnTo>
                    <a:pt x="1171" y="420"/>
                  </a:lnTo>
                  <a:lnTo>
                    <a:pt x="1171" y="418"/>
                  </a:lnTo>
                  <a:lnTo>
                    <a:pt x="1171" y="417"/>
                  </a:lnTo>
                  <a:lnTo>
                    <a:pt x="1173" y="417"/>
                  </a:lnTo>
                  <a:lnTo>
                    <a:pt x="1173" y="415"/>
                  </a:lnTo>
                  <a:lnTo>
                    <a:pt x="1171" y="415"/>
                  </a:lnTo>
                  <a:lnTo>
                    <a:pt x="1170" y="415"/>
                  </a:lnTo>
                  <a:lnTo>
                    <a:pt x="1168" y="417"/>
                  </a:lnTo>
                  <a:lnTo>
                    <a:pt x="1166" y="417"/>
                  </a:lnTo>
                  <a:lnTo>
                    <a:pt x="1165" y="417"/>
                  </a:lnTo>
                  <a:lnTo>
                    <a:pt x="1165" y="415"/>
                  </a:lnTo>
                  <a:lnTo>
                    <a:pt x="1165" y="413"/>
                  </a:lnTo>
                  <a:lnTo>
                    <a:pt x="1163" y="412"/>
                  </a:lnTo>
                  <a:lnTo>
                    <a:pt x="1163" y="408"/>
                  </a:lnTo>
                  <a:lnTo>
                    <a:pt x="1163" y="407"/>
                  </a:lnTo>
                  <a:lnTo>
                    <a:pt x="1161" y="407"/>
                  </a:lnTo>
                  <a:lnTo>
                    <a:pt x="1160" y="405"/>
                  </a:lnTo>
                  <a:lnTo>
                    <a:pt x="1160" y="403"/>
                  </a:lnTo>
                  <a:lnTo>
                    <a:pt x="1161" y="403"/>
                  </a:lnTo>
                  <a:lnTo>
                    <a:pt x="1161" y="405"/>
                  </a:lnTo>
                  <a:lnTo>
                    <a:pt x="1163" y="405"/>
                  </a:lnTo>
                  <a:lnTo>
                    <a:pt x="1165" y="405"/>
                  </a:lnTo>
                  <a:lnTo>
                    <a:pt x="1166" y="407"/>
                  </a:lnTo>
                  <a:lnTo>
                    <a:pt x="1168" y="407"/>
                  </a:lnTo>
                  <a:lnTo>
                    <a:pt x="1170" y="407"/>
                  </a:lnTo>
                  <a:lnTo>
                    <a:pt x="1170" y="405"/>
                  </a:lnTo>
                  <a:lnTo>
                    <a:pt x="1168" y="405"/>
                  </a:lnTo>
                  <a:lnTo>
                    <a:pt x="1168" y="403"/>
                  </a:lnTo>
                  <a:lnTo>
                    <a:pt x="1168" y="402"/>
                  </a:lnTo>
                  <a:lnTo>
                    <a:pt x="1168" y="400"/>
                  </a:lnTo>
                  <a:lnTo>
                    <a:pt x="1170" y="400"/>
                  </a:lnTo>
                  <a:lnTo>
                    <a:pt x="1171" y="402"/>
                  </a:lnTo>
                  <a:lnTo>
                    <a:pt x="1171" y="403"/>
                  </a:lnTo>
                  <a:lnTo>
                    <a:pt x="1173" y="403"/>
                  </a:lnTo>
                  <a:lnTo>
                    <a:pt x="1174" y="403"/>
                  </a:lnTo>
                  <a:lnTo>
                    <a:pt x="1174" y="402"/>
                  </a:lnTo>
                  <a:lnTo>
                    <a:pt x="1174" y="400"/>
                  </a:lnTo>
                  <a:lnTo>
                    <a:pt x="1173" y="399"/>
                  </a:lnTo>
                  <a:lnTo>
                    <a:pt x="1174" y="399"/>
                  </a:lnTo>
                  <a:lnTo>
                    <a:pt x="1174" y="397"/>
                  </a:lnTo>
                  <a:lnTo>
                    <a:pt x="1174" y="399"/>
                  </a:lnTo>
                  <a:lnTo>
                    <a:pt x="1173" y="399"/>
                  </a:lnTo>
                  <a:lnTo>
                    <a:pt x="1174" y="400"/>
                  </a:lnTo>
                  <a:lnTo>
                    <a:pt x="1174" y="402"/>
                  </a:lnTo>
                  <a:lnTo>
                    <a:pt x="1173" y="402"/>
                  </a:lnTo>
                  <a:lnTo>
                    <a:pt x="1171" y="403"/>
                  </a:lnTo>
                  <a:lnTo>
                    <a:pt x="1171" y="402"/>
                  </a:lnTo>
                  <a:lnTo>
                    <a:pt x="1170" y="402"/>
                  </a:lnTo>
                  <a:lnTo>
                    <a:pt x="1170" y="400"/>
                  </a:lnTo>
                  <a:lnTo>
                    <a:pt x="1168" y="400"/>
                  </a:lnTo>
                  <a:lnTo>
                    <a:pt x="1168" y="402"/>
                  </a:lnTo>
                  <a:lnTo>
                    <a:pt x="1168" y="403"/>
                  </a:lnTo>
                  <a:lnTo>
                    <a:pt x="1168" y="405"/>
                  </a:lnTo>
                  <a:lnTo>
                    <a:pt x="1170" y="405"/>
                  </a:lnTo>
                  <a:lnTo>
                    <a:pt x="1170" y="407"/>
                  </a:lnTo>
                  <a:lnTo>
                    <a:pt x="1168" y="407"/>
                  </a:lnTo>
                  <a:lnTo>
                    <a:pt x="1166" y="407"/>
                  </a:lnTo>
                  <a:lnTo>
                    <a:pt x="1165" y="405"/>
                  </a:lnTo>
                  <a:lnTo>
                    <a:pt x="1163" y="405"/>
                  </a:lnTo>
                  <a:lnTo>
                    <a:pt x="1161" y="403"/>
                  </a:lnTo>
                  <a:lnTo>
                    <a:pt x="1160" y="403"/>
                  </a:lnTo>
                  <a:lnTo>
                    <a:pt x="1160" y="405"/>
                  </a:lnTo>
                  <a:lnTo>
                    <a:pt x="1161" y="407"/>
                  </a:lnTo>
                  <a:lnTo>
                    <a:pt x="1163" y="407"/>
                  </a:lnTo>
                  <a:lnTo>
                    <a:pt x="1163" y="408"/>
                  </a:lnTo>
                  <a:lnTo>
                    <a:pt x="1163" y="410"/>
                  </a:lnTo>
                  <a:lnTo>
                    <a:pt x="1163" y="412"/>
                  </a:lnTo>
                  <a:lnTo>
                    <a:pt x="1165" y="413"/>
                  </a:lnTo>
                  <a:lnTo>
                    <a:pt x="1163" y="413"/>
                  </a:lnTo>
                  <a:lnTo>
                    <a:pt x="1165" y="413"/>
                  </a:lnTo>
                  <a:lnTo>
                    <a:pt x="1165" y="415"/>
                  </a:lnTo>
                  <a:lnTo>
                    <a:pt x="1165" y="417"/>
                  </a:lnTo>
                  <a:lnTo>
                    <a:pt x="1166" y="417"/>
                  </a:lnTo>
                  <a:lnTo>
                    <a:pt x="1168" y="417"/>
                  </a:lnTo>
                  <a:lnTo>
                    <a:pt x="1171" y="415"/>
                  </a:lnTo>
                  <a:lnTo>
                    <a:pt x="1173" y="415"/>
                  </a:lnTo>
                  <a:lnTo>
                    <a:pt x="1173" y="417"/>
                  </a:lnTo>
                  <a:lnTo>
                    <a:pt x="1171" y="417"/>
                  </a:lnTo>
                  <a:lnTo>
                    <a:pt x="1171" y="418"/>
                  </a:lnTo>
                  <a:lnTo>
                    <a:pt x="1170" y="418"/>
                  </a:lnTo>
                  <a:lnTo>
                    <a:pt x="1168" y="418"/>
                  </a:lnTo>
                  <a:lnTo>
                    <a:pt x="1166" y="418"/>
                  </a:lnTo>
                  <a:lnTo>
                    <a:pt x="1166" y="420"/>
                  </a:lnTo>
                  <a:lnTo>
                    <a:pt x="1166" y="421"/>
                  </a:lnTo>
                  <a:lnTo>
                    <a:pt x="1168" y="421"/>
                  </a:lnTo>
                  <a:lnTo>
                    <a:pt x="1170" y="423"/>
                  </a:lnTo>
                  <a:lnTo>
                    <a:pt x="1170" y="425"/>
                  </a:lnTo>
                  <a:lnTo>
                    <a:pt x="1168" y="425"/>
                  </a:lnTo>
                  <a:lnTo>
                    <a:pt x="1166" y="425"/>
                  </a:lnTo>
                  <a:lnTo>
                    <a:pt x="1165" y="425"/>
                  </a:lnTo>
                  <a:lnTo>
                    <a:pt x="1166" y="425"/>
                  </a:lnTo>
                  <a:lnTo>
                    <a:pt x="1165" y="425"/>
                  </a:lnTo>
                  <a:lnTo>
                    <a:pt x="1163" y="426"/>
                  </a:lnTo>
                  <a:lnTo>
                    <a:pt x="1165" y="428"/>
                  </a:lnTo>
                  <a:lnTo>
                    <a:pt x="1165" y="430"/>
                  </a:lnTo>
                  <a:lnTo>
                    <a:pt x="1166" y="430"/>
                  </a:lnTo>
                  <a:lnTo>
                    <a:pt x="1168" y="431"/>
                  </a:lnTo>
                  <a:lnTo>
                    <a:pt x="1166" y="430"/>
                  </a:lnTo>
                  <a:lnTo>
                    <a:pt x="1168" y="431"/>
                  </a:lnTo>
                  <a:lnTo>
                    <a:pt x="1168" y="433"/>
                  </a:lnTo>
                  <a:lnTo>
                    <a:pt x="1166" y="433"/>
                  </a:lnTo>
                  <a:lnTo>
                    <a:pt x="1165" y="433"/>
                  </a:lnTo>
                  <a:lnTo>
                    <a:pt x="1163" y="434"/>
                  </a:lnTo>
                  <a:lnTo>
                    <a:pt x="1161" y="434"/>
                  </a:lnTo>
                  <a:lnTo>
                    <a:pt x="1161" y="436"/>
                  </a:lnTo>
                  <a:lnTo>
                    <a:pt x="1160" y="434"/>
                  </a:lnTo>
                  <a:lnTo>
                    <a:pt x="1157" y="433"/>
                  </a:lnTo>
                  <a:lnTo>
                    <a:pt x="1155" y="433"/>
                  </a:lnTo>
                  <a:lnTo>
                    <a:pt x="1155" y="431"/>
                  </a:lnTo>
                  <a:lnTo>
                    <a:pt x="1153" y="431"/>
                  </a:lnTo>
                  <a:lnTo>
                    <a:pt x="1155" y="431"/>
                  </a:lnTo>
                  <a:lnTo>
                    <a:pt x="1155" y="433"/>
                  </a:lnTo>
                  <a:lnTo>
                    <a:pt x="1153" y="431"/>
                  </a:lnTo>
                  <a:lnTo>
                    <a:pt x="1153" y="433"/>
                  </a:lnTo>
                  <a:lnTo>
                    <a:pt x="1152" y="431"/>
                  </a:lnTo>
                  <a:lnTo>
                    <a:pt x="1150" y="431"/>
                  </a:lnTo>
                  <a:lnTo>
                    <a:pt x="1152" y="431"/>
                  </a:lnTo>
                  <a:lnTo>
                    <a:pt x="1150" y="431"/>
                  </a:lnTo>
                  <a:lnTo>
                    <a:pt x="1152" y="430"/>
                  </a:lnTo>
                  <a:lnTo>
                    <a:pt x="1150" y="430"/>
                  </a:lnTo>
                  <a:lnTo>
                    <a:pt x="1150" y="431"/>
                  </a:lnTo>
                  <a:lnTo>
                    <a:pt x="1148" y="430"/>
                  </a:lnTo>
                  <a:lnTo>
                    <a:pt x="1147" y="430"/>
                  </a:lnTo>
                  <a:lnTo>
                    <a:pt x="1144" y="430"/>
                  </a:lnTo>
                  <a:lnTo>
                    <a:pt x="1144" y="428"/>
                  </a:lnTo>
                  <a:lnTo>
                    <a:pt x="1142" y="428"/>
                  </a:lnTo>
                  <a:lnTo>
                    <a:pt x="1144" y="428"/>
                  </a:lnTo>
                  <a:lnTo>
                    <a:pt x="1142" y="426"/>
                  </a:lnTo>
                  <a:lnTo>
                    <a:pt x="1140" y="426"/>
                  </a:lnTo>
                  <a:lnTo>
                    <a:pt x="1140" y="425"/>
                  </a:lnTo>
                  <a:lnTo>
                    <a:pt x="1140" y="423"/>
                  </a:lnTo>
                  <a:lnTo>
                    <a:pt x="1142" y="423"/>
                  </a:lnTo>
                  <a:lnTo>
                    <a:pt x="1140" y="423"/>
                  </a:lnTo>
                  <a:lnTo>
                    <a:pt x="1140" y="421"/>
                  </a:lnTo>
                  <a:lnTo>
                    <a:pt x="1139" y="421"/>
                  </a:lnTo>
                  <a:lnTo>
                    <a:pt x="1139" y="420"/>
                  </a:lnTo>
                  <a:lnTo>
                    <a:pt x="1137" y="420"/>
                  </a:lnTo>
                  <a:lnTo>
                    <a:pt x="1135" y="420"/>
                  </a:lnTo>
                  <a:lnTo>
                    <a:pt x="1135" y="418"/>
                  </a:lnTo>
                  <a:lnTo>
                    <a:pt x="1134" y="418"/>
                  </a:lnTo>
                  <a:lnTo>
                    <a:pt x="1134" y="417"/>
                  </a:lnTo>
                  <a:lnTo>
                    <a:pt x="1135" y="417"/>
                  </a:lnTo>
                  <a:lnTo>
                    <a:pt x="1135" y="418"/>
                  </a:lnTo>
                  <a:lnTo>
                    <a:pt x="1135" y="417"/>
                  </a:lnTo>
                  <a:lnTo>
                    <a:pt x="1134" y="417"/>
                  </a:lnTo>
                  <a:lnTo>
                    <a:pt x="1131" y="415"/>
                  </a:lnTo>
                  <a:lnTo>
                    <a:pt x="1131" y="413"/>
                  </a:lnTo>
                  <a:lnTo>
                    <a:pt x="1129" y="413"/>
                  </a:lnTo>
                  <a:lnTo>
                    <a:pt x="1127" y="412"/>
                  </a:lnTo>
                  <a:lnTo>
                    <a:pt x="1129" y="413"/>
                  </a:lnTo>
                  <a:lnTo>
                    <a:pt x="1127" y="413"/>
                  </a:lnTo>
                  <a:lnTo>
                    <a:pt x="1127" y="412"/>
                  </a:lnTo>
                  <a:lnTo>
                    <a:pt x="1126" y="410"/>
                  </a:lnTo>
                  <a:lnTo>
                    <a:pt x="1129" y="410"/>
                  </a:lnTo>
                  <a:lnTo>
                    <a:pt x="1127" y="410"/>
                  </a:lnTo>
                  <a:lnTo>
                    <a:pt x="1126" y="410"/>
                  </a:lnTo>
                  <a:lnTo>
                    <a:pt x="1126" y="408"/>
                  </a:lnTo>
                  <a:lnTo>
                    <a:pt x="1124" y="408"/>
                  </a:lnTo>
                  <a:lnTo>
                    <a:pt x="1122" y="407"/>
                  </a:lnTo>
                  <a:lnTo>
                    <a:pt x="1122" y="405"/>
                  </a:lnTo>
                  <a:lnTo>
                    <a:pt x="1122" y="407"/>
                  </a:lnTo>
                  <a:lnTo>
                    <a:pt x="1124" y="407"/>
                  </a:lnTo>
                  <a:lnTo>
                    <a:pt x="1126" y="408"/>
                  </a:lnTo>
                  <a:lnTo>
                    <a:pt x="1124" y="407"/>
                  </a:lnTo>
                  <a:lnTo>
                    <a:pt x="1122" y="405"/>
                  </a:lnTo>
                  <a:lnTo>
                    <a:pt x="1121" y="403"/>
                  </a:lnTo>
                  <a:lnTo>
                    <a:pt x="1119" y="403"/>
                  </a:lnTo>
                  <a:lnTo>
                    <a:pt x="1119" y="402"/>
                  </a:lnTo>
                  <a:lnTo>
                    <a:pt x="1118" y="402"/>
                  </a:lnTo>
                  <a:lnTo>
                    <a:pt x="1116" y="402"/>
                  </a:lnTo>
                  <a:lnTo>
                    <a:pt x="1114" y="400"/>
                  </a:lnTo>
                  <a:lnTo>
                    <a:pt x="1114" y="399"/>
                  </a:lnTo>
                  <a:lnTo>
                    <a:pt x="1113" y="399"/>
                  </a:lnTo>
                  <a:lnTo>
                    <a:pt x="1114" y="399"/>
                  </a:lnTo>
                  <a:lnTo>
                    <a:pt x="1113" y="399"/>
                  </a:lnTo>
                  <a:lnTo>
                    <a:pt x="1113" y="397"/>
                  </a:lnTo>
                  <a:lnTo>
                    <a:pt x="1111" y="395"/>
                  </a:lnTo>
                  <a:lnTo>
                    <a:pt x="1113" y="392"/>
                  </a:lnTo>
                  <a:lnTo>
                    <a:pt x="1113" y="390"/>
                  </a:lnTo>
                  <a:lnTo>
                    <a:pt x="1113" y="389"/>
                  </a:lnTo>
                  <a:lnTo>
                    <a:pt x="1111" y="386"/>
                  </a:lnTo>
                  <a:lnTo>
                    <a:pt x="1109" y="386"/>
                  </a:lnTo>
                  <a:lnTo>
                    <a:pt x="1108" y="386"/>
                  </a:lnTo>
                  <a:lnTo>
                    <a:pt x="1106" y="384"/>
                  </a:lnTo>
                  <a:lnTo>
                    <a:pt x="1108" y="384"/>
                  </a:lnTo>
                  <a:lnTo>
                    <a:pt x="1108" y="382"/>
                  </a:lnTo>
                  <a:lnTo>
                    <a:pt x="1105" y="381"/>
                  </a:lnTo>
                  <a:lnTo>
                    <a:pt x="1103" y="379"/>
                  </a:lnTo>
                  <a:lnTo>
                    <a:pt x="1101" y="377"/>
                  </a:lnTo>
                  <a:lnTo>
                    <a:pt x="1103" y="377"/>
                  </a:lnTo>
                  <a:lnTo>
                    <a:pt x="1101" y="377"/>
                  </a:lnTo>
                  <a:lnTo>
                    <a:pt x="1103" y="376"/>
                  </a:lnTo>
                  <a:lnTo>
                    <a:pt x="1101" y="377"/>
                  </a:lnTo>
                  <a:lnTo>
                    <a:pt x="1103" y="377"/>
                  </a:lnTo>
                  <a:lnTo>
                    <a:pt x="1101" y="377"/>
                  </a:lnTo>
                  <a:lnTo>
                    <a:pt x="1100" y="376"/>
                  </a:lnTo>
                  <a:lnTo>
                    <a:pt x="1098" y="374"/>
                  </a:lnTo>
                  <a:lnTo>
                    <a:pt x="1098" y="373"/>
                  </a:lnTo>
                  <a:lnTo>
                    <a:pt x="1098" y="374"/>
                  </a:lnTo>
                  <a:lnTo>
                    <a:pt x="1096" y="373"/>
                  </a:lnTo>
                  <a:lnTo>
                    <a:pt x="1096" y="371"/>
                  </a:lnTo>
                  <a:lnTo>
                    <a:pt x="1095" y="369"/>
                  </a:lnTo>
                  <a:lnTo>
                    <a:pt x="1093" y="366"/>
                  </a:lnTo>
                  <a:lnTo>
                    <a:pt x="1093" y="364"/>
                  </a:lnTo>
                  <a:lnTo>
                    <a:pt x="1093" y="363"/>
                  </a:lnTo>
                  <a:lnTo>
                    <a:pt x="1092" y="363"/>
                  </a:lnTo>
                  <a:lnTo>
                    <a:pt x="1093" y="363"/>
                  </a:lnTo>
                  <a:lnTo>
                    <a:pt x="1092" y="363"/>
                  </a:lnTo>
                  <a:lnTo>
                    <a:pt x="1092" y="361"/>
                  </a:lnTo>
                  <a:lnTo>
                    <a:pt x="1092" y="360"/>
                  </a:lnTo>
                  <a:lnTo>
                    <a:pt x="1092" y="361"/>
                  </a:lnTo>
                  <a:lnTo>
                    <a:pt x="1092" y="360"/>
                  </a:lnTo>
                  <a:lnTo>
                    <a:pt x="1092" y="358"/>
                  </a:lnTo>
                  <a:lnTo>
                    <a:pt x="1090" y="356"/>
                  </a:lnTo>
                  <a:lnTo>
                    <a:pt x="1090" y="355"/>
                  </a:lnTo>
                  <a:lnTo>
                    <a:pt x="1090" y="353"/>
                  </a:lnTo>
                  <a:lnTo>
                    <a:pt x="1090" y="351"/>
                  </a:lnTo>
                  <a:lnTo>
                    <a:pt x="1090" y="350"/>
                  </a:lnTo>
                  <a:lnTo>
                    <a:pt x="1090" y="348"/>
                  </a:lnTo>
                  <a:lnTo>
                    <a:pt x="1090" y="347"/>
                  </a:lnTo>
                  <a:lnTo>
                    <a:pt x="1090" y="345"/>
                  </a:lnTo>
                  <a:lnTo>
                    <a:pt x="1088" y="345"/>
                  </a:lnTo>
                  <a:lnTo>
                    <a:pt x="1088" y="343"/>
                  </a:lnTo>
                  <a:lnTo>
                    <a:pt x="1088" y="345"/>
                  </a:lnTo>
                  <a:lnTo>
                    <a:pt x="1088" y="343"/>
                  </a:lnTo>
                  <a:lnTo>
                    <a:pt x="1088" y="342"/>
                  </a:lnTo>
                  <a:lnTo>
                    <a:pt x="1088" y="340"/>
                  </a:lnTo>
                  <a:lnTo>
                    <a:pt x="1088" y="342"/>
                  </a:lnTo>
                  <a:lnTo>
                    <a:pt x="1088" y="340"/>
                  </a:lnTo>
                  <a:lnTo>
                    <a:pt x="1088" y="338"/>
                  </a:lnTo>
                  <a:lnTo>
                    <a:pt x="1087" y="338"/>
                  </a:lnTo>
                  <a:lnTo>
                    <a:pt x="1088" y="337"/>
                  </a:lnTo>
                  <a:lnTo>
                    <a:pt x="1087" y="337"/>
                  </a:lnTo>
                  <a:lnTo>
                    <a:pt x="1088" y="337"/>
                  </a:lnTo>
                  <a:lnTo>
                    <a:pt x="1087" y="335"/>
                  </a:lnTo>
                  <a:lnTo>
                    <a:pt x="1087" y="334"/>
                  </a:lnTo>
                  <a:lnTo>
                    <a:pt x="1087" y="332"/>
                  </a:lnTo>
                  <a:lnTo>
                    <a:pt x="1087" y="330"/>
                  </a:lnTo>
                  <a:lnTo>
                    <a:pt x="1088" y="327"/>
                  </a:lnTo>
                  <a:lnTo>
                    <a:pt x="1090" y="327"/>
                  </a:lnTo>
                  <a:lnTo>
                    <a:pt x="1090" y="325"/>
                  </a:lnTo>
                  <a:lnTo>
                    <a:pt x="1090" y="327"/>
                  </a:lnTo>
                  <a:lnTo>
                    <a:pt x="1092" y="327"/>
                  </a:lnTo>
                  <a:lnTo>
                    <a:pt x="1090" y="327"/>
                  </a:lnTo>
                  <a:lnTo>
                    <a:pt x="1090" y="325"/>
                  </a:lnTo>
                  <a:lnTo>
                    <a:pt x="1088" y="324"/>
                  </a:lnTo>
                  <a:lnTo>
                    <a:pt x="1087" y="321"/>
                  </a:lnTo>
                  <a:lnTo>
                    <a:pt x="1085" y="316"/>
                  </a:lnTo>
                  <a:lnTo>
                    <a:pt x="1083" y="316"/>
                  </a:lnTo>
                  <a:lnTo>
                    <a:pt x="1083" y="314"/>
                  </a:lnTo>
                  <a:lnTo>
                    <a:pt x="1083" y="312"/>
                  </a:lnTo>
                  <a:lnTo>
                    <a:pt x="1082" y="309"/>
                  </a:lnTo>
                  <a:lnTo>
                    <a:pt x="1082" y="308"/>
                  </a:lnTo>
                  <a:lnTo>
                    <a:pt x="1082" y="306"/>
                  </a:lnTo>
                  <a:lnTo>
                    <a:pt x="1083" y="304"/>
                  </a:lnTo>
                  <a:lnTo>
                    <a:pt x="1083" y="303"/>
                  </a:lnTo>
                  <a:lnTo>
                    <a:pt x="1085" y="303"/>
                  </a:lnTo>
                  <a:lnTo>
                    <a:pt x="1083" y="304"/>
                  </a:lnTo>
                  <a:lnTo>
                    <a:pt x="1085" y="304"/>
                  </a:lnTo>
                  <a:lnTo>
                    <a:pt x="1083" y="304"/>
                  </a:lnTo>
                  <a:lnTo>
                    <a:pt x="1085" y="303"/>
                  </a:lnTo>
                  <a:lnTo>
                    <a:pt x="1085" y="304"/>
                  </a:lnTo>
                  <a:lnTo>
                    <a:pt x="1085" y="303"/>
                  </a:lnTo>
                  <a:lnTo>
                    <a:pt x="1085" y="304"/>
                  </a:lnTo>
                  <a:lnTo>
                    <a:pt x="1087" y="303"/>
                  </a:lnTo>
                  <a:lnTo>
                    <a:pt x="1088" y="303"/>
                  </a:lnTo>
                  <a:lnTo>
                    <a:pt x="1088" y="301"/>
                  </a:lnTo>
                  <a:lnTo>
                    <a:pt x="1088" y="303"/>
                  </a:lnTo>
                  <a:lnTo>
                    <a:pt x="1088" y="304"/>
                  </a:lnTo>
                  <a:lnTo>
                    <a:pt x="1090" y="303"/>
                  </a:lnTo>
                  <a:lnTo>
                    <a:pt x="1090" y="301"/>
                  </a:lnTo>
                  <a:lnTo>
                    <a:pt x="1090" y="303"/>
                  </a:lnTo>
                  <a:lnTo>
                    <a:pt x="1092" y="303"/>
                  </a:lnTo>
                  <a:lnTo>
                    <a:pt x="1092" y="304"/>
                  </a:lnTo>
                  <a:lnTo>
                    <a:pt x="1090" y="304"/>
                  </a:lnTo>
                  <a:lnTo>
                    <a:pt x="1092" y="304"/>
                  </a:lnTo>
                  <a:lnTo>
                    <a:pt x="1092" y="303"/>
                  </a:lnTo>
                  <a:lnTo>
                    <a:pt x="1090" y="303"/>
                  </a:lnTo>
                  <a:lnTo>
                    <a:pt x="1090" y="301"/>
                  </a:lnTo>
                  <a:lnTo>
                    <a:pt x="1090" y="303"/>
                  </a:lnTo>
                  <a:lnTo>
                    <a:pt x="1088" y="304"/>
                  </a:lnTo>
                  <a:lnTo>
                    <a:pt x="1088" y="303"/>
                  </a:lnTo>
                  <a:lnTo>
                    <a:pt x="1088" y="301"/>
                  </a:lnTo>
                  <a:lnTo>
                    <a:pt x="1087" y="301"/>
                  </a:lnTo>
                  <a:lnTo>
                    <a:pt x="1088" y="301"/>
                  </a:lnTo>
                  <a:lnTo>
                    <a:pt x="1087" y="301"/>
                  </a:lnTo>
                  <a:lnTo>
                    <a:pt x="1087" y="303"/>
                  </a:lnTo>
                  <a:lnTo>
                    <a:pt x="1087" y="301"/>
                  </a:lnTo>
                  <a:lnTo>
                    <a:pt x="1087" y="303"/>
                  </a:lnTo>
                  <a:lnTo>
                    <a:pt x="1085" y="303"/>
                  </a:lnTo>
                  <a:lnTo>
                    <a:pt x="1083" y="303"/>
                  </a:lnTo>
                  <a:lnTo>
                    <a:pt x="1082" y="303"/>
                  </a:lnTo>
                  <a:lnTo>
                    <a:pt x="1080" y="301"/>
                  </a:lnTo>
                  <a:lnTo>
                    <a:pt x="1079" y="301"/>
                  </a:lnTo>
                  <a:lnTo>
                    <a:pt x="1075" y="298"/>
                  </a:lnTo>
                  <a:lnTo>
                    <a:pt x="1075" y="299"/>
                  </a:lnTo>
                  <a:lnTo>
                    <a:pt x="1074" y="298"/>
                  </a:lnTo>
                  <a:lnTo>
                    <a:pt x="1070" y="295"/>
                  </a:lnTo>
                  <a:lnTo>
                    <a:pt x="1069" y="295"/>
                  </a:lnTo>
                  <a:lnTo>
                    <a:pt x="1069" y="293"/>
                  </a:lnTo>
                  <a:lnTo>
                    <a:pt x="1067" y="291"/>
                  </a:lnTo>
                  <a:lnTo>
                    <a:pt x="1067" y="290"/>
                  </a:lnTo>
                  <a:lnTo>
                    <a:pt x="1069" y="290"/>
                  </a:lnTo>
                  <a:lnTo>
                    <a:pt x="1067" y="290"/>
                  </a:lnTo>
                  <a:lnTo>
                    <a:pt x="1069" y="290"/>
                  </a:lnTo>
                  <a:lnTo>
                    <a:pt x="1067" y="290"/>
                  </a:lnTo>
                  <a:lnTo>
                    <a:pt x="1069" y="290"/>
                  </a:lnTo>
                  <a:lnTo>
                    <a:pt x="1067" y="290"/>
                  </a:lnTo>
                  <a:lnTo>
                    <a:pt x="1067" y="288"/>
                  </a:lnTo>
                  <a:lnTo>
                    <a:pt x="1069" y="288"/>
                  </a:lnTo>
                  <a:lnTo>
                    <a:pt x="1069" y="286"/>
                  </a:lnTo>
                  <a:lnTo>
                    <a:pt x="1069" y="285"/>
                  </a:lnTo>
                  <a:lnTo>
                    <a:pt x="1069" y="283"/>
                  </a:lnTo>
                  <a:lnTo>
                    <a:pt x="1069" y="285"/>
                  </a:lnTo>
                  <a:lnTo>
                    <a:pt x="1070" y="285"/>
                  </a:lnTo>
                  <a:lnTo>
                    <a:pt x="1069" y="285"/>
                  </a:lnTo>
                  <a:lnTo>
                    <a:pt x="1070" y="285"/>
                  </a:lnTo>
                  <a:lnTo>
                    <a:pt x="1069" y="285"/>
                  </a:lnTo>
                  <a:lnTo>
                    <a:pt x="1070" y="285"/>
                  </a:lnTo>
                  <a:lnTo>
                    <a:pt x="1069" y="285"/>
                  </a:lnTo>
                  <a:lnTo>
                    <a:pt x="1070" y="285"/>
                  </a:lnTo>
                  <a:lnTo>
                    <a:pt x="1069" y="285"/>
                  </a:lnTo>
                  <a:lnTo>
                    <a:pt x="1070" y="285"/>
                  </a:lnTo>
                  <a:lnTo>
                    <a:pt x="1070" y="286"/>
                  </a:lnTo>
                  <a:lnTo>
                    <a:pt x="1070" y="285"/>
                  </a:lnTo>
                  <a:lnTo>
                    <a:pt x="1070" y="286"/>
                  </a:lnTo>
                  <a:lnTo>
                    <a:pt x="1070" y="285"/>
                  </a:lnTo>
                  <a:lnTo>
                    <a:pt x="1070" y="283"/>
                  </a:lnTo>
                  <a:lnTo>
                    <a:pt x="1070" y="282"/>
                  </a:lnTo>
                  <a:lnTo>
                    <a:pt x="1069" y="282"/>
                  </a:lnTo>
                  <a:lnTo>
                    <a:pt x="1069" y="280"/>
                  </a:lnTo>
                  <a:lnTo>
                    <a:pt x="1069" y="282"/>
                  </a:lnTo>
                  <a:lnTo>
                    <a:pt x="1069" y="280"/>
                  </a:lnTo>
                  <a:lnTo>
                    <a:pt x="1069" y="282"/>
                  </a:lnTo>
                  <a:lnTo>
                    <a:pt x="1070" y="280"/>
                  </a:lnTo>
                  <a:lnTo>
                    <a:pt x="1069" y="280"/>
                  </a:lnTo>
                  <a:lnTo>
                    <a:pt x="1069" y="278"/>
                  </a:lnTo>
                  <a:lnTo>
                    <a:pt x="1069" y="280"/>
                  </a:lnTo>
                  <a:lnTo>
                    <a:pt x="1069" y="278"/>
                  </a:lnTo>
                  <a:lnTo>
                    <a:pt x="1067" y="280"/>
                  </a:lnTo>
                  <a:lnTo>
                    <a:pt x="1067" y="278"/>
                  </a:lnTo>
                  <a:lnTo>
                    <a:pt x="1066" y="277"/>
                  </a:lnTo>
                  <a:lnTo>
                    <a:pt x="1066" y="275"/>
                  </a:lnTo>
                  <a:lnTo>
                    <a:pt x="1066" y="277"/>
                  </a:lnTo>
                  <a:lnTo>
                    <a:pt x="1066" y="275"/>
                  </a:lnTo>
                  <a:lnTo>
                    <a:pt x="1066" y="273"/>
                  </a:lnTo>
                  <a:lnTo>
                    <a:pt x="1066" y="272"/>
                  </a:lnTo>
                  <a:lnTo>
                    <a:pt x="1066" y="273"/>
                  </a:lnTo>
                  <a:lnTo>
                    <a:pt x="1064" y="273"/>
                  </a:lnTo>
                  <a:lnTo>
                    <a:pt x="1066" y="273"/>
                  </a:lnTo>
                  <a:lnTo>
                    <a:pt x="1066" y="272"/>
                  </a:lnTo>
                  <a:lnTo>
                    <a:pt x="1067" y="272"/>
                  </a:lnTo>
                  <a:lnTo>
                    <a:pt x="1066" y="272"/>
                  </a:lnTo>
                  <a:lnTo>
                    <a:pt x="1064" y="272"/>
                  </a:lnTo>
                  <a:lnTo>
                    <a:pt x="1066" y="272"/>
                  </a:lnTo>
                  <a:lnTo>
                    <a:pt x="1066" y="270"/>
                  </a:lnTo>
                  <a:lnTo>
                    <a:pt x="1064" y="270"/>
                  </a:lnTo>
                  <a:lnTo>
                    <a:pt x="1062" y="270"/>
                  </a:lnTo>
                  <a:lnTo>
                    <a:pt x="1061" y="270"/>
                  </a:lnTo>
                  <a:lnTo>
                    <a:pt x="1061" y="268"/>
                  </a:lnTo>
                  <a:lnTo>
                    <a:pt x="1061" y="270"/>
                  </a:lnTo>
                  <a:lnTo>
                    <a:pt x="1061" y="268"/>
                  </a:lnTo>
                  <a:lnTo>
                    <a:pt x="1059" y="268"/>
                  </a:lnTo>
                  <a:lnTo>
                    <a:pt x="1057" y="268"/>
                  </a:lnTo>
                  <a:lnTo>
                    <a:pt x="1057" y="267"/>
                  </a:lnTo>
                  <a:lnTo>
                    <a:pt x="1057" y="268"/>
                  </a:lnTo>
                  <a:lnTo>
                    <a:pt x="1057" y="267"/>
                  </a:lnTo>
                  <a:lnTo>
                    <a:pt x="1056" y="267"/>
                  </a:lnTo>
                  <a:lnTo>
                    <a:pt x="1056" y="265"/>
                  </a:lnTo>
                  <a:lnTo>
                    <a:pt x="1056" y="267"/>
                  </a:lnTo>
                  <a:lnTo>
                    <a:pt x="1056" y="265"/>
                  </a:lnTo>
                  <a:lnTo>
                    <a:pt x="1054" y="265"/>
                  </a:lnTo>
                  <a:lnTo>
                    <a:pt x="1054" y="264"/>
                  </a:lnTo>
                  <a:lnTo>
                    <a:pt x="1053" y="264"/>
                  </a:lnTo>
                  <a:lnTo>
                    <a:pt x="1051" y="264"/>
                  </a:lnTo>
                  <a:lnTo>
                    <a:pt x="1053" y="264"/>
                  </a:lnTo>
                  <a:lnTo>
                    <a:pt x="1051" y="264"/>
                  </a:lnTo>
                  <a:lnTo>
                    <a:pt x="1051" y="262"/>
                  </a:lnTo>
                  <a:lnTo>
                    <a:pt x="1051" y="264"/>
                  </a:lnTo>
                  <a:lnTo>
                    <a:pt x="1051" y="262"/>
                  </a:lnTo>
                  <a:lnTo>
                    <a:pt x="1049" y="262"/>
                  </a:lnTo>
                  <a:lnTo>
                    <a:pt x="1048" y="262"/>
                  </a:lnTo>
                  <a:lnTo>
                    <a:pt x="1046" y="262"/>
                  </a:lnTo>
                  <a:lnTo>
                    <a:pt x="1046" y="260"/>
                  </a:lnTo>
                  <a:lnTo>
                    <a:pt x="1044" y="259"/>
                  </a:lnTo>
                  <a:lnTo>
                    <a:pt x="1044" y="257"/>
                  </a:lnTo>
                  <a:lnTo>
                    <a:pt x="1046" y="255"/>
                  </a:lnTo>
                  <a:lnTo>
                    <a:pt x="1046" y="254"/>
                  </a:lnTo>
                  <a:lnTo>
                    <a:pt x="1046" y="252"/>
                  </a:lnTo>
                  <a:lnTo>
                    <a:pt x="1046" y="251"/>
                  </a:lnTo>
                  <a:lnTo>
                    <a:pt x="1046" y="249"/>
                  </a:lnTo>
                  <a:lnTo>
                    <a:pt x="1046" y="251"/>
                  </a:lnTo>
                  <a:lnTo>
                    <a:pt x="1046" y="252"/>
                  </a:lnTo>
                  <a:lnTo>
                    <a:pt x="1046" y="254"/>
                  </a:lnTo>
                  <a:lnTo>
                    <a:pt x="1046" y="255"/>
                  </a:lnTo>
                  <a:lnTo>
                    <a:pt x="1044" y="255"/>
                  </a:lnTo>
                  <a:lnTo>
                    <a:pt x="1044" y="257"/>
                  </a:lnTo>
                  <a:lnTo>
                    <a:pt x="1043" y="257"/>
                  </a:lnTo>
                  <a:lnTo>
                    <a:pt x="1041" y="257"/>
                  </a:lnTo>
                  <a:lnTo>
                    <a:pt x="1040" y="257"/>
                  </a:lnTo>
                  <a:lnTo>
                    <a:pt x="1040" y="255"/>
                  </a:lnTo>
                  <a:lnTo>
                    <a:pt x="1038" y="255"/>
                  </a:lnTo>
                  <a:lnTo>
                    <a:pt x="1036" y="255"/>
                  </a:lnTo>
                  <a:lnTo>
                    <a:pt x="1036" y="254"/>
                  </a:lnTo>
                  <a:lnTo>
                    <a:pt x="1036" y="255"/>
                  </a:lnTo>
                  <a:lnTo>
                    <a:pt x="1035" y="254"/>
                  </a:lnTo>
                  <a:lnTo>
                    <a:pt x="1033" y="254"/>
                  </a:lnTo>
                  <a:lnTo>
                    <a:pt x="1033" y="252"/>
                  </a:lnTo>
                  <a:lnTo>
                    <a:pt x="1033" y="254"/>
                  </a:lnTo>
                  <a:lnTo>
                    <a:pt x="1031" y="254"/>
                  </a:lnTo>
                  <a:lnTo>
                    <a:pt x="1031" y="252"/>
                  </a:lnTo>
                  <a:lnTo>
                    <a:pt x="1031" y="254"/>
                  </a:lnTo>
                  <a:lnTo>
                    <a:pt x="1031" y="252"/>
                  </a:lnTo>
                  <a:lnTo>
                    <a:pt x="1030" y="252"/>
                  </a:lnTo>
                  <a:lnTo>
                    <a:pt x="1028" y="252"/>
                  </a:lnTo>
                  <a:lnTo>
                    <a:pt x="1026" y="252"/>
                  </a:lnTo>
                  <a:lnTo>
                    <a:pt x="1025" y="252"/>
                  </a:lnTo>
                  <a:lnTo>
                    <a:pt x="1023" y="252"/>
                  </a:lnTo>
                  <a:lnTo>
                    <a:pt x="1022" y="254"/>
                  </a:lnTo>
                  <a:lnTo>
                    <a:pt x="1020" y="254"/>
                  </a:lnTo>
                  <a:lnTo>
                    <a:pt x="1018" y="255"/>
                  </a:lnTo>
                  <a:lnTo>
                    <a:pt x="1018" y="257"/>
                  </a:lnTo>
                  <a:lnTo>
                    <a:pt x="1012" y="257"/>
                  </a:lnTo>
                  <a:lnTo>
                    <a:pt x="1010" y="255"/>
                  </a:lnTo>
                  <a:lnTo>
                    <a:pt x="1009" y="255"/>
                  </a:lnTo>
                  <a:lnTo>
                    <a:pt x="1005" y="251"/>
                  </a:lnTo>
                  <a:lnTo>
                    <a:pt x="1005" y="249"/>
                  </a:lnTo>
                  <a:lnTo>
                    <a:pt x="1004" y="249"/>
                  </a:lnTo>
                  <a:lnTo>
                    <a:pt x="1004" y="247"/>
                  </a:lnTo>
                  <a:lnTo>
                    <a:pt x="1004" y="246"/>
                  </a:lnTo>
                  <a:lnTo>
                    <a:pt x="1002" y="242"/>
                  </a:lnTo>
                  <a:lnTo>
                    <a:pt x="1000" y="239"/>
                  </a:lnTo>
                  <a:lnTo>
                    <a:pt x="1000" y="238"/>
                  </a:lnTo>
                  <a:lnTo>
                    <a:pt x="999" y="236"/>
                  </a:lnTo>
                  <a:lnTo>
                    <a:pt x="997" y="233"/>
                  </a:lnTo>
                  <a:lnTo>
                    <a:pt x="997" y="228"/>
                  </a:lnTo>
                  <a:lnTo>
                    <a:pt x="996" y="226"/>
                  </a:lnTo>
                  <a:lnTo>
                    <a:pt x="994" y="220"/>
                  </a:lnTo>
                  <a:lnTo>
                    <a:pt x="994" y="218"/>
                  </a:lnTo>
                  <a:lnTo>
                    <a:pt x="994" y="216"/>
                  </a:lnTo>
                  <a:lnTo>
                    <a:pt x="992" y="213"/>
                  </a:lnTo>
                  <a:lnTo>
                    <a:pt x="992" y="207"/>
                  </a:lnTo>
                  <a:lnTo>
                    <a:pt x="991" y="200"/>
                  </a:lnTo>
                  <a:lnTo>
                    <a:pt x="991" y="197"/>
                  </a:lnTo>
                  <a:lnTo>
                    <a:pt x="991" y="195"/>
                  </a:lnTo>
                  <a:lnTo>
                    <a:pt x="989" y="194"/>
                  </a:lnTo>
                  <a:lnTo>
                    <a:pt x="987" y="190"/>
                  </a:lnTo>
                  <a:lnTo>
                    <a:pt x="987" y="189"/>
                  </a:lnTo>
                  <a:lnTo>
                    <a:pt x="989" y="189"/>
                  </a:lnTo>
                  <a:lnTo>
                    <a:pt x="989" y="187"/>
                  </a:lnTo>
                  <a:lnTo>
                    <a:pt x="991" y="186"/>
                  </a:lnTo>
                  <a:lnTo>
                    <a:pt x="991" y="187"/>
                  </a:lnTo>
                  <a:lnTo>
                    <a:pt x="991" y="189"/>
                  </a:lnTo>
                  <a:lnTo>
                    <a:pt x="992" y="190"/>
                  </a:lnTo>
                  <a:lnTo>
                    <a:pt x="992" y="192"/>
                  </a:lnTo>
                  <a:lnTo>
                    <a:pt x="994" y="192"/>
                  </a:lnTo>
                  <a:lnTo>
                    <a:pt x="992" y="192"/>
                  </a:lnTo>
                  <a:lnTo>
                    <a:pt x="992" y="194"/>
                  </a:lnTo>
                  <a:lnTo>
                    <a:pt x="994" y="194"/>
                  </a:lnTo>
                  <a:lnTo>
                    <a:pt x="994" y="195"/>
                  </a:lnTo>
                  <a:lnTo>
                    <a:pt x="996" y="195"/>
                  </a:lnTo>
                  <a:lnTo>
                    <a:pt x="996" y="194"/>
                  </a:lnTo>
                  <a:lnTo>
                    <a:pt x="997" y="194"/>
                  </a:lnTo>
                  <a:lnTo>
                    <a:pt x="997" y="195"/>
                  </a:lnTo>
                  <a:lnTo>
                    <a:pt x="996" y="195"/>
                  </a:lnTo>
                  <a:lnTo>
                    <a:pt x="997" y="197"/>
                  </a:lnTo>
                  <a:lnTo>
                    <a:pt x="996" y="195"/>
                  </a:lnTo>
                  <a:lnTo>
                    <a:pt x="997" y="195"/>
                  </a:lnTo>
                  <a:lnTo>
                    <a:pt x="997" y="194"/>
                  </a:lnTo>
                  <a:lnTo>
                    <a:pt x="996" y="194"/>
                  </a:lnTo>
                  <a:lnTo>
                    <a:pt x="996" y="195"/>
                  </a:lnTo>
                  <a:lnTo>
                    <a:pt x="994" y="195"/>
                  </a:lnTo>
                  <a:lnTo>
                    <a:pt x="994" y="194"/>
                  </a:lnTo>
                  <a:lnTo>
                    <a:pt x="994" y="192"/>
                  </a:lnTo>
                  <a:lnTo>
                    <a:pt x="994" y="194"/>
                  </a:lnTo>
                  <a:lnTo>
                    <a:pt x="992" y="194"/>
                  </a:lnTo>
                  <a:lnTo>
                    <a:pt x="992" y="192"/>
                  </a:lnTo>
                  <a:lnTo>
                    <a:pt x="994" y="192"/>
                  </a:lnTo>
                  <a:lnTo>
                    <a:pt x="992" y="192"/>
                  </a:lnTo>
                  <a:lnTo>
                    <a:pt x="991" y="187"/>
                  </a:lnTo>
                  <a:lnTo>
                    <a:pt x="992" y="187"/>
                  </a:lnTo>
                  <a:lnTo>
                    <a:pt x="992" y="186"/>
                  </a:lnTo>
                  <a:lnTo>
                    <a:pt x="991" y="186"/>
                  </a:lnTo>
                  <a:lnTo>
                    <a:pt x="992" y="186"/>
                  </a:lnTo>
                  <a:lnTo>
                    <a:pt x="992" y="184"/>
                  </a:lnTo>
                  <a:lnTo>
                    <a:pt x="994" y="186"/>
                  </a:lnTo>
                  <a:lnTo>
                    <a:pt x="994" y="184"/>
                  </a:lnTo>
                  <a:lnTo>
                    <a:pt x="996" y="184"/>
                  </a:lnTo>
                  <a:lnTo>
                    <a:pt x="994" y="184"/>
                  </a:lnTo>
                  <a:lnTo>
                    <a:pt x="994" y="186"/>
                  </a:lnTo>
                  <a:lnTo>
                    <a:pt x="994" y="184"/>
                  </a:lnTo>
                  <a:lnTo>
                    <a:pt x="992" y="184"/>
                  </a:lnTo>
                  <a:lnTo>
                    <a:pt x="991" y="184"/>
                  </a:lnTo>
                  <a:lnTo>
                    <a:pt x="989" y="184"/>
                  </a:lnTo>
                  <a:lnTo>
                    <a:pt x="989" y="186"/>
                  </a:lnTo>
                  <a:lnTo>
                    <a:pt x="989" y="187"/>
                  </a:lnTo>
                  <a:lnTo>
                    <a:pt x="987" y="187"/>
                  </a:lnTo>
                  <a:lnTo>
                    <a:pt x="986" y="186"/>
                  </a:lnTo>
                  <a:lnTo>
                    <a:pt x="986" y="182"/>
                  </a:lnTo>
                  <a:lnTo>
                    <a:pt x="986" y="181"/>
                  </a:lnTo>
                  <a:lnTo>
                    <a:pt x="986" y="179"/>
                  </a:lnTo>
                  <a:lnTo>
                    <a:pt x="984" y="177"/>
                  </a:lnTo>
                  <a:lnTo>
                    <a:pt x="984" y="176"/>
                  </a:lnTo>
                  <a:lnTo>
                    <a:pt x="984" y="174"/>
                  </a:lnTo>
                  <a:lnTo>
                    <a:pt x="986" y="176"/>
                  </a:lnTo>
                  <a:lnTo>
                    <a:pt x="984" y="174"/>
                  </a:lnTo>
                  <a:lnTo>
                    <a:pt x="983" y="173"/>
                  </a:lnTo>
                  <a:lnTo>
                    <a:pt x="983" y="171"/>
                  </a:lnTo>
                  <a:lnTo>
                    <a:pt x="981" y="171"/>
                  </a:lnTo>
                  <a:lnTo>
                    <a:pt x="981" y="169"/>
                  </a:lnTo>
                  <a:lnTo>
                    <a:pt x="979" y="169"/>
                  </a:lnTo>
                  <a:lnTo>
                    <a:pt x="978" y="169"/>
                  </a:lnTo>
                  <a:lnTo>
                    <a:pt x="978" y="168"/>
                  </a:lnTo>
                  <a:lnTo>
                    <a:pt x="976" y="166"/>
                  </a:lnTo>
                  <a:lnTo>
                    <a:pt x="976" y="163"/>
                  </a:lnTo>
                  <a:lnTo>
                    <a:pt x="974" y="161"/>
                  </a:lnTo>
                  <a:lnTo>
                    <a:pt x="974" y="160"/>
                  </a:lnTo>
                  <a:lnTo>
                    <a:pt x="976" y="160"/>
                  </a:lnTo>
                  <a:lnTo>
                    <a:pt x="978" y="158"/>
                  </a:lnTo>
                  <a:lnTo>
                    <a:pt x="978" y="160"/>
                  </a:lnTo>
                  <a:lnTo>
                    <a:pt x="978" y="158"/>
                  </a:lnTo>
                  <a:lnTo>
                    <a:pt x="979" y="158"/>
                  </a:lnTo>
                  <a:lnTo>
                    <a:pt x="978" y="158"/>
                  </a:lnTo>
                  <a:lnTo>
                    <a:pt x="979" y="158"/>
                  </a:lnTo>
                  <a:lnTo>
                    <a:pt x="978" y="158"/>
                  </a:lnTo>
                  <a:lnTo>
                    <a:pt x="979" y="158"/>
                  </a:lnTo>
                  <a:lnTo>
                    <a:pt x="981" y="158"/>
                  </a:lnTo>
                  <a:lnTo>
                    <a:pt x="979" y="158"/>
                  </a:lnTo>
                  <a:lnTo>
                    <a:pt x="979" y="156"/>
                  </a:lnTo>
                  <a:lnTo>
                    <a:pt x="979" y="158"/>
                  </a:lnTo>
                  <a:lnTo>
                    <a:pt x="979" y="156"/>
                  </a:lnTo>
                  <a:lnTo>
                    <a:pt x="979" y="158"/>
                  </a:lnTo>
                  <a:lnTo>
                    <a:pt x="979" y="156"/>
                  </a:lnTo>
                  <a:lnTo>
                    <a:pt x="979" y="155"/>
                  </a:lnTo>
                  <a:lnTo>
                    <a:pt x="979" y="153"/>
                  </a:lnTo>
                  <a:lnTo>
                    <a:pt x="979" y="155"/>
                  </a:lnTo>
                  <a:lnTo>
                    <a:pt x="979" y="153"/>
                  </a:lnTo>
                  <a:lnTo>
                    <a:pt x="981" y="153"/>
                  </a:lnTo>
                  <a:lnTo>
                    <a:pt x="979" y="153"/>
                  </a:lnTo>
                  <a:lnTo>
                    <a:pt x="981" y="153"/>
                  </a:lnTo>
                  <a:lnTo>
                    <a:pt x="981" y="151"/>
                  </a:lnTo>
                  <a:lnTo>
                    <a:pt x="983" y="151"/>
                  </a:lnTo>
                  <a:lnTo>
                    <a:pt x="983" y="150"/>
                  </a:lnTo>
                  <a:lnTo>
                    <a:pt x="984" y="151"/>
                  </a:lnTo>
                  <a:lnTo>
                    <a:pt x="986" y="153"/>
                  </a:lnTo>
                  <a:lnTo>
                    <a:pt x="986" y="151"/>
                  </a:lnTo>
                  <a:lnTo>
                    <a:pt x="986" y="150"/>
                  </a:lnTo>
                  <a:lnTo>
                    <a:pt x="986" y="148"/>
                  </a:lnTo>
                  <a:lnTo>
                    <a:pt x="986" y="150"/>
                  </a:lnTo>
                  <a:lnTo>
                    <a:pt x="986" y="151"/>
                  </a:lnTo>
                  <a:lnTo>
                    <a:pt x="986" y="153"/>
                  </a:lnTo>
                  <a:lnTo>
                    <a:pt x="986" y="151"/>
                  </a:lnTo>
                  <a:lnTo>
                    <a:pt x="984" y="151"/>
                  </a:lnTo>
                  <a:lnTo>
                    <a:pt x="984" y="150"/>
                  </a:lnTo>
                  <a:lnTo>
                    <a:pt x="983" y="150"/>
                  </a:lnTo>
                  <a:lnTo>
                    <a:pt x="981" y="151"/>
                  </a:lnTo>
                  <a:lnTo>
                    <a:pt x="979" y="151"/>
                  </a:lnTo>
                  <a:lnTo>
                    <a:pt x="979" y="153"/>
                  </a:lnTo>
                  <a:lnTo>
                    <a:pt x="978" y="153"/>
                  </a:lnTo>
                  <a:lnTo>
                    <a:pt x="976" y="153"/>
                  </a:lnTo>
                  <a:lnTo>
                    <a:pt x="978" y="153"/>
                  </a:lnTo>
                  <a:lnTo>
                    <a:pt x="976" y="151"/>
                  </a:lnTo>
                  <a:lnTo>
                    <a:pt x="976" y="153"/>
                  </a:lnTo>
                  <a:lnTo>
                    <a:pt x="974" y="153"/>
                  </a:lnTo>
                  <a:lnTo>
                    <a:pt x="974" y="155"/>
                  </a:lnTo>
                  <a:lnTo>
                    <a:pt x="976" y="156"/>
                  </a:lnTo>
                  <a:lnTo>
                    <a:pt x="976" y="155"/>
                  </a:lnTo>
                  <a:lnTo>
                    <a:pt x="976" y="156"/>
                  </a:lnTo>
                  <a:lnTo>
                    <a:pt x="976" y="155"/>
                  </a:lnTo>
                  <a:lnTo>
                    <a:pt x="976" y="156"/>
                  </a:lnTo>
                  <a:lnTo>
                    <a:pt x="974" y="156"/>
                  </a:lnTo>
                  <a:lnTo>
                    <a:pt x="974" y="158"/>
                  </a:lnTo>
                  <a:lnTo>
                    <a:pt x="973" y="158"/>
                  </a:lnTo>
                  <a:lnTo>
                    <a:pt x="973" y="156"/>
                  </a:lnTo>
                  <a:lnTo>
                    <a:pt x="971" y="153"/>
                  </a:lnTo>
                  <a:lnTo>
                    <a:pt x="971" y="151"/>
                  </a:lnTo>
                  <a:lnTo>
                    <a:pt x="971" y="150"/>
                  </a:lnTo>
                  <a:lnTo>
                    <a:pt x="970" y="148"/>
                  </a:lnTo>
                  <a:lnTo>
                    <a:pt x="971" y="148"/>
                  </a:lnTo>
                  <a:lnTo>
                    <a:pt x="970" y="147"/>
                  </a:lnTo>
                  <a:lnTo>
                    <a:pt x="971" y="147"/>
                  </a:lnTo>
                  <a:lnTo>
                    <a:pt x="971" y="145"/>
                  </a:lnTo>
                  <a:lnTo>
                    <a:pt x="973" y="145"/>
                  </a:lnTo>
                  <a:lnTo>
                    <a:pt x="971" y="145"/>
                  </a:lnTo>
                  <a:lnTo>
                    <a:pt x="971" y="147"/>
                  </a:lnTo>
                  <a:lnTo>
                    <a:pt x="970" y="147"/>
                  </a:lnTo>
                  <a:lnTo>
                    <a:pt x="970" y="148"/>
                  </a:lnTo>
                  <a:lnTo>
                    <a:pt x="968" y="147"/>
                  </a:lnTo>
                  <a:lnTo>
                    <a:pt x="968" y="145"/>
                  </a:lnTo>
                  <a:lnTo>
                    <a:pt x="966" y="145"/>
                  </a:lnTo>
                  <a:lnTo>
                    <a:pt x="965" y="143"/>
                  </a:lnTo>
                  <a:lnTo>
                    <a:pt x="965" y="142"/>
                  </a:lnTo>
                  <a:lnTo>
                    <a:pt x="966" y="142"/>
                  </a:lnTo>
                  <a:lnTo>
                    <a:pt x="966" y="143"/>
                  </a:lnTo>
                  <a:lnTo>
                    <a:pt x="968" y="143"/>
                  </a:lnTo>
                  <a:lnTo>
                    <a:pt x="968" y="142"/>
                  </a:lnTo>
                  <a:lnTo>
                    <a:pt x="970" y="142"/>
                  </a:lnTo>
                  <a:lnTo>
                    <a:pt x="970" y="140"/>
                  </a:lnTo>
                  <a:lnTo>
                    <a:pt x="971" y="140"/>
                  </a:lnTo>
                  <a:lnTo>
                    <a:pt x="971" y="138"/>
                  </a:lnTo>
                  <a:lnTo>
                    <a:pt x="971" y="137"/>
                  </a:lnTo>
                  <a:lnTo>
                    <a:pt x="971" y="135"/>
                  </a:lnTo>
                  <a:lnTo>
                    <a:pt x="971" y="137"/>
                  </a:lnTo>
                  <a:lnTo>
                    <a:pt x="970" y="137"/>
                  </a:lnTo>
                  <a:lnTo>
                    <a:pt x="970" y="138"/>
                  </a:lnTo>
                  <a:lnTo>
                    <a:pt x="971" y="140"/>
                  </a:lnTo>
                  <a:lnTo>
                    <a:pt x="970" y="140"/>
                  </a:lnTo>
                  <a:lnTo>
                    <a:pt x="968" y="142"/>
                  </a:lnTo>
                  <a:lnTo>
                    <a:pt x="966" y="140"/>
                  </a:lnTo>
                  <a:lnTo>
                    <a:pt x="965" y="140"/>
                  </a:lnTo>
                  <a:lnTo>
                    <a:pt x="966" y="140"/>
                  </a:lnTo>
                  <a:lnTo>
                    <a:pt x="966" y="138"/>
                  </a:lnTo>
                  <a:lnTo>
                    <a:pt x="965" y="138"/>
                  </a:lnTo>
                  <a:lnTo>
                    <a:pt x="965" y="137"/>
                  </a:lnTo>
                  <a:lnTo>
                    <a:pt x="966" y="137"/>
                  </a:lnTo>
                  <a:lnTo>
                    <a:pt x="968" y="137"/>
                  </a:lnTo>
                  <a:lnTo>
                    <a:pt x="966" y="137"/>
                  </a:lnTo>
                  <a:lnTo>
                    <a:pt x="965" y="135"/>
                  </a:lnTo>
                  <a:lnTo>
                    <a:pt x="966" y="137"/>
                  </a:lnTo>
                  <a:lnTo>
                    <a:pt x="965" y="137"/>
                  </a:lnTo>
                  <a:lnTo>
                    <a:pt x="965" y="138"/>
                  </a:lnTo>
                  <a:lnTo>
                    <a:pt x="965" y="140"/>
                  </a:lnTo>
                  <a:lnTo>
                    <a:pt x="965" y="142"/>
                  </a:lnTo>
                  <a:lnTo>
                    <a:pt x="963" y="140"/>
                  </a:lnTo>
                  <a:lnTo>
                    <a:pt x="963" y="135"/>
                  </a:lnTo>
                  <a:lnTo>
                    <a:pt x="963" y="134"/>
                  </a:lnTo>
                  <a:lnTo>
                    <a:pt x="960" y="129"/>
                  </a:lnTo>
                  <a:lnTo>
                    <a:pt x="958" y="125"/>
                  </a:lnTo>
                  <a:lnTo>
                    <a:pt x="958" y="124"/>
                  </a:lnTo>
                  <a:lnTo>
                    <a:pt x="955" y="119"/>
                  </a:lnTo>
                  <a:lnTo>
                    <a:pt x="953" y="116"/>
                  </a:lnTo>
                  <a:lnTo>
                    <a:pt x="950" y="109"/>
                  </a:lnTo>
                  <a:lnTo>
                    <a:pt x="948" y="107"/>
                  </a:lnTo>
                  <a:lnTo>
                    <a:pt x="947" y="106"/>
                  </a:lnTo>
                  <a:lnTo>
                    <a:pt x="945" y="106"/>
                  </a:lnTo>
                  <a:lnTo>
                    <a:pt x="944" y="104"/>
                  </a:lnTo>
                  <a:lnTo>
                    <a:pt x="942" y="104"/>
                  </a:lnTo>
                  <a:lnTo>
                    <a:pt x="939" y="103"/>
                  </a:lnTo>
                  <a:lnTo>
                    <a:pt x="932" y="101"/>
                  </a:lnTo>
                  <a:lnTo>
                    <a:pt x="929" y="99"/>
                  </a:lnTo>
                  <a:lnTo>
                    <a:pt x="926" y="99"/>
                  </a:lnTo>
                  <a:lnTo>
                    <a:pt x="922" y="98"/>
                  </a:lnTo>
                  <a:lnTo>
                    <a:pt x="919" y="98"/>
                  </a:lnTo>
                  <a:lnTo>
                    <a:pt x="918" y="98"/>
                  </a:lnTo>
                  <a:lnTo>
                    <a:pt x="914" y="98"/>
                  </a:lnTo>
                  <a:lnTo>
                    <a:pt x="913" y="96"/>
                  </a:lnTo>
                  <a:lnTo>
                    <a:pt x="911" y="96"/>
                  </a:lnTo>
                  <a:lnTo>
                    <a:pt x="909" y="96"/>
                  </a:lnTo>
                  <a:lnTo>
                    <a:pt x="908" y="94"/>
                  </a:lnTo>
                  <a:lnTo>
                    <a:pt x="905" y="94"/>
                  </a:lnTo>
                  <a:lnTo>
                    <a:pt x="901" y="94"/>
                  </a:lnTo>
                  <a:lnTo>
                    <a:pt x="900" y="94"/>
                  </a:lnTo>
                  <a:lnTo>
                    <a:pt x="896" y="93"/>
                  </a:lnTo>
                  <a:lnTo>
                    <a:pt x="895" y="93"/>
                  </a:lnTo>
                  <a:lnTo>
                    <a:pt x="892" y="91"/>
                  </a:lnTo>
                  <a:lnTo>
                    <a:pt x="890" y="91"/>
                  </a:lnTo>
                  <a:lnTo>
                    <a:pt x="888" y="90"/>
                  </a:lnTo>
                  <a:lnTo>
                    <a:pt x="887" y="90"/>
                  </a:lnTo>
                  <a:lnTo>
                    <a:pt x="885" y="90"/>
                  </a:lnTo>
                  <a:lnTo>
                    <a:pt x="883" y="90"/>
                  </a:lnTo>
                  <a:lnTo>
                    <a:pt x="882" y="88"/>
                  </a:lnTo>
                  <a:lnTo>
                    <a:pt x="880" y="88"/>
                  </a:lnTo>
                  <a:lnTo>
                    <a:pt x="880" y="86"/>
                  </a:lnTo>
                  <a:lnTo>
                    <a:pt x="878" y="86"/>
                  </a:lnTo>
                  <a:lnTo>
                    <a:pt x="877" y="85"/>
                  </a:lnTo>
                  <a:lnTo>
                    <a:pt x="877" y="83"/>
                  </a:lnTo>
                  <a:lnTo>
                    <a:pt x="878" y="83"/>
                  </a:lnTo>
                  <a:lnTo>
                    <a:pt x="878" y="81"/>
                  </a:lnTo>
                  <a:lnTo>
                    <a:pt x="882" y="81"/>
                  </a:lnTo>
                  <a:lnTo>
                    <a:pt x="882" y="80"/>
                  </a:lnTo>
                  <a:lnTo>
                    <a:pt x="883" y="80"/>
                  </a:lnTo>
                  <a:lnTo>
                    <a:pt x="885" y="78"/>
                  </a:lnTo>
                  <a:lnTo>
                    <a:pt x="887" y="78"/>
                  </a:lnTo>
                  <a:lnTo>
                    <a:pt x="887" y="80"/>
                  </a:lnTo>
                  <a:lnTo>
                    <a:pt x="888" y="78"/>
                  </a:lnTo>
                  <a:lnTo>
                    <a:pt x="888" y="80"/>
                  </a:lnTo>
                  <a:lnTo>
                    <a:pt x="888" y="78"/>
                  </a:lnTo>
                  <a:lnTo>
                    <a:pt x="890" y="78"/>
                  </a:lnTo>
                  <a:lnTo>
                    <a:pt x="892" y="78"/>
                  </a:lnTo>
                  <a:lnTo>
                    <a:pt x="893" y="80"/>
                  </a:lnTo>
                  <a:lnTo>
                    <a:pt x="893" y="78"/>
                  </a:lnTo>
                  <a:lnTo>
                    <a:pt x="895" y="80"/>
                  </a:lnTo>
                  <a:lnTo>
                    <a:pt x="896" y="80"/>
                  </a:lnTo>
                  <a:lnTo>
                    <a:pt x="898" y="80"/>
                  </a:lnTo>
                  <a:lnTo>
                    <a:pt x="901" y="78"/>
                  </a:lnTo>
                  <a:lnTo>
                    <a:pt x="903" y="80"/>
                  </a:lnTo>
                  <a:lnTo>
                    <a:pt x="905" y="80"/>
                  </a:lnTo>
                  <a:lnTo>
                    <a:pt x="906" y="80"/>
                  </a:lnTo>
                  <a:lnTo>
                    <a:pt x="908" y="80"/>
                  </a:lnTo>
                  <a:lnTo>
                    <a:pt x="909" y="81"/>
                  </a:lnTo>
                  <a:lnTo>
                    <a:pt x="911" y="80"/>
                  </a:lnTo>
                  <a:lnTo>
                    <a:pt x="913" y="81"/>
                  </a:lnTo>
                  <a:lnTo>
                    <a:pt x="914" y="80"/>
                  </a:lnTo>
                  <a:lnTo>
                    <a:pt x="921" y="81"/>
                  </a:lnTo>
                  <a:lnTo>
                    <a:pt x="922" y="80"/>
                  </a:lnTo>
                  <a:lnTo>
                    <a:pt x="924" y="80"/>
                  </a:lnTo>
                  <a:lnTo>
                    <a:pt x="926" y="80"/>
                  </a:lnTo>
                  <a:lnTo>
                    <a:pt x="926" y="78"/>
                  </a:lnTo>
                  <a:lnTo>
                    <a:pt x="927" y="78"/>
                  </a:lnTo>
                  <a:lnTo>
                    <a:pt x="931" y="75"/>
                  </a:lnTo>
                  <a:lnTo>
                    <a:pt x="932" y="75"/>
                  </a:lnTo>
                  <a:lnTo>
                    <a:pt x="934" y="73"/>
                  </a:lnTo>
                  <a:lnTo>
                    <a:pt x="935" y="72"/>
                  </a:lnTo>
                  <a:lnTo>
                    <a:pt x="935" y="70"/>
                  </a:lnTo>
                  <a:lnTo>
                    <a:pt x="937" y="72"/>
                  </a:lnTo>
                  <a:lnTo>
                    <a:pt x="937" y="70"/>
                  </a:lnTo>
                  <a:lnTo>
                    <a:pt x="939" y="70"/>
                  </a:lnTo>
                  <a:lnTo>
                    <a:pt x="939" y="68"/>
                  </a:lnTo>
                  <a:lnTo>
                    <a:pt x="940" y="68"/>
                  </a:lnTo>
                  <a:lnTo>
                    <a:pt x="942" y="67"/>
                  </a:lnTo>
                  <a:lnTo>
                    <a:pt x="944" y="65"/>
                  </a:lnTo>
                  <a:lnTo>
                    <a:pt x="945" y="65"/>
                  </a:lnTo>
                  <a:lnTo>
                    <a:pt x="947" y="64"/>
                  </a:lnTo>
                  <a:lnTo>
                    <a:pt x="948" y="62"/>
                  </a:lnTo>
                  <a:lnTo>
                    <a:pt x="950" y="62"/>
                  </a:lnTo>
                  <a:lnTo>
                    <a:pt x="953" y="60"/>
                  </a:lnTo>
                  <a:lnTo>
                    <a:pt x="955" y="59"/>
                  </a:lnTo>
                  <a:lnTo>
                    <a:pt x="957" y="59"/>
                  </a:lnTo>
                  <a:lnTo>
                    <a:pt x="958" y="57"/>
                  </a:lnTo>
                  <a:lnTo>
                    <a:pt x="960" y="55"/>
                  </a:lnTo>
                  <a:lnTo>
                    <a:pt x="961" y="55"/>
                  </a:lnTo>
                  <a:lnTo>
                    <a:pt x="963" y="55"/>
                  </a:lnTo>
                  <a:lnTo>
                    <a:pt x="963" y="54"/>
                  </a:lnTo>
                  <a:lnTo>
                    <a:pt x="965" y="54"/>
                  </a:lnTo>
                  <a:lnTo>
                    <a:pt x="966" y="54"/>
                  </a:lnTo>
                  <a:lnTo>
                    <a:pt x="966" y="52"/>
                  </a:lnTo>
                  <a:lnTo>
                    <a:pt x="968" y="52"/>
                  </a:lnTo>
                  <a:lnTo>
                    <a:pt x="970" y="52"/>
                  </a:lnTo>
                  <a:lnTo>
                    <a:pt x="970" y="51"/>
                  </a:lnTo>
                  <a:lnTo>
                    <a:pt x="978" y="49"/>
                  </a:lnTo>
                  <a:lnTo>
                    <a:pt x="986" y="46"/>
                  </a:lnTo>
                  <a:lnTo>
                    <a:pt x="991" y="44"/>
                  </a:lnTo>
                  <a:lnTo>
                    <a:pt x="992" y="44"/>
                  </a:lnTo>
                  <a:lnTo>
                    <a:pt x="996" y="44"/>
                  </a:lnTo>
                  <a:lnTo>
                    <a:pt x="999" y="44"/>
                  </a:lnTo>
                  <a:lnTo>
                    <a:pt x="1000" y="44"/>
                  </a:lnTo>
                  <a:lnTo>
                    <a:pt x="1002" y="42"/>
                  </a:lnTo>
                  <a:lnTo>
                    <a:pt x="1005" y="42"/>
                  </a:lnTo>
                  <a:lnTo>
                    <a:pt x="1007" y="42"/>
                  </a:lnTo>
                  <a:lnTo>
                    <a:pt x="1010" y="42"/>
                  </a:lnTo>
                  <a:lnTo>
                    <a:pt x="1013" y="42"/>
                  </a:lnTo>
                  <a:lnTo>
                    <a:pt x="1020" y="42"/>
                  </a:lnTo>
                  <a:lnTo>
                    <a:pt x="1018" y="42"/>
                  </a:lnTo>
                  <a:lnTo>
                    <a:pt x="1017" y="42"/>
                  </a:lnTo>
                  <a:lnTo>
                    <a:pt x="1015" y="42"/>
                  </a:lnTo>
                  <a:lnTo>
                    <a:pt x="1013" y="42"/>
                  </a:lnTo>
                  <a:lnTo>
                    <a:pt x="1013" y="44"/>
                  </a:lnTo>
                  <a:lnTo>
                    <a:pt x="1015" y="42"/>
                  </a:lnTo>
                  <a:lnTo>
                    <a:pt x="1015" y="44"/>
                  </a:lnTo>
                  <a:lnTo>
                    <a:pt x="1013" y="44"/>
                  </a:lnTo>
                  <a:lnTo>
                    <a:pt x="1013" y="46"/>
                  </a:lnTo>
                  <a:lnTo>
                    <a:pt x="1015" y="46"/>
                  </a:lnTo>
                  <a:lnTo>
                    <a:pt x="1015" y="47"/>
                  </a:lnTo>
                  <a:lnTo>
                    <a:pt x="1013" y="46"/>
                  </a:lnTo>
                  <a:lnTo>
                    <a:pt x="1015" y="47"/>
                  </a:lnTo>
                  <a:lnTo>
                    <a:pt x="1017" y="47"/>
                  </a:lnTo>
                  <a:lnTo>
                    <a:pt x="1018" y="49"/>
                  </a:lnTo>
                  <a:lnTo>
                    <a:pt x="1020" y="51"/>
                  </a:lnTo>
                  <a:lnTo>
                    <a:pt x="1022" y="51"/>
                  </a:lnTo>
                  <a:lnTo>
                    <a:pt x="1023" y="51"/>
                  </a:lnTo>
                  <a:lnTo>
                    <a:pt x="1023" y="52"/>
                  </a:lnTo>
                  <a:lnTo>
                    <a:pt x="1025" y="52"/>
                  </a:lnTo>
                  <a:lnTo>
                    <a:pt x="1028" y="54"/>
                  </a:lnTo>
                  <a:lnTo>
                    <a:pt x="1028" y="55"/>
                  </a:lnTo>
                  <a:lnTo>
                    <a:pt x="1026" y="57"/>
                  </a:lnTo>
                  <a:lnTo>
                    <a:pt x="1028" y="57"/>
                  </a:lnTo>
                  <a:lnTo>
                    <a:pt x="1028" y="55"/>
                  </a:lnTo>
                  <a:lnTo>
                    <a:pt x="1030" y="57"/>
                  </a:lnTo>
                  <a:lnTo>
                    <a:pt x="1031" y="57"/>
                  </a:lnTo>
                  <a:lnTo>
                    <a:pt x="1031" y="55"/>
                  </a:lnTo>
                  <a:lnTo>
                    <a:pt x="1031" y="57"/>
                  </a:lnTo>
                  <a:lnTo>
                    <a:pt x="1031" y="55"/>
                  </a:lnTo>
                  <a:lnTo>
                    <a:pt x="1033" y="55"/>
                  </a:lnTo>
                  <a:lnTo>
                    <a:pt x="1033" y="57"/>
                  </a:lnTo>
                  <a:lnTo>
                    <a:pt x="1035" y="57"/>
                  </a:lnTo>
                  <a:lnTo>
                    <a:pt x="1036" y="57"/>
                  </a:lnTo>
                  <a:lnTo>
                    <a:pt x="1038" y="59"/>
                  </a:lnTo>
                  <a:lnTo>
                    <a:pt x="1040" y="59"/>
                  </a:lnTo>
                  <a:lnTo>
                    <a:pt x="1040" y="60"/>
                  </a:lnTo>
                  <a:lnTo>
                    <a:pt x="1041" y="60"/>
                  </a:lnTo>
                  <a:lnTo>
                    <a:pt x="1043" y="60"/>
                  </a:lnTo>
                  <a:lnTo>
                    <a:pt x="1044" y="62"/>
                  </a:lnTo>
                  <a:lnTo>
                    <a:pt x="1046" y="62"/>
                  </a:lnTo>
                  <a:lnTo>
                    <a:pt x="1046" y="60"/>
                  </a:lnTo>
                  <a:lnTo>
                    <a:pt x="1048" y="60"/>
                  </a:lnTo>
                  <a:lnTo>
                    <a:pt x="1048" y="62"/>
                  </a:lnTo>
                  <a:lnTo>
                    <a:pt x="1049" y="62"/>
                  </a:lnTo>
                  <a:lnTo>
                    <a:pt x="1049" y="64"/>
                  </a:lnTo>
                  <a:lnTo>
                    <a:pt x="1051" y="64"/>
                  </a:lnTo>
                  <a:lnTo>
                    <a:pt x="1051" y="62"/>
                  </a:lnTo>
                  <a:lnTo>
                    <a:pt x="1053" y="64"/>
                  </a:lnTo>
                  <a:lnTo>
                    <a:pt x="1053" y="62"/>
                  </a:lnTo>
                  <a:lnTo>
                    <a:pt x="1051" y="62"/>
                  </a:lnTo>
                  <a:lnTo>
                    <a:pt x="1051" y="60"/>
                  </a:lnTo>
                  <a:lnTo>
                    <a:pt x="1053" y="60"/>
                  </a:lnTo>
                  <a:lnTo>
                    <a:pt x="1054" y="62"/>
                  </a:lnTo>
                  <a:lnTo>
                    <a:pt x="1057" y="64"/>
                  </a:lnTo>
                  <a:lnTo>
                    <a:pt x="1061" y="64"/>
                  </a:lnTo>
                  <a:lnTo>
                    <a:pt x="1064" y="65"/>
                  </a:lnTo>
                  <a:lnTo>
                    <a:pt x="1066" y="65"/>
                  </a:lnTo>
                  <a:lnTo>
                    <a:pt x="1067" y="67"/>
                  </a:lnTo>
                  <a:lnTo>
                    <a:pt x="1069" y="68"/>
                  </a:lnTo>
                  <a:lnTo>
                    <a:pt x="1069" y="67"/>
                  </a:lnTo>
                  <a:lnTo>
                    <a:pt x="1069" y="68"/>
                  </a:lnTo>
                  <a:lnTo>
                    <a:pt x="1067" y="68"/>
                  </a:lnTo>
                  <a:lnTo>
                    <a:pt x="1067" y="70"/>
                  </a:lnTo>
                  <a:lnTo>
                    <a:pt x="1066" y="70"/>
                  </a:lnTo>
                  <a:lnTo>
                    <a:pt x="1067" y="70"/>
                  </a:lnTo>
                  <a:lnTo>
                    <a:pt x="1066" y="70"/>
                  </a:lnTo>
                  <a:lnTo>
                    <a:pt x="1066" y="72"/>
                  </a:lnTo>
                  <a:lnTo>
                    <a:pt x="1064" y="72"/>
                  </a:lnTo>
                  <a:lnTo>
                    <a:pt x="1062" y="72"/>
                  </a:lnTo>
                  <a:lnTo>
                    <a:pt x="1062" y="73"/>
                  </a:lnTo>
                  <a:lnTo>
                    <a:pt x="1064" y="72"/>
                  </a:lnTo>
                  <a:lnTo>
                    <a:pt x="1064" y="73"/>
                  </a:lnTo>
                  <a:lnTo>
                    <a:pt x="1066" y="73"/>
                  </a:lnTo>
                  <a:lnTo>
                    <a:pt x="1067" y="73"/>
                  </a:lnTo>
                  <a:lnTo>
                    <a:pt x="1067" y="72"/>
                  </a:lnTo>
                  <a:lnTo>
                    <a:pt x="1066" y="72"/>
                  </a:lnTo>
                  <a:lnTo>
                    <a:pt x="1067" y="72"/>
                  </a:lnTo>
                  <a:lnTo>
                    <a:pt x="1069" y="72"/>
                  </a:lnTo>
                  <a:lnTo>
                    <a:pt x="1067" y="70"/>
                  </a:lnTo>
                  <a:lnTo>
                    <a:pt x="1069" y="70"/>
                  </a:lnTo>
                  <a:lnTo>
                    <a:pt x="1069" y="68"/>
                  </a:lnTo>
                  <a:lnTo>
                    <a:pt x="1069" y="70"/>
                  </a:lnTo>
                  <a:lnTo>
                    <a:pt x="1070" y="73"/>
                  </a:lnTo>
                  <a:lnTo>
                    <a:pt x="1072" y="75"/>
                  </a:lnTo>
                  <a:lnTo>
                    <a:pt x="1074" y="77"/>
                  </a:lnTo>
                  <a:lnTo>
                    <a:pt x="1075" y="78"/>
                  </a:lnTo>
                  <a:lnTo>
                    <a:pt x="1077" y="80"/>
                  </a:lnTo>
                  <a:lnTo>
                    <a:pt x="1079" y="81"/>
                  </a:lnTo>
                  <a:lnTo>
                    <a:pt x="1080" y="83"/>
                  </a:lnTo>
                  <a:lnTo>
                    <a:pt x="1082" y="83"/>
                  </a:lnTo>
                  <a:lnTo>
                    <a:pt x="1083" y="83"/>
                  </a:lnTo>
                  <a:lnTo>
                    <a:pt x="1085" y="85"/>
                  </a:lnTo>
                  <a:lnTo>
                    <a:pt x="1087" y="86"/>
                  </a:lnTo>
                  <a:lnTo>
                    <a:pt x="1088" y="88"/>
                  </a:lnTo>
                  <a:lnTo>
                    <a:pt x="1090" y="90"/>
                  </a:lnTo>
                  <a:lnTo>
                    <a:pt x="1092" y="88"/>
                  </a:lnTo>
                  <a:lnTo>
                    <a:pt x="1092" y="90"/>
                  </a:lnTo>
                  <a:lnTo>
                    <a:pt x="1093" y="90"/>
                  </a:lnTo>
                  <a:lnTo>
                    <a:pt x="1093" y="91"/>
                  </a:lnTo>
                  <a:lnTo>
                    <a:pt x="1093" y="93"/>
                  </a:lnTo>
                  <a:lnTo>
                    <a:pt x="1095" y="93"/>
                  </a:lnTo>
                  <a:lnTo>
                    <a:pt x="1096" y="94"/>
                  </a:lnTo>
                  <a:lnTo>
                    <a:pt x="1096" y="96"/>
                  </a:lnTo>
                  <a:lnTo>
                    <a:pt x="1098" y="96"/>
                  </a:lnTo>
                  <a:lnTo>
                    <a:pt x="1098" y="98"/>
                  </a:lnTo>
                  <a:lnTo>
                    <a:pt x="1098" y="99"/>
                  </a:lnTo>
                  <a:lnTo>
                    <a:pt x="1098" y="101"/>
                  </a:lnTo>
                  <a:lnTo>
                    <a:pt x="1096" y="101"/>
                  </a:lnTo>
                  <a:lnTo>
                    <a:pt x="1096" y="103"/>
                  </a:lnTo>
                  <a:lnTo>
                    <a:pt x="1095" y="103"/>
                  </a:lnTo>
                  <a:lnTo>
                    <a:pt x="1093" y="103"/>
                  </a:lnTo>
                  <a:lnTo>
                    <a:pt x="1095" y="103"/>
                  </a:lnTo>
                  <a:lnTo>
                    <a:pt x="1093" y="103"/>
                  </a:lnTo>
                  <a:lnTo>
                    <a:pt x="1093" y="104"/>
                  </a:lnTo>
                  <a:lnTo>
                    <a:pt x="1092" y="104"/>
                  </a:lnTo>
                  <a:lnTo>
                    <a:pt x="1090" y="104"/>
                  </a:lnTo>
                  <a:lnTo>
                    <a:pt x="1088" y="106"/>
                  </a:lnTo>
                  <a:lnTo>
                    <a:pt x="1087" y="106"/>
                  </a:lnTo>
                  <a:lnTo>
                    <a:pt x="1085" y="107"/>
                  </a:lnTo>
                  <a:lnTo>
                    <a:pt x="1083" y="107"/>
                  </a:lnTo>
                  <a:lnTo>
                    <a:pt x="1082" y="107"/>
                  </a:lnTo>
                  <a:lnTo>
                    <a:pt x="1080" y="107"/>
                  </a:lnTo>
                  <a:lnTo>
                    <a:pt x="1080" y="109"/>
                  </a:lnTo>
                  <a:lnTo>
                    <a:pt x="1080" y="107"/>
                  </a:lnTo>
                  <a:lnTo>
                    <a:pt x="1080" y="109"/>
                  </a:lnTo>
                  <a:lnTo>
                    <a:pt x="1080" y="107"/>
                  </a:lnTo>
                  <a:lnTo>
                    <a:pt x="1080" y="109"/>
                  </a:lnTo>
                  <a:lnTo>
                    <a:pt x="1079" y="109"/>
                  </a:lnTo>
                  <a:lnTo>
                    <a:pt x="1077" y="109"/>
                  </a:lnTo>
                  <a:lnTo>
                    <a:pt x="1079" y="109"/>
                  </a:lnTo>
                  <a:lnTo>
                    <a:pt x="1080" y="109"/>
                  </a:lnTo>
                  <a:lnTo>
                    <a:pt x="1082" y="109"/>
                  </a:lnTo>
                  <a:lnTo>
                    <a:pt x="1074" y="117"/>
                  </a:lnTo>
                  <a:lnTo>
                    <a:pt x="1072" y="120"/>
                  </a:lnTo>
                  <a:lnTo>
                    <a:pt x="1069" y="122"/>
                  </a:lnTo>
                  <a:lnTo>
                    <a:pt x="1069" y="120"/>
                  </a:lnTo>
                  <a:lnTo>
                    <a:pt x="1067" y="122"/>
                  </a:lnTo>
                  <a:lnTo>
                    <a:pt x="1067" y="120"/>
                  </a:lnTo>
                  <a:lnTo>
                    <a:pt x="1066" y="120"/>
                  </a:lnTo>
                  <a:lnTo>
                    <a:pt x="1067" y="120"/>
                  </a:lnTo>
                  <a:lnTo>
                    <a:pt x="1067" y="122"/>
                  </a:lnTo>
                  <a:lnTo>
                    <a:pt x="1067" y="124"/>
                  </a:lnTo>
                  <a:lnTo>
                    <a:pt x="1066" y="125"/>
                  </a:lnTo>
                  <a:lnTo>
                    <a:pt x="1066" y="129"/>
                  </a:lnTo>
                  <a:lnTo>
                    <a:pt x="1064" y="130"/>
                  </a:lnTo>
                  <a:lnTo>
                    <a:pt x="1062" y="130"/>
                  </a:lnTo>
                  <a:lnTo>
                    <a:pt x="1059" y="134"/>
                  </a:lnTo>
                  <a:lnTo>
                    <a:pt x="1057" y="135"/>
                  </a:lnTo>
                  <a:lnTo>
                    <a:pt x="1056" y="137"/>
                  </a:lnTo>
                  <a:lnTo>
                    <a:pt x="1056" y="135"/>
                  </a:lnTo>
                  <a:lnTo>
                    <a:pt x="1054" y="134"/>
                  </a:lnTo>
                  <a:lnTo>
                    <a:pt x="1054" y="132"/>
                  </a:lnTo>
                  <a:lnTo>
                    <a:pt x="1054" y="134"/>
                  </a:lnTo>
                  <a:lnTo>
                    <a:pt x="1053" y="134"/>
                  </a:lnTo>
                  <a:lnTo>
                    <a:pt x="1054" y="134"/>
                  </a:lnTo>
                  <a:lnTo>
                    <a:pt x="1054" y="132"/>
                  </a:lnTo>
                  <a:lnTo>
                    <a:pt x="1054" y="134"/>
                  </a:lnTo>
                  <a:lnTo>
                    <a:pt x="1056" y="135"/>
                  </a:lnTo>
                  <a:lnTo>
                    <a:pt x="1054" y="135"/>
                  </a:lnTo>
                  <a:lnTo>
                    <a:pt x="1054" y="137"/>
                  </a:lnTo>
                  <a:lnTo>
                    <a:pt x="1051" y="137"/>
                  </a:lnTo>
                  <a:lnTo>
                    <a:pt x="1051" y="138"/>
                  </a:lnTo>
                  <a:lnTo>
                    <a:pt x="1051" y="137"/>
                  </a:lnTo>
                  <a:lnTo>
                    <a:pt x="1051" y="138"/>
                  </a:lnTo>
                  <a:lnTo>
                    <a:pt x="1048" y="140"/>
                  </a:lnTo>
                  <a:lnTo>
                    <a:pt x="1048" y="142"/>
                  </a:lnTo>
                  <a:lnTo>
                    <a:pt x="1048" y="143"/>
                  </a:lnTo>
                  <a:lnTo>
                    <a:pt x="1044" y="148"/>
                  </a:lnTo>
                  <a:lnTo>
                    <a:pt x="1044" y="151"/>
                  </a:lnTo>
                  <a:lnTo>
                    <a:pt x="1043" y="153"/>
                  </a:lnTo>
                  <a:lnTo>
                    <a:pt x="1043" y="151"/>
                  </a:lnTo>
                  <a:lnTo>
                    <a:pt x="1043" y="153"/>
                  </a:lnTo>
                  <a:lnTo>
                    <a:pt x="1043" y="151"/>
                  </a:lnTo>
                  <a:lnTo>
                    <a:pt x="1041" y="151"/>
                  </a:lnTo>
                  <a:lnTo>
                    <a:pt x="1041" y="153"/>
                  </a:lnTo>
                  <a:lnTo>
                    <a:pt x="1041" y="151"/>
                  </a:lnTo>
                  <a:lnTo>
                    <a:pt x="1043" y="151"/>
                  </a:lnTo>
                  <a:lnTo>
                    <a:pt x="1043" y="153"/>
                  </a:lnTo>
                  <a:lnTo>
                    <a:pt x="1043" y="151"/>
                  </a:lnTo>
                  <a:lnTo>
                    <a:pt x="1043" y="153"/>
                  </a:lnTo>
                  <a:lnTo>
                    <a:pt x="1044" y="153"/>
                  </a:lnTo>
                  <a:lnTo>
                    <a:pt x="1044" y="155"/>
                  </a:lnTo>
                  <a:lnTo>
                    <a:pt x="1043" y="155"/>
                  </a:lnTo>
                  <a:lnTo>
                    <a:pt x="1041" y="155"/>
                  </a:lnTo>
                  <a:lnTo>
                    <a:pt x="1043" y="155"/>
                  </a:lnTo>
                  <a:lnTo>
                    <a:pt x="1043" y="156"/>
                  </a:lnTo>
                  <a:lnTo>
                    <a:pt x="1043" y="155"/>
                  </a:lnTo>
                  <a:lnTo>
                    <a:pt x="1041" y="156"/>
                  </a:lnTo>
                  <a:lnTo>
                    <a:pt x="1043" y="156"/>
                  </a:lnTo>
                  <a:lnTo>
                    <a:pt x="1041" y="156"/>
                  </a:lnTo>
                  <a:lnTo>
                    <a:pt x="1043" y="156"/>
                  </a:lnTo>
                  <a:lnTo>
                    <a:pt x="1041" y="156"/>
                  </a:lnTo>
                  <a:lnTo>
                    <a:pt x="1043" y="156"/>
                  </a:lnTo>
                  <a:lnTo>
                    <a:pt x="1044" y="155"/>
                  </a:lnTo>
                  <a:lnTo>
                    <a:pt x="1043" y="155"/>
                  </a:lnTo>
                  <a:lnTo>
                    <a:pt x="1044" y="155"/>
                  </a:lnTo>
                  <a:lnTo>
                    <a:pt x="1044" y="153"/>
                  </a:lnTo>
                  <a:lnTo>
                    <a:pt x="1046" y="153"/>
                  </a:lnTo>
                  <a:lnTo>
                    <a:pt x="1046" y="155"/>
                  </a:lnTo>
                  <a:lnTo>
                    <a:pt x="1048" y="155"/>
                  </a:lnTo>
                  <a:lnTo>
                    <a:pt x="1048" y="156"/>
                  </a:lnTo>
                  <a:lnTo>
                    <a:pt x="1049" y="156"/>
                  </a:lnTo>
                  <a:lnTo>
                    <a:pt x="1051" y="160"/>
                  </a:lnTo>
                  <a:lnTo>
                    <a:pt x="1051" y="161"/>
                  </a:lnTo>
                  <a:lnTo>
                    <a:pt x="1051" y="163"/>
                  </a:lnTo>
                  <a:lnTo>
                    <a:pt x="1053" y="164"/>
                  </a:lnTo>
                  <a:lnTo>
                    <a:pt x="1053" y="166"/>
                  </a:lnTo>
                  <a:lnTo>
                    <a:pt x="1053" y="168"/>
                  </a:lnTo>
                  <a:lnTo>
                    <a:pt x="1051" y="168"/>
                  </a:lnTo>
                  <a:lnTo>
                    <a:pt x="1049" y="168"/>
                  </a:lnTo>
                  <a:lnTo>
                    <a:pt x="1048" y="168"/>
                  </a:lnTo>
                  <a:lnTo>
                    <a:pt x="1046" y="171"/>
                  </a:lnTo>
                  <a:lnTo>
                    <a:pt x="1046" y="174"/>
                  </a:lnTo>
                  <a:lnTo>
                    <a:pt x="1044" y="179"/>
                  </a:lnTo>
                  <a:lnTo>
                    <a:pt x="1044" y="181"/>
                  </a:lnTo>
                  <a:lnTo>
                    <a:pt x="1044" y="182"/>
                  </a:lnTo>
                  <a:lnTo>
                    <a:pt x="1044" y="184"/>
                  </a:lnTo>
                  <a:lnTo>
                    <a:pt x="1044" y="186"/>
                  </a:lnTo>
                  <a:lnTo>
                    <a:pt x="1044" y="187"/>
                  </a:lnTo>
                  <a:lnTo>
                    <a:pt x="1044" y="189"/>
                  </a:lnTo>
                  <a:lnTo>
                    <a:pt x="1046" y="194"/>
                  </a:lnTo>
                  <a:lnTo>
                    <a:pt x="1046" y="195"/>
                  </a:lnTo>
                  <a:lnTo>
                    <a:pt x="1048" y="197"/>
                  </a:lnTo>
                  <a:lnTo>
                    <a:pt x="1049" y="202"/>
                  </a:lnTo>
                  <a:lnTo>
                    <a:pt x="1053" y="207"/>
                  </a:lnTo>
                  <a:lnTo>
                    <a:pt x="1053" y="208"/>
                  </a:lnTo>
                  <a:lnTo>
                    <a:pt x="1053" y="207"/>
                  </a:lnTo>
                  <a:lnTo>
                    <a:pt x="1051" y="208"/>
                  </a:lnTo>
                  <a:lnTo>
                    <a:pt x="1051" y="210"/>
                  </a:lnTo>
                  <a:lnTo>
                    <a:pt x="1049" y="210"/>
                  </a:lnTo>
                  <a:lnTo>
                    <a:pt x="1051" y="210"/>
                  </a:lnTo>
                  <a:lnTo>
                    <a:pt x="1051" y="212"/>
                  </a:lnTo>
                  <a:lnTo>
                    <a:pt x="1051" y="210"/>
                  </a:lnTo>
                  <a:lnTo>
                    <a:pt x="1051" y="208"/>
                  </a:lnTo>
                  <a:lnTo>
                    <a:pt x="1051" y="210"/>
                  </a:lnTo>
                  <a:lnTo>
                    <a:pt x="1051" y="208"/>
                  </a:lnTo>
                  <a:lnTo>
                    <a:pt x="1053" y="208"/>
                  </a:lnTo>
                  <a:lnTo>
                    <a:pt x="1054" y="208"/>
                  </a:lnTo>
                  <a:lnTo>
                    <a:pt x="1056" y="208"/>
                  </a:lnTo>
                  <a:lnTo>
                    <a:pt x="1059" y="208"/>
                  </a:lnTo>
                  <a:lnTo>
                    <a:pt x="1062" y="210"/>
                  </a:lnTo>
                  <a:lnTo>
                    <a:pt x="1066" y="210"/>
                  </a:lnTo>
                  <a:lnTo>
                    <a:pt x="1069" y="212"/>
                  </a:lnTo>
                  <a:lnTo>
                    <a:pt x="1070" y="212"/>
                  </a:lnTo>
                  <a:lnTo>
                    <a:pt x="1072" y="212"/>
                  </a:lnTo>
                  <a:lnTo>
                    <a:pt x="1074" y="212"/>
                  </a:lnTo>
                  <a:lnTo>
                    <a:pt x="1079" y="212"/>
                  </a:lnTo>
                  <a:lnTo>
                    <a:pt x="1082" y="212"/>
                  </a:lnTo>
                  <a:lnTo>
                    <a:pt x="1085" y="212"/>
                  </a:lnTo>
                  <a:lnTo>
                    <a:pt x="1087" y="210"/>
                  </a:lnTo>
                  <a:lnTo>
                    <a:pt x="1093" y="210"/>
                  </a:lnTo>
                  <a:lnTo>
                    <a:pt x="1096" y="210"/>
                  </a:lnTo>
                  <a:lnTo>
                    <a:pt x="1098" y="212"/>
                  </a:lnTo>
                  <a:lnTo>
                    <a:pt x="1100" y="212"/>
                  </a:lnTo>
                  <a:lnTo>
                    <a:pt x="1101" y="213"/>
                  </a:lnTo>
                  <a:lnTo>
                    <a:pt x="1103" y="215"/>
                  </a:lnTo>
                  <a:lnTo>
                    <a:pt x="1105" y="216"/>
                  </a:lnTo>
                  <a:lnTo>
                    <a:pt x="1105" y="218"/>
                  </a:lnTo>
                  <a:lnTo>
                    <a:pt x="1106" y="220"/>
                  </a:lnTo>
                  <a:lnTo>
                    <a:pt x="1106" y="221"/>
                  </a:lnTo>
                  <a:lnTo>
                    <a:pt x="1106" y="223"/>
                  </a:lnTo>
                  <a:lnTo>
                    <a:pt x="1105" y="225"/>
                  </a:lnTo>
                  <a:lnTo>
                    <a:pt x="1105" y="226"/>
                  </a:lnTo>
                  <a:lnTo>
                    <a:pt x="1105" y="225"/>
                  </a:lnTo>
                  <a:lnTo>
                    <a:pt x="1105" y="226"/>
                  </a:lnTo>
                  <a:lnTo>
                    <a:pt x="1105" y="225"/>
                  </a:lnTo>
                  <a:lnTo>
                    <a:pt x="1106" y="223"/>
                  </a:lnTo>
                  <a:lnTo>
                    <a:pt x="1106" y="221"/>
                  </a:lnTo>
                  <a:lnTo>
                    <a:pt x="1108" y="221"/>
                  </a:lnTo>
                  <a:lnTo>
                    <a:pt x="1109" y="223"/>
                  </a:lnTo>
                  <a:lnTo>
                    <a:pt x="1111" y="223"/>
                  </a:lnTo>
                  <a:lnTo>
                    <a:pt x="1113" y="225"/>
                  </a:lnTo>
                  <a:lnTo>
                    <a:pt x="1114" y="225"/>
                  </a:lnTo>
                  <a:lnTo>
                    <a:pt x="1116" y="228"/>
                  </a:lnTo>
                  <a:lnTo>
                    <a:pt x="1118" y="228"/>
                  </a:lnTo>
                  <a:lnTo>
                    <a:pt x="1121" y="229"/>
                  </a:lnTo>
                  <a:lnTo>
                    <a:pt x="1124" y="233"/>
                  </a:lnTo>
                  <a:lnTo>
                    <a:pt x="1126" y="234"/>
                  </a:lnTo>
                  <a:lnTo>
                    <a:pt x="1127" y="234"/>
                  </a:lnTo>
                  <a:lnTo>
                    <a:pt x="1129" y="236"/>
                  </a:lnTo>
                  <a:lnTo>
                    <a:pt x="1129" y="238"/>
                  </a:lnTo>
                  <a:lnTo>
                    <a:pt x="1127" y="238"/>
                  </a:lnTo>
                  <a:lnTo>
                    <a:pt x="1129" y="238"/>
                  </a:lnTo>
                  <a:lnTo>
                    <a:pt x="1131" y="238"/>
                  </a:lnTo>
                  <a:lnTo>
                    <a:pt x="1132" y="238"/>
                  </a:lnTo>
                  <a:lnTo>
                    <a:pt x="1134" y="238"/>
                  </a:lnTo>
                  <a:lnTo>
                    <a:pt x="1135" y="239"/>
                  </a:lnTo>
                  <a:lnTo>
                    <a:pt x="1135" y="238"/>
                  </a:lnTo>
                  <a:lnTo>
                    <a:pt x="1137" y="238"/>
                  </a:lnTo>
                  <a:lnTo>
                    <a:pt x="1142" y="238"/>
                  </a:lnTo>
                  <a:lnTo>
                    <a:pt x="1144" y="239"/>
                  </a:lnTo>
                  <a:lnTo>
                    <a:pt x="1145" y="239"/>
                  </a:lnTo>
                  <a:lnTo>
                    <a:pt x="1145" y="241"/>
                  </a:lnTo>
                  <a:lnTo>
                    <a:pt x="1144" y="241"/>
                  </a:lnTo>
                  <a:lnTo>
                    <a:pt x="1144" y="242"/>
                  </a:lnTo>
                  <a:lnTo>
                    <a:pt x="1142" y="242"/>
                  </a:lnTo>
                  <a:lnTo>
                    <a:pt x="1144" y="244"/>
                  </a:lnTo>
                  <a:lnTo>
                    <a:pt x="1145" y="246"/>
                  </a:lnTo>
                  <a:lnTo>
                    <a:pt x="1145" y="247"/>
                  </a:lnTo>
                  <a:lnTo>
                    <a:pt x="1145" y="246"/>
                  </a:lnTo>
                  <a:lnTo>
                    <a:pt x="1144" y="246"/>
                  </a:lnTo>
                  <a:lnTo>
                    <a:pt x="1144" y="247"/>
                  </a:lnTo>
                  <a:lnTo>
                    <a:pt x="1144" y="249"/>
                  </a:lnTo>
                  <a:lnTo>
                    <a:pt x="1144" y="251"/>
                  </a:lnTo>
                  <a:lnTo>
                    <a:pt x="1144" y="252"/>
                  </a:lnTo>
                  <a:lnTo>
                    <a:pt x="1145" y="252"/>
                  </a:lnTo>
                  <a:lnTo>
                    <a:pt x="1144" y="254"/>
                  </a:lnTo>
                  <a:lnTo>
                    <a:pt x="1145" y="255"/>
                  </a:lnTo>
                  <a:lnTo>
                    <a:pt x="1147" y="255"/>
                  </a:lnTo>
                  <a:lnTo>
                    <a:pt x="1147" y="254"/>
                  </a:lnTo>
                  <a:lnTo>
                    <a:pt x="1147" y="255"/>
                  </a:lnTo>
                  <a:lnTo>
                    <a:pt x="1147" y="257"/>
                  </a:lnTo>
                  <a:lnTo>
                    <a:pt x="1147" y="259"/>
                  </a:lnTo>
                  <a:lnTo>
                    <a:pt x="1147" y="260"/>
                  </a:lnTo>
                  <a:lnTo>
                    <a:pt x="1147" y="259"/>
                  </a:lnTo>
                  <a:lnTo>
                    <a:pt x="1148" y="259"/>
                  </a:lnTo>
                  <a:lnTo>
                    <a:pt x="1148" y="260"/>
                  </a:lnTo>
                  <a:lnTo>
                    <a:pt x="1150" y="260"/>
                  </a:lnTo>
                  <a:lnTo>
                    <a:pt x="1148" y="260"/>
                  </a:lnTo>
                  <a:lnTo>
                    <a:pt x="1148" y="262"/>
                  </a:lnTo>
                  <a:lnTo>
                    <a:pt x="1150" y="262"/>
                  </a:lnTo>
                  <a:lnTo>
                    <a:pt x="1152" y="262"/>
                  </a:lnTo>
                  <a:lnTo>
                    <a:pt x="1150" y="262"/>
                  </a:lnTo>
                  <a:lnTo>
                    <a:pt x="1148" y="262"/>
                  </a:lnTo>
                  <a:lnTo>
                    <a:pt x="1148" y="260"/>
                  </a:lnTo>
                  <a:lnTo>
                    <a:pt x="1150" y="260"/>
                  </a:lnTo>
                  <a:lnTo>
                    <a:pt x="1148" y="260"/>
                  </a:lnTo>
                  <a:lnTo>
                    <a:pt x="1148" y="259"/>
                  </a:lnTo>
                  <a:lnTo>
                    <a:pt x="1147" y="259"/>
                  </a:lnTo>
                  <a:lnTo>
                    <a:pt x="1147" y="260"/>
                  </a:lnTo>
                  <a:lnTo>
                    <a:pt x="1147" y="259"/>
                  </a:lnTo>
                  <a:lnTo>
                    <a:pt x="1148" y="257"/>
                  </a:lnTo>
                  <a:lnTo>
                    <a:pt x="1147" y="257"/>
                  </a:lnTo>
                  <a:lnTo>
                    <a:pt x="1147" y="255"/>
                  </a:lnTo>
                  <a:lnTo>
                    <a:pt x="1147" y="254"/>
                  </a:lnTo>
                  <a:lnTo>
                    <a:pt x="1145" y="254"/>
                  </a:lnTo>
                  <a:lnTo>
                    <a:pt x="1145" y="255"/>
                  </a:lnTo>
                  <a:lnTo>
                    <a:pt x="1144" y="254"/>
                  </a:lnTo>
                  <a:lnTo>
                    <a:pt x="1145" y="252"/>
                  </a:lnTo>
                  <a:lnTo>
                    <a:pt x="1144" y="252"/>
                  </a:lnTo>
                  <a:lnTo>
                    <a:pt x="1144" y="251"/>
                  </a:lnTo>
                  <a:lnTo>
                    <a:pt x="1144" y="249"/>
                  </a:lnTo>
                  <a:lnTo>
                    <a:pt x="1144" y="247"/>
                  </a:lnTo>
                  <a:lnTo>
                    <a:pt x="1144" y="246"/>
                  </a:lnTo>
                  <a:lnTo>
                    <a:pt x="1145" y="247"/>
                  </a:lnTo>
                  <a:lnTo>
                    <a:pt x="1145" y="246"/>
                  </a:lnTo>
                  <a:lnTo>
                    <a:pt x="1144" y="244"/>
                  </a:lnTo>
                  <a:lnTo>
                    <a:pt x="1144" y="242"/>
                  </a:lnTo>
                  <a:lnTo>
                    <a:pt x="1145" y="242"/>
                  </a:lnTo>
                  <a:lnTo>
                    <a:pt x="1145" y="241"/>
                  </a:lnTo>
                  <a:lnTo>
                    <a:pt x="1145" y="239"/>
                  </a:lnTo>
                  <a:lnTo>
                    <a:pt x="1147" y="239"/>
                  </a:lnTo>
                  <a:lnTo>
                    <a:pt x="1147" y="238"/>
                  </a:lnTo>
                  <a:lnTo>
                    <a:pt x="1148" y="238"/>
                  </a:lnTo>
                  <a:lnTo>
                    <a:pt x="1150" y="238"/>
                  </a:lnTo>
                  <a:lnTo>
                    <a:pt x="1150" y="236"/>
                  </a:lnTo>
                  <a:lnTo>
                    <a:pt x="1152" y="236"/>
                  </a:lnTo>
                  <a:lnTo>
                    <a:pt x="1153" y="234"/>
                  </a:lnTo>
                  <a:lnTo>
                    <a:pt x="1155" y="233"/>
                  </a:lnTo>
                  <a:lnTo>
                    <a:pt x="1157" y="231"/>
                  </a:lnTo>
                  <a:lnTo>
                    <a:pt x="1158" y="229"/>
                  </a:lnTo>
                  <a:lnTo>
                    <a:pt x="1160" y="228"/>
                  </a:lnTo>
                  <a:lnTo>
                    <a:pt x="1160" y="226"/>
                  </a:lnTo>
                  <a:lnTo>
                    <a:pt x="1161" y="223"/>
                  </a:lnTo>
                  <a:lnTo>
                    <a:pt x="1163" y="223"/>
                  </a:lnTo>
                  <a:lnTo>
                    <a:pt x="1165" y="221"/>
                  </a:lnTo>
                  <a:lnTo>
                    <a:pt x="1165" y="220"/>
                  </a:lnTo>
                  <a:lnTo>
                    <a:pt x="1166" y="220"/>
                  </a:lnTo>
                  <a:lnTo>
                    <a:pt x="1168" y="220"/>
                  </a:lnTo>
                  <a:lnTo>
                    <a:pt x="1170" y="220"/>
                  </a:lnTo>
                  <a:lnTo>
                    <a:pt x="1171" y="221"/>
                  </a:lnTo>
                  <a:lnTo>
                    <a:pt x="1170" y="223"/>
                  </a:lnTo>
                  <a:lnTo>
                    <a:pt x="1171" y="223"/>
                  </a:lnTo>
                  <a:lnTo>
                    <a:pt x="1170" y="223"/>
                  </a:lnTo>
                  <a:lnTo>
                    <a:pt x="1170" y="225"/>
                  </a:lnTo>
                  <a:lnTo>
                    <a:pt x="1170" y="226"/>
                  </a:lnTo>
                  <a:lnTo>
                    <a:pt x="1171" y="228"/>
                  </a:lnTo>
                  <a:lnTo>
                    <a:pt x="1171" y="229"/>
                  </a:lnTo>
                  <a:lnTo>
                    <a:pt x="1171" y="231"/>
                  </a:lnTo>
                  <a:lnTo>
                    <a:pt x="1171" y="233"/>
                  </a:lnTo>
                  <a:lnTo>
                    <a:pt x="1171" y="234"/>
                  </a:lnTo>
                  <a:lnTo>
                    <a:pt x="1170" y="234"/>
                  </a:lnTo>
                  <a:lnTo>
                    <a:pt x="1168" y="236"/>
                  </a:lnTo>
                  <a:lnTo>
                    <a:pt x="1168" y="238"/>
                  </a:lnTo>
                  <a:lnTo>
                    <a:pt x="1166" y="238"/>
                  </a:lnTo>
                  <a:lnTo>
                    <a:pt x="1166" y="239"/>
                  </a:lnTo>
                  <a:lnTo>
                    <a:pt x="1168" y="239"/>
                  </a:lnTo>
                  <a:lnTo>
                    <a:pt x="1170" y="239"/>
                  </a:lnTo>
                  <a:lnTo>
                    <a:pt x="1171" y="239"/>
                  </a:lnTo>
                  <a:lnTo>
                    <a:pt x="1171" y="241"/>
                  </a:lnTo>
                  <a:lnTo>
                    <a:pt x="1173" y="239"/>
                  </a:lnTo>
                  <a:lnTo>
                    <a:pt x="1174" y="239"/>
                  </a:lnTo>
                  <a:lnTo>
                    <a:pt x="1174" y="241"/>
                  </a:lnTo>
                  <a:lnTo>
                    <a:pt x="1174" y="242"/>
                  </a:lnTo>
                  <a:lnTo>
                    <a:pt x="1173" y="242"/>
                  </a:lnTo>
                  <a:lnTo>
                    <a:pt x="1171" y="244"/>
                  </a:lnTo>
                  <a:lnTo>
                    <a:pt x="1171" y="246"/>
                  </a:lnTo>
                  <a:lnTo>
                    <a:pt x="1173" y="246"/>
                  </a:lnTo>
                  <a:lnTo>
                    <a:pt x="1174" y="246"/>
                  </a:lnTo>
                  <a:lnTo>
                    <a:pt x="1176" y="246"/>
                  </a:lnTo>
                  <a:lnTo>
                    <a:pt x="1176" y="247"/>
                  </a:lnTo>
                  <a:lnTo>
                    <a:pt x="1176" y="249"/>
                  </a:lnTo>
                  <a:lnTo>
                    <a:pt x="1178" y="249"/>
                  </a:lnTo>
                  <a:lnTo>
                    <a:pt x="1179" y="247"/>
                  </a:lnTo>
                  <a:lnTo>
                    <a:pt x="1181" y="247"/>
                  </a:lnTo>
                  <a:lnTo>
                    <a:pt x="1181" y="249"/>
                  </a:lnTo>
                  <a:lnTo>
                    <a:pt x="1179" y="249"/>
                  </a:lnTo>
                  <a:lnTo>
                    <a:pt x="1179" y="251"/>
                  </a:lnTo>
                  <a:lnTo>
                    <a:pt x="1181" y="251"/>
                  </a:lnTo>
                  <a:lnTo>
                    <a:pt x="1183" y="251"/>
                  </a:lnTo>
                  <a:lnTo>
                    <a:pt x="1183" y="252"/>
                  </a:lnTo>
                  <a:lnTo>
                    <a:pt x="1183" y="254"/>
                  </a:lnTo>
                  <a:lnTo>
                    <a:pt x="1183" y="255"/>
                  </a:lnTo>
                  <a:lnTo>
                    <a:pt x="1184" y="255"/>
                  </a:lnTo>
                  <a:lnTo>
                    <a:pt x="1184" y="254"/>
                  </a:lnTo>
                  <a:lnTo>
                    <a:pt x="1184" y="255"/>
                  </a:lnTo>
                  <a:lnTo>
                    <a:pt x="1183" y="255"/>
                  </a:lnTo>
                  <a:lnTo>
                    <a:pt x="1183" y="252"/>
                  </a:lnTo>
                  <a:lnTo>
                    <a:pt x="1183" y="251"/>
                  </a:lnTo>
                  <a:lnTo>
                    <a:pt x="1181" y="251"/>
                  </a:lnTo>
                  <a:lnTo>
                    <a:pt x="1179" y="251"/>
                  </a:lnTo>
                  <a:lnTo>
                    <a:pt x="1179" y="249"/>
                  </a:lnTo>
                  <a:lnTo>
                    <a:pt x="1181" y="249"/>
                  </a:lnTo>
                  <a:lnTo>
                    <a:pt x="1181" y="247"/>
                  </a:lnTo>
                  <a:lnTo>
                    <a:pt x="1179" y="247"/>
                  </a:lnTo>
                  <a:lnTo>
                    <a:pt x="1176" y="249"/>
                  </a:lnTo>
                  <a:lnTo>
                    <a:pt x="1176" y="247"/>
                  </a:lnTo>
                  <a:lnTo>
                    <a:pt x="1176" y="246"/>
                  </a:lnTo>
                  <a:lnTo>
                    <a:pt x="1174" y="246"/>
                  </a:lnTo>
                  <a:lnTo>
                    <a:pt x="1174" y="244"/>
                  </a:lnTo>
                  <a:lnTo>
                    <a:pt x="1173" y="246"/>
                  </a:lnTo>
                  <a:lnTo>
                    <a:pt x="1171" y="246"/>
                  </a:lnTo>
                  <a:lnTo>
                    <a:pt x="1171" y="244"/>
                  </a:lnTo>
                  <a:lnTo>
                    <a:pt x="1173" y="242"/>
                  </a:lnTo>
                  <a:lnTo>
                    <a:pt x="1174" y="242"/>
                  </a:lnTo>
                  <a:lnTo>
                    <a:pt x="1174" y="241"/>
                  </a:lnTo>
                  <a:lnTo>
                    <a:pt x="1174" y="239"/>
                  </a:lnTo>
                  <a:lnTo>
                    <a:pt x="1173" y="239"/>
                  </a:lnTo>
                  <a:lnTo>
                    <a:pt x="1171" y="241"/>
                  </a:lnTo>
                  <a:lnTo>
                    <a:pt x="1171" y="239"/>
                  </a:lnTo>
                  <a:lnTo>
                    <a:pt x="1170" y="238"/>
                  </a:lnTo>
                  <a:lnTo>
                    <a:pt x="1170" y="239"/>
                  </a:lnTo>
                  <a:lnTo>
                    <a:pt x="1168" y="239"/>
                  </a:lnTo>
                  <a:lnTo>
                    <a:pt x="1168" y="238"/>
                  </a:lnTo>
                  <a:lnTo>
                    <a:pt x="1170" y="238"/>
                  </a:lnTo>
                  <a:lnTo>
                    <a:pt x="1168" y="238"/>
                  </a:lnTo>
                  <a:lnTo>
                    <a:pt x="1168" y="239"/>
                  </a:lnTo>
                  <a:lnTo>
                    <a:pt x="1168" y="238"/>
                  </a:lnTo>
                  <a:lnTo>
                    <a:pt x="1170" y="238"/>
                  </a:lnTo>
                  <a:lnTo>
                    <a:pt x="1170" y="236"/>
                  </a:lnTo>
                  <a:lnTo>
                    <a:pt x="1170" y="234"/>
                  </a:lnTo>
                  <a:lnTo>
                    <a:pt x="1173" y="234"/>
                  </a:lnTo>
                  <a:lnTo>
                    <a:pt x="1173" y="233"/>
                  </a:lnTo>
                  <a:lnTo>
                    <a:pt x="1173" y="231"/>
                  </a:lnTo>
                  <a:lnTo>
                    <a:pt x="1171" y="231"/>
                  </a:lnTo>
                  <a:lnTo>
                    <a:pt x="1171" y="229"/>
                  </a:lnTo>
                  <a:lnTo>
                    <a:pt x="1173" y="229"/>
                  </a:lnTo>
                  <a:lnTo>
                    <a:pt x="1173" y="228"/>
                  </a:lnTo>
                  <a:lnTo>
                    <a:pt x="1171" y="226"/>
                  </a:lnTo>
                  <a:lnTo>
                    <a:pt x="1173" y="226"/>
                  </a:lnTo>
                  <a:lnTo>
                    <a:pt x="1171" y="226"/>
                  </a:lnTo>
                  <a:lnTo>
                    <a:pt x="1171" y="225"/>
                  </a:lnTo>
                  <a:lnTo>
                    <a:pt x="1173" y="223"/>
                  </a:lnTo>
                  <a:lnTo>
                    <a:pt x="1174" y="223"/>
                  </a:lnTo>
                  <a:lnTo>
                    <a:pt x="1176" y="223"/>
                  </a:lnTo>
                  <a:lnTo>
                    <a:pt x="1176" y="221"/>
                  </a:lnTo>
                  <a:lnTo>
                    <a:pt x="1178" y="220"/>
                  </a:lnTo>
                  <a:lnTo>
                    <a:pt x="1179" y="220"/>
                  </a:lnTo>
                  <a:lnTo>
                    <a:pt x="1179" y="218"/>
                  </a:lnTo>
                  <a:lnTo>
                    <a:pt x="1181" y="216"/>
                  </a:lnTo>
                  <a:lnTo>
                    <a:pt x="1181" y="215"/>
                  </a:lnTo>
                  <a:lnTo>
                    <a:pt x="1184" y="213"/>
                  </a:lnTo>
                  <a:lnTo>
                    <a:pt x="1186" y="212"/>
                  </a:lnTo>
                  <a:lnTo>
                    <a:pt x="1186" y="213"/>
                  </a:lnTo>
                  <a:lnTo>
                    <a:pt x="1188" y="213"/>
                  </a:lnTo>
                  <a:lnTo>
                    <a:pt x="1189" y="213"/>
                  </a:lnTo>
                  <a:lnTo>
                    <a:pt x="1189" y="215"/>
                  </a:lnTo>
                  <a:lnTo>
                    <a:pt x="1188" y="215"/>
                  </a:lnTo>
                  <a:lnTo>
                    <a:pt x="1188" y="216"/>
                  </a:lnTo>
                  <a:lnTo>
                    <a:pt x="1189" y="216"/>
                  </a:lnTo>
                  <a:lnTo>
                    <a:pt x="1188" y="216"/>
                  </a:lnTo>
                  <a:lnTo>
                    <a:pt x="1188" y="218"/>
                  </a:lnTo>
                  <a:lnTo>
                    <a:pt x="1189" y="218"/>
                  </a:lnTo>
                  <a:lnTo>
                    <a:pt x="1189" y="216"/>
                  </a:lnTo>
                  <a:lnTo>
                    <a:pt x="1191" y="218"/>
                  </a:lnTo>
                  <a:lnTo>
                    <a:pt x="1191" y="216"/>
                  </a:lnTo>
                  <a:lnTo>
                    <a:pt x="1192" y="216"/>
                  </a:lnTo>
                  <a:lnTo>
                    <a:pt x="1192" y="218"/>
                  </a:lnTo>
                  <a:lnTo>
                    <a:pt x="1192" y="216"/>
                  </a:lnTo>
                  <a:lnTo>
                    <a:pt x="1191" y="216"/>
                  </a:lnTo>
                  <a:lnTo>
                    <a:pt x="1189" y="216"/>
                  </a:lnTo>
                  <a:lnTo>
                    <a:pt x="1189" y="218"/>
                  </a:lnTo>
                  <a:lnTo>
                    <a:pt x="1188" y="216"/>
                  </a:lnTo>
                  <a:lnTo>
                    <a:pt x="1189" y="216"/>
                  </a:lnTo>
                  <a:lnTo>
                    <a:pt x="1188" y="216"/>
                  </a:lnTo>
                  <a:lnTo>
                    <a:pt x="1188" y="215"/>
                  </a:lnTo>
                  <a:lnTo>
                    <a:pt x="1189" y="215"/>
                  </a:lnTo>
                  <a:lnTo>
                    <a:pt x="1189" y="213"/>
                  </a:lnTo>
                  <a:lnTo>
                    <a:pt x="1188" y="213"/>
                  </a:lnTo>
                  <a:lnTo>
                    <a:pt x="1188" y="212"/>
                  </a:lnTo>
                  <a:lnTo>
                    <a:pt x="1188" y="210"/>
                  </a:lnTo>
                  <a:lnTo>
                    <a:pt x="1188" y="208"/>
                  </a:lnTo>
                  <a:lnTo>
                    <a:pt x="1189" y="208"/>
                  </a:lnTo>
                  <a:lnTo>
                    <a:pt x="1191" y="207"/>
                  </a:lnTo>
                  <a:lnTo>
                    <a:pt x="1192" y="207"/>
                  </a:lnTo>
                  <a:lnTo>
                    <a:pt x="1192" y="205"/>
                  </a:lnTo>
                  <a:lnTo>
                    <a:pt x="1194" y="203"/>
                  </a:lnTo>
                  <a:lnTo>
                    <a:pt x="1194" y="202"/>
                  </a:lnTo>
                  <a:lnTo>
                    <a:pt x="1196" y="202"/>
                  </a:lnTo>
                  <a:lnTo>
                    <a:pt x="1196" y="200"/>
                  </a:lnTo>
                  <a:lnTo>
                    <a:pt x="1197" y="199"/>
                  </a:lnTo>
                  <a:lnTo>
                    <a:pt x="1197" y="197"/>
                  </a:lnTo>
                  <a:lnTo>
                    <a:pt x="1199" y="197"/>
                  </a:lnTo>
                  <a:lnTo>
                    <a:pt x="1199" y="195"/>
                  </a:lnTo>
                  <a:lnTo>
                    <a:pt x="1201" y="194"/>
                  </a:lnTo>
                  <a:lnTo>
                    <a:pt x="1201" y="192"/>
                  </a:lnTo>
                  <a:lnTo>
                    <a:pt x="1201" y="190"/>
                  </a:lnTo>
                  <a:lnTo>
                    <a:pt x="1202" y="190"/>
                  </a:lnTo>
                  <a:lnTo>
                    <a:pt x="1204" y="189"/>
                  </a:lnTo>
                  <a:lnTo>
                    <a:pt x="1204" y="187"/>
                  </a:lnTo>
                  <a:lnTo>
                    <a:pt x="1205" y="187"/>
                  </a:lnTo>
                  <a:lnTo>
                    <a:pt x="1207" y="187"/>
                  </a:lnTo>
                  <a:lnTo>
                    <a:pt x="1209" y="187"/>
                  </a:lnTo>
                  <a:lnTo>
                    <a:pt x="1210" y="187"/>
                  </a:lnTo>
                  <a:lnTo>
                    <a:pt x="1212" y="187"/>
                  </a:lnTo>
                  <a:lnTo>
                    <a:pt x="1212" y="186"/>
                  </a:lnTo>
                  <a:lnTo>
                    <a:pt x="1212" y="187"/>
                  </a:lnTo>
                  <a:lnTo>
                    <a:pt x="1212" y="186"/>
                  </a:lnTo>
                  <a:lnTo>
                    <a:pt x="1214" y="187"/>
                  </a:lnTo>
                  <a:lnTo>
                    <a:pt x="1215" y="187"/>
                  </a:lnTo>
                  <a:lnTo>
                    <a:pt x="1215" y="189"/>
                  </a:lnTo>
                  <a:lnTo>
                    <a:pt x="1215" y="192"/>
                  </a:lnTo>
                  <a:lnTo>
                    <a:pt x="1217" y="192"/>
                  </a:lnTo>
                  <a:lnTo>
                    <a:pt x="1218" y="192"/>
                  </a:lnTo>
                  <a:lnTo>
                    <a:pt x="1217" y="192"/>
                  </a:lnTo>
                  <a:lnTo>
                    <a:pt x="1218" y="192"/>
                  </a:lnTo>
                  <a:lnTo>
                    <a:pt x="1218" y="190"/>
                  </a:lnTo>
                  <a:lnTo>
                    <a:pt x="1220" y="190"/>
                  </a:lnTo>
                  <a:lnTo>
                    <a:pt x="1222" y="189"/>
                  </a:lnTo>
                  <a:lnTo>
                    <a:pt x="1223" y="189"/>
                  </a:lnTo>
                  <a:lnTo>
                    <a:pt x="1223" y="190"/>
                  </a:lnTo>
                  <a:lnTo>
                    <a:pt x="1222" y="190"/>
                  </a:lnTo>
                  <a:lnTo>
                    <a:pt x="1222" y="194"/>
                  </a:lnTo>
                  <a:lnTo>
                    <a:pt x="1223" y="194"/>
                  </a:lnTo>
                  <a:lnTo>
                    <a:pt x="1225" y="192"/>
                  </a:lnTo>
                  <a:lnTo>
                    <a:pt x="1227" y="190"/>
                  </a:lnTo>
                  <a:lnTo>
                    <a:pt x="1228" y="190"/>
                  </a:lnTo>
                  <a:lnTo>
                    <a:pt x="1228" y="192"/>
                  </a:lnTo>
                  <a:lnTo>
                    <a:pt x="1227" y="190"/>
                  </a:lnTo>
                  <a:lnTo>
                    <a:pt x="1227" y="192"/>
                  </a:lnTo>
                  <a:lnTo>
                    <a:pt x="1225" y="194"/>
                  </a:lnTo>
                  <a:lnTo>
                    <a:pt x="1227" y="194"/>
                  </a:lnTo>
                  <a:lnTo>
                    <a:pt x="1228" y="194"/>
                  </a:lnTo>
                  <a:lnTo>
                    <a:pt x="1230" y="192"/>
                  </a:lnTo>
                  <a:lnTo>
                    <a:pt x="1231" y="194"/>
                  </a:lnTo>
                  <a:lnTo>
                    <a:pt x="1231" y="195"/>
                  </a:lnTo>
                  <a:lnTo>
                    <a:pt x="1233" y="195"/>
                  </a:lnTo>
                  <a:lnTo>
                    <a:pt x="1231" y="195"/>
                  </a:lnTo>
                  <a:lnTo>
                    <a:pt x="1230" y="195"/>
                  </a:lnTo>
                  <a:lnTo>
                    <a:pt x="1230" y="197"/>
                  </a:lnTo>
                  <a:lnTo>
                    <a:pt x="1230" y="199"/>
                  </a:lnTo>
                  <a:lnTo>
                    <a:pt x="1231" y="199"/>
                  </a:lnTo>
                  <a:lnTo>
                    <a:pt x="1231" y="197"/>
                  </a:lnTo>
                  <a:lnTo>
                    <a:pt x="1233" y="197"/>
                  </a:lnTo>
                  <a:lnTo>
                    <a:pt x="1233" y="195"/>
                  </a:lnTo>
                  <a:lnTo>
                    <a:pt x="1235" y="194"/>
                  </a:lnTo>
                  <a:lnTo>
                    <a:pt x="1236" y="194"/>
                  </a:lnTo>
                  <a:lnTo>
                    <a:pt x="1236" y="195"/>
                  </a:lnTo>
                  <a:lnTo>
                    <a:pt x="1236" y="197"/>
                  </a:lnTo>
                  <a:lnTo>
                    <a:pt x="1235" y="199"/>
                  </a:lnTo>
                  <a:lnTo>
                    <a:pt x="1236" y="197"/>
                  </a:lnTo>
                  <a:lnTo>
                    <a:pt x="1236" y="199"/>
                  </a:lnTo>
                  <a:lnTo>
                    <a:pt x="1235" y="199"/>
                  </a:lnTo>
                  <a:lnTo>
                    <a:pt x="1233" y="199"/>
                  </a:lnTo>
                  <a:lnTo>
                    <a:pt x="1233" y="200"/>
                  </a:lnTo>
                  <a:lnTo>
                    <a:pt x="1235" y="200"/>
                  </a:lnTo>
                  <a:lnTo>
                    <a:pt x="1236" y="200"/>
                  </a:lnTo>
                  <a:lnTo>
                    <a:pt x="1238" y="197"/>
                  </a:lnTo>
                  <a:lnTo>
                    <a:pt x="1240" y="195"/>
                  </a:lnTo>
                  <a:lnTo>
                    <a:pt x="1241" y="195"/>
                  </a:lnTo>
                  <a:lnTo>
                    <a:pt x="1241" y="197"/>
                  </a:lnTo>
                  <a:lnTo>
                    <a:pt x="1240" y="197"/>
                  </a:lnTo>
                  <a:lnTo>
                    <a:pt x="1240" y="199"/>
                  </a:lnTo>
                  <a:lnTo>
                    <a:pt x="1238" y="200"/>
                  </a:lnTo>
                  <a:lnTo>
                    <a:pt x="1240" y="202"/>
                  </a:lnTo>
                  <a:lnTo>
                    <a:pt x="1241" y="202"/>
                  </a:lnTo>
                  <a:lnTo>
                    <a:pt x="1243" y="202"/>
                  </a:lnTo>
                  <a:lnTo>
                    <a:pt x="1244" y="202"/>
                  </a:lnTo>
                  <a:lnTo>
                    <a:pt x="1246" y="202"/>
                  </a:lnTo>
                  <a:lnTo>
                    <a:pt x="1248" y="200"/>
                  </a:lnTo>
                  <a:lnTo>
                    <a:pt x="1246" y="203"/>
                  </a:lnTo>
                  <a:lnTo>
                    <a:pt x="1248" y="202"/>
                  </a:lnTo>
                  <a:lnTo>
                    <a:pt x="1248" y="200"/>
                  </a:lnTo>
                  <a:lnTo>
                    <a:pt x="1246" y="202"/>
                  </a:lnTo>
                  <a:lnTo>
                    <a:pt x="1244" y="202"/>
                  </a:lnTo>
                  <a:lnTo>
                    <a:pt x="1243" y="202"/>
                  </a:lnTo>
                  <a:lnTo>
                    <a:pt x="1241" y="202"/>
                  </a:lnTo>
                  <a:lnTo>
                    <a:pt x="1240" y="202"/>
                  </a:lnTo>
                  <a:lnTo>
                    <a:pt x="1238" y="200"/>
                  </a:lnTo>
                  <a:lnTo>
                    <a:pt x="1240" y="199"/>
                  </a:lnTo>
                  <a:lnTo>
                    <a:pt x="1240" y="197"/>
                  </a:lnTo>
                  <a:lnTo>
                    <a:pt x="1241" y="197"/>
                  </a:lnTo>
                  <a:lnTo>
                    <a:pt x="1241" y="195"/>
                  </a:lnTo>
                  <a:lnTo>
                    <a:pt x="1240" y="195"/>
                  </a:lnTo>
                  <a:lnTo>
                    <a:pt x="1238" y="197"/>
                  </a:lnTo>
                  <a:lnTo>
                    <a:pt x="1236" y="199"/>
                  </a:lnTo>
                  <a:lnTo>
                    <a:pt x="1236" y="200"/>
                  </a:lnTo>
                  <a:lnTo>
                    <a:pt x="1235" y="200"/>
                  </a:lnTo>
                  <a:lnTo>
                    <a:pt x="1233" y="200"/>
                  </a:lnTo>
                  <a:lnTo>
                    <a:pt x="1233" y="199"/>
                  </a:lnTo>
                  <a:lnTo>
                    <a:pt x="1235" y="199"/>
                  </a:lnTo>
                  <a:lnTo>
                    <a:pt x="1236" y="199"/>
                  </a:lnTo>
                  <a:lnTo>
                    <a:pt x="1236" y="197"/>
                  </a:lnTo>
                  <a:lnTo>
                    <a:pt x="1236" y="195"/>
                  </a:lnTo>
                  <a:lnTo>
                    <a:pt x="1236" y="194"/>
                  </a:lnTo>
                  <a:lnTo>
                    <a:pt x="1235" y="194"/>
                  </a:lnTo>
                  <a:lnTo>
                    <a:pt x="1233" y="194"/>
                  </a:lnTo>
                  <a:lnTo>
                    <a:pt x="1233" y="195"/>
                  </a:lnTo>
                  <a:lnTo>
                    <a:pt x="1231" y="197"/>
                  </a:lnTo>
                  <a:lnTo>
                    <a:pt x="1231" y="199"/>
                  </a:lnTo>
                  <a:lnTo>
                    <a:pt x="1230" y="199"/>
                  </a:lnTo>
                  <a:lnTo>
                    <a:pt x="1230" y="195"/>
                  </a:lnTo>
                  <a:lnTo>
                    <a:pt x="1231" y="195"/>
                  </a:lnTo>
                  <a:lnTo>
                    <a:pt x="1231" y="197"/>
                  </a:lnTo>
                  <a:lnTo>
                    <a:pt x="1233" y="195"/>
                  </a:lnTo>
                  <a:lnTo>
                    <a:pt x="1231" y="194"/>
                  </a:lnTo>
                  <a:lnTo>
                    <a:pt x="1231" y="192"/>
                  </a:lnTo>
                  <a:lnTo>
                    <a:pt x="1230" y="192"/>
                  </a:lnTo>
                  <a:lnTo>
                    <a:pt x="1228" y="194"/>
                  </a:lnTo>
                  <a:lnTo>
                    <a:pt x="1227" y="194"/>
                  </a:lnTo>
                  <a:lnTo>
                    <a:pt x="1227" y="192"/>
                  </a:lnTo>
                  <a:lnTo>
                    <a:pt x="1228" y="192"/>
                  </a:lnTo>
                  <a:lnTo>
                    <a:pt x="1230" y="190"/>
                  </a:lnTo>
                  <a:lnTo>
                    <a:pt x="1228" y="190"/>
                  </a:lnTo>
                  <a:lnTo>
                    <a:pt x="1225" y="190"/>
                  </a:lnTo>
                  <a:lnTo>
                    <a:pt x="1223" y="194"/>
                  </a:lnTo>
                  <a:lnTo>
                    <a:pt x="1222" y="194"/>
                  </a:lnTo>
                  <a:lnTo>
                    <a:pt x="1222" y="192"/>
                  </a:lnTo>
                  <a:lnTo>
                    <a:pt x="1223" y="190"/>
                  </a:lnTo>
                  <a:lnTo>
                    <a:pt x="1223" y="189"/>
                  </a:lnTo>
                  <a:lnTo>
                    <a:pt x="1222" y="189"/>
                  </a:lnTo>
                  <a:lnTo>
                    <a:pt x="1220" y="189"/>
                  </a:lnTo>
                  <a:lnTo>
                    <a:pt x="1218" y="190"/>
                  </a:lnTo>
                  <a:lnTo>
                    <a:pt x="1217" y="190"/>
                  </a:lnTo>
                  <a:lnTo>
                    <a:pt x="1217" y="192"/>
                  </a:lnTo>
                  <a:lnTo>
                    <a:pt x="1215" y="192"/>
                  </a:lnTo>
                  <a:lnTo>
                    <a:pt x="1217" y="189"/>
                  </a:lnTo>
                  <a:lnTo>
                    <a:pt x="1217" y="186"/>
                  </a:lnTo>
                  <a:lnTo>
                    <a:pt x="1215" y="186"/>
                  </a:lnTo>
                  <a:lnTo>
                    <a:pt x="1214" y="186"/>
                  </a:lnTo>
                  <a:lnTo>
                    <a:pt x="1212" y="186"/>
                  </a:lnTo>
                  <a:lnTo>
                    <a:pt x="1212" y="184"/>
                  </a:lnTo>
                  <a:lnTo>
                    <a:pt x="1212" y="182"/>
                  </a:lnTo>
                  <a:lnTo>
                    <a:pt x="1212" y="181"/>
                  </a:lnTo>
                  <a:lnTo>
                    <a:pt x="1212" y="179"/>
                  </a:lnTo>
                  <a:lnTo>
                    <a:pt x="1212" y="177"/>
                  </a:lnTo>
                  <a:lnTo>
                    <a:pt x="1212" y="176"/>
                  </a:lnTo>
                  <a:lnTo>
                    <a:pt x="1214" y="176"/>
                  </a:lnTo>
                  <a:lnTo>
                    <a:pt x="1212" y="176"/>
                  </a:lnTo>
                  <a:lnTo>
                    <a:pt x="1212" y="174"/>
                  </a:lnTo>
                  <a:lnTo>
                    <a:pt x="1214" y="174"/>
                  </a:lnTo>
                  <a:lnTo>
                    <a:pt x="1212" y="174"/>
                  </a:lnTo>
                  <a:lnTo>
                    <a:pt x="1212" y="173"/>
                  </a:lnTo>
                  <a:lnTo>
                    <a:pt x="1212" y="171"/>
                  </a:lnTo>
                  <a:lnTo>
                    <a:pt x="1212" y="169"/>
                  </a:lnTo>
                  <a:lnTo>
                    <a:pt x="1212" y="168"/>
                  </a:lnTo>
                  <a:lnTo>
                    <a:pt x="1212" y="166"/>
                  </a:lnTo>
                  <a:lnTo>
                    <a:pt x="1212" y="168"/>
                  </a:lnTo>
                  <a:lnTo>
                    <a:pt x="1210" y="166"/>
                  </a:lnTo>
                  <a:lnTo>
                    <a:pt x="1210" y="164"/>
                  </a:lnTo>
                  <a:lnTo>
                    <a:pt x="1209" y="163"/>
                  </a:lnTo>
                  <a:lnTo>
                    <a:pt x="1207" y="160"/>
                  </a:lnTo>
                  <a:lnTo>
                    <a:pt x="1204" y="153"/>
                  </a:lnTo>
                  <a:lnTo>
                    <a:pt x="1202" y="151"/>
                  </a:lnTo>
                  <a:lnTo>
                    <a:pt x="1204" y="151"/>
                  </a:lnTo>
                  <a:lnTo>
                    <a:pt x="1205" y="151"/>
                  </a:lnTo>
                  <a:lnTo>
                    <a:pt x="1205" y="150"/>
                  </a:lnTo>
                  <a:lnTo>
                    <a:pt x="1207" y="151"/>
                  </a:lnTo>
                  <a:lnTo>
                    <a:pt x="1209" y="151"/>
                  </a:lnTo>
                  <a:lnTo>
                    <a:pt x="1207" y="151"/>
                  </a:lnTo>
                  <a:lnTo>
                    <a:pt x="1207" y="150"/>
                  </a:lnTo>
                  <a:lnTo>
                    <a:pt x="1205" y="150"/>
                  </a:lnTo>
                  <a:lnTo>
                    <a:pt x="1205" y="151"/>
                  </a:lnTo>
                  <a:lnTo>
                    <a:pt x="1204" y="151"/>
                  </a:lnTo>
                  <a:lnTo>
                    <a:pt x="1202" y="151"/>
                  </a:lnTo>
                  <a:lnTo>
                    <a:pt x="1202" y="150"/>
                  </a:lnTo>
                  <a:lnTo>
                    <a:pt x="1201" y="150"/>
                  </a:lnTo>
                  <a:lnTo>
                    <a:pt x="1199" y="150"/>
                  </a:lnTo>
                  <a:lnTo>
                    <a:pt x="1197" y="150"/>
                  </a:lnTo>
                  <a:lnTo>
                    <a:pt x="1197" y="148"/>
                  </a:lnTo>
                  <a:lnTo>
                    <a:pt x="1196" y="147"/>
                  </a:lnTo>
                  <a:lnTo>
                    <a:pt x="1194" y="147"/>
                  </a:lnTo>
                  <a:lnTo>
                    <a:pt x="1194" y="148"/>
                  </a:lnTo>
                  <a:lnTo>
                    <a:pt x="1194" y="147"/>
                  </a:lnTo>
                  <a:lnTo>
                    <a:pt x="1194" y="145"/>
                  </a:lnTo>
                  <a:lnTo>
                    <a:pt x="1194" y="143"/>
                  </a:lnTo>
                  <a:lnTo>
                    <a:pt x="1194" y="142"/>
                  </a:lnTo>
                  <a:lnTo>
                    <a:pt x="1196" y="142"/>
                  </a:lnTo>
                  <a:lnTo>
                    <a:pt x="1194" y="142"/>
                  </a:lnTo>
                  <a:lnTo>
                    <a:pt x="1196" y="142"/>
                  </a:lnTo>
                  <a:lnTo>
                    <a:pt x="1196" y="140"/>
                  </a:lnTo>
                  <a:lnTo>
                    <a:pt x="1196" y="138"/>
                  </a:lnTo>
                  <a:lnTo>
                    <a:pt x="1196" y="137"/>
                  </a:lnTo>
                  <a:lnTo>
                    <a:pt x="1194" y="135"/>
                  </a:lnTo>
                  <a:lnTo>
                    <a:pt x="1192" y="135"/>
                  </a:lnTo>
                  <a:lnTo>
                    <a:pt x="1191" y="134"/>
                  </a:lnTo>
                  <a:lnTo>
                    <a:pt x="1191" y="132"/>
                  </a:lnTo>
                  <a:lnTo>
                    <a:pt x="1189" y="132"/>
                  </a:lnTo>
                  <a:lnTo>
                    <a:pt x="1189" y="130"/>
                  </a:lnTo>
                  <a:lnTo>
                    <a:pt x="1189" y="129"/>
                  </a:lnTo>
                  <a:lnTo>
                    <a:pt x="1188" y="129"/>
                  </a:lnTo>
                  <a:lnTo>
                    <a:pt x="1189" y="129"/>
                  </a:lnTo>
                  <a:lnTo>
                    <a:pt x="1189" y="130"/>
                  </a:lnTo>
                  <a:lnTo>
                    <a:pt x="1191" y="129"/>
                  </a:lnTo>
                  <a:lnTo>
                    <a:pt x="1191" y="127"/>
                  </a:lnTo>
                  <a:lnTo>
                    <a:pt x="1192" y="127"/>
                  </a:lnTo>
                  <a:lnTo>
                    <a:pt x="1192" y="129"/>
                  </a:lnTo>
                  <a:lnTo>
                    <a:pt x="1192" y="127"/>
                  </a:lnTo>
                  <a:lnTo>
                    <a:pt x="1191" y="129"/>
                  </a:lnTo>
                  <a:lnTo>
                    <a:pt x="1189" y="129"/>
                  </a:lnTo>
                  <a:lnTo>
                    <a:pt x="1188" y="129"/>
                  </a:lnTo>
                  <a:lnTo>
                    <a:pt x="1186" y="127"/>
                  </a:lnTo>
                  <a:lnTo>
                    <a:pt x="1188" y="124"/>
                  </a:lnTo>
                  <a:lnTo>
                    <a:pt x="1188" y="122"/>
                  </a:lnTo>
                  <a:lnTo>
                    <a:pt x="1188" y="120"/>
                  </a:lnTo>
                  <a:lnTo>
                    <a:pt x="1189" y="120"/>
                  </a:lnTo>
                  <a:lnTo>
                    <a:pt x="1189" y="122"/>
                  </a:lnTo>
                  <a:lnTo>
                    <a:pt x="1191" y="122"/>
                  </a:lnTo>
                  <a:lnTo>
                    <a:pt x="1192" y="122"/>
                  </a:lnTo>
                  <a:lnTo>
                    <a:pt x="1191" y="122"/>
                  </a:lnTo>
                  <a:lnTo>
                    <a:pt x="1191" y="120"/>
                  </a:lnTo>
                  <a:lnTo>
                    <a:pt x="1192" y="120"/>
                  </a:lnTo>
                  <a:lnTo>
                    <a:pt x="1191" y="120"/>
                  </a:lnTo>
                  <a:lnTo>
                    <a:pt x="1189" y="120"/>
                  </a:lnTo>
                  <a:lnTo>
                    <a:pt x="1188" y="120"/>
                  </a:lnTo>
                  <a:lnTo>
                    <a:pt x="1188" y="117"/>
                  </a:lnTo>
                  <a:lnTo>
                    <a:pt x="1188" y="116"/>
                  </a:lnTo>
                  <a:lnTo>
                    <a:pt x="1186" y="112"/>
                  </a:lnTo>
                  <a:lnTo>
                    <a:pt x="1186" y="111"/>
                  </a:lnTo>
                  <a:lnTo>
                    <a:pt x="1186" y="109"/>
                  </a:lnTo>
                  <a:lnTo>
                    <a:pt x="1184" y="107"/>
                  </a:lnTo>
                  <a:lnTo>
                    <a:pt x="1184" y="106"/>
                  </a:lnTo>
                  <a:lnTo>
                    <a:pt x="1183" y="104"/>
                  </a:lnTo>
                  <a:lnTo>
                    <a:pt x="1181" y="104"/>
                  </a:lnTo>
                  <a:lnTo>
                    <a:pt x="1181" y="103"/>
                  </a:lnTo>
                  <a:lnTo>
                    <a:pt x="1183" y="103"/>
                  </a:lnTo>
                  <a:lnTo>
                    <a:pt x="1184" y="101"/>
                  </a:lnTo>
                  <a:lnTo>
                    <a:pt x="1183" y="101"/>
                  </a:lnTo>
                  <a:lnTo>
                    <a:pt x="1183" y="103"/>
                  </a:lnTo>
                  <a:lnTo>
                    <a:pt x="1181" y="103"/>
                  </a:lnTo>
                  <a:lnTo>
                    <a:pt x="1181" y="104"/>
                  </a:lnTo>
                  <a:lnTo>
                    <a:pt x="1179" y="104"/>
                  </a:lnTo>
                  <a:lnTo>
                    <a:pt x="1178" y="104"/>
                  </a:lnTo>
                  <a:lnTo>
                    <a:pt x="1178" y="103"/>
                  </a:lnTo>
                  <a:lnTo>
                    <a:pt x="1176" y="101"/>
                  </a:lnTo>
                  <a:lnTo>
                    <a:pt x="1174" y="101"/>
                  </a:lnTo>
                  <a:lnTo>
                    <a:pt x="1174" y="99"/>
                  </a:lnTo>
                  <a:lnTo>
                    <a:pt x="1173" y="99"/>
                  </a:lnTo>
                  <a:lnTo>
                    <a:pt x="1174" y="99"/>
                  </a:lnTo>
                  <a:lnTo>
                    <a:pt x="1173" y="98"/>
                  </a:lnTo>
                  <a:lnTo>
                    <a:pt x="1171" y="98"/>
                  </a:lnTo>
                  <a:lnTo>
                    <a:pt x="1170" y="96"/>
                  </a:lnTo>
                  <a:lnTo>
                    <a:pt x="1170" y="94"/>
                  </a:lnTo>
                  <a:lnTo>
                    <a:pt x="1170" y="93"/>
                  </a:lnTo>
                  <a:lnTo>
                    <a:pt x="1171" y="93"/>
                  </a:lnTo>
                  <a:lnTo>
                    <a:pt x="1171" y="90"/>
                  </a:lnTo>
                  <a:lnTo>
                    <a:pt x="1171" y="88"/>
                  </a:lnTo>
                  <a:lnTo>
                    <a:pt x="1173" y="86"/>
                  </a:lnTo>
                  <a:lnTo>
                    <a:pt x="1173" y="85"/>
                  </a:lnTo>
                  <a:lnTo>
                    <a:pt x="1173" y="83"/>
                  </a:lnTo>
                  <a:lnTo>
                    <a:pt x="1171" y="83"/>
                  </a:lnTo>
                  <a:lnTo>
                    <a:pt x="1173" y="83"/>
                  </a:lnTo>
                  <a:lnTo>
                    <a:pt x="1173" y="85"/>
                  </a:lnTo>
                  <a:lnTo>
                    <a:pt x="1174" y="83"/>
                  </a:lnTo>
                  <a:lnTo>
                    <a:pt x="1176" y="85"/>
                  </a:lnTo>
                  <a:lnTo>
                    <a:pt x="1178" y="85"/>
                  </a:lnTo>
                  <a:lnTo>
                    <a:pt x="1176" y="85"/>
                  </a:lnTo>
                  <a:lnTo>
                    <a:pt x="1178" y="83"/>
                  </a:lnTo>
                  <a:lnTo>
                    <a:pt x="1179" y="83"/>
                  </a:lnTo>
                  <a:lnTo>
                    <a:pt x="1178" y="83"/>
                  </a:lnTo>
                  <a:lnTo>
                    <a:pt x="1178" y="85"/>
                  </a:lnTo>
                  <a:lnTo>
                    <a:pt x="1178" y="86"/>
                  </a:lnTo>
                  <a:lnTo>
                    <a:pt x="1179" y="86"/>
                  </a:lnTo>
                  <a:lnTo>
                    <a:pt x="1179" y="88"/>
                  </a:lnTo>
                  <a:lnTo>
                    <a:pt x="1181" y="88"/>
                  </a:lnTo>
                  <a:lnTo>
                    <a:pt x="1179" y="88"/>
                  </a:lnTo>
                  <a:lnTo>
                    <a:pt x="1181" y="88"/>
                  </a:lnTo>
                  <a:lnTo>
                    <a:pt x="1181" y="86"/>
                  </a:lnTo>
                  <a:lnTo>
                    <a:pt x="1181" y="85"/>
                  </a:lnTo>
                  <a:lnTo>
                    <a:pt x="1181" y="83"/>
                  </a:lnTo>
                  <a:lnTo>
                    <a:pt x="1179" y="83"/>
                  </a:lnTo>
                  <a:lnTo>
                    <a:pt x="1179" y="81"/>
                  </a:lnTo>
                  <a:lnTo>
                    <a:pt x="1183" y="78"/>
                  </a:lnTo>
                  <a:lnTo>
                    <a:pt x="1181" y="77"/>
                  </a:lnTo>
                  <a:lnTo>
                    <a:pt x="1183" y="77"/>
                  </a:lnTo>
                  <a:lnTo>
                    <a:pt x="1183" y="75"/>
                  </a:lnTo>
                  <a:lnTo>
                    <a:pt x="1183" y="73"/>
                  </a:lnTo>
                  <a:lnTo>
                    <a:pt x="1184" y="73"/>
                  </a:lnTo>
                  <a:lnTo>
                    <a:pt x="1184" y="72"/>
                  </a:lnTo>
                  <a:lnTo>
                    <a:pt x="1186" y="72"/>
                  </a:lnTo>
                  <a:lnTo>
                    <a:pt x="1184" y="70"/>
                  </a:lnTo>
                  <a:lnTo>
                    <a:pt x="1186" y="70"/>
                  </a:lnTo>
                  <a:lnTo>
                    <a:pt x="1188" y="70"/>
                  </a:lnTo>
                  <a:lnTo>
                    <a:pt x="1189" y="72"/>
                  </a:lnTo>
                  <a:lnTo>
                    <a:pt x="1189" y="70"/>
                  </a:lnTo>
                  <a:lnTo>
                    <a:pt x="1191" y="70"/>
                  </a:lnTo>
                  <a:lnTo>
                    <a:pt x="1192" y="70"/>
                  </a:lnTo>
                  <a:lnTo>
                    <a:pt x="1194" y="70"/>
                  </a:lnTo>
                  <a:lnTo>
                    <a:pt x="1196" y="67"/>
                  </a:lnTo>
                  <a:lnTo>
                    <a:pt x="1197" y="67"/>
                  </a:lnTo>
                  <a:lnTo>
                    <a:pt x="1196" y="67"/>
                  </a:lnTo>
                  <a:lnTo>
                    <a:pt x="1196" y="65"/>
                  </a:lnTo>
                  <a:lnTo>
                    <a:pt x="1196" y="64"/>
                  </a:lnTo>
                  <a:lnTo>
                    <a:pt x="1196" y="60"/>
                  </a:lnTo>
                  <a:lnTo>
                    <a:pt x="1197" y="60"/>
                  </a:lnTo>
                  <a:lnTo>
                    <a:pt x="1197" y="57"/>
                  </a:lnTo>
                  <a:lnTo>
                    <a:pt x="1199" y="57"/>
                  </a:lnTo>
                  <a:lnTo>
                    <a:pt x="1201" y="57"/>
                  </a:lnTo>
                  <a:lnTo>
                    <a:pt x="1199" y="57"/>
                  </a:lnTo>
                  <a:lnTo>
                    <a:pt x="1199" y="59"/>
                  </a:lnTo>
                  <a:lnTo>
                    <a:pt x="1199" y="60"/>
                  </a:lnTo>
                  <a:lnTo>
                    <a:pt x="1201" y="60"/>
                  </a:lnTo>
                  <a:lnTo>
                    <a:pt x="1201" y="59"/>
                  </a:lnTo>
                  <a:lnTo>
                    <a:pt x="1202" y="59"/>
                  </a:lnTo>
                  <a:lnTo>
                    <a:pt x="1204" y="57"/>
                  </a:lnTo>
                  <a:lnTo>
                    <a:pt x="1205" y="57"/>
                  </a:lnTo>
                  <a:lnTo>
                    <a:pt x="1205" y="55"/>
                  </a:lnTo>
                  <a:lnTo>
                    <a:pt x="1205" y="54"/>
                  </a:lnTo>
                  <a:lnTo>
                    <a:pt x="1207" y="54"/>
                  </a:lnTo>
                  <a:lnTo>
                    <a:pt x="1207" y="52"/>
                  </a:lnTo>
                  <a:lnTo>
                    <a:pt x="1209" y="54"/>
                  </a:lnTo>
                  <a:lnTo>
                    <a:pt x="1210" y="54"/>
                  </a:lnTo>
                  <a:lnTo>
                    <a:pt x="1212" y="54"/>
                  </a:lnTo>
                  <a:lnTo>
                    <a:pt x="1214" y="54"/>
                  </a:lnTo>
                  <a:lnTo>
                    <a:pt x="1215" y="54"/>
                  </a:lnTo>
                  <a:lnTo>
                    <a:pt x="1217" y="54"/>
                  </a:lnTo>
                  <a:lnTo>
                    <a:pt x="1217" y="52"/>
                  </a:lnTo>
                  <a:lnTo>
                    <a:pt x="1218" y="54"/>
                  </a:lnTo>
                  <a:lnTo>
                    <a:pt x="1217" y="55"/>
                  </a:lnTo>
                  <a:lnTo>
                    <a:pt x="1215" y="55"/>
                  </a:lnTo>
                  <a:lnTo>
                    <a:pt x="1215" y="57"/>
                  </a:lnTo>
                  <a:lnTo>
                    <a:pt x="1215" y="55"/>
                  </a:lnTo>
                  <a:lnTo>
                    <a:pt x="1215" y="57"/>
                  </a:lnTo>
                  <a:lnTo>
                    <a:pt x="1215" y="59"/>
                  </a:lnTo>
                  <a:lnTo>
                    <a:pt x="1215" y="60"/>
                  </a:lnTo>
                  <a:lnTo>
                    <a:pt x="1217" y="59"/>
                  </a:lnTo>
                  <a:lnTo>
                    <a:pt x="1215" y="59"/>
                  </a:lnTo>
                  <a:lnTo>
                    <a:pt x="1215" y="57"/>
                  </a:lnTo>
                  <a:lnTo>
                    <a:pt x="1217" y="55"/>
                  </a:lnTo>
                  <a:lnTo>
                    <a:pt x="1218" y="57"/>
                  </a:lnTo>
                  <a:lnTo>
                    <a:pt x="1220" y="57"/>
                  </a:lnTo>
                  <a:lnTo>
                    <a:pt x="1220" y="55"/>
                  </a:lnTo>
                  <a:lnTo>
                    <a:pt x="1222" y="55"/>
                  </a:lnTo>
                  <a:lnTo>
                    <a:pt x="1223" y="57"/>
                  </a:lnTo>
                  <a:lnTo>
                    <a:pt x="1222" y="57"/>
                  </a:lnTo>
                  <a:lnTo>
                    <a:pt x="1220" y="57"/>
                  </a:lnTo>
                  <a:lnTo>
                    <a:pt x="1220" y="59"/>
                  </a:lnTo>
                  <a:lnTo>
                    <a:pt x="1222" y="59"/>
                  </a:lnTo>
                  <a:lnTo>
                    <a:pt x="1222" y="60"/>
                  </a:lnTo>
                  <a:lnTo>
                    <a:pt x="1222" y="59"/>
                  </a:lnTo>
                  <a:lnTo>
                    <a:pt x="1222" y="60"/>
                  </a:lnTo>
                  <a:lnTo>
                    <a:pt x="1223" y="60"/>
                  </a:lnTo>
                  <a:lnTo>
                    <a:pt x="1222" y="60"/>
                  </a:lnTo>
                  <a:lnTo>
                    <a:pt x="1223" y="60"/>
                  </a:lnTo>
                  <a:lnTo>
                    <a:pt x="1223" y="59"/>
                  </a:lnTo>
                  <a:lnTo>
                    <a:pt x="1222" y="59"/>
                  </a:lnTo>
                  <a:lnTo>
                    <a:pt x="1220" y="59"/>
                  </a:lnTo>
                  <a:lnTo>
                    <a:pt x="1222" y="57"/>
                  </a:lnTo>
                  <a:lnTo>
                    <a:pt x="1223" y="57"/>
                  </a:lnTo>
                  <a:lnTo>
                    <a:pt x="1223" y="59"/>
                  </a:lnTo>
                  <a:lnTo>
                    <a:pt x="1225" y="59"/>
                  </a:lnTo>
                  <a:lnTo>
                    <a:pt x="1223" y="59"/>
                  </a:lnTo>
                  <a:lnTo>
                    <a:pt x="1225" y="59"/>
                  </a:lnTo>
                  <a:lnTo>
                    <a:pt x="1225" y="57"/>
                  </a:lnTo>
                  <a:lnTo>
                    <a:pt x="1227" y="57"/>
                  </a:lnTo>
                  <a:lnTo>
                    <a:pt x="1227" y="59"/>
                  </a:lnTo>
                  <a:lnTo>
                    <a:pt x="1225" y="59"/>
                  </a:lnTo>
                  <a:lnTo>
                    <a:pt x="1223" y="60"/>
                  </a:lnTo>
                  <a:lnTo>
                    <a:pt x="1225" y="62"/>
                  </a:lnTo>
                  <a:lnTo>
                    <a:pt x="1227" y="62"/>
                  </a:lnTo>
                  <a:lnTo>
                    <a:pt x="1228" y="62"/>
                  </a:lnTo>
                  <a:lnTo>
                    <a:pt x="1228" y="64"/>
                  </a:lnTo>
                  <a:lnTo>
                    <a:pt x="1228" y="65"/>
                  </a:lnTo>
                  <a:lnTo>
                    <a:pt x="1230" y="65"/>
                  </a:lnTo>
                  <a:lnTo>
                    <a:pt x="1231" y="65"/>
                  </a:lnTo>
                  <a:lnTo>
                    <a:pt x="1233" y="64"/>
                  </a:lnTo>
                  <a:lnTo>
                    <a:pt x="1233" y="65"/>
                  </a:lnTo>
                  <a:lnTo>
                    <a:pt x="1235" y="65"/>
                  </a:lnTo>
                  <a:lnTo>
                    <a:pt x="1235" y="64"/>
                  </a:lnTo>
                  <a:lnTo>
                    <a:pt x="1236" y="62"/>
                  </a:lnTo>
                  <a:lnTo>
                    <a:pt x="1236" y="60"/>
                  </a:lnTo>
                  <a:lnTo>
                    <a:pt x="1238" y="60"/>
                  </a:lnTo>
                  <a:lnTo>
                    <a:pt x="1236" y="60"/>
                  </a:lnTo>
                  <a:lnTo>
                    <a:pt x="1236" y="62"/>
                  </a:lnTo>
                  <a:lnTo>
                    <a:pt x="1235" y="64"/>
                  </a:lnTo>
                  <a:lnTo>
                    <a:pt x="1235" y="65"/>
                  </a:lnTo>
                  <a:lnTo>
                    <a:pt x="1233" y="64"/>
                  </a:lnTo>
                  <a:lnTo>
                    <a:pt x="1231" y="65"/>
                  </a:lnTo>
                  <a:lnTo>
                    <a:pt x="1230" y="65"/>
                  </a:lnTo>
                  <a:lnTo>
                    <a:pt x="1228" y="64"/>
                  </a:lnTo>
                  <a:lnTo>
                    <a:pt x="1228" y="62"/>
                  </a:lnTo>
                  <a:lnTo>
                    <a:pt x="1227" y="62"/>
                  </a:lnTo>
                  <a:lnTo>
                    <a:pt x="1228" y="62"/>
                  </a:lnTo>
                  <a:lnTo>
                    <a:pt x="1227" y="60"/>
                  </a:lnTo>
                  <a:lnTo>
                    <a:pt x="1225" y="60"/>
                  </a:lnTo>
                  <a:lnTo>
                    <a:pt x="1223" y="60"/>
                  </a:lnTo>
                  <a:lnTo>
                    <a:pt x="1225" y="60"/>
                  </a:lnTo>
                  <a:lnTo>
                    <a:pt x="1225" y="59"/>
                  </a:lnTo>
                  <a:lnTo>
                    <a:pt x="1227" y="59"/>
                  </a:lnTo>
                  <a:lnTo>
                    <a:pt x="1227" y="57"/>
                  </a:lnTo>
                  <a:lnTo>
                    <a:pt x="1225" y="57"/>
                  </a:lnTo>
                  <a:lnTo>
                    <a:pt x="1223" y="59"/>
                  </a:lnTo>
                  <a:lnTo>
                    <a:pt x="1223" y="57"/>
                  </a:lnTo>
                  <a:lnTo>
                    <a:pt x="1222" y="54"/>
                  </a:lnTo>
                  <a:lnTo>
                    <a:pt x="1220" y="54"/>
                  </a:lnTo>
                  <a:lnTo>
                    <a:pt x="1218" y="55"/>
                  </a:lnTo>
                  <a:lnTo>
                    <a:pt x="1218" y="54"/>
                  </a:lnTo>
                  <a:lnTo>
                    <a:pt x="1220" y="54"/>
                  </a:lnTo>
                  <a:lnTo>
                    <a:pt x="1218" y="52"/>
                  </a:lnTo>
                  <a:lnTo>
                    <a:pt x="1218" y="51"/>
                  </a:lnTo>
                  <a:lnTo>
                    <a:pt x="1217" y="51"/>
                  </a:lnTo>
                  <a:lnTo>
                    <a:pt x="1215" y="52"/>
                  </a:lnTo>
                  <a:lnTo>
                    <a:pt x="1214" y="51"/>
                  </a:lnTo>
                  <a:lnTo>
                    <a:pt x="1212" y="51"/>
                  </a:lnTo>
                  <a:lnTo>
                    <a:pt x="1212" y="52"/>
                  </a:lnTo>
                  <a:lnTo>
                    <a:pt x="1210" y="51"/>
                  </a:lnTo>
                  <a:lnTo>
                    <a:pt x="1210" y="52"/>
                  </a:lnTo>
                  <a:lnTo>
                    <a:pt x="1209" y="51"/>
                  </a:lnTo>
                  <a:lnTo>
                    <a:pt x="1207" y="51"/>
                  </a:lnTo>
                  <a:lnTo>
                    <a:pt x="1205" y="51"/>
                  </a:lnTo>
                  <a:lnTo>
                    <a:pt x="1205" y="49"/>
                  </a:lnTo>
                  <a:lnTo>
                    <a:pt x="1204" y="49"/>
                  </a:lnTo>
                  <a:lnTo>
                    <a:pt x="1202" y="51"/>
                  </a:lnTo>
                  <a:lnTo>
                    <a:pt x="1201" y="52"/>
                  </a:lnTo>
                  <a:lnTo>
                    <a:pt x="1199" y="54"/>
                  </a:lnTo>
                  <a:lnTo>
                    <a:pt x="1201" y="54"/>
                  </a:lnTo>
                  <a:lnTo>
                    <a:pt x="1201" y="55"/>
                  </a:lnTo>
                  <a:lnTo>
                    <a:pt x="1201" y="54"/>
                  </a:lnTo>
                  <a:lnTo>
                    <a:pt x="1199" y="54"/>
                  </a:lnTo>
                  <a:lnTo>
                    <a:pt x="1199" y="52"/>
                  </a:lnTo>
                  <a:lnTo>
                    <a:pt x="1199" y="49"/>
                  </a:lnTo>
                  <a:lnTo>
                    <a:pt x="1197" y="47"/>
                  </a:lnTo>
                  <a:lnTo>
                    <a:pt x="1197" y="46"/>
                  </a:lnTo>
                  <a:lnTo>
                    <a:pt x="1196" y="46"/>
                  </a:lnTo>
                  <a:lnTo>
                    <a:pt x="1196" y="42"/>
                  </a:lnTo>
                  <a:lnTo>
                    <a:pt x="1194" y="42"/>
                  </a:lnTo>
                  <a:lnTo>
                    <a:pt x="1196" y="42"/>
                  </a:lnTo>
                  <a:lnTo>
                    <a:pt x="1194" y="42"/>
                  </a:lnTo>
                  <a:lnTo>
                    <a:pt x="1192" y="39"/>
                  </a:lnTo>
                  <a:lnTo>
                    <a:pt x="1191" y="38"/>
                  </a:lnTo>
                  <a:lnTo>
                    <a:pt x="1189" y="36"/>
                  </a:lnTo>
                  <a:lnTo>
                    <a:pt x="1186" y="36"/>
                  </a:lnTo>
                  <a:lnTo>
                    <a:pt x="1184" y="36"/>
                  </a:lnTo>
                  <a:lnTo>
                    <a:pt x="1186" y="34"/>
                  </a:lnTo>
                  <a:lnTo>
                    <a:pt x="1184" y="34"/>
                  </a:lnTo>
                  <a:lnTo>
                    <a:pt x="1183" y="34"/>
                  </a:lnTo>
                  <a:lnTo>
                    <a:pt x="1181" y="36"/>
                  </a:lnTo>
                  <a:lnTo>
                    <a:pt x="1178" y="34"/>
                  </a:lnTo>
                  <a:lnTo>
                    <a:pt x="1176" y="34"/>
                  </a:lnTo>
                  <a:lnTo>
                    <a:pt x="1176" y="33"/>
                  </a:lnTo>
                  <a:lnTo>
                    <a:pt x="1178" y="33"/>
                  </a:lnTo>
                  <a:lnTo>
                    <a:pt x="1179" y="33"/>
                  </a:lnTo>
                  <a:lnTo>
                    <a:pt x="1181" y="33"/>
                  </a:lnTo>
                  <a:lnTo>
                    <a:pt x="1184" y="34"/>
                  </a:lnTo>
                  <a:lnTo>
                    <a:pt x="1186" y="34"/>
                  </a:lnTo>
                  <a:lnTo>
                    <a:pt x="1189" y="36"/>
                  </a:lnTo>
                  <a:lnTo>
                    <a:pt x="1191" y="36"/>
                  </a:lnTo>
                  <a:lnTo>
                    <a:pt x="1197" y="34"/>
                  </a:lnTo>
                  <a:lnTo>
                    <a:pt x="1199" y="33"/>
                  </a:lnTo>
                  <a:lnTo>
                    <a:pt x="1202" y="31"/>
                  </a:lnTo>
                  <a:lnTo>
                    <a:pt x="1204" y="28"/>
                  </a:lnTo>
                  <a:lnTo>
                    <a:pt x="1205" y="25"/>
                  </a:lnTo>
                  <a:lnTo>
                    <a:pt x="1210" y="16"/>
                  </a:lnTo>
                  <a:lnTo>
                    <a:pt x="1366" y="16"/>
                  </a:lnTo>
                  <a:lnTo>
                    <a:pt x="1368" y="18"/>
                  </a:lnTo>
                  <a:lnTo>
                    <a:pt x="1370" y="18"/>
                  </a:lnTo>
                  <a:lnTo>
                    <a:pt x="1371" y="20"/>
                  </a:lnTo>
                  <a:lnTo>
                    <a:pt x="1373" y="20"/>
                  </a:lnTo>
                  <a:lnTo>
                    <a:pt x="1373" y="21"/>
                  </a:lnTo>
                  <a:lnTo>
                    <a:pt x="1375" y="21"/>
                  </a:lnTo>
                  <a:lnTo>
                    <a:pt x="1375" y="20"/>
                  </a:lnTo>
                  <a:lnTo>
                    <a:pt x="1375" y="21"/>
                  </a:lnTo>
                  <a:lnTo>
                    <a:pt x="1376" y="21"/>
                  </a:lnTo>
                  <a:lnTo>
                    <a:pt x="1375" y="21"/>
                  </a:lnTo>
                  <a:lnTo>
                    <a:pt x="1376" y="21"/>
                  </a:lnTo>
                  <a:lnTo>
                    <a:pt x="1378" y="23"/>
                  </a:lnTo>
                  <a:lnTo>
                    <a:pt x="1378" y="21"/>
                  </a:lnTo>
                  <a:lnTo>
                    <a:pt x="1379" y="23"/>
                  </a:lnTo>
                  <a:lnTo>
                    <a:pt x="1381" y="23"/>
                  </a:lnTo>
                  <a:lnTo>
                    <a:pt x="1383" y="25"/>
                  </a:lnTo>
                  <a:lnTo>
                    <a:pt x="1384" y="25"/>
                  </a:lnTo>
                  <a:lnTo>
                    <a:pt x="1384" y="23"/>
                  </a:lnTo>
                  <a:lnTo>
                    <a:pt x="1386" y="23"/>
                  </a:lnTo>
                  <a:lnTo>
                    <a:pt x="1384" y="23"/>
                  </a:lnTo>
                  <a:lnTo>
                    <a:pt x="1384" y="25"/>
                  </a:lnTo>
                  <a:lnTo>
                    <a:pt x="1384" y="26"/>
                  </a:lnTo>
                  <a:lnTo>
                    <a:pt x="1386" y="25"/>
                  </a:lnTo>
                  <a:lnTo>
                    <a:pt x="1386" y="23"/>
                  </a:lnTo>
                  <a:lnTo>
                    <a:pt x="1388" y="23"/>
                  </a:lnTo>
                  <a:lnTo>
                    <a:pt x="1386" y="23"/>
                  </a:lnTo>
                  <a:lnTo>
                    <a:pt x="1386" y="21"/>
                  </a:lnTo>
                  <a:lnTo>
                    <a:pt x="1386" y="23"/>
                  </a:lnTo>
                  <a:lnTo>
                    <a:pt x="1386" y="21"/>
                  </a:lnTo>
                  <a:lnTo>
                    <a:pt x="1386" y="23"/>
                  </a:lnTo>
                  <a:lnTo>
                    <a:pt x="1384" y="23"/>
                  </a:lnTo>
                  <a:lnTo>
                    <a:pt x="1384" y="21"/>
                  </a:lnTo>
                  <a:lnTo>
                    <a:pt x="1383" y="21"/>
                  </a:lnTo>
                  <a:lnTo>
                    <a:pt x="1381" y="21"/>
                  </a:lnTo>
                  <a:lnTo>
                    <a:pt x="1381" y="23"/>
                  </a:lnTo>
                  <a:lnTo>
                    <a:pt x="1381" y="21"/>
                  </a:lnTo>
                  <a:lnTo>
                    <a:pt x="1381" y="20"/>
                  </a:lnTo>
                  <a:lnTo>
                    <a:pt x="1379" y="20"/>
                  </a:lnTo>
                  <a:lnTo>
                    <a:pt x="1379" y="21"/>
                  </a:lnTo>
                  <a:lnTo>
                    <a:pt x="1378" y="20"/>
                  </a:lnTo>
                  <a:lnTo>
                    <a:pt x="1379" y="20"/>
                  </a:lnTo>
                  <a:lnTo>
                    <a:pt x="1378" y="20"/>
                  </a:lnTo>
                  <a:lnTo>
                    <a:pt x="1378" y="18"/>
                  </a:lnTo>
                  <a:lnTo>
                    <a:pt x="1379" y="18"/>
                  </a:lnTo>
                  <a:lnTo>
                    <a:pt x="1378" y="18"/>
                  </a:lnTo>
                  <a:lnTo>
                    <a:pt x="1378" y="16"/>
                  </a:lnTo>
                  <a:lnTo>
                    <a:pt x="1404" y="16"/>
                  </a:lnTo>
                  <a:lnTo>
                    <a:pt x="1404" y="18"/>
                  </a:lnTo>
                  <a:lnTo>
                    <a:pt x="1404" y="20"/>
                  </a:lnTo>
                  <a:lnTo>
                    <a:pt x="1402" y="21"/>
                  </a:lnTo>
                  <a:lnTo>
                    <a:pt x="1401" y="21"/>
                  </a:lnTo>
                  <a:lnTo>
                    <a:pt x="1397" y="21"/>
                  </a:lnTo>
                  <a:lnTo>
                    <a:pt x="1397" y="23"/>
                  </a:lnTo>
                  <a:lnTo>
                    <a:pt x="1397" y="25"/>
                  </a:lnTo>
                  <a:lnTo>
                    <a:pt x="1397" y="26"/>
                  </a:lnTo>
                  <a:lnTo>
                    <a:pt x="1399" y="26"/>
                  </a:lnTo>
                  <a:lnTo>
                    <a:pt x="1399" y="25"/>
                  </a:lnTo>
                  <a:lnTo>
                    <a:pt x="1401" y="25"/>
                  </a:lnTo>
                  <a:lnTo>
                    <a:pt x="1402" y="25"/>
                  </a:lnTo>
                  <a:lnTo>
                    <a:pt x="1404" y="25"/>
                  </a:lnTo>
                  <a:lnTo>
                    <a:pt x="1405" y="25"/>
                  </a:lnTo>
                  <a:lnTo>
                    <a:pt x="1407" y="25"/>
                  </a:lnTo>
                  <a:lnTo>
                    <a:pt x="1409" y="25"/>
                  </a:lnTo>
                  <a:lnTo>
                    <a:pt x="1410" y="25"/>
                  </a:lnTo>
                  <a:lnTo>
                    <a:pt x="1410" y="28"/>
                  </a:lnTo>
                  <a:lnTo>
                    <a:pt x="1412" y="28"/>
                  </a:lnTo>
                  <a:lnTo>
                    <a:pt x="1412" y="29"/>
                  </a:lnTo>
                  <a:lnTo>
                    <a:pt x="1412" y="31"/>
                  </a:lnTo>
                  <a:lnTo>
                    <a:pt x="1414" y="33"/>
                  </a:lnTo>
                  <a:lnTo>
                    <a:pt x="1415" y="31"/>
                  </a:lnTo>
                  <a:lnTo>
                    <a:pt x="1415" y="33"/>
                  </a:lnTo>
                  <a:lnTo>
                    <a:pt x="1417" y="33"/>
                  </a:lnTo>
                  <a:lnTo>
                    <a:pt x="1417" y="31"/>
                  </a:lnTo>
                  <a:lnTo>
                    <a:pt x="1417" y="33"/>
                  </a:lnTo>
                  <a:lnTo>
                    <a:pt x="1415" y="33"/>
                  </a:lnTo>
                  <a:lnTo>
                    <a:pt x="1415" y="31"/>
                  </a:lnTo>
                  <a:lnTo>
                    <a:pt x="1417" y="31"/>
                  </a:lnTo>
                  <a:lnTo>
                    <a:pt x="1417" y="29"/>
                  </a:lnTo>
                  <a:lnTo>
                    <a:pt x="1417" y="31"/>
                  </a:lnTo>
                  <a:lnTo>
                    <a:pt x="1417" y="33"/>
                  </a:lnTo>
                  <a:lnTo>
                    <a:pt x="1417" y="34"/>
                  </a:lnTo>
                  <a:lnTo>
                    <a:pt x="1418" y="36"/>
                  </a:lnTo>
                  <a:lnTo>
                    <a:pt x="1418" y="38"/>
                  </a:lnTo>
                  <a:lnTo>
                    <a:pt x="1420" y="38"/>
                  </a:lnTo>
                  <a:lnTo>
                    <a:pt x="1420" y="39"/>
                  </a:lnTo>
                  <a:lnTo>
                    <a:pt x="1422" y="39"/>
                  </a:lnTo>
                  <a:lnTo>
                    <a:pt x="1423" y="39"/>
                  </a:lnTo>
                  <a:lnTo>
                    <a:pt x="1425" y="41"/>
                  </a:lnTo>
                  <a:lnTo>
                    <a:pt x="1425" y="39"/>
                  </a:lnTo>
                  <a:lnTo>
                    <a:pt x="1423" y="39"/>
                  </a:lnTo>
                  <a:lnTo>
                    <a:pt x="1425" y="39"/>
                  </a:lnTo>
                  <a:lnTo>
                    <a:pt x="1423" y="39"/>
                  </a:lnTo>
                  <a:lnTo>
                    <a:pt x="1422" y="39"/>
                  </a:lnTo>
                  <a:lnTo>
                    <a:pt x="1423" y="38"/>
                  </a:lnTo>
                  <a:lnTo>
                    <a:pt x="1425" y="38"/>
                  </a:lnTo>
                  <a:lnTo>
                    <a:pt x="1425" y="39"/>
                  </a:lnTo>
                  <a:lnTo>
                    <a:pt x="1427" y="39"/>
                  </a:lnTo>
                  <a:lnTo>
                    <a:pt x="1428" y="39"/>
                  </a:lnTo>
                  <a:lnTo>
                    <a:pt x="1428" y="38"/>
                  </a:lnTo>
                  <a:lnTo>
                    <a:pt x="1430" y="38"/>
                  </a:lnTo>
                  <a:lnTo>
                    <a:pt x="1431" y="39"/>
                  </a:lnTo>
                  <a:lnTo>
                    <a:pt x="1433" y="41"/>
                  </a:lnTo>
                  <a:lnTo>
                    <a:pt x="1433" y="42"/>
                  </a:lnTo>
                  <a:lnTo>
                    <a:pt x="1433" y="41"/>
                  </a:lnTo>
                  <a:lnTo>
                    <a:pt x="1433" y="42"/>
                  </a:lnTo>
                  <a:lnTo>
                    <a:pt x="1435" y="42"/>
                  </a:lnTo>
                  <a:lnTo>
                    <a:pt x="1433" y="41"/>
                  </a:lnTo>
                  <a:lnTo>
                    <a:pt x="1435" y="41"/>
                  </a:lnTo>
                  <a:lnTo>
                    <a:pt x="1435" y="42"/>
                  </a:lnTo>
                  <a:lnTo>
                    <a:pt x="1435" y="44"/>
                  </a:lnTo>
                  <a:lnTo>
                    <a:pt x="1435" y="46"/>
                  </a:lnTo>
                  <a:lnTo>
                    <a:pt x="1436" y="47"/>
                  </a:lnTo>
                  <a:lnTo>
                    <a:pt x="1436" y="49"/>
                  </a:lnTo>
                  <a:lnTo>
                    <a:pt x="1438" y="51"/>
                  </a:lnTo>
                  <a:lnTo>
                    <a:pt x="1438" y="49"/>
                  </a:lnTo>
                  <a:lnTo>
                    <a:pt x="1436" y="47"/>
                  </a:lnTo>
                  <a:lnTo>
                    <a:pt x="1438" y="47"/>
                  </a:lnTo>
                  <a:lnTo>
                    <a:pt x="1436" y="47"/>
                  </a:lnTo>
                  <a:lnTo>
                    <a:pt x="1438" y="47"/>
                  </a:lnTo>
                  <a:lnTo>
                    <a:pt x="1438" y="49"/>
                  </a:lnTo>
                  <a:lnTo>
                    <a:pt x="1438" y="51"/>
                  </a:lnTo>
                  <a:lnTo>
                    <a:pt x="1440" y="51"/>
                  </a:lnTo>
                  <a:lnTo>
                    <a:pt x="1440" y="52"/>
                  </a:lnTo>
                  <a:lnTo>
                    <a:pt x="1440" y="51"/>
                  </a:lnTo>
                  <a:lnTo>
                    <a:pt x="1440" y="52"/>
                  </a:lnTo>
                  <a:lnTo>
                    <a:pt x="1441" y="52"/>
                  </a:lnTo>
                  <a:lnTo>
                    <a:pt x="1441" y="54"/>
                  </a:lnTo>
                  <a:lnTo>
                    <a:pt x="1443" y="55"/>
                  </a:lnTo>
                  <a:lnTo>
                    <a:pt x="1446" y="57"/>
                  </a:lnTo>
                  <a:lnTo>
                    <a:pt x="1446" y="59"/>
                  </a:lnTo>
                  <a:lnTo>
                    <a:pt x="1448" y="59"/>
                  </a:lnTo>
                  <a:lnTo>
                    <a:pt x="1448" y="60"/>
                  </a:lnTo>
                  <a:lnTo>
                    <a:pt x="1449" y="62"/>
                  </a:lnTo>
                  <a:lnTo>
                    <a:pt x="1449" y="64"/>
                  </a:lnTo>
                  <a:lnTo>
                    <a:pt x="1451" y="64"/>
                  </a:lnTo>
                  <a:lnTo>
                    <a:pt x="1451" y="65"/>
                  </a:lnTo>
                  <a:lnTo>
                    <a:pt x="1453" y="65"/>
                  </a:lnTo>
                  <a:lnTo>
                    <a:pt x="1453" y="64"/>
                  </a:lnTo>
                  <a:lnTo>
                    <a:pt x="1451" y="64"/>
                  </a:lnTo>
                  <a:lnTo>
                    <a:pt x="1449" y="64"/>
                  </a:lnTo>
                  <a:lnTo>
                    <a:pt x="1449" y="62"/>
                  </a:lnTo>
                  <a:lnTo>
                    <a:pt x="1448" y="62"/>
                  </a:lnTo>
                  <a:lnTo>
                    <a:pt x="1448" y="60"/>
                  </a:lnTo>
                  <a:lnTo>
                    <a:pt x="1448" y="59"/>
                  </a:lnTo>
                  <a:lnTo>
                    <a:pt x="1446" y="59"/>
                  </a:lnTo>
                  <a:lnTo>
                    <a:pt x="1448" y="59"/>
                  </a:lnTo>
                  <a:lnTo>
                    <a:pt x="1451" y="60"/>
                  </a:lnTo>
                  <a:lnTo>
                    <a:pt x="1453" y="60"/>
                  </a:lnTo>
                  <a:lnTo>
                    <a:pt x="1453" y="62"/>
                  </a:lnTo>
                  <a:lnTo>
                    <a:pt x="1451" y="62"/>
                  </a:lnTo>
                  <a:lnTo>
                    <a:pt x="1453" y="62"/>
                  </a:lnTo>
                  <a:lnTo>
                    <a:pt x="1454" y="64"/>
                  </a:lnTo>
                  <a:lnTo>
                    <a:pt x="1454" y="62"/>
                  </a:lnTo>
                  <a:lnTo>
                    <a:pt x="1454" y="64"/>
                  </a:lnTo>
                  <a:lnTo>
                    <a:pt x="1457" y="65"/>
                  </a:lnTo>
                  <a:lnTo>
                    <a:pt x="1459" y="67"/>
                  </a:lnTo>
                  <a:lnTo>
                    <a:pt x="1459" y="65"/>
                  </a:lnTo>
                  <a:lnTo>
                    <a:pt x="1461" y="67"/>
                  </a:lnTo>
                  <a:lnTo>
                    <a:pt x="1462" y="67"/>
                  </a:lnTo>
                  <a:lnTo>
                    <a:pt x="1464" y="68"/>
                  </a:lnTo>
                  <a:lnTo>
                    <a:pt x="1464" y="72"/>
                  </a:lnTo>
                  <a:lnTo>
                    <a:pt x="1466" y="73"/>
                  </a:lnTo>
                  <a:lnTo>
                    <a:pt x="1466" y="75"/>
                  </a:lnTo>
                  <a:lnTo>
                    <a:pt x="1466" y="77"/>
                  </a:lnTo>
                  <a:lnTo>
                    <a:pt x="1466" y="75"/>
                  </a:lnTo>
                  <a:lnTo>
                    <a:pt x="1467" y="75"/>
                  </a:lnTo>
                  <a:lnTo>
                    <a:pt x="1467" y="77"/>
                  </a:lnTo>
                  <a:lnTo>
                    <a:pt x="1467" y="75"/>
                  </a:lnTo>
                  <a:lnTo>
                    <a:pt x="1467" y="77"/>
                  </a:lnTo>
                  <a:lnTo>
                    <a:pt x="1469" y="77"/>
                  </a:lnTo>
                  <a:lnTo>
                    <a:pt x="1469" y="78"/>
                  </a:lnTo>
                  <a:lnTo>
                    <a:pt x="1469" y="81"/>
                  </a:lnTo>
                  <a:lnTo>
                    <a:pt x="1469" y="83"/>
                  </a:lnTo>
                  <a:lnTo>
                    <a:pt x="1469" y="85"/>
                  </a:lnTo>
                  <a:lnTo>
                    <a:pt x="1470" y="85"/>
                  </a:lnTo>
                  <a:lnTo>
                    <a:pt x="1472" y="88"/>
                  </a:lnTo>
                  <a:lnTo>
                    <a:pt x="1474" y="88"/>
                  </a:lnTo>
                  <a:lnTo>
                    <a:pt x="1472" y="88"/>
                  </a:lnTo>
                  <a:lnTo>
                    <a:pt x="1474" y="88"/>
                  </a:lnTo>
                  <a:lnTo>
                    <a:pt x="1475" y="90"/>
                  </a:lnTo>
                  <a:lnTo>
                    <a:pt x="1479" y="93"/>
                  </a:lnTo>
                  <a:lnTo>
                    <a:pt x="1480" y="94"/>
                  </a:lnTo>
                  <a:lnTo>
                    <a:pt x="1482" y="96"/>
                  </a:lnTo>
                  <a:lnTo>
                    <a:pt x="1484" y="98"/>
                  </a:lnTo>
                  <a:lnTo>
                    <a:pt x="1485" y="98"/>
                  </a:lnTo>
                  <a:lnTo>
                    <a:pt x="1487" y="99"/>
                  </a:lnTo>
                  <a:lnTo>
                    <a:pt x="1488" y="101"/>
                  </a:lnTo>
                  <a:lnTo>
                    <a:pt x="1490" y="103"/>
                  </a:lnTo>
                  <a:lnTo>
                    <a:pt x="1492" y="104"/>
                  </a:lnTo>
                  <a:lnTo>
                    <a:pt x="1493" y="106"/>
                  </a:lnTo>
                  <a:lnTo>
                    <a:pt x="1493" y="107"/>
                  </a:lnTo>
                  <a:lnTo>
                    <a:pt x="1493" y="106"/>
                  </a:lnTo>
                  <a:lnTo>
                    <a:pt x="1493" y="104"/>
                  </a:lnTo>
                  <a:lnTo>
                    <a:pt x="1493" y="106"/>
                  </a:lnTo>
                  <a:lnTo>
                    <a:pt x="1495" y="106"/>
                  </a:lnTo>
                  <a:lnTo>
                    <a:pt x="1493" y="106"/>
                  </a:lnTo>
                  <a:lnTo>
                    <a:pt x="1495" y="106"/>
                  </a:lnTo>
                  <a:lnTo>
                    <a:pt x="1493" y="104"/>
                  </a:lnTo>
                  <a:lnTo>
                    <a:pt x="1493" y="106"/>
                  </a:lnTo>
                  <a:lnTo>
                    <a:pt x="1495" y="104"/>
                  </a:lnTo>
                  <a:lnTo>
                    <a:pt x="1495" y="106"/>
                  </a:lnTo>
                  <a:lnTo>
                    <a:pt x="1495" y="104"/>
                  </a:lnTo>
                  <a:lnTo>
                    <a:pt x="1495" y="106"/>
                  </a:lnTo>
                  <a:lnTo>
                    <a:pt x="1497" y="106"/>
                  </a:lnTo>
                  <a:lnTo>
                    <a:pt x="1495" y="106"/>
                  </a:lnTo>
                  <a:lnTo>
                    <a:pt x="1497" y="106"/>
                  </a:lnTo>
                  <a:lnTo>
                    <a:pt x="1497" y="109"/>
                  </a:lnTo>
                  <a:lnTo>
                    <a:pt x="1498" y="109"/>
                  </a:lnTo>
                  <a:lnTo>
                    <a:pt x="1498" y="111"/>
                  </a:lnTo>
                  <a:lnTo>
                    <a:pt x="1500" y="111"/>
                  </a:lnTo>
                  <a:lnTo>
                    <a:pt x="1498" y="111"/>
                  </a:lnTo>
                  <a:lnTo>
                    <a:pt x="1500" y="111"/>
                  </a:lnTo>
                  <a:lnTo>
                    <a:pt x="1500" y="112"/>
                  </a:lnTo>
                  <a:lnTo>
                    <a:pt x="1498" y="112"/>
                  </a:lnTo>
                  <a:lnTo>
                    <a:pt x="1498" y="111"/>
                  </a:lnTo>
                  <a:lnTo>
                    <a:pt x="1497" y="111"/>
                  </a:lnTo>
                  <a:lnTo>
                    <a:pt x="1495" y="111"/>
                  </a:lnTo>
                  <a:lnTo>
                    <a:pt x="1493" y="107"/>
                  </a:lnTo>
                  <a:lnTo>
                    <a:pt x="1493" y="106"/>
                  </a:lnTo>
                  <a:lnTo>
                    <a:pt x="1492" y="106"/>
                  </a:lnTo>
                  <a:lnTo>
                    <a:pt x="1493" y="106"/>
                  </a:lnTo>
                  <a:lnTo>
                    <a:pt x="1493" y="107"/>
                  </a:lnTo>
                  <a:lnTo>
                    <a:pt x="1495" y="111"/>
                  </a:lnTo>
                  <a:lnTo>
                    <a:pt x="1497" y="111"/>
                  </a:lnTo>
                  <a:lnTo>
                    <a:pt x="1498" y="111"/>
                  </a:lnTo>
                  <a:lnTo>
                    <a:pt x="1498" y="112"/>
                  </a:lnTo>
                  <a:lnTo>
                    <a:pt x="1501" y="114"/>
                  </a:lnTo>
                  <a:lnTo>
                    <a:pt x="1501" y="116"/>
                  </a:lnTo>
                  <a:lnTo>
                    <a:pt x="1503" y="117"/>
                  </a:lnTo>
                  <a:lnTo>
                    <a:pt x="1505" y="117"/>
                  </a:lnTo>
                  <a:lnTo>
                    <a:pt x="1506" y="120"/>
                  </a:lnTo>
                  <a:lnTo>
                    <a:pt x="1508" y="122"/>
                  </a:lnTo>
                  <a:lnTo>
                    <a:pt x="1508" y="124"/>
                  </a:lnTo>
                  <a:lnTo>
                    <a:pt x="1510" y="125"/>
                  </a:lnTo>
                  <a:lnTo>
                    <a:pt x="1510" y="129"/>
                  </a:lnTo>
                  <a:lnTo>
                    <a:pt x="1510" y="130"/>
                  </a:lnTo>
                  <a:lnTo>
                    <a:pt x="1511" y="134"/>
                  </a:lnTo>
                  <a:lnTo>
                    <a:pt x="1513" y="134"/>
                  </a:lnTo>
                  <a:lnTo>
                    <a:pt x="1514" y="134"/>
                  </a:lnTo>
                  <a:lnTo>
                    <a:pt x="1514" y="135"/>
                  </a:lnTo>
                  <a:lnTo>
                    <a:pt x="1514" y="137"/>
                  </a:lnTo>
                  <a:lnTo>
                    <a:pt x="1516" y="137"/>
                  </a:lnTo>
                  <a:lnTo>
                    <a:pt x="1516" y="138"/>
                  </a:lnTo>
                  <a:lnTo>
                    <a:pt x="1516" y="140"/>
                  </a:lnTo>
                  <a:lnTo>
                    <a:pt x="1518" y="140"/>
                  </a:lnTo>
                  <a:lnTo>
                    <a:pt x="1518" y="142"/>
                  </a:lnTo>
                  <a:lnTo>
                    <a:pt x="1519" y="142"/>
                  </a:lnTo>
                  <a:lnTo>
                    <a:pt x="1519" y="143"/>
                  </a:lnTo>
                  <a:lnTo>
                    <a:pt x="1519" y="145"/>
                  </a:lnTo>
                  <a:lnTo>
                    <a:pt x="1521" y="147"/>
                  </a:lnTo>
                  <a:lnTo>
                    <a:pt x="1521" y="148"/>
                  </a:lnTo>
                  <a:lnTo>
                    <a:pt x="1521" y="150"/>
                  </a:lnTo>
                  <a:lnTo>
                    <a:pt x="1521" y="151"/>
                  </a:lnTo>
                  <a:lnTo>
                    <a:pt x="1521" y="153"/>
                  </a:lnTo>
                  <a:lnTo>
                    <a:pt x="1519" y="155"/>
                  </a:lnTo>
                  <a:lnTo>
                    <a:pt x="1519" y="156"/>
                  </a:lnTo>
                  <a:lnTo>
                    <a:pt x="1519" y="155"/>
                  </a:lnTo>
                  <a:lnTo>
                    <a:pt x="1519" y="156"/>
                  </a:lnTo>
                  <a:lnTo>
                    <a:pt x="1518" y="156"/>
                  </a:lnTo>
                  <a:lnTo>
                    <a:pt x="1518" y="158"/>
                  </a:lnTo>
                  <a:lnTo>
                    <a:pt x="1519" y="158"/>
                  </a:lnTo>
                  <a:lnTo>
                    <a:pt x="1518" y="158"/>
                  </a:lnTo>
                  <a:lnTo>
                    <a:pt x="1519" y="158"/>
                  </a:lnTo>
                  <a:lnTo>
                    <a:pt x="1518" y="158"/>
                  </a:lnTo>
                  <a:lnTo>
                    <a:pt x="1516" y="158"/>
                  </a:lnTo>
                  <a:lnTo>
                    <a:pt x="1518" y="158"/>
                  </a:lnTo>
                  <a:lnTo>
                    <a:pt x="1519" y="158"/>
                  </a:lnTo>
                  <a:lnTo>
                    <a:pt x="1518" y="160"/>
                  </a:lnTo>
                  <a:lnTo>
                    <a:pt x="1519" y="160"/>
                  </a:lnTo>
                  <a:lnTo>
                    <a:pt x="1518" y="161"/>
                  </a:lnTo>
                  <a:lnTo>
                    <a:pt x="1519" y="160"/>
                  </a:lnTo>
                  <a:lnTo>
                    <a:pt x="1519" y="158"/>
                  </a:lnTo>
                  <a:lnTo>
                    <a:pt x="1519" y="160"/>
                  </a:lnTo>
                  <a:lnTo>
                    <a:pt x="1519" y="158"/>
                  </a:lnTo>
                  <a:lnTo>
                    <a:pt x="1519" y="156"/>
                  </a:lnTo>
                  <a:lnTo>
                    <a:pt x="1519" y="158"/>
                  </a:lnTo>
                  <a:lnTo>
                    <a:pt x="1521" y="158"/>
                  </a:lnTo>
                  <a:lnTo>
                    <a:pt x="1519" y="156"/>
                  </a:lnTo>
                  <a:lnTo>
                    <a:pt x="1521" y="156"/>
                  </a:lnTo>
                  <a:lnTo>
                    <a:pt x="1519" y="155"/>
                  </a:lnTo>
                  <a:lnTo>
                    <a:pt x="1521" y="156"/>
                  </a:lnTo>
                  <a:lnTo>
                    <a:pt x="1521" y="158"/>
                  </a:lnTo>
                  <a:lnTo>
                    <a:pt x="1521" y="160"/>
                  </a:lnTo>
                  <a:lnTo>
                    <a:pt x="1521" y="161"/>
                  </a:lnTo>
                  <a:lnTo>
                    <a:pt x="1519" y="161"/>
                  </a:lnTo>
                  <a:lnTo>
                    <a:pt x="1521" y="161"/>
                  </a:lnTo>
                  <a:lnTo>
                    <a:pt x="1519" y="163"/>
                  </a:lnTo>
                  <a:lnTo>
                    <a:pt x="1519" y="164"/>
                  </a:lnTo>
                  <a:lnTo>
                    <a:pt x="1519" y="166"/>
                  </a:lnTo>
                  <a:lnTo>
                    <a:pt x="1521" y="168"/>
                  </a:lnTo>
                  <a:lnTo>
                    <a:pt x="1521" y="166"/>
                  </a:lnTo>
                  <a:lnTo>
                    <a:pt x="1519" y="166"/>
                  </a:lnTo>
                  <a:lnTo>
                    <a:pt x="1519" y="164"/>
                  </a:lnTo>
                  <a:lnTo>
                    <a:pt x="1519" y="163"/>
                  </a:lnTo>
                  <a:lnTo>
                    <a:pt x="1521" y="161"/>
                  </a:lnTo>
                  <a:lnTo>
                    <a:pt x="1521" y="163"/>
                  </a:lnTo>
                  <a:lnTo>
                    <a:pt x="1521" y="161"/>
                  </a:lnTo>
                  <a:lnTo>
                    <a:pt x="1521" y="163"/>
                  </a:lnTo>
                  <a:lnTo>
                    <a:pt x="1521" y="161"/>
                  </a:lnTo>
                  <a:lnTo>
                    <a:pt x="1523" y="163"/>
                  </a:lnTo>
                  <a:lnTo>
                    <a:pt x="1523" y="166"/>
                  </a:lnTo>
                  <a:lnTo>
                    <a:pt x="1521" y="166"/>
                  </a:lnTo>
                  <a:lnTo>
                    <a:pt x="1523" y="166"/>
                  </a:lnTo>
                  <a:lnTo>
                    <a:pt x="1523" y="168"/>
                  </a:lnTo>
                  <a:lnTo>
                    <a:pt x="1524" y="171"/>
                  </a:lnTo>
                  <a:lnTo>
                    <a:pt x="1524" y="173"/>
                  </a:lnTo>
                  <a:lnTo>
                    <a:pt x="1524" y="174"/>
                  </a:lnTo>
                  <a:lnTo>
                    <a:pt x="1524" y="176"/>
                  </a:lnTo>
                  <a:lnTo>
                    <a:pt x="1524" y="177"/>
                  </a:lnTo>
                  <a:lnTo>
                    <a:pt x="1524" y="179"/>
                  </a:lnTo>
                  <a:lnTo>
                    <a:pt x="1524" y="177"/>
                  </a:lnTo>
                  <a:lnTo>
                    <a:pt x="1524" y="174"/>
                  </a:lnTo>
                  <a:lnTo>
                    <a:pt x="1526" y="174"/>
                  </a:lnTo>
                  <a:lnTo>
                    <a:pt x="1526" y="176"/>
                  </a:lnTo>
                  <a:lnTo>
                    <a:pt x="1526" y="177"/>
                  </a:lnTo>
                  <a:lnTo>
                    <a:pt x="1527" y="177"/>
                  </a:lnTo>
                  <a:lnTo>
                    <a:pt x="1529" y="181"/>
                  </a:lnTo>
                  <a:lnTo>
                    <a:pt x="1531" y="182"/>
                  </a:lnTo>
                  <a:lnTo>
                    <a:pt x="1532" y="186"/>
                  </a:lnTo>
                  <a:lnTo>
                    <a:pt x="1532" y="184"/>
                  </a:lnTo>
                  <a:lnTo>
                    <a:pt x="1532" y="186"/>
                  </a:lnTo>
                  <a:lnTo>
                    <a:pt x="1534" y="189"/>
                  </a:lnTo>
                  <a:lnTo>
                    <a:pt x="1536" y="192"/>
                  </a:lnTo>
                  <a:lnTo>
                    <a:pt x="1536" y="194"/>
                  </a:lnTo>
                  <a:lnTo>
                    <a:pt x="1537" y="195"/>
                  </a:lnTo>
                  <a:lnTo>
                    <a:pt x="1537" y="197"/>
                  </a:lnTo>
                  <a:lnTo>
                    <a:pt x="1539" y="197"/>
                  </a:lnTo>
                  <a:lnTo>
                    <a:pt x="1537" y="197"/>
                  </a:lnTo>
                  <a:lnTo>
                    <a:pt x="1539" y="199"/>
                  </a:lnTo>
                  <a:lnTo>
                    <a:pt x="1540" y="199"/>
                  </a:lnTo>
                  <a:lnTo>
                    <a:pt x="1540" y="200"/>
                  </a:lnTo>
                  <a:lnTo>
                    <a:pt x="1540" y="202"/>
                  </a:lnTo>
                  <a:lnTo>
                    <a:pt x="1540" y="203"/>
                  </a:lnTo>
                  <a:lnTo>
                    <a:pt x="1542" y="207"/>
                  </a:lnTo>
                  <a:lnTo>
                    <a:pt x="1544" y="207"/>
                  </a:lnTo>
                  <a:lnTo>
                    <a:pt x="1545" y="208"/>
                  </a:lnTo>
                  <a:lnTo>
                    <a:pt x="1544" y="210"/>
                  </a:lnTo>
                  <a:lnTo>
                    <a:pt x="1545" y="212"/>
                  </a:lnTo>
                  <a:lnTo>
                    <a:pt x="1545" y="213"/>
                  </a:lnTo>
                  <a:lnTo>
                    <a:pt x="1545" y="212"/>
                  </a:lnTo>
                  <a:lnTo>
                    <a:pt x="1544" y="212"/>
                  </a:lnTo>
                  <a:lnTo>
                    <a:pt x="1544" y="210"/>
                  </a:lnTo>
                  <a:lnTo>
                    <a:pt x="1542" y="208"/>
                  </a:lnTo>
                  <a:lnTo>
                    <a:pt x="1540" y="210"/>
                  </a:lnTo>
                  <a:lnTo>
                    <a:pt x="1540" y="212"/>
                  </a:lnTo>
                  <a:lnTo>
                    <a:pt x="1540" y="210"/>
                  </a:lnTo>
                  <a:lnTo>
                    <a:pt x="1542" y="210"/>
                  </a:lnTo>
                  <a:lnTo>
                    <a:pt x="1540" y="210"/>
                  </a:lnTo>
                  <a:lnTo>
                    <a:pt x="1542" y="208"/>
                  </a:lnTo>
                  <a:lnTo>
                    <a:pt x="1544" y="210"/>
                  </a:lnTo>
                  <a:lnTo>
                    <a:pt x="1544" y="212"/>
                  </a:lnTo>
                  <a:lnTo>
                    <a:pt x="1545" y="212"/>
                  </a:lnTo>
                  <a:lnTo>
                    <a:pt x="1545" y="213"/>
                  </a:lnTo>
                  <a:lnTo>
                    <a:pt x="1545" y="212"/>
                  </a:lnTo>
                  <a:lnTo>
                    <a:pt x="1545" y="210"/>
                  </a:lnTo>
                  <a:lnTo>
                    <a:pt x="1545" y="208"/>
                  </a:lnTo>
                  <a:lnTo>
                    <a:pt x="1545" y="210"/>
                  </a:lnTo>
                  <a:lnTo>
                    <a:pt x="1545" y="208"/>
                  </a:lnTo>
                  <a:lnTo>
                    <a:pt x="1547" y="208"/>
                  </a:lnTo>
                  <a:lnTo>
                    <a:pt x="1547" y="210"/>
                  </a:lnTo>
                  <a:lnTo>
                    <a:pt x="1549" y="210"/>
                  </a:lnTo>
                  <a:lnTo>
                    <a:pt x="1549" y="212"/>
                  </a:lnTo>
                  <a:lnTo>
                    <a:pt x="1550" y="215"/>
                  </a:lnTo>
                  <a:lnTo>
                    <a:pt x="1549" y="215"/>
                  </a:lnTo>
                  <a:lnTo>
                    <a:pt x="1547" y="215"/>
                  </a:lnTo>
                  <a:lnTo>
                    <a:pt x="1545" y="215"/>
                  </a:lnTo>
                  <a:lnTo>
                    <a:pt x="1544" y="213"/>
                  </a:lnTo>
                  <a:lnTo>
                    <a:pt x="1544" y="215"/>
                  </a:lnTo>
                  <a:lnTo>
                    <a:pt x="1544" y="213"/>
                  </a:lnTo>
                  <a:lnTo>
                    <a:pt x="1542" y="213"/>
                  </a:lnTo>
                  <a:lnTo>
                    <a:pt x="1544" y="215"/>
                  </a:lnTo>
                  <a:lnTo>
                    <a:pt x="1544" y="213"/>
                  </a:lnTo>
                  <a:lnTo>
                    <a:pt x="1545" y="215"/>
                  </a:lnTo>
                  <a:lnTo>
                    <a:pt x="1545" y="216"/>
                  </a:lnTo>
                  <a:lnTo>
                    <a:pt x="1547" y="216"/>
                  </a:lnTo>
                  <a:lnTo>
                    <a:pt x="1545" y="216"/>
                  </a:lnTo>
                  <a:lnTo>
                    <a:pt x="1544" y="218"/>
                  </a:lnTo>
                  <a:lnTo>
                    <a:pt x="1542" y="218"/>
                  </a:lnTo>
                  <a:lnTo>
                    <a:pt x="1540" y="218"/>
                  </a:lnTo>
                  <a:lnTo>
                    <a:pt x="1539" y="220"/>
                  </a:lnTo>
                  <a:lnTo>
                    <a:pt x="1539" y="221"/>
                  </a:lnTo>
                  <a:lnTo>
                    <a:pt x="1539" y="223"/>
                  </a:lnTo>
                  <a:lnTo>
                    <a:pt x="1539" y="225"/>
                  </a:lnTo>
                  <a:lnTo>
                    <a:pt x="1540" y="225"/>
                  </a:lnTo>
                  <a:lnTo>
                    <a:pt x="1540" y="226"/>
                  </a:lnTo>
                  <a:lnTo>
                    <a:pt x="1539" y="226"/>
                  </a:lnTo>
                  <a:lnTo>
                    <a:pt x="1539" y="228"/>
                  </a:lnTo>
                  <a:lnTo>
                    <a:pt x="1539" y="229"/>
                  </a:lnTo>
                  <a:lnTo>
                    <a:pt x="1537" y="229"/>
                  </a:lnTo>
                  <a:lnTo>
                    <a:pt x="1536" y="229"/>
                  </a:lnTo>
                  <a:lnTo>
                    <a:pt x="1534" y="228"/>
                  </a:lnTo>
                  <a:lnTo>
                    <a:pt x="1534" y="226"/>
                  </a:lnTo>
                  <a:lnTo>
                    <a:pt x="1532" y="225"/>
                  </a:lnTo>
                  <a:lnTo>
                    <a:pt x="1531" y="225"/>
                  </a:lnTo>
                  <a:lnTo>
                    <a:pt x="1531" y="226"/>
                  </a:lnTo>
                  <a:lnTo>
                    <a:pt x="1529" y="226"/>
                  </a:lnTo>
                  <a:lnTo>
                    <a:pt x="1527" y="229"/>
                  </a:lnTo>
                  <a:lnTo>
                    <a:pt x="1526" y="229"/>
                  </a:lnTo>
                  <a:lnTo>
                    <a:pt x="1524" y="229"/>
                  </a:lnTo>
                  <a:lnTo>
                    <a:pt x="1523" y="229"/>
                  </a:lnTo>
                  <a:lnTo>
                    <a:pt x="1523" y="231"/>
                  </a:lnTo>
                  <a:lnTo>
                    <a:pt x="1523" y="233"/>
                  </a:lnTo>
                  <a:lnTo>
                    <a:pt x="1523" y="234"/>
                  </a:lnTo>
                  <a:lnTo>
                    <a:pt x="1521" y="234"/>
                  </a:lnTo>
                  <a:lnTo>
                    <a:pt x="1519" y="234"/>
                  </a:lnTo>
                  <a:lnTo>
                    <a:pt x="1518" y="234"/>
                  </a:lnTo>
                  <a:lnTo>
                    <a:pt x="1516" y="234"/>
                  </a:lnTo>
                  <a:lnTo>
                    <a:pt x="1516" y="236"/>
                  </a:lnTo>
                  <a:lnTo>
                    <a:pt x="1518" y="236"/>
                  </a:lnTo>
                  <a:lnTo>
                    <a:pt x="1519" y="236"/>
                  </a:lnTo>
                  <a:lnTo>
                    <a:pt x="1519" y="238"/>
                  </a:lnTo>
                  <a:lnTo>
                    <a:pt x="1519" y="239"/>
                  </a:lnTo>
                  <a:lnTo>
                    <a:pt x="1518" y="241"/>
                  </a:lnTo>
                  <a:lnTo>
                    <a:pt x="1516" y="241"/>
                  </a:lnTo>
                  <a:lnTo>
                    <a:pt x="1514" y="239"/>
                  </a:lnTo>
                  <a:lnTo>
                    <a:pt x="1514" y="238"/>
                  </a:lnTo>
                  <a:lnTo>
                    <a:pt x="1513" y="238"/>
                  </a:lnTo>
                  <a:lnTo>
                    <a:pt x="1511" y="238"/>
                  </a:lnTo>
                  <a:lnTo>
                    <a:pt x="1511" y="239"/>
                  </a:lnTo>
                  <a:lnTo>
                    <a:pt x="1511" y="241"/>
                  </a:lnTo>
                  <a:lnTo>
                    <a:pt x="1510" y="242"/>
                  </a:lnTo>
                  <a:lnTo>
                    <a:pt x="1510" y="244"/>
                  </a:lnTo>
                  <a:lnTo>
                    <a:pt x="1508" y="244"/>
                  </a:lnTo>
                  <a:lnTo>
                    <a:pt x="1506" y="246"/>
                  </a:lnTo>
                  <a:lnTo>
                    <a:pt x="1506" y="247"/>
                  </a:lnTo>
                  <a:lnTo>
                    <a:pt x="1506" y="249"/>
                  </a:lnTo>
                  <a:lnTo>
                    <a:pt x="1505" y="249"/>
                  </a:lnTo>
                  <a:lnTo>
                    <a:pt x="1505" y="251"/>
                  </a:lnTo>
                  <a:lnTo>
                    <a:pt x="1503" y="251"/>
                  </a:lnTo>
                  <a:lnTo>
                    <a:pt x="1503" y="249"/>
                  </a:lnTo>
                  <a:lnTo>
                    <a:pt x="1501" y="249"/>
                  </a:lnTo>
                  <a:lnTo>
                    <a:pt x="1503" y="247"/>
                  </a:lnTo>
                  <a:lnTo>
                    <a:pt x="1503" y="246"/>
                  </a:lnTo>
                  <a:lnTo>
                    <a:pt x="1503" y="244"/>
                  </a:lnTo>
                  <a:lnTo>
                    <a:pt x="1503" y="242"/>
                  </a:lnTo>
                  <a:lnTo>
                    <a:pt x="1501" y="242"/>
                  </a:lnTo>
                  <a:lnTo>
                    <a:pt x="1500" y="244"/>
                  </a:lnTo>
                  <a:lnTo>
                    <a:pt x="1497" y="246"/>
                  </a:lnTo>
                  <a:lnTo>
                    <a:pt x="1495" y="246"/>
                  </a:lnTo>
                  <a:lnTo>
                    <a:pt x="1493" y="246"/>
                  </a:lnTo>
                  <a:lnTo>
                    <a:pt x="1493" y="249"/>
                  </a:lnTo>
                  <a:lnTo>
                    <a:pt x="1493" y="251"/>
                  </a:lnTo>
                  <a:lnTo>
                    <a:pt x="1493" y="252"/>
                  </a:lnTo>
                  <a:lnTo>
                    <a:pt x="1493" y="254"/>
                  </a:lnTo>
                  <a:lnTo>
                    <a:pt x="1492" y="254"/>
                  </a:lnTo>
                  <a:lnTo>
                    <a:pt x="1492" y="255"/>
                  </a:lnTo>
                  <a:lnTo>
                    <a:pt x="1493" y="254"/>
                  </a:lnTo>
                  <a:lnTo>
                    <a:pt x="1493" y="252"/>
                  </a:lnTo>
                  <a:lnTo>
                    <a:pt x="1493" y="251"/>
                  </a:lnTo>
                  <a:lnTo>
                    <a:pt x="1493" y="249"/>
                  </a:lnTo>
                  <a:lnTo>
                    <a:pt x="1493" y="247"/>
                  </a:lnTo>
                  <a:lnTo>
                    <a:pt x="1493" y="246"/>
                  </a:lnTo>
                  <a:lnTo>
                    <a:pt x="1495" y="246"/>
                  </a:lnTo>
                  <a:lnTo>
                    <a:pt x="1497" y="246"/>
                  </a:lnTo>
                  <a:lnTo>
                    <a:pt x="1498" y="244"/>
                  </a:lnTo>
                  <a:lnTo>
                    <a:pt x="1500" y="244"/>
                  </a:lnTo>
                  <a:lnTo>
                    <a:pt x="1501" y="242"/>
                  </a:lnTo>
                  <a:lnTo>
                    <a:pt x="1503" y="242"/>
                  </a:lnTo>
                  <a:lnTo>
                    <a:pt x="1503" y="244"/>
                  </a:lnTo>
                  <a:lnTo>
                    <a:pt x="1503" y="246"/>
                  </a:lnTo>
                  <a:lnTo>
                    <a:pt x="1501" y="247"/>
                  </a:lnTo>
                  <a:lnTo>
                    <a:pt x="1501" y="249"/>
                  </a:lnTo>
                  <a:lnTo>
                    <a:pt x="1503" y="249"/>
                  </a:lnTo>
                  <a:lnTo>
                    <a:pt x="1503" y="251"/>
                  </a:lnTo>
                  <a:lnTo>
                    <a:pt x="1505" y="251"/>
                  </a:lnTo>
                  <a:lnTo>
                    <a:pt x="1505" y="249"/>
                  </a:lnTo>
                  <a:lnTo>
                    <a:pt x="1506" y="249"/>
                  </a:lnTo>
                  <a:lnTo>
                    <a:pt x="1506" y="247"/>
                  </a:lnTo>
                  <a:lnTo>
                    <a:pt x="1506" y="246"/>
                  </a:lnTo>
                  <a:lnTo>
                    <a:pt x="1508" y="246"/>
                  </a:lnTo>
                  <a:lnTo>
                    <a:pt x="1508" y="244"/>
                  </a:lnTo>
                  <a:lnTo>
                    <a:pt x="1510" y="244"/>
                  </a:lnTo>
                  <a:lnTo>
                    <a:pt x="1511" y="242"/>
                  </a:lnTo>
                  <a:lnTo>
                    <a:pt x="1511" y="241"/>
                  </a:lnTo>
                  <a:lnTo>
                    <a:pt x="1513" y="241"/>
                  </a:lnTo>
                  <a:lnTo>
                    <a:pt x="1513" y="239"/>
                  </a:lnTo>
                  <a:lnTo>
                    <a:pt x="1511" y="239"/>
                  </a:lnTo>
                  <a:lnTo>
                    <a:pt x="1513" y="238"/>
                  </a:lnTo>
                  <a:lnTo>
                    <a:pt x="1514" y="239"/>
                  </a:lnTo>
                  <a:lnTo>
                    <a:pt x="1514" y="241"/>
                  </a:lnTo>
                  <a:lnTo>
                    <a:pt x="1516" y="241"/>
                  </a:lnTo>
                  <a:lnTo>
                    <a:pt x="1518" y="241"/>
                  </a:lnTo>
                  <a:lnTo>
                    <a:pt x="1519" y="241"/>
                  </a:lnTo>
                  <a:lnTo>
                    <a:pt x="1519" y="239"/>
                  </a:lnTo>
                  <a:lnTo>
                    <a:pt x="1519" y="238"/>
                  </a:lnTo>
                  <a:lnTo>
                    <a:pt x="1519" y="236"/>
                  </a:lnTo>
                  <a:lnTo>
                    <a:pt x="1518" y="236"/>
                  </a:lnTo>
                  <a:lnTo>
                    <a:pt x="1516" y="236"/>
                  </a:lnTo>
                  <a:lnTo>
                    <a:pt x="1518" y="234"/>
                  </a:lnTo>
                  <a:lnTo>
                    <a:pt x="1519" y="234"/>
                  </a:lnTo>
                  <a:lnTo>
                    <a:pt x="1521" y="234"/>
                  </a:lnTo>
                  <a:lnTo>
                    <a:pt x="1523" y="234"/>
                  </a:lnTo>
                  <a:lnTo>
                    <a:pt x="1523" y="233"/>
                  </a:lnTo>
                  <a:lnTo>
                    <a:pt x="1523" y="231"/>
                  </a:lnTo>
                  <a:lnTo>
                    <a:pt x="1523" y="229"/>
                  </a:lnTo>
                  <a:lnTo>
                    <a:pt x="1524" y="231"/>
                  </a:lnTo>
                  <a:lnTo>
                    <a:pt x="1526" y="231"/>
                  </a:lnTo>
                  <a:lnTo>
                    <a:pt x="1527" y="229"/>
                  </a:lnTo>
                  <a:lnTo>
                    <a:pt x="1529" y="229"/>
                  </a:lnTo>
                  <a:lnTo>
                    <a:pt x="1529" y="228"/>
                  </a:lnTo>
                  <a:lnTo>
                    <a:pt x="1531" y="226"/>
                  </a:lnTo>
                  <a:lnTo>
                    <a:pt x="1532" y="225"/>
                  </a:lnTo>
                  <a:lnTo>
                    <a:pt x="1532" y="226"/>
                  </a:lnTo>
                  <a:lnTo>
                    <a:pt x="1534" y="226"/>
                  </a:lnTo>
                  <a:lnTo>
                    <a:pt x="1534" y="229"/>
                  </a:lnTo>
                  <a:lnTo>
                    <a:pt x="1536" y="229"/>
                  </a:lnTo>
                  <a:lnTo>
                    <a:pt x="1536" y="231"/>
                  </a:lnTo>
                  <a:lnTo>
                    <a:pt x="1537" y="231"/>
                  </a:lnTo>
                  <a:lnTo>
                    <a:pt x="1539" y="231"/>
                  </a:lnTo>
                  <a:lnTo>
                    <a:pt x="1539" y="229"/>
                  </a:lnTo>
                  <a:lnTo>
                    <a:pt x="1540" y="226"/>
                  </a:lnTo>
                  <a:lnTo>
                    <a:pt x="1540" y="225"/>
                  </a:lnTo>
                  <a:lnTo>
                    <a:pt x="1540" y="223"/>
                  </a:lnTo>
                  <a:lnTo>
                    <a:pt x="1539" y="221"/>
                  </a:lnTo>
                  <a:lnTo>
                    <a:pt x="1540" y="220"/>
                  </a:lnTo>
                  <a:lnTo>
                    <a:pt x="1540" y="218"/>
                  </a:lnTo>
                  <a:lnTo>
                    <a:pt x="1542" y="218"/>
                  </a:lnTo>
                  <a:lnTo>
                    <a:pt x="1544" y="218"/>
                  </a:lnTo>
                  <a:lnTo>
                    <a:pt x="1545" y="218"/>
                  </a:lnTo>
                  <a:lnTo>
                    <a:pt x="1547" y="216"/>
                  </a:lnTo>
                  <a:lnTo>
                    <a:pt x="1547" y="218"/>
                  </a:lnTo>
                  <a:lnTo>
                    <a:pt x="1545" y="218"/>
                  </a:lnTo>
                  <a:lnTo>
                    <a:pt x="1547" y="218"/>
                  </a:lnTo>
                  <a:lnTo>
                    <a:pt x="1547" y="216"/>
                  </a:lnTo>
                  <a:lnTo>
                    <a:pt x="1549" y="216"/>
                  </a:lnTo>
                  <a:lnTo>
                    <a:pt x="1550" y="216"/>
                  </a:lnTo>
                  <a:lnTo>
                    <a:pt x="1550" y="215"/>
                  </a:lnTo>
                  <a:lnTo>
                    <a:pt x="1550" y="216"/>
                  </a:lnTo>
                  <a:lnTo>
                    <a:pt x="1552" y="216"/>
                  </a:lnTo>
                  <a:lnTo>
                    <a:pt x="1553" y="218"/>
                  </a:lnTo>
                  <a:lnTo>
                    <a:pt x="1555" y="216"/>
                  </a:lnTo>
                  <a:lnTo>
                    <a:pt x="1555" y="218"/>
                  </a:lnTo>
                  <a:lnTo>
                    <a:pt x="1553" y="218"/>
                  </a:lnTo>
                  <a:lnTo>
                    <a:pt x="1553" y="220"/>
                  </a:lnTo>
                  <a:lnTo>
                    <a:pt x="1553" y="221"/>
                  </a:lnTo>
                  <a:lnTo>
                    <a:pt x="1552" y="220"/>
                  </a:lnTo>
                  <a:lnTo>
                    <a:pt x="1552" y="221"/>
                  </a:lnTo>
                  <a:lnTo>
                    <a:pt x="1552" y="220"/>
                  </a:lnTo>
                  <a:lnTo>
                    <a:pt x="1553" y="220"/>
                  </a:lnTo>
                  <a:lnTo>
                    <a:pt x="1553" y="221"/>
                  </a:lnTo>
                  <a:lnTo>
                    <a:pt x="1553" y="220"/>
                  </a:lnTo>
                  <a:lnTo>
                    <a:pt x="1553" y="218"/>
                  </a:lnTo>
                  <a:lnTo>
                    <a:pt x="1555" y="218"/>
                  </a:lnTo>
                  <a:lnTo>
                    <a:pt x="1555" y="216"/>
                  </a:lnTo>
                  <a:lnTo>
                    <a:pt x="1557" y="216"/>
                  </a:lnTo>
                  <a:lnTo>
                    <a:pt x="1558" y="216"/>
                  </a:lnTo>
                  <a:lnTo>
                    <a:pt x="1557" y="216"/>
                  </a:lnTo>
                  <a:lnTo>
                    <a:pt x="1558" y="215"/>
                  </a:lnTo>
                  <a:lnTo>
                    <a:pt x="1560" y="213"/>
                  </a:lnTo>
                  <a:lnTo>
                    <a:pt x="1562" y="213"/>
                  </a:lnTo>
                  <a:lnTo>
                    <a:pt x="1563" y="212"/>
                  </a:lnTo>
                  <a:lnTo>
                    <a:pt x="1565" y="212"/>
                  </a:lnTo>
                  <a:lnTo>
                    <a:pt x="1566" y="212"/>
                  </a:lnTo>
                  <a:lnTo>
                    <a:pt x="1568" y="210"/>
                  </a:lnTo>
                  <a:lnTo>
                    <a:pt x="1571" y="208"/>
                  </a:lnTo>
                  <a:lnTo>
                    <a:pt x="1573" y="207"/>
                  </a:lnTo>
                  <a:lnTo>
                    <a:pt x="1575" y="207"/>
                  </a:lnTo>
                  <a:lnTo>
                    <a:pt x="1576" y="205"/>
                  </a:lnTo>
                  <a:lnTo>
                    <a:pt x="1578" y="205"/>
                  </a:lnTo>
                  <a:lnTo>
                    <a:pt x="1579" y="205"/>
                  </a:lnTo>
                  <a:lnTo>
                    <a:pt x="1581" y="203"/>
                  </a:lnTo>
                  <a:lnTo>
                    <a:pt x="1584" y="203"/>
                  </a:lnTo>
                  <a:lnTo>
                    <a:pt x="1586" y="202"/>
                  </a:lnTo>
                  <a:lnTo>
                    <a:pt x="1588" y="202"/>
                  </a:lnTo>
                  <a:lnTo>
                    <a:pt x="1589" y="202"/>
                  </a:lnTo>
                  <a:lnTo>
                    <a:pt x="1589" y="203"/>
                  </a:lnTo>
                  <a:lnTo>
                    <a:pt x="1589" y="205"/>
                  </a:lnTo>
                  <a:lnTo>
                    <a:pt x="1591" y="205"/>
                  </a:lnTo>
                  <a:lnTo>
                    <a:pt x="1591" y="207"/>
                  </a:lnTo>
                  <a:lnTo>
                    <a:pt x="1591" y="208"/>
                  </a:lnTo>
                  <a:lnTo>
                    <a:pt x="1591" y="210"/>
                  </a:lnTo>
                  <a:lnTo>
                    <a:pt x="1591" y="212"/>
                  </a:lnTo>
                  <a:lnTo>
                    <a:pt x="1589" y="212"/>
                  </a:lnTo>
                  <a:lnTo>
                    <a:pt x="1589" y="213"/>
                  </a:lnTo>
                  <a:lnTo>
                    <a:pt x="1591" y="213"/>
                  </a:lnTo>
                  <a:lnTo>
                    <a:pt x="1591" y="215"/>
                  </a:lnTo>
                  <a:lnTo>
                    <a:pt x="1591" y="216"/>
                  </a:lnTo>
                  <a:lnTo>
                    <a:pt x="1592" y="216"/>
                  </a:lnTo>
                  <a:lnTo>
                    <a:pt x="1591" y="216"/>
                  </a:lnTo>
                  <a:lnTo>
                    <a:pt x="1591" y="215"/>
                  </a:lnTo>
                  <a:lnTo>
                    <a:pt x="1591" y="213"/>
                  </a:lnTo>
                  <a:lnTo>
                    <a:pt x="1589" y="213"/>
                  </a:lnTo>
                  <a:lnTo>
                    <a:pt x="1589" y="212"/>
                  </a:lnTo>
                  <a:lnTo>
                    <a:pt x="1591" y="212"/>
                  </a:lnTo>
                  <a:lnTo>
                    <a:pt x="1591" y="210"/>
                  </a:lnTo>
                  <a:lnTo>
                    <a:pt x="1591" y="208"/>
                  </a:lnTo>
                  <a:lnTo>
                    <a:pt x="1591" y="207"/>
                  </a:lnTo>
                  <a:lnTo>
                    <a:pt x="1591" y="205"/>
                  </a:lnTo>
                  <a:lnTo>
                    <a:pt x="1591" y="203"/>
                  </a:lnTo>
                  <a:lnTo>
                    <a:pt x="1592" y="203"/>
                  </a:lnTo>
                  <a:lnTo>
                    <a:pt x="1594" y="203"/>
                  </a:lnTo>
                  <a:lnTo>
                    <a:pt x="1596" y="203"/>
                  </a:lnTo>
                  <a:lnTo>
                    <a:pt x="1594" y="203"/>
                  </a:lnTo>
                  <a:lnTo>
                    <a:pt x="1594" y="202"/>
                  </a:lnTo>
                  <a:lnTo>
                    <a:pt x="1596" y="203"/>
                  </a:lnTo>
                  <a:lnTo>
                    <a:pt x="1594" y="202"/>
                  </a:lnTo>
                  <a:lnTo>
                    <a:pt x="1594" y="203"/>
                  </a:lnTo>
                  <a:lnTo>
                    <a:pt x="1594" y="202"/>
                  </a:lnTo>
                  <a:lnTo>
                    <a:pt x="1594" y="203"/>
                  </a:lnTo>
                  <a:lnTo>
                    <a:pt x="1594" y="202"/>
                  </a:lnTo>
                  <a:lnTo>
                    <a:pt x="1592" y="202"/>
                  </a:lnTo>
                  <a:lnTo>
                    <a:pt x="1592" y="200"/>
                  </a:lnTo>
                  <a:lnTo>
                    <a:pt x="1594" y="200"/>
                  </a:lnTo>
                  <a:lnTo>
                    <a:pt x="1594" y="202"/>
                  </a:lnTo>
                  <a:lnTo>
                    <a:pt x="1596" y="202"/>
                  </a:lnTo>
                  <a:lnTo>
                    <a:pt x="1597" y="202"/>
                  </a:lnTo>
                  <a:lnTo>
                    <a:pt x="1597" y="203"/>
                  </a:lnTo>
                  <a:lnTo>
                    <a:pt x="1597" y="205"/>
                  </a:lnTo>
                  <a:lnTo>
                    <a:pt x="1599" y="205"/>
                  </a:lnTo>
                  <a:lnTo>
                    <a:pt x="1601" y="205"/>
                  </a:lnTo>
                  <a:lnTo>
                    <a:pt x="1599" y="205"/>
                  </a:lnTo>
                  <a:lnTo>
                    <a:pt x="1601" y="205"/>
                  </a:lnTo>
                  <a:lnTo>
                    <a:pt x="1601" y="207"/>
                  </a:lnTo>
                  <a:lnTo>
                    <a:pt x="1602" y="205"/>
                  </a:lnTo>
                  <a:lnTo>
                    <a:pt x="1604" y="205"/>
                  </a:lnTo>
                  <a:lnTo>
                    <a:pt x="1607" y="205"/>
                  </a:lnTo>
                  <a:lnTo>
                    <a:pt x="1609" y="205"/>
                  </a:lnTo>
                  <a:lnTo>
                    <a:pt x="1610" y="205"/>
                  </a:lnTo>
                  <a:lnTo>
                    <a:pt x="1610" y="203"/>
                  </a:lnTo>
                  <a:lnTo>
                    <a:pt x="1610" y="202"/>
                  </a:lnTo>
                  <a:lnTo>
                    <a:pt x="1612" y="200"/>
                  </a:lnTo>
                  <a:lnTo>
                    <a:pt x="1614" y="200"/>
                  </a:lnTo>
                  <a:lnTo>
                    <a:pt x="1615" y="199"/>
                  </a:lnTo>
                  <a:lnTo>
                    <a:pt x="1615" y="197"/>
                  </a:lnTo>
                  <a:lnTo>
                    <a:pt x="1617" y="197"/>
                  </a:lnTo>
                  <a:lnTo>
                    <a:pt x="1615" y="197"/>
                  </a:lnTo>
                  <a:lnTo>
                    <a:pt x="1615" y="195"/>
                  </a:lnTo>
                  <a:lnTo>
                    <a:pt x="1617" y="195"/>
                  </a:lnTo>
                  <a:lnTo>
                    <a:pt x="1618" y="195"/>
                  </a:lnTo>
                  <a:lnTo>
                    <a:pt x="1617" y="195"/>
                  </a:lnTo>
                  <a:lnTo>
                    <a:pt x="1618" y="195"/>
                  </a:lnTo>
                  <a:lnTo>
                    <a:pt x="1618" y="194"/>
                  </a:lnTo>
                  <a:lnTo>
                    <a:pt x="1620" y="194"/>
                  </a:lnTo>
                  <a:lnTo>
                    <a:pt x="1622" y="194"/>
                  </a:lnTo>
                  <a:lnTo>
                    <a:pt x="1623" y="194"/>
                  </a:lnTo>
                  <a:lnTo>
                    <a:pt x="1623" y="192"/>
                  </a:lnTo>
                  <a:lnTo>
                    <a:pt x="1623" y="194"/>
                  </a:lnTo>
                  <a:lnTo>
                    <a:pt x="1622" y="194"/>
                  </a:lnTo>
                  <a:lnTo>
                    <a:pt x="1622" y="192"/>
                  </a:lnTo>
                  <a:lnTo>
                    <a:pt x="1623" y="192"/>
                  </a:lnTo>
                  <a:lnTo>
                    <a:pt x="1627" y="190"/>
                  </a:lnTo>
                  <a:lnTo>
                    <a:pt x="1628" y="190"/>
                  </a:lnTo>
                  <a:lnTo>
                    <a:pt x="1630" y="190"/>
                  </a:lnTo>
                  <a:lnTo>
                    <a:pt x="1630" y="192"/>
                  </a:lnTo>
                  <a:lnTo>
                    <a:pt x="1632" y="192"/>
                  </a:lnTo>
                  <a:lnTo>
                    <a:pt x="1633" y="192"/>
                  </a:lnTo>
                  <a:lnTo>
                    <a:pt x="1635" y="192"/>
                  </a:lnTo>
                  <a:lnTo>
                    <a:pt x="1636" y="190"/>
                  </a:lnTo>
                  <a:lnTo>
                    <a:pt x="1638" y="190"/>
                  </a:lnTo>
                  <a:lnTo>
                    <a:pt x="1640" y="189"/>
                  </a:lnTo>
                  <a:lnTo>
                    <a:pt x="1641" y="189"/>
                  </a:lnTo>
                  <a:lnTo>
                    <a:pt x="1643" y="189"/>
                  </a:lnTo>
                  <a:lnTo>
                    <a:pt x="1645" y="187"/>
                  </a:lnTo>
                  <a:lnTo>
                    <a:pt x="1645" y="189"/>
                  </a:lnTo>
                  <a:lnTo>
                    <a:pt x="1646" y="189"/>
                  </a:lnTo>
                  <a:lnTo>
                    <a:pt x="1648" y="190"/>
                  </a:lnTo>
                  <a:lnTo>
                    <a:pt x="1651" y="192"/>
                  </a:lnTo>
                  <a:lnTo>
                    <a:pt x="1653" y="192"/>
                  </a:lnTo>
                  <a:lnTo>
                    <a:pt x="1654" y="192"/>
                  </a:lnTo>
                  <a:lnTo>
                    <a:pt x="1656" y="192"/>
                  </a:lnTo>
                  <a:lnTo>
                    <a:pt x="1658" y="192"/>
                  </a:lnTo>
                  <a:lnTo>
                    <a:pt x="1659" y="194"/>
                  </a:lnTo>
                  <a:lnTo>
                    <a:pt x="1661" y="194"/>
                  </a:lnTo>
                  <a:lnTo>
                    <a:pt x="1662" y="194"/>
                  </a:lnTo>
                  <a:lnTo>
                    <a:pt x="1664" y="195"/>
                  </a:lnTo>
                  <a:lnTo>
                    <a:pt x="1664" y="194"/>
                  </a:lnTo>
                  <a:lnTo>
                    <a:pt x="1666" y="194"/>
                  </a:lnTo>
                  <a:lnTo>
                    <a:pt x="1666" y="195"/>
                  </a:lnTo>
                  <a:lnTo>
                    <a:pt x="1667" y="195"/>
                  </a:lnTo>
                  <a:lnTo>
                    <a:pt x="1669" y="195"/>
                  </a:lnTo>
                  <a:lnTo>
                    <a:pt x="1671" y="195"/>
                  </a:lnTo>
                  <a:lnTo>
                    <a:pt x="1671" y="197"/>
                  </a:lnTo>
                  <a:lnTo>
                    <a:pt x="1674" y="200"/>
                  </a:lnTo>
                  <a:lnTo>
                    <a:pt x="1674" y="202"/>
                  </a:lnTo>
                  <a:lnTo>
                    <a:pt x="1672" y="203"/>
                  </a:lnTo>
                  <a:lnTo>
                    <a:pt x="1674" y="202"/>
                  </a:lnTo>
                  <a:lnTo>
                    <a:pt x="1674" y="203"/>
                  </a:lnTo>
                  <a:lnTo>
                    <a:pt x="1674" y="205"/>
                  </a:lnTo>
                  <a:lnTo>
                    <a:pt x="1674" y="207"/>
                  </a:lnTo>
                  <a:lnTo>
                    <a:pt x="1675" y="207"/>
                  </a:lnTo>
                  <a:lnTo>
                    <a:pt x="1674" y="207"/>
                  </a:lnTo>
                  <a:lnTo>
                    <a:pt x="1675" y="208"/>
                  </a:lnTo>
                  <a:lnTo>
                    <a:pt x="1675" y="212"/>
                  </a:lnTo>
                  <a:lnTo>
                    <a:pt x="1675" y="215"/>
                  </a:lnTo>
                  <a:lnTo>
                    <a:pt x="1677" y="216"/>
                  </a:lnTo>
                  <a:lnTo>
                    <a:pt x="1679" y="221"/>
                  </a:lnTo>
                  <a:lnTo>
                    <a:pt x="1680" y="223"/>
                  </a:lnTo>
                  <a:lnTo>
                    <a:pt x="1682" y="225"/>
                  </a:lnTo>
                  <a:lnTo>
                    <a:pt x="1684" y="225"/>
                  </a:lnTo>
                  <a:lnTo>
                    <a:pt x="1684" y="226"/>
                  </a:lnTo>
                  <a:lnTo>
                    <a:pt x="1685" y="226"/>
                  </a:lnTo>
                  <a:lnTo>
                    <a:pt x="1685" y="228"/>
                  </a:lnTo>
                  <a:lnTo>
                    <a:pt x="1684" y="231"/>
                  </a:lnTo>
                  <a:lnTo>
                    <a:pt x="1684" y="233"/>
                  </a:lnTo>
                  <a:lnTo>
                    <a:pt x="1682" y="234"/>
                  </a:lnTo>
                  <a:lnTo>
                    <a:pt x="1680" y="234"/>
                  </a:lnTo>
                  <a:lnTo>
                    <a:pt x="1679" y="234"/>
                  </a:lnTo>
                  <a:lnTo>
                    <a:pt x="1679" y="236"/>
                  </a:lnTo>
                  <a:lnTo>
                    <a:pt x="1679" y="238"/>
                  </a:lnTo>
                  <a:lnTo>
                    <a:pt x="1679" y="239"/>
                  </a:lnTo>
                  <a:lnTo>
                    <a:pt x="1679" y="241"/>
                  </a:lnTo>
                  <a:lnTo>
                    <a:pt x="1679" y="242"/>
                  </a:lnTo>
                  <a:lnTo>
                    <a:pt x="1677" y="244"/>
                  </a:lnTo>
                  <a:lnTo>
                    <a:pt x="1675" y="247"/>
                  </a:lnTo>
                  <a:lnTo>
                    <a:pt x="1674" y="249"/>
                  </a:lnTo>
                  <a:lnTo>
                    <a:pt x="1675" y="251"/>
                  </a:lnTo>
                  <a:lnTo>
                    <a:pt x="1675" y="252"/>
                  </a:lnTo>
                  <a:lnTo>
                    <a:pt x="1675" y="254"/>
                  </a:lnTo>
                  <a:lnTo>
                    <a:pt x="1675" y="257"/>
                  </a:lnTo>
                  <a:lnTo>
                    <a:pt x="1677" y="259"/>
                  </a:lnTo>
                  <a:lnTo>
                    <a:pt x="1677" y="260"/>
                  </a:lnTo>
                  <a:lnTo>
                    <a:pt x="1677" y="262"/>
                  </a:lnTo>
                  <a:lnTo>
                    <a:pt x="1677" y="264"/>
                  </a:lnTo>
                  <a:lnTo>
                    <a:pt x="1679" y="264"/>
                  </a:lnTo>
                  <a:lnTo>
                    <a:pt x="1679" y="265"/>
                  </a:lnTo>
                  <a:lnTo>
                    <a:pt x="1680" y="265"/>
                  </a:lnTo>
                  <a:lnTo>
                    <a:pt x="1680" y="267"/>
                  </a:lnTo>
                  <a:lnTo>
                    <a:pt x="1682" y="268"/>
                  </a:lnTo>
                  <a:lnTo>
                    <a:pt x="1684" y="268"/>
                  </a:lnTo>
                  <a:lnTo>
                    <a:pt x="1685" y="268"/>
                  </a:lnTo>
                  <a:lnTo>
                    <a:pt x="1687" y="268"/>
                  </a:lnTo>
                  <a:lnTo>
                    <a:pt x="1690" y="270"/>
                  </a:lnTo>
                  <a:lnTo>
                    <a:pt x="1690" y="272"/>
                  </a:lnTo>
                  <a:lnTo>
                    <a:pt x="1690" y="275"/>
                  </a:lnTo>
                  <a:lnTo>
                    <a:pt x="1690" y="277"/>
                  </a:lnTo>
                  <a:lnTo>
                    <a:pt x="1690" y="278"/>
                  </a:lnTo>
                  <a:lnTo>
                    <a:pt x="1692" y="278"/>
                  </a:lnTo>
                  <a:lnTo>
                    <a:pt x="1693" y="278"/>
                  </a:lnTo>
                  <a:lnTo>
                    <a:pt x="1695" y="282"/>
                  </a:lnTo>
                  <a:lnTo>
                    <a:pt x="1697" y="282"/>
                  </a:lnTo>
                  <a:lnTo>
                    <a:pt x="1697" y="283"/>
                  </a:lnTo>
                  <a:lnTo>
                    <a:pt x="1698" y="283"/>
                  </a:lnTo>
                  <a:lnTo>
                    <a:pt x="1700" y="285"/>
                  </a:lnTo>
                  <a:lnTo>
                    <a:pt x="1700" y="286"/>
                  </a:lnTo>
                  <a:lnTo>
                    <a:pt x="1701" y="286"/>
                  </a:lnTo>
                  <a:lnTo>
                    <a:pt x="1703" y="286"/>
                  </a:lnTo>
                  <a:lnTo>
                    <a:pt x="1705" y="286"/>
                  </a:lnTo>
                  <a:lnTo>
                    <a:pt x="1706" y="288"/>
                  </a:lnTo>
                  <a:lnTo>
                    <a:pt x="1708" y="288"/>
                  </a:lnTo>
                  <a:lnTo>
                    <a:pt x="1710" y="286"/>
                  </a:lnTo>
                  <a:lnTo>
                    <a:pt x="1711" y="286"/>
                  </a:lnTo>
                  <a:lnTo>
                    <a:pt x="1714" y="285"/>
                  </a:lnTo>
                  <a:lnTo>
                    <a:pt x="1714" y="283"/>
                  </a:lnTo>
                  <a:lnTo>
                    <a:pt x="1716" y="282"/>
                  </a:lnTo>
                  <a:lnTo>
                    <a:pt x="1718" y="282"/>
                  </a:lnTo>
                  <a:lnTo>
                    <a:pt x="1719" y="282"/>
                  </a:lnTo>
                  <a:lnTo>
                    <a:pt x="1721" y="282"/>
                  </a:lnTo>
                  <a:lnTo>
                    <a:pt x="1721" y="283"/>
                  </a:lnTo>
                  <a:lnTo>
                    <a:pt x="1723" y="283"/>
                  </a:lnTo>
                  <a:lnTo>
                    <a:pt x="1723" y="285"/>
                  </a:lnTo>
                  <a:lnTo>
                    <a:pt x="1723" y="286"/>
                  </a:lnTo>
                  <a:lnTo>
                    <a:pt x="1721" y="290"/>
                  </a:lnTo>
                  <a:lnTo>
                    <a:pt x="1721" y="291"/>
                  </a:lnTo>
                  <a:lnTo>
                    <a:pt x="1719" y="291"/>
                  </a:lnTo>
                  <a:lnTo>
                    <a:pt x="1719" y="293"/>
                  </a:lnTo>
                  <a:lnTo>
                    <a:pt x="1721" y="293"/>
                  </a:lnTo>
                  <a:lnTo>
                    <a:pt x="1721" y="295"/>
                  </a:lnTo>
                  <a:lnTo>
                    <a:pt x="1726" y="296"/>
                  </a:lnTo>
                  <a:lnTo>
                    <a:pt x="1729" y="298"/>
                  </a:lnTo>
                  <a:lnTo>
                    <a:pt x="1729" y="299"/>
                  </a:lnTo>
                  <a:lnTo>
                    <a:pt x="1727" y="299"/>
                  </a:lnTo>
                  <a:lnTo>
                    <a:pt x="1729" y="301"/>
                  </a:lnTo>
                  <a:lnTo>
                    <a:pt x="1729" y="303"/>
                  </a:lnTo>
                  <a:lnTo>
                    <a:pt x="1731" y="303"/>
                  </a:lnTo>
                  <a:lnTo>
                    <a:pt x="1731" y="304"/>
                  </a:lnTo>
                  <a:lnTo>
                    <a:pt x="1731" y="306"/>
                  </a:lnTo>
                  <a:lnTo>
                    <a:pt x="1731" y="308"/>
                  </a:lnTo>
                  <a:lnTo>
                    <a:pt x="1732" y="309"/>
                  </a:lnTo>
                  <a:lnTo>
                    <a:pt x="1732" y="311"/>
                  </a:lnTo>
                  <a:lnTo>
                    <a:pt x="1734" y="311"/>
                  </a:lnTo>
                  <a:lnTo>
                    <a:pt x="1736" y="311"/>
                  </a:lnTo>
                  <a:lnTo>
                    <a:pt x="1736" y="312"/>
                  </a:lnTo>
                  <a:lnTo>
                    <a:pt x="1737" y="312"/>
                  </a:lnTo>
                  <a:lnTo>
                    <a:pt x="1736" y="314"/>
                  </a:lnTo>
                  <a:lnTo>
                    <a:pt x="1734" y="316"/>
                  </a:lnTo>
                  <a:lnTo>
                    <a:pt x="1734" y="317"/>
                  </a:lnTo>
                  <a:lnTo>
                    <a:pt x="1732" y="317"/>
                  </a:lnTo>
                  <a:lnTo>
                    <a:pt x="1731" y="317"/>
                  </a:lnTo>
                  <a:lnTo>
                    <a:pt x="1731" y="319"/>
                  </a:lnTo>
                  <a:lnTo>
                    <a:pt x="1732" y="321"/>
                  </a:lnTo>
                  <a:lnTo>
                    <a:pt x="1736" y="321"/>
                  </a:lnTo>
                  <a:lnTo>
                    <a:pt x="1737" y="321"/>
                  </a:lnTo>
                  <a:lnTo>
                    <a:pt x="1737" y="322"/>
                  </a:lnTo>
                  <a:lnTo>
                    <a:pt x="1737" y="324"/>
                  </a:lnTo>
                  <a:lnTo>
                    <a:pt x="1739" y="324"/>
                  </a:lnTo>
                  <a:lnTo>
                    <a:pt x="1740" y="324"/>
                  </a:lnTo>
                  <a:lnTo>
                    <a:pt x="1740" y="322"/>
                  </a:lnTo>
                  <a:lnTo>
                    <a:pt x="1742" y="322"/>
                  </a:lnTo>
                  <a:lnTo>
                    <a:pt x="1742" y="324"/>
                  </a:lnTo>
                  <a:lnTo>
                    <a:pt x="1742" y="325"/>
                  </a:lnTo>
                  <a:lnTo>
                    <a:pt x="1742" y="327"/>
                  </a:lnTo>
                  <a:lnTo>
                    <a:pt x="1745" y="329"/>
                  </a:lnTo>
                  <a:lnTo>
                    <a:pt x="1747" y="329"/>
                  </a:lnTo>
                  <a:lnTo>
                    <a:pt x="1750" y="325"/>
                  </a:lnTo>
                  <a:lnTo>
                    <a:pt x="1752" y="325"/>
                  </a:lnTo>
                  <a:lnTo>
                    <a:pt x="1753" y="327"/>
                  </a:lnTo>
                  <a:lnTo>
                    <a:pt x="1753" y="329"/>
                  </a:lnTo>
                  <a:lnTo>
                    <a:pt x="1753" y="330"/>
                  </a:lnTo>
                  <a:lnTo>
                    <a:pt x="1755" y="330"/>
                  </a:lnTo>
                  <a:lnTo>
                    <a:pt x="1757" y="330"/>
                  </a:lnTo>
                  <a:lnTo>
                    <a:pt x="1760" y="334"/>
                  </a:lnTo>
                  <a:lnTo>
                    <a:pt x="1763" y="334"/>
                  </a:lnTo>
                  <a:lnTo>
                    <a:pt x="1766" y="332"/>
                  </a:lnTo>
                  <a:lnTo>
                    <a:pt x="1768" y="334"/>
                  </a:lnTo>
                  <a:lnTo>
                    <a:pt x="1768" y="335"/>
                  </a:lnTo>
                  <a:lnTo>
                    <a:pt x="1768" y="337"/>
                  </a:lnTo>
                  <a:lnTo>
                    <a:pt x="1770" y="337"/>
                  </a:lnTo>
                  <a:lnTo>
                    <a:pt x="1768" y="337"/>
                  </a:lnTo>
                  <a:lnTo>
                    <a:pt x="1770" y="337"/>
                  </a:lnTo>
                  <a:lnTo>
                    <a:pt x="1768" y="335"/>
                  </a:lnTo>
                  <a:lnTo>
                    <a:pt x="1768" y="334"/>
                  </a:lnTo>
                  <a:lnTo>
                    <a:pt x="1766" y="332"/>
                  </a:lnTo>
                  <a:lnTo>
                    <a:pt x="1763" y="334"/>
                  </a:lnTo>
                  <a:lnTo>
                    <a:pt x="1760" y="334"/>
                  </a:lnTo>
                  <a:lnTo>
                    <a:pt x="1757" y="330"/>
                  </a:lnTo>
                  <a:lnTo>
                    <a:pt x="1755" y="330"/>
                  </a:lnTo>
                  <a:lnTo>
                    <a:pt x="1753" y="330"/>
                  </a:lnTo>
                  <a:lnTo>
                    <a:pt x="1753" y="329"/>
                  </a:lnTo>
                  <a:lnTo>
                    <a:pt x="1755" y="329"/>
                  </a:lnTo>
                  <a:lnTo>
                    <a:pt x="1755" y="327"/>
                  </a:lnTo>
                  <a:lnTo>
                    <a:pt x="1753" y="327"/>
                  </a:lnTo>
                  <a:lnTo>
                    <a:pt x="1753" y="325"/>
                  </a:lnTo>
                  <a:lnTo>
                    <a:pt x="1750" y="325"/>
                  </a:lnTo>
                  <a:lnTo>
                    <a:pt x="1747" y="329"/>
                  </a:lnTo>
                  <a:lnTo>
                    <a:pt x="1745" y="329"/>
                  </a:lnTo>
                  <a:lnTo>
                    <a:pt x="1744" y="327"/>
                  </a:lnTo>
                  <a:lnTo>
                    <a:pt x="1742" y="325"/>
                  </a:lnTo>
                  <a:lnTo>
                    <a:pt x="1744" y="324"/>
                  </a:lnTo>
                  <a:lnTo>
                    <a:pt x="1742" y="322"/>
                  </a:lnTo>
                  <a:lnTo>
                    <a:pt x="1740" y="322"/>
                  </a:lnTo>
                  <a:lnTo>
                    <a:pt x="1740" y="324"/>
                  </a:lnTo>
                  <a:lnTo>
                    <a:pt x="1739" y="324"/>
                  </a:lnTo>
                  <a:lnTo>
                    <a:pt x="1737" y="322"/>
                  </a:lnTo>
                  <a:lnTo>
                    <a:pt x="1737" y="321"/>
                  </a:lnTo>
                  <a:lnTo>
                    <a:pt x="1736" y="321"/>
                  </a:lnTo>
                  <a:lnTo>
                    <a:pt x="1732" y="319"/>
                  </a:lnTo>
                  <a:lnTo>
                    <a:pt x="1731" y="319"/>
                  </a:lnTo>
                  <a:lnTo>
                    <a:pt x="1731" y="317"/>
                  </a:lnTo>
                  <a:lnTo>
                    <a:pt x="1732" y="317"/>
                  </a:lnTo>
                  <a:lnTo>
                    <a:pt x="1734" y="317"/>
                  </a:lnTo>
                  <a:lnTo>
                    <a:pt x="1734" y="316"/>
                  </a:lnTo>
                  <a:lnTo>
                    <a:pt x="1736" y="316"/>
                  </a:lnTo>
                  <a:lnTo>
                    <a:pt x="1736" y="314"/>
                  </a:lnTo>
                  <a:lnTo>
                    <a:pt x="1737" y="312"/>
                  </a:lnTo>
                  <a:lnTo>
                    <a:pt x="1736" y="311"/>
                  </a:lnTo>
                  <a:lnTo>
                    <a:pt x="1734" y="311"/>
                  </a:lnTo>
                  <a:lnTo>
                    <a:pt x="1732" y="311"/>
                  </a:lnTo>
                  <a:lnTo>
                    <a:pt x="1732" y="309"/>
                  </a:lnTo>
                  <a:lnTo>
                    <a:pt x="1732" y="308"/>
                  </a:lnTo>
                  <a:lnTo>
                    <a:pt x="1731" y="306"/>
                  </a:lnTo>
                  <a:lnTo>
                    <a:pt x="1731" y="304"/>
                  </a:lnTo>
                  <a:lnTo>
                    <a:pt x="1731" y="303"/>
                  </a:lnTo>
                  <a:lnTo>
                    <a:pt x="1729" y="303"/>
                  </a:lnTo>
                  <a:lnTo>
                    <a:pt x="1729" y="301"/>
                  </a:lnTo>
                  <a:lnTo>
                    <a:pt x="1729" y="299"/>
                  </a:lnTo>
                  <a:lnTo>
                    <a:pt x="1729" y="298"/>
                  </a:lnTo>
                  <a:lnTo>
                    <a:pt x="1727" y="296"/>
                  </a:lnTo>
                  <a:lnTo>
                    <a:pt x="1721" y="295"/>
                  </a:lnTo>
                  <a:lnTo>
                    <a:pt x="1721" y="293"/>
                  </a:lnTo>
                  <a:lnTo>
                    <a:pt x="1721" y="291"/>
                  </a:lnTo>
                  <a:lnTo>
                    <a:pt x="1721" y="290"/>
                  </a:lnTo>
                  <a:lnTo>
                    <a:pt x="1723" y="288"/>
                  </a:lnTo>
                  <a:lnTo>
                    <a:pt x="1723" y="286"/>
                  </a:lnTo>
                  <a:lnTo>
                    <a:pt x="1723" y="285"/>
                  </a:lnTo>
                  <a:lnTo>
                    <a:pt x="1723" y="283"/>
                  </a:lnTo>
                  <a:lnTo>
                    <a:pt x="1721" y="283"/>
                  </a:lnTo>
                  <a:lnTo>
                    <a:pt x="1721" y="282"/>
                  </a:lnTo>
                  <a:lnTo>
                    <a:pt x="1719" y="282"/>
                  </a:lnTo>
                  <a:lnTo>
                    <a:pt x="1718" y="282"/>
                  </a:lnTo>
                  <a:lnTo>
                    <a:pt x="1716" y="282"/>
                  </a:lnTo>
                  <a:lnTo>
                    <a:pt x="1714" y="285"/>
                  </a:lnTo>
                  <a:lnTo>
                    <a:pt x="1711" y="286"/>
                  </a:lnTo>
                  <a:lnTo>
                    <a:pt x="1710" y="286"/>
                  </a:lnTo>
                  <a:lnTo>
                    <a:pt x="1708" y="288"/>
                  </a:lnTo>
                  <a:lnTo>
                    <a:pt x="1706" y="288"/>
                  </a:lnTo>
                  <a:lnTo>
                    <a:pt x="1705" y="286"/>
                  </a:lnTo>
                  <a:lnTo>
                    <a:pt x="1703" y="286"/>
                  </a:lnTo>
                  <a:lnTo>
                    <a:pt x="1701" y="286"/>
                  </a:lnTo>
                  <a:lnTo>
                    <a:pt x="1700" y="286"/>
                  </a:lnTo>
                  <a:lnTo>
                    <a:pt x="1700" y="285"/>
                  </a:lnTo>
                  <a:lnTo>
                    <a:pt x="1698" y="283"/>
                  </a:lnTo>
                  <a:lnTo>
                    <a:pt x="1697" y="283"/>
                  </a:lnTo>
                  <a:lnTo>
                    <a:pt x="1697" y="282"/>
                  </a:lnTo>
                  <a:lnTo>
                    <a:pt x="1697" y="280"/>
                  </a:lnTo>
                  <a:lnTo>
                    <a:pt x="1693" y="278"/>
                  </a:lnTo>
                  <a:lnTo>
                    <a:pt x="1692" y="278"/>
                  </a:lnTo>
                  <a:lnTo>
                    <a:pt x="1690" y="277"/>
                  </a:lnTo>
                  <a:lnTo>
                    <a:pt x="1692" y="275"/>
                  </a:lnTo>
                  <a:lnTo>
                    <a:pt x="1690" y="272"/>
                  </a:lnTo>
                  <a:lnTo>
                    <a:pt x="1690" y="270"/>
                  </a:lnTo>
                  <a:lnTo>
                    <a:pt x="1687" y="268"/>
                  </a:lnTo>
                  <a:lnTo>
                    <a:pt x="1685" y="268"/>
                  </a:lnTo>
                  <a:lnTo>
                    <a:pt x="1684" y="268"/>
                  </a:lnTo>
                  <a:lnTo>
                    <a:pt x="1682" y="268"/>
                  </a:lnTo>
                  <a:lnTo>
                    <a:pt x="1682" y="267"/>
                  </a:lnTo>
                  <a:lnTo>
                    <a:pt x="1680" y="265"/>
                  </a:lnTo>
                  <a:lnTo>
                    <a:pt x="1679" y="264"/>
                  </a:lnTo>
                  <a:lnTo>
                    <a:pt x="1677" y="262"/>
                  </a:lnTo>
                  <a:lnTo>
                    <a:pt x="1679" y="260"/>
                  </a:lnTo>
                  <a:lnTo>
                    <a:pt x="1677" y="260"/>
                  </a:lnTo>
                  <a:lnTo>
                    <a:pt x="1677" y="259"/>
                  </a:lnTo>
                  <a:lnTo>
                    <a:pt x="1675" y="257"/>
                  </a:lnTo>
                  <a:lnTo>
                    <a:pt x="1677" y="254"/>
                  </a:lnTo>
                  <a:lnTo>
                    <a:pt x="1675" y="254"/>
                  </a:lnTo>
                  <a:lnTo>
                    <a:pt x="1675" y="252"/>
                  </a:lnTo>
                  <a:lnTo>
                    <a:pt x="1675" y="251"/>
                  </a:lnTo>
                  <a:lnTo>
                    <a:pt x="1675" y="249"/>
                  </a:lnTo>
                  <a:lnTo>
                    <a:pt x="1675" y="247"/>
                  </a:lnTo>
                  <a:lnTo>
                    <a:pt x="1677" y="246"/>
                  </a:lnTo>
                  <a:lnTo>
                    <a:pt x="1679" y="244"/>
                  </a:lnTo>
                  <a:lnTo>
                    <a:pt x="1679" y="242"/>
                  </a:lnTo>
                  <a:lnTo>
                    <a:pt x="1679" y="241"/>
                  </a:lnTo>
                  <a:lnTo>
                    <a:pt x="1679" y="239"/>
                  </a:lnTo>
                  <a:lnTo>
                    <a:pt x="1679" y="238"/>
                  </a:lnTo>
                  <a:lnTo>
                    <a:pt x="1679" y="236"/>
                  </a:lnTo>
                  <a:lnTo>
                    <a:pt x="1680" y="234"/>
                  </a:lnTo>
                  <a:lnTo>
                    <a:pt x="1682" y="234"/>
                  </a:lnTo>
                  <a:lnTo>
                    <a:pt x="1684" y="234"/>
                  </a:lnTo>
                  <a:lnTo>
                    <a:pt x="1684" y="233"/>
                  </a:lnTo>
                  <a:lnTo>
                    <a:pt x="1684" y="231"/>
                  </a:lnTo>
                  <a:lnTo>
                    <a:pt x="1684" y="229"/>
                  </a:lnTo>
                  <a:lnTo>
                    <a:pt x="1685" y="228"/>
                  </a:lnTo>
                  <a:lnTo>
                    <a:pt x="1685" y="226"/>
                  </a:lnTo>
                  <a:lnTo>
                    <a:pt x="1684" y="225"/>
                  </a:lnTo>
                  <a:lnTo>
                    <a:pt x="1682" y="223"/>
                  </a:lnTo>
                  <a:lnTo>
                    <a:pt x="1680" y="223"/>
                  </a:lnTo>
                  <a:lnTo>
                    <a:pt x="1679" y="221"/>
                  </a:lnTo>
                  <a:lnTo>
                    <a:pt x="1679" y="220"/>
                  </a:lnTo>
                  <a:lnTo>
                    <a:pt x="1679" y="218"/>
                  </a:lnTo>
                  <a:lnTo>
                    <a:pt x="1675" y="213"/>
                  </a:lnTo>
                  <a:lnTo>
                    <a:pt x="1675" y="212"/>
                  </a:lnTo>
                  <a:lnTo>
                    <a:pt x="1675" y="208"/>
                  </a:lnTo>
                  <a:lnTo>
                    <a:pt x="1675" y="207"/>
                  </a:lnTo>
                  <a:lnTo>
                    <a:pt x="1674" y="205"/>
                  </a:lnTo>
                  <a:lnTo>
                    <a:pt x="1674" y="203"/>
                  </a:lnTo>
                  <a:lnTo>
                    <a:pt x="1675" y="202"/>
                  </a:lnTo>
                  <a:lnTo>
                    <a:pt x="1674" y="200"/>
                  </a:lnTo>
                  <a:lnTo>
                    <a:pt x="1674" y="199"/>
                  </a:lnTo>
                  <a:lnTo>
                    <a:pt x="1672" y="199"/>
                  </a:lnTo>
                  <a:lnTo>
                    <a:pt x="1672" y="197"/>
                  </a:lnTo>
                  <a:lnTo>
                    <a:pt x="1671" y="195"/>
                  </a:lnTo>
                  <a:lnTo>
                    <a:pt x="1669" y="195"/>
                  </a:lnTo>
                  <a:lnTo>
                    <a:pt x="1669" y="194"/>
                  </a:lnTo>
                  <a:lnTo>
                    <a:pt x="1669" y="192"/>
                  </a:lnTo>
                  <a:lnTo>
                    <a:pt x="1669" y="190"/>
                  </a:lnTo>
                  <a:lnTo>
                    <a:pt x="1667" y="190"/>
                  </a:lnTo>
                  <a:lnTo>
                    <a:pt x="1664" y="190"/>
                  </a:lnTo>
                  <a:lnTo>
                    <a:pt x="1662" y="190"/>
                  </a:lnTo>
                  <a:lnTo>
                    <a:pt x="1659" y="192"/>
                  </a:lnTo>
                  <a:lnTo>
                    <a:pt x="1658" y="192"/>
                  </a:lnTo>
                  <a:lnTo>
                    <a:pt x="1656" y="192"/>
                  </a:lnTo>
                  <a:lnTo>
                    <a:pt x="1653" y="192"/>
                  </a:lnTo>
                  <a:lnTo>
                    <a:pt x="1651" y="192"/>
                  </a:lnTo>
                  <a:lnTo>
                    <a:pt x="1649" y="190"/>
                  </a:lnTo>
                  <a:lnTo>
                    <a:pt x="1646" y="189"/>
                  </a:lnTo>
                  <a:lnTo>
                    <a:pt x="1645" y="187"/>
                  </a:lnTo>
                  <a:lnTo>
                    <a:pt x="1643" y="187"/>
                  </a:lnTo>
                  <a:lnTo>
                    <a:pt x="1643" y="189"/>
                  </a:lnTo>
                  <a:lnTo>
                    <a:pt x="1641" y="189"/>
                  </a:lnTo>
                  <a:lnTo>
                    <a:pt x="1643" y="189"/>
                  </a:lnTo>
                  <a:lnTo>
                    <a:pt x="1641" y="189"/>
                  </a:lnTo>
                  <a:lnTo>
                    <a:pt x="1638" y="189"/>
                  </a:lnTo>
                  <a:lnTo>
                    <a:pt x="1638" y="190"/>
                  </a:lnTo>
                  <a:lnTo>
                    <a:pt x="1636" y="190"/>
                  </a:lnTo>
                  <a:lnTo>
                    <a:pt x="1635" y="192"/>
                  </a:lnTo>
                  <a:lnTo>
                    <a:pt x="1633" y="192"/>
                  </a:lnTo>
                  <a:lnTo>
                    <a:pt x="1632" y="192"/>
                  </a:lnTo>
                  <a:lnTo>
                    <a:pt x="1632" y="190"/>
                  </a:lnTo>
                  <a:lnTo>
                    <a:pt x="1630" y="190"/>
                  </a:lnTo>
                  <a:lnTo>
                    <a:pt x="1628" y="190"/>
                  </a:lnTo>
                  <a:lnTo>
                    <a:pt x="1623" y="190"/>
                  </a:lnTo>
                  <a:lnTo>
                    <a:pt x="1622" y="192"/>
                  </a:lnTo>
                  <a:lnTo>
                    <a:pt x="1620" y="190"/>
                  </a:lnTo>
                  <a:lnTo>
                    <a:pt x="1620" y="192"/>
                  </a:lnTo>
                  <a:lnTo>
                    <a:pt x="1622" y="192"/>
                  </a:lnTo>
                  <a:lnTo>
                    <a:pt x="1622" y="194"/>
                  </a:lnTo>
                  <a:lnTo>
                    <a:pt x="1620" y="194"/>
                  </a:lnTo>
                  <a:lnTo>
                    <a:pt x="1618" y="194"/>
                  </a:lnTo>
                  <a:lnTo>
                    <a:pt x="1617" y="195"/>
                  </a:lnTo>
                  <a:lnTo>
                    <a:pt x="1615" y="195"/>
                  </a:lnTo>
                  <a:lnTo>
                    <a:pt x="1615" y="194"/>
                  </a:lnTo>
                  <a:lnTo>
                    <a:pt x="1617" y="194"/>
                  </a:lnTo>
                  <a:lnTo>
                    <a:pt x="1618" y="192"/>
                  </a:lnTo>
                  <a:lnTo>
                    <a:pt x="1617" y="194"/>
                  </a:lnTo>
                  <a:lnTo>
                    <a:pt x="1615" y="194"/>
                  </a:lnTo>
                  <a:lnTo>
                    <a:pt x="1614" y="197"/>
                  </a:lnTo>
                  <a:lnTo>
                    <a:pt x="1612" y="199"/>
                  </a:lnTo>
                  <a:lnTo>
                    <a:pt x="1614" y="199"/>
                  </a:lnTo>
                  <a:lnTo>
                    <a:pt x="1612" y="199"/>
                  </a:lnTo>
                  <a:lnTo>
                    <a:pt x="1612" y="200"/>
                  </a:lnTo>
                  <a:lnTo>
                    <a:pt x="1610" y="202"/>
                  </a:lnTo>
                  <a:lnTo>
                    <a:pt x="1609" y="203"/>
                  </a:lnTo>
                  <a:lnTo>
                    <a:pt x="1610" y="203"/>
                  </a:lnTo>
                  <a:lnTo>
                    <a:pt x="1610" y="202"/>
                  </a:lnTo>
                  <a:lnTo>
                    <a:pt x="1610" y="203"/>
                  </a:lnTo>
                  <a:lnTo>
                    <a:pt x="1609" y="203"/>
                  </a:lnTo>
                  <a:lnTo>
                    <a:pt x="1607" y="203"/>
                  </a:lnTo>
                  <a:lnTo>
                    <a:pt x="1609" y="203"/>
                  </a:lnTo>
                  <a:lnTo>
                    <a:pt x="1604" y="205"/>
                  </a:lnTo>
                  <a:lnTo>
                    <a:pt x="1602" y="205"/>
                  </a:lnTo>
                  <a:lnTo>
                    <a:pt x="1602" y="203"/>
                  </a:lnTo>
                  <a:lnTo>
                    <a:pt x="1601" y="203"/>
                  </a:lnTo>
                  <a:lnTo>
                    <a:pt x="1601" y="202"/>
                  </a:lnTo>
                  <a:lnTo>
                    <a:pt x="1599" y="200"/>
                  </a:lnTo>
                  <a:lnTo>
                    <a:pt x="1601" y="199"/>
                  </a:lnTo>
                  <a:lnTo>
                    <a:pt x="1602" y="197"/>
                  </a:lnTo>
                  <a:lnTo>
                    <a:pt x="1602" y="195"/>
                  </a:lnTo>
                  <a:lnTo>
                    <a:pt x="1604" y="194"/>
                  </a:lnTo>
                  <a:lnTo>
                    <a:pt x="1605" y="192"/>
                  </a:lnTo>
                  <a:lnTo>
                    <a:pt x="1607" y="192"/>
                  </a:lnTo>
                  <a:lnTo>
                    <a:pt x="1609" y="190"/>
                  </a:lnTo>
                  <a:lnTo>
                    <a:pt x="1610" y="189"/>
                  </a:lnTo>
                  <a:lnTo>
                    <a:pt x="1612" y="187"/>
                  </a:lnTo>
                  <a:lnTo>
                    <a:pt x="1614" y="187"/>
                  </a:lnTo>
                  <a:lnTo>
                    <a:pt x="1617" y="186"/>
                  </a:lnTo>
                  <a:lnTo>
                    <a:pt x="1618" y="186"/>
                  </a:lnTo>
                  <a:lnTo>
                    <a:pt x="1622" y="184"/>
                  </a:lnTo>
                  <a:lnTo>
                    <a:pt x="1622" y="182"/>
                  </a:lnTo>
                  <a:lnTo>
                    <a:pt x="1623" y="182"/>
                  </a:lnTo>
                  <a:lnTo>
                    <a:pt x="1623" y="181"/>
                  </a:lnTo>
                  <a:lnTo>
                    <a:pt x="1623" y="179"/>
                  </a:lnTo>
                  <a:lnTo>
                    <a:pt x="1623" y="181"/>
                  </a:lnTo>
                  <a:lnTo>
                    <a:pt x="1623" y="182"/>
                  </a:lnTo>
                  <a:lnTo>
                    <a:pt x="1622" y="181"/>
                  </a:lnTo>
                  <a:lnTo>
                    <a:pt x="1622" y="182"/>
                  </a:lnTo>
                  <a:lnTo>
                    <a:pt x="1622" y="181"/>
                  </a:lnTo>
                  <a:lnTo>
                    <a:pt x="1620" y="181"/>
                  </a:lnTo>
                  <a:lnTo>
                    <a:pt x="1620" y="179"/>
                  </a:lnTo>
                  <a:lnTo>
                    <a:pt x="1620" y="181"/>
                  </a:lnTo>
                  <a:lnTo>
                    <a:pt x="1620" y="179"/>
                  </a:lnTo>
                  <a:lnTo>
                    <a:pt x="1622" y="179"/>
                  </a:lnTo>
                  <a:lnTo>
                    <a:pt x="1622" y="177"/>
                  </a:lnTo>
                  <a:lnTo>
                    <a:pt x="1623" y="177"/>
                  </a:lnTo>
                  <a:lnTo>
                    <a:pt x="1623" y="174"/>
                  </a:lnTo>
                  <a:lnTo>
                    <a:pt x="1625" y="171"/>
                  </a:lnTo>
                  <a:lnTo>
                    <a:pt x="1625" y="168"/>
                  </a:lnTo>
                  <a:lnTo>
                    <a:pt x="1625" y="166"/>
                  </a:lnTo>
                  <a:lnTo>
                    <a:pt x="1623" y="166"/>
                  </a:lnTo>
                  <a:lnTo>
                    <a:pt x="1625" y="164"/>
                  </a:lnTo>
                  <a:lnTo>
                    <a:pt x="1625" y="166"/>
                  </a:lnTo>
                  <a:lnTo>
                    <a:pt x="1625" y="164"/>
                  </a:lnTo>
                  <a:lnTo>
                    <a:pt x="1627" y="163"/>
                  </a:lnTo>
                  <a:lnTo>
                    <a:pt x="1628" y="161"/>
                  </a:lnTo>
                  <a:lnTo>
                    <a:pt x="1628" y="160"/>
                  </a:lnTo>
                  <a:lnTo>
                    <a:pt x="1628" y="158"/>
                  </a:lnTo>
                  <a:lnTo>
                    <a:pt x="1632" y="155"/>
                  </a:lnTo>
                  <a:lnTo>
                    <a:pt x="1633" y="155"/>
                  </a:lnTo>
                  <a:lnTo>
                    <a:pt x="1633" y="153"/>
                  </a:lnTo>
                  <a:lnTo>
                    <a:pt x="1635" y="151"/>
                  </a:lnTo>
                  <a:lnTo>
                    <a:pt x="1636" y="151"/>
                  </a:lnTo>
                  <a:lnTo>
                    <a:pt x="1635" y="151"/>
                  </a:lnTo>
                  <a:lnTo>
                    <a:pt x="1635" y="153"/>
                  </a:lnTo>
                  <a:lnTo>
                    <a:pt x="1636" y="151"/>
                  </a:lnTo>
                  <a:lnTo>
                    <a:pt x="1638" y="150"/>
                  </a:lnTo>
                  <a:lnTo>
                    <a:pt x="1638" y="148"/>
                  </a:lnTo>
                  <a:lnTo>
                    <a:pt x="1640" y="148"/>
                  </a:lnTo>
                  <a:lnTo>
                    <a:pt x="1640" y="147"/>
                  </a:lnTo>
                  <a:lnTo>
                    <a:pt x="1638" y="148"/>
                  </a:lnTo>
                  <a:lnTo>
                    <a:pt x="1638" y="147"/>
                  </a:lnTo>
                  <a:lnTo>
                    <a:pt x="1638" y="145"/>
                  </a:lnTo>
                  <a:lnTo>
                    <a:pt x="1640" y="145"/>
                  </a:lnTo>
                  <a:lnTo>
                    <a:pt x="1641" y="143"/>
                  </a:lnTo>
                  <a:lnTo>
                    <a:pt x="1641" y="142"/>
                  </a:lnTo>
                  <a:lnTo>
                    <a:pt x="1643" y="142"/>
                  </a:lnTo>
                  <a:lnTo>
                    <a:pt x="1645" y="140"/>
                  </a:lnTo>
                  <a:lnTo>
                    <a:pt x="1646" y="140"/>
                  </a:lnTo>
                  <a:lnTo>
                    <a:pt x="1648" y="140"/>
                  </a:lnTo>
                  <a:lnTo>
                    <a:pt x="1649" y="140"/>
                  </a:lnTo>
                  <a:lnTo>
                    <a:pt x="1651" y="140"/>
                  </a:lnTo>
                  <a:lnTo>
                    <a:pt x="1653" y="140"/>
                  </a:lnTo>
                  <a:lnTo>
                    <a:pt x="1653" y="138"/>
                  </a:lnTo>
                  <a:lnTo>
                    <a:pt x="1653" y="137"/>
                  </a:lnTo>
                  <a:lnTo>
                    <a:pt x="1654" y="135"/>
                  </a:lnTo>
                  <a:lnTo>
                    <a:pt x="1654" y="134"/>
                  </a:lnTo>
                  <a:lnTo>
                    <a:pt x="1653" y="130"/>
                  </a:lnTo>
                  <a:lnTo>
                    <a:pt x="1653" y="127"/>
                  </a:lnTo>
                  <a:lnTo>
                    <a:pt x="1653" y="125"/>
                  </a:lnTo>
                  <a:lnTo>
                    <a:pt x="1654" y="127"/>
                  </a:lnTo>
                  <a:lnTo>
                    <a:pt x="1654" y="125"/>
                  </a:lnTo>
                  <a:lnTo>
                    <a:pt x="1654" y="124"/>
                  </a:lnTo>
                  <a:lnTo>
                    <a:pt x="1653" y="124"/>
                  </a:lnTo>
                  <a:lnTo>
                    <a:pt x="1653" y="122"/>
                  </a:lnTo>
                  <a:lnTo>
                    <a:pt x="1653" y="120"/>
                  </a:lnTo>
                  <a:lnTo>
                    <a:pt x="1654" y="120"/>
                  </a:lnTo>
                  <a:lnTo>
                    <a:pt x="1653" y="120"/>
                  </a:lnTo>
                  <a:lnTo>
                    <a:pt x="1654" y="120"/>
                  </a:lnTo>
                  <a:lnTo>
                    <a:pt x="1653" y="119"/>
                  </a:lnTo>
                  <a:lnTo>
                    <a:pt x="1654" y="119"/>
                  </a:lnTo>
                  <a:lnTo>
                    <a:pt x="1654" y="117"/>
                  </a:lnTo>
                  <a:lnTo>
                    <a:pt x="1656" y="117"/>
                  </a:lnTo>
                  <a:lnTo>
                    <a:pt x="1654" y="117"/>
                  </a:lnTo>
                  <a:lnTo>
                    <a:pt x="1654" y="119"/>
                  </a:lnTo>
                  <a:lnTo>
                    <a:pt x="1654" y="117"/>
                  </a:lnTo>
                  <a:lnTo>
                    <a:pt x="1654" y="119"/>
                  </a:lnTo>
                  <a:lnTo>
                    <a:pt x="1653" y="119"/>
                  </a:lnTo>
                  <a:lnTo>
                    <a:pt x="1653" y="120"/>
                  </a:lnTo>
                  <a:lnTo>
                    <a:pt x="1653" y="122"/>
                  </a:lnTo>
                  <a:lnTo>
                    <a:pt x="1653" y="124"/>
                  </a:lnTo>
                  <a:lnTo>
                    <a:pt x="1653" y="125"/>
                  </a:lnTo>
                  <a:lnTo>
                    <a:pt x="1653" y="127"/>
                  </a:lnTo>
                  <a:lnTo>
                    <a:pt x="1653" y="129"/>
                  </a:lnTo>
                  <a:lnTo>
                    <a:pt x="1653" y="130"/>
                  </a:lnTo>
                  <a:lnTo>
                    <a:pt x="1651" y="129"/>
                  </a:lnTo>
                  <a:lnTo>
                    <a:pt x="1653" y="130"/>
                  </a:lnTo>
                  <a:lnTo>
                    <a:pt x="1653" y="132"/>
                  </a:lnTo>
                  <a:lnTo>
                    <a:pt x="1651" y="127"/>
                  </a:lnTo>
                  <a:lnTo>
                    <a:pt x="1651" y="125"/>
                  </a:lnTo>
                  <a:lnTo>
                    <a:pt x="1651" y="124"/>
                  </a:lnTo>
                  <a:lnTo>
                    <a:pt x="1651" y="125"/>
                  </a:lnTo>
                  <a:lnTo>
                    <a:pt x="1651" y="127"/>
                  </a:lnTo>
                  <a:lnTo>
                    <a:pt x="1649" y="125"/>
                  </a:lnTo>
                  <a:lnTo>
                    <a:pt x="1651" y="127"/>
                  </a:lnTo>
                  <a:lnTo>
                    <a:pt x="1651" y="129"/>
                  </a:lnTo>
                  <a:lnTo>
                    <a:pt x="1649" y="127"/>
                  </a:lnTo>
                  <a:lnTo>
                    <a:pt x="1649" y="124"/>
                  </a:lnTo>
                  <a:lnTo>
                    <a:pt x="1649" y="122"/>
                  </a:lnTo>
                  <a:lnTo>
                    <a:pt x="1648" y="120"/>
                  </a:lnTo>
                  <a:lnTo>
                    <a:pt x="1648" y="119"/>
                  </a:lnTo>
                  <a:lnTo>
                    <a:pt x="1648" y="117"/>
                  </a:lnTo>
                  <a:lnTo>
                    <a:pt x="1646" y="112"/>
                  </a:lnTo>
                  <a:lnTo>
                    <a:pt x="1646" y="111"/>
                  </a:lnTo>
                  <a:lnTo>
                    <a:pt x="1646" y="109"/>
                  </a:lnTo>
                  <a:lnTo>
                    <a:pt x="1646" y="111"/>
                  </a:lnTo>
                  <a:lnTo>
                    <a:pt x="1645" y="107"/>
                  </a:lnTo>
                  <a:lnTo>
                    <a:pt x="1646" y="109"/>
                  </a:lnTo>
                  <a:lnTo>
                    <a:pt x="1646" y="111"/>
                  </a:lnTo>
                  <a:lnTo>
                    <a:pt x="1645" y="107"/>
                  </a:lnTo>
                  <a:lnTo>
                    <a:pt x="1645" y="109"/>
                  </a:lnTo>
                  <a:lnTo>
                    <a:pt x="1645" y="107"/>
                  </a:lnTo>
                  <a:lnTo>
                    <a:pt x="1643" y="106"/>
                  </a:lnTo>
                  <a:lnTo>
                    <a:pt x="1645" y="104"/>
                  </a:lnTo>
                  <a:lnTo>
                    <a:pt x="1645" y="103"/>
                  </a:lnTo>
                  <a:lnTo>
                    <a:pt x="1645" y="101"/>
                  </a:lnTo>
                  <a:lnTo>
                    <a:pt x="1645" y="99"/>
                  </a:lnTo>
                  <a:lnTo>
                    <a:pt x="1646" y="98"/>
                  </a:lnTo>
                  <a:lnTo>
                    <a:pt x="1646" y="96"/>
                  </a:lnTo>
                  <a:lnTo>
                    <a:pt x="1648" y="96"/>
                  </a:lnTo>
                  <a:lnTo>
                    <a:pt x="1649" y="94"/>
                  </a:lnTo>
                  <a:lnTo>
                    <a:pt x="1649" y="93"/>
                  </a:lnTo>
                  <a:lnTo>
                    <a:pt x="1651" y="91"/>
                  </a:lnTo>
                  <a:lnTo>
                    <a:pt x="1653" y="90"/>
                  </a:lnTo>
                  <a:lnTo>
                    <a:pt x="1653" y="88"/>
                  </a:lnTo>
                  <a:lnTo>
                    <a:pt x="1653" y="86"/>
                  </a:lnTo>
                  <a:lnTo>
                    <a:pt x="1651" y="86"/>
                  </a:lnTo>
                  <a:lnTo>
                    <a:pt x="1651" y="85"/>
                  </a:lnTo>
                  <a:lnTo>
                    <a:pt x="1651" y="83"/>
                  </a:lnTo>
                  <a:lnTo>
                    <a:pt x="1651" y="81"/>
                  </a:lnTo>
                  <a:lnTo>
                    <a:pt x="1651" y="80"/>
                  </a:lnTo>
                  <a:lnTo>
                    <a:pt x="1649" y="78"/>
                  </a:lnTo>
                  <a:lnTo>
                    <a:pt x="1649" y="75"/>
                  </a:lnTo>
                  <a:lnTo>
                    <a:pt x="1649" y="73"/>
                  </a:lnTo>
                  <a:lnTo>
                    <a:pt x="1648" y="68"/>
                  </a:lnTo>
                  <a:lnTo>
                    <a:pt x="1648" y="67"/>
                  </a:lnTo>
                  <a:lnTo>
                    <a:pt x="1648" y="65"/>
                  </a:lnTo>
                  <a:lnTo>
                    <a:pt x="1648" y="64"/>
                  </a:lnTo>
                  <a:lnTo>
                    <a:pt x="1649" y="62"/>
                  </a:lnTo>
                  <a:lnTo>
                    <a:pt x="1651" y="62"/>
                  </a:lnTo>
                  <a:lnTo>
                    <a:pt x="1651" y="60"/>
                  </a:lnTo>
                  <a:lnTo>
                    <a:pt x="1651" y="59"/>
                  </a:lnTo>
                  <a:lnTo>
                    <a:pt x="1651" y="60"/>
                  </a:lnTo>
                  <a:lnTo>
                    <a:pt x="1651" y="59"/>
                  </a:lnTo>
                  <a:lnTo>
                    <a:pt x="1649" y="59"/>
                  </a:lnTo>
                  <a:lnTo>
                    <a:pt x="1649" y="57"/>
                  </a:lnTo>
                  <a:lnTo>
                    <a:pt x="1649" y="52"/>
                  </a:lnTo>
                  <a:lnTo>
                    <a:pt x="1649" y="51"/>
                  </a:lnTo>
                  <a:lnTo>
                    <a:pt x="1648" y="49"/>
                  </a:lnTo>
                  <a:lnTo>
                    <a:pt x="1648" y="47"/>
                  </a:lnTo>
                  <a:lnTo>
                    <a:pt x="1646" y="47"/>
                  </a:lnTo>
                  <a:lnTo>
                    <a:pt x="1645" y="46"/>
                  </a:lnTo>
                  <a:lnTo>
                    <a:pt x="1643" y="46"/>
                  </a:lnTo>
                  <a:lnTo>
                    <a:pt x="1643" y="44"/>
                  </a:lnTo>
                  <a:lnTo>
                    <a:pt x="1641" y="42"/>
                  </a:lnTo>
                  <a:lnTo>
                    <a:pt x="1640" y="42"/>
                  </a:lnTo>
                  <a:lnTo>
                    <a:pt x="1640" y="41"/>
                  </a:lnTo>
                  <a:lnTo>
                    <a:pt x="1638" y="41"/>
                  </a:lnTo>
                  <a:lnTo>
                    <a:pt x="1636" y="39"/>
                  </a:lnTo>
                  <a:lnTo>
                    <a:pt x="1636" y="38"/>
                  </a:lnTo>
                  <a:lnTo>
                    <a:pt x="1636" y="36"/>
                  </a:lnTo>
                  <a:lnTo>
                    <a:pt x="1635" y="34"/>
                  </a:lnTo>
                  <a:lnTo>
                    <a:pt x="1633" y="34"/>
                  </a:lnTo>
                  <a:lnTo>
                    <a:pt x="1633" y="33"/>
                  </a:lnTo>
                  <a:lnTo>
                    <a:pt x="1633" y="31"/>
                  </a:lnTo>
                  <a:lnTo>
                    <a:pt x="1633" y="29"/>
                  </a:lnTo>
                  <a:lnTo>
                    <a:pt x="1633" y="28"/>
                  </a:lnTo>
                  <a:lnTo>
                    <a:pt x="1633" y="26"/>
                  </a:lnTo>
                  <a:lnTo>
                    <a:pt x="1633" y="25"/>
                  </a:lnTo>
                  <a:lnTo>
                    <a:pt x="1632" y="25"/>
                  </a:lnTo>
                  <a:lnTo>
                    <a:pt x="1632" y="23"/>
                  </a:lnTo>
                  <a:lnTo>
                    <a:pt x="1632" y="21"/>
                  </a:lnTo>
                  <a:lnTo>
                    <a:pt x="1633" y="21"/>
                  </a:lnTo>
                  <a:lnTo>
                    <a:pt x="1633" y="20"/>
                  </a:lnTo>
                  <a:lnTo>
                    <a:pt x="1635" y="18"/>
                  </a:lnTo>
                  <a:lnTo>
                    <a:pt x="1635" y="16"/>
                  </a:lnTo>
                  <a:lnTo>
                    <a:pt x="1732" y="16"/>
                  </a:lnTo>
                  <a:lnTo>
                    <a:pt x="1732" y="18"/>
                  </a:lnTo>
                  <a:lnTo>
                    <a:pt x="1734" y="18"/>
                  </a:lnTo>
                  <a:lnTo>
                    <a:pt x="1736" y="20"/>
                  </a:lnTo>
                  <a:lnTo>
                    <a:pt x="1737" y="20"/>
                  </a:lnTo>
                  <a:lnTo>
                    <a:pt x="1739" y="21"/>
                  </a:lnTo>
                  <a:lnTo>
                    <a:pt x="1737" y="20"/>
                  </a:lnTo>
                  <a:lnTo>
                    <a:pt x="1736" y="20"/>
                  </a:lnTo>
                  <a:lnTo>
                    <a:pt x="1736" y="18"/>
                  </a:lnTo>
                  <a:lnTo>
                    <a:pt x="1737" y="20"/>
                  </a:lnTo>
                  <a:lnTo>
                    <a:pt x="1737" y="18"/>
                  </a:lnTo>
                  <a:lnTo>
                    <a:pt x="1736" y="18"/>
                  </a:lnTo>
                  <a:lnTo>
                    <a:pt x="1737" y="20"/>
                  </a:lnTo>
                  <a:lnTo>
                    <a:pt x="1739" y="20"/>
                  </a:lnTo>
                  <a:lnTo>
                    <a:pt x="1740" y="20"/>
                  </a:lnTo>
                  <a:lnTo>
                    <a:pt x="1739" y="20"/>
                  </a:lnTo>
                  <a:lnTo>
                    <a:pt x="1740" y="20"/>
                  </a:lnTo>
                  <a:lnTo>
                    <a:pt x="1740" y="21"/>
                  </a:lnTo>
                  <a:lnTo>
                    <a:pt x="1740" y="20"/>
                  </a:lnTo>
                  <a:lnTo>
                    <a:pt x="1742" y="20"/>
                  </a:lnTo>
                  <a:lnTo>
                    <a:pt x="1744" y="18"/>
                  </a:lnTo>
                  <a:lnTo>
                    <a:pt x="1745" y="18"/>
                  </a:lnTo>
                  <a:lnTo>
                    <a:pt x="1745" y="16"/>
                  </a:lnTo>
                  <a:lnTo>
                    <a:pt x="1745" y="18"/>
                  </a:lnTo>
                  <a:lnTo>
                    <a:pt x="1745" y="20"/>
                  </a:lnTo>
                  <a:lnTo>
                    <a:pt x="1745" y="23"/>
                  </a:lnTo>
                  <a:lnTo>
                    <a:pt x="1747" y="23"/>
                  </a:lnTo>
                  <a:lnTo>
                    <a:pt x="1747" y="25"/>
                  </a:lnTo>
                  <a:lnTo>
                    <a:pt x="1749" y="25"/>
                  </a:lnTo>
                  <a:lnTo>
                    <a:pt x="1750" y="25"/>
                  </a:lnTo>
                  <a:lnTo>
                    <a:pt x="1752" y="25"/>
                  </a:lnTo>
                  <a:lnTo>
                    <a:pt x="1753" y="25"/>
                  </a:lnTo>
                  <a:lnTo>
                    <a:pt x="1752" y="25"/>
                  </a:lnTo>
                  <a:lnTo>
                    <a:pt x="1753" y="25"/>
                  </a:lnTo>
                  <a:lnTo>
                    <a:pt x="1752" y="25"/>
                  </a:lnTo>
                  <a:lnTo>
                    <a:pt x="1753" y="25"/>
                  </a:lnTo>
                  <a:lnTo>
                    <a:pt x="1753" y="23"/>
                  </a:lnTo>
                  <a:lnTo>
                    <a:pt x="1755" y="23"/>
                  </a:lnTo>
                  <a:lnTo>
                    <a:pt x="1755" y="25"/>
                  </a:lnTo>
                  <a:lnTo>
                    <a:pt x="1757" y="25"/>
                  </a:lnTo>
                  <a:lnTo>
                    <a:pt x="1755" y="26"/>
                  </a:lnTo>
                  <a:lnTo>
                    <a:pt x="1753" y="26"/>
                  </a:lnTo>
                  <a:lnTo>
                    <a:pt x="1753" y="25"/>
                  </a:lnTo>
                  <a:lnTo>
                    <a:pt x="1753" y="26"/>
                  </a:lnTo>
                  <a:lnTo>
                    <a:pt x="1755" y="26"/>
                  </a:lnTo>
                  <a:lnTo>
                    <a:pt x="1757" y="26"/>
                  </a:lnTo>
                  <a:lnTo>
                    <a:pt x="1758" y="26"/>
                  </a:lnTo>
                  <a:lnTo>
                    <a:pt x="1760" y="25"/>
                  </a:lnTo>
                  <a:lnTo>
                    <a:pt x="1762" y="26"/>
                  </a:lnTo>
                  <a:lnTo>
                    <a:pt x="1763" y="26"/>
                  </a:lnTo>
                  <a:lnTo>
                    <a:pt x="1766" y="26"/>
                  </a:lnTo>
                  <a:lnTo>
                    <a:pt x="1768" y="28"/>
                  </a:lnTo>
                  <a:lnTo>
                    <a:pt x="1771" y="29"/>
                  </a:lnTo>
                  <a:lnTo>
                    <a:pt x="1773" y="29"/>
                  </a:lnTo>
                  <a:lnTo>
                    <a:pt x="1773" y="31"/>
                  </a:lnTo>
                  <a:lnTo>
                    <a:pt x="1775" y="31"/>
                  </a:lnTo>
                  <a:lnTo>
                    <a:pt x="1775" y="33"/>
                  </a:lnTo>
                  <a:lnTo>
                    <a:pt x="1776" y="33"/>
                  </a:lnTo>
                  <a:lnTo>
                    <a:pt x="1776" y="36"/>
                  </a:lnTo>
                  <a:lnTo>
                    <a:pt x="1778" y="36"/>
                  </a:lnTo>
                  <a:lnTo>
                    <a:pt x="1776" y="36"/>
                  </a:lnTo>
                  <a:lnTo>
                    <a:pt x="1778" y="36"/>
                  </a:lnTo>
                  <a:lnTo>
                    <a:pt x="1778" y="38"/>
                  </a:lnTo>
                  <a:lnTo>
                    <a:pt x="1778" y="36"/>
                  </a:lnTo>
                  <a:lnTo>
                    <a:pt x="1780" y="38"/>
                  </a:lnTo>
                  <a:lnTo>
                    <a:pt x="1780" y="39"/>
                  </a:lnTo>
                  <a:lnTo>
                    <a:pt x="1780" y="41"/>
                  </a:lnTo>
                  <a:lnTo>
                    <a:pt x="1780" y="42"/>
                  </a:lnTo>
                  <a:lnTo>
                    <a:pt x="1781" y="42"/>
                  </a:lnTo>
                  <a:lnTo>
                    <a:pt x="1780" y="42"/>
                  </a:lnTo>
                  <a:lnTo>
                    <a:pt x="1781" y="42"/>
                  </a:lnTo>
                  <a:lnTo>
                    <a:pt x="1783" y="42"/>
                  </a:lnTo>
                  <a:lnTo>
                    <a:pt x="1783" y="44"/>
                  </a:lnTo>
                  <a:lnTo>
                    <a:pt x="1784" y="46"/>
                  </a:lnTo>
                  <a:lnTo>
                    <a:pt x="1788" y="51"/>
                  </a:lnTo>
                  <a:lnTo>
                    <a:pt x="1791" y="54"/>
                  </a:lnTo>
                  <a:lnTo>
                    <a:pt x="1793" y="55"/>
                  </a:lnTo>
                  <a:lnTo>
                    <a:pt x="1794" y="55"/>
                  </a:lnTo>
                  <a:lnTo>
                    <a:pt x="1796" y="59"/>
                  </a:lnTo>
                  <a:lnTo>
                    <a:pt x="1797" y="59"/>
                  </a:lnTo>
                  <a:lnTo>
                    <a:pt x="1797" y="60"/>
                  </a:lnTo>
                  <a:lnTo>
                    <a:pt x="1797" y="62"/>
                  </a:lnTo>
                  <a:lnTo>
                    <a:pt x="1799" y="62"/>
                  </a:lnTo>
                  <a:lnTo>
                    <a:pt x="1802" y="65"/>
                  </a:lnTo>
                  <a:lnTo>
                    <a:pt x="1802" y="67"/>
                  </a:lnTo>
                  <a:lnTo>
                    <a:pt x="1802" y="68"/>
                  </a:lnTo>
                  <a:lnTo>
                    <a:pt x="1802" y="70"/>
                  </a:lnTo>
                  <a:lnTo>
                    <a:pt x="1802" y="72"/>
                  </a:lnTo>
                  <a:lnTo>
                    <a:pt x="1802" y="73"/>
                  </a:lnTo>
                  <a:lnTo>
                    <a:pt x="1802" y="75"/>
                  </a:lnTo>
                  <a:lnTo>
                    <a:pt x="1804" y="75"/>
                  </a:lnTo>
                  <a:lnTo>
                    <a:pt x="1802" y="73"/>
                  </a:lnTo>
                  <a:lnTo>
                    <a:pt x="1802" y="72"/>
                  </a:lnTo>
                  <a:lnTo>
                    <a:pt x="1802" y="70"/>
                  </a:lnTo>
                  <a:lnTo>
                    <a:pt x="1802" y="68"/>
                  </a:lnTo>
                  <a:lnTo>
                    <a:pt x="1802" y="67"/>
                  </a:lnTo>
                  <a:lnTo>
                    <a:pt x="1804" y="67"/>
                  </a:lnTo>
                  <a:lnTo>
                    <a:pt x="1804" y="68"/>
                  </a:lnTo>
                  <a:lnTo>
                    <a:pt x="1804" y="70"/>
                  </a:lnTo>
                  <a:lnTo>
                    <a:pt x="1807" y="70"/>
                  </a:lnTo>
                  <a:lnTo>
                    <a:pt x="1809" y="72"/>
                  </a:lnTo>
                  <a:lnTo>
                    <a:pt x="1810" y="72"/>
                  </a:lnTo>
                  <a:lnTo>
                    <a:pt x="1812" y="72"/>
                  </a:lnTo>
                  <a:lnTo>
                    <a:pt x="1814" y="72"/>
                  </a:lnTo>
                  <a:lnTo>
                    <a:pt x="1815" y="72"/>
                  </a:lnTo>
                  <a:lnTo>
                    <a:pt x="1815" y="70"/>
                  </a:lnTo>
                  <a:lnTo>
                    <a:pt x="1817" y="70"/>
                  </a:lnTo>
                  <a:lnTo>
                    <a:pt x="1815" y="70"/>
                  </a:lnTo>
                  <a:lnTo>
                    <a:pt x="1815" y="68"/>
                  </a:lnTo>
                  <a:lnTo>
                    <a:pt x="1817" y="67"/>
                  </a:lnTo>
                  <a:lnTo>
                    <a:pt x="1817" y="65"/>
                  </a:lnTo>
                  <a:lnTo>
                    <a:pt x="1817" y="64"/>
                  </a:lnTo>
                  <a:lnTo>
                    <a:pt x="1817" y="65"/>
                  </a:lnTo>
                  <a:lnTo>
                    <a:pt x="1817" y="64"/>
                  </a:lnTo>
                  <a:lnTo>
                    <a:pt x="1819" y="64"/>
                  </a:lnTo>
                  <a:lnTo>
                    <a:pt x="1820" y="64"/>
                  </a:lnTo>
                  <a:lnTo>
                    <a:pt x="1822" y="64"/>
                  </a:lnTo>
                  <a:lnTo>
                    <a:pt x="1822" y="65"/>
                  </a:lnTo>
                  <a:lnTo>
                    <a:pt x="1823" y="65"/>
                  </a:lnTo>
                  <a:lnTo>
                    <a:pt x="1823" y="67"/>
                  </a:lnTo>
                  <a:lnTo>
                    <a:pt x="1825" y="70"/>
                  </a:lnTo>
                  <a:lnTo>
                    <a:pt x="1825" y="72"/>
                  </a:lnTo>
                  <a:lnTo>
                    <a:pt x="1825" y="73"/>
                  </a:lnTo>
                  <a:lnTo>
                    <a:pt x="1825" y="75"/>
                  </a:lnTo>
                  <a:lnTo>
                    <a:pt x="1828" y="75"/>
                  </a:lnTo>
                  <a:lnTo>
                    <a:pt x="1830" y="75"/>
                  </a:lnTo>
                  <a:lnTo>
                    <a:pt x="1832" y="75"/>
                  </a:lnTo>
                  <a:lnTo>
                    <a:pt x="1832" y="73"/>
                  </a:lnTo>
                  <a:lnTo>
                    <a:pt x="1832" y="75"/>
                  </a:lnTo>
                  <a:lnTo>
                    <a:pt x="1832" y="73"/>
                  </a:lnTo>
                  <a:lnTo>
                    <a:pt x="1833" y="72"/>
                  </a:lnTo>
                  <a:lnTo>
                    <a:pt x="1835" y="70"/>
                  </a:lnTo>
                  <a:lnTo>
                    <a:pt x="1835" y="68"/>
                  </a:lnTo>
                  <a:lnTo>
                    <a:pt x="1836" y="68"/>
                  </a:lnTo>
                  <a:lnTo>
                    <a:pt x="1838" y="68"/>
                  </a:lnTo>
                  <a:lnTo>
                    <a:pt x="1838" y="70"/>
                  </a:lnTo>
                  <a:lnTo>
                    <a:pt x="1840" y="70"/>
                  </a:lnTo>
                  <a:lnTo>
                    <a:pt x="1841" y="72"/>
                  </a:lnTo>
                  <a:lnTo>
                    <a:pt x="1843" y="72"/>
                  </a:lnTo>
                  <a:lnTo>
                    <a:pt x="1843" y="73"/>
                  </a:lnTo>
                  <a:lnTo>
                    <a:pt x="1846" y="73"/>
                  </a:lnTo>
                  <a:lnTo>
                    <a:pt x="1848" y="73"/>
                  </a:lnTo>
                  <a:lnTo>
                    <a:pt x="1848" y="72"/>
                  </a:lnTo>
                  <a:lnTo>
                    <a:pt x="1849" y="73"/>
                  </a:lnTo>
                  <a:lnTo>
                    <a:pt x="1849" y="72"/>
                  </a:lnTo>
                  <a:lnTo>
                    <a:pt x="1851" y="72"/>
                  </a:lnTo>
                  <a:lnTo>
                    <a:pt x="1851" y="70"/>
                  </a:lnTo>
                  <a:lnTo>
                    <a:pt x="1853" y="72"/>
                  </a:lnTo>
                  <a:lnTo>
                    <a:pt x="1854" y="72"/>
                  </a:lnTo>
                  <a:lnTo>
                    <a:pt x="1856" y="73"/>
                  </a:lnTo>
                  <a:lnTo>
                    <a:pt x="1858" y="75"/>
                  </a:lnTo>
                  <a:lnTo>
                    <a:pt x="1859" y="77"/>
                  </a:lnTo>
                  <a:lnTo>
                    <a:pt x="1861" y="77"/>
                  </a:lnTo>
                  <a:lnTo>
                    <a:pt x="1861" y="78"/>
                  </a:lnTo>
                  <a:lnTo>
                    <a:pt x="1862" y="78"/>
                  </a:lnTo>
                  <a:lnTo>
                    <a:pt x="1862" y="77"/>
                  </a:lnTo>
                  <a:lnTo>
                    <a:pt x="1866" y="78"/>
                  </a:lnTo>
                  <a:lnTo>
                    <a:pt x="1866" y="77"/>
                  </a:lnTo>
                  <a:lnTo>
                    <a:pt x="1864" y="77"/>
                  </a:lnTo>
                  <a:lnTo>
                    <a:pt x="1866" y="77"/>
                  </a:lnTo>
                  <a:lnTo>
                    <a:pt x="1867" y="77"/>
                  </a:lnTo>
                  <a:lnTo>
                    <a:pt x="1869" y="77"/>
                  </a:lnTo>
                  <a:lnTo>
                    <a:pt x="1871" y="77"/>
                  </a:lnTo>
                  <a:lnTo>
                    <a:pt x="1869" y="77"/>
                  </a:lnTo>
                  <a:lnTo>
                    <a:pt x="1871" y="75"/>
                  </a:lnTo>
                  <a:lnTo>
                    <a:pt x="1872" y="75"/>
                  </a:lnTo>
                  <a:lnTo>
                    <a:pt x="1874" y="75"/>
                  </a:lnTo>
                  <a:lnTo>
                    <a:pt x="1874" y="73"/>
                  </a:lnTo>
                  <a:lnTo>
                    <a:pt x="1875" y="73"/>
                  </a:lnTo>
                  <a:lnTo>
                    <a:pt x="1877" y="75"/>
                  </a:lnTo>
                  <a:lnTo>
                    <a:pt x="1879" y="75"/>
                  </a:lnTo>
                  <a:lnTo>
                    <a:pt x="1879" y="77"/>
                  </a:lnTo>
                  <a:lnTo>
                    <a:pt x="1880" y="77"/>
                  </a:lnTo>
                  <a:lnTo>
                    <a:pt x="1880" y="78"/>
                  </a:lnTo>
                  <a:lnTo>
                    <a:pt x="1880" y="77"/>
                  </a:lnTo>
                  <a:lnTo>
                    <a:pt x="1882" y="78"/>
                  </a:lnTo>
                  <a:lnTo>
                    <a:pt x="1882" y="80"/>
                  </a:lnTo>
                  <a:lnTo>
                    <a:pt x="1884" y="81"/>
                  </a:lnTo>
                  <a:lnTo>
                    <a:pt x="1885" y="83"/>
                  </a:lnTo>
                  <a:lnTo>
                    <a:pt x="1887" y="85"/>
                  </a:lnTo>
                  <a:lnTo>
                    <a:pt x="1887" y="86"/>
                  </a:lnTo>
                  <a:lnTo>
                    <a:pt x="1888" y="86"/>
                  </a:lnTo>
                  <a:lnTo>
                    <a:pt x="1890" y="88"/>
                  </a:lnTo>
                  <a:lnTo>
                    <a:pt x="1890" y="91"/>
                  </a:lnTo>
                  <a:lnTo>
                    <a:pt x="1892" y="93"/>
                  </a:lnTo>
                  <a:lnTo>
                    <a:pt x="1893" y="94"/>
                  </a:lnTo>
                  <a:lnTo>
                    <a:pt x="1893" y="96"/>
                  </a:lnTo>
                  <a:lnTo>
                    <a:pt x="1893" y="98"/>
                  </a:lnTo>
                  <a:lnTo>
                    <a:pt x="1893" y="99"/>
                  </a:lnTo>
                  <a:lnTo>
                    <a:pt x="1895" y="101"/>
                  </a:lnTo>
                  <a:lnTo>
                    <a:pt x="1895" y="103"/>
                  </a:lnTo>
                  <a:lnTo>
                    <a:pt x="1897" y="104"/>
                  </a:lnTo>
                  <a:lnTo>
                    <a:pt x="1898" y="106"/>
                  </a:lnTo>
                  <a:lnTo>
                    <a:pt x="1900" y="106"/>
                  </a:lnTo>
                  <a:lnTo>
                    <a:pt x="1901" y="107"/>
                  </a:lnTo>
                  <a:lnTo>
                    <a:pt x="1903" y="107"/>
                  </a:lnTo>
                  <a:lnTo>
                    <a:pt x="1905" y="109"/>
                  </a:lnTo>
                  <a:lnTo>
                    <a:pt x="1905" y="111"/>
                  </a:lnTo>
                  <a:lnTo>
                    <a:pt x="1906" y="111"/>
                  </a:lnTo>
                  <a:lnTo>
                    <a:pt x="1905" y="112"/>
                  </a:lnTo>
                  <a:lnTo>
                    <a:pt x="1905" y="114"/>
                  </a:lnTo>
                  <a:lnTo>
                    <a:pt x="1903" y="114"/>
                  </a:lnTo>
                  <a:lnTo>
                    <a:pt x="1901" y="114"/>
                  </a:lnTo>
                  <a:lnTo>
                    <a:pt x="1900" y="114"/>
                  </a:lnTo>
                  <a:lnTo>
                    <a:pt x="1900" y="116"/>
                  </a:lnTo>
                  <a:lnTo>
                    <a:pt x="1900" y="117"/>
                  </a:lnTo>
                  <a:lnTo>
                    <a:pt x="1901" y="119"/>
                  </a:lnTo>
                  <a:lnTo>
                    <a:pt x="1903" y="119"/>
                  </a:lnTo>
                  <a:lnTo>
                    <a:pt x="1903" y="120"/>
                  </a:lnTo>
                  <a:lnTo>
                    <a:pt x="1905" y="120"/>
                  </a:lnTo>
                  <a:lnTo>
                    <a:pt x="1910" y="120"/>
                  </a:lnTo>
                  <a:lnTo>
                    <a:pt x="1911" y="120"/>
                  </a:lnTo>
                  <a:lnTo>
                    <a:pt x="1913" y="122"/>
                  </a:lnTo>
                  <a:lnTo>
                    <a:pt x="1913" y="124"/>
                  </a:lnTo>
                  <a:lnTo>
                    <a:pt x="1911" y="125"/>
                  </a:lnTo>
                  <a:lnTo>
                    <a:pt x="1910" y="125"/>
                  </a:lnTo>
                  <a:lnTo>
                    <a:pt x="1910" y="127"/>
                  </a:lnTo>
                  <a:lnTo>
                    <a:pt x="1910" y="129"/>
                  </a:lnTo>
                  <a:lnTo>
                    <a:pt x="1911" y="130"/>
                  </a:lnTo>
                  <a:lnTo>
                    <a:pt x="1913" y="132"/>
                  </a:lnTo>
                  <a:lnTo>
                    <a:pt x="1913" y="130"/>
                  </a:lnTo>
                  <a:lnTo>
                    <a:pt x="1914" y="132"/>
                  </a:lnTo>
                  <a:lnTo>
                    <a:pt x="1916" y="132"/>
                  </a:lnTo>
                  <a:lnTo>
                    <a:pt x="1918" y="132"/>
                  </a:lnTo>
                  <a:lnTo>
                    <a:pt x="1918" y="134"/>
                  </a:lnTo>
                  <a:lnTo>
                    <a:pt x="1919" y="134"/>
                  </a:lnTo>
                  <a:lnTo>
                    <a:pt x="1919" y="135"/>
                  </a:lnTo>
                  <a:lnTo>
                    <a:pt x="1918" y="135"/>
                  </a:lnTo>
                  <a:lnTo>
                    <a:pt x="1914" y="135"/>
                  </a:lnTo>
                  <a:lnTo>
                    <a:pt x="1913" y="135"/>
                  </a:lnTo>
                  <a:lnTo>
                    <a:pt x="1913" y="137"/>
                  </a:lnTo>
                  <a:lnTo>
                    <a:pt x="1913" y="138"/>
                  </a:lnTo>
                  <a:lnTo>
                    <a:pt x="1913" y="140"/>
                  </a:lnTo>
                  <a:lnTo>
                    <a:pt x="1914" y="140"/>
                  </a:lnTo>
                  <a:lnTo>
                    <a:pt x="1916" y="140"/>
                  </a:lnTo>
                  <a:lnTo>
                    <a:pt x="1918" y="140"/>
                  </a:lnTo>
                  <a:lnTo>
                    <a:pt x="1918" y="142"/>
                  </a:lnTo>
                  <a:lnTo>
                    <a:pt x="1919" y="142"/>
                  </a:lnTo>
                  <a:lnTo>
                    <a:pt x="1919" y="143"/>
                  </a:lnTo>
                  <a:lnTo>
                    <a:pt x="1918" y="143"/>
                  </a:lnTo>
                  <a:lnTo>
                    <a:pt x="1918" y="145"/>
                  </a:lnTo>
                  <a:lnTo>
                    <a:pt x="1916" y="145"/>
                  </a:lnTo>
                  <a:lnTo>
                    <a:pt x="1918" y="148"/>
                  </a:lnTo>
                  <a:lnTo>
                    <a:pt x="1918" y="150"/>
                  </a:lnTo>
                  <a:lnTo>
                    <a:pt x="1918" y="151"/>
                  </a:lnTo>
                  <a:lnTo>
                    <a:pt x="1918" y="153"/>
                  </a:lnTo>
                  <a:lnTo>
                    <a:pt x="1918" y="155"/>
                  </a:lnTo>
                  <a:lnTo>
                    <a:pt x="1918" y="156"/>
                  </a:lnTo>
                  <a:lnTo>
                    <a:pt x="1916" y="158"/>
                  </a:lnTo>
                  <a:lnTo>
                    <a:pt x="1918" y="158"/>
                  </a:lnTo>
                  <a:lnTo>
                    <a:pt x="1918" y="160"/>
                  </a:lnTo>
                  <a:lnTo>
                    <a:pt x="1919" y="160"/>
                  </a:lnTo>
                  <a:lnTo>
                    <a:pt x="1921" y="160"/>
                  </a:lnTo>
                  <a:lnTo>
                    <a:pt x="1923" y="160"/>
                  </a:lnTo>
                  <a:lnTo>
                    <a:pt x="1926" y="156"/>
                  </a:lnTo>
                  <a:lnTo>
                    <a:pt x="1926" y="155"/>
                  </a:lnTo>
                  <a:lnTo>
                    <a:pt x="1928" y="155"/>
                  </a:lnTo>
                  <a:lnTo>
                    <a:pt x="1929" y="155"/>
                  </a:lnTo>
                  <a:lnTo>
                    <a:pt x="1931" y="155"/>
                  </a:lnTo>
                  <a:lnTo>
                    <a:pt x="1932" y="156"/>
                  </a:lnTo>
                  <a:lnTo>
                    <a:pt x="1932" y="158"/>
                  </a:lnTo>
                  <a:lnTo>
                    <a:pt x="1931" y="160"/>
                  </a:lnTo>
                  <a:lnTo>
                    <a:pt x="1929" y="161"/>
                  </a:lnTo>
                  <a:lnTo>
                    <a:pt x="1928" y="161"/>
                  </a:lnTo>
                  <a:lnTo>
                    <a:pt x="1926" y="163"/>
                  </a:lnTo>
                  <a:lnTo>
                    <a:pt x="1928" y="164"/>
                  </a:lnTo>
                  <a:lnTo>
                    <a:pt x="1929" y="166"/>
                  </a:lnTo>
                  <a:lnTo>
                    <a:pt x="1931" y="164"/>
                  </a:lnTo>
                  <a:lnTo>
                    <a:pt x="1934" y="163"/>
                  </a:lnTo>
                  <a:lnTo>
                    <a:pt x="1936" y="163"/>
                  </a:lnTo>
                  <a:lnTo>
                    <a:pt x="1939" y="163"/>
                  </a:lnTo>
                  <a:lnTo>
                    <a:pt x="1939" y="164"/>
                  </a:lnTo>
                  <a:lnTo>
                    <a:pt x="1941" y="164"/>
                  </a:lnTo>
                  <a:lnTo>
                    <a:pt x="1941" y="166"/>
                  </a:lnTo>
                  <a:lnTo>
                    <a:pt x="1942" y="166"/>
                  </a:lnTo>
                  <a:lnTo>
                    <a:pt x="1942" y="168"/>
                  </a:lnTo>
                  <a:lnTo>
                    <a:pt x="1942" y="169"/>
                  </a:lnTo>
                  <a:lnTo>
                    <a:pt x="1941" y="171"/>
                  </a:lnTo>
                  <a:lnTo>
                    <a:pt x="1941" y="173"/>
                  </a:lnTo>
                  <a:lnTo>
                    <a:pt x="1941" y="174"/>
                  </a:lnTo>
                  <a:lnTo>
                    <a:pt x="1939" y="176"/>
                  </a:lnTo>
                  <a:lnTo>
                    <a:pt x="1939" y="177"/>
                  </a:lnTo>
                  <a:lnTo>
                    <a:pt x="1939" y="179"/>
                  </a:lnTo>
                  <a:lnTo>
                    <a:pt x="1939" y="181"/>
                  </a:lnTo>
                  <a:lnTo>
                    <a:pt x="1941" y="182"/>
                  </a:lnTo>
                  <a:lnTo>
                    <a:pt x="1944" y="182"/>
                  </a:lnTo>
                  <a:lnTo>
                    <a:pt x="1944" y="184"/>
                  </a:lnTo>
                  <a:lnTo>
                    <a:pt x="1947" y="184"/>
                  </a:lnTo>
                  <a:lnTo>
                    <a:pt x="1949" y="186"/>
                  </a:lnTo>
                  <a:lnTo>
                    <a:pt x="1950" y="187"/>
                  </a:lnTo>
                  <a:lnTo>
                    <a:pt x="1950" y="189"/>
                  </a:lnTo>
                  <a:lnTo>
                    <a:pt x="1949" y="190"/>
                  </a:lnTo>
                  <a:lnTo>
                    <a:pt x="1947" y="190"/>
                  </a:lnTo>
                  <a:lnTo>
                    <a:pt x="1944" y="194"/>
                  </a:lnTo>
                  <a:lnTo>
                    <a:pt x="1941" y="194"/>
                  </a:lnTo>
                  <a:lnTo>
                    <a:pt x="1941" y="195"/>
                  </a:lnTo>
                  <a:lnTo>
                    <a:pt x="1941" y="197"/>
                  </a:lnTo>
                  <a:lnTo>
                    <a:pt x="1941" y="199"/>
                  </a:lnTo>
                  <a:lnTo>
                    <a:pt x="1941" y="200"/>
                  </a:lnTo>
                  <a:lnTo>
                    <a:pt x="1942" y="200"/>
                  </a:lnTo>
                  <a:lnTo>
                    <a:pt x="1942" y="203"/>
                  </a:lnTo>
                  <a:lnTo>
                    <a:pt x="1942" y="202"/>
                  </a:lnTo>
                  <a:lnTo>
                    <a:pt x="1942" y="203"/>
                  </a:lnTo>
                  <a:lnTo>
                    <a:pt x="1942" y="205"/>
                  </a:lnTo>
                  <a:lnTo>
                    <a:pt x="1941" y="207"/>
                  </a:lnTo>
                  <a:lnTo>
                    <a:pt x="1941" y="205"/>
                  </a:lnTo>
                  <a:lnTo>
                    <a:pt x="1941" y="207"/>
                  </a:lnTo>
                  <a:lnTo>
                    <a:pt x="1937" y="208"/>
                  </a:lnTo>
                  <a:lnTo>
                    <a:pt x="1936" y="210"/>
                  </a:lnTo>
                  <a:lnTo>
                    <a:pt x="1937" y="210"/>
                  </a:lnTo>
                  <a:lnTo>
                    <a:pt x="1934" y="212"/>
                  </a:lnTo>
                  <a:lnTo>
                    <a:pt x="1934" y="210"/>
                  </a:lnTo>
                  <a:lnTo>
                    <a:pt x="1931" y="210"/>
                  </a:lnTo>
                  <a:lnTo>
                    <a:pt x="1929" y="210"/>
                  </a:lnTo>
                  <a:lnTo>
                    <a:pt x="1928" y="210"/>
                  </a:lnTo>
                  <a:lnTo>
                    <a:pt x="1926" y="212"/>
                  </a:lnTo>
                  <a:lnTo>
                    <a:pt x="1926" y="213"/>
                  </a:lnTo>
                  <a:lnTo>
                    <a:pt x="1924" y="213"/>
                  </a:lnTo>
                  <a:lnTo>
                    <a:pt x="1923" y="213"/>
                  </a:lnTo>
                  <a:lnTo>
                    <a:pt x="1923" y="215"/>
                  </a:lnTo>
                  <a:lnTo>
                    <a:pt x="1921" y="215"/>
                  </a:lnTo>
                  <a:lnTo>
                    <a:pt x="1921" y="216"/>
                  </a:lnTo>
                  <a:lnTo>
                    <a:pt x="1923" y="216"/>
                  </a:lnTo>
                  <a:lnTo>
                    <a:pt x="1923" y="218"/>
                  </a:lnTo>
                  <a:lnTo>
                    <a:pt x="1921" y="216"/>
                  </a:lnTo>
                  <a:lnTo>
                    <a:pt x="1923" y="215"/>
                  </a:lnTo>
                  <a:lnTo>
                    <a:pt x="1923" y="213"/>
                  </a:lnTo>
                  <a:lnTo>
                    <a:pt x="1924" y="213"/>
                  </a:lnTo>
                  <a:lnTo>
                    <a:pt x="1926" y="213"/>
                  </a:lnTo>
                  <a:lnTo>
                    <a:pt x="1926" y="215"/>
                  </a:lnTo>
                  <a:lnTo>
                    <a:pt x="1923" y="215"/>
                  </a:lnTo>
                  <a:lnTo>
                    <a:pt x="1923" y="216"/>
                  </a:lnTo>
                  <a:lnTo>
                    <a:pt x="1923" y="218"/>
                  </a:lnTo>
                  <a:lnTo>
                    <a:pt x="1923" y="220"/>
                  </a:lnTo>
                  <a:lnTo>
                    <a:pt x="1921" y="223"/>
                  </a:lnTo>
                  <a:lnTo>
                    <a:pt x="1921" y="225"/>
                  </a:lnTo>
                  <a:lnTo>
                    <a:pt x="1921" y="226"/>
                  </a:lnTo>
                  <a:lnTo>
                    <a:pt x="1921" y="228"/>
                  </a:lnTo>
                  <a:lnTo>
                    <a:pt x="1919" y="229"/>
                  </a:lnTo>
                  <a:lnTo>
                    <a:pt x="1919" y="231"/>
                  </a:lnTo>
                  <a:lnTo>
                    <a:pt x="1921" y="231"/>
                  </a:lnTo>
                  <a:lnTo>
                    <a:pt x="1921" y="233"/>
                  </a:lnTo>
                  <a:lnTo>
                    <a:pt x="1923" y="234"/>
                  </a:lnTo>
                  <a:lnTo>
                    <a:pt x="1924" y="236"/>
                  </a:lnTo>
                  <a:lnTo>
                    <a:pt x="1926" y="238"/>
                  </a:lnTo>
                  <a:lnTo>
                    <a:pt x="1926" y="239"/>
                  </a:lnTo>
                  <a:lnTo>
                    <a:pt x="1928" y="239"/>
                  </a:lnTo>
                  <a:lnTo>
                    <a:pt x="1926" y="239"/>
                  </a:lnTo>
                  <a:lnTo>
                    <a:pt x="1928" y="241"/>
                  </a:lnTo>
                  <a:lnTo>
                    <a:pt x="1928" y="242"/>
                  </a:lnTo>
                  <a:lnTo>
                    <a:pt x="1929" y="242"/>
                  </a:lnTo>
                  <a:lnTo>
                    <a:pt x="1929" y="244"/>
                  </a:lnTo>
                  <a:lnTo>
                    <a:pt x="1929" y="246"/>
                  </a:lnTo>
                  <a:lnTo>
                    <a:pt x="1931" y="246"/>
                  </a:lnTo>
                  <a:lnTo>
                    <a:pt x="1931" y="247"/>
                  </a:lnTo>
                  <a:lnTo>
                    <a:pt x="1932" y="247"/>
                  </a:lnTo>
                  <a:lnTo>
                    <a:pt x="1932" y="249"/>
                  </a:lnTo>
                  <a:lnTo>
                    <a:pt x="1934" y="252"/>
                  </a:lnTo>
                  <a:lnTo>
                    <a:pt x="1934" y="255"/>
                  </a:lnTo>
                  <a:lnTo>
                    <a:pt x="1934" y="257"/>
                  </a:lnTo>
                  <a:lnTo>
                    <a:pt x="1934" y="259"/>
                  </a:lnTo>
                  <a:lnTo>
                    <a:pt x="1934" y="260"/>
                  </a:lnTo>
                  <a:lnTo>
                    <a:pt x="1936" y="260"/>
                  </a:lnTo>
                  <a:lnTo>
                    <a:pt x="1936" y="262"/>
                  </a:lnTo>
                  <a:lnTo>
                    <a:pt x="1936" y="264"/>
                  </a:lnTo>
                  <a:lnTo>
                    <a:pt x="1936" y="265"/>
                  </a:lnTo>
                  <a:lnTo>
                    <a:pt x="1936" y="267"/>
                  </a:lnTo>
                  <a:lnTo>
                    <a:pt x="1934" y="267"/>
                  </a:lnTo>
                  <a:lnTo>
                    <a:pt x="1934" y="268"/>
                  </a:lnTo>
                  <a:lnTo>
                    <a:pt x="1932" y="270"/>
                  </a:lnTo>
                  <a:lnTo>
                    <a:pt x="1932" y="272"/>
                  </a:lnTo>
                  <a:lnTo>
                    <a:pt x="1932" y="273"/>
                  </a:lnTo>
                  <a:lnTo>
                    <a:pt x="1932" y="275"/>
                  </a:lnTo>
                  <a:lnTo>
                    <a:pt x="1934" y="275"/>
                  </a:lnTo>
                  <a:lnTo>
                    <a:pt x="1934" y="277"/>
                  </a:lnTo>
                  <a:lnTo>
                    <a:pt x="1934" y="275"/>
                  </a:lnTo>
                  <a:lnTo>
                    <a:pt x="1934" y="277"/>
                  </a:lnTo>
                  <a:lnTo>
                    <a:pt x="1936" y="277"/>
                  </a:lnTo>
                  <a:lnTo>
                    <a:pt x="1936" y="278"/>
                  </a:lnTo>
                  <a:lnTo>
                    <a:pt x="1939" y="278"/>
                  </a:lnTo>
                  <a:lnTo>
                    <a:pt x="1941" y="278"/>
                  </a:lnTo>
                  <a:lnTo>
                    <a:pt x="1944" y="277"/>
                  </a:lnTo>
                  <a:lnTo>
                    <a:pt x="1947" y="277"/>
                  </a:lnTo>
                  <a:lnTo>
                    <a:pt x="1949" y="277"/>
                  </a:lnTo>
                  <a:lnTo>
                    <a:pt x="1950" y="278"/>
                  </a:lnTo>
                  <a:lnTo>
                    <a:pt x="1952" y="280"/>
                  </a:lnTo>
                  <a:lnTo>
                    <a:pt x="1952" y="282"/>
                  </a:lnTo>
                  <a:lnTo>
                    <a:pt x="1950" y="283"/>
                  </a:lnTo>
                  <a:lnTo>
                    <a:pt x="1949" y="283"/>
                  </a:lnTo>
                  <a:lnTo>
                    <a:pt x="1947" y="283"/>
                  </a:lnTo>
                  <a:lnTo>
                    <a:pt x="1944" y="283"/>
                  </a:lnTo>
                  <a:lnTo>
                    <a:pt x="1942" y="283"/>
                  </a:lnTo>
                  <a:lnTo>
                    <a:pt x="1942" y="285"/>
                  </a:lnTo>
                  <a:lnTo>
                    <a:pt x="1942" y="286"/>
                  </a:lnTo>
                  <a:lnTo>
                    <a:pt x="1944" y="288"/>
                  </a:lnTo>
                  <a:lnTo>
                    <a:pt x="1945" y="290"/>
                  </a:lnTo>
                  <a:lnTo>
                    <a:pt x="1947" y="290"/>
                  </a:lnTo>
                  <a:lnTo>
                    <a:pt x="1949" y="291"/>
                  </a:lnTo>
                  <a:lnTo>
                    <a:pt x="1950" y="291"/>
                  </a:lnTo>
                  <a:lnTo>
                    <a:pt x="1952" y="291"/>
                  </a:lnTo>
                  <a:lnTo>
                    <a:pt x="1954" y="293"/>
                  </a:lnTo>
                  <a:lnTo>
                    <a:pt x="1955" y="293"/>
                  </a:lnTo>
                  <a:lnTo>
                    <a:pt x="1955" y="295"/>
                  </a:lnTo>
                  <a:lnTo>
                    <a:pt x="1957" y="295"/>
                  </a:lnTo>
                  <a:lnTo>
                    <a:pt x="1957" y="296"/>
                  </a:lnTo>
                  <a:lnTo>
                    <a:pt x="1958" y="299"/>
                  </a:lnTo>
                  <a:lnTo>
                    <a:pt x="1957" y="299"/>
                  </a:lnTo>
                  <a:lnTo>
                    <a:pt x="1955" y="299"/>
                  </a:lnTo>
                  <a:lnTo>
                    <a:pt x="1955" y="301"/>
                  </a:lnTo>
                  <a:lnTo>
                    <a:pt x="1955" y="299"/>
                  </a:lnTo>
                  <a:lnTo>
                    <a:pt x="1954" y="299"/>
                  </a:lnTo>
                  <a:lnTo>
                    <a:pt x="1952" y="299"/>
                  </a:lnTo>
                  <a:lnTo>
                    <a:pt x="1950" y="299"/>
                  </a:lnTo>
                  <a:lnTo>
                    <a:pt x="1949" y="299"/>
                  </a:lnTo>
                  <a:lnTo>
                    <a:pt x="1949" y="301"/>
                  </a:lnTo>
                  <a:lnTo>
                    <a:pt x="1950" y="304"/>
                  </a:lnTo>
                  <a:lnTo>
                    <a:pt x="1952" y="306"/>
                  </a:lnTo>
                  <a:lnTo>
                    <a:pt x="1954" y="309"/>
                  </a:lnTo>
                  <a:lnTo>
                    <a:pt x="1955" y="309"/>
                  </a:lnTo>
                  <a:lnTo>
                    <a:pt x="1955" y="311"/>
                  </a:lnTo>
                  <a:lnTo>
                    <a:pt x="1954" y="312"/>
                  </a:lnTo>
                  <a:lnTo>
                    <a:pt x="1952" y="312"/>
                  </a:lnTo>
                  <a:lnTo>
                    <a:pt x="1950" y="312"/>
                  </a:lnTo>
                  <a:lnTo>
                    <a:pt x="1949" y="314"/>
                  </a:lnTo>
                  <a:lnTo>
                    <a:pt x="1949" y="316"/>
                  </a:lnTo>
                  <a:lnTo>
                    <a:pt x="1949" y="317"/>
                  </a:lnTo>
                  <a:lnTo>
                    <a:pt x="1949" y="319"/>
                  </a:lnTo>
                  <a:lnTo>
                    <a:pt x="1950" y="321"/>
                  </a:lnTo>
                  <a:lnTo>
                    <a:pt x="1952" y="324"/>
                  </a:lnTo>
                  <a:lnTo>
                    <a:pt x="1952" y="325"/>
                  </a:lnTo>
                  <a:lnTo>
                    <a:pt x="1952" y="327"/>
                  </a:lnTo>
                  <a:lnTo>
                    <a:pt x="1950" y="327"/>
                  </a:lnTo>
                  <a:lnTo>
                    <a:pt x="1950" y="329"/>
                  </a:lnTo>
                  <a:lnTo>
                    <a:pt x="1949" y="329"/>
                  </a:lnTo>
                  <a:lnTo>
                    <a:pt x="1947" y="329"/>
                  </a:lnTo>
                  <a:lnTo>
                    <a:pt x="1945" y="327"/>
                  </a:lnTo>
                  <a:lnTo>
                    <a:pt x="1945" y="329"/>
                  </a:lnTo>
                  <a:lnTo>
                    <a:pt x="1944" y="327"/>
                  </a:lnTo>
                  <a:lnTo>
                    <a:pt x="1944" y="329"/>
                  </a:lnTo>
                  <a:lnTo>
                    <a:pt x="1944" y="327"/>
                  </a:lnTo>
                  <a:lnTo>
                    <a:pt x="1942" y="327"/>
                  </a:lnTo>
                  <a:lnTo>
                    <a:pt x="1941" y="327"/>
                  </a:lnTo>
                  <a:lnTo>
                    <a:pt x="1941" y="329"/>
                  </a:lnTo>
                  <a:lnTo>
                    <a:pt x="1939" y="329"/>
                  </a:lnTo>
                  <a:lnTo>
                    <a:pt x="1939" y="330"/>
                  </a:lnTo>
                  <a:lnTo>
                    <a:pt x="1937" y="332"/>
                  </a:lnTo>
                  <a:lnTo>
                    <a:pt x="1937" y="334"/>
                  </a:lnTo>
                  <a:lnTo>
                    <a:pt x="1937" y="335"/>
                  </a:lnTo>
                  <a:lnTo>
                    <a:pt x="1939" y="335"/>
                  </a:lnTo>
                  <a:lnTo>
                    <a:pt x="1939" y="337"/>
                  </a:lnTo>
                  <a:lnTo>
                    <a:pt x="1941" y="337"/>
                  </a:lnTo>
                  <a:lnTo>
                    <a:pt x="1941" y="338"/>
                  </a:lnTo>
                  <a:lnTo>
                    <a:pt x="1944" y="338"/>
                  </a:lnTo>
                  <a:lnTo>
                    <a:pt x="1947" y="338"/>
                  </a:lnTo>
                  <a:lnTo>
                    <a:pt x="1949" y="338"/>
                  </a:lnTo>
                  <a:lnTo>
                    <a:pt x="1950" y="338"/>
                  </a:lnTo>
                  <a:lnTo>
                    <a:pt x="1952" y="340"/>
                  </a:lnTo>
                  <a:lnTo>
                    <a:pt x="1952" y="342"/>
                  </a:lnTo>
                  <a:lnTo>
                    <a:pt x="1952" y="345"/>
                  </a:lnTo>
                  <a:lnTo>
                    <a:pt x="1954" y="345"/>
                  </a:lnTo>
                  <a:lnTo>
                    <a:pt x="1954" y="347"/>
                  </a:lnTo>
                  <a:lnTo>
                    <a:pt x="1955" y="347"/>
                  </a:lnTo>
                  <a:lnTo>
                    <a:pt x="1957" y="345"/>
                  </a:lnTo>
                  <a:lnTo>
                    <a:pt x="1957" y="343"/>
                  </a:lnTo>
                  <a:lnTo>
                    <a:pt x="1958" y="343"/>
                  </a:lnTo>
                  <a:lnTo>
                    <a:pt x="1962" y="343"/>
                  </a:lnTo>
                  <a:lnTo>
                    <a:pt x="1963" y="343"/>
                  </a:lnTo>
                  <a:lnTo>
                    <a:pt x="1965" y="343"/>
                  </a:lnTo>
                  <a:lnTo>
                    <a:pt x="1965" y="345"/>
                  </a:lnTo>
                  <a:lnTo>
                    <a:pt x="1963" y="345"/>
                  </a:lnTo>
                  <a:lnTo>
                    <a:pt x="1965" y="345"/>
                  </a:lnTo>
                  <a:lnTo>
                    <a:pt x="1967" y="345"/>
                  </a:lnTo>
                  <a:lnTo>
                    <a:pt x="1968" y="347"/>
                  </a:lnTo>
                  <a:lnTo>
                    <a:pt x="1968" y="348"/>
                  </a:lnTo>
                  <a:lnTo>
                    <a:pt x="1970" y="348"/>
                  </a:lnTo>
                  <a:lnTo>
                    <a:pt x="1971" y="350"/>
                  </a:lnTo>
                  <a:lnTo>
                    <a:pt x="1973" y="350"/>
                  </a:lnTo>
                  <a:lnTo>
                    <a:pt x="1973" y="351"/>
                  </a:lnTo>
                  <a:lnTo>
                    <a:pt x="1975" y="353"/>
                  </a:lnTo>
                  <a:lnTo>
                    <a:pt x="1976" y="353"/>
                  </a:lnTo>
                  <a:lnTo>
                    <a:pt x="1978" y="353"/>
                  </a:lnTo>
                  <a:lnTo>
                    <a:pt x="1976" y="353"/>
                  </a:lnTo>
                  <a:lnTo>
                    <a:pt x="1978" y="353"/>
                  </a:lnTo>
                  <a:lnTo>
                    <a:pt x="1981" y="353"/>
                  </a:lnTo>
                  <a:lnTo>
                    <a:pt x="1983" y="355"/>
                  </a:lnTo>
                  <a:lnTo>
                    <a:pt x="1986" y="356"/>
                  </a:lnTo>
                  <a:lnTo>
                    <a:pt x="1986" y="358"/>
                  </a:lnTo>
                  <a:lnTo>
                    <a:pt x="1988" y="358"/>
                  </a:lnTo>
                  <a:lnTo>
                    <a:pt x="1989" y="360"/>
                  </a:lnTo>
                  <a:lnTo>
                    <a:pt x="1991" y="360"/>
                  </a:lnTo>
                  <a:lnTo>
                    <a:pt x="1993" y="360"/>
                  </a:lnTo>
                  <a:lnTo>
                    <a:pt x="1993" y="361"/>
                  </a:lnTo>
                  <a:lnTo>
                    <a:pt x="1994" y="363"/>
                  </a:lnTo>
                  <a:lnTo>
                    <a:pt x="1994" y="366"/>
                  </a:lnTo>
                  <a:lnTo>
                    <a:pt x="1996" y="371"/>
                  </a:lnTo>
                  <a:lnTo>
                    <a:pt x="1997" y="373"/>
                  </a:lnTo>
                  <a:lnTo>
                    <a:pt x="1999" y="374"/>
                  </a:lnTo>
                  <a:lnTo>
                    <a:pt x="1999" y="376"/>
                  </a:lnTo>
                  <a:lnTo>
                    <a:pt x="2001" y="376"/>
                  </a:lnTo>
                  <a:lnTo>
                    <a:pt x="2001" y="377"/>
                  </a:lnTo>
                  <a:lnTo>
                    <a:pt x="2001" y="376"/>
                  </a:lnTo>
                  <a:lnTo>
                    <a:pt x="2002" y="376"/>
                  </a:lnTo>
                  <a:lnTo>
                    <a:pt x="2006" y="376"/>
                  </a:lnTo>
                  <a:lnTo>
                    <a:pt x="2007" y="374"/>
                  </a:lnTo>
                  <a:lnTo>
                    <a:pt x="2009" y="374"/>
                  </a:lnTo>
                  <a:lnTo>
                    <a:pt x="2009" y="373"/>
                  </a:lnTo>
                  <a:lnTo>
                    <a:pt x="2010" y="371"/>
                  </a:lnTo>
                  <a:lnTo>
                    <a:pt x="2010" y="369"/>
                  </a:lnTo>
                  <a:lnTo>
                    <a:pt x="2012" y="369"/>
                  </a:lnTo>
                  <a:lnTo>
                    <a:pt x="2012" y="371"/>
                  </a:lnTo>
                  <a:lnTo>
                    <a:pt x="2014" y="371"/>
                  </a:lnTo>
                  <a:lnTo>
                    <a:pt x="2015" y="371"/>
                  </a:lnTo>
                  <a:lnTo>
                    <a:pt x="2017" y="371"/>
                  </a:lnTo>
                  <a:lnTo>
                    <a:pt x="2019" y="371"/>
                  </a:lnTo>
                  <a:lnTo>
                    <a:pt x="2020" y="371"/>
                  </a:lnTo>
                  <a:lnTo>
                    <a:pt x="2022" y="373"/>
                  </a:lnTo>
                  <a:lnTo>
                    <a:pt x="2023" y="373"/>
                  </a:lnTo>
                  <a:lnTo>
                    <a:pt x="2025" y="373"/>
                  </a:lnTo>
                  <a:lnTo>
                    <a:pt x="2027" y="371"/>
                  </a:lnTo>
                  <a:lnTo>
                    <a:pt x="2028" y="371"/>
                  </a:lnTo>
                  <a:lnTo>
                    <a:pt x="2033" y="369"/>
                  </a:lnTo>
                  <a:lnTo>
                    <a:pt x="2035" y="369"/>
                  </a:lnTo>
                  <a:lnTo>
                    <a:pt x="2036" y="369"/>
                  </a:lnTo>
                  <a:lnTo>
                    <a:pt x="2038" y="369"/>
                  </a:lnTo>
                  <a:lnTo>
                    <a:pt x="2038" y="371"/>
                  </a:lnTo>
                  <a:lnTo>
                    <a:pt x="2040" y="373"/>
                  </a:lnTo>
                  <a:lnTo>
                    <a:pt x="2041" y="373"/>
                  </a:lnTo>
                  <a:lnTo>
                    <a:pt x="2041" y="374"/>
                  </a:lnTo>
                  <a:lnTo>
                    <a:pt x="2041" y="376"/>
                  </a:lnTo>
                  <a:lnTo>
                    <a:pt x="2043" y="376"/>
                  </a:lnTo>
                  <a:lnTo>
                    <a:pt x="2043" y="377"/>
                  </a:lnTo>
                  <a:lnTo>
                    <a:pt x="2045" y="377"/>
                  </a:lnTo>
                  <a:lnTo>
                    <a:pt x="2045" y="376"/>
                  </a:lnTo>
                  <a:lnTo>
                    <a:pt x="2043" y="376"/>
                  </a:lnTo>
                  <a:lnTo>
                    <a:pt x="2041" y="376"/>
                  </a:lnTo>
                  <a:lnTo>
                    <a:pt x="2041" y="374"/>
                  </a:lnTo>
                  <a:lnTo>
                    <a:pt x="2041" y="373"/>
                  </a:lnTo>
                  <a:lnTo>
                    <a:pt x="2040" y="371"/>
                  </a:lnTo>
                  <a:lnTo>
                    <a:pt x="2038" y="371"/>
                  </a:lnTo>
                  <a:lnTo>
                    <a:pt x="2038" y="369"/>
                  </a:lnTo>
                  <a:lnTo>
                    <a:pt x="2036" y="369"/>
                  </a:lnTo>
                  <a:lnTo>
                    <a:pt x="2035" y="369"/>
                  </a:lnTo>
                  <a:lnTo>
                    <a:pt x="2033" y="369"/>
                  </a:lnTo>
                  <a:lnTo>
                    <a:pt x="2032" y="369"/>
                  </a:lnTo>
                  <a:lnTo>
                    <a:pt x="2030" y="371"/>
                  </a:lnTo>
                  <a:lnTo>
                    <a:pt x="2028" y="371"/>
                  </a:lnTo>
                  <a:lnTo>
                    <a:pt x="2027" y="371"/>
                  </a:lnTo>
                  <a:lnTo>
                    <a:pt x="2023" y="371"/>
                  </a:lnTo>
                  <a:lnTo>
                    <a:pt x="2022" y="371"/>
                  </a:lnTo>
                  <a:lnTo>
                    <a:pt x="2020" y="371"/>
                  </a:lnTo>
                  <a:lnTo>
                    <a:pt x="2019" y="371"/>
                  </a:lnTo>
                  <a:lnTo>
                    <a:pt x="2017" y="371"/>
                  </a:lnTo>
                  <a:lnTo>
                    <a:pt x="2015" y="371"/>
                  </a:lnTo>
                  <a:lnTo>
                    <a:pt x="2014" y="371"/>
                  </a:lnTo>
                  <a:lnTo>
                    <a:pt x="2012" y="371"/>
                  </a:lnTo>
                  <a:lnTo>
                    <a:pt x="2012" y="369"/>
                  </a:lnTo>
                  <a:lnTo>
                    <a:pt x="2010" y="369"/>
                  </a:lnTo>
                  <a:lnTo>
                    <a:pt x="2009" y="371"/>
                  </a:lnTo>
                  <a:lnTo>
                    <a:pt x="2009" y="373"/>
                  </a:lnTo>
                  <a:lnTo>
                    <a:pt x="2009" y="374"/>
                  </a:lnTo>
                  <a:lnTo>
                    <a:pt x="2007" y="374"/>
                  </a:lnTo>
                  <a:lnTo>
                    <a:pt x="2006" y="374"/>
                  </a:lnTo>
                  <a:lnTo>
                    <a:pt x="2004" y="376"/>
                  </a:lnTo>
                  <a:lnTo>
                    <a:pt x="2002" y="376"/>
                  </a:lnTo>
                  <a:lnTo>
                    <a:pt x="2001" y="376"/>
                  </a:lnTo>
                  <a:lnTo>
                    <a:pt x="2001" y="374"/>
                  </a:lnTo>
                  <a:lnTo>
                    <a:pt x="1999" y="374"/>
                  </a:lnTo>
                  <a:lnTo>
                    <a:pt x="1999" y="373"/>
                  </a:lnTo>
                  <a:lnTo>
                    <a:pt x="1997" y="373"/>
                  </a:lnTo>
                  <a:lnTo>
                    <a:pt x="1997" y="371"/>
                  </a:lnTo>
                  <a:lnTo>
                    <a:pt x="1996" y="371"/>
                  </a:lnTo>
                  <a:lnTo>
                    <a:pt x="1996" y="369"/>
                  </a:lnTo>
                  <a:lnTo>
                    <a:pt x="1996" y="368"/>
                  </a:lnTo>
                  <a:lnTo>
                    <a:pt x="1996" y="366"/>
                  </a:lnTo>
                  <a:lnTo>
                    <a:pt x="1994" y="366"/>
                  </a:lnTo>
                  <a:lnTo>
                    <a:pt x="1994" y="363"/>
                  </a:lnTo>
                  <a:lnTo>
                    <a:pt x="1993" y="361"/>
                  </a:lnTo>
                  <a:lnTo>
                    <a:pt x="1994" y="361"/>
                  </a:lnTo>
                  <a:lnTo>
                    <a:pt x="1993" y="361"/>
                  </a:lnTo>
                  <a:lnTo>
                    <a:pt x="1993" y="360"/>
                  </a:lnTo>
                  <a:lnTo>
                    <a:pt x="1989" y="358"/>
                  </a:lnTo>
                  <a:lnTo>
                    <a:pt x="1986" y="356"/>
                  </a:lnTo>
                  <a:lnTo>
                    <a:pt x="1984" y="355"/>
                  </a:lnTo>
                  <a:lnTo>
                    <a:pt x="1986" y="355"/>
                  </a:lnTo>
                  <a:lnTo>
                    <a:pt x="1984" y="355"/>
                  </a:lnTo>
                  <a:lnTo>
                    <a:pt x="1983" y="355"/>
                  </a:lnTo>
                  <a:lnTo>
                    <a:pt x="1983" y="353"/>
                  </a:lnTo>
                  <a:lnTo>
                    <a:pt x="1981" y="353"/>
                  </a:lnTo>
                  <a:lnTo>
                    <a:pt x="1980" y="353"/>
                  </a:lnTo>
                  <a:lnTo>
                    <a:pt x="1978" y="353"/>
                  </a:lnTo>
                  <a:lnTo>
                    <a:pt x="1976" y="351"/>
                  </a:lnTo>
                  <a:lnTo>
                    <a:pt x="1975" y="351"/>
                  </a:lnTo>
                  <a:lnTo>
                    <a:pt x="1973" y="350"/>
                  </a:lnTo>
                  <a:lnTo>
                    <a:pt x="1971" y="350"/>
                  </a:lnTo>
                  <a:lnTo>
                    <a:pt x="1971" y="348"/>
                  </a:lnTo>
                  <a:lnTo>
                    <a:pt x="1970" y="347"/>
                  </a:lnTo>
                  <a:lnTo>
                    <a:pt x="1968" y="347"/>
                  </a:lnTo>
                  <a:lnTo>
                    <a:pt x="1968" y="345"/>
                  </a:lnTo>
                  <a:lnTo>
                    <a:pt x="1967" y="345"/>
                  </a:lnTo>
                  <a:lnTo>
                    <a:pt x="1967" y="343"/>
                  </a:lnTo>
                  <a:lnTo>
                    <a:pt x="1963" y="343"/>
                  </a:lnTo>
                  <a:lnTo>
                    <a:pt x="1962" y="343"/>
                  </a:lnTo>
                  <a:lnTo>
                    <a:pt x="1960" y="343"/>
                  </a:lnTo>
                  <a:lnTo>
                    <a:pt x="1958" y="343"/>
                  </a:lnTo>
                  <a:lnTo>
                    <a:pt x="1960" y="343"/>
                  </a:lnTo>
                  <a:lnTo>
                    <a:pt x="1962" y="343"/>
                  </a:lnTo>
                  <a:lnTo>
                    <a:pt x="1960" y="343"/>
                  </a:lnTo>
                  <a:lnTo>
                    <a:pt x="1960" y="342"/>
                  </a:lnTo>
                  <a:lnTo>
                    <a:pt x="1960" y="343"/>
                  </a:lnTo>
                  <a:lnTo>
                    <a:pt x="1960" y="342"/>
                  </a:lnTo>
                  <a:lnTo>
                    <a:pt x="1958" y="343"/>
                  </a:lnTo>
                  <a:lnTo>
                    <a:pt x="1957" y="343"/>
                  </a:lnTo>
                  <a:lnTo>
                    <a:pt x="1957" y="345"/>
                  </a:lnTo>
                  <a:lnTo>
                    <a:pt x="1955" y="345"/>
                  </a:lnTo>
                  <a:lnTo>
                    <a:pt x="1954" y="345"/>
                  </a:lnTo>
                  <a:lnTo>
                    <a:pt x="1954" y="343"/>
                  </a:lnTo>
                  <a:lnTo>
                    <a:pt x="1954" y="342"/>
                  </a:lnTo>
                  <a:lnTo>
                    <a:pt x="1952" y="340"/>
                  </a:lnTo>
                  <a:lnTo>
                    <a:pt x="1950" y="338"/>
                  </a:lnTo>
                  <a:lnTo>
                    <a:pt x="1949" y="337"/>
                  </a:lnTo>
                  <a:lnTo>
                    <a:pt x="1947" y="338"/>
                  </a:lnTo>
                  <a:lnTo>
                    <a:pt x="1947" y="337"/>
                  </a:lnTo>
                  <a:lnTo>
                    <a:pt x="1944" y="337"/>
                  </a:lnTo>
                  <a:lnTo>
                    <a:pt x="1942" y="337"/>
                  </a:lnTo>
                  <a:lnTo>
                    <a:pt x="1941" y="337"/>
                  </a:lnTo>
                  <a:lnTo>
                    <a:pt x="1941" y="335"/>
                  </a:lnTo>
                  <a:lnTo>
                    <a:pt x="1939" y="335"/>
                  </a:lnTo>
                  <a:lnTo>
                    <a:pt x="1939" y="334"/>
                  </a:lnTo>
                  <a:lnTo>
                    <a:pt x="1939" y="332"/>
                  </a:lnTo>
                  <a:lnTo>
                    <a:pt x="1939" y="330"/>
                  </a:lnTo>
                  <a:lnTo>
                    <a:pt x="1941" y="329"/>
                  </a:lnTo>
                  <a:lnTo>
                    <a:pt x="1942" y="329"/>
                  </a:lnTo>
                  <a:lnTo>
                    <a:pt x="1944" y="329"/>
                  </a:lnTo>
                  <a:lnTo>
                    <a:pt x="1947" y="329"/>
                  </a:lnTo>
                  <a:lnTo>
                    <a:pt x="1949" y="329"/>
                  </a:lnTo>
                  <a:lnTo>
                    <a:pt x="1950" y="329"/>
                  </a:lnTo>
                  <a:lnTo>
                    <a:pt x="1952" y="327"/>
                  </a:lnTo>
                  <a:lnTo>
                    <a:pt x="1952" y="325"/>
                  </a:lnTo>
                  <a:lnTo>
                    <a:pt x="1952" y="324"/>
                  </a:lnTo>
                  <a:lnTo>
                    <a:pt x="1952" y="322"/>
                  </a:lnTo>
                  <a:lnTo>
                    <a:pt x="1950" y="322"/>
                  </a:lnTo>
                  <a:lnTo>
                    <a:pt x="1950" y="319"/>
                  </a:lnTo>
                  <a:lnTo>
                    <a:pt x="1949" y="319"/>
                  </a:lnTo>
                  <a:lnTo>
                    <a:pt x="1949" y="317"/>
                  </a:lnTo>
                  <a:lnTo>
                    <a:pt x="1949" y="316"/>
                  </a:lnTo>
                  <a:lnTo>
                    <a:pt x="1949" y="314"/>
                  </a:lnTo>
                  <a:lnTo>
                    <a:pt x="1950" y="314"/>
                  </a:lnTo>
                  <a:lnTo>
                    <a:pt x="1952" y="314"/>
                  </a:lnTo>
                  <a:lnTo>
                    <a:pt x="1954" y="312"/>
                  </a:lnTo>
                  <a:lnTo>
                    <a:pt x="1955" y="312"/>
                  </a:lnTo>
                  <a:lnTo>
                    <a:pt x="1955" y="311"/>
                  </a:lnTo>
                  <a:lnTo>
                    <a:pt x="1955" y="309"/>
                  </a:lnTo>
                  <a:lnTo>
                    <a:pt x="1954" y="308"/>
                  </a:lnTo>
                  <a:lnTo>
                    <a:pt x="1950" y="304"/>
                  </a:lnTo>
                  <a:lnTo>
                    <a:pt x="1950" y="303"/>
                  </a:lnTo>
                  <a:lnTo>
                    <a:pt x="1950" y="301"/>
                  </a:lnTo>
                  <a:lnTo>
                    <a:pt x="1950" y="299"/>
                  </a:lnTo>
                  <a:lnTo>
                    <a:pt x="1952" y="299"/>
                  </a:lnTo>
                  <a:lnTo>
                    <a:pt x="1955" y="301"/>
                  </a:lnTo>
                  <a:lnTo>
                    <a:pt x="1957" y="301"/>
                  </a:lnTo>
                  <a:lnTo>
                    <a:pt x="1958" y="299"/>
                  </a:lnTo>
                  <a:lnTo>
                    <a:pt x="1958" y="296"/>
                  </a:lnTo>
                  <a:lnTo>
                    <a:pt x="1957" y="295"/>
                  </a:lnTo>
                  <a:lnTo>
                    <a:pt x="1954" y="291"/>
                  </a:lnTo>
                  <a:lnTo>
                    <a:pt x="1952" y="290"/>
                  </a:lnTo>
                  <a:lnTo>
                    <a:pt x="1950" y="290"/>
                  </a:lnTo>
                  <a:lnTo>
                    <a:pt x="1949" y="290"/>
                  </a:lnTo>
                  <a:lnTo>
                    <a:pt x="1947" y="290"/>
                  </a:lnTo>
                  <a:lnTo>
                    <a:pt x="1945" y="290"/>
                  </a:lnTo>
                  <a:lnTo>
                    <a:pt x="1944" y="288"/>
                  </a:lnTo>
                  <a:lnTo>
                    <a:pt x="1944" y="286"/>
                  </a:lnTo>
                  <a:lnTo>
                    <a:pt x="1944" y="285"/>
                  </a:lnTo>
                  <a:lnTo>
                    <a:pt x="1944" y="283"/>
                  </a:lnTo>
                  <a:lnTo>
                    <a:pt x="1945" y="283"/>
                  </a:lnTo>
                  <a:lnTo>
                    <a:pt x="1947" y="283"/>
                  </a:lnTo>
                  <a:lnTo>
                    <a:pt x="1949" y="283"/>
                  </a:lnTo>
                  <a:lnTo>
                    <a:pt x="1950" y="283"/>
                  </a:lnTo>
                  <a:lnTo>
                    <a:pt x="1952" y="283"/>
                  </a:lnTo>
                  <a:lnTo>
                    <a:pt x="1954" y="283"/>
                  </a:lnTo>
                  <a:lnTo>
                    <a:pt x="1954" y="282"/>
                  </a:lnTo>
                  <a:lnTo>
                    <a:pt x="1954" y="280"/>
                  </a:lnTo>
                  <a:lnTo>
                    <a:pt x="1952" y="280"/>
                  </a:lnTo>
                  <a:lnTo>
                    <a:pt x="1950" y="277"/>
                  </a:lnTo>
                  <a:lnTo>
                    <a:pt x="1949" y="277"/>
                  </a:lnTo>
                  <a:lnTo>
                    <a:pt x="1947" y="277"/>
                  </a:lnTo>
                  <a:lnTo>
                    <a:pt x="1945" y="277"/>
                  </a:lnTo>
                  <a:lnTo>
                    <a:pt x="1944" y="277"/>
                  </a:lnTo>
                  <a:lnTo>
                    <a:pt x="1939" y="277"/>
                  </a:lnTo>
                  <a:lnTo>
                    <a:pt x="1937" y="278"/>
                  </a:lnTo>
                  <a:lnTo>
                    <a:pt x="1936" y="277"/>
                  </a:lnTo>
                  <a:lnTo>
                    <a:pt x="1934" y="275"/>
                  </a:lnTo>
                  <a:lnTo>
                    <a:pt x="1934" y="273"/>
                  </a:lnTo>
                  <a:lnTo>
                    <a:pt x="1934" y="270"/>
                  </a:lnTo>
                  <a:lnTo>
                    <a:pt x="1934" y="268"/>
                  </a:lnTo>
                  <a:lnTo>
                    <a:pt x="1936" y="267"/>
                  </a:lnTo>
                  <a:lnTo>
                    <a:pt x="1937" y="265"/>
                  </a:lnTo>
                  <a:lnTo>
                    <a:pt x="1937" y="264"/>
                  </a:lnTo>
                  <a:lnTo>
                    <a:pt x="1936" y="262"/>
                  </a:lnTo>
                  <a:lnTo>
                    <a:pt x="1936" y="260"/>
                  </a:lnTo>
                  <a:lnTo>
                    <a:pt x="1937" y="260"/>
                  </a:lnTo>
                  <a:lnTo>
                    <a:pt x="1936" y="259"/>
                  </a:lnTo>
                  <a:lnTo>
                    <a:pt x="1936" y="257"/>
                  </a:lnTo>
                  <a:lnTo>
                    <a:pt x="1936" y="255"/>
                  </a:lnTo>
                  <a:lnTo>
                    <a:pt x="1936" y="257"/>
                  </a:lnTo>
                  <a:lnTo>
                    <a:pt x="1936" y="254"/>
                  </a:lnTo>
                  <a:lnTo>
                    <a:pt x="1934" y="252"/>
                  </a:lnTo>
                  <a:lnTo>
                    <a:pt x="1934" y="251"/>
                  </a:lnTo>
                  <a:lnTo>
                    <a:pt x="1934" y="249"/>
                  </a:lnTo>
                  <a:lnTo>
                    <a:pt x="1932" y="249"/>
                  </a:lnTo>
                  <a:lnTo>
                    <a:pt x="1932" y="247"/>
                  </a:lnTo>
                  <a:lnTo>
                    <a:pt x="1931" y="246"/>
                  </a:lnTo>
                  <a:lnTo>
                    <a:pt x="1929" y="242"/>
                  </a:lnTo>
                  <a:lnTo>
                    <a:pt x="1926" y="238"/>
                  </a:lnTo>
                  <a:lnTo>
                    <a:pt x="1924" y="234"/>
                  </a:lnTo>
                  <a:lnTo>
                    <a:pt x="1923" y="234"/>
                  </a:lnTo>
                  <a:lnTo>
                    <a:pt x="1921" y="231"/>
                  </a:lnTo>
                  <a:lnTo>
                    <a:pt x="1921" y="229"/>
                  </a:lnTo>
                  <a:lnTo>
                    <a:pt x="1921" y="228"/>
                  </a:lnTo>
                  <a:lnTo>
                    <a:pt x="1921" y="226"/>
                  </a:lnTo>
                  <a:lnTo>
                    <a:pt x="1921" y="228"/>
                  </a:lnTo>
                  <a:lnTo>
                    <a:pt x="1923" y="226"/>
                  </a:lnTo>
                  <a:lnTo>
                    <a:pt x="1923" y="228"/>
                  </a:lnTo>
                  <a:lnTo>
                    <a:pt x="1923" y="226"/>
                  </a:lnTo>
                  <a:lnTo>
                    <a:pt x="1921" y="226"/>
                  </a:lnTo>
                  <a:lnTo>
                    <a:pt x="1921" y="225"/>
                  </a:lnTo>
                  <a:lnTo>
                    <a:pt x="1923" y="225"/>
                  </a:lnTo>
                  <a:lnTo>
                    <a:pt x="1923" y="223"/>
                  </a:lnTo>
                  <a:lnTo>
                    <a:pt x="1921" y="223"/>
                  </a:lnTo>
                  <a:lnTo>
                    <a:pt x="1923" y="221"/>
                  </a:lnTo>
                  <a:lnTo>
                    <a:pt x="1923" y="220"/>
                  </a:lnTo>
                  <a:lnTo>
                    <a:pt x="1923" y="218"/>
                  </a:lnTo>
                  <a:lnTo>
                    <a:pt x="1923" y="216"/>
                  </a:lnTo>
                  <a:lnTo>
                    <a:pt x="1924" y="215"/>
                  </a:lnTo>
                  <a:lnTo>
                    <a:pt x="1926" y="215"/>
                  </a:lnTo>
                  <a:lnTo>
                    <a:pt x="1926" y="213"/>
                  </a:lnTo>
                  <a:lnTo>
                    <a:pt x="1928" y="213"/>
                  </a:lnTo>
                  <a:lnTo>
                    <a:pt x="1928" y="212"/>
                  </a:lnTo>
                  <a:lnTo>
                    <a:pt x="1928" y="210"/>
                  </a:lnTo>
                  <a:lnTo>
                    <a:pt x="1929" y="210"/>
                  </a:lnTo>
                  <a:lnTo>
                    <a:pt x="1931" y="210"/>
                  </a:lnTo>
                  <a:lnTo>
                    <a:pt x="1932" y="210"/>
                  </a:lnTo>
                  <a:lnTo>
                    <a:pt x="1932" y="212"/>
                  </a:lnTo>
                  <a:lnTo>
                    <a:pt x="1934" y="212"/>
                  </a:lnTo>
                  <a:lnTo>
                    <a:pt x="1936" y="212"/>
                  </a:lnTo>
                  <a:lnTo>
                    <a:pt x="1937" y="210"/>
                  </a:lnTo>
                  <a:lnTo>
                    <a:pt x="1939" y="208"/>
                  </a:lnTo>
                  <a:lnTo>
                    <a:pt x="1941" y="207"/>
                  </a:lnTo>
                  <a:lnTo>
                    <a:pt x="1942" y="207"/>
                  </a:lnTo>
                  <a:lnTo>
                    <a:pt x="1942" y="205"/>
                  </a:lnTo>
                  <a:lnTo>
                    <a:pt x="1942" y="207"/>
                  </a:lnTo>
                  <a:lnTo>
                    <a:pt x="1942" y="205"/>
                  </a:lnTo>
                  <a:lnTo>
                    <a:pt x="1942" y="203"/>
                  </a:lnTo>
                  <a:lnTo>
                    <a:pt x="1942" y="202"/>
                  </a:lnTo>
                  <a:lnTo>
                    <a:pt x="1942" y="200"/>
                  </a:lnTo>
                  <a:lnTo>
                    <a:pt x="1941" y="197"/>
                  </a:lnTo>
                  <a:lnTo>
                    <a:pt x="1941" y="195"/>
                  </a:lnTo>
                  <a:lnTo>
                    <a:pt x="1942" y="194"/>
                  </a:lnTo>
                  <a:lnTo>
                    <a:pt x="1944" y="194"/>
                  </a:lnTo>
                  <a:lnTo>
                    <a:pt x="1945" y="192"/>
                  </a:lnTo>
                  <a:lnTo>
                    <a:pt x="1947" y="192"/>
                  </a:lnTo>
                  <a:lnTo>
                    <a:pt x="1949" y="190"/>
                  </a:lnTo>
                  <a:lnTo>
                    <a:pt x="1950" y="189"/>
                  </a:lnTo>
                  <a:lnTo>
                    <a:pt x="1950" y="187"/>
                  </a:lnTo>
                  <a:lnTo>
                    <a:pt x="1949" y="186"/>
                  </a:lnTo>
                  <a:lnTo>
                    <a:pt x="1949" y="184"/>
                  </a:lnTo>
                  <a:lnTo>
                    <a:pt x="1947" y="184"/>
                  </a:lnTo>
                  <a:lnTo>
                    <a:pt x="1945" y="182"/>
                  </a:lnTo>
                  <a:lnTo>
                    <a:pt x="1944" y="182"/>
                  </a:lnTo>
                  <a:lnTo>
                    <a:pt x="1942" y="182"/>
                  </a:lnTo>
                  <a:lnTo>
                    <a:pt x="1941" y="182"/>
                  </a:lnTo>
                  <a:lnTo>
                    <a:pt x="1941" y="181"/>
                  </a:lnTo>
                  <a:lnTo>
                    <a:pt x="1939" y="179"/>
                  </a:lnTo>
                  <a:lnTo>
                    <a:pt x="1939" y="177"/>
                  </a:lnTo>
                  <a:lnTo>
                    <a:pt x="1939" y="176"/>
                  </a:lnTo>
                  <a:lnTo>
                    <a:pt x="1941" y="174"/>
                  </a:lnTo>
                  <a:lnTo>
                    <a:pt x="1941" y="173"/>
                  </a:lnTo>
                  <a:lnTo>
                    <a:pt x="1942" y="171"/>
                  </a:lnTo>
                  <a:lnTo>
                    <a:pt x="1942" y="169"/>
                  </a:lnTo>
                  <a:lnTo>
                    <a:pt x="1942" y="168"/>
                  </a:lnTo>
                  <a:lnTo>
                    <a:pt x="1942" y="166"/>
                  </a:lnTo>
                  <a:lnTo>
                    <a:pt x="1941" y="164"/>
                  </a:lnTo>
                  <a:lnTo>
                    <a:pt x="1939" y="163"/>
                  </a:lnTo>
                  <a:lnTo>
                    <a:pt x="1937" y="163"/>
                  </a:lnTo>
                  <a:lnTo>
                    <a:pt x="1936" y="163"/>
                  </a:lnTo>
                  <a:lnTo>
                    <a:pt x="1934" y="163"/>
                  </a:lnTo>
                  <a:lnTo>
                    <a:pt x="1931" y="164"/>
                  </a:lnTo>
                  <a:lnTo>
                    <a:pt x="1929" y="164"/>
                  </a:lnTo>
                  <a:lnTo>
                    <a:pt x="1928" y="164"/>
                  </a:lnTo>
                  <a:lnTo>
                    <a:pt x="1928" y="163"/>
                  </a:lnTo>
                  <a:lnTo>
                    <a:pt x="1928" y="161"/>
                  </a:lnTo>
                  <a:lnTo>
                    <a:pt x="1929" y="161"/>
                  </a:lnTo>
                  <a:lnTo>
                    <a:pt x="1931" y="161"/>
                  </a:lnTo>
                  <a:lnTo>
                    <a:pt x="1932" y="160"/>
                  </a:lnTo>
                  <a:lnTo>
                    <a:pt x="1932" y="158"/>
                  </a:lnTo>
                  <a:lnTo>
                    <a:pt x="1932" y="156"/>
                  </a:lnTo>
                  <a:lnTo>
                    <a:pt x="1932" y="155"/>
                  </a:lnTo>
                  <a:lnTo>
                    <a:pt x="1931" y="155"/>
                  </a:lnTo>
                  <a:lnTo>
                    <a:pt x="1929" y="155"/>
                  </a:lnTo>
                  <a:lnTo>
                    <a:pt x="1928" y="155"/>
                  </a:lnTo>
                  <a:lnTo>
                    <a:pt x="1924" y="155"/>
                  </a:lnTo>
                  <a:lnTo>
                    <a:pt x="1923" y="156"/>
                  </a:lnTo>
                  <a:lnTo>
                    <a:pt x="1923" y="158"/>
                  </a:lnTo>
                  <a:lnTo>
                    <a:pt x="1921" y="158"/>
                  </a:lnTo>
                  <a:lnTo>
                    <a:pt x="1921" y="160"/>
                  </a:lnTo>
                  <a:lnTo>
                    <a:pt x="1919" y="160"/>
                  </a:lnTo>
                  <a:lnTo>
                    <a:pt x="1918" y="158"/>
                  </a:lnTo>
                  <a:lnTo>
                    <a:pt x="1918" y="156"/>
                  </a:lnTo>
                  <a:lnTo>
                    <a:pt x="1918" y="155"/>
                  </a:lnTo>
                  <a:lnTo>
                    <a:pt x="1919" y="153"/>
                  </a:lnTo>
                  <a:lnTo>
                    <a:pt x="1919" y="151"/>
                  </a:lnTo>
                  <a:lnTo>
                    <a:pt x="1918" y="150"/>
                  </a:lnTo>
                  <a:lnTo>
                    <a:pt x="1918" y="148"/>
                  </a:lnTo>
                  <a:lnTo>
                    <a:pt x="1918" y="147"/>
                  </a:lnTo>
                  <a:lnTo>
                    <a:pt x="1918" y="145"/>
                  </a:lnTo>
                  <a:lnTo>
                    <a:pt x="1919" y="143"/>
                  </a:lnTo>
                  <a:lnTo>
                    <a:pt x="1919" y="142"/>
                  </a:lnTo>
                  <a:lnTo>
                    <a:pt x="1918" y="142"/>
                  </a:lnTo>
                  <a:lnTo>
                    <a:pt x="1918" y="140"/>
                  </a:lnTo>
                  <a:lnTo>
                    <a:pt x="1916" y="140"/>
                  </a:lnTo>
                  <a:lnTo>
                    <a:pt x="1914" y="140"/>
                  </a:lnTo>
                  <a:lnTo>
                    <a:pt x="1914" y="138"/>
                  </a:lnTo>
                  <a:lnTo>
                    <a:pt x="1913" y="138"/>
                  </a:lnTo>
                  <a:lnTo>
                    <a:pt x="1913" y="137"/>
                  </a:lnTo>
                  <a:lnTo>
                    <a:pt x="1914" y="135"/>
                  </a:lnTo>
                  <a:lnTo>
                    <a:pt x="1916" y="137"/>
                  </a:lnTo>
                  <a:lnTo>
                    <a:pt x="1918" y="137"/>
                  </a:lnTo>
                  <a:lnTo>
                    <a:pt x="1919" y="135"/>
                  </a:lnTo>
                  <a:lnTo>
                    <a:pt x="1919" y="134"/>
                  </a:lnTo>
                  <a:lnTo>
                    <a:pt x="1918" y="132"/>
                  </a:lnTo>
                  <a:lnTo>
                    <a:pt x="1914" y="130"/>
                  </a:lnTo>
                  <a:lnTo>
                    <a:pt x="1913" y="130"/>
                  </a:lnTo>
                  <a:lnTo>
                    <a:pt x="1911" y="130"/>
                  </a:lnTo>
                  <a:lnTo>
                    <a:pt x="1911" y="129"/>
                  </a:lnTo>
                  <a:lnTo>
                    <a:pt x="1911" y="127"/>
                  </a:lnTo>
                  <a:lnTo>
                    <a:pt x="1911" y="125"/>
                  </a:lnTo>
                  <a:lnTo>
                    <a:pt x="1913" y="124"/>
                  </a:lnTo>
                  <a:lnTo>
                    <a:pt x="1913" y="122"/>
                  </a:lnTo>
                  <a:lnTo>
                    <a:pt x="1913" y="120"/>
                  </a:lnTo>
                  <a:lnTo>
                    <a:pt x="1911" y="119"/>
                  </a:lnTo>
                  <a:lnTo>
                    <a:pt x="1910" y="119"/>
                  </a:lnTo>
                  <a:lnTo>
                    <a:pt x="1905" y="119"/>
                  </a:lnTo>
                  <a:lnTo>
                    <a:pt x="1903" y="119"/>
                  </a:lnTo>
                  <a:lnTo>
                    <a:pt x="1901" y="117"/>
                  </a:lnTo>
                  <a:lnTo>
                    <a:pt x="1900" y="117"/>
                  </a:lnTo>
                  <a:lnTo>
                    <a:pt x="1900" y="116"/>
                  </a:lnTo>
                  <a:lnTo>
                    <a:pt x="1903" y="114"/>
                  </a:lnTo>
                  <a:lnTo>
                    <a:pt x="1903" y="116"/>
                  </a:lnTo>
                  <a:lnTo>
                    <a:pt x="1905" y="114"/>
                  </a:lnTo>
                  <a:lnTo>
                    <a:pt x="1906" y="112"/>
                  </a:lnTo>
                  <a:lnTo>
                    <a:pt x="1906" y="111"/>
                  </a:lnTo>
                  <a:lnTo>
                    <a:pt x="1905" y="109"/>
                  </a:lnTo>
                  <a:lnTo>
                    <a:pt x="1905" y="107"/>
                  </a:lnTo>
                  <a:lnTo>
                    <a:pt x="1903" y="107"/>
                  </a:lnTo>
                  <a:lnTo>
                    <a:pt x="1901" y="106"/>
                  </a:lnTo>
                  <a:lnTo>
                    <a:pt x="1900" y="106"/>
                  </a:lnTo>
                  <a:lnTo>
                    <a:pt x="1898" y="106"/>
                  </a:lnTo>
                  <a:lnTo>
                    <a:pt x="1900" y="106"/>
                  </a:lnTo>
                  <a:lnTo>
                    <a:pt x="1898" y="106"/>
                  </a:lnTo>
                  <a:lnTo>
                    <a:pt x="1898" y="104"/>
                  </a:lnTo>
                  <a:lnTo>
                    <a:pt x="1897" y="103"/>
                  </a:lnTo>
                  <a:lnTo>
                    <a:pt x="1898" y="104"/>
                  </a:lnTo>
                  <a:lnTo>
                    <a:pt x="1897" y="103"/>
                  </a:lnTo>
                  <a:lnTo>
                    <a:pt x="1895" y="99"/>
                  </a:lnTo>
                  <a:lnTo>
                    <a:pt x="1893" y="96"/>
                  </a:lnTo>
                  <a:lnTo>
                    <a:pt x="1893" y="94"/>
                  </a:lnTo>
                  <a:lnTo>
                    <a:pt x="1893" y="93"/>
                  </a:lnTo>
                  <a:lnTo>
                    <a:pt x="1892" y="91"/>
                  </a:lnTo>
                  <a:lnTo>
                    <a:pt x="1890" y="88"/>
                  </a:lnTo>
                  <a:lnTo>
                    <a:pt x="1890" y="86"/>
                  </a:lnTo>
                  <a:lnTo>
                    <a:pt x="1888" y="86"/>
                  </a:lnTo>
                  <a:lnTo>
                    <a:pt x="1888" y="85"/>
                  </a:lnTo>
                  <a:lnTo>
                    <a:pt x="1887" y="80"/>
                  </a:lnTo>
                  <a:lnTo>
                    <a:pt x="1885" y="78"/>
                  </a:lnTo>
                  <a:lnTo>
                    <a:pt x="1884" y="78"/>
                  </a:lnTo>
                  <a:lnTo>
                    <a:pt x="1882" y="77"/>
                  </a:lnTo>
                  <a:lnTo>
                    <a:pt x="1882" y="75"/>
                  </a:lnTo>
                  <a:lnTo>
                    <a:pt x="1880" y="75"/>
                  </a:lnTo>
                  <a:lnTo>
                    <a:pt x="1877" y="73"/>
                  </a:lnTo>
                  <a:lnTo>
                    <a:pt x="1877" y="72"/>
                  </a:lnTo>
                  <a:lnTo>
                    <a:pt x="1875" y="72"/>
                  </a:lnTo>
                  <a:lnTo>
                    <a:pt x="1872" y="72"/>
                  </a:lnTo>
                  <a:lnTo>
                    <a:pt x="1872" y="73"/>
                  </a:lnTo>
                  <a:lnTo>
                    <a:pt x="1871" y="73"/>
                  </a:lnTo>
                  <a:lnTo>
                    <a:pt x="1871" y="75"/>
                  </a:lnTo>
                  <a:lnTo>
                    <a:pt x="1869" y="75"/>
                  </a:lnTo>
                  <a:lnTo>
                    <a:pt x="1864" y="77"/>
                  </a:lnTo>
                  <a:lnTo>
                    <a:pt x="1862" y="77"/>
                  </a:lnTo>
                  <a:lnTo>
                    <a:pt x="1862" y="75"/>
                  </a:lnTo>
                  <a:lnTo>
                    <a:pt x="1861" y="73"/>
                  </a:lnTo>
                  <a:lnTo>
                    <a:pt x="1859" y="73"/>
                  </a:lnTo>
                  <a:lnTo>
                    <a:pt x="1859" y="72"/>
                  </a:lnTo>
                  <a:lnTo>
                    <a:pt x="1858" y="73"/>
                  </a:lnTo>
                  <a:lnTo>
                    <a:pt x="1856" y="73"/>
                  </a:lnTo>
                  <a:lnTo>
                    <a:pt x="1856" y="72"/>
                  </a:lnTo>
                  <a:lnTo>
                    <a:pt x="1854" y="72"/>
                  </a:lnTo>
                  <a:lnTo>
                    <a:pt x="1853" y="70"/>
                  </a:lnTo>
                  <a:lnTo>
                    <a:pt x="1851" y="70"/>
                  </a:lnTo>
                  <a:lnTo>
                    <a:pt x="1849" y="70"/>
                  </a:lnTo>
                  <a:lnTo>
                    <a:pt x="1851" y="70"/>
                  </a:lnTo>
                  <a:lnTo>
                    <a:pt x="1849" y="70"/>
                  </a:lnTo>
                  <a:lnTo>
                    <a:pt x="1849" y="72"/>
                  </a:lnTo>
                  <a:lnTo>
                    <a:pt x="1848" y="70"/>
                  </a:lnTo>
                  <a:lnTo>
                    <a:pt x="1848" y="72"/>
                  </a:lnTo>
                  <a:lnTo>
                    <a:pt x="1846" y="72"/>
                  </a:lnTo>
                  <a:lnTo>
                    <a:pt x="1846" y="70"/>
                  </a:lnTo>
                  <a:lnTo>
                    <a:pt x="1845" y="70"/>
                  </a:lnTo>
                  <a:lnTo>
                    <a:pt x="1845" y="72"/>
                  </a:lnTo>
                  <a:lnTo>
                    <a:pt x="1843" y="72"/>
                  </a:lnTo>
                  <a:lnTo>
                    <a:pt x="1841" y="72"/>
                  </a:lnTo>
                  <a:lnTo>
                    <a:pt x="1841" y="70"/>
                  </a:lnTo>
                  <a:lnTo>
                    <a:pt x="1840" y="68"/>
                  </a:lnTo>
                  <a:lnTo>
                    <a:pt x="1838" y="68"/>
                  </a:lnTo>
                  <a:lnTo>
                    <a:pt x="1836" y="68"/>
                  </a:lnTo>
                  <a:lnTo>
                    <a:pt x="1836" y="67"/>
                  </a:lnTo>
                  <a:lnTo>
                    <a:pt x="1840" y="67"/>
                  </a:lnTo>
                  <a:lnTo>
                    <a:pt x="1841" y="67"/>
                  </a:lnTo>
                  <a:lnTo>
                    <a:pt x="1840" y="67"/>
                  </a:lnTo>
                  <a:lnTo>
                    <a:pt x="1838" y="67"/>
                  </a:lnTo>
                  <a:lnTo>
                    <a:pt x="1835" y="68"/>
                  </a:lnTo>
                  <a:lnTo>
                    <a:pt x="1835" y="67"/>
                  </a:lnTo>
                  <a:lnTo>
                    <a:pt x="1835" y="68"/>
                  </a:lnTo>
                  <a:lnTo>
                    <a:pt x="1833" y="70"/>
                  </a:lnTo>
                  <a:lnTo>
                    <a:pt x="1833" y="72"/>
                  </a:lnTo>
                  <a:lnTo>
                    <a:pt x="1830" y="73"/>
                  </a:lnTo>
                  <a:lnTo>
                    <a:pt x="1828" y="73"/>
                  </a:lnTo>
                  <a:lnTo>
                    <a:pt x="1827" y="73"/>
                  </a:lnTo>
                  <a:lnTo>
                    <a:pt x="1825" y="70"/>
                  </a:lnTo>
                  <a:lnTo>
                    <a:pt x="1825" y="67"/>
                  </a:lnTo>
                  <a:lnTo>
                    <a:pt x="1825" y="65"/>
                  </a:lnTo>
                  <a:lnTo>
                    <a:pt x="1823" y="65"/>
                  </a:lnTo>
                  <a:lnTo>
                    <a:pt x="1825" y="65"/>
                  </a:lnTo>
                  <a:lnTo>
                    <a:pt x="1823" y="64"/>
                  </a:lnTo>
                  <a:lnTo>
                    <a:pt x="1822" y="62"/>
                  </a:lnTo>
                  <a:lnTo>
                    <a:pt x="1819" y="62"/>
                  </a:lnTo>
                  <a:lnTo>
                    <a:pt x="1820" y="62"/>
                  </a:lnTo>
                  <a:lnTo>
                    <a:pt x="1822" y="62"/>
                  </a:lnTo>
                  <a:lnTo>
                    <a:pt x="1820" y="62"/>
                  </a:lnTo>
                  <a:lnTo>
                    <a:pt x="1820" y="60"/>
                  </a:lnTo>
                  <a:lnTo>
                    <a:pt x="1820" y="62"/>
                  </a:lnTo>
                  <a:lnTo>
                    <a:pt x="1819" y="60"/>
                  </a:lnTo>
                  <a:lnTo>
                    <a:pt x="1819" y="62"/>
                  </a:lnTo>
                  <a:lnTo>
                    <a:pt x="1817" y="64"/>
                  </a:lnTo>
                  <a:lnTo>
                    <a:pt x="1815" y="64"/>
                  </a:lnTo>
                  <a:lnTo>
                    <a:pt x="1814" y="65"/>
                  </a:lnTo>
                  <a:lnTo>
                    <a:pt x="1814" y="67"/>
                  </a:lnTo>
                  <a:lnTo>
                    <a:pt x="1815" y="67"/>
                  </a:lnTo>
                  <a:lnTo>
                    <a:pt x="1814" y="67"/>
                  </a:lnTo>
                  <a:lnTo>
                    <a:pt x="1814" y="65"/>
                  </a:lnTo>
                  <a:lnTo>
                    <a:pt x="1814" y="67"/>
                  </a:lnTo>
                  <a:lnTo>
                    <a:pt x="1815" y="68"/>
                  </a:lnTo>
                  <a:lnTo>
                    <a:pt x="1815" y="70"/>
                  </a:lnTo>
                  <a:lnTo>
                    <a:pt x="1814" y="70"/>
                  </a:lnTo>
                  <a:lnTo>
                    <a:pt x="1812" y="70"/>
                  </a:lnTo>
                  <a:lnTo>
                    <a:pt x="1810" y="70"/>
                  </a:lnTo>
                  <a:lnTo>
                    <a:pt x="1809" y="70"/>
                  </a:lnTo>
                  <a:lnTo>
                    <a:pt x="1807" y="70"/>
                  </a:lnTo>
                  <a:lnTo>
                    <a:pt x="1807" y="68"/>
                  </a:lnTo>
                  <a:lnTo>
                    <a:pt x="1806" y="68"/>
                  </a:lnTo>
                  <a:lnTo>
                    <a:pt x="1806" y="67"/>
                  </a:lnTo>
                  <a:lnTo>
                    <a:pt x="1804" y="67"/>
                  </a:lnTo>
                  <a:lnTo>
                    <a:pt x="1804" y="65"/>
                  </a:lnTo>
                  <a:lnTo>
                    <a:pt x="1802" y="64"/>
                  </a:lnTo>
                  <a:lnTo>
                    <a:pt x="1801" y="62"/>
                  </a:lnTo>
                  <a:lnTo>
                    <a:pt x="1799" y="62"/>
                  </a:lnTo>
                  <a:lnTo>
                    <a:pt x="1799" y="60"/>
                  </a:lnTo>
                  <a:lnTo>
                    <a:pt x="1801" y="60"/>
                  </a:lnTo>
                  <a:lnTo>
                    <a:pt x="1801" y="62"/>
                  </a:lnTo>
                  <a:lnTo>
                    <a:pt x="1802" y="64"/>
                  </a:lnTo>
                  <a:lnTo>
                    <a:pt x="1804" y="64"/>
                  </a:lnTo>
                  <a:lnTo>
                    <a:pt x="1804" y="65"/>
                  </a:lnTo>
                  <a:lnTo>
                    <a:pt x="1806" y="65"/>
                  </a:lnTo>
                  <a:lnTo>
                    <a:pt x="1804" y="65"/>
                  </a:lnTo>
                  <a:lnTo>
                    <a:pt x="1802" y="62"/>
                  </a:lnTo>
                  <a:lnTo>
                    <a:pt x="1801" y="62"/>
                  </a:lnTo>
                  <a:lnTo>
                    <a:pt x="1801" y="60"/>
                  </a:lnTo>
                  <a:lnTo>
                    <a:pt x="1799" y="59"/>
                  </a:lnTo>
                  <a:lnTo>
                    <a:pt x="1797" y="57"/>
                  </a:lnTo>
                  <a:lnTo>
                    <a:pt x="1794" y="54"/>
                  </a:lnTo>
                  <a:lnTo>
                    <a:pt x="1793" y="52"/>
                  </a:lnTo>
                  <a:lnTo>
                    <a:pt x="1793" y="51"/>
                  </a:lnTo>
                  <a:lnTo>
                    <a:pt x="1791" y="51"/>
                  </a:lnTo>
                  <a:lnTo>
                    <a:pt x="1793" y="51"/>
                  </a:lnTo>
                  <a:lnTo>
                    <a:pt x="1793" y="49"/>
                  </a:lnTo>
                  <a:lnTo>
                    <a:pt x="1794" y="51"/>
                  </a:lnTo>
                  <a:lnTo>
                    <a:pt x="1794" y="49"/>
                  </a:lnTo>
                  <a:lnTo>
                    <a:pt x="1793" y="49"/>
                  </a:lnTo>
                  <a:lnTo>
                    <a:pt x="1793" y="51"/>
                  </a:lnTo>
                  <a:lnTo>
                    <a:pt x="1793" y="49"/>
                  </a:lnTo>
                  <a:lnTo>
                    <a:pt x="1791" y="49"/>
                  </a:lnTo>
                  <a:lnTo>
                    <a:pt x="1791" y="47"/>
                  </a:lnTo>
                  <a:lnTo>
                    <a:pt x="1791" y="49"/>
                  </a:lnTo>
                  <a:lnTo>
                    <a:pt x="1791" y="47"/>
                  </a:lnTo>
                  <a:lnTo>
                    <a:pt x="1788" y="46"/>
                  </a:lnTo>
                  <a:lnTo>
                    <a:pt x="1786" y="46"/>
                  </a:lnTo>
                  <a:lnTo>
                    <a:pt x="1784" y="46"/>
                  </a:lnTo>
                  <a:lnTo>
                    <a:pt x="1784" y="44"/>
                  </a:lnTo>
                  <a:lnTo>
                    <a:pt x="1784" y="42"/>
                  </a:lnTo>
                  <a:lnTo>
                    <a:pt x="1786" y="44"/>
                  </a:lnTo>
                  <a:lnTo>
                    <a:pt x="1788" y="44"/>
                  </a:lnTo>
                  <a:lnTo>
                    <a:pt x="1786" y="44"/>
                  </a:lnTo>
                  <a:lnTo>
                    <a:pt x="1788" y="46"/>
                  </a:lnTo>
                  <a:lnTo>
                    <a:pt x="1788" y="44"/>
                  </a:lnTo>
                  <a:lnTo>
                    <a:pt x="1786" y="44"/>
                  </a:lnTo>
                  <a:lnTo>
                    <a:pt x="1784" y="42"/>
                  </a:lnTo>
                  <a:lnTo>
                    <a:pt x="1784" y="41"/>
                  </a:lnTo>
                  <a:lnTo>
                    <a:pt x="1786" y="41"/>
                  </a:lnTo>
                  <a:lnTo>
                    <a:pt x="1786" y="42"/>
                  </a:lnTo>
                  <a:lnTo>
                    <a:pt x="1786" y="41"/>
                  </a:lnTo>
                  <a:lnTo>
                    <a:pt x="1784" y="41"/>
                  </a:lnTo>
                  <a:lnTo>
                    <a:pt x="1784" y="39"/>
                  </a:lnTo>
                  <a:lnTo>
                    <a:pt x="1783" y="38"/>
                  </a:lnTo>
                  <a:lnTo>
                    <a:pt x="1781" y="38"/>
                  </a:lnTo>
                  <a:lnTo>
                    <a:pt x="1781" y="36"/>
                  </a:lnTo>
                  <a:lnTo>
                    <a:pt x="1780" y="36"/>
                  </a:lnTo>
                  <a:lnTo>
                    <a:pt x="1780" y="34"/>
                  </a:lnTo>
                  <a:lnTo>
                    <a:pt x="1780" y="36"/>
                  </a:lnTo>
                  <a:lnTo>
                    <a:pt x="1778" y="34"/>
                  </a:lnTo>
                  <a:lnTo>
                    <a:pt x="1776" y="33"/>
                  </a:lnTo>
                  <a:lnTo>
                    <a:pt x="1776" y="31"/>
                  </a:lnTo>
                  <a:lnTo>
                    <a:pt x="1775" y="29"/>
                  </a:lnTo>
                  <a:lnTo>
                    <a:pt x="1773" y="29"/>
                  </a:lnTo>
                  <a:lnTo>
                    <a:pt x="1776" y="29"/>
                  </a:lnTo>
                  <a:lnTo>
                    <a:pt x="1778" y="29"/>
                  </a:lnTo>
                  <a:lnTo>
                    <a:pt x="1778" y="31"/>
                  </a:lnTo>
                  <a:lnTo>
                    <a:pt x="1780" y="33"/>
                  </a:lnTo>
                  <a:lnTo>
                    <a:pt x="1778" y="31"/>
                  </a:lnTo>
                  <a:lnTo>
                    <a:pt x="1778" y="29"/>
                  </a:lnTo>
                  <a:lnTo>
                    <a:pt x="1776" y="29"/>
                  </a:lnTo>
                  <a:lnTo>
                    <a:pt x="1773" y="28"/>
                  </a:lnTo>
                  <a:lnTo>
                    <a:pt x="1771" y="28"/>
                  </a:lnTo>
                  <a:lnTo>
                    <a:pt x="1771" y="26"/>
                  </a:lnTo>
                  <a:lnTo>
                    <a:pt x="1770" y="26"/>
                  </a:lnTo>
                  <a:lnTo>
                    <a:pt x="1768" y="26"/>
                  </a:lnTo>
                  <a:lnTo>
                    <a:pt x="1770" y="26"/>
                  </a:lnTo>
                  <a:lnTo>
                    <a:pt x="1770" y="25"/>
                  </a:lnTo>
                  <a:lnTo>
                    <a:pt x="1766" y="23"/>
                  </a:lnTo>
                  <a:lnTo>
                    <a:pt x="1765" y="23"/>
                  </a:lnTo>
                  <a:lnTo>
                    <a:pt x="1765" y="21"/>
                  </a:lnTo>
                  <a:lnTo>
                    <a:pt x="1763" y="21"/>
                  </a:lnTo>
                  <a:lnTo>
                    <a:pt x="1765" y="21"/>
                  </a:lnTo>
                  <a:lnTo>
                    <a:pt x="1763" y="21"/>
                  </a:lnTo>
                  <a:lnTo>
                    <a:pt x="1762" y="21"/>
                  </a:lnTo>
                  <a:lnTo>
                    <a:pt x="1760" y="21"/>
                  </a:lnTo>
                  <a:lnTo>
                    <a:pt x="1758" y="23"/>
                  </a:lnTo>
                  <a:lnTo>
                    <a:pt x="1757" y="23"/>
                  </a:lnTo>
                  <a:lnTo>
                    <a:pt x="1758" y="23"/>
                  </a:lnTo>
                  <a:lnTo>
                    <a:pt x="1757" y="23"/>
                  </a:lnTo>
                  <a:lnTo>
                    <a:pt x="1753" y="23"/>
                  </a:lnTo>
                  <a:lnTo>
                    <a:pt x="1752" y="23"/>
                  </a:lnTo>
                  <a:lnTo>
                    <a:pt x="1749" y="23"/>
                  </a:lnTo>
                  <a:lnTo>
                    <a:pt x="1747" y="23"/>
                  </a:lnTo>
                  <a:lnTo>
                    <a:pt x="1747" y="21"/>
                  </a:lnTo>
                  <a:lnTo>
                    <a:pt x="1745" y="21"/>
                  </a:lnTo>
                  <a:lnTo>
                    <a:pt x="1745" y="20"/>
                  </a:lnTo>
                  <a:lnTo>
                    <a:pt x="1747" y="20"/>
                  </a:lnTo>
                  <a:lnTo>
                    <a:pt x="1747" y="21"/>
                  </a:lnTo>
                  <a:lnTo>
                    <a:pt x="1747" y="20"/>
                  </a:lnTo>
                  <a:lnTo>
                    <a:pt x="1747" y="21"/>
                  </a:lnTo>
                  <a:lnTo>
                    <a:pt x="1747" y="20"/>
                  </a:lnTo>
                  <a:lnTo>
                    <a:pt x="1749" y="20"/>
                  </a:lnTo>
                  <a:lnTo>
                    <a:pt x="1749" y="21"/>
                  </a:lnTo>
                  <a:lnTo>
                    <a:pt x="1750" y="21"/>
                  </a:lnTo>
                  <a:lnTo>
                    <a:pt x="1749" y="20"/>
                  </a:lnTo>
                  <a:lnTo>
                    <a:pt x="1750" y="20"/>
                  </a:lnTo>
                  <a:lnTo>
                    <a:pt x="1752" y="20"/>
                  </a:lnTo>
                  <a:lnTo>
                    <a:pt x="1753" y="20"/>
                  </a:lnTo>
                  <a:lnTo>
                    <a:pt x="1753" y="21"/>
                  </a:lnTo>
                  <a:lnTo>
                    <a:pt x="1755" y="20"/>
                  </a:lnTo>
                  <a:lnTo>
                    <a:pt x="1753" y="20"/>
                  </a:lnTo>
                  <a:lnTo>
                    <a:pt x="1752" y="20"/>
                  </a:lnTo>
                  <a:lnTo>
                    <a:pt x="1749" y="20"/>
                  </a:lnTo>
                  <a:lnTo>
                    <a:pt x="1747" y="20"/>
                  </a:lnTo>
                  <a:lnTo>
                    <a:pt x="1747" y="18"/>
                  </a:lnTo>
                  <a:lnTo>
                    <a:pt x="1745" y="16"/>
                  </a:lnTo>
                  <a:lnTo>
                    <a:pt x="2241" y="16"/>
                  </a:lnTo>
                  <a:lnTo>
                    <a:pt x="2240" y="18"/>
                  </a:lnTo>
                  <a:lnTo>
                    <a:pt x="2240" y="20"/>
                  </a:lnTo>
                  <a:lnTo>
                    <a:pt x="2240" y="21"/>
                  </a:lnTo>
                  <a:lnTo>
                    <a:pt x="2240" y="25"/>
                  </a:lnTo>
                  <a:lnTo>
                    <a:pt x="2240" y="26"/>
                  </a:lnTo>
                  <a:lnTo>
                    <a:pt x="2238" y="26"/>
                  </a:lnTo>
                  <a:lnTo>
                    <a:pt x="2237" y="28"/>
                  </a:lnTo>
                  <a:lnTo>
                    <a:pt x="2235" y="28"/>
                  </a:lnTo>
                  <a:lnTo>
                    <a:pt x="2233" y="28"/>
                  </a:lnTo>
                  <a:lnTo>
                    <a:pt x="2232" y="28"/>
                  </a:lnTo>
                  <a:lnTo>
                    <a:pt x="2228" y="28"/>
                  </a:lnTo>
                  <a:lnTo>
                    <a:pt x="2227" y="29"/>
                  </a:lnTo>
                  <a:lnTo>
                    <a:pt x="2225" y="29"/>
                  </a:lnTo>
                  <a:lnTo>
                    <a:pt x="2224" y="29"/>
                  </a:lnTo>
                  <a:lnTo>
                    <a:pt x="2220" y="29"/>
                  </a:lnTo>
                  <a:lnTo>
                    <a:pt x="2219" y="29"/>
                  </a:lnTo>
                  <a:lnTo>
                    <a:pt x="2217" y="29"/>
                  </a:lnTo>
                  <a:lnTo>
                    <a:pt x="2215" y="29"/>
                  </a:lnTo>
                  <a:lnTo>
                    <a:pt x="2214" y="29"/>
                  </a:lnTo>
                  <a:lnTo>
                    <a:pt x="2212" y="29"/>
                  </a:lnTo>
                  <a:lnTo>
                    <a:pt x="2214" y="29"/>
                  </a:lnTo>
                  <a:lnTo>
                    <a:pt x="2212" y="29"/>
                  </a:lnTo>
                  <a:lnTo>
                    <a:pt x="2210" y="29"/>
                  </a:lnTo>
                  <a:lnTo>
                    <a:pt x="2209" y="31"/>
                  </a:lnTo>
                  <a:lnTo>
                    <a:pt x="2207" y="33"/>
                  </a:lnTo>
                  <a:lnTo>
                    <a:pt x="2206" y="33"/>
                  </a:lnTo>
                  <a:lnTo>
                    <a:pt x="2204" y="33"/>
                  </a:lnTo>
                  <a:lnTo>
                    <a:pt x="2201" y="31"/>
                  </a:lnTo>
                  <a:lnTo>
                    <a:pt x="2197" y="29"/>
                  </a:lnTo>
                  <a:lnTo>
                    <a:pt x="2196" y="29"/>
                  </a:lnTo>
                  <a:lnTo>
                    <a:pt x="2194" y="28"/>
                  </a:lnTo>
                  <a:lnTo>
                    <a:pt x="2193" y="28"/>
                  </a:lnTo>
                  <a:lnTo>
                    <a:pt x="2191" y="29"/>
                  </a:lnTo>
                  <a:lnTo>
                    <a:pt x="2189" y="29"/>
                  </a:lnTo>
                  <a:lnTo>
                    <a:pt x="2188" y="28"/>
                  </a:lnTo>
                  <a:lnTo>
                    <a:pt x="2186" y="28"/>
                  </a:lnTo>
                  <a:lnTo>
                    <a:pt x="2184" y="26"/>
                  </a:lnTo>
                  <a:lnTo>
                    <a:pt x="2183" y="25"/>
                  </a:lnTo>
                  <a:lnTo>
                    <a:pt x="2183" y="23"/>
                  </a:lnTo>
                  <a:lnTo>
                    <a:pt x="2181" y="23"/>
                  </a:lnTo>
                  <a:lnTo>
                    <a:pt x="2181" y="25"/>
                  </a:lnTo>
                  <a:lnTo>
                    <a:pt x="2181" y="26"/>
                  </a:lnTo>
                  <a:lnTo>
                    <a:pt x="2183" y="28"/>
                  </a:lnTo>
                  <a:lnTo>
                    <a:pt x="2181" y="29"/>
                  </a:lnTo>
                  <a:lnTo>
                    <a:pt x="2183" y="28"/>
                  </a:lnTo>
                  <a:lnTo>
                    <a:pt x="2183" y="29"/>
                  </a:lnTo>
                  <a:lnTo>
                    <a:pt x="2181" y="31"/>
                  </a:lnTo>
                  <a:lnTo>
                    <a:pt x="2180" y="31"/>
                  </a:lnTo>
                  <a:lnTo>
                    <a:pt x="2181" y="29"/>
                  </a:lnTo>
                  <a:lnTo>
                    <a:pt x="2180" y="31"/>
                  </a:lnTo>
                  <a:lnTo>
                    <a:pt x="2180" y="33"/>
                  </a:lnTo>
                  <a:lnTo>
                    <a:pt x="2176" y="34"/>
                  </a:lnTo>
                  <a:lnTo>
                    <a:pt x="2175" y="34"/>
                  </a:lnTo>
                  <a:lnTo>
                    <a:pt x="2175" y="33"/>
                  </a:lnTo>
                  <a:lnTo>
                    <a:pt x="2173" y="33"/>
                  </a:lnTo>
                  <a:lnTo>
                    <a:pt x="2173" y="34"/>
                  </a:lnTo>
                  <a:lnTo>
                    <a:pt x="2171" y="33"/>
                  </a:lnTo>
                  <a:lnTo>
                    <a:pt x="2170" y="31"/>
                  </a:lnTo>
                  <a:lnTo>
                    <a:pt x="2168" y="33"/>
                  </a:lnTo>
                  <a:lnTo>
                    <a:pt x="2167" y="33"/>
                  </a:lnTo>
                  <a:lnTo>
                    <a:pt x="2163" y="33"/>
                  </a:lnTo>
                  <a:lnTo>
                    <a:pt x="2162" y="31"/>
                  </a:lnTo>
                  <a:lnTo>
                    <a:pt x="2163" y="33"/>
                  </a:lnTo>
                  <a:lnTo>
                    <a:pt x="2167" y="33"/>
                  </a:lnTo>
                  <a:lnTo>
                    <a:pt x="2167" y="34"/>
                  </a:lnTo>
                  <a:lnTo>
                    <a:pt x="2165" y="34"/>
                  </a:lnTo>
                  <a:lnTo>
                    <a:pt x="2167" y="34"/>
                  </a:lnTo>
                  <a:lnTo>
                    <a:pt x="2167" y="33"/>
                  </a:lnTo>
                  <a:lnTo>
                    <a:pt x="2168" y="33"/>
                  </a:lnTo>
                  <a:lnTo>
                    <a:pt x="2170" y="33"/>
                  </a:lnTo>
                  <a:lnTo>
                    <a:pt x="2171" y="33"/>
                  </a:lnTo>
                  <a:lnTo>
                    <a:pt x="2171" y="34"/>
                  </a:lnTo>
                  <a:lnTo>
                    <a:pt x="2173" y="34"/>
                  </a:lnTo>
                  <a:lnTo>
                    <a:pt x="2173" y="33"/>
                  </a:lnTo>
                  <a:lnTo>
                    <a:pt x="2175" y="33"/>
                  </a:lnTo>
                  <a:lnTo>
                    <a:pt x="2175" y="34"/>
                  </a:lnTo>
                  <a:lnTo>
                    <a:pt x="2173" y="34"/>
                  </a:lnTo>
                  <a:lnTo>
                    <a:pt x="2173" y="36"/>
                  </a:lnTo>
                  <a:lnTo>
                    <a:pt x="2173" y="38"/>
                  </a:lnTo>
                  <a:lnTo>
                    <a:pt x="2171" y="38"/>
                  </a:lnTo>
                  <a:lnTo>
                    <a:pt x="2170" y="38"/>
                  </a:lnTo>
                  <a:lnTo>
                    <a:pt x="2168" y="38"/>
                  </a:lnTo>
                  <a:lnTo>
                    <a:pt x="2168" y="39"/>
                  </a:lnTo>
                  <a:lnTo>
                    <a:pt x="2168" y="41"/>
                  </a:lnTo>
                  <a:lnTo>
                    <a:pt x="2168" y="42"/>
                  </a:lnTo>
                  <a:lnTo>
                    <a:pt x="2167" y="42"/>
                  </a:lnTo>
                  <a:lnTo>
                    <a:pt x="2165" y="44"/>
                  </a:lnTo>
                  <a:lnTo>
                    <a:pt x="2167" y="44"/>
                  </a:lnTo>
                  <a:lnTo>
                    <a:pt x="2167" y="42"/>
                  </a:lnTo>
                  <a:lnTo>
                    <a:pt x="2168" y="42"/>
                  </a:lnTo>
                  <a:lnTo>
                    <a:pt x="2170" y="42"/>
                  </a:lnTo>
                  <a:lnTo>
                    <a:pt x="2170" y="41"/>
                  </a:lnTo>
                  <a:lnTo>
                    <a:pt x="2168" y="39"/>
                  </a:lnTo>
                  <a:lnTo>
                    <a:pt x="2168" y="38"/>
                  </a:lnTo>
                  <a:lnTo>
                    <a:pt x="2170" y="38"/>
                  </a:lnTo>
                  <a:lnTo>
                    <a:pt x="2171" y="38"/>
                  </a:lnTo>
                  <a:lnTo>
                    <a:pt x="2173" y="38"/>
                  </a:lnTo>
                  <a:lnTo>
                    <a:pt x="2173" y="36"/>
                  </a:lnTo>
                  <a:lnTo>
                    <a:pt x="2175" y="34"/>
                  </a:lnTo>
                  <a:lnTo>
                    <a:pt x="2176" y="34"/>
                  </a:lnTo>
                  <a:lnTo>
                    <a:pt x="2181" y="31"/>
                  </a:lnTo>
                  <a:lnTo>
                    <a:pt x="2183" y="31"/>
                  </a:lnTo>
                  <a:lnTo>
                    <a:pt x="2183" y="29"/>
                  </a:lnTo>
                  <a:lnTo>
                    <a:pt x="2183" y="28"/>
                  </a:lnTo>
                  <a:lnTo>
                    <a:pt x="2181" y="25"/>
                  </a:lnTo>
                  <a:lnTo>
                    <a:pt x="2181" y="23"/>
                  </a:lnTo>
                  <a:lnTo>
                    <a:pt x="2183" y="23"/>
                  </a:lnTo>
                  <a:lnTo>
                    <a:pt x="2184" y="26"/>
                  </a:lnTo>
                  <a:lnTo>
                    <a:pt x="2184" y="28"/>
                  </a:lnTo>
                  <a:lnTo>
                    <a:pt x="2186" y="28"/>
                  </a:lnTo>
                  <a:lnTo>
                    <a:pt x="2188" y="29"/>
                  </a:lnTo>
                  <a:lnTo>
                    <a:pt x="2189" y="29"/>
                  </a:lnTo>
                  <a:lnTo>
                    <a:pt x="2191" y="29"/>
                  </a:lnTo>
                  <a:lnTo>
                    <a:pt x="2193" y="29"/>
                  </a:lnTo>
                  <a:lnTo>
                    <a:pt x="2194" y="29"/>
                  </a:lnTo>
                  <a:lnTo>
                    <a:pt x="2196" y="29"/>
                  </a:lnTo>
                  <a:lnTo>
                    <a:pt x="2197" y="29"/>
                  </a:lnTo>
                  <a:lnTo>
                    <a:pt x="2199" y="31"/>
                  </a:lnTo>
                  <a:lnTo>
                    <a:pt x="2201" y="33"/>
                  </a:lnTo>
                  <a:lnTo>
                    <a:pt x="2204" y="33"/>
                  </a:lnTo>
                  <a:lnTo>
                    <a:pt x="2206" y="34"/>
                  </a:lnTo>
                  <a:lnTo>
                    <a:pt x="2207" y="34"/>
                  </a:lnTo>
                  <a:lnTo>
                    <a:pt x="2209" y="33"/>
                  </a:lnTo>
                  <a:lnTo>
                    <a:pt x="2209" y="31"/>
                  </a:lnTo>
                  <a:lnTo>
                    <a:pt x="2212" y="29"/>
                  </a:lnTo>
                  <a:lnTo>
                    <a:pt x="2214" y="29"/>
                  </a:lnTo>
                  <a:lnTo>
                    <a:pt x="2215" y="31"/>
                  </a:lnTo>
                  <a:lnTo>
                    <a:pt x="2217" y="29"/>
                  </a:lnTo>
                  <a:lnTo>
                    <a:pt x="2217" y="31"/>
                  </a:lnTo>
                  <a:lnTo>
                    <a:pt x="2217" y="29"/>
                  </a:lnTo>
                  <a:lnTo>
                    <a:pt x="2220" y="29"/>
                  </a:lnTo>
                  <a:lnTo>
                    <a:pt x="2224" y="31"/>
                  </a:lnTo>
                  <a:lnTo>
                    <a:pt x="2225" y="31"/>
                  </a:lnTo>
                  <a:lnTo>
                    <a:pt x="2227" y="29"/>
                  </a:lnTo>
                  <a:lnTo>
                    <a:pt x="2228" y="29"/>
                  </a:lnTo>
                  <a:lnTo>
                    <a:pt x="2230" y="28"/>
                  </a:lnTo>
                  <a:lnTo>
                    <a:pt x="2232" y="28"/>
                  </a:lnTo>
                  <a:lnTo>
                    <a:pt x="2235" y="28"/>
                  </a:lnTo>
                  <a:lnTo>
                    <a:pt x="2237" y="28"/>
                  </a:lnTo>
                  <a:lnTo>
                    <a:pt x="2238" y="28"/>
                  </a:lnTo>
                  <a:lnTo>
                    <a:pt x="2238" y="26"/>
                  </a:lnTo>
                  <a:lnTo>
                    <a:pt x="2240" y="26"/>
                  </a:lnTo>
                  <a:lnTo>
                    <a:pt x="2240" y="25"/>
                  </a:lnTo>
                  <a:lnTo>
                    <a:pt x="2241" y="25"/>
                  </a:lnTo>
                  <a:lnTo>
                    <a:pt x="2240" y="23"/>
                  </a:lnTo>
                  <a:lnTo>
                    <a:pt x="2240" y="21"/>
                  </a:lnTo>
                  <a:lnTo>
                    <a:pt x="2240" y="20"/>
                  </a:lnTo>
                  <a:lnTo>
                    <a:pt x="2241" y="18"/>
                  </a:lnTo>
                  <a:lnTo>
                    <a:pt x="2243" y="18"/>
                  </a:lnTo>
                  <a:lnTo>
                    <a:pt x="2245" y="18"/>
                  </a:lnTo>
                  <a:lnTo>
                    <a:pt x="2245" y="16"/>
                  </a:lnTo>
                  <a:lnTo>
                    <a:pt x="2263" y="16"/>
                  </a:lnTo>
                  <a:lnTo>
                    <a:pt x="2264" y="18"/>
                  </a:lnTo>
                  <a:lnTo>
                    <a:pt x="2266" y="18"/>
                  </a:lnTo>
                  <a:lnTo>
                    <a:pt x="2269" y="20"/>
                  </a:lnTo>
                  <a:lnTo>
                    <a:pt x="2271" y="21"/>
                  </a:lnTo>
                  <a:lnTo>
                    <a:pt x="2271" y="20"/>
                  </a:lnTo>
                  <a:lnTo>
                    <a:pt x="2272" y="20"/>
                  </a:lnTo>
                  <a:lnTo>
                    <a:pt x="2274" y="20"/>
                  </a:lnTo>
                  <a:lnTo>
                    <a:pt x="2276" y="20"/>
                  </a:lnTo>
                  <a:lnTo>
                    <a:pt x="2277" y="18"/>
                  </a:lnTo>
                  <a:lnTo>
                    <a:pt x="2277" y="20"/>
                  </a:lnTo>
                  <a:lnTo>
                    <a:pt x="2279" y="20"/>
                  </a:lnTo>
                  <a:lnTo>
                    <a:pt x="2277" y="20"/>
                  </a:lnTo>
                  <a:lnTo>
                    <a:pt x="2279" y="20"/>
                  </a:lnTo>
                  <a:lnTo>
                    <a:pt x="2280" y="20"/>
                  </a:lnTo>
                  <a:lnTo>
                    <a:pt x="2280" y="21"/>
                  </a:lnTo>
                  <a:lnTo>
                    <a:pt x="2279" y="21"/>
                  </a:lnTo>
                  <a:lnTo>
                    <a:pt x="2280" y="21"/>
                  </a:lnTo>
                  <a:lnTo>
                    <a:pt x="2279" y="23"/>
                  </a:lnTo>
                  <a:lnTo>
                    <a:pt x="2279" y="21"/>
                  </a:lnTo>
                  <a:lnTo>
                    <a:pt x="2279" y="23"/>
                  </a:lnTo>
                  <a:lnTo>
                    <a:pt x="2279" y="25"/>
                  </a:lnTo>
                  <a:lnTo>
                    <a:pt x="2277" y="25"/>
                  </a:lnTo>
                  <a:lnTo>
                    <a:pt x="2276" y="26"/>
                  </a:lnTo>
                  <a:lnTo>
                    <a:pt x="2277" y="28"/>
                  </a:lnTo>
                  <a:lnTo>
                    <a:pt x="2276" y="26"/>
                  </a:lnTo>
                  <a:lnTo>
                    <a:pt x="2277" y="26"/>
                  </a:lnTo>
                  <a:lnTo>
                    <a:pt x="2279" y="25"/>
                  </a:lnTo>
                  <a:lnTo>
                    <a:pt x="2279" y="23"/>
                  </a:lnTo>
                  <a:lnTo>
                    <a:pt x="2280" y="23"/>
                  </a:lnTo>
                  <a:lnTo>
                    <a:pt x="2280" y="21"/>
                  </a:lnTo>
                  <a:lnTo>
                    <a:pt x="2280" y="23"/>
                  </a:lnTo>
                  <a:lnTo>
                    <a:pt x="2280" y="21"/>
                  </a:lnTo>
                  <a:lnTo>
                    <a:pt x="2280" y="20"/>
                  </a:lnTo>
                  <a:lnTo>
                    <a:pt x="2279" y="20"/>
                  </a:lnTo>
                  <a:lnTo>
                    <a:pt x="2279" y="18"/>
                  </a:lnTo>
                  <a:lnTo>
                    <a:pt x="2277" y="18"/>
                  </a:lnTo>
                  <a:lnTo>
                    <a:pt x="2277" y="16"/>
                  </a:lnTo>
                  <a:lnTo>
                    <a:pt x="2279" y="16"/>
                  </a:lnTo>
                  <a:lnTo>
                    <a:pt x="2279" y="15"/>
                  </a:lnTo>
                  <a:lnTo>
                    <a:pt x="2280" y="15"/>
                  </a:lnTo>
                  <a:lnTo>
                    <a:pt x="2284" y="15"/>
                  </a:lnTo>
                  <a:lnTo>
                    <a:pt x="2285" y="15"/>
                  </a:lnTo>
                  <a:lnTo>
                    <a:pt x="2287" y="13"/>
                  </a:lnTo>
                  <a:lnTo>
                    <a:pt x="2287" y="15"/>
                  </a:lnTo>
                  <a:lnTo>
                    <a:pt x="2287" y="13"/>
                  </a:lnTo>
                  <a:lnTo>
                    <a:pt x="2287" y="12"/>
                  </a:lnTo>
                  <a:lnTo>
                    <a:pt x="2289" y="12"/>
                  </a:lnTo>
                  <a:lnTo>
                    <a:pt x="2289" y="10"/>
                  </a:lnTo>
                  <a:lnTo>
                    <a:pt x="2290" y="8"/>
                  </a:lnTo>
                  <a:lnTo>
                    <a:pt x="2290" y="7"/>
                  </a:lnTo>
                  <a:lnTo>
                    <a:pt x="2292" y="7"/>
                  </a:lnTo>
                  <a:lnTo>
                    <a:pt x="2293" y="5"/>
                  </a:lnTo>
                  <a:lnTo>
                    <a:pt x="2295" y="3"/>
                  </a:lnTo>
                  <a:lnTo>
                    <a:pt x="2297" y="3"/>
                  </a:lnTo>
                  <a:lnTo>
                    <a:pt x="2295" y="3"/>
                  </a:lnTo>
                  <a:lnTo>
                    <a:pt x="2297" y="3"/>
                  </a:lnTo>
                  <a:lnTo>
                    <a:pt x="2297" y="0"/>
                  </a:lnTo>
                  <a:lnTo>
                    <a:pt x="2300" y="0"/>
                  </a:lnTo>
                  <a:lnTo>
                    <a:pt x="2300" y="2"/>
                  </a:lnTo>
                  <a:lnTo>
                    <a:pt x="2300" y="0"/>
                  </a:lnTo>
                  <a:lnTo>
                    <a:pt x="2313" y="0"/>
                  </a:lnTo>
                  <a:lnTo>
                    <a:pt x="2313" y="2"/>
                  </a:lnTo>
                  <a:lnTo>
                    <a:pt x="2315" y="2"/>
                  </a:lnTo>
                  <a:lnTo>
                    <a:pt x="2316" y="2"/>
                  </a:lnTo>
                  <a:lnTo>
                    <a:pt x="2318" y="3"/>
                  </a:lnTo>
                  <a:lnTo>
                    <a:pt x="2316" y="2"/>
                  </a:lnTo>
                  <a:lnTo>
                    <a:pt x="2315" y="2"/>
                  </a:lnTo>
                  <a:lnTo>
                    <a:pt x="2313" y="2"/>
                  </a:lnTo>
                  <a:lnTo>
                    <a:pt x="2313" y="0"/>
                  </a:lnTo>
                  <a:lnTo>
                    <a:pt x="2315" y="0"/>
                  </a:lnTo>
                  <a:lnTo>
                    <a:pt x="2315" y="2"/>
                  </a:lnTo>
                  <a:lnTo>
                    <a:pt x="2316" y="2"/>
                  </a:lnTo>
                  <a:lnTo>
                    <a:pt x="2318" y="2"/>
                  </a:lnTo>
                  <a:lnTo>
                    <a:pt x="2319" y="3"/>
                  </a:lnTo>
                  <a:lnTo>
                    <a:pt x="2321" y="3"/>
                  </a:lnTo>
                  <a:lnTo>
                    <a:pt x="2319" y="3"/>
                  </a:lnTo>
                  <a:lnTo>
                    <a:pt x="2321" y="3"/>
                  </a:lnTo>
                  <a:lnTo>
                    <a:pt x="2321" y="5"/>
                  </a:lnTo>
                  <a:lnTo>
                    <a:pt x="2319" y="5"/>
                  </a:lnTo>
                  <a:lnTo>
                    <a:pt x="2321" y="5"/>
                  </a:lnTo>
                  <a:lnTo>
                    <a:pt x="2323" y="5"/>
                  </a:lnTo>
                  <a:lnTo>
                    <a:pt x="2326" y="7"/>
                  </a:lnTo>
                  <a:lnTo>
                    <a:pt x="2328" y="8"/>
                  </a:lnTo>
                  <a:lnTo>
                    <a:pt x="2329" y="8"/>
                  </a:lnTo>
                  <a:lnTo>
                    <a:pt x="2329" y="7"/>
                  </a:lnTo>
                  <a:lnTo>
                    <a:pt x="2329" y="8"/>
                  </a:lnTo>
                  <a:lnTo>
                    <a:pt x="2331" y="8"/>
                  </a:lnTo>
                  <a:lnTo>
                    <a:pt x="2331" y="10"/>
                  </a:lnTo>
                  <a:lnTo>
                    <a:pt x="2332" y="10"/>
                  </a:lnTo>
                  <a:lnTo>
                    <a:pt x="2334" y="10"/>
                  </a:lnTo>
                  <a:lnTo>
                    <a:pt x="2334" y="8"/>
                  </a:lnTo>
                  <a:lnTo>
                    <a:pt x="2334" y="10"/>
                  </a:lnTo>
                  <a:lnTo>
                    <a:pt x="2336" y="8"/>
                  </a:lnTo>
                  <a:lnTo>
                    <a:pt x="2336" y="10"/>
                  </a:lnTo>
                  <a:lnTo>
                    <a:pt x="2337" y="10"/>
                  </a:lnTo>
                  <a:lnTo>
                    <a:pt x="2336" y="10"/>
                  </a:lnTo>
                  <a:lnTo>
                    <a:pt x="2336" y="8"/>
                  </a:lnTo>
                  <a:lnTo>
                    <a:pt x="2337" y="8"/>
                  </a:lnTo>
                  <a:lnTo>
                    <a:pt x="2336" y="8"/>
                  </a:lnTo>
                  <a:lnTo>
                    <a:pt x="2334" y="8"/>
                  </a:lnTo>
                  <a:lnTo>
                    <a:pt x="2334" y="7"/>
                  </a:lnTo>
                  <a:lnTo>
                    <a:pt x="2334" y="8"/>
                  </a:lnTo>
                  <a:lnTo>
                    <a:pt x="2336" y="7"/>
                  </a:lnTo>
                  <a:lnTo>
                    <a:pt x="2334" y="7"/>
                  </a:lnTo>
                  <a:lnTo>
                    <a:pt x="2334" y="8"/>
                  </a:lnTo>
                  <a:lnTo>
                    <a:pt x="2332" y="8"/>
                  </a:lnTo>
                  <a:lnTo>
                    <a:pt x="2334" y="10"/>
                  </a:lnTo>
                  <a:lnTo>
                    <a:pt x="2332" y="10"/>
                  </a:lnTo>
                  <a:lnTo>
                    <a:pt x="2332" y="8"/>
                  </a:lnTo>
                  <a:lnTo>
                    <a:pt x="2331" y="8"/>
                  </a:lnTo>
                  <a:lnTo>
                    <a:pt x="2331" y="7"/>
                  </a:lnTo>
                  <a:lnTo>
                    <a:pt x="2329" y="7"/>
                  </a:lnTo>
                  <a:lnTo>
                    <a:pt x="2329" y="5"/>
                  </a:lnTo>
                  <a:lnTo>
                    <a:pt x="2328" y="5"/>
                  </a:lnTo>
                  <a:lnTo>
                    <a:pt x="2328" y="3"/>
                  </a:lnTo>
                  <a:lnTo>
                    <a:pt x="2326" y="2"/>
                  </a:lnTo>
                  <a:lnTo>
                    <a:pt x="2479" y="0"/>
                  </a:lnTo>
                  <a:lnTo>
                    <a:pt x="2479" y="2"/>
                  </a:lnTo>
                  <a:lnTo>
                    <a:pt x="2477" y="2"/>
                  </a:lnTo>
                  <a:lnTo>
                    <a:pt x="2477" y="3"/>
                  </a:lnTo>
                  <a:lnTo>
                    <a:pt x="2476" y="3"/>
                  </a:lnTo>
                  <a:lnTo>
                    <a:pt x="2476" y="5"/>
                  </a:lnTo>
                  <a:lnTo>
                    <a:pt x="2474" y="5"/>
                  </a:lnTo>
                  <a:lnTo>
                    <a:pt x="2474" y="7"/>
                  </a:lnTo>
                  <a:lnTo>
                    <a:pt x="2474" y="5"/>
                  </a:lnTo>
                  <a:lnTo>
                    <a:pt x="2476" y="5"/>
                  </a:lnTo>
                  <a:lnTo>
                    <a:pt x="2477" y="5"/>
                  </a:lnTo>
                  <a:lnTo>
                    <a:pt x="2477" y="3"/>
                  </a:lnTo>
                  <a:lnTo>
                    <a:pt x="2479" y="3"/>
                  </a:lnTo>
                  <a:lnTo>
                    <a:pt x="2479" y="2"/>
                  </a:lnTo>
                  <a:lnTo>
                    <a:pt x="2480" y="2"/>
                  </a:lnTo>
                  <a:lnTo>
                    <a:pt x="2480" y="0"/>
                  </a:lnTo>
                  <a:lnTo>
                    <a:pt x="2482" y="2"/>
                  </a:lnTo>
                  <a:lnTo>
                    <a:pt x="2484" y="0"/>
                  </a:lnTo>
                  <a:lnTo>
                    <a:pt x="2484" y="2"/>
                  </a:lnTo>
                  <a:lnTo>
                    <a:pt x="2485" y="2"/>
                  </a:lnTo>
                  <a:lnTo>
                    <a:pt x="2485" y="3"/>
                  </a:lnTo>
                  <a:lnTo>
                    <a:pt x="2485" y="5"/>
                  </a:lnTo>
                  <a:lnTo>
                    <a:pt x="2485" y="7"/>
                  </a:lnTo>
                  <a:lnTo>
                    <a:pt x="2485" y="8"/>
                  </a:lnTo>
                  <a:lnTo>
                    <a:pt x="2487" y="8"/>
                  </a:lnTo>
                  <a:close/>
                  <a:moveTo>
                    <a:pt x="2277" y="28"/>
                  </a:moveTo>
                  <a:lnTo>
                    <a:pt x="2276" y="28"/>
                  </a:lnTo>
                  <a:lnTo>
                    <a:pt x="2276" y="29"/>
                  </a:lnTo>
                  <a:lnTo>
                    <a:pt x="2276" y="28"/>
                  </a:lnTo>
                  <a:lnTo>
                    <a:pt x="2277" y="28"/>
                  </a:lnTo>
                  <a:close/>
                  <a:moveTo>
                    <a:pt x="1780" y="34"/>
                  </a:moveTo>
                  <a:lnTo>
                    <a:pt x="1780" y="36"/>
                  </a:lnTo>
                  <a:lnTo>
                    <a:pt x="1780" y="34"/>
                  </a:lnTo>
                  <a:close/>
                  <a:moveTo>
                    <a:pt x="1780" y="34"/>
                  </a:moveTo>
                  <a:lnTo>
                    <a:pt x="1780" y="33"/>
                  </a:lnTo>
                  <a:lnTo>
                    <a:pt x="1780" y="34"/>
                  </a:lnTo>
                  <a:close/>
                  <a:moveTo>
                    <a:pt x="1651" y="86"/>
                  </a:moveTo>
                  <a:lnTo>
                    <a:pt x="1651" y="85"/>
                  </a:lnTo>
                  <a:lnTo>
                    <a:pt x="1651" y="86"/>
                  </a:lnTo>
                  <a:close/>
                  <a:moveTo>
                    <a:pt x="1592" y="218"/>
                  </a:moveTo>
                  <a:lnTo>
                    <a:pt x="1592" y="220"/>
                  </a:lnTo>
                  <a:lnTo>
                    <a:pt x="1592" y="218"/>
                  </a:lnTo>
                  <a:close/>
                  <a:moveTo>
                    <a:pt x="1625" y="192"/>
                  </a:moveTo>
                  <a:lnTo>
                    <a:pt x="1623" y="192"/>
                  </a:lnTo>
                  <a:lnTo>
                    <a:pt x="1625" y="192"/>
                  </a:lnTo>
                  <a:close/>
                  <a:moveTo>
                    <a:pt x="1627" y="192"/>
                  </a:moveTo>
                  <a:lnTo>
                    <a:pt x="1628" y="192"/>
                  </a:lnTo>
                  <a:lnTo>
                    <a:pt x="1630" y="190"/>
                  </a:lnTo>
                  <a:lnTo>
                    <a:pt x="1628" y="190"/>
                  </a:lnTo>
                  <a:lnTo>
                    <a:pt x="1628" y="192"/>
                  </a:lnTo>
                  <a:lnTo>
                    <a:pt x="1627" y="192"/>
                  </a:lnTo>
                  <a:lnTo>
                    <a:pt x="1625" y="192"/>
                  </a:lnTo>
                  <a:lnTo>
                    <a:pt x="1627" y="192"/>
                  </a:lnTo>
                  <a:close/>
                  <a:moveTo>
                    <a:pt x="1596" y="203"/>
                  </a:moveTo>
                  <a:lnTo>
                    <a:pt x="1594" y="203"/>
                  </a:lnTo>
                  <a:lnTo>
                    <a:pt x="1596" y="203"/>
                  </a:lnTo>
                  <a:lnTo>
                    <a:pt x="1594" y="203"/>
                  </a:lnTo>
                  <a:lnTo>
                    <a:pt x="1596" y="203"/>
                  </a:lnTo>
                  <a:close/>
                  <a:moveTo>
                    <a:pt x="1214" y="166"/>
                  </a:moveTo>
                  <a:lnTo>
                    <a:pt x="1212" y="166"/>
                  </a:lnTo>
                  <a:lnTo>
                    <a:pt x="1214" y="166"/>
                  </a:lnTo>
                  <a:close/>
                  <a:moveTo>
                    <a:pt x="1516" y="158"/>
                  </a:moveTo>
                  <a:lnTo>
                    <a:pt x="1516" y="156"/>
                  </a:lnTo>
                  <a:lnTo>
                    <a:pt x="1514" y="156"/>
                  </a:lnTo>
                  <a:lnTo>
                    <a:pt x="1516" y="156"/>
                  </a:lnTo>
                  <a:lnTo>
                    <a:pt x="1516" y="158"/>
                  </a:lnTo>
                  <a:close/>
                  <a:moveTo>
                    <a:pt x="1500" y="114"/>
                  </a:moveTo>
                  <a:lnTo>
                    <a:pt x="1498" y="114"/>
                  </a:lnTo>
                  <a:lnTo>
                    <a:pt x="1500" y="114"/>
                  </a:lnTo>
                  <a:close/>
                  <a:moveTo>
                    <a:pt x="1497" y="112"/>
                  </a:moveTo>
                  <a:lnTo>
                    <a:pt x="1497" y="114"/>
                  </a:lnTo>
                  <a:lnTo>
                    <a:pt x="1497" y="112"/>
                  </a:lnTo>
                  <a:close/>
                  <a:moveTo>
                    <a:pt x="1492" y="106"/>
                  </a:moveTo>
                  <a:lnTo>
                    <a:pt x="1492" y="104"/>
                  </a:lnTo>
                  <a:lnTo>
                    <a:pt x="1492" y="106"/>
                  </a:lnTo>
                  <a:close/>
                  <a:moveTo>
                    <a:pt x="1467" y="78"/>
                  </a:moveTo>
                  <a:lnTo>
                    <a:pt x="1467" y="77"/>
                  </a:lnTo>
                  <a:lnTo>
                    <a:pt x="1466" y="77"/>
                  </a:lnTo>
                  <a:lnTo>
                    <a:pt x="1467" y="77"/>
                  </a:lnTo>
                  <a:lnTo>
                    <a:pt x="1467" y="78"/>
                  </a:lnTo>
                  <a:close/>
                  <a:moveTo>
                    <a:pt x="1453" y="65"/>
                  </a:moveTo>
                  <a:lnTo>
                    <a:pt x="1454" y="65"/>
                  </a:lnTo>
                  <a:lnTo>
                    <a:pt x="1454" y="64"/>
                  </a:lnTo>
                  <a:lnTo>
                    <a:pt x="1453" y="65"/>
                  </a:lnTo>
                  <a:close/>
                  <a:moveTo>
                    <a:pt x="1454" y="64"/>
                  </a:moveTo>
                  <a:lnTo>
                    <a:pt x="1454" y="65"/>
                  </a:lnTo>
                  <a:lnTo>
                    <a:pt x="1454" y="64"/>
                  </a:lnTo>
                  <a:close/>
                  <a:moveTo>
                    <a:pt x="1438" y="52"/>
                  </a:moveTo>
                  <a:lnTo>
                    <a:pt x="1438" y="51"/>
                  </a:lnTo>
                  <a:lnTo>
                    <a:pt x="1438" y="52"/>
                  </a:lnTo>
                  <a:lnTo>
                    <a:pt x="1436" y="52"/>
                  </a:lnTo>
                  <a:lnTo>
                    <a:pt x="1438" y="52"/>
                  </a:lnTo>
                  <a:close/>
                  <a:moveTo>
                    <a:pt x="1425" y="41"/>
                  </a:moveTo>
                  <a:lnTo>
                    <a:pt x="1425" y="42"/>
                  </a:lnTo>
                  <a:lnTo>
                    <a:pt x="1425" y="41"/>
                  </a:lnTo>
                  <a:close/>
                  <a:moveTo>
                    <a:pt x="1220" y="579"/>
                  </a:moveTo>
                  <a:lnTo>
                    <a:pt x="1222" y="579"/>
                  </a:lnTo>
                  <a:lnTo>
                    <a:pt x="1222" y="581"/>
                  </a:lnTo>
                  <a:lnTo>
                    <a:pt x="1222" y="579"/>
                  </a:lnTo>
                  <a:lnTo>
                    <a:pt x="1220" y="579"/>
                  </a:lnTo>
                  <a:close/>
                  <a:moveTo>
                    <a:pt x="1267" y="805"/>
                  </a:moveTo>
                  <a:lnTo>
                    <a:pt x="1266" y="805"/>
                  </a:lnTo>
                  <a:lnTo>
                    <a:pt x="1267" y="805"/>
                  </a:lnTo>
                  <a:lnTo>
                    <a:pt x="1267" y="807"/>
                  </a:lnTo>
                  <a:lnTo>
                    <a:pt x="1266" y="807"/>
                  </a:lnTo>
                  <a:lnTo>
                    <a:pt x="1266" y="808"/>
                  </a:lnTo>
                  <a:lnTo>
                    <a:pt x="1267" y="810"/>
                  </a:lnTo>
                  <a:lnTo>
                    <a:pt x="1266" y="808"/>
                  </a:lnTo>
                  <a:lnTo>
                    <a:pt x="1267" y="808"/>
                  </a:lnTo>
                  <a:lnTo>
                    <a:pt x="1267" y="807"/>
                  </a:lnTo>
                  <a:lnTo>
                    <a:pt x="1267" y="805"/>
                  </a:lnTo>
                  <a:lnTo>
                    <a:pt x="1267" y="804"/>
                  </a:lnTo>
                  <a:lnTo>
                    <a:pt x="1267" y="805"/>
                  </a:lnTo>
                  <a:lnTo>
                    <a:pt x="1267" y="804"/>
                  </a:lnTo>
                  <a:lnTo>
                    <a:pt x="1266" y="804"/>
                  </a:lnTo>
                  <a:lnTo>
                    <a:pt x="1266" y="805"/>
                  </a:lnTo>
                  <a:lnTo>
                    <a:pt x="1267" y="805"/>
                  </a:lnTo>
                  <a:close/>
                  <a:moveTo>
                    <a:pt x="1264" y="807"/>
                  </a:moveTo>
                  <a:lnTo>
                    <a:pt x="1264" y="805"/>
                  </a:lnTo>
                  <a:lnTo>
                    <a:pt x="1264" y="807"/>
                  </a:lnTo>
                  <a:lnTo>
                    <a:pt x="1266" y="807"/>
                  </a:lnTo>
                  <a:lnTo>
                    <a:pt x="1266" y="805"/>
                  </a:lnTo>
                  <a:lnTo>
                    <a:pt x="1266" y="807"/>
                  </a:lnTo>
                  <a:lnTo>
                    <a:pt x="1264" y="807"/>
                  </a:lnTo>
                  <a:lnTo>
                    <a:pt x="1264" y="805"/>
                  </a:lnTo>
                  <a:lnTo>
                    <a:pt x="1264" y="807"/>
                  </a:lnTo>
                  <a:close/>
                  <a:moveTo>
                    <a:pt x="1274" y="812"/>
                  </a:moveTo>
                  <a:lnTo>
                    <a:pt x="1272" y="812"/>
                  </a:lnTo>
                  <a:lnTo>
                    <a:pt x="1270" y="812"/>
                  </a:lnTo>
                  <a:lnTo>
                    <a:pt x="1272" y="812"/>
                  </a:lnTo>
                  <a:lnTo>
                    <a:pt x="1270" y="812"/>
                  </a:lnTo>
                  <a:lnTo>
                    <a:pt x="1269" y="810"/>
                  </a:lnTo>
                  <a:lnTo>
                    <a:pt x="1269" y="812"/>
                  </a:lnTo>
                  <a:lnTo>
                    <a:pt x="1269" y="810"/>
                  </a:lnTo>
                  <a:lnTo>
                    <a:pt x="1267" y="810"/>
                  </a:lnTo>
                  <a:lnTo>
                    <a:pt x="1269" y="812"/>
                  </a:lnTo>
                  <a:lnTo>
                    <a:pt x="1270" y="812"/>
                  </a:lnTo>
                  <a:lnTo>
                    <a:pt x="1272" y="812"/>
                  </a:lnTo>
                  <a:lnTo>
                    <a:pt x="1270" y="812"/>
                  </a:lnTo>
                  <a:lnTo>
                    <a:pt x="1272" y="812"/>
                  </a:lnTo>
                  <a:lnTo>
                    <a:pt x="1274" y="812"/>
                  </a:lnTo>
                  <a:close/>
                  <a:moveTo>
                    <a:pt x="1274" y="812"/>
                  </a:moveTo>
                  <a:lnTo>
                    <a:pt x="1274" y="813"/>
                  </a:lnTo>
                  <a:lnTo>
                    <a:pt x="1274" y="812"/>
                  </a:lnTo>
                  <a:lnTo>
                    <a:pt x="1274" y="813"/>
                  </a:lnTo>
                  <a:lnTo>
                    <a:pt x="1275" y="813"/>
                  </a:lnTo>
                  <a:lnTo>
                    <a:pt x="1274" y="813"/>
                  </a:lnTo>
                  <a:lnTo>
                    <a:pt x="1275" y="812"/>
                  </a:lnTo>
                  <a:lnTo>
                    <a:pt x="1274" y="812"/>
                  </a:lnTo>
                  <a:lnTo>
                    <a:pt x="1275" y="812"/>
                  </a:lnTo>
                  <a:lnTo>
                    <a:pt x="1275" y="813"/>
                  </a:lnTo>
                  <a:lnTo>
                    <a:pt x="1275" y="812"/>
                  </a:lnTo>
                  <a:lnTo>
                    <a:pt x="1274" y="812"/>
                  </a:lnTo>
                  <a:lnTo>
                    <a:pt x="1274" y="813"/>
                  </a:lnTo>
                  <a:lnTo>
                    <a:pt x="1274" y="812"/>
                  </a:lnTo>
                  <a:lnTo>
                    <a:pt x="1274" y="813"/>
                  </a:lnTo>
                  <a:lnTo>
                    <a:pt x="1274" y="812"/>
                  </a:lnTo>
                  <a:close/>
                  <a:moveTo>
                    <a:pt x="1277" y="813"/>
                  </a:moveTo>
                  <a:lnTo>
                    <a:pt x="1275" y="813"/>
                  </a:lnTo>
                  <a:lnTo>
                    <a:pt x="1277" y="813"/>
                  </a:lnTo>
                  <a:lnTo>
                    <a:pt x="1279" y="813"/>
                  </a:lnTo>
                  <a:lnTo>
                    <a:pt x="1277" y="813"/>
                  </a:lnTo>
                  <a:lnTo>
                    <a:pt x="1279" y="813"/>
                  </a:lnTo>
                  <a:lnTo>
                    <a:pt x="1277" y="813"/>
                  </a:lnTo>
                  <a:close/>
                  <a:moveTo>
                    <a:pt x="1280" y="815"/>
                  </a:moveTo>
                  <a:lnTo>
                    <a:pt x="1282" y="815"/>
                  </a:lnTo>
                  <a:lnTo>
                    <a:pt x="1280" y="815"/>
                  </a:lnTo>
                  <a:lnTo>
                    <a:pt x="1280" y="817"/>
                  </a:lnTo>
                  <a:lnTo>
                    <a:pt x="1280" y="818"/>
                  </a:lnTo>
                  <a:lnTo>
                    <a:pt x="1280" y="820"/>
                  </a:lnTo>
                  <a:lnTo>
                    <a:pt x="1280" y="818"/>
                  </a:lnTo>
                  <a:lnTo>
                    <a:pt x="1282" y="817"/>
                  </a:lnTo>
                  <a:lnTo>
                    <a:pt x="1280" y="817"/>
                  </a:lnTo>
                  <a:lnTo>
                    <a:pt x="1280" y="815"/>
                  </a:lnTo>
                  <a:lnTo>
                    <a:pt x="1282" y="815"/>
                  </a:lnTo>
                  <a:lnTo>
                    <a:pt x="1280" y="815"/>
                  </a:lnTo>
                  <a:lnTo>
                    <a:pt x="1280" y="813"/>
                  </a:lnTo>
                  <a:lnTo>
                    <a:pt x="1279" y="813"/>
                  </a:lnTo>
                  <a:lnTo>
                    <a:pt x="1279" y="815"/>
                  </a:lnTo>
                  <a:lnTo>
                    <a:pt x="1279" y="813"/>
                  </a:lnTo>
                  <a:lnTo>
                    <a:pt x="1280" y="813"/>
                  </a:lnTo>
                  <a:lnTo>
                    <a:pt x="1280" y="815"/>
                  </a:lnTo>
                  <a:close/>
                  <a:moveTo>
                    <a:pt x="1257" y="841"/>
                  </a:moveTo>
                  <a:lnTo>
                    <a:pt x="1259" y="839"/>
                  </a:lnTo>
                  <a:lnTo>
                    <a:pt x="1257" y="839"/>
                  </a:lnTo>
                  <a:lnTo>
                    <a:pt x="1257" y="841"/>
                  </a:lnTo>
                  <a:lnTo>
                    <a:pt x="1257" y="839"/>
                  </a:lnTo>
                  <a:lnTo>
                    <a:pt x="1256" y="839"/>
                  </a:lnTo>
                  <a:lnTo>
                    <a:pt x="1257" y="839"/>
                  </a:lnTo>
                  <a:lnTo>
                    <a:pt x="1257" y="841"/>
                  </a:lnTo>
                  <a:lnTo>
                    <a:pt x="1256" y="841"/>
                  </a:lnTo>
                  <a:lnTo>
                    <a:pt x="1257" y="841"/>
                  </a:lnTo>
                  <a:lnTo>
                    <a:pt x="1257" y="843"/>
                  </a:lnTo>
                  <a:lnTo>
                    <a:pt x="1257" y="841"/>
                  </a:lnTo>
                  <a:lnTo>
                    <a:pt x="1257" y="843"/>
                  </a:lnTo>
                  <a:lnTo>
                    <a:pt x="1257" y="841"/>
                  </a:lnTo>
                  <a:close/>
                  <a:moveTo>
                    <a:pt x="1161" y="791"/>
                  </a:moveTo>
                  <a:lnTo>
                    <a:pt x="1161" y="789"/>
                  </a:lnTo>
                  <a:lnTo>
                    <a:pt x="1161" y="791"/>
                  </a:lnTo>
                  <a:lnTo>
                    <a:pt x="1163" y="791"/>
                  </a:lnTo>
                  <a:lnTo>
                    <a:pt x="1161" y="791"/>
                  </a:lnTo>
                  <a:close/>
                  <a:moveTo>
                    <a:pt x="903" y="776"/>
                  </a:moveTo>
                  <a:lnTo>
                    <a:pt x="901" y="776"/>
                  </a:lnTo>
                  <a:lnTo>
                    <a:pt x="903" y="776"/>
                  </a:lnTo>
                  <a:close/>
                  <a:moveTo>
                    <a:pt x="753" y="843"/>
                  </a:moveTo>
                  <a:lnTo>
                    <a:pt x="753" y="841"/>
                  </a:lnTo>
                  <a:lnTo>
                    <a:pt x="752" y="843"/>
                  </a:lnTo>
                  <a:lnTo>
                    <a:pt x="752" y="841"/>
                  </a:lnTo>
                  <a:lnTo>
                    <a:pt x="752" y="843"/>
                  </a:lnTo>
                  <a:lnTo>
                    <a:pt x="753" y="841"/>
                  </a:lnTo>
                  <a:lnTo>
                    <a:pt x="753" y="843"/>
                  </a:lnTo>
                  <a:close/>
                </a:path>
              </a:pathLst>
            </a:custGeom>
            <a:solidFill>
              <a:srgbClr val="E5E5E5"/>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1212" name="Freeform 58">
              <a:extLst>
                <a:ext uri="{FF2B5EF4-FFF2-40B4-BE49-F238E27FC236}">
                  <a16:creationId xmlns:a16="http://schemas.microsoft.com/office/drawing/2014/main" id="{D9E26180-27F9-9613-0F47-BDA629E23C99}"/>
                </a:ext>
              </a:extLst>
            </p:cNvPr>
            <p:cNvSpPr>
              <a:spLocks noEditPoints="1"/>
            </p:cNvSpPr>
            <p:nvPr/>
          </p:nvSpPr>
          <p:spPr bwMode="auto">
            <a:xfrm>
              <a:off x="4277" y="981"/>
              <a:ext cx="768" cy="1998"/>
            </a:xfrm>
            <a:custGeom>
              <a:avLst/>
              <a:gdLst>
                <a:gd name="T0" fmla="*/ 52 w 768"/>
                <a:gd name="T1" fmla="*/ 1565 h 1998"/>
                <a:gd name="T2" fmla="*/ 13 w 768"/>
                <a:gd name="T3" fmla="*/ 1495 h 1998"/>
                <a:gd name="T4" fmla="*/ 477 w 768"/>
                <a:gd name="T5" fmla="*/ 0 h 1998"/>
                <a:gd name="T6" fmla="*/ 718 w 768"/>
                <a:gd name="T7" fmla="*/ 345 h 1998"/>
                <a:gd name="T8" fmla="*/ 674 w 768"/>
                <a:gd name="T9" fmla="*/ 362 h 1998"/>
                <a:gd name="T10" fmla="*/ 680 w 768"/>
                <a:gd name="T11" fmla="*/ 438 h 1998"/>
                <a:gd name="T12" fmla="*/ 630 w 768"/>
                <a:gd name="T13" fmla="*/ 511 h 1998"/>
                <a:gd name="T14" fmla="*/ 623 w 768"/>
                <a:gd name="T15" fmla="*/ 609 h 1998"/>
                <a:gd name="T16" fmla="*/ 602 w 768"/>
                <a:gd name="T17" fmla="*/ 741 h 1998"/>
                <a:gd name="T18" fmla="*/ 527 w 768"/>
                <a:gd name="T19" fmla="*/ 799 h 1998"/>
                <a:gd name="T20" fmla="*/ 469 w 768"/>
                <a:gd name="T21" fmla="*/ 892 h 1998"/>
                <a:gd name="T22" fmla="*/ 444 w 768"/>
                <a:gd name="T23" fmla="*/ 960 h 1998"/>
                <a:gd name="T24" fmla="*/ 430 w 768"/>
                <a:gd name="T25" fmla="*/ 1066 h 1998"/>
                <a:gd name="T26" fmla="*/ 430 w 768"/>
                <a:gd name="T27" fmla="*/ 1155 h 1998"/>
                <a:gd name="T28" fmla="*/ 506 w 768"/>
                <a:gd name="T29" fmla="*/ 1241 h 1998"/>
                <a:gd name="T30" fmla="*/ 561 w 768"/>
                <a:gd name="T31" fmla="*/ 1329 h 1998"/>
                <a:gd name="T32" fmla="*/ 555 w 768"/>
                <a:gd name="T33" fmla="*/ 1401 h 1998"/>
                <a:gd name="T34" fmla="*/ 506 w 768"/>
                <a:gd name="T35" fmla="*/ 1466 h 1998"/>
                <a:gd name="T36" fmla="*/ 451 w 768"/>
                <a:gd name="T37" fmla="*/ 1500 h 1998"/>
                <a:gd name="T38" fmla="*/ 448 w 768"/>
                <a:gd name="T39" fmla="*/ 1570 h 1998"/>
                <a:gd name="T40" fmla="*/ 422 w 768"/>
                <a:gd name="T41" fmla="*/ 1622 h 1998"/>
                <a:gd name="T42" fmla="*/ 436 w 768"/>
                <a:gd name="T43" fmla="*/ 1746 h 1998"/>
                <a:gd name="T44" fmla="*/ 353 w 768"/>
                <a:gd name="T45" fmla="*/ 1873 h 1998"/>
                <a:gd name="T46" fmla="*/ 168 w 768"/>
                <a:gd name="T47" fmla="*/ 1977 h 1998"/>
                <a:gd name="T48" fmla="*/ 98 w 768"/>
                <a:gd name="T49" fmla="*/ 1718 h 1998"/>
                <a:gd name="T50" fmla="*/ 583 w 768"/>
                <a:gd name="T51" fmla="*/ 1729 h 1998"/>
                <a:gd name="T52" fmla="*/ 438 w 768"/>
                <a:gd name="T53" fmla="*/ 1845 h 1998"/>
                <a:gd name="T54" fmla="*/ 41 w 768"/>
                <a:gd name="T55" fmla="*/ 1604 h 1998"/>
                <a:gd name="T56" fmla="*/ 555 w 768"/>
                <a:gd name="T57" fmla="*/ 1365 h 1998"/>
                <a:gd name="T58" fmla="*/ 571 w 768"/>
                <a:gd name="T59" fmla="*/ 1324 h 1998"/>
                <a:gd name="T60" fmla="*/ 662 w 768"/>
                <a:gd name="T61" fmla="*/ 497 h 1998"/>
                <a:gd name="T62" fmla="*/ 51 w 768"/>
                <a:gd name="T63" fmla="*/ 1638 h 1998"/>
                <a:gd name="T64" fmla="*/ 561 w 768"/>
                <a:gd name="T65" fmla="*/ 1381 h 1998"/>
                <a:gd name="T66" fmla="*/ 584 w 768"/>
                <a:gd name="T67" fmla="*/ 1316 h 1998"/>
                <a:gd name="T68" fmla="*/ 589 w 768"/>
                <a:gd name="T69" fmla="*/ 1355 h 1998"/>
                <a:gd name="T70" fmla="*/ 757 w 768"/>
                <a:gd name="T71" fmla="*/ 438 h 1998"/>
                <a:gd name="T72" fmla="*/ 440 w 768"/>
                <a:gd name="T73" fmla="*/ 1646 h 1998"/>
                <a:gd name="T74" fmla="*/ 12 w 768"/>
                <a:gd name="T75" fmla="*/ 1485 h 1998"/>
                <a:gd name="T76" fmla="*/ 565 w 768"/>
                <a:gd name="T77" fmla="*/ 1380 h 1998"/>
                <a:gd name="T78" fmla="*/ 568 w 768"/>
                <a:gd name="T79" fmla="*/ 1424 h 1998"/>
                <a:gd name="T80" fmla="*/ 706 w 768"/>
                <a:gd name="T81" fmla="*/ 440 h 1998"/>
                <a:gd name="T82" fmla="*/ 422 w 768"/>
                <a:gd name="T83" fmla="*/ 1092 h 1998"/>
                <a:gd name="T84" fmla="*/ 454 w 768"/>
                <a:gd name="T85" fmla="*/ 1533 h 1998"/>
                <a:gd name="T86" fmla="*/ 441 w 768"/>
                <a:gd name="T87" fmla="*/ 1550 h 1998"/>
                <a:gd name="T88" fmla="*/ 363 w 768"/>
                <a:gd name="T89" fmla="*/ 1873 h 1998"/>
                <a:gd name="T90" fmla="*/ 448 w 768"/>
                <a:gd name="T91" fmla="*/ 1580 h 1998"/>
                <a:gd name="T92" fmla="*/ 747 w 768"/>
                <a:gd name="T93" fmla="*/ 391 h 1998"/>
                <a:gd name="T94" fmla="*/ 719 w 768"/>
                <a:gd name="T95" fmla="*/ 435 h 1998"/>
                <a:gd name="T96" fmla="*/ 459 w 768"/>
                <a:gd name="T97" fmla="*/ 1573 h 1998"/>
                <a:gd name="T98" fmla="*/ 451 w 768"/>
                <a:gd name="T99" fmla="*/ 1552 h 1998"/>
                <a:gd name="T100" fmla="*/ 7 w 768"/>
                <a:gd name="T101" fmla="*/ 1544 h 1998"/>
                <a:gd name="T102" fmla="*/ 571 w 768"/>
                <a:gd name="T103" fmla="*/ 1307 h 1998"/>
                <a:gd name="T104" fmla="*/ 605 w 768"/>
                <a:gd name="T105" fmla="*/ 1368 h 1998"/>
                <a:gd name="T106" fmla="*/ 383 w 768"/>
                <a:gd name="T107" fmla="*/ 1871 h 1998"/>
                <a:gd name="T108" fmla="*/ 31 w 768"/>
                <a:gd name="T109" fmla="*/ 1603 h 1998"/>
                <a:gd name="T110" fmla="*/ 470 w 768"/>
                <a:gd name="T111" fmla="*/ 876 h 1998"/>
                <a:gd name="T112" fmla="*/ 588 w 768"/>
                <a:gd name="T113" fmla="*/ 1375 h 1998"/>
                <a:gd name="T114" fmla="*/ 648 w 768"/>
                <a:gd name="T115" fmla="*/ 485 h 1998"/>
                <a:gd name="T116" fmla="*/ 739 w 768"/>
                <a:gd name="T117" fmla="*/ 431 h 1998"/>
                <a:gd name="T118" fmla="*/ 737 w 768"/>
                <a:gd name="T119" fmla="*/ 423 h 1998"/>
                <a:gd name="T120" fmla="*/ 443 w 768"/>
                <a:gd name="T121" fmla="*/ 1651 h 1998"/>
                <a:gd name="T122" fmla="*/ 423 w 768"/>
                <a:gd name="T123" fmla="*/ 1093 h 1998"/>
                <a:gd name="T124" fmla="*/ 420 w 768"/>
                <a:gd name="T125" fmla="*/ 1092 h 19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768" h="1998">
                  <a:moveTo>
                    <a:pt x="77" y="1685"/>
                  </a:moveTo>
                  <a:lnTo>
                    <a:pt x="77" y="1684"/>
                  </a:lnTo>
                  <a:lnTo>
                    <a:pt x="77" y="1685"/>
                  </a:lnTo>
                  <a:lnTo>
                    <a:pt x="78" y="1685"/>
                  </a:lnTo>
                  <a:lnTo>
                    <a:pt x="77" y="1684"/>
                  </a:lnTo>
                  <a:lnTo>
                    <a:pt x="77" y="1682"/>
                  </a:lnTo>
                  <a:lnTo>
                    <a:pt x="78" y="1682"/>
                  </a:lnTo>
                  <a:lnTo>
                    <a:pt x="78" y="1681"/>
                  </a:lnTo>
                  <a:lnTo>
                    <a:pt x="77" y="1681"/>
                  </a:lnTo>
                  <a:lnTo>
                    <a:pt x="78" y="1681"/>
                  </a:lnTo>
                  <a:lnTo>
                    <a:pt x="78" y="1679"/>
                  </a:lnTo>
                  <a:lnTo>
                    <a:pt x="77" y="1679"/>
                  </a:lnTo>
                  <a:lnTo>
                    <a:pt x="75" y="1679"/>
                  </a:lnTo>
                  <a:lnTo>
                    <a:pt x="77" y="1679"/>
                  </a:lnTo>
                  <a:lnTo>
                    <a:pt x="77" y="1681"/>
                  </a:lnTo>
                  <a:lnTo>
                    <a:pt x="75" y="1681"/>
                  </a:lnTo>
                  <a:lnTo>
                    <a:pt x="75" y="1679"/>
                  </a:lnTo>
                  <a:lnTo>
                    <a:pt x="75" y="1677"/>
                  </a:lnTo>
                  <a:lnTo>
                    <a:pt x="75" y="1679"/>
                  </a:lnTo>
                  <a:lnTo>
                    <a:pt x="77" y="1677"/>
                  </a:lnTo>
                  <a:lnTo>
                    <a:pt x="75" y="1677"/>
                  </a:lnTo>
                  <a:lnTo>
                    <a:pt x="77" y="1677"/>
                  </a:lnTo>
                  <a:lnTo>
                    <a:pt x="77" y="1676"/>
                  </a:lnTo>
                  <a:lnTo>
                    <a:pt x="77" y="1674"/>
                  </a:lnTo>
                  <a:lnTo>
                    <a:pt x="75" y="1674"/>
                  </a:lnTo>
                  <a:lnTo>
                    <a:pt x="75" y="1672"/>
                  </a:lnTo>
                  <a:lnTo>
                    <a:pt x="75" y="1674"/>
                  </a:lnTo>
                  <a:lnTo>
                    <a:pt x="75" y="1676"/>
                  </a:lnTo>
                  <a:lnTo>
                    <a:pt x="74" y="1676"/>
                  </a:lnTo>
                  <a:lnTo>
                    <a:pt x="74" y="1674"/>
                  </a:lnTo>
                  <a:lnTo>
                    <a:pt x="74" y="1672"/>
                  </a:lnTo>
                  <a:lnTo>
                    <a:pt x="72" y="1672"/>
                  </a:lnTo>
                  <a:lnTo>
                    <a:pt x="70" y="1672"/>
                  </a:lnTo>
                  <a:lnTo>
                    <a:pt x="70" y="1671"/>
                  </a:lnTo>
                  <a:lnTo>
                    <a:pt x="72" y="1671"/>
                  </a:lnTo>
                  <a:lnTo>
                    <a:pt x="70" y="1671"/>
                  </a:lnTo>
                  <a:lnTo>
                    <a:pt x="72" y="1672"/>
                  </a:lnTo>
                  <a:lnTo>
                    <a:pt x="72" y="1671"/>
                  </a:lnTo>
                  <a:lnTo>
                    <a:pt x="70" y="1671"/>
                  </a:lnTo>
                  <a:lnTo>
                    <a:pt x="72" y="1669"/>
                  </a:lnTo>
                  <a:lnTo>
                    <a:pt x="70" y="1669"/>
                  </a:lnTo>
                  <a:lnTo>
                    <a:pt x="72" y="1669"/>
                  </a:lnTo>
                  <a:lnTo>
                    <a:pt x="70" y="1669"/>
                  </a:lnTo>
                  <a:lnTo>
                    <a:pt x="70" y="1668"/>
                  </a:lnTo>
                  <a:lnTo>
                    <a:pt x="72" y="1668"/>
                  </a:lnTo>
                  <a:lnTo>
                    <a:pt x="70" y="1668"/>
                  </a:lnTo>
                  <a:lnTo>
                    <a:pt x="72" y="1666"/>
                  </a:lnTo>
                  <a:lnTo>
                    <a:pt x="74" y="1666"/>
                  </a:lnTo>
                  <a:lnTo>
                    <a:pt x="74" y="1664"/>
                  </a:lnTo>
                  <a:lnTo>
                    <a:pt x="74" y="1666"/>
                  </a:lnTo>
                  <a:lnTo>
                    <a:pt x="75" y="1664"/>
                  </a:lnTo>
                  <a:lnTo>
                    <a:pt x="77" y="1663"/>
                  </a:lnTo>
                  <a:lnTo>
                    <a:pt x="78" y="1663"/>
                  </a:lnTo>
                  <a:lnTo>
                    <a:pt x="80" y="1661"/>
                  </a:lnTo>
                  <a:lnTo>
                    <a:pt x="82" y="1659"/>
                  </a:lnTo>
                  <a:lnTo>
                    <a:pt x="80" y="1661"/>
                  </a:lnTo>
                  <a:lnTo>
                    <a:pt x="78" y="1661"/>
                  </a:lnTo>
                  <a:lnTo>
                    <a:pt x="78" y="1663"/>
                  </a:lnTo>
                  <a:lnTo>
                    <a:pt x="77" y="1663"/>
                  </a:lnTo>
                  <a:lnTo>
                    <a:pt x="75" y="1664"/>
                  </a:lnTo>
                  <a:lnTo>
                    <a:pt x="74" y="1664"/>
                  </a:lnTo>
                  <a:lnTo>
                    <a:pt x="72" y="1664"/>
                  </a:lnTo>
                  <a:lnTo>
                    <a:pt x="70" y="1664"/>
                  </a:lnTo>
                  <a:lnTo>
                    <a:pt x="69" y="1664"/>
                  </a:lnTo>
                  <a:lnTo>
                    <a:pt x="67" y="1664"/>
                  </a:lnTo>
                  <a:lnTo>
                    <a:pt x="67" y="1666"/>
                  </a:lnTo>
                  <a:lnTo>
                    <a:pt x="67" y="1664"/>
                  </a:lnTo>
                  <a:lnTo>
                    <a:pt x="67" y="1663"/>
                  </a:lnTo>
                  <a:lnTo>
                    <a:pt x="67" y="1664"/>
                  </a:lnTo>
                  <a:lnTo>
                    <a:pt x="67" y="1663"/>
                  </a:lnTo>
                  <a:lnTo>
                    <a:pt x="69" y="1663"/>
                  </a:lnTo>
                  <a:lnTo>
                    <a:pt x="67" y="1663"/>
                  </a:lnTo>
                  <a:lnTo>
                    <a:pt x="67" y="1661"/>
                  </a:lnTo>
                  <a:lnTo>
                    <a:pt x="65" y="1661"/>
                  </a:lnTo>
                  <a:lnTo>
                    <a:pt x="65" y="1663"/>
                  </a:lnTo>
                  <a:lnTo>
                    <a:pt x="67" y="1663"/>
                  </a:lnTo>
                  <a:lnTo>
                    <a:pt x="65" y="1663"/>
                  </a:lnTo>
                  <a:lnTo>
                    <a:pt x="67" y="1663"/>
                  </a:lnTo>
                  <a:lnTo>
                    <a:pt x="65" y="1664"/>
                  </a:lnTo>
                  <a:lnTo>
                    <a:pt x="65" y="1663"/>
                  </a:lnTo>
                  <a:lnTo>
                    <a:pt x="65" y="1664"/>
                  </a:lnTo>
                  <a:lnTo>
                    <a:pt x="65" y="1666"/>
                  </a:lnTo>
                  <a:lnTo>
                    <a:pt x="64" y="1664"/>
                  </a:lnTo>
                  <a:lnTo>
                    <a:pt x="64" y="1666"/>
                  </a:lnTo>
                  <a:lnTo>
                    <a:pt x="64" y="1664"/>
                  </a:lnTo>
                  <a:lnTo>
                    <a:pt x="62" y="1664"/>
                  </a:lnTo>
                  <a:lnTo>
                    <a:pt x="62" y="1663"/>
                  </a:lnTo>
                  <a:lnTo>
                    <a:pt x="62" y="1664"/>
                  </a:lnTo>
                  <a:lnTo>
                    <a:pt x="61" y="1664"/>
                  </a:lnTo>
                  <a:lnTo>
                    <a:pt x="61" y="1663"/>
                  </a:lnTo>
                  <a:lnTo>
                    <a:pt x="59" y="1663"/>
                  </a:lnTo>
                  <a:lnTo>
                    <a:pt x="61" y="1661"/>
                  </a:lnTo>
                  <a:lnTo>
                    <a:pt x="59" y="1661"/>
                  </a:lnTo>
                  <a:lnTo>
                    <a:pt x="61" y="1659"/>
                  </a:lnTo>
                  <a:lnTo>
                    <a:pt x="61" y="1658"/>
                  </a:lnTo>
                  <a:lnTo>
                    <a:pt x="62" y="1658"/>
                  </a:lnTo>
                  <a:lnTo>
                    <a:pt x="62" y="1656"/>
                  </a:lnTo>
                  <a:lnTo>
                    <a:pt x="64" y="1656"/>
                  </a:lnTo>
                  <a:lnTo>
                    <a:pt x="65" y="1656"/>
                  </a:lnTo>
                  <a:lnTo>
                    <a:pt x="67" y="1656"/>
                  </a:lnTo>
                  <a:lnTo>
                    <a:pt x="67" y="1655"/>
                  </a:lnTo>
                  <a:lnTo>
                    <a:pt x="65" y="1655"/>
                  </a:lnTo>
                  <a:lnTo>
                    <a:pt x="65" y="1653"/>
                  </a:lnTo>
                  <a:lnTo>
                    <a:pt x="67" y="1653"/>
                  </a:lnTo>
                  <a:lnTo>
                    <a:pt x="69" y="1651"/>
                  </a:lnTo>
                  <a:lnTo>
                    <a:pt x="67" y="1651"/>
                  </a:lnTo>
                  <a:lnTo>
                    <a:pt x="69" y="1651"/>
                  </a:lnTo>
                  <a:lnTo>
                    <a:pt x="69" y="1650"/>
                  </a:lnTo>
                  <a:lnTo>
                    <a:pt x="70" y="1650"/>
                  </a:lnTo>
                  <a:lnTo>
                    <a:pt x="70" y="1648"/>
                  </a:lnTo>
                  <a:lnTo>
                    <a:pt x="75" y="1645"/>
                  </a:lnTo>
                  <a:lnTo>
                    <a:pt x="75" y="1643"/>
                  </a:lnTo>
                  <a:lnTo>
                    <a:pt x="75" y="1642"/>
                  </a:lnTo>
                  <a:lnTo>
                    <a:pt x="75" y="1643"/>
                  </a:lnTo>
                  <a:lnTo>
                    <a:pt x="77" y="1643"/>
                  </a:lnTo>
                  <a:lnTo>
                    <a:pt x="77" y="1642"/>
                  </a:lnTo>
                  <a:lnTo>
                    <a:pt x="78" y="1642"/>
                  </a:lnTo>
                  <a:lnTo>
                    <a:pt x="78" y="1640"/>
                  </a:lnTo>
                  <a:lnTo>
                    <a:pt x="80" y="1640"/>
                  </a:lnTo>
                  <a:lnTo>
                    <a:pt x="82" y="1640"/>
                  </a:lnTo>
                  <a:lnTo>
                    <a:pt x="83" y="1640"/>
                  </a:lnTo>
                  <a:lnTo>
                    <a:pt x="85" y="1637"/>
                  </a:lnTo>
                  <a:lnTo>
                    <a:pt x="85" y="1633"/>
                  </a:lnTo>
                  <a:lnTo>
                    <a:pt x="87" y="1632"/>
                  </a:lnTo>
                  <a:lnTo>
                    <a:pt x="87" y="1630"/>
                  </a:lnTo>
                  <a:lnTo>
                    <a:pt x="87" y="1629"/>
                  </a:lnTo>
                  <a:lnTo>
                    <a:pt x="88" y="1627"/>
                  </a:lnTo>
                  <a:lnTo>
                    <a:pt x="87" y="1629"/>
                  </a:lnTo>
                  <a:lnTo>
                    <a:pt x="85" y="1633"/>
                  </a:lnTo>
                  <a:lnTo>
                    <a:pt x="85" y="1635"/>
                  </a:lnTo>
                  <a:lnTo>
                    <a:pt x="85" y="1637"/>
                  </a:lnTo>
                  <a:lnTo>
                    <a:pt x="83" y="1638"/>
                  </a:lnTo>
                  <a:lnTo>
                    <a:pt x="83" y="1640"/>
                  </a:lnTo>
                  <a:lnTo>
                    <a:pt x="82" y="1640"/>
                  </a:lnTo>
                  <a:lnTo>
                    <a:pt x="80" y="1640"/>
                  </a:lnTo>
                  <a:lnTo>
                    <a:pt x="78" y="1640"/>
                  </a:lnTo>
                  <a:lnTo>
                    <a:pt x="78" y="1642"/>
                  </a:lnTo>
                  <a:lnTo>
                    <a:pt x="77" y="1642"/>
                  </a:lnTo>
                  <a:lnTo>
                    <a:pt x="77" y="1643"/>
                  </a:lnTo>
                  <a:lnTo>
                    <a:pt x="75" y="1643"/>
                  </a:lnTo>
                  <a:lnTo>
                    <a:pt x="75" y="1642"/>
                  </a:lnTo>
                  <a:lnTo>
                    <a:pt x="74" y="1645"/>
                  </a:lnTo>
                  <a:lnTo>
                    <a:pt x="72" y="1648"/>
                  </a:lnTo>
                  <a:lnTo>
                    <a:pt x="70" y="1648"/>
                  </a:lnTo>
                  <a:lnTo>
                    <a:pt x="70" y="1650"/>
                  </a:lnTo>
                  <a:lnTo>
                    <a:pt x="69" y="1650"/>
                  </a:lnTo>
                  <a:lnTo>
                    <a:pt x="67" y="1650"/>
                  </a:lnTo>
                  <a:lnTo>
                    <a:pt x="65" y="1650"/>
                  </a:lnTo>
                  <a:lnTo>
                    <a:pt x="64" y="1650"/>
                  </a:lnTo>
                  <a:lnTo>
                    <a:pt x="64" y="1651"/>
                  </a:lnTo>
                  <a:lnTo>
                    <a:pt x="64" y="1650"/>
                  </a:lnTo>
                  <a:lnTo>
                    <a:pt x="64" y="1651"/>
                  </a:lnTo>
                  <a:lnTo>
                    <a:pt x="62" y="1651"/>
                  </a:lnTo>
                  <a:lnTo>
                    <a:pt x="61" y="1651"/>
                  </a:lnTo>
                  <a:lnTo>
                    <a:pt x="62" y="1651"/>
                  </a:lnTo>
                  <a:lnTo>
                    <a:pt x="62" y="1650"/>
                  </a:lnTo>
                  <a:lnTo>
                    <a:pt x="61" y="1650"/>
                  </a:lnTo>
                  <a:lnTo>
                    <a:pt x="64" y="1650"/>
                  </a:lnTo>
                  <a:lnTo>
                    <a:pt x="62" y="1650"/>
                  </a:lnTo>
                  <a:lnTo>
                    <a:pt x="62" y="1648"/>
                  </a:lnTo>
                  <a:lnTo>
                    <a:pt x="62" y="1646"/>
                  </a:lnTo>
                  <a:lnTo>
                    <a:pt x="61" y="1646"/>
                  </a:lnTo>
                  <a:lnTo>
                    <a:pt x="62" y="1646"/>
                  </a:lnTo>
                  <a:lnTo>
                    <a:pt x="61" y="1646"/>
                  </a:lnTo>
                  <a:lnTo>
                    <a:pt x="61" y="1645"/>
                  </a:lnTo>
                  <a:lnTo>
                    <a:pt x="59" y="1645"/>
                  </a:lnTo>
                  <a:lnTo>
                    <a:pt x="61" y="1645"/>
                  </a:lnTo>
                  <a:lnTo>
                    <a:pt x="59" y="1645"/>
                  </a:lnTo>
                  <a:lnTo>
                    <a:pt x="59" y="1643"/>
                  </a:lnTo>
                  <a:lnTo>
                    <a:pt x="57" y="1645"/>
                  </a:lnTo>
                  <a:lnTo>
                    <a:pt x="57" y="1643"/>
                  </a:lnTo>
                  <a:lnTo>
                    <a:pt x="59" y="1642"/>
                  </a:lnTo>
                  <a:lnTo>
                    <a:pt x="61" y="1642"/>
                  </a:lnTo>
                  <a:lnTo>
                    <a:pt x="59" y="1642"/>
                  </a:lnTo>
                  <a:lnTo>
                    <a:pt x="57" y="1642"/>
                  </a:lnTo>
                  <a:lnTo>
                    <a:pt x="56" y="1642"/>
                  </a:lnTo>
                  <a:lnTo>
                    <a:pt x="57" y="1642"/>
                  </a:lnTo>
                  <a:lnTo>
                    <a:pt x="57" y="1640"/>
                  </a:lnTo>
                  <a:lnTo>
                    <a:pt x="57" y="1638"/>
                  </a:lnTo>
                  <a:lnTo>
                    <a:pt x="59" y="1638"/>
                  </a:lnTo>
                  <a:lnTo>
                    <a:pt x="59" y="1640"/>
                  </a:lnTo>
                  <a:lnTo>
                    <a:pt x="57" y="1640"/>
                  </a:lnTo>
                  <a:lnTo>
                    <a:pt x="57" y="1642"/>
                  </a:lnTo>
                  <a:lnTo>
                    <a:pt x="59" y="1640"/>
                  </a:lnTo>
                  <a:lnTo>
                    <a:pt x="59" y="1638"/>
                  </a:lnTo>
                  <a:lnTo>
                    <a:pt x="61" y="1637"/>
                  </a:lnTo>
                  <a:lnTo>
                    <a:pt x="59" y="1637"/>
                  </a:lnTo>
                  <a:lnTo>
                    <a:pt x="61" y="1635"/>
                  </a:lnTo>
                  <a:lnTo>
                    <a:pt x="62" y="1635"/>
                  </a:lnTo>
                  <a:lnTo>
                    <a:pt x="64" y="1633"/>
                  </a:lnTo>
                  <a:lnTo>
                    <a:pt x="65" y="1635"/>
                  </a:lnTo>
                  <a:lnTo>
                    <a:pt x="65" y="1633"/>
                  </a:lnTo>
                  <a:lnTo>
                    <a:pt x="64" y="1633"/>
                  </a:lnTo>
                  <a:lnTo>
                    <a:pt x="62" y="1632"/>
                  </a:lnTo>
                  <a:lnTo>
                    <a:pt x="64" y="1632"/>
                  </a:lnTo>
                  <a:lnTo>
                    <a:pt x="65" y="1632"/>
                  </a:lnTo>
                  <a:lnTo>
                    <a:pt x="65" y="1630"/>
                  </a:lnTo>
                  <a:lnTo>
                    <a:pt x="64" y="1630"/>
                  </a:lnTo>
                  <a:lnTo>
                    <a:pt x="64" y="1629"/>
                  </a:lnTo>
                  <a:lnTo>
                    <a:pt x="64" y="1630"/>
                  </a:lnTo>
                  <a:lnTo>
                    <a:pt x="62" y="1630"/>
                  </a:lnTo>
                  <a:lnTo>
                    <a:pt x="62" y="1629"/>
                  </a:lnTo>
                  <a:lnTo>
                    <a:pt x="64" y="1629"/>
                  </a:lnTo>
                  <a:lnTo>
                    <a:pt x="64" y="1627"/>
                  </a:lnTo>
                  <a:lnTo>
                    <a:pt x="65" y="1627"/>
                  </a:lnTo>
                  <a:lnTo>
                    <a:pt x="62" y="1627"/>
                  </a:lnTo>
                  <a:lnTo>
                    <a:pt x="62" y="1625"/>
                  </a:lnTo>
                  <a:lnTo>
                    <a:pt x="64" y="1624"/>
                  </a:lnTo>
                  <a:lnTo>
                    <a:pt x="65" y="1624"/>
                  </a:lnTo>
                  <a:lnTo>
                    <a:pt x="65" y="1622"/>
                  </a:lnTo>
                  <a:lnTo>
                    <a:pt x="67" y="1622"/>
                  </a:lnTo>
                  <a:lnTo>
                    <a:pt x="67" y="1620"/>
                  </a:lnTo>
                  <a:lnTo>
                    <a:pt x="67" y="1619"/>
                  </a:lnTo>
                  <a:lnTo>
                    <a:pt x="65" y="1619"/>
                  </a:lnTo>
                  <a:lnTo>
                    <a:pt x="67" y="1617"/>
                  </a:lnTo>
                  <a:lnTo>
                    <a:pt x="67" y="1616"/>
                  </a:lnTo>
                  <a:lnTo>
                    <a:pt x="67" y="1614"/>
                  </a:lnTo>
                  <a:lnTo>
                    <a:pt x="67" y="1612"/>
                  </a:lnTo>
                  <a:lnTo>
                    <a:pt x="67" y="1611"/>
                  </a:lnTo>
                  <a:lnTo>
                    <a:pt x="67" y="1609"/>
                  </a:lnTo>
                  <a:lnTo>
                    <a:pt x="65" y="1609"/>
                  </a:lnTo>
                  <a:lnTo>
                    <a:pt x="65" y="1607"/>
                  </a:lnTo>
                  <a:lnTo>
                    <a:pt x="67" y="1607"/>
                  </a:lnTo>
                  <a:lnTo>
                    <a:pt x="69" y="1607"/>
                  </a:lnTo>
                  <a:lnTo>
                    <a:pt x="69" y="1606"/>
                  </a:lnTo>
                  <a:lnTo>
                    <a:pt x="67" y="1606"/>
                  </a:lnTo>
                  <a:lnTo>
                    <a:pt x="65" y="1606"/>
                  </a:lnTo>
                  <a:lnTo>
                    <a:pt x="67" y="1604"/>
                  </a:lnTo>
                  <a:lnTo>
                    <a:pt x="69" y="1604"/>
                  </a:lnTo>
                  <a:lnTo>
                    <a:pt x="69" y="1603"/>
                  </a:lnTo>
                  <a:lnTo>
                    <a:pt x="69" y="1601"/>
                  </a:lnTo>
                  <a:lnTo>
                    <a:pt x="69" y="1599"/>
                  </a:lnTo>
                  <a:lnTo>
                    <a:pt x="70" y="1598"/>
                  </a:lnTo>
                  <a:lnTo>
                    <a:pt x="70" y="1596"/>
                  </a:lnTo>
                  <a:lnTo>
                    <a:pt x="70" y="1594"/>
                  </a:lnTo>
                  <a:lnTo>
                    <a:pt x="70" y="1593"/>
                  </a:lnTo>
                  <a:lnTo>
                    <a:pt x="70" y="1591"/>
                  </a:lnTo>
                  <a:lnTo>
                    <a:pt x="72" y="1591"/>
                  </a:lnTo>
                  <a:lnTo>
                    <a:pt x="74" y="1590"/>
                  </a:lnTo>
                  <a:lnTo>
                    <a:pt x="74" y="1588"/>
                  </a:lnTo>
                  <a:lnTo>
                    <a:pt x="72" y="1588"/>
                  </a:lnTo>
                  <a:lnTo>
                    <a:pt x="72" y="1590"/>
                  </a:lnTo>
                  <a:lnTo>
                    <a:pt x="70" y="1588"/>
                  </a:lnTo>
                  <a:lnTo>
                    <a:pt x="70" y="1586"/>
                  </a:lnTo>
                  <a:lnTo>
                    <a:pt x="70" y="1585"/>
                  </a:lnTo>
                  <a:lnTo>
                    <a:pt x="69" y="1585"/>
                  </a:lnTo>
                  <a:lnTo>
                    <a:pt x="69" y="1583"/>
                  </a:lnTo>
                  <a:lnTo>
                    <a:pt x="69" y="1581"/>
                  </a:lnTo>
                  <a:lnTo>
                    <a:pt x="67" y="1580"/>
                  </a:lnTo>
                  <a:lnTo>
                    <a:pt x="65" y="1578"/>
                  </a:lnTo>
                  <a:lnTo>
                    <a:pt x="67" y="1578"/>
                  </a:lnTo>
                  <a:lnTo>
                    <a:pt x="67" y="1576"/>
                  </a:lnTo>
                  <a:lnTo>
                    <a:pt x="65" y="1576"/>
                  </a:lnTo>
                  <a:lnTo>
                    <a:pt x="65" y="1575"/>
                  </a:lnTo>
                  <a:lnTo>
                    <a:pt x="67" y="1575"/>
                  </a:lnTo>
                  <a:lnTo>
                    <a:pt x="69" y="1575"/>
                  </a:lnTo>
                  <a:lnTo>
                    <a:pt x="69" y="1573"/>
                  </a:lnTo>
                  <a:lnTo>
                    <a:pt x="70" y="1573"/>
                  </a:lnTo>
                  <a:lnTo>
                    <a:pt x="72" y="1573"/>
                  </a:lnTo>
                  <a:lnTo>
                    <a:pt x="74" y="1573"/>
                  </a:lnTo>
                  <a:lnTo>
                    <a:pt x="74" y="1572"/>
                  </a:lnTo>
                  <a:lnTo>
                    <a:pt x="72" y="1572"/>
                  </a:lnTo>
                  <a:lnTo>
                    <a:pt x="74" y="1572"/>
                  </a:lnTo>
                  <a:lnTo>
                    <a:pt x="74" y="1570"/>
                  </a:lnTo>
                  <a:lnTo>
                    <a:pt x="72" y="1570"/>
                  </a:lnTo>
                  <a:lnTo>
                    <a:pt x="74" y="1570"/>
                  </a:lnTo>
                  <a:lnTo>
                    <a:pt x="72" y="1570"/>
                  </a:lnTo>
                  <a:lnTo>
                    <a:pt x="72" y="1572"/>
                  </a:lnTo>
                  <a:lnTo>
                    <a:pt x="72" y="1570"/>
                  </a:lnTo>
                  <a:lnTo>
                    <a:pt x="70" y="1570"/>
                  </a:lnTo>
                  <a:lnTo>
                    <a:pt x="70" y="1572"/>
                  </a:lnTo>
                  <a:lnTo>
                    <a:pt x="69" y="1572"/>
                  </a:lnTo>
                  <a:lnTo>
                    <a:pt x="69" y="1573"/>
                  </a:lnTo>
                  <a:lnTo>
                    <a:pt x="67" y="1573"/>
                  </a:lnTo>
                  <a:lnTo>
                    <a:pt x="65" y="1573"/>
                  </a:lnTo>
                  <a:lnTo>
                    <a:pt x="65" y="1575"/>
                  </a:lnTo>
                  <a:lnTo>
                    <a:pt x="65" y="1573"/>
                  </a:lnTo>
                  <a:lnTo>
                    <a:pt x="64" y="1573"/>
                  </a:lnTo>
                  <a:lnTo>
                    <a:pt x="62" y="1573"/>
                  </a:lnTo>
                  <a:lnTo>
                    <a:pt x="62" y="1572"/>
                  </a:lnTo>
                  <a:lnTo>
                    <a:pt x="61" y="1572"/>
                  </a:lnTo>
                  <a:lnTo>
                    <a:pt x="59" y="1572"/>
                  </a:lnTo>
                  <a:lnTo>
                    <a:pt x="57" y="1572"/>
                  </a:lnTo>
                  <a:lnTo>
                    <a:pt x="57" y="1573"/>
                  </a:lnTo>
                  <a:lnTo>
                    <a:pt x="59" y="1573"/>
                  </a:lnTo>
                  <a:lnTo>
                    <a:pt x="59" y="1575"/>
                  </a:lnTo>
                  <a:lnTo>
                    <a:pt x="61" y="1575"/>
                  </a:lnTo>
                  <a:lnTo>
                    <a:pt x="59" y="1576"/>
                  </a:lnTo>
                  <a:lnTo>
                    <a:pt x="59" y="1575"/>
                  </a:lnTo>
                  <a:lnTo>
                    <a:pt x="59" y="1576"/>
                  </a:lnTo>
                  <a:lnTo>
                    <a:pt x="57" y="1576"/>
                  </a:lnTo>
                  <a:lnTo>
                    <a:pt x="56" y="1576"/>
                  </a:lnTo>
                  <a:lnTo>
                    <a:pt x="54" y="1578"/>
                  </a:lnTo>
                  <a:lnTo>
                    <a:pt x="56" y="1580"/>
                  </a:lnTo>
                  <a:lnTo>
                    <a:pt x="54" y="1580"/>
                  </a:lnTo>
                  <a:lnTo>
                    <a:pt x="54" y="1581"/>
                  </a:lnTo>
                  <a:lnTo>
                    <a:pt x="56" y="1581"/>
                  </a:lnTo>
                  <a:lnTo>
                    <a:pt x="56" y="1583"/>
                  </a:lnTo>
                  <a:lnTo>
                    <a:pt x="54" y="1583"/>
                  </a:lnTo>
                  <a:lnTo>
                    <a:pt x="54" y="1581"/>
                  </a:lnTo>
                  <a:lnTo>
                    <a:pt x="52" y="1581"/>
                  </a:lnTo>
                  <a:lnTo>
                    <a:pt x="52" y="1583"/>
                  </a:lnTo>
                  <a:lnTo>
                    <a:pt x="51" y="1583"/>
                  </a:lnTo>
                  <a:lnTo>
                    <a:pt x="49" y="1583"/>
                  </a:lnTo>
                  <a:lnTo>
                    <a:pt x="49" y="1585"/>
                  </a:lnTo>
                  <a:lnTo>
                    <a:pt x="48" y="1583"/>
                  </a:lnTo>
                  <a:lnTo>
                    <a:pt x="46" y="1583"/>
                  </a:lnTo>
                  <a:lnTo>
                    <a:pt x="46" y="1581"/>
                  </a:lnTo>
                  <a:lnTo>
                    <a:pt x="46" y="1583"/>
                  </a:lnTo>
                  <a:lnTo>
                    <a:pt x="46" y="1585"/>
                  </a:lnTo>
                  <a:lnTo>
                    <a:pt x="48" y="1585"/>
                  </a:lnTo>
                  <a:lnTo>
                    <a:pt x="48" y="1586"/>
                  </a:lnTo>
                  <a:lnTo>
                    <a:pt x="46" y="1588"/>
                  </a:lnTo>
                  <a:lnTo>
                    <a:pt x="46" y="1586"/>
                  </a:lnTo>
                  <a:lnTo>
                    <a:pt x="44" y="1586"/>
                  </a:lnTo>
                  <a:lnTo>
                    <a:pt x="43" y="1586"/>
                  </a:lnTo>
                  <a:lnTo>
                    <a:pt x="44" y="1586"/>
                  </a:lnTo>
                  <a:lnTo>
                    <a:pt x="43" y="1588"/>
                  </a:lnTo>
                  <a:lnTo>
                    <a:pt x="43" y="1586"/>
                  </a:lnTo>
                  <a:lnTo>
                    <a:pt x="41" y="1586"/>
                  </a:lnTo>
                  <a:lnTo>
                    <a:pt x="41" y="1588"/>
                  </a:lnTo>
                  <a:lnTo>
                    <a:pt x="41" y="1590"/>
                  </a:lnTo>
                  <a:lnTo>
                    <a:pt x="41" y="1591"/>
                  </a:lnTo>
                  <a:lnTo>
                    <a:pt x="41" y="1590"/>
                  </a:lnTo>
                  <a:lnTo>
                    <a:pt x="41" y="1591"/>
                  </a:lnTo>
                  <a:lnTo>
                    <a:pt x="39" y="1591"/>
                  </a:lnTo>
                  <a:lnTo>
                    <a:pt x="38" y="1593"/>
                  </a:lnTo>
                  <a:lnTo>
                    <a:pt x="38" y="1591"/>
                  </a:lnTo>
                  <a:lnTo>
                    <a:pt x="36" y="1593"/>
                  </a:lnTo>
                  <a:lnTo>
                    <a:pt x="35" y="1593"/>
                  </a:lnTo>
                  <a:lnTo>
                    <a:pt x="36" y="1591"/>
                  </a:lnTo>
                  <a:lnTo>
                    <a:pt x="36" y="1590"/>
                  </a:lnTo>
                  <a:lnTo>
                    <a:pt x="36" y="1588"/>
                  </a:lnTo>
                  <a:lnTo>
                    <a:pt x="38" y="1588"/>
                  </a:lnTo>
                  <a:lnTo>
                    <a:pt x="36" y="1586"/>
                  </a:lnTo>
                  <a:lnTo>
                    <a:pt x="38" y="1586"/>
                  </a:lnTo>
                  <a:lnTo>
                    <a:pt x="38" y="1585"/>
                  </a:lnTo>
                  <a:lnTo>
                    <a:pt x="38" y="1586"/>
                  </a:lnTo>
                  <a:lnTo>
                    <a:pt x="39" y="1585"/>
                  </a:lnTo>
                  <a:lnTo>
                    <a:pt x="41" y="1585"/>
                  </a:lnTo>
                  <a:lnTo>
                    <a:pt x="41" y="1583"/>
                  </a:lnTo>
                  <a:lnTo>
                    <a:pt x="43" y="1581"/>
                  </a:lnTo>
                  <a:lnTo>
                    <a:pt x="43" y="1583"/>
                  </a:lnTo>
                  <a:lnTo>
                    <a:pt x="41" y="1583"/>
                  </a:lnTo>
                  <a:lnTo>
                    <a:pt x="43" y="1583"/>
                  </a:lnTo>
                  <a:lnTo>
                    <a:pt x="43" y="1585"/>
                  </a:lnTo>
                  <a:lnTo>
                    <a:pt x="43" y="1583"/>
                  </a:lnTo>
                  <a:lnTo>
                    <a:pt x="44" y="1583"/>
                  </a:lnTo>
                  <a:lnTo>
                    <a:pt x="43" y="1583"/>
                  </a:lnTo>
                  <a:lnTo>
                    <a:pt x="43" y="1581"/>
                  </a:lnTo>
                  <a:lnTo>
                    <a:pt x="44" y="1580"/>
                  </a:lnTo>
                  <a:lnTo>
                    <a:pt x="44" y="1578"/>
                  </a:lnTo>
                  <a:lnTo>
                    <a:pt x="44" y="1576"/>
                  </a:lnTo>
                  <a:lnTo>
                    <a:pt x="46" y="1576"/>
                  </a:lnTo>
                  <a:lnTo>
                    <a:pt x="46" y="1575"/>
                  </a:lnTo>
                  <a:lnTo>
                    <a:pt x="48" y="1573"/>
                  </a:lnTo>
                  <a:lnTo>
                    <a:pt x="48" y="1572"/>
                  </a:lnTo>
                  <a:lnTo>
                    <a:pt x="49" y="1572"/>
                  </a:lnTo>
                  <a:lnTo>
                    <a:pt x="49" y="1570"/>
                  </a:lnTo>
                  <a:lnTo>
                    <a:pt x="49" y="1568"/>
                  </a:lnTo>
                  <a:lnTo>
                    <a:pt x="51" y="1568"/>
                  </a:lnTo>
                  <a:lnTo>
                    <a:pt x="51" y="1567"/>
                  </a:lnTo>
                  <a:lnTo>
                    <a:pt x="52" y="1567"/>
                  </a:lnTo>
                  <a:lnTo>
                    <a:pt x="52" y="1565"/>
                  </a:lnTo>
                  <a:lnTo>
                    <a:pt x="52" y="1567"/>
                  </a:lnTo>
                  <a:lnTo>
                    <a:pt x="52" y="1565"/>
                  </a:lnTo>
                  <a:lnTo>
                    <a:pt x="54" y="1565"/>
                  </a:lnTo>
                  <a:lnTo>
                    <a:pt x="52" y="1565"/>
                  </a:lnTo>
                  <a:lnTo>
                    <a:pt x="52" y="1563"/>
                  </a:lnTo>
                  <a:lnTo>
                    <a:pt x="52" y="1565"/>
                  </a:lnTo>
                  <a:lnTo>
                    <a:pt x="51" y="1563"/>
                  </a:lnTo>
                  <a:lnTo>
                    <a:pt x="52" y="1562"/>
                  </a:lnTo>
                  <a:lnTo>
                    <a:pt x="52" y="1560"/>
                  </a:lnTo>
                  <a:lnTo>
                    <a:pt x="54" y="1560"/>
                  </a:lnTo>
                  <a:lnTo>
                    <a:pt x="56" y="1559"/>
                  </a:lnTo>
                  <a:lnTo>
                    <a:pt x="57" y="1559"/>
                  </a:lnTo>
                  <a:lnTo>
                    <a:pt x="56" y="1559"/>
                  </a:lnTo>
                  <a:lnTo>
                    <a:pt x="56" y="1557"/>
                  </a:lnTo>
                  <a:lnTo>
                    <a:pt x="56" y="1559"/>
                  </a:lnTo>
                  <a:lnTo>
                    <a:pt x="56" y="1557"/>
                  </a:lnTo>
                  <a:lnTo>
                    <a:pt x="56" y="1559"/>
                  </a:lnTo>
                  <a:lnTo>
                    <a:pt x="54" y="1559"/>
                  </a:lnTo>
                  <a:lnTo>
                    <a:pt x="54" y="1560"/>
                  </a:lnTo>
                  <a:lnTo>
                    <a:pt x="52" y="1560"/>
                  </a:lnTo>
                  <a:lnTo>
                    <a:pt x="52" y="1562"/>
                  </a:lnTo>
                  <a:lnTo>
                    <a:pt x="51" y="1562"/>
                  </a:lnTo>
                  <a:lnTo>
                    <a:pt x="51" y="1563"/>
                  </a:lnTo>
                  <a:lnTo>
                    <a:pt x="51" y="1562"/>
                  </a:lnTo>
                  <a:lnTo>
                    <a:pt x="49" y="1562"/>
                  </a:lnTo>
                  <a:lnTo>
                    <a:pt x="49" y="1560"/>
                  </a:lnTo>
                  <a:lnTo>
                    <a:pt x="49" y="1559"/>
                  </a:lnTo>
                  <a:lnTo>
                    <a:pt x="48" y="1559"/>
                  </a:lnTo>
                  <a:lnTo>
                    <a:pt x="49" y="1557"/>
                  </a:lnTo>
                  <a:lnTo>
                    <a:pt x="48" y="1557"/>
                  </a:lnTo>
                  <a:lnTo>
                    <a:pt x="49" y="1555"/>
                  </a:lnTo>
                  <a:lnTo>
                    <a:pt x="48" y="1555"/>
                  </a:lnTo>
                  <a:lnTo>
                    <a:pt x="48" y="1554"/>
                  </a:lnTo>
                  <a:lnTo>
                    <a:pt x="48" y="1552"/>
                  </a:lnTo>
                  <a:lnTo>
                    <a:pt x="48" y="1555"/>
                  </a:lnTo>
                  <a:lnTo>
                    <a:pt x="48" y="1557"/>
                  </a:lnTo>
                  <a:lnTo>
                    <a:pt x="48" y="1559"/>
                  </a:lnTo>
                  <a:lnTo>
                    <a:pt x="48" y="1560"/>
                  </a:lnTo>
                  <a:lnTo>
                    <a:pt x="48" y="1562"/>
                  </a:lnTo>
                  <a:lnTo>
                    <a:pt x="48" y="1563"/>
                  </a:lnTo>
                  <a:lnTo>
                    <a:pt x="48" y="1565"/>
                  </a:lnTo>
                  <a:lnTo>
                    <a:pt x="46" y="1567"/>
                  </a:lnTo>
                  <a:lnTo>
                    <a:pt x="48" y="1567"/>
                  </a:lnTo>
                  <a:lnTo>
                    <a:pt x="48" y="1568"/>
                  </a:lnTo>
                  <a:lnTo>
                    <a:pt x="48" y="1570"/>
                  </a:lnTo>
                  <a:lnTo>
                    <a:pt x="46" y="1572"/>
                  </a:lnTo>
                  <a:lnTo>
                    <a:pt x="46" y="1573"/>
                  </a:lnTo>
                  <a:lnTo>
                    <a:pt x="44" y="1573"/>
                  </a:lnTo>
                  <a:lnTo>
                    <a:pt x="46" y="1573"/>
                  </a:lnTo>
                  <a:lnTo>
                    <a:pt x="44" y="1573"/>
                  </a:lnTo>
                  <a:lnTo>
                    <a:pt x="44" y="1575"/>
                  </a:lnTo>
                  <a:lnTo>
                    <a:pt x="44" y="1576"/>
                  </a:lnTo>
                  <a:lnTo>
                    <a:pt x="43" y="1578"/>
                  </a:lnTo>
                  <a:lnTo>
                    <a:pt x="41" y="1578"/>
                  </a:lnTo>
                  <a:lnTo>
                    <a:pt x="41" y="1580"/>
                  </a:lnTo>
                  <a:lnTo>
                    <a:pt x="41" y="1581"/>
                  </a:lnTo>
                  <a:lnTo>
                    <a:pt x="39" y="1581"/>
                  </a:lnTo>
                  <a:lnTo>
                    <a:pt x="38" y="1581"/>
                  </a:lnTo>
                  <a:lnTo>
                    <a:pt x="38" y="1583"/>
                  </a:lnTo>
                  <a:lnTo>
                    <a:pt x="36" y="1583"/>
                  </a:lnTo>
                  <a:lnTo>
                    <a:pt x="36" y="1581"/>
                  </a:lnTo>
                  <a:lnTo>
                    <a:pt x="38" y="1580"/>
                  </a:lnTo>
                  <a:lnTo>
                    <a:pt x="36" y="1580"/>
                  </a:lnTo>
                  <a:lnTo>
                    <a:pt x="38" y="1580"/>
                  </a:lnTo>
                  <a:lnTo>
                    <a:pt x="38" y="1578"/>
                  </a:lnTo>
                  <a:lnTo>
                    <a:pt x="39" y="1576"/>
                  </a:lnTo>
                  <a:lnTo>
                    <a:pt x="39" y="1575"/>
                  </a:lnTo>
                  <a:lnTo>
                    <a:pt x="41" y="1575"/>
                  </a:lnTo>
                  <a:lnTo>
                    <a:pt x="39" y="1575"/>
                  </a:lnTo>
                  <a:lnTo>
                    <a:pt x="38" y="1576"/>
                  </a:lnTo>
                  <a:lnTo>
                    <a:pt x="38" y="1578"/>
                  </a:lnTo>
                  <a:lnTo>
                    <a:pt x="36" y="1578"/>
                  </a:lnTo>
                  <a:lnTo>
                    <a:pt x="36" y="1576"/>
                  </a:lnTo>
                  <a:lnTo>
                    <a:pt x="36" y="1578"/>
                  </a:lnTo>
                  <a:lnTo>
                    <a:pt x="36" y="1576"/>
                  </a:lnTo>
                  <a:lnTo>
                    <a:pt x="35" y="1576"/>
                  </a:lnTo>
                  <a:lnTo>
                    <a:pt x="35" y="1575"/>
                  </a:lnTo>
                  <a:lnTo>
                    <a:pt x="35" y="1573"/>
                  </a:lnTo>
                  <a:lnTo>
                    <a:pt x="35" y="1572"/>
                  </a:lnTo>
                  <a:lnTo>
                    <a:pt x="36" y="1570"/>
                  </a:lnTo>
                  <a:lnTo>
                    <a:pt x="38" y="1570"/>
                  </a:lnTo>
                  <a:lnTo>
                    <a:pt x="38" y="1572"/>
                  </a:lnTo>
                  <a:lnTo>
                    <a:pt x="39" y="1572"/>
                  </a:lnTo>
                  <a:lnTo>
                    <a:pt x="39" y="1570"/>
                  </a:lnTo>
                  <a:lnTo>
                    <a:pt x="38" y="1570"/>
                  </a:lnTo>
                  <a:lnTo>
                    <a:pt x="38" y="1568"/>
                  </a:lnTo>
                  <a:lnTo>
                    <a:pt x="38" y="1567"/>
                  </a:lnTo>
                  <a:lnTo>
                    <a:pt x="38" y="1565"/>
                  </a:lnTo>
                  <a:lnTo>
                    <a:pt x="39" y="1565"/>
                  </a:lnTo>
                  <a:lnTo>
                    <a:pt x="39" y="1563"/>
                  </a:lnTo>
                  <a:lnTo>
                    <a:pt x="38" y="1565"/>
                  </a:lnTo>
                  <a:lnTo>
                    <a:pt x="38" y="1567"/>
                  </a:lnTo>
                  <a:lnTo>
                    <a:pt x="36" y="1567"/>
                  </a:lnTo>
                  <a:lnTo>
                    <a:pt x="36" y="1568"/>
                  </a:lnTo>
                  <a:lnTo>
                    <a:pt x="36" y="1570"/>
                  </a:lnTo>
                  <a:lnTo>
                    <a:pt x="35" y="1570"/>
                  </a:lnTo>
                  <a:lnTo>
                    <a:pt x="35" y="1572"/>
                  </a:lnTo>
                  <a:lnTo>
                    <a:pt x="33" y="1572"/>
                  </a:lnTo>
                  <a:lnTo>
                    <a:pt x="33" y="1573"/>
                  </a:lnTo>
                  <a:lnTo>
                    <a:pt x="33" y="1572"/>
                  </a:lnTo>
                  <a:lnTo>
                    <a:pt x="31" y="1572"/>
                  </a:lnTo>
                  <a:lnTo>
                    <a:pt x="33" y="1572"/>
                  </a:lnTo>
                  <a:lnTo>
                    <a:pt x="31" y="1572"/>
                  </a:lnTo>
                  <a:lnTo>
                    <a:pt x="31" y="1570"/>
                  </a:lnTo>
                  <a:lnTo>
                    <a:pt x="33" y="1570"/>
                  </a:lnTo>
                  <a:lnTo>
                    <a:pt x="33" y="1568"/>
                  </a:lnTo>
                  <a:lnTo>
                    <a:pt x="35" y="1568"/>
                  </a:lnTo>
                  <a:lnTo>
                    <a:pt x="33" y="1568"/>
                  </a:lnTo>
                  <a:lnTo>
                    <a:pt x="33" y="1567"/>
                  </a:lnTo>
                  <a:lnTo>
                    <a:pt x="35" y="1567"/>
                  </a:lnTo>
                  <a:lnTo>
                    <a:pt x="33" y="1567"/>
                  </a:lnTo>
                  <a:lnTo>
                    <a:pt x="35" y="1565"/>
                  </a:lnTo>
                  <a:lnTo>
                    <a:pt x="35" y="1563"/>
                  </a:lnTo>
                  <a:lnTo>
                    <a:pt x="35" y="1562"/>
                  </a:lnTo>
                  <a:lnTo>
                    <a:pt x="36" y="1562"/>
                  </a:lnTo>
                  <a:lnTo>
                    <a:pt x="36" y="1560"/>
                  </a:lnTo>
                  <a:lnTo>
                    <a:pt x="38" y="1560"/>
                  </a:lnTo>
                  <a:lnTo>
                    <a:pt x="36" y="1560"/>
                  </a:lnTo>
                  <a:lnTo>
                    <a:pt x="36" y="1559"/>
                  </a:lnTo>
                  <a:lnTo>
                    <a:pt x="38" y="1559"/>
                  </a:lnTo>
                  <a:lnTo>
                    <a:pt x="38" y="1557"/>
                  </a:lnTo>
                  <a:lnTo>
                    <a:pt x="39" y="1555"/>
                  </a:lnTo>
                  <a:lnTo>
                    <a:pt x="38" y="1555"/>
                  </a:lnTo>
                  <a:lnTo>
                    <a:pt x="38" y="1557"/>
                  </a:lnTo>
                  <a:lnTo>
                    <a:pt x="36" y="1559"/>
                  </a:lnTo>
                  <a:lnTo>
                    <a:pt x="36" y="1560"/>
                  </a:lnTo>
                  <a:lnTo>
                    <a:pt x="35" y="1560"/>
                  </a:lnTo>
                  <a:lnTo>
                    <a:pt x="35" y="1562"/>
                  </a:lnTo>
                  <a:lnTo>
                    <a:pt x="35" y="1563"/>
                  </a:lnTo>
                  <a:lnTo>
                    <a:pt x="33" y="1565"/>
                  </a:lnTo>
                  <a:lnTo>
                    <a:pt x="33" y="1567"/>
                  </a:lnTo>
                  <a:lnTo>
                    <a:pt x="31" y="1567"/>
                  </a:lnTo>
                  <a:lnTo>
                    <a:pt x="31" y="1568"/>
                  </a:lnTo>
                  <a:lnTo>
                    <a:pt x="31" y="1570"/>
                  </a:lnTo>
                  <a:lnTo>
                    <a:pt x="31" y="1568"/>
                  </a:lnTo>
                  <a:lnTo>
                    <a:pt x="30" y="1568"/>
                  </a:lnTo>
                  <a:lnTo>
                    <a:pt x="28" y="1568"/>
                  </a:lnTo>
                  <a:lnTo>
                    <a:pt x="30" y="1568"/>
                  </a:lnTo>
                  <a:lnTo>
                    <a:pt x="28" y="1570"/>
                  </a:lnTo>
                  <a:lnTo>
                    <a:pt x="28" y="1568"/>
                  </a:lnTo>
                  <a:lnTo>
                    <a:pt x="28" y="1567"/>
                  </a:lnTo>
                  <a:lnTo>
                    <a:pt x="28" y="1565"/>
                  </a:lnTo>
                  <a:lnTo>
                    <a:pt x="26" y="1565"/>
                  </a:lnTo>
                  <a:lnTo>
                    <a:pt x="28" y="1567"/>
                  </a:lnTo>
                  <a:lnTo>
                    <a:pt x="26" y="1567"/>
                  </a:lnTo>
                  <a:lnTo>
                    <a:pt x="26" y="1568"/>
                  </a:lnTo>
                  <a:lnTo>
                    <a:pt x="26" y="1570"/>
                  </a:lnTo>
                  <a:lnTo>
                    <a:pt x="25" y="1570"/>
                  </a:lnTo>
                  <a:lnTo>
                    <a:pt x="23" y="1570"/>
                  </a:lnTo>
                  <a:lnTo>
                    <a:pt x="23" y="1568"/>
                  </a:lnTo>
                  <a:lnTo>
                    <a:pt x="22" y="1570"/>
                  </a:lnTo>
                  <a:lnTo>
                    <a:pt x="22" y="1572"/>
                  </a:lnTo>
                  <a:lnTo>
                    <a:pt x="20" y="1572"/>
                  </a:lnTo>
                  <a:lnTo>
                    <a:pt x="20" y="1570"/>
                  </a:lnTo>
                  <a:lnTo>
                    <a:pt x="22" y="1570"/>
                  </a:lnTo>
                  <a:lnTo>
                    <a:pt x="22" y="1568"/>
                  </a:lnTo>
                  <a:lnTo>
                    <a:pt x="22" y="1567"/>
                  </a:lnTo>
                  <a:lnTo>
                    <a:pt x="22" y="1568"/>
                  </a:lnTo>
                  <a:lnTo>
                    <a:pt x="22" y="1567"/>
                  </a:lnTo>
                  <a:lnTo>
                    <a:pt x="23" y="1567"/>
                  </a:lnTo>
                  <a:lnTo>
                    <a:pt x="22" y="1568"/>
                  </a:lnTo>
                  <a:lnTo>
                    <a:pt x="23" y="1568"/>
                  </a:lnTo>
                  <a:lnTo>
                    <a:pt x="23" y="1567"/>
                  </a:lnTo>
                  <a:lnTo>
                    <a:pt x="23" y="1565"/>
                  </a:lnTo>
                  <a:lnTo>
                    <a:pt x="22" y="1565"/>
                  </a:lnTo>
                  <a:lnTo>
                    <a:pt x="22" y="1563"/>
                  </a:lnTo>
                  <a:lnTo>
                    <a:pt x="23" y="1563"/>
                  </a:lnTo>
                  <a:lnTo>
                    <a:pt x="23" y="1565"/>
                  </a:lnTo>
                  <a:lnTo>
                    <a:pt x="23" y="1563"/>
                  </a:lnTo>
                  <a:lnTo>
                    <a:pt x="22" y="1563"/>
                  </a:lnTo>
                  <a:lnTo>
                    <a:pt x="22" y="1562"/>
                  </a:lnTo>
                  <a:lnTo>
                    <a:pt x="22" y="1563"/>
                  </a:lnTo>
                  <a:lnTo>
                    <a:pt x="22" y="1562"/>
                  </a:lnTo>
                  <a:lnTo>
                    <a:pt x="22" y="1560"/>
                  </a:lnTo>
                  <a:lnTo>
                    <a:pt x="23" y="1560"/>
                  </a:lnTo>
                  <a:lnTo>
                    <a:pt x="22" y="1559"/>
                  </a:lnTo>
                  <a:lnTo>
                    <a:pt x="23" y="1559"/>
                  </a:lnTo>
                  <a:lnTo>
                    <a:pt x="23" y="1557"/>
                  </a:lnTo>
                  <a:lnTo>
                    <a:pt x="23" y="1559"/>
                  </a:lnTo>
                  <a:lnTo>
                    <a:pt x="25" y="1557"/>
                  </a:lnTo>
                  <a:lnTo>
                    <a:pt x="25" y="1559"/>
                  </a:lnTo>
                  <a:lnTo>
                    <a:pt x="25" y="1560"/>
                  </a:lnTo>
                  <a:lnTo>
                    <a:pt x="25" y="1559"/>
                  </a:lnTo>
                  <a:lnTo>
                    <a:pt x="26" y="1559"/>
                  </a:lnTo>
                  <a:lnTo>
                    <a:pt x="25" y="1559"/>
                  </a:lnTo>
                  <a:lnTo>
                    <a:pt x="26" y="1559"/>
                  </a:lnTo>
                  <a:lnTo>
                    <a:pt x="26" y="1557"/>
                  </a:lnTo>
                  <a:lnTo>
                    <a:pt x="26" y="1555"/>
                  </a:lnTo>
                  <a:lnTo>
                    <a:pt x="26" y="1557"/>
                  </a:lnTo>
                  <a:lnTo>
                    <a:pt x="26" y="1555"/>
                  </a:lnTo>
                  <a:lnTo>
                    <a:pt x="26" y="1554"/>
                  </a:lnTo>
                  <a:lnTo>
                    <a:pt x="28" y="1554"/>
                  </a:lnTo>
                  <a:lnTo>
                    <a:pt x="28" y="1555"/>
                  </a:lnTo>
                  <a:lnTo>
                    <a:pt x="28" y="1554"/>
                  </a:lnTo>
                  <a:lnTo>
                    <a:pt x="28" y="1555"/>
                  </a:lnTo>
                  <a:lnTo>
                    <a:pt x="28" y="1554"/>
                  </a:lnTo>
                  <a:lnTo>
                    <a:pt x="26" y="1554"/>
                  </a:lnTo>
                  <a:lnTo>
                    <a:pt x="28" y="1554"/>
                  </a:lnTo>
                  <a:lnTo>
                    <a:pt x="28" y="1552"/>
                  </a:lnTo>
                  <a:lnTo>
                    <a:pt x="30" y="1552"/>
                  </a:lnTo>
                  <a:lnTo>
                    <a:pt x="31" y="1552"/>
                  </a:lnTo>
                  <a:lnTo>
                    <a:pt x="31" y="1550"/>
                  </a:lnTo>
                  <a:lnTo>
                    <a:pt x="30" y="1550"/>
                  </a:lnTo>
                  <a:lnTo>
                    <a:pt x="30" y="1552"/>
                  </a:lnTo>
                  <a:lnTo>
                    <a:pt x="30" y="1550"/>
                  </a:lnTo>
                  <a:lnTo>
                    <a:pt x="30" y="1552"/>
                  </a:lnTo>
                  <a:lnTo>
                    <a:pt x="28" y="1552"/>
                  </a:lnTo>
                  <a:lnTo>
                    <a:pt x="26" y="1552"/>
                  </a:lnTo>
                  <a:lnTo>
                    <a:pt x="28" y="1550"/>
                  </a:lnTo>
                  <a:lnTo>
                    <a:pt x="26" y="1550"/>
                  </a:lnTo>
                  <a:lnTo>
                    <a:pt x="28" y="1550"/>
                  </a:lnTo>
                  <a:lnTo>
                    <a:pt x="26" y="1550"/>
                  </a:lnTo>
                  <a:lnTo>
                    <a:pt x="26" y="1552"/>
                  </a:lnTo>
                  <a:lnTo>
                    <a:pt x="26" y="1550"/>
                  </a:lnTo>
                  <a:lnTo>
                    <a:pt x="25" y="1550"/>
                  </a:lnTo>
                  <a:lnTo>
                    <a:pt x="25" y="1549"/>
                  </a:lnTo>
                  <a:lnTo>
                    <a:pt x="26" y="1549"/>
                  </a:lnTo>
                  <a:lnTo>
                    <a:pt x="25" y="1549"/>
                  </a:lnTo>
                  <a:lnTo>
                    <a:pt x="25" y="1547"/>
                  </a:lnTo>
                  <a:lnTo>
                    <a:pt x="23" y="1547"/>
                  </a:lnTo>
                  <a:lnTo>
                    <a:pt x="22" y="1547"/>
                  </a:lnTo>
                  <a:lnTo>
                    <a:pt x="23" y="1546"/>
                  </a:lnTo>
                  <a:lnTo>
                    <a:pt x="25" y="1546"/>
                  </a:lnTo>
                  <a:lnTo>
                    <a:pt x="25" y="1544"/>
                  </a:lnTo>
                  <a:lnTo>
                    <a:pt x="25" y="1542"/>
                  </a:lnTo>
                  <a:lnTo>
                    <a:pt x="25" y="1544"/>
                  </a:lnTo>
                  <a:lnTo>
                    <a:pt x="25" y="1546"/>
                  </a:lnTo>
                  <a:lnTo>
                    <a:pt x="23" y="1546"/>
                  </a:lnTo>
                  <a:lnTo>
                    <a:pt x="23" y="1544"/>
                  </a:lnTo>
                  <a:lnTo>
                    <a:pt x="22" y="1544"/>
                  </a:lnTo>
                  <a:lnTo>
                    <a:pt x="22" y="1542"/>
                  </a:lnTo>
                  <a:lnTo>
                    <a:pt x="22" y="1541"/>
                  </a:lnTo>
                  <a:lnTo>
                    <a:pt x="23" y="1541"/>
                  </a:lnTo>
                  <a:lnTo>
                    <a:pt x="25" y="1541"/>
                  </a:lnTo>
                  <a:lnTo>
                    <a:pt x="25" y="1539"/>
                  </a:lnTo>
                  <a:lnTo>
                    <a:pt x="25" y="1541"/>
                  </a:lnTo>
                  <a:lnTo>
                    <a:pt x="25" y="1539"/>
                  </a:lnTo>
                  <a:lnTo>
                    <a:pt x="26" y="1539"/>
                  </a:lnTo>
                  <a:lnTo>
                    <a:pt x="28" y="1537"/>
                  </a:lnTo>
                  <a:lnTo>
                    <a:pt x="26" y="1537"/>
                  </a:lnTo>
                  <a:lnTo>
                    <a:pt x="25" y="1537"/>
                  </a:lnTo>
                  <a:lnTo>
                    <a:pt x="25" y="1536"/>
                  </a:lnTo>
                  <a:lnTo>
                    <a:pt x="25" y="1534"/>
                  </a:lnTo>
                  <a:lnTo>
                    <a:pt x="25" y="1533"/>
                  </a:lnTo>
                  <a:lnTo>
                    <a:pt x="23" y="1533"/>
                  </a:lnTo>
                  <a:lnTo>
                    <a:pt x="23" y="1531"/>
                  </a:lnTo>
                  <a:lnTo>
                    <a:pt x="25" y="1529"/>
                  </a:lnTo>
                  <a:lnTo>
                    <a:pt x="25" y="1528"/>
                  </a:lnTo>
                  <a:lnTo>
                    <a:pt x="25" y="1529"/>
                  </a:lnTo>
                  <a:lnTo>
                    <a:pt x="25" y="1528"/>
                  </a:lnTo>
                  <a:lnTo>
                    <a:pt x="23" y="1528"/>
                  </a:lnTo>
                  <a:lnTo>
                    <a:pt x="23" y="1526"/>
                  </a:lnTo>
                  <a:lnTo>
                    <a:pt x="23" y="1524"/>
                  </a:lnTo>
                  <a:lnTo>
                    <a:pt x="23" y="1523"/>
                  </a:lnTo>
                  <a:lnTo>
                    <a:pt x="22" y="1523"/>
                  </a:lnTo>
                  <a:lnTo>
                    <a:pt x="22" y="1524"/>
                  </a:lnTo>
                  <a:lnTo>
                    <a:pt x="22" y="1523"/>
                  </a:lnTo>
                  <a:lnTo>
                    <a:pt x="20" y="1523"/>
                  </a:lnTo>
                  <a:lnTo>
                    <a:pt x="20" y="1521"/>
                  </a:lnTo>
                  <a:lnTo>
                    <a:pt x="20" y="1520"/>
                  </a:lnTo>
                  <a:lnTo>
                    <a:pt x="18" y="1520"/>
                  </a:lnTo>
                  <a:lnTo>
                    <a:pt x="18" y="1518"/>
                  </a:lnTo>
                  <a:lnTo>
                    <a:pt x="18" y="1520"/>
                  </a:lnTo>
                  <a:lnTo>
                    <a:pt x="17" y="1518"/>
                  </a:lnTo>
                  <a:lnTo>
                    <a:pt x="17" y="1516"/>
                  </a:lnTo>
                  <a:lnTo>
                    <a:pt x="17" y="1515"/>
                  </a:lnTo>
                  <a:lnTo>
                    <a:pt x="18" y="1515"/>
                  </a:lnTo>
                  <a:lnTo>
                    <a:pt x="17" y="1513"/>
                  </a:lnTo>
                  <a:lnTo>
                    <a:pt x="17" y="1515"/>
                  </a:lnTo>
                  <a:lnTo>
                    <a:pt x="15" y="1515"/>
                  </a:lnTo>
                  <a:lnTo>
                    <a:pt x="17" y="1515"/>
                  </a:lnTo>
                  <a:lnTo>
                    <a:pt x="15" y="1513"/>
                  </a:lnTo>
                  <a:lnTo>
                    <a:pt x="17" y="1513"/>
                  </a:lnTo>
                  <a:lnTo>
                    <a:pt x="18" y="1513"/>
                  </a:lnTo>
                  <a:lnTo>
                    <a:pt x="17" y="1513"/>
                  </a:lnTo>
                  <a:lnTo>
                    <a:pt x="18" y="1513"/>
                  </a:lnTo>
                  <a:lnTo>
                    <a:pt x="18" y="1515"/>
                  </a:lnTo>
                  <a:lnTo>
                    <a:pt x="18" y="1513"/>
                  </a:lnTo>
                  <a:lnTo>
                    <a:pt x="18" y="1515"/>
                  </a:lnTo>
                  <a:lnTo>
                    <a:pt x="20" y="1515"/>
                  </a:lnTo>
                  <a:lnTo>
                    <a:pt x="18" y="1513"/>
                  </a:lnTo>
                  <a:lnTo>
                    <a:pt x="20" y="1513"/>
                  </a:lnTo>
                  <a:lnTo>
                    <a:pt x="20" y="1515"/>
                  </a:lnTo>
                  <a:lnTo>
                    <a:pt x="18" y="1515"/>
                  </a:lnTo>
                  <a:lnTo>
                    <a:pt x="20" y="1515"/>
                  </a:lnTo>
                  <a:lnTo>
                    <a:pt x="20" y="1516"/>
                  </a:lnTo>
                  <a:lnTo>
                    <a:pt x="20" y="1515"/>
                  </a:lnTo>
                  <a:lnTo>
                    <a:pt x="20" y="1516"/>
                  </a:lnTo>
                  <a:lnTo>
                    <a:pt x="22" y="1515"/>
                  </a:lnTo>
                  <a:lnTo>
                    <a:pt x="22" y="1516"/>
                  </a:lnTo>
                  <a:lnTo>
                    <a:pt x="22" y="1518"/>
                  </a:lnTo>
                  <a:lnTo>
                    <a:pt x="23" y="1518"/>
                  </a:lnTo>
                  <a:lnTo>
                    <a:pt x="23" y="1516"/>
                  </a:lnTo>
                  <a:lnTo>
                    <a:pt x="22" y="1516"/>
                  </a:lnTo>
                  <a:lnTo>
                    <a:pt x="22" y="1515"/>
                  </a:lnTo>
                  <a:lnTo>
                    <a:pt x="20" y="1515"/>
                  </a:lnTo>
                  <a:lnTo>
                    <a:pt x="20" y="1513"/>
                  </a:lnTo>
                  <a:lnTo>
                    <a:pt x="18" y="1513"/>
                  </a:lnTo>
                  <a:lnTo>
                    <a:pt x="18" y="1511"/>
                  </a:lnTo>
                  <a:lnTo>
                    <a:pt x="18" y="1510"/>
                  </a:lnTo>
                  <a:lnTo>
                    <a:pt x="17" y="1510"/>
                  </a:lnTo>
                  <a:lnTo>
                    <a:pt x="18" y="1510"/>
                  </a:lnTo>
                  <a:lnTo>
                    <a:pt x="18" y="1508"/>
                  </a:lnTo>
                  <a:lnTo>
                    <a:pt x="20" y="1510"/>
                  </a:lnTo>
                  <a:lnTo>
                    <a:pt x="20" y="1508"/>
                  </a:lnTo>
                  <a:lnTo>
                    <a:pt x="20" y="1507"/>
                  </a:lnTo>
                  <a:lnTo>
                    <a:pt x="20" y="1505"/>
                  </a:lnTo>
                  <a:lnTo>
                    <a:pt x="22" y="1505"/>
                  </a:lnTo>
                  <a:lnTo>
                    <a:pt x="22" y="1507"/>
                  </a:lnTo>
                  <a:lnTo>
                    <a:pt x="22" y="1505"/>
                  </a:lnTo>
                  <a:lnTo>
                    <a:pt x="22" y="1503"/>
                  </a:lnTo>
                  <a:lnTo>
                    <a:pt x="22" y="1505"/>
                  </a:lnTo>
                  <a:lnTo>
                    <a:pt x="20" y="1505"/>
                  </a:lnTo>
                  <a:lnTo>
                    <a:pt x="22" y="1503"/>
                  </a:lnTo>
                  <a:lnTo>
                    <a:pt x="20" y="1503"/>
                  </a:lnTo>
                  <a:lnTo>
                    <a:pt x="20" y="1502"/>
                  </a:lnTo>
                  <a:lnTo>
                    <a:pt x="22" y="1502"/>
                  </a:lnTo>
                  <a:lnTo>
                    <a:pt x="20" y="1502"/>
                  </a:lnTo>
                  <a:lnTo>
                    <a:pt x="20" y="1500"/>
                  </a:lnTo>
                  <a:lnTo>
                    <a:pt x="20" y="1502"/>
                  </a:lnTo>
                  <a:lnTo>
                    <a:pt x="18" y="1502"/>
                  </a:lnTo>
                  <a:lnTo>
                    <a:pt x="18" y="1500"/>
                  </a:lnTo>
                  <a:lnTo>
                    <a:pt x="18" y="1502"/>
                  </a:lnTo>
                  <a:lnTo>
                    <a:pt x="18" y="1503"/>
                  </a:lnTo>
                  <a:lnTo>
                    <a:pt x="17" y="1502"/>
                  </a:lnTo>
                  <a:lnTo>
                    <a:pt x="17" y="1503"/>
                  </a:lnTo>
                  <a:lnTo>
                    <a:pt x="17" y="1502"/>
                  </a:lnTo>
                  <a:lnTo>
                    <a:pt x="15" y="1502"/>
                  </a:lnTo>
                  <a:lnTo>
                    <a:pt x="15" y="1503"/>
                  </a:lnTo>
                  <a:lnTo>
                    <a:pt x="13" y="1503"/>
                  </a:lnTo>
                  <a:lnTo>
                    <a:pt x="15" y="1503"/>
                  </a:lnTo>
                  <a:lnTo>
                    <a:pt x="13" y="1502"/>
                  </a:lnTo>
                  <a:lnTo>
                    <a:pt x="15" y="1502"/>
                  </a:lnTo>
                  <a:lnTo>
                    <a:pt x="15" y="1500"/>
                  </a:lnTo>
                  <a:lnTo>
                    <a:pt x="13" y="1500"/>
                  </a:lnTo>
                  <a:lnTo>
                    <a:pt x="13" y="1498"/>
                  </a:lnTo>
                  <a:lnTo>
                    <a:pt x="15" y="1498"/>
                  </a:lnTo>
                  <a:lnTo>
                    <a:pt x="15" y="1500"/>
                  </a:lnTo>
                  <a:lnTo>
                    <a:pt x="15" y="1498"/>
                  </a:lnTo>
                  <a:lnTo>
                    <a:pt x="17" y="1498"/>
                  </a:lnTo>
                  <a:lnTo>
                    <a:pt x="15" y="1497"/>
                  </a:lnTo>
                  <a:lnTo>
                    <a:pt x="17" y="1497"/>
                  </a:lnTo>
                  <a:lnTo>
                    <a:pt x="18" y="1497"/>
                  </a:lnTo>
                  <a:lnTo>
                    <a:pt x="18" y="1498"/>
                  </a:lnTo>
                  <a:lnTo>
                    <a:pt x="20" y="1500"/>
                  </a:lnTo>
                  <a:lnTo>
                    <a:pt x="20" y="1498"/>
                  </a:lnTo>
                  <a:lnTo>
                    <a:pt x="18" y="1498"/>
                  </a:lnTo>
                  <a:lnTo>
                    <a:pt x="18" y="1497"/>
                  </a:lnTo>
                  <a:lnTo>
                    <a:pt x="20" y="1497"/>
                  </a:lnTo>
                  <a:lnTo>
                    <a:pt x="18" y="1497"/>
                  </a:lnTo>
                  <a:lnTo>
                    <a:pt x="18" y="1495"/>
                  </a:lnTo>
                  <a:lnTo>
                    <a:pt x="17" y="1495"/>
                  </a:lnTo>
                  <a:lnTo>
                    <a:pt x="17" y="1494"/>
                  </a:lnTo>
                  <a:lnTo>
                    <a:pt x="18" y="1494"/>
                  </a:lnTo>
                  <a:lnTo>
                    <a:pt x="18" y="1492"/>
                  </a:lnTo>
                  <a:lnTo>
                    <a:pt x="17" y="1492"/>
                  </a:lnTo>
                  <a:lnTo>
                    <a:pt x="17" y="1494"/>
                  </a:lnTo>
                  <a:lnTo>
                    <a:pt x="17" y="1492"/>
                  </a:lnTo>
                  <a:lnTo>
                    <a:pt x="17" y="1494"/>
                  </a:lnTo>
                  <a:lnTo>
                    <a:pt x="15" y="1494"/>
                  </a:lnTo>
                  <a:lnTo>
                    <a:pt x="17" y="1494"/>
                  </a:lnTo>
                  <a:lnTo>
                    <a:pt x="17" y="1495"/>
                  </a:lnTo>
                  <a:lnTo>
                    <a:pt x="17" y="1497"/>
                  </a:lnTo>
                  <a:lnTo>
                    <a:pt x="15" y="1497"/>
                  </a:lnTo>
                  <a:lnTo>
                    <a:pt x="13" y="1497"/>
                  </a:lnTo>
                  <a:lnTo>
                    <a:pt x="12" y="1497"/>
                  </a:lnTo>
                  <a:lnTo>
                    <a:pt x="12" y="1495"/>
                  </a:lnTo>
                  <a:lnTo>
                    <a:pt x="13" y="1495"/>
                  </a:lnTo>
                  <a:lnTo>
                    <a:pt x="13" y="1494"/>
                  </a:lnTo>
                  <a:lnTo>
                    <a:pt x="13" y="1495"/>
                  </a:lnTo>
                  <a:lnTo>
                    <a:pt x="12" y="1495"/>
                  </a:lnTo>
                  <a:lnTo>
                    <a:pt x="13" y="1495"/>
                  </a:lnTo>
                  <a:lnTo>
                    <a:pt x="12" y="1495"/>
                  </a:lnTo>
                  <a:lnTo>
                    <a:pt x="12" y="1494"/>
                  </a:lnTo>
                  <a:lnTo>
                    <a:pt x="13" y="1494"/>
                  </a:lnTo>
                  <a:lnTo>
                    <a:pt x="15" y="1494"/>
                  </a:lnTo>
                  <a:lnTo>
                    <a:pt x="15" y="1495"/>
                  </a:lnTo>
                  <a:lnTo>
                    <a:pt x="15" y="1494"/>
                  </a:lnTo>
                  <a:lnTo>
                    <a:pt x="13" y="1494"/>
                  </a:lnTo>
                  <a:lnTo>
                    <a:pt x="13" y="1492"/>
                  </a:lnTo>
                  <a:lnTo>
                    <a:pt x="12" y="1492"/>
                  </a:lnTo>
                  <a:lnTo>
                    <a:pt x="10" y="1492"/>
                  </a:lnTo>
                  <a:lnTo>
                    <a:pt x="12" y="1492"/>
                  </a:lnTo>
                  <a:lnTo>
                    <a:pt x="10" y="1492"/>
                  </a:lnTo>
                  <a:lnTo>
                    <a:pt x="10" y="1490"/>
                  </a:lnTo>
                  <a:lnTo>
                    <a:pt x="12" y="1490"/>
                  </a:lnTo>
                  <a:lnTo>
                    <a:pt x="12" y="1492"/>
                  </a:lnTo>
                  <a:lnTo>
                    <a:pt x="12" y="1490"/>
                  </a:lnTo>
                  <a:lnTo>
                    <a:pt x="12" y="1489"/>
                  </a:lnTo>
                  <a:lnTo>
                    <a:pt x="13" y="1490"/>
                  </a:lnTo>
                  <a:lnTo>
                    <a:pt x="13" y="1489"/>
                  </a:lnTo>
                  <a:lnTo>
                    <a:pt x="15" y="1489"/>
                  </a:lnTo>
                  <a:lnTo>
                    <a:pt x="15" y="1490"/>
                  </a:lnTo>
                  <a:lnTo>
                    <a:pt x="13" y="1489"/>
                  </a:lnTo>
                  <a:lnTo>
                    <a:pt x="15" y="1490"/>
                  </a:lnTo>
                  <a:lnTo>
                    <a:pt x="15" y="1489"/>
                  </a:lnTo>
                  <a:lnTo>
                    <a:pt x="17" y="1490"/>
                  </a:lnTo>
                  <a:lnTo>
                    <a:pt x="18" y="1490"/>
                  </a:lnTo>
                  <a:lnTo>
                    <a:pt x="18" y="1489"/>
                  </a:lnTo>
                  <a:lnTo>
                    <a:pt x="17" y="1490"/>
                  </a:lnTo>
                  <a:lnTo>
                    <a:pt x="17" y="1489"/>
                  </a:lnTo>
                  <a:lnTo>
                    <a:pt x="15" y="1489"/>
                  </a:lnTo>
                  <a:lnTo>
                    <a:pt x="15" y="1487"/>
                  </a:lnTo>
                  <a:lnTo>
                    <a:pt x="15" y="1485"/>
                  </a:lnTo>
                  <a:lnTo>
                    <a:pt x="15" y="1487"/>
                  </a:lnTo>
                  <a:lnTo>
                    <a:pt x="13" y="1487"/>
                  </a:lnTo>
                  <a:lnTo>
                    <a:pt x="15" y="1485"/>
                  </a:lnTo>
                  <a:lnTo>
                    <a:pt x="13" y="1487"/>
                  </a:lnTo>
                  <a:lnTo>
                    <a:pt x="13" y="1485"/>
                  </a:lnTo>
                  <a:lnTo>
                    <a:pt x="12" y="1484"/>
                  </a:lnTo>
                  <a:lnTo>
                    <a:pt x="12" y="1482"/>
                  </a:lnTo>
                  <a:lnTo>
                    <a:pt x="13" y="1482"/>
                  </a:lnTo>
                  <a:lnTo>
                    <a:pt x="13" y="1481"/>
                  </a:lnTo>
                  <a:lnTo>
                    <a:pt x="15" y="1479"/>
                  </a:lnTo>
                  <a:lnTo>
                    <a:pt x="15" y="1481"/>
                  </a:lnTo>
                  <a:lnTo>
                    <a:pt x="15" y="1479"/>
                  </a:lnTo>
                  <a:lnTo>
                    <a:pt x="17" y="1479"/>
                  </a:lnTo>
                  <a:lnTo>
                    <a:pt x="17" y="1477"/>
                  </a:lnTo>
                  <a:lnTo>
                    <a:pt x="18" y="1477"/>
                  </a:lnTo>
                  <a:lnTo>
                    <a:pt x="20" y="1477"/>
                  </a:lnTo>
                  <a:lnTo>
                    <a:pt x="18" y="1477"/>
                  </a:lnTo>
                  <a:lnTo>
                    <a:pt x="20" y="1477"/>
                  </a:lnTo>
                  <a:lnTo>
                    <a:pt x="20" y="1476"/>
                  </a:lnTo>
                  <a:lnTo>
                    <a:pt x="18" y="1477"/>
                  </a:lnTo>
                  <a:lnTo>
                    <a:pt x="17" y="1477"/>
                  </a:lnTo>
                  <a:lnTo>
                    <a:pt x="17" y="1479"/>
                  </a:lnTo>
                  <a:lnTo>
                    <a:pt x="15" y="1479"/>
                  </a:lnTo>
                  <a:lnTo>
                    <a:pt x="13" y="1479"/>
                  </a:lnTo>
                  <a:lnTo>
                    <a:pt x="12" y="1479"/>
                  </a:lnTo>
                  <a:lnTo>
                    <a:pt x="12" y="1477"/>
                  </a:lnTo>
                  <a:lnTo>
                    <a:pt x="12" y="1476"/>
                  </a:lnTo>
                  <a:lnTo>
                    <a:pt x="12" y="1474"/>
                  </a:lnTo>
                  <a:lnTo>
                    <a:pt x="13" y="1474"/>
                  </a:lnTo>
                  <a:lnTo>
                    <a:pt x="13" y="1472"/>
                  </a:lnTo>
                  <a:lnTo>
                    <a:pt x="13" y="1471"/>
                  </a:lnTo>
                  <a:lnTo>
                    <a:pt x="15" y="1471"/>
                  </a:lnTo>
                  <a:lnTo>
                    <a:pt x="15" y="1469"/>
                  </a:lnTo>
                  <a:lnTo>
                    <a:pt x="17" y="1468"/>
                  </a:lnTo>
                  <a:lnTo>
                    <a:pt x="17" y="1466"/>
                  </a:lnTo>
                  <a:lnTo>
                    <a:pt x="18" y="1466"/>
                  </a:lnTo>
                  <a:lnTo>
                    <a:pt x="20" y="1466"/>
                  </a:lnTo>
                  <a:lnTo>
                    <a:pt x="20" y="1464"/>
                  </a:lnTo>
                  <a:lnTo>
                    <a:pt x="22" y="1464"/>
                  </a:lnTo>
                  <a:lnTo>
                    <a:pt x="23" y="1464"/>
                  </a:lnTo>
                  <a:lnTo>
                    <a:pt x="25" y="1464"/>
                  </a:lnTo>
                  <a:lnTo>
                    <a:pt x="25" y="1463"/>
                  </a:lnTo>
                  <a:lnTo>
                    <a:pt x="26" y="1463"/>
                  </a:lnTo>
                  <a:lnTo>
                    <a:pt x="28" y="1461"/>
                  </a:lnTo>
                  <a:lnTo>
                    <a:pt x="28" y="1463"/>
                  </a:lnTo>
                  <a:lnTo>
                    <a:pt x="28" y="1464"/>
                  </a:lnTo>
                  <a:lnTo>
                    <a:pt x="30" y="1464"/>
                  </a:lnTo>
                  <a:lnTo>
                    <a:pt x="30" y="1466"/>
                  </a:lnTo>
                  <a:lnTo>
                    <a:pt x="31" y="1468"/>
                  </a:lnTo>
                  <a:lnTo>
                    <a:pt x="30" y="1468"/>
                  </a:lnTo>
                  <a:lnTo>
                    <a:pt x="31" y="1468"/>
                  </a:lnTo>
                  <a:lnTo>
                    <a:pt x="31" y="1469"/>
                  </a:lnTo>
                  <a:lnTo>
                    <a:pt x="33" y="1469"/>
                  </a:lnTo>
                  <a:lnTo>
                    <a:pt x="31" y="1471"/>
                  </a:lnTo>
                  <a:lnTo>
                    <a:pt x="33" y="1471"/>
                  </a:lnTo>
                  <a:lnTo>
                    <a:pt x="33" y="1472"/>
                  </a:lnTo>
                  <a:lnTo>
                    <a:pt x="33" y="1474"/>
                  </a:lnTo>
                  <a:lnTo>
                    <a:pt x="33" y="1472"/>
                  </a:lnTo>
                  <a:lnTo>
                    <a:pt x="35" y="1474"/>
                  </a:lnTo>
                  <a:lnTo>
                    <a:pt x="36" y="1476"/>
                  </a:lnTo>
                  <a:lnTo>
                    <a:pt x="36" y="1477"/>
                  </a:lnTo>
                  <a:lnTo>
                    <a:pt x="36" y="1479"/>
                  </a:lnTo>
                  <a:lnTo>
                    <a:pt x="38" y="1479"/>
                  </a:lnTo>
                  <a:lnTo>
                    <a:pt x="38" y="1481"/>
                  </a:lnTo>
                  <a:lnTo>
                    <a:pt x="38" y="1484"/>
                  </a:lnTo>
                  <a:lnTo>
                    <a:pt x="38" y="1485"/>
                  </a:lnTo>
                  <a:lnTo>
                    <a:pt x="38" y="1490"/>
                  </a:lnTo>
                  <a:lnTo>
                    <a:pt x="38" y="1492"/>
                  </a:lnTo>
                  <a:lnTo>
                    <a:pt x="38" y="1494"/>
                  </a:lnTo>
                  <a:lnTo>
                    <a:pt x="41" y="1494"/>
                  </a:lnTo>
                  <a:lnTo>
                    <a:pt x="43" y="1494"/>
                  </a:lnTo>
                  <a:lnTo>
                    <a:pt x="44" y="1494"/>
                  </a:lnTo>
                  <a:lnTo>
                    <a:pt x="44" y="1492"/>
                  </a:lnTo>
                  <a:lnTo>
                    <a:pt x="46" y="1494"/>
                  </a:lnTo>
                  <a:lnTo>
                    <a:pt x="46" y="1492"/>
                  </a:lnTo>
                  <a:lnTo>
                    <a:pt x="48" y="1492"/>
                  </a:lnTo>
                  <a:lnTo>
                    <a:pt x="48" y="1494"/>
                  </a:lnTo>
                  <a:lnTo>
                    <a:pt x="51" y="1490"/>
                  </a:lnTo>
                  <a:lnTo>
                    <a:pt x="52" y="1490"/>
                  </a:lnTo>
                  <a:lnTo>
                    <a:pt x="52" y="1487"/>
                  </a:lnTo>
                  <a:lnTo>
                    <a:pt x="54" y="1484"/>
                  </a:lnTo>
                  <a:lnTo>
                    <a:pt x="54" y="1481"/>
                  </a:lnTo>
                  <a:lnTo>
                    <a:pt x="54" y="1479"/>
                  </a:lnTo>
                  <a:lnTo>
                    <a:pt x="54" y="1477"/>
                  </a:lnTo>
                  <a:lnTo>
                    <a:pt x="56" y="1472"/>
                  </a:lnTo>
                  <a:lnTo>
                    <a:pt x="61" y="1464"/>
                  </a:lnTo>
                  <a:lnTo>
                    <a:pt x="61" y="1463"/>
                  </a:lnTo>
                  <a:lnTo>
                    <a:pt x="59" y="1461"/>
                  </a:lnTo>
                  <a:lnTo>
                    <a:pt x="61" y="1456"/>
                  </a:lnTo>
                  <a:lnTo>
                    <a:pt x="61" y="1455"/>
                  </a:lnTo>
                  <a:lnTo>
                    <a:pt x="61" y="1453"/>
                  </a:lnTo>
                  <a:lnTo>
                    <a:pt x="61" y="1450"/>
                  </a:lnTo>
                  <a:lnTo>
                    <a:pt x="61" y="1448"/>
                  </a:lnTo>
                  <a:lnTo>
                    <a:pt x="61" y="1446"/>
                  </a:lnTo>
                  <a:lnTo>
                    <a:pt x="64" y="1441"/>
                  </a:lnTo>
                  <a:lnTo>
                    <a:pt x="62" y="1432"/>
                  </a:lnTo>
                  <a:lnTo>
                    <a:pt x="62" y="1428"/>
                  </a:lnTo>
                  <a:lnTo>
                    <a:pt x="61" y="1425"/>
                  </a:lnTo>
                  <a:lnTo>
                    <a:pt x="59" y="1422"/>
                  </a:lnTo>
                  <a:lnTo>
                    <a:pt x="59" y="1419"/>
                  </a:lnTo>
                  <a:lnTo>
                    <a:pt x="59" y="1417"/>
                  </a:lnTo>
                  <a:lnTo>
                    <a:pt x="57" y="1415"/>
                  </a:lnTo>
                  <a:lnTo>
                    <a:pt x="57" y="1411"/>
                  </a:lnTo>
                  <a:lnTo>
                    <a:pt x="57" y="1407"/>
                  </a:lnTo>
                  <a:lnTo>
                    <a:pt x="56" y="1406"/>
                  </a:lnTo>
                  <a:lnTo>
                    <a:pt x="54" y="1402"/>
                  </a:lnTo>
                  <a:lnTo>
                    <a:pt x="52" y="1394"/>
                  </a:lnTo>
                  <a:lnTo>
                    <a:pt x="52" y="1391"/>
                  </a:lnTo>
                  <a:lnTo>
                    <a:pt x="52" y="1389"/>
                  </a:lnTo>
                  <a:lnTo>
                    <a:pt x="52" y="1388"/>
                  </a:lnTo>
                  <a:lnTo>
                    <a:pt x="54" y="1386"/>
                  </a:lnTo>
                  <a:lnTo>
                    <a:pt x="57" y="1386"/>
                  </a:lnTo>
                  <a:lnTo>
                    <a:pt x="59" y="1385"/>
                  </a:lnTo>
                  <a:lnTo>
                    <a:pt x="64" y="1385"/>
                  </a:lnTo>
                  <a:lnTo>
                    <a:pt x="67" y="1378"/>
                  </a:lnTo>
                  <a:lnTo>
                    <a:pt x="67" y="1376"/>
                  </a:lnTo>
                  <a:lnTo>
                    <a:pt x="70" y="1376"/>
                  </a:lnTo>
                  <a:lnTo>
                    <a:pt x="70" y="1375"/>
                  </a:lnTo>
                  <a:lnTo>
                    <a:pt x="69" y="1375"/>
                  </a:lnTo>
                  <a:lnTo>
                    <a:pt x="70" y="1375"/>
                  </a:lnTo>
                  <a:lnTo>
                    <a:pt x="69" y="1373"/>
                  </a:lnTo>
                  <a:lnTo>
                    <a:pt x="69" y="1372"/>
                  </a:lnTo>
                  <a:lnTo>
                    <a:pt x="69" y="1370"/>
                  </a:lnTo>
                  <a:lnTo>
                    <a:pt x="69" y="1368"/>
                  </a:lnTo>
                  <a:lnTo>
                    <a:pt x="69" y="1367"/>
                  </a:lnTo>
                  <a:lnTo>
                    <a:pt x="70" y="1367"/>
                  </a:lnTo>
                  <a:lnTo>
                    <a:pt x="70" y="1365"/>
                  </a:lnTo>
                  <a:lnTo>
                    <a:pt x="69" y="1365"/>
                  </a:lnTo>
                  <a:lnTo>
                    <a:pt x="69" y="1363"/>
                  </a:lnTo>
                  <a:lnTo>
                    <a:pt x="67" y="1362"/>
                  </a:lnTo>
                  <a:lnTo>
                    <a:pt x="65" y="1360"/>
                  </a:lnTo>
                  <a:lnTo>
                    <a:pt x="62" y="1359"/>
                  </a:lnTo>
                  <a:lnTo>
                    <a:pt x="62" y="1357"/>
                  </a:lnTo>
                  <a:lnTo>
                    <a:pt x="64" y="1355"/>
                  </a:lnTo>
                  <a:lnTo>
                    <a:pt x="65" y="1354"/>
                  </a:lnTo>
                  <a:lnTo>
                    <a:pt x="65" y="1352"/>
                  </a:lnTo>
                  <a:lnTo>
                    <a:pt x="67" y="1352"/>
                  </a:lnTo>
                  <a:lnTo>
                    <a:pt x="69" y="1350"/>
                  </a:lnTo>
                  <a:lnTo>
                    <a:pt x="70" y="1349"/>
                  </a:lnTo>
                  <a:lnTo>
                    <a:pt x="72" y="1347"/>
                  </a:lnTo>
                  <a:lnTo>
                    <a:pt x="74" y="1349"/>
                  </a:lnTo>
                  <a:lnTo>
                    <a:pt x="75" y="1349"/>
                  </a:lnTo>
                  <a:lnTo>
                    <a:pt x="77" y="1349"/>
                  </a:lnTo>
                  <a:lnTo>
                    <a:pt x="78" y="1349"/>
                  </a:lnTo>
                  <a:lnTo>
                    <a:pt x="82" y="1349"/>
                  </a:lnTo>
                  <a:lnTo>
                    <a:pt x="85" y="1349"/>
                  </a:lnTo>
                  <a:lnTo>
                    <a:pt x="87" y="1349"/>
                  </a:lnTo>
                  <a:lnTo>
                    <a:pt x="90" y="1344"/>
                  </a:lnTo>
                  <a:lnTo>
                    <a:pt x="93" y="1341"/>
                  </a:lnTo>
                  <a:lnTo>
                    <a:pt x="98" y="1337"/>
                  </a:lnTo>
                  <a:lnTo>
                    <a:pt x="100" y="1336"/>
                  </a:lnTo>
                  <a:lnTo>
                    <a:pt x="100" y="1333"/>
                  </a:lnTo>
                  <a:lnTo>
                    <a:pt x="101" y="1331"/>
                  </a:lnTo>
                  <a:lnTo>
                    <a:pt x="104" y="1328"/>
                  </a:lnTo>
                  <a:lnTo>
                    <a:pt x="106" y="1323"/>
                  </a:lnTo>
                  <a:lnTo>
                    <a:pt x="109" y="1318"/>
                  </a:lnTo>
                  <a:lnTo>
                    <a:pt x="109" y="1311"/>
                  </a:lnTo>
                  <a:lnTo>
                    <a:pt x="111" y="1305"/>
                  </a:lnTo>
                  <a:lnTo>
                    <a:pt x="109" y="1302"/>
                  </a:lnTo>
                  <a:lnTo>
                    <a:pt x="109" y="1297"/>
                  </a:lnTo>
                  <a:lnTo>
                    <a:pt x="108" y="1290"/>
                  </a:lnTo>
                  <a:lnTo>
                    <a:pt x="108" y="1285"/>
                  </a:lnTo>
                  <a:lnTo>
                    <a:pt x="111" y="1282"/>
                  </a:lnTo>
                  <a:lnTo>
                    <a:pt x="114" y="1274"/>
                  </a:lnTo>
                  <a:lnTo>
                    <a:pt x="114" y="1259"/>
                  </a:lnTo>
                  <a:lnTo>
                    <a:pt x="113" y="1254"/>
                  </a:lnTo>
                  <a:lnTo>
                    <a:pt x="111" y="1253"/>
                  </a:lnTo>
                  <a:lnTo>
                    <a:pt x="106" y="1246"/>
                  </a:lnTo>
                  <a:lnTo>
                    <a:pt x="106" y="1241"/>
                  </a:lnTo>
                  <a:lnTo>
                    <a:pt x="106" y="1240"/>
                  </a:lnTo>
                  <a:lnTo>
                    <a:pt x="98" y="1227"/>
                  </a:lnTo>
                  <a:lnTo>
                    <a:pt x="93" y="1211"/>
                  </a:lnTo>
                  <a:lnTo>
                    <a:pt x="93" y="1206"/>
                  </a:lnTo>
                  <a:lnTo>
                    <a:pt x="90" y="1199"/>
                  </a:lnTo>
                  <a:lnTo>
                    <a:pt x="83" y="1188"/>
                  </a:lnTo>
                  <a:lnTo>
                    <a:pt x="100" y="1181"/>
                  </a:lnTo>
                  <a:lnTo>
                    <a:pt x="104" y="1181"/>
                  </a:lnTo>
                  <a:lnTo>
                    <a:pt x="111" y="1183"/>
                  </a:lnTo>
                  <a:lnTo>
                    <a:pt x="114" y="1181"/>
                  </a:lnTo>
                  <a:lnTo>
                    <a:pt x="116" y="1180"/>
                  </a:lnTo>
                  <a:lnTo>
                    <a:pt x="117" y="1168"/>
                  </a:lnTo>
                  <a:lnTo>
                    <a:pt x="121" y="1162"/>
                  </a:lnTo>
                  <a:lnTo>
                    <a:pt x="122" y="1160"/>
                  </a:lnTo>
                  <a:lnTo>
                    <a:pt x="126" y="1149"/>
                  </a:lnTo>
                  <a:lnTo>
                    <a:pt x="127" y="1137"/>
                  </a:lnTo>
                  <a:lnTo>
                    <a:pt x="122" y="1129"/>
                  </a:lnTo>
                  <a:lnTo>
                    <a:pt x="116" y="1123"/>
                  </a:lnTo>
                  <a:lnTo>
                    <a:pt x="113" y="1116"/>
                  </a:lnTo>
                  <a:lnTo>
                    <a:pt x="104" y="1108"/>
                  </a:lnTo>
                  <a:lnTo>
                    <a:pt x="96" y="1108"/>
                  </a:lnTo>
                  <a:lnTo>
                    <a:pt x="95" y="1108"/>
                  </a:lnTo>
                  <a:lnTo>
                    <a:pt x="91" y="1103"/>
                  </a:lnTo>
                  <a:lnTo>
                    <a:pt x="90" y="1102"/>
                  </a:lnTo>
                  <a:lnTo>
                    <a:pt x="87" y="1100"/>
                  </a:lnTo>
                  <a:lnTo>
                    <a:pt x="85" y="1098"/>
                  </a:lnTo>
                  <a:lnTo>
                    <a:pt x="75" y="1087"/>
                  </a:lnTo>
                  <a:lnTo>
                    <a:pt x="75" y="1079"/>
                  </a:lnTo>
                  <a:lnTo>
                    <a:pt x="78" y="1048"/>
                  </a:lnTo>
                  <a:lnTo>
                    <a:pt x="80" y="1035"/>
                  </a:lnTo>
                  <a:lnTo>
                    <a:pt x="82" y="1019"/>
                  </a:lnTo>
                  <a:lnTo>
                    <a:pt x="83" y="1009"/>
                  </a:lnTo>
                  <a:lnTo>
                    <a:pt x="83" y="1007"/>
                  </a:lnTo>
                  <a:lnTo>
                    <a:pt x="80" y="1001"/>
                  </a:lnTo>
                  <a:lnTo>
                    <a:pt x="80" y="999"/>
                  </a:lnTo>
                  <a:lnTo>
                    <a:pt x="65" y="958"/>
                  </a:lnTo>
                  <a:lnTo>
                    <a:pt x="70" y="941"/>
                  </a:lnTo>
                  <a:lnTo>
                    <a:pt x="69" y="934"/>
                  </a:lnTo>
                  <a:lnTo>
                    <a:pt x="65" y="918"/>
                  </a:lnTo>
                  <a:lnTo>
                    <a:pt x="74" y="903"/>
                  </a:lnTo>
                  <a:lnTo>
                    <a:pt x="70" y="897"/>
                  </a:lnTo>
                  <a:lnTo>
                    <a:pt x="62" y="877"/>
                  </a:lnTo>
                  <a:lnTo>
                    <a:pt x="59" y="871"/>
                  </a:lnTo>
                  <a:lnTo>
                    <a:pt x="59" y="869"/>
                  </a:lnTo>
                  <a:lnTo>
                    <a:pt x="57" y="867"/>
                  </a:lnTo>
                  <a:lnTo>
                    <a:pt x="57" y="864"/>
                  </a:lnTo>
                  <a:lnTo>
                    <a:pt x="64" y="853"/>
                  </a:lnTo>
                  <a:lnTo>
                    <a:pt x="72" y="835"/>
                  </a:lnTo>
                  <a:lnTo>
                    <a:pt x="67" y="819"/>
                  </a:lnTo>
                  <a:lnTo>
                    <a:pt x="74" y="812"/>
                  </a:lnTo>
                  <a:lnTo>
                    <a:pt x="75" y="807"/>
                  </a:lnTo>
                  <a:lnTo>
                    <a:pt x="77" y="802"/>
                  </a:lnTo>
                  <a:lnTo>
                    <a:pt x="88" y="783"/>
                  </a:lnTo>
                  <a:lnTo>
                    <a:pt x="95" y="771"/>
                  </a:lnTo>
                  <a:lnTo>
                    <a:pt x="100" y="763"/>
                  </a:lnTo>
                  <a:lnTo>
                    <a:pt x="104" y="760"/>
                  </a:lnTo>
                  <a:lnTo>
                    <a:pt x="106" y="758"/>
                  </a:lnTo>
                  <a:lnTo>
                    <a:pt x="114" y="752"/>
                  </a:lnTo>
                  <a:lnTo>
                    <a:pt x="126" y="747"/>
                  </a:lnTo>
                  <a:lnTo>
                    <a:pt x="132" y="745"/>
                  </a:lnTo>
                  <a:lnTo>
                    <a:pt x="150" y="747"/>
                  </a:lnTo>
                  <a:lnTo>
                    <a:pt x="160" y="750"/>
                  </a:lnTo>
                  <a:lnTo>
                    <a:pt x="165" y="750"/>
                  </a:lnTo>
                  <a:lnTo>
                    <a:pt x="181" y="755"/>
                  </a:lnTo>
                  <a:lnTo>
                    <a:pt x="181" y="752"/>
                  </a:lnTo>
                  <a:lnTo>
                    <a:pt x="187" y="734"/>
                  </a:lnTo>
                  <a:lnTo>
                    <a:pt x="191" y="728"/>
                  </a:lnTo>
                  <a:lnTo>
                    <a:pt x="186" y="698"/>
                  </a:lnTo>
                  <a:lnTo>
                    <a:pt x="186" y="690"/>
                  </a:lnTo>
                  <a:lnTo>
                    <a:pt x="184" y="687"/>
                  </a:lnTo>
                  <a:lnTo>
                    <a:pt x="181" y="687"/>
                  </a:lnTo>
                  <a:lnTo>
                    <a:pt x="179" y="685"/>
                  </a:lnTo>
                  <a:lnTo>
                    <a:pt x="174" y="685"/>
                  </a:lnTo>
                  <a:lnTo>
                    <a:pt x="173" y="685"/>
                  </a:lnTo>
                  <a:lnTo>
                    <a:pt x="166" y="680"/>
                  </a:lnTo>
                  <a:lnTo>
                    <a:pt x="157" y="674"/>
                  </a:lnTo>
                  <a:lnTo>
                    <a:pt x="157" y="671"/>
                  </a:lnTo>
                  <a:lnTo>
                    <a:pt x="158" y="666"/>
                  </a:lnTo>
                  <a:lnTo>
                    <a:pt x="160" y="664"/>
                  </a:lnTo>
                  <a:lnTo>
                    <a:pt x="163" y="658"/>
                  </a:lnTo>
                  <a:lnTo>
                    <a:pt x="165" y="651"/>
                  </a:lnTo>
                  <a:lnTo>
                    <a:pt x="173" y="636"/>
                  </a:lnTo>
                  <a:lnTo>
                    <a:pt x="178" y="625"/>
                  </a:lnTo>
                  <a:lnTo>
                    <a:pt x="183" y="615"/>
                  </a:lnTo>
                  <a:lnTo>
                    <a:pt x="191" y="599"/>
                  </a:lnTo>
                  <a:lnTo>
                    <a:pt x="192" y="596"/>
                  </a:lnTo>
                  <a:lnTo>
                    <a:pt x="194" y="576"/>
                  </a:lnTo>
                  <a:lnTo>
                    <a:pt x="202" y="568"/>
                  </a:lnTo>
                  <a:lnTo>
                    <a:pt x="200" y="562"/>
                  </a:lnTo>
                  <a:lnTo>
                    <a:pt x="199" y="537"/>
                  </a:lnTo>
                  <a:lnTo>
                    <a:pt x="200" y="511"/>
                  </a:lnTo>
                  <a:lnTo>
                    <a:pt x="204" y="497"/>
                  </a:lnTo>
                  <a:lnTo>
                    <a:pt x="200" y="482"/>
                  </a:lnTo>
                  <a:lnTo>
                    <a:pt x="199" y="471"/>
                  </a:lnTo>
                  <a:lnTo>
                    <a:pt x="196" y="459"/>
                  </a:lnTo>
                  <a:lnTo>
                    <a:pt x="194" y="449"/>
                  </a:lnTo>
                  <a:lnTo>
                    <a:pt x="196" y="449"/>
                  </a:lnTo>
                  <a:lnTo>
                    <a:pt x="212" y="448"/>
                  </a:lnTo>
                  <a:lnTo>
                    <a:pt x="223" y="445"/>
                  </a:lnTo>
                  <a:lnTo>
                    <a:pt x="225" y="445"/>
                  </a:lnTo>
                  <a:lnTo>
                    <a:pt x="226" y="443"/>
                  </a:lnTo>
                  <a:lnTo>
                    <a:pt x="243" y="430"/>
                  </a:lnTo>
                  <a:lnTo>
                    <a:pt x="249" y="425"/>
                  </a:lnTo>
                  <a:lnTo>
                    <a:pt x="246" y="418"/>
                  </a:lnTo>
                  <a:lnTo>
                    <a:pt x="246" y="415"/>
                  </a:lnTo>
                  <a:lnTo>
                    <a:pt x="239" y="397"/>
                  </a:lnTo>
                  <a:lnTo>
                    <a:pt x="243" y="392"/>
                  </a:lnTo>
                  <a:lnTo>
                    <a:pt x="252" y="379"/>
                  </a:lnTo>
                  <a:lnTo>
                    <a:pt x="272" y="334"/>
                  </a:lnTo>
                  <a:lnTo>
                    <a:pt x="274" y="331"/>
                  </a:lnTo>
                  <a:lnTo>
                    <a:pt x="280" y="321"/>
                  </a:lnTo>
                  <a:lnTo>
                    <a:pt x="283" y="318"/>
                  </a:lnTo>
                  <a:lnTo>
                    <a:pt x="290" y="311"/>
                  </a:lnTo>
                  <a:lnTo>
                    <a:pt x="288" y="290"/>
                  </a:lnTo>
                  <a:lnTo>
                    <a:pt x="285" y="283"/>
                  </a:lnTo>
                  <a:lnTo>
                    <a:pt x="278" y="274"/>
                  </a:lnTo>
                  <a:lnTo>
                    <a:pt x="267" y="257"/>
                  </a:lnTo>
                  <a:lnTo>
                    <a:pt x="270" y="249"/>
                  </a:lnTo>
                  <a:lnTo>
                    <a:pt x="270" y="246"/>
                  </a:lnTo>
                  <a:lnTo>
                    <a:pt x="283" y="243"/>
                  </a:lnTo>
                  <a:lnTo>
                    <a:pt x="285" y="241"/>
                  </a:lnTo>
                  <a:lnTo>
                    <a:pt x="287" y="236"/>
                  </a:lnTo>
                  <a:lnTo>
                    <a:pt x="288" y="231"/>
                  </a:lnTo>
                  <a:lnTo>
                    <a:pt x="290" y="225"/>
                  </a:lnTo>
                  <a:lnTo>
                    <a:pt x="293" y="210"/>
                  </a:lnTo>
                  <a:lnTo>
                    <a:pt x="296" y="186"/>
                  </a:lnTo>
                  <a:lnTo>
                    <a:pt x="301" y="183"/>
                  </a:lnTo>
                  <a:lnTo>
                    <a:pt x="309" y="173"/>
                  </a:lnTo>
                  <a:lnTo>
                    <a:pt x="318" y="166"/>
                  </a:lnTo>
                  <a:lnTo>
                    <a:pt x="318" y="165"/>
                  </a:lnTo>
                  <a:lnTo>
                    <a:pt x="322" y="155"/>
                  </a:lnTo>
                  <a:lnTo>
                    <a:pt x="337" y="160"/>
                  </a:lnTo>
                  <a:lnTo>
                    <a:pt x="344" y="165"/>
                  </a:lnTo>
                  <a:lnTo>
                    <a:pt x="350" y="166"/>
                  </a:lnTo>
                  <a:lnTo>
                    <a:pt x="358" y="173"/>
                  </a:lnTo>
                  <a:lnTo>
                    <a:pt x="360" y="170"/>
                  </a:lnTo>
                  <a:lnTo>
                    <a:pt x="361" y="162"/>
                  </a:lnTo>
                  <a:lnTo>
                    <a:pt x="365" y="148"/>
                  </a:lnTo>
                  <a:lnTo>
                    <a:pt x="368" y="139"/>
                  </a:lnTo>
                  <a:lnTo>
                    <a:pt x="361" y="109"/>
                  </a:lnTo>
                  <a:lnTo>
                    <a:pt x="360" y="90"/>
                  </a:lnTo>
                  <a:lnTo>
                    <a:pt x="374" y="83"/>
                  </a:lnTo>
                  <a:lnTo>
                    <a:pt x="387" y="92"/>
                  </a:lnTo>
                  <a:lnTo>
                    <a:pt x="405" y="88"/>
                  </a:lnTo>
                  <a:lnTo>
                    <a:pt x="459" y="103"/>
                  </a:lnTo>
                  <a:lnTo>
                    <a:pt x="459" y="101"/>
                  </a:lnTo>
                  <a:lnTo>
                    <a:pt x="461" y="98"/>
                  </a:lnTo>
                  <a:lnTo>
                    <a:pt x="472" y="82"/>
                  </a:lnTo>
                  <a:lnTo>
                    <a:pt x="462" y="79"/>
                  </a:lnTo>
                  <a:lnTo>
                    <a:pt x="459" y="77"/>
                  </a:lnTo>
                  <a:lnTo>
                    <a:pt x="456" y="75"/>
                  </a:lnTo>
                  <a:lnTo>
                    <a:pt x="459" y="70"/>
                  </a:lnTo>
                  <a:lnTo>
                    <a:pt x="461" y="69"/>
                  </a:lnTo>
                  <a:lnTo>
                    <a:pt x="467" y="57"/>
                  </a:lnTo>
                  <a:lnTo>
                    <a:pt x="470" y="38"/>
                  </a:lnTo>
                  <a:lnTo>
                    <a:pt x="466" y="20"/>
                  </a:lnTo>
                  <a:lnTo>
                    <a:pt x="451" y="5"/>
                  </a:lnTo>
                  <a:lnTo>
                    <a:pt x="453" y="5"/>
                  </a:lnTo>
                  <a:lnTo>
                    <a:pt x="472" y="0"/>
                  </a:lnTo>
                  <a:lnTo>
                    <a:pt x="475" y="0"/>
                  </a:lnTo>
                  <a:lnTo>
                    <a:pt x="477" y="0"/>
                  </a:lnTo>
                  <a:lnTo>
                    <a:pt x="479" y="0"/>
                  </a:lnTo>
                  <a:lnTo>
                    <a:pt x="480" y="0"/>
                  </a:lnTo>
                  <a:lnTo>
                    <a:pt x="483" y="2"/>
                  </a:lnTo>
                  <a:lnTo>
                    <a:pt x="485" y="2"/>
                  </a:lnTo>
                  <a:lnTo>
                    <a:pt x="488" y="4"/>
                  </a:lnTo>
                  <a:lnTo>
                    <a:pt x="492" y="7"/>
                  </a:lnTo>
                  <a:lnTo>
                    <a:pt x="493" y="7"/>
                  </a:lnTo>
                  <a:lnTo>
                    <a:pt x="495" y="9"/>
                  </a:lnTo>
                  <a:lnTo>
                    <a:pt x="495" y="10"/>
                  </a:lnTo>
                  <a:lnTo>
                    <a:pt x="496" y="10"/>
                  </a:lnTo>
                  <a:lnTo>
                    <a:pt x="496" y="12"/>
                  </a:lnTo>
                  <a:lnTo>
                    <a:pt x="495" y="14"/>
                  </a:lnTo>
                  <a:lnTo>
                    <a:pt x="493" y="14"/>
                  </a:lnTo>
                  <a:lnTo>
                    <a:pt x="493" y="15"/>
                  </a:lnTo>
                  <a:lnTo>
                    <a:pt x="493" y="17"/>
                  </a:lnTo>
                  <a:lnTo>
                    <a:pt x="495" y="17"/>
                  </a:lnTo>
                  <a:lnTo>
                    <a:pt x="496" y="18"/>
                  </a:lnTo>
                  <a:lnTo>
                    <a:pt x="496" y="20"/>
                  </a:lnTo>
                  <a:lnTo>
                    <a:pt x="498" y="20"/>
                  </a:lnTo>
                  <a:lnTo>
                    <a:pt x="500" y="20"/>
                  </a:lnTo>
                  <a:lnTo>
                    <a:pt x="501" y="20"/>
                  </a:lnTo>
                  <a:lnTo>
                    <a:pt x="501" y="18"/>
                  </a:lnTo>
                  <a:lnTo>
                    <a:pt x="503" y="20"/>
                  </a:lnTo>
                  <a:lnTo>
                    <a:pt x="505" y="20"/>
                  </a:lnTo>
                  <a:lnTo>
                    <a:pt x="505" y="22"/>
                  </a:lnTo>
                  <a:lnTo>
                    <a:pt x="505" y="20"/>
                  </a:lnTo>
                  <a:lnTo>
                    <a:pt x="505" y="22"/>
                  </a:lnTo>
                  <a:lnTo>
                    <a:pt x="506" y="22"/>
                  </a:lnTo>
                  <a:lnTo>
                    <a:pt x="508" y="23"/>
                  </a:lnTo>
                  <a:lnTo>
                    <a:pt x="509" y="23"/>
                  </a:lnTo>
                  <a:lnTo>
                    <a:pt x="509" y="25"/>
                  </a:lnTo>
                  <a:lnTo>
                    <a:pt x="511" y="25"/>
                  </a:lnTo>
                  <a:lnTo>
                    <a:pt x="511" y="27"/>
                  </a:lnTo>
                  <a:lnTo>
                    <a:pt x="513" y="27"/>
                  </a:lnTo>
                  <a:lnTo>
                    <a:pt x="514" y="28"/>
                  </a:lnTo>
                  <a:lnTo>
                    <a:pt x="516" y="28"/>
                  </a:lnTo>
                  <a:lnTo>
                    <a:pt x="516" y="30"/>
                  </a:lnTo>
                  <a:lnTo>
                    <a:pt x="518" y="30"/>
                  </a:lnTo>
                  <a:lnTo>
                    <a:pt x="518" y="31"/>
                  </a:lnTo>
                  <a:lnTo>
                    <a:pt x="519" y="31"/>
                  </a:lnTo>
                  <a:lnTo>
                    <a:pt x="519" y="33"/>
                  </a:lnTo>
                  <a:lnTo>
                    <a:pt x="521" y="35"/>
                  </a:lnTo>
                  <a:lnTo>
                    <a:pt x="522" y="36"/>
                  </a:lnTo>
                  <a:lnTo>
                    <a:pt x="524" y="35"/>
                  </a:lnTo>
                  <a:lnTo>
                    <a:pt x="526" y="35"/>
                  </a:lnTo>
                  <a:lnTo>
                    <a:pt x="527" y="36"/>
                  </a:lnTo>
                  <a:lnTo>
                    <a:pt x="527" y="38"/>
                  </a:lnTo>
                  <a:lnTo>
                    <a:pt x="527" y="40"/>
                  </a:lnTo>
                  <a:lnTo>
                    <a:pt x="529" y="41"/>
                  </a:lnTo>
                  <a:lnTo>
                    <a:pt x="529" y="43"/>
                  </a:lnTo>
                  <a:lnTo>
                    <a:pt x="529" y="44"/>
                  </a:lnTo>
                  <a:lnTo>
                    <a:pt x="531" y="44"/>
                  </a:lnTo>
                  <a:lnTo>
                    <a:pt x="532" y="46"/>
                  </a:lnTo>
                  <a:lnTo>
                    <a:pt x="532" y="44"/>
                  </a:lnTo>
                  <a:lnTo>
                    <a:pt x="534" y="46"/>
                  </a:lnTo>
                  <a:lnTo>
                    <a:pt x="535" y="46"/>
                  </a:lnTo>
                  <a:lnTo>
                    <a:pt x="537" y="46"/>
                  </a:lnTo>
                  <a:lnTo>
                    <a:pt x="540" y="46"/>
                  </a:lnTo>
                  <a:lnTo>
                    <a:pt x="540" y="48"/>
                  </a:lnTo>
                  <a:lnTo>
                    <a:pt x="542" y="48"/>
                  </a:lnTo>
                  <a:lnTo>
                    <a:pt x="544" y="49"/>
                  </a:lnTo>
                  <a:lnTo>
                    <a:pt x="545" y="51"/>
                  </a:lnTo>
                  <a:lnTo>
                    <a:pt x="547" y="51"/>
                  </a:lnTo>
                  <a:lnTo>
                    <a:pt x="547" y="53"/>
                  </a:lnTo>
                  <a:lnTo>
                    <a:pt x="545" y="53"/>
                  </a:lnTo>
                  <a:lnTo>
                    <a:pt x="545" y="54"/>
                  </a:lnTo>
                  <a:lnTo>
                    <a:pt x="547" y="54"/>
                  </a:lnTo>
                  <a:lnTo>
                    <a:pt x="547" y="56"/>
                  </a:lnTo>
                  <a:lnTo>
                    <a:pt x="548" y="56"/>
                  </a:lnTo>
                  <a:lnTo>
                    <a:pt x="550" y="56"/>
                  </a:lnTo>
                  <a:lnTo>
                    <a:pt x="552" y="56"/>
                  </a:lnTo>
                  <a:lnTo>
                    <a:pt x="553" y="56"/>
                  </a:lnTo>
                  <a:lnTo>
                    <a:pt x="553" y="54"/>
                  </a:lnTo>
                  <a:lnTo>
                    <a:pt x="555" y="54"/>
                  </a:lnTo>
                  <a:lnTo>
                    <a:pt x="555" y="56"/>
                  </a:lnTo>
                  <a:lnTo>
                    <a:pt x="557" y="56"/>
                  </a:lnTo>
                  <a:lnTo>
                    <a:pt x="558" y="56"/>
                  </a:lnTo>
                  <a:lnTo>
                    <a:pt x="558" y="57"/>
                  </a:lnTo>
                  <a:lnTo>
                    <a:pt x="560" y="59"/>
                  </a:lnTo>
                  <a:lnTo>
                    <a:pt x="561" y="59"/>
                  </a:lnTo>
                  <a:lnTo>
                    <a:pt x="561" y="61"/>
                  </a:lnTo>
                  <a:lnTo>
                    <a:pt x="563" y="61"/>
                  </a:lnTo>
                  <a:lnTo>
                    <a:pt x="565" y="62"/>
                  </a:lnTo>
                  <a:lnTo>
                    <a:pt x="565" y="66"/>
                  </a:lnTo>
                  <a:lnTo>
                    <a:pt x="566" y="67"/>
                  </a:lnTo>
                  <a:lnTo>
                    <a:pt x="568" y="69"/>
                  </a:lnTo>
                  <a:lnTo>
                    <a:pt x="570" y="67"/>
                  </a:lnTo>
                  <a:lnTo>
                    <a:pt x="571" y="67"/>
                  </a:lnTo>
                  <a:lnTo>
                    <a:pt x="571" y="69"/>
                  </a:lnTo>
                  <a:lnTo>
                    <a:pt x="573" y="69"/>
                  </a:lnTo>
                  <a:lnTo>
                    <a:pt x="574" y="67"/>
                  </a:lnTo>
                  <a:lnTo>
                    <a:pt x="576" y="67"/>
                  </a:lnTo>
                  <a:lnTo>
                    <a:pt x="578" y="67"/>
                  </a:lnTo>
                  <a:lnTo>
                    <a:pt x="578" y="66"/>
                  </a:lnTo>
                  <a:lnTo>
                    <a:pt x="579" y="66"/>
                  </a:lnTo>
                  <a:lnTo>
                    <a:pt x="581" y="66"/>
                  </a:lnTo>
                  <a:lnTo>
                    <a:pt x="583" y="66"/>
                  </a:lnTo>
                  <a:lnTo>
                    <a:pt x="584" y="66"/>
                  </a:lnTo>
                  <a:lnTo>
                    <a:pt x="583" y="67"/>
                  </a:lnTo>
                  <a:lnTo>
                    <a:pt x="584" y="67"/>
                  </a:lnTo>
                  <a:lnTo>
                    <a:pt x="584" y="69"/>
                  </a:lnTo>
                  <a:lnTo>
                    <a:pt x="584" y="70"/>
                  </a:lnTo>
                  <a:lnTo>
                    <a:pt x="586" y="67"/>
                  </a:lnTo>
                  <a:lnTo>
                    <a:pt x="588" y="67"/>
                  </a:lnTo>
                  <a:lnTo>
                    <a:pt x="589" y="67"/>
                  </a:lnTo>
                  <a:lnTo>
                    <a:pt x="591" y="69"/>
                  </a:lnTo>
                  <a:lnTo>
                    <a:pt x="591" y="70"/>
                  </a:lnTo>
                  <a:lnTo>
                    <a:pt x="592" y="69"/>
                  </a:lnTo>
                  <a:lnTo>
                    <a:pt x="594" y="70"/>
                  </a:lnTo>
                  <a:lnTo>
                    <a:pt x="596" y="70"/>
                  </a:lnTo>
                  <a:lnTo>
                    <a:pt x="597" y="72"/>
                  </a:lnTo>
                  <a:lnTo>
                    <a:pt x="597" y="70"/>
                  </a:lnTo>
                  <a:lnTo>
                    <a:pt x="599" y="70"/>
                  </a:lnTo>
                  <a:lnTo>
                    <a:pt x="599" y="69"/>
                  </a:lnTo>
                  <a:lnTo>
                    <a:pt x="601" y="69"/>
                  </a:lnTo>
                  <a:lnTo>
                    <a:pt x="601" y="70"/>
                  </a:lnTo>
                  <a:lnTo>
                    <a:pt x="601" y="72"/>
                  </a:lnTo>
                  <a:lnTo>
                    <a:pt x="602" y="72"/>
                  </a:lnTo>
                  <a:lnTo>
                    <a:pt x="604" y="72"/>
                  </a:lnTo>
                  <a:lnTo>
                    <a:pt x="604" y="74"/>
                  </a:lnTo>
                  <a:lnTo>
                    <a:pt x="605" y="74"/>
                  </a:lnTo>
                  <a:lnTo>
                    <a:pt x="605" y="75"/>
                  </a:lnTo>
                  <a:lnTo>
                    <a:pt x="607" y="75"/>
                  </a:lnTo>
                  <a:lnTo>
                    <a:pt x="609" y="75"/>
                  </a:lnTo>
                  <a:lnTo>
                    <a:pt x="609" y="74"/>
                  </a:lnTo>
                  <a:lnTo>
                    <a:pt x="610" y="74"/>
                  </a:lnTo>
                  <a:lnTo>
                    <a:pt x="612" y="74"/>
                  </a:lnTo>
                  <a:lnTo>
                    <a:pt x="612" y="77"/>
                  </a:lnTo>
                  <a:lnTo>
                    <a:pt x="614" y="77"/>
                  </a:lnTo>
                  <a:lnTo>
                    <a:pt x="615" y="79"/>
                  </a:lnTo>
                  <a:lnTo>
                    <a:pt x="617" y="79"/>
                  </a:lnTo>
                  <a:lnTo>
                    <a:pt x="617" y="80"/>
                  </a:lnTo>
                  <a:lnTo>
                    <a:pt x="618" y="80"/>
                  </a:lnTo>
                  <a:lnTo>
                    <a:pt x="620" y="80"/>
                  </a:lnTo>
                  <a:lnTo>
                    <a:pt x="622" y="80"/>
                  </a:lnTo>
                  <a:lnTo>
                    <a:pt x="622" y="82"/>
                  </a:lnTo>
                  <a:lnTo>
                    <a:pt x="625" y="83"/>
                  </a:lnTo>
                  <a:lnTo>
                    <a:pt x="627" y="83"/>
                  </a:lnTo>
                  <a:lnTo>
                    <a:pt x="627" y="85"/>
                  </a:lnTo>
                  <a:lnTo>
                    <a:pt x="627" y="87"/>
                  </a:lnTo>
                  <a:lnTo>
                    <a:pt x="628" y="87"/>
                  </a:lnTo>
                  <a:lnTo>
                    <a:pt x="628" y="88"/>
                  </a:lnTo>
                  <a:lnTo>
                    <a:pt x="630" y="88"/>
                  </a:lnTo>
                  <a:lnTo>
                    <a:pt x="630" y="90"/>
                  </a:lnTo>
                  <a:lnTo>
                    <a:pt x="631" y="90"/>
                  </a:lnTo>
                  <a:lnTo>
                    <a:pt x="633" y="92"/>
                  </a:lnTo>
                  <a:lnTo>
                    <a:pt x="633" y="95"/>
                  </a:lnTo>
                  <a:lnTo>
                    <a:pt x="633" y="96"/>
                  </a:lnTo>
                  <a:lnTo>
                    <a:pt x="635" y="96"/>
                  </a:lnTo>
                  <a:lnTo>
                    <a:pt x="635" y="98"/>
                  </a:lnTo>
                  <a:lnTo>
                    <a:pt x="633" y="98"/>
                  </a:lnTo>
                  <a:lnTo>
                    <a:pt x="635" y="100"/>
                  </a:lnTo>
                  <a:lnTo>
                    <a:pt x="633" y="100"/>
                  </a:lnTo>
                  <a:lnTo>
                    <a:pt x="635" y="100"/>
                  </a:lnTo>
                  <a:lnTo>
                    <a:pt x="635" y="101"/>
                  </a:lnTo>
                  <a:lnTo>
                    <a:pt x="635" y="103"/>
                  </a:lnTo>
                  <a:lnTo>
                    <a:pt x="636" y="106"/>
                  </a:lnTo>
                  <a:lnTo>
                    <a:pt x="638" y="105"/>
                  </a:lnTo>
                  <a:lnTo>
                    <a:pt x="638" y="103"/>
                  </a:lnTo>
                  <a:lnTo>
                    <a:pt x="640" y="103"/>
                  </a:lnTo>
                  <a:lnTo>
                    <a:pt x="641" y="103"/>
                  </a:lnTo>
                  <a:lnTo>
                    <a:pt x="641" y="101"/>
                  </a:lnTo>
                  <a:lnTo>
                    <a:pt x="643" y="101"/>
                  </a:lnTo>
                  <a:lnTo>
                    <a:pt x="643" y="103"/>
                  </a:lnTo>
                  <a:lnTo>
                    <a:pt x="644" y="103"/>
                  </a:lnTo>
                  <a:lnTo>
                    <a:pt x="644" y="105"/>
                  </a:lnTo>
                  <a:lnTo>
                    <a:pt x="646" y="106"/>
                  </a:lnTo>
                  <a:lnTo>
                    <a:pt x="646" y="108"/>
                  </a:lnTo>
                  <a:lnTo>
                    <a:pt x="646" y="109"/>
                  </a:lnTo>
                  <a:lnTo>
                    <a:pt x="648" y="109"/>
                  </a:lnTo>
                  <a:lnTo>
                    <a:pt x="648" y="111"/>
                  </a:lnTo>
                  <a:lnTo>
                    <a:pt x="649" y="113"/>
                  </a:lnTo>
                  <a:lnTo>
                    <a:pt x="649" y="114"/>
                  </a:lnTo>
                  <a:lnTo>
                    <a:pt x="651" y="114"/>
                  </a:lnTo>
                  <a:lnTo>
                    <a:pt x="651" y="116"/>
                  </a:lnTo>
                  <a:lnTo>
                    <a:pt x="653" y="116"/>
                  </a:lnTo>
                  <a:lnTo>
                    <a:pt x="654" y="116"/>
                  </a:lnTo>
                  <a:lnTo>
                    <a:pt x="656" y="118"/>
                  </a:lnTo>
                  <a:lnTo>
                    <a:pt x="656" y="119"/>
                  </a:lnTo>
                  <a:lnTo>
                    <a:pt x="657" y="118"/>
                  </a:lnTo>
                  <a:lnTo>
                    <a:pt x="659" y="118"/>
                  </a:lnTo>
                  <a:lnTo>
                    <a:pt x="661" y="119"/>
                  </a:lnTo>
                  <a:lnTo>
                    <a:pt x="661" y="121"/>
                  </a:lnTo>
                  <a:lnTo>
                    <a:pt x="661" y="122"/>
                  </a:lnTo>
                  <a:lnTo>
                    <a:pt x="662" y="124"/>
                  </a:lnTo>
                  <a:lnTo>
                    <a:pt x="664" y="124"/>
                  </a:lnTo>
                  <a:lnTo>
                    <a:pt x="666" y="124"/>
                  </a:lnTo>
                  <a:lnTo>
                    <a:pt x="667" y="126"/>
                  </a:lnTo>
                  <a:lnTo>
                    <a:pt x="669" y="127"/>
                  </a:lnTo>
                  <a:lnTo>
                    <a:pt x="669" y="129"/>
                  </a:lnTo>
                  <a:lnTo>
                    <a:pt x="669" y="131"/>
                  </a:lnTo>
                  <a:lnTo>
                    <a:pt x="667" y="132"/>
                  </a:lnTo>
                  <a:lnTo>
                    <a:pt x="667" y="134"/>
                  </a:lnTo>
                  <a:lnTo>
                    <a:pt x="666" y="134"/>
                  </a:lnTo>
                  <a:lnTo>
                    <a:pt x="666" y="135"/>
                  </a:lnTo>
                  <a:lnTo>
                    <a:pt x="666" y="134"/>
                  </a:lnTo>
                  <a:lnTo>
                    <a:pt x="664" y="134"/>
                  </a:lnTo>
                  <a:lnTo>
                    <a:pt x="664" y="135"/>
                  </a:lnTo>
                  <a:lnTo>
                    <a:pt x="662" y="137"/>
                  </a:lnTo>
                  <a:lnTo>
                    <a:pt x="662" y="139"/>
                  </a:lnTo>
                  <a:lnTo>
                    <a:pt x="662" y="140"/>
                  </a:lnTo>
                  <a:lnTo>
                    <a:pt x="662" y="142"/>
                  </a:lnTo>
                  <a:lnTo>
                    <a:pt x="662" y="144"/>
                  </a:lnTo>
                  <a:lnTo>
                    <a:pt x="662" y="145"/>
                  </a:lnTo>
                  <a:lnTo>
                    <a:pt x="662" y="147"/>
                  </a:lnTo>
                  <a:lnTo>
                    <a:pt x="664" y="150"/>
                  </a:lnTo>
                  <a:lnTo>
                    <a:pt x="664" y="152"/>
                  </a:lnTo>
                  <a:lnTo>
                    <a:pt x="664" y="153"/>
                  </a:lnTo>
                  <a:lnTo>
                    <a:pt x="666" y="153"/>
                  </a:lnTo>
                  <a:lnTo>
                    <a:pt x="666" y="155"/>
                  </a:lnTo>
                  <a:lnTo>
                    <a:pt x="666" y="158"/>
                  </a:lnTo>
                  <a:lnTo>
                    <a:pt x="666" y="160"/>
                  </a:lnTo>
                  <a:lnTo>
                    <a:pt x="666" y="162"/>
                  </a:lnTo>
                  <a:lnTo>
                    <a:pt x="666" y="163"/>
                  </a:lnTo>
                  <a:lnTo>
                    <a:pt x="667" y="163"/>
                  </a:lnTo>
                  <a:lnTo>
                    <a:pt x="667" y="165"/>
                  </a:lnTo>
                  <a:lnTo>
                    <a:pt x="669" y="168"/>
                  </a:lnTo>
                  <a:lnTo>
                    <a:pt x="670" y="170"/>
                  </a:lnTo>
                  <a:lnTo>
                    <a:pt x="672" y="171"/>
                  </a:lnTo>
                  <a:lnTo>
                    <a:pt x="672" y="173"/>
                  </a:lnTo>
                  <a:lnTo>
                    <a:pt x="674" y="173"/>
                  </a:lnTo>
                  <a:lnTo>
                    <a:pt x="672" y="175"/>
                  </a:lnTo>
                  <a:lnTo>
                    <a:pt x="672" y="176"/>
                  </a:lnTo>
                  <a:lnTo>
                    <a:pt x="674" y="176"/>
                  </a:lnTo>
                  <a:lnTo>
                    <a:pt x="674" y="178"/>
                  </a:lnTo>
                  <a:lnTo>
                    <a:pt x="674" y="179"/>
                  </a:lnTo>
                  <a:lnTo>
                    <a:pt x="672" y="179"/>
                  </a:lnTo>
                  <a:lnTo>
                    <a:pt x="672" y="181"/>
                  </a:lnTo>
                  <a:lnTo>
                    <a:pt x="672" y="183"/>
                  </a:lnTo>
                  <a:lnTo>
                    <a:pt x="672" y="181"/>
                  </a:lnTo>
                  <a:lnTo>
                    <a:pt x="670" y="181"/>
                  </a:lnTo>
                  <a:lnTo>
                    <a:pt x="669" y="183"/>
                  </a:lnTo>
                  <a:lnTo>
                    <a:pt x="670" y="184"/>
                  </a:lnTo>
                  <a:lnTo>
                    <a:pt x="672" y="186"/>
                  </a:lnTo>
                  <a:lnTo>
                    <a:pt x="670" y="186"/>
                  </a:lnTo>
                  <a:lnTo>
                    <a:pt x="670" y="188"/>
                  </a:lnTo>
                  <a:lnTo>
                    <a:pt x="669" y="189"/>
                  </a:lnTo>
                  <a:lnTo>
                    <a:pt x="669" y="191"/>
                  </a:lnTo>
                  <a:lnTo>
                    <a:pt x="669" y="192"/>
                  </a:lnTo>
                  <a:lnTo>
                    <a:pt x="669" y="194"/>
                  </a:lnTo>
                  <a:lnTo>
                    <a:pt x="669" y="196"/>
                  </a:lnTo>
                  <a:lnTo>
                    <a:pt x="670" y="197"/>
                  </a:lnTo>
                  <a:lnTo>
                    <a:pt x="672" y="197"/>
                  </a:lnTo>
                  <a:lnTo>
                    <a:pt x="674" y="197"/>
                  </a:lnTo>
                  <a:lnTo>
                    <a:pt x="675" y="199"/>
                  </a:lnTo>
                  <a:lnTo>
                    <a:pt x="675" y="197"/>
                  </a:lnTo>
                  <a:lnTo>
                    <a:pt x="677" y="196"/>
                  </a:lnTo>
                  <a:lnTo>
                    <a:pt x="679" y="196"/>
                  </a:lnTo>
                  <a:lnTo>
                    <a:pt x="680" y="196"/>
                  </a:lnTo>
                  <a:lnTo>
                    <a:pt x="682" y="197"/>
                  </a:lnTo>
                  <a:lnTo>
                    <a:pt x="682" y="196"/>
                  </a:lnTo>
                  <a:lnTo>
                    <a:pt x="683" y="197"/>
                  </a:lnTo>
                  <a:lnTo>
                    <a:pt x="685" y="197"/>
                  </a:lnTo>
                  <a:lnTo>
                    <a:pt x="687" y="196"/>
                  </a:lnTo>
                  <a:lnTo>
                    <a:pt x="688" y="197"/>
                  </a:lnTo>
                  <a:lnTo>
                    <a:pt x="690" y="197"/>
                  </a:lnTo>
                  <a:lnTo>
                    <a:pt x="690" y="199"/>
                  </a:lnTo>
                  <a:lnTo>
                    <a:pt x="690" y="201"/>
                  </a:lnTo>
                  <a:lnTo>
                    <a:pt x="690" y="202"/>
                  </a:lnTo>
                  <a:lnTo>
                    <a:pt x="690" y="204"/>
                  </a:lnTo>
                  <a:lnTo>
                    <a:pt x="688" y="204"/>
                  </a:lnTo>
                  <a:lnTo>
                    <a:pt x="690" y="205"/>
                  </a:lnTo>
                  <a:lnTo>
                    <a:pt x="690" y="207"/>
                  </a:lnTo>
                  <a:lnTo>
                    <a:pt x="692" y="209"/>
                  </a:lnTo>
                  <a:lnTo>
                    <a:pt x="693" y="210"/>
                  </a:lnTo>
                  <a:lnTo>
                    <a:pt x="693" y="212"/>
                  </a:lnTo>
                  <a:lnTo>
                    <a:pt x="693" y="214"/>
                  </a:lnTo>
                  <a:lnTo>
                    <a:pt x="693" y="215"/>
                  </a:lnTo>
                  <a:lnTo>
                    <a:pt x="693" y="218"/>
                  </a:lnTo>
                  <a:lnTo>
                    <a:pt x="692" y="218"/>
                  </a:lnTo>
                  <a:lnTo>
                    <a:pt x="690" y="218"/>
                  </a:lnTo>
                  <a:lnTo>
                    <a:pt x="690" y="220"/>
                  </a:lnTo>
                  <a:lnTo>
                    <a:pt x="688" y="220"/>
                  </a:lnTo>
                  <a:lnTo>
                    <a:pt x="687" y="222"/>
                  </a:lnTo>
                  <a:lnTo>
                    <a:pt x="685" y="222"/>
                  </a:lnTo>
                  <a:lnTo>
                    <a:pt x="685" y="223"/>
                  </a:lnTo>
                  <a:lnTo>
                    <a:pt x="685" y="225"/>
                  </a:lnTo>
                  <a:lnTo>
                    <a:pt x="683" y="225"/>
                  </a:lnTo>
                  <a:lnTo>
                    <a:pt x="685" y="227"/>
                  </a:lnTo>
                  <a:lnTo>
                    <a:pt x="685" y="228"/>
                  </a:lnTo>
                  <a:lnTo>
                    <a:pt x="687" y="230"/>
                  </a:lnTo>
                  <a:lnTo>
                    <a:pt x="688" y="230"/>
                  </a:lnTo>
                  <a:lnTo>
                    <a:pt x="688" y="231"/>
                  </a:lnTo>
                  <a:lnTo>
                    <a:pt x="687" y="231"/>
                  </a:lnTo>
                  <a:lnTo>
                    <a:pt x="688" y="233"/>
                  </a:lnTo>
                  <a:lnTo>
                    <a:pt x="687" y="235"/>
                  </a:lnTo>
                  <a:lnTo>
                    <a:pt x="687" y="236"/>
                  </a:lnTo>
                  <a:lnTo>
                    <a:pt x="688" y="238"/>
                  </a:lnTo>
                  <a:lnTo>
                    <a:pt x="690" y="240"/>
                  </a:lnTo>
                  <a:lnTo>
                    <a:pt x="692" y="243"/>
                  </a:lnTo>
                  <a:lnTo>
                    <a:pt x="693" y="244"/>
                  </a:lnTo>
                  <a:lnTo>
                    <a:pt x="695" y="244"/>
                  </a:lnTo>
                  <a:lnTo>
                    <a:pt x="695" y="248"/>
                  </a:lnTo>
                  <a:lnTo>
                    <a:pt x="696" y="249"/>
                  </a:lnTo>
                  <a:lnTo>
                    <a:pt x="698" y="251"/>
                  </a:lnTo>
                  <a:lnTo>
                    <a:pt x="698" y="253"/>
                  </a:lnTo>
                  <a:lnTo>
                    <a:pt x="700" y="253"/>
                  </a:lnTo>
                  <a:lnTo>
                    <a:pt x="700" y="254"/>
                  </a:lnTo>
                  <a:lnTo>
                    <a:pt x="701" y="256"/>
                  </a:lnTo>
                  <a:lnTo>
                    <a:pt x="703" y="256"/>
                  </a:lnTo>
                  <a:lnTo>
                    <a:pt x="703" y="257"/>
                  </a:lnTo>
                  <a:lnTo>
                    <a:pt x="705" y="257"/>
                  </a:lnTo>
                  <a:lnTo>
                    <a:pt x="706" y="259"/>
                  </a:lnTo>
                  <a:lnTo>
                    <a:pt x="706" y="261"/>
                  </a:lnTo>
                  <a:lnTo>
                    <a:pt x="708" y="261"/>
                  </a:lnTo>
                  <a:lnTo>
                    <a:pt x="708" y="262"/>
                  </a:lnTo>
                  <a:lnTo>
                    <a:pt x="709" y="262"/>
                  </a:lnTo>
                  <a:lnTo>
                    <a:pt x="711" y="264"/>
                  </a:lnTo>
                  <a:lnTo>
                    <a:pt x="711" y="266"/>
                  </a:lnTo>
                  <a:lnTo>
                    <a:pt x="711" y="267"/>
                  </a:lnTo>
                  <a:lnTo>
                    <a:pt x="713" y="269"/>
                  </a:lnTo>
                  <a:lnTo>
                    <a:pt x="716" y="272"/>
                  </a:lnTo>
                  <a:lnTo>
                    <a:pt x="718" y="274"/>
                  </a:lnTo>
                  <a:lnTo>
                    <a:pt x="718" y="275"/>
                  </a:lnTo>
                  <a:lnTo>
                    <a:pt x="719" y="277"/>
                  </a:lnTo>
                  <a:lnTo>
                    <a:pt x="722" y="280"/>
                  </a:lnTo>
                  <a:lnTo>
                    <a:pt x="722" y="282"/>
                  </a:lnTo>
                  <a:lnTo>
                    <a:pt x="722" y="283"/>
                  </a:lnTo>
                  <a:lnTo>
                    <a:pt x="721" y="283"/>
                  </a:lnTo>
                  <a:lnTo>
                    <a:pt x="721" y="285"/>
                  </a:lnTo>
                  <a:lnTo>
                    <a:pt x="719" y="285"/>
                  </a:lnTo>
                  <a:lnTo>
                    <a:pt x="718" y="285"/>
                  </a:lnTo>
                  <a:lnTo>
                    <a:pt x="719" y="287"/>
                  </a:lnTo>
                  <a:lnTo>
                    <a:pt x="719" y="288"/>
                  </a:lnTo>
                  <a:lnTo>
                    <a:pt x="718" y="288"/>
                  </a:lnTo>
                  <a:lnTo>
                    <a:pt x="718" y="290"/>
                  </a:lnTo>
                  <a:lnTo>
                    <a:pt x="718" y="292"/>
                  </a:lnTo>
                  <a:lnTo>
                    <a:pt x="718" y="293"/>
                  </a:lnTo>
                  <a:lnTo>
                    <a:pt x="719" y="293"/>
                  </a:lnTo>
                  <a:lnTo>
                    <a:pt x="719" y="298"/>
                  </a:lnTo>
                  <a:lnTo>
                    <a:pt x="719" y="300"/>
                  </a:lnTo>
                  <a:lnTo>
                    <a:pt x="721" y="301"/>
                  </a:lnTo>
                  <a:lnTo>
                    <a:pt x="719" y="303"/>
                  </a:lnTo>
                  <a:lnTo>
                    <a:pt x="719" y="305"/>
                  </a:lnTo>
                  <a:lnTo>
                    <a:pt x="721" y="306"/>
                  </a:lnTo>
                  <a:lnTo>
                    <a:pt x="721" y="308"/>
                  </a:lnTo>
                  <a:lnTo>
                    <a:pt x="721" y="310"/>
                  </a:lnTo>
                  <a:lnTo>
                    <a:pt x="721" y="311"/>
                  </a:lnTo>
                  <a:lnTo>
                    <a:pt x="722" y="313"/>
                  </a:lnTo>
                  <a:lnTo>
                    <a:pt x="722" y="314"/>
                  </a:lnTo>
                  <a:lnTo>
                    <a:pt x="722" y="316"/>
                  </a:lnTo>
                  <a:lnTo>
                    <a:pt x="722" y="318"/>
                  </a:lnTo>
                  <a:lnTo>
                    <a:pt x="721" y="319"/>
                  </a:lnTo>
                  <a:lnTo>
                    <a:pt x="719" y="321"/>
                  </a:lnTo>
                  <a:lnTo>
                    <a:pt x="719" y="323"/>
                  </a:lnTo>
                  <a:lnTo>
                    <a:pt x="719" y="324"/>
                  </a:lnTo>
                  <a:lnTo>
                    <a:pt x="719" y="326"/>
                  </a:lnTo>
                  <a:lnTo>
                    <a:pt x="718" y="326"/>
                  </a:lnTo>
                  <a:lnTo>
                    <a:pt x="718" y="327"/>
                  </a:lnTo>
                  <a:lnTo>
                    <a:pt x="718" y="326"/>
                  </a:lnTo>
                  <a:lnTo>
                    <a:pt x="716" y="327"/>
                  </a:lnTo>
                  <a:lnTo>
                    <a:pt x="716" y="329"/>
                  </a:lnTo>
                  <a:lnTo>
                    <a:pt x="716" y="331"/>
                  </a:lnTo>
                  <a:lnTo>
                    <a:pt x="716" y="332"/>
                  </a:lnTo>
                  <a:lnTo>
                    <a:pt x="714" y="332"/>
                  </a:lnTo>
                  <a:lnTo>
                    <a:pt x="714" y="334"/>
                  </a:lnTo>
                  <a:lnTo>
                    <a:pt x="713" y="336"/>
                  </a:lnTo>
                  <a:lnTo>
                    <a:pt x="713" y="337"/>
                  </a:lnTo>
                  <a:lnTo>
                    <a:pt x="714" y="339"/>
                  </a:lnTo>
                  <a:lnTo>
                    <a:pt x="714" y="340"/>
                  </a:lnTo>
                  <a:lnTo>
                    <a:pt x="716" y="340"/>
                  </a:lnTo>
                  <a:lnTo>
                    <a:pt x="716" y="344"/>
                  </a:lnTo>
                  <a:lnTo>
                    <a:pt x="718" y="344"/>
                  </a:lnTo>
                  <a:lnTo>
                    <a:pt x="718" y="345"/>
                  </a:lnTo>
                  <a:lnTo>
                    <a:pt x="716" y="344"/>
                  </a:lnTo>
                  <a:lnTo>
                    <a:pt x="718" y="345"/>
                  </a:lnTo>
                  <a:lnTo>
                    <a:pt x="718" y="347"/>
                  </a:lnTo>
                  <a:lnTo>
                    <a:pt x="718" y="349"/>
                  </a:lnTo>
                  <a:lnTo>
                    <a:pt x="718" y="350"/>
                  </a:lnTo>
                  <a:lnTo>
                    <a:pt x="718" y="352"/>
                  </a:lnTo>
                  <a:lnTo>
                    <a:pt x="718" y="353"/>
                  </a:lnTo>
                  <a:lnTo>
                    <a:pt x="718" y="355"/>
                  </a:lnTo>
                  <a:lnTo>
                    <a:pt x="718" y="357"/>
                  </a:lnTo>
                  <a:lnTo>
                    <a:pt x="719" y="358"/>
                  </a:lnTo>
                  <a:lnTo>
                    <a:pt x="719" y="360"/>
                  </a:lnTo>
                  <a:lnTo>
                    <a:pt x="721" y="360"/>
                  </a:lnTo>
                  <a:lnTo>
                    <a:pt x="721" y="362"/>
                  </a:lnTo>
                  <a:lnTo>
                    <a:pt x="721" y="363"/>
                  </a:lnTo>
                  <a:lnTo>
                    <a:pt x="722" y="363"/>
                  </a:lnTo>
                  <a:lnTo>
                    <a:pt x="722" y="365"/>
                  </a:lnTo>
                  <a:lnTo>
                    <a:pt x="722" y="366"/>
                  </a:lnTo>
                  <a:lnTo>
                    <a:pt x="724" y="366"/>
                  </a:lnTo>
                  <a:lnTo>
                    <a:pt x="724" y="368"/>
                  </a:lnTo>
                  <a:lnTo>
                    <a:pt x="726" y="368"/>
                  </a:lnTo>
                  <a:lnTo>
                    <a:pt x="726" y="370"/>
                  </a:lnTo>
                  <a:lnTo>
                    <a:pt x="726" y="368"/>
                  </a:lnTo>
                  <a:lnTo>
                    <a:pt x="724" y="368"/>
                  </a:lnTo>
                  <a:lnTo>
                    <a:pt x="724" y="370"/>
                  </a:lnTo>
                  <a:lnTo>
                    <a:pt x="726" y="370"/>
                  </a:lnTo>
                  <a:lnTo>
                    <a:pt x="726" y="371"/>
                  </a:lnTo>
                  <a:lnTo>
                    <a:pt x="727" y="371"/>
                  </a:lnTo>
                  <a:lnTo>
                    <a:pt x="731" y="371"/>
                  </a:lnTo>
                  <a:lnTo>
                    <a:pt x="731" y="373"/>
                  </a:lnTo>
                  <a:lnTo>
                    <a:pt x="732" y="373"/>
                  </a:lnTo>
                  <a:lnTo>
                    <a:pt x="734" y="373"/>
                  </a:lnTo>
                  <a:lnTo>
                    <a:pt x="736" y="373"/>
                  </a:lnTo>
                  <a:lnTo>
                    <a:pt x="737" y="373"/>
                  </a:lnTo>
                  <a:lnTo>
                    <a:pt x="739" y="373"/>
                  </a:lnTo>
                  <a:lnTo>
                    <a:pt x="739" y="375"/>
                  </a:lnTo>
                  <a:lnTo>
                    <a:pt x="739" y="376"/>
                  </a:lnTo>
                  <a:lnTo>
                    <a:pt x="739" y="378"/>
                  </a:lnTo>
                  <a:lnTo>
                    <a:pt x="740" y="378"/>
                  </a:lnTo>
                  <a:lnTo>
                    <a:pt x="740" y="379"/>
                  </a:lnTo>
                  <a:lnTo>
                    <a:pt x="740" y="381"/>
                  </a:lnTo>
                  <a:lnTo>
                    <a:pt x="740" y="383"/>
                  </a:lnTo>
                  <a:lnTo>
                    <a:pt x="742" y="384"/>
                  </a:lnTo>
                  <a:lnTo>
                    <a:pt x="742" y="386"/>
                  </a:lnTo>
                  <a:lnTo>
                    <a:pt x="742" y="388"/>
                  </a:lnTo>
                  <a:lnTo>
                    <a:pt x="744" y="388"/>
                  </a:lnTo>
                  <a:lnTo>
                    <a:pt x="745" y="389"/>
                  </a:lnTo>
                  <a:lnTo>
                    <a:pt x="745" y="391"/>
                  </a:lnTo>
                  <a:lnTo>
                    <a:pt x="745" y="389"/>
                  </a:lnTo>
                  <a:lnTo>
                    <a:pt x="745" y="391"/>
                  </a:lnTo>
                  <a:lnTo>
                    <a:pt x="747" y="391"/>
                  </a:lnTo>
                  <a:lnTo>
                    <a:pt x="749" y="392"/>
                  </a:lnTo>
                  <a:lnTo>
                    <a:pt x="750" y="394"/>
                  </a:lnTo>
                  <a:lnTo>
                    <a:pt x="750" y="396"/>
                  </a:lnTo>
                  <a:lnTo>
                    <a:pt x="750" y="397"/>
                  </a:lnTo>
                  <a:lnTo>
                    <a:pt x="750" y="399"/>
                  </a:lnTo>
                  <a:lnTo>
                    <a:pt x="752" y="401"/>
                  </a:lnTo>
                  <a:lnTo>
                    <a:pt x="753" y="401"/>
                  </a:lnTo>
                  <a:lnTo>
                    <a:pt x="753" y="402"/>
                  </a:lnTo>
                  <a:lnTo>
                    <a:pt x="755" y="402"/>
                  </a:lnTo>
                  <a:lnTo>
                    <a:pt x="755" y="404"/>
                  </a:lnTo>
                  <a:lnTo>
                    <a:pt x="757" y="404"/>
                  </a:lnTo>
                  <a:lnTo>
                    <a:pt x="757" y="405"/>
                  </a:lnTo>
                  <a:lnTo>
                    <a:pt x="757" y="407"/>
                  </a:lnTo>
                  <a:lnTo>
                    <a:pt x="757" y="409"/>
                  </a:lnTo>
                  <a:lnTo>
                    <a:pt x="758" y="409"/>
                  </a:lnTo>
                  <a:lnTo>
                    <a:pt x="757" y="407"/>
                  </a:lnTo>
                  <a:lnTo>
                    <a:pt x="758" y="407"/>
                  </a:lnTo>
                  <a:lnTo>
                    <a:pt x="758" y="409"/>
                  </a:lnTo>
                  <a:lnTo>
                    <a:pt x="760" y="410"/>
                  </a:lnTo>
                  <a:lnTo>
                    <a:pt x="758" y="409"/>
                  </a:lnTo>
                  <a:lnTo>
                    <a:pt x="760" y="412"/>
                  </a:lnTo>
                  <a:lnTo>
                    <a:pt x="762" y="414"/>
                  </a:lnTo>
                  <a:lnTo>
                    <a:pt x="762" y="415"/>
                  </a:lnTo>
                  <a:lnTo>
                    <a:pt x="762" y="417"/>
                  </a:lnTo>
                  <a:lnTo>
                    <a:pt x="762" y="418"/>
                  </a:lnTo>
                  <a:lnTo>
                    <a:pt x="762" y="420"/>
                  </a:lnTo>
                  <a:lnTo>
                    <a:pt x="760" y="420"/>
                  </a:lnTo>
                  <a:lnTo>
                    <a:pt x="758" y="420"/>
                  </a:lnTo>
                  <a:lnTo>
                    <a:pt x="757" y="420"/>
                  </a:lnTo>
                  <a:lnTo>
                    <a:pt x="758" y="420"/>
                  </a:lnTo>
                  <a:lnTo>
                    <a:pt x="757" y="420"/>
                  </a:lnTo>
                  <a:lnTo>
                    <a:pt x="755" y="420"/>
                  </a:lnTo>
                  <a:lnTo>
                    <a:pt x="757" y="422"/>
                  </a:lnTo>
                  <a:lnTo>
                    <a:pt x="755" y="422"/>
                  </a:lnTo>
                  <a:lnTo>
                    <a:pt x="757" y="422"/>
                  </a:lnTo>
                  <a:lnTo>
                    <a:pt x="757" y="423"/>
                  </a:lnTo>
                  <a:lnTo>
                    <a:pt x="755" y="422"/>
                  </a:lnTo>
                  <a:lnTo>
                    <a:pt x="755" y="423"/>
                  </a:lnTo>
                  <a:lnTo>
                    <a:pt x="755" y="422"/>
                  </a:lnTo>
                  <a:lnTo>
                    <a:pt x="753" y="422"/>
                  </a:lnTo>
                  <a:lnTo>
                    <a:pt x="755" y="423"/>
                  </a:lnTo>
                  <a:lnTo>
                    <a:pt x="753" y="423"/>
                  </a:lnTo>
                  <a:lnTo>
                    <a:pt x="753" y="422"/>
                  </a:lnTo>
                  <a:lnTo>
                    <a:pt x="752" y="422"/>
                  </a:lnTo>
                  <a:lnTo>
                    <a:pt x="753" y="422"/>
                  </a:lnTo>
                  <a:lnTo>
                    <a:pt x="753" y="423"/>
                  </a:lnTo>
                  <a:lnTo>
                    <a:pt x="752" y="422"/>
                  </a:lnTo>
                  <a:lnTo>
                    <a:pt x="752" y="423"/>
                  </a:lnTo>
                  <a:lnTo>
                    <a:pt x="753" y="423"/>
                  </a:lnTo>
                  <a:lnTo>
                    <a:pt x="752" y="423"/>
                  </a:lnTo>
                  <a:lnTo>
                    <a:pt x="750" y="423"/>
                  </a:lnTo>
                  <a:lnTo>
                    <a:pt x="752" y="423"/>
                  </a:lnTo>
                  <a:lnTo>
                    <a:pt x="750" y="423"/>
                  </a:lnTo>
                  <a:lnTo>
                    <a:pt x="750" y="425"/>
                  </a:lnTo>
                  <a:lnTo>
                    <a:pt x="752" y="427"/>
                  </a:lnTo>
                  <a:lnTo>
                    <a:pt x="750" y="427"/>
                  </a:lnTo>
                  <a:lnTo>
                    <a:pt x="750" y="428"/>
                  </a:lnTo>
                  <a:lnTo>
                    <a:pt x="749" y="428"/>
                  </a:lnTo>
                  <a:lnTo>
                    <a:pt x="749" y="427"/>
                  </a:lnTo>
                  <a:lnTo>
                    <a:pt x="747" y="427"/>
                  </a:lnTo>
                  <a:lnTo>
                    <a:pt x="747" y="425"/>
                  </a:lnTo>
                  <a:lnTo>
                    <a:pt x="745" y="423"/>
                  </a:lnTo>
                  <a:lnTo>
                    <a:pt x="745" y="425"/>
                  </a:lnTo>
                  <a:lnTo>
                    <a:pt x="745" y="427"/>
                  </a:lnTo>
                  <a:lnTo>
                    <a:pt x="744" y="427"/>
                  </a:lnTo>
                  <a:lnTo>
                    <a:pt x="744" y="425"/>
                  </a:lnTo>
                  <a:lnTo>
                    <a:pt x="744" y="427"/>
                  </a:lnTo>
                  <a:lnTo>
                    <a:pt x="744" y="425"/>
                  </a:lnTo>
                  <a:lnTo>
                    <a:pt x="742" y="425"/>
                  </a:lnTo>
                  <a:lnTo>
                    <a:pt x="744" y="427"/>
                  </a:lnTo>
                  <a:lnTo>
                    <a:pt x="742" y="427"/>
                  </a:lnTo>
                  <a:lnTo>
                    <a:pt x="742" y="425"/>
                  </a:lnTo>
                  <a:lnTo>
                    <a:pt x="742" y="427"/>
                  </a:lnTo>
                  <a:lnTo>
                    <a:pt x="744" y="427"/>
                  </a:lnTo>
                  <a:lnTo>
                    <a:pt x="742" y="427"/>
                  </a:lnTo>
                  <a:lnTo>
                    <a:pt x="744" y="427"/>
                  </a:lnTo>
                  <a:lnTo>
                    <a:pt x="744" y="428"/>
                  </a:lnTo>
                  <a:lnTo>
                    <a:pt x="745" y="427"/>
                  </a:lnTo>
                  <a:lnTo>
                    <a:pt x="745" y="428"/>
                  </a:lnTo>
                  <a:lnTo>
                    <a:pt x="745" y="430"/>
                  </a:lnTo>
                  <a:lnTo>
                    <a:pt x="744" y="428"/>
                  </a:lnTo>
                  <a:lnTo>
                    <a:pt x="742" y="428"/>
                  </a:lnTo>
                  <a:lnTo>
                    <a:pt x="740" y="428"/>
                  </a:lnTo>
                  <a:lnTo>
                    <a:pt x="740" y="427"/>
                  </a:lnTo>
                  <a:lnTo>
                    <a:pt x="742" y="427"/>
                  </a:lnTo>
                  <a:lnTo>
                    <a:pt x="742" y="425"/>
                  </a:lnTo>
                  <a:lnTo>
                    <a:pt x="740" y="425"/>
                  </a:lnTo>
                  <a:lnTo>
                    <a:pt x="739" y="423"/>
                  </a:lnTo>
                  <a:lnTo>
                    <a:pt x="739" y="422"/>
                  </a:lnTo>
                  <a:lnTo>
                    <a:pt x="737" y="422"/>
                  </a:lnTo>
                  <a:lnTo>
                    <a:pt x="739" y="422"/>
                  </a:lnTo>
                  <a:lnTo>
                    <a:pt x="737" y="422"/>
                  </a:lnTo>
                  <a:lnTo>
                    <a:pt x="736" y="422"/>
                  </a:lnTo>
                  <a:lnTo>
                    <a:pt x="734" y="422"/>
                  </a:lnTo>
                  <a:lnTo>
                    <a:pt x="734" y="423"/>
                  </a:lnTo>
                  <a:lnTo>
                    <a:pt x="736" y="425"/>
                  </a:lnTo>
                  <a:lnTo>
                    <a:pt x="734" y="425"/>
                  </a:lnTo>
                  <a:lnTo>
                    <a:pt x="734" y="427"/>
                  </a:lnTo>
                  <a:lnTo>
                    <a:pt x="734" y="428"/>
                  </a:lnTo>
                  <a:lnTo>
                    <a:pt x="732" y="428"/>
                  </a:lnTo>
                  <a:lnTo>
                    <a:pt x="732" y="427"/>
                  </a:lnTo>
                  <a:lnTo>
                    <a:pt x="731" y="425"/>
                  </a:lnTo>
                  <a:lnTo>
                    <a:pt x="731" y="427"/>
                  </a:lnTo>
                  <a:lnTo>
                    <a:pt x="731" y="428"/>
                  </a:lnTo>
                  <a:lnTo>
                    <a:pt x="732" y="428"/>
                  </a:lnTo>
                  <a:lnTo>
                    <a:pt x="732" y="430"/>
                  </a:lnTo>
                  <a:lnTo>
                    <a:pt x="731" y="430"/>
                  </a:lnTo>
                  <a:lnTo>
                    <a:pt x="729" y="428"/>
                  </a:lnTo>
                  <a:lnTo>
                    <a:pt x="731" y="430"/>
                  </a:lnTo>
                  <a:lnTo>
                    <a:pt x="729" y="430"/>
                  </a:lnTo>
                  <a:lnTo>
                    <a:pt x="729" y="428"/>
                  </a:lnTo>
                  <a:lnTo>
                    <a:pt x="729" y="427"/>
                  </a:lnTo>
                  <a:lnTo>
                    <a:pt x="727" y="425"/>
                  </a:lnTo>
                  <a:lnTo>
                    <a:pt x="727" y="427"/>
                  </a:lnTo>
                  <a:lnTo>
                    <a:pt x="726" y="427"/>
                  </a:lnTo>
                  <a:lnTo>
                    <a:pt x="724" y="427"/>
                  </a:lnTo>
                  <a:lnTo>
                    <a:pt x="724" y="428"/>
                  </a:lnTo>
                  <a:lnTo>
                    <a:pt x="724" y="430"/>
                  </a:lnTo>
                  <a:lnTo>
                    <a:pt x="722" y="428"/>
                  </a:lnTo>
                  <a:lnTo>
                    <a:pt x="724" y="428"/>
                  </a:lnTo>
                  <a:lnTo>
                    <a:pt x="722" y="427"/>
                  </a:lnTo>
                  <a:lnTo>
                    <a:pt x="724" y="427"/>
                  </a:lnTo>
                  <a:lnTo>
                    <a:pt x="722" y="427"/>
                  </a:lnTo>
                  <a:lnTo>
                    <a:pt x="724" y="425"/>
                  </a:lnTo>
                  <a:lnTo>
                    <a:pt x="722" y="425"/>
                  </a:lnTo>
                  <a:lnTo>
                    <a:pt x="722" y="423"/>
                  </a:lnTo>
                  <a:lnTo>
                    <a:pt x="724" y="422"/>
                  </a:lnTo>
                  <a:lnTo>
                    <a:pt x="722" y="423"/>
                  </a:lnTo>
                  <a:lnTo>
                    <a:pt x="722" y="425"/>
                  </a:lnTo>
                  <a:lnTo>
                    <a:pt x="722" y="423"/>
                  </a:lnTo>
                  <a:lnTo>
                    <a:pt x="721" y="423"/>
                  </a:lnTo>
                  <a:lnTo>
                    <a:pt x="722" y="425"/>
                  </a:lnTo>
                  <a:lnTo>
                    <a:pt x="721" y="425"/>
                  </a:lnTo>
                  <a:lnTo>
                    <a:pt x="722" y="425"/>
                  </a:lnTo>
                  <a:lnTo>
                    <a:pt x="722" y="427"/>
                  </a:lnTo>
                  <a:lnTo>
                    <a:pt x="721" y="427"/>
                  </a:lnTo>
                  <a:lnTo>
                    <a:pt x="719" y="427"/>
                  </a:lnTo>
                  <a:lnTo>
                    <a:pt x="721" y="428"/>
                  </a:lnTo>
                  <a:lnTo>
                    <a:pt x="719" y="428"/>
                  </a:lnTo>
                  <a:lnTo>
                    <a:pt x="719" y="430"/>
                  </a:lnTo>
                  <a:lnTo>
                    <a:pt x="721" y="430"/>
                  </a:lnTo>
                  <a:lnTo>
                    <a:pt x="721" y="431"/>
                  </a:lnTo>
                  <a:lnTo>
                    <a:pt x="721" y="430"/>
                  </a:lnTo>
                  <a:lnTo>
                    <a:pt x="721" y="431"/>
                  </a:lnTo>
                  <a:lnTo>
                    <a:pt x="722" y="431"/>
                  </a:lnTo>
                  <a:lnTo>
                    <a:pt x="721" y="433"/>
                  </a:lnTo>
                  <a:lnTo>
                    <a:pt x="721" y="431"/>
                  </a:lnTo>
                  <a:lnTo>
                    <a:pt x="721" y="433"/>
                  </a:lnTo>
                  <a:lnTo>
                    <a:pt x="721" y="431"/>
                  </a:lnTo>
                  <a:lnTo>
                    <a:pt x="721" y="433"/>
                  </a:lnTo>
                  <a:lnTo>
                    <a:pt x="722" y="433"/>
                  </a:lnTo>
                  <a:lnTo>
                    <a:pt x="722" y="435"/>
                  </a:lnTo>
                  <a:lnTo>
                    <a:pt x="722" y="433"/>
                  </a:lnTo>
                  <a:lnTo>
                    <a:pt x="721" y="435"/>
                  </a:lnTo>
                  <a:lnTo>
                    <a:pt x="721" y="436"/>
                  </a:lnTo>
                  <a:lnTo>
                    <a:pt x="719" y="436"/>
                  </a:lnTo>
                  <a:lnTo>
                    <a:pt x="719" y="438"/>
                  </a:lnTo>
                  <a:lnTo>
                    <a:pt x="719" y="436"/>
                  </a:lnTo>
                  <a:lnTo>
                    <a:pt x="721" y="435"/>
                  </a:lnTo>
                  <a:lnTo>
                    <a:pt x="721" y="436"/>
                  </a:lnTo>
                  <a:lnTo>
                    <a:pt x="721" y="435"/>
                  </a:lnTo>
                  <a:lnTo>
                    <a:pt x="721" y="433"/>
                  </a:lnTo>
                  <a:lnTo>
                    <a:pt x="721" y="435"/>
                  </a:lnTo>
                  <a:lnTo>
                    <a:pt x="719" y="435"/>
                  </a:lnTo>
                  <a:lnTo>
                    <a:pt x="721" y="435"/>
                  </a:lnTo>
                  <a:lnTo>
                    <a:pt x="721" y="433"/>
                  </a:lnTo>
                  <a:lnTo>
                    <a:pt x="719" y="433"/>
                  </a:lnTo>
                  <a:lnTo>
                    <a:pt x="718" y="431"/>
                  </a:lnTo>
                  <a:lnTo>
                    <a:pt x="718" y="430"/>
                  </a:lnTo>
                  <a:lnTo>
                    <a:pt x="718" y="431"/>
                  </a:lnTo>
                  <a:lnTo>
                    <a:pt x="718" y="433"/>
                  </a:lnTo>
                  <a:lnTo>
                    <a:pt x="716" y="433"/>
                  </a:lnTo>
                  <a:lnTo>
                    <a:pt x="718" y="433"/>
                  </a:lnTo>
                  <a:lnTo>
                    <a:pt x="718" y="431"/>
                  </a:lnTo>
                  <a:lnTo>
                    <a:pt x="718" y="430"/>
                  </a:lnTo>
                  <a:lnTo>
                    <a:pt x="716" y="430"/>
                  </a:lnTo>
                  <a:lnTo>
                    <a:pt x="716" y="428"/>
                  </a:lnTo>
                  <a:lnTo>
                    <a:pt x="716" y="427"/>
                  </a:lnTo>
                  <a:lnTo>
                    <a:pt x="714" y="427"/>
                  </a:lnTo>
                  <a:lnTo>
                    <a:pt x="714" y="428"/>
                  </a:lnTo>
                  <a:lnTo>
                    <a:pt x="714" y="430"/>
                  </a:lnTo>
                  <a:lnTo>
                    <a:pt x="714" y="431"/>
                  </a:lnTo>
                  <a:lnTo>
                    <a:pt x="714" y="433"/>
                  </a:lnTo>
                  <a:lnTo>
                    <a:pt x="714" y="431"/>
                  </a:lnTo>
                  <a:lnTo>
                    <a:pt x="713" y="433"/>
                  </a:lnTo>
                  <a:lnTo>
                    <a:pt x="713" y="431"/>
                  </a:lnTo>
                  <a:lnTo>
                    <a:pt x="711" y="431"/>
                  </a:lnTo>
                  <a:lnTo>
                    <a:pt x="711" y="430"/>
                  </a:lnTo>
                  <a:lnTo>
                    <a:pt x="713" y="431"/>
                  </a:lnTo>
                  <a:lnTo>
                    <a:pt x="713" y="430"/>
                  </a:lnTo>
                  <a:lnTo>
                    <a:pt x="711" y="430"/>
                  </a:lnTo>
                  <a:lnTo>
                    <a:pt x="711" y="431"/>
                  </a:lnTo>
                  <a:lnTo>
                    <a:pt x="709" y="430"/>
                  </a:lnTo>
                  <a:lnTo>
                    <a:pt x="709" y="428"/>
                  </a:lnTo>
                  <a:lnTo>
                    <a:pt x="708" y="428"/>
                  </a:lnTo>
                  <a:lnTo>
                    <a:pt x="706" y="427"/>
                  </a:lnTo>
                  <a:lnTo>
                    <a:pt x="705" y="427"/>
                  </a:lnTo>
                  <a:lnTo>
                    <a:pt x="703" y="425"/>
                  </a:lnTo>
                  <a:lnTo>
                    <a:pt x="701" y="425"/>
                  </a:lnTo>
                  <a:lnTo>
                    <a:pt x="701" y="423"/>
                  </a:lnTo>
                  <a:lnTo>
                    <a:pt x="700" y="423"/>
                  </a:lnTo>
                  <a:lnTo>
                    <a:pt x="698" y="422"/>
                  </a:lnTo>
                  <a:lnTo>
                    <a:pt x="696" y="422"/>
                  </a:lnTo>
                  <a:lnTo>
                    <a:pt x="696" y="423"/>
                  </a:lnTo>
                  <a:lnTo>
                    <a:pt x="695" y="423"/>
                  </a:lnTo>
                  <a:lnTo>
                    <a:pt x="695" y="422"/>
                  </a:lnTo>
                  <a:lnTo>
                    <a:pt x="693" y="423"/>
                  </a:lnTo>
                  <a:lnTo>
                    <a:pt x="692" y="423"/>
                  </a:lnTo>
                  <a:lnTo>
                    <a:pt x="692" y="422"/>
                  </a:lnTo>
                  <a:lnTo>
                    <a:pt x="692" y="423"/>
                  </a:lnTo>
                  <a:lnTo>
                    <a:pt x="690" y="422"/>
                  </a:lnTo>
                  <a:lnTo>
                    <a:pt x="688" y="420"/>
                  </a:lnTo>
                  <a:lnTo>
                    <a:pt x="688" y="418"/>
                  </a:lnTo>
                  <a:lnTo>
                    <a:pt x="687" y="418"/>
                  </a:lnTo>
                  <a:lnTo>
                    <a:pt x="687" y="417"/>
                  </a:lnTo>
                  <a:lnTo>
                    <a:pt x="685" y="417"/>
                  </a:lnTo>
                  <a:lnTo>
                    <a:pt x="685" y="415"/>
                  </a:lnTo>
                  <a:lnTo>
                    <a:pt x="685" y="414"/>
                  </a:lnTo>
                  <a:lnTo>
                    <a:pt x="683" y="412"/>
                  </a:lnTo>
                  <a:lnTo>
                    <a:pt x="683" y="410"/>
                  </a:lnTo>
                  <a:lnTo>
                    <a:pt x="682" y="410"/>
                  </a:lnTo>
                  <a:lnTo>
                    <a:pt x="683" y="410"/>
                  </a:lnTo>
                  <a:lnTo>
                    <a:pt x="682" y="409"/>
                  </a:lnTo>
                  <a:lnTo>
                    <a:pt x="682" y="407"/>
                  </a:lnTo>
                  <a:lnTo>
                    <a:pt x="680" y="405"/>
                  </a:lnTo>
                  <a:lnTo>
                    <a:pt x="679" y="402"/>
                  </a:lnTo>
                  <a:lnTo>
                    <a:pt x="677" y="401"/>
                  </a:lnTo>
                  <a:lnTo>
                    <a:pt x="675" y="401"/>
                  </a:lnTo>
                  <a:lnTo>
                    <a:pt x="674" y="401"/>
                  </a:lnTo>
                  <a:lnTo>
                    <a:pt x="674" y="399"/>
                  </a:lnTo>
                  <a:lnTo>
                    <a:pt x="672" y="399"/>
                  </a:lnTo>
                  <a:lnTo>
                    <a:pt x="672" y="397"/>
                  </a:lnTo>
                  <a:lnTo>
                    <a:pt x="674" y="397"/>
                  </a:lnTo>
                  <a:lnTo>
                    <a:pt x="674" y="396"/>
                  </a:lnTo>
                  <a:lnTo>
                    <a:pt x="674" y="394"/>
                  </a:lnTo>
                  <a:lnTo>
                    <a:pt x="674" y="392"/>
                  </a:lnTo>
                  <a:lnTo>
                    <a:pt x="674" y="394"/>
                  </a:lnTo>
                  <a:lnTo>
                    <a:pt x="675" y="392"/>
                  </a:lnTo>
                  <a:lnTo>
                    <a:pt x="675" y="394"/>
                  </a:lnTo>
                  <a:lnTo>
                    <a:pt x="677" y="394"/>
                  </a:lnTo>
                  <a:lnTo>
                    <a:pt x="675" y="392"/>
                  </a:lnTo>
                  <a:lnTo>
                    <a:pt x="674" y="392"/>
                  </a:lnTo>
                  <a:lnTo>
                    <a:pt x="674" y="391"/>
                  </a:lnTo>
                  <a:lnTo>
                    <a:pt x="674" y="389"/>
                  </a:lnTo>
                  <a:lnTo>
                    <a:pt x="674" y="388"/>
                  </a:lnTo>
                  <a:lnTo>
                    <a:pt x="674" y="386"/>
                  </a:lnTo>
                  <a:lnTo>
                    <a:pt x="675" y="384"/>
                  </a:lnTo>
                  <a:lnTo>
                    <a:pt x="674" y="384"/>
                  </a:lnTo>
                  <a:lnTo>
                    <a:pt x="675" y="384"/>
                  </a:lnTo>
                  <a:lnTo>
                    <a:pt x="677" y="386"/>
                  </a:lnTo>
                  <a:lnTo>
                    <a:pt x="677" y="388"/>
                  </a:lnTo>
                  <a:lnTo>
                    <a:pt x="677" y="389"/>
                  </a:lnTo>
                  <a:lnTo>
                    <a:pt x="677" y="391"/>
                  </a:lnTo>
                  <a:lnTo>
                    <a:pt x="679" y="391"/>
                  </a:lnTo>
                  <a:lnTo>
                    <a:pt x="679" y="389"/>
                  </a:lnTo>
                  <a:lnTo>
                    <a:pt x="679" y="388"/>
                  </a:lnTo>
                  <a:lnTo>
                    <a:pt x="677" y="384"/>
                  </a:lnTo>
                  <a:lnTo>
                    <a:pt x="677" y="383"/>
                  </a:lnTo>
                  <a:lnTo>
                    <a:pt x="675" y="381"/>
                  </a:lnTo>
                  <a:lnTo>
                    <a:pt x="675" y="379"/>
                  </a:lnTo>
                  <a:lnTo>
                    <a:pt x="675" y="378"/>
                  </a:lnTo>
                  <a:lnTo>
                    <a:pt x="675" y="376"/>
                  </a:lnTo>
                  <a:lnTo>
                    <a:pt x="675" y="378"/>
                  </a:lnTo>
                  <a:lnTo>
                    <a:pt x="674" y="376"/>
                  </a:lnTo>
                  <a:lnTo>
                    <a:pt x="674" y="375"/>
                  </a:lnTo>
                  <a:lnTo>
                    <a:pt x="674" y="373"/>
                  </a:lnTo>
                  <a:lnTo>
                    <a:pt x="672" y="370"/>
                  </a:lnTo>
                  <a:lnTo>
                    <a:pt x="672" y="368"/>
                  </a:lnTo>
                  <a:lnTo>
                    <a:pt x="672" y="366"/>
                  </a:lnTo>
                  <a:lnTo>
                    <a:pt x="672" y="365"/>
                  </a:lnTo>
                  <a:lnTo>
                    <a:pt x="670" y="363"/>
                  </a:lnTo>
                  <a:lnTo>
                    <a:pt x="670" y="362"/>
                  </a:lnTo>
                  <a:lnTo>
                    <a:pt x="672" y="362"/>
                  </a:lnTo>
                  <a:lnTo>
                    <a:pt x="674" y="362"/>
                  </a:lnTo>
                  <a:lnTo>
                    <a:pt x="674" y="363"/>
                  </a:lnTo>
                  <a:lnTo>
                    <a:pt x="675" y="363"/>
                  </a:lnTo>
                  <a:lnTo>
                    <a:pt x="675" y="365"/>
                  </a:lnTo>
                  <a:lnTo>
                    <a:pt x="675" y="366"/>
                  </a:lnTo>
                  <a:lnTo>
                    <a:pt x="675" y="365"/>
                  </a:lnTo>
                  <a:lnTo>
                    <a:pt x="675" y="366"/>
                  </a:lnTo>
                  <a:lnTo>
                    <a:pt x="677" y="368"/>
                  </a:lnTo>
                  <a:lnTo>
                    <a:pt x="677" y="370"/>
                  </a:lnTo>
                  <a:lnTo>
                    <a:pt x="677" y="371"/>
                  </a:lnTo>
                  <a:lnTo>
                    <a:pt x="679" y="371"/>
                  </a:lnTo>
                  <a:lnTo>
                    <a:pt x="679" y="373"/>
                  </a:lnTo>
                  <a:lnTo>
                    <a:pt x="680" y="373"/>
                  </a:lnTo>
                  <a:lnTo>
                    <a:pt x="680" y="371"/>
                  </a:lnTo>
                  <a:lnTo>
                    <a:pt x="679" y="371"/>
                  </a:lnTo>
                  <a:lnTo>
                    <a:pt x="679" y="370"/>
                  </a:lnTo>
                  <a:lnTo>
                    <a:pt x="679" y="371"/>
                  </a:lnTo>
                  <a:lnTo>
                    <a:pt x="679" y="370"/>
                  </a:lnTo>
                  <a:lnTo>
                    <a:pt x="677" y="368"/>
                  </a:lnTo>
                  <a:lnTo>
                    <a:pt x="677" y="365"/>
                  </a:lnTo>
                  <a:lnTo>
                    <a:pt x="677" y="363"/>
                  </a:lnTo>
                  <a:lnTo>
                    <a:pt x="675" y="363"/>
                  </a:lnTo>
                  <a:lnTo>
                    <a:pt x="677" y="363"/>
                  </a:lnTo>
                  <a:lnTo>
                    <a:pt x="675" y="360"/>
                  </a:lnTo>
                  <a:lnTo>
                    <a:pt x="677" y="360"/>
                  </a:lnTo>
                  <a:lnTo>
                    <a:pt x="677" y="362"/>
                  </a:lnTo>
                  <a:lnTo>
                    <a:pt x="677" y="360"/>
                  </a:lnTo>
                  <a:lnTo>
                    <a:pt x="677" y="358"/>
                  </a:lnTo>
                  <a:lnTo>
                    <a:pt x="675" y="358"/>
                  </a:lnTo>
                  <a:lnTo>
                    <a:pt x="675" y="357"/>
                  </a:lnTo>
                  <a:lnTo>
                    <a:pt x="674" y="357"/>
                  </a:lnTo>
                  <a:lnTo>
                    <a:pt x="675" y="357"/>
                  </a:lnTo>
                  <a:lnTo>
                    <a:pt x="675" y="355"/>
                  </a:lnTo>
                  <a:lnTo>
                    <a:pt x="674" y="355"/>
                  </a:lnTo>
                  <a:lnTo>
                    <a:pt x="674" y="357"/>
                  </a:lnTo>
                  <a:lnTo>
                    <a:pt x="675" y="358"/>
                  </a:lnTo>
                  <a:lnTo>
                    <a:pt x="675" y="360"/>
                  </a:lnTo>
                  <a:lnTo>
                    <a:pt x="675" y="362"/>
                  </a:lnTo>
                  <a:lnTo>
                    <a:pt x="675" y="360"/>
                  </a:lnTo>
                  <a:lnTo>
                    <a:pt x="675" y="362"/>
                  </a:lnTo>
                  <a:lnTo>
                    <a:pt x="675" y="363"/>
                  </a:lnTo>
                  <a:lnTo>
                    <a:pt x="675" y="362"/>
                  </a:lnTo>
                  <a:lnTo>
                    <a:pt x="674" y="362"/>
                  </a:lnTo>
                  <a:lnTo>
                    <a:pt x="675" y="362"/>
                  </a:lnTo>
                  <a:lnTo>
                    <a:pt x="674" y="362"/>
                  </a:lnTo>
                  <a:lnTo>
                    <a:pt x="672" y="360"/>
                  </a:lnTo>
                  <a:lnTo>
                    <a:pt x="672" y="358"/>
                  </a:lnTo>
                  <a:lnTo>
                    <a:pt x="670" y="357"/>
                  </a:lnTo>
                  <a:lnTo>
                    <a:pt x="670" y="355"/>
                  </a:lnTo>
                  <a:lnTo>
                    <a:pt x="669" y="355"/>
                  </a:lnTo>
                  <a:lnTo>
                    <a:pt x="669" y="353"/>
                  </a:lnTo>
                  <a:lnTo>
                    <a:pt x="667" y="352"/>
                  </a:lnTo>
                  <a:lnTo>
                    <a:pt x="667" y="350"/>
                  </a:lnTo>
                  <a:lnTo>
                    <a:pt x="666" y="350"/>
                  </a:lnTo>
                  <a:lnTo>
                    <a:pt x="666" y="349"/>
                  </a:lnTo>
                  <a:lnTo>
                    <a:pt x="666" y="347"/>
                  </a:lnTo>
                  <a:lnTo>
                    <a:pt x="666" y="345"/>
                  </a:lnTo>
                  <a:lnTo>
                    <a:pt x="664" y="345"/>
                  </a:lnTo>
                  <a:lnTo>
                    <a:pt x="664" y="344"/>
                  </a:lnTo>
                  <a:lnTo>
                    <a:pt x="664" y="342"/>
                  </a:lnTo>
                  <a:lnTo>
                    <a:pt x="664" y="340"/>
                  </a:lnTo>
                  <a:lnTo>
                    <a:pt x="662" y="340"/>
                  </a:lnTo>
                  <a:lnTo>
                    <a:pt x="662" y="339"/>
                  </a:lnTo>
                  <a:lnTo>
                    <a:pt x="662" y="336"/>
                  </a:lnTo>
                  <a:lnTo>
                    <a:pt x="661" y="334"/>
                  </a:lnTo>
                  <a:lnTo>
                    <a:pt x="661" y="329"/>
                  </a:lnTo>
                  <a:lnTo>
                    <a:pt x="659" y="326"/>
                  </a:lnTo>
                  <a:lnTo>
                    <a:pt x="659" y="324"/>
                  </a:lnTo>
                  <a:lnTo>
                    <a:pt x="659" y="323"/>
                  </a:lnTo>
                  <a:lnTo>
                    <a:pt x="656" y="321"/>
                  </a:lnTo>
                  <a:lnTo>
                    <a:pt x="656" y="319"/>
                  </a:lnTo>
                  <a:lnTo>
                    <a:pt x="656" y="318"/>
                  </a:lnTo>
                  <a:lnTo>
                    <a:pt x="654" y="318"/>
                  </a:lnTo>
                  <a:lnTo>
                    <a:pt x="654" y="316"/>
                  </a:lnTo>
                  <a:lnTo>
                    <a:pt x="654" y="314"/>
                  </a:lnTo>
                  <a:lnTo>
                    <a:pt x="653" y="314"/>
                  </a:lnTo>
                  <a:lnTo>
                    <a:pt x="653" y="313"/>
                  </a:lnTo>
                  <a:lnTo>
                    <a:pt x="651" y="310"/>
                  </a:lnTo>
                  <a:lnTo>
                    <a:pt x="651" y="305"/>
                  </a:lnTo>
                  <a:lnTo>
                    <a:pt x="651" y="301"/>
                  </a:lnTo>
                  <a:lnTo>
                    <a:pt x="651" y="300"/>
                  </a:lnTo>
                  <a:lnTo>
                    <a:pt x="651" y="298"/>
                  </a:lnTo>
                  <a:lnTo>
                    <a:pt x="653" y="296"/>
                  </a:lnTo>
                  <a:lnTo>
                    <a:pt x="653" y="295"/>
                  </a:lnTo>
                  <a:lnTo>
                    <a:pt x="653" y="293"/>
                  </a:lnTo>
                  <a:lnTo>
                    <a:pt x="653" y="292"/>
                  </a:lnTo>
                  <a:lnTo>
                    <a:pt x="653" y="290"/>
                  </a:lnTo>
                  <a:lnTo>
                    <a:pt x="653" y="288"/>
                  </a:lnTo>
                  <a:lnTo>
                    <a:pt x="653" y="287"/>
                  </a:lnTo>
                  <a:lnTo>
                    <a:pt x="653" y="285"/>
                  </a:lnTo>
                  <a:lnTo>
                    <a:pt x="653" y="283"/>
                  </a:lnTo>
                  <a:lnTo>
                    <a:pt x="653" y="282"/>
                  </a:lnTo>
                  <a:lnTo>
                    <a:pt x="653" y="280"/>
                  </a:lnTo>
                  <a:lnTo>
                    <a:pt x="651" y="280"/>
                  </a:lnTo>
                  <a:lnTo>
                    <a:pt x="649" y="279"/>
                  </a:lnTo>
                  <a:lnTo>
                    <a:pt x="649" y="277"/>
                  </a:lnTo>
                  <a:lnTo>
                    <a:pt x="648" y="277"/>
                  </a:lnTo>
                  <a:lnTo>
                    <a:pt x="648" y="275"/>
                  </a:lnTo>
                  <a:lnTo>
                    <a:pt x="648" y="274"/>
                  </a:lnTo>
                  <a:lnTo>
                    <a:pt x="646" y="274"/>
                  </a:lnTo>
                  <a:lnTo>
                    <a:pt x="644" y="274"/>
                  </a:lnTo>
                  <a:lnTo>
                    <a:pt x="643" y="274"/>
                  </a:lnTo>
                  <a:lnTo>
                    <a:pt x="643" y="272"/>
                  </a:lnTo>
                  <a:lnTo>
                    <a:pt x="643" y="270"/>
                  </a:lnTo>
                  <a:lnTo>
                    <a:pt x="641" y="269"/>
                  </a:lnTo>
                  <a:lnTo>
                    <a:pt x="640" y="267"/>
                  </a:lnTo>
                  <a:lnTo>
                    <a:pt x="636" y="266"/>
                  </a:lnTo>
                  <a:lnTo>
                    <a:pt x="635" y="264"/>
                  </a:lnTo>
                  <a:lnTo>
                    <a:pt x="633" y="262"/>
                  </a:lnTo>
                  <a:lnTo>
                    <a:pt x="633" y="261"/>
                  </a:lnTo>
                  <a:lnTo>
                    <a:pt x="635" y="261"/>
                  </a:lnTo>
                  <a:lnTo>
                    <a:pt x="633" y="261"/>
                  </a:lnTo>
                  <a:lnTo>
                    <a:pt x="635" y="261"/>
                  </a:lnTo>
                  <a:lnTo>
                    <a:pt x="636" y="261"/>
                  </a:lnTo>
                  <a:lnTo>
                    <a:pt x="636" y="259"/>
                  </a:lnTo>
                  <a:lnTo>
                    <a:pt x="635" y="259"/>
                  </a:lnTo>
                  <a:lnTo>
                    <a:pt x="633" y="259"/>
                  </a:lnTo>
                  <a:lnTo>
                    <a:pt x="633" y="261"/>
                  </a:lnTo>
                  <a:lnTo>
                    <a:pt x="633" y="262"/>
                  </a:lnTo>
                  <a:lnTo>
                    <a:pt x="633" y="264"/>
                  </a:lnTo>
                  <a:lnTo>
                    <a:pt x="635" y="264"/>
                  </a:lnTo>
                  <a:lnTo>
                    <a:pt x="638" y="267"/>
                  </a:lnTo>
                  <a:lnTo>
                    <a:pt x="640" y="269"/>
                  </a:lnTo>
                  <a:lnTo>
                    <a:pt x="641" y="269"/>
                  </a:lnTo>
                  <a:lnTo>
                    <a:pt x="643" y="270"/>
                  </a:lnTo>
                  <a:lnTo>
                    <a:pt x="641" y="270"/>
                  </a:lnTo>
                  <a:lnTo>
                    <a:pt x="643" y="270"/>
                  </a:lnTo>
                  <a:lnTo>
                    <a:pt x="643" y="272"/>
                  </a:lnTo>
                  <a:lnTo>
                    <a:pt x="643" y="274"/>
                  </a:lnTo>
                  <a:lnTo>
                    <a:pt x="644" y="274"/>
                  </a:lnTo>
                  <a:lnTo>
                    <a:pt x="646" y="274"/>
                  </a:lnTo>
                  <a:lnTo>
                    <a:pt x="646" y="275"/>
                  </a:lnTo>
                  <a:lnTo>
                    <a:pt x="648" y="277"/>
                  </a:lnTo>
                  <a:lnTo>
                    <a:pt x="649" y="279"/>
                  </a:lnTo>
                  <a:lnTo>
                    <a:pt x="651" y="280"/>
                  </a:lnTo>
                  <a:lnTo>
                    <a:pt x="651" y="282"/>
                  </a:lnTo>
                  <a:lnTo>
                    <a:pt x="653" y="282"/>
                  </a:lnTo>
                  <a:lnTo>
                    <a:pt x="651" y="283"/>
                  </a:lnTo>
                  <a:lnTo>
                    <a:pt x="651" y="285"/>
                  </a:lnTo>
                  <a:lnTo>
                    <a:pt x="653" y="285"/>
                  </a:lnTo>
                  <a:lnTo>
                    <a:pt x="653" y="287"/>
                  </a:lnTo>
                  <a:lnTo>
                    <a:pt x="653" y="288"/>
                  </a:lnTo>
                  <a:lnTo>
                    <a:pt x="653" y="292"/>
                  </a:lnTo>
                  <a:lnTo>
                    <a:pt x="653" y="293"/>
                  </a:lnTo>
                  <a:lnTo>
                    <a:pt x="653" y="295"/>
                  </a:lnTo>
                  <a:lnTo>
                    <a:pt x="651" y="298"/>
                  </a:lnTo>
                  <a:lnTo>
                    <a:pt x="651" y="300"/>
                  </a:lnTo>
                  <a:lnTo>
                    <a:pt x="651" y="303"/>
                  </a:lnTo>
                  <a:lnTo>
                    <a:pt x="649" y="303"/>
                  </a:lnTo>
                  <a:lnTo>
                    <a:pt x="649" y="305"/>
                  </a:lnTo>
                  <a:lnTo>
                    <a:pt x="651" y="306"/>
                  </a:lnTo>
                  <a:lnTo>
                    <a:pt x="651" y="308"/>
                  </a:lnTo>
                  <a:lnTo>
                    <a:pt x="651" y="310"/>
                  </a:lnTo>
                  <a:lnTo>
                    <a:pt x="651" y="311"/>
                  </a:lnTo>
                  <a:lnTo>
                    <a:pt x="653" y="313"/>
                  </a:lnTo>
                  <a:lnTo>
                    <a:pt x="653" y="316"/>
                  </a:lnTo>
                  <a:lnTo>
                    <a:pt x="654" y="316"/>
                  </a:lnTo>
                  <a:lnTo>
                    <a:pt x="654" y="318"/>
                  </a:lnTo>
                  <a:lnTo>
                    <a:pt x="656" y="318"/>
                  </a:lnTo>
                  <a:lnTo>
                    <a:pt x="656" y="319"/>
                  </a:lnTo>
                  <a:lnTo>
                    <a:pt x="656" y="321"/>
                  </a:lnTo>
                  <a:lnTo>
                    <a:pt x="657" y="321"/>
                  </a:lnTo>
                  <a:lnTo>
                    <a:pt x="657" y="323"/>
                  </a:lnTo>
                  <a:lnTo>
                    <a:pt x="659" y="323"/>
                  </a:lnTo>
                  <a:lnTo>
                    <a:pt x="659" y="324"/>
                  </a:lnTo>
                  <a:lnTo>
                    <a:pt x="659" y="326"/>
                  </a:lnTo>
                  <a:lnTo>
                    <a:pt x="659" y="327"/>
                  </a:lnTo>
                  <a:lnTo>
                    <a:pt x="661" y="331"/>
                  </a:lnTo>
                  <a:lnTo>
                    <a:pt x="661" y="334"/>
                  </a:lnTo>
                  <a:lnTo>
                    <a:pt x="661" y="336"/>
                  </a:lnTo>
                  <a:lnTo>
                    <a:pt x="661" y="337"/>
                  </a:lnTo>
                  <a:lnTo>
                    <a:pt x="662" y="337"/>
                  </a:lnTo>
                  <a:lnTo>
                    <a:pt x="662" y="339"/>
                  </a:lnTo>
                  <a:lnTo>
                    <a:pt x="662" y="340"/>
                  </a:lnTo>
                  <a:lnTo>
                    <a:pt x="664" y="340"/>
                  </a:lnTo>
                  <a:lnTo>
                    <a:pt x="664" y="342"/>
                  </a:lnTo>
                  <a:lnTo>
                    <a:pt x="664" y="344"/>
                  </a:lnTo>
                  <a:lnTo>
                    <a:pt x="664" y="345"/>
                  </a:lnTo>
                  <a:lnTo>
                    <a:pt x="666" y="347"/>
                  </a:lnTo>
                  <a:lnTo>
                    <a:pt x="666" y="349"/>
                  </a:lnTo>
                  <a:lnTo>
                    <a:pt x="667" y="350"/>
                  </a:lnTo>
                  <a:lnTo>
                    <a:pt x="667" y="352"/>
                  </a:lnTo>
                  <a:lnTo>
                    <a:pt x="667" y="353"/>
                  </a:lnTo>
                  <a:lnTo>
                    <a:pt x="669" y="353"/>
                  </a:lnTo>
                  <a:lnTo>
                    <a:pt x="669" y="355"/>
                  </a:lnTo>
                  <a:lnTo>
                    <a:pt x="670" y="357"/>
                  </a:lnTo>
                  <a:lnTo>
                    <a:pt x="670" y="358"/>
                  </a:lnTo>
                  <a:lnTo>
                    <a:pt x="672" y="360"/>
                  </a:lnTo>
                  <a:lnTo>
                    <a:pt x="674" y="362"/>
                  </a:lnTo>
                  <a:lnTo>
                    <a:pt x="672" y="362"/>
                  </a:lnTo>
                  <a:lnTo>
                    <a:pt x="670" y="362"/>
                  </a:lnTo>
                  <a:lnTo>
                    <a:pt x="669" y="360"/>
                  </a:lnTo>
                  <a:lnTo>
                    <a:pt x="667" y="358"/>
                  </a:lnTo>
                  <a:lnTo>
                    <a:pt x="667" y="360"/>
                  </a:lnTo>
                  <a:lnTo>
                    <a:pt x="666" y="358"/>
                  </a:lnTo>
                  <a:lnTo>
                    <a:pt x="664" y="357"/>
                  </a:lnTo>
                  <a:lnTo>
                    <a:pt x="664" y="355"/>
                  </a:lnTo>
                  <a:lnTo>
                    <a:pt x="662" y="353"/>
                  </a:lnTo>
                  <a:lnTo>
                    <a:pt x="661" y="352"/>
                  </a:lnTo>
                  <a:lnTo>
                    <a:pt x="659" y="350"/>
                  </a:lnTo>
                  <a:lnTo>
                    <a:pt x="659" y="349"/>
                  </a:lnTo>
                  <a:lnTo>
                    <a:pt x="657" y="349"/>
                  </a:lnTo>
                  <a:lnTo>
                    <a:pt x="657" y="347"/>
                  </a:lnTo>
                  <a:lnTo>
                    <a:pt x="657" y="345"/>
                  </a:lnTo>
                  <a:lnTo>
                    <a:pt x="656" y="344"/>
                  </a:lnTo>
                  <a:lnTo>
                    <a:pt x="654" y="342"/>
                  </a:lnTo>
                  <a:lnTo>
                    <a:pt x="654" y="340"/>
                  </a:lnTo>
                  <a:lnTo>
                    <a:pt x="653" y="340"/>
                  </a:lnTo>
                  <a:lnTo>
                    <a:pt x="651" y="339"/>
                  </a:lnTo>
                  <a:lnTo>
                    <a:pt x="651" y="337"/>
                  </a:lnTo>
                  <a:lnTo>
                    <a:pt x="649" y="337"/>
                  </a:lnTo>
                  <a:lnTo>
                    <a:pt x="648" y="337"/>
                  </a:lnTo>
                  <a:lnTo>
                    <a:pt x="649" y="337"/>
                  </a:lnTo>
                  <a:lnTo>
                    <a:pt x="649" y="339"/>
                  </a:lnTo>
                  <a:lnTo>
                    <a:pt x="651" y="339"/>
                  </a:lnTo>
                  <a:lnTo>
                    <a:pt x="653" y="340"/>
                  </a:lnTo>
                  <a:lnTo>
                    <a:pt x="654" y="340"/>
                  </a:lnTo>
                  <a:lnTo>
                    <a:pt x="654" y="342"/>
                  </a:lnTo>
                  <a:lnTo>
                    <a:pt x="656" y="344"/>
                  </a:lnTo>
                  <a:lnTo>
                    <a:pt x="657" y="345"/>
                  </a:lnTo>
                  <a:lnTo>
                    <a:pt x="657" y="347"/>
                  </a:lnTo>
                  <a:lnTo>
                    <a:pt x="659" y="349"/>
                  </a:lnTo>
                  <a:lnTo>
                    <a:pt x="659" y="350"/>
                  </a:lnTo>
                  <a:lnTo>
                    <a:pt x="661" y="352"/>
                  </a:lnTo>
                  <a:lnTo>
                    <a:pt x="662" y="355"/>
                  </a:lnTo>
                  <a:lnTo>
                    <a:pt x="664" y="357"/>
                  </a:lnTo>
                  <a:lnTo>
                    <a:pt x="666" y="358"/>
                  </a:lnTo>
                  <a:lnTo>
                    <a:pt x="667" y="358"/>
                  </a:lnTo>
                  <a:lnTo>
                    <a:pt x="669" y="360"/>
                  </a:lnTo>
                  <a:lnTo>
                    <a:pt x="670" y="362"/>
                  </a:lnTo>
                  <a:lnTo>
                    <a:pt x="670" y="363"/>
                  </a:lnTo>
                  <a:lnTo>
                    <a:pt x="670" y="365"/>
                  </a:lnTo>
                  <a:lnTo>
                    <a:pt x="672" y="368"/>
                  </a:lnTo>
                  <a:lnTo>
                    <a:pt x="672" y="370"/>
                  </a:lnTo>
                  <a:lnTo>
                    <a:pt x="672" y="371"/>
                  </a:lnTo>
                  <a:lnTo>
                    <a:pt x="674" y="373"/>
                  </a:lnTo>
                  <a:lnTo>
                    <a:pt x="674" y="375"/>
                  </a:lnTo>
                  <a:lnTo>
                    <a:pt x="674" y="376"/>
                  </a:lnTo>
                  <a:lnTo>
                    <a:pt x="674" y="378"/>
                  </a:lnTo>
                  <a:lnTo>
                    <a:pt x="674" y="379"/>
                  </a:lnTo>
                  <a:lnTo>
                    <a:pt x="674" y="381"/>
                  </a:lnTo>
                  <a:lnTo>
                    <a:pt x="674" y="383"/>
                  </a:lnTo>
                  <a:lnTo>
                    <a:pt x="675" y="383"/>
                  </a:lnTo>
                  <a:lnTo>
                    <a:pt x="675" y="384"/>
                  </a:lnTo>
                  <a:lnTo>
                    <a:pt x="674" y="384"/>
                  </a:lnTo>
                  <a:lnTo>
                    <a:pt x="674" y="386"/>
                  </a:lnTo>
                  <a:lnTo>
                    <a:pt x="674" y="388"/>
                  </a:lnTo>
                  <a:lnTo>
                    <a:pt x="674" y="389"/>
                  </a:lnTo>
                  <a:lnTo>
                    <a:pt x="672" y="391"/>
                  </a:lnTo>
                  <a:lnTo>
                    <a:pt x="672" y="392"/>
                  </a:lnTo>
                  <a:lnTo>
                    <a:pt x="672" y="394"/>
                  </a:lnTo>
                  <a:lnTo>
                    <a:pt x="672" y="392"/>
                  </a:lnTo>
                  <a:lnTo>
                    <a:pt x="672" y="394"/>
                  </a:lnTo>
                  <a:lnTo>
                    <a:pt x="672" y="392"/>
                  </a:lnTo>
                  <a:lnTo>
                    <a:pt x="670" y="392"/>
                  </a:lnTo>
                  <a:lnTo>
                    <a:pt x="670" y="391"/>
                  </a:lnTo>
                  <a:lnTo>
                    <a:pt x="670" y="392"/>
                  </a:lnTo>
                  <a:lnTo>
                    <a:pt x="670" y="394"/>
                  </a:lnTo>
                  <a:lnTo>
                    <a:pt x="670" y="396"/>
                  </a:lnTo>
                  <a:lnTo>
                    <a:pt x="672" y="396"/>
                  </a:lnTo>
                  <a:lnTo>
                    <a:pt x="672" y="394"/>
                  </a:lnTo>
                  <a:lnTo>
                    <a:pt x="672" y="396"/>
                  </a:lnTo>
                  <a:lnTo>
                    <a:pt x="674" y="396"/>
                  </a:lnTo>
                  <a:lnTo>
                    <a:pt x="672" y="396"/>
                  </a:lnTo>
                  <a:lnTo>
                    <a:pt x="674" y="396"/>
                  </a:lnTo>
                  <a:lnTo>
                    <a:pt x="672" y="396"/>
                  </a:lnTo>
                  <a:lnTo>
                    <a:pt x="672" y="397"/>
                  </a:lnTo>
                  <a:lnTo>
                    <a:pt x="672" y="399"/>
                  </a:lnTo>
                  <a:lnTo>
                    <a:pt x="672" y="401"/>
                  </a:lnTo>
                  <a:lnTo>
                    <a:pt x="672" y="399"/>
                  </a:lnTo>
                  <a:lnTo>
                    <a:pt x="672" y="401"/>
                  </a:lnTo>
                  <a:lnTo>
                    <a:pt x="674" y="401"/>
                  </a:lnTo>
                  <a:lnTo>
                    <a:pt x="674" y="402"/>
                  </a:lnTo>
                  <a:lnTo>
                    <a:pt x="675" y="402"/>
                  </a:lnTo>
                  <a:lnTo>
                    <a:pt x="677" y="402"/>
                  </a:lnTo>
                  <a:lnTo>
                    <a:pt x="677" y="404"/>
                  </a:lnTo>
                  <a:lnTo>
                    <a:pt x="679" y="404"/>
                  </a:lnTo>
                  <a:lnTo>
                    <a:pt x="679" y="405"/>
                  </a:lnTo>
                  <a:lnTo>
                    <a:pt x="680" y="405"/>
                  </a:lnTo>
                  <a:lnTo>
                    <a:pt x="680" y="407"/>
                  </a:lnTo>
                  <a:lnTo>
                    <a:pt x="682" y="407"/>
                  </a:lnTo>
                  <a:lnTo>
                    <a:pt x="682" y="409"/>
                  </a:lnTo>
                  <a:lnTo>
                    <a:pt x="682" y="410"/>
                  </a:lnTo>
                  <a:lnTo>
                    <a:pt x="682" y="412"/>
                  </a:lnTo>
                  <a:lnTo>
                    <a:pt x="683" y="412"/>
                  </a:lnTo>
                  <a:lnTo>
                    <a:pt x="683" y="414"/>
                  </a:lnTo>
                  <a:lnTo>
                    <a:pt x="685" y="414"/>
                  </a:lnTo>
                  <a:lnTo>
                    <a:pt x="685" y="415"/>
                  </a:lnTo>
                  <a:lnTo>
                    <a:pt x="685" y="414"/>
                  </a:lnTo>
                  <a:lnTo>
                    <a:pt x="685" y="415"/>
                  </a:lnTo>
                  <a:lnTo>
                    <a:pt x="683" y="415"/>
                  </a:lnTo>
                  <a:lnTo>
                    <a:pt x="685" y="415"/>
                  </a:lnTo>
                  <a:lnTo>
                    <a:pt x="683" y="415"/>
                  </a:lnTo>
                  <a:lnTo>
                    <a:pt x="685" y="417"/>
                  </a:lnTo>
                  <a:lnTo>
                    <a:pt x="687" y="417"/>
                  </a:lnTo>
                  <a:lnTo>
                    <a:pt x="685" y="418"/>
                  </a:lnTo>
                  <a:lnTo>
                    <a:pt x="687" y="418"/>
                  </a:lnTo>
                  <a:lnTo>
                    <a:pt x="688" y="418"/>
                  </a:lnTo>
                  <a:lnTo>
                    <a:pt x="688" y="420"/>
                  </a:lnTo>
                  <a:lnTo>
                    <a:pt x="690" y="422"/>
                  </a:lnTo>
                  <a:lnTo>
                    <a:pt x="690" y="423"/>
                  </a:lnTo>
                  <a:lnTo>
                    <a:pt x="692" y="423"/>
                  </a:lnTo>
                  <a:lnTo>
                    <a:pt x="693" y="423"/>
                  </a:lnTo>
                  <a:lnTo>
                    <a:pt x="695" y="423"/>
                  </a:lnTo>
                  <a:lnTo>
                    <a:pt x="696" y="423"/>
                  </a:lnTo>
                  <a:lnTo>
                    <a:pt x="698" y="423"/>
                  </a:lnTo>
                  <a:lnTo>
                    <a:pt x="700" y="425"/>
                  </a:lnTo>
                  <a:lnTo>
                    <a:pt x="701" y="425"/>
                  </a:lnTo>
                  <a:lnTo>
                    <a:pt x="700" y="425"/>
                  </a:lnTo>
                  <a:lnTo>
                    <a:pt x="701" y="425"/>
                  </a:lnTo>
                  <a:lnTo>
                    <a:pt x="703" y="427"/>
                  </a:lnTo>
                  <a:lnTo>
                    <a:pt x="705" y="427"/>
                  </a:lnTo>
                  <a:lnTo>
                    <a:pt x="705" y="428"/>
                  </a:lnTo>
                  <a:lnTo>
                    <a:pt x="706" y="428"/>
                  </a:lnTo>
                  <a:lnTo>
                    <a:pt x="706" y="430"/>
                  </a:lnTo>
                  <a:lnTo>
                    <a:pt x="708" y="430"/>
                  </a:lnTo>
                  <a:lnTo>
                    <a:pt x="708" y="431"/>
                  </a:lnTo>
                  <a:lnTo>
                    <a:pt x="706" y="431"/>
                  </a:lnTo>
                  <a:lnTo>
                    <a:pt x="708" y="431"/>
                  </a:lnTo>
                  <a:lnTo>
                    <a:pt x="708" y="433"/>
                  </a:lnTo>
                  <a:lnTo>
                    <a:pt x="709" y="435"/>
                  </a:lnTo>
                  <a:lnTo>
                    <a:pt x="711" y="435"/>
                  </a:lnTo>
                  <a:lnTo>
                    <a:pt x="709" y="436"/>
                  </a:lnTo>
                  <a:lnTo>
                    <a:pt x="709" y="438"/>
                  </a:lnTo>
                  <a:lnTo>
                    <a:pt x="708" y="438"/>
                  </a:lnTo>
                  <a:lnTo>
                    <a:pt x="709" y="436"/>
                  </a:lnTo>
                  <a:lnTo>
                    <a:pt x="708" y="436"/>
                  </a:lnTo>
                  <a:lnTo>
                    <a:pt x="708" y="438"/>
                  </a:lnTo>
                  <a:lnTo>
                    <a:pt x="706" y="438"/>
                  </a:lnTo>
                  <a:lnTo>
                    <a:pt x="708" y="438"/>
                  </a:lnTo>
                  <a:lnTo>
                    <a:pt x="706" y="438"/>
                  </a:lnTo>
                  <a:lnTo>
                    <a:pt x="706" y="440"/>
                  </a:lnTo>
                  <a:lnTo>
                    <a:pt x="706" y="438"/>
                  </a:lnTo>
                  <a:lnTo>
                    <a:pt x="705" y="438"/>
                  </a:lnTo>
                  <a:lnTo>
                    <a:pt x="706" y="440"/>
                  </a:lnTo>
                  <a:lnTo>
                    <a:pt x="705" y="440"/>
                  </a:lnTo>
                  <a:lnTo>
                    <a:pt x="706" y="440"/>
                  </a:lnTo>
                  <a:lnTo>
                    <a:pt x="705" y="440"/>
                  </a:lnTo>
                  <a:lnTo>
                    <a:pt x="706" y="440"/>
                  </a:lnTo>
                  <a:lnTo>
                    <a:pt x="706" y="441"/>
                  </a:lnTo>
                  <a:lnTo>
                    <a:pt x="706" y="443"/>
                  </a:lnTo>
                  <a:lnTo>
                    <a:pt x="708" y="443"/>
                  </a:lnTo>
                  <a:lnTo>
                    <a:pt x="706" y="445"/>
                  </a:lnTo>
                  <a:lnTo>
                    <a:pt x="705" y="445"/>
                  </a:lnTo>
                  <a:lnTo>
                    <a:pt x="705" y="446"/>
                  </a:lnTo>
                  <a:lnTo>
                    <a:pt x="705" y="448"/>
                  </a:lnTo>
                  <a:lnTo>
                    <a:pt x="705" y="446"/>
                  </a:lnTo>
                  <a:lnTo>
                    <a:pt x="705" y="448"/>
                  </a:lnTo>
                  <a:lnTo>
                    <a:pt x="703" y="446"/>
                  </a:lnTo>
                  <a:lnTo>
                    <a:pt x="703" y="445"/>
                  </a:lnTo>
                  <a:lnTo>
                    <a:pt x="703" y="443"/>
                  </a:lnTo>
                  <a:lnTo>
                    <a:pt x="703" y="441"/>
                  </a:lnTo>
                  <a:lnTo>
                    <a:pt x="701" y="441"/>
                  </a:lnTo>
                  <a:lnTo>
                    <a:pt x="701" y="440"/>
                  </a:lnTo>
                  <a:lnTo>
                    <a:pt x="700" y="440"/>
                  </a:lnTo>
                  <a:lnTo>
                    <a:pt x="700" y="441"/>
                  </a:lnTo>
                  <a:lnTo>
                    <a:pt x="698" y="441"/>
                  </a:lnTo>
                  <a:lnTo>
                    <a:pt x="696" y="440"/>
                  </a:lnTo>
                  <a:lnTo>
                    <a:pt x="695" y="440"/>
                  </a:lnTo>
                  <a:lnTo>
                    <a:pt x="693" y="440"/>
                  </a:lnTo>
                  <a:lnTo>
                    <a:pt x="693" y="438"/>
                  </a:lnTo>
                  <a:lnTo>
                    <a:pt x="693" y="440"/>
                  </a:lnTo>
                  <a:lnTo>
                    <a:pt x="693" y="438"/>
                  </a:lnTo>
                  <a:lnTo>
                    <a:pt x="692" y="438"/>
                  </a:lnTo>
                  <a:lnTo>
                    <a:pt x="690" y="438"/>
                  </a:lnTo>
                  <a:lnTo>
                    <a:pt x="690" y="436"/>
                  </a:lnTo>
                  <a:lnTo>
                    <a:pt x="692" y="436"/>
                  </a:lnTo>
                  <a:lnTo>
                    <a:pt x="690" y="436"/>
                  </a:lnTo>
                  <a:lnTo>
                    <a:pt x="690" y="435"/>
                  </a:lnTo>
                  <a:lnTo>
                    <a:pt x="690" y="436"/>
                  </a:lnTo>
                  <a:lnTo>
                    <a:pt x="690" y="438"/>
                  </a:lnTo>
                  <a:lnTo>
                    <a:pt x="688" y="436"/>
                  </a:lnTo>
                  <a:lnTo>
                    <a:pt x="687" y="436"/>
                  </a:lnTo>
                  <a:lnTo>
                    <a:pt x="687" y="435"/>
                  </a:lnTo>
                  <a:lnTo>
                    <a:pt x="685" y="435"/>
                  </a:lnTo>
                  <a:lnTo>
                    <a:pt x="685" y="433"/>
                  </a:lnTo>
                  <a:lnTo>
                    <a:pt x="687" y="433"/>
                  </a:lnTo>
                  <a:lnTo>
                    <a:pt x="685" y="433"/>
                  </a:lnTo>
                  <a:lnTo>
                    <a:pt x="685" y="431"/>
                  </a:lnTo>
                  <a:lnTo>
                    <a:pt x="683" y="431"/>
                  </a:lnTo>
                  <a:lnTo>
                    <a:pt x="683" y="430"/>
                  </a:lnTo>
                  <a:lnTo>
                    <a:pt x="682" y="430"/>
                  </a:lnTo>
                  <a:lnTo>
                    <a:pt x="683" y="430"/>
                  </a:lnTo>
                  <a:lnTo>
                    <a:pt x="682" y="428"/>
                  </a:lnTo>
                  <a:lnTo>
                    <a:pt x="680" y="428"/>
                  </a:lnTo>
                  <a:lnTo>
                    <a:pt x="680" y="427"/>
                  </a:lnTo>
                  <a:lnTo>
                    <a:pt x="680" y="428"/>
                  </a:lnTo>
                  <a:lnTo>
                    <a:pt x="679" y="427"/>
                  </a:lnTo>
                  <a:lnTo>
                    <a:pt x="677" y="425"/>
                  </a:lnTo>
                  <a:lnTo>
                    <a:pt x="675" y="425"/>
                  </a:lnTo>
                  <a:lnTo>
                    <a:pt x="675" y="423"/>
                  </a:lnTo>
                  <a:lnTo>
                    <a:pt x="674" y="423"/>
                  </a:lnTo>
                  <a:lnTo>
                    <a:pt x="672" y="423"/>
                  </a:lnTo>
                  <a:lnTo>
                    <a:pt x="670" y="423"/>
                  </a:lnTo>
                  <a:lnTo>
                    <a:pt x="672" y="422"/>
                  </a:lnTo>
                  <a:lnTo>
                    <a:pt x="670" y="423"/>
                  </a:lnTo>
                  <a:lnTo>
                    <a:pt x="672" y="423"/>
                  </a:lnTo>
                  <a:lnTo>
                    <a:pt x="672" y="425"/>
                  </a:lnTo>
                  <a:lnTo>
                    <a:pt x="672" y="423"/>
                  </a:lnTo>
                  <a:lnTo>
                    <a:pt x="672" y="425"/>
                  </a:lnTo>
                  <a:lnTo>
                    <a:pt x="674" y="425"/>
                  </a:lnTo>
                  <a:lnTo>
                    <a:pt x="674" y="427"/>
                  </a:lnTo>
                  <a:lnTo>
                    <a:pt x="675" y="427"/>
                  </a:lnTo>
                  <a:lnTo>
                    <a:pt x="675" y="428"/>
                  </a:lnTo>
                  <a:lnTo>
                    <a:pt x="677" y="430"/>
                  </a:lnTo>
                  <a:lnTo>
                    <a:pt x="677" y="431"/>
                  </a:lnTo>
                  <a:lnTo>
                    <a:pt x="679" y="433"/>
                  </a:lnTo>
                  <a:lnTo>
                    <a:pt x="679" y="435"/>
                  </a:lnTo>
                  <a:lnTo>
                    <a:pt x="679" y="436"/>
                  </a:lnTo>
                  <a:lnTo>
                    <a:pt x="679" y="438"/>
                  </a:lnTo>
                  <a:lnTo>
                    <a:pt x="680" y="438"/>
                  </a:lnTo>
                  <a:lnTo>
                    <a:pt x="680" y="440"/>
                  </a:lnTo>
                  <a:lnTo>
                    <a:pt x="679" y="440"/>
                  </a:lnTo>
                  <a:lnTo>
                    <a:pt x="679" y="441"/>
                  </a:lnTo>
                  <a:lnTo>
                    <a:pt x="679" y="443"/>
                  </a:lnTo>
                  <a:lnTo>
                    <a:pt x="680" y="443"/>
                  </a:lnTo>
                  <a:lnTo>
                    <a:pt x="679" y="443"/>
                  </a:lnTo>
                  <a:lnTo>
                    <a:pt x="680" y="443"/>
                  </a:lnTo>
                  <a:lnTo>
                    <a:pt x="679" y="443"/>
                  </a:lnTo>
                  <a:lnTo>
                    <a:pt x="680" y="443"/>
                  </a:lnTo>
                  <a:lnTo>
                    <a:pt x="679" y="445"/>
                  </a:lnTo>
                  <a:lnTo>
                    <a:pt x="679" y="443"/>
                  </a:lnTo>
                  <a:lnTo>
                    <a:pt x="679" y="445"/>
                  </a:lnTo>
                  <a:lnTo>
                    <a:pt x="679" y="443"/>
                  </a:lnTo>
                  <a:lnTo>
                    <a:pt x="679" y="445"/>
                  </a:lnTo>
                  <a:lnTo>
                    <a:pt x="677" y="445"/>
                  </a:lnTo>
                  <a:lnTo>
                    <a:pt x="677" y="443"/>
                  </a:lnTo>
                  <a:lnTo>
                    <a:pt x="677" y="441"/>
                  </a:lnTo>
                  <a:lnTo>
                    <a:pt x="679" y="441"/>
                  </a:lnTo>
                  <a:lnTo>
                    <a:pt x="679" y="440"/>
                  </a:lnTo>
                  <a:lnTo>
                    <a:pt x="677" y="440"/>
                  </a:lnTo>
                  <a:lnTo>
                    <a:pt x="677" y="441"/>
                  </a:lnTo>
                  <a:lnTo>
                    <a:pt x="677" y="440"/>
                  </a:lnTo>
                  <a:lnTo>
                    <a:pt x="675" y="440"/>
                  </a:lnTo>
                  <a:lnTo>
                    <a:pt x="674" y="438"/>
                  </a:lnTo>
                  <a:lnTo>
                    <a:pt x="672" y="438"/>
                  </a:lnTo>
                  <a:lnTo>
                    <a:pt x="674" y="440"/>
                  </a:lnTo>
                  <a:lnTo>
                    <a:pt x="672" y="438"/>
                  </a:lnTo>
                  <a:lnTo>
                    <a:pt x="672" y="440"/>
                  </a:lnTo>
                  <a:lnTo>
                    <a:pt x="670" y="440"/>
                  </a:lnTo>
                  <a:lnTo>
                    <a:pt x="670" y="441"/>
                  </a:lnTo>
                  <a:lnTo>
                    <a:pt x="670" y="443"/>
                  </a:lnTo>
                  <a:lnTo>
                    <a:pt x="670" y="441"/>
                  </a:lnTo>
                  <a:lnTo>
                    <a:pt x="670" y="443"/>
                  </a:lnTo>
                  <a:lnTo>
                    <a:pt x="669" y="443"/>
                  </a:lnTo>
                  <a:lnTo>
                    <a:pt x="669" y="441"/>
                  </a:lnTo>
                  <a:lnTo>
                    <a:pt x="669" y="443"/>
                  </a:lnTo>
                  <a:lnTo>
                    <a:pt x="667" y="443"/>
                  </a:lnTo>
                  <a:lnTo>
                    <a:pt x="667" y="441"/>
                  </a:lnTo>
                  <a:lnTo>
                    <a:pt x="667" y="440"/>
                  </a:lnTo>
                  <a:lnTo>
                    <a:pt x="669" y="440"/>
                  </a:lnTo>
                  <a:lnTo>
                    <a:pt x="669" y="438"/>
                  </a:lnTo>
                  <a:lnTo>
                    <a:pt x="667" y="436"/>
                  </a:lnTo>
                  <a:lnTo>
                    <a:pt x="666" y="436"/>
                  </a:lnTo>
                  <a:lnTo>
                    <a:pt x="666" y="435"/>
                  </a:lnTo>
                  <a:lnTo>
                    <a:pt x="664" y="435"/>
                  </a:lnTo>
                  <a:lnTo>
                    <a:pt x="664" y="433"/>
                  </a:lnTo>
                  <a:lnTo>
                    <a:pt x="662" y="433"/>
                  </a:lnTo>
                  <a:lnTo>
                    <a:pt x="662" y="431"/>
                  </a:lnTo>
                  <a:lnTo>
                    <a:pt x="664" y="433"/>
                  </a:lnTo>
                  <a:lnTo>
                    <a:pt x="664" y="431"/>
                  </a:lnTo>
                  <a:lnTo>
                    <a:pt x="664" y="433"/>
                  </a:lnTo>
                  <a:lnTo>
                    <a:pt x="664" y="431"/>
                  </a:lnTo>
                  <a:lnTo>
                    <a:pt x="662" y="431"/>
                  </a:lnTo>
                  <a:lnTo>
                    <a:pt x="661" y="431"/>
                  </a:lnTo>
                  <a:lnTo>
                    <a:pt x="662" y="431"/>
                  </a:lnTo>
                  <a:lnTo>
                    <a:pt x="661" y="431"/>
                  </a:lnTo>
                  <a:lnTo>
                    <a:pt x="659" y="433"/>
                  </a:lnTo>
                  <a:lnTo>
                    <a:pt x="659" y="431"/>
                  </a:lnTo>
                  <a:lnTo>
                    <a:pt x="657" y="431"/>
                  </a:lnTo>
                  <a:lnTo>
                    <a:pt x="657" y="433"/>
                  </a:lnTo>
                  <a:lnTo>
                    <a:pt x="656" y="431"/>
                  </a:lnTo>
                  <a:lnTo>
                    <a:pt x="656" y="433"/>
                  </a:lnTo>
                  <a:lnTo>
                    <a:pt x="657" y="433"/>
                  </a:lnTo>
                  <a:lnTo>
                    <a:pt x="657" y="435"/>
                  </a:lnTo>
                  <a:lnTo>
                    <a:pt x="659" y="435"/>
                  </a:lnTo>
                  <a:lnTo>
                    <a:pt x="657" y="435"/>
                  </a:lnTo>
                  <a:lnTo>
                    <a:pt x="657" y="436"/>
                  </a:lnTo>
                  <a:lnTo>
                    <a:pt x="656" y="436"/>
                  </a:lnTo>
                  <a:lnTo>
                    <a:pt x="656" y="435"/>
                  </a:lnTo>
                  <a:lnTo>
                    <a:pt x="654" y="435"/>
                  </a:lnTo>
                  <a:lnTo>
                    <a:pt x="656" y="435"/>
                  </a:lnTo>
                  <a:lnTo>
                    <a:pt x="654" y="435"/>
                  </a:lnTo>
                  <a:lnTo>
                    <a:pt x="656" y="436"/>
                  </a:lnTo>
                  <a:lnTo>
                    <a:pt x="657" y="436"/>
                  </a:lnTo>
                  <a:lnTo>
                    <a:pt x="657" y="438"/>
                  </a:lnTo>
                  <a:lnTo>
                    <a:pt x="659" y="440"/>
                  </a:lnTo>
                  <a:lnTo>
                    <a:pt x="659" y="441"/>
                  </a:lnTo>
                  <a:lnTo>
                    <a:pt x="659" y="443"/>
                  </a:lnTo>
                  <a:lnTo>
                    <a:pt x="659" y="441"/>
                  </a:lnTo>
                  <a:lnTo>
                    <a:pt x="656" y="440"/>
                  </a:lnTo>
                  <a:lnTo>
                    <a:pt x="656" y="441"/>
                  </a:lnTo>
                  <a:lnTo>
                    <a:pt x="657" y="443"/>
                  </a:lnTo>
                  <a:lnTo>
                    <a:pt x="659" y="445"/>
                  </a:lnTo>
                  <a:lnTo>
                    <a:pt x="657" y="443"/>
                  </a:lnTo>
                  <a:lnTo>
                    <a:pt x="657" y="445"/>
                  </a:lnTo>
                  <a:lnTo>
                    <a:pt x="656" y="445"/>
                  </a:lnTo>
                  <a:lnTo>
                    <a:pt x="656" y="446"/>
                  </a:lnTo>
                  <a:lnTo>
                    <a:pt x="657" y="446"/>
                  </a:lnTo>
                  <a:lnTo>
                    <a:pt x="657" y="448"/>
                  </a:lnTo>
                  <a:lnTo>
                    <a:pt x="659" y="448"/>
                  </a:lnTo>
                  <a:lnTo>
                    <a:pt x="659" y="449"/>
                  </a:lnTo>
                  <a:lnTo>
                    <a:pt x="661" y="449"/>
                  </a:lnTo>
                  <a:lnTo>
                    <a:pt x="659" y="449"/>
                  </a:lnTo>
                  <a:lnTo>
                    <a:pt x="659" y="451"/>
                  </a:lnTo>
                  <a:lnTo>
                    <a:pt x="657" y="451"/>
                  </a:lnTo>
                  <a:lnTo>
                    <a:pt x="657" y="453"/>
                  </a:lnTo>
                  <a:lnTo>
                    <a:pt x="659" y="453"/>
                  </a:lnTo>
                  <a:lnTo>
                    <a:pt x="657" y="453"/>
                  </a:lnTo>
                  <a:lnTo>
                    <a:pt x="659" y="454"/>
                  </a:lnTo>
                  <a:lnTo>
                    <a:pt x="661" y="454"/>
                  </a:lnTo>
                  <a:lnTo>
                    <a:pt x="659" y="454"/>
                  </a:lnTo>
                  <a:lnTo>
                    <a:pt x="661" y="456"/>
                  </a:lnTo>
                  <a:lnTo>
                    <a:pt x="661" y="454"/>
                  </a:lnTo>
                  <a:lnTo>
                    <a:pt x="662" y="456"/>
                  </a:lnTo>
                  <a:lnTo>
                    <a:pt x="661" y="458"/>
                  </a:lnTo>
                  <a:lnTo>
                    <a:pt x="662" y="458"/>
                  </a:lnTo>
                  <a:lnTo>
                    <a:pt x="662" y="459"/>
                  </a:lnTo>
                  <a:lnTo>
                    <a:pt x="661" y="459"/>
                  </a:lnTo>
                  <a:lnTo>
                    <a:pt x="661" y="461"/>
                  </a:lnTo>
                  <a:lnTo>
                    <a:pt x="662" y="461"/>
                  </a:lnTo>
                  <a:lnTo>
                    <a:pt x="661" y="461"/>
                  </a:lnTo>
                  <a:lnTo>
                    <a:pt x="662" y="461"/>
                  </a:lnTo>
                  <a:lnTo>
                    <a:pt x="661" y="461"/>
                  </a:lnTo>
                  <a:lnTo>
                    <a:pt x="659" y="461"/>
                  </a:lnTo>
                  <a:lnTo>
                    <a:pt x="661" y="459"/>
                  </a:lnTo>
                  <a:lnTo>
                    <a:pt x="659" y="459"/>
                  </a:lnTo>
                  <a:lnTo>
                    <a:pt x="657" y="458"/>
                  </a:lnTo>
                  <a:lnTo>
                    <a:pt x="657" y="456"/>
                  </a:lnTo>
                  <a:lnTo>
                    <a:pt x="656" y="456"/>
                  </a:lnTo>
                  <a:lnTo>
                    <a:pt x="656" y="454"/>
                  </a:lnTo>
                  <a:lnTo>
                    <a:pt x="656" y="456"/>
                  </a:lnTo>
                  <a:lnTo>
                    <a:pt x="657" y="456"/>
                  </a:lnTo>
                  <a:lnTo>
                    <a:pt x="656" y="456"/>
                  </a:lnTo>
                  <a:lnTo>
                    <a:pt x="656" y="458"/>
                  </a:lnTo>
                  <a:lnTo>
                    <a:pt x="656" y="456"/>
                  </a:lnTo>
                  <a:lnTo>
                    <a:pt x="654" y="456"/>
                  </a:lnTo>
                  <a:lnTo>
                    <a:pt x="656" y="458"/>
                  </a:lnTo>
                  <a:lnTo>
                    <a:pt x="657" y="459"/>
                  </a:lnTo>
                  <a:lnTo>
                    <a:pt x="656" y="459"/>
                  </a:lnTo>
                  <a:lnTo>
                    <a:pt x="654" y="459"/>
                  </a:lnTo>
                  <a:lnTo>
                    <a:pt x="654" y="461"/>
                  </a:lnTo>
                  <a:lnTo>
                    <a:pt x="656" y="462"/>
                  </a:lnTo>
                  <a:lnTo>
                    <a:pt x="656" y="464"/>
                  </a:lnTo>
                  <a:lnTo>
                    <a:pt x="657" y="464"/>
                  </a:lnTo>
                  <a:lnTo>
                    <a:pt x="657" y="466"/>
                  </a:lnTo>
                  <a:lnTo>
                    <a:pt x="657" y="467"/>
                  </a:lnTo>
                  <a:lnTo>
                    <a:pt x="657" y="469"/>
                  </a:lnTo>
                  <a:lnTo>
                    <a:pt x="659" y="469"/>
                  </a:lnTo>
                  <a:lnTo>
                    <a:pt x="657" y="467"/>
                  </a:lnTo>
                  <a:lnTo>
                    <a:pt x="657" y="466"/>
                  </a:lnTo>
                  <a:lnTo>
                    <a:pt x="659" y="466"/>
                  </a:lnTo>
                  <a:lnTo>
                    <a:pt x="659" y="467"/>
                  </a:lnTo>
                  <a:lnTo>
                    <a:pt x="659" y="466"/>
                  </a:lnTo>
                  <a:lnTo>
                    <a:pt x="657" y="466"/>
                  </a:lnTo>
                  <a:lnTo>
                    <a:pt x="657" y="464"/>
                  </a:lnTo>
                  <a:lnTo>
                    <a:pt x="657" y="462"/>
                  </a:lnTo>
                  <a:lnTo>
                    <a:pt x="656" y="461"/>
                  </a:lnTo>
                  <a:lnTo>
                    <a:pt x="657" y="461"/>
                  </a:lnTo>
                  <a:lnTo>
                    <a:pt x="659" y="461"/>
                  </a:lnTo>
                  <a:lnTo>
                    <a:pt x="661" y="462"/>
                  </a:lnTo>
                  <a:lnTo>
                    <a:pt x="661" y="464"/>
                  </a:lnTo>
                  <a:lnTo>
                    <a:pt x="661" y="466"/>
                  </a:lnTo>
                  <a:lnTo>
                    <a:pt x="661" y="464"/>
                  </a:lnTo>
                  <a:lnTo>
                    <a:pt x="662" y="464"/>
                  </a:lnTo>
                  <a:lnTo>
                    <a:pt x="662" y="462"/>
                  </a:lnTo>
                  <a:lnTo>
                    <a:pt x="662" y="464"/>
                  </a:lnTo>
                  <a:lnTo>
                    <a:pt x="664" y="464"/>
                  </a:lnTo>
                  <a:lnTo>
                    <a:pt x="666" y="466"/>
                  </a:lnTo>
                  <a:lnTo>
                    <a:pt x="666" y="467"/>
                  </a:lnTo>
                  <a:lnTo>
                    <a:pt x="664" y="466"/>
                  </a:lnTo>
                  <a:lnTo>
                    <a:pt x="664" y="467"/>
                  </a:lnTo>
                  <a:lnTo>
                    <a:pt x="662" y="466"/>
                  </a:lnTo>
                  <a:lnTo>
                    <a:pt x="662" y="467"/>
                  </a:lnTo>
                  <a:lnTo>
                    <a:pt x="662" y="469"/>
                  </a:lnTo>
                  <a:lnTo>
                    <a:pt x="661" y="469"/>
                  </a:lnTo>
                  <a:lnTo>
                    <a:pt x="662" y="469"/>
                  </a:lnTo>
                  <a:lnTo>
                    <a:pt x="661" y="469"/>
                  </a:lnTo>
                  <a:lnTo>
                    <a:pt x="662" y="471"/>
                  </a:lnTo>
                  <a:lnTo>
                    <a:pt x="664" y="471"/>
                  </a:lnTo>
                  <a:lnTo>
                    <a:pt x="666" y="472"/>
                  </a:lnTo>
                  <a:lnTo>
                    <a:pt x="667" y="474"/>
                  </a:lnTo>
                  <a:lnTo>
                    <a:pt x="667" y="475"/>
                  </a:lnTo>
                  <a:lnTo>
                    <a:pt x="667" y="477"/>
                  </a:lnTo>
                  <a:lnTo>
                    <a:pt x="669" y="477"/>
                  </a:lnTo>
                  <a:lnTo>
                    <a:pt x="669" y="475"/>
                  </a:lnTo>
                  <a:lnTo>
                    <a:pt x="669" y="477"/>
                  </a:lnTo>
                  <a:lnTo>
                    <a:pt x="670" y="477"/>
                  </a:lnTo>
                  <a:lnTo>
                    <a:pt x="669" y="477"/>
                  </a:lnTo>
                  <a:lnTo>
                    <a:pt x="667" y="477"/>
                  </a:lnTo>
                  <a:lnTo>
                    <a:pt x="669" y="479"/>
                  </a:lnTo>
                  <a:lnTo>
                    <a:pt x="667" y="477"/>
                  </a:lnTo>
                  <a:lnTo>
                    <a:pt x="666" y="477"/>
                  </a:lnTo>
                  <a:lnTo>
                    <a:pt x="664" y="475"/>
                  </a:lnTo>
                  <a:lnTo>
                    <a:pt x="662" y="475"/>
                  </a:lnTo>
                  <a:lnTo>
                    <a:pt x="661" y="475"/>
                  </a:lnTo>
                  <a:lnTo>
                    <a:pt x="662" y="475"/>
                  </a:lnTo>
                  <a:lnTo>
                    <a:pt x="662" y="477"/>
                  </a:lnTo>
                  <a:lnTo>
                    <a:pt x="661" y="477"/>
                  </a:lnTo>
                  <a:lnTo>
                    <a:pt x="659" y="477"/>
                  </a:lnTo>
                  <a:lnTo>
                    <a:pt x="657" y="477"/>
                  </a:lnTo>
                  <a:lnTo>
                    <a:pt x="656" y="477"/>
                  </a:lnTo>
                  <a:lnTo>
                    <a:pt x="654" y="475"/>
                  </a:lnTo>
                  <a:lnTo>
                    <a:pt x="654" y="474"/>
                  </a:lnTo>
                  <a:lnTo>
                    <a:pt x="653" y="474"/>
                  </a:lnTo>
                  <a:lnTo>
                    <a:pt x="651" y="474"/>
                  </a:lnTo>
                  <a:lnTo>
                    <a:pt x="653" y="474"/>
                  </a:lnTo>
                  <a:lnTo>
                    <a:pt x="651" y="472"/>
                  </a:lnTo>
                  <a:lnTo>
                    <a:pt x="648" y="471"/>
                  </a:lnTo>
                  <a:lnTo>
                    <a:pt x="646" y="471"/>
                  </a:lnTo>
                  <a:lnTo>
                    <a:pt x="648" y="471"/>
                  </a:lnTo>
                  <a:lnTo>
                    <a:pt x="648" y="472"/>
                  </a:lnTo>
                  <a:lnTo>
                    <a:pt x="649" y="472"/>
                  </a:lnTo>
                  <a:lnTo>
                    <a:pt x="648" y="472"/>
                  </a:lnTo>
                  <a:lnTo>
                    <a:pt x="648" y="474"/>
                  </a:lnTo>
                  <a:lnTo>
                    <a:pt x="646" y="474"/>
                  </a:lnTo>
                  <a:lnTo>
                    <a:pt x="644" y="474"/>
                  </a:lnTo>
                  <a:lnTo>
                    <a:pt x="644" y="472"/>
                  </a:lnTo>
                  <a:lnTo>
                    <a:pt x="644" y="471"/>
                  </a:lnTo>
                  <a:lnTo>
                    <a:pt x="644" y="469"/>
                  </a:lnTo>
                  <a:lnTo>
                    <a:pt x="643" y="467"/>
                  </a:lnTo>
                  <a:lnTo>
                    <a:pt x="641" y="467"/>
                  </a:lnTo>
                  <a:lnTo>
                    <a:pt x="640" y="466"/>
                  </a:lnTo>
                  <a:lnTo>
                    <a:pt x="640" y="467"/>
                  </a:lnTo>
                  <a:lnTo>
                    <a:pt x="638" y="467"/>
                  </a:lnTo>
                  <a:lnTo>
                    <a:pt x="638" y="466"/>
                  </a:lnTo>
                  <a:lnTo>
                    <a:pt x="636" y="466"/>
                  </a:lnTo>
                  <a:lnTo>
                    <a:pt x="638" y="466"/>
                  </a:lnTo>
                  <a:lnTo>
                    <a:pt x="636" y="464"/>
                  </a:lnTo>
                  <a:lnTo>
                    <a:pt x="635" y="464"/>
                  </a:lnTo>
                  <a:lnTo>
                    <a:pt x="633" y="464"/>
                  </a:lnTo>
                  <a:lnTo>
                    <a:pt x="631" y="464"/>
                  </a:lnTo>
                  <a:lnTo>
                    <a:pt x="631" y="462"/>
                  </a:lnTo>
                  <a:lnTo>
                    <a:pt x="630" y="461"/>
                  </a:lnTo>
                  <a:lnTo>
                    <a:pt x="630" y="459"/>
                  </a:lnTo>
                  <a:lnTo>
                    <a:pt x="628" y="459"/>
                  </a:lnTo>
                  <a:lnTo>
                    <a:pt x="627" y="458"/>
                  </a:lnTo>
                  <a:lnTo>
                    <a:pt x="627" y="456"/>
                  </a:lnTo>
                  <a:lnTo>
                    <a:pt x="625" y="454"/>
                  </a:lnTo>
                  <a:lnTo>
                    <a:pt x="623" y="454"/>
                  </a:lnTo>
                  <a:lnTo>
                    <a:pt x="622" y="453"/>
                  </a:lnTo>
                  <a:lnTo>
                    <a:pt x="620" y="451"/>
                  </a:lnTo>
                  <a:lnTo>
                    <a:pt x="620" y="449"/>
                  </a:lnTo>
                  <a:lnTo>
                    <a:pt x="618" y="448"/>
                  </a:lnTo>
                  <a:lnTo>
                    <a:pt x="620" y="449"/>
                  </a:lnTo>
                  <a:lnTo>
                    <a:pt x="620" y="451"/>
                  </a:lnTo>
                  <a:lnTo>
                    <a:pt x="622" y="453"/>
                  </a:lnTo>
                  <a:lnTo>
                    <a:pt x="623" y="454"/>
                  </a:lnTo>
                  <a:lnTo>
                    <a:pt x="625" y="454"/>
                  </a:lnTo>
                  <a:lnTo>
                    <a:pt x="625" y="456"/>
                  </a:lnTo>
                  <a:lnTo>
                    <a:pt x="625" y="458"/>
                  </a:lnTo>
                  <a:lnTo>
                    <a:pt x="627" y="459"/>
                  </a:lnTo>
                  <a:lnTo>
                    <a:pt x="628" y="459"/>
                  </a:lnTo>
                  <a:lnTo>
                    <a:pt x="628" y="461"/>
                  </a:lnTo>
                  <a:lnTo>
                    <a:pt x="628" y="462"/>
                  </a:lnTo>
                  <a:lnTo>
                    <a:pt x="630" y="462"/>
                  </a:lnTo>
                  <a:lnTo>
                    <a:pt x="630" y="464"/>
                  </a:lnTo>
                  <a:lnTo>
                    <a:pt x="631" y="466"/>
                  </a:lnTo>
                  <a:lnTo>
                    <a:pt x="633" y="467"/>
                  </a:lnTo>
                  <a:lnTo>
                    <a:pt x="633" y="466"/>
                  </a:lnTo>
                  <a:lnTo>
                    <a:pt x="635" y="466"/>
                  </a:lnTo>
                  <a:lnTo>
                    <a:pt x="635" y="467"/>
                  </a:lnTo>
                  <a:lnTo>
                    <a:pt x="636" y="467"/>
                  </a:lnTo>
                  <a:lnTo>
                    <a:pt x="640" y="469"/>
                  </a:lnTo>
                  <a:lnTo>
                    <a:pt x="640" y="471"/>
                  </a:lnTo>
                  <a:lnTo>
                    <a:pt x="641" y="471"/>
                  </a:lnTo>
                  <a:lnTo>
                    <a:pt x="641" y="472"/>
                  </a:lnTo>
                  <a:lnTo>
                    <a:pt x="643" y="472"/>
                  </a:lnTo>
                  <a:lnTo>
                    <a:pt x="643" y="474"/>
                  </a:lnTo>
                  <a:lnTo>
                    <a:pt x="644" y="474"/>
                  </a:lnTo>
                  <a:lnTo>
                    <a:pt x="646" y="475"/>
                  </a:lnTo>
                  <a:lnTo>
                    <a:pt x="648" y="474"/>
                  </a:lnTo>
                  <a:lnTo>
                    <a:pt x="649" y="474"/>
                  </a:lnTo>
                  <a:lnTo>
                    <a:pt x="651" y="475"/>
                  </a:lnTo>
                  <a:lnTo>
                    <a:pt x="651" y="477"/>
                  </a:lnTo>
                  <a:lnTo>
                    <a:pt x="653" y="477"/>
                  </a:lnTo>
                  <a:lnTo>
                    <a:pt x="653" y="479"/>
                  </a:lnTo>
                  <a:lnTo>
                    <a:pt x="654" y="479"/>
                  </a:lnTo>
                  <a:lnTo>
                    <a:pt x="654" y="477"/>
                  </a:lnTo>
                  <a:lnTo>
                    <a:pt x="656" y="477"/>
                  </a:lnTo>
                  <a:lnTo>
                    <a:pt x="656" y="479"/>
                  </a:lnTo>
                  <a:lnTo>
                    <a:pt x="656" y="480"/>
                  </a:lnTo>
                  <a:lnTo>
                    <a:pt x="654" y="480"/>
                  </a:lnTo>
                  <a:lnTo>
                    <a:pt x="654" y="482"/>
                  </a:lnTo>
                  <a:lnTo>
                    <a:pt x="654" y="484"/>
                  </a:lnTo>
                  <a:lnTo>
                    <a:pt x="653" y="484"/>
                  </a:lnTo>
                  <a:lnTo>
                    <a:pt x="651" y="482"/>
                  </a:lnTo>
                  <a:lnTo>
                    <a:pt x="649" y="482"/>
                  </a:lnTo>
                  <a:lnTo>
                    <a:pt x="649" y="484"/>
                  </a:lnTo>
                  <a:lnTo>
                    <a:pt x="649" y="485"/>
                  </a:lnTo>
                  <a:lnTo>
                    <a:pt x="648" y="485"/>
                  </a:lnTo>
                  <a:lnTo>
                    <a:pt x="648" y="484"/>
                  </a:lnTo>
                  <a:lnTo>
                    <a:pt x="646" y="484"/>
                  </a:lnTo>
                  <a:lnTo>
                    <a:pt x="646" y="485"/>
                  </a:lnTo>
                  <a:lnTo>
                    <a:pt x="644" y="485"/>
                  </a:lnTo>
                  <a:lnTo>
                    <a:pt x="644" y="484"/>
                  </a:lnTo>
                  <a:lnTo>
                    <a:pt x="643" y="485"/>
                  </a:lnTo>
                  <a:lnTo>
                    <a:pt x="641" y="485"/>
                  </a:lnTo>
                  <a:lnTo>
                    <a:pt x="640" y="484"/>
                  </a:lnTo>
                  <a:lnTo>
                    <a:pt x="638" y="484"/>
                  </a:lnTo>
                  <a:lnTo>
                    <a:pt x="636" y="484"/>
                  </a:lnTo>
                  <a:lnTo>
                    <a:pt x="638" y="485"/>
                  </a:lnTo>
                  <a:lnTo>
                    <a:pt x="636" y="485"/>
                  </a:lnTo>
                  <a:lnTo>
                    <a:pt x="636" y="487"/>
                  </a:lnTo>
                  <a:lnTo>
                    <a:pt x="638" y="487"/>
                  </a:lnTo>
                  <a:lnTo>
                    <a:pt x="638" y="488"/>
                  </a:lnTo>
                  <a:lnTo>
                    <a:pt x="640" y="488"/>
                  </a:lnTo>
                  <a:lnTo>
                    <a:pt x="641" y="490"/>
                  </a:lnTo>
                  <a:lnTo>
                    <a:pt x="641" y="488"/>
                  </a:lnTo>
                  <a:lnTo>
                    <a:pt x="640" y="488"/>
                  </a:lnTo>
                  <a:lnTo>
                    <a:pt x="640" y="487"/>
                  </a:lnTo>
                  <a:lnTo>
                    <a:pt x="638" y="487"/>
                  </a:lnTo>
                  <a:lnTo>
                    <a:pt x="638" y="485"/>
                  </a:lnTo>
                  <a:lnTo>
                    <a:pt x="638" y="487"/>
                  </a:lnTo>
                  <a:lnTo>
                    <a:pt x="638" y="485"/>
                  </a:lnTo>
                  <a:lnTo>
                    <a:pt x="640" y="485"/>
                  </a:lnTo>
                  <a:lnTo>
                    <a:pt x="638" y="485"/>
                  </a:lnTo>
                  <a:lnTo>
                    <a:pt x="640" y="485"/>
                  </a:lnTo>
                  <a:lnTo>
                    <a:pt x="640" y="487"/>
                  </a:lnTo>
                  <a:lnTo>
                    <a:pt x="643" y="488"/>
                  </a:lnTo>
                  <a:lnTo>
                    <a:pt x="644" y="490"/>
                  </a:lnTo>
                  <a:lnTo>
                    <a:pt x="646" y="492"/>
                  </a:lnTo>
                  <a:lnTo>
                    <a:pt x="646" y="490"/>
                  </a:lnTo>
                  <a:lnTo>
                    <a:pt x="648" y="492"/>
                  </a:lnTo>
                  <a:lnTo>
                    <a:pt x="648" y="490"/>
                  </a:lnTo>
                  <a:lnTo>
                    <a:pt x="649" y="492"/>
                  </a:lnTo>
                  <a:lnTo>
                    <a:pt x="648" y="492"/>
                  </a:lnTo>
                  <a:lnTo>
                    <a:pt x="648" y="493"/>
                  </a:lnTo>
                  <a:lnTo>
                    <a:pt x="648" y="495"/>
                  </a:lnTo>
                  <a:lnTo>
                    <a:pt x="648" y="497"/>
                  </a:lnTo>
                  <a:lnTo>
                    <a:pt x="648" y="498"/>
                  </a:lnTo>
                  <a:lnTo>
                    <a:pt x="646" y="498"/>
                  </a:lnTo>
                  <a:lnTo>
                    <a:pt x="648" y="500"/>
                  </a:lnTo>
                  <a:lnTo>
                    <a:pt x="646" y="498"/>
                  </a:lnTo>
                  <a:lnTo>
                    <a:pt x="644" y="497"/>
                  </a:lnTo>
                  <a:lnTo>
                    <a:pt x="643" y="497"/>
                  </a:lnTo>
                  <a:lnTo>
                    <a:pt x="641" y="497"/>
                  </a:lnTo>
                  <a:lnTo>
                    <a:pt x="641" y="498"/>
                  </a:lnTo>
                  <a:lnTo>
                    <a:pt x="643" y="498"/>
                  </a:lnTo>
                  <a:lnTo>
                    <a:pt x="644" y="500"/>
                  </a:lnTo>
                  <a:lnTo>
                    <a:pt x="643" y="500"/>
                  </a:lnTo>
                  <a:lnTo>
                    <a:pt x="643" y="501"/>
                  </a:lnTo>
                  <a:lnTo>
                    <a:pt x="644" y="501"/>
                  </a:lnTo>
                  <a:lnTo>
                    <a:pt x="643" y="501"/>
                  </a:lnTo>
                  <a:lnTo>
                    <a:pt x="641" y="501"/>
                  </a:lnTo>
                  <a:lnTo>
                    <a:pt x="641" y="503"/>
                  </a:lnTo>
                  <a:lnTo>
                    <a:pt x="640" y="501"/>
                  </a:lnTo>
                  <a:lnTo>
                    <a:pt x="640" y="500"/>
                  </a:lnTo>
                  <a:lnTo>
                    <a:pt x="640" y="501"/>
                  </a:lnTo>
                  <a:lnTo>
                    <a:pt x="638" y="503"/>
                  </a:lnTo>
                  <a:lnTo>
                    <a:pt x="640" y="503"/>
                  </a:lnTo>
                  <a:lnTo>
                    <a:pt x="638" y="503"/>
                  </a:lnTo>
                  <a:lnTo>
                    <a:pt x="636" y="503"/>
                  </a:lnTo>
                  <a:lnTo>
                    <a:pt x="635" y="503"/>
                  </a:lnTo>
                  <a:lnTo>
                    <a:pt x="635" y="505"/>
                  </a:lnTo>
                  <a:lnTo>
                    <a:pt x="633" y="505"/>
                  </a:lnTo>
                  <a:lnTo>
                    <a:pt x="633" y="503"/>
                  </a:lnTo>
                  <a:lnTo>
                    <a:pt x="631" y="503"/>
                  </a:lnTo>
                  <a:lnTo>
                    <a:pt x="630" y="501"/>
                  </a:lnTo>
                  <a:lnTo>
                    <a:pt x="628" y="501"/>
                  </a:lnTo>
                  <a:lnTo>
                    <a:pt x="628" y="503"/>
                  </a:lnTo>
                  <a:lnTo>
                    <a:pt x="627" y="503"/>
                  </a:lnTo>
                  <a:lnTo>
                    <a:pt x="627" y="505"/>
                  </a:lnTo>
                  <a:lnTo>
                    <a:pt x="625" y="503"/>
                  </a:lnTo>
                  <a:lnTo>
                    <a:pt x="623" y="503"/>
                  </a:lnTo>
                  <a:lnTo>
                    <a:pt x="623" y="501"/>
                  </a:lnTo>
                  <a:lnTo>
                    <a:pt x="622" y="501"/>
                  </a:lnTo>
                  <a:lnTo>
                    <a:pt x="622" y="503"/>
                  </a:lnTo>
                  <a:lnTo>
                    <a:pt x="622" y="505"/>
                  </a:lnTo>
                  <a:lnTo>
                    <a:pt x="623" y="505"/>
                  </a:lnTo>
                  <a:lnTo>
                    <a:pt x="623" y="506"/>
                  </a:lnTo>
                  <a:lnTo>
                    <a:pt x="625" y="508"/>
                  </a:lnTo>
                  <a:lnTo>
                    <a:pt x="627" y="508"/>
                  </a:lnTo>
                  <a:lnTo>
                    <a:pt x="627" y="510"/>
                  </a:lnTo>
                  <a:lnTo>
                    <a:pt x="628" y="510"/>
                  </a:lnTo>
                  <a:lnTo>
                    <a:pt x="628" y="511"/>
                  </a:lnTo>
                  <a:lnTo>
                    <a:pt x="630" y="511"/>
                  </a:lnTo>
                  <a:lnTo>
                    <a:pt x="631" y="513"/>
                  </a:lnTo>
                  <a:lnTo>
                    <a:pt x="630" y="513"/>
                  </a:lnTo>
                  <a:lnTo>
                    <a:pt x="628" y="511"/>
                  </a:lnTo>
                  <a:lnTo>
                    <a:pt x="628" y="513"/>
                  </a:lnTo>
                  <a:lnTo>
                    <a:pt x="627" y="513"/>
                  </a:lnTo>
                  <a:lnTo>
                    <a:pt x="627" y="511"/>
                  </a:lnTo>
                  <a:lnTo>
                    <a:pt x="625" y="511"/>
                  </a:lnTo>
                  <a:lnTo>
                    <a:pt x="625" y="510"/>
                  </a:lnTo>
                  <a:lnTo>
                    <a:pt x="625" y="508"/>
                  </a:lnTo>
                  <a:lnTo>
                    <a:pt x="623" y="508"/>
                  </a:lnTo>
                  <a:lnTo>
                    <a:pt x="622" y="506"/>
                  </a:lnTo>
                  <a:lnTo>
                    <a:pt x="623" y="506"/>
                  </a:lnTo>
                  <a:lnTo>
                    <a:pt x="622" y="506"/>
                  </a:lnTo>
                  <a:lnTo>
                    <a:pt x="620" y="506"/>
                  </a:lnTo>
                  <a:lnTo>
                    <a:pt x="618" y="505"/>
                  </a:lnTo>
                  <a:lnTo>
                    <a:pt x="618" y="506"/>
                  </a:lnTo>
                  <a:lnTo>
                    <a:pt x="620" y="506"/>
                  </a:lnTo>
                  <a:lnTo>
                    <a:pt x="620" y="508"/>
                  </a:lnTo>
                  <a:lnTo>
                    <a:pt x="622" y="508"/>
                  </a:lnTo>
                  <a:lnTo>
                    <a:pt x="622" y="510"/>
                  </a:lnTo>
                  <a:lnTo>
                    <a:pt x="620" y="510"/>
                  </a:lnTo>
                  <a:lnTo>
                    <a:pt x="618" y="508"/>
                  </a:lnTo>
                  <a:lnTo>
                    <a:pt x="617" y="508"/>
                  </a:lnTo>
                  <a:lnTo>
                    <a:pt x="617" y="510"/>
                  </a:lnTo>
                  <a:lnTo>
                    <a:pt x="617" y="511"/>
                  </a:lnTo>
                  <a:lnTo>
                    <a:pt x="618" y="511"/>
                  </a:lnTo>
                  <a:lnTo>
                    <a:pt x="618" y="510"/>
                  </a:lnTo>
                  <a:lnTo>
                    <a:pt x="620" y="510"/>
                  </a:lnTo>
                  <a:lnTo>
                    <a:pt x="618" y="510"/>
                  </a:lnTo>
                  <a:lnTo>
                    <a:pt x="618" y="511"/>
                  </a:lnTo>
                  <a:lnTo>
                    <a:pt x="620" y="511"/>
                  </a:lnTo>
                  <a:lnTo>
                    <a:pt x="618" y="511"/>
                  </a:lnTo>
                  <a:lnTo>
                    <a:pt x="618" y="513"/>
                  </a:lnTo>
                  <a:lnTo>
                    <a:pt x="618" y="511"/>
                  </a:lnTo>
                  <a:lnTo>
                    <a:pt x="617" y="513"/>
                  </a:lnTo>
                  <a:lnTo>
                    <a:pt x="618" y="513"/>
                  </a:lnTo>
                  <a:lnTo>
                    <a:pt x="617" y="513"/>
                  </a:lnTo>
                  <a:lnTo>
                    <a:pt x="618" y="513"/>
                  </a:lnTo>
                  <a:lnTo>
                    <a:pt x="618" y="514"/>
                  </a:lnTo>
                  <a:lnTo>
                    <a:pt x="620" y="516"/>
                  </a:lnTo>
                  <a:lnTo>
                    <a:pt x="620" y="518"/>
                  </a:lnTo>
                  <a:lnTo>
                    <a:pt x="622" y="518"/>
                  </a:lnTo>
                  <a:lnTo>
                    <a:pt x="622" y="516"/>
                  </a:lnTo>
                  <a:lnTo>
                    <a:pt x="623" y="516"/>
                  </a:lnTo>
                  <a:lnTo>
                    <a:pt x="623" y="514"/>
                  </a:lnTo>
                  <a:lnTo>
                    <a:pt x="623" y="513"/>
                  </a:lnTo>
                  <a:lnTo>
                    <a:pt x="623" y="514"/>
                  </a:lnTo>
                  <a:lnTo>
                    <a:pt x="625" y="513"/>
                  </a:lnTo>
                  <a:lnTo>
                    <a:pt x="625" y="514"/>
                  </a:lnTo>
                  <a:lnTo>
                    <a:pt x="627" y="516"/>
                  </a:lnTo>
                  <a:lnTo>
                    <a:pt x="627" y="513"/>
                  </a:lnTo>
                  <a:lnTo>
                    <a:pt x="627" y="514"/>
                  </a:lnTo>
                  <a:lnTo>
                    <a:pt x="628" y="514"/>
                  </a:lnTo>
                  <a:lnTo>
                    <a:pt x="628" y="516"/>
                  </a:lnTo>
                  <a:lnTo>
                    <a:pt x="628" y="518"/>
                  </a:lnTo>
                  <a:lnTo>
                    <a:pt x="628" y="516"/>
                  </a:lnTo>
                  <a:lnTo>
                    <a:pt x="627" y="516"/>
                  </a:lnTo>
                  <a:lnTo>
                    <a:pt x="625" y="516"/>
                  </a:lnTo>
                  <a:lnTo>
                    <a:pt x="627" y="516"/>
                  </a:lnTo>
                  <a:lnTo>
                    <a:pt x="627" y="518"/>
                  </a:lnTo>
                  <a:lnTo>
                    <a:pt x="628" y="518"/>
                  </a:lnTo>
                  <a:lnTo>
                    <a:pt x="628" y="519"/>
                  </a:lnTo>
                  <a:lnTo>
                    <a:pt x="630" y="519"/>
                  </a:lnTo>
                  <a:lnTo>
                    <a:pt x="631" y="519"/>
                  </a:lnTo>
                  <a:lnTo>
                    <a:pt x="631" y="518"/>
                  </a:lnTo>
                  <a:lnTo>
                    <a:pt x="631" y="516"/>
                  </a:lnTo>
                  <a:lnTo>
                    <a:pt x="630" y="514"/>
                  </a:lnTo>
                  <a:lnTo>
                    <a:pt x="630" y="516"/>
                  </a:lnTo>
                  <a:lnTo>
                    <a:pt x="630" y="514"/>
                  </a:lnTo>
                  <a:lnTo>
                    <a:pt x="631" y="516"/>
                  </a:lnTo>
                  <a:lnTo>
                    <a:pt x="633" y="516"/>
                  </a:lnTo>
                  <a:lnTo>
                    <a:pt x="633" y="518"/>
                  </a:lnTo>
                  <a:lnTo>
                    <a:pt x="635" y="518"/>
                  </a:lnTo>
                  <a:lnTo>
                    <a:pt x="633" y="518"/>
                  </a:lnTo>
                  <a:lnTo>
                    <a:pt x="635" y="518"/>
                  </a:lnTo>
                  <a:lnTo>
                    <a:pt x="633" y="518"/>
                  </a:lnTo>
                  <a:lnTo>
                    <a:pt x="633" y="519"/>
                  </a:lnTo>
                  <a:lnTo>
                    <a:pt x="631" y="521"/>
                  </a:lnTo>
                  <a:lnTo>
                    <a:pt x="631" y="523"/>
                  </a:lnTo>
                  <a:lnTo>
                    <a:pt x="633" y="524"/>
                  </a:lnTo>
                  <a:lnTo>
                    <a:pt x="631" y="524"/>
                  </a:lnTo>
                  <a:lnTo>
                    <a:pt x="631" y="526"/>
                  </a:lnTo>
                  <a:lnTo>
                    <a:pt x="631" y="527"/>
                  </a:lnTo>
                  <a:lnTo>
                    <a:pt x="633" y="529"/>
                  </a:lnTo>
                  <a:lnTo>
                    <a:pt x="633" y="527"/>
                  </a:lnTo>
                  <a:lnTo>
                    <a:pt x="635" y="527"/>
                  </a:lnTo>
                  <a:lnTo>
                    <a:pt x="633" y="527"/>
                  </a:lnTo>
                  <a:lnTo>
                    <a:pt x="635" y="527"/>
                  </a:lnTo>
                  <a:lnTo>
                    <a:pt x="636" y="529"/>
                  </a:lnTo>
                  <a:lnTo>
                    <a:pt x="638" y="529"/>
                  </a:lnTo>
                  <a:lnTo>
                    <a:pt x="638" y="531"/>
                  </a:lnTo>
                  <a:lnTo>
                    <a:pt x="638" y="532"/>
                  </a:lnTo>
                  <a:lnTo>
                    <a:pt x="640" y="532"/>
                  </a:lnTo>
                  <a:lnTo>
                    <a:pt x="638" y="532"/>
                  </a:lnTo>
                  <a:lnTo>
                    <a:pt x="636" y="532"/>
                  </a:lnTo>
                  <a:lnTo>
                    <a:pt x="636" y="531"/>
                  </a:lnTo>
                  <a:lnTo>
                    <a:pt x="635" y="531"/>
                  </a:lnTo>
                  <a:lnTo>
                    <a:pt x="635" y="532"/>
                  </a:lnTo>
                  <a:lnTo>
                    <a:pt x="635" y="531"/>
                  </a:lnTo>
                  <a:lnTo>
                    <a:pt x="633" y="531"/>
                  </a:lnTo>
                  <a:lnTo>
                    <a:pt x="633" y="529"/>
                  </a:lnTo>
                  <a:lnTo>
                    <a:pt x="631" y="529"/>
                  </a:lnTo>
                  <a:lnTo>
                    <a:pt x="631" y="527"/>
                  </a:lnTo>
                  <a:lnTo>
                    <a:pt x="631" y="529"/>
                  </a:lnTo>
                  <a:lnTo>
                    <a:pt x="631" y="527"/>
                  </a:lnTo>
                  <a:lnTo>
                    <a:pt x="630" y="527"/>
                  </a:lnTo>
                  <a:lnTo>
                    <a:pt x="630" y="526"/>
                  </a:lnTo>
                  <a:lnTo>
                    <a:pt x="630" y="527"/>
                  </a:lnTo>
                  <a:lnTo>
                    <a:pt x="630" y="526"/>
                  </a:lnTo>
                  <a:lnTo>
                    <a:pt x="628" y="526"/>
                  </a:lnTo>
                  <a:lnTo>
                    <a:pt x="628" y="527"/>
                  </a:lnTo>
                  <a:lnTo>
                    <a:pt x="627" y="529"/>
                  </a:lnTo>
                  <a:lnTo>
                    <a:pt x="625" y="529"/>
                  </a:lnTo>
                  <a:lnTo>
                    <a:pt x="623" y="529"/>
                  </a:lnTo>
                  <a:lnTo>
                    <a:pt x="623" y="527"/>
                  </a:lnTo>
                  <a:lnTo>
                    <a:pt x="625" y="526"/>
                  </a:lnTo>
                  <a:lnTo>
                    <a:pt x="623" y="524"/>
                  </a:lnTo>
                  <a:lnTo>
                    <a:pt x="622" y="524"/>
                  </a:lnTo>
                  <a:lnTo>
                    <a:pt x="622" y="523"/>
                  </a:lnTo>
                  <a:lnTo>
                    <a:pt x="622" y="524"/>
                  </a:lnTo>
                  <a:lnTo>
                    <a:pt x="620" y="523"/>
                  </a:lnTo>
                  <a:lnTo>
                    <a:pt x="620" y="521"/>
                  </a:lnTo>
                  <a:lnTo>
                    <a:pt x="618" y="519"/>
                  </a:lnTo>
                  <a:lnTo>
                    <a:pt x="620" y="519"/>
                  </a:lnTo>
                  <a:lnTo>
                    <a:pt x="620" y="518"/>
                  </a:lnTo>
                  <a:lnTo>
                    <a:pt x="618" y="519"/>
                  </a:lnTo>
                  <a:lnTo>
                    <a:pt x="617" y="519"/>
                  </a:lnTo>
                  <a:lnTo>
                    <a:pt x="615" y="518"/>
                  </a:lnTo>
                  <a:lnTo>
                    <a:pt x="614" y="516"/>
                  </a:lnTo>
                  <a:lnTo>
                    <a:pt x="612" y="516"/>
                  </a:lnTo>
                  <a:lnTo>
                    <a:pt x="612" y="514"/>
                  </a:lnTo>
                  <a:lnTo>
                    <a:pt x="610" y="514"/>
                  </a:lnTo>
                  <a:lnTo>
                    <a:pt x="610" y="513"/>
                  </a:lnTo>
                  <a:lnTo>
                    <a:pt x="609" y="513"/>
                  </a:lnTo>
                  <a:lnTo>
                    <a:pt x="609" y="511"/>
                  </a:lnTo>
                  <a:lnTo>
                    <a:pt x="610" y="513"/>
                  </a:lnTo>
                  <a:lnTo>
                    <a:pt x="609" y="511"/>
                  </a:lnTo>
                  <a:lnTo>
                    <a:pt x="607" y="511"/>
                  </a:lnTo>
                  <a:lnTo>
                    <a:pt x="607" y="510"/>
                  </a:lnTo>
                  <a:lnTo>
                    <a:pt x="605" y="510"/>
                  </a:lnTo>
                  <a:lnTo>
                    <a:pt x="605" y="508"/>
                  </a:lnTo>
                  <a:lnTo>
                    <a:pt x="604" y="505"/>
                  </a:lnTo>
                  <a:lnTo>
                    <a:pt x="604" y="503"/>
                  </a:lnTo>
                  <a:lnTo>
                    <a:pt x="602" y="503"/>
                  </a:lnTo>
                  <a:lnTo>
                    <a:pt x="601" y="501"/>
                  </a:lnTo>
                  <a:lnTo>
                    <a:pt x="601" y="500"/>
                  </a:lnTo>
                  <a:lnTo>
                    <a:pt x="601" y="498"/>
                  </a:lnTo>
                  <a:lnTo>
                    <a:pt x="601" y="500"/>
                  </a:lnTo>
                  <a:lnTo>
                    <a:pt x="601" y="501"/>
                  </a:lnTo>
                  <a:lnTo>
                    <a:pt x="602" y="503"/>
                  </a:lnTo>
                  <a:lnTo>
                    <a:pt x="604" y="503"/>
                  </a:lnTo>
                  <a:lnTo>
                    <a:pt x="604" y="505"/>
                  </a:lnTo>
                  <a:lnTo>
                    <a:pt x="604" y="508"/>
                  </a:lnTo>
                  <a:lnTo>
                    <a:pt x="605" y="510"/>
                  </a:lnTo>
                  <a:lnTo>
                    <a:pt x="607" y="511"/>
                  </a:lnTo>
                  <a:lnTo>
                    <a:pt x="609" y="511"/>
                  </a:lnTo>
                  <a:lnTo>
                    <a:pt x="609" y="513"/>
                  </a:lnTo>
                  <a:lnTo>
                    <a:pt x="609" y="514"/>
                  </a:lnTo>
                  <a:lnTo>
                    <a:pt x="609" y="516"/>
                  </a:lnTo>
                  <a:lnTo>
                    <a:pt x="607" y="516"/>
                  </a:lnTo>
                  <a:lnTo>
                    <a:pt x="605" y="516"/>
                  </a:lnTo>
                  <a:lnTo>
                    <a:pt x="605" y="518"/>
                  </a:lnTo>
                  <a:lnTo>
                    <a:pt x="607" y="518"/>
                  </a:lnTo>
                  <a:lnTo>
                    <a:pt x="607" y="519"/>
                  </a:lnTo>
                  <a:lnTo>
                    <a:pt x="609" y="519"/>
                  </a:lnTo>
                  <a:lnTo>
                    <a:pt x="610" y="519"/>
                  </a:lnTo>
                  <a:lnTo>
                    <a:pt x="612" y="519"/>
                  </a:lnTo>
                  <a:lnTo>
                    <a:pt x="614" y="519"/>
                  </a:lnTo>
                  <a:lnTo>
                    <a:pt x="614" y="518"/>
                  </a:lnTo>
                  <a:lnTo>
                    <a:pt x="612" y="516"/>
                  </a:lnTo>
                  <a:lnTo>
                    <a:pt x="612" y="518"/>
                  </a:lnTo>
                  <a:lnTo>
                    <a:pt x="614" y="518"/>
                  </a:lnTo>
                  <a:lnTo>
                    <a:pt x="615" y="519"/>
                  </a:lnTo>
                  <a:lnTo>
                    <a:pt x="617" y="519"/>
                  </a:lnTo>
                  <a:lnTo>
                    <a:pt x="617" y="521"/>
                  </a:lnTo>
                  <a:lnTo>
                    <a:pt x="618" y="521"/>
                  </a:lnTo>
                  <a:lnTo>
                    <a:pt x="618" y="523"/>
                  </a:lnTo>
                  <a:lnTo>
                    <a:pt x="620" y="523"/>
                  </a:lnTo>
                  <a:lnTo>
                    <a:pt x="620" y="524"/>
                  </a:lnTo>
                  <a:lnTo>
                    <a:pt x="622" y="526"/>
                  </a:lnTo>
                  <a:lnTo>
                    <a:pt x="622" y="527"/>
                  </a:lnTo>
                  <a:lnTo>
                    <a:pt x="623" y="527"/>
                  </a:lnTo>
                  <a:lnTo>
                    <a:pt x="623" y="529"/>
                  </a:lnTo>
                  <a:lnTo>
                    <a:pt x="625" y="531"/>
                  </a:lnTo>
                  <a:lnTo>
                    <a:pt x="627" y="531"/>
                  </a:lnTo>
                  <a:lnTo>
                    <a:pt x="627" y="532"/>
                  </a:lnTo>
                  <a:lnTo>
                    <a:pt x="625" y="532"/>
                  </a:lnTo>
                  <a:lnTo>
                    <a:pt x="627" y="532"/>
                  </a:lnTo>
                  <a:lnTo>
                    <a:pt x="625" y="534"/>
                  </a:lnTo>
                  <a:lnTo>
                    <a:pt x="627" y="534"/>
                  </a:lnTo>
                  <a:lnTo>
                    <a:pt x="628" y="536"/>
                  </a:lnTo>
                  <a:lnTo>
                    <a:pt x="628" y="537"/>
                  </a:lnTo>
                  <a:lnTo>
                    <a:pt x="630" y="539"/>
                  </a:lnTo>
                  <a:lnTo>
                    <a:pt x="630" y="540"/>
                  </a:lnTo>
                  <a:lnTo>
                    <a:pt x="631" y="540"/>
                  </a:lnTo>
                  <a:lnTo>
                    <a:pt x="630" y="540"/>
                  </a:lnTo>
                  <a:lnTo>
                    <a:pt x="631" y="542"/>
                  </a:lnTo>
                  <a:lnTo>
                    <a:pt x="630" y="542"/>
                  </a:lnTo>
                  <a:lnTo>
                    <a:pt x="628" y="542"/>
                  </a:lnTo>
                  <a:lnTo>
                    <a:pt x="627" y="542"/>
                  </a:lnTo>
                  <a:lnTo>
                    <a:pt x="627" y="544"/>
                  </a:lnTo>
                  <a:lnTo>
                    <a:pt x="628" y="544"/>
                  </a:lnTo>
                  <a:lnTo>
                    <a:pt x="628" y="545"/>
                  </a:lnTo>
                  <a:lnTo>
                    <a:pt x="628" y="547"/>
                  </a:lnTo>
                  <a:lnTo>
                    <a:pt x="628" y="549"/>
                  </a:lnTo>
                  <a:lnTo>
                    <a:pt x="627" y="549"/>
                  </a:lnTo>
                  <a:lnTo>
                    <a:pt x="627" y="550"/>
                  </a:lnTo>
                  <a:lnTo>
                    <a:pt x="628" y="550"/>
                  </a:lnTo>
                  <a:lnTo>
                    <a:pt x="630" y="552"/>
                  </a:lnTo>
                  <a:lnTo>
                    <a:pt x="630" y="553"/>
                  </a:lnTo>
                  <a:lnTo>
                    <a:pt x="628" y="553"/>
                  </a:lnTo>
                  <a:lnTo>
                    <a:pt x="627" y="553"/>
                  </a:lnTo>
                  <a:lnTo>
                    <a:pt x="627" y="555"/>
                  </a:lnTo>
                  <a:lnTo>
                    <a:pt x="627" y="553"/>
                  </a:lnTo>
                  <a:lnTo>
                    <a:pt x="625" y="553"/>
                  </a:lnTo>
                  <a:lnTo>
                    <a:pt x="623" y="553"/>
                  </a:lnTo>
                  <a:lnTo>
                    <a:pt x="625" y="555"/>
                  </a:lnTo>
                  <a:lnTo>
                    <a:pt x="625" y="557"/>
                  </a:lnTo>
                  <a:lnTo>
                    <a:pt x="627" y="557"/>
                  </a:lnTo>
                  <a:lnTo>
                    <a:pt x="627" y="558"/>
                  </a:lnTo>
                  <a:lnTo>
                    <a:pt x="627" y="557"/>
                  </a:lnTo>
                  <a:lnTo>
                    <a:pt x="627" y="558"/>
                  </a:lnTo>
                  <a:lnTo>
                    <a:pt x="627" y="560"/>
                  </a:lnTo>
                  <a:lnTo>
                    <a:pt x="625" y="560"/>
                  </a:lnTo>
                  <a:lnTo>
                    <a:pt x="625" y="562"/>
                  </a:lnTo>
                  <a:lnTo>
                    <a:pt x="625" y="560"/>
                  </a:lnTo>
                  <a:lnTo>
                    <a:pt x="623" y="562"/>
                  </a:lnTo>
                  <a:lnTo>
                    <a:pt x="622" y="560"/>
                  </a:lnTo>
                  <a:lnTo>
                    <a:pt x="620" y="560"/>
                  </a:lnTo>
                  <a:lnTo>
                    <a:pt x="622" y="560"/>
                  </a:lnTo>
                  <a:lnTo>
                    <a:pt x="622" y="562"/>
                  </a:lnTo>
                  <a:lnTo>
                    <a:pt x="623" y="562"/>
                  </a:lnTo>
                  <a:lnTo>
                    <a:pt x="623" y="563"/>
                  </a:lnTo>
                  <a:lnTo>
                    <a:pt x="622" y="563"/>
                  </a:lnTo>
                  <a:lnTo>
                    <a:pt x="623" y="563"/>
                  </a:lnTo>
                  <a:lnTo>
                    <a:pt x="623" y="565"/>
                  </a:lnTo>
                  <a:lnTo>
                    <a:pt x="622" y="563"/>
                  </a:lnTo>
                  <a:lnTo>
                    <a:pt x="622" y="565"/>
                  </a:lnTo>
                  <a:lnTo>
                    <a:pt x="623" y="565"/>
                  </a:lnTo>
                  <a:lnTo>
                    <a:pt x="622" y="565"/>
                  </a:lnTo>
                  <a:lnTo>
                    <a:pt x="623" y="565"/>
                  </a:lnTo>
                  <a:lnTo>
                    <a:pt x="622" y="565"/>
                  </a:lnTo>
                  <a:lnTo>
                    <a:pt x="620" y="565"/>
                  </a:lnTo>
                  <a:lnTo>
                    <a:pt x="622" y="565"/>
                  </a:lnTo>
                  <a:lnTo>
                    <a:pt x="620" y="565"/>
                  </a:lnTo>
                  <a:lnTo>
                    <a:pt x="622" y="565"/>
                  </a:lnTo>
                  <a:lnTo>
                    <a:pt x="622" y="566"/>
                  </a:lnTo>
                  <a:lnTo>
                    <a:pt x="620" y="565"/>
                  </a:lnTo>
                  <a:lnTo>
                    <a:pt x="620" y="566"/>
                  </a:lnTo>
                  <a:lnTo>
                    <a:pt x="622" y="566"/>
                  </a:lnTo>
                  <a:lnTo>
                    <a:pt x="620" y="566"/>
                  </a:lnTo>
                  <a:lnTo>
                    <a:pt x="622" y="566"/>
                  </a:lnTo>
                  <a:lnTo>
                    <a:pt x="620" y="568"/>
                  </a:lnTo>
                  <a:lnTo>
                    <a:pt x="622" y="568"/>
                  </a:lnTo>
                  <a:lnTo>
                    <a:pt x="623" y="568"/>
                  </a:lnTo>
                  <a:lnTo>
                    <a:pt x="623" y="570"/>
                  </a:lnTo>
                  <a:lnTo>
                    <a:pt x="622" y="570"/>
                  </a:lnTo>
                  <a:lnTo>
                    <a:pt x="620" y="570"/>
                  </a:lnTo>
                  <a:lnTo>
                    <a:pt x="618" y="570"/>
                  </a:lnTo>
                  <a:lnTo>
                    <a:pt x="620" y="570"/>
                  </a:lnTo>
                  <a:lnTo>
                    <a:pt x="618" y="570"/>
                  </a:lnTo>
                  <a:lnTo>
                    <a:pt x="618" y="571"/>
                  </a:lnTo>
                  <a:lnTo>
                    <a:pt x="617" y="571"/>
                  </a:lnTo>
                  <a:lnTo>
                    <a:pt x="617" y="570"/>
                  </a:lnTo>
                  <a:lnTo>
                    <a:pt x="617" y="571"/>
                  </a:lnTo>
                  <a:lnTo>
                    <a:pt x="615" y="571"/>
                  </a:lnTo>
                  <a:lnTo>
                    <a:pt x="615" y="573"/>
                  </a:lnTo>
                  <a:lnTo>
                    <a:pt x="615" y="571"/>
                  </a:lnTo>
                  <a:lnTo>
                    <a:pt x="615" y="573"/>
                  </a:lnTo>
                  <a:lnTo>
                    <a:pt x="614" y="573"/>
                  </a:lnTo>
                  <a:lnTo>
                    <a:pt x="615" y="573"/>
                  </a:lnTo>
                  <a:lnTo>
                    <a:pt x="614" y="573"/>
                  </a:lnTo>
                  <a:lnTo>
                    <a:pt x="614" y="575"/>
                  </a:lnTo>
                  <a:lnTo>
                    <a:pt x="615" y="575"/>
                  </a:lnTo>
                  <a:lnTo>
                    <a:pt x="615" y="576"/>
                  </a:lnTo>
                  <a:lnTo>
                    <a:pt x="617" y="576"/>
                  </a:lnTo>
                  <a:lnTo>
                    <a:pt x="615" y="576"/>
                  </a:lnTo>
                  <a:lnTo>
                    <a:pt x="615" y="578"/>
                  </a:lnTo>
                  <a:lnTo>
                    <a:pt x="615" y="579"/>
                  </a:lnTo>
                  <a:lnTo>
                    <a:pt x="617" y="579"/>
                  </a:lnTo>
                  <a:lnTo>
                    <a:pt x="615" y="581"/>
                  </a:lnTo>
                  <a:lnTo>
                    <a:pt x="615" y="579"/>
                  </a:lnTo>
                  <a:lnTo>
                    <a:pt x="614" y="579"/>
                  </a:lnTo>
                  <a:lnTo>
                    <a:pt x="614" y="581"/>
                  </a:lnTo>
                  <a:lnTo>
                    <a:pt x="615" y="581"/>
                  </a:lnTo>
                  <a:lnTo>
                    <a:pt x="615" y="583"/>
                  </a:lnTo>
                  <a:lnTo>
                    <a:pt x="614" y="583"/>
                  </a:lnTo>
                  <a:lnTo>
                    <a:pt x="615" y="584"/>
                  </a:lnTo>
                  <a:lnTo>
                    <a:pt x="614" y="584"/>
                  </a:lnTo>
                  <a:lnTo>
                    <a:pt x="614" y="586"/>
                  </a:lnTo>
                  <a:lnTo>
                    <a:pt x="614" y="584"/>
                  </a:lnTo>
                  <a:lnTo>
                    <a:pt x="612" y="584"/>
                  </a:lnTo>
                  <a:lnTo>
                    <a:pt x="612" y="586"/>
                  </a:lnTo>
                  <a:lnTo>
                    <a:pt x="612" y="588"/>
                  </a:lnTo>
                  <a:lnTo>
                    <a:pt x="614" y="588"/>
                  </a:lnTo>
                  <a:lnTo>
                    <a:pt x="614" y="589"/>
                  </a:lnTo>
                  <a:lnTo>
                    <a:pt x="614" y="588"/>
                  </a:lnTo>
                  <a:lnTo>
                    <a:pt x="614" y="589"/>
                  </a:lnTo>
                  <a:lnTo>
                    <a:pt x="612" y="589"/>
                  </a:lnTo>
                  <a:lnTo>
                    <a:pt x="612" y="591"/>
                  </a:lnTo>
                  <a:lnTo>
                    <a:pt x="614" y="593"/>
                  </a:lnTo>
                  <a:lnTo>
                    <a:pt x="612" y="593"/>
                  </a:lnTo>
                  <a:lnTo>
                    <a:pt x="612" y="591"/>
                  </a:lnTo>
                  <a:lnTo>
                    <a:pt x="612" y="593"/>
                  </a:lnTo>
                  <a:lnTo>
                    <a:pt x="610" y="591"/>
                  </a:lnTo>
                  <a:lnTo>
                    <a:pt x="609" y="591"/>
                  </a:lnTo>
                  <a:lnTo>
                    <a:pt x="607" y="591"/>
                  </a:lnTo>
                  <a:lnTo>
                    <a:pt x="607" y="589"/>
                  </a:lnTo>
                  <a:lnTo>
                    <a:pt x="607" y="588"/>
                  </a:lnTo>
                  <a:lnTo>
                    <a:pt x="607" y="589"/>
                  </a:lnTo>
                  <a:lnTo>
                    <a:pt x="605" y="589"/>
                  </a:lnTo>
                  <a:lnTo>
                    <a:pt x="605" y="588"/>
                  </a:lnTo>
                  <a:lnTo>
                    <a:pt x="607" y="588"/>
                  </a:lnTo>
                  <a:lnTo>
                    <a:pt x="605" y="588"/>
                  </a:lnTo>
                  <a:lnTo>
                    <a:pt x="605" y="586"/>
                  </a:lnTo>
                  <a:lnTo>
                    <a:pt x="604" y="586"/>
                  </a:lnTo>
                  <a:lnTo>
                    <a:pt x="604" y="588"/>
                  </a:lnTo>
                  <a:lnTo>
                    <a:pt x="604" y="589"/>
                  </a:lnTo>
                  <a:lnTo>
                    <a:pt x="602" y="589"/>
                  </a:lnTo>
                  <a:lnTo>
                    <a:pt x="604" y="589"/>
                  </a:lnTo>
                  <a:lnTo>
                    <a:pt x="604" y="591"/>
                  </a:lnTo>
                  <a:lnTo>
                    <a:pt x="605" y="591"/>
                  </a:lnTo>
                  <a:lnTo>
                    <a:pt x="605" y="593"/>
                  </a:lnTo>
                  <a:lnTo>
                    <a:pt x="607" y="591"/>
                  </a:lnTo>
                  <a:lnTo>
                    <a:pt x="607" y="593"/>
                  </a:lnTo>
                  <a:lnTo>
                    <a:pt x="609" y="593"/>
                  </a:lnTo>
                  <a:lnTo>
                    <a:pt x="609" y="594"/>
                  </a:lnTo>
                  <a:lnTo>
                    <a:pt x="609" y="593"/>
                  </a:lnTo>
                  <a:lnTo>
                    <a:pt x="610" y="594"/>
                  </a:lnTo>
                  <a:lnTo>
                    <a:pt x="610" y="596"/>
                  </a:lnTo>
                  <a:lnTo>
                    <a:pt x="612" y="596"/>
                  </a:lnTo>
                  <a:lnTo>
                    <a:pt x="610" y="596"/>
                  </a:lnTo>
                  <a:lnTo>
                    <a:pt x="609" y="596"/>
                  </a:lnTo>
                  <a:lnTo>
                    <a:pt x="610" y="596"/>
                  </a:lnTo>
                  <a:lnTo>
                    <a:pt x="609" y="596"/>
                  </a:lnTo>
                  <a:lnTo>
                    <a:pt x="609" y="597"/>
                  </a:lnTo>
                  <a:lnTo>
                    <a:pt x="609" y="596"/>
                  </a:lnTo>
                  <a:lnTo>
                    <a:pt x="610" y="597"/>
                  </a:lnTo>
                  <a:lnTo>
                    <a:pt x="612" y="597"/>
                  </a:lnTo>
                  <a:lnTo>
                    <a:pt x="614" y="597"/>
                  </a:lnTo>
                  <a:lnTo>
                    <a:pt x="615" y="597"/>
                  </a:lnTo>
                  <a:lnTo>
                    <a:pt x="617" y="596"/>
                  </a:lnTo>
                  <a:lnTo>
                    <a:pt x="618" y="596"/>
                  </a:lnTo>
                  <a:lnTo>
                    <a:pt x="620" y="596"/>
                  </a:lnTo>
                  <a:lnTo>
                    <a:pt x="620" y="597"/>
                  </a:lnTo>
                  <a:lnTo>
                    <a:pt x="622" y="597"/>
                  </a:lnTo>
                  <a:lnTo>
                    <a:pt x="623" y="599"/>
                  </a:lnTo>
                  <a:lnTo>
                    <a:pt x="623" y="601"/>
                  </a:lnTo>
                  <a:lnTo>
                    <a:pt x="622" y="601"/>
                  </a:lnTo>
                  <a:lnTo>
                    <a:pt x="620" y="601"/>
                  </a:lnTo>
                  <a:lnTo>
                    <a:pt x="620" y="602"/>
                  </a:lnTo>
                  <a:lnTo>
                    <a:pt x="618" y="601"/>
                  </a:lnTo>
                  <a:lnTo>
                    <a:pt x="618" y="602"/>
                  </a:lnTo>
                  <a:lnTo>
                    <a:pt x="620" y="604"/>
                  </a:lnTo>
                  <a:lnTo>
                    <a:pt x="620" y="606"/>
                  </a:lnTo>
                  <a:lnTo>
                    <a:pt x="622" y="606"/>
                  </a:lnTo>
                  <a:lnTo>
                    <a:pt x="622" y="607"/>
                  </a:lnTo>
                  <a:lnTo>
                    <a:pt x="623" y="607"/>
                  </a:lnTo>
                  <a:lnTo>
                    <a:pt x="623" y="609"/>
                  </a:lnTo>
                  <a:lnTo>
                    <a:pt x="623" y="607"/>
                  </a:lnTo>
                  <a:lnTo>
                    <a:pt x="623" y="609"/>
                  </a:lnTo>
                  <a:lnTo>
                    <a:pt x="625" y="609"/>
                  </a:lnTo>
                  <a:lnTo>
                    <a:pt x="623" y="609"/>
                  </a:lnTo>
                  <a:lnTo>
                    <a:pt x="625" y="609"/>
                  </a:lnTo>
                  <a:lnTo>
                    <a:pt x="625" y="610"/>
                  </a:lnTo>
                  <a:lnTo>
                    <a:pt x="623" y="609"/>
                  </a:lnTo>
                  <a:lnTo>
                    <a:pt x="622" y="609"/>
                  </a:lnTo>
                  <a:lnTo>
                    <a:pt x="622" y="610"/>
                  </a:lnTo>
                  <a:lnTo>
                    <a:pt x="623" y="610"/>
                  </a:lnTo>
                  <a:lnTo>
                    <a:pt x="625" y="610"/>
                  </a:lnTo>
                  <a:lnTo>
                    <a:pt x="625" y="612"/>
                  </a:lnTo>
                  <a:lnTo>
                    <a:pt x="623" y="612"/>
                  </a:lnTo>
                  <a:lnTo>
                    <a:pt x="622" y="612"/>
                  </a:lnTo>
                  <a:lnTo>
                    <a:pt x="622" y="610"/>
                  </a:lnTo>
                  <a:lnTo>
                    <a:pt x="620" y="610"/>
                  </a:lnTo>
                  <a:lnTo>
                    <a:pt x="620" y="609"/>
                  </a:lnTo>
                  <a:lnTo>
                    <a:pt x="622" y="610"/>
                  </a:lnTo>
                  <a:lnTo>
                    <a:pt x="622" y="609"/>
                  </a:lnTo>
                  <a:lnTo>
                    <a:pt x="620" y="609"/>
                  </a:lnTo>
                  <a:lnTo>
                    <a:pt x="620" y="610"/>
                  </a:lnTo>
                  <a:lnTo>
                    <a:pt x="618" y="609"/>
                  </a:lnTo>
                  <a:lnTo>
                    <a:pt x="617" y="609"/>
                  </a:lnTo>
                  <a:lnTo>
                    <a:pt x="617" y="607"/>
                  </a:lnTo>
                  <a:lnTo>
                    <a:pt x="615" y="607"/>
                  </a:lnTo>
                  <a:lnTo>
                    <a:pt x="614" y="607"/>
                  </a:lnTo>
                  <a:lnTo>
                    <a:pt x="612" y="607"/>
                  </a:lnTo>
                  <a:lnTo>
                    <a:pt x="612" y="606"/>
                  </a:lnTo>
                  <a:lnTo>
                    <a:pt x="610" y="606"/>
                  </a:lnTo>
                  <a:lnTo>
                    <a:pt x="612" y="607"/>
                  </a:lnTo>
                  <a:lnTo>
                    <a:pt x="614" y="607"/>
                  </a:lnTo>
                  <a:lnTo>
                    <a:pt x="615" y="607"/>
                  </a:lnTo>
                  <a:lnTo>
                    <a:pt x="615" y="609"/>
                  </a:lnTo>
                  <a:lnTo>
                    <a:pt x="617" y="609"/>
                  </a:lnTo>
                  <a:lnTo>
                    <a:pt x="615" y="609"/>
                  </a:lnTo>
                  <a:lnTo>
                    <a:pt x="617" y="609"/>
                  </a:lnTo>
                  <a:lnTo>
                    <a:pt x="615" y="609"/>
                  </a:lnTo>
                  <a:lnTo>
                    <a:pt x="615" y="610"/>
                  </a:lnTo>
                  <a:lnTo>
                    <a:pt x="617" y="610"/>
                  </a:lnTo>
                  <a:lnTo>
                    <a:pt x="617" y="609"/>
                  </a:lnTo>
                  <a:lnTo>
                    <a:pt x="618" y="609"/>
                  </a:lnTo>
                  <a:lnTo>
                    <a:pt x="618" y="610"/>
                  </a:lnTo>
                  <a:lnTo>
                    <a:pt x="620" y="612"/>
                  </a:lnTo>
                  <a:lnTo>
                    <a:pt x="618" y="612"/>
                  </a:lnTo>
                  <a:lnTo>
                    <a:pt x="620" y="612"/>
                  </a:lnTo>
                  <a:lnTo>
                    <a:pt x="618" y="612"/>
                  </a:lnTo>
                  <a:lnTo>
                    <a:pt x="617" y="612"/>
                  </a:lnTo>
                  <a:lnTo>
                    <a:pt x="615" y="612"/>
                  </a:lnTo>
                  <a:lnTo>
                    <a:pt x="615" y="610"/>
                  </a:lnTo>
                  <a:lnTo>
                    <a:pt x="614" y="610"/>
                  </a:lnTo>
                  <a:lnTo>
                    <a:pt x="614" y="609"/>
                  </a:lnTo>
                  <a:lnTo>
                    <a:pt x="614" y="610"/>
                  </a:lnTo>
                  <a:lnTo>
                    <a:pt x="612" y="610"/>
                  </a:lnTo>
                  <a:lnTo>
                    <a:pt x="614" y="610"/>
                  </a:lnTo>
                  <a:lnTo>
                    <a:pt x="614" y="612"/>
                  </a:lnTo>
                  <a:lnTo>
                    <a:pt x="617" y="612"/>
                  </a:lnTo>
                  <a:lnTo>
                    <a:pt x="618" y="612"/>
                  </a:lnTo>
                  <a:lnTo>
                    <a:pt x="618" y="614"/>
                  </a:lnTo>
                  <a:lnTo>
                    <a:pt x="620" y="614"/>
                  </a:lnTo>
                  <a:lnTo>
                    <a:pt x="622" y="614"/>
                  </a:lnTo>
                  <a:lnTo>
                    <a:pt x="622" y="615"/>
                  </a:lnTo>
                  <a:lnTo>
                    <a:pt x="622" y="617"/>
                  </a:lnTo>
                  <a:lnTo>
                    <a:pt x="623" y="617"/>
                  </a:lnTo>
                  <a:lnTo>
                    <a:pt x="623" y="619"/>
                  </a:lnTo>
                  <a:lnTo>
                    <a:pt x="622" y="619"/>
                  </a:lnTo>
                  <a:lnTo>
                    <a:pt x="623" y="619"/>
                  </a:lnTo>
                  <a:lnTo>
                    <a:pt x="622" y="619"/>
                  </a:lnTo>
                  <a:lnTo>
                    <a:pt x="623" y="619"/>
                  </a:lnTo>
                  <a:lnTo>
                    <a:pt x="623" y="620"/>
                  </a:lnTo>
                  <a:lnTo>
                    <a:pt x="625" y="620"/>
                  </a:lnTo>
                  <a:lnTo>
                    <a:pt x="627" y="620"/>
                  </a:lnTo>
                  <a:lnTo>
                    <a:pt x="627" y="622"/>
                  </a:lnTo>
                  <a:lnTo>
                    <a:pt x="628" y="622"/>
                  </a:lnTo>
                  <a:lnTo>
                    <a:pt x="628" y="623"/>
                  </a:lnTo>
                  <a:lnTo>
                    <a:pt x="630" y="623"/>
                  </a:lnTo>
                  <a:lnTo>
                    <a:pt x="631" y="623"/>
                  </a:lnTo>
                  <a:lnTo>
                    <a:pt x="630" y="623"/>
                  </a:lnTo>
                  <a:lnTo>
                    <a:pt x="630" y="622"/>
                  </a:lnTo>
                  <a:lnTo>
                    <a:pt x="630" y="623"/>
                  </a:lnTo>
                  <a:lnTo>
                    <a:pt x="630" y="622"/>
                  </a:lnTo>
                  <a:lnTo>
                    <a:pt x="630" y="620"/>
                  </a:lnTo>
                  <a:lnTo>
                    <a:pt x="630" y="622"/>
                  </a:lnTo>
                  <a:lnTo>
                    <a:pt x="628" y="622"/>
                  </a:lnTo>
                  <a:lnTo>
                    <a:pt x="628" y="620"/>
                  </a:lnTo>
                  <a:lnTo>
                    <a:pt x="630" y="620"/>
                  </a:lnTo>
                  <a:lnTo>
                    <a:pt x="630" y="622"/>
                  </a:lnTo>
                  <a:lnTo>
                    <a:pt x="630" y="620"/>
                  </a:lnTo>
                  <a:lnTo>
                    <a:pt x="631" y="620"/>
                  </a:lnTo>
                  <a:lnTo>
                    <a:pt x="630" y="620"/>
                  </a:lnTo>
                  <a:lnTo>
                    <a:pt x="631" y="619"/>
                  </a:lnTo>
                  <a:lnTo>
                    <a:pt x="631" y="620"/>
                  </a:lnTo>
                  <a:lnTo>
                    <a:pt x="633" y="620"/>
                  </a:lnTo>
                  <a:lnTo>
                    <a:pt x="631" y="620"/>
                  </a:lnTo>
                  <a:lnTo>
                    <a:pt x="633" y="622"/>
                  </a:lnTo>
                  <a:lnTo>
                    <a:pt x="635" y="623"/>
                  </a:lnTo>
                  <a:lnTo>
                    <a:pt x="636" y="625"/>
                  </a:lnTo>
                  <a:lnTo>
                    <a:pt x="636" y="623"/>
                  </a:lnTo>
                  <a:lnTo>
                    <a:pt x="636" y="622"/>
                  </a:lnTo>
                  <a:lnTo>
                    <a:pt x="638" y="622"/>
                  </a:lnTo>
                  <a:lnTo>
                    <a:pt x="640" y="623"/>
                  </a:lnTo>
                  <a:lnTo>
                    <a:pt x="638" y="623"/>
                  </a:lnTo>
                  <a:lnTo>
                    <a:pt x="640" y="623"/>
                  </a:lnTo>
                  <a:lnTo>
                    <a:pt x="640" y="625"/>
                  </a:lnTo>
                  <a:lnTo>
                    <a:pt x="638" y="625"/>
                  </a:lnTo>
                  <a:lnTo>
                    <a:pt x="640" y="627"/>
                  </a:lnTo>
                  <a:lnTo>
                    <a:pt x="640" y="628"/>
                  </a:lnTo>
                  <a:lnTo>
                    <a:pt x="641" y="628"/>
                  </a:lnTo>
                  <a:lnTo>
                    <a:pt x="641" y="627"/>
                  </a:lnTo>
                  <a:lnTo>
                    <a:pt x="643" y="628"/>
                  </a:lnTo>
                  <a:lnTo>
                    <a:pt x="643" y="627"/>
                  </a:lnTo>
                  <a:lnTo>
                    <a:pt x="644" y="628"/>
                  </a:lnTo>
                  <a:lnTo>
                    <a:pt x="644" y="630"/>
                  </a:lnTo>
                  <a:lnTo>
                    <a:pt x="643" y="630"/>
                  </a:lnTo>
                  <a:lnTo>
                    <a:pt x="643" y="628"/>
                  </a:lnTo>
                  <a:lnTo>
                    <a:pt x="643" y="630"/>
                  </a:lnTo>
                  <a:lnTo>
                    <a:pt x="643" y="632"/>
                  </a:lnTo>
                  <a:lnTo>
                    <a:pt x="641" y="632"/>
                  </a:lnTo>
                  <a:lnTo>
                    <a:pt x="641" y="630"/>
                  </a:lnTo>
                  <a:lnTo>
                    <a:pt x="640" y="630"/>
                  </a:lnTo>
                  <a:lnTo>
                    <a:pt x="640" y="632"/>
                  </a:lnTo>
                  <a:lnTo>
                    <a:pt x="640" y="630"/>
                  </a:lnTo>
                  <a:lnTo>
                    <a:pt x="640" y="628"/>
                  </a:lnTo>
                  <a:lnTo>
                    <a:pt x="638" y="627"/>
                  </a:lnTo>
                  <a:lnTo>
                    <a:pt x="638" y="628"/>
                  </a:lnTo>
                  <a:lnTo>
                    <a:pt x="638" y="627"/>
                  </a:lnTo>
                  <a:lnTo>
                    <a:pt x="638" y="628"/>
                  </a:lnTo>
                  <a:lnTo>
                    <a:pt x="636" y="627"/>
                  </a:lnTo>
                  <a:lnTo>
                    <a:pt x="636" y="628"/>
                  </a:lnTo>
                  <a:lnTo>
                    <a:pt x="638" y="628"/>
                  </a:lnTo>
                  <a:lnTo>
                    <a:pt x="636" y="628"/>
                  </a:lnTo>
                  <a:lnTo>
                    <a:pt x="636" y="630"/>
                  </a:lnTo>
                  <a:lnTo>
                    <a:pt x="636" y="628"/>
                  </a:lnTo>
                  <a:lnTo>
                    <a:pt x="636" y="630"/>
                  </a:lnTo>
                  <a:lnTo>
                    <a:pt x="635" y="630"/>
                  </a:lnTo>
                  <a:lnTo>
                    <a:pt x="636" y="632"/>
                  </a:lnTo>
                  <a:lnTo>
                    <a:pt x="636" y="633"/>
                  </a:lnTo>
                  <a:lnTo>
                    <a:pt x="636" y="632"/>
                  </a:lnTo>
                  <a:lnTo>
                    <a:pt x="638" y="632"/>
                  </a:lnTo>
                  <a:lnTo>
                    <a:pt x="636" y="632"/>
                  </a:lnTo>
                  <a:lnTo>
                    <a:pt x="638" y="632"/>
                  </a:lnTo>
                  <a:lnTo>
                    <a:pt x="638" y="630"/>
                  </a:lnTo>
                  <a:lnTo>
                    <a:pt x="638" y="632"/>
                  </a:lnTo>
                  <a:lnTo>
                    <a:pt x="640" y="632"/>
                  </a:lnTo>
                  <a:lnTo>
                    <a:pt x="640" y="633"/>
                  </a:lnTo>
                  <a:lnTo>
                    <a:pt x="641" y="633"/>
                  </a:lnTo>
                  <a:lnTo>
                    <a:pt x="640" y="635"/>
                  </a:lnTo>
                  <a:lnTo>
                    <a:pt x="641" y="635"/>
                  </a:lnTo>
                  <a:lnTo>
                    <a:pt x="641" y="636"/>
                  </a:lnTo>
                  <a:lnTo>
                    <a:pt x="641" y="638"/>
                  </a:lnTo>
                  <a:lnTo>
                    <a:pt x="641" y="640"/>
                  </a:lnTo>
                  <a:lnTo>
                    <a:pt x="643" y="640"/>
                  </a:lnTo>
                  <a:lnTo>
                    <a:pt x="643" y="641"/>
                  </a:lnTo>
                  <a:lnTo>
                    <a:pt x="643" y="640"/>
                  </a:lnTo>
                  <a:lnTo>
                    <a:pt x="643" y="641"/>
                  </a:lnTo>
                  <a:lnTo>
                    <a:pt x="643" y="640"/>
                  </a:lnTo>
                  <a:lnTo>
                    <a:pt x="644" y="640"/>
                  </a:lnTo>
                  <a:lnTo>
                    <a:pt x="643" y="640"/>
                  </a:lnTo>
                  <a:lnTo>
                    <a:pt x="644" y="638"/>
                  </a:lnTo>
                  <a:lnTo>
                    <a:pt x="643" y="638"/>
                  </a:lnTo>
                  <a:lnTo>
                    <a:pt x="644" y="638"/>
                  </a:lnTo>
                  <a:lnTo>
                    <a:pt x="643" y="636"/>
                  </a:lnTo>
                  <a:lnTo>
                    <a:pt x="644" y="636"/>
                  </a:lnTo>
                  <a:lnTo>
                    <a:pt x="646" y="636"/>
                  </a:lnTo>
                  <a:lnTo>
                    <a:pt x="646" y="638"/>
                  </a:lnTo>
                  <a:lnTo>
                    <a:pt x="648" y="638"/>
                  </a:lnTo>
                  <a:lnTo>
                    <a:pt x="648" y="636"/>
                  </a:lnTo>
                  <a:lnTo>
                    <a:pt x="646" y="635"/>
                  </a:lnTo>
                  <a:lnTo>
                    <a:pt x="648" y="635"/>
                  </a:lnTo>
                  <a:lnTo>
                    <a:pt x="648" y="636"/>
                  </a:lnTo>
                  <a:lnTo>
                    <a:pt x="649" y="638"/>
                  </a:lnTo>
                  <a:lnTo>
                    <a:pt x="651" y="640"/>
                  </a:lnTo>
                  <a:lnTo>
                    <a:pt x="649" y="640"/>
                  </a:lnTo>
                  <a:lnTo>
                    <a:pt x="651" y="641"/>
                  </a:lnTo>
                  <a:lnTo>
                    <a:pt x="649" y="641"/>
                  </a:lnTo>
                  <a:lnTo>
                    <a:pt x="648" y="641"/>
                  </a:lnTo>
                  <a:lnTo>
                    <a:pt x="649" y="641"/>
                  </a:lnTo>
                  <a:lnTo>
                    <a:pt x="648" y="641"/>
                  </a:lnTo>
                  <a:lnTo>
                    <a:pt x="648" y="643"/>
                  </a:lnTo>
                  <a:lnTo>
                    <a:pt x="648" y="641"/>
                  </a:lnTo>
                  <a:lnTo>
                    <a:pt x="648" y="643"/>
                  </a:lnTo>
                  <a:lnTo>
                    <a:pt x="648" y="645"/>
                  </a:lnTo>
                  <a:lnTo>
                    <a:pt x="646" y="645"/>
                  </a:lnTo>
                  <a:lnTo>
                    <a:pt x="646" y="643"/>
                  </a:lnTo>
                  <a:lnTo>
                    <a:pt x="646" y="645"/>
                  </a:lnTo>
                  <a:lnTo>
                    <a:pt x="646" y="646"/>
                  </a:lnTo>
                  <a:lnTo>
                    <a:pt x="644" y="645"/>
                  </a:lnTo>
                  <a:lnTo>
                    <a:pt x="644" y="646"/>
                  </a:lnTo>
                  <a:lnTo>
                    <a:pt x="644" y="648"/>
                  </a:lnTo>
                  <a:lnTo>
                    <a:pt x="644" y="646"/>
                  </a:lnTo>
                  <a:lnTo>
                    <a:pt x="644" y="648"/>
                  </a:lnTo>
                  <a:lnTo>
                    <a:pt x="644" y="649"/>
                  </a:lnTo>
                  <a:lnTo>
                    <a:pt x="643" y="649"/>
                  </a:lnTo>
                  <a:lnTo>
                    <a:pt x="643" y="651"/>
                  </a:lnTo>
                  <a:lnTo>
                    <a:pt x="643" y="653"/>
                  </a:lnTo>
                  <a:lnTo>
                    <a:pt x="643" y="654"/>
                  </a:lnTo>
                  <a:lnTo>
                    <a:pt x="641" y="654"/>
                  </a:lnTo>
                  <a:lnTo>
                    <a:pt x="640" y="654"/>
                  </a:lnTo>
                  <a:lnTo>
                    <a:pt x="641" y="654"/>
                  </a:lnTo>
                  <a:lnTo>
                    <a:pt x="640" y="656"/>
                  </a:lnTo>
                  <a:lnTo>
                    <a:pt x="641" y="658"/>
                  </a:lnTo>
                  <a:lnTo>
                    <a:pt x="640" y="658"/>
                  </a:lnTo>
                  <a:lnTo>
                    <a:pt x="641" y="658"/>
                  </a:lnTo>
                  <a:lnTo>
                    <a:pt x="640" y="658"/>
                  </a:lnTo>
                  <a:lnTo>
                    <a:pt x="641" y="658"/>
                  </a:lnTo>
                  <a:lnTo>
                    <a:pt x="641" y="659"/>
                  </a:lnTo>
                  <a:lnTo>
                    <a:pt x="641" y="658"/>
                  </a:lnTo>
                  <a:lnTo>
                    <a:pt x="641" y="659"/>
                  </a:lnTo>
                  <a:lnTo>
                    <a:pt x="640" y="659"/>
                  </a:lnTo>
                  <a:lnTo>
                    <a:pt x="640" y="658"/>
                  </a:lnTo>
                  <a:lnTo>
                    <a:pt x="640" y="659"/>
                  </a:lnTo>
                  <a:lnTo>
                    <a:pt x="638" y="659"/>
                  </a:lnTo>
                  <a:lnTo>
                    <a:pt x="636" y="661"/>
                  </a:lnTo>
                  <a:lnTo>
                    <a:pt x="638" y="662"/>
                  </a:lnTo>
                  <a:lnTo>
                    <a:pt x="636" y="662"/>
                  </a:lnTo>
                  <a:lnTo>
                    <a:pt x="638" y="664"/>
                  </a:lnTo>
                  <a:lnTo>
                    <a:pt x="636" y="664"/>
                  </a:lnTo>
                  <a:lnTo>
                    <a:pt x="636" y="662"/>
                  </a:lnTo>
                  <a:lnTo>
                    <a:pt x="635" y="662"/>
                  </a:lnTo>
                  <a:lnTo>
                    <a:pt x="635" y="664"/>
                  </a:lnTo>
                  <a:lnTo>
                    <a:pt x="635" y="662"/>
                  </a:lnTo>
                  <a:lnTo>
                    <a:pt x="635" y="664"/>
                  </a:lnTo>
                  <a:lnTo>
                    <a:pt x="633" y="664"/>
                  </a:lnTo>
                  <a:lnTo>
                    <a:pt x="635" y="666"/>
                  </a:lnTo>
                  <a:lnTo>
                    <a:pt x="633" y="666"/>
                  </a:lnTo>
                  <a:lnTo>
                    <a:pt x="633" y="664"/>
                  </a:lnTo>
                  <a:lnTo>
                    <a:pt x="631" y="664"/>
                  </a:lnTo>
                  <a:lnTo>
                    <a:pt x="631" y="662"/>
                  </a:lnTo>
                  <a:lnTo>
                    <a:pt x="631" y="661"/>
                  </a:lnTo>
                  <a:lnTo>
                    <a:pt x="631" y="662"/>
                  </a:lnTo>
                  <a:lnTo>
                    <a:pt x="631" y="664"/>
                  </a:lnTo>
                  <a:lnTo>
                    <a:pt x="631" y="666"/>
                  </a:lnTo>
                  <a:lnTo>
                    <a:pt x="630" y="666"/>
                  </a:lnTo>
                  <a:lnTo>
                    <a:pt x="630" y="667"/>
                  </a:lnTo>
                  <a:lnTo>
                    <a:pt x="630" y="669"/>
                  </a:lnTo>
                  <a:lnTo>
                    <a:pt x="630" y="671"/>
                  </a:lnTo>
                  <a:lnTo>
                    <a:pt x="628" y="671"/>
                  </a:lnTo>
                  <a:lnTo>
                    <a:pt x="628" y="672"/>
                  </a:lnTo>
                  <a:lnTo>
                    <a:pt x="628" y="674"/>
                  </a:lnTo>
                  <a:lnTo>
                    <a:pt x="628" y="675"/>
                  </a:lnTo>
                  <a:lnTo>
                    <a:pt x="627" y="675"/>
                  </a:lnTo>
                  <a:lnTo>
                    <a:pt x="627" y="677"/>
                  </a:lnTo>
                  <a:lnTo>
                    <a:pt x="627" y="679"/>
                  </a:lnTo>
                  <a:lnTo>
                    <a:pt x="625" y="679"/>
                  </a:lnTo>
                  <a:lnTo>
                    <a:pt x="625" y="677"/>
                  </a:lnTo>
                  <a:lnTo>
                    <a:pt x="625" y="679"/>
                  </a:lnTo>
                  <a:lnTo>
                    <a:pt x="623" y="679"/>
                  </a:lnTo>
                  <a:lnTo>
                    <a:pt x="623" y="677"/>
                  </a:lnTo>
                  <a:lnTo>
                    <a:pt x="623" y="675"/>
                  </a:lnTo>
                  <a:lnTo>
                    <a:pt x="622" y="675"/>
                  </a:lnTo>
                  <a:lnTo>
                    <a:pt x="623" y="677"/>
                  </a:lnTo>
                  <a:lnTo>
                    <a:pt x="623" y="679"/>
                  </a:lnTo>
                  <a:lnTo>
                    <a:pt x="623" y="680"/>
                  </a:lnTo>
                  <a:lnTo>
                    <a:pt x="622" y="680"/>
                  </a:lnTo>
                  <a:lnTo>
                    <a:pt x="622" y="682"/>
                  </a:lnTo>
                  <a:lnTo>
                    <a:pt x="622" y="684"/>
                  </a:lnTo>
                  <a:lnTo>
                    <a:pt x="620" y="684"/>
                  </a:lnTo>
                  <a:lnTo>
                    <a:pt x="622" y="685"/>
                  </a:lnTo>
                  <a:lnTo>
                    <a:pt x="620" y="685"/>
                  </a:lnTo>
                  <a:lnTo>
                    <a:pt x="620" y="687"/>
                  </a:lnTo>
                  <a:lnTo>
                    <a:pt x="620" y="685"/>
                  </a:lnTo>
                  <a:lnTo>
                    <a:pt x="620" y="687"/>
                  </a:lnTo>
                  <a:lnTo>
                    <a:pt x="618" y="687"/>
                  </a:lnTo>
                  <a:lnTo>
                    <a:pt x="620" y="687"/>
                  </a:lnTo>
                  <a:lnTo>
                    <a:pt x="618" y="687"/>
                  </a:lnTo>
                  <a:lnTo>
                    <a:pt x="618" y="685"/>
                  </a:lnTo>
                  <a:lnTo>
                    <a:pt x="617" y="685"/>
                  </a:lnTo>
                  <a:lnTo>
                    <a:pt x="617" y="687"/>
                  </a:lnTo>
                  <a:lnTo>
                    <a:pt x="618" y="687"/>
                  </a:lnTo>
                  <a:lnTo>
                    <a:pt x="617" y="687"/>
                  </a:lnTo>
                  <a:lnTo>
                    <a:pt x="618" y="687"/>
                  </a:lnTo>
                  <a:lnTo>
                    <a:pt x="618" y="688"/>
                  </a:lnTo>
                  <a:lnTo>
                    <a:pt x="617" y="688"/>
                  </a:lnTo>
                  <a:lnTo>
                    <a:pt x="618" y="688"/>
                  </a:lnTo>
                  <a:lnTo>
                    <a:pt x="617" y="690"/>
                  </a:lnTo>
                  <a:lnTo>
                    <a:pt x="617" y="688"/>
                  </a:lnTo>
                  <a:lnTo>
                    <a:pt x="617" y="690"/>
                  </a:lnTo>
                  <a:lnTo>
                    <a:pt x="617" y="692"/>
                  </a:lnTo>
                  <a:lnTo>
                    <a:pt x="618" y="692"/>
                  </a:lnTo>
                  <a:lnTo>
                    <a:pt x="618" y="693"/>
                  </a:lnTo>
                  <a:lnTo>
                    <a:pt x="618" y="695"/>
                  </a:lnTo>
                  <a:lnTo>
                    <a:pt x="618" y="697"/>
                  </a:lnTo>
                  <a:lnTo>
                    <a:pt x="618" y="698"/>
                  </a:lnTo>
                  <a:lnTo>
                    <a:pt x="618" y="697"/>
                  </a:lnTo>
                  <a:lnTo>
                    <a:pt x="618" y="698"/>
                  </a:lnTo>
                  <a:lnTo>
                    <a:pt x="618" y="697"/>
                  </a:lnTo>
                  <a:lnTo>
                    <a:pt x="617" y="697"/>
                  </a:lnTo>
                  <a:lnTo>
                    <a:pt x="617" y="700"/>
                  </a:lnTo>
                  <a:lnTo>
                    <a:pt x="618" y="700"/>
                  </a:lnTo>
                  <a:lnTo>
                    <a:pt x="618" y="701"/>
                  </a:lnTo>
                  <a:lnTo>
                    <a:pt x="617" y="701"/>
                  </a:lnTo>
                  <a:lnTo>
                    <a:pt x="618" y="701"/>
                  </a:lnTo>
                  <a:lnTo>
                    <a:pt x="617" y="701"/>
                  </a:lnTo>
                  <a:lnTo>
                    <a:pt x="617" y="703"/>
                  </a:lnTo>
                  <a:lnTo>
                    <a:pt x="615" y="703"/>
                  </a:lnTo>
                  <a:lnTo>
                    <a:pt x="614" y="703"/>
                  </a:lnTo>
                  <a:lnTo>
                    <a:pt x="615" y="703"/>
                  </a:lnTo>
                  <a:lnTo>
                    <a:pt x="617" y="703"/>
                  </a:lnTo>
                  <a:lnTo>
                    <a:pt x="617" y="705"/>
                  </a:lnTo>
                  <a:lnTo>
                    <a:pt x="615" y="705"/>
                  </a:lnTo>
                  <a:lnTo>
                    <a:pt x="617" y="705"/>
                  </a:lnTo>
                  <a:lnTo>
                    <a:pt x="617" y="706"/>
                  </a:lnTo>
                  <a:lnTo>
                    <a:pt x="618" y="706"/>
                  </a:lnTo>
                  <a:lnTo>
                    <a:pt x="617" y="708"/>
                  </a:lnTo>
                  <a:lnTo>
                    <a:pt x="618" y="708"/>
                  </a:lnTo>
                  <a:lnTo>
                    <a:pt x="617" y="708"/>
                  </a:lnTo>
                  <a:lnTo>
                    <a:pt x="617" y="710"/>
                  </a:lnTo>
                  <a:lnTo>
                    <a:pt x="617" y="711"/>
                  </a:lnTo>
                  <a:lnTo>
                    <a:pt x="617" y="713"/>
                  </a:lnTo>
                  <a:lnTo>
                    <a:pt x="615" y="713"/>
                  </a:lnTo>
                  <a:lnTo>
                    <a:pt x="615" y="714"/>
                  </a:lnTo>
                  <a:lnTo>
                    <a:pt x="614" y="714"/>
                  </a:lnTo>
                  <a:lnTo>
                    <a:pt x="615" y="714"/>
                  </a:lnTo>
                  <a:lnTo>
                    <a:pt x="615" y="716"/>
                  </a:lnTo>
                  <a:lnTo>
                    <a:pt x="615" y="718"/>
                  </a:lnTo>
                  <a:lnTo>
                    <a:pt x="614" y="716"/>
                  </a:lnTo>
                  <a:lnTo>
                    <a:pt x="614" y="718"/>
                  </a:lnTo>
                  <a:lnTo>
                    <a:pt x="614" y="719"/>
                  </a:lnTo>
                  <a:lnTo>
                    <a:pt x="614" y="718"/>
                  </a:lnTo>
                  <a:lnTo>
                    <a:pt x="612" y="718"/>
                  </a:lnTo>
                  <a:lnTo>
                    <a:pt x="612" y="719"/>
                  </a:lnTo>
                  <a:lnTo>
                    <a:pt x="612" y="718"/>
                  </a:lnTo>
                  <a:lnTo>
                    <a:pt x="612" y="719"/>
                  </a:lnTo>
                  <a:lnTo>
                    <a:pt x="612" y="721"/>
                  </a:lnTo>
                  <a:lnTo>
                    <a:pt x="612" y="723"/>
                  </a:lnTo>
                  <a:lnTo>
                    <a:pt x="614" y="723"/>
                  </a:lnTo>
                  <a:lnTo>
                    <a:pt x="614" y="724"/>
                  </a:lnTo>
                  <a:lnTo>
                    <a:pt x="612" y="724"/>
                  </a:lnTo>
                  <a:lnTo>
                    <a:pt x="612" y="726"/>
                  </a:lnTo>
                  <a:lnTo>
                    <a:pt x="612" y="728"/>
                  </a:lnTo>
                  <a:lnTo>
                    <a:pt x="612" y="729"/>
                  </a:lnTo>
                  <a:lnTo>
                    <a:pt x="612" y="731"/>
                  </a:lnTo>
                  <a:lnTo>
                    <a:pt x="610" y="729"/>
                  </a:lnTo>
                  <a:lnTo>
                    <a:pt x="610" y="731"/>
                  </a:lnTo>
                  <a:lnTo>
                    <a:pt x="610" y="729"/>
                  </a:lnTo>
                  <a:lnTo>
                    <a:pt x="610" y="731"/>
                  </a:lnTo>
                  <a:lnTo>
                    <a:pt x="610" y="732"/>
                  </a:lnTo>
                  <a:lnTo>
                    <a:pt x="610" y="731"/>
                  </a:lnTo>
                  <a:lnTo>
                    <a:pt x="609" y="731"/>
                  </a:lnTo>
                  <a:lnTo>
                    <a:pt x="609" y="732"/>
                  </a:lnTo>
                  <a:lnTo>
                    <a:pt x="610" y="732"/>
                  </a:lnTo>
                  <a:lnTo>
                    <a:pt x="610" y="734"/>
                  </a:lnTo>
                  <a:lnTo>
                    <a:pt x="609" y="736"/>
                  </a:lnTo>
                  <a:lnTo>
                    <a:pt x="609" y="734"/>
                  </a:lnTo>
                  <a:lnTo>
                    <a:pt x="609" y="732"/>
                  </a:lnTo>
                  <a:lnTo>
                    <a:pt x="607" y="732"/>
                  </a:lnTo>
                  <a:lnTo>
                    <a:pt x="605" y="732"/>
                  </a:lnTo>
                  <a:lnTo>
                    <a:pt x="605" y="734"/>
                  </a:lnTo>
                  <a:lnTo>
                    <a:pt x="605" y="736"/>
                  </a:lnTo>
                  <a:lnTo>
                    <a:pt x="607" y="736"/>
                  </a:lnTo>
                  <a:lnTo>
                    <a:pt x="607" y="737"/>
                  </a:lnTo>
                  <a:lnTo>
                    <a:pt x="607" y="736"/>
                  </a:lnTo>
                  <a:lnTo>
                    <a:pt x="607" y="734"/>
                  </a:lnTo>
                  <a:lnTo>
                    <a:pt x="607" y="736"/>
                  </a:lnTo>
                  <a:lnTo>
                    <a:pt x="609" y="736"/>
                  </a:lnTo>
                  <a:lnTo>
                    <a:pt x="609" y="737"/>
                  </a:lnTo>
                  <a:lnTo>
                    <a:pt x="607" y="737"/>
                  </a:lnTo>
                  <a:lnTo>
                    <a:pt x="609" y="737"/>
                  </a:lnTo>
                  <a:lnTo>
                    <a:pt x="607" y="737"/>
                  </a:lnTo>
                  <a:lnTo>
                    <a:pt x="607" y="739"/>
                  </a:lnTo>
                  <a:lnTo>
                    <a:pt x="607" y="741"/>
                  </a:lnTo>
                  <a:lnTo>
                    <a:pt x="607" y="742"/>
                  </a:lnTo>
                  <a:lnTo>
                    <a:pt x="607" y="741"/>
                  </a:lnTo>
                  <a:lnTo>
                    <a:pt x="605" y="741"/>
                  </a:lnTo>
                  <a:lnTo>
                    <a:pt x="605" y="739"/>
                  </a:lnTo>
                  <a:lnTo>
                    <a:pt x="604" y="739"/>
                  </a:lnTo>
                  <a:lnTo>
                    <a:pt x="604" y="741"/>
                  </a:lnTo>
                  <a:lnTo>
                    <a:pt x="604" y="739"/>
                  </a:lnTo>
                  <a:lnTo>
                    <a:pt x="604" y="737"/>
                  </a:lnTo>
                  <a:lnTo>
                    <a:pt x="604" y="739"/>
                  </a:lnTo>
                  <a:lnTo>
                    <a:pt x="602" y="739"/>
                  </a:lnTo>
                  <a:lnTo>
                    <a:pt x="602" y="737"/>
                  </a:lnTo>
                  <a:lnTo>
                    <a:pt x="602" y="739"/>
                  </a:lnTo>
                  <a:lnTo>
                    <a:pt x="602" y="741"/>
                  </a:lnTo>
                  <a:lnTo>
                    <a:pt x="602" y="739"/>
                  </a:lnTo>
                  <a:lnTo>
                    <a:pt x="602" y="741"/>
                  </a:lnTo>
                  <a:lnTo>
                    <a:pt x="602" y="742"/>
                  </a:lnTo>
                  <a:lnTo>
                    <a:pt x="602" y="744"/>
                  </a:lnTo>
                  <a:lnTo>
                    <a:pt x="602" y="742"/>
                  </a:lnTo>
                  <a:lnTo>
                    <a:pt x="601" y="744"/>
                  </a:lnTo>
                  <a:lnTo>
                    <a:pt x="601" y="745"/>
                  </a:lnTo>
                  <a:lnTo>
                    <a:pt x="601" y="744"/>
                  </a:lnTo>
                  <a:lnTo>
                    <a:pt x="601" y="742"/>
                  </a:lnTo>
                  <a:lnTo>
                    <a:pt x="601" y="741"/>
                  </a:lnTo>
                  <a:lnTo>
                    <a:pt x="601" y="742"/>
                  </a:lnTo>
                  <a:lnTo>
                    <a:pt x="601" y="744"/>
                  </a:lnTo>
                  <a:lnTo>
                    <a:pt x="601" y="745"/>
                  </a:lnTo>
                  <a:lnTo>
                    <a:pt x="601" y="747"/>
                  </a:lnTo>
                  <a:lnTo>
                    <a:pt x="602" y="745"/>
                  </a:lnTo>
                  <a:lnTo>
                    <a:pt x="602" y="747"/>
                  </a:lnTo>
                  <a:lnTo>
                    <a:pt x="602" y="749"/>
                  </a:lnTo>
                  <a:lnTo>
                    <a:pt x="602" y="750"/>
                  </a:lnTo>
                  <a:lnTo>
                    <a:pt x="604" y="752"/>
                  </a:lnTo>
                  <a:lnTo>
                    <a:pt x="602" y="752"/>
                  </a:lnTo>
                  <a:lnTo>
                    <a:pt x="602" y="750"/>
                  </a:lnTo>
                  <a:lnTo>
                    <a:pt x="602" y="752"/>
                  </a:lnTo>
                  <a:lnTo>
                    <a:pt x="602" y="750"/>
                  </a:lnTo>
                  <a:lnTo>
                    <a:pt x="602" y="752"/>
                  </a:lnTo>
                  <a:lnTo>
                    <a:pt x="601" y="750"/>
                  </a:lnTo>
                  <a:lnTo>
                    <a:pt x="602" y="750"/>
                  </a:lnTo>
                  <a:lnTo>
                    <a:pt x="601" y="750"/>
                  </a:lnTo>
                  <a:lnTo>
                    <a:pt x="599" y="749"/>
                  </a:lnTo>
                  <a:lnTo>
                    <a:pt x="599" y="747"/>
                  </a:lnTo>
                  <a:lnTo>
                    <a:pt x="599" y="745"/>
                  </a:lnTo>
                  <a:lnTo>
                    <a:pt x="597" y="745"/>
                  </a:lnTo>
                  <a:lnTo>
                    <a:pt x="597" y="744"/>
                  </a:lnTo>
                  <a:lnTo>
                    <a:pt x="599" y="744"/>
                  </a:lnTo>
                  <a:lnTo>
                    <a:pt x="599" y="742"/>
                  </a:lnTo>
                  <a:lnTo>
                    <a:pt x="597" y="742"/>
                  </a:lnTo>
                  <a:lnTo>
                    <a:pt x="599" y="741"/>
                  </a:lnTo>
                  <a:lnTo>
                    <a:pt x="597" y="739"/>
                  </a:lnTo>
                  <a:lnTo>
                    <a:pt x="596" y="737"/>
                  </a:lnTo>
                  <a:lnTo>
                    <a:pt x="596" y="736"/>
                  </a:lnTo>
                  <a:lnTo>
                    <a:pt x="596" y="737"/>
                  </a:lnTo>
                  <a:lnTo>
                    <a:pt x="596" y="739"/>
                  </a:lnTo>
                  <a:lnTo>
                    <a:pt x="596" y="741"/>
                  </a:lnTo>
                  <a:lnTo>
                    <a:pt x="596" y="742"/>
                  </a:lnTo>
                  <a:lnTo>
                    <a:pt x="596" y="744"/>
                  </a:lnTo>
                  <a:lnTo>
                    <a:pt x="596" y="745"/>
                  </a:lnTo>
                  <a:lnTo>
                    <a:pt x="596" y="744"/>
                  </a:lnTo>
                  <a:lnTo>
                    <a:pt x="596" y="745"/>
                  </a:lnTo>
                  <a:lnTo>
                    <a:pt x="594" y="745"/>
                  </a:lnTo>
                  <a:lnTo>
                    <a:pt x="594" y="747"/>
                  </a:lnTo>
                  <a:lnTo>
                    <a:pt x="594" y="749"/>
                  </a:lnTo>
                  <a:lnTo>
                    <a:pt x="594" y="747"/>
                  </a:lnTo>
                  <a:lnTo>
                    <a:pt x="594" y="749"/>
                  </a:lnTo>
                  <a:lnTo>
                    <a:pt x="594" y="750"/>
                  </a:lnTo>
                  <a:lnTo>
                    <a:pt x="594" y="749"/>
                  </a:lnTo>
                  <a:lnTo>
                    <a:pt x="594" y="750"/>
                  </a:lnTo>
                  <a:lnTo>
                    <a:pt x="594" y="752"/>
                  </a:lnTo>
                  <a:lnTo>
                    <a:pt x="594" y="754"/>
                  </a:lnTo>
                  <a:lnTo>
                    <a:pt x="594" y="755"/>
                  </a:lnTo>
                  <a:lnTo>
                    <a:pt x="594" y="757"/>
                  </a:lnTo>
                  <a:lnTo>
                    <a:pt x="594" y="758"/>
                  </a:lnTo>
                  <a:lnTo>
                    <a:pt x="594" y="760"/>
                  </a:lnTo>
                  <a:lnTo>
                    <a:pt x="594" y="758"/>
                  </a:lnTo>
                  <a:lnTo>
                    <a:pt x="592" y="757"/>
                  </a:lnTo>
                  <a:lnTo>
                    <a:pt x="592" y="758"/>
                  </a:lnTo>
                  <a:lnTo>
                    <a:pt x="592" y="757"/>
                  </a:lnTo>
                  <a:lnTo>
                    <a:pt x="592" y="755"/>
                  </a:lnTo>
                  <a:lnTo>
                    <a:pt x="592" y="758"/>
                  </a:lnTo>
                  <a:lnTo>
                    <a:pt x="594" y="758"/>
                  </a:lnTo>
                  <a:lnTo>
                    <a:pt x="592" y="760"/>
                  </a:lnTo>
                  <a:lnTo>
                    <a:pt x="592" y="762"/>
                  </a:lnTo>
                  <a:lnTo>
                    <a:pt x="592" y="760"/>
                  </a:lnTo>
                  <a:lnTo>
                    <a:pt x="591" y="758"/>
                  </a:lnTo>
                  <a:lnTo>
                    <a:pt x="592" y="758"/>
                  </a:lnTo>
                  <a:lnTo>
                    <a:pt x="591" y="758"/>
                  </a:lnTo>
                  <a:lnTo>
                    <a:pt x="591" y="757"/>
                  </a:lnTo>
                  <a:lnTo>
                    <a:pt x="591" y="758"/>
                  </a:lnTo>
                  <a:lnTo>
                    <a:pt x="589" y="757"/>
                  </a:lnTo>
                  <a:lnTo>
                    <a:pt x="589" y="758"/>
                  </a:lnTo>
                  <a:lnTo>
                    <a:pt x="589" y="760"/>
                  </a:lnTo>
                  <a:lnTo>
                    <a:pt x="589" y="758"/>
                  </a:lnTo>
                  <a:lnTo>
                    <a:pt x="589" y="757"/>
                  </a:lnTo>
                  <a:lnTo>
                    <a:pt x="589" y="755"/>
                  </a:lnTo>
                  <a:lnTo>
                    <a:pt x="589" y="754"/>
                  </a:lnTo>
                  <a:lnTo>
                    <a:pt x="591" y="755"/>
                  </a:lnTo>
                  <a:lnTo>
                    <a:pt x="591" y="754"/>
                  </a:lnTo>
                  <a:lnTo>
                    <a:pt x="589" y="752"/>
                  </a:lnTo>
                  <a:lnTo>
                    <a:pt x="589" y="750"/>
                  </a:lnTo>
                  <a:lnTo>
                    <a:pt x="588" y="750"/>
                  </a:lnTo>
                  <a:lnTo>
                    <a:pt x="588" y="749"/>
                  </a:lnTo>
                  <a:lnTo>
                    <a:pt x="586" y="749"/>
                  </a:lnTo>
                  <a:lnTo>
                    <a:pt x="586" y="747"/>
                  </a:lnTo>
                  <a:lnTo>
                    <a:pt x="584" y="745"/>
                  </a:lnTo>
                  <a:lnTo>
                    <a:pt x="584" y="744"/>
                  </a:lnTo>
                  <a:lnTo>
                    <a:pt x="583" y="742"/>
                  </a:lnTo>
                  <a:lnTo>
                    <a:pt x="583" y="741"/>
                  </a:lnTo>
                  <a:lnTo>
                    <a:pt x="581" y="741"/>
                  </a:lnTo>
                  <a:lnTo>
                    <a:pt x="579" y="741"/>
                  </a:lnTo>
                  <a:lnTo>
                    <a:pt x="578" y="741"/>
                  </a:lnTo>
                  <a:lnTo>
                    <a:pt x="579" y="741"/>
                  </a:lnTo>
                  <a:lnTo>
                    <a:pt x="581" y="741"/>
                  </a:lnTo>
                  <a:lnTo>
                    <a:pt x="581" y="742"/>
                  </a:lnTo>
                  <a:lnTo>
                    <a:pt x="583" y="742"/>
                  </a:lnTo>
                  <a:lnTo>
                    <a:pt x="583" y="744"/>
                  </a:lnTo>
                  <a:lnTo>
                    <a:pt x="583" y="742"/>
                  </a:lnTo>
                  <a:lnTo>
                    <a:pt x="581" y="742"/>
                  </a:lnTo>
                  <a:lnTo>
                    <a:pt x="581" y="741"/>
                  </a:lnTo>
                  <a:lnTo>
                    <a:pt x="583" y="742"/>
                  </a:lnTo>
                  <a:lnTo>
                    <a:pt x="584" y="744"/>
                  </a:lnTo>
                  <a:lnTo>
                    <a:pt x="583" y="744"/>
                  </a:lnTo>
                  <a:lnTo>
                    <a:pt x="584" y="744"/>
                  </a:lnTo>
                  <a:lnTo>
                    <a:pt x="584" y="745"/>
                  </a:lnTo>
                  <a:lnTo>
                    <a:pt x="586" y="749"/>
                  </a:lnTo>
                  <a:lnTo>
                    <a:pt x="586" y="750"/>
                  </a:lnTo>
                  <a:lnTo>
                    <a:pt x="586" y="752"/>
                  </a:lnTo>
                  <a:lnTo>
                    <a:pt x="586" y="750"/>
                  </a:lnTo>
                  <a:lnTo>
                    <a:pt x="586" y="752"/>
                  </a:lnTo>
                  <a:lnTo>
                    <a:pt x="586" y="750"/>
                  </a:lnTo>
                  <a:lnTo>
                    <a:pt x="586" y="752"/>
                  </a:lnTo>
                  <a:lnTo>
                    <a:pt x="586" y="754"/>
                  </a:lnTo>
                  <a:lnTo>
                    <a:pt x="588" y="755"/>
                  </a:lnTo>
                  <a:lnTo>
                    <a:pt x="588" y="757"/>
                  </a:lnTo>
                  <a:lnTo>
                    <a:pt x="588" y="758"/>
                  </a:lnTo>
                  <a:lnTo>
                    <a:pt x="586" y="758"/>
                  </a:lnTo>
                  <a:lnTo>
                    <a:pt x="586" y="760"/>
                  </a:lnTo>
                  <a:lnTo>
                    <a:pt x="588" y="760"/>
                  </a:lnTo>
                  <a:lnTo>
                    <a:pt x="588" y="762"/>
                  </a:lnTo>
                  <a:lnTo>
                    <a:pt x="588" y="763"/>
                  </a:lnTo>
                  <a:lnTo>
                    <a:pt x="588" y="765"/>
                  </a:lnTo>
                  <a:lnTo>
                    <a:pt x="586" y="765"/>
                  </a:lnTo>
                  <a:lnTo>
                    <a:pt x="586" y="763"/>
                  </a:lnTo>
                  <a:lnTo>
                    <a:pt x="586" y="765"/>
                  </a:lnTo>
                  <a:lnTo>
                    <a:pt x="586" y="763"/>
                  </a:lnTo>
                  <a:lnTo>
                    <a:pt x="584" y="762"/>
                  </a:lnTo>
                  <a:lnTo>
                    <a:pt x="584" y="763"/>
                  </a:lnTo>
                  <a:lnTo>
                    <a:pt x="584" y="762"/>
                  </a:lnTo>
                  <a:lnTo>
                    <a:pt x="584" y="763"/>
                  </a:lnTo>
                  <a:lnTo>
                    <a:pt x="583" y="763"/>
                  </a:lnTo>
                  <a:lnTo>
                    <a:pt x="583" y="762"/>
                  </a:lnTo>
                  <a:lnTo>
                    <a:pt x="584" y="762"/>
                  </a:lnTo>
                  <a:lnTo>
                    <a:pt x="584" y="760"/>
                  </a:lnTo>
                  <a:lnTo>
                    <a:pt x="584" y="758"/>
                  </a:lnTo>
                  <a:lnTo>
                    <a:pt x="583" y="758"/>
                  </a:lnTo>
                  <a:lnTo>
                    <a:pt x="583" y="757"/>
                  </a:lnTo>
                  <a:lnTo>
                    <a:pt x="584" y="755"/>
                  </a:lnTo>
                  <a:lnTo>
                    <a:pt x="584" y="754"/>
                  </a:lnTo>
                  <a:lnTo>
                    <a:pt x="584" y="755"/>
                  </a:lnTo>
                  <a:lnTo>
                    <a:pt x="584" y="754"/>
                  </a:lnTo>
                  <a:lnTo>
                    <a:pt x="584" y="752"/>
                  </a:lnTo>
                  <a:lnTo>
                    <a:pt x="584" y="750"/>
                  </a:lnTo>
                  <a:lnTo>
                    <a:pt x="584" y="752"/>
                  </a:lnTo>
                  <a:lnTo>
                    <a:pt x="583" y="752"/>
                  </a:lnTo>
                  <a:lnTo>
                    <a:pt x="584" y="752"/>
                  </a:lnTo>
                  <a:lnTo>
                    <a:pt x="584" y="754"/>
                  </a:lnTo>
                  <a:lnTo>
                    <a:pt x="584" y="755"/>
                  </a:lnTo>
                  <a:lnTo>
                    <a:pt x="583" y="755"/>
                  </a:lnTo>
                  <a:lnTo>
                    <a:pt x="583" y="757"/>
                  </a:lnTo>
                  <a:lnTo>
                    <a:pt x="583" y="755"/>
                  </a:lnTo>
                  <a:lnTo>
                    <a:pt x="583" y="757"/>
                  </a:lnTo>
                  <a:lnTo>
                    <a:pt x="583" y="758"/>
                  </a:lnTo>
                  <a:lnTo>
                    <a:pt x="583" y="760"/>
                  </a:lnTo>
                  <a:lnTo>
                    <a:pt x="583" y="762"/>
                  </a:lnTo>
                  <a:lnTo>
                    <a:pt x="583" y="760"/>
                  </a:lnTo>
                  <a:lnTo>
                    <a:pt x="583" y="762"/>
                  </a:lnTo>
                  <a:lnTo>
                    <a:pt x="583" y="763"/>
                  </a:lnTo>
                  <a:lnTo>
                    <a:pt x="583" y="765"/>
                  </a:lnTo>
                  <a:lnTo>
                    <a:pt x="583" y="763"/>
                  </a:lnTo>
                  <a:lnTo>
                    <a:pt x="583" y="765"/>
                  </a:lnTo>
                  <a:lnTo>
                    <a:pt x="581" y="765"/>
                  </a:lnTo>
                  <a:lnTo>
                    <a:pt x="581" y="763"/>
                  </a:lnTo>
                  <a:lnTo>
                    <a:pt x="581" y="765"/>
                  </a:lnTo>
                  <a:lnTo>
                    <a:pt x="581" y="763"/>
                  </a:lnTo>
                  <a:lnTo>
                    <a:pt x="579" y="765"/>
                  </a:lnTo>
                  <a:lnTo>
                    <a:pt x="579" y="763"/>
                  </a:lnTo>
                  <a:lnTo>
                    <a:pt x="578" y="765"/>
                  </a:lnTo>
                  <a:lnTo>
                    <a:pt x="578" y="767"/>
                  </a:lnTo>
                  <a:lnTo>
                    <a:pt x="576" y="765"/>
                  </a:lnTo>
                  <a:lnTo>
                    <a:pt x="576" y="767"/>
                  </a:lnTo>
                  <a:lnTo>
                    <a:pt x="574" y="767"/>
                  </a:lnTo>
                  <a:lnTo>
                    <a:pt x="574" y="765"/>
                  </a:lnTo>
                  <a:lnTo>
                    <a:pt x="573" y="765"/>
                  </a:lnTo>
                  <a:lnTo>
                    <a:pt x="573" y="763"/>
                  </a:lnTo>
                  <a:lnTo>
                    <a:pt x="571" y="763"/>
                  </a:lnTo>
                  <a:lnTo>
                    <a:pt x="570" y="765"/>
                  </a:lnTo>
                  <a:lnTo>
                    <a:pt x="568" y="765"/>
                  </a:lnTo>
                  <a:lnTo>
                    <a:pt x="568" y="767"/>
                  </a:lnTo>
                  <a:lnTo>
                    <a:pt x="568" y="768"/>
                  </a:lnTo>
                  <a:lnTo>
                    <a:pt x="568" y="770"/>
                  </a:lnTo>
                  <a:lnTo>
                    <a:pt x="570" y="770"/>
                  </a:lnTo>
                  <a:lnTo>
                    <a:pt x="570" y="771"/>
                  </a:lnTo>
                  <a:lnTo>
                    <a:pt x="570" y="773"/>
                  </a:lnTo>
                  <a:lnTo>
                    <a:pt x="570" y="771"/>
                  </a:lnTo>
                  <a:lnTo>
                    <a:pt x="570" y="773"/>
                  </a:lnTo>
                  <a:lnTo>
                    <a:pt x="568" y="771"/>
                  </a:lnTo>
                  <a:lnTo>
                    <a:pt x="568" y="773"/>
                  </a:lnTo>
                  <a:lnTo>
                    <a:pt x="566" y="773"/>
                  </a:lnTo>
                  <a:lnTo>
                    <a:pt x="565" y="771"/>
                  </a:lnTo>
                  <a:lnTo>
                    <a:pt x="565" y="773"/>
                  </a:lnTo>
                  <a:lnTo>
                    <a:pt x="565" y="771"/>
                  </a:lnTo>
                  <a:lnTo>
                    <a:pt x="563" y="773"/>
                  </a:lnTo>
                  <a:lnTo>
                    <a:pt x="565" y="773"/>
                  </a:lnTo>
                  <a:lnTo>
                    <a:pt x="565" y="775"/>
                  </a:lnTo>
                  <a:lnTo>
                    <a:pt x="565" y="773"/>
                  </a:lnTo>
                  <a:lnTo>
                    <a:pt x="563" y="773"/>
                  </a:lnTo>
                  <a:lnTo>
                    <a:pt x="563" y="775"/>
                  </a:lnTo>
                  <a:lnTo>
                    <a:pt x="565" y="775"/>
                  </a:lnTo>
                  <a:lnTo>
                    <a:pt x="563" y="775"/>
                  </a:lnTo>
                  <a:lnTo>
                    <a:pt x="563" y="773"/>
                  </a:lnTo>
                  <a:lnTo>
                    <a:pt x="563" y="775"/>
                  </a:lnTo>
                  <a:lnTo>
                    <a:pt x="561" y="775"/>
                  </a:lnTo>
                  <a:lnTo>
                    <a:pt x="563" y="775"/>
                  </a:lnTo>
                  <a:lnTo>
                    <a:pt x="561" y="775"/>
                  </a:lnTo>
                  <a:lnTo>
                    <a:pt x="561" y="776"/>
                  </a:lnTo>
                  <a:lnTo>
                    <a:pt x="563" y="776"/>
                  </a:lnTo>
                  <a:lnTo>
                    <a:pt x="561" y="776"/>
                  </a:lnTo>
                  <a:lnTo>
                    <a:pt x="561" y="775"/>
                  </a:lnTo>
                  <a:lnTo>
                    <a:pt x="561" y="776"/>
                  </a:lnTo>
                  <a:lnTo>
                    <a:pt x="561" y="778"/>
                  </a:lnTo>
                  <a:lnTo>
                    <a:pt x="560" y="776"/>
                  </a:lnTo>
                  <a:lnTo>
                    <a:pt x="560" y="778"/>
                  </a:lnTo>
                  <a:lnTo>
                    <a:pt x="560" y="780"/>
                  </a:lnTo>
                  <a:lnTo>
                    <a:pt x="560" y="781"/>
                  </a:lnTo>
                  <a:lnTo>
                    <a:pt x="558" y="781"/>
                  </a:lnTo>
                  <a:lnTo>
                    <a:pt x="560" y="783"/>
                  </a:lnTo>
                  <a:lnTo>
                    <a:pt x="558" y="783"/>
                  </a:lnTo>
                  <a:lnTo>
                    <a:pt x="557" y="783"/>
                  </a:lnTo>
                  <a:lnTo>
                    <a:pt x="557" y="784"/>
                  </a:lnTo>
                  <a:lnTo>
                    <a:pt x="557" y="783"/>
                  </a:lnTo>
                  <a:lnTo>
                    <a:pt x="557" y="784"/>
                  </a:lnTo>
                  <a:lnTo>
                    <a:pt x="557" y="786"/>
                  </a:lnTo>
                  <a:lnTo>
                    <a:pt x="555" y="784"/>
                  </a:lnTo>
                  <a:lnTo>
                    <a:pt x="555" y="786"/>
                  </a:lnTo>
                  <a:lnTo>
                    <a:pt x="555" y="788"/>
                  </a:lnTo>
                  <a:lnTo>
                    <a:pt x="553" y="788"/>
                  </a:lnTo>
                  <a:lnTo>
                    <a:pt x="553" y="786"/>
                  </a:lnTo>
                  <a:lnTo>
                    <a:pt x="553" y="788"/>
                  </a:lnTo>
                  <a:lnTo>
                    <a:pt x="553" y="789"/>
                  </a:lnTo>
                  <a:lnTo>
                    <a:pt x="553" y="791"/>
                  </a:lnTo>
                  <a:lnTo>
                    <a:pt x="555" y="791"/>
                  </a:lnTo>
                  <a:lnTo>
                    <a:pt x="557" y="793"/>
                  </a:lnTo>
                  <a:lnTo>
                    <a:pt x="557" y="794"/>
                  </a:lnTo>
                  <a:lnTo>
                    <a:pt x="557" y="796"/>
                  </a:lnTo>
                  <a:lnTo>
                    <a:pt x="558" y="796"/>
                  </a:lnTo>
                  <a:lnTo>
                    <a:pt x="557" y="796"/>
                  </a:lnTo>
                  <a:lnTo>
                    <a:pt x="557" y="797"/>
                  </a:lnTo>
                  <a:lnTo>
                    <a:pt x="555" y="797"/>
                  </a:lnTo>
                  <a:lnTo>
                    <a:pt x="555" y="796"/>
                  </a:lnTo>
                  <a:lnTo>
                    <a:pt x="555" y="797"/>
                  </a:lnTo>
                  <a:lnTo>
                    <a:pt x="553" y="797"/>
                  </a:lnTo>
                  <a:lnTo>
                    <a:pt x="553" y="799"/>
                  </a:lnTo>
                  <a:lnTo>
                    <a:pt x="553" y="797"/>
                  </a:lnTo>
                  <a:lnTo>
                    <a:pt x="553" y="799"/>
                  </a:lnTo>
                  <a:lnTo>
                    <a:pt x="553" y="801"/>
                  </a:lnTo>
                  <a:lnTo>
                    <a:pt x="552" y="799"/>
                  </a:lnTo>
                  <a:lnTo>
                    <a:pt x="552" y="801"/>
                  </a:lnTo>
                  <a:lnTo>
                    <a:pt x="552" y="802"/>
                  </a:lnTo>
                  <a:lnTo>
                    <a:pt x="550" y="802"/>
                  </a:lnTo>
                  <a:lnTo>
                    <a:pt x="550" y="801"/>
                  </a:lnTo>
                  <a:lnTo>
                    <a:pt x="550" y="799"/>
                  </a:lnTo>
                  <a:lnTo>
                    <a:pt x="548" y="799"/>
                  </a:lnTo>
                  <a:lnTo>
                    <a:pt x="548" y="797"/>
                  </a:lnTo>
                  <a:lnTo>
                    <a:pt x="547" y="797"/>
                  </a:lnTo>
                  <a:lnTo>
                    <a:pt x="548" y="796"/>
                  </a:lnTo>
                  <a:lnTo>
                    <a:pt x="547" y="796"/>
                  </a:lnTo>
                  <a:lnTo>
                    <a:pt x="547" y="794"/>
                  </a:lnTo>
                  <a:lnTo>
                    <a:pt x="545" y="793"/>
                  </a:lnTo>
                  <a:lnTo>
                    <a:pt x="547" y="793"/>
                  </a:lnTo>
                  <a:lnTo>
                    <a:pt x="545" y="791"/>
                  </a:lnTo>
                  <a:lnTo>
                    <a:pt x="545" y="793"/>
                  </a:lnTo>
                  <a:lnTo>
                    <a:pt x="545" y="791"/>
                  </a:lnTo>
                  <a:lnTo>
                    <a:pt x="545" y="789"/>
                  </a:lnTo>
                  <a:lnTo>
                    <a:pt x="544" y="789"/>
                  </a:lnTo>
                  <a:lnTo>
                    <a:pt x="544" y="788"/>
                  </a:lnTo>
                  <a:lnTo>
                    <a:pt x="544" y="789"/>
                  </a:lnTo>
                  <a:lnTo>
                    <a:pt x="544" y="788"/>
                  </a:lnTo>
                  <a:lnTo>
                    <a:pt x="542" y="788"/>
                  </a:lnTo>
                  <a:lnTo>
                    <a:pt x="542" y="789"/>
                  </a:lnTo>
                  <a:lnTo>
                    <a:pt x="540" y="788"/>
                  </a:lnTo>
                  <a:lnTo>
                    <a:pt x="539" y="784"/>
                  </a:lnTo>
                  <a:lnTo>
                    <a:pt x="537" y="784"/>
                  </a:lnTo>
                  <a:lnTo>
                    <a:pt x="537" y="783"/>
                  </a:lnTo>
                  <a:lnTo>
                    <a:pt x="535" y="783"/>
                  </a:lnTo>
                  <a:lnTo>
                    <a:pt x="534" y="783"/>
                  </a:lnTo>
                  <a:lnTo>
                    <a:pt x="534" y="784"/>
                  </a:lnTo>
                  <a:lnTo>
                    <a:pt x="535" y="784"/>
                  </a:lnTo>
                  <a:lnTo>
                    <a:pt x="535" y="786"/>
                  </a:lnTo>
                  <a:lnTo>
                    <a:pt x="534" y="786"/>
                  </a:lnTo>
                  <a:lnTo>
                    <a:pt x="535" y="786"/>
                  </a:lnTo>
                  <a:lnTo>
                    <a:pt x="534" y="786"/>
                  </a:lnTo>
                  <a:lnTo>
                    <a:pt x="535" y="786"/>
                  </a:lnTo>
                  <a:lnTo>
                    <a:pt x="535" y="788"/>
                  </a:lnTo>
                  <a:lnTo>
                    <a:pt x="535" y="789"/>
                  </a:lnTo>
                  <a:lnTo>
                    <a:pt x="534" y="791"/>
                  </a:lnTo>
                  <a:lnTo>
                    <a:pt x="535" y="791"/>
                  </a:lnTo>
                  <a:lnTo>
                    <a:pt x="535" y="793"/>
                  </a:lnTo>
                  <a:lnTo>
                    <a:pt x="537" y="793"/>
                  </a:lnTo>
                  <a:lnTo>
                    <a:pt x="537" y="794"/>
                  </a:lnTo>
                  <a:lnTo>
                    <a:pt x="539" y="794"/>
                  </a:lnTo>
                  <a:lnTo>
                    <a:pt x="539" y="793"/>
                  </a:lnTo>
                  <a:lnTo>
                    <a:pt x="539" y="794"/>
                  </a:lnTo>
                  <a:lnTo>
                    <a:pt x="540" y="794"/>
                  </a:lnTo>
                  <a:lnTo>
                    <a:pt x="540" y="796"/>
                  </a:lnTo>
                  <a:lnTo>
                    <a:pt x="539" y="796"/>
                  </a:lnTo>
                  <a:lnTo>
                    <a:pt x="539" y="797"/>
                  </a:lnTo>
                  <a:lnTo>
                    <a:pt x="539" y="799"/>
                  </a:lnTo>
                  <a:lnTo>
                    <a:pt x="540" y="799"/>
                  </a:lnTo>
                  <a:lnTo>
                    <a:pt x="540" y="801"/>
                  </a:lnTo>
                  <a:lnTo>
                    <a:pt x="540" y="802"/>
                  </a:lnTo>
                  <a:lnTo>
                    <a:pt x="542" y="802"/>
                  </a:lnTo>
                  <a:lnTo>
                    <a:pt x="540" y="802"/>
                  </a:lnTo>
                  <a:lnTo>
                    <a:pt x="540" y="804"/>
                  </a:lnTo>
                  <a:lnTo>
                    <a:pt x="542" y="804"/>
                  </a:lnTo>
                  <a:lnTo>
                    <a:pt x="542" y="806"/>
                  </a:lnTo>
                  <a:lnTo>
                    <a:pt x="540" y="806"/>
                  </a:lnTo>
                  <a:lnTo>
                    <a:pt x="540" y="804"/>
                  </a:lnTo>
                  <a:lnTo>
                    <a:pt x="539" y="804"/>
                  </a:lnTo>
                  <a:lnTo>
                    <a:pt x="539" y="806"/>
                  </a:lnTo>
                  <a:lnTo>
                    <a:pt x="539" y="804"/>
                  </a:lnTo>
                  <a:lnTo>
                    <a:pt x="539" y="806"/>
                  </a:lnTo>
                  <a:lnTo>
                    <a:pt x="539" y="804"/>
                  </a:lnTo>
                  <a:lnTo>
                    <a:pt x="539" y="802"/>
                  </a:lnTo>
                  <a:lnTo>
                    <a:pt x="539" y="804"/>
                  </a:lnTo>
                  <a:lnTo>
                    <a:pt x="537" y="804"/>
                  </a:lnTo>
                  <a:lnTo>
                    <a:pt x="537" y="802"/>
                  </a:lnTo>
                  <a:lnTo>
                    <a:pt x="537" y="801"/>
                  </a:lnTo>
                  <a:lnTo>
                    <a:pt x="537" y="799"/>
                  </a:lnTo>
                  <a:lnTo>
                    <a:pt x="535" y="799"/>
                  </a:lnTo>
                  <a:lnTo>
                    <a:pt x="534" y="799"/>
                  </a:lnTo>
                  <a:lnTo>
                    <a:pt x="534" y="801"/>
                  </a:lnTo>
                  <a:lnTo>
                    <a:pt x="534" y="799"/>
                  </a:lnTo>
                  <a:lnTo>
                    <a:pt x="534" y="801"/>
                  </a:lnTo>
                  <a:lnTo>
                    <a:pt x="532" y="801"/>
                  </a:lnTo>
                  <a:lnTo>
                    <a:pt x="532" y="802"/>
                  </a:lnTo>
                  <a:lnTo>
                    <a:pt x="532" y="801"/>
                  </a:lnTo>
                  <a:lnTo>
                    <a:pt x="532" y="802"/>
                  </a:lnTo>
                  <a:lnTo>
                    <a:pt x="532" y="801"/>
                  </a:lnTo>
                  <a:lnTo>
                    <a:pt x="531" y="799"/>
                  </a:lnTo>
                  <a:lnTo>
                    <a:pt x="532" y="799"/>
                  </a:lnTo>
                  <a:lnTo>
                    <a:pt x="532" y="797"/>
                  </a:lnTo>
                  <a:lnTo>
                    <a:pt x="531" y="797"/>
                  </a:lnTo>
                  <a:lnTo>
                    <a:pt x="532" y="797"/>
                  </a:lnTo>
                  <a:lnTo>
                    <a:pt x="531" y="797"/>
                  </a:lnTo>
                  <a:lnTo>
                    <a:pt x="531" y="796"/>
                  </a:lnTo>
                  <a:lnTo>
                    <a:pt x="531" y="794"/>
                  </a:lnTo>
                  <a:lnTo>
                    <a:pt x="531" y="796"/>
                  </a:lnTo>
                  <a:lnTo>
                    <a:pt x="529" y="796"/>
                  </a:lnTo>
                  <a:lnTo>
                    <a:pt x="529" y="794"/>
                  </a:lnTo>
                  <a:lnTo>
                    <a:pt x="529" y="796"/>
                  </a:lnTo>
                  <a:lnTo>
                    <a:pt x="529" y="797"/>
                  </a:lnTo>
                  <a:lnTo>
                    <a:pt x="529" y="796"/>
                  </a:lnTo>
                  <a:lnTo>
                    <a:pt x="529" y="797"/>
                  </a:lnTo>
                  <a:lnTo>
                    <a:pt x="529" y="796"/>
                  </a:lnTo>
                  <a:lnTo>
                    <a:pt x="531" y="797"/>
                  </a:lnTo>
                  <a:lnTo>
                    <a:pt x="531" y="796"/>
                  </a:lnTo>
                  <a:lnTo>
                    <a:pt x="531" y="797"/>
                  </a:lnTo>
                  <a:lnTo>
                    <a:pt x="531" y="799"/>
                  </a:lnTo>
                  <a:lnTo>
                    <a:pt x="532" y="801"/>
                  </a:lnTo>
                  <a:lnTo>
                    <a:pt x="532" y="802"/>
                  </a:lnTo>
                  <a:lnTo>
                    <a:pt x="531" y="802"/>
                  </a:lnTo>
                  <a:lnTo>
                    <a:pt x="531" y="801"/>
                  </a:lnTo>
                  <a:lnTo>
                    <a:pt x="531" y="799"/>
                  </a:lnTo>
                  <a:lnTo>
                    <a:pt x="531" y="801"/>
                  </a:lnTo>
                  <a:lnTo>
                    <a:pt x="529" y="801"/>
                  </a:lnTo>
                  <a:lnTo>
                    <a:pt x="531" y="801"/>
                  </a:lnTo>
                  <a:lnTo>
                    <a:pt x="529" y="801"/>
                  </a:lnTo>
                  <a:lnTo>
                    <a:pt x="527" y="801"/>
                  </a:lnTo>
                  <a:lnTo>
                    <a:pt x="527" y="799"/>
                  </a:lnTo>
                  <a:lnTo>
                    <a:pt x="527" y="797"/>
                  </a:lnTo>
                  <a:lnTo>
                    <a:pt x="527" y="799"/>
                  </a:lnTo>
                  <a:lnTo>
                    <a:pt x="526" y="799"/>
                  </a:lnTo>
                  <a:lnTo>
                    <a:pt x="526" y="801"/>
                  </a:lnTo>
                  <a:lnTo>
                    <a:pt x="526" y="802"/>
                  </a:lnTo>
                  <a:lnTo>
                    <a:pt x="526" y="804"/>
                  </a:lnTo>
                  <a:lnTo>
                    <a:pt x="526" y="806"/>
                  </a:lnTo>
                  <a:lnTo>
                    <a:pt x="526" y="807"/>
                  </a:lnTo>
                  <a:lnTo>
                    <a:pt x="526" y="809"/>
                  </a:lnTo>
                  <a:lnTo>
                    <a:pt x="526" y="810"/>
                  </a:lnTo>
                  <a:lnTo>
                    <a:pt x="526" y="812"/>
                  </a:lnTo>
                  <a:lnTo>
                    <a:pt x="526" y="814"/>
                  </a:lnTo>
                  <a:lnTo>
                    <a:pt x="526" y="815"/>
                  </a:lnTo>
                  <a:lnTo>
                    <a:pt x="527" y="815"/>
                  </a:lnTo>
                  <a:lnTo>
                    <a:pt x="527" y="817"/>
                  </a:lnTo>
                  <a:lnTo>
                    <a:pt x="527" y="819"/>
                  </a:lnTo>
                  <a:lnTo>
                    <a:pt x="527" y="820"/>
                  </a:lnTo>
                  <a:lnTo>
                    <a:pt x="526" y="820"/>
                  </a:lnTo>
                  <a:lnTo>
                    <a:pt x="524" y="820"/>
                  </a:lnTo>
                  <a:lnTo>
                    <a:pt x="524" y="819"/>
                  </a:lnTo>
                  <a:lnTo>
                    <a:pt x="524" y="817"/>
                  </a:lnTo>
                  <a:lnTo>
                    <a:pt x="524" y="815"/>
                  </a:lnTo>
                  <a:lnTo>
                    <a:pt x="524" y="817"/>
                  </a:lnTo>
                  <a:lnTo>
                    <a:pt x="524" y="819"/>
                  </a:lnTo>
                  <a:lnTo>
                    <a:pt x="524" y="820"/>
                  </a:lnTo>
                  <a:lnTo>
                    <a:pt x="522" y="820"/>
                  </a:lnTo>
                  <a:lnTo>
                    <a:pt x="522" y="822"/>
                  </a:lnTo>
                  <a:lnTo>
                    <a:pt x="521" y="822"/>
                  </a:lnTo>
                  <a:lnTo>
                    <a:pt x="521" y="820"/>
                  </a:lnTo>
                  <a:lnTo>
                    <a:pt x="519" y="820"/>
                  </a:lnTo>
                  <a:lnTo>
                    <a:pt x="519" y="822"/>
                  </a:lnTo>
                  <a:lnTo>
                    <a:pt x="519" y="823"/>
                  </a:lnTo>
                  <a:lnTo>
                    <a:pt x="521" y="823"/>
                  </a:lnTo>
                  <a:lnTo>
                    <a:pt x="521" y="825"/>
                  </a:lnTo>
                  <a:lnTo>
                    <a:pt x="519" y="825"/>
                  </a:lnTo>
                  <a:lnTo>
                    <a:pt x="519" y="827"/>
                  </a:lnTo>
                  <a:lnTo>
                    <a:pt x="519" y="828"/>
                  </a:lnTo>
                  <a:lnTo>
                    <a:pt x="519" y="830"/>
                  </a:lnTo>
                  <a:lnTo>
                    <a:pt x="521" y="830"/>
                  </a:lnTo>
                  <a:lnTo>
                    <a:pt x="521" y="832"/>
                  </a:lnTo>
                  <a:lnTo>
                    <a:pt x="519" y="830"/>
                  </a:lnTo>
                  <a:lnTo>
                    <a:pt x="519" y="832"/>
                  </a:lnTo>
                  <a:lnTo>
                    <a:pt x="519" y="833"/>
                  </a:lnTo>
                  <a:lnTo>
                    <a:pt x="518" y="833"/>
                  </a:lnTo>
                  <a:lnTo>
                    <a:pt x="516" y="833"/>
                  </a:lnTo>
                  <a:lnTo>
                    <a:pt x="516" y="832"/>
                  </a:lnTo>
                  <a:lnTo>
                    <a:pt x="518" y="832"/>
                  </a:lnTo>
                  <a:lnTo>
                    <a:pt x="516" y="832"/>
                  </a:lnTo>
                  <a:lnTo>
                    <a:pt x="514" y="830"/>
                  </a:lnTo>
                  <a:lnTo>
                    <a:pt x="514" y="832"/>
                  </a:lnTo>
                  <a:lnTo>
                    <a:pt x="514" y="833"/>
                  </a:lnTo>
                  <a:lnTo>
                    <a:pt x="513" y="833"/>
                  </a:lnTo>
                  <a:lnTo>
                    <a:pt x="511" y="833"/>
                  </a:lnTo>
                  <a:lnTo>
                    <a:pt x="513" y="833"/>
                  </a:lnTo>
                  <a:lnTo>
                    <a:pt x="514" y="833"/>
                  </a:lnTo>
                  <a:lnTo>
                    <a:pt x="513" y="835"/>
                  </a:lnTo>
                  <a:lnTo>
                    <a:pt x="514" y="833"/>
                  </a:lnTo>
                  <a:lnTo>
                    <a:pt x="514" y="835"/>
                  </a:lnTo>
                  <a:lnTo>
                    <a:pt x="514" y="836"/>
                  </a:lnTo>
                  <a:lnTo>
                    <a:pt x="516" y="835"/>
                  </a:lnTo>
                  <a:lnTo>
                    <a:pt x="514" y="835"/>
                  </a:lnTo>
                  <a:lnTo>
                    <a:pt x="516" y="833"/>
                  </a:lnTo>
                  <a:lnTo>
                    <a:pt x="516" y="835"/>
                  </a:lnTo>
                  <a:lnTo>
                    <a:pt x="518" y="835"/>
                  </a:lnTo>
                  <a:lnTo>
                    <a:pt x="519" y="835"/>
                  </a:lnTo>
                  <a:lnTo>
                    <a:pt x="518" y="835"/>
                  </a:lnTo>
                  <a:lnTo>
                    <a:pt x="519" y="835"/>
                  </a:lnTo>
                  <a:lnTo>
                    <a:pt x="518" y="836"/>
                  </a:lnTo>
                  <a:lnTo>
                    <a:pt x="519" y="836"/>
                  </a:lnTo>
                  <a:lnTo>
                    <a:pt x="518" y="836"/>
                  </a:lnTo>
                  <a:lnTo>
                    <a:pt x="518" y="838"/>
                  </a:lnTo>
                  <a:lnTo>
                    <a:pt x="516" y="838"/>
                  </a:lnTo>
                  <a:lnTo>
                    <a:pt x="514" y="838"/>
                  </a:lnTo>
                  <a:lnTo>
                    <a:pt x="514" y="840"/>
                  </a:lnTo>
                  <a:lnTo>
                    <a:pt x="516" y="838"/>
                  </a:lnTo>
                  <a:lnTo>
                    <a:pt x="516" y="840"/>
                  </a:lnTo>
                  <a:lnTo>
                    <a:pt x="516" y="841"/>
                  </a:lnTo>
                  <a:lnTo>
                    <a:pt x="514" y="841"/>
                  </a:lnTo>
                  <a:lnTo>
                    <a:pt x="514" y="840"/>
                  </a:lnTo>
                  <a:lnTo>
                    <a:pt x="513" y="840"/>
                  </a:lnTo>
                  <a:lnTo>
                    <a:pt x="513" y="838"/>
                  </a:lnTo>
                  <a:lnTo>
                    <a:pt x="511" y="838"/>
                  </a:lnTo>
                  <a:lnTo>
                    <a:pt x="513" y="838"/>
                  </a:lnTo>
                  <a:lnTo>
                    <a:pt x="511" y="838"/>
                  </a:lnTo>
                  <a:lnTo>
                    <a:pt x="511" y="836"/>
                  </a:lnTo>
                  <a:lnTo>
                    <a:pt x="509" y="838"/>
                  </a:lnTo>
                  <a:lnTo>
                    <a:pt x="509" y="836"/>
                  </a:lnTo>
                  <a:lnTo>
                    <a:pt x="509" y="835"/>
                  </a:lnTo>
                  <a:lnTo>
                    <a:pt x="508" y="833"/>
                  </a:lnTo>
                  <a:lnTo>
                    <a:pt x="506" y="833"/>
                  </a:lnTo>
                  <a:lnTo>
                    <a:pt x="506" y="832"/>
                  </a:lnTo>
                  <a:lnTo>
                    <a:pt x="505" y="832"/>
                  </a:lnTo>
                  <a:lnTo>
                    <a:pt x="505" y="830"/>
                  </a:lnTo>
                  <a:lnTo>
                    <a:pt x="505" y="828"/>
                  </a:lnTo>
                  <a:lnTo>
                    <a:pt x="503" y="828"/>
                  </a:lnTo>
                  <a:lnTo>
                    <a:pt x="501" y="828"/>
                  </a:lnTo>
                  <a:lnTo>
                    <a:pt x="503" y="828"/>
                  </a:lnTo>
                  <a:lnTo>
                    <a:pt x="503" y="830"/>
                  </a:lnTo>
                  <a:lnTo>
                    <a:pt x="503" y="832"/>
                  </a:lnTo>
                  <a:lnTo>
                    <a:pt x="503" y="830"/>
                  </a:lnTo>
                  <a:lnTo>
                    <a:pt x="503" y="832"/>
                  </a:lnTo>
                  <a:lnTo>
                    <a:pt x="503" y="833"/>
                  </a:lnTo>
                  <a:lnTo>
                    <a:pt x="501" y="833"/>
                  </a:lnTo>
                  <a:lnTo>
                    <a:pt x="501" y="832"/>
                  </a:lnTo>
                  <a:lnTo>
                    <a:pt x="501" y="830"/>
                  </a:lnTo>
                  <a:lnTo>
                    <a:pt x="500" y="830"/>
                  </a:lnTo>
                  <a:lnTo>
                    <a:pt x="500" y="832"/>
                  </a:lnTo>
                  <a:lnTo>
                    <a:pt x="501" y="833"/>
                  </a:lnTo>
                  <a:lnTo>
                    <a:pt x="501" y="835"/>
                  </a:lnTo>
                  <a:lnTo>
                    <a:pt x="500" y="835"/>
                  </a:lnTo>
                  <a:lnTo>
                    <a:pt x="500" y="833"/>
                  </a:lnTo>
                  <a:lnTo>
                    <a:pt x="500" y="832"/>
                  </a:lnTo>
                  <a:lnTo>
                    <a:pt x="498" y="832"/>
                  </a:lnTo>
                  <a:lnTo>
                    <a:pt x="498" y="833"/>
                  </a:lnTo>
                  <a:lnTo>
                    <a:pt x="496" y="833"/>
                  </a:lnTo>
                  <a:lnTo>
                    <a:pt x="498" y="832"/>
                  </a:lnTo>
                  <a:lnTo>
                    <a:pt x="496" y="832"/>
                  </a:lnTo>
                  <a:lnTo>
                    <a:pt x="495" y="832"/>
                  </a:lnTo>
                  <a:lnTo>
                    <a:pt x="495" y="830"/>
                  </a:lnTo>
                  <a:lnTo>
                    <a:pt x="493" y="830"/>
                  </a:lnTo>
                  <a:lnTo>
                    <a:pt x="493" y="832"/>
                  </a:lnTo>
                  <a:lnTo>
                    <a:pt x="493" y="833"/>
                  </a:lnTo>
                  <a:lnTo>
                    <a:pt x="495" y="833"/>
                  </a:lnTo>
                  <a:lnTo>
                    <a:pt x="496" y="833"/>
                  </a:lnTo>
                  <a:lnTo>
                    <a:pt x="498" y="835"/>
                  </a:lnTo>
                  <a:lnTo>
                    <a:pt x="501" y="835"/>
                  </a:lnTo>
                  <a:lnTo>
                    <a:pt x="503" y="836"/>
                  </a:lnTo>
                  <a:lnTo>
                    <a:pt x="505" y="836"/>
                  </a:lnTo>
                  <a:lnTo>
                    <a:pt x="506" y="836"/>
                  </a:lnTo>
                  <a:lnTo>
                    <a:pt x="506" y="838"/>
                  </a:lnTo>
                  <a:lnTo>
                    <a:pt x="506" y="840"/>
                  </a:lnTo>
                  <a:lnTo>
                    <a:pt x="505" y="840"/>
                  </a:lnTo>
                  <a:lnTo>
                    <a:pt x="505" y="841"/>
                  </a:lnTo>
                  <a:lnTo>
                    <a:pt x="505" y="840"/>
                  </a:lnTo>
                  <a:lnTo>
                    <a:pt x="503" y="840"/>
                  </a:lnTo>
                  <a:lnTo>
                    <a:pt x="501" y="840"/>
                  </a:lnTo>
                  <a:lnTo>
                    <a:pt x="501" y="841"/>
                  </a:lnTo>
                  <a:lnTo>
                    <a:pt x="500" y="841"/>
                  </a:lnTo>
                  <a:lnTo>
                    <a:pt x="500" y="843"/>
                  </a:lnTo>
                  <a:lnTo>
                    <a:pt x="500" y="841"/>
                  </a:lnTo>
                  <a:lnTo>
                    <a:pt x="498" y="841"/>
                  </a:lnTo>
                  <a:lnTo>
                    <a:pt x="498" y="840"/>
                  </a:lnTo>
                  <a:lnTo>
                    <a:pt x="498" y="841"/>
                  </a:lnTo>
                  <a:lnTo>
                    <a:pt x="500" y="841"/>
                  </a:lnTo>
                  <a:lnTo>
                    <a:pt x="500" y="843"/>
                  </a:lnTo>
                  <a:lnTo>
                    <a:pt x="498" y="843"/>
                  </a:lnTo>
                  <a:lnTo>
                    <a:pt x="498" y="845"/>
                  </a:lnTo>
                  <a:lnTo>
                    <a:pt x="496" y="845"/>
                  </a:lnTo>
                  <a:lnTo>
                    <a:pt x="496" y="843"/>
                  </a:lnTo>
                  <a:lnTo>
                    <a:pt x="496" y="845"/>
                  </a:lnTo>
                  <a:lnTo>
                    <a:pt x="495" y="843"/>
                  </a:lnTo>
                  <a:lnTo>
                    <a:pt x="496" y="843"/>
                  </a:lnTo>
                  <a:lnTo>
                    <a:pt x="495" y="843"/>
                  </a:lnTo>
                  <a:lnTo>
                    <a:pt x="495" y="841"/>
                  </a:lnTo>
                  <a:lnTo>
                    <a:pt x="495" y="840"/>
                  </a:lnTo>
                  <a:lnTo>
                    <a:pt x="495" y="838"/>
                  </a:lnTo>
                  <a:lnTo>
                    <a:pt x="496" y="838"/>
                  </a:lnTo>
                  <a:lnTo>
                    <a:pt x="498" y="840"/>
                  </a:lnTo>
                  <a:lnTo>
                    <a:pt x="498" y="838"/>
                  </a:lnTo>
                  <a:lnTo>
                    <a:pt x="500" y="838"/>
                  </a:lnTo>
                  <a:lnTo>
                    <a:pt x="498" y="838"/>
                  </a:lnTo>
                  <a:lnTo>
                    <a:pt x="496" y="836"/>
                  </a:lnTo>
                  <a:lnTo>
                    <a:pt x="495" y="836"/>
                  </a:lnTo>
                  <a:lnTo>
                    <a:pt x="493" y="836"/>
                  </a:lnTo>
                  <a:lnTo>
                    <a:pt x="493" y="835"/>
                  </a:lnTo>
                  <a:lnTo>
                    <a:pt x="492" y="835"/>
                  </a:lnTo>
                  <a:lnTo>
                    <a:pt x="492" y="836"/>
                  </a:lnTo>
                  <a:lnTo>
                    <a:pt x="492" y="838"/>
                  </a:lnTo>
                  <a:lnTo>
                    <a:pt x="493" y="840"/>
                  </a:lnTo>
                  <a:lnTo>
                    <a:pt x="493" y="841"/>
                  </a:lnTo>
                  <a:lnTo>
                    <a:pt x="495" y="841"/>
                  </a:lnTo>
                  <a:lnTo>
                    <a:pt x="495" y="843"/>
                  </a:lnTo>
                  <a:lnTo>
                    <a:pt x="495" y="845"/>
                  </a:lnTo>
                  <a:lnTo>
                    <a:pt x="495" y="846"/>
                  </a:lnTo>
                  <a:lnTo>
                    <a:pt x="495" y="845"/>
                  </a:lnTo>
                  <a:lnTo>
                    <a:pt x="495" y="846"/>
                  </a:lnTo>
                  <a:lnTo>
                    <a:pt x="496" y="846"/>
                  </a:lnTo>
                  <a:lnTo>
                    <a:pt x="496" y="848"/>
                  </a:lnTo>
                  <a:lnTo>
                    <a:pt x="495" y="848"/>
                  </a:lnTo>
                  <a:lnTo>
                    <a:pt x="495" y="846"/>
                  </a:lnTo>
                  <a:lnTo>
                    <a:pt x="493" y="848"/>
                  </a:lnTo>
                  <a:lnTo>
                    <a:pt x="492" y="846"/>
                  </a:lnTo>
                  <a:lnTo>
                    <a:pt x="490" y="845"/>
                  </a:lnTo>
                  <a:lnTo>
                    <a:pt x="490" y="846"/>
                  </a:lnTo>
                  <a:lnTo>
                    <a:pt x="488" y="846"/>
                  </a:lnTo>
                  <a:lnTo>
                    <a:pt x="487" y="846"/>
                  </a:lnTo>
                  <a:lnTo>
                    <a:pt x="488" y="846"/>
                  </a:lnTo>
                  <a:lnTo>
                    <a:pt x="488" y="848"/>
                  </a:lnTo>
                  <a:lnTo>
                    <a:pt x="488" y="849"/>
                  </a:lnTo>
                  <a:lnTo>
                    <a:pt x="488" y="851"/>
                  </a:lnTo>
                  <a:lnTo>
                    <a:pt x="488" y="853"/>
                  </a:lnTo>
                  <a:lnTo>
                    <a:pt x="490" y="853"/>
                  </a:lnTo>
                  <a:lnTo>
                    <a:pt x="488" y="854"/>
                  </a:lnTo>
                  <a:lnTo>
                    <a:pt x="488" y="856"/>
                  </a:lnTo>
                  <a:lnTo>
                    <a:pt x="488" y="854"/>
                  </a:lnTo>
                  <a:lnTo>
                    <a:pt x="487" y="854"/>
                  </a:lnTo>
                  <a:lnTo>
                    <a:pt x="487" y="853"/>
                  </a:lnTo>
                  <a:lnTo>
                    <a:pt x="485" y="853"/>
                  </a:lnTo>
                  <a:lnTo>
                    <a:pt x="487" y="853"/>
                  </a:lnTo>
                  <a:lnTo>
                    <a:pt x="485" y="851"/>
                  </a:lnTo>
                  <a:lnTo>
                    <a:pt x="485" y="849"/>
                  </a:lnTo>
                  <a:lnTo>
                    <a:pt x="483" y="849"/>
                  </a:lnTo>
                  <a:lnTo>
                    <a:pt x="483" y="851"/>
                  </a:lnTo>
                  <a:lnTo>
                    <a:pt x="483" y="849"/>
                  </a:lnTo>
                  <a:lnTo>
                    <a:pt x="483" y="851"/>
                  </a:lnTo>
                  <a:lnTo>
                    <a:pt x="485" y="851"/>
                  </a:lnTo>
                  <a:lnTo>
                    <a:pt x="483" y="853"/>
                  </a:lnTo>
                  <a:lnTo>
                    <a:pt x="485" y="853"/>
                  </a:lnTo>
                  <a:lnTo>
                    <a:pt x="483" y="853"/>
                  </a:lnTo>
                  <a:lnTo>
                    <a:pt x="485" y="853"/>
                  </a:lnTo>
                  <a:lnTo>
                    <a:pt x="485" y="854"/>
                  </a:lnTo>
                  <a:lnTo>
                    <a:pt x="485" y="856"/>
                  </a:lnTo>
                  <a:lnTo>
                    <a:pt x="487" y="856"/>
                  </a:lnTo>
                  <a:lnTo>
                    <a:pt x="485" y="856"/>
                  </a:lnTo>
                  <a:lnTo>
                    <a:pt x="487" y="858"/>
                  </a:lnTo>
                  <a:lnTo>
                    <a:pt x="485" y="858"/>
                  </a:lnTo>
                  <a:lnTo>
                    <a:pt x="485" y="856"/>
                  </a:lnTo>
                  <a:lnTo>
                    <a:pt x="485" y="858"/>
                  </a:lnTo>
                  <a:lnTo>
                    <a:pt x="485" y="859"/>
                  </a:lnTo>
                  <a:lnTo>
                    <a:pt x="483" y="861"/>
                  </a:lnTo>
                  <a:lnTo>
                    <a:pt x="485" y="861"/>
                  </a:lnTo>
                  <a:lnTo>
                    <a:pt x="485" y="862"/>
                  </a:lnTo>
                  <a:lnTo>
                    <a:pt x="483" y="862"/>
                  </a:lnTo>
                  <a:lnTo>
                    <a:pt x="483" y="864"/>
                  </a:lnTo>
                  <a:lnTo>
                    <a:pt x="483" y="866"/>
                  </a:lnTo>
                  <a:lnTo>
                    <a:pt x="483" y="867"/>
                  </a:lnTo>
                  <a:lnTo>
                    <a:pt x="482" y="867"/>
                  </a:lnTo>
                  <a:lnTo>
                    <a:pt x="482" y="869"/>
                  </a:lnTo>
                  <a:lnTo>
                    <a:pt x="480" y="867"/>
                  </a:lnTo>
                  <a:lnTo>
                    <a:pt x="482" y="867"/>
                  </a:lnTo>
                  <a:lnTo>
                    <a:pt x="480" y="866"/>
                  </a:lnTo>
                  <a:lnTo>
                    <a:pt x="480" y="864"/>
                  </a:lnTo>
                  <a:lnTo>
                    <a:pt x="479" y="864"/>
                  </a:lnTo>
                  <a:lnTo>
                    <a:pt x="477" y="864"/>
                  </a:lnTo>
                  <a:lnTo>
                    <a:pt x="475" y="864"/>
                  </a:lnTo>
                  <a:lnTo>
                    <a:pt x="475" y="866"/>
                  </a:lnTo>
                  <a:lnTo>
                    <a:pt x="477" y="866"/>
                  </a:lnTo>
                  <a:lnTo>
                    <a:pt x="479" y="869"/>
                  </a:lnTo>
                  <a:lnTo>
                    <a:pt x="480" y="869"/>
                  </a:lnTo>
                  <a:lnTo>
                    <a:pt x="480" y="871"/>
                  </a:lnTo>
                  <a:lnTo>
                    <a:pt x="479" y="871"/>
                  </a:lnTo>
                  <a:lnTo>
                    <a:pt x="477" y="871"/>
                  </a:lnTo>
                  <a:lnTo>
                    <a:pt x="475" y="867"/>
                  </a:lnTo>
                  <a:lnTo>
                    <a:pt x="474" y="867"/>
                  </a:lnTo>
                  <a:lnTo>
                    <a:pt x="474" y="866"/>
                  </a:lnTo>
                  <a:lnTo>
                    <a:pt x="472" y="866"/>
                  </a:lnTo>
                  <a:lnTo>
                    <a:pt x="474" y="869"/>
                  </a:lnTo>
                  <a:lnTo>
                    <a:pt x="472" y="869"/>
                  </a:lnTo>
                  <a:lnTo>
                    <a:pt x="474" y="871"/>
                  </a:lnTo>
                  <a:lnTo>
                    <a:pt x="474" y="872"/>
                  </a:lnTo>
                  <a:lnTo>
                    <a:pt x="472" y="871"/>
                  </a:lnTo>
                  <a:lnTo>
                    <a:pt x="470" y="872"/>
                  </a:lnTo>
                  <a:lnTo>
                    <a:pt x="472" y="872"/>
                  </a:lnTo>
                  <a:lnTo>
                    <a:pt x="470" y="872"/>
                  </a:lnTo>
                  <a:lnTo>
                    <a:pt x="469" y="874"/>
                  </a:lnTo>
                  <a:lnTo>
                    <a:pt x="467" y="874"/>
                  </a:lnTo>
                  <a:lnTo>
                    <a:pt x="467" y="872"/>
                  </a:lnTo>
                  <a:lnTo>
                    <a:pt x="466" y="872"/>
                  </a:lnTo>
                  <a:lnTo>
                    <a:pt x="466" y="874"/>
                  </a:lnTo>
                  <a:lnTo>
                    <a:pt x="467" y="874"/>
                  </a:lnTo>
                  <a:lnTo>
                    <a:pt x="469" y="874"/>
                  </a:lnTo>
                  <a:lnTo>
                    <a:pt x="470" y="874"/>
                  </a:lnTo>
                  <a:lnTo>
                    <a:pt x="470" y="876"/>
                  </a:lnTo>
                  <a:lnTo>
                    <a:pt x="472" y="876"/>
                  </a:lnTo>
                  <a:lnTo>
                    <a:pt x="472" y="874"/>
                  </a:lnTo>
                  <a:lnTo>
                    <a:pt x="472" y="876"/>
                  </a:lnTo>
                  <a:lnTo>
                    <a:pt x="474" y="877"/>
                  </a:lnTo>
                  <a:lnTo>
                    <a:pt x="474" y="876"/>
                  </a:lnTo>
                  <a:lnTo>
                    <a:pt x="475" y="874"/>
                  </a:lnTo>
                  <a:lnTo>
                    <a:pt x="477" y="872"/>
                  </a:lnTo>
                  <a:lnTo>
                    <a:pt x="480" y="872"/>
                  </a:lnTo>
                  <a:lnTo>
                    <a:pt x="482" y="872"/>
                  </a:lnTo>
                  <a:lnTo>
                    <a:pt x="483" y="872"/>
                  </a:lnTo>
                  <a:lnTo>
                    <a:pt x="485" y="872"/>
                  </a:lnTo>
                  <a:lnTo>
                    <a:pt x="487" y="872"/>
                  </a:lnTo>
                  <a:lnTo>
                    <a:pt x="487" y="874"/>
                  </a:lnTo>
                  <a:lnTo>
                    <a:pt x="488" y="874"/>
                  </a:lnTo>
                  <a:lnTo>
                    <a:pt x="488" y="876"/>
                  </a:lnTo>
                  <a:lnTo>
                    <a:pt x="490" y="877"/>
                  </a:lnTo>
                  <a:lnTo>
                    <a:pt x="488" y="877"/>
                  </a:lnTo>
                  <a:lnTo>
                    <a:pt x="487" y="877"/>
                  </a:lnTo>
                  <a:lnTo>
                    <a:pt x="487" y="876"/>
                  </a:lnTo>
                  <a:lnTo>
                    <a:pt x="487" y="879"/>
                  </a:lnTo>
                  <a:lnTo>
                    <a:pt x="485" y="879"/>
                  </a:lnTo>
                  <a:lnTo>
                    <a:pt x="485" y="877"/>
                  </a:lnTo>
                  <a:lnTo>
                    <a:pt x="487" y="877"/>
                  </a:lnTo>
                  <a:lnTo>
                    <a:pt x="485" y="877"/>
                  </a:lnTo>
                  <a:lnTo>
                    <a:pt x="485" y="879"/>
                  </a:lnTo>
                  <a:lnTo>
                    <a:pt x="483" y="877"/>
                  </a:lnTo>
                  <a:lnTo>
                    <a:pt x="482" y="877"/>
                  </a:lnTo>
                  <a:lnTo>
                    <a:pt x="480" y="877"/>
                  </a:lnTo>
                  <a:lnTo>
                    <a:pt x="482" y="877"/>
                  </a:lnTo>
                  <a:lnTo>
                    <a:pt x="480" y="877"/>
                  </a:lnTo>
                  <a:lnTo>
                    <a:pt x="480" y="876"/>
                  </a:lnTo>
                  <a:lnTo>
                    <a:pt x="480" y="877"/>
                  </a:lnTo>
                  <a:lnTo>
                    <a:pt x="480" y="879"/>
                  </a:lnTo>
                  <a:lnTo>
                    <a:pt x="479" y="879"/>
                  </a:lnTo>
                  <a:lnTo>
                    <a:pt x="479" y="880"/>
                  </a:lnTo>
                  <a:lnTo>
                    <a:pt x="477" y="880"/>
                  </a:lnTo>
                  <a:lnTo>
                    <a:pt x="477" y="882"/>
                  </a:lnTo>
                  <a:lnTo>
                    <a:pt x="479" y="882"/>
                  </a:lnTo>
                  <a:lnTo>
                    <a:pt x="479" y="880"/>
                  </a:lnTo>
                  <a:lnTo>
                    <a:pt x="479" y="879"/>
                  </a:lnTo>
                  <a:lnTo>
                    <a:pt x="480" y="879"/>
                  </a:lnTo>
                  <a:lnTo>
                    <a:pt x="480" y="880"/>
                  </a:lnTo>
                  <a:lnTo>
                    <a:pt x="482" y="880"/>
                  </a:lnTo>
                  <a:lnTo>
                    <a:pt x="482" y="882"/>
                  </a:lnTo>
                  <a:lnTo>
                    <a:pt x="482" y="884"/>
                  </a:lnTo>
                  <a:lnTo>
                    <a:pt x="483" y="882"/>
                  </a:lnTo>
                  <a:lnTo>
                    <a:pt x="483" y="884"/>
                  </a:lnTo>
                  <a:lnTo>
                    <a:pt x="483" y="882"/>
                  </a:lnTo>
                  <a:lnTo>
                    <a:pt x="483" y="880"/>
                  </a:lnTo>
                  <a:lnTo>
                    <a:pt x="483" y="882"/>
                  </a:lnTo>
                  <a:lnTo>
                    <a:pt x="485" y="880"/>
                  </a:lnTo>
                  <a:lnTo>
                    <a:pt x="487" y="880"/>
                  </a:lnTo>
                  <a:lnTo>
                    <a:pt x="487" y="882"/>
                  </a:lnTo>
                  <a:lnTo>
                    <a:pt x="487" y="884"/>
                  </a:lnTo>
                  <a:lnTo>
                    <a:pt x="487" y="885"/>
                  </a:lnTo>
                  <a:lnTo>
                    <a:pt x="485" y="885"/>
                  </a:lnTo>
                  <a:lnTo>
                    <a:pt x="485" y="887"/>
                  </a:lnTo>
                  <a:lnTo>
                    <a:pt x="485" y="885"/>
                  </a:lnTo>
                  <a:lnTo>
                    <a:pt x="483" y="885"/>
                  </a:lnTo>
                  <a:lnTo>
                    <a:pt x="483" y="887"/>
                  </a:lnTo>
                  <a:lnTo>
                    <a:pt x="483" y="885"/>
                  </a:lnTo>
                  <a:lnTo>
                    <a:pt x="482" y="885"/>
                  </a:lnTo>
                  <a:lnTo>
                    <a:pt x="480" y="885"/>
                  </a:lnTo>
                  <a:lnTo>
                    <a:pt x="479" y="885"/>
                  </a:lnTo>
                  <a:lnTo>
                    <a:pt x="480" y="885"/>
                  </a:lnTo>
                  <a:lnTo>
                    <a:pt x="482" y="887"/>
                  </a:lnTo>
                  <a:lnTo>
                    <a:pt x="483" y="887"/>
                  </a:lnTo>
                  <a:lnTo>
                    <a:pt x="485" y="889"/>
                  </a:lnTo>
                  <a:lnTo>
                    <a:pt x="483" y="889"/>
                  </a:lnTo>
                  <a:lnTo>
                    <a:pt x="483" y="890"/>
                  </a:lnTo>
                  <a:lnTo>
                    <a:pt x="485" y="890"/>
                  </a:lnTo>
                  <a:lnTo>
                    <a:pt x="483" y="892"/>
                  </a:lnTo>
                  <a:lnTo>
                    <a:pt x="482" y="892"/>
                  </a:lnTo>
                  <a:lnTo>
                    <a:pt x="480" y="892"/>
                  </a:lnTo>
                  <a:lnTo>
                    <a:pt x="482" y="893"/>
                  </a:lnTo>
                  <a:lnTo>
                    <a:pt x="480" y="895"/>
                  </a:lnTo>
                  <a:lnTo>
                    <a:pt x="479" y="895"/>
                  </a:lnTo>
                  <a:lnTo>
                    <a:pt x="479" y="897"/>
                  </a:lnTo>
                  <a:lnTo>
                    <a:pt x="477" y="897"/>
                  </a:lnTo>
                  <a:lnTo>
                    <a:pt x="477" y="895"/>
                  </a:lnTo>
                  <a:lnTo>
                    <a:pt x="477" y="897"/>
                  </a:lnTo>
                  <a:lnTo>
                    <a:pt x="475" y="897"/>
                  </a:lnTo>
                  <a:lnTo>
                    <a:pt x="475" y="895"/>
                  </a:lnTo>
                  <a:lnTo>
                    <a:pt x="475" y="893"/>
                  </a:lnTo>
                  <a:lnTo>
                    <a:pt x="477" y="892"/>
                  </a:lnTo>
                  <a:lnTo>
                    <a:pt x="477" y="890"/>
                  </a:lnTo>
                  <a:lnTo>
                    <a:pt x="475" y="893"/>
                  </a:lnTo>
                  <a:lnTo>
                    <a:pt x="475" y="892"/>
                  </a:lnTo>
                  <a:lnTo>
                    <a:pt x="474" y="892"/>
                  </a:lnTo>
                  <a:lnTo>
                    <a:pt x="474" y="890"/>
                  </a:lnTo>
                  <a:lnTo>
                    <a:pt x="474" y="889"/>
                  </a:lnTo>
                  <a:lnTo>
                    <a:pt x="472" y="889"/>
                  </a:lnTo>
                  <a:lnTo>
                    <a:pt x="470" y="889"/>
                  </a:lnTo>
                  <a:lnTo>
                    <a:pt x="469" y="889"/>
                  </a:lnTo>
                  <a:lnTo>
                    <a:pt x="470" y="889"/>
                  </a:lnTo>
                  <a:lnTo>
                    <a:pt x="470" y="890"/>
                  </a:lnTo>
                  <a:lnTo>
                    <a:pt x="470" y="892"/>
                  </a:lnTo>
                  <a:lnTo>
                    <a:pt x="470" y="890"/>
                  </a:lnTo>
                  <a:lnTo>
                    <a:pt x="469" y="890"/>
                  </a:lnTo>
                  <a:lnTo>
                    <a:pt x="467" y="890"/>
                  </a:lnTo>
                  <a:lnTo>
                    <a:pt x="469" y="892"/>
                  </a:lnTo>
                  <a:lnTo>
                    <a:pt x="467" y="892"/>
                  </a:lnTo>
                  <a:lnTo>
                    <a:pt x="469" y="892"/>
                  </a:lnTo>
                  <a:lnTo>
                    <a:pt x="469" y="893"/>
                  </a:lnTo>
                  <a:lnTo>
                    <a:pt x="467" y="893"/>
                  </a:lnTo>
                  <a:lnTo>
                    <a:pt x="469" y="893"/>
                  </a:lnTo>
                  <a:lnTo>
                    <a:pt x="469" y="895"/>
                  </a:lnTo>
                  <a:lnTo>
                    <a:pt x="469" y="897"/>
                  </a:lnTo>
                  <a:lnTo>
                    <a:pt x="469" y="898"/>
                  </a:lnTo>
                  <a:lnTo>
                    <a:pt x="470" y="898"/>
                  </a:lnTo>
                  <a:lnTo>
                    <a:pt x="470" y="897"/>
                  </a:lnTo>
                  <a:lnTo>
                    <a:pt x="470" y="895"/>
                  </a:lnTo>
                  <a:lnTo>
                    <a:pt x="472" y="895"/>
                  </a:lnTo>
                  <a:lnTo>
                    <a:pt x="474" y="895"/>
                  </a:lnTo>
                  <a:lnTo>
                    <a:pt x="474" y="897"/>
                  </a:lnTo>
                  <a:lnTo>
                    <a:pt x="474" y="898"/>
                  </a:lnTo>
                  <a:lnTo>
                    <a:pt x="474" y="900"/>
                  </a:lnTo>
                  <a:lnTo>
                    <a:pt x="472" y="900"/>
                  </a:lnTo>
                  <a:lnTo>
                    <a:pt x="472" y="902"/>
                  </a:lnTo>
                  <a:lnTo>
                    <a:pt x="470" y="902"/>
                  </a:lnTo>
                  <a:lnTo>
                    <a:pt x="472" y="903"/>
                  </a:lnTo>
                  <a:lnTo>
                    <a:pt x="470" y="903"/>
                  </a:lnTo>
                  <a:lnTo>
                    <a:pt x="469" y="903"/>
                  </a:lnTo>
                  <a:lnTo>
                    <a:pt x="469" y="905"/>
                  </a:lnTo>
                  <a:lnTo>
                    <a:pt x="467" y="905"/>
                  </a:lnTo>
                  <a:lnTo>
                    <a:pt x="467" y="903"/>
                  </a:lnTo>
                  <a:lnTo>
                    <a:pt x="469" y="902"/>
                  </a:lnTo>
                  <a:lnTo>
                    <a:pt x="467" y="900"/>
                  </a:lnTo>
                  <a:lnTo>
                    <a:pt x="467" y="902"/>
                  </a:lnTo>
                  <a:lnTo>
                    <a:pt x="467" y="903"/>
                  </a:lnTo>
                  <a:lnTo>
                    <a:pt x="466" y="903"/>
                  </a:lnTo>
                  <a:lnTo>
                    <a:pt x="466" y="905"/>
                  </a:lnTo>
                  <a:lnTo>
                    <a:pt x="467" y="905"/>
                  </a:lnTo>
                  <a:lnTo>
                    <a:pt x="466" y="905"/>
                  </a:lnTo>
                  <a:lnTo>
                    <a:pt x="466" y="906"/>
                  </a:lnTo>
                  <a:lnTo>
                    <a:pt x="466" y="908"/>
                  </a:lnTo>
                  <a:lnTo>
                    <a:pt x="464" y="908"/>
                  </a:lnTo>
                  <a:lnTo>
                    <a:pt x="462" y="906"/>
                  </a:lnTo>
                  <a:lnTo>
                    <a:pt x="461" y="906"/>
                  </a:lnTo>
                  <a:lnTo>
                    <a:pt x="461" y="905"/>
                  </a:lnTo>
                  <a:lnTo>
                    <a:pt x="462" y="906"/>
                  </a:lnTo>
                  <a:lnTo>
                    <a:pt x="462" y="905"/>
                  </a:lnTo>
                  <a:lnTo>
                    <a:pt x="461" y="905"/>
                  </a:lnTo>
                  <a:lnTo>
                    <a:pt x="459" y="903"/>
                  </a:lnTo>
                  <a:lnTo>
                    <a:pt x="459" y="905"/>
                  </a:lnTo>
                  <a:lnTo>
                    <a:pt x="461" y="905"/>
                  </a:lnTo>
                  <a:lnTo>
                    <a:pt x="459" y="905"/>
                  </a:lnTo>
                  <a:lnTo>
                    <a:pt x="459" y="903"/>
                  </a:lnTo>
                  <a:lnTo>
                    <a:pt x="459" y="905"/>
                  </a:lnTo>
                  <a:lnTo>
                    <a:pt x="457" y="905"/>
                  </a:lnTo>
                  <a:lnTo>
                    <a:pt x="456" y="905"/>
                  </a:lnTo>
                  <a:lnTo>
                    <a:pt x="456" y="903"/>
                  </a:lnTo>
                  <a:lnTo>
                    <a:pt x="456" y="905"/>
                  </a:lnTo>
                  <a:lnTo>
                    <a:pt x="456" y="903"/>
                  </a:lnTo>
                  <a:lnTo>
                    <a:pt x="454" y="903"/>
                  </a:lnTo>
                  <a:lnTo>
                    <a:pt x="454" y="902"/>
                  </a:lnTo>
                  <a:lnTo>
                    <a:pt x="456" y="902"/>
                  </a:lnTo>
                  <a:lnTo>
                    <a:pt x="456" y="900"/>
                  </a:lnTo>
                  <a:lnTo>
                    <a:pt x="456" y="902"/>
                  </a:lnTo>
                  <a:lnTo>
                    <a:pt x="457" y="902"/>
                  </a:lnTo>
                  <a:lnTo>
                    <a:pt x="457" y="903"/>
                  </a:lnTo>
                  <a:lnTo>
                    <a:pt x="457" y="902"/>
                  </a:lnTo>
                  <a:lnTo>
                    <a:pt x="459" y="902"/>
                  </a:lnTo>
                  <a:lnTo>
                    <a:pt x="459" y="903"/>
                  </a:lnTo>
                  <a:lnTo>
                    <a:pt x="461" y="903"/>
                  </a:lnTo>
                  <a:lnTo>
                    <a:pt x="461" y="902"/>
                  </a:lnTo>
                  <a:lnTo>
                    <a:pt x="462" y="902"/>
                  </a:lnTo>
                  <a:lnTo>
                    <a:pt x="464" y="902"/>
                  </a:lnTo>
                  <a:lnTo>
                    <a:pt x="466" y="902"/>
                  </a:lnTo>
                  <a:lnTo>
                    <a:pt x="464" y="902"/>
                  </a:lnTo>
                  <a:lnTo>
                    <a:pt x="464" y="900"/>
                  </a:lnTo>
                  <a:lnTo>
                    <a:pt x="464" y="902"/>
                  </a:lnTo>
                  <a:lnTo>
                    <a:pt x="464" y="900"/>
                  </a:lnTo>
                  <a:lnTo>
                    <a:pt x="462" y="900"/>
                  </a:lnTo>
                  <a:lnTo>
                    <a:pt x="462" y="898"/>
                  </a:lnTo>
                  <a:lnTo>
                    <a:pt x="461" y="898"/>
                  </a:lnTo>
                  <a:lnTo>
                    <a:pt x="459" y="898"/>
                  </a:lnTo>
                  <a:lnTo>
                    <a:pt x="459" y="897"/>
                  </a:lnTo>
                  <a:lnTo>
                    <a:pt x="457" y="897"/>
                  </a:lnTo>
                  <a:lnTo>
                    <a:pt x="457" y="898"/>
                  </a:lnTo>
                  <a:lnTo>
                    <a:pt x="457" y="897"/>
                  </a:lnTo>
                  <a:lnTo>
                    <a:pt x="456" y="897"/>
                  </a:lnTo>
                  <a:lnTo>
                    <a:pt x="457" y="897"/>
                  </a:lnTo>
                  <a:lnTo>
                    <a:pt x="457" y="898"/>
                  </a:lnTo>
                  <a:lnTo>
                    <a:pt x="456" y="898"/>
                  </a:lnTo>
                  <a:lnTo>
                    <a:pt x="456" y="900"/>
                  </a:lnTo>
                  <a:lnTo>
                    <a:pt x="454" y="900"/>
                  </a:lnTo>
                  <a:lnTo>
                    <a:pt x="454" y="902"/>
                  </a:lnTo>
                  <a:lnTo>
                    <a:pt x="453" y="902"/>
                  </a:lnTo>
                  <a:lnTo>
                    <a:pt x="453" y="903"/>
                  </a:lnTo>
                  <a:lnTo>
                    <a:pt x="454" y="903"/>
                  </a:lnTo>
                  <a:lnTo>
                    <a:pt x="454" y="905"/>
                  </a:lnTo>
                  <a:lnTo>
                    <a:pt x="453" y="905"/>
                  </a:lnTo>
                  <a:lnTo>
                    <a:pt x="453" y="903"/>
                  </a:lnTo>
                  <a:lnTo>
                    <a:pt x="451" y="903"/>
                  </a:lnTo>
                  <a:lnTo>
                    <a:pt x="451" y="902"/>
                  </a:lnTo>
                  <a:lnTo>
                    <a:pt x="449" y="902"/>
                  </a:lnTo>
                  <a:lnTo>
                    <a:pt x="449" y="900"/>
                  </a:lnTo>
                  <a:lnTo>
                    <a:pt x="449" y="898"/>
                  </a:lnTo>
                  <a:lnTo>
                    <a:pt x="449" y="897"/>
                  </a:lnTo>
                  <a:lnTo>
                    <a:pt x="448" y="895"/>
                  </a:lnTo>
                  <a:lnTo>
                    <a:pt x="448" y="893"/>
                  </a:lnTo>
                  <a:lnTo>
                    <a:pt x="448" y="892"/>
                  </a:lnTo>
                  <a:lnTo>
                    <a:pt x="449" y="892"/>
                  </a:lnTo>
                  <a:lnTo>
                    <a:pt x="449" y="890"/>
                  </a:lnTo>
                  <a:lnTo>
                    <a:pt x="449" y="889"/>
                  </a:lnTo>
                  <a:lnTo>
                    <a:pt x="448" y="889"/>
                  </a:lnTo>
                  <a:lnTo>
                    <a:pt x="449" y="889"/>
                  </a:lnTo>
                  <a:lnTo>
                    <a:pt x="448" y="887"/>
                  </a:lnTo>
                  <a:lnTo>
                    <a:pt x="448" y="889"/>
                  </a:lnTo>
                  <a:lnTo>
                    <a:pt x="448" y="890"/>
                  </a:lnTo>
                  <a:lnTo>
                    <a:pt x="446" y="890"/>
                  </a:lnTo>
                  <a:lnTo>
                    <a:pt x="446" y="889"/>
                  </a:lnTo>
                  <a:lnTo>
                    <a:pt x="444" y="887"/>
                  </a:lnTo>
                  <a:lnTo>
                    <a:pt x="444" y="885"/>
                  </a:lnTo>
                  <a:lnTo>
                    <a:pt x="443" y="885"/>
                  </a:lnTo>
                  <a:lnTo>
                    <a:pt x="443" y="884"/>
                  </a:lnTo>
                  <a:lnTo>
                    <a:pt x="441" y="884"/>
                  </a:lnTo>
                  <a:lnTo>
                    <a:pt x="441" y="882"/>
                  </a:lnTo>
                  <a:lnTo>
                    <a:pt x="441" y="880"/>
                  </a:lnTo>
                  <a:lnTo>
                    <a:pt x="440" y="880"/>
                  </a:lnTo>
                  <a:lnTo>
                    <a:pt x="440" y="879"/>
                  </a:lnTo>
                  <a:lnTo>
                    <a:pt x="440" y="877"/>
                  </a:lnTo>
                  <a:lnTo>
                    <a:pt x="441" y="877"/>
                  </a:lnTo>
                  <a:lnTo>
                    <a:pt x="441" y="876"/>
                  </a:lnTo>
                  <a:lnTo>
                    <a:pt x="440" y="876"/>
                  </a:lnTo>
                  <a:lnTo>
                    <a:pt x="440" y="877"/>
                  </a:lnTo>
                  <a:lnTo>
                    <a:pt x="440" y="876"/>
                  </a:lnTo>
                  <a:lnTo>
                    <a:pt x="438" y="876"/>
                  </a:lnTo>
                  <a:lnTo>
                    <a:pt x="438" y="874"/>
                  </a:lnTo>
                  <a:lnTo>
                    <a:pt x="438" y="872"/>
                  </a:lnTo>
                  <a:lnTo>
                    <a:pt x="438" y="871"/>
                  </a:lnTo>
                  <a:lnTo>
                    <a:pt x="436" y="869"/>
                  </a:lnTo>
                  <a:lnTo>
                    <a:pt x="436" y="867"/>
                  </a:lnTo>
                  <a:lnTo>
                    <a:pt x="436" y="866"/>
                  </a:lnTo>
                  <a:lnTo>
                    <a:pt x="436" y="864"/>
                  </a:lnTo>
                  <a:lnTo>
                    <a:pt x="435" y="864"/>
                  </a:lnTo>
                  <a:lnTo>
                    <a:pt x="435" y="862"/>
                  </a:lnTo>
                  <a:lnTo>
                    <a:pt x="433" y="861"/>
                  </a:lnTo>
                  <a:lnTo>
                    <a:pt x="431" y="859"/>
                  </a:lnTo>
                  <a:lnTo>
                    <a:pt x="430" y="859"/>
                  </a:lnTo>
                  <a:lnTo>
                    <a:pt x="430" y="858"/>
                  </a:lnTo>
                  <a:lnTo>
                    <a:pt x="428" y="858"/>
                  </a:lnTo>
                  <a:lnTo>
                    <a:pt x="426" y="856"/>
                  </a:lnTo>
                  <a:lnTo>
                    <a:pt x="425" y="856"/>
                  </a:lnTo>
                  <a:lnTo>
                    <a:pt x="425" y="854"/>
                  </a:lnTo>
                  <a:lnTo>
                    <a:pt x="423" y="854"/>
                  </a:lnTo>
                  <a:lnTo>
                    <a:pt x="418" y="856"/>
                  </a:lnTo>
                  <a:lnTo>
                    <a:pt x="417" y="854"/>
                  </a:lnTo>
                  <a:lnTo>
                    <a:pt x="415" y="856"/>
                  </a:lnTo>
                  <a:lnTo>
                    <a:pt x="413" y="856"/>
                  </a:lnTo>
                  <a:lnTo>
                    <a:pt x="412" y="858"/>
                  </a:lnTo>
                  <a:lnTo>
                    <a:pt x="410" y="858"/>
                  </a:lnTo>
                  <a:lnTo>
                    <a:pt x="409" y="858"/>
                  </a:lnTo>
                  <a:lnTo>
                    <a:pt x="407" y="858"/>
                  </a:lnTo>
                  <a:lnTo>
                    <a:pt x="405" y="858"/>
                  </a:lnTo>
                  <a:lnTo>
                    <a:pt x="405" y="856"/>
                  </a:lnTo>
                  <a:lnTo>
                    <a:pt x="404" y="856"/>
                  </a:lnTo>
                  <a:lnTo>
                    <a:pt x="404" y="858"/>
                  </a:lnTo>
                  <a:lnTo>
                    <a:pt x="404" y="856"/>
                  </a:lnTo>
                  <a:lnTo>
                    <a:pt x="404" y="858"/>
                  </a:lnTo>
                  <a:lnTo>
                    <a:pt x="404" y="856"/>
                  </a:lnTo>
                  <a:lnTo>
                    <a:pt x="402" y="858"/>
                  </a:lnTo>
                  <a:lnTo>
                    <a:pt x="404" y="858"/>
                  </a:lnTo>
                  <a:lnTo>
                    <a:pt x="405" y="858"/>
                  </a:lnTo>
                  <a:lnTo>
                    <a:pt x="407" y="858"/>
                  </a:lnTo>
                  <a:lnTo>
                    <a:pt x="409" y="858"/>
                  </a:lnTo>
                  <a:lnTo>
                    <a:pt x="410" y="858"/>
                  </a:lnTo>
                  <a:lnTo>
                    <a:pt x="412" y="858"/>
                  </a:lnTo>
                  <a:lnTo>
                    <a:pt x="413" y="858"/>
                  </a:lnTo>
                  <a:lnTo>
                    <a:pt x="413" y="856"/>
                  </a:lnTo>
                  <a:lnTo>
                    <a:pt x="415" y="856"/>
                  </a:lnTo>
                  <a:lnTo>
                    <a:pt x="418" y="856"/>
                  </a:lnTo>
                  <a:lnTo>
                    <a:pt x="423" y="854"/>
                  </a:lnTo>
                  <a:lnTo>
                    <a:pt x="425" y="856"/>
                  </a:lnTo>
                  <a:lnTo>
                    <a:pt x="426" y="856"/>
                  </a:lnTo>
                  <a:lnTo>
                    <a:pt x="426" y="858"/>
                  </a:lnTo>
                  <a:lnTo>
                    <a:pt x="428" y="858"/>
                  </a:lnTo>
                  <a:lnTo>
                    <a:pt x="430" y="859"/>
                  </a:lnTo>
                  <a:lnTo>
                    <a:pt x="431" y="861"/>
                  </a:lnTo>
                  <a:lnTo>
                    <a:pt x="433" y="861"/>
                  </a:lnTo>
                  <a:lnTo>
                    <a:pt x="433" y="862"/>
                  </a:lnTo>
                  <a:lnTo>
                    <a:pt x="435" y="862"/>
                  </a:lnTo>
                  <a:lnTo>
                    <a:pt x="435" y="864"/>
                  </a:lnTo>
                  <a:lnTo>
                    <a:pt x="436" y="866"/>
                  </a:lnTo>
                  <a:lnTo>
                    <a:pt x="436" y="867"/>
                  </a:lnTo>
                  <a:lnTo>
                    <a:pt x="436" y="869"/>
                  </a:lnTo>
                  <a:lnTo>
                    <a:pt x="436" y="871"/>
                  </a:lnTo>
                  <a:lnTo>
                    <a:pt x="438" y="872"/>
                  </a:lnTo>
                  <a:lnTo>
                    <a:pt x="438" y="874"/>
                  </a:lnTo>
                  <a:lnTo>
                    <a:pt x="438" y="876"/>
                  </a:lnTo>
                  <a:lnTo>
                    <a:pt x="436" y="877"/>
                  </a:lnTo>
                  <a:lnTo>
                    <a:pt x="438" y="877"/>
                  </a:lnTo>
                  <a:lnTo>
                    <a:pt x="438" y="879"/>
                  </a:lnTo>
                  <a:lnTo>
                    <a:pt x="436" y="879"/>
                  </a:lnTo>
                  <a:lnTo>
                    <a:pt x="436" y="880"/>
                  </a:lnTo>
                  <a:lnTo>
                    <a:pt x="435" y="880"/>
                  </a:lnTo>
                  <a:lnTo>
                    <a:pt x="435" y="879"/>
                  </a:lnTo>
                  <a:lnTo>
                    <a:pt x="433" y="879"/>
                  </a:lnTo>
                  <a:lnTo>
                    <a:pt x="431" y="877"/>
                  </a:lnTo>
                  <a:lnTo>
                    <a:pt x="431" y="879"/>
                  </a:lnTo>
                  <a:lnTo>
                    <a:pt x="433" y="879"/>
                  </a:lnTo>
                  <a:lnTo>
                    <a:pt x="433" y="880"/>
                  </a:lnTo>
                  <a:lnTo>
                    <a:pt x="433" y="882"/>
                  </a:lnTo>
                  <a:lnTo>
                    <a:pt x="435" y="882"/>
                  </a:lnTo>
                  <a:lnTo>
                    <a:pt x="436" y="882"/>
                  </a:lnTo>
                  <a:lnTo>
                    <a:pt x="438" y="882"/>
                  </a:lnTo>
                  <a:lnTo>
                    <a:pt x="438" y="884"/>
                  </a:lnTo>
                  <a:lnTo>
                    <a:pt x="440" y="885"/>
                  </a:lnTo>
                  <a:lnTo>
                    <a:pt x="440" y="887"/>
                  </a:lnTo>
                  <a:lnTo>
                    <a:pt x="440" y="885"/>
                  </a:lnTo>
                  <a:lnTo>
                    <a:pt x="440" y="887"/>
                  </a:lnTo>
                  <a:lnTo>
                    <a:pt x="441" y="887"/>
                  </a:lnTo>
                  <a:lnTo>
                    <a:pt x="441" y="885"/>
                  </a:lnTo>
                  <a:lnTo>
                    <a:pt x="443" y="887"/>
                  </a:lnTo>
                  <a:lnTo>
                    <a:pt x="443" y="889"/>
                  </a:lnTo>
                  <a:lnTo>
                    <a:pt x="444" y="889"/>
                  </a:lnTo>
                  <a:lnTo>
                    <a:pt x="443" y="889"/>
                  </a:lnTo>
                  <a:lnTo>
                    <a:pt x="444" y="890"/>
                  </a:lnTo>
                  <a:lnTo>
                    <a:pt x="444" y="892"/>
                  </a:lnTo>
                  <a:lnTo>
                    <a:pt x="446" y="893"/>
                  </a:lnTo>
                  <a:lnTo>
                    <a:pt x="446" y="895"/>
                  </a:lnTo>
                  <a:lnTo>
                    <a:pt x="446" y="897"/>
                  </a:lnTo>
                  <a:lnTo>
                    <a:pt x="448" y="897"/>
                  </a:lnTo>
                  <a:lnTo>
                    <a:pt x="446" y="897"/>
                  </a:lnTo>
                  <a:lnTo>
                    <a:pt x="448" y="895"/>
                  </a:lnTo>
                  <a:lnTo>
                    <a:pt x="448" y="897"/>
                  </a:lnTo>
                  <a:lnTo>
                    <a:pt x="448" y="898"/>
                  </a:lnTo>
                  <a:lnTo>
                    <a:pt x="448" y="900"/>
                  </a:lnTo>
                  <a:lnTo>
                    <a:pt x="448" y="902"/>
                  </a:lnTo>
                  <a:lnTo>
                    <a:pt x="446" y="902"/>
                  </a:lnTo>
                  <a:lnTo>
                    <a:pt x="448" y="902"/>
                  </a:lnTo>
                  <a:lnTo>
                    <a:pt x="448" y="903"/>
                  </a:lnTo>
                  <a:lnTo>
                    <a:pt x="446" y="902"/>
                  </a:lnTo>
                  <a:lnTo>
                    <a:pt x="446" y="903"/>
                  </a:lnTo>
                  <a:lnTo>
                    <a:pt x="448" y="903"/>
                  </a:lnTo>
                  <a:lnTo>
                    <a:pt x="451" y="905"/>
                  </a:lnTo>
                  <a:lnTo>
                    <a:pt x="451" y="906"/>
                  </a:lnTo>
                  <a:lnTo>
                    <a:pt x="453" y="906"/>
                  </a:lnTo>
                  <a:lnTo>
                    <a:pt x="453" y="908"/>
                  </a:lnTo>
                  <a:lnTo>
                    <a:pt x="453" y="910"/>
                  </a:lnTo>
                  <a:lnTo>
                    <a:pt x="454" y="911"/>
                  </a:lnTo>
                  <a:lnTo>
                    <a:pt x="454" y="913"/>
                  </a:lnTo>
                  <a:lnTo>
                    <a:pt x="456" y="913"/>
                  </a:lnTo>
                  <a:lnTo>
                    <a:pt x="454" y="913"/>
                  </a:lnTo>
                  <a:lnTo>
                    <a:pt x="454" y="915"/>
                  </a:lnTo>
                  <a:lnTo>
                    <a:pt x="454" y="916"/>
                  </a:lnTo>
                  <a:lnTo>
                    <a:pt x="456" y="916"/>
                  </a:lnTo>
                  <a:lnTo>
                    <a:pt x="456" y="918"/>
                  </a:lnTo>
                  <a:lnTo>
                    <a:pt x="457" y="918"/>
                  </a:lnTo>
                  <a:lnTo>
                    <a:pt x="457" y="919"/>
                  </a:lnTo>
                  <a:lnTo>
                    <a:pt x="457" y="921"/>
                  </a:lnTo>
                  <a:lnTo>
                    <a:pt x="456" y="921"/>
                  </a:lnTo>
                  <a:lnTo>
                    <a:pt x="456" y="923"/>
                  </a:lnTo>
                  <a:lnTo>
                    <a:pt x="457" y="923"/>
                  </a:lnTo>
                  <a:lnTo>
                    <a:pt x="456" y="923"/>
                  </a:lnTo>
                  <a:lnTo>
                    <a:pt x="456" y="924"/>
                  </a:lnTo>
                  <a:lnTo>
                    <a:pt x="457" y="923"/>
                  </a:lnTo>
                  <a:lnTo>
                    <a:pt x="457" y="924"/>
                  </a:lnTo>
                  <a:lnTo>
                    <a:pt x="457" y="926"/>
                  </a:lnTo>
                  <a:lnTo>
                    <a:pt x="456" y="926"/>
                  </a:lnTo>
                  <a:lnTo>
                    <a:pt x="456" y="924"/>
                  </a:lnTo>
                  <a:lnTo>
                    <a:pt x="454" y="924"/>
                  </a:lnTo>
                  <a:lnTo>
                    <a:pt x="454" y="923"/>
                  </a:lnTo>
                  <a:lnTo>
                    <a:pt x="453" y="923"/>
                  </a:lnTo>
                  <a:lnTo>
                    <a:pt x="451" y="923"/>
                  </a:lnTo>
                  <a:lnTo>
                    <a:pt x="451" y="924"/>
                  </a:lnTo>
                  <a:lnTo>
                    <a:pt x="449" y="924"/>
                  </a:lnTo>
                  <a:lnTo>
                    <a:pt x="449" y="923"/>
                  </a:lnTo>
                  <a:lnTo>
                    <a:pt x="448" y="923"/>
                  </a:lnTo>
                  <a:lnTo>
                    <a:pt x="448" y="924"/>
                  </a:lnTo>
                  <a:lnTo>
                    <a:pt x="449" y="924"/>
                  </a:lnTo>
                  <a:lnTo>
                    <a:pt x="449" y="926"/>
                  </a:lnTo>
                  <a:lnTo>
                    <a:pt x="451" y="924"/>
                  </a:lnTo>
                  <a:lnTo>
                    <a:pt x="453" y="924"/>
                  </a:lnTo>
                  <a:lnTo>
                    <a:pt x="453" y="926"/>
                  </a:lnTo>
                  <a:lnTo>
                    <a:pt x="454" y="926"/>
                  </a:lnTo>
                  <a:lnTo>
                    <a:pt x="454" y="928"/>
                  </a:lnTo>
                  <a:lnTo>
                    <a:pt x="454" y="929"/>
                  </a:lnTo>
                  <a:lnTo>
                    <a:pt x="456" y="928"/>
                  </a:lnTo>
                  <a:lnTo>
                    <a:pt x="457" y="928"/>
                  </a:lnTo>
                  <a:lnTo>
                    <a:pt x="459" y="928"/>
                  </a:lnTo>
                  <a:lnTo>
                    <a:pt x="461" y="928"/>
                  </a:lnTo>
                  <a:lnTo>
                    <a:pt x="462" y="929"/>
                  </a:lnTo>
                  <a:lnTo>
                    <a:pt x="464" y="931"/>
                  </a:lnTo>
                  <a:lnTo>
                    <a:pt x="462" y="931"/>
                  </a:lnTo>
                  <a:lnTo>
                    <a:pt x="462" y="932"/>
                  </a:lnTo>
                  <a:lnTo>
                    <a:pt x="464" y="932"/>
                  </a:lnTo>
                  <a:lnTo>
                    <a:pt x="462" y="934"/>
                  </a:lnTo>
                  <a:lnTo>
                    <a:pt x="462" y="932"/>
                  </a:lnTo>
                  <a:lnTo>
                    <a:pt x="462" y="934"/>
                  </a:lnTo>
                  <a:lnTo>
                    <a:pt x="461" y="936"/>
                  </a:lnTo>
                  <a:lnTo>
                    <a:pt x="459" y="937"/>
                  </a:lnTo>
                  <a:lnTo>
                    <a:pt x="459" y="939"/>
                  </a:lnTo>
                  <a:lnTo>
                    <a:pt x="457" y="939"/>
                  </a:lnTo>
                  <a:lnTo>
                    <a:pt x="459" y="939"/>
                  </a:lnTo>
                  <a:lnTo>
                    <a:pt x="457" y="937"/>
                  </a:lnTo>
                  <a:lnTo>
                    <a:pt x="457" y="939"/>
                  </a:lnTo>
                  <a:lnTo>
                    <a:pt x="457" y="941"/>
                  </a:lnTo>
                  <a:lnTo>
                    <a:pt x="456" y="941"/>
                  </a:lnTo>
                  <a:lnTo>
                    <a:pt x="457" y="941"/>
                  </a:lnTo>
                  <a:lnTo>
                    <a:pt x="456" y="941"/>
                  </a:lnTo>
                  <a:lnTo>
                    <a:pt x="456" y="939"/>
                  </a:lnTo>
                  <a:lnTo>
                    <a:pt x="457" y="939"/>
                  </a:lnTo>
                  <a:lnTo>
                    <a:pt x="457" y="937"/>
                  </a:lnTo>
                  <a:lnTo>
                    <a:pt x="456" y="937"/>
                  </a:lnTo>
                  <a:lnTo>
                    <a:pt x="456" y="936"/>
                  </a:lnTo>
                  <a:lnTo>
                    <a:pt x="454" y="931"/>
                  </a:lnTo>
                  <a:lnTo>
                    <a:pt x="456" y="929"/>
                  </a:lnTo>
                  <a:lnTo>
                    <a:pt x="454" y="929"/>
                  </a:lnTo>
                  <a:lnTo>
                    <a:pt x="454" y="931"/>
                  </a:lnTo>
                  <a:lnTo>
                    <a:pt x="454" y="932"/>
                  </a:lnTo>
                  <a:lnTo>
                    <a:pt x="453" y="932"/>
                  </a:lnTo>
                  <a:lnTo>
                    <a:pt x="454" y="932"/>
                  </a:lnTo>
                  <a:lnTo>
                    <a:pt x="454" y="936"/>
                  </a:lnTo>
                  <a:lnTo>
                    <a:pt x="454" y="934"/>
                  </a:lnTo>
                  <a:lnTo>
                    <a:pt x="454" y="936"/>
                  </a:lnTo>
                  <a:lnTo>
                    <a:pt x="454" y="937"/>
                  </a:lnTo>
                  <a:lnTo>
                    <a:pt x="454" y="936"/>
                  </a:lnTo>
                  <a:lnTo>
                    <a:pt x="454" y="937"/>
                  </a:lnTo>
                  <a:lnTo>
                    <a:pt x="454" y="939"/>
                  </a:lnTo>
                  <a:lnTo>
                    <a:pt x="454" y="941"/>
                  </a:lnTo>
                  <a:lnTo>
                    <a:pt x="454" y="942"/>
                  </a:lnTo>
                  <a:lnTo>
                    <a:pt x="453" y="942"/>
                  </a:lnTo>
                  <a:lnTo>
                    <a:pt x="454" y="942"/>
                  </a:lnTo>
                  <a:lnTo>
                    <a:pt x="453" y="942"/>
                  </a:lnTo>
                  <a:lnTo>
                    <a:pt x="453" y="941"/>
                  </a:lnTo>
                  <a:lnTo>
                    <a:pt x="451" y="941"/>
                  </a:lnTo>
                  <a:lnTo>
                    <a:pt x="453" y="942"/>
                  </a:lnTo>
                  <a:lnTo>
                    <a:pt x="453" y="944"/>
                  </a:lnTo>
                  <a:lnTo>
                    <a:pt x="454" y="944"/>
                  </a:lnTo>
                  <a:lnTo>
                    <a:pt x="454" y="945"/>
                  </a:lnTo>
                  <a:lnTo>
                    <a:pt x="453" y="947"/>
                  </a:lnTo>
                  <a:lnTo>
                    <a:pt x="453" y="949"/>
                  </a:lnTo>
                  <a:lnTo>
                    <a:pt x="451" y="947"/>
                  </a:lnTo>
                  <a:lnTo>
                    <a:pt x="451" y="949"/>
                  </a:lnTo>
                  <a:lnTo>
                    <a:pt x="451" y="950"/>
                  </a:lnTo>
                  <a:lnTo>
                    <a:pt x="449" y="949"/>
                  </a:lnTo>
                  <a:lnTo>
                    <a:pt x="449" y="950"/>
                  </a:lnTo>
                  <a:lnTo>
                    <a:pt x="449" y="952"/>
                  </a:lnTo>
                  <a:lnTo>
                    <a:pt x="449" y="950"/>
                  </a:lnTo>
                  <a:lnTo>
                    <a:pt x="449" y="949"/>
                  </a:lnTo>
                  <a:lnTo>
                    <a:pt x="448" y="949"/>
                  </a:lnTo>
                  <a:lnTo>
                    <a:pt x="448" y="950"/>
                  </a:lnTo>
                  <a:lnTo>
                    <a:pt x="448" y="949"/>
                  </a:lnTo>
                  <a:lnTo>
                    <a:pt x="446" y="949"/>
                  </a:lnTo>
                  <a:lnTo>
                    <a:pt x="446" y="947"/>
                  </a:lnTo>
                  <a:lnTo>
                    <a:pt x="446" y="949"/>
                  </a:lnTo>
                  <a:lnTo>
                    <a:pt x="444" y="949"/>
                  </a:lnTo>
                  <a:lnTo>
                    <a:pt x="444" y="947"/>
                  </a:lnTo>
                  <a:lnTo>
                    <a:pt x="444" y="949"/>
                  </a:lnTo>
                  <a:lnTo>
                    <a:pt x="443" y="949"/>
                  </a:lnTo>
                  <a:lnTo>
                    <a:pt x="443" y="947"/>
                  </a:lnTo>
                  <a:lnTo>
                    <a:pt x="443" y="949"/>
                  </a:lnTo>
                  <a:lnTo>
                    <a:pt x="443" y="950"/>
                  </a:lnTo>
                  <a:lnTo>
                    <a:pt x="441" y="950"/>
                  </a:lnTo>
                  <a:lnTo>
                    <a:pt x="441" y="949"/>
                  </a:lnTo>
                  <a:lnTo>
                    <a:pt x="441" y="950"/>
                  </a:lnTo>
                  <a:lnTo>
                    <a:pt x="440" y="950"/>
                  </a:lnTo>
                  <a:lnTo>
                    <a:pt x="440" y="952"/>
                  </a:lnTo>
                  <a:lnTo>
                    <a:pt x="440" y="954"/>
                  </a:lnTo>
                  <a:lnTo>
                    <a:pt x="440" y="955"/>
                  </a:lnTo>
                  <a:lnTo>
                    <a:pt x="441" y="957"/>
                  </a:lnTo>
                  <a:lnTo>
                    <a:pt x="443" y="957"/>
                  </a:lnTo>
                  <a:lnTo>
                    <a:pt x="443" y="958"/>
                  </a:lnTo>
                  <a:lnTo>
                    <a:pt x="443" y="960"/>
                  </a:lnTo>
                  <a:lnTo>
                    <a:pt x="441" y="958"/>
                  </a:lnTo>
                  <a:lnTo>
                    <a:pt x="443" y="960"/>
                  </a:lnTo>
                  <a:lnTo>
                    <a:pt x="444" y="960"/>
                  </a:lnTo>
                  <a:lnTo>
                    <a:pt x="443" y="960"/>
                  </a:lnTo>
                  <a:lnTo>
                    <a:pt x="444" y="960"/>
                  </a:lnTo>
                  <a:lnTo>
                    <a:pt x="444" y="962"/>
                  </a:lnTo>
                  <a:lnTo>
                    <a:pt x="444" y="960"/>
                  </a:lnTo>
                  <a:lnTo>
                    <a:pt x="444" y="962"/>
                  </a:lnTo>
                  <a:lnTo>
                    <a:pt x="446" y="962"/>
                  </a:lnTo>
                  <a:lnTo>
                    <a:pt x="444" y="962"/>
                  </a:lnTo>
                  <a:lnTo>
                    <a:pt x="444" y="963"/>
                  </a:lnTo>
                  <a:lnTo>
                    <a:pt x="446" y="963"/>
                  </a:lnTo>
                  <a:lnTo>
                    <a:pt x="446" y="965"/>
                  </a:lnTo>
                  <a:lnTo>
                    <a:pt x="444" y="965"/>
                  </a:lnTo>
                  <a:lnTo>
                    <a:pt x="444" y="963"/>
                  </a:lnTo>
                  <a:lnTo>
                    <a:pt x="443" y="963"/>
                  </a:lnTo>
                  <a:lnTo>
                    <a:pt x="441" y="963"/>
                  </a:lnTo>
                  <a:lnTo>
                    <a:pt x="441" y="962"/>
                  </a:lnTo>
                  <a:lnTo>
                    <a:pt x="440" y="962"/>
                  </a:lnTo>
                  <a:lnTo>
                    <a:pt x="440" y="960"/>
                  </a:lnTo>
                  <a:lnTo>
                    <a:pt x="438" y="960"/>
                  </a:lnTo>
                  <a:lnTo>
                    <a:pt x="436" y="958"/>
                  </a:lnTo>
                  <a:lnTo>
                    <a:pt x="435" y="958"/>
                  </a:lnTo>
                  <a:lnTo>
                    <a:pt x="433" y="958"/>
                  </a:lnTo>
                  <a:lnTo>
                    <a:pt x="431" y="958"/>
                  </a:lnTo>
                  <a:lnTo>
                    <a:pt x="430" y="955"/>
                  </a:lnTo>
                  <a:lnTo>
                    <a:pt x="430" y="954"/>
                  </a:lnTo>
                  <a:lnTo>
                    <a:pt x="428" y="952"/>
                  </a:lnTo>
                  <a:lnTo>
                    <a:pt x="428" y="950"/>
                  </a:lnTo>
                  <a:lnTo>
                    <a:pt x="428" y="952"/>
                  </a:lnTo>
                  <a:lnTo>
                    <a:pt x="428" y="950"/>
                  </a:lnTo>
                  <a:lnTo>
                    <a:pt x="426" y="950"/>
                  </a:lnTo>
                  <a:lnTo>
                    <a:pt x="426" y="949"/>
                  </a:lnTo>
                  <a:lnTo>
                    <a:pt x="425" y="949"/>
                  </a:lnTo>
                  <a:lnTo>
                    <a:pt x="426" y="949"/>
                  </a:lnTo>
                  <a:lnTo>
                    <a:pt x="426" y="950"/>
                  </a:lnTo>
                  <a:lnTo>
                    <a:pt x="425" y="950"/>
                  </a:lnTo>
                  <a:lnTo>
                    <a:pt x="425" y="949"/>
                  </a:lnTo>
                  <a:lnTo>
                    <a:pt x="425" y="947"/>
                  </a:lnTo>
                  <a:lnTo>
                    <a:pt x="425" y="949"/>
                  </a:lnTo>
                  <a:lnTo>
                    <a:pt x="425" y="950"/>
                  </a:lnTo>
                  <a:lnTo>
                    <a:pt x="425" y="949"/>
                  </a:lnTo>
                  <a:lnTo>
                    <a:pt x="425" y="950"/>
                  </a:lnTo>
                  <a:lnTo>
                    <a:pt x="423" y="950"/>
                  </a:lnTo>
                  <a:lnTo>
                    <a:pt x="423" y="949"/>
                  </a:lnTo>
                  <a:lnTo>
                    <a:pt x="423" y="947"/>
                  </a:lnTo>
                  <a:lnTo>
                    <a:pt x="423" y="945"/>
                  </a:lnTo>
                  <a:lnTo>
                    <a:pt x="425" y="947"/>
                  </a:lnTo>
                  <a:lnTo>
                    <a:pt x="425" y="949"/>
                  </a:lnTo>
                  <a:lnTo>
                    <a:pt x="425" y="947"/>
                  </a:lnTo>
                  <a:lnTo>
                    <a:pt x="425" y="945"/>
                  </a:lnTo>
                  <a:lnTo>
                    <a:pt x="423" y="945"/>
                  </a:lnTo>
                  <a:lnTo>
                    <a:pt x="422" y="944"/>
                  </a:lnTo>
                  <a:lnTo>
                    <a:pt x="422" y="945"/>
                  </a:lnTo>
                  <a:lnTo>
                    <a:pt x="422" y="947"/>
                  </a:lnTo>
                  <a:lnTo>
                    <a:pt x="420" y="949"/>
                  </a:lnTo>
                  <a:lnTo>
                    <a:pt x="422" y="947"/>
                  </a:lnTo>
                  <a:lnTo>
                    <a:pt x="422" y="945"/>
                  </a:lnTo>
                  <a:lnTo>
                    <a:pt x="422" y="944"/>
                  </a:lnTo>
                  <a:lnTo>
                    <a:pt x="423" y="944"/>
                  </a:lnTo>
                  <a:lnTo>
                    <a:pt x="423" y="945"/>
                  </a:lnTo>
                  <a:lnTo>
                    <a:pt x="423" y="947"/>
                  </a:lnTo>
                  <a:lnTo>
                    <a:pt x="423" y="949"/>
                  </a:lnTo>
                  <a:lnTo>
                    <a:pt x="423" y="950"/>
                  </a:lnTo>
                  <a:lnTo>
                    <a:pt x="422" y="952"/>
                  </a:lnTo>
                  <a:lnTo>
                    <a:pt x="420" y="952"/>
                  </a:lnTo>
                  <a:lnTo>
                    <a:pt x="418" y="952"/>
                  </a:lnTo>
                  <a:lnTo>
                    <a:pt x="418" y="954"/>
                  </a:lnTo>
                  <a:lnTo>
                    <a:pt x="417" y="954"/>
                  </a:lnTo>
                  <a:lnTo>
                    <a:pt x="417" y="955"/>
                  </a:lnTo>
                  <a:lnTo>
                    <a:pt x="418" y="955"/>
                  </a:lnTo>
                  <a:lnTo>
                    <a:pt x="417" y="957"/>
                  </a:lnTo>
                  <a:lnTo>
                    <a:pt x="417" y="955"/>
                  </a:lnTo>
                  <a:lnTo>
                    <a:pt x="417" y="957"/>
                  </a:lnTo>
                  <a:lnTo>
                    <a:pt x="418" y="957"/>
                  </a:lnTo>
                  <a:lnTo>
                    <a:pt x="420" y="958"/>
                  </a:lnTo>
                  <a:lnTo>
                    <a:pt x="422" y="960"/>
                  </a:lnTo>
                  <a:lnTo>
                    <a:pt x="422" y="962"/>
                  </a:lnTo>
                  <a:lnTo>
                    <a:pt x="422" y="963"/>
                  </a:lnTo>
                  <a:lnTo>
                    <a:pt x="422" y="965"/>
                  </a:lnTo>
                  <a:lnTo>
                    <a:pt x="423" y="965"/>
                  </a:lnTo>
                  <a:lnTo>
                    <a:pt x="423" y="967"/>
                  </a:lnTo>
                  <a:lnTo>
                    <a:pt x="422" y="967"/>
                  </a:lnTo>
                  <a:lnTo>
                    <a:pt x="420" y="968"/>
                  </a:lnTo>
                  <a:lnTo>
                    <a:pt x="420" y="967"/>
                  </a:lnTo>
                  <a:lnTo>
                    <a:pt x="418" y="967"/>
                  </a:lnTo>
                  <a:lnTo>
                    <a:pt x="417" y="968"/>
                  </a:lnTo>
                  <a:lnTo>
                    <a:pt x="418" y="968"/>
                  </a:lnTo>
                  <a:lnTo>
                    <a:pt x="420" y="968"/>
                  </a:lnTo>
                  <a:lnTo>
                    <a:pt x="422" y="970"/>
                  </a:lnTo>
                  <a:lnTo>
                    <a:pt x="422" y="971"/>
                  </a:lnTo>
                  <a:lnTo>
                    <a:pt x="422" y="973"/>
                  </a:lnTo>
                  <a:lnTo>
                    <a:pt x="422" y="975"/>
                  </a:lnTo>
                  <a:lnTo>
                    <a:pt x="422" y="976"/>
                  </a:lnTo>
                  <a:lnTo>
                    <a:pt x="422" y="978"/>
                  </a:lnTo>
                  <a:lnTo>
                    <a:pt x="423" y="978"/>
                  </a:lnTo>
                  <a:lnTo>
                    <a:pt x="423" y="980"/>
                  </a:lnTo>
                  <a:lnTo>
                    <a:pt x="423" y="981"/>
                  </a:lnTo>
                  <a:lnTo>
                    <a:pt x="423" y="983"/>
                  </a:lnTo>
                  <a:lnTo>
                    <a:pt x="425" y="983"/>
                  </a:lnTo>
                  <a:lnTo>
                    <a:pt x="425" y="984"/>
                  </a:lnTo>
                  <a:lnTo>
                    <a:pt x="423" y="984"/>
                  </a:lnTo>
                  <a:lnTo>
                    <a:pt x="422" y="984"/>
                  </a:lnTo>
                  <a:lnTo>
                    <a:pt x="420" y="983"/>
                  </a:lnTo>
                  <a:lnTo>
                    <a:pt x="422" y="981"/>
                  </a:lnTo>
                  <a:lnTo>
                    <a:pt x="420" y="981"/>
                  </a:lnTo>
                  <a:lnTo>
                    <a:pt x="418" y="981"/>
                  </a:lnTo>
                  <a:lnTo>
                    <a:pt x="420" y="981"/>
                  </a:lnTo>
                  <a:lnTo>
                    <a:pt x="422" y="981"/>
                  </a:lnTo>
                  <a:lnTo>
                    <a:pt x="420" y="981"/>
                  </a:lnTo>
                  <a:lnTo>
                    <a:pt x="420" y="983"/>
                  </a:lnTo>
                  <a:lnTo>
                    <a:pt x="422" y="984"/>
                  </a:lnTo>
                  <a:lnTo>
                    <a:pt x="423" y="984"/>
                  </a:lnTo>
                  <a:lnTo>
                    <a:pt x="425" y="984"/>
                  </a:lnTo>
                  <a:lnTo>
                    <a:pt x="425" y="983"/>
                  </a:lnTo>
                  <a:lnTo>
                    <a:pt x="423" y="983"/>
                  </a:lnTo>
                  <a:lnTo>
                    <a:pt x="423" y="981"/>
                  </a:lnTo>
                  <a:lnTo>
                    <a:pt x="423" y="980"/>
                  </a:lnTo>
                  <a:lnTo>
                    <a:pt x="423" y="978"/>
                  </a:lnTo>
                  <a:lnTo>
                    <a:pt x="423" y="976"/>
                  </a:lnTo>
                  <a:lnTo>
                    <a:pt x="423" y="975"/>
                  </a:lnTo>
                  <a:lnTo>
                    <a:pt x="423" y="976"/>
                  </a:lnTo>
                  <a:lnTo>
                    <a:pt x="425" y="976"/>
                  </a:lnTo>
                  <a:lnTo>
                    <a:pt x="425" y="975"/>
                  </a:lnTo>
                  <a:lnTo>
                    <a:pt x="426" y="975"/>
                  </a:lnTo>
                  <a:lnTo>
                    <a:pt x="426" y="976"/>
                  </a:lnTo>
                  <a:lnTo>
                    <a:pt x="428" y="978"/>
                  </a:lnTo>
                  <a:lnTo>
                    <a:pt x="430" y="980"/>
                  </a:lnTo>
                  <a:lnTo>
                    <a:pt x="428" y="981"/>
                  </a:lnTo>
                  <a:lnTo>
                    <a:pt x="430" y="981"/>
                  </a:lnTo>
                  <a:lnTo>
                    <a:pt x="430" y="983"/>
                  </a:lnTo>
                  <a:lnTo>
                    <a:pt x="430" y="981"/>
                  </a:lnTo>
                  <a:lnTo>
                    <a:pt x="431" y="983"/>
                  </a:lnTo>
                  <a:lnTo>
                    <a:pt x="430" y="984"/>
                  </a:lnTo>
                  <a:lnTo>
                    <a:pt x="430" y="983"/>
                  </a:lnTo>
                  <a:lnTo>
                    <a:pt x="428" y="984"/>
                  </a:lnTo>
                  <a:lnTo>
                    <a:pt x="430" y="984"/>
                  </a:lnTo>
                  <a:lnTo>
                    <a:pt x="431" y="984"/>
                  </a:lnTo>
                  <a:lnTo>
                    <a:pt x="433" y="984"/>
                  </a:lnTo>
                  <a:lnTo>
                    <a:pt x="433" y="986"/>
                  </a:lnTo>
                  <a:lnTo>
                    <a:pt x="435" y="986"/>
                  </a:lnTo>
                  <a:lnTo>
                    <a:pt x="436" y="986"/>
                  </a:lnTo>
                  <a:lnTo>
                    <a:pt x="438" y="986"/>
                  </a:lnTo>
                  <a:lnTo>
                    <a:pt x="440" y="986"/>
                  </a:lnTo>
                  <a:lnTo>
                    <a:pt x="440" y="988"/>
                  </a:lnTo>
                  <a:lnTo>
                    <a:pt x="440" y="986"/>
                  </a:lnTo>
                  <a:lnTo>
                    <a:pt x="441" y="986"/>
                  </a:lnTo>
                  <a:lnTo>
                    <a:pt x="441" y="988"/>
                  </a:lnTo>
                  <a:lnTo>
                    <a:pt x="441" y="986"/>
                  </a:lnTo>
                  <a:lnTo>
                    <a:pt x="441" y="988"/>
                  </a:lnTo>
                  <a:lnTo>
                    <a:pt x="441" y="986"/>
                  </a:lnTo>
                  <a:lnTo>
                    <a:pt x="443" y="988"/>
                  </a:lnTo>
                  <a:lnTo>
                    <a:pt x="443" y="989"/>
                  </a:lnTo>
                  <a:lnTo>
                    <a:pt x="443" y="991"/>
                  </a:lnTo>
                  <a:lnTo>
                    <a:pt x="441" y="991"/>
                  </a:lnTo>
                  <a:lnTo>
                    <a:pt x="440" y="991"/>
                  </a:lnTo>
                  <a:lnTo>
                    <a:pt x="441" y="991"/>
                  </a:lnTo>
                  <a:lnTo>
                    <a:pt x="440" y="991"/>
                  </a:lnTo>
                  <a:lnTo>
                    <a:pt x="441" y="993"/>
                  </a:lnTo>
                  <a:lnTo>
                    <a:pt x="440" y="993"/>
                  </a:lnTo>
                  <a:lnTo>
                    <a:pt x="438" y="993"/>
                  </a:lnTo>
                  <a:lnTo>
                    <a:pt x="438" y="994"/>
                  </a:lnTo>
                  <a:lnTo>
                    <a:pt x="436" y="994"/>
                  </a:lnTo>
                  <a:lnTo>
                    <a:pt x="436" y="996"/>
                  </a:lnTo>
                  <a:lnTo>
                    <a:pt x="436" y="994"/>
                  </a:lnTo>
                  <a:lnTo>
                    <a:pt x="435" y="994"/>
                  </a:lnTo>
                  <a:lnTo>
                    <a:pt x="435" y="993"/>
                  </a:lnTo>
                  <a:lnTo>
                    <a:pt x="435" y="991"/>
                  </a:lnTo>
                  <a:lnTo>
                    <a:pt x="436" y="993"/>
                  </a:lnTo>
                  <a:lnTo>
                    <a:pt x="436" y="991"/>
                  </a:lnTo>
                  <a:lnTo>
                    <a:pt x="438" y="991"/>
                  </a:lnTo>
                  <a:lnTo>
                    <a:pt x="438" y="989"/>
                  </a:lnTo>
                  <a:lnTo>
                    <a:pt x="436" y="989"/>
                  </a:lnTo>
                  <a:lnTo>
                    <a:pt x="435" y="989"/>
                  </a:lnTo>
                  <a:lnTo>
                    <a:pt x="433" y="989"/>
                  </a:lnTo>
                  <a:lnTo>
                    <a:pt x="433" y="991"/>
                  </a:lnTo>
                  <a:lnTo>
                    <a:pt x="433" y="993"/>
                  </a:lnTo>
                  <a:lnTo>
                    <a:pt x="433" y="994"/>
                  </a:lnTo>
                  <a:lnTo>
                    <a:pt x="435" y="994"/>
                  </a:lnTo>
                  <a:lnTo>
                    <a:pt x="433" y="994"/>
                  </a:lnTo>
                  <a:lnTo>
                    <a:pt x="433" y="996"/>
                  </a:lnTo>
                  <a:lnTo>
                    <a:pt x="435" y="996"/>
                  </a:lnTo>
                  <a:lnTo>
                    <a:pt x="435" y="994"/>
                  </a:lnTo>
                  <a:lnTo>
                    <a:pt x="435" y="996"/>
                  </a:lnTo>
                  <a:lnTo>
                    <a:pt x="435" y="994"/>
                  </a:lnTo>
                  <a:lnTo>
                    <a:pt x="436" y="996"/>
                  </a:lnTo>
                  <a:lnTo>
                    <a:pt x="436" y="997"/>
                  </a:lnTo>
                  <a:lnTo>
                    <a:pt x="436" y="999"/>
                  </a:lnTo>
                  <a:lnTo>
                    <a:pt x="435" y="999"/>
                  </a:lnTo>
                  <a:lnTo>
                    <a:pt x="435" y="997"/>
                  </a:lnTo>
                  <a:lnTo>
                    <a:pt x="433" y="997"/>
                  </a:lnTo>
                  <a:lnTo>
                    <a:pt x="435" y="997"/>
                  </a:lnTo>
                  <a:lnTo>
                    <a:pt x="433" y="996"/>
                  </a:lnTo>
                  <a:lnTo>
                    <a:pt x="435" y="996"/>
                  </a:lnTo>
                  <a:lnTo>
                    <a:pt x="433" y="996"/>
                  </a:lnTo>
                  <a:lnTo>
                    <a:pt x="433" y="997"/>
                  </a:lnTo>
                  <a:lnTo>
                    <a:pt x="435" y="997"/>
                  </a:lnTo>
                  <a:lnTo>
                    <a:pt x="435" y="999"/>
                  </a:lnTo>
                  <a:lnTo>
                    <a:pt x="435" y="1001"/>
                  </a:lnTo>
                  <a:lnTo>
                    <a:pt x="435" y="1002"/>
                  </a:lnTo>
                  <a:lnTo>
                    <a:pt x="433" y="1002"/>
                  </a:lnTo>
                  <a:lnTo>
                    <a:pt x="433" y="1004"/>
                  </a:lnTo>
                  <a:lnTo>
                    <a:pt x="433" y="1002"/>
                  </a:lnTo>
                  <a:lnTo>
                    <a:pt x="433" y="1004"/>
                  </a:lnTo>
                  <a:lnTo>
                    <a:pt x="433" y="1006"/>
                  </a:lnTo>
                  <a:lnTo>
                    <a:pt x="433" y="1007"/>
                  </a:lnTo>
                  <a:lnTo>
                    <a:pt x="431" y="1007"/>
                  </a:lnTo>
                  <a:lnTo>
                    <a:pt x="433" y="1009"/>
                  </a:lnTo>
                  <a:lnTo>
                    <a:pt x="431" y="1009"/>
                  </a:lnTo>
                  <a:lnTo>
                    <a:pt x="433" y="1009"/>
                  </a:lnTo>
                  <a:lnTo>
                    <a:pt x="433" y="1010"/>
                  </a:lnTo>
                  <a:lnTo>
                    <a:pt x="431" y="1010"/>
                  </a:lnTo>
                  <a:lnTo>
                    <a:pt x="433" y="1010"/>
                  </a:lnTo>
                  <a:lnTo>
                    <a:pt x="431" y="1012"/>
                  </a:lnTo>
                  <a:lnTo>
                    <a:pt x="433" y="1012"/>
                  </a:lnTo>
                  <a:lnTo>
                    <a:pt x="431" y="1012"/>
                  </a:lnTo>
                  <a:lnTo>
                    <a:pt x="431" y="1014"/>
                  </a:lnTo>
                  <a:lnTo>
                    <a:pt x="430" y="1014"/>
                  </a:lnTo>
                  <a:lnTo>
                    <a:pt x="431" y="1014"/>
                  </a:lnTo>
                  <a:lnTo>
                    <a:pt x="433" y="1014"/>
                  </a:lnTo>
                  <a:lnTo>
                    <a:pt x="431" y="1015"/>
                  </a:lnTo>
                  <a:lnTo>
                    <a:pt x="433" y="1015"/>
                  </a:lnTo>
                  <a:lnTo>
                    <a:pt x="433" y="1017"/>
                  </a:lnTo>
                  <a:lnTo>
                    <a:pt x="433" y="1019"/>
                  </a:lnTo>
                  <a:lnTo>
                    <a:pt x="433" y="1017"/>
                  </a:lnTo>
                  <a:lnTo>
                    <a:pt x="433" y="1019"/>
                  </a:lnTo>
                  <a:lnTo>
                    <a:pt x="431" y="1019"/>
                  </a:lnTo>
                  <a:lnTo>
                    <a:pt x="430" y="1019"/>
                  </a:lnTo>
                  <a:lnTo>
                    <a:pt x="430" y="1020"/>
                  </a:lnTo>
                  <a:lnTo>
                    <a:pt x="431" y="1020"/>
                  </a:lnTo>
                  <a:lnTo>
                    <a:pt x="433" y="1020"/>
                  </a:lnTo>
                  <a:lnTo>
                    <a:pt x="433" y="1022"/>
                  </a:lnTo>
                  <a:lnTo>
                    <a:pt x="433" y="1024"/>
                  </a:lnTo>
                  <a:lnTo>
                    <a:pt x="431" y="1024"/>
                  </a:lnTo>
                  <a:lnTo>
                    <a:pt x="430" y="1024"/>
                  </a:lnTo>
                  <a:lnTo>
                    <a:pt x="428" y="1024"/>
                  </a:lnTo>
                  <a:lnTo>
                    <a:pt x="428" y="1025"/>
                  </a:lnTo>
                  <a:lnTo>
                    <a:pt x="430" y="1025"/>
                  </a:lnTo>
                  <a:lnTo>
                    <a:pt x="430" y="1027"/>
                  </a:lnTo>
                  <a:lnTo>
                    <a:pt x="428" y="1028"/>
                  </a:lnTo>
                  <a:lnTo>
                    <a:pt x="430" y="1030"/>
                  </a:lnTo>
                  <a:lnTo>
                    <a:pt x="428" y="1030"/>
                  </a:lnTo>
                  <a:lnTo>
                    <a:pt x="426" y="1030"/>
                  </a:lnTo>
                  <a:lnTo>
                    <a:pt x="426" y="1028"/>
                  </a:lnTo>
                  <a:lnTo>
                    <a:pt x="426" y="1030"/>
                  </a:lnTo>
                  <a:lnTo>
                    <a:pt x="426" y="1032"/>
                  </a:lnTo>
                  <a:lnTo>
                    <a:pt x="426" y="1033"/>
                  </a:lnTo>
                  <a:lnTo>
                    <a:pt x="425" y="1033"/>
                  </a:lnTo>
                  <a:lnTo>
                    <a:pt x="426" y="1035"/>
                  </a:lnTo>
                  <a:lnTo>
                    <a:pt x="426" y="1037"/>
                  </a:lnTo>
                  <a:lnTo>
                    <a:pt x="428" y="1038"/>
                  </a:lnTo>
                  <a:lnTo>
                    <a:pt x="426" y="1038"/>
                  </a:lnTo>
                  <a:lnTo>
                    <a:pt x="428" y="1038"/>
                  </a:lnTo>
                  <a:lnTo>
                    <a:pt x="428" y="1040"/>
                  </a:lnTo>
                  <a:lnTo>
                    <a:pt x="428" y="1038"/>
                  </a:lnTo>
                  <a:lnTo>
                    <a:pt x="430" y="1040"/>
                  </a:lnTo>
                  <a:lnTo>
                    <a:pt x="428" y="1040"/>
                  </a:lnTo>
                  <a:lnTo>
                    <a:pt x="430" y="1040"/>
                  </a:lnTo>
                  <a:lnTo>
                    <a:pt x="428" y="1041"/>
                  </a:lnTo>
                  <a:lnTo>
                    <a:pt x="430" y="1041"/>
                  </a:lnTo>
                  <a:lnTo>
                    <a:pt x="428" y="1041"/>
                  </a:lnTo>
                  <a:lnTo>
                    <a:pt x="430" y="1041"/>
                  </a:lnTo>
                  <a:lnTo>
                    <a:pt x="428" y="1041"/>
                  </a:lnTo>
                  <a:lnTo>
                    <a:pt x="428" y="1043"/>
                  </a:lnTo>
                  <a:lnTo>
                    <a:pt x="428" y="1041"/>
                  </a:lnTo>
                  <a:lnTo>
                    <a:pt x="428" y="1043"/>
                  </a:lnTo>
                  <a:lnTo>
                    <a:pt x="428" y="1041"/>
                  </a:lnTo>
                  <a:lnTo>
                    <a:pt x="428" y="1043"/>
                  </a:lnTo>
                  <a:lnTo>
                    <a:pt x="426" y="1043"/>
                  </a:lnTo>
                  <a:lnTo>
                    <a:pt x="428" y="1043"/>
                  </a:lnTo>
                  <a:lnTo>
                    <a:pt x="426" y="1043"/>
                  </a:lnTo>
                  <a:lnTo>
                    <a:pt x="426" y="1045"/>
                  </a:lnTo>
                  <a:lnTo>
                    <a:pt x="426" y="1043"/>
                  </a:lnTo>
                  <a:lnTo>
                    <a:pt x="426" y="1045"/>
                  </a:lnTo>
                  <a:lnTo>
                    <a:pt x="425" y="1045"/>
                  </a:lnTo>
                  <a:lnTo>
                    <a:pt x="426" y="1045"/>
                  </a:lnTo>
                  <a:lnTo>
                    <a:pt x="426" y="1046"/>
                  </a:lnTo>
                  <a:lnTo>
                    <a:pt x="426" y="1045"/>
                  </a:lnTo>
                  <a:lnTo>
                    <a:pt x="426" y="1046"/>
                  </a:lnTo>
                  <a:lnTo>
                    <a:pt x="428" y="1045"/>
                  </a:lnTo>
                  <a:lnTo>
                    <a:pt x="428" y="1046"/>
                  </a:lnTo>
                  <a:lnTo>
                    <a:pt x="428" y="1045"/>
                  </a:lnTo>
                  <a:lnTo>
                    <a:pt x="428" y="1046"/>
                  </a:lnTo>
                  <a:lnTo>
                    <a:pt x="428" y="1048"/>
                  </a:lnTo>
                  <a:lnTo>
                    <a:pt x="426" y="1050"/>
                  </a:lnTo>
                  <a:lnTo>
                    <a:pt x="428" y="1050"/>
                  </a:lnTo>
                  <a:lnTo>
                    <a:pt x="428" y="1048"/>
                  </a:lnTo>
                  <a:lnTo>
                    <a:pt x="428" y="1050"/>
                  </a:lnTo>
                  <a:lnTo>
                    <a:pt x="428" y="1048"/>
                  </a:lnTo>
                  <a:lnTo>
                    <a:pt x="430" y="1048"/>
                  </a:lnTo>
                  <a:lnTo>
                    <a:pt x="430" y="1050"/>
                  </a:lnTo>
                  <a:lnTo>
                    <a:pt x="428" y="1050"/>
                  </a:lnTo>
                  <a:lnTo>
                    <a:pt x="430" y="1050"/>
                  </a:lnTo>
                  <a:lnTo>
                    <a:pt x="430" y="1051"/>
                  </a:lnTo>
                  <a:lnTo>
                    <a:pt x="430" y="1050"/>
                  </a:lnTo>
                  <a:lnTo>
                    <a:pt x="431" y="1050"/>
                  </a:lnTo>
                  <a:lnTo>
                    <a:pt x="431" y="1048"/>
                  </a:lnTo>
                  <a:lnTo>
                    <a:pt x="433" y="1050"/>
                  </a:lnTo>
                  <a:lnTo>
                    <a:pt x="433" y="1048"/>
                  </a:lnTo>
                  <a:lnTo>
                    <a:pt x="433" y="1050"/>
                  </a:lnTo>
                  <a:lnTo>
                    <a:pt x="433" y="1048"/>
                  </a:lnTo>
                  <a:lnTo>
                    <a:pt x="433" y="1050"/>
                  </a:lnTo>
                  <a:lnTo>
                    <a:pt x="435" y="1050"/>
                  </a:lnTo>
                  <a:lnTo>
                    <a:pt x="433" y="1051"/>
                  </a:lnTo>
                  <a:lnTo>
                    <a:pt x="433" y="1050"/>
                  </a:lnTo>
                  <a:lnTo>
                    <a:pt x="433" y="1051"/>
                  </a:lnTo>
                  <a:lnTo>
                    <a:pt x="431" y="1051"/>
                  </a:lnTo>
                  <a:lnTo>
                    <a:pt x="433" y="1051"/>
                  </a:lnTo>
                  <a:lnTo>
                    <a:pt x="433" y="1053"/>
                  </a:lnTo>
                  <a:lnTo>
                    <a:pt x="431" y="1053"/>
                  </a:lnTo>
                  <a:lnTo>
                    <a:pt x="431" y="1051"/>
                  </a:lnTo>
                  <a:lnTo>
                    <a:pt x="431" y="1053"/>
                  </a:lnTo>
                  <a:lnTo>
                    <a:pt x="431" y="1051"/>
                  </a:lnTo>
                  <a:lnTo>
                    <a:pt x="431" y="1053"/>
                  </a:lnTo>
                  <a:lnTo>
                    <a:pt x="431" y="1054"/>
                  </a:lnTo>
                  <a:lnTo>
                    <a:pt x="431" y="1053"/>
                  </a:lnTo>
                  <a:lnTo>
                    <a:pt x="431" y="1054"/>
                  </a:lnTo>
                  <a:lnTo>
                    <a:pt x="431" y="1053"/>
                  </a:lnTo>
                  <a:lnTo>
                    <a:pt x="431" y="1054"/>
                  </a:lnTo>
                  <a:lnTo>
                    <a:pt x="430" y="1054"/>
                  </a:lnTo>
                  <a:lnTo>
                    <a:pt x="431" y="1054"/>
                  </a:lnTo>
                  <a:lnTo>
                    <a:pt x="433" y="1056"/>
                  </a:lnTo>
                  <a:lnTo>
                    <a:pt x="431" y="1056"/>
                  </a:lnTo>
                  <a:lnTo>
                    <a:pt x="431" y="1058"/>
                  </a:lnTo>
                  <a:lnTo>
                    <a:pt x="433" y="1058"/>
                  </a:lnTo>
                  <a:lnTo>
                    <a:pt x="433" y="1059"/>
                  </a:lnTo>
                  <a:lnTo>
                    <a:pt x="431" y="1059"/>
                  </a:lnTo>
                  <a:lnTo>
                    <a:pt x="431" y="1061"/>
                  </a:lnTo>
                  <a:lnTo>
                    <a:pt x="433" y="1061"/>
                  </a:lnTo>
                  <a:lnTo>
                    <a:pt x="435" y="1061"/>
                  </a:lnTo>
                  <a:lnTo>
                    <a:pt x="433" y="1061"/>
                  </a:lnTo>
                  <a:lnTo>
                    <a:pt x="433" y="1063"/>
                  </a:lnTo>
                  <a:lnTo>
                    <a:pt x="433" y="1064"/>
                  </a:lnTo>
                  <a:lnTo>
                    <a:pt x="433" y="1063"/>
                  </a:lnTo>
                  <a:lnTo>
                    <a:pt x="435" y="1063"/>
                  </a:lnTo>
                  <a:lnTo>
                    <a:pt x="435" y="1061"/>
                  </a:lnTo>
                  <a:lnTo>
                    <a:pt x="436" y="1061"/>
                  </a:lnTo>
                  <a:lnTo>
                    <a:pt x="438" y="1061"/>
                  </a:lnTo>
                  <a:lnTo>
                    <a:pt x="440" y="1061"/>
                  </a:lnTo>
                  <a:lnTo>
                    <a:pt x="440" y="1063"/>
                  </a:lnTo>
                  <a:lnTo>
                    <a:pt x="440" y="1061"/>
                  </a:lnTo>
                  <a:lnTo>
                    <a:pt x="440" y="1063"/>
                  </a:lnTo>
                  <a:lnTo>
                    <a:pt x="441" y="1063"/>
                  </a:lnTo>
                  <a:lnTo>
                    <a:pt x="441" y="1064"/>
                  </a:lnTo>
                  <a:lnTo>
                    <a:pt x="443" y="1066"/>
                  </a:lnTo>
                  <a:lnTo>
                    <a:pt x="443" y="1067"/>
                  </a:lnTo>
                  <a:lnTo>
                    <a:pt x="443" y="1069"/>
                  </a:lnTo>
                  <a:lnTo>
                    <a:pt x="443" y="1071"/>
                  </a:lnTo>
                  <a:lnTo>
                    <a:pt x="441" y="1072"/>
                  </a:lnTo>
                  <a:lnTo>
                    <a:pt x="441" y="1076"/>
                  </a:lnTo>
                  <a:lnTo>
                    <a:pt x="440" y="1076"/>
                  </a:lnTo>
                  <a:lnTo>
                    <a:pt x="440" y="1077"/>
                  </a:lnTo>
                  <a:lnTo>
                    <a:pt x="440" y="1076"/>
                  </a:lnTo>
                  <a:lnTo>
                    <a:pt x="438" y="1076"/>
                  </a:lnTo>
                  <a:lnTo>
                    <a:pt x="438" y="1077"/>
                  </a:lnTo>
                  <a:lnTo>
                    <a:pt x="438" y="1076"/>
                  </a:lnTo>
                  <a:lnTo>
                    <a:pt x="436" y="1074"/>
                  </a:lnTo>
                  <a:lnTo>
                    <a:pt x="435" y="1072"/>
                  </a:lnTo>
                  <a:lnTo>
                    <a:pt x="433" y="1071"/>
                  </a:lnTo>
                  <a:lnTo>
                    <a:pt x="433" y="1067"/>
                  </a:lnTo>
                  <a:lnTo>
                    <a:pt x="431" y="1067"/>
                  </a:lnTo>
                  <a:lnTo>
                    <a:pt x="431" y="1066"/>
                  </a:lnTo>
                  <a:lnTo>
                    <a:pt x="431" y="1064"/>
                  </a:lnTo>
                  <a:lnTo>
                    <a:pt x="430" y="1064"/>
                  </a:lnTo>
                  <a:lnTo>
                    <a:pt x="428" y="1064"/>
                  </a:lnTo>
                  <a:lnTo>
                    <a:pt x="428" y="1063"/>
                  </a:lnTo>
                  <a:lnTo>
                    <a:pt x="428" y="1064"/>
                  </a:lnTo>
                  <a:lnTo>
                    <a:pt x="430" y="1064"/>
                  </a:lnTo>
                  <a:lnTo>
                    <a:pt x="430" y="1066"/>
                  </a:lnTo>
                  <a:lnTo>
                    <a:pt x="428" y="1066"/>
                  </a:lnTo>
                  <a:lnTo>
                    <a:pt x="428" y="1067"/>
                  </a:lnTo>
                  <a:lnTo>
                    <a:pt x="430" y="1067"/>
                  </a:lnTo>
                  <a:lnTo>
                    <a:pt x="430" y="1069"/>
                  </a:lnTo>
                  <a:lnTo>
                    <a:pt x="430" y="1067"/>
                  </a:lnTo>
                  <a:lnTo>
                    <a:pt x="430" y="1069"/>
                  </a:lnTo>
                  <a:lnTo>
                    <a:pt x="431" y="1069"/>
                  </a:lnTo>
                  <a:lnTo>
                    <a:pt x="431" y="1071"/>
                  </a:lnTo>
                  <a:lnTo>
                    <a:pt x="431" y="1069"/>
                  </a:lnTo>
                  <a:lnTo>
                    <a:pt x="431" y="1071"/>
                  </a:lnTo>
                  <a:lnTo>
                    <a:pt x="430" y="1071"/>
                  </a:lnTo>
                  <a:lnTo>
                    <a:pt x="428" y="1071"/>
                  </a:lnTo>
                  <a:lnTo>
                    <a:pt x="430" y="1071"/>
                  </a:lnTo>
                  <a:lnTo>
                    <a:pt x="428" y="1071"/>
                  </a:lnTo>
                  <a:lnTo>
                    <a:pt x="430" y="1069"/>
                  </a:lnTo>
                  <a:lnTo>
                    <a:pt x="428" y="1069"/>
                  </a:lnTo>
                  <a:lnTo>
                    <a:pt x="426" y="1069"/>
                  </a:lnTo>
                  <a:lnTo>
                    <a:pt x="426" y="1071"/>
                  </a:lnTo>
                  <a:lnTo>
                    <a:pt x="426" y="1069"/>
                  </a:lnTo>
                  <a:lnTo>
                    <a:pt x="426" y="1067"/>
                  </a:lnTo>
                  <a:lnTo>
                    <a:pt x="428" y="1067"/>
                  </a:lnTo>
                  <a:lnTo>
                    <a:pt x="428" y="1066"/>
                  </a:lnTo>
                  <a:lnTo>
                    <a:pt x="426" y="1066"/>
                  </a:lnTo>
                  <a:lnTo>
                    <a:pt x="425" y="1066"/>
                  </a:lnTo>
                  <a:lnTo>
                    <a:pt x="423" y="1066"/>
                  </a:lnTo>
                  <a:lnTo>
                    <a:pt x="423" y="1064"/>
                  </a:lnTo>
                  <a:lnTo>
                    <a:pt x="423" y="1066"/>
                  </a:lnTo>
                  <a:lnTo>
                    <a:pt x="425" y="1066"/>
                  </a:lnTo>
                  <a:lnTo>
                    <a:pt x="423" y="1064"/>
                  </a:lnTo>
                  <a:lnTo>
                    <a:pt x="423" y="1063"/>
                  </a:lnTo>
                  <a:lnTo>
                    <a:pt x="422" y="1063"/>
                  </a:lnTo>
                  <a:lnTo>
                    <a:pt x="422" y="1064"/>
                  </a:lnTo>
                  <a:lnTo>
                    <a:pt x="422" y="1063"/>
                  </a:lnTo>
                  <a:lnTo>
                    <a:pt x="422" y="1064"/>
                  </a:lnTo>
                  <a:lnTo>
                    <a:pt x="420" y="1064"/>
                  </a:lnTo>
                  <a:lnTo>
                    <a:pt x="418" y="1064"/>
                  </a:lnTo>
                  <a:lnTo>
                    <a:pt x="417" y="1064"/>
                  </a:lnTo>
                  <a:lnTo>
                    <a:pt x="415" y="1064"/>
                  </a:lnTo>
                  <a:lnTo>
                    <a:pt x="413" y="1064"/>
                  </a:lnTo>
                  <a:lnTo>
                    <a:pt x="415" y="1064"/>
                  </a:lnTo>
                  <a:lnTo>
                    <a:pt x="413" y="1064"/>
                  </a:lnTo>
                  <a:lnTo>
                    <a:pt x="413" y="1066"/>
                  </a:lnTo>
                  <a:lnTo>
                    <a:pt x="415" y="1066"/>
                  </a:lnTo>
                  <a:lnTo>
                    <a:pt x="417" y="1066"/>
                  </a:lnTo>
                  <a:lnTo>
                    <a:pt x="417" y="1067"/>
                  </a:lnTo>
                  <a:lnTo>
                    <a:pt x="418" y="1067"/>
                  </a:lnTo>
                  <a:lnTo>
                    <a:pt x="418" y="1066"/>
                  </a:lnTo>
                  <a:lnTo>
                    <a:pt x="420" y="1067"/>
                  </a:lnTo>
                  <a:lnTo>
                    <a:pt x="422" y="1067"/>
                  </a:lnTo>
                  <a:lnTo>
                    <a:pt x="423" y="1067"/>
                  </a:lnTo>
                  <a:lnTo>
                    <a:pt x="423" y="1069"/>
                  </a:lnTo>
                  <a:lnTo>
                    <a:pt x="425" y="1069"/>
                  </a:lnTo>
                  <a:lnTo>
                    <a:pt x="423" y="1071"/>
                  </a:lnTo>
                  <a:lnTo>
                    <a:pt x="423" y="1069"/>
                  </a:lnTo>
                  <a:lnTo>
                    <a:pt x="425" y="1071"/>
                  </a:lnTo>
                  <a:lnTo>
                    <a:pt x="425" y="1072"/>
                  </a:lnTo>
                  <a:lnTo>
                    <a:pt x="422" y="1072"/>
                  </a:lnTo>
                  <a:lnTo>
                    <a:pt x="420" y="1072"/>
                  </a:lnTo>
                  <a:lnTo>
                    <a:pt x="420" y="1074"/>
                  </a:lnTo>
                  <a:lnTo>
                    <a:pt x="422" y="1072"/>
                  </a:lnTo>
                  <a:lnTo>
                    <a:pt x="423" y="1072"/>
                  </a:lnTo>
                  <a:lnTo>
                    <a:pt x="423" y="1074"/>
                  </a:lnTo>
                  <a:lnTo>
                    <a:pt x="425" y="1072"/>
                  </a:lnTo>
                  <a:lnTo>
                    <a:pt x="425" y="1074"/>
                  </a:lnTo>
                  <a:lnTo>
                    <a:pt x="423" y="1074"/>
                  </a:lnTo>
                  <a:lnTo>
                    <a:pt x="425" y="1074"/>
                  </a:lnTo>
                  <a:lnTo>
                    <a:pt x="423" y="1074"/>
                  </a:lnTo>
                  <a:lnTo>
                    <a:pt x="423" y="1076"/>
                  </a:lnTo>
                  <a:lnTo>
                    <a:pt x="425" y="1076"/>
                  </a:lnTo>
                  <a:lnTo>
                    <a:pt x="423" y="1076"/>
                  </a:lnTo>
                  <a:lnTo>
                    <a:pt x="422" y="1076"/>
                  </a:lnTo>
                  <a:lnTo>
                    <a:pt x="422" y="1077"/>
                  </a:lnTo>
                  <a:lnTo>
                    <a:pt x="422" y="1076"/>
                  </a:lnTo>
                  <a:lnTo>
                    <a:pt x="420" y="1076"/>
                  </a:lnTo>
                  <a:lnTo>
                    <a:pt x="422" y="1074"/>
                  </a:lnTo>
                  <a:lnTo>
                    <a:pt x="423" y="1074"/>
                  </a:lnTo>
                  <a:lnTo>
                    <a:pt x="422" y="1074"/>
                  </a:lnTo>
                  <a:lnTo>
                    <a:pt x="423" y="1074"/>
                  </a:lnTo>
                  <a:lnTo>
                    <a:pt x="422" y="1074"/>
                  </a:lnTo>
                  <a:lnTo>
                    <a:pt x="420" y="1074"/>
                  </a:lnTo>
                  <a:lnTo>
                    <a:pt x="418" y="1074"/>
                  </a:lnTo>
                  <a:lnTo>
                    <a:pt x="417" y="1074"/>
                  </a:lnTo>
                  <a:lnTo>
                    <a:pt x="418" y="1074"/>
                  </a:lnTo>
                  <a:lnTo>
                    <a:pt x="420" y="1076"/>
                  </a:lnTo>
                  <a:lnTo>
                    <a:pt x="418" y="1076"/>
                  </a:lnTo>
                  <a:lnTo>
                    <a:pt x="420" y="1076"/>
                  </a:lnTo>
                  <a:lnTo>
                    <a:pt x="418" y="1076"/>
                  </a:lnTo>
                  <a:lnTo>
                    <a:pt x="420" y="1077"/>
                  </a:lnTo>
                  <a:lnTo>
                    <a:pt x="418" y="1077"/>
                  </a:lnTo>
                  <a:lnTo>
                    <a:pt x="417" y="1077"/>
                  </a:lnTo>
                  <a:lnTo>
                    <a:pt x="418" y="1077"/>
                  </a:lnTo>
                  <a:lnTo>
                    <a:pt x="417" y="1077"/>
                  </a:lnTo>
                  <a:lnTo>
                    <a:pt x="415" y="1077"/>
                  </a:lnTo>
                  <a:lnTo>
                    <a:pt x="415" y="1076"/>
                  </a:lnTo>
                  <a:lnTo>
                    <a:pt x="417" y="1076"/>
                  </a:lnTo>
                  <a:lnTo>
                    <a:pt x="415" y="1074"/>
                  </a:lnTo>
                  <a:lnTo>
                    <a:pt x="417" y="1074"/>
                  </a:lnTo>
                  <a:lnTo>
                    <a:pt x="415" y="1074"/>
                  </a:lnTo>
                  <a:lnTo>
                    <a:pt x="415" y="1076"/>
                  </a:lnTo>
                  <a:lnTo>
                    <a:pt x="415" y="1077"/>
                  </a:lnTo>
                  <a:lnTo>
                    <a:pt x="417" y="1077"/>
                  </a:lnTo>
                  <a:lnTo>
                    <a:pt x="417" y="1079"/>
                  </a:lnTo>
                  <a:lnTo>
                    <a:pt x="415" y="1079"/>
                  </a:lnTo>
                  <a:lnTo>
                    <a:pt x="417" y="1079"/>
                  </a:lnTo>
                  <a:lnTo>
                    <a:pt x="418" y="1079"/>
                  </a:lnTo>
                  <a:lnTo>
                    <a:pt x="420" y="1079"/>
                  </a:lnTo>
                  <a:lnTo>
                    <a:pt x="422" y="1079"/>
                  </a:lnTo>
                  <a:lnTo>
                    <a:pt x="423" y="1079"/>
                  </a:lnTo>
                  <a:lnTo>
                    <a:pt x="425" y="1079"/>
                  </a:lnTo>
                  <a:lnTo>
                    <a:pt x="425" y="1080"/>
                  </a:lnTo>
                  <a:lnTo>
                    <a:pt x="423" y="1080"/>
                  </a:lnTo>
                  <a:lnTo>
                    <a:pt x="425" y="1080"/>
                  </a:lnTo>
                  <a:lnTo>
                    <a:pt x="425" y="1082"/>
                  </a:lnTo>
                  <a:lnTo>
                    <a:pt x="423" y="1082"/>
                  </a:lnTo>
                  <a:lnTo>
                    <a:pt x="423" y="1080"/>
                  </a:lnTo>
                  <a:lnTo>
                    <a:pt x="422" y="1080"/>
                  </a:lnTo>
                  <a:lnTo>
                    <a:pt x="420" y="1080"/>
                  </a:lnTo>
                  <a:lnTo>
                    <a:pt x="420" y="1079"/>
                  </a:lnTo>
                  <a:lnTo>
                    <a:pt x="418" y="1080"/>
                  </a:lnTo>
                  <a:lnTo>
                    <a:pt x="417" y="1080"/>
                  </a:lnTo>
                  <a:lnTo>
                    <a:pt x="415" y="1080"/>
                  </a:lnTo>
                  <a:lnTo>
                    <a:pt x="412" y="1080"/>
                  </a:lnTo>
                  <a:lnTo>
                    <a:pt x="413" y="1080"/>
                  </a:lnTo>
                  <a:lnTo>
                    <a:pt x="415" y="1080"/>
                  </a:lnTo>
                  <a:lnTo>
                    <a:pt x="417" y="1080"/>
                  </a:lnTo>
                  <a:lnTo>
                    <a:pt x="418" y="1080"/>
                  </a:lnTo>
                  <a:lnTo>
                    <a:pt x="418" y="1082"/>
                  </a:lnTo>
                  <a:lnTo>
                    <a:pt x="418" y="1084"/>
                  </a:lnTo>
                  <a:lnTo>
                    <a:pt x="417" y="1084"/>
                  </a:lnTo>
                  <a:lnTo>
                    <a:pt x="418" y="1084"/>
                  </a:lnTo>
                  <a:lnTo>
                    <a:pt x="415" y="1084"/>
                  </a:lnTo>
                  <a:lnTo>
                    <a:pt x="415" y="1085"/>
                  </a:lnTo>
                  <a:lnTo>
                    <a:pt x="413" y="1085"/>
                  </a:lnTo>
                  <a:lnTo>
                    <a:pt x="412" y="1085"/>
                  </a:lnTo>
                  <a:lnTo>
                    <a:pt x="413" y="1085"/>
                  </a:lnTo>
                  <a:lnTo>
                    <a:pt x="413" y="1087"/>
                  </a:lnTo>
                  <a:lnTo>
                    <a:pt x="415" y="1087"/>
                  </a:lnTo>
                  <a:lnTo>
                    <a:pt x="415" y="1085"/>
                  </a:lnTo>
                  <a:lnTo>
                    <a:pt x="417" y="1085"/>
                  </a:lnTo>
                  <a:lnTo>
                    <a:pt x="418" y="1085"/>
                  </a:lnTo>
                  <a:lnTo>
                    <a:pt x="418" y="1087"/>
                  </a:lnTo>
                  <a:lnTo>
                    <a:pt x="418" y="1085"/>
                  </a:lnTo>
                  <a:lnTo>
                    <a:pt x="418" y="1087"/>
                  </a:lnTo>
                  <a:lnTo>
                    <a:pt x="417" y="1087"/>
                  </a:lnTo>
                  <a:lnTo>
                    <a:pt x="418" y="1087"/>
                  </a:lnTo>
                  <a:lnTo>
                    <a:pt x="417" y="1087"/>
                  </a:lnTo>
                  <a:lnTo>
                    <a:pt x="415" y="1087"/>
                  </a:lnTo>
                  <a:lnTo>
                    <a:pt x="417" y="1087"/>
                  </a:lnTo>
                  <a:lnTo>
                    <a:pt x="418" y="1087"/>
                  </a:lnTo>
                  <a:lnTo>
                    <a:pt x="420" y="1087"/>
                  </a:lnTo>
                  <a:lnTo>
                    <a:pt x="422" y="1087"/>
                  </a:lnTo>
                  <a:lnTo>
                    <a:pt x="420" y="1087"/>
                  </a:lnTo>
                  <a:lnTo>
                    <a:pt x="422" y="1087"/>
                  </a:lnTo>
                  <a:lnTo>
                    <a:pt x="423" y="1087"/>
                  </a:lnTo>
                  <a:lnTo>
                    <a:pt x="423" y="1089"/>
                  </a:lnTo>
                  <a:lnTo>
                    <a:pt x="423" y="1087"/>
                  </a:lnTo>
                  <a:lnTo>
                    <a:pt x="423" y="1089"/>
                  </a:lnTo>
                  <a:lnTo>
                    <a:pt x="425" y="1087"/>
                  </a:lnTo>
                  <a:lnTo>
                    <a:pt x="425" y="1089"/>
                  </a:lnTo>
                  <a:lnTo>
                    <a:pt x="423" y="1089"/>
                  </a:lnTo>
                  <a:lnTo>
                    <a:pt x="422" y="1089"/>
                  </a:lnTo>
                  <a:lnTo>
                    <a:pt x="420" y="1089"/>
                  </a:lnTo>
                  <a:lnTo>
                    <a:pt x="418" y="1089"/>
                  </a:lnTo>
                  <a:lnTo>
                    <a:pt x="417" y="1089"/>
                  </a:lnTo>
                  <a:lnTo>
                    <a:pt x="415" y="1089"/>
                  </a:lnTo>
                  <a:lnTo>
                    <a:pt x="417" y="1089"/>
                  </a:lnTo>
                  <a:lnTo>
                    <a:pt x="415" y="1090"/>
                  </a:lnTo>
                  <a:lnTo>
                    <a:pt x="415" y="1089"/>
                  </a:lnTo>
                  <a:lnTo>
                    <a:pt x="415" y="1090"/>
                  </a:lnTo>
                  <a:lnTo>
                    <a:pt x="413" y="1090"/>
                  </a:lnTo>
                  <a:lnTo>
                    <a:pt x="413" y="1089"/>
                  </a:lnTo>
                  <a:lnTo>
                    <a:pt x="412" y="1090"/>
                  </a:lnTo>
                  <a:lnTo>
                    <a:pt x="413" y="1090"/>
                  </a:lnTo>
                  <a:lnTo>
                    <a:pt x="415" y="1090"/>
                  </a:lnTo>
                  <a:lnTo>
                    <a:pt x="417" y="1090"/>
                  </a:lnTo>
                  <a:lnTo>
                    <a:pt x="417" y="1092"/>
                  </a:lnTo>
                  <a:lnTo>
                    <a:pt x="418" y="1092"/>
                  </a:lnTo>
                  <a:lnTo>
                    <a:pt x="420" y="1092"/>
                  </a:lnTo>
                  <a:lnTo>
                    <a:pt x="420" y="1093"/>
                  </a:lnTo>
                  <a:lnTo>
                    <a:pt x="422" y="1093"/>
                  </a:lnTo>
                  <a:lnTo>
                    <a:pt x="420" y="1093"/>
                  </a:lnTo>
                  <a:lnTo>
                    <a:pt x="420" y="1095"/>
                  </a:lnTo>
                  <a:lnTo>
                    <a:pt x="418" y="1093"/>
                  </a:lnTo>
                  <a:lnTo>
                    <a:pt x="417" y="1093"/>
                  </a:lnTo>
                  <a:lnTo>
                    <a:pt x="418" y="1095"/>
                  </a:lnTo>
                  <a:lnTo>
                    <a:pt x="420" y="1095"/>
                  </a:lnTo>
                  <a:lnTo>
                    <a:pt x="420" y="1097"/>
                  </a:lnTo>
                  <a:lnTo>
                    <a:pt x="422" y="1097"/>
                  </a:lnTo>
                  <a:lnTo>
                    <a:pt x="422" y="1098"/>
                  </a:lnTo>
                  <a:lnTo>
                    <a:pt x="422" y="1100"/>
                  </a:lnTo>
                  <a:lnTo>
                    <a:pt x="420" y="1098"/>
                  </a:lnTo>
                  <a:lnTo>
                    <a:pt x="420" y="1100"/>
                  </a:lnTo>
                  <a:lnTo>
                    <a:pt x="420" y="1102"/>
                  </a:lnTo>
                  <a:lnTo>
                    <a:pt x="420" y="1103"/>
                  </a:lnTo>
                  <a:lnTo>
                    <a:pt x="420" y="1102"/>
                  </a:lnTo>
                  <a:lnTo>
                    <a:pt x="420" y="1103"/>
                  </a:lnTo>
                  <a:lnTo>
                    <a:pt x="420" y="1102"/>
                  </a:lnTo>
                  <a:lnTo>
                    <a:pt x="420" y="1103"/>
                  </a:lnTo>
                  <a:lnTo>
                    <a:pt x="422" y="1103"/>
                  </a:lnTo>
                  <a:lnTo>
                    <a:pt x="420" y="1103"/>
                  </a:lnTo>
                  <a:lnTo>
                    <a:pt x="422" y="1103"/>
                  </a:lnTo>
                  <a:lnTo>
                    <a:pt x="422" y="1105"/>
                  </a:lnTo>
                  <a:lnTo>
                    <a:pt x="423" y="1106"/>
                  </a:lnTo>
                  <a:lnTo>
                    <a:pt x="423" y="1105"/>
                  </a:lnTo>
                  <a:lnTo>
                    <a:pt x="422" y="1103"/>
                  </a:lnTo>
                  <a:lnTo>
                    <a:pt x="423" y="1103"/>
                  </a:lnTo>
                  <a:lnTo>
                    <a:pt x="423" y="1105"/>
                  </a:lnTo>
                  <a:lnTo>
                    <a:pt x="423" y="1103"/>
                  </a:lnTo>
                  <a:lnTo>
                    <a:pt x="425" y="1103"/>
                  </a:lnTo>
                  <a:lnTo>
                    <a:pt x="426" y="1105"/>
                  </a:lnTo>
                  <a:lnTo>
                    <a:pt x="425" y="1105"/>
                  </a:lnTo>
                  <a:lnTo>
                    <a:pt x="425" y="1106"/>
                  </a:lnTo>
                  <a:lnTo>
                    <a:pt x="425" y="1105"/>
                  </a:lnTo>
                  <a:lnTo>
                    <a:pt x="425" y="1106"/>
                  </a:lnTo>
                  <a:lnTo>
                    <a:pt x="426" y="1106"/>
                  </a:lnTo>
                  <a:lnTo>
                    <a:pt x="425" y="1106"/>
                  </a:lnTo>
                  <a:lnTo>
                    <a:pt x="423" y="1106"/>
                  </a:lnTo>
                  <a:lnTo>
                    <a:pt x="423" y="1108"/>
                  </a:lnTo>
                  <a:lnTo>
                    <a:pt x="422" y="1108"/>
                  </a:lnTo>
                  <a:lnTo>
                    <a:pt x="420" y="1108"/>
                  </a:lnTo>
                  <a:lnTo>
                    <a:pt x="420" y="1106"/>
                  </a:lnTo>
                  <a:lnTo>
                    <a:pt x="420" y="1108"/>
                  </a:lnTo>
                  <a:lnTo>
                    <a:pt x="420" y="1106"/>
                  </a:lnTo>
                  <a:lnTo>
                    <a:pt x="420" y="1108"/>
                  </a:lnTo>
                  <a:lnTo>
                    <a:pt x="418" y="1108"/>
                  </a:lnTo>
                  <a:lnTo>
                    <a:pt x="417" y="1108"/>
                  </a:lnTo>
                  <a:lnTo>
                    <a:pt x="418" y="1110"/>
                  </a:lnTo>
                  <a:lnTo>
                    <a:pt x="418" y="1111"/>
                  </a:lnTo>
                  <a:lnTo>
                    <a:pt x="418" y="1113"/>
                  </a:lnTo>
                  <a:lnTo>
                    <a:pt x="420" y="1113"/>
                  </a:lnTo>
                  <a:lnTo>
                    <a:pt x="418" y="1113"/>
                  </a:lnTo>
                  <a:lnTo>
                    <a:pt x="418" y="1115"/>
                  </a:lnTo>
                  <a:lnTo>
                    <a:pt x="420" y="1113"/>
                  </a:lnTo>
                  <a:lnTo>
                    <a:pt x="420" y="1115"/>
                  </a:lnTo>
                  <a:lnTo>
                    <a:pt x="422" y="1115"/>
                  </a:lnTo>
                  <a:lnTo>
                    <a:pt x="422" y="1113"/>
                  </a:lnTo>
                  <a:lnTo>
                    <a:pt x="422" y="1115"/>
                  </a:lnTo>
                  <a:lnTo>
                    <a:pt x="420" y="1115"/>
                  </a:lnTo>
                  <a:lnTo>
                    <a:pt x="422" y="1115"/>
                  </a:lnTo>
                  <a:lnTo>
                    <a:pt x="422" y="1116"/>
                  </a:lnTo>
                  <a:lnTo>
                    <a:pt x="423" y="1118"/>
                  </a:lnTo>
                  <a:lnTo>
                    <a:pt x="422" y="1118"/>
                  </a:lnTo>
                  <a:lnTo>
                    <a:pt x="423" y="1118"/>
                  </a:lnTo>
                  <a:lnTo>
                    <a:pt x="425" y="1118"/>
                  </a:lnTo>
                  <a:lnTo>
                    <a:pt x="426" y="1118"/>
                  </a:lnTo>
                  <a:lnTo>
                    <a:pt x="426" y="1119"/>
                  </a:lnTo>
                  <a:lnTo>
                    <a:pt x="426" y="1118"/>
                  </a:lnTo>
                  <a:lnTo>
                    <a:pt x="425" y="1118"/>
                  </a:lnTo>
                  <a:lnTo>
                    <a:pt x="426" y="1119"/>
                  </a:lnTo>
                  <a:lnTo>
                    <a:pt x="425" y="1119"/>
                  </a:lnTo>
                  <a:lnTo>
                    <a:pt x="426" y="1119"/>
                  </a:lnTo>
                  <a:lnTo>
                    <a:pt x="426" y="1121"/>
                  </a:lnTo>
                  <a:lnTo>
                    <a:pt x="428" y="1121"/>
                  </a:lnTo>
                  <a:lnTo>
                    <a:pt x="428" y="1119"/>
                  </a:lnTo>
                  <a:lnTo>
                    <a:pt x="428" y="1121"/>
                  </a:lnTo>
                  <a:lnTo>
                    <a:pt x="430" y="1121"/>
                  </a:lnTo>
                  <a:lnTo>
                    <a:pt x="430" y="1123"/>
                  </a:lnTo>
                  <a:lnTo>
                    <a:pt x="431" y="1123"/>
                  </a:lnTo>
                  <a:lnTo>
                    <a:pt x="430" y="1123"/>
                  </a:lnTo>
                  <a:lnTo>
                    <a:pt x="430" y="1124"/>
                  </a:lnTo>
                  <a:lnTo>
                    <a:pt x="428" y="1124"/>
                  </a:lnTo>
                  <a:lnTo>
                    <a:pt x="428" y="1123"/>
                  </a:lnTo>
                  <a:lnTo>
                    <a:pt x="426" y="1123"/>
                  </a:lnTo>
                  <a:lnTo>
                    <a:pt x="425" y="1123"/>
                  </a:lnTo>
                  <a:lnTo>
                    <a:pt x="423" y="1123"/>
                  </a:lnTo>
                  <a:lnTo>
                    <a:pt x="423" y="1121"/>
                  </a:lnTo>
                  <a:lnTo>
                    <a:pt x="423" y="1119"/>
                  </a:lnTo>
                  <a:lnTo>
                    <a:pt x="423" y="1121"/>
                  </a:lnTo>
                  <a:lnTo>
                    <a:pt x="422" y="1121"/>
                  </a:lnTo>
                  <a:lnTo>
                    <a:pt x="422" y="1123"/>
                  </a:lnTo>
                  <a:lnTo>
                    <a:pt x="423" y="1123"/>
                  </a:lnTo>
                  <a:lnTo>
                    <a:pt x="425" y="1124"/>
                  </a:lnTo>
                  <a:lnTo>
                    <a:pt x="425" y="1123"/>
                  </a:lnTo>
                  <a:lnTo>
                    <a:pt x="425" y="1124"/>
                  </a:lnTo>
                  <a:lnTo>
                    <a:pt x="426" y="1124"/>
                  </a:lnTo>
                  <a:lnTo>
                    <a:pt x="428" y="1124"/>
                  </a:lnTo>
                  <a:lnTo>
                    <a:pt x="428" y="1126"/>
                  </a:lnTo>
                  <a:lnTo>
                    <a:pt x="428" y="1124"/>
                  </a:lnTo>
                  <a:lnTo>
                    <a:pt x="430" y="1126"/>
                  </a:lnTo>
                  <a:lnTo>
                    <a:pt x="431" y="1126"/>
                  </a:lnTo>
                  <a:lnTo>
                    <a:pt x="433" y="1126"/>
                  </a:lnTo>
                  <a:lnTo>
                    <a:pt x="431" y="1126"/>
                  </a:lnTo>
                  <a:lnTo>
                    <a:pt x="431" y="1128"/>
                  </a:lnTo>
                  <a:lnTo>
                    <a:pt x="431" y="1126"/>
                  </a:lnTo>
                  <a:lnTo>
                    <a:pt x="430" y="1126"/>
                  </a:lnTo>
                  <a:lnTo>
                    <a:pt x="430" y="1128"/>
                  </a:lnTo>
                  <a:lnTo>
                    <a:pt x="430" y="1126"/>
                  </a:lnTo>
                  <a:lnTo>
                    <a:pt x="428" y="1126"/>
                  </a:lnTo>
                  <a:lnTo>
                    <a:pt x="428" y="1128"/>
                  </a:lnTo>
                  <a:lnTo>
                    <a:pt x="428" y="1126"/>
                  </a:lnTo>
                  <a:lnTo>
                    <a:pt x="428" y="1128"/>
                  </a:lnTo>
                  <a:lnTo>
                    <a:pt x="426" y="1128"/>
                  </a:lnTo>
                  <a:lnTo>
                    <a:pt x="425" y="1128"/>
                  </a:lnTo>
                  <a:lnTo>
                    <a:pt x="423" y="1126"/>
                  </a:lnTo>
                  <a:lnTo>
                    <a:pt x="423" y="1124"/>
                  </a:lnTo>
                  <a:lnTo>
                    <a:pt x="422" y="1124"/>
                  </a:lnTo>
                  <a:lnTo>
                    <a:pt x="422" y="1123"/>
                  </a:lnTo>
                  <a:lnTo>
                    <a:pt x="420" y="1123"/>
                  </a:lnTo>
                  <a:lnTo>
                    <a:pt x="418" y="1123"/>
                  </a:lnTo>
                  <a:lnTo>
                    <a:pt x="420" y="1123"/>
                  </a:lnTo>
                  <a:lnTo>
                    <a:pt x="422" y="1124"/>
                  </a:lnTo>
                  <a:lnTo>
                    <a:pt x="422" y="1126"/>
                  </a:lnTo>
                  <a:lnTo>
                    <a:pt x="423" y="1126"/>
                  </a:lnTo>
                  <a:lnTo>
                    <a:pt x="423" y="1128"/>
                  </a:lnTo>
                  <a:lnTo>
                    <a:pt x="425" y="1128"/>
                  </a:lnTo>
                  <a:lnTo>
                    <a:pt x="425" y="1129"/>
                  </a:lnTo>
                  <a:lnTo>
                    <a:pt x="426" y="1129"/>
                  </a:lnTo>
                  <a:lnTo>
                    <a:pt x="426" y="1131"/>
                  </a:lnTo>
                  <a:lnTo>
                    <a:pt x="428" y="1131"/>
                  </a:lnTo>
                  <a:lnTo>
                    <a:pt x="426" y="1131"/>
                  </a:lnTo>
                  <a:lnTo>
                    <a:pt x="426" y="1132"/>
                  </a:lnTo>
                  <a:lnTo>
                    <a:pt x="428" y="1132"/>
                  </a:lnTo>
                  <a:lnTo>
                    <a:pt x="428" y="1134"/>
                  </a:lnTo>
                  <a:lnTo>
                    <a:pt x="430" y="1134"/>
                  </a:lnTo>
                  <a:lnTo>
                    <a:pt x="428" y="1134"/>
                  </a:lnTo>
                  <a:lnTo>
                    <a:pt x="428" y="1136"/>
                  </a:lnTo>
                  <a:lnTo>
                    <a:pt x="428" y="1134"/>
                  </a:lnTo>
                  <a:lnTo>
                    <a:pt x="428" y="1136"/>
                  </a:lnTo>
                  <a:lnTo>
                    <a:pt x="426" y="1136"/>
                  </a:lnTo>
                  <a:lnTo>
                    <a:pt x="426" y="1134"/>
                  </a:lnTo>
                  <a:lnTo>
                    <a:pt x="426" y="1136"/>
                  </a:lnTo>
                  <a:lnTo>
                    <a:pt x="426" y="1134"/>
                  </a:lnTo>
                  <a:lnTo>
                    <a:pt x="425" y="1136"/>
                  </a:lnTo>
                  <a:lnTo>
                    <a:pt x="426" y="1136"/>
                  </a:lnTo>
                  <a:lnTo>
                    <a:pt x="425" y="1136"/>
                  </a:lnTo>
                  <a:lnTo>
                    <a:pt x="425" y="1137"/>
                  </a:lnTo>
                  <a:lnTo>
                    <a:pt x="426" y="1137"/>
                  </a:lnTo>
                  <a:lnTo>
                    <a:pt x="425" y="1137"/>
                  </a:lnTo>
                  <a:lnTo>
                    <a:pt x="423" y="1137"/>
                  </a:lnTo>
                  <a:lnTo>
                    <a:pt x="425" y="1137"/>
                  </a:lnTo>
                  <a:lnTo>
                    <a:pt x="423" y="1137"/>
                  </a:lnTo>
                  <a:lnTo>
                    <a:pt x="422" y="1137"/>
                  </a:lnTo>
                  <a:lnTo>
                    <a:pt x="420" y="1137"/>
                  </a:lnTo>
                  <a:lnTo>
                    <a:pt x="422" y="1137"/>
                  </a:lnTo>
                  <a:lnTo>
                    <a:pt x="423" y="1137"/>
                  </a:lnTo>
                  <a:lnTo>
                    <a:pt x="423" y="1139"/>
                  </a:lnTo>
                  <a:lnTo>
                    <a:pt x="425" y="1139"/>
                  </a:lnTo>
                  <a:lnTo>
                    <a:pt x="426" y="1139"/>
                  </a:lnTo>
                  <a:lnTo>
                    <a:pt x="428" y="1141"/>
                  </a:lnTo>
                  <a:lnTo>
                    <a:pt x="426" y="1141"/>
                  </a:lnTo>
                  <a:lnTo>
                    <a:pt x="426" y="1142"/>
                  </a:lnTo>
                  <a:lnTo>
                    <a:pt x="426" y="1144"/>
                  </a:lnTo>
                  <a:lnTo>
                    <a:pt x="428" y="1144"/>
                  </a:lnTo>
                  <a:lnTo>
                    <a:pt x="428" y="1145"/>
                  </a:lnTo>
                  <a:lnTo>
                    <a:pt x="428" y="1144"/>
                  </a:lnTo>
                  <a:lnTo>
                    <a:pt x="426" y="1144"/>
                  </a:lnTo>
                  <a:lnTo>
                    <a:pt x="426" y="1145"/>
                  </a:lnTo>
                  <a:lnTo>
                    <a:pt x="426" y="1144"/>
                  </a:lnTo>
                  <a:lnTo>
                    <a:pt x="426" y="1145"/>
                  </a:lnTo>
                  <a:lnTo>
                    <a:pt x="425" y="1145"/>
                  </a:lnTo>
                  <a:lnTo>
                    <a:pt x="426" y="1145"/>
                  </a:lnTo>
                  <a:lnTo>
                    <a:pt x="426" y="1147"/>
                  </a:lnTo>
                  <a:lnTo>
                    <a:pt x="428" y="1147"/>
                  </a:lnTo>
                  <a:lnTo>
                    <a:pt x="428" y="1149"/>
                  </a:lnTo>
                  <a:lnTo>
                    <a:pt x="428" y="1150"/>
                  </a:lnTo>
                  <a:lnTo>
                    <a:pt x="426" y="1150"/>
                  </a:lnTo>
                  <a:lnTo>
                    <a:pt x="428" y="1150"/>
                  </a:lnTo>
                  <a:lnTo>
                    <a:pt x="426" y="1150"/>
                  </a:lnTo>
                  <a:lnTo>
                    <a:pt x="426" y="1152"/>
                  </a:lnTo>
                  <a:lnTo>
                    <a:pt x="426" y="1150"/>
                  </a:lnTo>
                  <a:lnTo>
                    <a:pt x="428" y="1152"/>
                  </a:lnTo>
                  <a:lnTo>
                    <a:pt x="426" y="1152"/>
                  </a:lnTo>
                  <a:lnTo>
                    <a:pt x="428" y="1152"/>
                  </a:lnTo>
                  <a:lnTo>
                    <a:pt x="430" y="1152"/>
                  </a:lnTo>
                  <a:lnTo>
                    <a:pt x="430" y="1154"/>
                  </a:lnTo>
                  <a:lnTo>
                    <a:pt x="430" y="1155"/>
                  </a:lnTo>
                  <a:lnTo>
                    <a:pt x="428" y="1155"/>
                  </a:lnTo>
                  <a:lnTo>
                    <a:pt x="430" y="1155"/>
                  </a:lnTo>
                  <a:lnTo>
                    <a:pt x="428" y="1155"/>
                  </a:lnTo>
                  <a:lnTo>
                    <a:pt x="430" y="1157"/>
                  </a:lnTo>
                  <a:lnTo>
                    <a:pt x="428" y="1157"/>
                  </a:lnTo>
                  <a:lnTo>
                    <a:pt x="428" y="1159"/>
                  </a:lnTo>
                  <a:lnTo>
                    <a:pt x="428" y="1160"/>
                  </a:lnTo>
                  <a:lnTo>
                    <a:pt x="428" y="1162"/>
                  </a:lnTo>
                  <a:lnTo>
                    <a:pt x="430" y="1162"/>
                  </a:lnTo>
                  <a:lnTo>
                    <a:pt x="430" y="1163"/>
                  </a:lnTo>
                  <a:lnTo>
                    <a:pt x="428" y="1165"/>
                  </a:lnTo>
                  <a:lnTo>
                    <a:pt x="430" y="1165"/>
                  </a:lnTo>
                  <a:lnTo>
                    <a:pt x="428" y="1165"/>
                  </a:lnTo>
                  <a:lnTo>
                    <a:pt x="428" y="1167"/>
                  </a:lnTo>
                  <a:lnTo>
                    <a:pt x="426" y="1167"/>
                  </a:lnTo>
                  <a:lnTo>
                    <a:pt x="428" y="1167"/>
                  </a:lnTo>
                  <a:lnTo>
                    <a:pt x="430" y="1167"/>
                  </a:lnTo>
                  <a:lnTo>
                    <a:pt x="430" y="1165"/>
                  </a:lnTo>
                  <a:lnTo>
                    <a:pt x="431" y="1165"/>
                  </a:lnTo>
                  <a:lnTo>
                    <a:pt x="430" y="1165"/>
                  </a:lnTo>
                  <a:lnTo>
                    <a:pt x="431" y="1165"/>
                  </a:lnTo>
                  <a:lnTo>
                    <a:pt x="433" y="1165"/>
                  </a:lnTo>
                  <a:lnTo>
                    <a:pt x="435" y="1165"/>
                  </a:lnTo>
                  <a:lnTo>
                    <a:pt x="433" y="1165"/>
                  </a:lnTo>
                  <a:lnTo>
                    <a:pt x="435" y="1165"/>
                  </a:lnTo>
                  <a:lnTo>
                    <a:pt x="435" y="1167"/>
                  </a:lnTo>
                  <a:lnTo>
                    <a:pt x="433" y="1167"/>
                  </a:lnTo>
                  <a:lnTo>
                    <a:pt x="435" y="1167"/>
                  </a:lnTo>
                  <a:lnTo>
                    <a:pt x="433" y="1167"/>
                  </a:lnTo>
                  <a:lnTo>
                    <a:pt x="431" y="1167"/>
                  </a:lnTo>
                  <a:lnTo>
                    <a:pt x="431" y="1168"/>
                  </a:lnTo>
                  <a:lnTo>
                    <a:pt x="430" y="1168"/>
                  </a:lnTo>
                  <a:lnTo>
                    <a:pt x="430" y="1170"/>
                  </a:lnTo>
                  <a:lnTo>
                    <a:pt x="430" y="1168"/>
                  </a:lnTo>
                  <a:lnTo>
                    <a:pt x="431" y="1168"/>
                  </a:lnTo>
                  <a:lnTo>
                    <a:pt x="431" y="1170"/>
                  </a:lnTo>
                  <a:lnTo>
                    <a:pt x="430" y="1170"/>
                  </a:lnTo>
                  <a:lnTo>
                    <a:pt x="431" y="1170"/>
                  </a:lnTo>
                  <a:lnTo>
                    <a:pt x="430" y="1170"/>
                  </a:lnTo>
                  <a:lnTo>
                    <a:pt x="428" y="1170"/>
                  </a:lnTo>
                  <a:lnTo>
                    <a:pt x="430" y="1170"/>
                  </a:lnTo>
                  <a:lnTo>
                    <a:pt x="430" y="1172"/>
                  </a:lnTo>
                  <a:lnTo>
                    <a:pt x="428" y="1173"/>
                  </a:lnTo>
                  <a:lnTo>
                    <a:pt x="428" y="1175"/>
                  </a:lnTo>
                  <a:lnTo>
                    <a:pt x="430" y="1175"/>
                  </a:lnTo>
                  <a:lnTo>
                    <a:pt x="428" y="1176"/>
                  </a:lnTo>
                  <a:lnTo>
                    <a:pt x="430" y="1176"/>
                  </a:lnTo>
                  <a:lnTo>
                    <a:pt x="430" y="1175"/>
                  </a:lnTo>
                  <a:lnTo>
                    <a:pt x="431" y="1175"/>
                  </a:lnTo>
                  <a:lnTo>
                    <a:pt x="430" y="1175"/>
                  </a:lnTo>
                  <a:lnTo>
                    <a:pt x="430" y="1176"/>
                  </a:lnTo>
                  <a:lnTo>
                    <a:pt x="430" y="1178"/>
                  </a:lnTo>
                  <a:lnTo>
                    <a:pt x="431" y="1178"/>
                  </a:lnTo>
                  <a:lnTo>
                    <a:pt x="431" y="1176"/>
                  </a:lnTo>
                  <a:lnTo>
                    <a:pt x="433" y="1176"/>
                  </a:lnTo>
                  <a:lnTo>
                    <a:pt x="433" y="1178"/>
                  </a:lnTo>
                  <a:lnTo>
                    <a:pt x="431" y="1178"/>
                  </a:lnTo>
                  <a:lnTo>
                    <a:pt x="433" y="1178"/>
                  </a:lnTo>
                  <a:lnTo>
                    <a:pt x="433" y="1180"/>
                  </a:lnTo>
                  <a:lnTo>
                    <a:pt x="435" y="1180"/>
                  </a:lnTo>
                  <a:lnTo>
                    <a:pt x="435" y="1181"/>
                  </a:lnTo>
                  <a:lnTo>
                    <a:pt x="435" y="1180"/>
                  </a:lnTo>
                  <a:lnTo>
                    <a:pt x="435" y="1181"/>
                  </a:lnTo>
                  <a:lnTo>
                    <a:pt x="436" y="1181"/>
                  </a:lnTo>
                  <a:lnTo>
                    <a:pt x="436" y="1183"/>
                  </a:lnTo>
                  <a:lnTo>
                    <a:pt x="438" y="1183"/>
                  </a:lnTo>
                  <a:lnTo>
                    <a:pt x="440" y="1183"/>
                  </a:lnTo>
                  <a:lnTo>
                    <a:pt x="438" y="1183"/>
                  </a:lnTo>
                  <a:lnTo>
                    <a:pt x="440" y="1183"/>
                  </a:lnTo>
                  <a:lnTo>
                    <a:pt x="441" y="1183"/>
                  </a:lnTo>
                  <a:lnTo>
                    <a:pt x="441" y="1181"/>
                  </a:lnTo>
                  <a:lnTo>
                    <a:pt x="441" y="1183"/>
                  </a:lnTo>
                  <a:lnTo>
                    <a:pt x="441" y="1181"/>
                  </a:lnTo>
                  <a:lnTo>
                    <a:pt x="443" y="1181"/>
                  </a:lnTo>
                  <a:lnTo>
                    <a:pt x="443" y="1183"/>
                  </a:lnTo>
                  <a:lnTo>
                    <a:pt x="443" y="1185"/>
                  </a:lnTo>
                  <a:lnTo>
                    <a:pt x="441" y="1185"/>
                  </a:lnTo>
                  <a:lnTo>
                    <a:pt x="440" y="1185"/>
                  </a:lnTo>
                  <a:lnTo>
                    <a:pt x="438" y="1185"/>
                  </a:lnTo>
                  <a:lnTo>
                    <a:pt x="438" y="1186"/>
                  </a:lnTo>
                  <a:lnTo>
                    <a:pt x="438" y="1185"/>
                  </a:lnTo>
                  <a:lnTo>
                    <a:pt x="438" y="1186"/>
                  </a:lnTo>
                  <a:lnTo>
                    <a:pt x="440" y="1186"/>
                  </a:lnTo>
                  <a:lnTo>
                    <a:pt x="438" y="1186"/>
                  </a:lnTo>
                  <a:lnTo>
                    <a:pt x="438" y="1188"/>
                  </a:lnTo>
                  <a:lnTo>
                    <a:pt x="440" y="1188"/>
                  </a:lnTo>
                  <a:lnTo>
                    <a:pt x="441" y="1188"/>
                  </a:lnTo>
                  <a:lnTo>
                    <a:pt x="440" y="1189"/>
                  </a:lnTo>
                  <a:lnTo>
                    <a:pt x="441" y="1189"/>
                  </a:lnTo>
                  <a:lnTo>
                    <a:pt x="440" y="1189"/>
                  </a:lnTo>
                  <a:lnTo>
                    <a:pt x="438" y="1191"/>
                  </a:lnTo>
                  <a:lnTo>
                    <a:pt x="438" y="1193"/>
                  </a:lnTo>
                  <a:lnTo>
                    <a:pt x="438" y="1194"/>
                  </a:lnTo>
                  <a:lnTo>
                    <a:pt x="438" y="1193"/>
                  </a:lnTo>
                  <a:lnTo>
                    <a:pt x="440" y="1193"/>
                  </a:lnTo>
                  <a:lnTo>
                    <a:pt x="440" y="1194"/>
                  </a:lnTo>
                  <a:lnTo>
                    <a:pt x="440" y="1193"/>
                  </a:lnTo>
                  <a:lnTo>
                    <a:pt x="441" y="1194"/>
                  </a:lnTo>
                  <a:lnTo>
                    <a:pt x="441" y="1193"/>
                  </a:lnTo>
                  <a:lnTo>
                    <a:pt x="441" y="1196"/>
                  </a:lnTo>
                  <a:lnTo>
                    <a:pt x="441" y="1194"/>
                  </a:lnTo>
                  <a:lnTo>
                    <a:pt x="441" y="1193"/>
                  </a:lnTo>
                  <a:lnTo>
                    <a:pt x="443" y="1193"/>
                  </a:lnTo>
                  <a:lnTo>
                    <a:pt x="444" y="1193"/>
                  </a:lnTo>
                  <a:lnTo>
                    <a:pt x="444" y="1194"/>
                  </a:lnTo>
                  <a:lnTo>
                    <a:pt x="446" y="1194"/>
                  </a:lnTo>
                  <a:lnTo>
                    <a:pt x="444" y="1196"/>
                  </a:lnTo>
                  <a:lnTo>
                    <a:pt x="443" y="1196"/>
                  </a:lnTo>
                  <a:lnTo>
                    <a:pt x="441" y="1196"/>
                  </a:lnTo>
                  <a:lnTo>
                    <a:pt x="441" y="1198"/>
                  </a:lnTo>
                  <a:lnTo>
                    <a:pt x="443" y="1199"/>
                  </a:lnTo>
                  <a:lnTo>
                    <a:pt x="443" y="1198"/>
                  </a:lnTo>
                  <a:lnTo>
                    <a:pt x="444" y="1198"/>
                  </a:lnTo>
                  <a:lnTo>
                    <a:pt x="444" y="1199"/>
                  </a:lnTo>
                  <a:lnTo>
                    <a:pt x="446" y="1199"/>
                  </a:lnTo>
                  <a:lnTo>
                    <a:pt x="446" y="1201"/>
                  </a:lnTo>
                  <a:lnTo>
                    <a:pt x="444" y="1201"/>
                  </a:lnTo>
                  <a:lnTo>
                    <a:pt x="444" y="1202"/>
                  </a:lnTo>
                  <a:lnTo>
                    <a:pt x="443" y="1204"/>
                  </a:lnTo>
                  <a:lnTo>
                    <a:pt x="444" y="1204"/>
                  </a:lnTo>
                  <a:lnTo>
                    <a:pt x="443" y="1204"/>
                  </a:lnTo>
                  <a:lnTo>
                    <a:pt x="443" y="1206"/>
                  </a:lnTo>
                  <a:lnTo>
                    <a:pt x="443" y="1204"/>
                  </a:lnTo>
                  <a:lnTo>
                    <a:pt x="441" y="1204"/>
                  </a:lnTo>
                  <a:lnTo>
                    <a:pt x="441" y="1206"/>
                  </a:lnTo>
                  <a:lnTo>
                    <a:pt x="441" y="1207"/>
                  </a:lnTo>
                  <a:lnTo>
                    <a:pt x="440" y="1207"/>
                  </a:lnTo>
                  <a:lnTo>
                    <a:pt x="440" y="1209"/>
                  </a:lnTo>
                  <a:lnTo>
                    <a:pt x="438" y="1209"/>
                  </a:lnTo>
                  <a:lnTo>
                    <a:pt x="438" y="1211"/>
                  </a:lnTo>
                  <a:lnTo>
                    <a:pt x="438" y="1209"/>
                  </a:lnTo>
                  <a:lnTo>
                    <a:pt x="438" y="1211"/>
                  </a:lnTo>
                  <a:lnTo>
                    <a:pt x="436" y="1211"/>
                  </a:lnTo>
                  <a:lnTo>
                    <a:pt x="438" y="1211"/>
                  </a:lnTo>
                  <a:lnTo>
                    <a:pt x="436" y="1211"/>
                  </a:lnTo>
                  <a:lnTo>
                    <a:pt x="436" y="1212"/>
                  </a:lnTo>
                  <a:lnTo>
                    <a:pt x="436" y="1211"/>
                  </a:lnTo>
                  <a:lnTo>
                    <a:pt x="435" y="1211"/>
                  </a:lnTo>
                  <a:lnTo>
                    <a:pt x="435" y="1212"/>
                  </a:lnTo>
                  <a:lnTo>
                    <a:pt x="436" y="1212"/>
                  </a:lnTo>
                  <a:lnTo>
                    <a:pt x="438" y="1212"/>
                  </a:lnTo>
                  <a:lnTo>
                    <a:pt x="438" y="1211"/>
                  </a:lnTo>
                  <a:lnTo>
                    <a:pt x="440" y="1211"/>
                  </a:lnTo>
                  <a:lnTo>
                    <a:pt x="441" y="1211"/>
                  </a:lnTo>
                  <a:lnTo>
                    <a:pt x="443" y="1211"/>
                  </a:lnTo>
                  <a:lnTo>
                    <a:pt x="443" y="1212"/>
                  </a:lnTo>
                  <a:lnTo>
                    <a:pt x="444" y="1211"/>
                  </a:lnTo>
                  <a:lnTo>
                    <a:pt x="444" y="1209"/>
                  </a:lnTo>
                  <a:lnTo>
                    <a:pt x="446" y="1211"/>
                  </a:lnTo>
                  <a:lnTo>
                    <a:pt x="446" y="1212"/>
                  </a:lnTo>
                  <a:lnTo>
                    <a:pt x="444" y="1212"/>
                  </a:lnTo>
                  <a:lnTo>
                    <a:pt x="443" y="1214"/>
                  </a:lnTo>
                  <a:lnTo>
                    <a:pt x="444" y="1214"/>
                  </a:lnTo>
                  <a:lnTo>
                    <a:pt x="446" y="1214"/>
                  </a:lnTo>
                  <a:lnTo>
                    <a:pt x="446" y="1215"/>
                  </a:lnTo>
                  <a:lnTo>
                    <a:pt x="446" y="1214"/>
                  </a:lnTo>
                  <a:lnTo>
                    <a:pt x="448" y="1214"/>
                  </a:lnTo>
                  <a:lnTo>
                    <a:pt x="446" y="1214"/>
                  </a:lnTo>
                  <a:lnTo>
                    <a:pt x="448" y="1215"/>
                  </a:lnTo>
                  <a:lnTo>
                    <a:pt x="448" y="1214"/>
                  </a:lnTo>
                  <a:lnTo>
                    <a:pt x="448" y="1215"/>
                  </a:lnTo>
                  <a:lnTo>
                    <a:pt x="448" y="1214"/>
                  </a:lnTo>
                  <a:lnTo>
                    <a:pt x="449" y="1214"/>
                  </a:lnTo>
                  <a:lnTo>
                    <a:pt x="449" y="1215"/>
                  </a:lnTo>
                  <a:lnTo>
                    <a:pt x="449" y="1214"/>
                  </a:lnTo>
                  <a:lnTo>
                    <a:pt x="449" y="1215"/>
                  </a:lnTo>
                  <a:lnTo>
                    <a:pt x="451" y="1215"/>
                  </a:lnTo>
                  <a:lnTo>
                    <a:pt x="451" y="1214"/>
                  </a:lnTo>
                  <a:lnTo>
                    <a:pt x="453" y="1215"/>
                  </a:lnTo>
                  <a:lnTo>
                    <a:pt x="454" y="1215"/>
                  </a:lnTo>
                  <a:lnTo>
                    <a:pt x="453" y="1215"/>
                  </a:lnTo>
                  <a:lnTo>
                    <a:pt x="454" y="1217"/>
                  </a:lnTo>
                  <a:lnTo>
                    <a:pt x="453" y="1217"/>
                  </a:lnTo>
                  <a:lnTo>
                    <a:pt x="454" y="1217"/>
                  </a:lnTo>
                  <a:lnTo>
                    <a:pt x="454" y="1219"/>
                  </a:lnTo>
                  <a:lnTo>
                    <a:pt x="456" y="1220"/>
                  </a:lnTo>
                  <a:lnTo>
                    <a:pt x="456" y="1224"/>
                  </a:lnTo>
                  <a:lnTo>
                    <a:pt x="456" y="1225"/>
                  </a:lnTo>
                  <a:lnTo>
                    <a:pt x="456" y="1227"/>
                  </a:lnTo>
                  <a:lnTo>
                    <a:pt x="456" y="1225"/>
                  </a:lnTo>
                  <a:lnTo>
                    <a:pt x="456" y="1224"/>
                  </a:lnTo>
                  <a:lnTo>
                    <a:pt x="456" y="1220"/>
                  </a:lnTo>
                  <a:lnTo>
                    <a:pt x="454" y="1219"/>
                  </a:lnTo>
                  <a:lnTo>
                    <a:pt x="454" y="1217"/>
                  </a:lnTo>
                  <a:lnTo>
                    <a:pt x="454" y="1215"/>
                  </a:lnTo>
                  <a:lnTo>
                    <a:pt x="456" y="1215"/>
                  </a:lnTo>
                  <a:lnTo>
                    <a:pt x="457" y="1214"/>
                  </a:lnTo>
                  <a:lnTo>
                    <a:pt x="459" y="1212"/>
                  </a:lnTo>
                  <a:lnTo>
                    <a:pt x="459" y="1214"/>
                  </a:lnTo>
                  <a:lnTo>
                    <a:pt x="457" y="1215"/>
                  </a:lnTo>
                  <a:lnTo>
                    <a:pt x="457" y="1214"/>
                  </a:lnTo>
                  <a:lnTo>
                    <a:pt x="459" y="1214"/>
                  </a:lnTo>
                  <a:lnTo>
                    <a:pt x="461" y="1214"/>
                  </a:lnTo>
                  <a:lnTo>
                    <a:pt x="461" y="1212"/>
                  </a:lnTo>
                  <a:lnTo>
                    <a:pt x="462" y="1212"/>
                  </a:lnTo>
                  <a:lnTo>
                    <a:pt x="462" y="1214"/>
                  </a:lnTo>
                  <a:lnTo>
                    <a:pt x="461" y="1214"/>
                  </a:lnTo>
                  <a:lnTo>
                    <a:pt x="462" y="1214"/>
                  </a:lnTo>
                  <a:lnTo>
                    <a:pt x="464" y="1214"/>
                  </a:lnTo>
                  <a:lnTo>
                    <a:pt x="466" y="1214"/>
                  </a:lnTo>
                  <a:lnTo>
                    <a:pt x="467" y="1214"/>
                  </a:lnTo>
                  <a:lnTo>
                    <a:pt x="467" y="1215"/>
                  </a:lnTo>
                  <a:lnTo>
                    <a:pt x="467" y="1214"/>
                  </a:lnTo>
                  <a:lnTo>
                    <a:pt x="467" y="1215"/>
                  </a:lnTo>
                  <a:lnTo>
                    <a:pt x="467" y="1217"/>
                  </a:lnTo>
                  <a:lnTo>
                    <a:pt x="469" y="1215"/>
                  </a:lnTo>
                  <a:lnTo>
                    <a:pt x="469" y="1217"/>
                  </a:lnTo>
                  <a:lnTo>
                    <a:pt x="470" y="1215"/>
                  </a:lnTo>
                  <a:lnTo>
                    <a:pt x="470" y="1217"/>
                  </a:lnTo>
                  <a:lnTo>
                    <a:pt x="470" y="1219"/>
                  </a:lnTo>
                  <a:lnTo>
                    <a:pt x="470" y="1217"/>
                  </a:lnTo>
                  <a:lnTo>
                    <a:pt x="469" y="1217"/>
                  </a:lnTo>
                  <a:lnTo>
                    <a:pt x="469" y="1219"/>
                  </a:lnTo>
                  <a:lnTo>
                    <a:pt x="469" y="1217"/>
                  </a:lnTo>
                  <a:lnTo>
                    <a:pt x="469" y="1219"/>
                  </a:lnTo>
                  <a:lnTo>
                    <a:pt x="467" y="1219"/>
                  </a:lnTo>
                  <a:lnTo>
                    <a:pt x="467" y="1220"/>
                  </a:lnTo>
                  <a:lnTo>
                    <a:pt x="467" y="1222"/>
                  </a:lnTo>
                  <a:lnTo>
                    <a:pt x="467" y="1220"/>
                  </a:lnTo>
                  <a:lnTo>
                    <a:pt x="467" y="1222"/>
                  </a:lnTo>
                  <a:lnTo>
                    <a:pt x="467" y="1220"/>
                  </a:lnTo>
                  <a:lnTo>
                    <a:pt x="466" y="1222"/>
                  </a:lnTo>
                  <a:lnTo>
                    <a:pt x="466" y="1220"/>
                  </a:lnTo>
                  <a:lnTo>
                    <a:pt x="466" y="1222"/>
                  </a:lnTo>
                  <a:lnTo>
                    <a:pt x="466" y="1224"/>
                  </a:lnTo>
                  <a:lnTo>
                    <a:pt x="466" y="1222"/>
                  </a:lnTo>
                  <a:lnTo>
                    <a:pt x="466" y="1224"/>
                  </a:lnTo>
                  <a:lnTo>
                    <a:pt x="467" y="1224"/>
                  </a:lnTo>
                  <a:lnTo>
                    <a:pt x="466" y="1224"/>
                  </a:lnTo>
                  <a:lnTo>
                    <a:pt x="467" y="1224"/>
                  </a:lnTo>
                  <a:lnTo>
                    <a:pt x="467" y="1225"/>
                  </a:lnTo>
                  <a:lnTo>
                    <a:pt x="469" y="1225"/>
                  </a:lnTo>
                  <a:lnTo>
                    <a:pt x="469" y="1227"/>
                  </a:lnTo>
                  <a:lnTo>
                    <a:pt x="469" y="1225"/>
                  </a:lnTo>
                  <a:lnTo>
                    <a:pt x="469" y="1227"/>
                  </a:lnTo>
                  <a:lnTo>
                    <a:pt x="469" y="1225"/>
                  </a:lnTo>
                  <a:lnTo>
                    <a:pt x="469" y="1227"/>
                  </a:lnTo>
                  <a:lnTo>
                    <a:pt x="469" y="1228"/>
                  </a:lnTo>
                  <a:lnTo>
                    <a:pt x="469" y="1227"/>
                  </a:lnTo>
                  <a:lnTo>
                    <a:pt x="469" y="1228"/>
                  </a:lnTo>
                  <a:lnTo>
                    <a:pt x="470" y="1228"/>
                  </a:lnTo>
                  <a:lnTo>
                    <a:pt x="470" y="1227"/>
                  </a:lnTo>
                  <a:lnTo>
                    <a:pt x="472" y="1227"/>
                  </a:lnTo>
                  <a:lnTo>
                    <a:pt x="472" y="1228"/>
                  </a:lnTo>
                  <a:lnTo>
                    <a:pt x="470" y="1228"/>
                  </a:lnTo>
                  <a:lnTo>
                    <a:pt x="470" y="1230"/>
                  </a:lnTo>
                  <a:lnTo>
                    <a:pt x="470" y="1228"/>
                  </a:lnTo>
                  <a:lnTo>
                    <a:pt x="470" y="1230"/>
                  </a:lnTo>
                  <a:lnTo>
                    <a:pt x="470" y="1232"/>
                  </a:lnTo>
                  <a:lnTo>
                    <a:pt x="472" y="1232"/>
                  </a:lnTo>
                  <a:lnTo>
                    <a:pt x="472" y="1233"/>
                  </a:lnTo>
                  <a:lnTo>
                    <a:pt x="474" y="1233"/>
                  </a:lnTo>
                  <a:lnTo>
                    <a:pt x="474" y="1232"/>
                  </a:lnTo>
                  <a:lnTo>
                    <a:pt x="472" y="1232"/>
                  </a:lnTo>
                  <a:lnTo>
                    <a:pt x="472" y="1233"/>
                  </a:lnTo>
                  <a:lnTo>
                    <a:pt x="472" y="1232"/>
                  </a:lnTo>
                  <a:lnTo>
                    <a:pt x="472" y="1230"/>
                  </a:lnTo>
                  <a:lnTo>
                    <a:pt x="472" y="1232"/>
                  </a:lnTo>
                  <a:lnTo>
                    <a:pt x="472" y="1230"/>
                  </a:lnTo>
                  <a:lnTo>
                    <a:pt x="472" y="1228"/>
                  </a:lnTo>
                  <a:lnTo>
                    <a:pt x="474" y="1228"/>
                  </a:lnTo>
                  <a:lnTo>
                    <a:pt x="472" y="1230"/>
                  </a:lnTo>
                  <a:lnTo>
                    <a:pt x="474" y="1230"/>
                  </a:lnTo>
                  <a:lnTo>
                    <a:pt x="474" y="1228"/>
                  </a:lnTo>
                  <a:lnTo>
                    <a:pt x="474" y="1230"/>
                  </a:lnTo>
                  <a:lnTo>
                    <a:pt x="474" y="1228"/>
                  </a:lnTo>
                  <a:lnTo>
                    <a:pt x="475" y="1228"/>
                  </a:lnTo>
                  <a:lnTo>
                    <a:pt x="474" y="1228"/>
                  </a:lnTo>
                  <a:lnTo>
                    <a:pt x="475" y="1228"/>
                  </a:lnTo>
                  <a:lnTo>
                    <a:pt x="475" y="1230"/>
                  </a:lnTo>
                  <a:lnTo>
                    <a:pt x="474" y="1230"/>
                  </a:lnTo>
                  <a:lnTo>
                    <a:pt x="474" y="1232"/>
                  </a:lnTo>
                  <a:lnTo>
                    <a:pt x="475" y="1232"/>
                  </a:lnTo>
                  <a:lnTo>
                    <a:pt x="475" y="1230"/>
                  </a:lnTo>
                  <a:lnTo>
                    <a:pt x="475" y="1232"/>
                  </a:lnTo>
                  <a:lnTo>
                    <a:pt x="475" y="1233"/>
                  </a:lnTo>
                  <a:lnTo>
                    <a:pt x="477" y="1233"/>
                  </a:lnTo>
                  <a:lnTo>
                    <a:pt x="477" y="1232"/>
                  </a:lnTo>
                  <a:lnTo>
                    <a:pt x="477" y="1230"/>
                  </a:lnTo>
                  <a:lnTo>
                    <a:pt x="477" y="1232"/>
                  </a:lnTo>
                  <a:lnTo>
                    <a:pt x="475" y="1230"/>
                  </a:lnTo>
                  <a:lnTo>
                    <a:pt x="475" y="1228"/>
                  </a:lnTo>
                  <a:lnTo>
                    <a:pt x="475" y="1227"/>
                  </a:lnTo>
                  <a:lnTo>
                    <a:pt x="475" y="1228"/>
                  </a:lnTo>
                  <a:lnTo>
                    <a:pt x="475" y="1227"/>
                  </a:lnTo>
                  <a:lnTo>
                    <a:pt x="475" y="1225"/>
                  </a:lnTo>
                  <a:lnTo>
                    <a:pt x="475" y="1227"/>
                  </a:lnTo>
                  <a:lnTo>
                    <a:pt x="475" y="1225"/>
                  </a:lnTo>
                  <a:lnTo>
                    <a:pt x="477" y="1225"/>
                  </a:lnTo>
                  <a:lnTo>
                    <a:pt x="477" y="1227"/>
                  </a:lnTo>
                  <a:lnTo>
                    <a:pt x="477" y="1228"/>
                  </a:lnTo>
                  <a:lnTo>
                    <a:pt x="477" y="1227"/>
                  </a:lnTo>
                  <a:lnTo>
                    <a:pt x="477" y="1225"/>
                  </a:lnTo>
                  <a:lnTo>
                    <a:pt x="479" y="1225"/>
                  </a:lnTo>
                  <a:lnTo>
                    <a:pt x="479" y="1224"/>
                  </a:lnTo>
                  <a:lnTo>
                    <a:pt x="480" y="1224"/>
                  </a:lnTo>
                  <a:lnTo>
                    <a:pt x="482" y="1224"/>
                  </a:lnTo>
                  <a:lnTo>
                    <a:pt x="482" y="1222"/>
                  </a:lnTo>
                  <a:lnTo>
                    <a:pt x="483" y="1222"/>
                  </a:lnTo>
                  <a:lnTo>
                    <a:pt x="483" y="1220"/>
                  </a:lnTo>
                  <a:lnTo>
                    <a:pt x="485" y="1220"/>
                  </a:lnTo>
                  <a:lnTo>
                    <a:pt x="487" y="1220"/>
                  </a:lnTo>
                  <a:lnTo>
                    <a:pt x="487" y="1219"/>
                  </a:lnTo>
                  <a:lnTo>
                    <a:pt x="488" y="1219"/>
                  </a:lnTo>
                  <a:lnTo>
                    <a:pt x="488" y="1217"/>
                  </a:lnTo>
                  <a:lnTo>
                    <a:pt x="490" y="1219"/>
                  </a:lnTo>
                  <a:lnTo>
                    <a:pt x="490" y="1217"/>
                  </a:lnTo>
                  <a:lnTo>
                    <a:pt x="492" y="1217"/>
                  </a:lnTo>
                  <a:lnTo>
                    <a:pt x="492" y="1219"/>
                  </a:lnTo>
                  <a:lnTo>
                    <a:pt x="492" y="1217"/>
                  </a:lnTo>
                  <a:lnTo>
                    <a:pt x="493" y="1217"/>
                  </a:lnTo>
                  <a:lnTo>
                    <a:pt x="493" y="1219"/>
                  </a:lnTo>
                  <a:lnTo>
                    <a:pt x="495" y="1219"/>
                  </a:lnTo>
                  <a:lnTo>
                    <a:pt x="493" y="1219"/>
                  </a:lnTo>
                  <a:lnTo>
                    <a:pt x="493" y="1217"/>
                  </a:lnTo>
                  <a:lnTo>
                    <a:pt x="495" y="1219"/>
                  </a:lnTo>
                  <a:lnTo>
                    <a:pt x="495" y="1220"/>
                  </a:lnTo>
                  <a:lnTo>
                    <a:pt x="496" y="1222"/>
                  </a:lnTo>
                  <a:lnTo>
                    <a:pt x="495" y="1222"/>
                  </a:lnTo>
                  <a:lnTo>
                    <a:pt x="495" y="1224"/>
                  </a:lnTo>
                  <a:lnTo>
                    <a:pt x="495" y="1222"/>
                  </a:lnTo>
                  <a:lnTo>
                    <a:pt x="495" y="1224"/>
                  </a:lnTo>
                  <a:lnTo>
                    <a:pt x="495" y="1222"/>
                  </a:lnTo>
                  <a:lnTo>
                    <a:pt x="496" y="1222"/>
                  </a:lnTo>
                  <a:lnTo>
                    <a:pt x="495" y="1222"/>
                  </a:lnTo>
                  <a:lnTo>
                    <a:pt x="495" y="1224"/>
                  </a:lnTo>
                  <a:lnTo>
                    <a:pt x="496" y="1224"/>
                  </a:lnTo>
                  <a:lnTo>
                    <a:pt x="495" y="1224"/>
                  </a:lnTo>
                  <a:lnTo>
                    <a:pt x="496" y="1224"/>
                  </a:lnTo>
                  <a:lnTo>
                    <a:pt x="496" y="1225"/>
                  </a:lnTo>
                  <a:lnTo>
                    <a:pt x="495" y="1225"/>
                  </a:lnTo>
                  <a:lnTo>
                    <a:pt x="495" y="1227"/>
                  </a:lnTo>
                  <a:lnTo>
                    <a:pt x="496" y="1227"/>
                  </a:lnTo>
                  <a:lnTo>
                    <a:pt x="496" y="1225"/>
                  </a:lnTo>
                  <a:lnTo>
                    <a:pt x="496" y="1227"/>
                  </a:lnTo>
                  <a:lnTo>
                    <a:pt x="496" y="1228"/>
                  </a:lnTo>
                  <a:lnTo>
                    <a:pt x="495" y="1228"/>
                  </a:lnTo>
                  <a:lnTo>
                    <a:pt x="495" y="1230"/>
                  </a:lnTo>
                  <a:lnTo>
                    <a:pt x="496" y="1230"/>
                  </a:lnTo>
                  <a:lnTo>
                    <a:pt x="496" y="1232"/>
                  </a:lnTo>
                  <a:lnTo>
                    <a:pt x="498" y="1232"/>
                  </a:lnTo>
                  <a:lnTo>
                    <a:pt x="500" y="1232"/>
                  </a:lnTo>
                  <a:lnTo>
                    <a:pt x="500" y="1230"/>
                  </a:lnTo>
                  <a:lnTo>
                    <a:pt x="500" y="1232"/>
                  </a:lnTo>
                  <a:lnTo>
                    <a:pt x="500" y="1233"/>
                  </a:lnTo>
                  <a:lnTo>
                    <a:pt x="501" y="1233"/>
                  </a:lnTo>
                  <a:lnTo>
                    <a:pt x="500" y="1233"/>
                  </a:lnTo>
                  <a:lnTo>
                    <a:pt x="500" y="1232"/>
                  </a:lnTo>
                  <a:lnTo>
                    <a:pt x="501" y="1232"/>
                  </a:lnTo>
                  <a:lnTo>
                    <a:pt x="501" y="1230"/>
                  </a:lnTo>
                  <a:lnTo>
                    <a:pt x="501" y="1232"/>
                  </a:lnTo>
                  <a:lnTo>
                    <a:pt x="501" y="1233"/>
                  </a:lnTo>
                  <a:lnTo>
                    <a:pt x="501" y="1235"/>
                  </a:lnTo>
                  <a:lnTo>
                    <a:pt x="503" y="1235"/>
                  </a:lnTo>
                  <a:lnTo>
                    <a:pt x="503" y="1237"/>
                  </a:lnTo>
                  <a:lnTo>
                    <a:pt x="505" y="1237"/>
                  </a:lnTo>
                  <a:lnTo>
                    <a:pt x="503" y="1237"/>
                  </a:lnTo>
                  <a:lnTo>
                    <a:pt x="505" y="1237"/>
                  </a:lnTo>
                  <a:lnTo>
                    <a:pt x="503" y="1238"/>
                  </a:lnTo>
                  <a:lnTo>
                    <a:pt x="505" y="1238"/>
                  </a:lnTo>
                  <a:lnTo>
                    <a:pt x="505" y="1240"/>
                  </a:lnTo>
                  <a:lnTo>
                    <a:pt x="506" y="1240"/>
                  </a:lnTo>
                  <a:lnTo>
                    <a:pt x="505" y="1240"/>
                  </a:lnTo>
                  <a:lnTo>
                    <a:pt x="506" y="1241"/>
                  </a:lnTo>
                  <a:lnTo>
                    <a:pt x="506" y="1240"/>
                  </a:lnTo>
                  <a:lnTo>
                    <a:pt x="506" y="1241"/>
                  </a:lnTo>
                  <a:lnTo>
                    <a:pt x="508" y="1241"/>
                  </a:lnTo>
                  <a:lnTo>
                    <a:pt x="508" y="1243"/>
                  </a:lnTo>
                  <a:lnTo>
                    <a:pt x="509" y="1243"/>
                  </a:lnTo>
                  <a:lnTo>
                    <a:pt x="511" y="1243"/>
                  </a:lnTo>
                  <a:lnTo>
                    <a:pt x="509" y="1243"/>
                  </a:lnTo>
                  <a:lnTo>
                    <a:pt x="511" y="1243"/>
                  </a:lnTo>
                  <a:lnTo>
                    <a:pt x="511" y="1241"/>
                  </a:lnTo>
                  <a:lnTo>
                    <a:pt x="511" y="1240"/>
                  </a:lnTo>
                  <a:lnTo>
                    <a:pt x="509" y="1240"/>
                  </a:lnTo>
                  <a:lnTo>
                    <a:pt x="509" y="1241"/>
                  </a:lnTo>
                  <a:lnTo>
                    <a:pt x="511" y="1241"/>
                  </a:lnTo>
                  <a:lnTo>
                    <a:pt x="509" y="1241"/>
                  </a:lnTo>
                  <a:lnTo>
                    <a:pt x="509" y="1240"/>
                  </a:lnTo>
                  <a:lnTo>
                    <a:pt x="511" y="1240"/>
                  </a:lnTo>
                  <a:lnTo>
                    <a:pt x="511" y="1241"/>
                  </a:lnTo>
                  <a:lnTo>
                    <a:pt x="511" y="1243"/>
                  </a:lnTo>
                  <a:lnTo>
                    <a:pt x="513" y="1243"/>
                  </a:lnTo>
                  <a:lnTo>
                    <a:pt x="511" y="1243"/>
                  </a:lnTo>
                  <a:lnTo>
                    <a:pt x="513" y="1243"/>
                  </a:lnTo>
                  <a:lnTo>
                    <a:pt x="511" y="1243"/>
                  </a:lnTo>
                  <a:lnTo>
                    <a:pt x="509" y="1245"/>
                  </a:lnTo>
                  <a:lnTo>
                    <a:pt x="511" y="1245"/>
                  </a:lnTo>
                  <a:lnTo>
                    <a:pt x="513" y="1245"/>
                  </a:lnTo>
                  <a:lnTo>
                    <a:pt x="513" y="1246"/>
                  </a:lnTo>
                  <a:lnTo>
                    <a:pt x="514" y="1246"/>
                  </a:lnTo>
                  <a:lnTo>
                    <a:pt x="513" y="1245"/>
                  </a:lnTo>
                  <a:lnTo>
                    <a:pt x="514" y="1245"/>
                  </a:lnTo>
                  <a:lnTo>
                    <a:pt x="514" y="1246"/>
                  </a:lnTo>
                  <a:lnTo>
                    <a:pt x="516" y="1246"/>
                  </a:lnTo>
                  <a:lnTo>
                    <a:pt x="514" y="1246"/>
                  </a:lnTo>
                  <a:lnTo>
                    <a:pt x="516" y="1246"/>
                  </a:lnTo>
                  <a:lnTo>
                    <a:pt x="516" y="1245"/>
                  </a:lnTo>
                  <a:lnTo>
                    <a:pt x="516" y="1246"/>
                  </a:lnTo>
                  <a:lnTo>
                    <a:pt x="516" y="1245"/>
                  </a:lnTo>
                  <a:lnTo>
                    <a:pt x="516" y="1246"/>
                  </a:lnTo>
                  <a:lnTo>
                    <a:pt x="518" y="1246"/>
                  </a:lnTo>
                  <a:lnTo>
                    <a:pt x="518" y="1248"/>
                  </a:lnTo>
                  <a:lnTo>
                    <a:pt x="518" y="1250"/>
                  </a:lnTo>
                  <a:lnTo>
                    <a:pt x="518" y="1248"/>
                  </a:lnTo>
                  <a:lnTo>
                    <a:pt x="518" y="1250"/>
                  </a:lnTo>
                  <a:lnTo>
                    <a:pt x="518" y="1248"/>
                  </a:lnTo>
                  <a:lnTo>
                    <a:pt x="516" y="1248"/>
                  </a:lnTo>
                  <a:lnTo>
                    <a:pt x="516" y="1250"/>
                  </a:lnTo>
                  <a:lnTo>
                    <a:pt x="514" y="1250"/>
                  </a:lnTo>
                  <a:lnTo>
                    <a:pt x="516" y="1250"/>
                  </a:lnTo>
                  <a:lnTo>
                    <a:pt x="516" y="1251"/>
                  </a:lnTo>
                  <a:lnTo>
                    <a:pt x="516" y="1253"/>
                  </a:lnTo>
                  <a:lnTo>
                    <a:pt x="514" y="1253"/>
                  </a:lnTo>
                  <a:lnTo>
                    <a:pt x="516" y="1253"/>
                  </a:lnTo>
                  <a:lnTo>
                    <a:pt x="516" y="1254"/>
                  </a:lnTo>
                  <a:lnTo>
                    <a:pt x="518" y="1253"/>
                  </a:lnTo>
                  <a:lnTo>
                    <a:pt x="516" y="1253"/>
                  </a:lnTo>
                  <a:lnTo>
                    <a:pt x="518" y="1253"/>
                  </a:lnTo>
                  <a:lnTo>
                    <a:pt x="518" y="1251"/>
                  </a:lnTo>
                  <a:lnTo>
                    <a:pt x="518" y="1250"/>
                  </a:lnTo>
                  <a:lnTo>
                    <a:pt x="518" y="1251"/>
                  </a:lnTo>
                  <a:lnTo>
                    <a:pt x="518" y="1250"/>
                  </a:lnTo>
                  <a:lnTo>
                    <a:pt x="519" y="1250"/>
                  </a:lnTo>
                  <a:lnTo>
                    <a:pt x="521" y="1250"/>
                  </a:lnTo>
                  <a:lnTo>
                    <a:pt x="519" y="1250"/>
                  </a:lnTo>
                  <a:lnTo>
                    <a:pt x="521" y="1248"/>
                  </a:lnTo>
                  <a:lnTo>
                    <a:pt x="519" y="1248"/>
                  </a:lnTo>
                  <a:lnTo>
                    <a:pt x="521" y="1248"/>
                  </a:lnTo>
                  <a:lnTo>
                    <a:pt x="521" y="1250"/>
                  </a:lnTo>
                  <a:lnTo>
                    <a:pt x="522" y="1250"/>
                  </a:lnTo>
                  <a:lnTo>
                    <a:pt x="522" y="1251"/>
                  </a:lnTo>
                  <a:lnTo>
                    <a:pt x="522" y="1250"/>
                  </a:lnTo>
                  <a:lnTo>
                    <a:pt x="522" y="1251"/>
                  </a:lnTo>
                  <a:lnTo>
                    <a:pt x="524" y="1250"/>
                  </a:lnTo>
                  <a:lnTo>
                    <a:pt x="524" y="1251"/>
                  </a:lnTo>
                  <a:lnTo>
                    <a:pt x="526" y="1251"/>
                  </a:lnTo>
                  <a:lnTo>
                    <a:pt x="526" y="1253"/>
                  </a:lnTo>
                  <a:lnTo>
                    <a:pt x="526" y="1251"/>
                  </a:lnTo>
                  <a:lnTo>
                    <a:pt x="527" y="1251"/>
                  </a:lnTo>
                  <a:lnTo>
                    <a:pt x="529" y="1251"/>
                  </a:lnTo>
                  <a:lnTo>
                    <a:pt x="531" y="1251"/>
                  </a:lnTo>
                  <a:lnTo>
                    <a:pt x="532" y="1253"/>
                  </a:lnTo>
                  <a:lnTo>
                    <a:pt x="532" y="1254"/>
                  </a:lnTo>
                  <a:lnTo>
                    <a:pt x="534" y="1254"/>
                  </a:lnTo>
                  <a:lnTo>
                    <a:pt x="534" y="1256"/>
                  </a:lnTo>
                  <a:lnTo>
                    <a:pt x="535" y="1256"/>
                  </a:lnTo>
                  <a:lnTo>
                    <a:pt x="534" y="1258"/>
                  </a:lnTo>
                  <a:lnTo>
                    <a:pt x="535" y="1256"/>
                  </a:lnTo>
                  <a:lnTo>
                    <a:pt x="535" y="1258"/>
                  </a:lnTo>
                  <a:lnTo>
                    <a:pt x="534" y="1258"/>
                  </a:lnTo>
                  <a:lnTo>
                    <a:pt x="535" y="1258"/>
                  </a:lnTo>
                  <a:lnTo>
                    <a:pt x="537" y="1258"/>
                  </a:lnTo>
                  <a:lnTo>
                    <a:pt x="535" y="1258"/>
                  </a:lnTo>
                  <a:lnTo>
                    <a:pt x="537" y="1258"/>
                  </a:lnTo>
                  <a:lnTo>
                    <a:pt x="539" y="1258"/>
                  </a:lnTo>
                  <a:lnTo>
                    <a:pt x="539" y="1259"/>
                  </a:lnTo>
                  <a:lnTo>
                    <a:pt x="540" y="1259"/>
                  </a:lnTo>
                  <a:lnTo>
                    <a:pt x="539" y="1259"/>
                  </a:lnTo>
                  <a:lnTo>
                    <a:pt x="537" y="1259"/>
                  </a:lnTo>
                  <a:lnTo>
                    <a:pt x="539" y="1259"/>
                  </a:lnTo>
                  <a:lnTo>
                    <a:pt x="539" y="1261"/>
                  </a:lnTo>
                  <a:lnTo>
                    <a:pt x="540" y="1261"/>
                  </a:lnTo>
                  <a:lnTo>
                    <a:pt x="542" y="1261"/>
                  </a:lnTo>
                  <a:lnTo>
                    <a:pt x="542" y="1263"/>
                  </a:lnTo>
                  <a:lnTo>
                    <a:pt x="542" y="1261"/>
                  </a:lnTo>
                  <a:lnTo>
                    <a:pt x="542" y="1263"/>
                  </a:lnTo>
                  <a:lnTo>
                    <a:pt x="542" y="1261"/>
                  </a:lnTo>
                  <a:lnTo>
                    <a:pt x="544" y="1261"/>
                  </a:lnTo>
                  <a:lnTo>
                    <a:pt x="544" y="1263"/>
                  </a:lnTo>
                  <a:lnTo>
                    <a:pt x="544" y="1264"/>
                  </a:lnTo>
                  <a:lnTo>
                    <a:pt x="544" y="1263"/>
                  </a:lnTo>
                  <a:lnTo>
                    <a:pt x="544" y="1264"/>
                  </a:lnTo>
                  <a:lnTo>
                    <a:pt x="544" y="1266"/>
                  </a:lnTo>
                  <a:lnTo>
                    <a:pt x="542" y="1267"/>
                  </a:lnTo>
                  <a:lnTo>
                    <a:pt x="540" y="1266"/>
                  </a:lnTo>
                  <a:lnTo>
                    <a:pt x="539" y="1267"/>
                  </a:lnTo>
                  <a:lnTo>
                    <a:pt x="539" y="1266"/>
                  </a:lnTo>
                  <a:lnTo>
                    <a:pt x="539" y="1267"/>
                  </a:lnTo>
                  <a:lnTo>
                    <a:pt x="537" y="1266"/>
                  </a:lnTo>
                  <a:lnTo>
                    <a:pt x="537" y="1267"/>
                  </a:lnTo>
                  <a:lnTo>
                    <a:pt x="539" y="1267"/>
                  </a:lnTo>
                  <a:lnTo>
                    <a:pt x="540" y="1269"/>
                  </a:lnTo>
                  <a:lnTo>
                    <a:pt x="540" y="1271"/>
                  </a:lnTo>
                  <a:lnTo>
                    <a:pt x="540" y="1272"/>
                  </a:lnTo>
                  <a:lnTo>
                    <a:pt x="539" y="1271"/>
                  </a:lnTo>
                  <a:lnTo>
                    <a:pt x="537" y="1269"/>
                  </a:lnTo>
                  <a:lnTo>
                    <a:pt x="535" y="1269"/>
                  </a:lnTo>
                  <a:lnTo>
                    <a:pt x="535" y="1267"/>
                  </a:lnTo>
                  <a:lnTo>
                    <a:pt x="534" y="1267"/>
                  </a:lnTo>
                  <a:lnTo>
                    <a:pt x="534" y="1266"/>
                  </a:lnTo>
                  <a:lnTo>
                    <a:pt x="531" y="1264"/>
                  </a:lnTo>
                  <a:lnTo>
                    <a:pt x="529" y="1263"/>
                  </a:lnTo>
                  <a:lnTo>
                    <a:pt x="529" y="1261"/>
                  </a:lnTo>
                  <a:lnTo>
                    <a:pt x="527" y="1261"/>
                  </a:lnTo>
                  <a:lnTo>
                    <a:pt x="526" y="1261"/>
                  </a:lnTo>
                  <a:lnTo>
                    <a:pt x="524" y="1261"/>
                  </a:lnTo>
                  <a:lnTo>
                    <a:pt x="526" y="1261"/>
                  </a:lnTo>
                  <a:lnTo>
                    <a:pt x="526" y="1263"/>
                  </a:lnTo>
                  <a:lnTo>
                    <a:pt x="527" y="1263"/>
                  </a:lnTo>
                  <a:lnTo>
                    <a:pt x="527" y="1264"/>
                  </a:lnTo>
                  <a:lnTo>
                    <a:pt x="527" y="1263"/>
                  </a:lnTo>
                  <a:lnTo>
                    <a:pt x="527" y="1264"/>
                  </a:lnTo>
                  <a:lnTo>
                    <a:pt x="529" y="1264"/>
                  </a:lnTo>
                  <a:lnTo>
                    <a:pt x="531" y="1266"/>
                  </a:lnTo>
                  <a:lnTo>
                    <a:pt x="531" y="1267"/>
                  </a:lnTo>
                  <a:lnTo>
                    <a:pt x="532" y="1267"/>
                  </a:lnTo>
                  <a:lnTo>
                    <a:pt x="534" y="1267"/>
                  </a:lnTo>
                  <a:lnTo>
                    <a:pt x="535" y="1269"/>
                  </a:lnTo>
                  <a:lnTo>
                    <a:pt x="535" y="1271"/>
                  </a:lnTo>
                  <a:lnTo>
                    <a:pt x="534" y="1269"/>
                  </a:lnTo>
                  <a:lnTo>
                    <a:pt x="535" y="1271"/>
                  </a:lnTo>
                  <a:lnTo>
                    <a:pt x="534" y="1271"/>
                  </a:lnTo>
                  <a:lnTo>
                    <a:pt x="532" y="1271"/>
                  </a:lnTo>
                  <a:lnTo>
                    <a:pt x="534" y="1271"/>
                  </a:lnTo>
                  <a:lnTo>
                    <a:pt x="534" y="1272"/>
                  </a:lnTo>
                  <a:lnTo>
                    <a:pt x="535" y="1272"/>
                  </a:lnTo>
                  <a:lnTo>
                    <a:pt x="534" y="1272"/>
                  </a:lnTo>
                  <a:lnTo>
                    <a:pt x="532" y="1271"/>
                  </a:lnTo>
                  <a:lnTo>
                    <a:pt x="532" y="1272"/>
                  </a:lnTo>
                  <a:lnTo>
                    <a:pt x="534" y="1272"/>
                  </a:lnTo>
                  <a:lnTo>
                    <a:pt x="534" y="1274"/>
                  </a:lnTo>
                  <a:lnTo>
                    <a:pt x="532" y="1274"/>
                  </a:lnTo>
                  <a:lnTo>
                    <a:pt x="534" y="1274"/>
                  </a:lnTo>
                  <a:lnTo>
                    <a:pt x="535" y="1274"/>
                  </a:lnTo>
                  <a:lnTo>
                    <a:pt x="537" y="1276"/>
                  </a:lnTo>
                  <a:lnTo>
                    <a:pt x="537" y="1277"/>
                  </a:lnTo>
                  <a:lnTo>
                    <a:pt x="537" y="1276"/>
                  </a:lnTo>
                  <a:lnTo>
                    <a:pt x="537" y="1277"/>
                  </a:lnTo>
                  <a:lnTo>
                    <a:pt x="539" y="1277"/>
                  </a:lnTo>
                  <a:lnTo>
                    <a:pt x="537" y="1276"/>
                  </a:lnTo>
                  <a:lnTo>
                    <a:pt x="539" y="1276"/>
                  </a:lnTo>
                  <a:lnTo>
                    <a:pt x="539" y="1277"/>
                  </a:lnTo>
                  <a:lnTo>
                    <a:pt x="539" y="1276"/>
                  </a:lnTo>
                  <a:lnTo>
                    <a:pt x="539" y="1277"/>
                  </a:lnTo>
                  <a:lnTo>
                    <a:pt x="539" y="1276"/>
                  </a:lnTo>
                  <a:lnTo>
                    <a:pt x="540" y="1277"/>
                  </a:lnTo>
                  <a:lnTo>
                    <a:pt x="540" y="1279"/>
                  </a:lnTo>
                  <a:lnTo>
                    <a:pt x="542" y="1279"/>
                  </a:lnTo>
                  <a:lnTo>
                    <a:pt x="542" y="1280"/>
                  </a:lnTo>
                  <a:lnTo>
                    <a:pt x="540" y="1280"/>
                  </a:lnTo>
                  <a:lnTo>
                    <a:pt x="542" y="1280"/>
                  </a:lnTo>
                  <a:lnTo>
                    <a:pt x="542" y="1282"/>
                  </a:lnTo>
                  <a:lnTo>
                    <a:pt x="544" y="1282"/>
                  </a:lnTo>
                  <a:lnTo>
                    <a:pt x="544" y="1284"/>
                  </a:lnTo>
                  <a:lnTo>
                    <a:pt x="544" y="1285"/>
                  </a:lnTo>
                  <a:lnTo>
                    <a:pt x="544" y="1287"/>
                  </a:lnTo>
                  <a:lnTo>
                    <a:pt x="545" y="1287"/>
                  </a:lnTo>
                  <a:lnTo>
                    <a:pt x="545" y="1290"/>
                  </a:lnTo>
                  <a:lnTo>
                    <a:pt x="545" y="1285"/>
                  </a:lnTo>
                  <a:lnTo>
                    <a:pt x="544" y="1285"/>
                  </a:lnTo>
                  <a:lnTo>
                    <a:pt x="544" y="1284"/>
                  </a:lnTo>
                  <a:lnTo>
                    <a:pt x="545" y="1284"/>
                  </a:lnTo>
                  <a:lnTo>
                    <a:pt x="544" y="1282"/>
                  </a:lnTo>
                  <a:lnTo>
                    <a:pt x="544" y="1280"/>
                  </a:lnTo>
                  <a:lnTo>
                    <a:pt x="544" y="1279"/>
                  </a:lnTo>
                  <a:lnTo>
                    <a:pt x="544" y="1277"/>
                  </a:lnTo>
                  <a:lnTo>
                    <a:pt x="545" y="1277"/>
                  </a:lnTo>
                  <a:lnTo>
                    <a:pt x="547" y="1277"/>
                  </a:lnTo>
                  <a:lnTo>
                    <a:pt x="548" y="1277"/>
                  </a:lnTo>
                  <a:lnTo>
                    <a:pt x="550" y="1277"/>
                  </a:lnTo>
                  <a:lnTo>
                    <a:pt x="550" y="1279"/>
                  </a:lnTo>
                  <a:lnTo>
                    <a:pt x="550" y="1280"/>
                  </a:lnTo>
                  <a:lnTo>
                    <a:pt x="552" y="1280"/>
                  </a:lnTo>
                  <a:lnTo>
                    <a:pt x="552" y="1279"/>
                  </a:lnTo>
                  <a:lnTo>
                    <a:pt x="553" y="1279"/>
                  </a:lnTo>
                  <a:lnTo>
                    <a:pt x="555" y="1279"/>
                  </a:lnTo>
                  <a:lnTo>
                    <a:pt x="555" y="1280"/>
                  </a:lnTo>
                  <a:lnTo>
                    <a:pt x="555" y="1279"/>
                  </a:lnTo>
                  <a:lnTo>
                    <a:pt x="555" y="1280"/>
                  </a:lnTo>
                  <a:lnTo>
                    <a:pt x="557" y="1280"/>
                  </a:lnTo>
                  <a:lnTo>
                    <a:pt x="557" y="1282"/>
                  </a:lnTo>
                  <a:lnTo>
                    <a:pt x="557" y="1285"/>
                  </a:lnTo>
                  <a:lnTo>
                    <a:pt x="558" y="1289"/>
                  </a:lnTo>
                  <a:lnTo>
                    <a:pt x="558" y="1290"/>
                  </a:lnTo>
                  <a:lnTo>
                    <a:pt x="558" y="1292"/>
                  </a:lnTo>
                  <a:lnTo>
                    <a:pt x="560" y="1293"/>
                  </a:lnTo>
                  <a:lnTo>
                    <a:pt x="561" y="1297"/>
                  </a:lnTo>
                  <a:lnTo>
                    <a:pt x="561" y="1295"/>
                  </a:lnTo>
                  <a:lnTo>
                    <a:pt x="560" y="1293"/>
                  </a:lnTo>
                  <a:lnTo>
                    <a:pt x="560" y="1290"/>
                  </a:lnTo>
                  <a:lnTo>
                    <a:pt x="558" y="1290"/>
                  </a:lnTo>
                  <a:lnTo>
                    <a:pt x="558" y="1287"/>
                  </a:lnTo>
                  <a:lnTo>
                    <a:pt x="558" y="1285"/>
                  </a:lnTo>
                  <a:lnTo>
                    <a:pt x="557" y="1285"/>
                  </a:lnTo>
                  <a:lnTo>
                    <a:pt x="558" y="1285"/>
                  </a:lnTo>
                  <a:lnTo>
                    <a:pt x="558" y="1284"/>
                  </a:lnTo>
                  <a:lnTo>
                    <a:pt x="557" y="1284"/>
                  </a:lnTo>
                  <a:lnTo>
                    <a:pt x="558" y="1284"/>
                  </a:lnTo>
                  <a:lnTo>
                    <a:pt x="557" y="1284"/>
                  </a:lnTo>
                  <a:lnTo>
                    <a:pt x="558" y="1284"/>
                  </a:lnTo>
                  <a:lnTo>
                    <a:pt x="557" y="1284"/>
                  </a:lnTo>
                  <a:lnTo>
                    <a:pt x="557" y="1282"/>
                  </a:lnTo>
                  <a:lnTo>
                    <a:pt x="557" y="1280"/>
                  </a:lnTo>
                  <a:lnTo>
                    <a:pt x="558" y="1280"/>
                  </a:lnTo>
                  <a:lnTo>
                    <a:pt x="558" y="1282"/>
                  </a:lnTo>
                  <a:lnTo>
                    <a:pt x="560" y="1282"/>
                  </a:lnTo>
                  <a:lnTo>
                    <a:pt x="558" y="1280"/>
                  </a:lnTo>
                  <a:lnTo>
                    <a:pt x="560" y="1280"/>
                  </a:lnTo>
                  <a:lnTo>
                    <a:pt x="558" y="1280"/>
                  </a:lnTo>
                  <a:lnTo>
                    <a:pt x="558" y="1279"/>
                  </a:lnTo>
                  <a:lnTo>
                    <a:pt x="558" y="1280"/>
                  </a:lnTo>
                  <a:lnTo>
                    <a:pt x="558" y="1279"/>
                  </a:lnTo>
                  <a:lnTo>
                    <a:pt x="558" y="1280"/>
                  </a:lnTo>
                  <a:lnTo>
                    <a:pt x="558" y="1279"/>
                  </a:lnTo>
                  <a:lnTo>
                    <a:pt x="560" y="1279"/>
                  </a:lnTo>
                  <a:lnTo>
                    <a:pt x="560" y="1280"/>
                  </a:lnTo>
                  <a:lnTo>
                    <a:pt x="561" y="1279"/>
                  </a:lnTo>
                  <a:lnTo>
                    <a:pt x="561" y="1280"/>
                  </a:lnTo>
                  <a:lnTo>
                    <a:pt x="561" y="1282"/>
                  </a:lnTo>
                  <a:lnTo>
                    <a:pt x="560" y="1282"/>
                  </a:lnTo>
                  <a:lnTo>
                    <a:pt x="561" y="1282"/>
                  </a:lnTo>
                  <a:lnTo>
                    <a:pt x="561" y="1284"/>
                  </a:lnTo>
                  <a:lnTo>
                    <a:pt x="561" y="1285"/>
                  </a:lnTo>
                  <a:lnTo>
                    <a:pt x="563" y="1287"/>
                  </a:lnTo>
                  <a:lnTo>
                    <a:pt x="563" y="1289"/>
                  </a:lnTo>
                  <a:lnTo>
                    <a:pt x="563" y="1290"/>
                  </a:lnTo>
                  <a:lnTo>
                    <a:pt x="565" y="1290"/>
                  </a:lnTo>
                  <a:lnTo>
                    <a:pt x="565" y="1292"/>
                  </a:lnTo>
                  <a:lnTo>
                    <a:pt x="566" y="1293"/>
                  </a:lnTo>
                  <a:lnTo>
                    <a:pt x="566" y="1295"/>
                  </a:lnTo>
                  <a:lnTo>
                    <a:pt x="568" y="1297"/>
                  </a:lnTo>
                  <a:lnTo>
                    <a:pt x="568" y="1298"/>
                  </a:lnTo>
                  <a:lnTo>
                    <a:pt x="570" y="1298"/>
                  </a:lnTo>
                  <a:lnTo>
                    <a:pt x="570" y="1300"/>
                  </a:lnTo>
                  <a:lnTo>
                    <a:pt x="570" y="1302"/>
                  </a:lnTo>
                  <a:lnTo>
                    <a:pt x="571" y="1302"/>
                  </a:lnTo>
                  <a:lnTo>
                    <a:pt x="571" y="1303"/>
                  </a:lnTo>
                  <a:lnTo>
                    <a:pt x="571" y="1305"/>
                  </a:lnTo>
                  <a:lnTo>
                    <a:pt x="570" y="1305"/>
                  </a:lnTo>
                  <a:lnTo>
                    <a:pt x="571" y="1305"/>
                  </a:lnTo>
                  <a:lnTo>
                    <a:pt x="571" y="1307"/>
                  </a:lnTo>
                  <a:lnTo>
                    <a:pt x="571" y="1305"/>
                  </a:lnTo>
                  <a:lnTo>
                    <a:pt x="573" y="1305"/>
                  </a:lnTo>
                  <a:lnTo>
                    <a:pt x="571" y="1305"/>
                  </a:lnTo>
                  <a:lnTo>
                    <a:pt x="573" y="1305"/>
                  </a:lnTo>
                  <a:lnTo>
                    <a:pt x="573" y="1307"/>
                  </a:lnTo>
                  <a:lnTo>
                    <a:pt x="573" y="1305"/>
                  </a:lnTo>
                  <a:lnTo>
                    <a:pt x="573" y="1308"/>
                  </a:lnTo>
                  <a:lnTo>
                    <a:pt x="573" y="1307"/>
                  </a:lnTo>
                  <a:lnTo>
                    <a:pt x="574" y="1307"/>
                  </a:lnTo>
                  <a:lnTo>
                    <a:pt x="576" y="1307"/>
                  </a:lnTo>
                  <a:lnTo>
                    <a:pt x="576" y="1308"/>
                  </a:lnTo>
                  <a:lnTo>
                    <a:pt x="578" y="1308"/>
                  </a:lnTo>
                  <a:lnTo>
                    <a:pt x="579" y="1308"/>
                  </a:lnTo>
                  <a:lnTo>
                    <a:pt x="579" y="1310"/>
                  </a:lnTo>
                  <a:lnTo>
                    <a:pt x="581" y="1311"/>
                  </a:lnTo>
                  <a:lnTo>
                    <a:pt x="579" y="1311"/>
                  </a:lnTo>
                  <a:lnTo>
                    <a:pt x="581" y="1311"/>
                  </a:lnTo>
                  <a:lnTo>
                    <a:pt x="579" y="1310"/>
                  </a:lnTo>
                  <a:lnTo>
                    <a:pt x="581" y="1310"/>
                  </a:lnTo>
                  <a:lnTo>
                    <a:pt x="581" y="1308"/>
                  </a:lnTo>
                  <a:lnTo>
                    <a:pt x="581" y="1310"/>
                  </a:lnTo>
                  <a:lnTo>
                    <a:pt x="583" y="1308"/>
                  </a:lnTo>
                  <a:lnTo>
                    <a:pt x="583" y="1310"/>
                  </a:lnTo>
                  <a:lnTo>
                    <a:pt x="581" y="1310"/>
                  </a:lnTo>
                  <a:lnTo>
                    <a:pt x="583" y="1311"/>
                  </a:lnTo>
                  <a:lnTo>
                    <a:pt x="583" y="1310"/>
                  </a:lnTo>
                  <a:lnTo>
                    <a:pt x="584" y="1311"/>
                  </a:lnTo>
                  <a:lnTo>
                    <a:pt x="583" y="1313"/>
                  </a:lnTo>
                  <a:lnTo>
                    <a:pt x="584" y="1313"/>
                  </a:lnTo>
                  <a:lnTo>
                    <a:pt x="584" y="1315"/>
                  </a:lnTo>
                  <a:lnTo>
                    <a:pt x="584" y="1316"/>
                  </a:lnTo>
                  <a:lnTo>
                    <a:pt x="584" y="1318"/>
                  </a:lnTo>
                  <a:lnTo>
                    <a:pt x="584" y="1320"/>
                  </a:lnTo>
                  <a:lnTo>
                    <a:pt x="584" y="1321"/>
                  </a:lnTo>
                  <a:lnTo>
                    <a:pt x="583" y="1321"/>
                  </a:lnTo>
                  <a:lnTo>
                    <a:pt x="584" y="1320"/>
                  </a:lnTo>
                  <a:lnTo>
                    <a:pt x="583" y="1320"/>
                  </a:lnTo>
                  <a:lnTo>
                    <a:pt x="581" y="1320"/>
                  </a:lnTo>
                  <a:lnTo>
                    <a:pt x="583" y="1320"/>
                  </a:lnTo>
                  <a:lnTo>
                    <a:pt x="581" y="1318"/>
                  </a:lnTo>
                  <a:lnTo>
                    <a:pt x="581" y="1320"/>
                  </a:lnTo>
                  <a:lnTo>
                    <a:pt x="581" y="1318"/>
                  </a:lnTo>
                  <a:lnTo>
                    <a:pt x="579" y="1318"/>
                  </a:lnTo>
                  <a:lnTo>
                    <a:pt x="579" y="1316"/>
                  </a:lnTo>
                  <a:lnTo>
                    <a:pt x="579" y="1318"/>
                  </a:lnTo>
                  <a:lnTo>
                    <a:pt x="578" y="1316"/>
                  </a:lnTo>
                  <a:lnTo>
                    <a:pt x="579" y="1316"/>
                  </a:lnTo>
                  <a:lnTo>
                    <a:pt x="578" y="1316"/>
                  </a:lnTo>
                  <a:lnTo>
                    <a:pt x="578" y="1315"/>
                  </a:lnTo>
                  <a:lnTo>
                    <a:pt x="578" y="1313"/>
                  </a:lnTo>
                  <a:lnTo>
                    <a:pt x="576" y="1315"/>
                  </a:lnTo>
                  <a:lnTo>
                    <a:pt x="576" y="1313"/>
                  </a:lnTo>
                  <a:lnTo>
                    <a:pt x="576" y="1311"/>
                  </a:lnTo>
                  <a:lnTo>
                    <a:pt x="574" y="1311"/>
                  </a:lnTo>
                  <a:lnTo>
                    <a:pt x="574" y="1310"/>
                  </a:lnTo>
                  <a:lnTo>
                    <a:pt x="573" y="1311"/>
                  </a:lnTo>
                  <a:lnTo>
                    <a:pt x="573" y="1310"/>
                  </a:lnTo>
                  <a:lnTo>
                    <a:pt x="573" y="1308"/>
                  </a:lnTo>
                  <a:lnTo>
                    <a:pt x="573" y="1310"/>
                  </a:lnTo>
                  <a:lnTo>
                    <a:pt x="573" y="1308"/>
                  </a:lnTo>
                  <a:lnTo>
                    <a:pt x="571" y="1308"/>
                  </a:lnTo>
                  <a:lnTo>
                    <a:pt x="573" y="1308"/>
                  </a:lnTo>
                  <a:lnTo>
                    <a:pt x="571" y="1308"/>
                  </a:lnTo>
                  <a:lnTo>
                    <a:pt x="571" y="1307"/>
                  </a:lnTo>
                  <a:lnTo>
                    <a:pt x="570" y="1307"/>
                  </a:lnTo>
                  <a:lnTo>
                    <a:pt x="568" y="1305"/>
                  </a:lnTo>
                  <a:lnTo>
                    <a:pt x="566" y="1305"/>
                  </a:lnTo>
                  <a:lnTo>
                    <a:pt x="568" y="1305"/>
                  </a:lnTo>
                  <a:lnTo>
                    <a:pt x="568" y="1307"/>
                  </a:lnTo>
                  <a:lnTo>
                    <a:pt x="570" y="1307"/>
                  </a:lnTo>
                  <a:lnTo>
                    <a:pt x="570" y="1308"/>
                  </a:lnTo>
                  <a:lnTo>
                    <a:pt x="571" y="1308"/>
                  </a:lnTo>
                  <a:lnTo>
                    <a:pt x="571" y="1310"/>
                  </a:lnTo>
                  <a:lnTo>
                    <a:pt x="570" y="1310"/>
                  </a:lnTo>
                  <a:lnTo>
                    <a:pt x="571" y="1310"/>
                  </a:lnTo>
                  <a:lnTo>
                    <a:pt x="570" y="1311"/>
                  </a:lnTo>
                  <a:lnTo>
                    <a:pt x="571" y="1311"/>
                  </a:lnTo>
                  <a:lnTo>
                    <a:pt x="571" y="1310"/>
                  </a:lnTo>
                  <a:lnTo>
                    <a:pt x="573" y="1311"/>
                  </a:lnTo>
                  <a:lnTo>
                    <a:pt x="571" y="1311"/>
                  </a:lnTo>
                  <a:lnTo>
                    <a:pt x="573" y="1311"/>
                  </a:lnTo>
                  <a:lnTo>
                    <a:pt x="574" y="1313"/>
                  </a:lnTo>
                  <a:lnTo>
                    <a:pt x="573" y="1315"/>
                  </a:lnTo>
                  <a:lnTo>
                    <a:pt x="574" y="1315"/>
                  </a:lnTo>
                  <a:lnTo>
                    <a:pt x="574" y="1318"/>
                  </a:lnTo>
                  <a:lnTo>
                    <a:pt x="573" y="1320"/>
                  </a:lnTo>
                  <a:lnTo>
                    <a:pt x="571" y="1323"/>
                  </a:lnTo>
                  <a:lnTo>
                    <a:pt x="571" y="1324"/>
                  </a:lnTo>
                  <a:lnTo>
                    <a:pt x="570" y="1326"/>
                  </a:lnTo>
                  <a:lnTo>
                    <a:pt x="571" y="1326"/>
                  </a:lnTo>
                  <a:lnTo>
                    <a:pt x="570" y="1328"/>
                  </a:lnTo>
                  <a:lnTo>
                    <a:pt x="568" y="1328"/>
                  </a:lnTo>
                  <a:lnTo>
                    <a:pt x="566" y="1328"/>
                  </a:lnTo>
                  <a:lnTo>
                    <a:pt x="565" y="1329"/>
                  </a:lnTo>
                  <a:lnTo>
                    <a:pt x="563" y="1329"/>
                  </a:lnTo>
                  <a:lnTo>
                    <a:pt x="563" y="1331"/>
                  </a:lnTo>
                  <a:lnTo>
                    <a:pt x="561" y="1331"/>
                  </a:lnTo>
                  <a:lnTo>
                    <a:pt x="561" y="1329"/>
                  </a:lnTo>
                  <a:lnTo>
                    <a:pt x="561" y="1331"/>
                  </a:lnTo>
                  <a:lnTo>
                    <a:pt x="561" y="1329"/>
                  </a:lnTo>
                  <a:lnTo>
                    <a:pt x="560" y="1331"/>
                  </a:lnTo>
                  <a:lnTo>
                    <a:pt x="561" y="1331"/>
                  </a:lnTo>
                  <a:lnTo>
                    <a:pt x="561" y="1333"/>
                  </a:lnTo>
                  <a:lnTo>
                    <a:pt x="561" y="1331"/>
                  </a:lnTo>
                  <a:lnTo>
                    <a:pt x="561" y="1333"/>
                  </a:lnTo>
                  <a:lnTo>
                    <a:pt x="560" y="1333"/>
                  </a:lnTo>
                  <a:lnTo>
                    <a:pt x="561" y="1333"/>
                  </a:lnTo>
                  <a:lnTo>
                    <a:pt x="561" y="1331"/>
                  </a:lnTo>
                  <a:lnTo>
                    <a:pt x="563" y="1331"/>
                  </a:lnTo>
                  <a:lnTo>
                    <a:pt x="566" y="1329"/>
                  </a:lnTo>
                  <a:lnTo>
                    <a:pt x="568" y="1329"/>
                  </a:lnTo>
                  <a:lnTo>
                    <a:pt x="568" y="1328"/>
                  </a:lnTo>
                  <a:lnTo>
                    <a:pt x="568" y="1329"/>
                  </a:lnTo>
                  <a:lnTo>
                    <a:pt x="570" y="1329"/>
                  </a:lnTo>
                  <a:lnTo>
                    <a:pt x="568" y="1329"/>
                  </a:lnTo>
                  <a:lnTo>
                    <a:pt x="568" y="1328"/>
                  </a:lnTo>
                  <a:lnTo>
                    <a:pt x="570" y="1328"/>
                  </a:lnTo>
                  <a:lnTo>
                    <a:pt x="571" y="1328"/>
                  </a:lnTo>
                  <a:lnTo>
                    <a:pt x="573" y="1328"/>
                  </a:lnTo>
                  <a:lnTo>
                    <a:pt x="574" y="1328"/>
                  </a:lnTo>
                  <a:lnTo>
                    <a:pt x="576" y="1328"/>
                  </a:lnTo>
                  <a:lnTo>
                    <a:pt x="576" y="1326"/>
                  </a:lnTo>
                  <a:lnTo>
                    <a:pt x="579" y="1326"/>
                  </a:lnTo>
                  <a:lnTo>
                    <a:pt x="579" y="1328"/>
                  </a:lnTo>
                  <a:lnTo>
                    <a:pt x="581" y="1326"/>
                  </a:lnTo>
                  <a:lnTo>
                    <a:pt x="581" y="1328"/>
                  </a:lnTo>
                  <a:lnTo>
                    <a:pt x="584" y="1328"/>
                  </a:lnTo>
                  <a:lnTo>
                    <a:pt x="586" y="1328"/>
                  </a:lnTo>
                  <a:lnTo>
                    <a:pt x="586" y="1329"/>
                  </a:lnTo>
                  <a:lnTo>
                    <a:pt x="588" y="1329"/>
                  </a:lnTo>
                  <a:lnTo>
                    <a:pt x="586" y="1331"/>
                  </a:lnTo>
                  <a:lnTo>
                    <a:pt x="588" y="1331"/>
                  </a:lnTo>
                  <a:lnTo>
                    <a:pt x="588" y="1333"/>
                  </a:lnTo>
                  <a:lnTo>
                    <a:pt x="586" y="1333"/>
                  </a:lnTo>
                  <a:lnTo>
                    <a:pt x="586" y="1334"/>
                  </a:lnTo>
                  <a:lnTo>
                    <a:pt x="584" y="1334"/>
                  </a:lnTo>
                  <a:lnTo>
                    <a:pt x="584" y="1336"/>
                  </a:lnTo>
                  <a:lnTo>
                    <a:pt x="583" y="1336"/>
                  </a:lnTo>
                  <a:lnTo>
                    <a:pt x="584" y="1336"/>
                  </a:lnTo>
                  <a:lnTo>
                    <a:pt x="583" y="1336"/>
                  </a:lnTo>
                  <a:lnTo>
                    <a:pt x="581" y="1336"/>
                  </a:lnTo>
                  <a:lnTo>
                    <a:pt x="581" y="1337"/>
                  </a:lnTo>
                  <a:lnTo>
                    <a:pt x="581" y="1336"/>
                  </a:lnTo>
                  <a:lnTo>
                    <a:pt x="579" y="1337"/>
                  </a:lnTo>
                  <a:lnTo>
                    <a:pt x="579" y="1336"/>
                  </a:lnTo>
                  <a:lnTo>
                    <a:pt x="578" y="1334"/>
                  </a:lnTo>
                  <a:lnTo>
                    <a:pt x="578" y="1336"/>
                  </a:lnTo>
                  <a:lnTo>
                    <a:pt x="576" y="1336"/>
                  </a:lnTo>
                  <a:lnTo>
                    <a:pt x="574" y="1336"/>
                  </a:lnTo>
                  <a:lnTo>
                    <a:pt x="573" y="1336"/>
                  </a:lnTo>
                  <a:lnTo>
                    <a:pt x="574" y="1336"/>
                  </a:lnTo>
                  <a:lnTo>
                    <a:pt x="574" y="1337"/>
                  </a:lnTo>
                  <a:lnTo>
                    <a:pt x="573" y="1337"/>
                  </a:lnTo>
                  <a:lnTo>
                    <a:pt x="571" y="1337"/>
                  </a:lnTo>
                  <a:lnTo>
                    <a:pt x="571" y="1339"/>
                  </a:lnTo>
                  <a:lnTo>
                    <a:pt x="570" y="1339"/>
                  </a:lnTo>
                  <a:lnTo>
                    <a:pt x="570" y="1341"/>
                  </a:lnTo>
                  <a:lnTo>
                    <a:pt x="568" y="1341"/>
                  </a:lnTo>
                  <a:lnTo>
                    <a:pt x="566" y="1341"/>
                  </a:lnTo>
                  <a:lnTo>
                    <a:pt x="565" y="1341"/>
                  </a:lnTo>
                  <a:lnTo>
                    <a:pt x="565" y="1342"/>
                  </a:lnTo>
                  <a:lnTo>
                    <a:pt x="566" y="1342"/>
                  </a:lnTo>
                  <a:lnTo>
                    <a:pt x="566" y="1341"/>
                  </a:lnTo>
                  <a:lnTo>
                    <a:pt x="568" y="1341"/>
                  </a:lnTo>
                  <a:lnTo>
                    <a:pt x="568" y="1342"/>
                  </a:lnTo>
                  <a:lnTo>
                    <a:pt x="566" y="1342"/>
                  </a:lnTo>
                  <a:lnTo>
                    <a:pt x="568" y="1342"/>
                  </a:lnTo>
                  <a:lnTo>
                    <a:pt x="566" y="1342"/>
                  </a:lnTo>
                  <a:lnTo>
                    <a:pt x="565" y="1342"/>
                  </a:lnTo>
                  <a:lnTo>
                    <a:pt x="563" y="1342"/>
                  </a:lnTo>
                  <a:lnTo>
                    <a:pt x="565" y="1342"/>
                  </a:lnTo>
                  <a:lnTo>
                    <a:pt x="563" y="1344"/>
                  </a:lnTo>
                  <a:lnTo>
                    <a:pt x="565" y="1344"/>
                  </a:lnTo>
                  <a:lnTo>
                    <a:pt x="563" y="1344"/>
                  </a:lnTo>
                  <a:lnTo>
                    <a:pt x="563" y="1346"/>
                  </a:lnTo>
                  <a:lnTo>
                    <a:pt x="561" y="1346"/>
                  </a:lnTo>
                  <a:lnTo>
                    <a:pt x="563" y="1346"/>
                  </a:lnTo>
                  <a:lnTo>
                    <a:pt x="561" y="1346"/>
                  </a:lnTo>
                  <a:lnTo>
                    <a:pt x="561" y="1347"/>
                  </a:lnTo>
                  <a:lnTo>
                    <a:pt x="560" y="1347"/>
                  </a:lnTo>
                  <a:lnTo>
                    <a:pt x="560" y="1349"/>
                  </a:lnTo>
                  <a:lnTo>
                    <a:pt x="561" y="1349"/>
                  </a:lnTo>
                  <a:lnTo>
                    <a:pt x="563" y="1349"/>
                  </a:lnTo>
                  <a:lnTo>
                    <a:pt x="563" y="1347"/>
                  </a:lnTo>
                  <a:lnTo>
                    <a:pt x="565" y="1347"/>
                  </a:lnTo>
                  <a:lnTo>
                    <a:pt x="563" y="1349"/>
                  </a:lnTo>
                  <a:lnTo>
                    <a:pt x="563" y="1350"/>
                  </a:lnTo>
                  <a:lnTo>
                    <a:pt x="565" y="1350"/>
                  </a:lnTo>
                  <a:lnTo>
                    <a:pt x="565" y="1352"/>
                  </a:lnTo>
                  <a:lnTo>
                    <a:pt x="563" y="1352"/>
                  </a:lnTo>
                  <a:lnTo>
                    <a:pt x="563" y="1350"/>
                  </a:lnTo>
                  <a:lnTo>
                    <a:pt x="563" y="1352"/>
                  </a:lnTo>
                  <a:lnTo>
                    <a:pt x="565" y="1350"/>
                  </a:lnTo>
                  <a:lnTo>
                    <a:pt x="563" y="1350"/>
                  </a:lnTo>
                  <a:lnTo>
                    <a:pt x="563" y="1349"/>
                  </a:lnTo>
                  <a:lnTo>
                    <a:pt x="561" y="1349"/>
                  </a:lnTo>
                  <a:lnTo>
                    <a:pt x="561" y="1350"/>
                  </a:lnTo>
                  <a:lnTo>
                    <a:pt x="563" y="1350"/>
                  </a:lnTo>
                  <a:lnTo>
                    <a:pt x="561" y="1350"/>
                  </a:lnTo>
                  <a:lnTo>
                    <a:pt x="561" y="1352"/>
                  </a:lnTo>
                  <a:lnTo>
                    <a:pt x="561" y="1354"/>
                  </a:lnTo>
                  <a:lnTo>
                    <a:pt x="560" y="1352"/>
                  </a:lnTo>
                  <a:lnTo>
                    <a:pt x="560" y="1354"/>
                  </a:lnTo>
                  <a:lnTo>
                    <a:pt x="561" y="1354"/>
                  </a:lnTo>
                  <a:lnTo>
                    <a:pt x="560" y="1355"/>
                  </a:lnTo>
                  <a:lnTo>
                    <a:pt x="560" y="1357"/>
                  </a:lnTo>
                  <a:lnTo>
                    <a:pt x="558" y="1359"/>
                  </a:lnTo>
                  <a:lnTo>
                    <a:pt x="557" y="1360"/>
                  </a:lnTo>
                  <a:lnTo>
                    <a:pt x="555" y="1362"/>
                  </a:lnTo>
                  <a:lnTo>
                    <a:pt x="553" y="1362"/>
                  </a:lnTo>
                  <a:lnTo>
                    <a:pt x="553" y="1363"/>
                  </a:lnTo>
                  <a:lnTo>
                    <a:pt x="552" y="1363"/>
                  </a:lnTo>
                  <a:lnTo>
                    <a:pt x="552" y="1365"/>
                  </a:lnTo>
                  <a:lnTo>
                    <a:pt x="550" y="1365"/>
                  </a:lnTo>
                  <a:lnTo>
                    <a:pt x="550" y="1367"/>
                  </a:lnTo>
                  <a:lnTo>
                    <a:pt x="550" y="1365"/>
                  </a:lnTo>
                  <a:lnTo>
                    <a:pt x="548" y="1367"/>
                  </a:lnTo>
                  <a:lnTo>
                    <a:pt x="548" y="1368"/>
                  </a:lnTo>
                  <a:lnTo>
                    <a:pt x="547" y="1368"/>
                  </a:lnTo>
                  <a:lnTo>
                    <a:pt x="547" y="1370"/>
                  </a:lnTo>
                  <a:lnTo>
                    <a:pt x="545" y="1370"/>
                  </a:lnTo>
                  <a:lnTo>
                    <a:pt x="545" y="1372"/>
                  </a:lnTo>
                  <a:lnTo>
                    <a:pt x="545" y="1373"/>
                  </a:lnTo>
                  <a:lnTo>
                    <a:pt x="544" y="1373"/>
                  </a:lnTo>
                  <a:lnTo>
                    <a:pt x="542" y="1373"/>
                  </a:lnTo>
                  <a:lnTo>
                    <a:pt x="544" y="1373"/>
                  </a:lnTo>
                  <a:lnTo>
                    <a:pt x="542" y="1375"/>
                  </a:lnTo>
                  <a:lnTo>
                    <a:pt x="542" y="1376"/>
                  </a:lnTo>
                  <a:lnTo>
                    <a:pt x="542" y="1378"/>
                  </a:lnTo>
                  <a:lnTo>
                    <a:pt x="540" y="1378"/>
                  </a:lnTo>
                  <a:lnTo>
                    <a:pt x="539" y="1378"/>
                  </a:lnTo>
                  <a:lnTo>
                    <a:pt x="537" y="1378"/>
                  </a:lnTo>
                  <a:lnTo>
                    <a:pt x="537" y="1376"/>
                  </a:lnTo>
                  <a:lnTo>
                    <a:pt x="537" y="1378"/>
                  </a:lnTo>
                  <a:lnTo>
                    <a:pt x="535" y="1378"/>
                  </a:lnTo>
                  <a:lnTo>
                    <a:pt x="534" y="1376"/>
                  </a:lnTo>
                  <a:lnTo>
                    <a:pt x="535" y="1378"/>
                  </a:lnTo>
                  <a:lnTo>
                    <a:pt x="534" y="1378"/>
                  </a:lnTo>
                  <a:lnTo>
                    <a:pt x="534" y="1376"/>
                  </a:lnTo>
                  <a:lnTo>
                    <a:pt x="534" y="1378"/>
                  </a:lnTo>
                  <a:lnTo>
                    <a:pt x="535" y="1378"/>
                  </a:lnTo>
                  <a:lnTo>
                    <a:pt x="535" y="1380"/>
                  </a:lnTo>
                  <a:lnTo>
                    <a:pt x="534" y="1381"/>
                  </a:lnTo>
                  <a:lnTo>
                    <a:pt x="535" y="1381"/>
                  </a:lnTo>
                  <a:lnTo>
                    <a:pt x="534" y="1381"/>
                  </a:lnTo>
                  <a:lnTo>
                    <a:pt x="532" y="1381"/>
                  </a:lnTo>
                  <a:lnTo>
                    <a:pt x="531" y="1381"/>
                  </a:lnTo>
                  <a:lnTo>
                    <a:pt x="532" y="1381"/>
                  </a:lnTo>
                  <a:lnTo>
                    <a:pt x="532" y="1380"/>
                  </a:lnTo>
                  <a:lnTo>
                    <a:pt x="531" y="1381"/>
                  </a:lnTo>
                  <a:lnTo>
                    <a:pt x="531" y="1383"/>
                  </a:lnTo>
                  <a:lnTo>
                    <a:pt x="531" y="1381"/>
                  </a:lnTo>
                  <a:lnTo>
                    <a:pt x="534" y="1381"/>
                  </a:lnTo>
                  <a:lnTo>
                    <a:pt x="535" y="1381"/>
                  </a:lnTo>
                  <a:lnTo>
                    <a:pt x="535" y="1383"/>
                  </a:lnTo>
                  <a:lnTo>
                    <a:pt x="534" y="1383"/>
                  </a:lnTo>
                  <a:lnTo>
                    <a:pt x="532" y="1383"/>
                  </a:lnTo>
                  <a:lnTo>
                    <a:pt x="534" y="1383"/>
                  </a:lnTo>
                  <a:lnTo>
                    <a:pt x="535" y="1385"/>
                  </a:lnTo>
                  <a:lnTo>
                    <a:pt x="535" y="1386"/>
                  </a:lnTo>
                  <a:lnTo>
                    <a:pt x="534" y="1386"/>
                  </a:lnTo>
                  <a:lnTo>
                    <a:pt x="535" y="1386"/>
                  </a:lnTo>
                  <a:lnTo>
                    <a:pt x="537" y="1386"/>
                  </a:lnTo>
                  <a:lnTo>
                    <a:pt x="539" y="1386"/>
                  </a:lnTo>
                  <a:lnTo>
                    <a:pt x="539" y="1388"/>
                  </a:lnTo>
                  <a:lnTo>
                    <a:pt x="537" y="1388"/>
                  </a:lnTo>
                  <a:lnTo>
                    <a:pt x="539" y="1388"/>
                  </a:lnTo>
                  <a:lnTo>
                    <a:pt x="537" y="1388"/>
                  </a:lnTo>
                  <a:lnTo>
                    <a:pt x="535" y="1388"/>
                  </a:lnTo>
                  <a:lnTo>
                    <a:pt x="534" y="1388"/>
                  </a:lnTo>
                  <a:lnTo>
                    <a:pt x="532" y="1388"/>
                  </a:lnTo>
                  <a:lnTo>
                    <a:pt x="531" y="1388"/>
                  </a:lnTo>
                  <a:lnTo>
                    <a:pt x="529" y="1388"/>
                  </a:lnTo>
                  <a:lnTo>
                    <a:pt x="527" y="1388"/>
                  </a:lnTo>
                  <a:lnTo>
                    <a:pt x="526" y="1388"/>
                  </a:lnTo>
                  <a:lnTo>
                    <a:pt x="526" y="1386"/>
                  </a:lnTo>
                  <a:lnTo>
                    <a:pt x="526" y="1385"/>
                  </a:lnTo>
                  <a:lnTo>
                    <a:pt x="526" y="1386"/>
                  </a:lnTo>
                  <a:lnTo>
                    <a:pt x="526" y="1385"/>
                  </a:lnTo>
                  <a:lnTo>
                    <a:pt x="526" y="1383"/>
                  </a:lnTo>
                  <a:lnTo>
                    <a:pt x="526" y="1381"/>
                  </a:lnTo>
                  <a:lnTo>
                    <a:pt x="526" y="1383"/>
                  </a:lnTo>
                  <a:lnTo>
                    <a:pt x="524" y="1383"/>
                  </a:lnTo>
                  <a:lnTo>
                    <a:pt x="524" y="1381"/>
                  </a:lnTo>
                  <a:lnTo>
                    <a:pt x="524" y="1380"/>
                  </a:lnTo>
                  <a:lnTo>
                    <a:pt x="524" y="1381"/>
                  </a:lnTo>
                  <a:lnTo>
                    <a:pt x="522" y="1381"/>
                  </a:lnTo>
                  <a:lnTo>
                    <a:pt x="522" y="1383"/>
                  </a:lnTo>
                  <a:lnTo>
                    <a:pt x="521" y="1385"/>
                  </a:lnTo>
                  <a:lnTo>
                    <a:pt x="519" y="1385"/>
                  </a:lnTo>
                  <a:lnTo>
                    <a:pt x="521" y="1386"/>
                  </a:lnTo>
                  <a:lnTo>
                    <a:pt x="522" y="1388"/>
                  </a:lnTo>
                  <a:lnTo>
                    <a:pt x="521" y="1388"/>
                  </a:lnTo>
                  <a:lnTo>
                    <a:pt x="522" y="1388"/>
                  </a:lnTo>
                  <a:lnTo>
                    <a:pt x="521" y="1388"/>
                  </a:lnTo>
                  <a:lnTo>
                    <a:pt x="521" y="1389"/>
                  </a:lnTo>
                  <a:lnTo>
                    <a:pt x="521" y="1391"/>
                  </a:lnTo>
                  <a:lnTo>
                    <a:pt x="519" y="1391"/>
                  </a:lnTo>
                  <a:lnTo>
                    <a:pt x="518" y="1391"/>
                  </a:lnTo>
                  <a:lnTo>
                    <a:pt x="519" y="1391"/>
                  </a:lnTo>
                  <a:lnTo>
                    <a:pt x="521" y="1393"/>
                  </a:lnTo>
                  <a:lnTo>
                    <a:pt x="522" y="1393"/>
                  </a:lnTo>
                  <a:lnTo>
                    <a:pt x="524" y="1394"/>
                  </a:lnTo>
                  <a:lnTo>
                    <a:pt x="524" y="1396"/>
                  </a:lnTo>
                  <a:lnTo>
                    <a:pt x="524" y="1394"/>
                  </a:lnTo>
                  <a:lnTo>
                    <a:pt x="524" y="1396"/>
                  </a:lnTo>
                  <a:lnTo>
                    <a:pt x="526" y="1396"/>
                  </a:lnTo>
                  <a:lnTo>
                    <a:pt x="527" y="1398"/>
                  </a:lnTo>
                  <a:lnTo>
                    <a:pt x="527" y="1399"/>
                  </a:lnTo>
                  <a:lnTo>
                    <a:pt x="526" y="1398"/>
                  </a:lnTo>
                  <a:lnTo>
                    <a:pt x="524" y="1399"/>
                  </a:lnTo>
                  <a:lnTo>
                    <a:pt x="522" y="1399"/>
                  </a:lnTo>
                  <a:lnTo>
                    <a:pt x="522" y="1398"/>
                  </a:lnTo>
                  <a:lnTo>
                    <a:pt x="521" y="1398"/>
                  </a:lnTo>
                  <a:lnTo>
                    <a:pt x="522" y="1398"/>
                  </a:lnTo>
                  <a:lnTo>
                    <a:pt x="522" y="1399"/>
                  </a:lnTo>
                  <a:lnTo>
                    <a:pt x="521" y="1399"/>
                  </a:lnTo>
                  <a:lnTo>
                    <a:pt x="522" y="1399"/>
                  </a:lnTo>
                  <a:lnTo>
                    <a:pt x="524" y="1399"/>
                  </a:lnTo>
                  <a:lnTo>
                    <a:pt x="526" y="1399"/>
                  </a:lnTo>
                  <a:lnTo>
                    <a:pt x="527" y="1399"/>
                  </a:lnTo>
                  <a:lnTo>
                    <a:pt x="527" y="1398"/>
                  </a:lnTo>
                  <a:lnTo>
                    <a:pt x="529" y="1398"/>
                  </a:lnTo>
                  <a:lnTo>
                    <a:pt x="531" y="1398"/>
                  </a:lnTo>
                  <a:lnTo>
                    <a:pt x="531" y="1396"/>
                  </a:lnTo>
                  <a:lnTo>
                    <a:pt x="532" y="1396"/>
                  </a:lnTo>
                  <a:lnTo>
                    <a:pt x="532" y="1394"/>
                  </a:lnTo>
                  <a:lnTo>
                    <a:pt x="534" y="1394"/>
                  </a:lnTo>
                  <a:lnTo>
                    <a:pt x="534" y="1393"/>
                  </a:lnTo>
                  <a:lnTo>
                    <a:pt x="535" y="1393"/>
                  </a:lnTo>
                  <a:lnTo>
                    <a:pt x="535" y="1391"/>
                  </a:lnTo>
                  <a:lnTo>
                    <a:pt x="537" y="1393"/>
                  </a:lnTo>
                  <a:lnTo>
                    <a:pt x="537" y="1391"/>
                  </a:lnTo>
                  <a:lnTo>
                    <a:pt x="539" y="1391"/>
                  </a:lnTo>
                  <a:lnTo>
                    <a:pt x="539" y="1393"/>
                  </a:lnTo>
                  <a:lnTo>
                    <a:pt x="540" y="1391"/>
                  </a:lnTo>
                  <a:lnTo>
                    <a:pt x="542" y="1391"/>
                  </a:lnTo>
                  <a:lnTo>
                    <a:pt x="544" y="1393"/>
                  </a:lnTo>
                  <a:lnTo>
                    <a:pt x="542" y="1391"/>
                  </a:lnTo>
                  <a:lnTo>
                    <a:pt x="544" y="1391"/>
                  </a:lnTo>
                  <a:lnTo>
                    <a:pt x="545" y="1393"/>
                  </a:lnTo>
                  <a:lnTo>
                    <a:pt x="545" y="1391"/>
                  </a:lnTo>
                  <a:lnTo>
                    <a:pt x="544" y="1391"/>
                  </a:lnTo>
                  <a:lnTo>
                    <a:pt x="545" y="1391"/>
                  </a:lnTo>
                  <a:lnTo>
                    <a:pt x="547" y="1393"/>
                  </a:lnTo>
                  <a:lnTo>
                    <a:pt x="545" y="1393"/>
                  </a:lnTo>
                  <a:lnTo>
                    <a:pt x="548" y="1394"/>
                  </a:lnTo>
                  <a:lnTo>
                    <a:pt x="547" y="1396"/>
                  </a:lnTo>
                  <a:lnTo>
                    <a:pt x="548" y="1396"/>
                  </a:lnTo>
                  <a:lnTo>
                    <a:pt x="550" y="1396"/>
                  </a:lnTo>
                  <a:lnTo>
                    <a:pt x="550" y="1394"/>
                  </a:lnTo>
                  <a:lnTo>
                    <a:pt x="550" y="1393"/>
                  </a:lnTo>
                  <a:lnTo>
                    <a:pt x="548" y="1391"/>
                  </a:lnTo>
                  <a:lnTo>
                    <a:pt x="548" y="1389"/>
                  </a:lnTo>
                  <a:lnTo>
                    <a:pt x="548" y="1388"/>
                  </a:lnTo>
                  <a:lnTo>
                    <a:pt x="547" y="1386"/>
                  </a:lnTo>
                  <a:lnTo>
                    <a:pt x="548" y="1386"/>
                  </a:lnTo>
                  <a:lnTo>
                    <a:pt x="547" y="1385"/>
                  </a:lnTo>
                  <a:lnTo>
                    <a:pt x="545" y="1385"/>
                  </a:lnTo>
                  <a:lnTo>
                    <a:pt x="547" y="1385"/>
                  </a:lnTo>
                  <a:lnTo>
                    <a:pt x="545" y="1383"/>
                  </a:lnTo>
                  <a:lnTo>
                    <a:pt x="544" y="1381"/>
                  </a:lnTo>
                  <a:lnTo>
                    <a:pt x="545" y="1381"/>
                  </a:lnTo>
                  <a:lnTo>
                    <a:pt x="547" y="1381"/>
                  </a:lnTo>
                  <a:lnTo>
                    <a:pt x="547" y="1383"/>
                  </a:lnTo>
                  <a:lnTo>
                    <a:pt x="547" y="1381"/>
                  </a:lnTo>
                  <a:lnTo>
                    <a:pt x="548" y="1381"/>
                  </a:lnTo>
                  <a:lnTo>
                    <a:pt x="550" y="1381"/>
                  </a:lnTo>
                  <a:lnTo>
                    <a:pt x="550" y="1383"/>
                  </a:lnTo>
                  <a:lnTo>
                    <a:pt x="552" y="1383"/>
                  </a:lnTo>
                  <a:lnTo>
                    <a:pt x="552" y="1385"/>
                  </a:lnTo>
                  <a:lnTo>
                    <a:pt x="553" y="1385"/>
                  </a:lnTo>
                  <a:lnTo>
                    <a:pt x="552" y="1385"/>
                  </a:lnTo>
                  <a:lnTo>
                    <a:pt x="552" y="1386"/>
                  </a:lnTo>
                  <a:lnTo>
                    <a:pt x="552" y="1385"/>
                  </a:lnTo>
                  <a:lnTo>
                    <a:pt x="553" y="1385"/>
                  </a:lnTo>
                  <a:lnTo>
                    <a:pt x="553" y="1386"/>
                  </a:lnTo>
                  <a:lnTo>
                    <a:pt x="555" y="1386"/>
                  </a:lnTo>
                  <a:lnTo>
                    <a:pt x="555" y="1388"/>
                  </a:lnTo>
                  <a:lnTo>
                    <a:pt x="557" y="1386"/>
                  </a:lnTo>
                  <a:lnTo>
                    <a:pt x="557" y="1388"/>
                  </a:lnTo>
                  <a:lnTo>
                    <a:pt x="558" y="1388"/>
                  </a:lnTo>
                  <a:lnTo>
                    <a:pt x="557" y="1388"/>
                  </a:lnTo>
                  <a:lnTo>
                    <a:pt x="557" y="1389"/>
                  </a:lnTo>
                  <a:lnTo>
                    <a:pt x="555" y="1389"/>
                  </a:lnTo>
                  <a:lnTo>
                    <a:pt x="557" y="1389"/>
                  </a:lnTo>
                  <a:lnTo>
                    <a:pt x="558" y="1389"/>
                  </a:lnTo>
                  <a:lnTo>
                    <a:pt x="558" y="1388"/>
                  </a:lnTo>
                  <a:lnTo>
                    <a:pt x="560" y="1388"/>
                  </a:lnTo>
                  <a:lnTo>
                    <a:pt x="561" y="1388"/>
                  </a:lnTo>
                  <a:lnTo>
                    <a:pt x="561" y="1389"/>
                  </a:lnTo>
                  <a:lnTo>
                    <a:pt x="563" y="1389"/>
                  </a:lnTo>
                  <a:lnTo>
                    <a:pt x="561" y="1389"/>
                  </a:lnTo>
                  <a:lnTo>
                    <a:pt x="560" y="1389"/>
                  </a:lnTo>
                  <a:lnTo>
                    <a:pt x="558" y="1389"/>
                  </a:lnTo>
                  <a:lnTo>
                    <a:pt x="558" y="1391"/>
                  </a:lnTo>
                  <a:lnTo>
                    <a:pt x="558" y="1389"/>
                  </a:lnTo>
                  <a:lnTo>
                    <a:pt x="557" y="1389"/>
                  </a:lnTo>
                  <a:lnTo>
                    <a:pt x="553" y="1389"/>
                  </a:lnTo>
                  <a:lnTo>
                    <a:pt x="553" y="1391"/>
                  </a:lnTo>
                  <a:lnTo>
                    <a:pt x="555" y="1391"/>
                  </a:lnTo>
                  <a:lnTo>
                    <a:pt x="553" y="1389"/>
                  </a:lnTo>
                  <a:lnTo>
                    <a:pt x="555" y="1389"/>
                  </a:lnTo>
                  <a:lnTo>
                    <a:pt x="555" y="1391"/>
                  </a:lnTo>
                  <a:lnTo>
                    <a:pt x="557" y="1391"/>
                  </a:lnTo>
                  <a:lnTo>
                    <a:pt x="558" y="1391"/>
                  </a:lnTo>
                  <a:lnTo>
                    <a:pt x="560" y="1391"/>
                  </a:lnTo>
                  <a:lnTo>
                    <a:pt x="561" y="1391"/>
                  </a:lnTo>
                  <a:lnTo>
                    <a:pt x="561" y="1393"/>
                  </a:lnTo>
                  <a:lnTo>
                    <a:pt x="561" y="1391"/>
                  </a:lnTo>
                  <a:lnTo>
                    <a:pt x="563" y="1393"/>
                  </a:lnTo>
                  <a:lnTo>
                    <a:pt x="563" y="1394"/>
                  </a:lnTo>
                  <a:lnTo>
                    <a:pt x="563" y="1396"/>
                  </a:lnTo>
                  <a:lnTo>
                    <a:pt x="563" y="1394"/>
                  </a:lnTo>
                  <a:lnTo>
                    <a:pt x="565" y="1394"/>
                  </a:lnTo>
                  <a:lnTo>
                    <a:pt x="565" y="1396"/>
                  </a:lnTo>
                  <a:lnTo>
                    <a:pt x="565" y="1398"/>
                  </a:lnTo>
                  <a:lnTo>
                    <a:pt x="563" y="1398"/>
                  </a:lnTo>
                  <a:lnTo>
                    <a:pt x="561" y="1398"/>
                  </a:lnTo>
                  <a:lnTo>
                    <a:pt x="563" y="1398"/>
                  </a:lnTo>
                  <a:lnTo>
                    <a:pt x="561" y="1398"/>
                  </a:lnTo>
                  <a:lnTo>
                    <a:pt x="561" y="1399"/>
                  </a:lnTo>
                  <a:lnTo>
                    <a:pt x="560" y="1399"/>
                  </a:lnTo>
                  <a:lnTo>
                    <a:pt x="558" y="1399"/>
                  </a:lnTo>
                  <a:lnTo>
                    <a:pt x="557" y="1399"/>
                  </a:lnTo>
                  <a:lnTo>
                    <a:pt x="558" y="1399"/>
                  </a:lnTo>
                  <a:lnTo>
                    <a:pt x="560" y="1399"/>
                  </a:lnTo>
                  <a:lnTo>
                    <a:pt x="561" y="1399"/>
                  </a:lnTo>
                  <a:lnTo>
                    <a:pt x="563" y="1399"/>
                  </a:lnTo>
                  <a:lnTo>
                    <a:pt x="563" y="1398"/>
                  </a:lnTo>
                  <a:lnTo>
                    <a:pt x="565" y="1398"/>
                  </a:lnTo>
                  <a:lnTo>
                    <a:pt x="566" y="1398"/>
                  </a:lnTo>
                  <a:lnTo>
                    <a:pt x="568" y="1396"/>
                  </a:lnTo>
                  <a:lnTo>
                    <a:pt x="566" y="1398"/>
                  </a:lnTo>
                  <a:lnTo>
                    <a:pt x="568" y="1398"/>
                  </a:lnTo>
                  <a:lnTo>
                    <a:pt x="566" y="1398"/>
                  </a:lnTo>
                  <a:lnTo>
                    <a:pt x="568" y="1398"/>
                  </a:lnTo>
                  <a:lnTo>
                    <a:pt x="568" y="1399"/>
                  </a:lnTo>
                  <a:lnTo>
                    <a:pt x="566" y="1399"/>
                  </a:lnTo>
                  <a:lnTo>
                    <a:pt x="568" y="1399"/>
                  </a:lnTo>
                  <a:lnTo>
                    <a:pt x="568" y="1401"/>
                  </a:lnTo>
                  <a:lnTo>
                    <a:pt x="566" y="1401"/>
                  </a:lnTo>
                  <a:lnTo>
                    <a:pt x="566" y="1402"/>
                  </a:lnTo>
                  <a:lnTo>
                    <a:pt x="565" y="1402"/>
                  </a:lnTo>
                  <a:lnTo>
                    <a:pt x="565" y="1401"/>
                  </a:lnTo>
                  <a:lnTo>
                    <a:pt x="566" y="1401"/>
                  </a:lnTo>
                  <a:lnTo>
                    <a:pt x="565" y="1401"/>
                  </a:lnTo>
                  <a:lnTo>
                    <a:pt x="565" y="1402"/>
                  </a:lnTo>
                  <a:lnTo>
                    <a:pt x="563" y="1402"/>
                  </a:lnTo>
                  <a:lnTo>
                    <a:pt x="565" y="1402"/>
                  </a:lnTo>
                  <a:lnTo>
                    <a:pt x="565" y="1404"/>
                  </a:lnTo>
                  <a:lnTo>
                    <a:pt x="563" y="1406"/>
                  </a:lnTo>
                  <a:lnTo>
                    <a:pt x="563" y="1404"/>
                  </a:lnTo>
                  <a:lnTo>
                    <a:pt x="561" y="1404"/>
                  </a:lnTo>
                  <a:lnTo>
                    <a:pt x="560" y="1404"/>
                  </a:lnTo>
                  <a:lnTo>
                    <a:pt x="558" y="1402"/>
                  </a:lnTo>
                  <a:lnTo>
                    <a:pt x="557" y="1402"/>
                  </a:lnTo>
                  <a:lnTo>
                    <a:pt x="558" y="1402"/>
                  </a:lnTo>
                  <a:lnTo>
                    <a:pt x="560" y="1402"/>
                  </a:lnTo>
                  <a:lnTo>
                    <a:pt x="558" y="1402"/>
                  </a:lnTo>
                  <a:lnTo>
                    <a:pt x="557" y="1402"/>
                  </a:lnTo>
                  <a:lnTo>
                    <a:pt x="555" y="1402"/>
                  </a:lnTo>
                  <a:lnTo>
                    <a:pt x="557" y="1402"/>
                  </a:lnTo>
                  <a:lnTo>
                    <a:pt x="555" y="1401"/>
                  </a:lnTo>
                  <a:lnTo>
                    <a:pt x="557" y="1401"/>
                  </a:lnTo>
                  <a:lnTo>
                    <a:pt x="555" y="1401"/>
                  </a:lnTo>
                  <a:lnTo>
                    <a:pt x="557" y="1401"/>
                  </a:lnTo>
                  <a:lnTo>
                    <a:pt x="555" y="1401"/>
                  </a:lnTo>
                  <a:lnTo>
                    <a:pt x="557" y="1401"/>
                  </a:lnTo>
                  <a:lnTo>
                    <a:pt x="557" y="1399"/>
                  </a:lnTo>
                  <a:lnTo>
                    <a:pt x="555" y="1399"/>
                  </a:lnTo>
                  <a:lnTo>
                    <a:pt x="553" y="1401"/>
                  </a:lnTo>
                  <a:lnTo>
                    <a:pt x="553" y="1399"/>
                  </a:lnTo>
                  <a:lnTo>
                    <a:pt x="553" y="1401"/>
                  </a:lnTo>
                  <a:lnTo>
                    <a:pt x="552" y="1399"/>
                  </a:lnTo>
                  <a:lnTo>
                    <a:pt x="550" y="1399"/>
                  </a:lnTo>
                  <a:lnTo>
                    <a:pt x="548" y="1399"/>
                  </a:lnTo>
                  <a:lnTo>
                    <a:pt x="548" y="1398"/>
                  </a:lnTo>
                  <a:lnTo>
                    <a:pt x="550" y="1398"/>
                  </a:lnTo>
                  <a:lnTo>
                    <a:pt x="548" y="1398"/>
                  </a:lnTo>
                  <a:lnTo>
                    <a:pt x="547" y="1398"/>
                  </a:lnTo>
                  <a:lnTo>
                    <a:pt x="547" y="1399"/>
                  </a:lnTo>
                  <a:lnTo>
                    <a:pt x="547" y="1401"/>
                  </a:lnTo>
                  <a:lnTo>
                    <a:pt x="547" y="1399"/>
                  </a:lnTo>
                  <a:lnTo>
                    <a:pt x="548" y="1399"/>
                  </a:lnTo>
                  <a:lnTo>
                    <a:pt x="547" y="1399"/>
                  </a:lnTo>
                  <a:lnTo>
                    <a:pt x="547" y="1401"/>
                  </a:lnTo>
                  <a:lnTo>
                    <a:pt x="548" y="1401"/>
                  </a:lnTo>
                  <a:lnTo>
                    <a:pt x="548" y="1399"/>
                  </a:lnTo>
                  <a:lnTo>
                    <a:pt x="550" y="1401"/>
                  </a:lnTo>
                  <a:lnTo>
                    <a:pt x="552" y="1401"/>
                  </a:lnTo>
                  <a:lnTo>
                    <a:pt x="553" y="1401"/>
                  </a:lnTo>
                  <a:lnTo>
                    <a:pt x="555" y="1401"/>
                  </a:lnTo>
                  <a:lnTo>
                    <a:pt x="553" y="1401"/>
                  </a:lnTo>
                  <a:lnTo>
                    <a:pt x="555" y="1402"/>
                  </a:lnTo>
                  <a:lnTo>
                    <a:pt x="553" y="1402"/>
                  </a:lnTo>
                  <a:lnTo>
                    <a:pt x="555" y="1402"/>
                  </a:lnTo>
                  <a:lnTo>
                    <a:pt x="557" y="1402"/>
                  </a:lnTo>
                  <a:lnTo>
                    <a:pt x="557" y="1404"/>
                  </a:lnTo>
                  <a:lnTo>
                    <a:pt x="558" y="1404"/>
                  </a:lnTo>
                  <a:lnTo>
                    <a:pt x="560" y="1404"/>
                  </a:lnTo>
                  <a:lnTo>
                    <a:pt x="561" y="1404"/>
                  </a:lnTo>
                  <a:lnTo>
                    <a:pt x="563" y="1404"/>
                  </a:lnTo>
                  <a:lnTo>
                    <a:pt x="561" y="1406"/>
                  </a:lnTo>
                  <a:lnTo>
                    <a:pt x="560" y="1406"/>
                  </a:lnTo>
                  <a:lnTo>
                    <a:pt x="558" y="1406"/>
                  </a:lnTo>
                  <a:lnTo>
                    <a:pt x="560" y="1406"/>
                  </a:lnTo>
                  <a:lnTo>
                    <a:pt x="560" y="1407"/>
                  </a:lnTo>
                  <a:lnTo>
                    <a:pt x="560" y="1406"/>
                  </a:lnTo>
                  <a:lnTo>
                    <a:pt x="558" y="1407"/>
                  </a:lnTo>
                  <a:lnTo>
                    <a:pt x="557" y="1406"/>
                  </a:lnTo>
                  <a:lnTo>
                    <a:pt x="557" y="1407"/>
                  </a:lnTo>
                  <a:lnTo>
                    <a:pt x="558" y="1407"/>
                  </a:lnTo>
                  <a:lnTo>
                    <a:pt x="560" y="1407"/>
                  </a:lnTo>
                  <a:lnTo>
                    <a:pt x="560" y="1409"/>
                  </a:lnTo>
                  <a:lnTo>
                    <a:pt x="558" y="1409"/>
                  </a:lnTo>
                  <a:lnTo>
                    <a:pt x="558" y="1407"/>
                  </a:lnTo>
                  <a:lnTo>
                    <a:pt x="558" y="1409"/>
                  </a:lnTo>
                  <a:lnTo>
                    <a:pt x="557" y="1409"/>
                  </a:lnTo>
                  <a:lnTo>
                    <a:pt x="557" y="1411"/>
                  </a:lnTo>
                  <a:lnTo>
                    <a:pt x="555" y="1411"/>
                  </a:lnTo>
                  <a:lnTo>
                    <a:pt x="553" y="1409"/>
                  </a:lnTo>
                  <a:lnTo>
                    <a:pt x="553" y="1411"/>
                  </a:lnTo>
                  <a:lnTo>
                    <a:pt x="552" y="1409"/>
                  </a:lnTo>
                  <a:lnTo>
                    <a:pt x="552" y="1407"/>
                  </a:lnTo>
                  <a:lnTo>
                    <a:pt x="550" y="1407"/>
                  </a:lnTo>
                  <a:lnTo>
                    <a:pt x="548" y="1407"/>
                  </a:lnTo>
                  <a:lnTo>
                    <a:pt x="547" y="1406"/>
                  </a:lnTo>
                  <a:lnTo>
                    <a:pt x="545" y="1404"/>
                  </a:lnTo>
                  <a:lnTo>
                    <a:pt x="544" y="1402"/>
                  </a:lnTo>
                  <a:lnTo>
                    <a:pt x="544" y="1404"/>
                  </a:lnTo>
                  <a:lnTo>
                    <a:pt x="544" y="1402"/>
                  </a:lnTo>
                  <a:lnTo>
                    <a:pt x="542" y="1404"/>
                  </a:lnTo>
                  <a:lnTo>
                    <a:pt x="542" y="1402"/>
                  </a:lnTo>
                  <a:lnTo>
                    <a:pt x="540" y="1402"/>
                  </a:lnTo>
                  <a:lnTo>
                    <a:pt x="540" y="1401"/>
                  </a:lnTo>
                  <a:lnTo>
                    <a:pt x="542" y="1401"/>
                  </a:lnTo>
                  <a:lnTo>
                    <a:pt x="544" y="1401"/>
                  </a:lnTo>
                  <a:lnTo>
                    <a:pt x="545" y="1401"/>
                  </a:lnTo>
                  <a:lnTo>
                    <a:pt x="544" y="1401"/>
                  </a:lnTo>
                  <a:lnTo>
                    <a:pt x="542" y="1401"/>
                  </a:lnTo>
                  <a:lnTo>
                    <a:pt x="540" y="1399"/>
                  </a:lnTo>
                  <a:lnTo>
                    <a:pt x="542" y="1399"/>
                  </a:lnTo>
                  <a:lnTo>
                    <a:pt x="540" y="1399"/>
                  </a:lnTo>
                  <a:lnTo>
                    <a:pt x="542" y="1399"/>
                  </a:lnTo>
                  <a:lnTo>
                    <a:pt x="540" y="1398"/>
                  </a:lnTo>
                  <a:lnTo>
                    <a:pt x="542" y="1398"/>
                  </a:lnTo>
                  <a:lnTo>
                    <a:pt x="540" y="1398"/>
                  </a:lnTo>
                  <a:lnTo>
                    <a:pt x="542" y="1396"/>
                  </a:lnTo>
                  <a:lnTo>
                    <a:pt x="540" y="1398"/>
                  </a:lnTo>
                  <a:lnTo>
                    <a:pt x="540" y="1396"/>
                  </a:lnTo>
                  <a:lnTo>
                    <a:pt x="539" y="1396"/>
                  </a:lnTo>
                  <a:lnTo>
                    <a:pt x="537" y="1399"/>
                  </a:lnTo>
                  <a:lnTo>
                    <a:pt x="539" y="1401"/>
                  </a:lnTo>
                  <a:lnTo>
                    <a:pt x="537" y="1401"/>
                  </a:lnTo>
                  <a:lnTo>
                    <a:pt x="539" y="1401"/>
                  </a:lnTo>
                  <a:lnTo>
                    <a:pt x="539" y="1402"/>
                  </a:lnTo>
                  <a:lnTo>
                    <a:pt x="540" y="1404"/>
                  </a:lnTo>
                  <a:lnTo>
                    <a:pt x="539" y="1402"/>
                  </a:lnTo>
                  <a:lnTo>
                    <a:pt x="539" y="1404"/>
                  </a:lnTo>
                  <a:lnTo>
                    <a:pt x="539" y="1406"/>
                  </a:lnTo>
                  <a:lnTo>
                    <a:pt x="540" y="1406"/>
                  </a:lnTo>
                  <a:lnTo>
                    <a:pt x="540" y="1404"/>
                  </a:lnTo>
                  <a:lnTo>
                    <a:pt x="542" y="1404"/>
                  </a:lnTo>
                  <a:lnTo>
                    <a:pt x="544" y="1404"/>
                  </a:lnTo>
                  <a:lnTo>
                    <a:pt x="542" y="1406"/>
                  </a:lnTo>
                  <a:lnTo>
                    <a:pt x="540" y="1406"/>
                  </a:lnTo>
                  <a:lnTo>
                    <a:pt x="539" y="1406"/>
                  </a:lnTo>
                  <a:lnTo>
                    <a:pt x="537" y="1406"/>
                  </a:lnTo>
                  <a:lnTo>
                    <a:pt x="537" y="1404"/>
                  </a:lnTo>
                  <a:lnTo>
                    <a:pt x="537" y="1407"/>
                  </a:lnTo>
                  <a:lnTo>
                    <a:pt x="539" y="1407"/>
                  </a:lnTo>
                  <a:lnTo>
                    <a:pt x="540" y="1407"/>
                  </a:lnTo>
                  <a:lnTo>
                    <a:pt x="540" y="1409"/>
                  </a:lnTo>
                  <a:lnTo>
                    <a:pt x="542" y="1409"/>
                  </a:lnTo>
                  <a:lnTo>
                    <a:pt x="544" y="1409"/>
                  </a:lnTo>
                  <a:lnTo>
                    <a:pt x="544" y="1411"/>
                  </a:lnTo>
                  <a:lnTo>
                    <a:pt x="544" y="1409"/>
                  </a:lnTo>
                  <a:lnTo>
                    <a:pt x="545" y="1411"/>
                  </a:lnTo>
                  <a:lnTo>
                    <a:pt x="547" y="1412"/>
                  </a:lnTo>
                  <a:lnTo>
                    <a:pt x="548" y="1414"/>
                  </a:lnTo>
                  <a:lnTo>
                    <a:pt x="548" y="1415"/>
                  </a:lnTo>
                  <a:lnTo>
                    <a:pt x="547" y="1415"/>
                  </a:lnTo>
                  <a:lnTo>
                    <a:pt x="547" y="1414"/>
                  </a:lnTo>
                  <a:lnTo>
                    <a:pt x="545" y="1412"/>
                  </a:lnTo>
                  <a:lnTo>
                    <a:pt x="544" y="1412"/>
                  </a:lnTo>
                  <a:lnTo>
                    <a:pt x="544" y="1414"/>
                  </a:lnTo>
                  <a:lnTo>
                    <a:pt x="544" y="1412"/>
                  </a:lnTo>
                  <a:lnTo>
                    <a:pt x="542" y="1411"/>
                  </a:lnTo>
                  <a:lnTo>
                    <a:pt x="540" y="1409"/>
                  </a:lnTo>
                  <a:lnTo>
                    <a:pt x="540" y="1411"/>
                  </a:lnTo>
                  <a:lnTo>
                    <a:pt x="542" y="1412"/>
                  </a:lnTo>
                  <a:lnTo>
                    <a:pt x="540" y="1412"/>
                  </a:lnTo>
                  <a:lnTo>
                    <a:pt x="542" y="1412"/>
                  </a:lnTo>
                  <a:lnTo>
                    <a:pt x="544" y="1414"/>
                  </a:lnTo>
                  <a:lnTo>
                    <a:pt x="545" y="1414"/>
                  </a:lnTo>
                  <a:lnTo>
                    <a:pt x="547" y="1414"/>
                  </a:lnTo>
                  <a:lnTo>
                    <a:pt x="547" y="1415"/>
                  </a:lnTo>
                  <a:lnTo>
                    <a:pt x="545" y="1415"/>
                  </a:lnTo>
                  <a:lnTo>
                    <a:pt x="545" y="1417"/>
                  </a:lnTo>
                  <a:lnTo>
                    <a:pt x="545" y="1419"/>
                  </a:lnTo>
                  <a:lnTo>
                    <a:pt x="547" y="1417"/>
                  </a:lnTo>
                  <a:lnTo>
                    <a:pt x="548" y="1417"/>
                  </a:lnTo>
                  <a:lnTo>
                    <a:pt x="547" y="1417"/>
                  </a:lnTo>
                  <a:lnTo>
                    <a:pt x="547" y="1419"/>
                  </a:lnTo>
                  <a:lnTo>
                    <a:pt x="548" y="1417"/>
                  </a:lnTo>
                  <a:lnTo>
                    <a:pt x="548" y="1419"/>
                  </a:lnTo>
                  <a:lnTo>
                    <a:pt x="547" y="1419"/>
                  </a:lnTo>
                  <a:lnTo>
                    <a:pt x="548" y="1419"/>
                  </a:lnTo>
                  <a:lnTo>
                    <a:pt x="550" y="1419"/>
                  </a:lnTo>
                  <a:lnTo>
                    <a:pt x="550" y="1420"/>
                  </a:lnTo>
                  <a:lnTo>
                    <a:pt x="550" y="1422"/>
                  </a:lnTo>
                  <a:lnTo>
                    <a:pt x="550" y="1420"/>
                  </a:lnTo>
                  <a:lnTo>
                    <a:pt x="550" y="1419"/>
                  </a:lnTo>
                  <a:lnTo>
                    <a:pt x="550" y="1417"/>
                  </a:lnTo>
                  <a:lnTo>
                    <a:pt x="552" y="1417"/>
                  </a:lnTo>
                  <a:lnTo>
                    <a:pt x="553" y="1417"/>
                  </a:lnTo>
                  <a:lnTo>
                    <a:pt x="553" y="1419"/>
                  </a:lnTo>
                  <a:lnTo>
                    <a:pt x="552" y="1419"/>
                  </a:lnTo>
                  <a:lnTo>
                    <a:pt x="552" y="1417"/>
                  </a:lnTo>
                  <a:lnTo>
                    <a:pt x="552" y="1419"/>
                  </a:lnTo>
                  <a:lnTo>
                    <a:pt x="552" y="1420"/>
                  </a:lnTo>
                  <a:lnTo>
                    <a:pt x="550" y="1420"/>
                  </a:lnTo>
                  <a:lnTo>
                    <a:pt x="552" y="1420"/>
                  </a:lnTo>
                  <a:lnTo>
                    <a:pt x="550" y="1422"/>
                  </a:lnTo>
                  <a:lnTo>
                    <a:pt x="548" y="1424"/>
                  </a:lnTo>
                  <a:lnTo>
                    <a:pt x="548" y="1422"/>
                  </a:lnTo>
                  <a:lnTo>
                    <a:pt x="547" y="1422"/>
                  </a:lnTo>
                  <a:lnTo>
                    <a:pt x="547" y="1424"/>
                  </a:lnTo>
                  <a:lnTo>
                    <a:pt x="545" y="1424"/>
                  </a:lnTo>
                  <a:lnTo>
                    <a:pt x="545" y="1425"/>
                  </a:lnTo>
                  <a:lnTo>
                    <a:pt x="544" y="1425"/>
                  </a:lnTo>
                  <a:lnTo>
                    <a:pt x="544" y="1424"/>
                  </a:lnTo>
                  <a:lnTo>
                    <a:pt x="544" y="1425"/>
                  </a:lnTo>
                  <a:lnTo>
                    <a:pt x="542" y="1425"/>
                  </a:lnTo>
                  <a:lnTo>
                    <a:pt x="540" y="1425"/>
                  </a:lnTo>
                  <a:lnTo>
                    <a:pt x="540" y="1427"/>
                  </a:lnTo>
                  <a:lnTo>
                    <a:pt x="540" y="1428"/>
                  </a:lnTo>
                  <a:lnTo>
                    <a:pt x="542" y="1428"/>
                  </a:lnTo>
                  <a:lnTo>
                    <a:pt x="544" y="1427"/>
                  </a:lnTo>
                  <a:lnTo>
                    <a:pt x="544" y="1428"/>
                  </a:lnTo>
                  <a:lnTo>
                    <a:pt x="544" y="1430"/>
                  </a:lnTo>
                  <a:lnTo>
                    <a:pt x="544" y="1428"/>
                  </a:lnTo>
                  <a:lnTo>
                    <a:pt x="545" y="1428"/>
                  </a:lnTo>
                  <a:lnTo>
                    <a:pt x="544" y="1430"/>
                  </a:lnTo>
                  <a:lnTo>
                    <a:pt x="542" y="1430"/>
                  </a:lnTo>
                  <a:lnTo>
                    <a:pt x="540" y="1432"/>
                  </a:lnTo>
                  <a:lnTo>
                    <a:pt x="539" y="1432"/>
                  </a:lnTo>
                  <a:lnTo>
                    <a:pt x="537" y="1433"/>
                  </a:lnTo>
                  <a:lnTo>
                    <a:pt x="539" y="1433"/>
                  </a:lnTo>
                  <a:lnTo>
                    <a:pt x="540" y="1432"/>
                  </a:lnTo>
                  <a:lnTo>
                    <a:pt x="542" y="1432"/>
                  </a:lnTo>
                  <a:lnTo>
                    <a:pt x="540" y="1433"/>
                  </a:lnTo>
                  <a:lnTo>
                    <a:pt x="539" y="1433"/>
                  </a:lnTo>
                  <a:lnTo>
                    <a:pt x="537" y="1433"/>
                  </a:lnTo>
                  <a:lnTo>
                    <a:pt x="537" y="1435"/>
                  </a:lnTo>
                  <a:lnTo>
                    <a:pt x="535" y="1435"/>
                  </a:lnTo>
                  <a:lnTo>
                    <a:pt x="534" y="1435"/>
                  </a:lnTo>
                  <a:lnTo>
                    <a:pt x="535" y="1433"/>
                  </a:lnTo>
                  <a:lnTo>
                    <a:pt x="534" y="1433"/>
                  </a:lnTo>
                  <a:lnTo>
                    <a:pt x="535" y="1433"/>
                  </a:lnTo>
                  <a:lnTo>
                    <a:pt x="535" y="1432"/>
                  </a:lnTo>
                  <a:lnTo>
                    <a:pt x="537" y="1432"/>
                  </a:lnTo>
                  <a:lnTo>
                    <a:pt x="537" y="1430"/>
                  </a:lnTo>
                  <a:lnTo>
                    <a:pt x="537" y="1432"/>
                  </a:lnTo>
                  <a:lnTo>
                    <a:pt x="535" y="1432"/>
                  </a:lnTo>
                  <a:lnTo>
                    <a:pt x="535" y="1430"/>
                  </a:lnTo>
                  <a:lnTo>
                    <a:pt x="537" y="1430"/>
                  </a:lnTo>
                  <a:lnTo>
                    <a:pt x="537" y="1428"/>
                  </a:lnTo>
                  <a:lnTo>
                    <a:pt x="537" y="1427"/>
                  </a:lnTo>
                  <a:lnTo>
                    <a:pt x="535" y="1427"/>
                  </a:lnTo>
                  <a:lnTo>
                    <a:pt x="537" y="1427"/>
                  </a:lnTo>
                  <a:lnTo>
                    <a:pt x="537" y="1428"/>
                  </a:lnTo>
                  <a:lnTo>
                    <a:pt x="537" y="1427"/>
                  </a:lnTo>
                  <a:lnTo>
                    <a:pt x="534" y="1428"/>
                  </a:lnTo>
                  <a:lnTo>
                    <a:pt x="535" y="1428"/>
                  </a:lnTo>
                  <a:lnTo>
                    <a:pt x="535" y="1430"/>
                  </a:lnTo>
                  <a:lnTo>
                    <a:pt x="534" y="1432"/>
                  </a:lnTo>
                  <a:lnTo>
                    <a:pt x="532" y="1432"/>
                  </a:lnTo>
                  <a:lnTo>
                    <a:pt x="531" y="1433"/>
                  </a:lnTo>
                  <a:lnTo>
                    <a:pt x="531" y="1435"/>
                  </a:lnTo>
                  <a:lnTo>
                    <a:pt x="529" y="1435"/>
                  </a:lnTo>
                  <a:lnTo>
                    <a:pt x="527" y="1435"/>
                  </a:lnTo>
                  <a:lnTo>
                    <a:pt x="527" y="1437"/>
                  </a:lnTo>
                  <a:lnTo>
                    <a:pt x="529" y="1437"/>
                  </a:lnTo>
                  <a:lnTo>
                    <a:pt x="527" y="1438"/>
                  </a:lnTo>
                  <a:lnTo>
                    <a:pt x="526" y="1437"/>
                  </a:lnTo>
                  <a:lnTo>
                    <a:pt x="524" y="1438"/>
                  </a:lnTo>
                  <a:lnTo>
                    <a:pt x="522" y="1438"/>
                  </a:lnTo>
                  <a:lnTo>
                    <a:pt x="522" y="1440"/>
                  </a:lnTo>
                  <a:lnTo>
                    <a:pt x="524" y="1440"/>
                  </a:lnTo>
                  <a:lnTo>
                    <a:pt x="524" y="1441"/>
                  </a:lnTo>
                  <a:lnTo>
                    <a:pt x="524" y="1443"/>
                  </a:lnTo>
                  <a:lnTo>
                    <a:pt x="524" y="1441"/>
                  </a:lnTo>
                  <a:lnTo>
                    <a:pt x="522" y="1443"/>
                  </a:lnTo>
                  <a:lnTo>
                    <a:pt x="522" y="1441"/>
                  </a:lnTo>
                  <a:lnTo>
                    <a:pt x="521" y="1441"/>
                  </a:lnTo>
                  <a:lnTo>
                    <a:pt x="521" y="1440"/>
                  </a:lnTo>
                  <a:lnTo>
                    <a:pt x="519" y="1441"/>
                  </a:lnTo>
                  <a:lnTo>
                    <a:pt x="521" y="1441"/>
                  </a:lnTo>
                  <a:lnTo>
                    <a:pt x="522" y="1441"/>
                  </a:lnTo>
                  <a:lnTo>
                    <a:pt x="522" y="1443"/>
                  </a:lnTo>
                  <a:lnTo>
                    <a:pt x="522" y="1445"/>
                  </a:lnTo>
                  <a:lnTo>
                    <a:pt x="522" y="1446"/>
                  </a:lnTo>
                  <a:lnTo>
                    <a:pt x="521" y="1446"/>
                  </a:lnTo>
                  <a:lnTo>
                    <a:pt x="521" y="1448"/>
                  </a:lnTo>
                  <a:lnTo>
                    <a:pt x="521" y="1446"/>
                  </a:lnTo>
                  <a:lnTo>
                    <a:pt x="521" y="1445"/>
                  </a:lnTo>
                  <a:lnTo>
                    <a:pt x="521" y="1443"/>
                  </a:lnTo>
                  <a:lnTo>
                    <a:pt x="521" y="1445"/>
                  </a:lnTo>
                  <a:lnTo>
                    <a:pt x="521" y="1446"/>
                  </a:lnTo>
                  <a:lnTo>
                    <a:pt x="521" y="1448"/>
                  </a:lnTo>
                  <a:lnTo>
                    <a:pt x="519" y="1448"/>
                  </a:lnTo>
                  <a:lnTo>
                    <a:pt x="519" y="1450"/>
                  </a:lnTo>
                  <a:lnTo>
                    <a:pt x="519" y="1448"/>
                  </a:lnTo>
                  <a:lnTo>
                    <a:pt x="521" y="1448"/>
                  </a:lnTo>
                  <a:lnTo>
                    <a:pt x="519" y="1450"/>
                  </a:lnTo>
                  <a:lnTo>
                    <a:pt x="519" y="1451"/>
                  </a:lnTo>
                  <a:lnTo>
                    <a:pt x="519" y="1453"/>
                  </a:lnTo>
                  <a:lnTo>
                    <a:pt x="519" y="1455"/>
                  </a:lnTo>
                  <a:lnTo>
                    <a:pt x="521" y="1455"/>
                  </a:lnTo>
                  <a:lnTo>
                    <a:pt x="521" y="1456"/>
                  </a:lnTo>
                  <a:lnTo>
                    <a:pt x="521" y="1455"/>
                  </a:lnTo>
                  <a:lnTo>
                    <a:pt x="521" y="1456"/>
                  </a:lnTo>
                  <a:lnTo>
                    <a:pt x="521" y="1458"/>
                  </a:lnTo>
                  <a:lnTo>
                    <a:pt x="519" y="1458"/>
                  </a:lnTo>
                  <a:lnTo>
                    <a:pt x="519" y="1459"/>
                  </a:lnTo>
                  <a:lnTo>
                    <a:pt x="519" y="1461"/>
                  </a:lnTo>
                  <a:lnTo>
                    <a:pt x="519" y="1463"/>
                  </a:lnTo>
                  <a:lnTo>
                    <a:pt x="518" y="1464"/>
                  </a:lnTo>
                  <a:lnTo>
                    <a:pt x="518" y="1466"/>
                  </a:lnTo>
                  <a:lnTo>
                    <a:pt x="518" y="1468"/>
                  </a:lnTo>
                  <a:lnTo>
                    <a:pt x="519" y="1468"/>
                  </a:lnTo>
                  <a:lnTo>
                    <a:pt x="519" y="1469"/>
                  </a:lnTo>
                  <a:lnTo>
                    <a:pt x="519" y="1471"/>
                  </a:lnTo>
                  <a:lnTo>
                    <a:pt x="519" y="1472"/>
                  </a:lnTo>
                  <a:lnTo>
                    <a:pt x="519" y="1474"/>
                  </a:lnTo>
                  <a:lnTo>
                    <a:pt x="518" y="1474"/>
                  </a:lnTo>
                  <a:lnTo>
                    <a:pt x="519" y="1472"/>
                  </a:lnTo>
                  <a:lnTo>
                    <a:pt x="518" y="1472"/>
                  </a:lnTo>
                  <a:lnTo>
                    <a:pt x="519" y="1472"/>
                  </a:lnTo>
                  <a:lnTo>
                    <a:pt x="518" y="1472"/>
                  </a:lnTo>
                  <a:lnTo>
                    <a:pt x="519" y="1471"/>
                  </a:lnTo>
                  <a:lnTo>
                    <a:pt x="518" y="1471"/>
                  </a:lnTo>
                  <a:lnTo>
                    <a:pt x="518" y="1472"/>
                  </a:lnTo>
                  <a:lnTo>
                    <a:pt x="518" y="1471"/>
                  </a:lnTo>
                  <a:lnTo>
                    <a:pt x="516" y="1471"/>
                  </a:lnTo>
                  <a:lnTo>
                    <a:pt x="514" y="1471"/>
                  </a:lnTo>
                  <a:lnTo>
                    <a:pt x="514" y="1469"/>
                  </a:lnTo>
                  <a:lnTo>
                    <a:pt x="514" y="1468"/>
                  </a:lnTo>
                  <a:lnTo>
                    <a:pt x="513" y="1468"/>
                  </a:lnTo>
                  <a:lnTo>
                    <a:pt x="514" y="1468"/>
                  </a:lnTo>
                  <a:lnTo>
                    <a:pt x="514" y="1466"/>
                  </a:lnTo>
                  <a:lnTo>
                    <a:pt x="513" y="1466"/>
                  </a:lnTo>
                  <a:lnTo>
                    <a:pt x="513" y="1464"/>
                  </a:lnTo>
                  <a:lnTo>
                    <a:pt x="513" y="1463"/>
                  </a:lnTo>
                  <a:lnTo>
                    <a:pt x="513" y="1464"/>
                  </a:lnTo>
                  <a:lnTo>
                    <a:pt x="514" y="1464"/>
                  </a:lnTo>
                  <a:lnTo>
                    <a:pt x="513" y="1464"/>
                  </a:lnTo>
                  <a:lnTo>
                    <a:pt x="513" y="1463"/>
                  </a:lnTo>
                  <a:lnTo>
                    <a:pt x="513" y="1461"/>
                  </a:lnTo>
                  <a:lnTo>
                    <a:pt x="513" y="1459"/>
                  </a:lnTo>
                  <a:lnTo>
                    <a:pt x="511" y="1459"/>
                  </a:lnTo>
                  <a:lnTo>
                    <a:pt x="513" y="1458"/>
                  </a:lnTo>
                  <a:lnTo>
                    <a:pt x="513" y="1459"/>
                  </a:lnTo>
                  <a:lnTo>
                    <a:pt x="511" y="1459"/>
                  </a:lnTo>
                  <a:lnTo>
                    <a:pt x="513" y="1459"/>
                  </a:lnTo>
                  <a:lnTo>
                    <a:pt x="513" y="1461"/>
                  </a:lnTo>
                  <a:lnTo>
                    <a:pt x="513" y="1463"/>
                  </a:lnTo>
                  <a:lnTo>
                    <a:pt x="513" y="1464"/>
                  </a:lnTo>
                  <a:lnTo>
                    <a:pt x="511" y="1464"/>
                  </a:lnTo>
                  <a:lnTo>
                    <a:pt x="513" y="1463"/>
                  </a:lnTo>
                  <a:lnTo>
                    <a:pt x="511" y="1464"/>
                  </a:lnTo>
                  <a:lnTo>
                    <a:pt x="511" y="1466"/>
                  </a:lnTo>
                  <a:lnTo>
                    <a:pt x="513" y="1466"/>
                  </a:lnTo>
                  <a:lnTo>
                    <a:pt x="511" y="1466"/>
                  </a:lnTo>
                  <a:lnTo>
                    <a:pt x="511" y="1464"/>
                  </a:lnTo>
                  <a:lnTo>
                    <a:pt x="511" y="1466"/>
                  </a:lnTo>
                  <a:lnTo>
                    <a:pt x="511" y="1468"/>
                  </a:lnTo>
                  <a:lnTo>
                    <a:pt x="513" y="1468"/>
                  </a:lnTo>
                  <a:lnTo>
                    <a:pt x="514" y="1469"/>
                  </a:lnTo>
                  <a:lnTo>
                    <a:pt x="514" y="1471"/>
                  </a:lnTo>
                  <a:lnTo>
                    <a:pt x="514" y="1472"/>
                  </a:lnTo>
                  <a:lnTo>
                    <a:pt x="514" y="1474"/>
                  </a:lnTo>
                  <a:lnTo>
                    <a:pt x="513" y="1474"/>
                  </a:lnTo>
                  <a:lnTo>
                    <a:pt x="514" y="1474"/>
                  </a:lnTo>
                  <a:lnTo>
                    <a:pt x="514" y="1476"/>
                  </a:lnTo>
                  <a:lnTo>
                    <a:pt x="513" y="1476"/>
                  </a:lnTo>
                  <a:lnTo>
                    <a:pt x="511" y="1474"/>
                  </a:lnTo>
                  <a:lnTo>
                    <a:pt x="511" y="1476"/>
                  </a:lnTo>
                  <a:lnTo>
                    <a:pt x="509" y="1476"/>
                  </a:lnTo>
                  <a:lnTo>
                    <a:pt x="509" y="1474"/>
                  </a:lnTo>
                  <a:lnTo>
                    <a:pt x="511" y="1474"/>
                  </a:lnTo>
                  <a:lnTo>
                    <a:pt x="511" y="1472"/>
                  </a:lnTo>
                  <a:lnTo>
                    <a:pt x="511" y="1471"/>
                  </a:lnTo>
                  <a:lnTo>
                    <a:pt x="509" y="1471"/>
                  </a:lnTo>
                  <a:lnTo>
                    <a:pt x="509" y="1469"/>
                  </a:lnTo>
                  <a:lnTo>
                    <a:pt x="509" y="1468"/>
                  </a:lnTo>
                  <a:lnTo>
                    <a:pt x="511" y="1468"/>
                  </a:lnTo>
                  <a:lnTo>
                    <a:pt x="511" y="1466"/>
                  </a:lnTo>
                  <a:lnTo>
                    <a:pt x="509" y="1468"/>
                  </a:lnTo>
                  <a:lnTo>
                    <a:pt x="509" y="1466"/>
                  </a:lnTo>
                  <a:lnTo>
                    <a:pt x="509" y="1464"/>
                  </a:lnTo>
                  <a:lnTo>
                    <a:pt x="509" y="1463"/>
                  </a:lnTo>
                  <a:lnTo>
                    <a:pt x="511" y="1464"/>
                  </a:lnTo>
                  <a:lnTo>
                    <a:pt x="511" y="1463"/>
                  </a:lnTo>
                  <a:lnTo>
                    <a:pt x="511" y="1461"/>
                  </a:lnTo>
                  <a:lnTo>
                    <a:pt x="509" y="1461"/>
                  </a:lnTo>
                  <a:lnTo>
                    <a:pt x="509" y="1459"/>
                  </a:lnTo>
                  <a:lnTo>
                    <a:pt x="509" y="1461"/>
                  </a:lnTo>
                  <a:lnTo>
                    <a:pt x="509" y="1459"/>
                  </a:lnTo>
                  <a:lnTo>
                    <a:pt x="508" y="1459"/>
                  </a:lnTo>
                  <a:lnTo>
                    <a:pt x="508" y="1458"/>
                  </a:lnTo>
                  <a:lnTo>
                    <a:pt x="506" y="1458"/>
                  </a:lnTo>
                  <a:lnTo>
                    <a:pt x="506" y="1456"/>
                  </a:lnTo>
                  <a:lnTo>
                    <a:pt x="506" y="1455"/>
                  </a:lnTo>
                  <a:lnTo>
                    <a:pt x="505" y="1453"/>
                  </a:lnTo>
                  <a:lnTo>
                    <a:pt x="506" y="1455"/>
                  </a:lnTo>
                  <a:lnTo>
                    <a:pt x="505" y="1456"/>
                  </a:lnTo>
                  <a:lnTo>
                    <a:pt x="506" y="1456"/>
                  </a:lnTo>
                  <a:lnTo>
                    <a:pt x="506" y="1458"/>
                  </a:lnTo>
                  <a:lnTo>
                    <a:pt x="508" y="1458"/>
                  </a:lnTo>
                  <a:lnTo>
                    <a:pt x="508" y="1459"/>
                  </a:lnTo>
                  <a:lnTo>
                    <a:pt x="508" y="1461"/>
                  </a:lnTo>
                  <a:lnTo>
                    <a:pt x="509" y="1461"/>
                  </a:lnTo>
                  <a:lnTo>
                    <a:pt x="509" y="1463"/>
                  </a:lnTo>
                  <a:lnTo>
                    <a:pt x="508" y="1463"/>
                  </a:lnTo>
                  <a:lnTo>
                    <a:pt x="508" y="1464"/>
                  </a:lnTo>
                  <a:lnTo>
                    <a:pt x="509" y="1464"/>
                  </a:lnTo>
                  <a:lnTo>
                    <a:pt x="509" y="1466"/>
                  </a:lnTo>
                  <a:lnTo>
                    <a:pt x="508" y="1466"/>
                  </a:lnTo>
                  <a:lnTo>
                    <a:pt x="506" y="1466"/>
                  </a:lnTo>
                  <a:lnTo>
                    <a:pt x="506" y="1464"/>
                  </a:lnTo>
                  <a:lnTo>
                    <a:pt x="506" y="1463"/>
                  </a:lnTo>
                  <a:lnTo>
                    <a:pt x="506" y="1461"/>
                  </a:lnTo>
                  <a:lnTo>
                    <a:pt x="506" y="1459"/>
                  </a:lnTo>
                  <a:lnTo>
                    <a:pt x="505" y="1459"/>
                  </a:lnTo>
                  <a:lnTo>
                    <a:pt x="505" y="1461"/>
                  </a:lnTo>
                  <a:lnTo>
                    <a:pt x="505" y="1459"/>
                  </a:lnTo>
                  <a:lnTo>
                    <a:pt x="503" y="1458"/>
                  </a:lnTo>
                  <a:lnTo>
                    <a:pt x="503" y="1456"/>
                  </a:lnTo>
                  <a:lnTo>
                    <a:pt x="503" y="1455"/>
                  </a:lnTo>
                  <a:lnTo>
                    <a:pt x="503" y="1453"/>
                  </a:lnTo>
                  <a:lnTo>
                    <a:pt x="503" y="1451"/>
                  </a:lnTo>
                  <a:lnTo>
                    <a:pt x="503" y="1450"/>
                  </a:lnTo>
                  <a:lnTo>
                    <a:pt x="503" y="1448"/>
                  </a:lnTo>
                  <a:lnTo>
                    <a:pt x="503" y="1446"/>
                  </a:lnTo>
                  <a:lnTo>
                    <a:pt x="503" y="1445"/>
                  </a:lnTo>
                  <a:lnTo>
                    <a:pt x="501" y="1443"/>
                  </a:lnTo>
                  <a:lnTo>
                    <a:pt x="503" y="1443"/>
                  </a:lnTo>
                  <a:lnTo>
                    <a:pt x="501" y="1443"/>
                  </a:lnTo>
                  <a:lnTo>
                    <a:pt x="501" y="1440"/>
                  </a:lnTo>
                  <a:lnTo>
                    <a:pt x="501" y="1438"/>
                  </a:lnTo>
                  <a:lnTo>
                    <a:pt x="501" y="1440"/>
                  </a:lnTo>
                  <a:lnTo>
                    <a:pt x="503" y="1438"/>
                  </a:lnTo>
                  <a:lnTo>
                    <a:pt x="501" y="1437"/>
                  </a:lnTo>
                  <a:lnTo>
                    <a:pt x="501" y="1435"/>
                  </a:lnTo>
                  <a:lnTo>
                    <a:pt x="503" y="1435"/>
                  </a:lnTo>
                  <a:lnTo>
                    <a:pt x="503" y="1433"/>
                  </a:lnTo>
                  <a:lnTo>
                    <a:pt x="503" y="1432"/>
                  </a:lnTo>
                  <a:lnTo>
                    <a:pt x="503" y="1430"/>
                  </a:lnTo>
                  <a:lnTo>
                    <a:pt x="501" y="1432"/>
                  </a:lnTo>
                  <a:lnTo>
                    <a:pt x="501" y="1433"/>
                  </a:lnTo>
                  <a:lnTo>
                    <a:pt x="500" y="1433"/>
                  </a:lnTo>
                  <a:lnTo>
                    <a:pt x="501" y="1435"/>
                  </a:lnTo>
                  <a:lnTo>
                    <a:pt x="500" y="1435"/>
                  </a:lnTo>
                  <a:lnTo>
                    <a:pt x="501" y="1437"/>
                  </a:lnTo>
                  <a:lnTo>
                    <a:pt x="500" y="1437"/>
                  </a:lnTo>
                  <a:lnTo>
                    <a:pt x="500" y="1438"/>
                  </a:lnTo>
                  <a:lnTo>
                    <a:pt x="501" y="1438"/>
                  </a:lnTo>
                  <a:lnTo>
                    <a:pt x="500" y="1438"/>
                  </a:lnTo>
                  <a:lnTo>
                    <a:pt x="500" y="1440"/>
                  </a:lnTo>
                  <a:lnTo>
                    <a:pt x="500" y="1438"/>
                  </a:lnTo>
                  <a:lnTo>
                    <a:pt x="498" y="1438"/>
                  </a:lnTo>
                  <a:lnTo>
                    <a:pt x="498" y="1440"/>
                  </a:lnTo>
                  <a:lnTo>
                    <a:pt x="496" y="1438"/>
                  </a:lnTo>
                  <a:lnTo>
                    <a:pt x="496" y="1437"/>
                  </a:lnTo>
                  <a:lnTo>
                    <a:pt x="496" y="1435"/>
                  </a:lnTo>
                  <a:lnTo>
                    <a:pt x="496" y="1433"/>
                  </a:lnTo>
                  <a:lnTo>
                    <a:pt x="498" y="1433"/>
                  </a:lnTo>
                  <a:lnTo>
                    <a:pt x="496" y="1432"/>
                  </a:lnTo>
                  <a:lnTo>
                    <a:pt x="496" y="1430"/>
                  </a:lnTo>
                  <a:lnTo>
                    <a:pt x="495" y="1427"/>
                  </a:lnTo>
                  <a:lnTo>
                    <a:pt x="495" y="1425"/>
                  </a:lnTo>
                  <a:lnTo>
                    <a:pt x="493" y="1425"/>
                  </a:lnTo>
                  <a:lnTo>
                    <a:pt x="495" y="1424"/>
                  </a:lnTo>
                  <a:lnTo>
                    <a:pt x="493" y="1424"/>
                  </a:lnTo>
                  <a:lnTo>
                    <a:pt x="493" y="1422"/>
                  </a:lnTo>
                  <a:lnTo>
                    <a:pt x="493" y="1424"/>
                  </a:lnTo>
                  <a:lnTo>
                    <a:pt x="493" y="1425"/>
                  </a:lnTo>
                  <a:lnTo>
                    <a:pt x="495" y="1427"/>
                  </a:lnTo>
                  <a:lnTo>
                    <a:pt x="495" y="1428"/>
                  </a:lnTo>
                  <a:lnTo>
                    <a:pt x="495" y="1430"/>
                  </a:lnTo>
                  <a:lnTo>
                    <a:pt x="496" y="1432"/>
                  </a:lnTo>
                  <a:lnTo>
                    <a:pt x="496" y="1433"/>
                  </a:lnTo>
                  <a:lnTo>
                    <a:pt x="495" y="1433"/>
                  </a:lnTo>
                  <a:lnTo>
                    <a:pt x="493" y="1433"/>
                  </a:lnTo>
                  <a:lnTo>
                    <a:pt x="493" y="1435"/>
                  </a:lnTo>
                  <a:lnTo>
                    <a:pt x="495" y="1435"/>
                  </a:lnTo>
                  <a:lnTo>
                    <a:pt x="493" y="1435"/>
                  </a:lnTo>
                  <a:lnTo>
                    <a:pt x="493" y="1437"/>
                  </a:lnTo>
                  <a:lnTo>
                    <a:pt x="492" y="1437"/>
                  </a:lnTo>
                  <a:lnTo>
                    <a:pt x="492" y="1438"/>
                  </a:lnTo>
                  <a:lnTo>
                    <a:pt x="493" y="1438"/>
                  </a:lnTo>
                  <a:lnTo>
                    <a:pt x="493" y="1440"/>
                  </a:lnTo>
                  <a:lnTo>
                    <a:pt x="493" y="1441"/>
                  </a:lnTo>
                  <a:lnTo>
                    <a:pt x="493" y="1443"/>
                  </a:lnTo>
                  <a:lnTo>
                    <a:pt x="493" y="1441"/>
                  </a:lnTo>
                  <a:lnTo>
                    <a:pt x="492" y="1443"/>
                  </a:lnTo>
                  <a:lnTo>
                    <a:pt x="493" y="1445"/>
                  </a:lnTo>
                  <a:lnTo>
                    <a:pt x="492" y="1445"/>
                  </a:lnTo>
                  <a:lnTo>
                    <a:pt x="493" y="1445"/>
                  </a:lnTo>
                  <a:lnTo>
                    <a:pt x="493" y="1446"/>
                  </a:lnTo>
                  <a:lnTo>
                    <a:pt x="493" y="1448"/>
                  </a:lnTo>
                  <a:lnTo>
                    <a:pt x="493" y="1450"/>
                  </a:lnTo>
                  <a:lnTo>
                    <a:pt x="495" y="1450"/>
                  </a:lnTo>
                  <a:lnTo>
                    <a:pt x="495" y="1448"/>
                  </a:lnTo>
                  <a:lnTo>
                    <a:pt x="495" y="1446"/>
                  </a:lnTo>
                  <a:lnTo>
                    <a:pt x="495" y="1445"/>
                  </a:lnTo>
                  <a:lnTo>
                    <a:pt x="495" y="1443"/>
                  </a:lnTo>
                  <a:lnTo>
                    <a:pt x="495" y="1445"/>
                  </a:lnTo>
                  <a:lnTo>
                    <a:pt x="493" y="1445"/>
                  </a:lnTo>
                  <a:lnTo>
                    <a:pt x="495" y="1445"/>
                  </a:lnTo>
                  <a:lnTo>
                    <a:pt x="493" y="1445"/>
                  </a:lnTo>
                  <a:lnTo>
                    <a:pt x="495" y="1445"/>
                  </a:lnTo>
                  <a:lnTo>
                    <a:pt x="495" y="1446"/>
                  </a:lnTo>
                  <a:lnTo>
                    <a:pt x="493" y="1446"/>
                  </a:lnTo>
                  <a:lnTo>
                    <a:pt x="495" y="1446"/>
                  </a:lnTo>
                  <a:lnTo>
                    <a:pt x="493" y="1446"/>
                  </a:lnTo>
                  <a:lnTo>
                    <a:pt x="493" y="1445"/>
                  </a:lnTo>
                  <a:lnTo>
                    <a:pt x="493" y="1443"/>
                  </a:lnTo>
                  <a:lnTo>
                    <a:pt x="495" y="1443"/>
                  </a:lnTo>
                  <a:lnTo>
                    <a:pt x="493" y="1441"/>
                  </a:lnTo>
                  <a:lnTo>
                    <a:pt x="495" y="1441"/>
                  </a:lnTo>
                  <a:lnTo>
                    <a:pt x="493" y="1440"/>
                  </a:lnTo>
                  <a:lnTo>
                    <a:pt x="493" y="1438"/>
                  </a:lnTo>
                  <a:lnTo>
                    <a:pt x="495" y="1438"/>
                  </a:lnTo>
                  <a:lnTo>
                    <a:pt x="495" y="1437"/>
                  </a:lnTo>
                  <a:lnTo>
                    <a:pt x="495" y="1438"/>
                  </a:lnTo>
                  <a:lnTo>
                    <a:pt x="495" y="1440"/>
                  </a:lnTo>
                  <a:lnTo>
                    <a:pt x="495" y="1441"/>
                  </a:lnTo>
                  <a:lnTo>
                    <a:pt x="496" y="1440"/>
                  </a:lnTo>
                  <a:lnTo>
                    <a:pt x="496" y="1441"/>
                  </a:lnTo>
                  <a:lnTo>
                    <a:pt x="498" y="1441"/>
                  </a:lnTo>
                  <a:lnTo>
                    <a:pt x="498" y="1443"/>
                  </a:lnTo>
                  <a:lnTo>
                    <a:pt x="498" y="1445"/>
                  </a:lnTo>
                  <a:lnTo>
                    <a:pt x="500" y="1445"/>
                  </a:lnTo>
                  <a:lnTo>
                    <a:pt x="500" y="1446"/>
                  </a:lnTo>
                  <a:lnTo>
                    <a:pt x="500" y="1448"/>
                  </a:lnTo>
                  <a:lnTo>
                    <a:pt x="500" y="1450"/>
                  </a:lnTo>
                  <a:lnTo>
                    <a:pt x="500" y="1451"/>
                  </a:lnTo>
                  <a:lnTo>
                    <a:pt x="500" y="1453"/>
                  </a:lnTo>
                  <a:lnTo>
                    <a:pt x="500" y="1455"/>
                  </a:lnTo>
                  <a:lnTo>
                    <a:pt x="500" y="1456"/>
                  </a:lnTo>
                  <a:lnTo>
                    <a:pt x="500" y="1458"/>
                  </a:lnTo>
                  <a:lnTo>
                    <a:pt x="501" y="1458"/>
                  </a:lnTo>
                  <a:lnTo>
                    <a:pt x="501" y="1459"/>
                  </a:lnTo>
                  <a:lnTo>
                    <a:pt x="501" y="1461"/>
                  </a:lnTo>
                  <a:lnTo>
                    <a:pt x="500" y="1459"/>
                  </a:lnTo>
                  <a:lnTo>
                    <a:pt x="500" y="1458"/>
                  </a:lnTo>
                  <a:lnTo>
                    <a:pt x="500" y="1459"/>
                  </a:lnTo>
                  <a:lnTo>
                    <a:pt x="500" y="1458"/>
                  </a:lnTo>
                  <a:lnTo>
                    <a:pt x="500" y="1459"/>
                  </a:lnTo>
                  <a:lnTo>
                    <a:pt x="498" y="1459"/>
                  </a:lnTo>
                  <a:lnTo>
                    <a:pt x="500" y="1459"/>
                  </a:lnTo>
                  <a:lnTo>
                    <a:pt x="500" y="1461"/>
                  </a:lnTo>
                  <a:lnTo>
                    <a:pt x="500" y="1463"/>
                  </a:lnTo>
                  <a:lnTo>
                    <a:pt x="498" y="1461"/>
                  </a:lnTo>
                  <a:lnTo>
                    <a:pt x="498" y="1459"/>
                  </a:lnTo>
                  <a:lnTo>
                    <a:pt x="496" y="1459"/>
                  </a:lnTo>
                  <a:lnTo>
                    <a:pt x="496" y="1458"/>
                  </a:lnTo>
                  <a:lnTo>
                    <a:pt x="496" y="1459"/>
                  </a:lnTo>
                  <a:lnTo>
                    <a:pt x="498" y="1461"/>
                  </a:lnTo>
                  <a:lnTo>
                    <a:pt x="496" y="1461"/>
                  </a:lnTo>
                  <a:lnTo>
                    <a:pt x="496" y="1459"/>
                  </a:lnTo>
                  <a:lnTo>
                    <a:pt x="495" y="1459"/>
                  </a:lnTo>
                  <a:lnTo>
                    <a:pt x="495" y="1458"/>
                  </a:lnTo>
                  <a:lnTo>
                    <a:pt x="495" y="1456"/>
                  </a:lnTo>
                  <a:lnTo>
                    <a:pt x="496" y="1456"/>
                  </a:lnTo>
                  <a:lnTo>
                    <a:pt x="496" y="1455"/>
                  </a:lnTo>
                  <a:lnTo>
                    <a:pt x="495" y="1455"/>
                  </a:lnTo>
                  <a:lnTo>
                    <a:pt x="495" y="1453"/>
                  </a:lnTo>
                  <a:lnTo>
                    <a:pt x="495" y="1455"/>
                  </a:lnTo>
                  <a:lnTo>
                    <a:pt x="495" y="1453"/>
                  </a:lnTo>
                  <a:lnTo>
                    <a:pt x="495" y="1455"/>
                  </a:lnTo>
                  <a:lnTo>
                    <a:pt x="495" y="1456"/>
                  </a:lnTo>
                  <a:lnTo>
                    <a:pt x="495" y="1455"/>
                  </a:lnTo>
                  <a:lnTo>
                    <a:pt x="493" y="1453"/>
                  </a:lnTo>
                  <a:lnTo>
                    <a:pt x="493" y="1455"/>
                  </a:lnTo>
                  <a:lnTo>
                    <a:pt x="495" y="1456"/>
                  </a:lnTo>
                  <a:lnTo>
                    <a:pt x="493" y="1456"/>
                  </a:lnTo>
                  <a:lnTo>
                    <a:pt x="495" y="1456"/>
                  </a:lnTo>
                  <a:lnTo>
                    <a:pt x="493" y="1456"/>
                  </a:lnTo>
                  <a:lnTo>
                    <a:pt x="493" y="1455"/>
                  </a:lnTo>
                  <a:lnTo>
                    <a:pt x="493" y="1456"/>
                  </a:lnTo>
                  <a:lnTo>
                    <a:pt x="492" y="1455"/>
                  </a:lnTo>
                  <a:lnTo>
                    <a:pt x="492" y="1456"/>
                  </a:lnTo>
                  <a:lnTo>
                    <a:pt x="492" y="1458"/>
                  </a:lnTo>
                  <a:lnTo>
                    <a:pt x="493" y="1458"/>
                  </a:lnTo>
                  <a:lnTo>
                    <a:pt x="493" y="1459"/>
                  </a:lnTo>
                  <a:lnTo>
                    <a:pt x="492" y="1459"/>
                  </a:lnTo>
                  <a:lnTo>
                    <a:pt x="492" y="1461"/>
                  </a:lnTo>
                  <a:lnTo>
                    <a:pt x="493" y="1461"/>
                  </a:lnTo>
                  <a:lnTo>
                    <a:pt x="495" y="1461"/>
                  </a:lnTo>
                  <a:lnTo>
                    <a:pt x="495" y="1463"/>
                  </a:lnTo>
                  <a:lnTo>
                    <a:pt x="495" y="1464"/>
                  </a:lnTo>
                  <a:lnTo>
                    <a:pt x="496" y="1464"/>
                  </a:lnTo>
                  <a:lnTo>
                    <a:pt x="495" y="1464"/>
                  </a:lnTo>
                  <a:lnTo>
                    <a:pt x="495" y="1466"/>
                  </a:lnTo>
                  <a:lnTo>
                    <a:pt x="495" y="1464"/>
                  </a:lnTo>
                  <a:lnTo>
                    <a:pt x="493" y="1464"/>
                  </a:lnTo>
                  <a:lnTo>
                    <a:pt x="492" y="1464"/>
                  </a:lnTo>
                  <a:lnTo>
                    <a:pt x="492" y="1466"/>
                  </a:lnTo>
                  <a:lnTo>
                    <a:pt x="492" y="1464"/>
                  </a:lnTo>
                  <a:lnTo>
                    <a:pt x="490" y="1464"/>
                  </a:lnTo>
                  <a:lnTo>
                    <a:pt x="488" y="1464"/>
                  </a:lnTo>
                  <a:lnTo>
                    <a:pt x="488" y="1466"/>
                  </a:lnTo>
                  <a:lnTo>
                    <a:pt x="490" y="1466"/>
                  </a:lnTo>
                  <a:lnTo>
                    <a:pt x="490" y="1468"/>
                  </a:lnTo>
                  <a:lnTo>
                    <a:pt x="492" y="1468"/>
                  </a:lnTo>
                  <a:lnTo>
                    <a:pt x="490" y="1468"/>
                  </a:lnTo>
                  <a:lnTo>
                    <a:pt x="492" y="1469"/>
                  </a:lnTo>
                  <a:lnTo>
                    <a:pt x="493" y="1469"/>
                  </a:lnTo>
                  <a:lnTo>
                    <a:pt x="492" y="1469"/>
                  </a:lnTo>
                  <a:lnTo>
                    <a:pt x="492" y="1468"/>
                  </a:lnTo>
                  <a:lnTo>
                    <a:pt x="493" y="1468"/>
                  </a:lnTo>
                  <a:lnTo>
                    <a:pt x="495" y="1469"/>
                  </a:lnTo>
                  <a:lnTo>
                    <a:pt x="493" y="1469"/>
                  </a:lnTo>
                  <a:lnTo>
                    <a:pt x="492" y="1469"/>
                  </a:lnTo>
                  <a:lnTo>
                    <a:pt x="492" y="1471"/>
                  </a:lnTo>
                  <a:lnTo>
                    <a:pt x="493" y="1471"/>
                  </a:lnTo>
                  <a:lnTo>
                    <a:pt x="493" y="1472"/>
                  </a:lnTo>
                  <a:lnTo>
                    <a:pt x="492" y="1472"/>
                  </a:lnTo>
                  <a:lnTo>
                    <a:pt x="490" y="1471"/>
                  </a:lnTo>
                  <a:lnTo>
                    <a:pt x="488" y="1471"/>
                  </a:lnTo>
                  <a:lnTo>
                    <a:pt x="490" y="1471"/>
                  </a:lnTo>
                  <a:lnTo>
                    <a:pt x="488" y="1471"/>
                  </a:lnTo>
                  <a:lnTo>
                    <a:pt x="488" y="1469"/>
                  </a:lnTo>
                  <a:lnTo>
                    <a:pt x="487" y="1469"/>
                  </a:lnTo>
                  <a:lnTo>
                    <a:pt x="485" y="1468"/>
                  </a:lnTo>
                  <a:lnTo>
                    <a:pt x="485" y="1466"/>
                  </a:lnTo>
                  <a:lnTo>
                    <a:pt x="483" y="1466"/>
                  </a:lnTo>
                  <a:lnTo>
                    <a:pt x="483" y="1464"/>
                  </a:lnTo>
                  <a:lnTo>
                    <a:pt x="482" y="1466"/>
                  </a:lnTo>
                  <a:lnTo>
                    <a:pt x="483" y="1466"/>
                  </a:lnTo>
                  <a:lnTo>
                    <a:pt x="483" y="1468"/>
                  </a:lnTo>
                  <a:lnTo>
                    <a:pt x="485" y="1468"/>
                  </a:lnTo>
                  <a:lnTo>
                    <a:pt x="485" y="1469"/>
                  </a:lnTo>
                  <a:lnTo>
                    <a:pt x="487" y="1469"/>
                  </a:lnTo>
                  <a:lnTo>
                    <a:pt x="487" y="1471"/>
                  </a:lnTo>
                  <a:lnTo>
                    <a:pt x="485" y="1471"/>
                  </a:lnTo>
                  <a:lnTo>
                    <a:pt x="487" y="1472"/>
                  </a:lnTo>
                  <a:lnTo>
                    <a:pt x="487" y="1471"/>
                  </a:lnTo>
                  <a:lnTo>
                    <a:pt x="487" y="1472"/>
                  </a:lnTo>
                  <a:lnTo>
                    <a:pt x="488" y="1472"/>
                  </a:lnTo>
                  <a:lnTo>
                    <a:pt x="487" y="1472"/>
                  </a:lnTo>
                  <a:lnTo>
                    <a:pt x="488" y="1474"/>
                  </a:lnTo>
                  <a:lnTo>
                    <a:pt x="487" y="1474"/>
                  </a:lnTo>
                  <a:lnTo>
                    <a:pt x="485" y="1472"/>
                  </a:lnTo>
                  <a:lnTo>
                    <a:pt x="485" y="1474"/>
                  </a:lnTo>
                  <a:lnTo>
                    <a:pt x="487" y="1476"/>
                  </a:lnTo>
                  <a:lnTo>
                    <a:pt x="485" y="1476"/>
                  </a:lnTo>
                  <a:lnTo>
                    <a:pt x="487" y="1477"/>
                  </a:lnTo>
                  <a:lnTo>
                    <a:pt x="485" y="1477"/>
                  </a:lnTo>
                  <a:lnTo>
                    <a:pt x="485" y="1476"/>
                  </a:lnTo>
                  <a:lnTo>
                    <a:pt x="485" y="1474"/>
                  </a:lnTo>
                  <a:lnTo>
                    <a:pt x="483" y="1474"/>
                  </a:lnTo>
                  <a:lnTo>
                    <a:pt x="485" y="1476"/>
                  </a:lnTo>
                  <a:lnTo>
                    <a:pt x="485" y="1477"/>
                  </a:lnTo>
                  <a:lnTo>
                    <a:pt x="485" y="1476"/>
                  </a:lnTo>
                  <a:lnTo>
                    <a:pt x="483" y="1477"/>
                  </a:lnTo>
                  <a:lnTo>
                    <a:pt x="485" y="1477"/>
                  </a:lnTo>
                  <a:lnTo>
                    <a:pt x="487" y="1479"/>
                  </a:lnTo>
                  <a:lnTo>
                    <a:pt x="488" y="1479"/>
                  </a:lnTo>
                  <a:lnTo>
                    <a:pt x="488" y="1481"/>
                  </a:lnTo>
                  <a:lnTo>
                    <a:pt x="487" y="1481"/>
                  </a:lnTo>
                  <a:lnTo>
                    <a:pt x="485" y="1481"/>
                  </a:lnTo>
                  <a:lnTo>
                    <a:pt x="483" y="1479"/>
                  </a:lnTo>
                  <a:lnTo>
                    <a:pt x="485" y="1481"/>
                  </a:lnTo>
                  <a:lnTo>
                    <a:pt x="483" y="1481"/>
                  </a:lnTo>
                  <a:lnTo>
                    <a:pt x="483" y="1479"/>
                  </a:lnTo>
                  <a:lnTo>
                    <a:pt x="482" y="1479"/>
                  </a:lnTo>
                  <a:lnTo>
                    <a:pt x="482" y="1481"/>
                  </a:lnTo>
                  <a:lnTo>
                    <a:pt x="480" y="1481"/>
                  </a:lnTo>
                  <a:lnTo>
                    <a:pt x="480" y="1479"/>
                  </a:lnTo>
                  <a:lnTo>
                    <a:pt x="480" y="1481"/>
                  </a:lnTo>
                  <a:lnTo>
                    <a:pt x="480" y="1479"/>
                  </a:lnTo>
                  <a:lnTo>
                    <a:pt x="479" y="1479"/>
                  </a:lnTo>
                  <a:lnTo>
                    <a:pt x="479" y="1481"/>
                  </a:lnTo>
                  <a:lnTo>
                    <a:pt x="480" y="1481"/>
                  </a:lnTo>
                  <a:lnTo>
                    <a:pt x="480" y="1482"/>
                  </a:lnTo>
                  <a:lnTo>
                    <a:pt x="480" y="1484"/>
                  </a:lnTo>
                  <a:lnTo>
                    <a:pt x="480" y="1485"/>
                  </a:lnTo>
                  <a:lnTo>
                    <a:pt x="480" y="1487"/>
                  </a:lnTo>
                  <a:lnTo>
                    <a:pt x="479" y="1487"/>
                  </a:lnTo>
                  <a:lnTo>
                    <a:pt x="479" y="1485"/>
                  </a:lnTo>
                  <a:lnTo>
                    <a:pt x="477" y="1485"/>
                  </a:lnTo>
                  <a:lnTo>
                    <a:pt x="477" y="1487"/>
                  </a:lnTo>
                  <a:lnTo>
                    <a:pt x="475" y="1487"/>
                  </a:lnTo>
                  <a:lnTo>
                    <a:pt x="475" y="1485"/>
                  </a:lnTo>
                  <a:lnTo>
                    <a:pt x="474" y="1485"/>
                  </a:lnTo>
                  <a:lnTo>
                    <a:pt x="472" y="1485"/>
                  </a:lnTo>
                  <a:lnTo>
                    <a:pt x="474" y="1487"/>
                  </a:lnTo>
                  <a:lnTo>
                    <a:pt x="472" y="1489"/>
                  </a:lnTo>
                  <a:lnTo>
                    <a:pt x="472" y="1487"/>
                  </a:lnTo>
                  <a:lnTo>
                    <a:pt x="472" y="1489"/>
                  </a:lnTo>
                  <a:lnTo>
                    <a:pt x="474" y="1489"/>
                  </a:lnTo>
                  <a:lnTo>
                    <a:pt x="474" y="1490"/>
                  </a:lnTo>
                  <a:lnTo>
                    <a:pt x="474" y="1489"/>
                  </a:lnTo>
                  <a:lnTo>
                    <a:pt x="474" y="1490"/>
                  </a:lnTo>
                  <a:lnTo>
                    <a:pt x="472" y="1490"/>
                  </a:lnTo>
                  <a:lnTo>
                    <a:pt x="470" y="1490"/>
                  </a:lnTo>
                  <a:lnTo>
                    <a:pt x="469" y="1490"/>
                  </a:lnTo>
                  <a:lnTo>
                    <a:pt x="467" y="1490"/>
                  </a:lnTo>
                  <a:lnTo>
                    <a:pt x="466" y="1489"/>
                  </a:lnTo>
                  <a:lnTo>
                    <a:pt x="466" y="1490"/>
                  </a:lnTo>
                  <a:lnTo>
                    <a:pt x="467" y="1490"/>
                  </a:lnTo>
                  <a:lnTo>
                    <a:pt x="466" y="1490"/>
                  </a:lnTo>
                  <a:lnTo>
                    <a:pt x="466" y="1492"/>
                  </a:lnTo>
                  <a:lnTo>
                    <a:pt x="466" y="1490"/>
                  </a:lnTo>
                  <a:lnTo>
                    <a:pt x="464" y="1490"/>
                  </a:lnTo>
                  <a:lnTo>
                    <a:pt x="462" y="1490"/>
                  </a:lnTo>
                  <a:lnTo>
                    <a:pt x="464" y="1492"/>
                  </a:lnTo>
                  <a:lnTo>
                    <a:pt x="462" y="1492"/>
                  </a:lnTo>
                  <a:lnTo>
                    <a:pt x="464" y="1492"/>
                  </a:lnTo>
                  <a:lnTo>
                    <a:pt x="462" y="1492"/>
                  </a:lnTo>
                  <a:lnTo>
                    <a:pt x="462" y="1490"/>
                  </a:lnTo>
                  <a:lnTo>
                    <a:pt x="462" y="1492"/>
                  </a:lnTo>
                  <a:lnTo>
                    <a:pt x="461" y="1490"/>
                  </a:lnTo>
                  <a:lnTo>
                    <a:pt x="461" y="1492"/>
                  </a:lnTo>
                  <a:lnTo>
                    <a:pt x="459" y="1490"/>
                  </a:lnTo>
                  <a:lnTo>
                    <a:pt x="461" y="1490"/>
                  </a:lnTo>
                  <a:lnTo>
                    <a:pt x="459" y="1490"/>
                  </a:lnTo>
                  <a:lnTo>
                    <a:pt x="461" y="1489"/>
                  </a:lnTo>
                  <a:lnTo>
                    <a:pt x="459" y="1489"/>
                  </a:lnTo>
                  <a:lnTo>
                    <a:pt x="459" y="1487"/>
                  </a:lnTo>
                  <a:lnTo>
                    <a:pt x="457" y="1487"/>
                  </a:lnTo>
                  <a:lnTo>
                    <a:pt x="457" y="1485"/>
                  </a:lnTo>
                  <a:lnTo>
                    <a:pt x="457" y="1487"/>
                  </a:lnTo>
                  <a:lnTo>
                    <a:pt x="457" y="1489"/>
                  </a:lnTo>
                  <a:lnTo>
                    <a:pt x="456" y="1489"/>
                  </a:lnTo>
                  <a:lnTo>
                    <a:pt x="456" y="1490"/>
                  </a:lnTo>
                  <a:lnTo>
                    <a:pt x="454" y="1490"/>
                  </a:lnTo>
                  <a:lnTo>
                    <a:pt x="454" y="1489"/>
                  </a:lnTo>
                  <a:lnTo>
                    <a:pt x="453" y="1490"/>
                  </a:lnTo>
                  <a:lnTo>
                    <a:pt x="456" y="1490"/>
                  </a:lnTo>
                  <a:lnTo>
                    <a:pt x="457" y="1490"/>
                  </a:lnTo>
                  <a:lnTo>
                    <a:pt x="459" y="1490"/>
                  </a:lnTo>
                  <a:lnTo>
                    <a:pt x="461" y="1490"/>
                  </a:lnTo>
                  <a:lnTo>
                    <a:pt x="461" y="1492"/>
                  </a:lnTo>
                  <a:lnTo>
                    <a:pt x="459" y="1492"/>
                  </a:lnTo>
                  <a:lnTo>
                    <a:pt x="457" y="1492"/>
                  </a:lnTo>
                  <a:lnTo>
                    <a:pt x="457" y="1494"/>
                  </a:lnTo>
                  <a:lnTo>
                    <a:pt x="459" y="1494"/>
                  </a:lnTo>
                  <a:lnTo>
                    <a:pt x="461" y="1494"/>
                  </a:lnTo>
                  <a:lnTo>
                    <a:pt x="459" y="1494"/>
                  </a:lnTo>
                  <a:lnTo>
                    <a:pt x="457" y="1494"/>
                  </a:lnTo>
                  <a:lnTo>
                    <a:pt x="457" y="1495"/>
                  </a:lnTo>
                  <a:lnTo>
                    <a:pt x="459" y="1495"/>
                  </a:lnTo>
                  <a:lnTo>
                    <a:pt x="457" y="1497"/>
                  </a:lnTo>
                  <a:lnTo>
                    <a:pt x="457" y="1495"/>
                  </a:lnTo>
                  <a:lnTo>
                    <a:pt x="456" y="1497"/>
                  </a:lnTo>
                  <a:lnTo>
                    <a:pt x="456" y="1495"/>
                  </a:lnTo>
                  <a:lnTo>
                    <a:pt x="454" y="1495"/>
                  </a:lnTo>
                  <a:lnTo>
                    <a:pt x="454" y="1497"/>
                  </a:lnTo>
                  <a:lnTo>
                    <a:pt x="456" y="1497"/>
                  </a:lnTo>
                  <a:lnTo>
                    <a:pt x="457" y="1497"/>
                  </a:lnTo>
                  <a:lnTo>
                    <a:pt x="459" y="1497"/>
                  </a:lnTo>
                  <a:lnTo>
                    <a:pt x="461" y="1497"/>
                  </a:lnTo>
                  <a:lnTo>
                    <a:pt x="461" y="1495"/>
                  </a:lnTo>
                  <a:lnTo>
                    <a:pt x="462" y="1495"/>
                  </a:lnTo>
                  <a:lnTo>
                    <a:pt x="464" y="1495"/>
                  </a:lnTo>
                  <a:lnTo>
                    <a:pt x="464" y="1497"/>
                  </a:lnTo>
                  <a:lnTo>
                    <a:pt x="462" y="1497"/>
                  </a:lnTo>
                  <a:lnTo>
                    <a:pt x="462" y="1498"/>
                  </a:lnTo>
                  <a:lnTo>
                    <a:pt x="462" y="1500"/>
                  </a:lnTo>
                  <a:lnTo>
                    <a:pt x="461" y="1500"/>
                  </a:lnTo>
                  <a:lnTo>
                    <a:pt x="461" y="1502"/>
                  </a:lnTo>
                  <a:lnTo>
                    <a:pt x="461" y="1503"/>
                  </a:lnTo>
                  <a:lnTo>
                    <a:pt x="461" y="1502"/>
                  </a:lnTo>
                  <a:lnTo>
                    <a:pt x="459" y="1502"/>
                  </a:lnTo>
                  <a:lnTo>
                    <a:pt x="457" y="1502"/>
                  </a:lnTo>
                  <a:lnTo>
                    <a:pt x="459" y="1503"/>
                  </a:lnTo>
                  <a:lnTo>
                    <a:pt x="457" y="1502"/>
                  </a:lnTo>
                  <a:lnTo>
                    <a:pt x="459" y="1502"/>
                  </a:lnTo>
                  <a:lnTo>
                    <a:pt x="459" y="1500"/>
                  </a:lnTo>
                  <a:lnTo>
                    <a:pt x="457" y="1500"/>
                  </a:lnTo>
                  <a:lnTo>
                    <a:pt x="457" y="1502"/>
                  </a:lnTo>
                  <a:lnTo>
                    <a:pt x="456" y="1502"/>
                  </a:lnTo>
                  <a:lnTo>
                    <a:pt x="456" y="1500"/>
                  </a:lnTo>
                  <a:lnTo>
                    <a:pt x="457" y="1500"/>
                  </a:lnTo>
                  <a:lnTo>
                    <a:pt x="456" y="1500"/>
                  </a:lnTo>
                  <a:lnTo>
                    <a:pt x="456" y="1498"/>
                  </a:lnTo>
                  <a:lnTo>
                    <a:pt x="456" y="1500"/>
                  </a:lnTo>
                  <a:lnTo>
                    <a:pt x="454" y="1500"/>
                  </a:lnTo>
                  <a:lnTo>
                    <a:pt x="454" y="1498"/>
                  </a:lnTo>
                  <a:lnTo>
                    <a:pt x="453" y="1500"/>
                  </a:lnTo>
                  <a:lnTo>
                    <a:pt x="451" y="1500"/>
                  </a:lnTo>
                  <a:lnTo>
                    <a:pt x="453" y="1500"/>
                  </a:lnTo>
                  <a:lnTo>
                    <a:pt x="453" y="1498"/>
                  </a:lnTo>
                  <a:lnTo>
                    <a:pt x="451" y="1498"/>
                  </a:lnTo>
                  <a:lnTo>
                    <a:pt x="451" y="1500"/>
                  </a:lnTo>
                  <a:lnTo>
                    <a:pt x="451" y="1498"/>
                  </a:lnTo>
                  <a:lnTo>
                    <a:pt x="449" y="1500"/>
                  </a:lnTo>
                  <a:lnTo>
                    <a:pt x="448" y="1500"/>
                  </a:lnTo>
                  <a:lnTo>
                    <a:pt x="448" y="1502"/>
                  </a:lnTo>
                  <a:lnTo>
                    <a:pt x="449" y="1502"/>
                  </a:lnTo>
                  <a:lnTo>
                    <a:pt x="451" y="1502"/>
                  </a:lnTo>
                  <a:lnTo>
                    <a:pt x="453" y="1502"/>
                  </a:lnTo>
                  <a:lnTo>
                    <a:pt x="453" y="1500"/>
                  </a:lnTo>
                  <a:lnTo>
                    <a:pt x="453" y="1502"/>
                  </a:lnTo>
                  <a:lnTo>
                    <a:pt x="454" y="1502"/>
                  </a:lnTo>
                  <a:lnTo>
                    <a:pt x="456" y="1502"/>
                  </a:lnTo>
                  <a:lnTo>
                    <a:pt x="456" y="1503"/>
                  </a:lnTo>
                  <a:lnTo>
                    <a:pt x="454" y="1503"/>
                  </a:lnTo>
                  <a:lnTo>
                    <a:pt x="454" y="1505"/>
                  </a:lnTo>
                  <a:lnTo>
                    <a:pt x="456" y="1505"/>
                  </a:lnTo>
                  <a:lnTo>
                    <a:pt x="454" y="1505"/>
                  </a:lnTo>
                  <a:lnTo>
                    <a:pt x="456" y="1505"/>
                  </a:lnTo>
                  <a:lnTo>
                    <a:pt x="454" y="1507"/>
                  </a:lnTo>
                  <a:lnTo>
                    <a:pt x="453" y="1507"/>
                  </a:lnTo>
                  <a:lnTo>
                    <a:pt x="451" y="1507"/>
                  </a:lnTo>
                  <a:lnTo>
                    <a:pt x="451" y="1508"/>
                  </a:lnTo>
                  <a:lnTo>
                    <a:pt x="449" y="1508"/>
                  </a:lnTo>
                  <a:lnTo>
                    <a:pt x="448" y="1508"/>
                  </a:lnTo>
                  <a:lnTo>
                    <a:pt x="449" y="1508"/>
                  </a:lnTo>
                  <a:lnTo>
                    <a:pt x="448" y="1510"/>
                  </a:lnTo>
                  <a:lnTo>
                    <a:pt x="446" y="1510"/>
                  </a:lnTo>
                  <a:lnTo>
                    <a:pt x="444" y="1508"/>
                  </a:lnTo>
                  <a:lnTo>
                    <a:pt x="443" y="1508"/>
                  </a:lnTo>
                  <a:lnTo>
                    <a:pt x="441" y="1508"/>
                  </a:lnTo>
                  <a:lnTo>
                    <a:pt x="440" y="1508"/>
                  </a:lnTo>
                  <a:lnTo>
                    <a:pt x="438" y="1508"/>
                  </a:lnTo>
                  <a:lnTo>
                    <a:pt x="436" y="1508"/>
                  </a:lnTo>
                  <a:lnTo>
                    <a:pt x="435" y="1508"/>
                  </a:lnTo>
                  <a:lnTo>
                    <a:pt x="431" y="1508"/>
                  </a:lnTo>
                  <a:lnTo>
                    <a:pt x="430" y="1508"/>
                  </a:lnTo>
                  <a:lnTo>
                    <a:pt x="428" y="1508"/>
                  </a:lnTo>
                  <a:lnTo>
                    <a:pt x="426" y="1508"/>
                  </a:lnTo>
                  <a:lnTo>
                    <a:pt x="425" y="1508"/>
                  </a:lnTo>
                  <a:lnTo>
                    <a:pt x="423" y="1508"/>
                  </a:lnTo>
                  <a:lnTo>
                    <a:pt x="422" y="1508"/>
                  </a:lnTo>
                  <a:lnTo>
                    <a:pt x="422" y="1507"/>
                  </a:lnTo>
                  <a:lnTo>
                    <a:pt x="420" y="1507"/>
                  </a:lnTo>
                  <a:lnTo>
                    <a:pt x="418" y="1507"/>
                  </a:lnTo>
                  <a:lnTo>
                    <a:pt x="417" y="1507"/>
                  </a:lnTo>
                  <a:lnTo>
                    <a:pt x="415" y="1507"/>
                  </a:lnTo>
                  <a:lnTo>
                    <a:pt x="413" y="1507"/>
                  </a:lnTo>
                  <a:lnTo>
                    <a:pt x="412" y="1507"/>
                  </a:lnTo>
                  <a:lnTo>
                    <a:pt x="410" y="1507"/>
                  </a:lnTo>
                  <a:lnTo>
                    <a:pt x="409" y="1507"/>
                  </a:lnTo>
                  <a:lnTo>
                    <a:pt x="407" y="1507"/>
                  </a:lnTo>
                  <a:lnTo>
                    <a:pt x="405" y="1507"/>
                  </a:lnTo>
                  <a:lnTo>
                    <a:pt x="404" y="1505"/>
                  </a:lnTo>
                  <a:lnTo>
                    <a:pt x="402" y="1505"/>
                  </a:lnTo>
                  <a:lnTo>
                    <a:pt x="402" y="1507"/>
                  </a:lnTo>
                  <a:lnTo>
                    <a:pt x="399" y="1505"/>
                  </a:lnTo>
                  <a:lnTo>
                    <a:pt x="397" y="1507"/>
                  </a:lnTo>
                  <a:lnTo>
                    <a:pt x="394" y="1507"/>
                  </a:lnTo>
                  <a:lnTo>
                    <a:pt x="394" y="1508"/>
                  </a:lnTo>
                  <a:lnTo>
                    <a:pt x="396" y="1508"/>
                  </a:lnTo>
                  <a:lnTo>
                    <a:pt x="397" y="1508"/>
                  </a:lnTo>
                  <a:lnTo>
                    <a:pt x="399" y="1510"/>
                  </a:lnTo>
                  <a:lnTo>
                    <a:pt x="397" y="1510"/>
                  </a:lnTo>
                  <a:lnTo>
                    <a:pt x="397" y="1511"/>
                  </a:lnTo>
                  <a:lnTo>
                    <a:pt x="396" y="1511"/>
                  </a:lnTo>
                  <a:lnTo>
                    <a:pt x="394" y="1511"/>
                  </a:lnTo>
                  <a:lnTo>
                    <a:pt x="392" y="1510"/>
                  </a:lnTo>
                  <a:lnTo>
                    <a:pt x="392" y="1511"/>
                  </a:lnTo>
                  <a:lnTo>
                    <a:pt x="392" y="1513"/>
                  </a:lnTo>
                  <a:lnTo>
                    <a:pt x="392" y="1515"/>
                  </a:lnTo>
                  <a:lnTo>
                    <a:pt x="394" y="1515"/>
                  </a:lnTo>
                  <a:lnTo>
                    <a:pt x="394" y="1516"/>
                  </a:lnTo>
                  <a:lnTo>
                    <a:pt x="394" y="1515"/>
                  </a:lnTo>
                  <a:lnTo>
                    <a:pt x="396" y="1515"/>
                  </a:lnTo>
                  <a:lnTo>
                    <a:pt x="394" y="1516"/>
                  </a:lnTo>
                  <a:lnTo>
                    <a:pt x="396" y="1515"/>
                  </a:lnTo>
                  <a:lnTo>
                    <a:pt x="397" y="1513"/>
                  </a:lnTo>
                  <a:lnTo>
                    <a:pt x="397" y="1515"/>
                  </a:lnTo>
                  <a:lnTo>
                    <a:pt x="399" y="1515"/>
                  </a:lnTo>
                  <a:lnTo>
                    <a:pt x="400" y="1515"/>
                  </a:lnTo>
                  <a:lnTo>
                    <a:pt x="402" y="1515"/>
                  </a:lnTo>
                  <a:lnTo>
                    <a:pt x="402" y="1513"/>
                  </a:lnTo>
                  <a:lnTo>
                    <a:pt x="402" y="1511"/>
                  </a:lnTo>
                  <a:lnTo>
                    <a:pt x="404" y="1513"/>
                  </a:lnTo>
                  <a:lnTo>
                    <a:pt x="405" y="1511"/>
                  </a:lnTo>
                  <a:lnTo>
                    <a:pt x="404" y="1511"/>
                  </a:lnTo>
                  <a:lnTo>
                    <a:pt x="402" y="1510"/>
                  </a:lnTo>
                  <a:lnTo>
                    <a:pt x="404" y="1510"/>
                  </a:lnTo>
                  <a:lnTo>
                    <a:pt x="405" y="1510"/>
                  </a:lnTo>
                  <a:lnTo>
                    <a:pt x="405" y="1511"/>
                  </a:lnTo>
                  <a:lnTo>
                    <a:pt x="407" y="1511"/>
                  </a:lnTo>
                  <a:lnTo>
                    <a:pt x="407" y="1513"/>
                  </a:lnTo>
                  <a:lnTo>
                    <a:pt x="407" y="1515"/>
                  </a:lnTo>
                  <a:lnTo>
                    <a:pt x="409" y="1516"/>
                  </a:lnTo>
                  <a:lnTo>
                    <a:pt x="410" y="1516"/>
                  </a:lnTo>
                  <a:lnTo>
                    <a:pt x="409" y="1516"/>
                  </a:lnTo>
                  <a:lnTo>
                    <a:pt x="410" y="1515"/>
                  </a:lnTo>
                  <a:lnTo>
                    <a:pt x="412" y="1515"/>
                  </a:lnTo>
                  <a:lnTo>
                    <a:pt x="410" y="1515"/>
                  </a:lnTo>
                  <a:lnTo>
                    <a:pt x="410" y="1513"/>
                  </a:lnTo>
                  <a:lnTo>
                    <a:pt x="410" y="1511"/>
                  </a:lnTo>
                  <a:lnTo>
                    <a:pt x="410" y="1510"/>
                  </a:lnTo>
                  <a:lnTo>
                    <a:pt x="412" y="1510"/>
                  </a:lnTo>
                  <a:lnTo>
                    <a:pt x="410" y="1510"/>
                  </a:lnTo>
                  <a:lnTo>
                    <a:pt x="410" y="1508"/>
                  </a:lnTo>
                  <a:lnTo>
                    <a:pt x="412" y="1508"/>
                  </a:lnTo>
                  <a:lnTo>
                    <a:pt x="413" y="1510"/>
                  </a:lnTo>
                  <a:lnTo>
                    <a:pt x="415" y="1510"/>
                  </a:lnTo>
                  <a:lnTo>
                    <a:pt x="415" y="1511"/>
                  </a:lnTo>
                  <a:lnTo>
                    <a:pt x="417" y="1511"/>
                  </a:lnTo>
                  <a:lnTo>
                    <a:pt x="417" y="1510"/>
                  </a:lnTo>
                  <a:lnTo>
                    <a:pt x="417" y="1511"/>
                  </a:lnTo>
                  <a:lnTo>
                    <a:pt x="417" y="1510"/>
                  </a:lnTo>
                  <a:lnTo>
                    <a:pt x="417" y="1511"/>
                  </a:lnTo>
                  <a:lnTo>
                    <a:pt x="418" y="1511"/>
                  </a:lnTo>
                  <a:lnTo>
                    <a:pt x="420" y="1511"/>
                  </a:lnTo>
                  <a:lnTo>
                    <a:pt x="420" y="1510"/>
                  </a:lnTo>
                  <a:lnTo>
                    <a:pt x="420" y="1511"/>
                  </a:lnTo>
                  <a:lnTo>
                    <a:pt x="420" y="1510"/>
                  </a:lnTo>
                  <a:lnTo>
                    <a:pt x="418" y="1510"/>
                  </a:lnTo>
                  <a:lnTo>
                    <a:pt x="420" y="1510"/>
                  </a:lnTo>
                  <a:lnTo>
                    <a:pt x="418" y="1508"/>
                  </a:lnTo>
                  <a:lnTo>
                    <a:pt x="420" y="1508"/>
                  </a:lnTo>
                  <a:lnTo>
                    <a:pt x="422" y="1510"/>
                  </a:lnTo>
                  <a:lnTo>
                    <a:pt x="423" y="1510"/>
                  </a:lnTo>
                  <a:lnTo>
                    <a:pt x="425" y="1510"/>
                  </a:lnTo>
                  <a:lnTo>
                    <a:pt x="426" y="1510"/>
                  </a:lnTo>
                  <a:lnTo>
                    <a:pt x="428" y="1510"/>
                  </a:lnTo>
                  <a:lnTo>
                    <a:pt x="428" y="1511"/>
                  </a:lnTo>
                  <a:lnTo>
                    <a:pt x="430" y="1511"/>
                  </a:lnTo>
                  <a:lnTo>
                    <a:pt x="430" y="1513"/>
                  </a:lnTo>
                  <a:lnTo>
                    <a:pt x="430" y="1511"/>
                  </a:lnTo>
                  <a:lnTo>
                    <a:pt x="431" y="1513"/>
                  </a:lnTo>
                  <a:lnTo>
                    <a:pt x="431" y="1511"/>
                  </a:lnTo>
                  <a:lnTo>
                    <a:pt x="433" y="1513"/>
                  </a:lnTo>
                  <a:lnTo>
                    <a:pt x="436" y="1515"/>
                  </a:lnTo>
                  <a:lnTo>
                    <a:pt x="435" y="1515"/>
                  </a:lnTo>
                  <a:lnTo>
                    <a:pt x="435" y="1513"/>
                  </a:lnTo>
                  <a:lnTo>
                    <a:pt x="433" y="1513"/>
                  </a:lnTo>
                  <a:lnTo>
                    <a:pt x="433" y="1511"/>
                  </a:lnTo>
                  <a:lnTo>
                    <a:pt x="431" y="1511"/>
                  </a:lnTo>
                  <a:lnTo>
                    <a:pt x="433" y="1511"/>
                  </a:lnTo>
                  <a:lnTo>
                    <a:pt x="435" y="1511"/>
                  </a:lnTo>
                  <a:lnTo>
                    <a:pt x="436" y="1511"/>
                  </a:lnTo>
                  <a:lnTo>
                    <a:pt x="438" y="1511"/>
                  </a:lnTo>
                  <a:lnTo>
                    <a:pt x="438" y="1513"/>
                  </a:lnTo>
                  <a:lnTo>
                    <a:pt x="436" y="1513"/>
                  </a:lnTo>
                  <a:lnTo>
                    <a:pt x="438" y="1515"/>
                  </a:lnTo>
                  <a:lnTo>
                    <a:pt x="438" y="1513"/>
                  </a:lnTo>
                  <a:lnTo>
                    <a:pt x="438" y="1515"/>
                  </a:lnTo>
                  <a:lnTo>
                    <a:pt x="436" y="1515"/>
                  </a:lnTo>
                  <a:lnTo>
                    <a:pt x="436" y="1516"/>
                  </a:lnTo>
                  <a:lnTo>
                    <a:pt x="438" y="1516"/>
                  </a:lnTo>
                  <a:lnTo>
                    <a:pt x="438" y="1518"/>
                  </a:lnTo>
                  <a:lnTo>
                    <a:pt x="440" y="1518"/>
                  </a:lnTo>
                  <a:lnTo>
                    <a:pt x="441" y="1518"/>
                  </a:lnTo>
                  <a:lnTo>
                    <a:pt x="443" y="1518"/>
                  </a:lnTo>
                  <a:lnTo>
                    <a:pt x="443" y="1520"/>
                  </a:lnTo>
                  <a:lnTo>
                    <a:pt x="443" y="1521"/>
                  </a:lnTo>
                  <a:lnTo>
                    <a:pt x="444" y="1521"/>
                  </a:lnTo>
                  <a:lnTo>
                    <a:pt x="443" y="1521"/>
                  </a:lnTo>
                  <a:lnTo>
                    <a:pt x="444" y="1521"/>
                  </a:lnTo>
                  <a:lnTo>
                    <a:pt x="444" y="1523"/>
                  </a:lnTo>
                  <a:lnTo>
                    <a:pt x="446" y="1523"/>
                  </a:lnTo>
                  <a:lnTo>
                    <a:pt x="444" y="1523"/>
                  </a:lnTo>
                  <a:lnTo>
                    <a:pt x="446" y="1523"/>
                  </a:lnTo>
                  <a:lnTo>
                    <a:pt x="446" y="1524"/>
                  </a:lnTo>
                  <a:lnTo>
                    <a:pt x="448" y="1524"/>
                  </a:lnTo>
                  <a:lnTo>
                    <a:pt x="449" y="1526"/>
                  </a:lnTo>
                  <a:lnTo>
                    <a:pt x="448" y="1526"/>
                  </a:lnTo>
                  <a:lnTo>
                    <a:pt x="449" y="1526"/>
                  </a:lnTo>
                  <a:lnTo>
                    <a:pt x="451" y="1526"/>
                  </a:lnTo>
                  <a:lnTo>
                    <a:pt x="451" y="1528"/>
                  </a:lnTo>
                  <a:lnTo>
                    <a:pt x="451" y="1529"/>
                  </a:lnTo>
                  <a:lnTo>
                    <a:pt x="449" y="1529"/>
                  </a:lnTo>
                  <a:lnTo>
                    <a:pt x="448" y="1529"/>
                  </a:lnTo>
                  <a:lnTo>
                    <a:pt x="446" y="1529"/>
                  </a:lnTo>
                  <a:lnTo>
                    <a:pt x="444" y="1529"/>
                  </a:lnTo>
                  <a:lnTo>
                    <a:pt x="446" y="1531"/>
                  </a:lnTo>
                  <a:lnTo>
                    <a:pt x="444" y="1531"/>
                  </a:lnTo>
                  <a:lnTo>
                    <a:pt x="444" y="1533"/>
                  </a:lnTo>
                  <a:lnTo>
                    <a:pt x="444" y="1534"/>
                  </a:lnTo>
                  <a:lnTo>
                    <a:pt x="443" y="1534"/>
                  </a:lnTo>
                  <a:lnTo>
                    <a:pt x="441" y="1534"/>
                  </a:lnTo>
                  <a:lnTo>
                    <a:pt x="440" y="1534"/>
                  </a:lnTo>
                  <a:lnTo>
                    <a:pt x="438" y="1534"/>
                  </a:lnTo>
                  <a:lnTo>
                    <a:pt x="438" y="1536"/>
                  </a:lnTo>
                  <a:lnTo>
                    <a:pt x="438" y="1537"/>
                  </a:lnTo>
                  <a:lnTo>
                    <a:pt x="436" y="1537"/>
                  </a:lnTo>
                  <a:lnTo>
                    <a:pt x="436" y="1536"/>
                  </a:lnTo>
                  <a:lnTo>
                    <a:pt x="435" y="1537"/>
                  </a:lnTo>
                  <a:lnTo>
                    <a:pt x="433" y="1537"/>
                  </a:lnTo>
                  <a:lnTo>
                    <a:pt x="433" y="1536"/>
                  </a:lnTo>
                  <a:lnTo>
                    <a:pt x="431" y="1536"/>
                  </a:lnTo>
                  <a:lnTo>
                    <a:pt x="430" y="1536"/>
                  </a:lnTo>
                  <a:lnTo>
                    <a:pt x="428" y="1536"/>
                  </a:lnTo>
                  <a:lnTo>
                    <a:pt x="428" y="1534"/>
                  </a:lnTo>
                  <a:lnTo>
                    <a:pt x="426" y="1536"/>
                  </a:lnTo>
                  <a:lnTo>
                    <a:pt x="425" y="1536"/>
                  </a:lnTo>
                  <a:lnTo>
                    <a:pt x="423" y="1534"/>
                  </a:lnTo>
                  <a:lnTo>
                    <a:pt x="422" y="1534"/>
                  </a:lnTo>
                  <a:lnTo>
                    <a:pt x="422" y="1533"/>
                  </a:lnTo>
                  <a:lnTo>
                    <a:pt x="420" y="1533"/>
                  </a:lnTo>
                  <a:lnTo>
                    <a:pt x="418" y="1533"/>
                  </a:lnTo>
                  <a:lnTo>
                    <a:pt x="418" y="1531"/>
                  </a:lnTo>
                  <a:lnTo>
                    <a:pt x="417" y="1531"/>
                  </a:lnTo>
                  <a:lnTo>
                    <a:pt x="415" y="1531"/>
                  </a:lnTo>
                  <a:lnTo>
                    <a:pt x="417" y="1531"/>
                  </a:lnTo>
                  <a:lnTo>
                    <a:pt x="417" y="1533"/>
                  </a:lnTo>
                  <a:lnTo>
                    <a:pt x="415" y="1531"/>
                  </a:lnTo>
                  <a:lnTo>
                    <a:pt x="415" y="1533"/>
                  </a:lnTo>
                  <a:lnTo>
                    <a:pt x="413" y="1531"/>
                  </a:lnTo>
                  <a:lnTo>
                    <a:pt x="412" y="1531"/>
                  </a:lnTo>
                  <a:lnTo>
                    <a:pt x="412" y="1533"/>
                  </a:lnTo>
                  <a:lnTo>
                    <a:pt x="413" y="1533"/>
                  </a:lnTo>
                  <a:lnTo>
                    <a:pt x="413" y="1531"/>
                  </a:lnTo>
                  <a:lnTo>
                    <a:pt x="413" y="1533"/>
                  </a:lnTo>
                  <a:lnTo>
                    <a:pt x="415" y="1533"/>
                  </a:lnTo>
                  <a:lnTo>
                    <a:pt x="417" y="1533"/>
                  </a:lnTo>
                  <a:lnTo>
                    <a:pt x="418" y="1534"/>
                  </a:lnTo>
                  <a:lnTo>
                    <a:pt x="420" y="1536"/>
                  </a:lnTo>
                  <a:lnTo>
                    <a:pt x="422" y="1536"/>
                  </a:lnTo>
                  <a:lnTo>
                    <a:pt x="423" y="1536"/>
                  </a:lnTo>
                  <a:lnTo>
                    <a:pt x="423" y="1537"/>
                  </a:lnTo>
                  <a:lnTo>
                    <a:pt x="425" y="1537"/>
                  </a:lnTo>
                  <a:lnTo>
                    <a:pt x="425" y="1536"/>
                  </a:lnTo>
                  <a:lnTo>
                    <a:pt x="426" y="1536"/>
                  </a:lnTo>
                  <a:lnTo>
                    <a:pt x="426" y="1537"/>
                  </a:lnTo>
                  <a:lnTo>
                    <a:pt x="428" y="1539"/>
                  </a:lnTo>
                  <a:lnTo>
                    <a:pt x="430" y="1539"/>
                  </a:lnTo>
                  <a:lnTo>
                    <a:pt x="431" y="1541"/>
                  </a:lnTo>
                  <a:lnTo>
                    <a:pt x="433" y="1541"/>
                  </a:lnTo>
                  <a:lnTo>
                    <a:pt x="435" y="1541"/>
                  </a:lnTo>
                  <a:lnTo>
                    <a:pt x="435" y="1542"/>
                  </a:lnTo>
                  <a:lnTo>
                    <a:pt x="435" y="1544"/>
                  </a:lnTo>
                  <a:lnTo>
                    <a:pt x="435" y="1542"/>
                  </a:lnTo>
                  <a:lnTo>
                    <a:pt x="436" y="1542"/>
                  </a:lnTo>
                  <a:lnTo>
                    <a:pt x="435" y="1544"/>
                  </a:lnTo>
                  <a:lnTo>
                    <a:pt x="436" y="1544"/>
                  </a:lnTo>
                  <a:lnTo>
                    <a:pt x="435" y="1544"/>
                  </a:lnTo>
                  <a:lnTo>
                    <a:pt x="435" y="1546"/>
                  </a:lnTo>
                  <a:lnTo>
                    <a:pt x="435" y="1547"/>
                  </a:lnTo>
                  <a:lnTo>
                    <a:pt x="436" y="1546"/>
                  </a:lnTo>
                  <a:lnTo>
                    <a:pt x="436" y="1547"/>
                  </a:lnTo>
                  <a:lnTo>
                    <a:pt x="438" y="1547"/>
                  </a:lnTo>
                  <a:lnTo>
                    <a:pt x="438" y="1546"/>
                  </a:lnTo>
                  <a:lnTo>
                    <a:pt x="436" y="1546"/>
                  </a:lnTo>
                  <a:lnTo>
                    <a:pt x="438" y="1546"/>
                  </a:lnTo>
                  <a:lnTo>
                    <a:pt x="438" y="1544"/>
                  </a:lnTo>
                  <a:lnTo>
                    <a:pt x="440" y="1544"/>
                  </a:lnTo>
                  <a:lnTo>
                    <a:pt x="440" y="1546"/>
                  </a:lnTo>
                  <a:lnTo>
                    <a:pt x="440" y="1544"/>
                  </a:lnTo>
                  <a:lnTo>
                    <a:pt x="440" y="1542"/>
                  </a:lnTo>
                  <a:lnTo>
                    <a:pt x="440" y="1544"/>
                  </a:lnTo>
                  <a:lnTo>
                    <a:pt x="440" y="1546"/>
                  </a:lnTo>
                  <a:lnTo>
                    <a:pt x="441" y="1546"/>
                  </a:lnTo>
                  <a:lnTo>
                    <a:pt x="441" y="1547"/>
                  </a:lnTo>
                  <a:lnTo>
                    <a:pt x="441" y="1549"/>
                  </a:lnTo>
                  <a:lnTo>
                    <a:pt x="443" y="1549"/>
                  </a:lnTo>
                  <a:lnTo>
                    <a:pt x="441" y="1550"/>
                  </a:lnTo>
                  <a:lnTo>
                    <a:pt x="440" y="1549"/>
                  </a:lnTo>
                  <a:lnTo>
                    <a:pt x="441" y="1549"/>
                  </a:lnTo>
                  <a:lnTo>
                    <a:pt x="441" y="1550"/>
                  </a:lnTo>
                  <a:lnTo>
                    <a:pt x="440" y="1550"/>
                  </a:lnTo>
                  <a:lnTo>
                    <a:pt x="438" y="1550"/>
                  </a:lnTo>
                  <a:lnTo>
                    <a:pt x="438" y="1549"/>
                  </a:lnTo>
                  <a:lnTo>
                    <a:pt x="436" y="1549"/>
                  </a:lnTo>
                  <a:lnTo>
                    <a:pt x="438" y="1549"/>
                  </a:lnTo>
                  <a:lnTo>
                    <a:pt x="436" y="1550"/>
                  </a:lnTo>
                  <a:lnTo>
                    <a:pt x="438" y="1550"/>
                  </a:lnTo>
                  <a:lnTo>
                    <a:pt x="436" y="1550"/>
                  </a:lnTo>
                  <a:lnTo>
                    <a:pt x="435" y="1550"/>
                  </a:lnTo>
                  <a:lnTo>
                    <a:pt x="435" y="1549"/>
                  </a:lnTo>
                  <a:lnTo>
                    <a:pt x="435" y="1550"/>
                  </a:lnTo>
                  <a:lnTo>
                    <a:pt x="433" y="1550"/>
                  </a:lnTo>
                  <a:lnTo>
                    <a:pt x="431" y="1550"/>
                  </a:lnTo>
                  <a:lnTo>
                    <a:pt x="431" y="1549"/>
                  </a:lnTo>
                  <a:lnTo>
                    <a:pt x="430" y="1549"/>
                  </a:lnTo>
                  <a:lnTo>
                    <a:pt x="430" y="1547"/>
                  </a:lnTo>
                  <a:lnTo>
                    <a:pt x="430" y="1549"/>
                  </a:lnTo>
                  <a:lnTo>
                    <a:pt x="431" y="1550"/>
                  </a:lnTo>
                  <a:lnTo>
                    <a:pt x="433" y="1550"/>
                  </a:lnTo>
                  <a:lnTo>
                    <a:pt x="436" y="1552"/>
                  </a:lnTo>
                  <a:lnTo>
                    <a:pt x="438" y="1552"/>
                  </a:lnTo>
                  <a:lnTo>
                    <a:pt x="438" y="1554"/>
                  </a:lnTo>
                  <a:lnTo>
                    <a:pt x="438" y="1552"/>
                  </a:lnTo>
                  <a:lnTo>
                    <a:pt x="440" y="1554"/>
                  </a:lnTo>
                  <a:lnTo>
                    <a:pt x="440" y="1552"/>
                  </a:lnTo>
                  <a:lnTo>
                    <a:pt x="441" y="1552"/>
                  </a:lnTo>
                  <a:lnTo>
                    <a:pt x="443" y="1552"/>
                  </a:lnTo>
                  <a:lnTo>
                    <a:pt x="444" y="1552"/>
                  </a:lnTo>
                  <a:lnTo>
                    <a:pt x="446" y="1552"/>
                  </a:lnTo>
                  <a:lnTo>
                    <a:pt x="448" y="1554"/>
                  </a:lnTo>
                  <a:lnTo>
                    <a:pt x="449" y="1554"/>
                  </a:lnTo>
                  <a:lnTo>
                    <a:pt x="449" y="1555"/>
                  </a:lnTo>
                  <a:lnTo>
                    <a:pt x="449" y="1557"/>
                  </a:lnTo>
                  <a:lnTo>
                    <a:pt x="449" y="1559"/>
                  </a:lnTo>
                  <a:lnTo>
                    <a:pt x="448" y="1559"/>
                  </a:lnTo>
                  <a:lnTo>
                    <a:pt x="446" y="1560"/>
                  </a:lnTo>
                  <a:lnTo>
                    <a:pt x="446" y="1559"/>
                  </a:lnTo>
                  <a:lnTo>
                    <a:pt x="446" y="1560"/>
                  </a:lnTo>
                  <a:lnTo>
                    <a:pt x="444" y="1560"/>
                  </a:lnTo>
                  <a:lnTo>
                    <a:pt x="446" y="1559"/>
                  </a:lnTo>
                  <a:lnTo>
                    <a:pt x="448" y="1559"/>
                  </a:lnTo>
                  <a:lnTo>
                    <a:pt x="446" y="1559"/>
                  </a:lnTo>
                  <a:lnTo>
                    <a:pt x="444" y="1559"/>
                  </a:lnTo>
                  <a:lnTo>
                    <a:pt x="444" y="1557"/>
                  </a:lnTo>
                  <a:lnTo>
                    <a:pt x="446" y="1559"/>
                  </a:lnTo>
                  <a:lnTo>
                    <a:pt x="446" y="1557"/>
                  </a:lnTo>
                  <a:lnTo>
                    <a:pt x="446" y="1555"/>
                  </a:lnTo>
                  <a:lnTo>
                    <a:pt x="444" y="1557"/>
                  </a:lnTo>
                  <a:lnTo>
                    <a:pt x="444" y="1555"/>
                  </a:lnTo>
                  <a:lnTo>
                    <a:pt x="443" y="1555"/>
                  </a:lnTo>
                  <a:lnTo>
                    <a:pt x="441" y="1555"/>
                  </a:lnTo>
                  <a:lnTo>
                    <a:pt x="441" y="1557"/>
                  </a:lnTo>
                  <a:lnTo>
                    <a:pt x="443" y="1555"/>
                  </a:lnTo>
                  <a:lnTo>
                    <a:pt x="443" y="1557"/>
                  </a:lnTo>
                  <a:lnTo>
                    <a:pt x="444" y="1557"/>
                  </a:lnTo>
                  <a:lnTo>
                    <a:pt x="446" y="1557"/>
                  </a:lnTo>
                  <a:lnTo>
                    <a:pt x="444" y="1557"/>
                  </a:lnTo>
                  <a:lnTo>
                    <a:pt x="444" y="1559"/>
                  </a:lnTo>
                  <a:lnTo>
                    <a:pt x="443" y="1559"/>
                  </a:lnTo>
                  <a:lnTo>
                    <a:pt x="441" y="1559"/>
                  </a:lnTo>
                  <a:lnTo>
                    <a:pt x="441" y="1557"/>
                  </a:lnTo>
                  <a:lnTo>
                    <a:pt x="440" y="1557"/>
                  </a:lnTo>
                  <a:lnTo>
                    <a:pt x="441" y="1557"/>
                  </a:lnTo>
                  <a:lnTo>
                    <a:pt x="441" y="1559"/>
                  </a:lnTo>
                  <a:lnTo>
                    <a:pt x="440" y="1559"/>
                  </a:lnTo>
                  <a:lnTo>
                    <a:pt x="438" y="1559"/>
                  </a:lnTo>
                  <a:lnTo>
                    <a:pt x="440" y="1560"/>
                  </a:lnTo>
                  <a:lnTo>
                    <a:pt x="438" y="1560"/>
                  </a:lnTo>
                  <a:lnTo>
                    <a:pt x="436" y="1560"/>
                  </a:lnTo>
                  <a:lnTo>
                    <a:pt x="436" y="1559"/>
                  </a:lnTo>
                  <a:lnTo>
                    <a:pt x="436" y="1560"/>
                  </a:lnTo>
                  <a:lnTo>
                    <a:pt x="435" y="1560"/>
                  </a:lnTo>
                  <a:lnTo>
                    <a:pt x="436" y="1560"/>
                  </a:lnTo>
                  <a:lnTo>
                    <a:pt x="438" y="1562"/>
                  </a:lnTo>
                  <a:lnTo>
                    <a:pt x="440" y="1562"/>
                  </a:lnTo>
                  <a:lnTo>
                    <a:pt x="440" y="1563"/>
                  </a:lnTo>
                  <a:lnTo>
                    <a:pt x="440" y="1562"/>
                  </a:lnTo>
                  <a:lnTo>
                    <a:pt x="440" y="1563"/>
                  </a:lnTo>
                  <a:lnTo>
                    <a:pt x="441" y="1563"/>
                  </a:lnTo>
                  <a:lnTo>
                    <a:pt x="441" y="1562"/>
                  </a:lnTo>
                  <a:lnTo>
                    <a:pt x="441" y="1563"/>
                  </a:lnTo>
                  <a:lnTo>
                    <a:pt x="443" y="1563"/>
                  </a:lnTo>
                  <a:lnTo>
                    <a:pt x="444" y="1563"/>
                  </a:lnTo>
                  <a:lnTo>
                    <a:pt x="444" y="1565"/>
                  </a:lnTo>
                  <a:lnTo>
                    <a:pt x="443" y="1565"/>
                  </a:lnTo>
                  <a:lnTo>
                    <a:pt x="444" y="1565"/>
                  </a:lnTo>
                  <a:lnTo>
                    <a:pt x="443" y="1567"/>
                  </a:lnTo>
                  <a:lnTo>
                    <a:pt x="444" y="1567"/>
                  </a:lnTo>
                  <a:lnTo>
                    <a:pt x="446" y="1565"/>
                  </a:lnTo>
                  <a:lnTo>
                    <a:pt x="446" y="1567"/>
                  </a:lnTo>
                  <a:lnTo>
                    <a:pt x="444" y="1567"/>
                  </a:lnTo>
                  <a:lnTo>
                    <a:pt x="444" y="1568"/>
                  </a:lnTo>
                  <a:lnTo>
                    <a:pt x="446" y="1568"/>
                  </a:lnTo>
                  <a:lnTo>
                    <a:pt x="444" y="1568"/>
                  </a:lnTo>
                  <a:lnTo>
                    <a:pt x="446" y="1568"/>
                  </a:lnTo>
                  <a:lnTo>
                    <a:pt x="444" y="1568"/>
                  </a:lnTo>
                  <a:lnTo>
                    <a:pt x="444" y="1570"/>
                  </a:lnTo>
                  <a:lnTo>
                    <a:pt x="446" y="1568"/>
                  </a:lnTo>
                  <a:lnTo>
                    <a:pt x="448" y="1568"/>
                  </a:lnTo>
                  <a:lnTo>
                    <a:pt x="448" y="1570"/>
                  </a:lnTo>
                  <a:lnTo>
                    <a:pt x="448" y="1568"/>
                  </a:lnTo>
                  <a:lnTo>
                    <a:pt x="448" y="1570"/>
                  </a:lnTo>
                  <a:lnTo>
                    <a:pt x="448" y="1572"/>
                  </a:lnTo>
                  <a:lnTo>
                    <a:pt x="449" y="1572"/>
                  </a:lnTo>
                  <a:lnTo>
                    <a:pt x="448" y="1573"/>
                  </a:lnTo>
                  <a:lnTo>
                    <a:pt x="446" y="1573"/>
                  </a:lnTo>
                  <a:lnTo>
                    <a:pt x="448" y="1573"/>
                  </a:lnTo>
                  <a:lnTo>
                    <a:pt x="446" y="1573"/>
                  </a:lnTo>
                  <a:lnTo>
                    <a:pt x="444" y="1573"/>
                  </a:lnTo>
                  <a:lnTo>
                    <a:pt x="444" y="1575"/>
                  </a:lnTo>
                  <a:lnTo>
                    <a:pt x="446" y="1575"/>
                  </a:lnTo>
                  <a:lnTo>
                    <a:pt x="446" y="1576"/>
                  </a:lnTo>
                  <a:lnTo>
                    <a:pt x="448" y="1578"/>
                  </a:lnTo>
                  <a:lnTo>
                    <a:pt x="448" y="1580"/>
                  </a:lnTo>
                  <a:lnTo>
                    <a:pt x="448" y="1578"/>
                  </a:lnTo>
                  <a:lnTo>
                    <a:pt x="446" y="1578"/>
                  </a:lnTo>
                  <a:lnTo>
                    <a:pt x="446" y="1580"/>
                  </a:lnTo>
                  <a:lnTo>
                    <a:pt x="446" y="1578"/>
                  </a:lnTo>
                  <a:lnTo>
                    <a:pt x="444" y="1580"/>
                  </a:lnTo>
                  <a:lnTo>
                    <a:pt x="446" y="1580"/>
                  </a:lnTo>
                  <a:lnTo>
                    <a:pt x="444" y="1580"/>
                  </a:lnTo>
                  <a:lnTo>
                    <a:pt x="444" y="1581"/>
                  </a:lnTo>
                  <a:lnTo>
                    <a:pt x="443" y="1580"/>
                  </a:lnTo>
                  <a:lnTo>
                    <a:pt x="443" y="1581"/>
                  </a:lnTo>
                  <a:lnTo>
                    <a:pt x="444" y="1581"/>
                  </a:lnTo>
                  <a:lnTo>
                    <a:pt x="443" y="1581"/>
                  </a:lnTo>
                  <a:lnTo>
                    <a:pt x="443" y="1583"/>
                  </a:lnTo>
                  <a:lnTo>
                    <a:pt x="443" y="1581"/>
                  </a:lnTo>
                  <a:lnTo>
                    <a:pt x="441" y="1581"/>
                  </a:lnTo>
                  <a:lnTo>
                    <a:pt x="441" y="1580"/>
                  </a:lnTo>
                  <a:lnTo>
                    <a:pt x="440" y="1580"/>
                  </a:lnTo>
                  <a:lnTo>
                    <a:pt x="441" y="1578"/>
                  </a:lnTo>
                  <a:lnTo>
                    <a:pt x="440" y="1580"/>
                  </a:lnTo>
                  <a:lnTo>
                    <a:pt x="440" y="1578"/>
                  </a:lnTo>
                  <a:lnTo>
                    <a:pt x="438" y="1576"/>
                  </a:lnTo>
                  <a:lnTo>
                    <a:pt x="436" y="1576"/>
                  </a:lnTo>
                  <a:lnTo>
                    <a:pt x="436" y="1575"/>
                  </a:lnTo>
                  <a:lnTo>
                    <a:pt x="435" y="1575"/>
                  </a:lnTo>
                  <a:lnTo>
                    <a:pt x="435" y="1573"/>
                  </a:lnTo>
                  <a:lnTo>
                    <a:pt x="433" y="1573"/>
                  </a:lnTo>
                  <a:lnTo>
                    <a:pt x="433" y="1572"/>
                  </a:lnTo>
                  <a:lnTo>
                    <a:pt x="433" y="1573"/>
                  </a:lnTo>
                  <a:lnTo>
                    <a:pt x="431" y="1572"/>
                  </a:lnTo>
                  <a:lnTo>
                    <a:pt x="430" y="1570"/>
                  </a:lnTo>
                  <a:lnTo>
                    <a:pt x="431" y="1572"/>
                  </a:lnTo>
                  <a:lnTo>
                    <a:pt x="431" y="1573"/>
                  </a:lnTo>
                  <a:lnTo>
                    <a:pt x="433" y="1573"/>
                  </a:lnTo>
                  <a:lnTo>
                    <a:pt x="435" y="1575"/>
                  </a:lnTo>
                  <a:lnTo>
                    <a:pt x="436" y="1576"/>
                  </a:lnTo>
                  <a:lnTo>
                    <a:pt x="440" y="1580"/>
                  </a:lnTo>
                  <a:lnTo>
                    <a:pt x="438" y="1580"/>
                  </a:lnTo>
                  <a:lnTo>
                    <a:pt x="438" y="1578"/>
                  </a:lnTo>
                  <a:lnTo>
                    <a:pt x="438" y="1580"/>
                  </a:lnTo>
                  <a:lnTo>
                    <a:pt x="436" y="1580"/>
                  </a:lnTo>
                  <a:lnTo>
                    <a:pt x="436" y="1578"/>
                  </a:lnTo>
                  <a:lnTo>
                    <a:pt x="435" y="1578"/>
                  </a:lnTo>
                  <a:lnTo>
                    <a:pt x="435" y="1576"/>
                  </a:lnTo>
                  <a:lnTo>
                    <a:pt x="435" y="1578"/>
                  </a:lnTo>
                  <a:lnTo>
                    <a:pt x="436" y="1580"/>
                  </a:lnTo>
                  <a:lnTo>
                    <a:pt x="438" y="1580"/>
                  </a:lnTo>
                  <a:lnTo>
                    <a:pt x="438" y="1581"/>
                  </a:lnTo>
                  <a:lnTo>
                    <a:pt x="440" y="1581"/>
                  </a:lnTo>
                  <a:lnTo>
                    <a:pt x="438" y="1580"/>
                  </a:lnTo>
                  <a:lnTo>
                    <a:pt x="440" y="1580"/>
                  </a:lnTo>
                  <a:lnTo>
                    <a:pt x="440" y="1581"/>
                  </a:lnTo>
                  <a:lnTo>
                    <a:pt x="441" y="1583"/>
                  </a:lnTo>
                  <a:lnTo>
                    <a:pt x="440" y="1583"/>
                  </a:lnTo>
                  <a:lnTo>
                    <a:pt x="441" y="1583"/>
                  </a:lnTo>
                  <a:lnTo>
                    <a:pt x="443" y="1583"/>
                  </a:lnTo>
                  <a:lnTo>
                    <a:pt x="443" y="1585"/>
                  </a:lnTo>
                  <a:lnTo>
                    <a:pt x="441" y="1585"/>
                  </a:lnTo>
                  <a:lnTo>
                    <a:pt x="441" y="1583"/>
                  </a:lnTo>
                  <a:lnTo>
                    <a:pt x="441" y="1585"/>
                  </a:lnTo>
                  <a:lnTo>
                    <a:pt x="443" y="1585"/>
                  </a:lnTo>
                  <a:lnTo>
                    <a:pt x="443" y="1586"/>
                  </a:lnTo>
                  <a:lnTo>
                    <a:pt x="444" y="1586"/>
                  </a:lnTo>
                  <a:lnTo>
                    <a:pt x="446" y="1586"/>
                  </a:lnTo>
                  <a:lnTo>
                    <a:pt x="446" y="1588"/>
                  </a:lnTo>
                  <a:lnTo>
                    <a:pt x="448" y="1588"/>
                  </a:lnTo>
                  <a:lnTo>
                    <a:pt x="448" y="1590"/>
                  </a:lnTo>
                  <a:lnTo>
                    <a:pt x="446" y="1590"/>
                  </a:lnTo>
                  <a:lnTo>
                    <a:pt x="446" y="1588"/>
                  </a:lnTo>
                  <a:lnTo>
                    <a:pt x="446" y="1590"/>
                  </a:lnTo>
                  <a:lnTo>
                    <a:pt x="446" y="1591"/>
                  </a:lnTo>
                  <a:lnTo>
                    <a:pt x="444" y="1591"/>
                  </a:lnTo>
                  <a:lnTo>
                    <a:pt x="444" y="1590"/>
                  </a:lnTo>
                  <a:lnTo>
                    <a:pt x="443" y="1590"/>
                  </a:lnTo>
                  <a:lnTo>
                    <a:pt x="444" y="1590"/>
                  </a:lnTo>
                  <a:lnTo>
                    <a:pt x="443" y="1588"/>
                  </a:lnTo>
                  <a:lnTo>
                    <a:pt x="444" y="1588"/>
                  </a:lnTo>
                  <a:lnTo>
                    <a:pt x="443" y="1588"/>
                  </a:lnTo>
                  <a:lnTo>
                    <a:pt x="441" y="1588"/>
                  </a:lnTo>
                  <a:lnTo>
                    <a:pt x="441" y="1590"/>
                  </a:lnTo>
                  <a:lnTo>
                    <a:pt x="443" y="1590"/>
                  </a:lnTo>
                  <a:lnTo>
                    <a:pt x="443" y="1591"/>
                  </a:lnTo>
                  <a:lnTo>
                    <a:pt x="441" y="1591"/>
                  </a:lnTo>
                  <a:lnTo>
                    <a:pt x="440" y="1591"/>
                  </a:lnTo>
                  <a:lnTo>
                    <a:pt x="438" y="1591"/>
                  </a:lnTo>
                  <a:lnTo>
                    <a:pt x="440" y="1591"/>
                  </a:lnTo>
                  <a:lnTo>
                    <a:pt x="441" y="1591"/>
                  </a:lnTo>
                  <a:lnTo>
                    <a:pt x="443" y="1591"/>
                  </a:lnTo>
                  <a:lnTo>
                    <a:pt x="443" y="1593"/>
                  </a:lnTo>
                  <a:lnTo>
                    <a:pt x="444" y="1593"/>
                  </a:lnTo>
                  <a:lnTo>
                    <a:pt x="444" y="1594"/>
                  </a:lnTo>
                  <a:lnTo>
                    <a:pt x="444" y="1596"/>
                  </a:lnTo>
                  <a:lnTo>
                    <a:pt x="446" y="1596"/>
                  </a:lnTo>
                  <a:lnTo>
                    <a:pt x="444" y="1596"/>
                  </a:lnTo>
                  <a:lnTo>
                    <a:pt x="446" y="1594"/>
                  </a:lnTo>
                  <a:lnTo>
                    <a:pt x="446" y="1596"/>
                  </a:lnTo>
                  <a:lnTo>
                    <a:pt x="448" y="1596"/>
                  </a:lnTo>
                  <a:lnTo>
                    <a:pt x="448" y="1598"/>
                  </a:lnTo>
                  <a:lnTo>
                    <a:pt x="446" y="1598"/>
                  </a:lnTo>
                  <a:lnTo>
                    <a:pt x="446" y="1596"/>
                  </a:lnTo>
                  <a:lnTo>
                    <a:pt x="446" y="1598"/>
                  </a:lnTo>
                  <a:lnTo>
                    <a:pt x="444" y="1596"/>
                  </a:lnTo>
                  <a:lnTo>
                    <a:pt x="443" y="1596"/>
                  </a:lnTo>
                  <a:lnTo>
                    <a:pt x="443" y="1594"/>
                  </a:lnTo>
                  <a:lnTo>
                    <a:pt x="443" y="1596"/>
                  </a:lnTo>
                  <a:lnTo>
                    <a:pt x="441" y="1596"/>
                  </a:lnTo>
                  <a:lnTo>
                    <a:pt x="440" y="1596"/>
                  </a:lnTo>
                  <a:lnTo>
                    <a:pt x="440" y="1594"/>
                  </a:lnTo>
                  <a:lnTo>
                    <a:pt x="440" y="1596"/>
                  </a:lnTo>
                  <a:lnTo>
                    <a:pt x="438" y="1596"/>
                  </a:lnTo>
                  <a:lnTo>
                    <a:pt x="440" y="1596"/>
                  </a:lnTo>
                  <a:lnTo>
                    <a:pt x="440" y="1598"/>
                  </a:lnTo>
                  <a:lnTo>
                    <a:pt x="438" y="1598"/>
                  </a:lnTo>
                  <a:lnTo>
                    <a:pt x="440" y="1598"/>
                  </a:lnTo>
                  <a:lnTo>
                    <a:pt x="441" y="1598"/>
                  </a:lnTo>
                  <a:lnTo>
                    <a:pt x="441" y="1596"/>
                  </a:lnTo>
                  <a:lnTo>
                    <a:pt x="440" y="1596"/>
                  </a:lnTo>
                  <a:lnTo>
                    <a:pt x="441" y="1596"/>
                  </a:lnTo>
                  <a:lnTo>
                    <a:pt x="441" y="1598"/>
                  </a:lnTo>
                  <a:lnTo>
                    <a:pt x="443" y="1598"/>
                  </a:lnTo>
                  <a:lnTo>
                    <a:pt x="441" y="1598"/>
                  </a:lnTo>
                  <a:lnTo>
                    <a:pt x="441" y="1599"/>
                  </a:lnTo>
                  <a:lnTo>
                    <a:pt x="440" y="1599"/>
                  </a:lnTo>
                  <a:lnTo>
                    <a:pt x="440" y="1598"/>
                  </a:lnTo>
                  <a:lnTo>
                    <a:pt x="438" y="1599"/>
                  </a:lnTo>
                  <a:lnTo>
                    <a:pt x="438" y="1598"/>
                  </a:lnTo>
                  <a:lnTo>
                    <a:pt x="436" y="1598"/>
                  </a:lnTo>
                  <a:lnTo>
                    <a:pt x="436" y="1596"/>
                  </a:lnTo>
                  <a:lnTo>
                    <a:pt x="436" y="1594"/>
                  </a:lnTo>
                  <a:lnTo>
                    <a:pt x="436" y="1593"/>
                  </a:lnTo>
                  <a:lnTo>
                    <a:pt x="436" y="1591"/>
                  </a:lnTo>
                  <a:lnTo>
                    <a:pt x="436" y="1593"/>
                  </a:lnTo>
                  <a:lnTo>
                    <a:pt x="436" y="1594"/>
                  </a:lnTo>
                  <a:lnTo>
                    <a:pt x="435" y="1594"/>
                  </a:lnTo>
                  <a:lnTo>
                    <a:pt x="435" y="1596"/>
                  </a:lnTo>
                  <a:lnTo>
                    <a:pt x="436" y="1596"/>
                  </a:lnTo>
                  <a:lnTo>
                    <a:pt x="435" y="1598"/>
                  </a:lnTo>
                  <a:lnTo>
                    <a:pt x="436" y="1598"/>
                  </a:lnTo>
                  <a:lnTo>
                    <a:pt x="436" y="1599"/>
                  </a:lnTo>
                  <a:lnTo>
                    <a:pt x="438" y="1601"/>
                  </a:lnTo>
                  <a:lnTo>
                    <a:pt x="436" y="1601"/>
                  </a:lnTo>
                  <a:lnTo>
                    <a:pt x="435" y="1601"/>
                  </a:lnTo>
                  <a:lnTo>
                    <a:pt x="433" y="1601"/>
                  </a:lnTo>
                  <a:lnTo>
                    <a:pt x="435" y="1601"/>
                  </a:lnTo>
                  <a:lnTo>
                    <a:pt x="436" y="1601"/>
                  </a:lnTo>
                  <a:lnTo>
                    <a:pt x="436" y="1603"/>
                  </a:lnTo>
                  <a:lnTo>
                    <a:pt x="438" y="1603"/>
                  </a:lnTo>
                  <a:lnTo>
                    <a:pt x="438" y="1601"/>
                  </a:lnTo>
                  <a:lnTo>
                    <a:pt x="440" y="1601"/>
                  </a:lnTo>
                  <a:lnTo>
                    <a:pt x="440" y="1603"/>
                  </a:lnTo>
                  <a:lnTo>
                    <a:pt x="441" y="1603"/>
                  </a:lnTo>
                  <a:lnTo>
                    <a:pt x="441" y="1604"/>
                  </a:lnTo>
                  <a:lnTo>
                    <a:pt x="443" y="1604"/>
                  </a:lnTo>
                  <a:lnTo>
                    <a:pt x="443" y="1606"/>
                  </a:lnTo>
                  <a:lnTo>
                    <a:pt x="443" y="1604"/>
                  </a:lnTo>
                  <a:lnTo>
                    <a:pt x="441" y="1603"/>
                  </a:lnTo>
                  <a:lnTo>
                    <a:pt x="441" y="1601"/>
                  </a:lnTo>
                  <a:lnTo>
                    <a:pt x="443" y="1601"/>
                  </a:lnTo>
                  <a:lnTo>
                    <a:pt x="443" y="1599"/>
                  </a:lnTo>
                  <a:lnTo>
                    <a:pt x="443" y="1598"/>
                  </a:lnTo>
                  <a:lnTo>
                    <a:pt x="444" y="1598"/>
                  </a:lnTo>
                  <a:lnTo>
                    <a:pt x="446" y="1598"/>
                  </a:lnTo>
                  <a:lnTo>
                    <a:pt x="448" y="1598"/>
                  </a:lnTo>
                  <a:lnTo>
                    <a:pt x="448" y="1599"/>
                  </a:lnTo>
                  <a:lnTo>
                    <a:pt x="448" y="1601"/>
                  </a:lnTo>
                  <a:lnTo>
                    <a:pt x="448" y="1603"/>
                  </a:lnTo>
                  <a:lnTo>
                    <a:pt x="446" y="1603"/>
                  </a:lnTo>
                  <a:lnTo>
                    <a:pt x="446" y="1604"/>
                  </a:lnTo>
                  <a:lnTo>
                    <a:pt x="444" y="1604"/>
                  </a:lnTo>
                  <a:lnTo>
                    <a:pt x="446" y="1604"/>
                  </a:lnTo>
                  <a:lnTo>
                    <a:pt x="444" y="1606"/>
                  </a:lnTo>
                  <a:lnTo>
                    <a:pt x="446" y="1606"/>
                  </a:lnTo>
                  <a:lnTo>
                    <a:pt x="444" y="1607"/>
                  </a:lnTo>
                  <a:lnTo>
                    <a:pt x="444" y="1606"/>
                  </a:lnTo>
                  <a:lnTo>
                    <a:pt x="446" y="1607"/>
                  </a:lnTo>
                  <a:lnTo>
                    <a:pt x="448" y="1607"/>
                  </a:lnTo>
                  <a:lnTo>
                    <a:pt x="448" y="1609"/>
                  </a:lnTo>
                  <a:lnTo>
                    <a:pt x="448" y="1611"/>
                  </a:lnTo>
                  <a:lnTo>
                    <a:pt x="449" y="1611"/>
                  </a:lnTo>
                  <a:lnTo>
                    <a:pt x="448" y="1611"/>
                  </a:lnTo>
                  <a:lnTo>
                    <a:pt x="448" y="1609"/>
                  </a:lnTo>
                  <a:lnTo>
                    <a:pt x="448" y="1611"/>
                  </a:lnTo>
                  <a:lnTo>
                    <a:pt x="446" y="1609"/>
                  </a:lnTo>
                  <a:lnTo>
                    <a:pt x="444" y="1609"/>
                  </a:lnTo>
                  <a:lnTo>
                    <a:pt x="444" y="1611"/>
                  </a:lnTo>
                  <a:lnTo>
                    <a:pt x="444" y="1609"/>
                  </a:lnTo>
                  <a:lnTo>
                    <a:pt x="443" y="1611"/>
                  </a:lnTo>
                  <a:lnTo>
                    <a:pt x="444" y="1611"/>
                  </a:lnTo>
                  <a:lnTo>
                    <a:pt x="446" y="1611"/>
                  </a:lnTo>
                  <a:lnTo>
                    <a:pt x="448" y="1611"/>
                  </a:lnTo>
                  <a:lnTo>
                    <a:pt x="448" y="1612"/>
                  </a:lnTo>
                  <a:lnTo>
                    <a:pt x="446" y="1612"/>
                  </a:lnTo>
                  <a:lnTo>
                    <a:pt x="444" y="1611"/>
                  </a:lnTo>
                  <a:lnTo>
                    <a:pt x="444" y="1612"/>
                  </a:lnTo>
                  <a:lnTo>
                    <a:pt x="444" y="1611"/>
                  </a:lnTo>
                  <a:lnTo>
                    <a:pt x="444" y="1612"/>
                  </a:lnTo>
                  <a:lnTo>
                    <a:pt x="446" y="1612"/>
                  </a:lnTo>
                  <a:lnTo>
                    <a:pt x="446" y="1614"/>
                  </a:lnTo>
                  <a:lnTo>
                    <a:pt x="448" y="1614"/>
                  </a:lnTo>
                  <a:lnTo>
                    <a:pt x="448" y="1616"/>
                  </a:lnTo>
                  <a:lnTo>
                    <a:pt x="449" y="1616"/>
                  </a:lnTo>
                  <a:lnTo>
                    <a:pt x="448" y="1616"/>
                  </a:lnTo>
                  <a:lnTo>
                    <a:pt x="448" y="1617"/>
                  </a:lnTo>
                  <a:lnTo>
                    <a:pt x="448" y="1616"/>
                  </a:lnTo>
                  <a:lnTo>
                    <a:pt x="446" y="1616"/>
                  </a:lnTo>
                  <a:lnTo>
                    <a:pt x="446" y="1617"/>
                  </a:lnTo>
                  <a:lnTo>
                    <a:pt x="448" y="1617"/>
                  </a:lnTo>
                  <a:lnTo>
                    <a:pt x="446" y="1617"/>
                  </a:lnTo>
                  <a:lnTo>
                    <a:pt x="448" y="1617"/>
                  </a:lnTo>
                  <a:lnTo>
                    <a:pt x="446" y="1617"/>
                  </a:lnTo>
                  <a:lnTo>
                    <a:pt x="444" y="1617"/>
                  </a:lnTo>
                  <a:lnTo>
                    <a:pt x="444" y="1616"/>
                  </a:lnTo>
                  <a:lnTo>
                    <a:pt x="443" y="1616"/>
                  </a:lnTo>
                  <a:lnTo>
                    <a:pt x="443" y="1614"/>
                  </a:lnTo>
                  <a:lnTo>
                    <a:pt x="441" y="1614"/>
                  </a:lnTo>
                  <a:lnTo>
                    <a:pt x="441" y="1612"/>
                  </a:lnTo>
                  <a:lnTo>
                    <a:pt x="440" y="1612"/>
                  </a:lnTo>
                  <a:lnTo>
                    <a:pt x="440" y="1614"/>
                  </a:lnTo>
                  <a:lnTo>
                    <a:pt x="441" y="1614"/>
                  </a:lnTo>
                  <a:lnTo>
                    <a:pt x="440" y="1616"/>
                  </a:lnTo>
                  <a:lnTo>
                    <a:pt x="440" y="1617"/>
                  </a:lnTo>
                  <a:lnTo>
                    <a:pt x="440" y="1616"/>
                  </a:lnTo>
                  <a:lnTo>
                    <a:pt x="438" y="1616"/>
                  </a:lnTo>
                  <a:lnTo>
                    <a:pt x="438" y="1617"/>
                  </a:lnTo>
                  <a:lnTo>
                    <a:pt x="438" y="1616"/>
                  </a:lnTo>
                  <a:lnTo>
                    <a:pt x="436" y="1616"/>
                  </a:lnTo>
                  <a:lnTo>
                    <a:pt x="436" y="1614"/>
                  </a:lnTo>
                  <a:lnTo>
                    <a:pt x="436" y="1616"/>
                  </a:lnTo>
                  <a:lnTo>
                    <a:pt x="436" y="1614"/>
                  </a:lnTo>
                  <a:lnTo>
                    <a:pt x="435" y="1614"/>
                  </a:lnTo>
                  <a:lnTo>
                    <a:pt x="435" y="1612"/>
                  </a:lnTo>
                  <a:lnTo>
                    <a:pt x="433" y="1611"/>
                  </a:lnTo>
                  <a:lnTo>
                    <a:pt x="431" y="1611"/>
                  </a:lnTo>
                  <a:lnTo>
                    <a:pt x="433" y="1611"/>
                  </a:lnTo>
                  <a:lnTo>
                    <a:pt x="433" y="1609"/>
                  </a:lnTo>
                  <a:lnTo>
                    <a:pt x="435" y="1609"/>
                  </a:lnTo>
                  <a:lnTo>
                    <a:pt x="436" y="1611"/>
                  </a:lnTo>
                  <a:lnTo>
                    <a:pt x="438" y="1611"/>
                  </a:lnTo>
                  <a:lnTo>
                    <a:pt x="436" y="1611"/>
                  </a:lnTo>
                  <a:lnTo>
                    <a:pt x="436" y="1609"/>
                  </a:lnTo>
                  <a:lnTo>
                    <a:pt x="435" y="1609"/>
                  </a:lnTo>
                  <a:lnTo>
                    <a:pt x="433" y="1607"/>
                  </a:lnTo>
                  <a:lnTo>
                    <a:pt x="431" y="1606"/>
                  </a:lnTo>
                  <a:lnTo>
                    <a:pt x="431" y="1604"/>
                  </a:lnTo>
                  <a:lnTo>
                    <a:pt x="431" y="1606"/>
                  </a:lnTo>
                  <a:lnTo>
                    <a:pt x="430" y="1606"/>
                  </a:lnTo>
                  <a:lnTo>
                    <a:pt x="430" y="1604"/>
                  </a:lnTo>
                  <a:lnTo>
                    <a:pt x="428" y="1603"/>
                  </a:lnTo>
                  <a:lnTo>
                    <a:pt x="428" y="1604"/>
                  </a:lnTo>
                  <a:lnTo>
                    <a:pt x="426" y="1603"/>
                  </a:lnTo>
                  <a:lnTo>
                    <a:pt x="426" y="1601"/>
                  </a:lnTo>
                  <a:lnTo>
                    <a:pt x="426" y="1599"/>
                  </a:lnTo>
                  <a:lnTo>
                    <a:pt x="426" y="1601"/>
                  </a:lnTo>
                  <a:lnTo>
                    <a:pt x="425" y="1601"/>
                  </a:lnTo>
                  <a:lnTo>
                    <a:pt x="425" y="1599"/>
                  </a:lnTo>
                  <a:lnTo>
                    <a:pt x="423" y="1599"/>
                  </a:lnTo>
                  <a:lnTo>
                    <a:pt x="423" y="1601"/>
                  </a:lnTo>
                  <a:lnTo>
                    <a:pt x="425" y="1601"/>
                  </a:lnTo>
                  <a:lnTo>
                    <a:pt x="425" y="1603"/>
                  </a:lnTo>
                  <a:lnTo>
                    <a:pt x="423" y="1603"/>
                  </a:lnTo>
                  <a:lnTo>
                    <a:pt x="425" y="1603"/>
                  </a:lnTo>
                  <a:lnTo>
                    <a:pt x="425" y="1604"/>
                  </a:lnTo>
                  <a:lnTo>
                    <a:pt x="426" y="1604"/>
                  </a:lnTo>
                  <a:lnTo>
                    <a:pt x="426" y="1606"/>
                  </a:lnTo>
                  <a:lnTo>
                    <a:pt x="428" y="1606"/>
                  </a:lnTo>
                  <a:lnTo>
                    <a:pt x="428" y="1607"/>
                  </a:lnTo>
                  <a:lnTo>
                    <a:pt x="430" y="1607"/>
                  </a:lnTo>
                  <a:lnTo>
                    <a:pt x="431" y="1607"/>
                  </a:lnTo>
                  <a:lnTo>
                    <a:pt x="433" y="1609"/>
                  </a:lnTo>
                  <a:lnTo>
                    <a:pt x="431" y="1609"/>
                  </a:lnTo>
                  <a:lnTo>
                    <a:pt x="431" y="1611"/>
                  </a:lnTo>
                  <a:lnTo>
                    <a:pt x="430" y="1611"/>
                  </a:lnTo>
                  <a:lnTo>
                    <a:pt x="431" y="1612"/>
                  </a:lnTo>
                  <a:lnTo>
                    <a:pt x="431" y="1614"/>
                  </a:lnTo>
                  <a:lnTo>
                    <a:pt x="433" y="1616"/>
                  </a:lnTo>
                  <a:lnTo>
                    <a:pt x="431" y="1617"/>
                  </a:lnTo>
                  <a:lnTo>
                    <a:pt x="431" y="1616"/>
                  </a:lnTo>
                  <a:lnTo>
                    <a:pt x="430" y="1616"/>
                  </a:lnTo>
                  <a:lnTo>
                    <a:pt x="430" y="1614"/>
                  </a:lnTo>
                  <a:lnTo>
                    <a:pt x="428" y="1614"/>
                  </a:lnTo>
                  <a:lnTo>
                    <a:pt x="426" y="1614"/>
                  </a:lnTo>
                  <a:lnTo>
                    <a:pt x="425" y="1614"/>
                  </a:lnTo>
                  <a:lnTo>
                    <a:pt x="425" y="1612"/>
                  </a:lnTo>
                  <a:lnTo>
                    <a:pt x="423" y="1612"/>
                  </a:lnTo>
                  <a:lnTo>
                    <a:pt x="425" y="1614"/>
                  </a:lnTo>
                  <a:lnTo>
                    <a:pt x="426" y="1614"/>
                  </a:lnTo>
                  <a:lnTo>
                    <a:pt x="426" y="1616"/>
                  </a:lnTo>
                  <a:lnTo>
                    <a:pt x="425" y="1614"/>
                  </a:lnTo>
                  <a:lnTo>
                    <a:pt x="423" y="1614"/>
                  </a:lnTo>
                  <a:lnTo>
                    <a:pt x="423" y="1616"/>
                  </a:lnTo>
                  <a:lnTo>
                    <a:pt x="425" y="1616"/>
                  </a:lnTo>
                  <a:lnTo>
                    <a:pt x="426" y="1617"/>
                  </a:lnTo>
                  <a:lnTo>
                    <a:pt x="428" y="1617"/>
                  </a:lnTo>
                  <a:lnTo>
                    <a:pt x="428" y="1619"/>
                  </a:lnTo>
                  <a:lnTo>
                    <a:pt x="428" y="1617"/>
                  </a:lnTo>
                  <a:lnTo>
                    <a:pt x="428" y="1619"/>
                  </a:lnTo>
                  <a:lnTo>
                    <a:pt x="428" y="1620"/>
                  </a:lnTo>
                  <a:lnTo>
                    <a:pt x="430" y="1620"/>
                  </a:lnTo>
                  <a:lnTo>
                    <a:pt x="430" y="1622"/>
                  </a:lnTo>
                  <a:lnTo>
                    <a:pt x="430" y="1624"/>
                  </a:lnTo>
                  <a:lnTo>
                    <a:pt x="430" y="1622"/>
                  </a:lnTo>
                  <a:lnTo>
                    <a:pt x="431" y="1622"/>
                  </a:lnTo>
                  <a:lnTo>
                    <a:pt x="433" y="1624"/>
                  </a:lnTo>
                  <a:lnTo>
                    <a:pt x="433" y="1625"/>
                  </a:lnTo>
                  <a:lnTo>
                    <a:pt x="438" y="1629"/>
                  </a:lnTo>
                  <a:lnTo>
                    <a:pt x="438" y="1630"/>
                  </a:lnTo>
                  <a:lnTo>
                    <a:pt x="440" y="1630"/>
                  </a:lnTo>
                  <a:lnTo>
                    <a:pt x="441" y="1630"/>
                  </a:lnTo>
                  <a:lnTo>
                    <a:pt x="443" y="1632"/>
                  </a:lnTo>
                  <a:lnTo>
                    <a:pt x="443" y="1633"/>
                  </a:lnTo>
                  <a:lnTo>
                    <a:pt x="444" y="1633"/>
                  </a:lnTo>
                  <a:lnTo>
                    <a:pt x="444" y="1635"/>
                  </a:lnTo>
                  <a:lnTo>
                    <a:pt x="444" y="1637"/>
                  </a:lnTo>
                  <a:lnTo>
                    <a:pt x="443" y="1637"/>
                  </a:lnTo>
                  <a:lnTo>
                    <a:pt x="443" y="1635"/>
                  </a:lnTo>
                  <a:lnTo>
                    <a:pt x="444" y="1635"/>
                  </a:lnTo>
                  <a:lnTo>
                    <a:pt x="443" y="1635"/>
                  </a:lnTo>
                  <a:lnTo>
                    <a:pt x="443" y="1633"/>
                  </a:lnTo>
                  <a:lnTo>
                    <a:pt x="441" y="1633"/>
                  </a:lnTo>
                  <a:lnTo>
                    <a:pt x="441" y="1632"/>
                  </a:lnTo>
                  <a:lnTo>
                    <a:pt x="440" y="1632"/>
                  </a:lnTo>
                  <a:lnTo>
                    <a:pt x="438" y="1632"/>
                  </a:lnTo>
                  <a:lnTo>
                    <a:pt x="436" y="1630"/>
                  </a:lnTo>
                  <a:lnTo>
                    <a:pt x="436" y="1629"/>
                  </a:lnTo>
                  <a:lnTo>
                    <a:pt x="435" y="1629"/>
                  </a:lnTo>
                  <a:lnTo>
                    <a:pt x="435" y="1627"/>
                  </a:lnTo>
                  <a:lnTo>
                    <a:pt x="433" y="1627"/>
                  </a:lnTo>
                  <a:lnTo>
                    <a:pt x="433" y="1625"/>
                  </a:lnTo>
                  <a:lnTo>
                    <a:pt x="431" y="1624"/>
                  </a:lnTo>
                  <a:lnTo>
                    <a:pt x="430" y="1624"/>
                  </a:lnTo>
                  <a:lnTo>
                    <a:pt x="430" y="1622"/>
                  </a:lnTo>
                  <a:lnTo>
                    <a:pt x="428" y="1622"/>
                  </a:lnTo>
                  <a:lnTo>
                    <a:pt x="428" y="1620"/>
                  </a:lnTo>
                  <a:lnTo>
                    <a:pt x="426" y="1620"/>
                  </a:lnTo>
                  <a:lnTo>
                    <a:pt x="426" y="1622"/>
                  </a:lnTo>
                  <a:lnTo>
                    <a:pt x="425" y="1620"/>
                  </a:lnTo>
                  <a:lnTo>
                    <a:pt x="425" y="1622"/>
                  </a:lnTo>
                  <a:lnTo>
                    <a:pt x="426" y="1622"/>
                  </a:lnTo>
                  <a:lnTo>
                    <a:pt x="425" y="1622"/>
                  </a:lnTo>
                  <a:lnTo>
                    <a:pt x="425" y="1620"/>
                  </a:lnTo>
                  <a:lnTo>
                    <a:pt x="423" y="1620"/>
                  </a:lnTo>
                  <a:lnTo>
                    <a:pt x="423" y="1619"/>
                  </a:lnTo>
                  <a:lnTo>
                    <a:pt x="422" y="1619"/>
                  </a:lnTo>
                  <a:lnTo>
                    <a:pt x="420" y="1617"/>
                  </a:lnTo>
                  <a:lnTo>
                    <a:pt x="420" y="1616"/>
                  </a:lnTo>
                  <a:lnTo>
                    <a:pt x="418" y="1614"/>
                  </a:lnTo>
                  <a:lnTo>
                    <a:pt x="418" y="1616"/>
                  </a:lnTo>
                  <a:lnTo>
                    <a:pt x="420" y="1616"/>
                  </a:lnTo>
                  <a:lnTo>
                    <a:pt x="420" y="1617"/>
                  </a:lnTo>
                  <a:lnTo>
                    <a:pt x="418" y="1617"/>
                  </a:lnTo>
                  <a:lnTo>
                    <a:pt x="420" y="1619"/>
                  </a:lnTo>
                  <a:lnTo>
                    <a:pt x="422" y="1620"/>
                  </a:lnTo>
                  <a:lnTo>
                    <a:pt x="422" y="1622"/>
                  </a:lnTo>
                  <a:lnTo>
                    <a:pt x="422" y="1624"/>
                  </a:lnTo>
                  <a:lnTo>
                    <a:pt x="423" y="1624"/>
                  </a:lnTo>
                  <a:lnTo>
                    <a:pt x="425" y="1624"/>
                  </a:lnTo>
                  <a:lnTo>
                    <a:pt x="423" y="1624"/>
                  </a:lnTo>
                  <a:lnTo>
                    <a:pt x="425" y="1624"/>
                  </a:lnTo>
                  <a:lnTo>
                    <a:pt x="423" y="1624"/>
                  </a:lnTo>
                  <a:lnTo>
                    <a:pt x="423" y="1622"/>
                  </a:lnTo>
                  <a:lnTo>
                    <a:pt x="423" y="1620"/>
                  </a:lnTo>
                  <a:lnTo>
                    <a:pt x="425" y="1622"/>
                  </a:lnTo>
                  <a:lnTo>
                    <a:pt x="425" y="1624"/>
                  </a:lnTo>
                  <a:lnTo>
                    <a:pt x="426" y="1624"/>
                  </a:lnTo>
                  <a:lnTo>
                    <a:pt x="425" y="1624"/>
                  </a:lnTo>
                  <a:lnTo>
                    <a:pt x="426" y="1624"/>
                  </a:lnTo>
                  <a:lnTo>
                    <a:pt x="428" y="1624"/>
                  </a:lnTo>
                  <a:lnTo>
                    <a:pt x="430" y="1625"/>
                  </a:lnTo>
                  <a:lnTo>
                    <a:pt x="431" y="1627"/>
                  </a:lnTo>
                  <a:lnTo>
                    <a:pt x="433" y="1629"/>
                  </a:lnTo>
                  <a:lnTo>
                    <a:pt x="435" y="1630"/>
                  </a:lnTo>
                  <a:lnTo>
                    <a:pt x="436" y="1630"/>
                  </a:lnTo>
                  <a:lnTo>
                    <a:pt x="436" y="1632"/>
                  </a:lnTo>
                  <a:lnTo>
                    <a:pt x="438" y="1632"/>
                  </a:lnTo>
                  <a:lnTo>
                    <a:pt x="438" y="1633"/>
                  </a:lnTo>
                  <a:lnTo>
                    <a:pt x="440" y="1633"/>
                  </a:lnTo>
                  <a:lnTo>
                    <a:pt x="440" y="1635"/>
                  </a:lnTo>
                  <a:lnTo>
                    <a:pt x="440" y="1633"/>
                  </a:lnTo>
                  <a:lnTo>
                    <a:pt x="441" y="1633"/>
                  </a:lnTo>
                  <a:lnTo>
                    <a:pt x="441" y="1635"/>
                  </a:lnTo>
                  <a:lnTo>
                    <a:pt x="441" y="1637"/>
                  </a:lnTo>
                  <a:lnTo>
                    <a:pt x="440" y="1637"/>
                  </a:lnTo>
                  <a:lnTo>
                    <a:pt x="441" y="1638"/>
                  </a:lnTo>
                  <a:lnTo>
                    <a:pt x="441" y="1637"/>
                  </a:lnTo>
                  <a:lnTo>
                    <a:pt x="443" y="1637"/>
                  </a:lnTo>
                  <a:lnTo>
                    <a:pt x="444" y="1637"/>
                  </a:lnTo>
                  <a:lnTo>
                    <a:pt x="443" y="1637"/>
                  </a:lnTo>
                  <a:lnTo>
                    <a:pt x="444" y="1638"/>
                  </a:lnTo>
                  <a:lnTo>
                    <a:pt x="443" y="1638"/>
                  </a:lnTo>
                  <a:lnTo>
                    <a:pt x="444" y="1638"/>
                  </a:lnTo>
                  <a:lnTo>
                    <a:pt x="446" y="1638"/>
                  </a:lnTo>
                  <a:lnTo>
                    <a:pt x="446" y="1640"/>
                  </a:lnTo>
                  <a:lnTo>
                    <a:pt x="444" y="1638"/>
                  </a:lnTo>
                  <a:lnTo>
                    <a:pt x="444" y="1640"/>
                  </a:lnTo>
                  <a:lnTo>
                    <a:pt x="444" y="1638"/>
                  </a:lnTo>
                  <a:lnTo>
                    <a:pt x="444" y="1640"/>
                  </a:lnTo>
                  <a:lnTo>
                    <a:pt x="446" y="1640"/>
                  </a:lnTo>
                  <a:lnTo>
                    <a:pt x="446" y="1642"/>
                  </a:lnTo>
                  <a:lnTo>
                    <a:pt x="444" y="1642"/>
                  </a:lnTo>
                  <a:lnTo>
                    <a:pt x="443" y="1642"/>
                  </a:lnTo>
                  <a:lnTo>
                    <a:pt x="444" y="1643"/>
                  </a:lnTo>
                  <a:lnTo>
                    <a:pt x="446" y="1643"/>
                  </a:lnTo>
                  <a:lnTo>
                    <a:pt x="444" y="1643"/>
                  </a:lnTo>
                  <a:lnTo>
                    <a:pt x="446" y="1643"/>
                  </a:lnTo>
                  <a:lnTo>
                    <a:pt x="448" y="1643"/>
                  </a:lnTo>
                  <a:lnTo>
                    <a:pt x="448" y="1645"/>
                  </a:lnTo>
                  <a:lnTo>
                    <a:pt x="446" y="1645"/>
                  </a:lnTo>
                  <a:lnTo>
                    <a:pt x="444" y="1645"/>
                  </a:lnTo>
                  <a:lnTo>
                    <a:pt x="444" y="1643"/>
                  </a:lnTo>
                  <a:lnTo>
                    <a:pt x="443" y="1643"/>
                  </a:lnTo>
                  <a:lnTo>
                    <a:pt x="441" y="1643"/>
                  </a:lnTo>
                  <a:lnTo>
                    <a:pt x="441" y="1645"/>
                  </a:lnTo>
                  <a:lnTo>
                    <a:pt x="440" y="1643"/>
                  </a:lnTo>
                  <a:lnTo>
                    <a:pt x="438" y="1643"/>
                  </a:lnTo>
                  <a:lnTo>
                    <a:pt x="436" y="1643"/>
                  </a:lnTo>
                  <a:lnTo>
                    <a:pt x="436" y="1642"/>
                  </a:lnTo>
                  <a:lnTo>
                    <a:pt x="435" y="1642"/>
                  </a:lnTo>
                  <a:lnTo>
                    <a:pt x="435" y="1640"/>
                  </a:lnTo>
                  <a:lnTo>
                    <a:pt x="433" y="1640"/>
                  </a:lnTo>
                  <a:lnTo>
                    <a:pt x="435" y="1638"/>
                  </a:lnTo>
                  <a:lnTo>
                    <a:pt x="433" y="1638"/>
                  </a:lnTo>
                  <a:lnTo>
                    <a:pt x="431" y="1638"/>
                  </a:lnTo>
                  <a:lnTo>
                    <a:pt x="430" y="1638"/>
                  </a:lnTo>
                  <a:lnTo>
                    <a:pt x="431" y="1638"/>
                  </a:lnTo>
                  <a:lnTo>
                    <a:pt x="433" y="1640"/>
                  </a:lnTo>
                  <a:lnTo>
                    <a:pt x="435" y="1642"/>
                  </a:lnTo>
                  <a:lnTo>
                    <a:pt x="435" y="1643"/>
                  </a:lnTo>
                  <a:lnTo>
                    <a:pt x="436" y="1643"/>
                  </a:lnTo>
                  <a:lnTo>
                    <a:pt x="435" y="1643"/>
                  </a:lnTo>
                  <a:lnTo>
                    <a:pt x="435" y="1645"/>
                  </a:lnTo>
                  <a:lnTo>
                    <a:pt x="436" y="1645"/>
                  </a:lnTo>
                  <a:lnTo>
                    <a:pt x="436" y="1643"/>
                  </a:lnTo>
                  <a:lnTo>
                    <a:pt x="438" y="1643"/>
                  </a:lnTo>
                  <a:lnTo>
                    <a:pt x="438" y="1645"/>
                  </a:lnTo>
                  <a:lnTo>
                    <a:pt x="440" y="1645"/>
                  </a:lnTo>
                  <a:lnTo>
                    <a:pt x="440" y="1646"/>
                  </a:lnTo>
                  <a:lnTo>
                    <a:pt x="440" y="1648"/>
                  </a:lnTo>
                  <a:lnTo>
                    <a:pt x="438" y="1650"/>
                  </a:lnTo>
                  <a:lnTo>
                    <a:pt x="438" y="1648"/>
                  </a:lnTo>
                  <a:lnTo>
                    <a:pt x="436" y="1648"/>
                  </a:lnTo>
                  <a:lnTo>
                    <a:pt x="438" y="1648"/>
                  </a:lnTo>
                  <a:lnTo>
                    <a:pt x="438" y="1650"/>
                  </a:lnTo>
                  <a:lnTo>
                    <a:pt x="436" y="1650"/>
                  </a:lnTo>
                  <a:lnTo>
                    <a:pt x="436" y="1648"/>
                  </a:lnTo>
                  <a:lnTo>
                    <a:pt x="436" y="1646"/>
                  </a:lnTo>
                  <a:lnTo>
                    <a:pt x="436" y="1648"/>
                  </a:lnTo>
                  <a:lnTo>
                    <a:pt x="435" y="1646"/>
                  </a:lnTo>
                  <a:lnTo>
                    <a:pt x="435" y="1648"/>
                  </a:lnTo>
                  <a:lnTo>
                    <a:pt x="436" y="1648"/>
                  </a:lnTo>
                  <a:lnTo>
                    <a:pt x="436" y="1650"/>
                  </a:lnTo>
                  <a:lnTo>
                    <a:pt x="438" y="1650"/>
                  </a:lnTo>
                  <a:lnTo>
                    <a:pt x="440" y="1650"/>
                  </a:lnTo>
                  <a:lnTo>
                    <a:pt x="440" y="1651"/>
                  </a:lnTo>
                  <a:lnTo>
                    <a:pt x="440" y="1653"/>
                  </a:lnTo>
                  <a:lnTo>
                    <a:pt x="441" y="1653"/>
                  </a:lnTo>
                  <a:lnTo>
                    <a:pt x="441" y="1655"/>
                  </a:lnTo>
                  <a:lnTo>
                    <a:pt x="440" y="1655"/>
                  </a:lnTo>
                  <a:lnTo>
                    <a:pt x="441" y="1656"/>
                  </a:lnTo>
                  <a:lnTo>
                    <a:pt x="440" y="1656"/>
                  </a:lnTo>
                  <a:lnTo>
                    <a:pt x="440" y="1655"/>
                  </a:lnTo>
                  <a:lnTo>
                    <a:pt x="438" y="1655"/>
                  </a:lnTo>
                  <a:lnTo>
                    <a:pt x="438" y="1656"/>
                  </a:lnTo>
                  <a:lnTo>
                    <a:pt x="440" y="1656"/>
                  </a:lnTo>
                  <a:lnTo>
                    <a:pt x="440" y="1658"/>
                  </a:lnTo>
                  <a:lnTo>
                    <a:pt x="441" y="1658"/>
                  </a:lnTo>
                  <a:lnTo>
                    <a:pt x="440" y="1658"/>
                  </a:lnTo>
                  <a:lnTo>
                    <a:pt x="440" y="1659"/>
                  </a:lnTo>
                  <a:lnTo>
                    <a:pt x="441" y="1659"/>
                  </a:lnTo>
                  <a:lnTo>
                    <a:pt x="440" y="1659"/>
                  </a:lnTo>
                  <a:lnTo>
                    <a:pt x="441" y="1659"/>
                  </a:lnTo>
                  <a:lnTo>
                    <a:pt x="441" y="1661"/>
                  </a:lnTo>
                  <a:lnTo>
                    <a:pt x="443" y="1659"/>
                  </a:lnTo>
                  <a:lnTo>
                    <a:pt x="444" y="1659"/>
                  </a:lnTo>
                  <a:lnTo>
                    <a:pt x="444" y="1661"/>
                  </a:lnTo>
                  <a:lnTo>
                    <a:pt x="443" y="1661"/>
                  </a:lnTo>
                  <a:lnTo>
                    <a:pt x="443" y="1663"/>
                  </a:lnTo>
                  <a:lnTo>
                    <a:pt x="441" y="1661"/>
                  </a:lnTo>
                  <a:lnTo>
                    <a:pt x="441" y="1663"/>
                  </a:lnTo>
                  <a:lnTo>
                    <a:pt x="441" y="1661"/>
                  </a:lnTo>
                  <a:lnTo>
                    <a:pt x="440" y="1661"/>
                  </a:lnTo>
                  <a:lnTo>
                    <a:pt x="440" y="1659"/>
                  </a:lnTo>
                  <a:lnTo>
                    <a:pt x="438" y="1659"/>
                  </a:lnTo>
                  <a:lnTo>
                    <a:pt x="438" y="1658"/>
                  </a:lnTo>
                  <a:lnTo>
                    <a:pt x="436" y="1658"/>
                  </a:lnTo>
                  <a:lnTo>
                    <a:pt x="438" y="1656"/>
                  </a:lnTo>
                  <a:lnTo>
                    <a:pt x="436" y="1656"/>
                  </a:lnTo>
                  <a:lnTo>
                    <a:pt x="436" y="1655"/>
                  </a:lnTo>
                  <a:lnTo>
                    <a:pt x="436" y="1653"/>
                  </a:lnTo>
                  <a:lnTo>
                    <a:pt x="436" y="1655"/>
                  </a:lnTo>
                  <a:lnTo>
                    <a:pt x="436" y="1656"/>
                  </a:lnTo>
                  <a:lnTo>
                    <a:pt x="436" y="1658"/>
                  </a:lnTo>
                  <a:lnTo>
                    <a:pt x="435" y="1658"/>
                  </a:lnTo>
                  <a:lnTo>
                    <a:pt x="435" y="1656"/>
                  </a:lnTo>
                  <a:lnTo>
                    <a:pt x="435" y="1655"/>
                  </a:lnTo>
                  <a:lnTo>
                    <a:pt x="435" y="1653"/>
                  </a:lnTo>
                  <a:lnTo>
                    <a:pt x="433" y="1655"/>
                  </a:lnTo>
                  <a:lnTo>
                    <a:pt x="431" y="1653"/>
                  </a:lnTo>
                  <a:lnTo>
                    <a:pt x="433" y="1655"/>
                  </a:lnTo>
                  <a:lnTo>
                    <a:pt x="431" y="1655"/>
                  </a:lnTo>
                  <a:lnTo>
                    <a:pt x="433" y="1655"/>
                  </a:lnTo>
                  <a:lnTo>
                    <a:pt x="433" y="1656"/>
                  </a:lnTo>
                  <a:lnTo>
                    <a:pt x="433" y="1658"/>
                  </a:lnTo>
                  <a:lnTo>
                    <a:pt x="433" y="1656"/>
                  </a:lnTo>
                  <a:lnTo>
                    <a:pt x="433" y="1658"/>
                  </a:lnTo>
                  <a:lnTo>
                    <a:pt x="431" y="1658"/>
                  </a:lnTo>
                  <a:lnTo>
                    <a:pt x="430" y="1658"/>
                  </a:lnTo>
                  <a:lnTo>
                    <a:pt x="431" y="1658"/>
                  </a:lnTo>
                  <a:lnTo>
                    <a:pt x="431" y="1659"/>
                  </a:lnTo>
                  <a:lnTo>
                    <a:pt x="433" y="1659"/>
                  </a:lnTo>
                  <a:lnTo>
                    <a:pt x="435" y="1661"/>
                  </a:lnTo>
                  <a:lnTo>
                    <a:pt x="433" y="1661"/>
                  </a:lnTo>
                  <a:lnTo>
                    <a:pt x="431" y="1661"/>
                  </a:lnTo>
                  <a:lnTo>
                    <a:pt x="433" y="1663"/>
                  </a:lnTo>
                  <a:lnTo>
                    <a:pt x="433" y="1661"/>
                  </a:lnTo>
                  <a:lnTo>
                    <a:pt x="433" y="1663"/>
                  </a:lnTo>
                  <a:lnTo>
                    <a:pt x="433" y="1661"/>
                  </a:lnTo>
                  <a:lnTo>
                    <a:pt x="435" y="1663"/>
                  </a:lnTo>
                  <a:lnTo>
                    <a:pt x="435" y="1661"/>
                  </a:lnTo>
                  <a:lnTo>
                    <a:pt x="436" y="1661"/>
                  </a:lnTo>
                  <a:lnTo>
                    <a:pt x="436" y="1663"/>
                  </a:lnTo>
                  <a:lnTo>
                    <a:pt x="436" y="1664"/>
                  </a:lnTo>
                  <a:lnTo>
                    <a:pt x="436" y="1666"/>
                  </a:lnTo>
                  <a:lnTo>
                    <a:pt x="438" y="1664"/>
                  </a:lnTo>
                  <a:lnTo>
                    <a:pt x="436" y="1663"/>
                  </a:lnTo>
                  <a:lnTo>
                    <a:pt x="438" y="1663"/>
                  </a:lnTo>
                  <a:lnTo>
                    <a:pt x="440" y="1663"/>
                  </a:lnTo>
                  <a:lnTo>
                    <a:pt x="438" y="1663"/>
                  </a:lnTo>
                  <a:lnTo>
                    <a:pt x="440" y="1663"/>
                  </a:lnTo>
                  <a:lnTo>
                    <a:pt x="441" y="1663"/>
                  </a:lnTo>
                  <a:lnTo>
                    <a:pt x="443" y="1663"/>
                  </a:lnTo>
                  <a:lnTo>
                    <a:pt x="443" y="1664"/>
                  </a:lnTo>
                  <a:lnTo>
                    <a:pt x="444" y="1664"/>
                  </a:lnTo>
                  <a:lnTo>
                    <a:pt x="443" y="1664"/>
                  </a:lnTo>
                  <a:lnTo>
                    <a:pt x="441" y="1664"/>
                  </a:lnTo>
                  <a:lnTo>
                    <a:pt x="443" y="1664"/>
                  </a:lnTo>
                  <a:lnTo>
                    <a:pt x="441" y="1664"/>
                  </a:lnTo>
                  <a:lnTo>
                    <a:pt x="441" y="1666"/>
                  </a:lnTo>
                  <a:lnTo>
                    <a:pt x="443" y="1666"/>
                  </a:lnTo>
                  <a:lnTo>
                    <a:pt x="443" y="1668"/>
                  </a:lnTo>
                  <a:lnTo>
                    <a:pt x="441" y="1668"/>
                  </a:lnTo>
                  <a:lnTo>
                    <a:pt x="443" y="1668"/>
                  </a:lnTo>
                  <a:lnTo>
                    <a:pt x="444" y="1668"/>
                  </a:lnTo>
                  <a:lnTo>
                    <a:pt x="446" y="1668"/>
                  </a:lnTo>
                  <a:lnTo>
                    <a:pt x="446" y="1669"/>
                  </a:lnTo>
                  <a:lnTo>
                    <a:pt x="444" y="1669"/>
                  </a:lnTo>
                  <a:lnTo>
                    <a:pt x="444" y="1668"/>
                  </a:lnTo>
                  <a:lnTo>
                    <a:pt x="444" y="1669"/>
                  </a:lnTo>
                  <a:lnTo>
                    <a:pt x="446" y="1669"/>
                  </a:lnTo>
                  <a:lnTo>
                    <a:pt x="446" y="1671"/>
                  </a:lnTo>
                  <a:lnTo>
                    <a:pt x="448" y="1671"/>
                  </a:lnTo>
                  <a:lnTo>
                    <a:pt x="446" y="1671"/>
                  </a:lnTo>
                  <a:lnTo>
                    <a:pt x="448" y="1672"/>
                  </a:lnTo>
                  <a:lnTo>
                    <a:pt x="446" y="1672"/>
                  </a:lnTo>
                  <a:lnTo>
                    <a:pt x="448" y="1672"/>
                  </a:lnTo>
                  <a:lnTo>
                    <a:pt x="446" y="1674"/>
                  </a:lnTo>
                  <a:lnTo>
                    <a:pt x="448" y="1674"/>
                  </a:lnTo>
                  <a:lnTo>
                    <a:pt x="446" y="1674"/>
                  </a:lnTo>
                  <a:lnTo>
                    <a:pt x="446" y="1676"/>
                  </a:lnTo>
                  <a:lnTo>
                    <a:pt x="444" y="1674"/>
                  </a:lnTo>
                  <a:lnTo>
                    <a:pt x="444" y="1676"/>
                  </a:lnTo>
                  <a:lnTo>
                    <a:pt x="444" y="1674"/>
                  </a:lnTo>
                  <a:lnTo>
                    <a:pt x="443" y="1676"/>
                  </a:lnTo>
                  <a:lnTo>
                    <a:pt x="444" y="1676"/>
                  </a:lnTo>
                  <a:lnTo>
                    <a:pt x="446" y="1676"/>
                  </a:lnTo>
                  <a:lnTo>
                    <a:pt x="446" y="1677"/>
                  </a:lnTo>
                  <a:lnTo>
                    <a:pt x="448" y="1676"/>
                  </a:lnTo>
                  <a:lnTo>
                    <a:pt x="449" y="1677"/>
                  </a:lnTo>
                  <a:lnTo>
                    <a:pt x="448" y="1677"/>
                  </a:lnTo>
                  <a:lnTo>
                    <a:pt x="449" y="1677"/>
                  </a:lnTo>
                  <a:lnTo>
                    <a:pt x="448" y="1677"/>
                  </a:lnTo>
                  <a:lnTo>
                    <a:pt x="448" y="1679"/>
                  </a:lnTo>
                  <a:lnTo>
                    <a:pt x="446" y="1679"/>
                  </a:lnTo>
                  <a:lnTo>
                    <a:pt x="448" y="1679"/>
                  </a:lnTo>
                  <a:lnTo>
                    <a:pt x="448" y="1681"/>
                  </a:lnTo>
                  <a:lnTo>
                    <a:pt x="446" y="1681"/>
                  </a:lnTo>
                  <a:lnTo>
                    <a:pt x="446" y="1682"/>
                  </a:lnTo>
                  <a:lnTo>
                    <a:pt x="444" y="1682"/>
                  </a:lnTo>
                  <a:lnTo>
                    <a:pt x="443" y="1682"/>
                  </a:lnTo>
                  <a:lnTo>
                    <a:pt x="443" y="1684"/>
                  </a:lnTo>
                  <a:lnTo>
                    <a:pt x="444" y="1684"/>
                  </a:lnTo>
                  <a:lnTo>
                    <a:pt x="443" y="1684"/>
                  </a:lnTo>
                  <a:lnTo>
                    <a:pt x="443" y="1685"/>
                  </a:lnTo>
                  <a:lnTo>
                    <a:pt x="443" y="1687"/>
                  </a:lnTo>
                  <a:lnTo>
                    <a:pt x="443" y="1685"/>
                  </a:lnTo>
                  <a:lnTo>
                    <a:pt x="443" y="1687"/>
                  </a:lnTo>
                  <a:lnTo>
                    <a:pt x="443" y="1689"/>
                  </a:lnTo>
                  <a:lnTo>
                    <a:pt x="441" y="1689"/>
                  </a:lnTo>
                  <a:lnTo>
                    <a:pt x="441" y="1690"/>
                  </a:lnTo>
                  <a:lnTo>
                    <a:pt x="441" y="1689"/>
                  </a:lnTo>
                  <a:lnTo>
                    <a:pt x="440" y="1689"/>
                  </a:lnTo>
                  <a:lnTo>
                    <a:pt x="438" y="1687"/>
                  </a:lnTo>
                  <a:lnTo>
                    <a:pt x="436" y="1689"/>
                  </a:lnTo>
                  <a:lnTo>
                    <a:pt x="438" y="1689"/>
                  </a:lnTo>
                  <a:lnTo>
                    <a:pt x="436" y="1689"/>
                  </a:lnTo>
                  <a:lnTo>
                    <a:pt x="438" y="1689"/>
                  </a:lnTo>
                  <a:lnTo>
                    <a:pt x="438" y="1690"/>
                  </a:lnTo>
                  <a:lnTo>
                    <a:pt x="436" y="1690"/>
                  </a:lnTo>
                  <a:lnTo>
                    <a:pt x="436" y="1692"/>
                  </a:lnTo>
                  <a:lnTo>
                    <a:pt x="438" y="1692"/>
                  </a:lnTo>
                  <a:lnTo>
                    <a:pt x="436" y="1692"/>
                  </a:lnTo>
                  <a:lnTo>
                    <a:pt x="438" y="1692"/>
                  </a:lnTo>
                  <a:lnTo>
                    <a:pt x="438" y="1694"/>
                  </a:lnTo>
                  <a:lnTo>
                    <a:pt x="440" y="1694"/>
                  </a:lnTo>
                  <a:lnTo>
                    <a:pt x="438" y="1694"/>
                  </a:lnTo>
                  <a:lnTo>
                    <a:pt x="438" y="1695"/>
                  </a:lnTo>
                  <a:lnTo>
                    <a:pt x="438" y="1694"/>
                  </a:lnTo>
                  <a:lnTo>
                    <a:pt x="436" y="1695"/>
                  </a:lnTo>
                  <a:lnTo>
                    <a:pt x="438" y="1695"/>
                  </a:lnTo>
                  <a:lnTo>
                    <a:pt x="438" y="1697"/>
                  </a:lnTo>
                  <a:lnTo>
                    <a:pt x="438" y="1698"/>
                  </a:lnTo>
                  <a:lnTo>
                    <a:pt x="436" y="1698"/>
                  </a:lnTo>
                  <a:lnTo>
                    <a:pt x="435" y="1698"/>
                  </a:lnTo>
                  <a:lnTo>
                    <a:pt x="436" y="1698"/>
                  </a:lnTo>
                  <a:lnTo>
                    <a:pt x="435" y="1698"/>
                  </a:lnTo>
                  <a:lnTo>
                    <a:pt x="435" y="1700"/>
                  </a:lnTo>
                  <a:lnTo>
                    <a:pt x="433" y="1700"/>
                  </a:lnTo>
                  <a:lnTo>
                    <a:pt x="435" y="1700"/>
                  </a:lnTo>
                  <a:lnTo>
                    <a:pt x="433" y="1700"/>
                  </a:lnTo>
                  <a:lnTo>
                    <a:pt x="433" y="1702"/>
                  </a:lnTo>
                  <a:lnTo>
                    <a:pt x="431" y="1703"/>
                  </a:lnTo>
                  <a:lnTo>
                    <a:pt x="433" y="1703"/>
                  </a:lnTo>
                  <a:lnTo>
                    <a:pt x="431" y="1705"/>
                  </a:lnTo>
                  <a:lnTo>
                    <a:pt x="433" y="1705"/>
                  </a:lnTo>
                  <a:lnTo>
                    <a:pt x="431" y="1705"/>
                  </a:lnTo>
                  <a:lnTo>
                    <a:pt x="430" y="1705"/>
                  </a:lnTo>
                  <a:lnTo>
                    <a:pt x="431" y="1705"/>
                  </a:lnTo>
                  <a:lnTo>
                    <a:pt x="433" y="1705"/>
                  </a:lnTo>
                  <a:lnTo>
                    <a:pt x="433" y="1707"/>
                  </a:lnTo>
                  <a:lnTo>
                    <a:pt x="435" y="1707"/>
                  </a:lnTo>
                  <a:lnTo>
                    <a:pt x="435" y="1708"/>
                  </a:lnTo>
                  <a:lnTo>
                    <a:pt x="435" y="1710"/>
                  </a:lnTo>
                  <a:lnTo>
                    <a:pt x="433" y="1711"/>
                  </a:lnTo>
                  <a:lnTo>
                    <a:pt x="433" y="1710"/>
                  </a:lnTo>
                  <a:lnTo>
                    <a:pt x="433" y="1711"/>
                  </a:lnTo>
                  <a:lnTo>
                    <a:pt x="435" y="1711"/>
                  </a:lnTo>
                  <a:lnTo>
                    <a:pt x="433" y="1711"/>
                  </a:lnTo>
                  <a:lnTo>
                    <a:pt x="433" y="1713"/>
                  </a:lnTo>
                  <a:lnTo>
                    <a:pt x="431" y="1713"/>
                  </a:lnTo>
                  <a:lnTo>
                    <a:pt x="433" y="1713"/>
                  </a:lnTo>
                  <a:lnTo>
                    <a:pt x="433" y="1715"/>
                  </a:lnTo>
                  <a:lnTo>
                    <a:pt x="431" y="1715"/>
                  </a:lnTo>
                  <a:lnTo>
                    <a:pt x="431" y="1713"/>
                  </a:lnTo>
                  <a:lnTo>
                    <a:pt x="431" y="1715"/>
                  </a:lnTo>
                  <a:lnTo>
                    <a:pt x="433" y="1715"/>
                  </a:lnTo>
                  <a:lnTo>
                    <a:pt x="431" y="1715"/>
                  </a:lnTo>
                  <a:lnTo>
                    <a:pt x="431" y="1716"/>
                  </a:lnTo>
                  <a:lnTo>
                    <a:pt x="433" y="1716"/>
                  </a:lnTo>
                  <a:lnTo>
                    <a:pt x="431" y="1716"/>
                  </a:lnTo>
                  <a:lnTo>
                    <a:pt x="433" y="1718"/>
                  </a:lnTo>
                  <a:lnTo>
                    <a:pt x="431" y="1718"/>
                  </a:lnTo>
                  <a:lnTo>
                    <a:pt x="433" y="1718"/>
                  </a:lnTo>
                  <a:lnTo>
                    <a:pt x="433" y="1720"/>
                  </a:lnTo>
                  <a:lnTo>
                    <a:pt x="435" y="1721"/>
                  </a:lnTo>
                  <a:lnTo>
                    <a:pt x="436" y="1721"/>
                  </a:lnTo>
                  <a:lnTo>
                    <a:pt x="436" y="1723"/>
                  </a:lnTo>
                  <a:lnTo>
                    <a:pt x="436" y="1724"/>
                  </a:lnTo>
                  <a:lnTo>
                    <a:pt x="436" y="1726"/>
                  </a:lnTo>
                  <a:lnTo>
                    <a:pt x="438" y="1726"/>
                  </a:lnTo>
                  <a:lnTo>
                    <a:pt x="440" y="1726"/>
                  </a:lnTo>
                  <a:lnTo>
                    <a:pt x="438" y="1726"/>
                  </a:lnTo>
                  <a:lnTo>
                    <a:pt x="440" y="1726"/>
                  </a:lnTo>
                  <a:lnTo>
                    <a:pt x="440" y="1728"/>
                  </a:lnTo>
                  <a:lnTo>
                    <a:pt x="441" y="1728"/>
                  </a:lnTo>
                  <a:lnTo>
                    <a:pt x="441" y="1729"/>
                  </a:lnTo>
                  <a:lnTo>
                    <a:pt x="443" y="1729"/>
                  </a:lnTo>
                  <a:lnTo>
                    <a:pt x="443" y="1731"/>
                  </a:lnTo>
                  <a:lnTo>
                    <a:pt x="441" y="1731"/>
                  </a:lnTo>
                  <a:lnTo>
                    <a:pt x="443" y="1731"/>
                  </a:lnTo>
                  <a:lnTo>
                    <a:pt x="441" y="1731"/>
                  </a:lnTo>
                  <a:lnTo>
                    <a:pt x="440" y="1731"/>
                  </a:lnTo>
                  <a:lnTo>
                    <a:pt x="440" y="1733"/>
                  </a:lnTo>
                  <a:lnTo>
                    <a:pt x="441" y="1733"/>
                  </a:lnTo>
                  <a:lnTo>
                    <a:pt x="443" y="1733"/>
                  </a:lnTo>
                  <a:lnTo>
                    <a:pt x="443" y="1734"/>
                  </a:lnTo>
                  <a:lnTo>
                    <a:pt x="443" y="1736"/>
                  </a:lnTo>
                  <a:lnTo>
                    <a:pt x="441" y="1736"/>
                  </a:lnTo>
                  <a:lnTo>
                    <a:pt x="441" y="1734"/>
                  </a:lnTo>
                  <a:lnTo>
                    <a:pt x="440" y="1734"/>
                  </a:lnTo>
                  <a:lnTo>
                    <a:pt x="440" y="1736"/>
                  </a:lnTo>
                  <a:lnTo>
                    <a:pt x="441" y="1736"/>
                  </a:lnTo>
                  <a:lnTo>
                    <a:pt x="440" y="1736"/>
                  </a:lnTo>
                  <a:lnTo>
                    <a:pt x="440" y="1738"/>
                  </a:lnTo>
                  <a:lnTo>
                    <a:pt x="441" y="1738"/>
                  </a:lnTo>
                  <a:lnTo>
                    <a:pt x="441" y="1739"/>
                  </a:lnTo>
                  <a:lnTo>
                    <a:pt x="440" y="1739"/>
                  </a:lnTo>
                  <a:lnTo>
                    <a:pt x="440" y="1741"/>
                  </a:lnTo>
                  <a:lnTo>
                    <a:pt x="440" y="1739"/>
                  </a:lnTo>
                  <a:lnTo>
                    <a:pt x="440" y="1741"/>
                  </a:lnTo>
                  <a:lnTo>
                    <a:pt x="440" y="1739"/>
                  </a:lnTo>
                  <a:lnTo>
                    <a:pt x="438" y="1738"/>
                  </a:lnTo>
                  <a:lnTo>
                    <a:pt x="438" y="1739"/>
                  </a:lnTo>
                  <a:lnTo>
                    <a:pt x="438" y="1738"/>
                  </a:lnTo>
                  <a:lnTo>
                    <a:pt x="438" y="1739"/>
                  </a:lnTo>
                  <a:lnTo>
                    <a:pt x="438" y="1738"/>
                  </a:lnTo>
                  <a:lnTo>
                    <a:pt x="436" y="1738"/>
                  </a:lnTo>
                  <a:lnTo>
                    <a:pt x="435" y="1738"/>
                  </a:lnTo>
                  <a:lnTo>
                    <a:pt x="435" y="1736"/>
                  </a:lnTo>
                  <a:lnTo>
                    <a:pt x="433" y="1736"/>
                  </a:lnTo>
                  <a:lnTo>
                    <a:pt x="435" y="1738"/>
                  </a:lnTo>
                  <a:lnTo>
                    <a:pt x="433" y="1738"/>
                  </a:lnTo>
                  <a:lnTo>
                    <a:pt x="435" y="1738"/>
                  </a:lnTo>
                  <a:lnTo>
                    <a:pt x="435" y="1739"/>
                  </a:lnTo>
                  <a:lnTo>
                    <a:pt x="436" y="1739"/>
                  </a:lnTo>
                  <a:lnTo>
                    <a:pt x="438" y="1739"/>
                  </a:lnTo>
                  <a:lnTo>
                    <a:pt x="438" y="1741"/>
                  </a:lnTo>
                  <a:lnTo>
                    <a:pt x="436" y="1741"/>
                  </a:lnTo>
                  <a:lnTo>
                    <a:pt x="436" y="1739"/>
                  </a:lnTo>
                  <a:lnTo>
                    <a:pt x="436" y="1741"/>
                  </a:lnTo>
                  <a:lnTo>
                    <a:pt x="435" y="1741"/>
                  </a:lnTo>
                  <a:lnTo>
                    <a:pt x="436" y="1741"/>
                  </a:lnTo>
                  <a:lnTo>
                    <a:pt x="436" y="1742"/>
                  </a:lnTo>
                  <a:lnTo>
                    <a:pt x="435" y="1742"/>
                  </a:lnTo>
                  <a:lnTo>
                    <a:pt x="436" y="1742"/>
                  </a:lnTo>
                  <a:lnTo>
                    <a:pt x="435" y="1742"/>
                  </a:lnTo>
                  <a:lnTo>
                    <a:pt x="436" y="1744"/>
                  </a:lnTo>
                  <a:lnTo>
                    <a:pt x="436" y="1746"/>
                  </a:lnTo>
                  <a:lnTo>
                    <a:pt x="436" y="1747"/>
                  </a:lnTo>
                  <a:lnTo>
                    <a:pt x="438" y="1747"/>
                  </a:lnTo>
                  <a:lnTo>
                    <a:pt x="436" y="1746"/>
                  </a:lnTo>
                  <a:lnTo>
                    <a:pt x="438" y="1747"/>
                  </a:lnTo>
                  <a:lnTo>
                    <a:pt x="436" y="1747"/>
                  </a:lnTo>
                  <a:lnTo>
                    <a:pt x="436" y="1746"/>
                  </a:lnTo>
                  <a:lnTo>
                    <a:pt x="435" y="1746"/>
                  </a:lnTo>
                  <a:lnTo>
                    <a:pt x="435" y="1744"/>
                  </a:lnTo>
                  <a:lnTo>
                    <a:pt x="433" y="1744"/>
                  </a:lnTo>
                  <a:lnTo>
                    <a:pt x="435" y="1744"/>
                  </a:lnTo>
                  <a:lnTo>
                    <a:pt x="433" y="1744"/>
                  </a:lnTo>
                  <a:lnTo>
                    <a:pt x="435" y="1742"/>
                  </a:lnTo>
                  <a:lnTo>
                    <a:pt x="433" y="1742"/>
                  </a:lnTo>
                  <a:lnTo>
                    <a:pt x="433" y="1741"/>
                  </a:lnTo>
                  <a:lnTo>
                    <a:pt x="433" y="1742"/>
                  </a:lnTo>
                  <a:lnTo>
                    <a:pt x="433" y="1744"/>
                  </a:lnTo>
                  <a:lnTo>
                    <a:pt x="433" y="1746"/>
                  </a:lnTo>
                  <a:lnTo>
                    <a:pt x="433" y="1747"/>
                  </a:lnTo>
                  <a:lnTo>
                    <a:pt x="435" y="1747"/>
                  </a:lnTo>
                  <a:lnTo>
                    <a:pt x="435" y="1749"/>
                  </a:lnTo>
                  <a:lnTo>
                    <a:pt x="436" y="1749"/>
                  </a:lnTo>
                  <a:lnTo>
                    <a:pt x="435" y="1749"/>
                  </a:lnTo>
                  <a:lnTo>
                    <a:pt x="436" y="1751"/>
                  </a:lnTo>
                  <a:lnTo>
                    <a:pt x="436" y="1752"/>
                  </a:lnTo>
                  <a:lnTo>
                    <a:pt x="436" y="1754"/>
                  </a:lnTo>
                  <a:lnTo>
                    <a:pt x="435" y="1754"/>
                  </a:lnTo>
                  <a:lnTo>
                    <a:pt x="433" y="1754"/>
                  </a:lnTo>
                  <a:lnTo>
                    <a:pt x="433" y="1755"/>
                  </a:lnTo>
                  <a:lnTo>
                    <a:pt x="435" y="1755"/>
                  </a:lnTo>
                  <a:lnTo>
                    <a:pt x="435" y="1757"/>
                  </a:lnTo>
                  <a:lnTo>
                    <a:pt x="435" y="1755"/>
                  </a:lnTo>
                  <a:lnTo>
                    <a:pt x="435" y="1757"/>
                  </a:lnTo>
                  <a:lnTo>
                    <a:pt x="435" y="1759"/>
                  </a:lnTo>
                  <a:lnTo>
                    <a:pt x="435" y="1760"/>
                  </a:lnTo>
                  <a:lnTo>
                    <a:pt x="435" y="1759"/>
                  </a:lnTo>
                  <a:lnTo>
                    <a:pt x="435" y="1760"/>
                  </a:lnTo>
                  <a:lnTo>
                    <a:pt x="435" y="1762"/>
                  </a:lnTo>
                  <a:lnTo>
                    <a:pt x="435" y="1764"/>
                  </a:lnTo>
                  <a:lnTo>
                    <a:pt x="435" y="1765"/>
                  </a:lnTo>
                  <a:lnTo>
                    <a:pt x="433" y="1765"/>
                  </a:lnTo>
                  <a:lnTo>
                    <a:pt x="435" y="1765"/>
                  </a:lnTo>
                  <a:lnTo>
                    <a:pt x="435" y="1767"/>
                  </a:lnTo>
                  <a:lnTo>
                    <a:pt x="433" y="1767"/>
                  </a:lnTo>
                  <a:lnTo>
                    <a:pt x="435" y="1767"/>
                  </a:lnTo>
                  <a:lnTo>
                    <a:pt x="433" y="1767"/>
                  </a:lnTo>
                  <a:lnTo>
                    <a:pt x="433" y="1768"/>
                  </a:lnTo>
                  <a:lnTo>
                    <a:pt x="435" y="1768"/>
                  </a:lnTo>
                  <a:lnTo>
                    <a:pt x="433" y="1768"/>
                  </a:lnTo>
                  <a:lnTo>
                    <a:pt x="433" y="1770"/>
                  </a:lnTo>
                  <a:lnTo>
                    <a:pt x="433" y="1772"/>
                  </a:lnTo>
                  <a:lnTo>
                    <a:pt x="433" y="1773"/>
                  </a:lnTo>
                  <a:lnTo>
                    <a:pt x="431" y="1773"/>
                  </a:lnTo>
                  <a:lnTo>
                    <a:pt x="433" y="1773"/>
                  </a:lnTo>
                  <a:lnTo>
                    <a:pt x="433" y="1775"/>
                  </a:lnTo>
                  <a:lnTo>
                    <a:pt x="435" y="1775"/>
                  </a:lnTo>
                  <a:lnTo>
                    <a:pt x="435" y="1773"/>
                  </a:lnTo>
                  <a:lnTo>
                    <a:pt x="436" y="1773"/>
                  </a:lnTo>
                  <a:lnTo>
                    <a:pt x="435" y="1773"/>
                  </a:lnTo>
                  <a:lnTo>
                    <a:pt x="436" y="1773"/>
                  </a:lnTo>
                  <a:lnTo>
                    <a:pt x="436" y="1772"/>
                  </a:lnTo>
                  <a:lnTo>
                    <a:pt x="438" y="1770"/>
                  </a:lnTo>
                  <a:lnTo>
                    <a:pt x="438" y="1772"/>
                  </a:lnTo>
                  <a:lnTo>
                    <a:pt x="440" y="1772"/>
                  </a:lnTo>
                  <a:lnTo>
                    <a:pt x="440" y="1773"/>
                  </a:lnTo>
                  <a:lnTo>
                    <a:pt x="440" y="1775"/>
                  </a:lnTo>
                  <a:lnTo>
                    <a:pt x="438" y="1775"/>
                  </a:lnTo>
                  <a:lnTo>
                    <a:pt x="436" y="1777"/>
                  </a:lnTo>
                  <a:lnTo>
                    <a:pt x="438" y="1777"/>
                  </a:lnTo>
                  <a:lnTo>
                    <a:pt x="436" y="1777"/>
                  </a:lnTo>
                  <a:lnTo>
                    <a:pt x="435" y="1775"/>
                  </a:lnTo>
                  <a:lnTo>
                    <a:pt x="433" y="1775"/>
                  </a:lnTo>
                  <a:lnTo>
                    <a:pt x="431" y="1775"/>
                  </a:lnTo>
                  <a:lnTo>
                    <a:pt x="431" y="1777"/>
                  </a:lnTo>
                  <a:lnTo>
                    <a:pt x="430" y="1777"/>
                  </a:lnTo>
                  <a:lnTo>
                    <a:pt x="431" y="1778"/>
                  </a:lnTo>
                  <a:lnTo>
                    <a:pt x="433" y="1778"/>
                  </a:lnTo>
                  <a:lnTo>
                    <a:pt x="431" y="1778"/>
                  </a:lnTo>
                  <a:lnTo>
                    <a:pt x="430" y="1778"/>
                  </a:lnTo>
                  <a:lnTo>
                    <a:pt x="431" y="1780"/>
                  </a:lnTo>
                  <a:lnTo>
                    <a:pt x="430" y="1780"/>
                  </a:lnTo>
                  <a:lnTo>
                    <a:pt x="431" y="1780"/>
                  </a:lnTo>
                  <a:lnTo>
                    <a:pt x="431" y="1781"/>
                  </a:lnTo>
                  <a:lnTo>
                    <a:pt x="430" y="1781"/>
                  </a:lnTo>
                  <a:lnTo>
                    <a:pt x="431" y="1781"/>
                  </a:lnTo>
                  <a:lnTo>
                    <a:pt x="431" y="1783"/>
                  </a:lnTo>
                  <a:lnTo>
                    <a:pt x="431" y="1781"/>
                  </a:lnTo>
                  <a:lnTo>
                    <a:pt x="431" y="1783"/>
                  </a:lnTo>
                  <a:lnTo>
                    <a:pt x="430" y="1783"/>
                  </a:lnTo>
                  <a:lnTo>
                    <a:pt x="430" y="1785"/>
                  </a:lnTo>
                  <a:lnTo>
                    <a:pt x="431" y="1783"/>
                  </a:lnTo>
                  <a:lnTo>
                    <a:pt x="431" y="1785"/>
                  </a:lnTo>
                  <a:lnTo>
                    <a:pt x="430" y="1785"/>
                  </a:lnTo>
                  <a:lnTo>
                    <a:pt x="431" y="1785"/>
                  </a:lnTo>
                  <a:lnTo>
                    <a:pt x="431" y="1786"/>
                  </a:lnTo>
                  <a:lnTo>
                    <a:pt x="431" y="1788"/>
                  </a:lnTo>
                  <a:lnTo>
                    <a:pt x="431" y="1790"/>
                  </a:lnTo>
                  <a:lnTo>
                    <a:pt x="433" y="1790"/>
                  </a:lnTo>
                  <a:lnTo>
                    <a:pt x="433" y="1791"/>
                  </a:lnTo>
                  <a:lnTo>
                    <a:pt x="431" y="1791"/>
                  </a:lnTo>
                  <a:lnTo>
                    <a:pt x="431" y="1790"/>
                  </a:lnTo>
                  <a:lnTo>
                    <a:pt x="431" y="1791"/>
                  </a:lnTo>
                  <a:lnTo>
                    <a:pt x="433" y="1791"/>
                  </a:lnTo>
                  <a:lnTo>
                    <a:pt x="433" y="1793"/>
                  </a:lnTo>
                  <a:lnTo>
                    <a:pt x="431" y="1793"/>
                  </a:lnTo>
                  <a:lnTo>
                    <a:pt x="431" y="1791"/>
                  </a:lnTo>
                  <a:lnTo>
                    <a:pt x="431" y="1793"/>
                  </a:lnTo>
                  <a:lnTo>
                    <a:pt x="430" y="1793"/>
                  </a:lnTo>
                  <a:lnTo>
                    <a:pt x="430" y="1794"/>
                  </a:lnTo>
                  <a:lnTo>
                    <a:pt x="428" y="1794"/>
                  </a:lnTo>
                  <a:lnTo>
                    <a:pt x="428" y="1796"/>
                  </a:lnTo>
                  <a:lnTo>
                    <a:pt x="428" y="1794"/>
                  </a:lnTo>
                  <a:lnTo>
                    <a:pt x="428" y="1793"/>
                  </a:lnTo>
                  <a:lnTo>
                    <a:pt x="426" y="1793"/>
                  </a:lnTo>
                  <a:lnTo>
                    <a:pt x="426" y="1794"/>
                  </a:lnTo>
                  <a:lnTo>
                    <a:pt x="426" y="1793"/>
                  </a:lnTo>
                  <a:lnTo>
                    <a:pt x="426" y="1794"/>
                  </a:lnTo>
                  <a:lnTo>
                    <a:pt x="426" y="1793"/>
                  </a:lnTo>
                  <a:lnTo>
                    <a:pt x="425" y="1793"/>
                  </a:lnTo>
                  <a:lnTo>
                    <a:pt x="425" y="1794"/>
                  </a:lnTo>
                  <a:lnTo>
                    <a:pt x="425" y="1793"/>
                  </a:lnTo>
                  <a:lnTo>
                    <a:pt x="425" y="1794"/>
                  </a:lnTo>
                  <a:lnTo>
                    <a:pt x="425" y="1796"/>
                  </a:lnTo>
                  <a:lnTo>
                    <a:pt x="423" y="1798"/>
                  </a:lnTo>
                  <a:lnTo>
                    <a:pt x="423" y="1796"/>
                  </a:lnTo>
                  <a:lnTo>
                    <a:pt x="422" y="1798"/>
                  </a:lnTo>
                  <a:lnTo>
                    <a:pt x="423" y="1798"/>
                  </a:lnTo>
                  <a:lnTo>
                    <a:pt x="422" y="1798"/>
                  </a:lnTo>
                  <a:lnTo>
                    <a:pt x="423" y="1798"/>
                  </a:lnTo>
                  <a:lnTo>
                    <a:pt x="423" y="1799"/>
                  </a:lnTo>
                  <a:lnTo>
                    <a:pt x="422" y="1799"/>
                  </a:lnTo>
                  <a:lnTo>
                    <a:pt x="422" y="1801"/>
                  </a:lnTo>
                  <a:lnTo>
                    <a:pt x="423" y="1801"/>
                  </a:lnTo>
                  <a:lnTo>
                    <a:pt x="422" y="1801"/>
                  </a:lnTo>
                  <a:lnTo>
                    <a:pt x="422" y="1803"/>
                  </a:lnTo>
                  <a:lnTo>
                    <a:pt x="422" y="1804"/>
                  </a:lnTo>
                  <a:lnTo>
                    <a:pt x="422" y="1806"/>
                  </a:lnTo>
                  <a:lnTo>
                    <a:pt x="422" y="1807"/>
                  </a:lnTo>
                  <a:lnTo>
                    <a:pt x="422" y="1809"/>
                  </a:lnTo>
                  <a:lnTo>
                    <a:pt x="422" y="1811"/>
                  </a:lnTo>
                  <a:lnTo>
                    <a:pt x="422" y="1812"/>
                  </a:lnTo>
                  <a:lnTo>
                    <a:pt x="420" y="1811"/>
                  </a:lnTo>
                  <a:lnTo>
                    <a:pt x="420" y="1812"/>
                  </a:lnTo>
                  <a:lnTo>
                    <a:pt x="420" y="1811"/>
                  </a:lnTo>
                  <a:lnTo>
                    <a:pt x="420" y="1812"/>
                  </a:lnTo>
                  <a:lnTo>
                    <a:pt x="418" y="1812"/>
                  </a:lnTo>
                  <a:lnTo>
                    <a:pt x="420" y="1812"/>
                  </a:lnTo>
                  <a:lnTo>
                    <a:pt x="418" y="1812"/>
                  </a:lnTo>
                  <a:lnTo>
                    <a:pt x="418" y="1814"/>
                  </a:lnTo>
                  <a:lnTo>
                    <a:pt x="420" y="1814"/>
                  </a:lnTo>
                  <a:lnTo>
                    <a:pt x="418" y="1816"/>
                  </a:lnTo>
                  <a:lnTo>
                    <a:pt x="418" y="1817"/>
                  </a:lnTo>
                  <a:lnTo>
                    <a:pt x="418" y="1819"/>
                  </a:lnTo>
                  <a:lnTo>
                    <a:pt x="417" y="1819"/>
                  </a:lnTo>
                  <a:lnTo>
                    <a:pt x="417" y="1820"/>
                  </a:lnTo>
                  <a:lnTo>
                    <a:pt x="415" y="1822"/>
                  </a:lnTo>
                  <a:lnTo>
                    <a:pt x="417" y="1822"/>
                  </a:lnTo>
                  <a:lnTo>
                    <a:pt x="415" y="1822"/>
                  </a:lnTo>
                  <a:lnTo>
                    <a:pt x="417" y="1824"/>
                  </a:lnTo>
                  <a:lnTo>
                    <a:pt x="415" y="1824"/>
                  </a:lnTo>
                  <a:lnTo>
                    <a:pt x="415" y="1825"/>
                  </a:lnTo>
                  <a:lnTo>
                    <a:pt x="415" y="1827"/>
                  </a:lnTo>
                  <a:lnTo>
                    <a:pt x="415" y="1829"/>
                  </a:lnTo>
                  <a:lnTo>
                    <a:pt x="413" y="1827"/>
                  </a:lnTo>
                  <a:lnTo>
                    <a:pt x="413" y="1829"/>
                  </a:lnTo>
                  <a:lnTo>
                    <a:pt x="413" y="1827"/>
                  </a:lnTo>
                  <a:lnTo>
                    <a:pt x="413" y="1829"/>
                  </a:lnTo>
                  <a:lnTo>
                    <a:pt x="413" y="1830"/>
                  </a:lnTo>
                  <a:lnTo>
                    <a:pt x="413" y="1832"/>
                  </a:lnTo>
                  <a:lnTo>
                    <a:pt x="413" y="1833"/>
                  </a:lnTo>
                  <a:lnTo>
                    <a:pt x="413" y="1835"/>
                  </a:lnTo>
                  <a:lnTo>
                    <a:pt x="412" y="1835"/>
                  </a:lnTo>
                  <a:lnTo>
                    <a:pt x="413" y="1835"/>
                  </a:lnTo>
                  <a:lnTo>
                    <a:pt x="412" y="1835"/>
                  </a:lnTo>
                  <a:lnTo>
                    <a:pt x="412" y="1837"/>
                  </a:lnTo>
                  <a:lnTo>
                    <a:pt x="413" y="1837"/>
                  </a:lnTo>
                  <a:lnTo>
                    <a:pt x="413" y="1838"/>
                  </a:lnTo>
                  <a:lnTo>
                    <a:pt x="412" y="1838"/>
                  </a:lnTo>
                  <a:lnTo>
                    <a:pt x="412" y="1840"/>
                  </a:lnTo>
                  <a:lnTo>
                    <a:pt x="412" y="1842"/>
                  </a:lnTo>
                  <a:lnTo>
                    <a:pt x="412" y="1840"/>
                  </a:lnTo>
                  <a:lnTo>
                    <a:pt x="410" y="1842"/>
                  </a:lnTo>
                  <a:lnTo>
                    <a:pt x="412" y="1842"/>
                  </a:lnTo>
                  <a:lnTo>
                    <a:pt x="410" y="1842"/>
                  </a:lnTo>
                  <a:lnTo>
                    <a:pt x="412" y="1842"/>
                  </a:lnTo>
                  <a:lnTo>
                    <a:pt x="410" y="1843"/>
                  </a:lnTo>
                  <a:lnTo>
                    <a:pt x="412" y="1843"/>
                  </a:lnTo>
                  <a:lnTo>
                    <a:pt x="410" y="1843"/>
                  </a:lnTo>
                  <a:lnTo>
                    <a:pt x="412" y="1843"/>
                  </a:lnTo>
                  <a:lnTo>
                    <a:pt x="410" y="1843"/>
                  </a:lnTo>
                  <a:lnTo>
                    <a:pt x="410" y="1845"/>
                  </a:lnTo>
                  <a:lnTo>
                    <a:pt x="412" y="1845"/>
                  </a:lnTo>
                  <a:lnTo>
                    <a:pt x="412" y="1846"/>
                  </a:lnTo>
                  <a:lnTo>
                    <a:pt x="412" y="1848"/>
                  </a:lnTo>
                  <a:lnTo>
                    <a:pt x="410" y="1848"/>
                  </a:lnTo>
                  <a:lnTo>
                    <a:pt x="410" y="1850"/>
                  </a:lnTo>
                  <a:lnTo>
                    <a:pt x="410" y="1851"/>
                  </a:lnTo>
                  <a:lnTo>
                    <a:pt x="412" y="1851"/>
                  </a:lnTo>
                  <a:lnTo>
                    <a:pt x="412" y="1853"/>
                  </a:lnTo>
                  <a:lnTo>
                    <a:pt x="412" y="1851"/>
                  </a:lnTo>
                  <a:lnTo>
                    <a:pt x="410" y="1851"/>
                  </a:lnTo>
                  <a:lnTo>
                    <a:pt x="410" y="1853"/>
                  </a:lnTo>
                  <a:lnTo>
                    <a:pt x="412" y="1853"/>
                  </a:lnTo>
                  <a:lnTo>
                    <a:pt x="412" y="1855"/>
                  </a:lnTo>
                  <a:lnTo>
                    <a:pt x="410" y="1853"/>
                  </a:lnTo>
                  <a:lnTo>
                    <a:pt x="410" y="1855"/>
                  </a:lnTo>
                  <a:lnTo>
                    <a:pt x="409" y="1855"/>
                  </a:lnTo>
                  <a:lnTo>
                    <a:pt x="409" y="1856"/>
                  </a:lnTo>
                  <a:lnTo>
                    <a:pt x="409" y="1858"/>
                  </a:lnTo>
                  <a:lnTo>
                    <a:pt x="409" y="1859"/>
                  </a:lnTo>
                  <a:lnTo>
                    <a:pt x="407" y="1859"/>
                  </a:lnTo>
                  <a:lnTo>
                    <a:pt x="409" y="1859"/>
                  </a:lnTo>
                  <a:lnTo>
                    <a:pt x="409" y="1861"/>
                  </a:lnTo>
                  <a:lnTo>
                    <a:pt x="407" y="1859"/>
                  </a:lnTo>
                  <a:lnTo>
                    <a:pt x="407" y="1861"/>
                  </a:lnTo>
                  <a:lnTo>
                    <a:pt x="407" y="1859"/>
                  </a:lnTo>
                  <a:lnTo>
                    <a:pt x="405" y="1859"/>
                  </a:lnTo>
                  <a:lnTo>
                    <a:pt x="405" y="1861"/>
                  </a:lnTo>
                  <a:lnTo>
                    <a:pt x="405" y="1863"/>
                  </a:lnTo>
                  <a:lnTo>
                    <a:pt x="405" y="1864"/>
                  </a:lnTo>
                  <a:lnTo>
                    <a:pt x="404" y="1864"/>
                  </a:lnTo>
                  <a:lnTo>
                    <a:pt x="404" y="1866"/>
                  </a:lnTo>
                  <a:lnTo>
                    <a:pt x="402" y="1866"/>
                  </a:lnTo>
                  <a:lnTo>
                    <a:pt x="402" y="1868"/>
                  </a:lnTo>
                  <a:lnTo>
                    <a:pt x="402" y="1869"/>
                  </a:lnTo>
                  <a:lnTo>
                    <a:pt x="400" y="1869"/>
                  </a:lnTo>
                  <a:lnTo>
                    <a:pt x="400" y="1871"/>
                  </a:lnTo>
                  <a:lnTo>
                    <a:pt x="402" y="1871"/>
                  </a:lnTo>
                  <a:lnTo>
                    <a:pt x="400" y="1871"/>
                  </a:lnTo>
                  <a:lnTo>
                    <a:pt x="400" y="1873"/>
                  </a:lnTo>
                  <a:lnTo>
                    <a:pt x="400" y="1874"/>
                  </a:lnTo>
                  <a:lnTo>
                    <a:pt x="399" y="1874"/>
                  </a:lnTo>
                  <a:lnTo>
                    <a:pt x="399" y="1876"/>
                  </a:lnTo>
                  <a:lnTo>
                    <a:pt x="399" y="1877"/>
                  </a:lnTo>
                  <a:lnTo>
                    <a:pt x="397" y="1877"/>
                  </a:lnTo>
                  <a:lnTo>
                    <a:pt x="399" y="1877"/>
                  </a:lnTo>
                  <a:lnTo>
                    <a:pt x="397" y="1877"/>
                  </a:lnTo>
                  <a:lnTo>
                    <a:pt x="399" y="1879"/>
                  </a:lnTo>
                  <a:lnTo>
                    <a:pt x="397" y="1879"/>
                  </a:lnTo>
                  <a:lnTo>
                    <a:pt x="397" y="1877"/>
                  </a:lnTo>
                  <a:lnTo>
                    <a:pt x="396" y="1877"/>
                  </a:lnTo>
                  <a:lnTo>
                    <a:pt x="396" y="1876"/>
                  </a:lnTo>
                  <a:lnTo>
                    <a:pt x="394" y="1876"/>
                  </a:lnTo>
                  <a:lnTo>
                    <a:pt x="392" y="1876"/>
                  </a:lnTo>
                  <a:lnTo>
                    <a:pt x="392" y="1874"/>
                  </a:lnTo>
                  <a:lnTo>
                    <a:pt x="392" y="1873"/>
                  </a:lnTo>
                  <a:lnTo>
                    <a:pt x="394" y="1871"/>
                  </a:lnTo>
                  <a:lnTo>
                    <a:pt x="394" y="1869"/>
                  </a:lnTo>
                  <a:lnTo>
                    <a:pt x="394" y="1868"/>
                  </a:lnTo>
                  <a:lnTo>
                    <a:pt x="396" y="1866"/>
                  </a:lnTo>
                  <a:lnTo>
                    <a:pt x="394" y="1866"/>
                  </a:lnTo>
                  <a:lnTo>
                    <a:pt x="392" y="1866"/>
                  </a:lnTo>
                  <a:lnTo>
                    <a:pt x="392" y="1868"/>
                  </a:lnTo>
                  <a:lnTo>
                    <a:pt x="394" y="1868"/>
                  </a:lnTo>
                  <a:lnTo>
                    <a:pt x="392" y="1869"/>
                  </a:lnTo>
                  <a:lnTo>
                    <a:pt x="391" y="1869"/>
                  </a:lnTo>
                  <a:lnTo>
                    <a:pt x="392" y="1869"/>
                  </a:lnTo>
                  <a:lnTo>
                    <a:pt x="391" y="1869"/>
                  </a:lnTo>
                  <a:lnTo>
                    <a:pt x="391" y="1871"/>
                  </a:lnTo>
                  <a:lnTo>
                    <a:pt x="389" y="1871"/>
                  </a:lnTo>
                  <a:lnTo>
                    <a:pt x="391" y="1871"/>
                  </a:lnTo>
                  <a:lnTo>
                    <a:pt x="391" y="1873"/>
                  </a:lnTo>
                  <a:lnTo>
                    <a:pt x="391" y="1871"/>
                  </a:lnTo>
                  <a:lnTo>
                    <a:pt x="391" y="1873"/>
                  </a:lnTo>
                  <a:lnTo>
                    <a:pt x="392" y="1873"/>
                  </a:lnTo>
                  <a:lnTo>
                    <a:pt x="391" y="1873"/>
                  </a:lnTo>
                  <a:lnTo>
                    <a:pt x="391" y="1874"/>
                  </a:lnTo>
                  <a:lnTo>
                    <a:pt x="391" y="1876"/>
                  </a:lnTo>
                  <a:lnTo>
                    <a:pt x="391" y="1874"/>
                  </a:lnTo>
                  <a:lnTo>
                    <a:pt x="389" y="1874"/>
                  </a:lnTo>
                  <a:lnTo>
                    <a:pt x="389" y="1873"/>
                  </a:lnTo>
                  <a:lnTo>
                    <a:pt x="387" y="1873"/>
                  </a:lnTo>
                  <a:lnTo>
                    <a:pt x="386" y="1871"/>
                  </a:lnTo>
                  <a:lnTo>
                    <a:pt x="387" y="1871"/>
                  </a:lnTo>
                  <a:lnTo>
                    <a:pt x="389" y="1871"/>
                  </a:lnTo>
                  <a:lnTo>
                    <a:pt x="389" y="1869"/>
                  </a:lnTo>
                  <a:lnTo>
                    <a:pt x="387" y="1869"/>
                  </a:lnTo>
                  <a:lnTo>
                    <a:pt x="389" y="1869"/>
                  </a:lnTo>
                  <a:lnTo>
                    <a:pt x="389" y="1868"/>
                  </a:lnTo>
                  <a:lnTo>
                    <a:pt x="391" y="1868"/>
                  </a:lnTo>
                  <a:lnTo>
                    <a:pt x="389" y="1868"/>
                  </a:lnTo>
                  <a:lnTo>
                    <a:pt x="387" y="1868"/>
                  </a:lnTo>
                  <a:lnTo>
                    <a:pt x="387" y="1869"/>
                  </a:lnTo>
                  <a:lnTo>
                    <a:pt x="387" y="1868"/>
                  </a:lnTo>
                  <a:lnTo>
                    <a:pt x="386" y="1868"/>
                  </a:lnTo>
                  <a:lnTo>
                    <a:pt x="387" y="1866"/>
                  </a:lnTo>
                  <a:lnTo>
                    <a:pt x="386" y="1866"/>
                  </a:lnTo>
                  <a:lnTo>
                    <a:pt x="386" y="1868"/>
                  </a:lnTo>
                  <a:lnTo>
                    <a:pt x="384" y="1868"/>
                  </a:lnTo>
                  <a:lnTo>
                    <a:pt x="383" y="1869"/>
                  </a:lnTo>
                  <a:lnTo>
                    <a:pt x="383" y="1868"/>
                  </a:lnTo>
                  <a:lnTo>
                    <a:pt x="381" y="1868"/>
                  </a:lnTo>
                  <a:lnTo>
                    <a:pt x="381" y="1864"/>
                  </a:lnTo>
                  <a:lnTo>
                    <a:pt x="381" y="1866"/>
                  </a:lnTo>
                  <a:lnTo>
                    <a:pt x="381" y="1864"/>
                  </a:lnTo>
                  <a:lnTo>
                    <a:pt x="379" y="1864"/>
                  </a:lnTo>
                  <a:lnTo>
                    <a:pt x="379" y="1866"/>
                  </a:lnTo>
                  <a:lnTo>
                    <a:pt x="378" y="1866"/>
                  </a:lnTo>
                  <a:lnTo>
                    <a:pt x="378" y="1868"/>
                  </a:lnTo>
                  <a:lnTo>
                    <a:pt x="376" y="1868"/>
                  </a:lnTo>
                  <a:lnTo>
                    <a:pt x="378" y="1868"/>
                  </a:lnTo>
                  <a:lnTo>
                    <a:pt x="378" y="1869"/>
                  </a:lnTo>
                  <a:lnTo>
                    <a:pt x="376" y="1869"/>
                  </a:lnTo>
                  <a:lnTo>
                    <a:pt x="374" y="1869"/>
                  </a:lnTo>
                  <a:lnTo>
                    <a:pt x="374" y="1868"/>
                  </a:lnTo>
                  <a:lnTo>
                    <a:pt x="374" y="1866"/>
                  </a:lnTo>
                  <a:lnTo>
                    <a:pt x="374" y="1868"/>
                  </a:lnTo>
                  <a:lnTo>
                    <a:pt x="376" y="1868"/>
                  </a:lnTo>
                  <a:lnTo>
                    <a:pt x="374" y="1868"/>
                  </a:lnTo>
                  <a:lnTo>
                    <a:pt x="374" y="1866"/>
                  </a:lnTo>
                  <a:lnTo>
                    <a:pt x="376" y="1864"/>
                  </a:lnTo>
                  <a:lnTo>
                    <a:pt x="376" y="1866"/>
                  </a:lnTo>
                  <a:lnTo>
                    <a:pt x="376" y="1864"/>
                  </a:lnTo>
                  <a:lnTo>
                    <a:pt x="376" y="1863"/>
                  </a:lnTo>
                  <a:lnTo>
                    <a:pt x="378" y="1864"/>
                  </a:lnTo>
                  <a:lnTo>
                    <a:pt x="376" y="1863"/>
                  </a:lnTo>
                  <a:lnTo>
                    <a:pt x="376" y="1861"/>
                  </a:lnTo>
                  <a:lnTo>
                    <a:pt x="374" y="1861"/>
                  </a:lnTo>
                  <a:lnTo>
                    <a:pt x="376" y="1863"/>
                  </a:lnTo>
                  <a:lnTo>
                    <a:pt x="374" y="1863"/>
                  </a:lnTo>
                  <a:lnTo>
                    <a:pt x="374" y="1864"/>
                  </a:lnTo>
                  <a:lnTo>
                    <a:pt x="373" y="1864"/>
                  </a:lnTo>
                  <a:lnTo>
                    <a:pt x="371" y="1864"/>
                  </a:lnTo>
                  <a:lnTo>
                    <a:pt x="373" y="1866"/>
                  </a:lnTo>
                  <a:lnTo>
                    <a:pt x="371" y="1866"/>
                  </a:lnTo>
                  <a:lnTo>
                    <a:pt x="371" y="1868"/>
                  </a:lnTo>
                  <a:lnTo>
                    <a:pt x="370" y="1866"/>
                  </a:lnTo>
                  <a:lnTo>
                    <a:pt x="370" y="1868"/>
                  </a:lnTo>
                  <a:lnTo>
                    <a:pt x="368" y="1868"/>
                  </a:lnTo>
                  <a:lnTo>
                    <a:pt x="368" y="1869"/>
                  </a:lnTo>
                  <a:lnTo>
                    <a:pt x="370" y="1869"/>
                  </a:lnTo>
                  <a:lnTo>
                    <a:pt x="368" y="1869"/>
                  </a:lnTo>
                  <a:lnTo>
                    <a:pt x="368" y="1871"/>
                  </a:lnTo>
                  <a:lnTo>
                    <a:pt x="366" y="1871"/>
                  </a:lnTo>
                  <a:lnTo>
                    <a:pt x="366" y="1869"/>
                  </a:lnTo>
                  <a:lnTo>
                    <a:pt x="366" y="1868"/>
                  </a:lnTo>
                  <a:lnTo>
                    <a:pt x="365" y="1868"/>
                  </a:lnTo>
                  <a:lnTo>
                    <a:pt x="363" y="1869"/>
                  </a:lnTo>
                  <a:lnTo>
                    <a:pt x="363" y="1868"/>
                  </a:lnTo>
                  <a:lnTo>
                    <a:pt x="363" y="1869"/>
                  </a:lnTo>
                  <a:lnTo>
                    <a:pt x="363" y="1868"/>
                  </a:lnTo>
                  <a:lnTo>
                    <a:pt x="363" y="1866"/>
                  </a:lnTo>
                  <a:lnTo>
                    <a:pt x="363" y="1868"/>
                  </a:lnTo>
                  <a:lnTo>
                    <a:pt x="363" y="1866"/>
                  </a:lnTo>
                  <a:lnTo>
                    <a:pt x="363" y="1868"/>
                  </a:lnTo>
                  <a:lnTo>
                    <a:pt x="361" y="1866"/>
                  </a:lnTo>
                  <a:lnTo>
                    <a:pt x="361" y="1868"/>
                  </a:lnTo>
                  <a:lnTo>
                    <a:pt x="361" y="1866"/>
                  </a:lnTo>
                  <a:lnTo>
                    <a:pt x="361" y="1868"/>
                  </a:lnTo>
                  <a:lnTo>
                    <a:pt x="360" y="1868"/>
                  </a:lnTo>
                  <a:lnTo>
                    <a:pt x="360" y="1869"/>
                  </a:lnTo>
                  <a:lnTo>
                    <a:pt x="360" y="1871"/>
                  </a:lnTo>
                  <a:lnTo>
                    <a:pt x="360" y="1869"/>
                  </a:lnTo>
                  <a:lnTo>
                    <a:pt x="361" y="1869"/>
                  </a:lnTo>
                  <a:lnTo>
                    <a:pt x="361" y="1871"/>
                  </a:lnTo>
                  <a:lnTo>
                    <a:pt x="361" y="1873"/>
                  </a:lnTo>
                  <a:lnTo>
                    <a:pt x="361" y="1871"/>
                  </a:lnTo>
                  <a:lnTo>
                    <a:pt x="360" y="1871"/>
                  </a:lnTo>
                  <a:lnTo>
                    <a:pt x="360" y="1873"/>
                  </a:lnTo>
                  <a:lnTo>
                    <a:pt x="358" y="1874"/>
                  </a:lnTo>
                  <a:lnTo>
                    <a:pt x="358" y="1876"/>
                  </a:lnTo>
                  <a:lnTo>
                    <a:pt x="357" y="1876"/>
                  </a:lnTo>
                  <a:lnTo>
                    <a:pt x="357" y="1874"/>
                  </a:lnTo>
                  <a:lnTo>
                    <a:pt x="355" y="1874"/>
                  </a:lnTo>
                  <a:lnTo>
                    <a:pt x="355" y="1876"/>
                  </a:lnTo>
                  <a:lnTo>
                    <a:pt x="353" y="1876"/>
                  </a:lnTo>
                  <a:lnTo>
                    <a:pt x="353" y="1874"/>
                  </a:lnTo>
                  <a:lnTo>
                    <a:pt x="352" y="1874"/>
                  </a:lnTo>
                  <a:lnTo>
                    <a:pt x="352" y="1873"/>
                  </a:lnTo>
                  <a:lnTo>
                    <a:pt x="353" y="1873"/>
                  </a:lnTo>
                  <a:lnTo>
                    <a:pt x="353" y="1871"/>
                  </a:lnTo>
                  <a:lnTo>
                    <a:pt x="355" y="1873"/>
                  </a:lnTo>
                  <a:lnTo>
                    <a:pt x="353" y="1871"/>
                  </a:lnTo>
                  <a:lnTo>
                    <a:pt x="355" y="1871"/>
                  </a:lnTo>
                  <a:lnTo>
                    <a:pt x="353" y="1871"/>
                  </a:lnTo>
                  <a:lnTo>
                    <a:pt x="353" y="1869"/>
                  </a:lnTo>
                  <a:lnTo>
                    <a:pt x="355" y="1869"/>
                  </a:lnTo>
                  <a:lnTo>
                    <a:pt x="353" y="1869"/>
                  </a:lnTo>
                  <a:lnTo>
                    <a:pt x="353" y="1868"/>
                  </a:lnTo>
                  <a:lnTo>
                    <a:pt x="353" y="1869"/>
                  </a:lnTo>
                  <a:lnTo>
                    <a:pt x="352" y="1869"/>
                  </a:lnTo>
                  <a:lnTo>
                    <a:pt x="350" y="1869"/>
                  </a:lnTo>
                  <a:lnTo>
                    <a:pt x="352" y="1868"/>
                  </a:lnTo>
                  <a:lnTo>
                    <a:pt x="350" y="1868"/>
                  </a:lnTo>
                  <a:lnTo>
                    <a:pt x="350" y="1869"/>
                  </a:lnTo>
                  <a:lnTo>
                    <a:pt x="350" y="1868"/>
                  </a:lnTo>
                  <a:lnTo>
                    <a:pt x="350" y="1869"/>
                  </a:lnTo>
                  <a:lnTo>
                    <a:pt x="348" y="1869"/>
                  </a:lnTo>
                  <a:lnTo>
                    <a:pt x="348" y="1871"/>
                  </a:lnTo>
                  <a:lnTo>
                    <a:pt x="348" y="1869"/>
                  </a:lnTo>
                  <a:lnTo>
                    <a:pt x="348" y="1871"/>
                  </a:lnTo>
                  <a:lnTo>
                    <a:pt x="348" y="1869"/>
                  </a:lnTo>
                  <a:lnTo>
                    <a:pt x="347" y="1869"/>
                  </a:lnTo>
                  <a:lnTo>
                    <a:pt x="347" y="1871"/>
                  </a:lnTo>
                  <a:lnTo>
                    <a:pt x="348" y="1871"/>
                  </a:lnTo>
                  <a:lnTo>
                    <a:pt x="347" y="1871"/>
                  </a:lnTo>
                  <a:lnTo>
                    <a:pt x="347" y="1873"/>
                  </a:lnTo>
                  <a:lnTo>
                    <a:pt x="345" y="1871"/>
                  </a:lnTo>
                  <a:lnTo>
                    <a:pt x="347" y="1871"/>
                  </a:lnTo>
                  <a:lnTo>
                    <a:pt x="345" y="1871"/>
                  </a:lnTo>
                  <a:lnTo>
                    <a:pt x="345" y="1873"/>
                  </a:lnTo>
                  <a:lnTo>
                    <a:pt x="344" y="1871"/>
                  </a:lnTo>
                  <a:lnTo>
                    <a:pt x="345" y="1871"/>
                  </a:lnTo>
                  <a:lnTo>
                    <a:pt x="344" y="1871"/>
                  </a:lnTo>
                  <a:lnTo>
                    <a:pt x="344" y="1873"/>
                  </a:lnTo>
                  <a:lnTo>
                    <a:pt x="342" y="1873"/>
                  </a:lnTo>
                  <a:lnTo>
                    <a:pt x="344" y="1873"/>
                  </a:lnTo>
                  <a:lnTo>
                    <a:pt x="342" y="1873"/>
                  </a:lnTo>
                  <a:lnTo>
                    <a:pt x="342" y="1874"/>
                  </a:lnTo>
                  <a:lnTo>
                    <a:pt x="344" y="1874"/>
                  </a:lnTo>
                  <a:lnTo>
                    <a:pt x="342" y="1874"/>
                  </a:lnTo>
                  <a:lnTo>
                    <a:pt x="342" y="1873"/>
                  </a:lnTo>
                  <a:lnTo>
                    <a:pt x="340" y="1873"/>
                  </a:lnTo>
                  <a:lnTo>
                    <a:pt x="340" y="1871"/>
                  </a:lnTo>
                  <a:lnTo>
                    <a:pt x="340" y="1869"/>
                  </a:lnTo>
                  <a:lnTo>
                    <a:pt x="340" y="1871"/>
                  </a:lnTo>
                  <a:lnTo>
                    <a:pt x="339" y="1871"/>
                  </a:lnTo>
                  <a:lnTo>
                    <a:pt x="339" y="1869"/>
                  </a:lnTo>
                  <a:lnTo>
                    <a:pt x="339" y="1871"/>
                  </a:lnTo>
                  <a:lnTo>
                    <a:pt x="339" y="1873"/>
                  </a:lnTo>
                  <a:lnTo>
                    <a:pt x="337" y="1873"/>
                  </a:lnTo>
                  <a:lnTo>
                    <a:pt x="335" y="1873"/>
                  </a:lnTo>
                  <a:lnTo>
                    <a:pt x="335" y="1871"/>
                  </a:lnTo>
                  <a:lnTo>
                    <a:pt x="334" y="1873"/>
                  </a:lnTo>
                  <a:lnTo>
                    <a:pt x="334" y="1871"/>
                  </a:lnTo>
                  <a:lnTo>
                    <a:pt x="335" y="1871"/>
                  </a:lnTo>
                  <a:lnTo>
                    <a:pt x="335" y="1869"/>
                  </a:lnTo>
                  <a:lnTo>
                    <a:pt x="334" y="1869"/>
                  </a:lnTo>
                  <a:lnTo>
                    <a:pt x="334" y="1868"/>
                  </a:lnTo>
                  <a:lnTo>
                    <a:pt x="332" y="1868"/>
                  </a:lnTo>
                  <a:lnTo>
                    <a:pt x="332" y="1866"/>
                  </a:lnTo>
                  <a:lnTo>
                    <a:pt x="332" y="1868"/>
                  </a:lnTo>
                  <a:lnTo>
                    <a:pt x="334" y="1868"/>
                  </a:lnTo>
                  <a:lnTo>
                    <a:pt x="334" y="1869"/>
                  </a:lnTo>
                  <a:lnTo>
                    <a:pt x="334" y="1868"/>
                  </a:lnTo>
                  <a:lnTo>
                    <a:pt x="332" y="1868"/>
                  </a:lnTo>
                  <a:lnTo>
                    <a:pt x="332" y="1869"/>
                  </a:lnTo>
                  <a:lnTo>
                    <a:pt x="331" y="1869"/>
                  </a:lnTo>
                  <a:lnTo>
                    <a:pt x="331" y="1868"/>
                  </a:lnTo>
                  <a:lnTo>
                    <a:pt x="331" y="1866"/>
                  </a:lnTo>
                  <a:lnTo>
                    <a:pt x="329" y="1868"/>
                  </a:lnTo>
                  <a:lnTo>
                    <a:pt x="331" y="1868"/>
                  </a:lnTo>
                  <a:lnTo>
                    <a:pt x="329" y="1868"/>
                  </a:lnTo>
                  <a:lnTo>
                    <a:pt x="331" y="1869"/>
                  </a:lnTo>
                  <a:lnTo>
                    <a:pt x="332" y="1871"/>
                  </a:lnTo>
                  <a:lnTo>
                    <a:pt x="331" y="1871"/>
                  </a:lnTo>
                  <a:lnTo>
                    <a:pt x="329" y="1871"/>
                  </a:lnTo>
                  <a:lnTo>
                    <a:pt x="331" y="1871"/>
                  </a:lnTo>
                  <a:lnTo>
                    <a:pt x="329" y="1873"/>
                  </a:lnTo>
                  <a:lnTo>
                    <a:pt x="331" y="1873"/>
                  </a:lnTo>
                  <a:lnTo>
                    <a:pt x="331" y="1871"/>
                  </a:lnTo>
                  <a:lnTo>
                    <a:pt x="332" y="1871"/>
                  </a:lnTo>
                  <a:lnTo>
                    <a:pt x="331" y="1873"/>
                  </a:lnTo>
                  <a:lnTo>
                    <a:pt x="332" y="1873"/>
                  </a:lnTo>
                  <a:lnTo>
                    <a:pt x="332" y="1874"/>
                  </a:lnTo>
                  <a:lnTo>
                    <a:pt x="331" y="1874"/>
                  </a:lnTo>
                  <a:lnTo>
                    <a:pt x="331" y="1873"/>
                  </a:lnTo>
                  <a:lnTo>
                    <a:pt x="329" y="1873"/>
                  </a:lnTo>
                  <a:lnTo>
                    <a:pt x="329" y="1871"/>
                  </a:lnTo>
                  <a:lnTo>
                    <a:pt x="327" y="1871"/>
                  </a:lnTo>
                  <a:lnTo>
                    <a:pt x="326" y="1873"/>
                  </a:lnTo>
                  <a:lnTo>
                    <a:pt x="324" y="1873"/>
                  </a:lnTo>
                  <a:lnTo>
                    <a:pt x="322" y="1873"/>
                  </a:lnTo>
                  <a:lnTo>
                    <a:pt x="322" y="1871"/>
                  </a:lnTo>
                  <a:lnTo>
                    <a:pt x="321" y="1873"/>
                  </a:lnTo>
                  <a:lnTo>
                    <a:pt x="321" y="1874"/>
                  </a:lnTo>
                  <a:lnTo>
                    <a:pt x="319" y="1873"/>
                  </a:lnTo>
                  <a:lnTo>
                    <a:pt x="318" y="1873"/>
                  </a:lnTo>
                  <a:lnTo>
                    <a:pt x="318" y="1874"/>
                  </a:lnTo>
                  <a:lnTo>
                    <a:pt x="318" y="1876"/>
                  </a:lnTo>
                  <a:lnTo>
                    <a:pt x="316" y="1876"/>
                  </a:lnTo>
                  <a:lnTo>
                    <a:pt x="316" y="1877"/>
                  </a:lnTo>
                  <a:lnTo>
                    <a:pt x="316" y="1876"/>
                  </a:lnTo>
                  <a:lnTo>
                    <a:pt x="316" y="1874"/>
                  </a:lnTo>
                  <a:lnTo>
                    <a:pt x="316" y="1873"/>
                  </a:lnTo>
                  <a:lnTo>
                    <a:pt x="318" y="1873"/>
                  </a:lnTo>
                  <a:lnTo>
                    <a:pt x="316" y="1873"/>
                  </a:lnTo>
                  <a:lnTo>
                    <a:pt x="316" y="1874"/>
                  </a:lnTo>
                  <a:lnTo>
                    <a:pt x="314" y="1873"/>
                  </a:lnTo>
                  <a:lnTo>
                    <a:pt x="314" y="1874"/>
                  </a:lnTo>
                  <a:lnTo>
                    <a:pt x="313" y="1874"/>
                  </a:lnTo>
                  <a:lnTo>
                    <a:pt x="313" y="1873"/>
                  </a:lnTo>
                  <a:lnTo>
                    <a:pt x="311" y="1873"/>
                  </a:lnTo>
                  <a:lnTo>
                    <a:pt x="311" y="1874"/>
                  </a:lnTo>
                  <a:lnTo>
                    <a:pt x="311" y="1873"/>
                  </a:lnTo>
                  <a:lnTo>
                    <a:pt x="311" y="1874"/>
                  </a:lnTo>
                  <a:lnTo>
                    <a:pt x="309" y="1876"/>
                  </a:lnTo>
                  <a:lnTo>
                    <a:pt x="309" y="1874"/>
                  </a:lnTo>
                  <a:lnTo>
                    <a:pt x="308" y="1874"/>
                  </a:lnTo>
                  <a:lnTo>
                    <a:pt x="308" y="1873"/>
                  </a:lnTo>
                  <a:lnTo>
                    <a:pt x="308" y="1874"/>
                  </a:lnTo>
                  <a:lnTo>
                    <a:pt x="306" y="1874"/>
                  </a:lnTo>
                  <a:lnTo>
                    <a:pt x="306" y="1873"/>
                  </a:lnTo>
                  <a:lnTo>
                    <a:pt x="305" y="1873"/>
                  </a:lnTo>
                  <a:lnTo>
                    <a:pt x="303" y="1874"/>
                  </a:lnTo>
                  <a:lnTo>
                    <a:pt x="303" y="1876"/>
                  </a:lnTo>
                  <a:lnTo>
                    <a:pt x="303" y="1877"/>
                  </a:lnTo>
                  <a:lnTo>
                    <a:pt x="303" y="1879"/>
                  </a:lnTo>
                  <a:lnTo>
                    <a:pt x="305" y="1879"/>
                  </a:lnTo>
                  <a:lnTo>
                    <a:pt x="305" y="1881"/>
                  </a:lnTo>
                  <a:lnTo>
                    <a:pt x="306" y="1882"/>
                  </a:lnTo>
                  <a:lnTo>
                    <a:pt x="308" y="1884"/>
                  </a:lnTo>
                  <a:lnTo>
                    <a:pt x="308" y="1886"/>
                  </a:lnTo>
                  <a:lnTo>
                    <a:pt x="308" y="1887"/>
                  </a:lnTo>
                  <a:lnTo>
                    <a:pt x="309" y="1887"/>
                  </a:lnTo>
                  <a:lnTo>
                    <a:pt x="309" y="1889"/>
                  </a:lnTo>
                  <a:lnTo>
                    <a:pt x="311" y="1889"/>
                  </a:lnTo>
                  <a:lnTo>
                    <a:pt x="311" y="1890"/>
                  </a:lnTo>
                  <a:lnTo>
                    <a:pt x="313" y="1890"/>
                  </a:lnTo>
                  <a:lnTo>
                    <a:pt x="313" y="1892"/>
                  </a:lnTo>
                  <a:lnTo>
                    <a:pt x="311" y="1894"/>
                  </a:lnTo>
                  <a:lnTo>
                    <a:pt x="311" y="1895"/>
                  </a:lnTo>
                  <a:lnTo>
                    <a:pt x="309" y="1895"/>
                  </a:lnTo>
                  <a:lnTo>
                    <a:pt x="309" y="1897"/>
                  </a:lnTo>
                  <a:lnTo>
                    <a:pt x="308" y="1897"/>
                  </a:lnTo>
                  <a:lnTo>
                    <a:pt x="308" y="1895"/>
                  </a:lnTo>
                  <a:lnTo>
                    <a:pt x="306" y="1895"/>
                  </a:lnTo>
                  <a:lnTo>
                    <a:pt x="306" y="1897"/>
                  </a:lnTo>
                  <a:lnTo>
                    <a:pt x="305" y="1897"/>
                  </a:lnTo>
                  <a:lnTo>
                    <a:pt x="305" y="1899"/>
                  </a:lnTo>
                  <a:lnTo>
                    <a:pt x="305" y="1897"/>
                  </a:lnTo>
                  <a:lnTo>
                    <a:pt x="303" y="1897"/>
                  </a:lnTo>
                  <a:lnTo>
                    <a:pt x="301" y="1897"/>
                  </a:lnTo>
                  <a:lnTo>
                    <a:pt x="301" y="1895"/>
                  </a:lnTo>
                  <a:lnTo>
                    <a:pt x="300" y="1897"/>
                  </a:lnTo>
                  <a:lnTo>
                    <a:pt x="300" y="1895"/>
                  </a:lnTo>
                  <a:lnTo>
                    <a:pt x="300" y="1894"/>
                  </a:lnTo>
                  <a:lnTo>
                    <a:pt x="298" y="1894"/>
                  </a:lnTo>
                  <a:lnTo>
                    <a:pt x="298" y="1895"/>
                  </a:lnTo>
                  <a:lnTo>
                    <a:pt x="298" y="1894"/>
                  </a:lnTo>
                  <a:lnTo>
                    <a:pt x="296" y="1895"/>
                  </a:lnTo>
                  <a:lnTo>
                    <a:pt x="296" y="1894"/>
                  </a:lnTo>
                  <a:lnTo>
                    <a:pt x="298" y="1894"/>
                  </a:lnTo>
                  <a:lnTo>
                    <a:pt x="298" y="1892"/>
                  </a:lnTo>
                  <a:lnTo>
                    <a:pt x="298" y="1890"/>
                  </a:lnTo>
                  <a:lnTo>
                    <a:pt x="300" y="1889"/>
                  </a:lnTo>
                  <a:lnTo>
                    <a:pt x="298" y="1889"/>
                  </a:lnTo>
                  <a:lnTo>
                    <a:pt x="298" y="1890"/>
                  </a:lnTo>
                  <a:lnTo>
                    <a:pt x="296" y="1890"/>
                  </a:lnTo>
                  <a:lnTo>
                    <a:pt x="296" y="1892"/>
                  </a:lnTo>
                  <a:lnTo>
                    <a:pt x="296" y="1894"/>
                  </a:lnTo>
                  <a:lnTo>
                    <a:pt x="296" y="1892"/>
                  </a:lnTo>
                  <a:lnTo>
                    <a:pt x="296" y="1894"/>
                  </a:lnTo>
                  <a:lnTo>
                    <a:pt x="295" y="1894"/>
                  </a:lnTo>
                  <a:lnTo>
                    <a:pt x="295" y="1892"/>
                  </a:lnTo>
                  <a:lnTo>
                    <a:pt x="295" y="1890"/>
                  </a:lnTo>
                  <a:lnTo>
                    <a:pt x="295" y="1889"/>
                  </a:lnTo>
                  <a:lnTo>
                    <a:pt x="295" y="1890"/>
                  </a:lnTo>
                  <a:lnTo>
                    <a:pt x="293" y="1890"/>
                  </a:lnTo>
                  <a:lnTo>
                    <a:pt x="293" y="1889"/>
                  </a:lnTo>
                  <a:lnTo>
                    <a:pt x="295" y="1889"/>
                  </a:lnTo>
                  <a:lnTo>
                    <a:pt x="293" y="1889"/>
                  </a:lnTo>
                  <a:lnTo>
                    <a:pt x="293" y="1890"/>
                  </a:lnTo>
                  <a:lnTo>
                    <a:pt x="293" y="1892"/>
                  </a:lnTo>
                  <a:lnTo>
                    <a:pt x="292" y="1892"/>
                  </a:lnTo>
                  <a:lnTo>
                    <a:pt x="290" y="1892"/>
                  </a:lnTo>
                  <a:lnTo>
                    <a:pt x="288" y="1892"/>
                  </a:lnTo>
                  <a:lnTo>
                    <a:pt x="288" y="1894"/>
                  </a:lnTo>
                  <a:lnTo>
                    <a:pt x="287" y="1894"/>
                  </a:lnTo>
                  <a:lnTo>
                    <a:pt x="287" y="1895"/>
                  </a:lnTo>
                  <a:lnTo>
                    <a:pt x="288" y="1895"/>
                  </a:lnTo>
                  <a:lnTo>
                    <a:pt x="287" y="1897"/>
                  </a:lnTo>
                  <a:lnTo>
                    <a:pt x="287" y="1895"/>
                  </a:lnTo>
                  <a:lnTo>
                    <a:pt x="287" y="1897"/>
                  </a:lnTo>
                  <a:lnTo>
                    <a:pt x="287" y="1899"/>
                  </a:lnTo>
                  <a:lnTo>
                    <a:pt x="287" y="1897"/>
                  </a:lnTo>
                  <a:lnTo>
                    <a:pt x="285" y="1899"/>
                  </a:lnTo>
                  <a:lnTo>
                    <a:pt x="283" y="1899"/>
                  </a:lnTo>
                  <a:lnTo>
                    <a:pt x="283" y="1900"/>
                  </a:lnTo>
                  <a:lnTo>
                    <a:pt x="285" y="1900"/>
                  </a:lnTo>
                  <a:lnTo>
                    <a:pt x="283" y="1900"/>
                  </a:lnTo>
                  <a:lnTo>
                    <a:pt x="283" y="1902"/>
                  </a:lnTo>
                  <a:lnTo>
                    <a:pt x="282" y="1902"/>
                  </a:lnTo>
                  <a:lnTo>
                    <a:pt x="282" y="1903"/>
                  </a:lnTo>
                  <a:lnTo>
                    <a:pt x="280" y="1903"/>
                  </a:lnTo>
                  <a:lnTo>
                    <a:pt x="280" y="1905"/>
                  </a:lnTo>
                  <a:lnTo>
                    <a:pt x="280" y="1903"/>
                  </a:lnTo>
                  <a:lnTo>
                    <a:pt x="278" y="1903"/>
                  </a:lnTo>
                  <a:lnTo>
                    <a:pt x="278" y="1905"/>
                  </a:lnTo>
                  <a:lnTo>
                    <a:pt x="277" y="1907"/>
                  </a:lnTo>
                  <a:lnTo>
                    <a:pt x="277" y="1908"/>
                  </a:lnTo>
                  <a:lnTo>
                    <a:pt x="277" y="1910"/>
                  </a:lnTo>
                  <a:lnTo>
                    <a:pt x="275" y="1912"/>
                  </a:lnTo>
                  <a:lnTo>
                    <a:pt x="274" y="1913"/>
                  </a:lnTo>
                  <a:lnTo>
                    <a:pt x="272" y="1915"/>
                  </a:lnTo>
                  <a:lnTo>
                    <a:pt x="272" y="1916"/>
                  </a:lnTo>
                  <a:lnTo>
                    <a:pt x="269" y="1923"/>
                  </a:lnTo>
                  <a:lnTo>
                    <a:pt x="269" y="1925"/>
                  </a:lnTo>
                  <a:lnTo>
                    <a:pt x="269" y="1929"/>
                  </a:lnTo>
                  <a:lnTo>
                    <a:pt x="269" y="1933"/>
                  </a:lnTo>
                  <a:lnTo>
                    <a:pt x="269" y="1934"/>
                  </a:lnTo>
                  <a:lnTo>
                    <a:pt x="269" y="1938"/>
                  </a:lnTo>
                  <a:lnTo>
                    <a:pt x="269" y="1939"/>
                  </a:lnTo>
                  <a:lnTo>
                    <a:pt x="269" y="1941"/>
                  </a:lnTo>
                  <a:lnTo>
                    <a:pt x="270" y="1942"/>
                  </a:lnTo>
                  <a:lnTo>
                    <a:pt x="270" y="1944"/>
                  </a:lnTo>
                  <a:lnTo>
                    <a:pt x="272" y="1944"/>
                  </a:lnTo>
                  <a:lnTo>
                    <a:pt x="274" y="1944"/>
                  </a:lnTo>
                  <a:lnTo>
                    <a:pt x="275" y="1946"/>
                  </a:lnTo>
                  <a:lnTo>
                    <a:pt x="275" y="1947"/>
                  </a:lnTo>
                  <a:lnTo>
                    <a:pt x="275" y="1949"/>
                  </a:lnTo>
                  <a:lnTo>
                    <a:pt x="277" y="1954"/>
                  </a:lnTo>
                  <a:lnTo>
                    <a:pt x="278" y="1954"/>
                  </a:lnTo>
                  <a:lnTo>
                    <a:pt x="278" y="1955"/>
                  </a:lnTo>
                  <a:lnTo>
                    <a:pt x="278" y="1957"/>
                  </a:lnTo>
                  <a:lnTo>
                    <a:pt x="280" y="1957"/>
                  </a:lnTo>
                  <a:lnTo>
                    <a:pt x="282" y="1959"/>
                  </a:lnTo>
                  <a:lnTo>
                    <a:pt x="282" y="1960"/>
                  </a:lnTo>
                  <a:lnTo>
                    <a:pt x="283" y="1960"/>
                  </a:lnTo>
                  <a:lnTo>
                    <a:pt x="283" y="1962"/>
                  </a:lnTo>
                  <a:lnTo>
                    <a:pt x="283" y="1964"/>
                  </a:lnTo>
                  <a:lnTo>
                    <a:pt x="283" y="1965"/>
                  </a:lnTo>
                  <a:lnTo>
                    <a:pt x="283" y="1967"/>
                  </a:lnTo>
                  <a:lnTo>
                    <a:pt x="283" y="1968"/>
                  </a:lnTo>
                  <a:lnTo>
                    <a:pt x="282" y="1968"/>
                  </a:lnTo>
                  <a:lnTo>
                    <a:pt x="282" y="1970"/>
                  </a:lnTo>
                  <a:lnTo>
                    <a:pt x="280" y="1972"/>
                  </a:lnTo>
                  <a:lnTo>
                    <a:pt x="278" y="1973"/>
                  </a:lnTo>
                  <a:lnTo>
                    <a:pt x="277" y="1975"/>
                  </a:lnTo>
                  <a:lnTo>
                    <a:pt x="277" y="1977"/>
                  </a:lnTo>
                  <a:lnTo>
                    <a:pt x="277" y="1978"/>
                  </a:lnTo>
                  <a:lnTo>
                    <a:pt x="275" y="1978"/>
                  </a:lnTo>
                  <a:lnTo>
                    <a:pt x="275" y="1980"/>
                  </a:lnTo>
                  <a:lnTo>
                    <a:pt x="272" y="1985"/>
                  </a:lnTo>
                  <a:lnTo>
                    <a:pt x="272" y="1986"/>
                  </a:lnTo>
                  <a:lnTo>
                    <a:pt x="270" y="1988"/>
                  </a:lnTo>
                  <a:lnTo>
                    <a:pt x="267" y="1988"/>
                  </a:lnTo>
                  <a:lnTo>
                    <a:pt x="265" y="1988"/>
                  </a:lnTo>
                  <a:lnTo>
                    <a:pt x="264" y="1988"/>
                  </a:lnTo>
                  <a:lnTo>
                    <a:pt x="262" y="1988"/>
                  </a:lnTo>
                  <a:lnTo>
                    <a:pt x="261" y="1988"/>
                  </a:lnTo>
                  <a:lnTo>
                    <a:pt x="259" y="1988"/>
                  </a:lnTo>
                  <a:lnTo>
                    <a:pt x="252" y="1983"/>
                  </a:lnTo>
                  <a:lnTo>
                    <a:pt x="251" y="1981"/>
                  </a:lnTo>
                  <a:lnTo>
                    <a:pt x="249" y="1981"/>
                  </a:lnTo>
                  <a:lnTo>
                    <a:pt x="248" y="1981"/>
                  </a:lnTo>
                  <a:lnTo>
                    <a:pt x="246" y="1981"/>
                  </a:lnTo>
                  <a:lnTo>
                    <a:pt x="243" y="1983"/>
                  </a:lnTo>
                  <a:lnTo>
                    <a:pt x="241" y="1985"/>
                  </a:lnTo>
                  <a:lnTo>
                    <a:pt x="241" y="1983"/>
                  </a:lnTo>
                  <a:lnTo>
                    <a:pt x="239" y="1983"/>
                  </a:lnTo>
                  <a:lnTo>
                    <a:pt x="238" y="1983"/>
                  </a:lnTo>
                  <a:lnTo>
                    <a:pt x="236" y="1983"/>
                  </a:lnTo>
                  <a:lnTo>
                    <a:pt x="233" y="1983"/>
                  </a:lnTo>
                  <a:lnTo>
                    <a:pt x="231" y="1983"/>
                  </a:lnTo>
                  <a:lnTo>
                    <a:pt x="230" y="1985"/>
                  </a:lnTo>
                  <a:lnTo>
                    <a:pt x="228" y="1985"/>
                  </a:lnTo>
                  <a:lnTo>
                    <a:pt x="226" y="1985"/>
                  </a:lnTo>
                  <a:lnTo>
                    <a:pt x="225" y="1985"/>
                  </a:lnTo>
                  <a:lnTo>
                    <a:pt x="225" y="1986"/>
                  </a:lnTo>
                  <a:lnTo>
                    <a:pt x="223" y="1986"/>
                  </a:lnTo>
                  <a:lnTo>
                    <a:pt x="223" y="1988"/>
                  </a:lnTo>
                  <a:lnTo>
                    <a:pt x="223" y="1990"/>
                  </a:lnTo>
                  <a:lnTo>
                    <a:pt x="222" y="1990"/>
                  </a:lnTo>
                  <a:lnTo>
                    <a:pt x="220" y="1990"/>
                  </a:lnTo>
                  <a:lnTo>
                    <a:pt x="218" y="1990"/>
                  </a:lnTo>
                  <a:lnTo>
                    <a:pt x="215" y="1990"/>
                  </a:lnTo>
                  <a:lnTo>
                    <a:pt x="213" y="1991"/>
                  </a:lnTo>
                  <a:lnTo>
                    <a:pt x="212" y="1993"/>
                  </a:lnTo>
                  <a:lnTo>
                    <a:pt x="210" y="1993"/>
                  </a:lnTo>
                  <a:lnTo>
                    <a:pt x="209" y="1994"/>
                  </a:lnTo>
                  <a:lnTo>
                    <a:pt x="207" y="1994"/>
                  </a:lnTo>
                  <a:lnTo>
                    <a:pt x="207" y="1996"/>
                  </a:lnTo>
                  <a:lnTo>
                    <a:pt x="204" y="1998"/>
                  </a:lnTo>
                  <a:lnTo>
                    <a:pt x="202" y="1998"/>
                  </a:lnTo>
                  <a:lnTo>
                    <a:pt x="200" y="1996"/>
                  </a:lnTo>
                  <a:lnTo>
                    <a:pt x="199" y="1998"/>
                  </a:lnTo>
                  <a:lnTo>
                    <a:pt x="196" y="1996"/>
                  </a:lnTo>
                  <a:lnTo>
                    <a:pt x="192" y="1996"/>
                  </a:lnTo>
                  <a:lnTo>
                    <a:pt x="192" y="1994"/>
                  </a:lnTo>
                  <a:lnTo>
                    <a:pt x="191" y="1994"/>
                  </a:lnTo>
                  <a:lnTo>
                    <a:pt x="187" y="1993"/>
                  </a:lnTo>
                  <a:lnTo>
                    <a:pt x="187" y="1994"/>
                  </a:lnTo>
                  <a:lnTo>
                    <a:pt x="186" y="1994"/>
                  </a:lnTo>
                  <a:lnTo>
                    <a:pt x="187" y="1993"/>
                  </a:lnTo>
                  <a:lnTo>
                    <a:pt x="186" y="1993"/>
                  </a:lnTo>
                  <a:lnTo>
                    <a:pt x="186" y="1994"/>
                  </a:lnTo>
                  <a:lnTo>
                    <a:pt x="186" y="1993"/>
                  </a:lnTo>
                  <a:lnTo>
                    <a:pt x="184" y="1993"/>
                  </a:lnTo>
                  <a:lnTo>
                    <a:pt x="183" y="1993"/>
                  </a:lnTo>
                  <a:lnTo>
                    <a:pt x="181" y="1993"/>
                  </a:lnTo>
                  <a:lnTo>
                    <a:pt x="181" y="1994"/>
                  </a:lnTo>
                  <a:lnTo>
                    <a:pt x="179" y="1994"/>
                  </a:lnTo>
                  <a:lnTo>
                    <a:pt x="179" y="1993"/>
                  </a:lnTo>
                  <a:lnTo>
                    <a:pt x="178" y="1993"/>
                  </a:lnTo>
                  <a:lnTo>
                    <a:pt x="176" y="1993"/>
                  </a:lnTo>
                  <a:lnTo>
                    <a:pt x="174" y="1991"/>
                  </a:lnTo>
                  <a:lnTo>
                    <a:pt x="173" y="1991"/>
                  </a:lnTo>
                  <a:lnTo>
                    <a:pt x="173" y="1990"/>
                  </a:lnTo>
                  <a:lnTo>
                    <a:pt x="171" y="1990"/>
                  </a:lnTo>
                  <a:lnTo>
                    <a:pt x="170" y="1990"/>
                  </a:lnTo>
                  <a:lnTo>
                    <a:pt x="170" y="1991"/>
                  </a:lnTo>
                  <a:lnTo>
                    <a:pt x="168" y="1991"/>
                  </a:lnTo>
                  <a:lnTo>
                    <a:pt x="168" y="1993"/>
                  </a:lnTo>
                  <a:lnTo>
                    <a:pt x="166" y="1993"/>
                  </a:lnTo>
                  <a:lnTo>
                    <a:pt x="166" y="1991"/>
                  </a:lnTo>
                  <a:lnTo>
                    <a:pt x="165" y="1991"/>
                  </a:lnTo>
                  <a:lnTo>
                    <a:pt x="163" y="1991"/>
                  </a:lnTo>
                  <a:lnTo>
                    <a:pt x="165" y="1991"/>
                  </a:lnTo>
                  <a:lnTo>
                    <a:pt x="163" y="1991"/>
                  </a:lnTo>
                  <a:lnTo>
                    <a:pt x="161" y="1991"/>
                  </a:lnTo>
                  <a:lnTo>
                    <a:pt x="161" y="1993"/>
                  </a:lnTo>
                  <a:lnTo>
                    <a:pt x="158" y="1993"/>
                  </a:lnTo>
                  <a:lnTo>
                    <a:pt x="160" y="1991"/>
                  </a:lnTo>
                  <a:lnTo>
                    <a:pt x="160" y="1988"/>
                  </a:lnTo>
                  <a:lnTo>
                    <a:pt x="160" y="1986"/>
                  </a:lnTo>
                  <a:lnTo>
                    <a:pt x="160" y="1985"/>
                  </a:lnTo>
                  <a:lnTo>
                    <a:pt x="161" y="1985"/>
                  </a:lnTo>
                  <a:lnTo>
                    <a:pt x="161" y="1986"/>
                  </a:lnTo>
                  <a:lnTo>
                    <a:pt x="161" y="1985"/>
                  </a:lnTo>
                  <a:lnTo>
                    <a:pt x="163" y="1985"/>
                  </a:lnTo>
                  <a:lnTo>
                    <a:pt x="163" y="1986"/>
                  </a:lnTo>
                  <a:lnTo>
                    <a:pt x="163" y="1988"/>
                  </a:lnTo>
                  <a:lnTo>
                    <a:pt x="165" y="1990"/>
                  </a:lnTo>
                  <a:lnTo>
                    <a:pt x="166" y="1988"/>
                  </a:lnTo>
                  <a:lnTo>
                    <a:pt x="166" y="1990"/>
                  </a:lnTo>
                  <a:lnTo>
                    <a:pt x="168" y="1988"/>
                  </a:lnTo>
                  <a:lnTo>
                    <a:pt x="170" y="1988"/>
                  </a:lnTo>
                  <a:lnTo>
                    <a:pt x="170" y="1986"/>
                  </a:lnTo>
                  <a:lnTo>
                    <a:pt x="170" y="1985"/>
                  </a:lnTo>
                  <a:lnTo>
                    <a:pt x="170" y="1983"/>
                  </a:lnTo>
                  <a:lnTo>
                    <a:pt x="170" y="1981"/>
                  </a:lnTo>
                  <a:lnTo>
                    <a:pt x="170" y="1983"/>
                  </a:lnTo>
                  <a:lnTo>
                    <a:pt x="171" y="1983"/>
                  </a:lnTo>
                  <a:lnTo>
                    <a:pt x="170" y="1983"/>
                  </a:lnTo>
                  <a:lnTo>
                    <a:pt x="171" y="1983"/>
                  </a:lnTo>
                  <a:lnTo>
                    <a:pt x="170" y="1985"/>
                  </a:lnTo>
                  <a:lnTo>
                    <a:pt x="171" y="1985"/>
                  </a:lnTo>
                  <a:lnTo>
                    <a:pt x="171" y="1983"/>
                  </a:lnTo>
                  <a:lnTo>
                    <a:pt x="171" y="1981"/>
                  </a:lnTo>
                  <a:lnTo>
                    <a:pt x="171" y="1980"/>
                  </a:lnTo>
                  <a:lnTo>
                    <a:pt x="170" y="1980"/>
                  </a:lnTo>
                  <a:lnTo>
                    <a:pt x="170" y="1978"/>
                  </a:lnTo>
                  <a:lnTo>
                    <a:pt x="168" y="1978"/>
                  </a:lnTo>
                  <a:lnTo>
                    <a:pt x="170" y="1978"/>
                  </a:lnTo>
                  <a:lnTo>
                    <a:pt x="168" y="1977"/>
                  </a:lnTo>
                  <a:lnTo>
                    <a:pt x="168" y="1975"/>
                  </a:lnTo>
                  <a:lnTo>
                    <a:pt x="166" y="1975"/>
                  </a:lnTo>
                  <a:lnTo>
                    <a:pt x="166" y="1973"/>
                  </a:lnTo>
                  <a:lnTo>
                    <a:pt x="165" y="1973"/>
                  </a:lnTo>
                  <a:lnTo>
                    <a:pt x="165" y="1972"/>
                  </a:lnTo>
                  <a:lnTo>
                    <a:pt x="166" y="1972"/>
                  </a:lnTo>
                  <a:lnTo>
                    <a:pt x="165" y="1968"/>
                  </a:lnTo>
                  <a:lnTo>
                    <a:pt x="165" y="1967"/>
                  </a:lnTo>
                  <a:lnTo>
                    <a:pt x="163" y="1967"/>
                  </a:lnTo>
                  <a:lnTo>
                    <a:pt x="165" y="1965"/>
                  </a:lnTo>
                  <a:lnTo>
                    <a:pt x="166" y="1965"/>
                  </a:lnTo>
                  <a:lnTo>
                    <a:pt x="166" y="1964"/>
                  </a:lnTo>
                  <a:lnTo>
                    <a:pt x="165" y="1964"/>
                  </a:lnTo>
                  <a:lnTo>
                    <a:pt x="166" y="1964"/>
                  </a:lnTo>
                  <a:lnTo>
                    <a:pt x="166" y="1962"/>
                  </a:lnTo>
                  <a:lnTo>
                    <a:pt x="166" y="1964"/>
                  </a:lnTo>
                  <a:lnTo>
                    <a:pt x="168" y="1962"/>
                  </a:lnTo>
                  <a:lnTo>
                    <a:pt x="170" y="1960"/>
                  </a:lnTo>
                  <a:lnTo>
                    <a:pt x="170" y="1959"/>
                  </a:lnTo>
                  <a:lnTo>
                    <a:pt x="171" y="1959"/>
                  </a:lnTo>
                  <a:lnTo>
                    <a:pt x="173" y="1960"/>
                  </a:lnTo>
                  <a:lnTo>
                    <a:pt x="171" y="1959"/>
                  </a:lnTo>
                  <a:lnTo>
                    <a:pt x="173" y="1959"/>
                  </a:lnTo>
                  <a:lnTo>
                    <a:pt x="171" y="1959"/>
                  </a:lnTo>
                  <a:lnTo>
                    <a:pt x="173" y="1959"/>
                  </a:lnTo>
                  <a:lnTo>
                    <a:pt x="171" y="1959"/>
                  </a:lnTo>
                  <a:lnTo>
                    <a:pt x="173" y="1957"/>
                  </a:lnTo>
                  <a:lnTo>
                    <a:pt x="174" y="1957"/>
                  </a:lnTo>
                  <a:lnTo>
                    <a:pt x="174" y="1959"/>
                  </a:lnTo>
                  <a:lnTo>
                    <a:pt x="174" y="1957"/>
                  </a:lnTo>
                  <a:lnTo>
                    <a:pt x="176" y="1957"/>
                  </a:lnTo>
                  <a:lnTo>
                    <a:pt x="174" y="1957"/>
                  </a:lnTo>
                  <a:lnTo>
                    <a:pt x="173" y="1957"/>
                  </a:lnTo>
                  <a:lnTo>
                    <a:pt x="171" y="1957"/>
                  </a:lnTo>
                  <a:lnTo>
                    <a:pt x="171" y="1955"/>
                  </a:lnTo>
                  <a:lnTo>
                    <a:pt x="173" y="1955"/>
                  </a:lnTo>
                  <a:lnTo>
                    <a:pt x="174" y="1955"/>
                  </a:lnTo>
                  <a:lnTo>
                    <a:pt x="176" y="1955"/>
                  </a:lnTo>
                  <a:lnTo>
                    <a:pt x="174" y="1955"/>
                  </a:lnTo>
                  <a:lnTo>
                    <a:pt x="174" y="1954"/>
                  </a:lnTo>
                  <a:lnTo>
                    <a:pt x="176" y="1955"/>
                  </a:lnTo>
                  <a:lnTo>
                    <a:pt x="176" y="1954"/>
                  </a:lnTo>
                  <a:lnTo>
                    <a:pt x="178" y="1952"/>
                  </a:lnTo>
                  <a:lnTo>
                    <a:pt x="178" y="1951"/>
                  </a:lnTo>
                  <a:lnTo>
                    <a:pt x="176" y="1951"/>
                  </a:lnTo>
                  <a:lnTo>
                    <a:pt x="176" y="1949"/>
                  </a:lnTo>
                  <a:lnTo>
                    <a:pt x="176" y="1947"/>
                  </a:lnTo>
                  <a:lnTo>
                    <a:pt x="174" y="1946"/>
                  </a:lnTo>
                  <a:lnTo>
                    <a:pt x="173" y="1944"/>
                  </a:lnTo>
                  <a:lnTo>
                    <a:pt x="171" y="1942"/>
                  </a:lnTo>
                  <a:lnTo>
                    <a:pt x="170" y="1942"/>
                  </a:lnTo>
                  <a:lnTo>
                    <a:pt x="170" y="1944"/>
                  </a:lnTo>
                  <a:lnTo>
                    <a:pt x="168" y="1942"/>
                  </a:lnTo>
                  <a:lnTo>
                    <a:pt x="168" y="1941"/>
                  </a:lnTo>
                  <a:lnTo>
                    <a:pt x="168" y="1939"/>
                  </a:lnTo>
                  <a:lnTo>
                    <a:pt x="166" y="1941"/>
                  </a:lnTo>
                  <a:lnTo>
                    <a:pt x="165" y="1941"/>
                  </a:lnTo>
                  <a:lnTo>
                    <a:pt x="165" y="1939"/>
                  </a:lnTo>
                  <a:lnTo>
                    <a:pt x="163" y="1939"/>
                  </a:lnTo>
                  <a:lnTo>
                    <a:pt x="165" y="1939"/>
                  </a:lnTo>
                  <a:lnTo>
                    <a:pt x="165" y="1938"/>
                  </a:lnTo>
                  <a:lnTo>
                    <a:pt x="166" y="1936"/>
                  </a:lnTo>
                  <a:lnTo>
                    <a:pt x="166" y="1934"/>
                  </a:lnTo>
                  <a:lnTo>
                    <a:pt x="166" y="1933"/>
                  </a:lnTo>
                  <a:lnTo>
                    <a:pt x="165" y="1931"/>
                  </a:lnTo>
                  <a:lnTo>
                    <a:pt x="165" y="1929"/>
                  </a:lnTo>
                  <a:lnTo>
                    <a:pt x="165" y="1928"/>
                  </a:lnTo>
                  <a:lnTo>
                    <a:pt x="163" y="1928"/>
                  </a:lnTo>
                  <a:lnTo>
                    <a:pt x="163" y="1926"/>
                  </a:lnTo>
                  <a:lnTo>
                    <a:pt x="161" y="1926"/>
                  </a:lnTo>
                  <a:lnTo>
                    <a:pt x="161" y="1925"/>
                  </a:lnTo>
                  <a:lnTo>
                    <a:pt x="160" y="1925"/>
                  </a:lnTo>
                  <a:lnTo>
                    <a:pt x="158" y="1925"/>
                  </a:lnTo>
                  <a:lnTo>
                    <a:pt x="157" y="1926"/>
                  </a:lnTo>
                  <a:lnTo>
                    <a:pt x="157" y="1925"/>
                  </a:lnTo>
                  <a:lnTo>
                    <a:pt x="157" y="1923"/>
                  </a:lnTo>
                  <a:lnTo>
                    <a:pt x="157" y="1921"/>
                  </a:lnTo>
                  <a:lnTo>
                    <a:pt x="155" y="1921"/>
                  </a:lnTo>
                  <a:lnTo>
                    <a:pt x="155" y="1920"/>
                  </a:lnTo>
                  <a:lnTo>
                    <a:pt x="155" y="1918"/>
                  </a:lnTo>
                  <a:lnTo>
                    <a:pt x="155" y="1916"/>
                  </a:lnTo>
                  <a:lnTo>
                    <a:pt x="153" y="1916"/>
                  </a:lnTo>
                  <a:lnTo>
                    <a:pt x="153" y="1915"/>
                  </a:lnTo>
                  <a:lnTo>
                    <a:pt x="153" y="1913"/>
                  </a:lnTo>
                  <a:lnTo>
                    <a:pt x="152" y="1913"/>
                  </a:lnTo>
                  <a:lnTo>
                    <a:pt x="152" y="1912"/>
                  </a:lnTo>
                  <a:lnTo>
                    <a:pt x="150" y="1908"/>
                  </a:lnTo>
                  <a:lnTo>
                    <a:pt x="150" y="1907"/>
                  </a:lnTo>
                  <a:lnTo>
                    <a:pt x="150" y="1905"/>
                  </a:lnTo>
                  <a:lnTo>
                    <a:pt x="148" y="1905"/>
                  </a:lnTo>
                  <a:lnTo>
                    <a:pt x="147" y="1903"/>
                  </a:lnTo>
                  <a:lnTo>
                    <a:pt x="145" y="1903"/>
                  </a:lnTo>
                  <a:lnTo>
                    <a:pt x="145" y="1902"/>
                  </a:lnTo>
                  <a:lnTo>
                    <a:pt x="145" y="1900"/>
                  </a:lnTo>
                  <a:lnTo>
                    <a:pt x="145" y="1899"/>
                  </a:lnTo>
                  <a:lnTo>
                    <a:pt x="144" y="1899"/>
                  </a:lnTo>
                  <a:lnTo>
                    <a:pt x="144" y="1897"/>
                  </a:lnTo>
                  <a:lnTo>
                    <a:pt x="144" y="1895"/>
                  </a:lnTo>
                  <a:lnTo>
                    <a:pt x="142" y="1894"/>
                  </a:lnTo>
                  <a:lnTo>
                    <a:pt x="140" y="1892"/>
                  </a:lnTo>
                  <a:lnTo>
                    <a:pt x="140" y="1890"/>
                  </a:lnTo>
                  <a:lnTo>
                    <a:pt x="139" y="1890"/>
                  </a:lnTo>
                  <a:lnTo>
                    <a:pt x="139" y="1889"/>
                  </a:lnTo>
                  <a:lnTo>
                    <a:pt x="137" y="1889"/>
                  </a:lnTo>
                  <a:lnTo>
                    <a:pt x="137" y="1887"/>
                  </a:lnTo>
                  <a:lnTo>
                    <a:pt x="135" y="1886"/>
                  </a:lnTo>
                  <a:lnTo>
                    <a:pt x="134" y="1884"/>
                  </a:lnTo>
                  <a:lnTo>
                    <a:pt x="134" y="1882"/>
                  </a:lnTo>
                  <a:lnTo>
                    <a:pt x="134" y="1881"/>
                  </a:lnTo>
                  <a:lnTo>
                    <a:pt x="134" y="1879"/>
                  </a:lnTo>
                  <a:lnTo>
                    <a:pt x="134" y="1877"/>
                  </a:lnTo>
                  <a:lnTo>
                    <a:pt x="132" y="1877"/>
                  </a:lnTo>
                  <a:lnTo>
                    <a:pt x="132" y="1876"/>
                  </a:lnTo>
                  <a:lnTo>
                    <a:pt x="132" y="1874"/>
                  </a:lnTo>
                  <a:lnTo>
                    <a:pt x="132" y="1873"/>
                  </a:lnTo>
                  <a:lnTo>
                    <a:pt x="130" y="1873"/>
                  </a:lnTo>
                  <a:lnTo>
                    <a:pt x="132" y="1873"/>
                  </a:lnTo>
                  <a:lnTo>
                    <a:pt x="132" y="1871"/>
                  </a:lnTo>
                  <a:lnTo>
                    <a:pt x="130" y="1871"/>
                  </a:lnTo>
                  <a:lnTo>
                    <a:pt x="130" y="1869"/>
                  </a:lnTo>
                  <a:lnTo>
                    <a:pt x="130" y="1868"/>
                  </a:lnTo>
                  <a:lnTo>
                    <a:pt x="129" y="1868"/>
                  </a:lnTo>
                  <a:lnTo>
                    <a:pt x="129" y="1866"/>
                  </a:lnTo>
                  <a:lnTo>
                    <a:pt x="127" y="1864"/>
                  </a:lnTo>
                  <a:lnTo>
                    <a:pt x="126" y="1864"/>
                  </a:lnTo>
                  <a:lnTo>
                    <a:pt x="126" y="1863"/>
                  </a:lnTo>
                  <a:lnTo>
                    <a:pt x="124" y="1863"/>
                  </a:lnTo>
                  <a:lnTo>
                    <a:pt x="127" y="1863"/>
                  </a:lnTo>
                  <a:lnTo>
                    <a:pt x="129" y="1863"/>
                  </a:lnTo>
                  <a:lnTo>
                    <a:pt x="132" y="1864"/>
                  </a:lnTo>
                  <a:lnTo>
                    <a:pt x="134" y="1866"/>
                  </a:lnTo>
                  <a:lnTo>
                    <a:pt x="135" y="1866"/>
                  </a:lnTo>
                  <a:lnTo>
                    <a:pt x="137" y="1868"/>
                  </a:lnTo>
                  <a:lnTo>
                    <a:pt x="139" y="1868"/>
                  </a:lnTo>
                  <a:lnTo>
                    <a:pt x="140" y="1868"/>
                  </a:lnTo>
                  <a:lnTo>
                    <a:pt x="142" y="1869"/>
                  </a:lnTo>
                  <a:lnTo>
                    <a:pt x="142" y="1871"/>
                  </a:lnTo>
                  <a:lnTo>
                    <a:pt x="144" y="1871"/>
                  </a:lnTo>
                  <a:lnTo>
                    <a:pt x="144" y="1873"/>
                  </a:lnTo>
                  <a:lnTo>
                    <a:pt x="145" y="1873"/>
                  </a:lnTo>
                  <a:lnTo>
                    <a:pt x="147" y="1873"/>
                  </a:lnTo>
                  <a:lnTo>
                    <a:pt x="147" y="1871"/>
                  </a:lnTo>
                  <a:lnTo>
                    <a:pt x="148" y="1873"/>
                  </a:lnTo>
                  <a:lnTo>
                    <a:pt x="148" y="1871"/>
                  </a:lnTo>
                  <a:lnTo>
                    <a:pt x="148" y="1873"/>
                  </a:lnTo>
                  <a:lnTo>
                    <a:pt x="150" y="1873"/>
                  </a:lnTo>
                  <a:lnTo>
                    <a:pt x="152" y="1873"/>
                  </a:lnTo>
                  <a:lnTo>
                    <a:pt x="153" y="1873"/>
                  </a:lnTo>
                  <a:lnTo>
                    <a:pt x="153" y="1871"/>
                  </a:lnTo>
                  <a:lnTo>
                    <a:pt x="155" y="1869"/>
                  </a:lnTo>
                  <a:lnTo>
                    <a:pt x="155" y="1868"/>
                  </a:lnTo>
                  <a:lnTo>
                    <a:pt x="155" y="1866"/>
                  </a:lnTo>
                  <a:lnTo>
                    <a:pt x="155" y="1864"/>
                  </a:lnTo>
                  <a:lnTo>
                    <a:pt x="153" y="1863"/>
                  </a:lnTo>
                  <a:lnTo>
                    <a:pt x="152" y="1863"/>
                  </a:lnTo>
                  <a:lnTo>
                    <a:pt x="152" y="1861"/>
                  </a:lnTo>
                  <a:lnTo>
                    <a:pt x="150" y="1861"/>
                  </a:lnTo>
                  <a:lnTo>
                    <a:pt x="148" y="1861"/>
                  </a:lnTo>
                  <a:lnTo>
                    <a:pt x="150" y="1859"/>
                  </a:lnTo>
                  <a:lnTo>
                    <a:pt x="148" y="1859"/>
                  </a:lnTo>
                  <a:lnTo>
                    <a:pt x="150" y="1859"/>
                  </a:lnTo>
                  <a:lnTo>
                    <a:pt x="148" y="1859"/>
                  </a:lnTo>
                  <a:lnTo>
                    <a:pt x="148" y="1858"/>
                  </a:lnTo>
                  <a:lnTo>
                    <a:pt x="148" y="1856"/>
                  </a:lnTo>
                  <a:lnTo>
                    <a:pt x="147" y="1855"/>
                  </a:lnTo>
                  <a:lnTo>
                    <a:pt x="147" y="1853"/>
                  </a:lnTo>
                  <a:lnTo>
                    <a:pt x="145" y="1853"/>
                  </a:lnTo>
                  <a:lnTo>
                    <a:pt x="144" y="1851"/>
                  </a:lnTo>
                  <a:lnTo>
                    <a:pt x="144" y="1850"/>
                  </a:lnTo>
                  <a:lnTo>
                    <a:pt x="140" y="1850"/>
                  </a:lnTo>
                  <a:lnTo>
                    <a:pt x="139" y="1850"/>
                  </a:lnTo>
                  <a:lnTo>
                    <a:pt x="139" y="1848"/>
                  </a:lnTo>
                  <a:lnTo>
                    <a:pt x="137" y="1846"/>
                  </a:lnTo>
                  <a:lnTo>
                    <a:pt x="137" y="1845"/>
                  </a:lnTo>
                  <a:lnTo>
                    <a:pt x="137" y="1843"/>
                  </a:lnTo>
                  <a:lnTo>
                    <a:pt x="139" y="1843"/>
                  </a:lnTo>
                  <a:lnTo>
                    <a:pt x="139" y="1842"/>
                  </a:lnTo>
                  <a:lnTo>
                    <a:pt x="139" y="1840"/>
                  </a:lnTo>
                  <a:lnTo>
                    <a:pt x="140" y="1840"/>
                  </a:lnTo>
                  <a:lnTo>
                    <a:pt x="142" y="1840"/>
                  </a:lnTo>
                  <a:lnTo>
                    <a:pt x="142" y="1838"/>
                  </a:lnTo>
                  <a:lnTo>
                    <a:pt x="144" y="1838"/>
                  </a:lnTo>
                  <a:lnTo>
                    <a:pt x="144" y="1837"/>
                  </a:lnTo>
                  <a:lnTo>
                    <a:pt x="145" y="1837"/>
                  </a:lnTo>
                  <a:lnTo>
                    <a:pt x="147" y="1837"/>
                  </a:lnTo>
                  <a:lnTo>
                    <a:pt x="148" y="1838"/>
                  </a:lnTo>
                  <a:lnTo>
                    <a:pt x="150" y="1840"/>
                  </a:lnTo>
                  <a:lnTo>
                    <a:pt x="152" y="1840"/>
                  </a:lnTo>
                  <a:lnTo>
                    <a:pt x="153" y="1842"/>
                  </a:lnTo>
                  <a:lnTo>
                    <a:pt x="155" y="1842"/>
                  </a:lnTo>
                  <a:lnTo>
                    <a:pt x="155" y="1843"/>
                  </a:lnTo>
                  <a:lnTo>
                    <a:pt x="157" y="1843"/>
                  </a:lnTo>
                  <a:lnTo>
                    <a:pt x="158" y="1842"/>
                  </a:lnTo>
                  <a:lnTo>
                    <a:pt x="160" y="1840"/>
                  </a:lnTo>
                  <a:lnTo>
                    <a:pt x="160" y="1838"/>
                  </a:lnTo>
                  <a:lnTo>
                    <a:pt x="161" y="1837"/>
                  </a:lnTo>
                  <a:lnTo>
                    <a:pt x="161" y="1832"/>
                  </a:lnTo>
                  <a:lnTo>
                    <a:pt x="163" y="1830"/>
                  </a:lnTo>
                  <a:lnTo>
                    <a:pt x="163" y="1825"/>
                  </a:lnTo>
                  <a:lnTo>
                    <a:pt x="163" y="1824"/>
                  </a:lnTo>
                  <a:lnTo>
                    <a:pt x="161" y="1822"/>
                  </a:lnTo>
                  <a:lnTo>
                    <a:pt x="161" y="1820"/>
                  </a:lnTo>
                  <a:lnTo>
                    <a:pt x="161" y="1819"/>
                  </a:lnTo>
                  <a:lnTo>
                    <a:pt x="160" y="1819"/>
                  </a:lnTo>
                  <a:lnTo>
                    <a:pt x="160" y="1817"/>
                  </a:lnTo>
                  <a:lnTo>
                    <a:pt x="158" y="1817"/>
                  </a:lnTo>
                  <a:lnTo>
                    <a:pt x="160" y="1817"/>
                  </a:lnTo>
                  <a:lnTo>
                    <a:pt x="160" y="1816"/>
                  </a:lnTo>
                  <a:lnTo>
                    <a:pt x="158" y="1816"/>
                  </a:lnTo>
                  <a:lnTo>
                    <a:pt x="158" y="1812"/>
                  </a:lnTo>
                  <a:lnTo>
                    <a:pt x="157" y="1811"/>
                  </a:lnTo>
                  <a:lnTo>
                    <a:pt x="155" y="1812"/>
                  </a:lnTo>
                  <a:lnTo>
                    <a:pt x="153" y="1812"/>
                  </a:lnTo>
                  <a:lnTo>
                    <a:pt x="153" y="1811"/>
                  </a:lnTo>
                  <a:lnTo>
                    <a:pt x="153" y="1812"/>
                  </a:lnTo>
                  <a:lnTo>
                    <a:pt x="153" y="1811"/>
                  </a:lnTo>
                  <a:lnTo>
                    <a:pt x="155" y="1811"/>
                  </a:lnTo>
                  <a:lnTo>
                    <a:pt x="153" y="1809"/>
                  </a:lnTo>
                  <a:lnTo>
                    <a:pt x="152" y="1809"/>
                  </a:lnTo>
                  <a:lnTo>
                    <a:pt x="152" y="1811"/>
                  </a:lnTo>
                  <a:lnTo>
                    <a:pt x="150" y="1811"/>
                  </a:lnTo>
                  <a:lnTo>
                    <a:pt x="150" y="1812"/>
                  </a:lnTo>
                  <a:lnTo>
                    <a:pt x="148" y="1812"/>
                  </a:lnTo>
                  <a:lnTo>
                    <a:pt x="147" y="1812"/>
                  </a:lnTo>
                  <a:lnTo>
                    <a:pt x="145" y="1812"/>
                  </a:lnTo>
                  <a:lnTo>
                    <a:pt x="144" y="1812"/>
                  </a:lnTo>
                  <a:lnTo>
                    <a:pt x="145" y="1812"/>
                  </a:lnTo>
                  <a:lnTo>
                    <a:pt x="145" y="1811"/>
                  </a:lnTo>
                  <a:lnTo>
                    <a:pt x="145" y="1809"/>
                  </a:lnTo>
                  <a:lnTo>
                    <a:pt x="144" y="1807"/>
                  </a:lnTo>
                  <a:lnTo>
                    <a:pt x="142" y="1807"/>
                  </a:lnTo>
                  <a:lnTo>
                    <a:pt x="140" y="1807"/>
                  </a:lnTo>
                  <a:lnTo>
                    <a:pt x="140" y="1806"/>
                  </a:lnTo>
                  <a:lnTo>
                    <a:pt x="140" y="1804"/>
                  </a:lnTo>
                  <a:lnTo>
                    <a:pt x="140" y="1803"/>
                  </a:lnTo>
                  <a:lnTo>
                    <a:pt x="139" y="1801"/>
                  </a:lnTo>
                  <a:lnTo>
                    <a:pt x="137" y="1801"/>
                  </a:lnTo>
                  <a:lnTo>
                    <a:pt x="137" y="1799"/>
                  </a:lnTo>
                  <a:lnTo>
                    <a:pt x="135" y="1799"/>
                  </a:lnTo>
                  <a:lnTo>
                    <a:pt x="135" y="1798"/>
                  </a:lnTo>
                  <a:lnTo>
                    <a:pt x="137" y="1796"/>
                  </a:lnTo>
                  <a:lnTo>
                    <a:pt x="135" y="1796"/>
                  </a:lnTo>
                  <a:lnTo>
                    <a:pt x="137" y="1796"/>
                  </a:lnTo>
                  <a:lnTo>
                    <a:pt x="135" y="1794"/>
                  </a:lnTo>
                  <a:lnTo>
                    <a:pt x="135" y="1793"/>
                  </a:lnTo>
                  <a:lnTo>
                    <a:pt x="135" y="1791"/>
                  </a:lnTo>
                  <a:lnTo>
                    <a:pt x="134" y="1791"/>
                  </a:lnTo>
                  <a:lnTo>
                    <a:pt x="134" y="1790"/>
                  </a:lnTo>
                  <a:lnTo>
                    <a:pt x="134" y="1788"/>
                  </a:lnTo>
                  <a:lnTo>
                    <a:pt x="134" y="1786"/>
                  </a:lnTo>
                  <a:lnTo>
                    <a:pt x="132" y="1786"/>
                  </a:lnTo>
                  <a:lnTo>
                    <a:pt x="132" y="1785"/>
                  </a:lnTo>
                  <a:lnTo>
                    <a:pt x="130" y="1785"/>
                  </a:lnTo>
                  <a:lnTo>
                    <a:pt x="129" y="1785"/>
                  </a:lnTo>
                  <a:lnTo>
                    <a:pt x="129" y="1783"/>
                  </a:lnTo>
                  <a:lnTo>
                    <a:pt x="129" y="1781"/>
                  </a:lnTo>
                  <a:lnTo>
                    <a:pt x="127" y="1780"/>
                  </a:lnTo>
                  <a:lnTo>
                    <a:pt x="127" y="1781"/>
                  </a:lnTo>
                  <a:lnTo>
                    <a:pt x="126" y="1780"/>
                  </a:lnTo>
                  <a:lnTo>
                    <a:pt x="126" y="1778"/>
                  </a:lnTo>
                  <a:lnTo>
                    <a:pt x="124" y="1778"/>
                  </a:lnTo>
                  <a:lnTo>
                    <a:pt x="122" y="1778"/>
                  </a:lnTo>
                  <a:lnTo>
                    <a:pt x="122" y="1777"/>
                  </a:lnTo>
                  <a:lnTo>
                    <a:pt x="121" y="1777"/>
                  </a:lnTo>
                  <a:lnTo>
                    <a:pt x="119" y="1777"/>
                  </a:lnTo>
                  <a:lnTo>
                    <a:pt x="117" y="1775"/>
                  </a:lnTo>
                  <a:lnTo>
                    <a:pt x="117" y="1777"/>
                  </a:lnTo>
                  <a:lnTo>
                    <a:pt x="117" y="1775"/>
                  </a:lnTo>
                  <a:lnTo>
                    <a:pt x="116" y="1773"/>
                  </a:lnTo>
                  <a:lnTo>
                    <a:pt x="116" y="1775"/>
                  </a:lnTo>
                  <a:lnTo>
                    <a:pt x="114" y="1773"/>
                  </a:lnTo>
                  <a:lnTo>
                    <a:pt x="114" y="1775"/>
                  </a:lnTo>
                  <a:lnTo>
                    <a:pt x="114" y="1773"/>
                  </a:lnTo>
                  <a:lnTo>
                    <a:pt x="113" y="1772"/>
                  </a:lnTo>
                  <a:lnTo>
                    <a:pt x="114" y="1772"/>
                  </a:lnTo>
                  <a:lnTo>
                    <a:pt x="114" y="1770"/>
                  </a:lnTo>
                  <a:lnTo>
                    <a:pt x="113" y="1770"/>
                  </a:lnTo>
                  <a:lnTo>
                    <a:pt x="113" y="1768"/>
                  </a:lnTo>
                  <a:lnTo>
                    <a:pt x="114" y="1768"/>
                  </a:lnTo>
                  <a:lnTo>
                    <a:pt x="113" y="1768"/>
                  </a:lnTo>
                  <a:lnTo>
                    <a:pt x="113" y="1767"/>
                  </a:lnTo>
                  <a:lnTo>
                    <a:pt x="114" y="1767"/>
                  </a:lnTo>
                  <a:lnTo>
                    <a:pt x="113" y="1767"/>
                  </a:lnTo>
                  <a:lnTo>
                    <a:pt x="114" y="1765"/>
                  </a:lnTo>
                  <a:lnTo>
                    <a:pt x="113" y="1765"/>
                  </a:lnTo>
                  <a:lnTo>
                    <a:pt x="113" y="1764"/>
                  </a:lnTo>
                  <a:lnTo>
                    <a:pt x="114" y="1764"/>
                  </a:lnTo>
                  <a:lnTo>
                    <a:pt x="113" y="1762"/>
                  </a:lnTo>
                  <a:lnTo>
                    <a:pt x="113" y="1760"/>
                  </a:lnTo>
                  <a:lnTo>
                    <a:pt x="111" y="1760"/>
                  </a:lnTo>
                  <a:lnTo>
                    <a:pt x="111" y="1759"/>
                  </a:lnTo>
                  <a:lnTo>
                    <a:pt x="109" y="1759"/>
                  </a:lnTo>
                  <a:lnTo>
                    <a:pt x="109" y="1757"/>
                  </a:lnTo>
                  <a:lnTo>
                    <a:pt x="108" y="1757"/>
                  </a:lnTo>
                  <a:lnTo>
                    <a:pt x="108" y="1755"/>
                  </a:lnTo>
                  <a:lnTo>
                    <a:pt x="106" y="1755"/>
                  </a:lnTo>
                  <a:lnTo>
                    <a:pt x="106" y="1754"/>
                  </a:lnTo>
                  <a:lnTo>
                    <a:pt x="108" y="1754"/>
                  </a:lnTo>
                  <a:lnTo>
                    <a:pt x="106" y="1754"/>
                  </a:lnTo>
                  <a:lnTo>
                    <a:pt x="106" y="1752"/>
                  </a:lnTo>
                  <a:lnTo>
                    <a:pt x="106" y="1754"/>
                  </a:lnTo>
                  <a:lnTo>
                    <a:pt x="104" y="1754"/>
                  </a:lnTo>
                  <a:lnTo>
                    <a:pt x="104" y="1752"/>
                  </a:lnTo>
                  <a:lnTo>
                    <a:pt x="106" y="1752"/>
                  </a:lnTo>
                  <a:lnTo>
                    <a:pt x="106" y="1751"/>
                  </a:lnTo>
                  <a:lnTo>
                    <a:pt x="104" y="1751"/>
                  </a:lnTo>
                  <a:lnTo>
                    <a:pt x="103" y="1751"/>
                  </a:lnTo>
                  <a:lnTo>
                    <a:pt x="104" y="1749"/>
                  </a:lnTo>
                  <a:lnTo>
                    <a:pt x="103" y="1747"/>
                  </a:lnTo>
                  <a:lnTo>
                    <a:pt x="104" y="1747"/>
                  </a:lnTo>
                  <a:lnTo>
                    <a:pt x="104" y="1746"/>
                  </a:lnTo>
                  <a:lnTo>
                    <a:pt x="103" y="1747"/>
                  </a:lnTo>
                  <a:lnTo>
                    <a:pt x="104" y="1746"/>
                  </a:lnTo>
                  <a:lnTo>
                    <a:pt x="103" y="1746"/>
                  </a:lnTo>
                  <a:lnTo>
                    <a:pt x="103" y="1747"/>
                  </a:lnTo>
                  <a:lnTo>
                    <a:pt x="101" y="1747"/>
                  </a:lnTo>
                  <a:lnTo>
                    <a:pt x="101" y="1746"/>
                  </a:lnTo>
                  <a:lnTo>
                    <a:pt x="100" y="1746"/>
                  </a:lnTo>
                  <a:lnTo>
                    <a:pt x="101" y="1746"/>
                  </a:lnTo>
                  <a:lnTo>
                    <a:pt x="101" y="1744"/>
                  </a:lnTo>
                  <a:lnTo>
                    <a:pt x="103" y="1744"/>
                  </a:lnTo>
                  <a:lnTo>
                    <a:pt x="101" y="1744"/>
                  </a:lnTo>
                  <a:lnTo>
                    <a:pt x="101" y="1742"/>
                  </a:lnTo>
                  <a:lnTo>
                    <a:pt x="101" y="1741"/>
                  </a:lnTo>
                  <a:lnTo>
                    <a:pt x="103" y="1741"/>
                  </a:lnTo>
                  <a:lnTo>
                    <a:pt x="103" y="1739"/>
                  </a:lnTo>
                  <a:lnTo>
                    <a:pt x="101" y="1739"/>
                  </a:lnTo>
                  <a:lnTo>
                    <a:pt x="101" y="1738"/>
                  </a:lnTo>
                  <a:lnTo>
                    <a:pt x="101" y="1736"/>
                  </a:lnTo>
                  <a:lnTo>
                    <a:pt x="100" y="1736"/>
                  </a:lnTo>
                  <a:lnTo>
                    <a:pt x="98" y="1736"/>
                  </a:lnTo>
                  <a:lnTo>
                    <a:pt x="96" y="1736"/>
                  </a:lnTo>
                  <a:lnTo>
                    <a:pt x="96" y="1734"/>
                  </a:lnTo>
                  <a:lnTo>
                    <a:pt x="98" y="1734"/>
                  </a:lnTo>
                  <a:lnTo>
                    <a:pt x="100" y="1734"/>
                  </a:lnTo>
                  <a:lnTo>
                    <a:pt x="100" y="1733"/>
                  </a:lnTo>
                  <a:lnTo>
                    <a:pt x="101" y="1733"/>
                  </a:lnTo>
                  <a:lnTo>
                    <a:pt x="101" y="1731"/>
                  </a:lnTo>
                  <a:lnTo>
                    <a:pt x="100" y="1731"/>
                  </a:lnTo>
                  <a:lnTo>
                    <a:pt x="98" y="1731"/>
                  </a:lnTo>
                  <a:lnTo>
                    <a:pt x="98" y="1733"/>
                  </a:lnTo>
                  <a:lnTo>
                    <a:pt x="96" y="1733"/>
                  </a:lnTo>
                  <a:lnTo>
                    <a:pt x="95" y="1733"/>
                  </a:lnTo>
                  <a:lnTo>
                    <a:pt x="95" y="1731"/>
                  </a:lnTo>
                  <a:lnTo>
                    <a:pt x="93" y="1731"/>
                  </a:lnTo>
                  <a:lnTo>
                    <a:pt x="91" y="1729"/>
                  </a:lnTo>
                  <a:lnTo>
                    <a:pt x="91" y="1728"/>
                  </a:lnTo>
                  <a:lnTo>
                    <a:pt x="93" y="1729"/>
                  </a:lnTo>
                  <a:lnTo>
                    <a:pt x="93" y="1728"/>
                  </a:lnTo>
                  <a:lnTo>
                    <a:pt x="95" y="1728"/>
                  </a:lnTo>
                  <a:lnTo>
                    <a:pt x="93" y="1728"/>
                  </a:lnTo>
                  <a:lnTo>
                    <a:pt x="95" y="1728"/>
                  </a:lnTo>
                  <a:lnTo>
                    <a:pt x="95" y="1726"/>
                  </a:lnTo>
                  <a:lnTo>
                    <a:pt x="93" y="1726"/>
                  </a:lnTo>
                  <a:lnTo>
                    <a:pt x="93" y="1728"/>
                  </a:lnTo>
                  <a:lnTo>
                    <a:pt x="91" y="1728"/>
                  </a:lnTo>
                  <a:lnTo>
                    <a:pt x="91" y="1726"/>
                  </a:lnTo>
                  <a:lnTo>
                    <a:pt x="93" y="1724"/>
                  </a:lnTo>
                  <a:lnTo>
                    <a:pt x="93" y="1723"/>
                  </a:lnTo>
                  <a:lnTo>
                    <a:pt x="95" y="1723"/>
                  </a:lnTo>
                  <a:lnTo>
                    <a:pt x="96" y="1723"/>
                  </a:lnTo>
                  <a:lnTo>
                    <a:pt x="96" y="1721"/>
                  </a:lnTo>
                  <a:lnTo>
                    <a:pt x="96" y="1720"/>
                  </a:lnTo>
                  <a:lnTo>
                    <a:pt x="98" y="1720"/>
                  </a:lnTo>
                  <a:lnTo>
                    <a:pt x="96" y="1720"/>
                  </a:lnTo>
                  <a:lnTo>
                    <a:pt x="98" y="1718"/>
                  </a:lnTo>
                  <a:lnTo>
                    <a:pt x="96" y="1718"/>
                  </a:lnTo>
                  <a:lnTo>
                    <a:pt x="96" y="1716"/>
                  </a:lnTo>
                  <a:lnTo>
                    <a:pt x="96" y="1715"/>
                  </a:lnTo>
                  <a:lnTo>
                    <a:pt x="95" y="1715"/>
                  </a:lnTo>
                  <a:lnTo>
                    <a:pt x="95" y="1716"/>
                  </a:lnTo>
                  <a:lnTo>
                    <a:pt x="95" y="1715"/>
                  </a:lnTo>
                  <a:lnTo>
                    <a:pt x="93" y="1713"/>
                  </a:lnTo>
                  <a:lnTo>
                    <a:pt x="93" y="1715"/>
                  </a:lnTo>
                  <a:lnTo>
                    <a:pt x="91" y="1715"/>
                  </a:lnTo>
                  <a:lnTo>
                    <a:pt x="90" y="1715"/>
                  </a:lnTo>
                  <a:lnTo>
                    <a:pt x="90" y="1713"/>
                  </a:lnTo>
                  <a:lnTo>
                    <a:pt x="90" y="1711"/>
                  </a:lnTo>
                  <a:lnTo>
                    <a:pt x="90" y="1710"/>
                  </a:lnTo>
                  <a:lnTo>
                    <a:pt x="91" y="1710"/>
                  </a:lnTo>
                  <a:lnTo>
                    <a:pt x="93" y="1708"/>
                  </a:lnTo>
                  <a:lnTo>
                    <a:pt x="93" y="1707"/>
                  </a:lnTo>
                  <a:lnTo>
                    <a:pt x="93" y="1705"/>
                  </a:lnTo>
                  <a:lnTo>
                    <a:pt x="93" y="1707"/>
                  </a:lnTo>
                  <a:lnTo>
                    <a:pt x="91" y="1707"/>
                  </a:lnTo>
                  <a:lnTo>
                    <a:pt x="90" y="1707"/>
                  </a:lnTo>
                  <a:lnTo>
                    <a:pt x="90" y="1705"/>
                  </a:lnTo>
                  <a:lnTo>
                    <a:pt x="91" y="1705"/>
                  </a:lnTo>
                  <a:lnTo>
                    <a:pt x="91" y="1703"/>
                  </a:lnTo>
                  <a:lnTo>
                    <a:pt x="91" y="1702"/>
                  </a:lnTo>
                  <a:lnTo>
                    <a:pt x="93" y="1702"/>
                  </a:lnTo>
                  <a:lnTo>
                    <a:pt x="91" y="1702"/>
                  </a:lnTo>
                  <a:lnTo>
                    <a:pt x="91" y="1700"/>
                  </a:lnTo>
                  <a:lnTo>
                    <a:pt x="90" y="1700"/>
                  </a:lnTo>
                  <a:lnTo>
                    <a:pt x="90" y="1698"/>
                  </a:lnTo>
                  <a:lnTo>
                    <a:pt x="88" y="1698"/>
                  </a:lnTo>
                  <a:lnTo>
                    <a:pt x="90" y="1698"/>
                  </a:lnTo>
                  <a:lnTo>
                    <a:pt x="88" y="1697"/>
                  </a:lnTo>
                  <a:lnTo>
                    <a:pt x="88" y="1698"/>
                  </a:lnTo>
                  <a:lnTo>
                    <a:pt x="88" y="1700"/>
                  </a:lnTo>
                  <a:lnTo>
                    <a:pt x="87" y="1702"/>
                  </a:lnTo>
                  <a:lnTo>
                    <a:pt x="87" y="1703"/>
                  </a:lnTo>
                  <a:lnTo>
                    <a:pt x="87" y="1705"/>
                  </a:lnTo>
                  <a:lnTo>
                    <a:pt x="85" y="1707"/>
                  </a:lnTo>
                  <a:lnTo>
                    <a:pt x="87" y="1707"/>
                  </a:lnTo>
                  <a:lnTo>
                    <a:pt x="85" y="1708"/>
                  </a:lnTo>
                  <a:lnTo>
                    <a:pt x="87" y="1710"/>
                  </a:lnTo>
                  <a:lnTo>
                    <a:pt x="85" y="1710"/>
                  </a:lnTo>
                  <a:lnTo>
                    <a:pt x="85" y="1711"/>
                  </a:lnTo>
                  <a:lnTo>
                    <a:pt x="85" y="1713"/>
                  </a:lnTo>
                  <a:lnTo>
                    <a:pt x="85" y="1715"/>
                  </a:lnTo>
                  <a:lnTo>
                    <a:pt x="83" y="1715"/>
                  </a:lnTo>
                  <a:lnTo>
                    <a:pt x="83" y="1713"/>
                  </a:lnTo>
                  <a:lnTo>
                    <a:pt x="83" y="1711"/>
                  </a:lnTo>
                  <a:lnTo>
                    <a:pt x="83" y="1710"/>
                  </a:lnTo>
                  <a:lnTo>
                    <a:pt x="82" y="1711"/>
                  </a:lnTo>
                  <a:lnTo>
                    <a:pt x="82" y="1713"/>
                  </a:lnTo>
                  <a:lnTo>
                    <a:pt x="80" y="1713"/>
                  </a:lnTo>
                  <a:lnTo>
                    <a:pt x="80" y="1711"/>
                  </a:lnTo>
                  <a:lnTo>
                    <a:pt x="80" y="1710"/>
                  </a:lnTo>
                  <a:lnTo>
                    <a:pt x="80" y="1708"/>
                  </a:lnTo>
                  <a:lnTo>
                    <a:pt x="82" y="1708"/>
                  </a:lnTo>
                  <a:lnTo>
                    <a:pt x="80" y="1708"/>
                  </a:lnTo>
                  <a:lnTo>
                    <a:pt x="80" y="1707"/>
                  </a:lnTo>
                  <a:lnTo>
                    <a:pt x="80" y="1708"/>
                  </a:lnTo>
                  <a:lnTo>
                    <a:pt x="78" y="1708"/>
                  </a:lnTo>
                  <a:lnTo>
                    <a:pt x="78" y="1707"/>
                  </a:lnTo>
                  <a:lnTo>
                    <a:pt x="80" y="1707"/>
                  </a:lnTo>
                  <a:lnTo>
                    <a:pt x="78" y="1707"/>
                  </a:lnTo>
                  <a:lnTo>
                    <a:pt x="78" y="1708"/>
                  </a:lnTo>
                  <a:lnTo>
                    <a:pt x="78" y="1707"/>
                  </a:lnTo>
                  <a:lnTo>
                    <a:pt x="77" y="1707"/>
                  </a:lnTo>
                  <a:lnTo>
                    <a:pt x="78" y="1705"/>
                  </a:lnTo>
                  <a:lnTo>
                    <a:pt x="78" y="1703"/>
                  </a:lnTo>
                  <a:lnTo>
                    <a:pt x="77" y="1705"/>
                  </a:lnTo>
                  <a:lnTo>
                    <a:pt x="77" y="1703"/>
                  </a:lnTo>
                  <a:lnTo>
                    <a:pt x="78" y="1703"/>
                  </a:lnTo>
                  <a:lnTo>
                    <a:pt x="78" y="1702"/>
                  </a:lnTo>
                  <a:lnTo>
                    <a:pt x="77" y="1702"/>
                  </a:lnTo>
                  <a:lnTo>
                    <a:pt x="78" y="1702"/>
                  </a:lnTo>
                  <a:lnTo>
                    <a:pt x="77" y="1702"/>
                  </a:lnTo>
                  <a:lnTo>
                    <a:pt x="77" y="1700"/>
                  </a:lnTo>
                  <a:lnTo>
                    <a:pt x="75" y="1700"/>
                  </a:lnTo>
                  <a:lnTo>
                    <a:pt x="77" y="1698"/>
                  </a:lnTo>
                  <a:lnTo>
                    <a:pt x="77" y="1700"/>
                  </a:lnTo>
                  <a:lnTo>
                    <a:pt x="77" y="1698"/>
                  </a:lnTo>
                  <a:lnTo>
                    <a:pt x="77" y="1697"/>
                  </a:lnTo>
                  <a:lnTo>
                    <a:pt x="77" y="1695"/>
                  </a:lnTo>
                  <a:lnTo>
                    <a:pt x="77" y="1697"/>
                  </a:lnTo>
                  <a:lnTo>
                    <a:pt x="77" y="1695"/>
                  </a:lnTo>
                  <a:lnTo>
                    <a:pt x="78" y="1695"/>
                  </a:lnTo>
                  <a:lnTo>
                    <a:pt x="78" y="1697"/>
                  </a:lnTo>
                  <a:lnTo>
                    <a:pt x="78" y="1695"/>
                  </a:lnTo>
                  <a:lnTo>
                    <a:pt x="77" y="1695"/>
                  </a:lnTo>
                  <a:lnTo>
                    <a:pt x="77" y="1694"/>
                  </a:lnTo>
                  <a:lnTo>
                    <a:pt x="78" y="1694"/>
                  </a:lnTo>
                  <a:lnTo>
                    <a:pt x="80" y="1694"/>
                  </a:lnTo>
                  <a:lnTo>
                    <a:pt x="80" y="1692"/>
                  </a:lnTo>
                  <a:lnTo>
                    <a:pt x="78" y="1692"/>
                  </a:lnTo>
                  <a:lnTo>
                    <a:pt x="77" y="1692"/>
                  </a:lnTo>
                  <a:lnTo>
                    <a:pt x="77" y="1690"/>
                  </a:lnTo>
                  <a:lnTo>
                    <a:pt x="78" y="1690"/>
                  </a:lnTo>
                  <a:lnTo>
                    <a:pt x="78" y="1689"/>
                  </a:lnTo>
                  <a:lnTo>
                    <a:pt x="77" y="1689"/>
                  </a:lnTo>
                  <a:lnTo>
                    <a:pt x="78" y="1687"/>
                  </a:lnTo>
                  <a:lnTo>
                    <a:pt x="77" y="1687"/>
                  </a:lnTo>
                  <a:lnTo>
                    <a:pt x="77" y="1689"/>
                  </a:lnTo>
                  <a:lnTo>
                    <a:pt x="77" y="1687"/>
                  </a:lnTo>
                  <a:lnTo>
                    <a:pt x="77" y="1685"/>
                  </a:lnTo>
                  <a:close/>
                  <a:moveTo>
                    <a:pt x="493" y="1451"/>
                  </a:moveTo>
                  <a:lnTo>
                    <a:pt x="493" y="1453"/>
                  </a:lnTo>
                  <a:lnTo>
                    <a:pt x="493" y="1450"/>
                  </a:lnTo>
                  <a:lnTo>
                    <a:pt x="493" y="1451"/>
                  </a:lnTo>
                  <a:close/>
                  <a:moveTo>
                    <a:pt x="594" y="1591"/>
                  </a:moveTo>
                  <a:lnTo>
                    <a:pt x="596" y="1591"/>
                  </a:lnTo>
                  <a:lnTo>
                    <a:pt x="596" y="1593"/>
                  </a:lnTo>
                  <a:lnTo>
                    <a:pt x="597" y="1593"/>
                  </a:lnTo>
                  <a:lnTo>
                    <a:pt x="597" y="1594"/>
                  </a:lnTo>
                  <a:lnTo>
                    <a:pt x="597" y="1596"/>
                  </a:lnTo>
                  <a:lnTo>
                    <a:pt x="599" y="1596"/>
                  </a:lnTo>
                  <a:lnTo>
                    <a:pt x="599" y="1598"/>
                  </a:lnTo>
                  <a:lnTo>
                    <a:pt x="599" y="1599"/>
                  </a:lnTo>
                  <a:lnTo>
                    <a:pt x="601" y="1601"/>
                  </a:lnTo>
                  <a:lnTo>
                    <a:pt x="601" y="1603"/>
                  </a:lnTo>
                  <a:lnTo>
                    <a:pt x="601" y="1604"/>
                  </a:lnTo>
                  <a:lnTo>
                    <a:pt x="601" y="1606"/>
                  </a:lnTo>
                  <a:lnTo>
                    <a:pt x="602" y="1606"/>
                  </a:lnTo>
                  <a:lnTo>
                    <a:pt x="602" y="1604"/>
                  </a:lnTo>
                  <a:lnTo>
                    <a:pt x="601" y="1604"/>
                  </a:lnTo>
                  <a:lnTo>
                    <a:pt x="602" y="1604"/>
                  </a:lnTo>
                  <a:lnTo>
                    <a:pt x="602" y="1603"/>
                  </a:lnTo>
                  <a:lnTo>
                    <a:pt x="601" y="1603"/>
                  </a:lnTo>
                  <a:lnTo>
                    <a:pt x="602" y="1603"/>
                  </a:lnTo>
                  <a:lnTo>
                    <a:pt x="602" y="1601"/>
                  </a:lnTo>
                  <a:lnTo>
                    <a:pt x="602" y="1599"/>
                  </a:lnTo>
                  <a:lnTo>
                    <a:pt x="602" y="1598"/>
                  </a:lnTo>
                  <a:lnTo>
                    <a:pt x="604" y="1598"/>
                  </a:lnTo>
                  <a:lnTo>
                    <a:pt x="604" y="1596"/>
                  </a:lnTo>
                  <a:lnTo>
                    <a:pt x="602" y="1594"/>
                  </a:lnTo>
                  <a:lnTo>
                    <a:pt x="602" y="1593"/>
                  </a:lnTo>
                  <a:lnTo>
                    <a:pt x="604" y="1591"/>
                  </a:lnTo>
                  <a:lnTo>
                    <a:pt x="605" y="1591"/>
                  </a:lnTo>
                  <a:lnTo>
                    <a:pt x="607" y="1591"/>
                  </a:lnTo>
                  <a:lnTo>
                    <a:pt x="607" y="1590"/>
                  </a:lnTo>
                  <a:lnTo>
                    <a:pt x="607" y="1591"/>
                  </a:lnTo>
                  <a:lnTo>
                    <a:pt x="609" y="1591"/>
                  </a:lnTo>
                  <a:lnTo>
                    <a:pt x="609" y="1590"/>
                  </a:lnTo>
                  <a:lnTo>
                    <a:pt x="610" y="1591"/>
                  </a:lnTo>
                  <a:lnTo>
                    <a:pt x="612" y="1591"/>
                  </a:lnTo>
                  <a:lnTo>
                    <a:pt x="614" y="1591"/>
                  </a:lnTo>
                  <a:lnTo>
                    <a:pt x="615" y="1591"/>
                  </a:lnTo>
                  <a:lnTo>
                    <a:pt x="615" y="1590"/>
                  </a:lnTo>
                  <a:lnTo>
                    <a:pt x="617" y="1590"/>
                  </a:lnTo>
                  <a:lnTo>
                    <a:pt x="617" y="1591"/>
                  </a:lnTo>
                  <a:lnTo>
                    <a:pt x="617" y="1594"/>
                  </a:lnTo>
                  <a:lnTo>
                    <a:pt x="618" y="1596"/>
                  </a:lnTo>
                  <a:lnTo>
                    <a:pt x="618" y="1598"/>
                  </a:lnTo>
                  <a:lnTo>
                    <a:pt x="620" y="1598"/>
                  </a:lnTo>
                  <a:lnTo>
                    <a:pt x="622" y="1599"/>
                  </a:lnTo>
                  <a:lnTo>
                    <a:pt x="623" y="1601"/>
                  </a:lnTo>
                  <a:lnTo>
                    <a:pt x="623" y="1603"/>
                  </a:lnTo>
                  <a:lnTo>
                    <a:pt x="625" y="1604"/>
                  </a:lnTo>
                  <a:lnTo>
                    <a:pt x="623" y="1604"/>
                  </a:lnTo>
                  <a:lnTo>
                    <a:pt x="623" y="1603"/>
                  </a:lnTo>
                  <a:lnTo>
                    <a:pt x="622" y="1603"/>
                  </a:lnTo>
                  <a:lnTo>
                    <a:pt x="622" y="1601"/>
                  </a:lnTo>
                  <a:lnTo>
                    <a:pt x="622" y="1603"/>
                  </a:lnTo>
                  <a:lnTo>
                    <a:pt x="620" y="1603"/>
                  </a:lnTo>
                  <a:lnTo>
                    <a:pt x="618" y="1603"/>
                  </a:lnTo>
                  <a:lnTo>
                    <a:pt x="618" y="1604"/>
                  </a:lnTo>
                  <a:lnTo>
                    <a:pt x="618" y="1606"/>
                  </a:lnTo>
                  <a:lnTo>
                    <a:pt x="617" y="1607"/>
                  </a:lnTo>
                  <a:lnTo>
                    <a:pt x="617" y="1609"/>
                  </a:lnTo>
                  <a:lnTo>
                    <a:pt x="617" y="1611"/>
                  </a:lnTo>
                  <a:lnTo>
                    <a:pt x="617" y="1612"/>
                  </a:lnTo>
                  <a:lnTo>
                    <a:pt x="617" y="1611"/>
                  </a:lnTo>
                  <a:lnTo>
                    <a:pt x="615" y="1611"/>
                  </a:lnTo>
                  <a:lnTo>
                    <a:pt x="614" y="1609"/>
                  </a:lnTo>
                  <a:lnTo>
                    <a:pt x="614" y="1611"/>
                  </a:lnTo>
                  <a:lnTo>
                    <a:pt x="614" y="1612"/>
                  </a:lnTo>
                  <a:lnTo>
                    <a:pt x="615" y="1614"/>
                  </a:lnTo>
                  <a:lnTo>
                    <a:pt x="614" y="1614"/>
                  </a:lnTo>
                  <a:lnTo>
                    <a:pt x="615" y="1616"/>
                  </a:lnTo>
                  <a:lnTo>
                    <a:pt x="615" y="1617"/>
                  </a:lnTo>
                  <a:lnTo>
                    <a:pt x="615" y="1619"/>
                  </a:lnTo>
                  <a:lnTo>
                    <a:pt x="614" y="1619"/>
                  </a:lnTo>
                  <a:lnTo>
                    <a:pt x="614" y="1617"/>
                  </a:lnTo>
                  <a:lnTo>
                    <a:pt x="612" y="1617"/>
                  </a:lnTo>
                  <a:lnTo>
                    <a:pt x="612" y="1619"/>
                  </a:lnTo>
                  <a:lnTo>
                    <a:pt x="612" y="1620"/>
                  </a:lnTo>
                  <a:lnTo>
                    <a:pt x="610" y="1620"/>
                  </a:lnTo>
                  <a:lnTo>
                    <a:pt x="610" y="1619"/>
                  </a:lnTo>
                  <a:lnTo>
                    <a:pt x="610" y="1617"/>
                  </a:lnTo>
                  <a:lnTo>
                    <a:pt x="609" y="1617"/>
                  </a:lnTo>
                  <a:lnTo>
                    <a:pt x="609" y="1619"/>
                  </a:lnTo>
                  <a:lnTo>
                    <a:pt x="609" y="1620"/>
                  </a:lnTo>
                  <a:lnTo>
                    <a:pt x="607" y="1619"/>
                  </a:lnTo>
                  <a:lnTo>
                    <a:pt x="607" y="1620"/>
                  </a:lnTo>
                  <a:lnTo>
                    <a:pt x="607" y="1619"/>
                  </a:lnTo>
                  <a:lnTo>
                    <a:pt x="605" y="1619"/>
                  </a:lnTo>
                  <a:lnTo>
                    <a:pt x="605" y="1617"/>
                  </a:lnTo>
                  <a:lnTo>
                    <a:pt x="604" y="1617"/>
                  </a:lnTo>
                  <a:lnTo>
                    <a:pt x="604" y="1616"/>
                  </a:lnTo>
                  <a:lnTo>
                    <a:pt x="604" y="1617"/>
                  </a:lnTo>
                  <a:lnTo>
                    <a:pt x="604" y="1619"/>
                  </a:lnTo>
                  <a:lnTo>
                    <a:pt x="604" y="1620"/>
                  </a:lnTo>
                  <a:lnTo>
                    <a:pt x="604" y="1622"/>
                  </a:lnTo>
                  <a:lnTo>
                    <a:pt x="605" y="1622"/>
                  </a:lnTo>
                  <a:lnTo>
                    <a:pt x="604" y="1622"/>
                  </a:lnTo>
                  <a:lnTo>
                    <a:pt x="605" y="1622"/>
                  </a:lnTo>
                  <a:lnTo>
                    <a:pt x="605" y="1624"/>
                  </a:lnTo>
                  <a:lnTo>
                    <a:pt x="604" y="1624"/>
                  </a:lnTo>
                  <a:lnTo>
                    <a:pt x="602" y="1624"/>
                  </a:lnTo>
                  <a:lnTo>
                    <a:pt x="602" y="1625"/>
                  </a:lnTo>
                  <a:lnTo>
                    <a:pt x="604" y="1625"/>
                  </a:lnTo>
                  <a:lnTo>
                    <a:pt x="604" y="1624"/>
                  </a:lnTo>
                  <a:lnTo>
                    <a:pt x="604" y="1625"/>
                  </a:lnTo>
                  <a:lnTo>
                    <a:pt x="605" y="1625"/>
                  </a:lnTo>
                  <a:lnTo>
                    <a:pt x="605" y="1627"/>
                  </a:lnTo>
                  <a:lnTo>
                    <a:pt x="604" y="1627"/>
                  </a:lnTo>
                  <a:lnTo>
                    <a:pt x="605" y="1629"/>
                  </a:lnTo>
                  <a:lnTo>
                    <a:pt x="605" y="1630"/>
                  </a:lnTo>
                  <a:lnTo>
                    <a:pt x="604" y="1630"/>
                  </a:lnTo>
                  <a:lnTo>
                    <a:pt x="602" y="1632"/>
                  </a:lnTo>
                  <a:lnTo>
                    <a:pt x="602" y="1633"/>
                  </a:lnTo>
                  <a:lnTo>
                    <a:pt x="604" y="1633"/>
                  </a:lnTo>
                  <a:lnTo>
                    <a:pt x="602" y="1633"/>
                  </a:lnTo>
                  <a:lnTo>
                    <a:pt x="602" y="1635"/>
                  </a:lnTo>
                  <a:lnTo>
                    <a:pt x="604" y="1637"/>
                  </a:lnTo>
                  <a:lnTo>
                    <a:pt x="605" y="1637"/>
                  </a:lnTo>
                  <a:lnTo>
                    <a:pt x="607" y="1637"/>
                  </a:lnTo>
                  <a:lnTo>
                    <a:pt x="607" y="1638"/>
                  </a:lnTo>
                  <a:lnTo>
                    <a:pt x="605" y="1638"/>
                  </a:lnTo>
                  <a:lnTo>
                    <a:pt x="605" y="1640"/>
                  </a:lnTo>
                  <a:lnTo>
                    <a:pt x="607" y="1640"/>
                  </a:lnTo>
                  <a:lnTo>
                    <a:pt x="605" y="1640"/>
                  </a:lnTo>
                  <a:lnTo>
                    <a:pt x="605" y="1642"/>
                  </a:lnTo>
                  <a:lnTo>
                    <a:pt x="607" y="1642"/>
                  </a:lnTo>
                  <a:lnTo>
                    <a:pt x="607" y="1643"/>
                  </a:lnTo>
                  <a:lnTo>
                    <a:pt x="607" y="1645"/>
                  </a:lnTo>
                  <a:lnTo>
                    <a:pt x="607" y="1643"/>
                  </a:lnTo>
                  <a:lnTo>
                    <a:pt x="605" y="1645"/>
                  </a:lnTo>
                  <a:lnTo>
                    <a:pt x="607" y="1645"/>
                  </a:lnTo>
                  <a:lnTo>
                    <a:pt x="607" y="1646"/>
                  </a:lnTo>
                  <a:lnTo>
                    <a:pt x="605" y="1646"/>
                  </a:lnTo>
                  <a:lnTo>
                    <a:pt x="605" y="1648"/>
                  </a:lnTo>
                  <a:lnTo>
                    <a:pt x="604" y="1648"/>
                  </a:lnTo>
                  <a:lnTo>
                    <a:pt x="605" y="1650"/>
                  </a:lnTo>
                  <a:lnTo>
                    <a:pt x="604" y="1650"/>
                  </a:lnTo>
                  <a:lnTo>
                    <a:pt x="604" y="1651"/>
                  </a:lnTo>
                  <a:lnTo>
                    <a:pt x="605" y="1653"/>
                  </a:lnTo>
                  <a:lnTo>
                    <a:pt x="607" y="1655"/>
                  </a:lnTo>
                  <a:lnTo>
                    <a:pt x="605" y="1655"/>
                  </a:lnTo>
                  <a:lnTo>
                    <a:pt x="605" y="1656"/>
                  </a:lnTo>
                  <a:lnTo>
                    <a:pt x="607" y="1656"/>
                  </a:lnTo>
                  <a:lnTo>
                    <a:pt x="609" y="1656"/>
                  </a:lnTo>
                  <a:lnTo>
                    <a:pt x="609" y="1658"/>
                  </a:lnTo>
                  <a:lnTo>
                    <a:pt x="607" y="1659"/>
                  </a:lnTo>
                  <a:lnTo>
                    <a:pt x="609" y="1659"/>
                  </a:lnTo>
                  <a:lnTo>
                    <a:pt x="610" y="1661"/>
                  </a:lnTo>
                  <a:lnTo>
                    <a:pt x="610" y="1659"/>
                  </a:lnTo>
                  <a:lnTo>
                    <a:pt x="612" y="1659"/>
                  </a:lnTo>
                  <a:lnTo>
                    <a:pt x="612" y="1661"/>
                  </a:lnTo>
                  <a:lnTo>
                    <a:pt x="614" y="1661"/>
                  </a:lnTo>
                  <a:lnTo>
                    <a:pt x="614" y="1659"/>
                  </a:lnTo>
                  <a:lnTo>
                    <a:pt x="615" y="1659"/>
                  </a:lnTo>
                  <a:lnTo>
                    <a:pt x="617" y="1659"/>
                  </a:lnTo>
                  <a:lnTo>
                    <a:pt x="617" y="1661"/>
                  </a:lnTo>
                  <a:lnTo>
                    <a:pt x="618" y="1661"/>
                  </a:lnTo>
                  <a:lnTo>
                    <a:pt x="618" y="1663"/>
                  </a:lnTo>
                  <a:lnTo>
                    <a:pt x="618" y="1664"/>
                  </a:lnTo>
                  <a:lnTo>
                    <a:pt x="618" y="1666"/>
                  </a:lnTo>
                  <a:lnTo>
                    <a:pt x="617" y="1666"/>
                  </a:lnTo>
                  <a:lnTo>
                    <a:pt x="617" y="1668"/>
                  </a:lnTo>
                  <a:lnTo>
                    <a:pt x="615" y="1668"/>
                  </a:lnTo>
                  <a:lnTo>
                    <a:pt x="617" y="1666"/>
                  </a:lnTo>
                  <a:lnTo>
                    <a:pt x="615" y="1666"/>
                  </a:lnTo>
                  <a:lnTo>
                    <a:pt x="614" y="1666"/>
                  </a:lnTo>
                  <a:lnTo>
                    <a:pt x="614" y="1668"/>
                  </a:lnTo>
                  <a:lnTo>
                    <a:pt x="612" y="1669"/>
                  </a:lnTo>
                  <a:lnTo>
                    <a:pt x="612" y="1668"/>
                  </a:lnTo>
                  <a:lnTo>
                    <a:pt x="612" y="1669"/>
                  </a:lnTo>
                  <a:lnTo>
                    <a:pt x="610" y="1669"/>
                  </a:lnTo>
                  <a:lnTo>
                    <a:pt x="612" y="1669"/>
                  </a:lnTo>
                  <a:lnTo>
                    <a:pt x="610" y="1671"/>
                  </a:lnTo>
                  <a:lnTo>
                    <a:pt x="610" y="1669"/>
                  </a:lnTo>
                  <a:lnTo>
                    <a:pt x="609" y="1669"/>
                  </a:lnTo>
                  <a:lnTo>
                    <a:pt x="609" y="1671"/>
                  </a:lnTo>
                  <a:lnTo>
                    <a:pt x="607" y="1672"/>
                  </a:lnTo>
                  <a:lnTo>
                    <a:pt x="605" y="1672"/>
                  </a:lnTo>
                  <a:lnTo>
                    <a:pt x="605" y="1674"/>
                  </a:lnTo>
                  <a:lnTo>
                    <a:pt x="604" y="1676"/>
                  </a:lnTo>
                  <a:lnTo>
                    <a:pt x="604" y="1677"/>
                  </a:lnTo>
                  <a:lnTo>
                    <a:pt x="604" y="1679"/>
                  </a:lnTo>
                  <a:lnTo>
                    <a:pt x="602" y="1679"/>
                  </a:lnTo>
                  <a:lnTo>
                    <a:pt x="601" y="1681"/>
                  </a:lnTo>
                  <a:lnTo>
                    <a:pt x="601" y="1682"/>
                  </a:lnTo>
                  <a:lnTo>
                    <a:pt x="601" y="1684"/>
                  </a:lnTo>
                  <a:lnTo>
                    <a:pt x="602" y="1684"/>
                  </a:lnTo>
                  <a:lnTo>
                    <a:pt x="602" y="1685"/>
                  </a:lnTo>
                  <a:lnTo>
                    <a:pt x="604" y="1685"/>
                  </a:lnTo>
                  <a:lnTo>
                    <a:pt x="605" y="1685"/>
                  </a:lnTo>
                  <a:lnTo>
                    <a:pt x="605" y="1687"/>
                  </a:lnTo>
                  <a:lnTo>
                    <a:pt x="605" y="1689"/>
                  </a:lnTo>
                  <a:lnTo>
                    <a:pt x="604" y="1689"/>
                  </a:lnTo>
                  <a:lnTo>
                    <a:pt x="602" y="1689"/>
                  </a:lnTo>
                  <a:lnTo>
                    <a:pt x="602" y="1690"/>
                  </a:lnTo>
                  <a:lnTo>
                    <a:pt x="604" y="1690"/>
                  </a:lnTo>
                  <a:lnTo>
                    <a:pt x="605" y="1690"/>
                  </a:lnTo>
                  <a:lnTo>
                    <a:pt x="605" y="1692"/>
                  </a:lnTo>
                  <a:lnTo>
                    <a:pt x="604" y="1692"/>
                  </a:lnTo>
                  <a:lnTo>
                    <a:pt x="604" y="1694"/>
                  </a:lnTo>
                  <a:lnTo>
                    <a:pt x="604" y="1692"/>
                  </a:lnTo>
                  <a:lnTo>
                    <a:pt x="602" y="1692"/>
                  </a:lnTo>
                  <a:lnTo>
                    <a:pt x="604" y="1692"/>
                  </a:lnTo>
                  <a:lnTo>
                    <a:pt x="602" y="1692"/>
                  </a:lnTo>
                  <a:lnTo>
                    <a:pt x="601" y="1694"/>
                  </a:lnTo>
                  <a:lnTo>
                    <a:pt x="601" y="1692"/>
                  </a:lnTo>
                  <a:lnTo>
                    <a:pt x="599" y="1692"/>
                  </a:lnTo>
                  <a:lnTo>
                    <a:pt x="599" y="1694"/>
                  </a:lnTo>
                  <a:lnTo>
                    <a:pt x="597" y="1694"/>
                  </a:lnTo>
                  <a:lnTo>
                    <a:pt x="596" y="1694"/>
                  </a:lnTo>
                  <a:lnTo>
                    <a:pt x="594" y="1695"/>
                  </a:lnTo>
                  <a:lnTo>
                    <a:pt x="594" y="1697"/>
                  </a:lnTo>
                  <a:lnTo>
                    <a:pt x="596" y="1697"/>
                  </a:lnTo>
                  <a:lnTo>
                    <a:pt x="594" y="1698"/>
                  </a:lnTo>
                  <a:lnTo>
                    <a:pt x="592" y="1698"/>
                  </a:lnTo>
                  <a:lnTo>
                    <a:pt x="591" y="1700"/>
                  </a:lnTo>
                  <a:lnTo>
                    <a:pt x="591" y="1702"/>
                  </a:lnTo>
                  <a:lnTo>
                    <a:pt x="589" y="1702"/>
                  </a:lnTo>
                  <a:lnTo>
                    <a:pt x="589" y="1703"/>
                  </a:lnTo>
                  <a:lnTo>
                    <a:pt x="588" y="1703"/>
                  </a:lnTo>
                  <a:lnTo>
                    <a:pt x="586" y="1705"/>
                  </a:lnTo>
                  <a:lnTo>
                    <a:pt x="584" y="1705"/>
                  </a:lnTo>
                  <a:lnTo>
                    <a:pt x="584" y="1707"/>
                  </a:lnTo>
                  <a:lnTo>
                    <a:pt x="583" y="1707"/>
                  </a:lnTo>
                  <a:lnTo>
                    <a:pt x="583" y="1708"/>
                  </a:lnTo>
                  <a:lnTo>
                    <a:pt x="583" y="1710"/>
                  </a:lnTo>
                  <a:lnTo>
                    <a:pt x="584" y="1710"/>
                  </a:lnTo>
                  <a:lnTo>
                    <a:pt x="586" y="1710"/>
                  </a:lnTo>
                  <a:lnTo>
                    <a:pt x="586" y="1708"/>
                  </a:lnTo>
                  <a:lnTo>
                    <a:pt x="588" y="1710"/>
                  </a:lnTo>
                  <a:lnTo>
                    <a:pt x="588" y="1708"/>
                  </a:lnTo>
                  <a:lnTo>
                    <a:pt x="588" y="1710"/>
                  </a:lnTo>
                  <a:lnTo>
                    <a:pt x="588" y="1711"/>
                  </a:lnTo>
                  <a:lnTo>
                    <a:pt x="586" y="1710"/>
                  </a:lnTo>
                  <a:lnTo>
                    <a:pt x="586" y="1711"/>
                  </a:lnTo>
                  <a:lnTo>
                    <a:pt x="586" y="1710"/>
                  </a:lnTo>
                  <a:lnTo>
                    <a:pt x="584" y="1711"/>
                  </a:lnTo>
                  <a:lnTo>
                    <a:pt x="583" y="1713"/>
                  </a:lnTo>
                  <a:lnTo>
                    <a:pt x="581" y="1713"/>
                  </a:lnTo>
                  <a:lnTo>
                    <a:pt x="581" y="1715"/>
                  </a:lnTo>
                  <a:lnTo>
                    <a:pt x="581" y="1716"/>
                  </a:lnTo>
                  <a:lnTo>
                    <a:pt x="579" y="1716"/>
                  </a:lnTo>
                  <a:lnTo>
                    <a:pt x="581" y="1716"/>
                  </a:lnTo>
                  <a:lnTo>
                    <a:pt x="579" y="1716"/>
                  </a:lnTo>
                  <a:lnTo>
                    <a:pt x="579" y="1718"/>
                  </a:lnTo>
                  <a:lnTo>
                    <a:pt x="579" y="1720"/>
                  </a:lnTo>
                  <a:lnTo>
                    <a:pt x="581" y="1720"/>
                  </a:lnTo>
                  <a:lnTo>
                    <a:pt x="581" y="1721"/>
                  </a:lnTo>
                  <a:lnTo>
                    <a:pt x="581" y="1723"/>
                  </a:lnTo>
                  <a:lnTo>
                    <a:pt x="581" y="1724"/>
                  </a:lnTo>
                  <a:lnTo>
                    <a:pt x="581" y="1726"/>
                  </a:lnTo>
                  <a:lnTo>
                    <a:pt x="583" y="1726"/>
                  </a:lnTo>
                  <a:lnTo>
                    <a:pt x="584" y="1726"/>
                  </a:lnTo>
                  <a:lnTo>
                    <a:pt x="586" y="1726"/>
                  </a:lnTo>
                  <a:lnTo>
                    <a:pt x="586" y="1728"/>
                  </a:lnTo>
                  <a:lnTo>
                    <a:pt x="584" y="1728"/>
                  </a:lnTo>
                  <a:lnTo>
                    <a:pt x="583" y="1728"/>
                  </a:lnTo>
                  <a:lnTo>
                    <a:pt x="583" y="1729"/>
                  </a:lnTo>
                  <a:lnTo>
                    <a:pt x="584" y="1729"/>
                  </a:lnTo>
                  <a:lnTo>
                    <a:pt x="583" y="1729"/>
                  </a:lnTo>
                  <a:lnTo>
                    <a:pt x="583" y="1731"/>
                  </a:lnTo>
                  <a:lnTo>
                    <a:pt x="581" y="1731"/>
                  </a:lnTo>
                  <a:lnTo>
                    <a:pt x="581" y="1733"/>
                  </a:lnTo>
                  <a:lnTo>
                    <a:pt x="579" y="1733"/>
                  </a:lnTo>
                  <a:lnTo>
                    <a:pt x="581" y="1734"/>
                  </a:lnTo>
                  <a:lnTo>
                    <a:pt x="579" y="1734"/>
                  </a:lnTo>
                  <a:lnTo>
                    <a:pt x="579" y="1736"/>
                  </a:lnTo>
                  <a:lnTo>
                    <a:pt x="579" y="1738"/>
                  </a:lnTo>
                  <a:lnTo>
                    <a:pt x="578" y="1738"/>
                  </a:lnTo>
                  <a:lnTo>
                    <a:pt x="579" y="1738"/>
                  </a:lnTo>
                  <a:lnTo>
                    <a:pt x="578" y="1738"/>
                  </a:lnTo>
                  <a:lnTo>
                    <a:pt x="576" y="1738"/>
                  </a:lnTo>
                  <a:lnTo>
                    <a:pt x="576" y="1739"/>
                  </a:lnTo>
                  <a:lnTo>
                    <a:pt x="574" y="1739"/>
                  </a:lnTo>
                  <a:lnTo>
                    <a:pt x="574" y="1741"/>
                  </a:lnTo>
                  <a:lnTo>
                    <a:pt x="573" y="1741"/>
                  </a:lnTo>
                  <a:lnTo>
                    <a:pt x="571" y="1742"/>
                  </a:lnTo>
                  <a:lnTo>
                    <a:pt x="570" y="1741"/>
                  </a:lnTo>
                  <a:lnTo>
                    <a:pt x="568" y="1742"/>
                  </a:lnTo>
                  <a:lnTo>
                    <a:pt x="566" y="1742"/>
                  </a:lnTo>
                  <a:lnTo>
                    <a:pt x="565" y="1741"/>
                  </a:lnTo>
                  <a:lnTo>
                    <a:pt x="566" y="1739"/>
                  </a:lnTo>
                  <a:lnTo>
                    <a:pt x="566" y="1738"/>
                  </a:lnTo>
                  <a:lnTo>
                    <a:pt x="568" y="1736"/>
                  </a:lnTo>
                  <a:lnTo>
                    <a:pt x="568" y="1734"/>
                  </a:lnTo>
                  <a:lnTo>
                    <a:pt x="568" y="1733"/>
                  </a:lnTo>
                  <a:lnTo>
                    <a:pt x="570" y="1733"/>
                  </a:lnTo>
                  <a:lnTo>
                    <a:pt x="570" y="1731"/>
                  </a:lnTo>
                  <a:lnTo>
                    <a:pt x="570" y="1729"/>
                  </a:lnTo>
                  <a:lnTo>
                    <a:pt x="570" y="1728"/>
                  </a:lnTo>
                  <a:lnTo>
                    <a:pt x="570" y="1726"/>
                  </a:lnTo>
                  <a:lnTo>
                    <a:pt x="570" y="1724"/>
                  </a:lnTo>
                  <a:lnTo>
                    <a:pt x="571" y="1724"/>
                  </a:lnTo>
                  <a:lnTo>
                    <a:pt x="573" y="1723"/>
                  </a:lnTo>
                  <a:lnTo>
                    <a:pt x="574" y="1723"/>
                  </a:lnTo>
                  <a:lnTo>
                    <a:pt x="576" y="1723"/>
                  </a:lnTo>
                  <a:lnTo>
                    <a:pt x="576" y="1721"/>
                  </a:lnTo>
                  <a:lnTo>
                    <a:pt x="576" y="1720"/>
                  </a:lnTo>
                  <a:lnTo>
                    <a:pt x="576" y="1718"/>
                  </a:lnTo>
                  <a:lnTo>
                    <a:pt x="576" y="1716"/>
                  </a:lnTo>
                  <a:lnTo>
                    <a:pt x="576" y="1715"/>
                  </a:lnTo>
                  <a:lnTo>
                    <a:pt x="576" y="1713"/>
                  </a:lnTo>
                  <a:lnTo>
                    <a:pt x="574" y="1715"/>
                  </a:lnTo>
                  <a:lnTo>
                    <a:pt x="574" y="1716"/>
                  </a:lnTo>
                  <a:lnTo>
                    <a:pt x="573" y="1716"/>
                  </a:lnTo>
                  <a:lnTo>
                    <a:pt x="573" y="1718"/>
                  </a:lnTo>
                  <a:lnTo>
                    <a:pt x="573" y="1720"/>
                  </a:lnTo>
                  <a:lnTo>
                    <a:pt x="571" y="1720"/>
                  </a:lnTo>
                  <a:lnTo>
                    <a:pt x="570" y="1720"/>
                  </a:lnTo>
                  <a:lnTo>
                    <a:pt x="568" y="1720"/>
                  </a:lnTo>
                  <a:lnTo>
                    <a:pt x="570" y="1718"/>
                  </a:lnTo>
                  <a:lnTo>
                    <a:pt x="570" y="1716"/>
                  </a:lnTo>
                  <a:lnTo>
                    <a:pt x="570" y="1715"/>
                  </a:lnTo>
                  <a:lnTo>
                    <a:pt x="570" y="1713"/>
                  </a:lnTo>
                  <a:lnTo>
                    <a:pt x="571" y="1713"/>
                  </a:lnTo>
                  <a:lnTo>
                    <a:pt x="570" y="1713"/>
                  </a:lnTo>
                  <a:lnTo>
                    <a:pt x="570" y="1711"/>
                  </a:lnTo>
                  <a:lnTo>
                    <a:pt x="570" y="1710"/>
                  </a:lnTo>
                  <a:lnTo>
                    <a:pt x="570" y="1708"/>
                  </a:lnTo>
                  <a:lnTo>
                    <a:pt x="568" y="1708"/>
                  </a:lnTo>
                  <a:lnTo>
                    <a:pt x="566" y="1708"/>
                  </a:lnTo>
                  <a:lnTo>
                    <a:pt x="565" y="1708"/>
                  </a:lnTo>
                  <a:lnTo>
                    <a:pt x="565" y="1707"/>
                  </a:lnTo>
                  <a:lnTo>
                    <a:pt x="563" y="1705"/>
                  </a:lnTo>
                  <a:lnTo>
                    <a:pt x="565" y="1705"/>
                  </a:lnTo>
                  <a:lnTo>
                    <a:pt x="565" y="1703"/>
                  </a:lnTo>
                  <a:lnTo>
                    <a:pt x="563" y="1702"/>
                  </a:lnTo>
                  <a:lnTo>
                    <a:pt x="563" y="1700"/>
                  </a:lnTo>
                  <a:lnTo>
                    <a:pt x="563" y="1698"/>
                  </a:lnTo>
                  <a:lnTo>
                    <a:pt x="563" y="1697"/>
                  </a:lnTo>
                  <a:lnTo>
                    <a:pt x="561" y="1697"/>
                  </a:lnTo>
                  <a:lnTo>
                    <a:pt x="561" y="1695"/>
                  </a:lnTo>
                  <a:lnTo>
                    <a:pt x="561" y="1694"/>
                  </a:lnTo>
                  <a:lnTo>
                    <a:pt x="561" y="1695"/>
                  </a:lnTo>
                  <a:lnTo>
                    <a:pt x="561" y="1694"/>
                  </a:lnTo>
                  <a:lnTo>
                    <a:pt x="560" y="1694"/>
                  </a:lnTo>
                  <a:lnTo>
                    <a:pt x="558" y="1694"/>
                  </a:lnTo>
                  <a:lnTo>
                    <a:pt x="560" y="1694"/>
                  </a:lnTo>
                  <a:lnTo>
                    <a:pt x="558" y="1694"/>
                  </a:lnTo>
                  <a:lnTo>
                    <a:pt x="558" y="1692"/>
                  </a:lnTo>
                  <a:lnTo>
                    <a:pt x="557" y="1692"/>
                  </a:lnTo>
                  <a:lnTo>
                    <a:pt x="557" y="1690"/>
                  </a:lnTo>
                  <a:lnTo>
                    <a:pt x="558" y="1689"/>
                  </a:lnTo>
                  <a:lnTo>
                    <a:pt x="558" y="1687"/>
                  </a:lnTo>
                  <a:lnTo>
                    <a:pt x="560" y="1687"/>
                  </a:lnTo>
                  <a:lnTo>
                    <a:pt x="560" y="1685"/>
                  </a:lnTo>
                  <a:lnTo>
                    <a:pt x="561" y="1685"/>
                  </a:lnTo>
                  <a:lnTo>
                    <a:pt x="561" y="1684"/>
                  </a:lnTo>
                  <a:lnTo>
                    <a:pt x="563" y="1684"/>
                  </a:lnTo>
                  <a:lnTo>
                    <a:pt x="563" y="1681"/>
                  </a:lnTo>
                  <a:lnTo>
                    <a:pt x="563" y="1679"/>
                  </a:lnTo>
                  <a:lnTo>
                    <a:pt x="561" y="1679"/>
                  </a:lnTo>
                  <a:lnTo>
                    <a:pt x="561" y="1677"/>
                  </a:lnTo>
                  <a:lnTo>
                    <a:pt x="561" y="1676"/>
                  </a:lnTo>
                  <a:lnTo>
                    <a:pt x="561" y="1674"/>
                  </a:lnTo>
                  <a:lnTo>
                    <a:pt x="563" y="1674"/>
                  </a:lnTo>
                  <a:lnTo>
                    <a:pt x="561" y="1674"/>
                  </a:lnTo>
                  <a:lnTo>
                    <a:pt x="563" y="1672"/>
                  </a:lnTo>
                  <a:lnTo>
                    <a:pt x="563" y="1674"/>
                  </a:lnTo>
                  <a:lnTo>
                    <a:pt x="563" y="1672"/>
                  </a:lnTo>
                  <a:lnTo>
                    <a:pt x="561" y="1672"/>
                  </a:lnTo>
                  <a:lnTo>
                    <a:pt x="560" y="1672"/>
                  </a:lnTo>
                  <a:lnTo>
                    <a:pt x="561" y="1672"/>
                  </a:lnTo>
                  <a:lnTo>
                    <a:pt x="561" y="1671"/>
                  </a:lnTo>
                  <a:lnTo>
                    <a:pt x="560" y="1671"/>
                  </a:lnTo>
                  <a:lnTo>
                    <a:pt x="560" y="1669"/>
                  </a:lnTo>
                  <a:lnTo>
                    <a:pt x="558" y="1669"/>
                  </a:lnTo>
                  <a:lnTo>
                    <a:pt x="560" y="1669"/>
                  </a:lnTo>
                  <a:lnTo>
                    <a:pt x="558" y="1669"/>
                  </a:lnTo>
                  <a:lnTo>
                    <a:pt x="558" y="1668"/>
                  </a:lnTo>
                  <a:lnTo>
                    <a:pt x="558" y="1666"/>
                  </a:lnTo>
                  <a:lnTo>
                    <a:pt x="558" y="1668"/>
                  </a:lnTo>
                  <a:lnTo>
                    <a:pt x="557" y="1668"/>
                  </a:lnTo>
                  <a:lnTo>
                    <a:pt x="557" y="1666"/>
                  </a:lnTo>
                  <a:lnTo>
                    <a:pt x="557" y="1668"/>
                  </a:lnTo>
                  <a:lnTo>
                    <a:pt x="557" y="1666"/>
                  </a:lnTo>
                  <a:lnTo>
                    <a:pt x="557" y="1664"/>
                  </a:lnTo>
                  <a:lnTo>
                    <a:pt x="557" y="1663"/>
                  </a:lnTo>
                  <a:lnTo>
                    <a:pt x="557" y="1661"/>
                  </a:lnTo>
                  <a:lnTo>
                    <a:pt x="557" y="1659"/>
                  </a:lnTo>
                  <a:lnTo>
                    <a:pt x="555" y="1658"/>
                  </a:lnTo>
                  <a:lnTo>
                    <a:pt x="553" y="1655"/>
                  </a:lnTo>
                  <a:lnTo>
                    <a:pt x="553" y="1653"/>
                  </a:lnTo>
                  <a:lnTo>
                    <a:pt x="555" y="1650"/>
                  </a:lnTo>
                  <a:lnTo>
                    <a:pt x="557" y="1648"/>
                  </a:lnTo>
                  <a:lnTo>
                    <a:pt x="558" y="1646"/>
                  </a:lnTo>
                  <a:lnTo>
                    <a:pt x="560" y="1645"/>
                  </a:lnTo>
                  <a:lnTo>
                    <a:pt x="560" y="1643"/>
                  </a:lnTo>
                  <a:lnTo>
                    <a:pt x="561" y="1643"/>
                  </a:lnTo>
                  <a:lnTo>
                    <a:pt x="561" y="1642"/>
                  </a:lnTo>
                  <a:lnTo>
                    <a:pt x="563" y="1642"/>
                  </a:lnTo>
                  <a:lnTo>
                    <a:pt x="563" y="1640"/>
                  </a:lnTo>
                  <a:lnTo>
                    <a:pt x="565" y="1640"/>
                  </a:lnTo>
                  <a:lnTo>
                    <a:pt x="565" y="1638"/>
                  </a:lnTo>
                  <a:lnTo>
                    <a:pt x="565" y="1637"/>
                  </a:lnTo>
                  <a:lnTo>
                    <a:pt x="566" y="1637"/>
                  </a:lnTo>
                  <a:lnTo>
                    <a:pt x="566" y="1633"/>
                  </a:lnTo>
                  <a:lnTo>
                    <a:pt x="568" y="1633"/>
                  </a:lnTo>
                  <a:lnTo>
                    <a:pt x="568" y="1632"/>
                  </a:lnTo>
                  <a:lnTo>
                    <a:pt x="570" y="1630"/>
                  </a:lnTo>
                  <a:lnTo>
                    <a:pt x="570" y="1629"/>
                  </a:lnTo>
                  <a:lnTo>
                    <a:pt x="570" y="1627"/>
                  </a:lnTo>
                  <a:lnTo>
                    <a:pt x="571" y="1627"/>
                  </a:lnTo>
                  <a:lnTo>
                    <a:pt x="571" y="1625"/>
                  </a:lnTo>
                  <a:lnTo>
                    <a:pt x="573" y="1624"/>
                  </a:lnTo>
                  <a:lnTo>
                    <a:pt x="573" y="1622"/>
                  </a:lnTo>
                  <a:lnTo>
                    <a:pt x="573" y="1620"/>
                  </a:lnTo>
                  <a:lnTo>
                    <a:pt x="573" y="1619"/>
                  </a:lnTo>
                  <a:lnTo>
                    <a:pt x="574" y="1614"/>
                  </a:lnTo>
                  <a:lnTo>
                    <a:pt x="574" y="1612"/>
                  </a:lnTo>
                  <a:lnTo>
                    <a:pt x="576" y="1611"/>
                  </a:lnTo>
                  <a:lnTo>
                    <a:pt x="576" y="1609"/>
                  </a:lnTo>
                  <a:lnTo>
                    <a:pt x="578" y="1607"/>
                  </a:lnTo>
                  <a:lnTo>
                    <a:pt x="579" y="1607"/>
                  </a:lnTo>
                  <a:lnTo>
                    <a:pt x="581" y="1607"/>
                  </a:lnTo>
                  <a:lnTo>
                    <a:pt x="583" y="1606"/>
                  </a:lnTo>
                  <a:lnTo>
                    <a:pt x="583" y="1604"/>
                  </a:lnTo>
                  <a:lnTo>
                    <a:pt x="584" y="1604"/>
                  </a:lnTo>
                  <a:lnTo>
                    <a:pt x="584" y="1606"/>
                  </a:lnTo>
                  <a:lnTo>
                    <a:pt x="586" y="1606"/>
                  </a:lnTo>
                  <a:lnTo>
                    <a:pt x="586" y="1604"/>
                  </a:lnTo>
                  <a:lnTo>
                    <a:pt x="588" y="1604"/>
                  </a:lnTo>
                  <a:lnTo>
                    <a:pt x="588" y="1603"/>
                  </a:lnTo>
                  <a:lnTo>
                    <a:pt x="588" y="1601"/>
                  </a:lnTo>
                  <a:lnTo>
                    <a:pt x="588" y="1599"/>
                  </a:lnTo>
                  <a:lnTo>
                    <a:pt x="588" y="1598"/>
                  </a:lnTo>
                  <a:lnTo>
                    <a:pt x="589" y="1596"/>
                  </a:lnTo>
                  <a:lnTo>
                    <a:pt x="591" y="1594"/>
                  </a:lnTo>
                  <a:lnTo>
                    <a:pt x="592" y="1593"/>
                  </a:lnTo>
                  <a:lnTo>
                    <a:pt x="594" y="1593"/>
                  </a:lnTo>
                  <a:lnTo>
                    <a:pt x="594" y="1591"/>
                  </a:lnTo>
                  <a:close/>
                  <a:moveTo>
                    <a:pt x="475" y="1687"/>
                  </a:moveTo>
                  <a:lnTo>
                    <a:pt x="477" y="1685"/>
                  </a:lnTo>
                  <a:lnTo>
                    <a:pt x="479" y="1685"/>
                  </a:lnTo>
                  <a:lnTo>
                    <a:pt x="477" y="1685"/>
                  </a:lnTo>
                  <a:lnTo>
                    <a:pt x="479" y="1685"/>
                  </a:lnTo>
                  <a:lnTo>
                    <a:pt x="477" y="1687"/>
                  </a:lnTo>
                  <a:lnTo>
                    <a:pt x="479" y="1689"/>
                  </a:lnTo>
                  <a:lnTo>
                    <a:pt x="480" y="1690"/>
                  </a:lnTo>
                  <a:lnTo>
                    <a:pt x="480" y="1689"/>
                  </a:lnTo>
                  <a:lnTo>
                    <a:pt x="480" y="1687"/>
                  </a:lnTo>
                  <a:lnTo>
                    <a:pt x="480" y="1685"/>
                  </a:lnTo>
                  <a:lnTo>
                    <a:pt x="482" y="1687"/>
                  </a:lnTo>
                  <a:lnTo>
                    <a:pt x="482" y="1689"/>
                  </a:lnTo>
                  <a:lnTo>
                    <a:pt x="482" y="1690"/>
                  </a:lnTo>
                  <a:lnTo>
                    <a:pt x="483" y="1690"/>
                  </a:lnTo>
                  <a:lnTo>
                    <a:pt x="483" y="1692"/>
                  </a:lnTo>
                  <a:lnTo>
                    <a:pt x="483" y="1694"/>
                  </a:lnTo>
                  <a:lnTo>
                    <a:pt x="482" y="1694"/>
                  </a:lnTo>
                  <a:lnTo>
                    <a:pt x="480" y="1694"/>
                  </a:lnTo>
                  <a:lnTo>
                    <a:pt x="480" y="1695"/>
                  </a:lnTo>
                  <a:lnTo>
                    <a:pt x="479" y="1695"/>
                  </a:lnTo>
                  <a:lnTo>
                    <a:pt x="479" y="1697"/>
                  </a:lnTo>
                  <a:lnTo>
                    <a:pt x="477" y="1698"/>
                  </a:lnTo>
                  <a:lnTo>
                    <a:pt x="477" y="1702"/>
                  </a:lnTo>
                  <a:lnTo>
                    <a:pt x="479" y="1703"/>
                  </a:lnTo>
                  <a:lnTo>
                    <a:pt x="479" y="1705"/>
                  </a:lnTo>
                  <a:lnTo>
                    <a:pt x="480" y="1705"/>
                  </a:lnTo>
                  <a:lnTo>
                    <a:pt x="479" y="1707"/>
                  </a:lnTo>
                  <a:lnTo>
                    <a:pt x="480" y="1708"/>
                  </a:lnTo>
                  <a:lnTo>
                    <a:pt x="479" y="1708"/>
                  </a:lnTo>
                  <a:lnTo>
                    <a:pt x="480" y="1708"/>
                  </a:lnTo>
                  <a:lnTo>
                    <a:pt x="479" y="1710"/>
                  </a:lnTo>
                  <a:lnTo>
                    <a:pt x="479" y="1711"/>
                  </a:lnTo>
                  <a:lnTo>
                    <a:pt x="480" y="1711"/>
                  </a:lnTo>
                  <a:lnTo>
                    <a:pt x="480" y="1713"/>
                  </a:lnTo>
                  <a:lnTo>
                    <a:pt x="479" y="1713"/>
                  </a:lnTo>
                  <a:lnTo>
                    <a:pt x="477" y="1713"/>
                  </a:lnTo>
                  <a:lnTo>
                    <a:pt x="477" y="1715"/>
                  </a:lnTo>
                  <a:lnTo>
                    <a:pt x="479" y="1715"/>
                  </a:lnTo>
                  <a:lnTo>
                    <a:pt x="477" y="1715"/>
                  </a:lnTo>
                  <a:lnTo>
                    <a:pt x="479" y="1716"/>
                  </a:lnTo>
                  <a:lnTo>
                    <a:pt x="477" y="1716"/>
                  </a:lnTo>
                  <a:lnTo>
                    <a:pt x="479" y="1716"/>
                  </a:lnTo>
                  <a:lnTo>
                    <a:pt x="479" y="1718"/>
                  </a:lnTo>
                  <a:lnTo>
                    <a:pt x="479" y="1716"/>
                  </a:lnTo>
                  <a:lnTo>
                    <a:pt x="477" y="1716"/>
                  </a:lnTo>
                  <a:lnTo>
                    <a:pt x="477" y="1718"/>
                  </a:lnTo>
                  <a:lnTo>
                    <a:pt x="477" y="1720"/>
                  </a:lnTo>
                  <a:lnTo>
                    <a:pt x="477" y="1721"/>
                  </a:lnTo>
                  <a:lnTo>
                    <a:pt x="475" y="1720"/>
                  </a:lnTo>
                  <a:lnTo>
                    <a:pt x="475" y="1721"/>
                  </a:lnTo>
                  <a:lnTo>
                    <a:pt x="475" y="1723"/>
                  </a:lnTo>
                  <a:lnTo>
                    <a:pt x="474" y="1724"/>
                  </a:lnTo>
                  <a:lnTo>
                    <a:pt x="475" y="1726"/>
                  </a:lnTo>
                  <a:lnTo>
                    <a:pt x="474" y="1726"/>
                  </a:lnTo>
                  <a:lnTo>
                    <a:pt x="474" y="1728"/>
                  </a:lnTo>
                  <a:lnTo>
                    <a:pt x="472" y="1728"/>
                  </a:lnTo>
                  <a:lnTo>
                    <a:pt x="474" y="1728"/>
                  </a:lnTo>
                  <a:lnTo>
                    <a:pt x="474" y="1729"/>
                  </a:lnTo>
                  <a:lnTo>
                    <a:pt x="474" y="1731"/>
                  </a:lnTo>
                  <a:lnTo>
                    <a:pt x="474" y="1729"/>
                  </a:lnTo>
                  <a:lnTo>
                    <a:pt x="472" y="1729"/>
                  </a:lnTo>
                  <a:lnTo>
                    <a:pt x="472" y="1731"/>
                  </a:lnTo>
                  <a:lnTo>
                    <a:pt x="472" y="1733"/>
                  </a:lnTo>
                  <a:lnTo>
                    <a:pt x="472" y="1731"/>
                  </a:lnTo>
                  <a:lnTo>
                    <a:pt x="472" y="1733"/>
                  </a:lnTo>
                  <a:lnTo>
                    <a:pt x="472" y="1734"/>
                  </a:lnTo>
                  <a:lnTo>
                    <a:pt x="472" y="1733"/>
                  </a:lnTo>
                  <a:lnTo>
                    <a:pt x="470" y="1733"/>
                  </a:lnTo>
                  <a:lnTo>
                    <a:pt x="472" y="1734"/>
                  </a:lnTo>
                  <a:lnTo>
                    <a:pt x="470" y="1733"/>
                  </a:lnTo>
                  <a:lnTo>
                    <a:pt x="470" y="1734"/>
                  </a:lnTo>
                  <a:lnTo>
                    <a:pt x="469" y="1733"/>
                  </a:lnTo>
                  <a:lnTo>
                    <a:pt x="469" y="1734"/>
                  </a:lnTo>
                  <a:lnTo>
                    <a:pt x="469" y="1736"/>
                  </a:lnTo>
                  <a:lnTo>
                    <a:pt x="470" y="1736"/>
                  </a:lnTo>
                  <a:lnTo>
                    <a:pt x="470" y="1738"/>
                  </a:lnTo>
                  <a:lnTo>
                    <a:pt x="472" y="1739"/>
                  </a:lnTo>
                  <a:lnTo>
                    <a:pt x="470" y="1739"/>
                  </a:lnTo>
                  <a:lnTo>
                    <a:pt x="469" y="1739"/>
                  </a:lnTo>
                  <a:lnTo>
                    <a:pt x="470" y="1739"/>
                  </a:lnTo>
                  <a:lnTo>
                    <a:pt x="470" y="1741"/>
                  </a:lnTo>
                  <a:lnTo>
                    <a:pt x="469" y="1741"/>
                  </a:lnTo>
                  <a:lnTo>
                    <a:pt x="469" y="1742"/>
                  </a:lnTo>
                  <a:lnTo>
                    <a:pt x="469" y="1744"/>
                  </a:lnTo>
                  <a:lnTo>
                    <a:pt x="469" y="1742"/>
                  </a:lnTo>
                  <a:lnTo>
                    <a:pt x="467" y="1742"/>
                  </a:lnTo>
                  <a:lnTo>
                    <a:pt x="467" y="1744"/>
                  </a:lnTo>
                  <a:lnTo>
                    <a:pt x="469" y="1744"/>
                  </a:lnTo>
                  <a:lnTo>
                    <a:pt x="467" y="1746"/>
                  </a:lnTo>
                  <a:lnTo>
                    <a:pt x="469" y="1746"/>
                  </a:lnTo>
                  <a:lnTo>
                    <a:pt x="469" y="1747"/>
                  </a:lnTo>
                  <a:lnTo>
                    <a:pt x="470" y="1747"/>
                  </a:lnTo>
                  <a:lnTo>
                    <a:pt x="469" y="1747"/>
                  </a:lnTo>
                  <a:lnTo>
                    <a:pt x="469" y="1749"/>
                  </a:lnTo>
                  <a:lnTo>
                    <a:pt x="469" y="1751"/>
                  </a:lnTo>
                  <a:lnTo>
                    <a:pt x="469" y="1752"/>
                  </a:lnTo>
                  <a:lnTo>
                    <a:pt x="469" y="1754"/>
                  </a:lnTo>
                  <a:lnTo>
                    <a:pt x="469" y="1755"/>
                  </a:lnTo>
                  <a:lnTo>
                    <a:pt x="467" y="1755"/>
                  </a:lnTo>
                  <a:lnTo>
                    <a:pt x="467" y="1757"/>
                  </a:lnTo>
                  <a:lnTo>
                    <a:pt x="467" y="1759"/>
                  </a:lnTo>
                  <a:lnTo>
                    <a:pt x="467" y="1760"/>
                  </a:lnTo>
                  <a:lnTo>
                    <a:pt x="467" y="1762"/>
                  </a:lnTo>
                  <a:lnTo>
                    <a:pt x="469" y="1762"/>
                  </a:lnTo>
                  <a:lnTo>
                    <a:pt x="467" y="1762"/>
                  </a:lnTo>
                  <a:lnTo>
                    <a:pt x="467" y="1764"/>
                  </a:lnTo>
                  <a:lnTo>
                    <a:pt x="467" y="1765"/>
                  </a:lnTo>
                  <a:lnTo>
                    <a:pt x="467" y="1767"/>
                  </a:lnTo>
                  <a:lnTo>
                    <a:pt x="467" y="1765"/>
                  </a:lnTo>
                  <a:lnTo>
                    <a:pt x="466" y="1765"/>
                  </a:lnTo>
                  <a:lnTo>
                    <a:pt x="466" y="1767"/>
                  </a:lnTo>
                  <a:lnTo>
                    <a:pt x="464" y="1767"/>
                  </a:lnTo>
                  <a:lnTo>
                    <a:pt x="466" y="1767"/>
                  </a:lnTo>
                  <a:lnTo>
                    <a:pt x="464" y="1767"/>
                  </a:lnTo>
                  <a:lnTo>
                    <a:pt x="466" y="1768"/>
                  </a:lnTo>
                  <a:lnTo>
                    <a:pt x="466" y="1767"/>
                  </a:lnTo>
                  <a:lnTo>
                    <a:pt x="466" y="1768"/>
                  </a:lnTo>
                  <a:lnTo>
                    <a:pt x="464" y="1768"/>
                  </a:lnTo>
                  <a:lnTo>
                    <a:pt x="464" y="1767"/>
                  </a:lnTo>
                  <a:lnTo>
                    <a:pt x="464" y="1768"/>
                  </a:lnTo>
                  <a:lnTo>
                    <a:pt x="462" y="1768"/>
                  </a:lnTo>
                  <a:lnTo>
                    <a:pt x="462" y="1770"/>
                  </a:lnTo>
                  <a:lnTo>
                    <a:pt x="462" y="1772"/>
                  </a:lnTo>
                  <a:lnTo>
                    <a:pt x="462" y="1773"/>
                  </a:lnTo>
                  <a:lnTo>
                    <a:pt x="462" y="1775"/>
                  </a:lnTo>
                  <a:lnTo>
                    <a:pt x="462" y="1777"/>
                  </a:lnTo>
                  <a:lnTo>
                    <a:pt x="462" y="1778"/>
                  </a:lnTo>
                  <a:lnTo>
                    <a:pt x="462" y="1780"/>
                  </a:lnTo>
                  <a:lnTo>
                    <a:pt x="461" y="1781"/>
                  </a:lnTo>
                  <a:lnTo>
                    <a:pt x="461" y="1783"/>
                  </a:lnTo>
                  <a:lnTo>
                    <a:pt x="461" y="1785"/>
                  </a:lnTo>
                  <a:lnTo>
                    <a:pt x="461" y="1786"/>
                  </a:lnTo>
                  <a:lnTo>
                    <a:pt x="461" y="1788"/>
                  </a:lnTo>
                  <a:lnTo>
                    <a:pt x="459" y="1788"/>
                  </a:lnTo>
                  <a:lnTo>
                    <a:pt x="459" y="1790"/>
                  </a:lnTo>
                  <a:lnTo>
                    <a:pt x="459" y="1791"/>
                  </a:lnTo>
                  <a:lnTo>
                    <a:pt x="459" y="1793"/>
                  </a:lnTo>
                  <a:lnTo>
                    <a:pt x="459" y="1794"/>
                  </a:lnTo>
                  <a:lnTo>
                    <a:pt x="459" y="1796"/>
                  </a:lnTo>
                  <a:lnTo>
                    <a:pt x="459" y="1798"/>
                  </a:lnTo>
                  <a:lnTo>
                    <a:pt x="459" y="1799"/>
                  </a:lnTo>
                  <a:lnTo>
                    <a:pt x="459" y="1801"/>
                  </a:lnTo>
                  <a:lnTo>
                    <a:pt x="457" y="1801"/>
                  </a:lnTo>
                  <a:lnTo>
                    <a:pt x="456" y="1803"/>
                  </a:lnTo>
                  <a:lnTo>
                    <a:pt x="456" y="1804"/>
                  </a:lnTo>
                  <a:lnTo>
                    <a:pt x="454" y="1806"/>
                  </a:lnTo>
                  <a:lnTo>
                    <a:pt x="454" y="1807"/>
                  </a:lnTo>
                  <a:lnTo>
                    <a:pt x="454" y="1809"/>
                  </a:lnTo>
                  <a:lnTo>
                    <a:pt x="454" y="1811"/>
                  </a:lnTo>
                  <a:lnTo>
                    <a:pt x="454" y="1812"/>
                  </a:lnTo>
                  <a:lnTo>
                    <a:pt x="454" y="1814"/>
                  </a:lnTo>
                  <a:lnTo>
                    <a:pt x="454" y="1816"/>
                  </a:lnTo>
                  <a:lnTo>
                    <a:pt x="454" y="1819"/>
                  </a:lnTo>
                  <a:lnTo>
                    <a:pt x="453" y="1820"/>
                  </a:lnTo>
                  <a:lnTo>
                    <a:pt x="453" y="1824"/>
                  </a:lnTo>
                  <a:lnTo>
                    <a:pt x="451" y="1825"/>
                  </a:lnTo>
                  <a:lnTo>
                    <a:pt x="451" y="1827"/>
                  </a:lnTo>
                  <a:lnTo>
                    <a:pt x="451" y="1825"/>
                  </a:lnTo>
                  <a:lnTo>
                    <a:pt x="451" y="1827"/>
                  </a:lnTo>
                  <a:lnTo>
                    <a:pt x="451" y="1829"/>
                  </a:lnTo>
                  <a:lnTo>
                    <a:pt x="451" y="1827"/>
                  </a:lnTo>
                  <a:lnTo>
                    <a:pt x="451" y="1829"/>
                  </a:lnTo>
                  <a:lnTo>
                    <a:pt x="451" y="1830"/>
                  </a:lnTo>
                  <a:lnTo>
                    <a:pt x="451" y="1832"/>
                  </a:lnTo>
                  <a:lnTo>
                    <a:pt x="451" y="1835"/>
                  </a:lnTo>
                  <a:lnTo>
                    <a:pt x="449" y="1838"/>
                  </a:lnTo>
                  <a:lnTo>
                    <a:pt x="449" y="1840"/>
                  </a:lnTo>
                  <a:lnTo>
                    <a:pt x="449" y="1842"/>
                  </a:lnTo>
                  <a:lnTo>
                    <a:pt x="448" y="1842"/>
                  </a:lnTo>
                  <a:lnTo>
                    <a:pt x="448" y="1843"/>
                  </a:lnTo>
                  <a:lnTo>
                    <a:pt x="448" y="1845"/>
                  </a:lnTo>
                  <a:lnTo>
                    <a:pt x="448" y="1846"/>
                  </a:lnTo>
                  <a:lnTo>
                    <a:pt x="448" y="1848"/>
                  </a:lnTo>
                  <a:lnTo>
                    <a:pt x="446" y="1848"/>
                  </a:lnTo>
                  <a:lnTo>
                    <a:pt x="446" y="1850"/>
                  </a:lnTo>
                  <a:lnTo>
                    <a:pt x="446" y="1851"/>
                  </a:lnTo>
                  <a:lnTo>
                    <a:pt x="446" y="1853"/>
                  </a:lnTo>
                  <a:lnTo>
                    <a:pt x="444" y="1853"/>
                  </a:lnTo>
                  <a:lnTo>
                    <a:pt x="443" y="1855"/>
                  </a:lnTo>
                  <a:lnTo>
                    <a:pt x="443" y="1856"/>
                  </a:lnTo>
                  <a:lnTo>
                    <a:pt x="441" y="1856"/>
                  </a:lnTo>
                  <a:lnTo>
                    <a:pt x="441" y="1858"/>
                  </a:lnTo>
                  <a:lnTo>
                    <a:pt x="440" y="1858"/>
                  </a:lnTo>
                  <a:lnTo>
                    <a:pt x="441" y="1856"/>
                  </a:lnTo>
                  <a:lnTo>
                    <a:pt x="440" y="1856"/>
                  </a:lnTo>
                  <a:lnTo>
                    <a:pt x="440" y="1855"/>
                  </a:lnTo>
                  <a:lnTo>
                    <a:pt x="440" y="1851"/>
                  </a:lnTo>
                  <a:lnTo>
                    <a:pt x="441" y="1851"/>
                  </a:lnTo>
                  <a:lnTo>
                    <a:pt x="440" y="1850"/>
                  </a:lnTo>
                  <a:lnTo>
                    <a:pt x="441" y="1850"/>
                  </a:lnTo>
                  <a:lnTo>
                    <a:pt x="440" y="1848"/>
                  </a:lnTo>
                  <a:lnTo>
                    <a:pt x="440" y="1846"/>
                  </a:lnTo>
                  <a:lnTo>
                    <a:pt x="440" y="1845"/>
                  </a:lnTo>
                  <a:lnTo>
                    <a:pt x="438" y="1845"/>
                  </a:lnTo>
                  <a:lnTo>
                    <a:pt x="440" y="1842"/>
                  </a:lnTo>
                  <a:lnTo>
                    <a:pt x="440" y="1840"/>
                  </a:lnTo>
                  <a:lnTo>
                    <a:pt x="440" y="1838"/>
                  </a:lnTo>
                  <a:lnTo>
                    <a:pt x="440" y="1835"/>
                  </a:lnTo>
                  <a:lnTo>
                    <a:pt x="438" y="1833"/>
                  </a:lnTo>
                  <a:lnTo>
                    <a:pt x="438" y="1832"/>
                  </a:lnTo>
                  <a:lnTo>
                    <a:pt x="438" y="1830"/>
                  </a:lnTo>
                  <a:lnTo>
                    <a:pt x="438" y="1829"/>
                  </a:lnTo>
                  <a:lnTo>
                    <a:pt x="438" y="1827"/>
                  </a:lnTo>
                  <a:lnTo>
                    <a:pt x="438" y="1825"/>
                  </a:lnTo>
                  <a:lnTo>
                    <a:pt x="436" y="1825"/>
                  </a:lnTo>
                  <a:lnTo>
                    <a:pt x="436" y="1824"/>
                  </a:lnTo>
                  <a:lnTo>
                    <a:pt x="435" y="1824"/>
                  </a:lnTo>
                  <a:lnTo>
                    <a:pt x="436" y="1824"/>
                  </a:lnTo>
                  <a:lnTo>
                    <a:pt x="436" y="1822"/>
                  </a:lnTo>
                  <a:lnTo>
                    <a:pt x="435" y="1822"/>
                  </a:lnTo>
                  <a:lnTo>
                    <a:pt x="435" y="1820"/>
                  </a:lnTo>
                  <a:lnTo>
                    <a:pt x="435" y="1817"/>
                  </a:lnTo>
                  <a:lnTo>
                    <a:pt x="435" y="1816"/>
                  </a:lnTo>
                  <a:lnTo>
                    <a:pt x="435" y="1814"/>
                  </a:lnTo>
                  <a:lnTo>
                    <a:pt x="435" y="1812"/>
                  </a:lnTo>
                  <a:lnTo>
                    <a:pt x="433" y="1811"/>
                  </a:lnTo>
                  <a:lnTo>
                    <a:pt x="435" y="1811"/>
                  </a:lnTo>
                  <a:lnTo>
                    <a:pt x="435" y="1809"/>
                  </a:lnTo>
                  <a:lnTo>
                    <a:pt x="435" y="1807"/>
                  </a:lnTo>
                  <a:lnTo>
                    <a:pt x="436" y="1804"/>
                  </a:lnTo>
                  <a:lnTo>
                    <a:pt x="436" y="1803"/>
                  </a:lnTo>
                  <a:lnTo>
                    <a:pt x="436" y="1801"/>
                  </a:lnTo>
                  <a:lnTo>
                    <a:pt x="435" y="1799"/>
                  </a:lnTo>
                  <a:lnTo>
                    <a:pt x="436" y="1799"/>
                  </a:lnTo>
                  <a:lnTo>
                    <a:pt x="438" y="1799"/>
                  </a:lnTo>
                  <a:lnTo>
                    <a:pt x="438" y="1798"/>
                  </a:lnTo>
                  <a:lnTo>
                    <a:pt x="438" y="1796"/>
                  </a:lnTo>
                  <a:lnTo>
                    <a:pt x="440" y="1796"/>
                  </a:lnTo>
                  <a:lnTo>
                    <a:pt x="438" y="1796"/>
                  </a:lnTo>
                  <a:lnTo>
                    <a:pt x="440" y="1794"/>
                  </a:lnTo>
                  <a:lnTo>
                    <a:pt x="440" y="1793"/>
                  </a:lnTo>
                  <a:lnTo>
                    <a:pt x="440" y="1791"/>
                  </a:lnTo>
                  <a:lnTo>
                    <a:pt x="440" y="1790"/>
                  </a:lnTo>
                  <a:lnTo>
                    <a:pt x="440" y="1788"/>
                  </a:lnTo>
                  <a:lnTo>
                    <a:pt x="440" y="1786"/>
                  </a:lnTo>
                  <a:lnTo>
                    <a:pt x="441" y="1786"/>
                  </a:lnTo>
                  <a:lnTo>
                    <a:pt x="441" y="1785"/>
                  </a:lnTo>
                  <a:lnTo>
                    <a:pt x="441" y="1783"/>
                  </a:lnTo>
                  <a:lnTo>
                    <a:pt x="441" y="1781"/>
                  </a:lnTo>
                  <a:lnTo>
                    <a:pt x="443" y="1781"/>
                  </a:lnTo>
                  <a:lnTo>
                    <a:pt x="443" y="1780"/>
                  </a:lnTo>
                  <a:lnTo>
                    <a:pt x="443" y="1778"/>
                  </a:lnTo>
                  <a:lnTo>
                    <a:pt x="443" y="1777"/>
                  </a:lnTo>
                  <a:lnTo>
                    <a:pt x="444" y="1777"/>
                  </a:lnTo>
                  <a:lnTo>
                    <a:pt x="444" y="1775"/>
                  </a:lnTo>
                  <a:lnTo>
                    <a:pt x="444" y="1773"/>
                  </a:lnTo>
                  <a:lnTo>
                    <a:pt x="444" y="1772"/>
                  </a:lnTo>
                  <a:lnTo>
                    <a:pt x="446" y="1772"/>
                  </a:lnTo>
                  <a:lnTo>
                    <a:pt x="446" y="1770"/>
                  </a:lnTo>
                  <a:lnTo>
                    <a:pt x="446" y="1768"/>
                  </a:lnTo>
                  <a:lnTo>
                    <a:pt x="446" y="1767"/>
                  </a:lnTo>
                  <a:lnTo>
                    <a:pt x="448" y="1767"/>
                  </a:lnTo>
                  <a:lnTo>
                    <a:pt x="448" y="1765"/>
                  </a:lnTo>
                  <a:lnTo>
                    <a:pt x="448" y="1764"/>
                  </a:lnTo>
                  <a:lnTo>
                    <a:pt x="448" y="1762"/>
                  </a:lnTo>
                  <a:lnTo>
                    <a:pt x="449" y="1762"/>
                  </a:lnTo>
                  <a:lnTo>
                    <a:pt x="449" y="1760"/>
                  </a:lnTo>
                  <a:lnTo>
                    <a:pt x="449" y="1759"/>
                  </a:lnTo>
                  <a:lnTo>
                    <a:pt x="451" y="1759"/>
                  </a:lnTo>
                  <a:lnTo>
                    <a:pt x="451" y="1757"/>
                  </a:lnTo>
                  <a:lnTo>
                    <a:pt x="453" y="1757"/>
                  </a:lnTo>
                  <a:lnTo>
                    <a:pt x="453" y="1759"/>
                  </a:lnTo>
                  <a:lnTo>
                    <a:pt x="453" y="1757"/>
                  </a:lnTo>
                  <a:lnTo>
                    <a:pt x="454" y="1757"/>
                  </a:lnTo>
                  <a:lnTo>
                    <a:pt x="456" y="1759"/>
                  </a:lnTo>
                  <a:lnTo>
                    <a:pt x="456" y="1757"/>
                  </a:lnTo>
                  <a:lnTo>
                    <a:pt x="457" y="1757"/>
                  </a:lnTo>
                  <a:lnTo>
                    <a:pt x="456" y="1757"/>
                  </a:lnTo>
                  <a:lnTo>
                    <a:pt x="456" y="1755"/>
                  </a:lnTo>
                  <a:lnTo>
                    <a:pt x="457" y="1754"/>
                  </a:lnTo>
                  <a:lnTo>
                    <a:pt x="456" y="1752"/>
                  </a:lnTo>
                  <a:lnTo>
                    <a:pt x="457" y="1752"/>
                  </a:lnTo>
                  <a:lnTo>
                    <a:pt x="457" y="1751"/>
                  </a:lnTo>
                  <a:lnTo>
                    <a:pt x="457" y="1749"/>
                  </a:lnTo>
                  <a:lnTo>
                    <a:pt x="457" y="1747"/>
                  </a:lnTo>
                  <a:lnTo>
                    <a:pt x="459" y="1746"/>
                  </a:lnTo>
                  <a:lnTo>
                    <a:pt x="459" y="1744"/>
                  </a:lnTo>
                  <a:lnTo>
                    <a:pt x="459" y="1742"/>
                  </a:lnTo>
                  <a:lnTo>
                    <a:pt x="461" y="1739"/>
                  </a:lnTo>
                  <a:lnTo>
                    <a:pt x="462" y="1739"/>
                  </a:lnTo>
                  <a:lnTo>
                    <a:pt x="462" y="1738"/>
                  </a:lnTo>
                  <a:lnTo>
                    <a:pt x="462" y="1736"/>
                  </a:lnTo>
                  <a:lnTo>
                    <a:pt x="462" y="1734"/>
                  </a:lnTo>
                  <a:lnTo>
                    <a:pt x="464" y="1733"/>
                  </a:lnTo>
                  <a:lnTo>
                    <a:pt x="464" y="1731"/>
                  </a:lnTo>
                  <a:lnTo>
                    <a:pt x="464" y="1729"/>
                  </a:lnTo>
                  <a:lnTo>
                    <a:pt x="464" y="1728"/>
                  </a:lnTo>
                  <a:lnTo>
                    <a:pt x="466" y="1726"/>
                  </a:lnTo>
                  <a:lnTo>
                    <a:pt x="467" y="1724"/>
                  </a:lnTo>
                  <a:lnTo>
                    <a:pt x="466" y="1724"/>
                  </a:lnTo>
                  <a:lnTo>
                    <a:pt x="467" y="1723"/>
                  </a:lnTo>
                  <a:lnTo>
                    <a:pt x="467" y="1721"/>
                  </a:lnTo>
                  <a:lnTo>
                    <a:pt x="467" y="1720"/>
                  </a:lnTo>
                  <a:lnTo>
                    <a:pt x="467" y="1718"/>
                  </a:lnTo>
                  <a:lnTo>
                    <a:pt x="469" y="1716"/>
                  </a:lnTo>
                  <a:lnTo>
                    <a:pt x="467" y="1715"/>
                  </a:lnTo>
                  <a:lnTo>
                    <a:pt x="467" y="1713"/>
                  </a:lnTo>
                  <a:lnTo>
                    <a:pt x="466" y="1711"/>
                  </a:lnTo>
                  <a:lnTo>
                    <a:pt x="467" y="1710"/>
                  </a:lnTo>
                  <a:lnTo>
                    <a:pt x="469" y="1710"/>
                  </a:lnTo>
                  <a:lnTo>
                    <a:pt x="470" y="1707"/>
                  </a:lnTo>
                  <a:lnTo>
                    <a:pt x="470" y="1703"/>
                  </a:lnTo>
                  <a:lnTo>
                    <a:pt x="469" y="1703"/>
                  </a:lnTo>
                  <a:lnTo>
                    <a:pt x="469" y="1702"/>
                  </a:lnTo>
                  <a:lnTo>
                    <a:pt x="469" y="1700"/>
                  </a:lnTo>
                  <a:lnTo>
                    <a:pt x="469" y="1698"/>
                  </a:lnTo>
                  <a:lnTo>
                    <a:pt x="469" y="1697"/>
                  </a:lnTo>
                  <a:lnTo>
                    <a:pt x="470" y="1697"/>
                  </a:lnTo>
                  <a:lnTo>
                    <a:pt x="469" y="1697"/>
                  </a:lnTo>
                  <a:lnTo>
                    <a:pt x="470" y="1697"/>
                  </a:lnTo>
                  <a:lnTo>
                    <a:pt x="470" y="1695"/>
                  </a:lnTo>
                  <a:lnTo>
                    <a:pt x="470" y="1694"/>
                  </a:lnTo>
                  <a:lnTo>
                    <a:pt x="472" y="1694"/>
                  </a:lnTo>
                  <a:lnTo>
                    <a:pt x="472" y="1692"/>
                  </a:lnTo>
                  <a:lnTo>
                    <a:pt x="472" y="1690"/>
                  </a:lnTo>
                  <a:lnTo>
                    <a:pt x="474" y="1689"/>
                  </a:lnTo>
                  <a:lnTo>
                    <a:pt x="475" y="1687"/>
                  </a:lnTo>
                  <a:close/>
                  <a:moveTo>
                    <a:pt x="39" y="1594"/>
                  </a:moveTo>
                  <a:lnTo>
                    <a:pt x="41" y="1593"/>
                  </a:lnTo>
                  <a:lnTo>
                    <a:pt x="43" y="1593"/>
                  </a:lnTo>
                  <a:lnTo>
                    <a:pt x="43" y="1591"/>
                  </a:lnTo>
                  <a:lnTo>
                    <a:pt x="44" y="1591"/>
                  </a:lnTo>
                  <a:lnTo>
                    <a:pt x="44" y="1593"/>
                  </a:lnTo>
                  <a:lnTo>
                    <a:pt x="44" y="1591"/>
                  </a:lnTo>
                  <a:lnTo>
                    <a:pt x="44" y="1593"/>
                  </a:lnTo>
                  <a:lnTo>
                    <a:pt x="46" y="1593"/>
                  </a:lnTo>
                  <a:lnTo>
                    <a:pt x="46" y="1591"/>
                  </a:lnTo>
                  <a:lnTo>
                    <a:pt x="46" y="1590"/>
                  </a:lnTo>
                  <a:lnTo>
                    <a:pt x="48" y="1590"/>
                  </a:lnTo>
                  <a:lnTo>
                    <a:pt x="48" y="1588"/>
                  </a:lnTo>
                  <a:lnTo>
                    <a:pt x="49" y="1588"/>
                  </a:lnTo>
                  <a:lnTo>
                    <a:pt x="49" y="1586"/>
                  </a:lnTo>
                  <a:lnTo>
                    <a:pt x="51" y="1586"/>
                  </a:lnTo>
                  <a:lnTo>
                    <a:pt x="51" y="1585"/>
                  </a:lnTo>
                  <a:lnTo>
                    <a:pt x="52" y="1585"/>
                  </a:lnTo>
                  <a:lnTo>
                    <a:pt x="52" y="1586"/>
                  </a:lnTo>
                  <a:lnTo>
                    <a:pt x="54" y="1585"/>
                  </a:lnTo>
                  <a:lnTo>
                    <a:pt x="54" y="1586"/>
                  </a:lnTo>
                  <a:lnTo>
                    <a:pt x="56" y="1585"/>
                  </a:lnTo>
                  <a:lnTo>
                    <a:pt x="56" y="1586"/>
                  </a:lnTo>
                  <a:lnTo>
                    <a:pt x="56" y="1585"/>
                  </a:lnTo>
                  <a:lnTo>
                    <a:pt x="56" y="1583"/>
                  </a:lnTo>
                  <a:lnTo>
                    <a:pt x="57" y="1581"/>
                  </a:lnTo>
                  <a:lnTo>
                    <a:pt x="56" y="1581"/>
                  </a:lnTo>
                  <a:lnTo>
                    <a:pt x="56" y="1580"/>
                  </a:lnTo>
                  <a:lnTo>
                    <a:pt x="57" y="1578"/>
                  </a:lnTo>
                  <a:lnTo>
                    <a:pt x="56" y="1578"/>
                  </a:lnTo>
                  <a:lnTo>
                    <a:pt x="57" y="1578"/>
                  </a:lnTo>
                  <a:lnTo>
                    <a:pt x="56" y="1578"/>
                  </a:lnTo>
                  <a:lnTo>
                    <a:pt x="57" y="1578"/>
                  </a:lnTo>
                  <a:lnTo>
                    <a:pt x="57" y="1576"/>
                  </a:lnTo>
                  <a:lnTo>
                    <a:pt x="57" y="1578"/>
                  </a:lnTo>
                  <a:lnTo>
                    <a:pt x="59" y="1576"/>
                  </a:lnTo>
                  <a:lnTo>
                    <a:pt x="61" y="1576"/>
                  </a:lnTo>
                  <a:lnTo>
                    <a:pt x="61" y="1578"/>
                  </a:lnTo>
                  <a:lnTo>
                    <a:pt x="62" y="1578"/>
                  </a:lnTo>
                  <a:lnTo>
                    <a:pt x="62" y="1580"/>
                  </a:lnTo>
                  <a:lnTo>
                    <a:pt x="62" y="1581"/>
                  </a:lnTo>
                  <a:lnTo>
                    <a:pt x="62" y="1583"/>
                  </a:lnTo>
                  <a:lnTo>
                    <a:pt x="64" y="1583"/>
                  </a:lnTo>
                  <a:lnTo>
                    <a:pt x="64" y="1581"/>
                  </a:lnTo>
                  <a:lnTo>
                    <a:pt x="64" y="1583"/>
                  </a:lnTo>
                  <a:lnTo>
                    <a:pt x="65" y="1583"/>
                  </a:lnTo>
                  <a:lnTo>
                    <a:pt x="65" y="1585"/>
                  </a:lnTo>
                  <a:lnTo>
                    <a:pt x="67" y="1585"/>
                  </a:lnTo>
                  <a:lnTo>
                    <a:pt x="67" y="1586"/>
                  </a:lnTo>
                  <a:lnTo>
                    <a:pt x="69" y="1586"/>
                  </a:lnTo>
                  <a:lnTo>
                    <a:pt x="69" y="1588"/>
                  </a:lnTo>
                  <a:lnTo>
                    <a:pt x="69" y="1590"/>
                  </a:lnTo>
                  <a:lnTo>
                    <a:pt x="67" y="1590"/>
                  </a:lnTo>
                  <a:lnTo>
                    <a:pt x="69" y="1590"/>
                  </a:lnTo>
                  <a:lnTo>
                    <a:pt x="69" y="1591"/>
                  </a:lnTo>
                  <a:lnTo>
                    <a:pt x="69" y="1593"/>
                  </a:lnTo>
                  <a:lnTo>
                    <a:pt x="69" y="1594"/>
                  </a:lnTo>
                  <a:lnTo>
                    <a:pt x="69" y="1596"/>
                  </a:lnTo>
                  <a:lnTo>
                    <a:pt x="69" y="1598"/>
                  </a:lnTo>
                  <a:lnTo>
                    <a:pt x="69" y="1599"/>
                  </a:lnTo>
                  <a:lnTo>
                    <a:pt x="67" y="1599"/>
                  </a:lnTo>
                  <a:lnTo>
                    <a:pt x="69" y="1601"/>
                  </a:lnTo>
                  <a:lnTo>
                    <a:pt x="67" y="1603"/>
                  </a:lnTo>
                  <a:lnTo>
                    <a:pt x="65" y="1603"/>
                  </a:lnTo>
                  <a:lnTo>
                    <a:pt x="65" y="1601"/>
                  </a:lnTo>
                  <a:lnTo>
                    <a:pt x="64" y="1601"/>
                  </a:lnTo>
                  <a:lnTo>
                    <a:pt x="64" y="1603"/>
                  </a:lnTo>
                  <a:lnTo>
                    <a:pt x="62" y="1603"/>
                  </a:lnTo>
                  <a:lnTo>
                    <a:pt x="62" y="1604"/>
                  </a:lnTo>
                  <a:lnTo>
                    <a:pt x="61" y="1604"/>
                  </a:lnTo>
                  <a:lnTo>
                    <a:pt x="61" y="1606"/>
                  </a:lnTo>
                  <a:lnTo>
                    <a:pt x="61" y="1607"/>
                  </a:lnTo>
                  <a:lnTo>
                    <a:pt x="59" y="1607"/>
                  </a:lnTo>
                  <a:lnTo>
                    <a:pt x="59" y="1609"/>
                  </a:lnTo>
                  <a:lnTo>
                    <a:pt x="57" y="1609"/>
                  </a:lnTo>
                  <a:lnTo>
                    <a:pt x="57" y="1611"/>
                  </a:lnTo>
                  <a:lnTo>
                    <a:pt x="59" y="1611"/>
                  </a:lnTo>
                  <a:lnTo>
                    <a:pt x="61" y="1609"/>
                  </a:lnTo>
                  <a:lnTo>
                    <a:pt x="61" y="1611"/>
                  </a:lnTo>
                  <a:lnTo>
                    <a:pt x="62" y="1611"/>
                  </a:lnTo>
                  <a:lnTo>
                    <a:pt x="64" y="1612"/>
                  </a:lnTo>
                  <a:lnTo>
                    <a:pt x="62" y="1612"/>
                  </a:lnTo>
                  <a:lnTo>
                    <a:pt x="62" y="1614"/>
                  </a:lnTo>
                  <a:lnTo>
                    <a:pt x="64" y="1614"/>
                  </a:lnTo>
                  <a:lnTo>
                    <a:pt x="62" y="1614"/>
                  </a:lnTo>
                  <a:lnTo>
                    <a:pt x="62" y="1616"/>
                  </a:lnTo>
                  <a:lnTo>
                    <a:pt x="64" y="1616"/>
                  </a:lnTo>
                  <a:lnTo>
                    <a:pt x="64" y="1617"/>
                  </a:lnTo>
                  <a:lnTo>
                    <a:pt x="64" y="1619"/>
                  </a:lnTo>
                  <a:lnTo>
                    <a:pt x="62" y="1619"/>
                  </a:lnTo>
                  <a:lnTo>
                    <a:pt x="62" y="1620"/>
                  </a:lnTo>
                  <a:lnTo>
                    <a:pt x="61" y="1620"/>
                  </a:lnTo>
                  <a:lnTo>
                    <a:pt x="61" y="1622"/>
                  </a:lnTo>
                  <a:lnTo>
                    <a:pt x="59" y="1620"/>
                  </a:lnTo>
                  <a:lnTo>
                    <a:pt x="61" y="1620"/>
                  </a:lnTo>
                  <a:lnTo>
                    <a:pt x="61" y="1619"/>
                  </a:lnTo>
                  <a:lnTo>
                    <a:pt x="61" y="1617"/>
                  </a:lnTo>
                  <a:lnTo>
                    <a:pt x="59" y="1617"/>
                  </a:lnTo>
                  <a:lnTo>
                    <a:pt x="59" y="1619"/>
                  </a:lnTo>
                  <a:lnTo>
                    <a:pt x="57" y="1619"/>
                  </a:lnTo>
                  <a:lnTo>
                    <a:pt x="59" y="1619"/>
                  </a:lnTo>
                  <a:lnTo>
                    <a:pt x="59" y="1620"/>
                  </a:lnTo>
                  <a:lnTo>
                    <a:pt x="57" y="1620"/>
                  </a:lnTo>
                  <a:lnTo>
                    <a:pt x="57" y="1619"/>
                  </a:lnTo>
                  <a:lnTo>
                    <a:pt x="57" y="1620"/>
                  </a:lnTo>
                  <a:lnTo>
                    <a:pt x="59" y="1622"/>
                  </a:lnTo>
                  <a:lnTo>
                    <a:pt x="57" y="1622"/>
                  </a:lnTo>
                  <a:lnTo>
                    <a:pt x="59" y="1622"/>
                  </a:lnTo>
                  <a:lnTo>
                    <a:pt x="57" y="1622"/>
                  </a:lnTo>
                  <a:lnTo>
                    <a:pt x="57" y="1624"/>
                  </a:lnTo>
                  <a:lnTo>
                    <a:pt x="56" y="1624"/>
                  </a:lnTo>
                  <a:lnTo>
                    <a:pt x="57" y="1624"/>
                  </a:lnTo>
                  <a:lnTo>
                    <a:pt x="57" y="1625"/>
                  </a:lnTo>
                  <a:lnTo>
                    <a:pt x="56" y="1625"/>
                  </a:lnTo>
                  <a:lnTo>
                    <a:pt x="54" y="1627"/>
                  </a:lnTo>
                  <a:lnTo>
                    <a:pt x="54" y="1625"/>
                  </a:lnTo>
                  <a:lnTo>
                    <a:pt x="54" y="1627"/>
                  </a:lnTo>
                  <a:lnTo>
                    <a:pt x="52" y="1627"/>
                  </a:lnTo>
                  <a:lnTo>
                    <a:pt x="54" y="1627"/>
                  </a:lnTo>
                  <a:lnTo>
                    <a:pt x="54" y="1629"/>
                  </a:lnTo>
                  <a:lnTo>
                    <a:pt x="52" y="1629"/>
                  </a:lnTo>
                  <a:lnTo>
                    <a:pt x="52" y="1630"/>
                  </a:lnTo>
                  <a:lnTo>
                    <a:pt x="51" y="1630"/>
                  </a:lnTo>
                  <a:lnTo>
                    <a:pt x="49" y="1630"/>
                  </a:lnTo>
                  <a:lnTo>
                    <a:pt x="48" y="1630"/>
                  </a:lnTo>
                  <a:lnTo>
                    <a:pt x="49" y="1630"/>
                  </a:lnTo>
                  <a:lnTo>
                    <a:pt x="48" y="1629"/>
                  </a:lnTo>
                  <a:lnTo>
                    <a:pt x="46" y="1629"/>
                  </a:lnTo>
                  <a:lnTo>
                    <a:pt x="48" y="1629"/>
                  </a:lnTo>
                  <a:lnTo>
                    <a:pt x="46" y="1629"/>
                  </a:lnTo>
                  <a:lnTo>
                    <a:pt x="48" y="1629"/>
                  </a:lnTo>
                  <a:lnTo>
                    <a:pt x="48" y="1627"/>
                  </a:lnTo>
                  <a:lnTo>
                    <a:pt x="48" y="1629"/>
                  </a:lnTo>
                  <a:lnTo>
                    <a:pt x="48" y="1627"/>
                  </a:lnTo>
                  <a:lnTo>
                    <a:pt x="49" y="1627"/>
                  </a:lnTo>
                  <a:lnTo>
                    <a:pt x="49" y="1625"/>
                  </a:lnTo>
                  <a:lnTo>
                    <a:pt x="48" y="1627"/>
                  </a:lnTo>
                  <a:lnTo>
                    <a:pt x="46" y="1627"/>
                  </a:lnTo>
                  <a:lnTo>
                    <a:pt x="46" y="1625"/>
                  </a:lnTo>
                  <a:lnTo>
                    <a:pt x="48" y="1625"/>
                  </a:lnTo>
                  <a:lnTo>
                    <a:pt x="46" y="1625"/>
                  </a:lnTo>
                  <a:lnTo>
                    <a:pt x="46" y="1624"/>
                  </a:lnTo>
                  <a:lnTo>
                    <a:pt x="46" y="1625"/>
                  </a:lnTo>
                  <a:lnTo>
                    <a:pt x="44" y="1625"/>
                  </a:lnTo>
                  <a:lnTo>
                    <a:pt x="44" y="1624"/>
                  </a:lnTo>
                  <a:lnTo>
                    <a:pt x="46" y="1624"/>
                  </a:lnTo>
                  <a:lnTo>
                    <a:pt x="46" y="1622"/>
                  </a:lnTo>
                  <a:lnTo>
                    <a:pt x="48" y="1622"/>
                  </a:lnTo>
                  <a:lnTo>
                    <a:pt x="46" y="1622"/>
                  </a:lnTo>
                  <a:lnTo>
                    <a:pt x="46" y="1620"/>
                  </a:lnTo>
                  <a:lnTo>
                    <a:pt x="48" y="1620"/>
                  </a:lnTo>
                  <a:lnTo>
                    <a:pt x="49" y="1620"/>
                  </a:lnTo>
                  <a:lnTo>
                    <a:pt x="49" y="1619"/>
                  </a:lnTo>
                  <a:lnTo>
                    <a:pt x="48" y="1619"/>
                  </a:lnTo>
                  <a:lnTo>
                    <a:pt x="49" y="1619"/>
                  </a:lnTo>
                  <a:lnTo>
                    <a:pt x="49" y="1617"/>
                  </a:lnTo>
                  <a:lnTo>
                    <a:pt x="48" y="1619"/>
                  </a:lnTo>
                  <a:lnTo>
                    <a:pt x="48" y="1617"/>
                  </a:lnTo>
                  <a:lnTo>
                    <a:pt x="48" y="1619"/>
                  </a:lnTo>
                  <a:lnTo>
                    <a:pt x="46" y="1619"/>
                  </a:lnTo>
                  <a:lnTo>
                    <a:pt x="44" y="1619"/>
                  </a:lnTo>
                  <a:lnTo>
                    <a:pt x="46" y="1619"/>
                  </a:lnTo>
                  <a:lnTo>
                    <a:pt x="46" y="1620"/>
                  </a:lnTo>
                  <a:lnTo>
                    <a:pt x="44" y="1620"/>
                  </a:lnTo>
                  <a:lnTo>
                    <a:pt x="44" y="1619"/>
                  </a:lnTo>
                  <a:lnTo>
                    <a:pt x="44" y="1620"/>
                  </a:lnTo>
                  <a:lnTo>
                    <a:pt x="44" y="1619"/>
                  </a:lnTo>
                  <a:lnTo>
                    <a:pt x="43" y="1619"/>
                  </a:lnTo>
                  <a:lnTo>
                    <a:pt x="43" y="1620"/>
                  </a:lnTo>
                  <a:lnTo>
                    <a:pt x="41" y="1620"/>
                  </a:lnTo>
                  <a:lnTo>
                    <a:pt x="41" y="1619"/>
                  </a:lnTo>
                  <a:lnTo>
                    <a:pt x="41" y="1617"/>
                  </a:lnTo>
                  <a:lnTo>
                    <a:pt x="43" y="1617"/>
                  </a:lnTo>
                  <a:lnTo>
                    <a:pt x="44" y="1617"/>
                  </a:lnTo>
                  <a:lnTo>
                    <a:pt x="44" y="1619"/>
                  </a:lnTo>
                  <a:lnTo>
                    <a:pt x="44" y="1617"/>
                  </a:lnTo>
                  <a:lnTo>
                    <a:pt x="44" y="1616"/>
                  </a:lnTo>
                  <a:lnTo>
                    <a:pt x="43" y="1616"/>
                  </a:lnTo>
                  <a:lnTo>
                    <a:pt x="44" y="1614"/>
                  </a:lnTo>
                  <a:lnTo>
                    <a:pt x="43" y="1614"/>
                  </a:lnTo>
                  <a:lnTo>
                    <a:pt x="44" y="1612"/>
                  </a:lnTo>
                  <a:lnTo>
                    <a:pt x="44" y="1614"/>
                  </a:lnTo>
                  <a:lnTo>
                    <a:pt x="46" y="1614"/>
                  </a:lnTo>
                  <a:lnTo>
                    <a:pt x="46" y="1612"/>
                  </a:lnTo>
                  <a:lnTo>
                    <a:pt x="48" y="1612"/>
                  </a:lnTo>
                  <a:lnTo>
                    <a:pt x="48" y="1611"/>
                  </a:lnTo>
                  <a:lnTo>
                    <a:pt x="48" y="1612"/>
                  </a:lnTo>
                  <a:lnTo>
                    <a:pt x="48" y="1614"/>
                  </a:lnTo>
                  <a:lnTo>
                    <a:pt x="49" y="1612"/>
                  </a:lnTo>
                  <a:lnTo>
                    <a:pt x="49" y="1614"/>
                  </a:lnTo>
                  <a:lnTo>
                    <a:pt x="51" y="1614"/>
                  </a:lnTo>
                  <a:lnTo>
                    <a:pt x="51" y="1612"/>
                  </a:lnTo>
                  <a:lnTo>
                    <a:pt x="51" y="1614"/>
                  </a:lnTo>
                  <a:lnTo>
                    <a:pt x="52" y="1614"/>
                  </a:lnTo>
                  <a:lnTo>
                    <a:pt x="52" y="1612"/>
                  </a:lnTo>
                  <a:lnTo>
                    <a:pt x="54" y="1612"/>
                  </a:lnTo>
                  <a:lnTo>
                    <a:pt x="56" y="1612"/>
                  </a:lnTo>
                  <a:lnTo>
                    <a:pt x="54" y="1612"/>
                  </a:lnTo>
                  <a:lnTo>
                    <a:pt x="54" y="1611"/>
                  </a:lnTo>
                  <a:lnTo>
                    <a:pt x="54" y="1609"/>
                  </a:lnTo>
                  <a:lnTo>
                    <a:pt x="56" y="1609"/>
                  </a:lnTo>
                  <a:lnTo>
                    <a:pt x="57" y="1609"/>
                  </a:lnTo>
                  <a:lnTo>
                    <a:pt x="56" y="1609"/>
                  </a:lnTo>
                  <a:lnTo>
                    <a:pt x="56" y="1607"/>
                  </a:lnTo>
                  <a:lnTo>
                    <a:pt x="56" y="1609"/>
                  </a:lnTo>
                  <a:lnTo>
                    <a:pt x="56" y="1607"/>
                  </a:lnTo>
                  <a:lnTo>
                    <a:pt x="57" y="1607"/>
                  </a:lnTo>
                  <a:lnTo>
                    <a:pt x="59" y="1607"/>
                  </a:lnTo>
                  <a:lnTo>
                    <a:pt x="57" y="1607"/>
                  </a:lnTo>
                  <a:lnTo>
                    <a:pt x="59" y="1606"/>
                  </a:lnTo>
                  <a:lnTo>
                    <a:pt x="57" y="1606"/>
                  </a:lnTo>
                  <a:lnTo>
                    <a:pt x="59" y="1606"/>
                  </a:lnTo>
                  <a:lnTo>
                    <a:pt x="57" y="1606"/>
                  </a:lnTo>
                  <a:lnTo>
                    <a:pt x="57" y="1604"/>
                  </a:lnTo>
                  <a:lnTo>
                    <a:pt x="56" y="1604"/>
                  </a:lnTo>
                  <a:lnTo>
                    <a:pt x="56" y="1606"/>
                  </a:lnTo>
                  <a:lnTo>
                    <a:pt x="56" y="1604"/>
                  </a:lnTo>
                  <a:lnTo>
                    <a:pt x="54" y="1606"/>
                  </a:lnTo>
                  <a:lnTo>
                    <a:pt x="52" y="1606"/>
                  </a:lnTo>
                  <a:lnTo>
                    <a:pt x="54" y="1604"/>
                  </a:lnTo>
                  <a:lnTo>
                    <a:pt x="52" y="1604"/>
                  </a:lnTo>
                  <a:lnTo>
                    <a:pt x="54" y="1604"/>
                  </a:lnTo>
                  <a:lnTo>
                    <a:pt x="54" y="1603"/>
                  </a:lnTo>
                  <a:lnTo>
                    <a:pt x="52" y="1603"/>
                  </a:lnTo>
                  <a:lnTo>
                    <a:pt x="52" y="1601"/>
                  </a:lnTo>
                  <a:lnTo>
                    <a:pt x="51" y="1603"/>
                  </a:lnTo>
                  <a:lnTo>
                    <a:pt x="49" y="1603"/>
                  </a:lnTo>
                  <a:lnTo>
                    <a:pt x="51" y="1603"/>
                  </a:lnTo>
                  <a:lnTo>
                    <a:pt x="51" y="1604"/>
                  </a:lnTo>
                  <a:lnTo>
                    <a:pt x="49" y="1604"/>
                  </a:lnTo>
                  <a:lnTo>
                    <a:pt x="49" y="1603"/>
                  </a:lnTo>
                  <a:lnTo>
                    <a:pt x="49" y="1604"/>
                  </a:lnTo>
                  <a:lnTo>
                    <a:pt x="48" y="1604"/>
                  </a:lnTo>
                  <a:lnTo>
                    <a:pt x="48" y="1606"/>
                  </a:lnTo>
                  <a:lnTo>
                    <a:pt x="48" y="1607"/>
                  </a:lnTo>
                  <a:lnTo>
                    <a:pt x="48" y="1609"/>
                  </a:lnTo>
                  <a:lnTo>
                    <a:pt x="46" y="1609"/>
                  </a:lnTo>
                  <a:lnTo>
                    <a:pt x="46" y="1607"/>
                  </a:lnTo>
                  <a:lnTo>
                    <a:pt x="44" y="1607"/>
                  </a:lnTo>
                  <a:lnTo>
                    <a:pt x="44" y="1606"/>
                  </a:lnTo>
                  <a:lnTo>
                    <a:pt x="43" y="1606"/>
                  </a:lnTo>
                  <a:lnTo>
                    <a:pt x="43" y="1604"/>
                  </a:lnTo>
                  <a:lnTo>
                    <a:pt x="41" y="1604"/>
                  </a:lnTo>
                  <a:lnTo>
                    <a:pt x="41" y="1603"/>
                  </a:lnTo>
                  <a:lnTo>
                    <a:pt x="41" y="1604"/>
                  </a:lnTo>
                  <a:lnTo>
                    <a:pt x="43" y="1606"/>
                  </a:lnTo>
                  <a:lnTo>
                    <a:pt x="43" y="1607"/>
                  </a:lnTo>
                  <a:lnTo>
                    <a:pt x="43" y="1609"/>
                  </a:lnTo>
                  <a:lnTo>
                    <a:pt x="43" y="1611"/>
                  </a:lnTo>
                  <a:lnTo>
                    <a:pt x="41" y="1611"/>
                  </a:lnTo>
                  <a:lnTo>
                    <a:pt x="41" y="1609"/>
                  </a:lnTo>
                  <a:lnTo>
                    <a:pt x="41" y="1607"/>
                  </a:lnTo>
                  <a:lnTo>
                    <a:pt x="41" y="1609"/>
                  </a:lnTo>
                  <a:lnTo>
                    <a:pt x="39" y="1609"/>
                  </a:lnTo>
                  <a:lnTo>
                    <a:pt x="39" y="1607"/>
                  </a:lnTo>
                  <a:lnTo>
                    <a:pt x="41" y="1607"/>
                  </a:lnTo>
                  <a:lnTo>
                    <a:pt x="43" y="1607"/>
                  </a:lnTo>
                  <a:lnTo>
                    <a:pt x="41" y="1607"/>
                  </a:lnTo>
                  <a:lnTo>
                    <a:pt x="41" y="1606"/>
                  </a:lnTo>
                  <a:lnTo>
                    <a:pt x="39" y="1606"/>
                  </a:lnTo>
                  <a:lnTo>
                    <a:pt x="41" y="1604"/>
                  </a:lnTo>
                  <a:lnTo>
                    <a:pt x="39" y="1604"/>
                  </a:lnTo>
                  <a:lnTo>
                    <a:pt x="38" y="1604"/>
                  </a:lnTo>
                  <a:lnTo>
                    <a:pt x="38" y="1603"/>
                  </a:lnTo>
                  <a:lnTo>
                    <a:pt x="38" y="1604"/>
                  </a:lnTo>
                  <a:lnTo>
                    <a:pt x="38" y="1603"/>
                  </a:lnTo>
                  <a:lnTo>
                    <a:pt x="38" y="1604"/>
                  </a:lnTo>
                  <a:lnTo>
                    <a:pt x="36" y="1603"/>
                  </a:lnTo>
                  <a:lnTo>
                    <a:pt x="36" y="1601"/>
                  </a:lnTo>
                  <a:lnTo>
                    <a:pt x="36" y="1603"/>
                  </a:lnTo>
                  <a:lnTo>
                    <a:pt x="36" y="1601"/>
                  </a:lnTo>
                  <a:lnTo>
                    <a:pt x="36" y="1599"/>
                  </a:lnTo>
                  <a:lnTo>
                    <a:pt x="36" y="1601"/>
                  </a:lnTo>
                  <a:lnTo>
                    <a:pt x="36" y="1599"/>
                  </a:lnTo>
                  <a:lnTo>
                    <a:pt x="36" y="1598"/>
                  </a:lnTo>
                  <a:lnTo>
                    <a:pt x="38" y="1598"/>
                  </a:lnTo>
                  <a:lnTo>
                    <a:pt x="36" y="1598"/>
                  </a:lnTo>
                  <a:lnTo>
                    <a:pt x="36" y="1599"/>
                  </a:lnTo>
                  <a:lnTo>
                    <a:pt x="36" y="1598"/>
                  </a:lnTo>
                  <a:lnTo>
                    <a:pt x="36" y="1596"/>
                  </a:lnTo>
                  <a:lnTo>
                    <a:pt x="36" y="1598"/>
                  </a:lnTo>
                  <a:lnTo>
                    <a:pt x="36" y="1596"/>
                  </a:lnTo>
                  <a:lnTo>
                    <a:pt x="38" y="1596"/>
                  </a:lnTo>
                  <a:lnTo>
                    <a:pt x="39" y="1596"/>
                  </a:lnTo>
                  <a:lnTo>
                    <a:pt x="39" y="1594"/>
                  </a:lnTo>
                  <a:close/>
                  <a:moveTo>
                    <a:pt x="628" y="1580"/>
                  </a:moveTo>
                  <a:lnTo>
                    <a:pt x="630" y="1580"/>
                  </a:lnTo>
                  <a:lnTo>
                    <a:pt x="630" y="1578"/>
                  </a:lnTo>
                  <a:lnTo>
                    <a:pt x="631" y="1576"/>
                  </a:lnTo>
                  <a:lnTo>
                    <a:pt x="631" y="1578"/>
                  </a:lnTo>
                  <a:lnTo>
                    <a:pt x="630" y="1578"/>
                  </a:lnTo>
                  <a:lnTo>
                    <a:pt x="631" y="1578"/>
                  </a:lnTo>
                  <a:lnTo>
                    <a:pt x="631" y="1580"/>
                  </a:lnTo>
                  <a:lnTo>
                    <a:pt x="633" y="1580"/>
                  </a:lnTo>
                  <a:lnTo>
                    <a:pt x="635" y="1580"/>
                  </a:lnTo>
                  <a:lnTo>
                    <a:pt x="636" y="1580"/>
                  </a:lnTo>
                  <a:lnTo>
                    <a:pt x="636" y="1578"/>
                  </a:lnTo>
                  <a:lnTo>
                    <a:pt x="640" y="1578"/>
                  </a:lnTo>
                  <a:lnTo>
                    <a:pt x="640" y="1580"/>
                  </a:lnTo>
                  <a:lnTo>
                    <a:pt x="641" y="1581"/>
                  </a:lnTo>
                  <a:lnTo>
                    <a:pt x="640" y="1581"/>
                  </a:lnTo>
                  <a:lnTo>
                    <a:pt x="640" y="1583"/>
                  </a:lnTo>
                  <a:lnTo>
                    <a:pt x="638" y="1583"/>
                  </a:lnTo>
                  <a:lnTo>
                    <a:pt x="638" y="1585"/>
                  </a:lnTo>
                  <a:lnTo>
                    <a:pt x="636" y="1585"/>
                  </a:lnTo>
                  <a:lnTo>
                    <a:pt x="636" y="1583"/>
                  </a:lnTo>
                  <a:lnTo>
                    <a:pt x="635" y="1583"/>
                  </a:lnTo>
                  <a:lnTo>
                    <a:pt x="633" y="1583"/>
                  </a:lnTo>
                  <a:lnTo>
                    <a:pt x="631" y="1585"/>
                  </a:lnTo>
                  <a:lnTo>
                    <a:pt x="631" y="1586"/>
                  </a:lnTo>
                  <a:lnTo>
                    <a:pt x="630" y="1586"/>
                  </a:lnTo>
                  <a:lnTo>
                    <a:pt x="630" y="1588"/>
                  </a:lnTo>
                  <a:lnTo>
                    <a:pt x="628" y="1588"/>
                  </a:lnTo>
                  <a:lnTo>
                    <a:pt x="628" y="1586"/>
                  </a:lnTo>
                  <a:lnTo>
                    <a:pt x="627" y="1588"/>
                  </a:lnTo>
                  <a:lnTo>
                    <a:pt x="627" y="1590"/>
                  </a:lnTo>
                  <a:lnTo>
                    <a:pt x="625" y="1590"/>
                  </a:lnTo>
                  <a:lnTo>
                    <a:pt x="627" y="1590"/>
                  </a:lnTo>
                  <a:lnTo>
                    <a:pt x="627" y="1591"/>
                  </a:lnTo>
                  <a:lnTo>
                    <a:pt x="628" y="1591"/>
                  </a:lnTo>
                  <a:lnTo>
                    <a:pt x="628" y="1593"/>
                  </a:lnTo>
                  <a:lnTo>
                    <a:pt x="628" y="1594"/>
                  </a:lnTo>
                  <a:lnTo>
                    <a:pt x="627" y="1596"/>
                  </a:lnTo>
                  <a:lnTo>
                    <a:pt x="627" y="1598"/>
                  </a:lnTo>
                  <a:lnTo>
                    <a:pt x="627" y="1599"/>
                  </a:lnTo>
                  <a:lnTo>
                    <a:pt x="627" y="1601"/>
                  </a:lnTo>
                  <a:lnTo>
                    <a:pt x="625" y="1599"/>
                  </a:lnTo>
                  <a:lnTo>
                    <a:pt x="623" y="1599"/>
                  </a:lnTo>
                  <a:lnTo>
                    <a:pt x="623" y="1598"/>
                  </a:lnTo>
                  <a:lnTo>
                    <a:pt x="622" y="1598"/>
                  </a:lnTo>
                  <a:lnTo>
                    <a:pt x="622" y="1596"/>
                  </a:lnTo>
                  <a:lnTo>
                    <a:pt x="622" y="1594"/>
                  </a:lnTo>
                  <a:lnTo>
                    <a:pt x="622" y="1593"/>
                  </a:lnTo>
                  <a:lnTo>
                    <a:pt x="620" y="1594"/>
                  </a:lnTo>
                  <a:lnTo>
                    <a:pt x="620" y="1593"/>
                  </a:lnTo>
                  <a:lnTo>
                    <a:pt x="618" y="1593"/>
                  </a:lnTo>
                  <a:lnTo>
                    <a:pt x="618" y="1591"/>
                  </a:lnTo>
                  <a:lnTo>
                    <a:pt x="618" y="1590"/>
                  </a:lnTo>
                  <a:lnTo>
                    <a:pt x="620" y="1590"/>
                  </a:lnTo>
                  <a:lnTo>
                    <a:pt x="620" y="1588"/>
                  </a:lnTo>
                  <a:lnTo>
                    <a:pt x="622" y="1588"/>
                  </a:lnTo>
                  <a:lnTo>
                    <a:pt x="620" y="1588"/>
                  </a:lnTo>
                  <a:lnTo>
                    <a:pt x="622" y="1588"/>
                  </a:lnTo>
                  <a:lnTo>
                    <a:pt x="622" y="1586"/>
                  </a:lnTo>
                  <a:lnTo>
                    <a:pt x="622" y="1585"/>
                  </a:lnTo>
                  <a:lnTo>
                    <a:pt x="620" y="1585"/>
                  </a:lnTo>
                  <a:lnTo>
                    <a:pt x="620" y="1583"/>
                  </a:lnTo>
                  <a:lnTo>
                    <a:pt x="622" y="1580"/>
                  </a:lnTo>
                  <a:lnTo>
                    <a:pt x="623" y="1580"/>
                  </a:lnTo>
                  <a:lnTo>
                    <a:pt x="625" y="1580"/>
                  </a:lnTo>
                  <a:lnTo>
                    <a:pt x="627" y="1580"/>
                  </a:lnTo>
                  <a:lnTo>
                    <a:pt x="625" y="1580"/>
                  </a:lnTo>
                  <a:lnTo>
                    <a:pt x="627" y="1578"/>
                  </a:lnTo>
                  <a:lnTo>
                    <a:pt x="628" y="1576"/>
                  </a:lnTo>
                  <a:lnTo>
                    <a:pt x="628" y="1578"/>
                  </a:lnTo>
                  <a:lnTo>
                    <a:pt x="628" y="1580"/>
                  </a:lnTo>
                  <a:close/>
                  <a:moveTo>
                    <a:pt x="524" y="1227"/>
                  </a:moveTo>
                  <a:lnTo>
                    <a:pt x="524" y="1228"/>
                  </a:lnTo>
                  <a:lnTo>
                    <a:pt x="526" y="1228"/>
                  </a:lnTo>
                  <a:lnTo>
                    <a:pt x="526" y="1230"/>
                  </a:lnTo>
                  <a:lnTo>
                    <a:pt x="526" y="1228"/>
                  </a:lnTo>
                  <a:lnTo>
                    <a:pt x="527" y="1228"/>
                  </a:lnTo>
                  <a:lnTo>
                    <a:pt x="527" y="1230"/>
                  </a:lnTo>
                  <a:lnTo>
                    <a:pt x="529" y="1230"/>
                  </a:lnTo>
                  <a:lnTo>
                    <a:pt x="527" y="1230"/>
                  </a:lnTo>
                  <a:lnTo>
                    <a:pt x="527" y="1232"/>
                  </a:lnTo>
                  <a:lnTo>
                    <a:pt x="527" y="1233"/>
                  </a:lnTo>
                  <a:lnTo>
                    <a:pt x="529" y="1233"/>
                  </a:lnTo>
                  <a:lnTo>
                    <a:pt x="527" y="1233"/>
                  </a:lnTo>
                  <a:lnTo>
                    <a:pt x="529" y="1233"/>
                  </a:lnTo>
                  <a:lnTo>
                    <a:pt x="527" y="1235"/>
                  </a:lnTo>
                  <a:lnTo>
                    <a:pt x="529" y="1235"/>
                  </a:lnTo>
                  <a:lnTo>
                    <a:pt x="529" y="1237"/>
                  </a:lnTo>
                  <a:lnTo>
                    <a:pt x="529" y="1235"/>
                  </a:lnTo>
                  <a:lnTo>
                    <a:pt x="529" y="1237"/>
                  </a:lnTo>
                  <a:lnTo>
                    <a:pt x="531" y="1237"/>
                  </a:lnTo>
                  <a:lnTo>
                    <a:pt x="531" y="1238"/>
                  </a:lnTo>
                  <a:lnTo>
                    <a:pt x="529" y="1238"/>
                  </a:lnTo>
                  <a:lnTo>
                    <a:pt x="529" y="1240"/>
                  </a:lnTo>
                  <a:lnTo>
                    <a:pt x="531" y="1238"/>
                  </a:lnTo>
                  <a:lnTo>
                    <a:pt x="531" y="1240"/>
                  </a:lnTo>
                  <a:lnTo>
                    <a:pt x="529" y="1240"/>
                  </a:lnTo>
                  <a:lnTo>
                    <a:pt x="531" y="1240"/>
                  </a:lnTo>
                  <a:lnTo>
                    <a:pt x="531" y="1241"/>
                  </a:lnTo>
                  <a:lnTo>
                    <a:pt x="532" y="1241"/>
                  </a:lnTo>
                  <a:lnTo>
                    <a:pt x="532" y="1243"/>
                  </a:lnTo>
                  <a:lnTo>
                    <a:pt x="531" y="1243"/>
                  </a:lnTo>
                  <a:lnTo>
                    <a:pt x="532" y="1243"/>
                  </a:lnTo>
                  <a:lnTo>
                    <a:pt x="532" y="1245"/>
                  </a:lnTo>
                  <a:lnTo>
                    <a:pt x="532" y="1246"/>
                  </a:lnTo>
                  <a:lnTo>
                    <a:pt x="532" y="1248"/>
                  </a:lnTo>
                  <a:lnTo>
                    <a:pt x="532" y="1246"/>
                  </a:lnTo>
                  <a:lnTo>
                    <a:pt x="534" y="1246"/>
                  </a:lnTo>
                  <a:lnTo>
                    <a:pt x="534" y="1245"/>
                  </a:lnTo>
                  <a:lnTo>
                    <a:pt x="534" y="1246"/>
                  </a:lnTo>
                  <a:lnTo>
                    <a:pt x="534" y="1248"/>
                  </a:lnTo>
                  <a:lnTo>
                    <a:pt x="535" y="1250"/>
                  </a:lnTo>
                  <a:lnTo>
                    <a:pt x="535" y="1248"/>
                  </a:lnTo>
                  <a:lnTo>
                    <a:pt x="535" y="1246"/>
                  </a:lnTo>
                  <a:lnTo>
                    <a:pt x="535" y="1245"/>
                  </a:lnTo>
                  <a:lnTo>
                    <a:pt x="535" y="1246"/>
                  </a:lnTo>
                  <a:lnTo>
                    <a:pt x="537" y="1246"/>
                  </a:lnTo>
                  <a:lnTo>
                    <a:pt x="537" y="1245"/>
                  </a:lnTo>
                  <a:lnTo>
                    <a:pt x="537" y="1246"/>
                  </a:lnTo>
                  <a:lnTo>
                    <a:pt x="537" y="1245"/>
                  </a:lnTo>
                  <a:lnTo>
                    <a:pt x="539" y="1245"/>
                  </a:lnTo>
                  <a:lnTo>
                    <a:pt x="537" y="1245"/>
                  </a:lnTo>
                  <a:lnTo>
                    <a:pt x="539" y="1246"/>
                  </a:lnTo>
                  <a:lnTo>
                    <a:pt x="537" y="1246"/>
                  </a:lnTo>
                  <a:lnTo>
                    <a:pt x="539" y="1246"/>
                  </a:lnTo>
                  <a:lnTo>
                    <a:pt x="539" y="1248"/>
                  </a:lnTo>
                  <a:lnTo>
                    <a:pt x="537" y="1248"/>
                  </a:lnTo>
                  <a:lnTo>
                    <a:pt x="539" y="1248"/>
                  </a:lnTo>
                  <a:lnTo>
                    <a:pt x="539" y="1250"/>
                  </a:lnTo>
                  <a:lnTo>
                    <a:pt x="539" y="1248"/>
                  </a:lnTo>
                  <a:lnTo>
                    <a:pt x="539" y="1250"/>
                  </a:lnTo>
                  <a:lnTo>
                    <a:pt x="540" y="1250"/>
                  </a:lnTo>
                  <a:lnTo>
                    <a:pt x="540" y="1251"/>
                  </a:lnTo>
                  <a:lnTo>
                    <a:pt x="539" y="1251"/>
                  </a:lnTo>
                  <a:lnTo>
                    <a:pt x="539" y="1250"/>
                  </a:lnTo>
                  <a:lnTo>
                    <a:pt x="539" y="1251"/>
                  </a:lnTo>
                  <a:lnTo>
                    <a:pt x="537" y="1251"/>
                  </a:lnTo>
                  <a:lnTo>
                    <a:pt x="539" y="1253"/>
                  </a:lnTo>
                  <a:lnTo>
                    <a:pt x="539" y="1251"/>
                  </a:lnTo>
                  <a:lnTo>
                    <a:pt x="539" y="1253"/>
                  </a:lnTo>
                  <a:lnTo>
                    <a:pt x="540" y="1253"/>
                  </a:lnTo>
                  <a:lnTo>
                    <a:pt x="539" y="1253"/>
                  </a:lnTo>
                  <a:lnTo>
                    <a:pt x="540" y="1253"/>
                  </a:lnTo>
                  <a:lnTo>
                    <a:pt x="540" y="1254"/>
                  </a:lnTo>
                  <a:lnTo>
                    <a:pt x="542" y="1254"/>
                  </a:lnTo>
                  <a:lnTo>
                    <a:pt x="540" y="1254"/>
                  </a:lnTo>
                  <a:lnTo>
                    <a:pt x="540" y="1256"/>
                  </a:lnTo>
                  <a:lnTo>
                    <a:pt x="539" y="1256"/>
                  </a:lnTo>
                  <a:lnTo>
                    <a:pt x="539" y="1254"/>
                  </a:lnTo>
                  <a:lnTo>
                    <a:pt x="537" y="1254"/>
                  </a:lnTo>
                  <a:lnTo>
                    <a:pt x="535" y="1254"/>
                  </a:lnTo>
                  <a:lnTo>
                    <a:pt x="535" y="1253"/>
                  </a:lnTo>
                  <a:lnTo>
                    <a:pt x="534" y="1251"/>
                  </a:lnTo>
                  <a:lnTo>
                    <a:pt x="534" y="1253"/>
                  </a:lnTo>
                  <a:lnTo>
                    <a:pt x="534" y="1251"/>
                  </a:lnTo>
                  <a:lnTo>
                    <a:pt x="532" y="1251"/>
                  </a:lnTo>
                  <a:lnTo>
                    <a:pt x="532" y="1250"/>
                  </a:lnTo>
                  <a:lnTo>
                    <a:pt x="532" y="1251"/>
                  </a:lnTo>
                  <a:lnTo>
                    <a:pt x="534" y="1251"/>
                  </a:lnTo>
                  <a:lnTo>
                    <a:pt x="534" y="1250"/>
                  </a:lnTo>
                  <a:lnTo>
                    <a:pt x="532" y="1250"/>
                  </a:lnTo>
                  <a:lnTo>
                    <a:pt x="531" y="1250"/>
                  </a:lnTo>
                  <a:lnTo>
                    <a:pt x="529" y="1248"/>
                  </a:lnTo>
                  <a:lnTo>
                    <a:pt x="527" y="1248"/>
                  </a:lnTo>
                  <a:lnTo>
                    <a:pt x="529" y="1248"/>
                  </a:lnTo>
                  <a:lnTo>
                    <a:pt x="527" y="1248"/>
                  </a:lnTo>
                  <a:lnTo>
                    <a:pt x="526" y="1246"/>
                  </a:lnTo>
                  <a:lnTo>
                    <a:pt x="526" y="1245"/>
                  </a:lnTo>
                  <a:lnTo>
                    <a:pt x="526" y="1243"/>
                  </a:lnTo>
                  <a:lnTo>
                    <a:pt x="526" y="1241"/>
                  </a:lnTo>
                  <a:lnTo>
                    <a:pt x="524" y="1241"/>
                  </a:lnTo>
                  <a:lnTo>
                    <a:pt x="524" y="1240"/>
                  </a:lnTo>
                  <a:lnTo>
                    <a:pt x="524" y="1238"/>
                  </a:lnTo>
                  <a:lnTo>
                    <a:pt x="526" y="1238"/>
                  </a:lnTo>
                  <a:lnTo>
                    <a:pt x="524" y="1238"/>
                  </a:lnTo>
                  <a:lnTo>
                    <a:pt x="524" y="1237"/>
                  </a:lnTo>
                  <a:lnTo>
                    <a:pt x="522" y="1237"/>
                  </a:lnTo>
                  <a:lnTo>
                    <a:pt x="524" y="1235"/>
                  </a:lnTo>
                  <a:lnTo>
                    <a:pt x="524" y="1237"/>
                  </a:lnTo>
                  <a:lnTo>
                    <a:pt x="524" y="1235"/>
                  </a:lnTo>
                  <a:lnTo>
                    <a:pt x="524" y="1233"/>
                  </a:lnTo>
                  <a:lnTo>
                    <a:pt x="524" y="1232"/>
                  </a:lnTo>
                  <a:lnTo>
                    <a:pt x="522" y="1232"/>
                  </a:lnTo>
                  <a:lnTo>
                    <a:pt x="524" y="1232"/>
                  </a:lnTo>
                  <a:lnTo>
                    <a:pt x="522" y="1232"/>
                  </a:lnTo>
                  <a:lnTo>
                    <a:pt x="522" y="1230"/>
                  </a:lnTo>
                  <a:lnTo>
                    <a:pt x="522" y="1232"/>
                  </a:lnTo>
                  <a:lnTo>
                    <a:pt x="522" y="1230"/>
                  </a:lnTo>
                  <a:lnTo>
                    <a:pt x="522" y="1228"/>
                  </a:lnTo>
                  <a:lnTo>
                    <a:pt x="521" y="1228"/>
                  </a:lnTo>
                  <a:lnTo>
                    <a:pt x="522" y="1228"/>
                  </a:lnTo>
                  <a:lnTo>
                    <a:pt x="522" y="1227"/>
                  </a:lnTo>
                  <a:lnTo>
                    <a:pt x="522" y="1228"/>
                  </a:lnTo>
                  <a:lnTo>
                    <a:pt x="522" y="1227"/>
                  </a:lnTo>
                  <a:lnTo>
                    <a:pt x="524" y="1227"/>
                  </a:lnTo>
                  <a:close/>
                  <a:moveTo>
                    <a:pt x="420" y="955"/>
                  </a:moveTo>
                  <a:lnTo>
                    <a:pt x="422" y="955"/>
                  </a:lnTo>
                  <a:lnTo>
                    <a:pt x="423" y="955"/>
                  </a:lnTo>
                  <a:lnTo>
                    <a:pt x="425" y="955"/>
                  </a:lnTo>
                  <a:lnTo>
                    <a:pt x="426" y="955"/>
                  </a:lnTo>
                  <a:lnTo>
                    <a:pt x="428" y="957"/>
                  </a:lnTo>
                  <a:lnTo>
                    <a:pt x="428" y="958"/>
                  </a:lnTo>
                  <a:lnTo>
                    <a:pt x="430" y="958"/>
                  </a:lnTo>
                  <a:lnTo>
                    <a:pt x="428" y="958"/>
                  </a:lnTo>
                  <a:lnTo>
                    <a:pt x="428" y="960"/>
                  </a:lnTo>
                  <a:lnTo>
                    <a:pt x="430" y="962"/>
                  </a:lnTo>
                  <a:lnTo>
                    <a:pt x="431" y="963"/>
                  </a:lnTo>
                  <a:lnTo>
                    <a:pt x="431" y="965"/>
                  </a:lnTo>
                  <a:lnTo>
                    <a:pt x="431" y="967"/>
                  </a:lnTo>
                  <a:lnTo>
                    <a:pt x="431" y="968"/>
                  </a:lnTo>
                  <a:lnTo>
                    <a:pt x="431" y="970"/>
                  </a:lnTo>
                  <a:lnTo>
                    <a:pt x="433" y="970"/>
                  </a:lnTo>
                  <a:lnTo>
                    <a:pt x="431" y="971"/>
                  </a:lnTo>
                  <a:lnTo>
                    <a:pt x="431" y="970"/>
                  </a:lnTo>
                  <a:lnTo>
                    <a:pt x="431" y="971"/>
                  </a:lnTo>
                  <a:lnTo>
                    <a:pt x="428" y="971"/>
                  </a:lnTo>
                  <a:lnTo>
                    <a:pt x="428" y="970"/>
                  </a:lnTo>
                  <a:lnTo>
                    <a:pt x="426" y="970"/>
                  </a:lnTo>
                  <a:lnTo>
                    <a:pt x="426" y="971"/>
                  </a:lnTo>
                  <a:lnTo>
                    <a:pt x="426" y="973"/>
                  </a:lnTo>
                  <a:lnTo>
                    <a:pt x="425" y="971"/>
                  </a:lnTo>
                  <a:lnTo>
                    <a:pt x="423" y="970"/>
                  </a:lnTo>
                  <a:lnTo>
                    <a:pt x="423" y="968"/>
                  </a:lnTo>
                  <a:lnTo>
                    <a:pt x="423" y="967"/>
                  </a:lnTo>
                  <a:lnTo>
                    <a:pt x="423" y="965"/>
                  </a:lnTo>
                  <a:lnTo>
                    <a:pt x="423" y="963"/>
                  </a:lnTo>
                  <a:lnTo>
                    <a:pt x="423" y="962"/>
                  </a:lnTo>
                  <a:lnTo>
                    <a:pt x="422" y="958"/>
                  </a:lnTo>
                  <a:lnTo>
                    <a:pt x="420" y="957"/>
                  </a:lnTo>
                  <a:lnTo>
                    <a:pt x="420" y="955"/>
                  </a:lnTo>
                  <a:close/>
                  <a:moveTo>
                    <a:pt x="558" y="1360"/>
                  </a:moveTo>
                  <a:lnTo>
                    <a:pt x="560" y="1360"/>
                  </a:lnTo>
                  <a:lnTo>
                    <a:pt x="561" y="1360"/>
                  </a:lnTo>
                  <a:lnTo>
                    <a:pt x="563" y="1360"/>
                  </a:lnTo>
                  <a:lnTo>
                    <a:pt x="561" y="1360"/>
                  </a:lnTo>
                  <a:lnTo>
                    <a:pt x="560" y="1360"/>
                  </a:lnTo>
                  <a:lnTo>
                    <a:pt x="560" y="1362"/>
                  </a:lnTo>
                  <a:lnTo>
                    <a:pt x="558" y="1362"/>
                  </a:lnTo>
                  <a:lnTo>
                    <a:pt x="560" y="1362"/>
                  </a:lnTo>
                  <a:lnTo>
                    <a:pt x="561" y="1362"/>
                  </a:lnTo>
                  <a:lnTo>
                    <a:pt x="561" y="1363"/>
                  </a:lnTo>
                  <a:lnTo>
                    <a:pt x="563" y="1363"/>
                  </a:lnTo>
                  <a:lnTo>
                    <a:pt x="565" y="1362"/>
                  </a:lnTo>
                  <a:lnTo>
                    <a:pt x="566" y="1362"/>
                  </a:lnTo>
                  <a:lnTo>
                    <a:pt x="570" y="1360"/>
                  </a:lnTo>
                  <a:lnTo>
                    <a:pt x="571" y="1360"/>
                  </a:lnTo>
                  <a:lnTo>
                    <a:pt x="573" y="1360"/>
                  </a:lnTo>
                  <a:lnTo>
                    <a:pt x="571" y="1360"/>
                  </a:lnTo>
                  <a:lnTo>
                    <a:pt x="571" y="1362"/>
                  </a:lnTo>
                  <a:lnTo>
                    <a:pt x="570" y="1362"/>
                  </a:lnTo>
                  <a:lnTo>
                    <a:pt x="571" y="1362"/>
                  </a:lnTo>
                  <a:lnTo>
                    <a:pt x="570" y="1362"/>
                  </a:lnTo>
                  <a:lnTo>
                    <a:pt x="568" y="1362"/>
                  </a:lnTo>
                  <a:lnTo>
                    <a:pt x="566" y="1362"/>
                  </a:lnTo>
                  <a:lnTo>
                    <a:pt x="566" y="1363"/>
                  </a:lnTo>
                  <a:lnTo>
                    <a:pt x="565" y="1363"/>
                  </a:lnTo>
                  <a:lnTo>
                    <a:pt x="563" y="1363"/>
                  </a:lnTo>
                  <a:lnTo>
                    <a:pt x="561" y="1365"/>
                  </a:lnTo>
                  <a:lnTo>
                    <a:pt x="560" y="1365"/>
                  </a:lnTo>
                  <a:lnTo>
                    <a:pt x="561" y="1365"/>
                  </a:lnTo>
                  <a:lnTo>
                    <a:pt x="561" y="1367"/>
                  </a:lnTo>
                  <a:lnTo>
                    <a:pt x="560" y="1367"/>
                  </a:lnTo>
                  <a:lnTo>
                    <a:pt x="560" y="1368"/>
                  </a:lnTo>
                  <a:lnTo>
                    <a:pt x="558" y="1368"/>
                  </a:lnTo>
                  <a:lnTo>
                    <a:pt x="560" y="1368"/>
                  </a:lnTo>
                  <a:lnTo>
                    <a:pt x="558" y="1370"/>
                  </a:lnTo>
                  <a:lnTo>
                    <a:pt x="558" y="1372"/>
                  </a:lnTo>
                  <a:lnTo>
                    <a:pt x="558" y="1370"/>
                  </a:lnTo>
                  <a:lnTo>
                    <a:pt x="557" y="1370"/>
                  </a:lnTo>
                  <a:lnTo>
                    <a:pt x="557" y="1372"/>
                  </a:lnTo>
                  <a:lnTo>
                    <a:pt x="557" y="1370"/>
                  </a:lnTo>
                  <a:lnTo>
                    <a:pt x="555" y="1370"/>
                  </a:lnTo>
                  <a:lnTo>
                    <a:pt x="557" y="1372"/>
                  </a:lnTo>
                  <a:lnTo>
                    <a:pt x="557" y="1373"/>
                  </a:lnTo>
                  <a:lnTo>
                    <a:pt x="557" y="1375"/>
                  </a:lnTo>
                  <a:lnTo>
                    <a:pt x="558" y="1373"/>
                  </a:lnTo>
                  <a:lnTo>
                    <a:pt x="558" y="1375"/>
                  </a:lnTo>
                  <a:lnTo>
                    <a:pt x="557" y="1375"/>
                  </a:lnTo>
                  <a:lnTo>
                    <a:pt x="557" y="1376"/>
                  </a:lnTo>
                  <a:lnTo>
                    <a:pt x="555" y="1375"/>
                  </a:lnTo>
                  <a:lnTo>
                    <a:pt x="555" y="1373"/>
                  </a:lnTo>
                  <a:lnTo>
                    <a:pt x="555" y="1375"/>
                  </a:lnTo>
                  <a:lnTo>
                    <a:pt x="555" y="1376"/>
                  </a:lnTo>
                  <a:lnTo>
                    <a:pt x="557" y="1376"/>
                  </a:lnTo>
                  <a:lnTo>
                    <a:pt x="557" y="1378"/>
                  </a:lnTo>
                  <a:lnTo>
                    <a:pt x="557" y="1376"/>
                  </a:lnTo>
                  <a:lnTo>
                    <a:pt x="557" y="1378"/>
                  </a:lnTo>
                  <a:lnTo>
                    <a:pt x="558" y="1378"/>
                  </a:lnTo>
                  <a:lnTo>
                    <a:pt x="558" y="1380"/>
                  </a:lnTo>
                  <a:lnTo>
                    <a:pt x="557" y="1380"/>
                  </a:lnTo>
                  <a:lnTo>
                    <a:pt x="557" y="1381"/>
                  </a:lnTo>
                  <a:lnTo>
                    <a:pt x="558" y="1381"/>
                  </a:lnTo>
                  <a:lnTo>
                    <a:pt x="558" y="1383"/>
                  </a:lnTo>
                  <a:lnTo>
                    <a:pt x="558" y="1381"/>
                  </a:lnTo>
                  <a:lnTo>
                    <a:pt x="557" y="1381"/>
                  </a:lnTo>
                  <a:lnTo>
                    <a:pt x="557" y="1380"/>
                  </a:lnTo>
                  <a:lnTo>
                    <a:pt x="555" y="1380"/>
                  </a:lnTo>
                  <a:lnTo>
                    <a:pt x="555" y="1378"/>
                  </a:lnTo>
                  <a:lnTo>
                    <a:pt x="553" y="1378"/>
                  </a:lnTo>
                  <a:lnTo>
                    <a:pt x="553" y="1380"/>
                  </a:lnTo>
                  <a:lnTo>
                    <a:pt x="555" y="1380"/>
                  </a:lnTo>
                  <a:lnTo>
                    <a:pt x="555" y="1381"/>
                  </a:lnTo>
                  <a:lnTo>
                    <a:pt x="553" y="1380"/>
                  </a:lnTo>
                  <a:lnTo>
                    <a:pt x="553" y="1381"/>
                  </a:lnTo>
                  <a:lnTo>
                    <a:pt x="553" y="1380"/>
                  </a:lnTo>
                  <a:lnTo>
                    <a:pt x="553" y="1378"/>
                  </a:lnTo>
                  <a:lnTo>
                    <a:pt x="553" y="1380"/>
                  </a:lnTo>
                  <a:lnTo>
                    <a:pt x="553" y="1378"/>
                  </a:lnTo>
                  <a:lnTo>
                    <a:pt x="552" y="1376"/>
                  </a:lnTo>
                  <a:lnTo>
                    <a:pt x="552" y="1375"/>
                  </a:lnTo>
                  <a:lnTo>
                    <a:pt x="550" y="1375"/>
                  </a:lnTo>
                  <a:lnTo>
                    <a:pt x="552" y="1375"/>
                  </a:lnTo>
                  <a:lnTo>
                    <a:pt x="550" y="1375"/>
                  </a:lnTo>
                  <a:lnTo>
                    <a:pt x="550" y="1373"/>
                  </a:lnTo>
                  <a:lnTo>
                    <a:pt x="550" y="1372"/>
                  </a:lnTo>
                  <a:lnTo>
                    <a:pt x="550" y="1370"/>
                  </a:lnTo>
                  <a:lnTo>
                    <a:pt x="552" y="1370"/>
                  </a:lnTo>
                  <a:lnTo>
                    <a:pt x="553" y="1370"/>
                  </a:lnTo>
                  <a:lnTo>
                    <a:pt x="553" y="1368"/>
                  </a:lnTo>
                  <a:lnTo>
                    <a:pt x="552" y="1370"/>
                  </a:lnTo>
                  <a:lnTo>
                    <a:pt x="552" y="1368"/>
                  </a:lnTo>
                  <a:lnTo>
                    <a:pt x="553" y="1368"/>
                  </a:lnTo>
                  <a:lnTo>
                    <a:pt x="553" y="1367"/>
                  </a:lnTo>
                  <a:lnTo>
                    <a:pt x="555" y="1365"/>
                  </a:lnTo>
                  <a:lnTo>
                    <a:pt x="555" y="1363"/>
                  </a:lnTo>
                  <a:lnTo>
                    <a:pt x="557" y="1363"/>
                  </a:lnTo>
                  <a:lnTo>
                    <a:pt x="557" y="1362"/>
                  </a:lnTo>
                  <a:lnTo>
                    <a:pt x="558" y="1362"/>
                  </a:lnTo>
                  <a:lnTo>
                    <a:pt x="558" y="1360"/>
                  </a:lnTo>
                  <a:close/>
                  <a:moveTo>
                    <a:pt x="466" y="916"/>
                  </a:moveTo>
                  <a:lnTo>
                    <a:pt x="467" y="916"/>
                  </a:lnTo>
                  <a:lnTo>
                    <a:pt x="467" y="918"/>
                  </a:lnTo>
                  <a:lnTo>
                    <a:pt x="466" y="916"/>
                  </a:lnTo>
                  <a:lnTo>
                    <a:pt x="466" y="918"/>
                  </a:lnTo>
                  <a:lnTo>
                    <a:pt x="464" y="918"/>
                  </a:lnTo>
                  <a:lnTo>
                    <a:pt x="466" y="918"/>
                  </a:lnTo>
                  <a:lnTo>
                    <a:pt x="467" y="918"/>
                  </a:lnTo>
                  <a:lnTo>
                    <a:pt x="466" y="919"/>
                  </a:lnTo>
                  <a:lnTo>
                    <a:pt x="464" y="919"/>
                  </a:lnTo>
                  <a:lnTo>
                    <a:pt x="464" y="921"/>
                  </a:lnTo>
                  <a:lnTo>
                    <a:pt x="462" y="921"/>
                  </a:lnTo>
                  <a:lnTo>
                    <a:pt x="461" y="923"/>
                  </a:lnTo>
                  <a:lnTo>
                    <a:pt x="459" y="923"/>
                  </a:lnTo>
                  <a:lnTo>
                    <a:pt x="459" y="921"/>
                  </a:lnTo>
                  <a:lnTo>
                    <a:pt x="457" y="921"/>
                  </a:lnTo>
                  <a:lnTo>
                    <a:pt x="457" y="919"/>
                  </a:lnTo>
                  <a:lnTo>
                    <a:pt x="457" y="918"/>
                  </a:lnTo>
                  <a:lnTo>
                    <a:pt x="457" y="916"/>
                  </a:lnTo>
                  <a:lnTo>
                    <a:pt x="457" y="915"/>
                  </a:lnTo>
                  <a:lnTo>
                    <a:pt x="459" y="915"/>
                  </a:lnTo>
                  <a:lnTo>
                    <a:pt x="459" y="913"/>
                  </a:lnTo>
                  <a:lnTo>
                    <a:pt x="459" y="911"/>
                  </a:lnTo>
                  <a:lnTo>
                    <a:pt x="459" y="910"/>
                  </a:lnTo>
                  <a:lnTo>
                    <a:pt x="461" y="910"/>
                  </a:lnTo>
                  <a:lnTo>
                    <a:pt x="462" y="910"/>
                  </a:lnTo>
                  <a:lnTo>
                    <a:pt x="462" y="911"/>
                  </a:lnTo>
                  <a:lnTo>
                    <a:pt x="464" y="911"/>
                  </a:lnTo>
                  <a:lnTo>
                    <a:pt x="464" y="913"/>
                  </a:lnTo>
                  <a:lnTo>
                    <a:pt x="464" y="911"/>
                  </a:lnTo>
                  <a:lnTo>
                    <a:pt x="464" y="910"/>
                  </a:lnTo>
                  <a:lnTo>
                    <a:pt x="466" y="911"/>
                  </a:lnTo>
                  <a:lnTo>
                    <a:pt x="466" y="910"/>
                  </a:lnTo>
                  <a:lnTo>
                    <a:pt x="467" y="911"/>
                  </a:lnTo>
                  <a:lnTo>
                    <a:pt x="467" y="910"/>
                  </a:lnTo>
                  <a:lnTo>
                    <a:pt x="467" y="911"/>
                  </a:lnTo>
                  <a:lnTo>
                    <a:pt x="467" y="913"/>
                  </a:lnTo>
                  <a:lnTo>
                    <a:pt x="467" y="915"/>
                  </a:lnTo>
                  <a:lnTo>
                    <a:pt x="467" y="916"/>
                  </a:lnTo>
                  <a:lnTo>
                    <a:pt x="466" y="916"/>
                  </a:lnTo>
                  <a:close/>
                  <a:moveTo>
                    <a:pt x="623" y="754"/>
                  </a:moveTo>
                  <a:lnTo>
                    <a:pt x="623" y="755"/>
                  </a:lnTo>
                  <a:lnTo>
                    <a:pt x="623" y="754"/>
                  </a:lnTo>
                  <a:lnTo>
                    <a:pt x="623" y="755"/>
                  </a:lnTo>
                  <a:lnTo>
                    <a:pt x="623" y="752"/>
                  </a:lnTo>
                  <a:lnTo>
                    <a:pt x="623" y="754"/>
                  </a:lnTo>
                  <a:lnTo>
                    <a:pt x="622" y="754"/>
                  </a:lnTo>
                  <a:lnTo>
                    <a:pt x="623" y="754"/>
                  </a:lnTo>
                  <a:lnTo>
                    <a:pt x="622" y="755"/>
                  </a:lnTo>
                  <a:lnTo>
                    <a:pt x="622" y="754"/>
                  </a:lnTo>
                  <a:lnTo>
                    <a:pt x="622" y="752"/>
                  </a:lnTo>
                  <a:lnTo>
                    <a:pt x="622" y="750"/>
                  </a:lnTo>
                  <a:lnTo>
                    <a:pt x="622" y="749"/>
                  </a:lnTo>
                  <a:lnTo>
                    <a:pt x="622" y="747"/>
                  </a:lnTo>
                  <a:lnTo>
                    <a:pt x="622" y="745"/>
                  </a:lnTo>
                  <a:lnTo>
                    <a:pt x="622" y="744"/>
                  </a:lnTo>
                  <a:lnTo>
                    <a:pt x="623" y="744"/>
                  </a:lnTo>
                  <a:lnTo>
                    <a:pt x="623" y="742"/>
                  </a:lnTo>
                  <a:lnTo>
                    <a:pt x="622" y="742"/>
                  </a:lnTo>
                  <a:lnTo>
                    <a:pt x="622" y="744"/>
                  </a:lnTo>
                  <a:lnTo>
                    <a:pt x="622" y="745"/>
                  </a:lnTo>
                  <a:lnTo>
                    <a:pt x="620" y="745"/>
                  </a:lnTo>
                  <a:lnTo>
                    <a:pt x="620" y="744"/>
                  </a:lnTo>
                  <a:lnTo>
                    <a:pt x="620" y="742"/>
                  </a:lnTo>
                  <a:lnTo>
                    <a:pt x="620" y="744"/>
                  </a:lnTo>
                  <a:lnTo>
                    <a:pt x="618" y="744"/>
                  </a:lnTo>
                  <a:lnTo>
                    <a:pt x="618" y="742"/>
                  </a:lnTo>
                  <a:lnTo>
                    <a:pt x="617" y="742"/>
                  </a:lnTo>
                  <a:lnTo>
                    <a:pt x="618" y="741"/>
                  </a:lnTo>
                  <a:lnTo>
                    <a:pt x="618" y="739"/>
                  </a:lnTo>
                  <a:lnTo>
                    <a:pt x="618" y="737"/>
                  </a:lnTo>
                  <a:lnTo>
                    <a:pt x="618" y="736"/>
                  </a:lnTo>
                  <a:lnTo>
                    <a:pt x="620" y="737"/>
                  </a:lnTo>
                  <a:lnTo>
                    <a:pt x="620" y="736"/>
                  </a:lnTo>
                  <a:lnTo>
                    <a:pt x="622" y="736"/>
                  </a:lnTo>
                  <a:lnTo>
                    <a:pt x="622" y="737"/>
                  </a:lnTo>
                  <a:lnTo>
                    <a:pt x="622" y="736"/>
                  </a:lnTo>
                  <a:lnTo>
                    <a:pt x="622" y="737"/>
                  </a:lnTo>
                  <a:lnTo>
                    <a:pt x="623" y="736"/>
                  </a:lnTo>
                  <a:lnTo>
                    <a:pt x="623" y="737"/>
                  </a:lnTo>
                  <a:lnTo>
                    <a:pt x="623" y="739"/>
                  </a:lnTo>
                  <a:lnTo>
                    <a:pt x="623" y="737"/>
                  </a:lnTo>
                  <a:lnTo>
                    <a:pt x="625" y="737"/>
                  </a:lnTo>
                  <a:lnTo>
                    <a:pt x="625" y="739"/>
                  </a:lnTo>
                  <a:lnTo>
                    <a:pt x="625" y="737"/>
                  </a:lnTo>
                  <a:lnTo>
                    <a:pt x="625" y="739"/>
                  </a:lnTo>
                  <a:lnTo>
                    <a:pt x="623" y="739"/>
                  </a:lnTo>
                  <a:lnTo>
                    <a:pt x="625" y="741"/>
                  </a:lnTo>
                  <a:lnTo>
                    <a:pt x="625" y="742"/>
                  </a:lnTo>
                  <a:lnTo>
                    <a:pt x="627" y="742"/>
                  </a:lnTo>
                  <a:lnTo>
                    <a:pt x="625" y="742"/>
                  </a:lnTo>
                  <a:lnTo>
                    <a:pt x="625" y="744"/>
                  </a:lnTo>
                  <a:lnTo>
                    <a:pt x="625" y="745"/>
                  </a:lnTo>
                  <a:lnTo>
                    <a:pt x="627" y="745"/>
                  </a:lnTo>
                  <a:lnTo>
                    <a:pt x="625" y="745"/>
                  </a:lnTo>
                  <a:lnTo>
                    <a:pt x="625" y="747"/>
                  </a:lnTo>
                  <a:lnTo>
                    <a:pt x="625" y="745"/>
                  </a:lnTo>
                  <a:lnTo>
                    <a:pt x="625" y="747"/>
                  </a:lnTo>
                  <a:lnTo>
                    <a:pt x="627" y="747"/>
                  </a:lnTo>
                  <a:lnTo>
                    <a:pt x="627" y="749"/>
                  </a:lnTo>
                  <a:lnTo>
                    <a:pt x="625" y="750"/>
                  </a:lnTo>
                  <a:lnTo>
                    <a:pt x="625" y="752"/>
                  </a:lnTo>
                  <a:lnTo>
                    <a:pt x="625" y="754"/>
                  </a:lnTo>
                  <a:lnTo>
                    <a:pt x="625" y="752"/>
                  </a:lnTo>
                  <a:lnTo>
                    <a:pt x="623" y="754"/>
                  </a:lnTo>
                  <a:close/>
                  <a:moveTo>
                    <a:pt x="532" y="1440"/>
                  </a:moveTo>
                  <a:lnTo>
                    <a:pt x="534" y="1440"/>
                  </a:lnTo>
                  <a:lnTo>
                    <a:pt x="535" y="1440"/>
                  </a:lnTo>
                  <a:lnTo>
                    <a:pt x="537" y="1440"/>
                  </a:lnTo>
                  <a:lnTo>
                    <a:pt x="537" y="1441"/>
                  </a:lnTo>
                  <a:lnTo>
                    <a:pt x="535" y="1441"/>
                  </a:lnTo>
                  <a:lnTo>
                    <a:pt x="534" y="1441"/>
                  </a:lnTo>
                  <a:lnTo>
                    <a:pt x="534" y="1443"/>
                  </a:lnTo>
                  <a:lnTo>
                    <a:pt x="534" y="1441"/>
                  </a:lnTo>
                  <a:lnTo>
                    <a:pt x="534" y="1443"/>
                  </a:lnTo>
                  <a:lnTo>
                    <a:pt x="535" y="1441"/>
                  </a:lnTo>
                  <a:lnTo>
                    <a:pt x="535" y="1443"/>
                  </a:lnTo>
                  <a:lnTo>
                    <a:pt x="535" y="1445"/>
                  </a:lnTo>
                  <a:lnTo>
                    <a:pt x="534" y="1445"/>
                  </a:lnTo>
                  <a:lnTo>
                    <a:pt x="534" y="1443"/>
                  </a:lnTo>
                  <a:lnTo>
                    <a:pt x="532" y="1443"/>
                  </a:lnTo>
                  <a:lnTo>
                    <a:pt x="534" y="1445"/>
                  </a:lnTo>
                  <a:lnTo>
                    <a:pt x="532" y="1445"/>
                  </a:lnTo>
                  <a:lnTo>
                    <a:pt x="532" y="1443"/>
                  </a:lnTo>
                  <a:lnTo>
                    <a:pt x="532" y="1441"/>
                  </a:lnTo>
                  <a:lnTo>
                    <a:pt x="531" y="1441"/>
                  </a:lnTo>
                  <a:lnTo>
                    <a:pt x="531" y="1443"/>
                  </a:lnTo>
                  <a:lnTo>
                    <a:pt x="532" y="1443"/>
                  </a:lnTo>
                  <a:lnTo>
                    <a:pt x="532" y="1445"/>
                  </a:lnTo>
                  <a:lnTo>
                    <a:pt x="532" y="1443"/>
                  </a:lnTo>
                  <a:lnTo>
                    <a:pt x="532" y="1445"/>
                  </a:lnTo>
                  <a:lnTo>
                    <a:pt x="532" y="1446"/>
                  </a:lnTo>
                  <a:lnTo>
                    <a:pt x="532" y="1448"/>
                  </a:lnTo>
                  <a:lnTo>
                    <a:pt x="532" y="1446"/>
                  </a:lnTo>
                  <a:lnTo>
                    <a:pt x="532" y="1448"/>
                  </a:lnTo>
                  <a:lnTo>
                    <a:pt x="534" y="1446"/>
                  </a:lnTo>
                  <a:lnTo>
                    <a:pt x="534" y="1448"/>
                  </a:lnTo>
                  <a:lnTo>
                    <a:pt x="532" y="1448"/>
                  </a:lnTo>
                  <a:lnTo>
                    <a:pt x="531" y="1448"/>
                  </a:lnTo>
                  <a:lnTo>
                    <a:pt x="531" y="1450"/>
                  </a:lnTo>
                  <a:lnTo>
                    <a:pt x="532" y="1450"/>
                  </a:lnTo>
                  <a:lnTo>
                    <a:pt x="531" y="1450"/>
                  </a:lnTo>
                  <a:lnTo>
                    <a:pt x="531" y="1448"/>
                  </a:lnTo>
                  <a:lnTo>
                    <a:pt x="529" y="1448"/>
                  </a:lnTo>
                  <a:lnTo>
                    <a:pt x="529" y="1446"/>
                  </a:lnTo>
                  <a:lnTo>
                    <a:pt x="529" y="1448"/>
                  </a:lnTo>
                  <a:lnTo>
                    <a:pt x="527" y="1448"/>
                  </a:lnTo>
                  <a:lnTo>
                    <a:pt x="527" y="1450"/>
                  </a:lnTo>
                  <a:lnTo>
                    <a:pt x="526" y="1450"/>
                  </a:lnTo>
                  <a:lnTo>
                    <a:pt x="526" y="1451"/>
                  </a:lnTo>
                  <a:lnTo>
                    <a:pt x="526" y="1450"/>
                  </a:lnTo>
                  <a:lnTo>
                    <a:pt x="526" y="1451"/>
                  </a:lnTo>
                  <a:lnTo>
                    <a:pt x="524" y="1451"/>
                  </a:lnTo>
                  <a:lnTo>
                    <a:pt x="524" y="1453"/>
                  </a:lnTo>
                  <a:lnTo>
                    <a:pt x="524" y="1455"/>
                  </a:lnTo>
                  <a:lnTo>
                    <a:pt x="524" y="1456"/>
                  </a:lnTo>
                  <a:lnTo>
                    <a:pt x="522" y="1456"/>
                  </a:lnTo>
                  <a:lnTo>
                    <a:pt x="522" y="1455"/>
                  </a:lnTo>
                  <a:lnTo>
                    <a:pt x="521" y="1455"/>
                  </a:lnTo>
                  <a:lnTo>
                    <a:pt x="521" y="1453"/>
                  </a:lnTo>
                  <a:lnTo>
                    <a:pt x="521" y="1451"/>
                  </a:lnTo>
                  <a:lnTo>
                    <a:pt x="521" y="1453"/>
                  </a:lnTo>
                  <a:lnTo>
                    <a:pt x="519" y="1453"/>
                  </a:lnTo>
                  <a:lnTo>
                    <a:pt x="519" y="1451"/>
                  </a:lnTo>
                  <a:lnTo>
                    <a:pt x="519" y="1450"/>
                  </a:lnTo>
                  <a:lnTo>
                    <a:pt x="521" y="1450"/>
                  </a:lnTo>
                  <a:lnTo>
                    <a:pt x="519" y="1451"/>
                  </a:lnTo>
                  <a:lnTo>
                    <a:pt x="521" y="1451"/>
                  </a:lnTo>
                  <a:lnTo>
                    <a:pt x="521" y="1450"/>
                  </a:lnTo>
                  <a:lnTo>
                    <a:pt x="521" y="1448"/>
                  </a:lnTo>
                  <a:lnTo>
                    <a:pt x="521" y="1450"/>
                  </a:lnTo>
                  <a:lnTo>
                    <a:pt x="522" y="1450"/>
                  </a:lnTo>
                  <a:lnTo>
                    <a:pt x="522" y="1448"/>
                  </a:lnTo>
                  <a:lnTo>
                    <a:pt x="522" y="1446"/>
                  </a:lnTo>
                  <a:lnTo>
                    <a:pt x="524" y="1446"/>
                  </a:lnTo>
                  <a:lnTo>
                    <a:pt x="524" y="1445"/>
                  </a:lnTo>
                  <a:lnTo>
                    <a:pt x="524" y="1446"/>
                  </a:lnTo>
                  <a:lnTo>
                    <a:pt x="524" y="1448"/>
                  </a:lnTo>
                  <a:lnTo>
                    <a:pt x="522" y="1448"/>
                  </a:lnTo>
                  <a:lnTo>
                    <a:pt x="522" y="1450"/>
                  </a:lnTo>
                  <a:lnTo>
                    <a:pt x="522" y="1451"/>
                  </a:lnTo>
                  <a:lnTo>
                    <a:pt x="522" y="1450"/>
                  </a:lnTo>
                  <a:lnTo>
                    <a:pt x="524" y="1448"/>
                  </a:lnTo>
                  <a:lnTo>
                    <a:pt x="524" y="1450"/>
                  </a:lnTo>
                  <a:lnTo>
                    <a:pt x="524" y="1451"/>
                  </a:lnTo>
                  <a:lnTo>
                    <a:pt x="524" y="1450"/>
                  </a:lnTo>
                  <a:lnTo>
                    <a:pt x="524" y="1448"/>
                  </a:lnTo>
                  <a:lnTo>
                    <a:pt x="526" y="1448"/>
                  </a:lnTo>
                  <a:lnTo>
                    <a:pt x="526" y="1450"/>
                  </a:lnTo>
                  <a:lnTo>
                    <a:pt x="526" y="1448"/>
                  </a:lnTo>
                  <a:lnTo>
                    <a:pt x="526" y="1446"/>
                  </a:lnTo>
                  <a:lnTo>
                    <a:pt x="527" y="1446"/>
                  </a:lnTo>
                  <a:lnTo>
                    <a:pt x="527" y="1445"/>
                  </a:lnTo>
                  <a:lnTo>
                    <a:pt x="526" y="1445"/>
                  </a:lnTo>
                  <a:lnTo>
                    <a:pt x="527" y="1445"/>
                  </a:lnTo>
                  <a:lnTo>
                    <a:pt x="527" y="1443"/>
                  </a:lnTo>
                  <a:lnTo>
                    <a:pt x="527" y="1441"/>
                  </a:lnTo>
                  <a:lnTo>
                    <a:pt x="529" y="1441"/>
                  </a:lnTo>
                  <a:lnTo>
                    <a:pt x="531" y="1441"/>
                  </a:lnTo>
                  <a:lnTo>
                    <a:pt x="531" y="1440"/>
                  </a:lnTo>
                  <a:lnTo>
                    <a:pt x="532" y="1440"/>
                  </a:lnTo>
                  <a:close/>
                  <a:moveTo>
                    <a:pt x="555" y="1427"/>
                  </a:moveTo>
                  <a:lnTo>
                    <a:pt x="555" y="1428"/>
                  </a:lnTo>
                  <a:lnTo>
                    <a:pt x="555" y="1427"/>
                  </a:lnTo>
                  <a:lnTo>
                    <a:pt x="555" y="1428"/>
                  </a:lnTo>
                  <a:lnTo>
                    <a:pt x="555" y="1430"/>
                  </a:lnTo>
                  <a:lnTo>
                    <a:pt x="553" y="1432"/>
                  </a:lnTo>
                  <a:lnTo>
                    <a:pt x="553" y="1433"/>
                  </a:lnTo>
                  <a:lnTo>
                    <a:pt x="553" y="1435"/>
                  </a:lnTo>
                  <a:lnTo>
                    <a:pt x="552" y="1435"/>
                  </a:lnTo>
                  <a:lnTo>
                    <a:pt x="552" y="1433"/>
                  </a:lnTo>
                  <a:lnTo>
                    <a:pt x="552" y="1435"/>
                  </a:lnTo>
                  <a:lnTo>
                    <a:pt x="553" y="1435"/>
                  </a:lnTo>
                  <a:lnTo>
                    <a:pt x="552" y="1435"/>
                  </a:lnTo>
                  <a:lnTo>
                    <a:pt x="552" y="1437"/>
                  </a:lnTo>
                  <a:lnTo>
                    <a:pt x="552" y="1438"/>
                  </a:lnTo>
                  <a:lnTo>
                    <a:pt x="552" y="1440"/>
                  </a:lnTo>
                  <a:lnTo>
                    <a:pt x="552" y="1441"/>
                  </a:lnTo>
                  <a:lnTo>
                    <a:pt x="550" y="1441"/>
                  </a:lnTo>
                  <a:lnTo>
                    <a:pt x="550" y="1440"/>
                  </a:lnTo>
                  <a:lnTo>
                    <a:pt x="548" y="1440"/>
                  </a:lnTo>
                  <a:lnTo>
                    <a:pt x="550" y="1440"/>
                  </a:lnTo>
                  <a:lnTo>
                    <a:pt x="550" y="1441"/>
                  </a:lnTo>
                  <a:lnTo>
                    <a:pt x="548" y="1441"/>
                  </a:lnTo>
                  <a:lnTo>
                    <a:pt x="548" y="1440"/>
                  </a:lnTo>
                  <a:lnTo>
                    <a:pt x="548" y="1441"/>
                  </a:lnTo>
                  <a:lnTo>
                    <a:pt x="547" y="1440"/>
                  </a:lnTo>
                  <a:lnTo>
                    <a:pt x="547" y="1438"/>
                  </a:lnTo>
                  <a:lnTo>
                    <a:pt x="545" y="1438"/>
                  </a:lnTo>
                  <a:lnTo>
                    <a:pt x="545" y="1437"/>
                  </a:lnTo>
                  <a:lnTo>
                    <a:pt x="547" y="1437"/>
                  </a:lnTo>
                  <a:lnTo>
                    <a:pt x="547" y="1438"/>
                  </a:lnTo>
                  <a:lnTo>
                    <a:pt x="547" y="1437"/>
                  </a:lnTo>
                  <a:lnTo>
                    <a:pt x="548" y="1437"/>
                  </a:lnTo>
                  <a:lnTo>
                    <a:pt x="548" y="1435"/>
                  </a:lnTo>
                  <a:lnTo>
                    <a:pt x="547" y="1437"/>
                  </a:lnTo>
                  <a:lnTo>
                    <a:pt x="547" y="1435"/>
                  </a:lnTo>
                  <a:lnTo>
                    <a:pt x="545" y="1437"/>
                  </a:lnTo>
                  <a:lnTo>
                    <a:pt x="545" y="1435"/>
                  </a:lnTo>
                  <a:lnTo>
                    <a:pt x="545" y="1433"/>
                  </a:lnTo>
                  <a:lnTo>
                    <a:pt x="545" y="1435"/>
                  </a:lnTo>
                  <a:lnTo>
                    <a:pt x="547" y="1435"/>
                  </a:lnTo>
                  <a:lnTo>
                    <a:pt x="547" y="1433"/>
                  </a:lnTo>
                  <a:lnTo>
                    <a:pt x="548" y="1433"/>
                  </a:lnTo>
                  <a:lnTo>
                    <a:pt x="548" y="1432"/>
                  </a:lnTo>
                  <a:lnTo>
                    <a:pt x="547" y="1432"/>
                  </a:lnTo>
                  <a:lnTo>
                    <a:pt x="547" y="1430"/>
                  </a:lnTo>
                  <a:lnTo>
                    <a:pt x="548" y="1430"/>
                  </a:lnTo>
                  <a:lnTo>
                    <a:pt x="550" y="1430"/>
                  </a:lnTo>
                  <a:lnTo>
                    <a:pt x="550" y="1428"/>
                  </a:lnTo>
                  <a:lnTo>
                    <a:pt x="552" y="1427"/>
                  </a:lnTo>
                  <a:lnTo>
                    <a:pt x="552" y="1425"/>
                  </a:lnTo>
                  <a:lnTo>
                    <a:pt x="553" y="1425"/>
                  </a:lnTo>
                  <a:lnTo>
                    <a:pt x="553" y="1424"/>
                  </a:lnTo>
                  <a:lnTo>
                    <a:pt x="555" y="1424"/>
                  </a:lnTo>
                  <a:lnTo>
                    <a:pt x="555" y="1425"/>
                  </a:lnTo>
                  <a:lnTo>
                    <a:pt x="555" y="1427"/>
                  </a:lnTo>
                  <a:close/>
                  <a:moveTo>
                    <a:pt x="548" y="1446"/>
                  </a:moveTo>
                  <a:lnTo>
                    <a:pt x="548" y="1448"/>
                  </a:lnTo>
                  <a:lnTo>
                    <a:pt x="547" y="1448"/>
                  </a:lnTo>
                  <a:lnTo>
                    <a:pt x="547" y="1450"/>
                  </a:lnTo>
                  <a:lnTo>
                    <a:pt x="545" y="1450"/>
                  </a:lnTo>
                  <a:lnTo>
                    <a:pt x="545" y="1451"/>
                  </a:lnTo>
                  <a:lnTo>
                    <a:pt x="544" y="1451"/>
                  </a:lnTo>
                  <a:lnTo>
                    <a:pt x="544" y="1450"/>
                  </a:lnTo>
                  <a:lnTo>
                    <a:pt x="544" y="1451"/>
                  </a:lnTo>
                  <a:lnTo>
                    <a:pt x="545" y="1451"/>
                  </a:lnTo>
                  <a:lnTo>
                    <a:pt x="544" y="1451"/>
                  </a:lnTo>
                  <a:lnTo>
                    <a:pt x="544" y="1453"/>
                  </a:lnTo>
                  <a:lnTo>
                    <a:pt x="544" y="1451"/>
                  </a:lnTo>
                  <a:lnTo>
                    <a:pt x="544" y="1453"/>
                  </a:lnTo>
                  <a:lnTo>
                    <a:pt x="545" y="1453"/>
                  </a:lnTo>
                  <a:lnTo>
                    <a:pt x="545" y="1451"/>
                  </a:lnTo>
                  <a:lnTo>
                    <a:pt x="545" y="1453"/>
                  </a:lnTo>
                  <a:lnTo>
                    <a:pt x="547" y="1453"/>
                  </a:lnTo>
                  <a:lnTo>
                    <a:pt x="545" y="1453"/>
                  </a:lnTo>
                  <a:lnTo>
                    <a:pt x="545" y="1455"/>
                  </a:lnTo>
                  <a:lnTo>
                    <a:pt x="545" y="1453"/>
                  </a:lnTo>
                  <a:lnTo>
                    <a:pt x="544" y="1455"/>
                  </a:lnTo>
                  <a:lnTo>
                    <a:pt x="544" y="1453"/>
                  </a:lnTo>
                  <a:lnTo>
                    <a:pt x="544" y="1455"/>
                  </a:lnTo>
                  <a:lnTo>
                    <a:pt x="542" y="1455"/>
                  </a:lnTo>
                  <a:lnTo>
                    <a:pt x="540" y="1455"/>
                  </a:lnTo>
                  <a:lnTo>
                    <a:pt x="540" y="1456"/>
                  </a:lnTo>
                  <a:lnTo>
                    <a:pt x="539" y="1455"/>
                  </a:lnTo>
                  <a:lnTo>
                    <a:pt x="539" y="1456"/>
                  </a:lnTo>
                  <a:lnTo>
                    <a:pt x="540" y="1456"/>
                  </a:lnTo>
                  <a:lnTo>
                    <a:pt x="539" y="1456"/>
                  </a:lnTo>
                  <a:lnTo>
                    <a:pt x="539" y="1458"/>
                  </a:lnTo>
                  <a:lnTo>
                    <a:pt x="537" y="1458"/>
                  </a:lnTo>
                  <a:lnTo>
                    <a:pt x="537" y="1456"/>
                  </a:lnTo>
                  <a:lnTo>
                    <a:pt x="535" y="1456"/>
                  </a:lnTo>
                  <a:lnTo>
                    <a:pt x="537" y="1456"/>
                  </a:lnTo>
                  <a:lnTo>
                    <a:pt x="537" y="1455"/>
                  </a:lnTo>
                  <a:lnTo>
                    <a:pt x="535" y="1455"/>
                  </a:lnTo>
                  <a:lnTo>
                    <a:pt x="537" y="1455"/>
                  </a:lnTo>
                  <a:lnTo>
                    <a:pt x="535" y="1456"/>
                  </a:lnTo>
                  <a:lnTo>
                    <a:pt x="535" y="1458"/>
                  </a:lnTo>
                  <a:lnTo>
                    <a:pt x="534" y="1458"/>
                  </a:lnTo>
                  <a:lnTo>
                    <a:pt x="532" y="1458"/>
                  </a:lnTo>
                  <a:lnTo>
                    <a:pt x="534" y="1458"/>
                  </a:lnTo>
                  <a:lnTo>
                    <a:pt x="534" y="1456"/>
                  </a:lnTo>
                  <a:lnTo>
                    <a:pt x="535" y="1456"/>
                  </a:lnTo>
                  <a:lnTo>
                    <a:pt x="534" y="1455"/>
                  </a:lnTo>
                  <a:lnTo>
                    <a:pt x="535" y="1455"/>
                  </a:lnTo>
                  <a:lnTo>
                    <a:pt x="534" y="1455"/>
                  </a:lnTo>
                  <a:lnTo>
                    <a:pt x="535" y="1453"/>
                  </a:lnTo>
                  <a:lnTo>
                    <a:pt x="534" y="1453"/>
                  </a:lnTo>
                  <a:lnTo>
                    <a:pt x="535" y="1453"/>
                  </a:lnTo>
                  <a:lnTo>
                    <a:pt x="535" y="1451"/>
                  </a:lnTo>
                  <a:lnTo>
                    <a:pt x="535" y="1453"/>
                  </a:lnTo>
                  <a:lnTo>
                    <a:pt x="535" y="1451"/>
                  </a:lnTo>
                  <a:lnTo>
                    <a:pt x="537" y="1451"/>
                  </a:lnTo>
                  <a:lnTo>
                    <a:pt x="537" y="1453"/>
                  </a:lnTo>
                  <a:lnTo>
                    <a:pt x="537" y="1451"/>
                  </a:lnTo>
                  <a:lnTo>
                    <a:pt x="537" y="1453"/>
                  </a:lnTo>
                  <a:lnTo>
                    <a:pt x="537" y="1451"/>
                  </a:lnTo>
                  <a:lnTo>
                    <a:pt x="539" y="1451"/>
                  </a:lnTo>
                  <a:lnTo>
                    <a:pt x="539" y="1453"/>
                  </a:lnTo>
                  <a:lnTo>
                    <a:pt x="539" y="1451"/>
                  </a:lnTo>
                  <a:lnTo>
                    <a:pt x="539" y="1453"/>
                  </a:lnTo>
                  <a:lnTo>
                    <a:pt x="539" y="1451"/>
                  </a:lnTo>
                  <a:lnTo>
                    <a:pt x="540" y="1451"/>
                  </a:lnTo>
                  <a:lnTo>
                    <a:pt x="540" y="1450"/>
                  </a:lnTo>
                  <a:lnTo>
                    <a:pt x="540" y="1448"/>
                  </a:lnTo>
                  <a:lnTo>
                    <a:pt x="542" y="1448"/>
                  </a:lnTo>
                  <a:lnTo>
                    <a:pt x="544" y="1448"/>
                  </a:lnTo>
                  <a:lnTo>
                    <a:pt x="544" y="1450"/>
                  </a:lnTo>
                  <a:lnTo>
                    <a:pt x="544" y="1448"/>
                  </a:lnTo>
                  <a:lnTo>
                    <a:pt x="545" y="1446"/>
                  </a:lnTo>
                  <a:lnTo>
                    <a:pt x="545" y="1448"/>
                  </a:lnTo>
                  <a:lnTo>
                    <a:pt x="545" y="1446"/>
                  </a:lnTo>
                  <a:lnTo>
                    <a:pt x="547" y="1446"/>
                  </a:lnTo>
                  <a:lnTo>
                    <a:pt x="547" y="1445"/>
                  </a:lnTo>
                  <a:lnTo>
                    <a:pt x="548" y="1445"/>
                  </a:lnTo>
                  <a:lnTo>
                    <a:pt x="548" y="1446"/>
                  </a:lnTo>
                  <a:close/>
                  <a:moveTo>
                    <a:pt x="574" y="1315"/>
                  </a:moveTo>
                  <a:lnTo>
                    <a:pt x="576" y="1315"/>
                  </a:lnTo>
                  <a:lnTo>
                    <a:pt x="576" y="1316"/>
                  </a:lnTo>
                  <a:lnTo>
                    <a:pt x="578" y="1316"/>
                  </a:lnTo>
                  <a:lnTo>
                    <a:pt x="578" y="1318"/>
                  </a:lnTo>
                  <a:lnTo>
                    <a:pt x="578" y="1320"/>
                  </a:lnTo>
                  <a:lnTo>
                    <a:pt x="579" y="1320"/>
                  </a:lnTo>
                  <a:lnTo>
                    <a:pt x="578" y="1321"/>
                  </a:lnTo>
                  <a:lnTo>
                    <a:pt x="579" y="1321"/>
                  </a:lnTo>
                  <a:lnTo>
                    <a:pt x="579" y="1323"/>
                  </a:lnTo>
                  <a:lnTo>
                    <a:pt x="578" y="1323"/>
                  </a:lnTo>
                  <a:lnTo>
                    <a:pt x="579" y="1323"/>
                  </a:lnTo>
                  <a:lnTo>
                    <a:pt x="581" y="1323"/>
                  </a:lnTo>
                  <a:lnTo>
                    <a:pt x="579" y="1324"/>
                  </a:lnTo>
                  <a:lnTo>
                    <a:pt x="581" y="1324"/>
                  </a:lnTo>
                  <a:lnTo>
                    <a:pt x="581" y="1326"/>
                  </a:lnTo>
                  <a:lnTo>
                    <a:pt x="579" y="1326"/>
                  </a:lnTo>
                  <a:lnTo>
                    <a:pt x="578" y="1326"/>
                  </a:lnTo>
                  <a:lnTo>
                    <a:pt x="576" y="1326"/>
                  </a:lnTo>
                  <a:lnTo>
                    <a:pt x="574" y="1326"/>
                  </a:lnTo>
                  <a:lnTo>
                    <a:pt x="574" y="1324"/>
                  </a:lnTo>
                  <a:lnTo>
                    <a:pt x="574" y="1326"/>
                  </a:lnTo>
                  <a:lnTo>
                    <a:pt x="573" y="1326"/>
                  </a:lnTo>
                  <a:lnTo>
                    <a:pt x="571" y="1326"/>
                  </a:lnTo>
                  <a:lnTo>
                    <a:pt x="571" y="1324"/>
                  </a:lnTo>
                  <a:lnTo>
                    <a:pt x="573" y="1323"/>
                  </a:lnTo>
                  <a:lnTo>
                    <a:pt x="573" y="1321"/>
                  </a:lnTo>
                  <a:lnTo>
                    <a:pt x="574" y="1320"/>
                  </a:lnTo>
                  <a:lnTo>
                    <a:pt x="574" y="1318"/>
                  </a:lnTo>
                  <a:lnTo>
                    <a:pt x="574" y="1316"/>
                  </a:lnTo>
                  <a:lnTo>
                    <a:pt x="574" y="1315"/>
                  </a:lnTo>
                  <a:close/>
                  <a:moveTo>
                    <a:pt x="620" y="1521"/>
                  </a:moveTo>
                  <a:lnTo>
                    <a:pt x="623" y="1521"/>
                  </a:lnTo>
                  <a:lnTo>
                    <a:pt x="625" y="1521"/>
                  </a:lnTo>
                  <a:lnTo>
                    <a:pt x="627" y="1521"/>
                  </a:lnTo>
                  <a:lnTo>
                    <a:pt x="628" y="1521"/>
                  </a:lnTo>
                  <a:lnTo>
                    <a:pt x="628" y="1523"/>
                  </a:lnTo>
                  <a:lnTo>
                    <a:pt x="631" y="1524"/>
                  </a:lnTo>
                  <a:lnTo>
                    <a:pt x="630" y="1524"/>
                  </a:lnTo>
                  <a:lnTo>
                    <a:pt x="630" y="1526"/>
                  </a:lnTo>
                  <a:lnTo>
                    <a:pt x="630" y="1528"/>
                  </a:lnTo>
                  <a:lnTo>
                    <a:pt x="628" y="1528"/>
                  </a:lnTo>
                  <a:lnTo>
                    <a:pt x="627" y="1529"/>
                  </a:lnTo>
                  <a:lnTo>
                    <a:pt x="625" y="1529"/>
                  </a:lnTo>
                  <a:lnTo>
                    <a:pt x="623" y="1529"/>
                  </a:lnTo>
                  <a:lnTo>
                    <a:pt x="623" y="1528"/>
                  </a:lnTo>
                  <a:lnTo>
                    <a:pt x="622" y="1526"/>
                  </a:lnTo>
                  <a:lnTo>
                    <a:pt x="620" y="1521"/>
                  </a:lnTo>
                  <a:close/>
                  <a:moveTo>
                    <a:pt x="656" y="479"/>
                  </a:moveTo>
                  <a:lnTo>
                    <a:pt x="657" y="477"/>
                  </a:lnTo>
                  <a:lnTo>
                    <a:pt x="657" y="479"/>
                  </a:lnTo>
                  <a:lnTo>
                    <a:pt x="661" y="480"/>
                  </a:lnTo>
                  <a:lnTo>
                    <a:pt x="661" y="479"/>
                  </a:lnTo>
                  <a:lnTo>
                    <a:pt x="661" y="480"/>
                  </a:lnTo>
                  <a:lnTo>
                    <a:pt x="662" y="480"/>
                  </a:lnTo>
                  <a:lnTo>
                    <a:pt x="664" y="480"/>
                  </a:lnTo>
                  <a:lnTo>
                    <a:pt x="664" y="482"/>
                  </a:lnTo>
                  <a:lnTo>
                    <a:pt x="666" y="482"/>
                  </a:lnTo>
                  <a:lnTo>
                    <a:pt x="667" y="482"/>
                  </a:lnTo>
                  <a:lnTo>
                    <a:pt x="667" y="484"/>
                  </a:lnTo>
                  <a:lnTo>
                    <a:pt x="667" y="485"/>
                  </a:lnTo>
                  <a:lnTo>
                    <a:pt x="666" y="485"/>
                  </a:lnTo>
                  <a:lnTo>
                    <a:pt x="666" y="484"/>
                  </a:lnTo>
                  <a:lnTo>
                    <a:pt x="664" y="484"/>
                  </a:lnTo>
                  <a:lnTo>
                    <a:pt x="662" y="482"/>
                  </a:lnTo>
                  <a:lnTo>
                    <a:pt x="661" y="482"/>
                  </a:lnTo>
                  <a:lnTo>
                    <a:pt x="661" y="484"/>
                  </a:lnTo>
                  <a:lnTo>
                    <a:pt x="662" y="484"/>
                  </a:lnTo>
                  <a:lnTo>
                    <a:pt x="662" y="485"/>
                  </a:lnTo>
                  <a:lnTo>
                    <a:pt x="662" y="484"/>
                  </a:lnTo>
                  <a:lnTo>
                    <a:pt x="661" y="484"/>
                  </a:lnTo>
                  <a:lnTo>
                    <a:pt x="662" y="485"/>
                  </a:lnTo>
                  <a:lnTo>
                    <a:pt x="662" y="487"/>
                  </a:lnTo>
                  <a:lnTo>
                    <a:pt x="664" y="487"/>
                  </a:lnTo>
                  <a:lnTo>
                    <a:pt x="664" y="488"/>
                  </a:lnTo>
                  <a:lnTo>
                    <a:pt x="662" y="488"/>
                  </a:lnTo>
                  <a:lnTo>
                    <a:pt x="662" y="487"/>
                  </a:lnTo>
                  <a:lnTo>
                    <a:pt x="661" y="487"/>
                  </a:lnTo>
                  <a:lnTo>
                    <a:pt x="661" y="485"/>
                  </a:lnTo>
                  <a:lnTo>
                    <a:pt x="659" y="485"/>
                  </a:lnTo>
                  <a:lnTo>
                    <a:pt x="659" y="484"/>
                  </a:lnTo>
                  <a:lnTo>
                    <a:pt x="657" y="484"/>
                  </a:lnTo>
                  <a:lnTo>
                    <a:pt x="657" y="482"/>
                  </a:lnTo>
                  <a:lnTo>
                    <a:pt x="656" y="482"/>
                  </a:lnTo>
                  <a:lnTo>
                    <a:pt x="656" y="480"/>
                  </a:lnTo>
                  <a:lnTo>
                    <a:pt x="656" y="479"/>
                  </a:lnTo>
                  <a:lnTo>
                    <a:pt x="656" y="480"/>
                  </a:lnTo>
                  <a:lnTo>
                    <a:pt x="656" y="479"/>
                  </a:lnTo>
                  <a:close/>
                  <a:moveTo>
                    <a:pt x="522" y="1389"/>
                  </a:moveTo>
                  <a:lnTo>
                    <a:pt x="522" y="1388"/>
                  </a:lnTo>
                  <a:lnTo>
                    <a:pt x="524" y="1389"/>
                  </a:lnTo>
                  <a:lnTo>
                    <a:pt x="526" y="1389"/>
                  </a:lnTo>
                  <a:lnTo>
                    <a:pt x="527" y="1389"/>
                  </a:lnTo>
                  <a:lnTo>
                    <a:pt x="529" y="1389"/>
                  </a:lnTo>
                  <a:lnTo>
                    <a:pt x="531" y="1389"/>
                  </a:lnTo>
                  <a:lnTo>
                    <a:pt x="532" y="1389"/>
                  </a:lnTo>
                  <a:lnTo>
                    <a:pt x="534" y="1389"/>
                  </a:lnTo>
                  <a:lnTo>
                    <a:pt x="534" y="1391"/>
                  </a:lnTo>
                  <a:lnTo>
                    <a:pt x="532" y="1391"/>
                  </a:lnTo>
                  <a:lnTo>
                    <a:pt x="531" y="1391"/>
                  </a:lnTo>
                  <a:lnTo>
                    <a:pt x="529" y="1391"/>
                  </a:lnTo>
                  <a:lnTo>
                    <a:pt x="529" y="1393"/>
                  </a:lnTo>
                  <a:lnTo>
                    <a:pt x="531" y="1391"/>
                  </a:lnTo>
                  <a:lnTo>
                    <a:pt x="532" y="1393"/>
                  </a:lnTo>
                  <a:lnTo>
                    <a:pt x="532" y="1394"/>
                  </a:lnTo>
                  <a:lnTo>
                    <a:pt x="531" y="1394"/>
                  </a:lnTo>
                  <a:lnTo>
                    <a:pt x="531" y="1396"/>
                  </a:lnTo>
                  <a:lnTo>
                    <a:pt x="529" y="1396"/>
                  </a:lnTo>
                  <a:lnTo>
                    <a:pt x="527" y="1396"/>
                  </a:lnTo>
                  <a:lnTo>
                    <a:pt x="526" y="1396"/>
                  </a:lnTo>
                  <a:lnTo>
                    <a:pt x="524" y="1393"/>
                  </a:lnTo>
                  <a:lnTo>
                    <a:pt x="522" y="1393"/>
                  </a:lnTo>
                  <a:lnTo>
                    <a:pt x="524" y="1391"/>
                  </a:lnTo>
                  <a:lnTo>
                    <a:pt x="522" y="1391"/>
                  </a:lnTo>
                  <a:lnTo>
                    <a:pt x="521" y="1389"/>
                  </a:lnTo>
                  <a:lnTo>
                    <a:pt x="522" y="1389"/>
                  </a:lnTo>
                  <a:lnTo>
                    <a:pt x="521" y="1389"/>
                  </a:lnTo>
                  <a:lnTo>
                    <a:pt x="522" y="1389"/>
                  </a:lnTo>
                  <a:close/>
                  <a:moveTo>
                    <a:pt x="443" y="1539"/>
                  </a:moveTo>
                  <a:lnTo>
                    <a:pt x="443" y="1541"/>
                  </a:lnTo>
                  <a:lnTo>
                    <a:pt x="444" y="1539"/>
                  </a:lnTo>
                  <a:lnTo>
                    <a:pt x="444" y="1541"/>
                  </a:lnTo>
                  <a:lnTo>
                    <a:pt x="444" y="1539"/>
                  </a:lnTo>
                  <a:lnTo>
                    <a:pt x="446" y="1539"/>
                  </a:lnTo>
                  <a:lnTo>
                    <a:pt x="446" y="1541"/>
                  </a:lnTo>
                  <a:lnTo>
                    <a:pt x="444" y="1541"/>
                  </a:lnTo>
                  <a:lnTo>
                    <a:pt x="446" y="1541"/>
                  </a:lnTo>
                  <a:lnTo>
                    <a:pt x="446" y="1542"/>
                  </a:lnTo>
                  <a:lnTo>
                    <a:pt x="444" y="1542"/>
                  </a:lnTo>
                  <a:lnTo>
                    <a:pt x="446" y="1542"/>
                  </a:lnTo>
                  <a:lnTo>
                    <a:pt x="444" y="1542"/>
                  </a:lnTo>
                  <a:lnTo>
                    <a:pt x="443" y="1542"/>
                  </a:lnTo>
                  <a:lnTo>
                    <a:pt x="443" y="1544"/>
                  </a:lnTo>
                  <a:lnTo>
                    <a:pt x="444" y="1544"/>
                  </a:lnTo>
                  <a:lnTo>
                    <a:pt x="444" y="1542"/>
                  </a:lnTo>
                  <a:lnTo>
                    <a:pt x="444" y="1544"/>
                  </a:lnTo>
                  <a:lnTo>
                    <a:pt x="446" y="1544"/>
                  </a:lnTo>
                  <a:lnTo>
                    <a:pt x="444" y="1544"/>
                  </a:lnTo>
                  <a:lnTo>
                    <a:pt x="443" y="1544"/>
                  </a:lnTo>
                  <a:lnTo>
                    <a:pt x="444" y="1544"/>
                  </a:lnTo>
                  <a:lnTo>
                    <a:pt x="444" y="1546"/>
                  </a:lnTo>
                  <a:lnTo>
                    <a:pt x="443" y="1546"/>
                  </a:lnTo>
                  <a:lnTo>
                    <a:pt x="444" y="1546"/>
                  </a:lnTo>
                  <a:lnTo>
                    <a:pt x="444" y="1547"/>
                  </a:lnTo>
                  <a:lnTo>
                    <a:pt x="446" y="1547"/>
                  </a:lnTo>
                  <a:lnTo>
                    <a:pt x="446" y="1549"/>
                  </a:lnTo>
                  <a:lnTo>
                    <a:pt x="448" y="1549"/>
                  </a:lnTo>
                  <a:lnTo>
                    <a:pt x="449" y="1549"/>
                  </a:lnTo>
                  <a:lnTo>
                    <a:pt x="448" y="1549"/>
                  </a:lnTo>
                  <a:lnTo>
                    <a:pt x="449" y="1550"/>
                  </a:lnTo>
                  <a:lnTo>
                    <a:pt x="449" y="1549"/>
                  </a:lnTo>
                  <a:lnTo>
                    <a:pt x="449" y="1547"/>
                  </a:lnTo>
                  <a:lnTo>
                    <a:pt x="451" y="1549"/>
                  </a:lnTo>
                  <a:lnTo>
                    <a:pt x="451" y="1547"/>
                  </a:lnTo>
                  <a:lnTo>
                    <a:pt x="451" y="1549"/>
                  </a:lnTo>
                  <a:lnTo>
                    <a:pt x="451" y="1550"/>
                  </a:lnTo>
                  <a:lnTo>
                    <a:pt x="449" y="1550"/>
                  </a:lnTo>
                  <a:lnTo>
                    <a:pt x="449" y="1552"/>
                  </a:lnTo>
                  <a:lnTo>
                    <a:pt x="448" y="1552"/>
                  </a:lnTo>
                  <a:lnTo>
                    <a:pt x="446" y="1552"/>
                  </a:lnTo>
                  <a:lnTo>
                    <a:pt x="446" y="1550"/>
                  </a:lnTo>
                  <a:lnTo>
                    <a:pt x="444" y="1550"/>
                  </a:lnTo>
                  <a:lnTo>
                    <a:pt x="444" y="1549"/>
                  </a:lnTo>
                  <a:lnTo>
                    <a:pt x="443" y="1549"/>
                  </a:lnTo>
                  <a:lnTo>
                    <a:pt x="443" y="1547"/>
                  </a:lnTo>
                  <a:lnTo>
                    <a:pt x="441" y="1547"/>
                  </a:lnTo>
                  <a:lnTo>
                    <a:pt x="441" y="1546"/>
                  </a:lnTo>
                  <a:lnTo>
                    <a:pt x="443" y="1546"/>
                  </a:lnTo>
                  <a:lnTo>
                    <a:pt x="443" y="1544"/>
                  </a:lnTo>
                  <a:lnTo>
                    <a:pt x="441" y="1544"/>
                  </a:lnTo>
                  <a:lnTo>
                    <a:pt x="440" y="1544"/>
                  </a:lnTo>
                  <a:lnTo>
                    <a:pt x="440" y="1542"/>
                  </a:lnTo>
                  <a:lnTo>
                    <a:pt x="441" y="1542"/>
                  </a:lnTo>
                  <a:lnTo>
                    <a:pt x="441" y="1541"/>
                  </a:lnTo>
                  <a:lnTo>
                    <a:pt x="440" y="1542"/>
                  </a:lnTo>
                  <a:lnTo>
                    <a:pt x="440" y="1541"/>
                  </a:lnTo>
                  <a:lnTo>
                    <a:pt x="440" y="1539"/>
                  </a:lnTo>
                  <a:lnTo>
                    <a:pt x="441" y="1539"/>
                  </a:lnTo>
                  <a:lnTo>
                    <a:pt x="441" y="1537"/>
                  </a:lnTo>
                  <a:lnTo>
                    <a:pt x="443" y="1537"/>
                  </a:lnTo>
                  <a:lnTo>
                    <a:pt x="443" y="1539"/>
                  </a:lnTo>
                  <a:close/>
                  <a:moveTo>
                    <a:pt x="693" y="443"/>
                  </a:moveTo>
                  <a:lnTo>
                    <a:pt x="695" y="443"/>
                  </a:lnTo>
                  <a:lnTo>
                    <a:pt x="696" y="445"/>
                  </a:lnTo>
                  <a:lnTo>
                    <a:pt x="695" y="445"/>
                  </a:lnTo>
                  <a:lnTo>
                    <a:pt x="695" y="446"/>
                  </a:lnTo>
                  <a:lnTo>
                    <a:pt x="698" y="446"/>
                  </a:lnTo>
                  <a:lnTo>
                    <a:pt x="698" y="448"/>
                  </a:lnTo>
                  <a:lnTo>
                    <a:pt x="698" y="449"/>
                  </a:lnTo>
                  <a:lnTo>
                    <a:pt x="696" y="448"/>
                  </a:lnTo>
                  <a:lnTo>
                    <a:pt x="696" y="449"/>
                  </a:lnTo>
                  <a:lnTo>
                    <a:pt x="696" y="451"/>
                  </a:lnTo>
                  <a:lnTo>
                    <a:pt x="698" y="453"/>
                  </a:lnTo>
                  <a:lnTo>
                    <a:pt x="696" y="453"/>
                  </a:lnTo>
                  <a:lnTo>
                    <a:pt x="695" y="451"/>
                  </a:lnTo>
                  <a:lnTo>
                    <a:pt x="695" y="449"/>
                  </a:lnTo>
                  <a:lnTo>
                    <a:pt x="693" y="449"/>
                  </a:lnTo>
                  <a:lnTo>
                    <a:pt x="693" y="448"/>
                  </a:lnTo>
                  <a:lnTo>
                    <a:pt x="692" y="448"/>
                  </a:lnTo>
                  <a:lnTo>
                    <a:pt x="693" y="449"/>
                  </a:lnTo>
                  <a:lnTo>
                    <a:pt x="692" y="449"/>
                  </a:lnTo>
                  <a:lnTo>
                    <a:pt x="692" y="448"/>
                  </a:lnTo>
                  <a:lnTo>
                    <a:pt x="692" y="446"/>
                  </a:lnTo>
                  <a:lnTo>
                    <a:pt x="690" y="446"/>
                  </a:lnTo>
                  <a:lnTo>
                    <a:pt x="692" y="445"/>
                  </a:lnTo>
                  <a:lnTo>
                    <a:pt x="690" y="445"/>
                  </a:lnTo>
                  <a:lnTo>
                    <a:pt x="690" y="443"/>
                  </a:lnTo>
                  <a:lnTo>
                    <a:pt x="690" y="445"/>
                  </a:lnTo>
                  <a:lnTo>
                    <a:pt x="692" y="443"/>
                  </a:lnTo>
                  <a:lnTo>
                    <a:pt x="693" y="443"/>
                  </a:lnTo>
                  <a:close/>
                  <a:moveTo>
                    <a:pt x="561" y="1386"/>
                  </a:moveTo>
                  <a:lnTo>
                    <a:pt x="563" y="1386"/>
                  </a:lnTo>
                  <a:lnTo>
                    <a:pt x="565" y="1386"/>
                  </a:lnTo>
                  <a:lnTo>
                    <a:pt x="566" y="1386"/>
                  </a:lnTo>
                  <a:lnTo>
                    <a:pt x="568" y="1388"/>
                  </a:lnTo>
                  <a:lnTo>
                    <a:pt x="568" y="1389"/>
                  </a:lnTo>
                  <a:lnTo>
                    <a:pt x="570" y="1389"/>
                  </a:lnTo>
                  <a:lnTo>
                    <a:pt x="570" y="1388"/>
                  </a:lnTo>
                  <a:lnTo>
                    <a:pt x="570" y="1389"/>
                  </a:lnTo>
                  <a:lnTo>
                    <a:pt x="570" y="1391"/>
                  </a:lnTo>
                  <a:lnTo>
                    <a:pt x="570" y="1393"/>
                  </a:lnTo>
                  <a:lnTo>
                    <a:pt x="570" y="1394"/>
                  </a:lnTo>
                  <a:lnTo>
                    <a:pt x="570" y="1393"/>
                  </a:lnTo>
                  <a:lnTo>
                    <a:pt x="570" y="1394"/>
                  </a:lnTo>
                  <a:lnTo>
                    <a:pt x="568" y="1394"/>
                  </a:lnTo>
                  <a:lnTo>
                    <a:pt x="568" y="1396"/>
                  </a:lnTo>
                  <a:lnTo>
                    <a:pt x="566" y="1396"/>
                  </a:lnTo>
                  <a:lnTo>
                    <a:pt x="565" y="1398"/>
                  </a:lnTo>
                  <a:lnTo>
                    <a:pt x="565" y="1396"/>
                  </a:lnTo>
                  <a:lnTo>
                    <a:pt x="565" y="1394"/>
                  </a:lnTo>
                  <a:lnTo>
                    <a:pt x="566" y="1396"/>
                  </a:lnTo>
                  <a:lnTo>
                    <a:pt x="566" y="1394"/>
                  </a:lnTo>
                  <a:lnTo>
                    <a:pt x="566" y="1396"/>
                  </a:lnTo>
                  <a:lnTo>
                    <a:pt x="566" y="1394"/>
                  </a:lnTo>
                  <a:lnTo>
                    <a:pt x="565" y="1394"/>
                  </a:lnTo>
                  <a:lnTo>
                    <a:pt x="565" y="1393"/>
                  </a:lnTo>
                  <a:lnTo>
                    <a:pt x="566" y="1393"/>
                  </a:lnTo>
                  <a:lnTo>
                    <a:pt x="565" y="1391"/>
                  </a:lnTo>
                  <a:lnTo>
                    <a:pt x="563" y="1389"/>
                  </a:lnTo>
                  <a:lnTo>
                    <a:pt x="561" y="1388"/>
                  </a:lnTo>
                  <a:lnTo>
                    <a:pt x="560" y="1388"/>
                  </a:lnTo>
                  <a:lnTo>
                    <a:pt x="561" y="1386"/>
                  </a:lnTo>
                  <a:close/>
                  <a:moveTo>
                    <a:pt x="552" y="1266"/>
                  </a:moveTo>
                  <a:lnTo>
                    <a:pt x="553" y="1266"/>
                  </a:lnTo>
                  <a:lnTo>
                    <a:pt x="555" y="1267"/>
                  </a:lnTo>
                  <a:lnTo>
                    <a:pt x="555" y="1269"/>
                  </a:lnTo>
                  <a:lnTo>
                    <a:pt x="555" y="1267"/>
                  </a:lnTo>
                  <a:lnTo>
                    <a:pt x="555" y="1269"/>
                  </a:lnTo>
                  <a:lnTo>
                    <a:pt x="557" y="1269"/>
                  </a:lnTo>
                  <a:lnTo>
                    <a:pt x="557" y="1271"/>
                  </a:lnTo>
                  <a:lnTo>
                    <a:pt x="558" y="1271"/>
                  </a:lnTo>
                  <a:lnTo>
                    <a:pt x="557" y="1271"/>
                  </a:lnTo>
                  <a:lnTo>
                    <a:pt x="558" y="1272"/>
                  </a:lnTo>
                  <a:lnTo>
                    <a:pt x="558" y="1271"/>
                  </a:lnTo>
                  <a:lnTo>
                    <a:pt x="558" y="1272"/>
                  </a:lnTo>
                  <a:lnTo>
                    <a:pt x="560" y="1272"/>
                  </a:lnTo>
                  <a:lnTo>
                    <a:pt x="560" y="1274"/>
                  </a:lnTo>
                  <a:lnTo>
                    <a:pt x="558" y="1274"/>
                  </a:lnTo>
                  <a:lnTo>
                    <a:pt x="558" y="1272"/>
                  </a:lnTo>
                  <a:lnTo>
                    <a:pt x="558" y="1274"/>
                  </a:lnTo>
                  <a:lnTo>
                    <a:pt x="557" y="1274"/>
                  </a:lnTo>
                  <a:lnTo>
                    <a:pt x="558" y="1274"/>
                  </a:lnTo>
                  <a:lnTo>
                    <a:pt x="557" y="1276"/>
                  </a:lnTo>
                  <a:lnTo>
                    <a:pt x="555" y="1274"/>
                  </a:lnTo>
                  <a:lnTo>
                    <a:pt x="553" y="1276"/>
                  </a:lnTo>
                  <a:lnTo>
                    <a:pt x="552" y="1274"/>
                  </a:lnTo>
                  <a:lnTo>
                    <a:pt x="553" y="1274"/>
                  </a:lnTo>
                  <a:lnTo>
                    <a:pt x="552" y="1274"/>
                  </a:lnTo>
                  <a:lnTo>
                    <a:pt x="553" y="1274"/>
                  </a:lnTo>
                  <a:lnTo>
                    <a:pt x="553" y="1272"/>
                  </a:lnTo>
                  <a:lnTo>
                    <a:pt x="552" y="1272"/>
                  </a:lnTo>
                  <a:lnTo>
                    <a:pt x="552" y="1271"/>
                  </a:lnTo>
                  <a:lnTo>
                    <a:pt x="552" y="1269"/>
                  </a:lnTo>
                  <a:lnTo>
                    <a:pt x="552" y="1267"/>
                  </a:lnTo>
                  <a:lnTo>
                    <a:pt x="553" y="1269"/>
                  </a:lnTo>
                  <a:lnTo>
                    <a:pt x="553" y="1267"/>
                  </a:lnTo>
                  <a:lnTo>
                    <a:pt x="552" y="1267"/>
                  </a:lnTo>
                  <a:lnTo>
                    <a:pt x="550" y="1266"/>
                  </a:lnTo>
                  <a:lnTo>
                    <a:pt x="552" y="1266"/>
                  </a:lnTo>
                  <a:lnTo>
                    <a:pt x="550" y="1266"/>
                  </a:lnTo>
                  <a:lnTo>
                    <a:pt x="552" y="1266"/>
                  </a:lnTo>
                  <a:close/>
                  <a:moveTo>
                    <a:pt x="744" y="431"/>
                  </a:moveTo>
                  <a:lnTo>
                    <a:pt x="744" y="433"/>
                  </a:lnTo>
                  <a:lnTo>
                    <a:pt x="745" y="433"/>
                  </a:lnTo>
                  <a:lnTo>
                    <a:pt x="744" y="435"/>
                  </a:lnTo>
                  <a:lnTo>
                    <a:pt x="745" y="435"/>
                  </a:lnTo>
                  <a:lnTo>
                    <a:pt x="744" y="435"/>
                  </a:lnTo>
                  <a:lnTo>
                    <a:pt x="744" y="436"/>
                  </a:lnTo>
                  <a:lnTo>
                    <a:pt x="745" y="436"/>
                  </a:lnTo>
                  <a:lnTo>
                    <a:pt x="744" y="436"/>
                  </a:lnTo>
                  <a:lnTo>
                    <a:pt x="744" y="438"/>
                  </a:lnTo>
                  <a:lnTo>
                    <a:pt x="744" y="440"/>
                  </a:lnTo>
                  <a:lnTo>
                    <a:pt x="742" y="440"/>
                  </a:lnTo>
                  <a:lnTo>
                    <a:pt x="740" y="440"/>
                  </a:lnTo>
                  <a:lnTo>
                    <a:pt x="739" y="440"/>
                  </a:lnTo>
                  <a:lnTo>
                    <a:pt x="739" y="438"/>
                  </a:lnTo>
                  <a:lnTo>
                    <a:pt x="737" y="438"/>
                  </a:lnTo>
                  <a:lnTo>
                    <a:pt x="737" y="436"/>
                  </a:lnTo>
                  <a:lnTo>
                    <a:pt x="737" y="435"/>
                  </a:lnTo>
                  <a:lnTo>
                    <a:pt x="737" y="433"/>
                  </a:lnTo>
                  <a:lnTo>
                    <a:pt x="739" y="435"/>
                  </a:lnTo>
                  <a:lnTo>
                    <a:pt x="740" y="435"/>
                  </a:lnTo>
                  <a:lnTo>
                    <a:pt x="739" y="431"/>
                  </a:lnTo>
                  <a:lnTo>
                    <a:pt x="739" y="433"/>
                  </a:lnTo>
                  <a:lnTo>
                    <a:pt x="740" y="433"/>
                  </a:lnTo>
                  <a:lnTo>
                    <a:pt x="740" y="435"/>
                  </a:lnTo>
                  <a:lnTo>
                    <a:pt x="742" y="435"/>
                  </a:lnTo>
                  <a:lnTo>
                    <a:pt x="742" y="433"/>
                  </a:lnTo>
                  <a:lnTo>
                    <a:pt x="742" y="431"/>
                  </a:lnTo>
                  <a:lnTo>
                    <a:pt x="744" y="431"/>
                  </a:lnTo>
                  <a:lnTo>
                    <a:pt x="742" y="433"/>
                  </a:lnTo>
                  <a:lnTo>
                    <a:pt x="744" y="433"/>
                  </a:lnTo>
                  <a:lnTo>
                    <a:pt x="744" y="431"/>
                  </a:lnTo>
                  <a:close/>
                  <a:moveTo>
                    <a:pt x="682" y="441"/>
                  </a:moveTo>
                  <a:lnTo>
                    <a:pt x="683" y="441"/>
                  </a:lnTo>
                  <a:lnTo>
                    <a:pt x="682" y="443"/>
                  </a:lnTo>
                  <a:lnTo>
                    <a:pt x="683" y="443"/>
                  </a:lnTo>
                  <a:lnTo>
                    <a:pt x="685" y="443"/>
                  </a:lnTo>
                  <a:lnTo>
                    <a:pt x="685" y="445"/>
                  </a:lnTo>
                  <a:lnTo>
                    <a:pt x="687" y="445"/>
                  </a:lnTo>
                  <a:lnTo>
                    <a:pt x="687" y="446"/>
                  </a:lnTo>
                  <a:lnTo>
                    <a:pt x="687" y="448"/>
                  </a:lnTo>
                  <a:lnTo>
                    <a:pt x="688" y="449"/>
                  </a:lnTo>
                  <a:lnTo>
                    <a:pt x="687" y="449"/>
                  </a:lnTo>
                  <a:lnTo>
                    <a:pt x="685" y="449"/>
                  </a:lnTo>
                  <a:lnTo>
                    <a:pt x="683" y="449"/>
                  </a:lnTo>
                  <a:lnTo>
                    <a:pt x="682" y="448"/>
                  </a:lnTo>
                  <a:lnTo>
                    <a:pt x="683" y="446"/>
                  </a:lnTo>
                  <a:lnTo>
                    <a:pt x="682" y="446"/>
                  </a:lnTo>
                  <a:lnTo>
                    <a:pt x="682" y="445"/>
                  </a:lnTo>
                  <a:lnTo>
                    <a:pt x="682" y="443"/>
                  </a:lnTo>
                  <a:lnTo>
                    <a:pt x="682" y="441"/>
                  </a:lnTo>
                  <a:close/>
                  <a:moveTo>
                    <a:pt x="581" y="1346"/>
                  </a:moveTo>
                  <a:lnTo>
                    <a:pt x="581" y="1347"/>
                  </a:lnTo>
                  <a:lnTo>
                    <a:pt x="581" y="1346"/>
                  </a:lnTo>
                  <a:lnTo>
                    <a:pt x="581" y="1347"/>
                  </a:lnTo>
                  <a:lnTo>
                    <a:pt x="583" y="1347"/>
                  </a:lnTo>
                  <a:lnTo>
                    <a:pt x="581" y="1347"/>
                  </a:lnTo>
                  <a:lnTo>
                    <a:pt x="581" y="1349"/>
                  </a:lnTo>
                  <a:lnTo>
                    <a:pt x="581" y="1347"/>
                  </a:lnTo>
                  <a:lnTo>
                    <a:pt x="581" y="1349"/>
                  </a:lnTo>
                  <a:lnTo>
                    <a:pt x="579" y="1349"/>
                  </a:lnTo>
                  <a:lnTo>
                    <a:pt x="579" y="1347"/>
                  </a:lnTo>
                  <a:lnTo>
                    <a:pt x="579" y="1349"/>
                  </a:lnTo>
                  <a:lnTo>
                    <a:pt x="581" y="1349"/>
                  </a:lnTo>
                  <a:lnTo>
                    <a:pt x="579" y="1349"/>
                  </a:lnTo>
                  <a:lnTo>
                    <a:pt x="578" y="1349"/>
                  </a:lnTo>
                  <a:lnTo>
                    <a:pt x="578" y="1347"/>
                  </a:lnTo>
                  <a:lnTo>
                    <a:pt x="578" y="1349"/>
                  </a:lnTo>
                  <a:lnTo>
                    <a:pt x="576" y="1349"/>
                  </a:lnTo>
                  <a:lnTo>
                    <a:pt x="578" y="1350"/>
                  </a:lnTo>
                  <a:lnTo>
                    <a:pt x="578" y="1352"/>
                  </a:lnTo>
                  <a:lnTo>
                    <a:pt x="576" y="1352"/>
                  </a:lnTo>
                  <a:lnTo>
                    <a:pt x="578" y="1352"/>
                  </a:lnTo>
                  <a:lnTo>
                    <a:pt x="578" y="1354"/>
                  </a:lnTo>
                  <a:lnTo>
                    <a:pt x="576" y="1354"/>
                  </a:lnTo>
                  <a:lnTo>
                    <a:pt x="578" y="1354"/>
                  </a:lnTo>
                  <a:lnTo>
                    <a:pt x="576" y="1355"/>
                  </a:lnTo>
                  <a:lnTo>
                    <a:pt x="576" y="1354"/>
                  </a:lnTo>
                  <a:lnTo>
                    <a:pt x="576" y="1355"/>
                  </a:lnTo>
                  <a:lnTo>
                    <a:pt x="576" y="1354"/>
                  </a:lnTo>
                  <a:lnTo>
                    <a:pt x="576" y="1355"/>
                  </a:lnTo>
                  <a:lnTo>
                    <a:pt x="574" y="1355"/>
                  </a:lnTo>
                  <a:lnTo>
                    <a:pt x="574" y="1357"/>
                  </a:lnTo>
                  <a:lnTo>
                    <a:pt x="574" y="1355"/>
                  </a:lnTo>
                  <a:lnTo>
                    <a:pt x="573" y="1355"/>
                  </a:lnTo>
                  <a:lnTo>
                    <a:pt x="573" y="1354"/>
                  </a:lnTo>
                  <a:lnTo>
                    <a:pt x="573" y="1352"/>
                  </a:lnTo>
                  <a:lnTo>
                    <a:pt x="574" y="1352"/>
                  </a:lnTo>
                  <a:lnTo>
                    <a:pt x="573" y="1352"/>
                  </a:lnTo>
                  <a:lnTo>
                    <a:pt x="574" y="1350"/>
                  </a:lnTo>
                  <a:lnTo>
                    <a:pt x="574" y="1349"/>
                  </a:lnTo>
                  <a:lnTo>
                    <a:pt x="576" y="1347"/>
                  </a:lnTo>
                  <a:lnTo>
                    <a:pt x="578" y="1347"/>
                  </a:lnTo>
                  <a:lnTo>
                    <a:pt x="576" y="1346"/>
                  </a:lnTo>
                  <a:lnTo>
                    <a:pt x="578" y="1346"/>
                  </a:lnTo>
                  <a:lnTo>
                    <a:pt x="578" y="1344"/>
                  </a:lnTo>
                  <a:lnTo>
                    <a:pt x="579" y="1344"/>
                  </a:lnTo>
                  <a:lnTo>
                    <a:pt x="579" y="1346"/>
                  </a:lnTo>
                  <a:lnTo>
                    <a:pt x="581" y="1346"/>
                  </a:lnTo>
                  <a:close/>
                  <a:moveTo>
                    <a:pt x="656" y="488"/>
                  </a:moveTo>
                  <a:lnTo>
                    <a:pt x="657" y="488"/>
                  </a:lnTo>
                  <a:lnTo>
                    <a:pt x="657" y="490"/>
                  </a:lnTo>
                  <a:lnTo>
                    <a:pt x="659" y="490"/>
                  </a:lnTo>
                  <a:lnTo>
                    <a:pt x="661" y="490"/>
                  </a:lnTo>
                  <a:lnTo>
                    <a:pt x="659" y="490"/>
                  </a:lnTo>
                  <a:lnTo>
                    <a:pt x="659" y="492"/>
                  </a:lnTo>
                  <a:lnTo>
                    <a:pt x="661" y="493"/>
                  </a:lnTo>
                  <a:lnTo>
                    <a:pt x="662" y="493"/>
                  </a:lnTo>
                  <a:lnTo>
                    <a:pt x="661" y="495"/>
                  </a:lnTo>
                  <a:lnTo>
                    <a:pt x="662" y="497"/>
                  </a:lnTo>
                  <a:lnTo>
                    <a:pt x="661" y="497"/>
                  </a:lnTo>
                  <a:lnTo>
                    <a:pt x="661" y="495"/>
                  </a:lnTo>
                  <a:lnTo>
                    <a:pt x="659" y="495"/>
                  </a:lnTo>
                  <a:lnTo>
                    <a:pt x="657" y="495"/>
                  </a:lnTo>
                  <a:lnTo>
                    <a:pt x="656" y="495"/>
                  </a:lnTo>
                  <a:lnTo>
                    <a:pt x="656" y="493"/>
                  </a:lnTo>
                  <a:lnTo>
                    <a:pt x="656" y="492"/>
                  </a:lnTo>
                  <a:lnTo>
                    <a:pt x="656" y="490"/>
                  </a:lnTo>
                  <a:lnTo>
                    <a:pt x="654" y="490"/>
                  </a:lnTo>
                  <a:lnTo>
                    <a:pt x="654" y="488"/>
                  </a:lnTo>
                  <a:lnTo>
                    <a:pt x="656" y="490"/>
                  </a:lnTo>
                  <a:lnTo>
                    <a:pt x="656" y="488"/>
                  </a:lnTo>
                  <a:close/>
                  <a:moveTo>
                    <a:pt x="631" y="505"/>
                  </a:moveTo>
                  <a:lnTo>
                    <a:pt x="631" y="503"/>
                  </a:lnTo>
                  <a:lnTo>
                    <a:pt x="631" y="505"/>
                  </a:lnTo>
                  <a:lnTo>
                    <a:pt x="633" y="505"/>
                  </a:lnTo>
                  <a:lnTo>
                    <a:pt x="635" y="505"/>
                  </a:lnTo>
                  <a:lnTo>
                    <a:pt x="636" y="505"/>
                  </a:lnTo>
                  <a:lnTo>
                    <a:pt x="636" y="506"/>
                  </a:lnTo>
                  <a:lnTo>
                    <a:pt x="638" y="506"/>
                  </a:lnTo>
                  <a:lnTo>
                    <a:pt x="638" y="508"/>
                  </a:lnTo>
                  <a:lnTo>
                    <a:pt x="640" y="508"/>
                  </a:lnTo>
                  <a:lnTo>
                    <a:pt x="640" y="510"/>
                  </a:lnTo>
                  <a:lnTo>
                    <a:pt x="638" y="510"/>
                  </a:lnTo>
                  <a:lnTo>
                    <a:pt x="636" y="510"/>
                  </a:lnTo>
                  <a:lnTo>
                    <a:pt x="635" y="508"/>
                  </a:lnTo>
                  <a:lnTo>
                    <a:pt x="633" y="508"/>
                  </a:lnTo>
                  <a:lnTo>
                    <a:pt x="633" y="506"/>
                  </a:lnTo>
                  <a:lnTo>
                    <a:pt x="631" y="505"/>
                  </a:lnTo>
                  <a:lnTo>
                    <a:pt x="633" y="506"/>
                  </a:lnTo>
                  <a:lnTo>
                    <a:pt x="633" y="508"/>
                  </a:lnTo>
                  <a:lnTo>
                    <a:pt x="631" y="506"/>
                  </a:lnTo>
                  <a:lnTo>
                    <a:pt x="630" y="506"/>
                  </a:lnTo>
                  <a:lnTo>
                    <a:pt x="628" y="506"/>
                  </a:lnTo>
                  <a:lnTo>
                    <a:pt x="628" y="505"/>
                  </a:lnTo>
                  <a:lnTo>
                    <a:pt x="630" y="505"/>
                  </a:lnTo>
                  <a:lnTo>
                    <a:pt x="630" y="506"/>
                  </a:lnTo>
                  <a:lnTo>
                    <a:pt x="630" y="505"/>
                  </a:lnTo>
                  <a:lnTo>
                    <a:pt x="631" y="505"/>
                  </a:lnTo>
                  <a:close/>
                  <a:moveTo>
                    <a:pt x="487" y="1482"/>
                  </a:moveTo>
                  <a:lnTo>
                    <a:pt x="487" y="1484"/>
                  </a:lnTo>
                  <a:lnTo>
                    <a:pt x="488" y="1484"/>
                  </a:lnTo>
                  <a:lnTo>
                    <a:pt x="488" y="1485"/>
                  </a:lnTo>
                  <a:lnTo>
                    <a:pt x="490" y="1485"/>
                  </a:lnTo>
                  <a:lnTo>
                    <a:pt x="490" y="1487"/>
                  </a:lnTo>
                  <a:lnTo>
                    <a:pt x="490" y="1489"/>
                  </a:lnTo>
                  <a:lnTo>
                    <a:pt x="490" y="1487"/>
                  </a:lnTo>
                  <a:lnTo>
                    <a:pt x="490" y="1489"/>
                  </a:lnTo>
                  <a:lnTo>
                    <a:pt x="488" y="1489"/>
                  </a:lnTo>
                  <a:lnTo>
                    <a:pt x="490" y="1487"/>
                  </a:lnTo>
                  <a:lnTo>
                    <a:pt x="488" y="1487"/>
                  </a:lnTo>
                  <a:lnTo>
                    <a:pt x="488" y="1485"/>
                  </a:lnTo>
                  <a:lnTo>
                    <a:pt x="488" y="1487"/>
                  </a:lnTo>
                  <a:lnTo>
                    <a:pt x="487" y="1487"/>
                  </a:lnTo>
                  <a:lnTo>
                    <a:pt x="487" y="1485"/>
                  </a:lnTo>
                  <a:lnTo>
                    <a:pt x="487" y="1487"/>
                  </a:lnTo>
                  <a:lnTo>
                    <a:pt x="487" y="1489"/>
                  </a:lnTo>
                  <a:lnTo>
                    <a:pt x="487" y="1487"/>
                  </a:lnTo>
                  <a:lnTo>
                    <a:pt x="485" y="1487"/>
                  </a:lnTo>
                  <a:lnTo>
                    <a:pt x="487" y="1489"/>
                  </a:lnTo>
                  <a:lnTo>
                    <a:pt x="485" y="1489"/>
                  </a:lnTo>
                  <a:lnTo>
                    <a:pt x="487" y="1489"/>
                  </a:lnTo>
                  <a:lnTo>
                    <a:pt x="488" y="1490"/>
                  </a:lnTo>
                  <a:lnTo>
                    <a:pt x="488" y="1492"/>
                  </a:lnTo>
                  <a:lnTo>
                    <a:pt x="487" y="1492"/>
                  </a:lnTo>
                  <a:lnTo>
                    <a:pt x="485" y="1490"/>
                  </a:lnTo>
                  <a:lnTo>
                    <a:pt x="487" y="1490"/>
                  </a:lnTo>
                  <a:lnTo>
                    <a:pt x="485" y="1489"/>
                  </a:lnTo>
                  <a:lnTo>
                    <a:pt x="485" y="1490"/>
                  </a:lnTo>
                  <a:lnTo>
                    <a:pt x="483" y="1489"/>
                  </a:lnTo>
                  <a:lnTo>
                    <a:pt x="483" y="1487"/>
                  </a:lnTo>
                  <a:lnTo>
                    <a:pt x="485" y="1487"/>
                  </a:lnTo>
                  <a:lnTo>
                    <a:pt x="483" y="1487"/>
                  </a:lnTo>
                  <a:lnTo>
                    <a:pt x="485" y="1489"/>
                  </a:lnTo>
                  <a:lnTo>
                    <a:pt x="485" y="1487"/>
                  </a:lnTo>
                  <a:lnTo>
                    <a:pt x="483" y="1485"/>
                  </a:lnTo>
                  <a:lnTo>
                    <a:pt x="483" y="1487"/>
                  </a:lnTo>
                  <a:lnTo>
                    <a:pt x="482" y="1485"/>
                  </a:lnTo>
                  <a:lnTo>
                    <a:pt x="483" y="1485"/>
                  </a:lnTo>
                  <a:lnTo>
                    <a:pt x="482" y="1485"/>
                  </a:lnTo>
                  <a:lnTo>
                    <a:pt x="483" y="1485"/>
                  </a:lnTo>
                  <a:lnTo>
                    <a:pt x="483" y="1484"/>
                  </a:lnTo>
                  <a:lnTo>
                    <a:pt x="485" y="1484"/>
                  </a:lnTo>
                  <a:lnTo>
                    <a:pt x="487" y="1485"/>
                  </a:lnTo>
                  <a:lnTo>
                    <a:pt x="485" y="1485"/>
                  </a:lnTo>
                  <a:lnTo>
                    <a:pt x="485" y="1484"/>
                  </a:lnTo>
                  <a:lnTo>
                    <a:pt x="487" y="1484"/>
                  </a:lnTo>
                  <a:lnTo>
                    <a:pt x="485" y="1482"/>
                  </a:lnTo>
                  <a:lnTo>
                    <a:pt x="485" y="1481"/>
                  </a:lnTo>
                  <a:lnTo>
                    <a:pt x="487" y="1482"/>
                  </a:lnTo>
                  <a:close/>
                  <a:moveTo>
                    <a:pt x="495" y="861"/>
                  </a:moveTo>
                  <a:lnTo>
                    <a:pt x="495" y="859"/>
                  </a:lnTo>
                  <a:lnTo>
                    <a:pt x="496" y="859"/>
                  </a:lnTo>
                  <a:lnTo>
                    <a:pt x="496" y="861"/>
                  </a:lnTo>
                  <a:lnTo>
                    <a:pt x="498" y="862"/>
                  </a:lnTo>
                  <a:lnTo>
                    <a:pt x="496" y="862"/>
                  </a:lnTo>
                  <a:lnTo>
                    <a:pt x="496" y="864"/>
                  </a:lnTo>
                  <a:lnTo>
                    <a:pt x="495" y="864"/>
                  </a:lnTo>
                  <a:lnTo>
                    <a:pt x="495" y="866"/>
                  </a:lnTo>
                  <a:lnTo>
                    <a:pt x="496" y="866"/>
                  </a:lnTo>
                  <a:lnTo>
                    <a:pt x="496" y="867"/>
                  </a:lnTo>
                  <a:lnTo>
                    <a:pt x="495" y="867"/>
                  </a:lnTo>
                  <a:lnTo>
                    <a:pt x="495" y="869"/>
                  </a:lnTo>
                  <a:lnTo>
                    <a:pt x="493" y="869"/>
                  </a:lnTo>
                  <a:lnTo>
                    <a:pt x="493" y="871"/>
                  </a:lnTo>
                  <a:lnTo>
                    <a:pt x="492" y="867"/>
                  </a:lnTo>
                  <a:lnTo>
                    <a:pt x="493" y="867"/>
                  </a:lnTo>
                  <a:lnTo>
                    <a:pt x="493" y="866"/>
                  </a:lnTo>
                  <a:lnTo>
                    <a:pt x="493" y="864"/>
                  </a:lnTo>
                  <a:lnTo>
                    <a:pt x="493" y="862"/>
                  </a:lnTo>
                  <a:lnTo>
                    <a:pt x="493" y="861"/>
                  </a:lnTo>
                  <a:lnTo>
                    <a:pt x="495" y="861"/>
                  </a:lnTo>
                  <a:close/>
                  <a:moveTo>
                    <a:pt x="682" y="467"/>
                  </a:moveTo>
                  <a:lnTo>
                    <a:pt x="682" y="469"/>
                  </a:lnTo>
                  <a:lnTo>
                    <a:pt x="680" y="469"/>
                  </a:lnTo>
                  <a:lnTo>
                    <a:pt x="680" y="471"/>
                  </a:lnTo>
                  <a:lnTo>
                    <a:pt x="680" y="469"/>
                  </a:lnTo>
                  <a:lnTo>
                    <a:pt x="680" y="471"/>
                  </a:lnTo>
                  <a:lnTo>
                    <a:pt x="680" y="472"/>
                  </a:lnTo>
                  <a:lnTo>
                    <a:pt x="680" y="474"/>
                  </a:lnTo>
                  <a:lnTo>
                    <a:pt x="679" y="474"/>
                  </a:lnTo>
                  <a:lnTo>
                    <a:pt x="679" y="472"/>
                  </a:lnTo>
                  <a:lnTo>
                    <a:pt x="677" y="472"/>
                  </a:lnTo>
                  <a:lnTo>
                    <a:pt x="679" y="474"/>
                  </a:lnTo>
                  <a:lnTo>
                    <a:pt x="677" y="472"/>
                  </a:lnTo>
                  <a:lnTo>
                    <a:pt x="675" y="472"/>
                  </a:lnTo>
                  <a:lnTo>
                    <a:pt x="675" y="471"/>
                  </a:lnTo>
                  <a:lnTo>
                    <a:pt x="674" y="471"/>
                  </a:lnTo>
                  <a:lnTo>
                    <a:pt x="675" y="471"/>
                  </a:lnTo>
                  <a:lnTo>
                    <a:pt x="675" y="469"/>
                  </a:lnTo>
                  <a:lnTo>
                    <a:pt x="677" y="469"/>
                  </a:lnTo>
                  <a:lnTo>
                    <a:pt x="677" y="471"/>
                  </a:lnTo>
                  <a:lnTo>
                    <a:pt x="677" y="469"/>
                  </a:lnTo>
                  <a:lnTo>
                    <a:pt x="679" y="467"/>
                  </a:lnTo>
                  <a:lnTo>
                    <a:pt x="679" y="469"/>
                  </a:lnTo>
                  <a:lnTo>
                    <a:pt x="679" y="467"/>
                  </a:lnTo>
                  <a:lnTo>
                    <a:pt x="680" y="469"/>
                  </a:lnTo>
                  <a:lnTo>
                    <a:pt x="679" y="467"/>
                  </a:lnTo>
                  <a:lnTo>
                    <a:pt x="680" y="467"/>
                  </a:lnTo>
                  <a:lnTo>
                    <a:pt x="680" y="466"/>
                  </a:lnTo>
                  <a:lnTo>
                    <a:pt x="682" y="467"/>
                  </a:lnTo>
                  <a:close/>
                  <a:moveTo>
                    <a:pt x="711" y="436"/>
                  </a:moveTo>
                  <a:lnTo>
                    <a:pt x="713" y="436"/>
                  </a:lnTo>
                  <a:lnTo>
                    <a:pt x="714" y="436"/>
                  </a:lnTo>
                  <a:lnTo>
                    <a:pt x="713" y="436"/>
                  </a:lnTo>
                  <a:lnTo>
                    <a:pt x="713" y="438"/>
                  </a:lnTo>
                  <a:lnTo>
                    <a:pt x="711" y="438"/>
                  </a:lnTo>
                  <a:lnTo>
                    <a:pt x="711" y="440"/>
                  </a:lnTo>
                  <a:lnTo>
                    <a:pt x="711" y="438"/>
                  </a:lnTo>
                  <a:lnTo>
                    <a:pt x="713" y="438"/>
                  </a:lnTo>
                  <a:lnTo>
                    <a:pt x="714" y="440"/>
                  </a:lnTo>
                  <a:lnTo>
                    <a:pt x="714" y="441"/>
                  </a:lnTo>
                  <a:lnTo>
                    <a:pt x="716" y="441"/>
                  </a:lnTo>
                  <a:lnTo>
                    <a:pt x="718" y="443"/>
                  </a:lnTo>
                  <a:lnTo>
                    <a:pt x="716" y="443"/>
                  </a:lnTo>
                  <a:lnTo>
                    <a:pt x="714" y="443"/>
                  </a:lnTo>
                  <a:lnTo>
                    <a:pt x="714" y="441"/>
                  </a:lnTo>
                  <a:lnTo>
                    <a:pt x="714" y="440"/>
                  </a:lnTo>
                  <a:lnTo>
                    <a:pt x="713" y="440"/>
                  </a:lnTo>
                  <a:lnTo>
                    <a:pt x="713" y="441"/>
                  </a:lnTo>
                  <a:lnTo>
                    <a:pt x="713" y="443"/>
                  </a:lnTo>
                  <a:lnTo>
                    <a:pt x="714" y="443"/>
                  </a:lnTo>
                  <a:lnTo>
                    <a:pt x="713" y="443"/>
                  </a:lnTo>
                  <a:lnTo>
                    <a:pt x="714" y="445"/>
                  </a:lnTo>
                  <a:lnTo>
                    <a:pt x="713" y="445"/>
                  </a:lnTo>
                  <a:lnTo>
                    <a:pt x="713" y="443"/>
                  </a:lnTo>
                  <a:lnTo>
                    <a:pt x="711" y="443"/>
                  </a:lnTo>
                  <a:lnTo>
                    <a:pt x="713" y="443"/>
                  </a:lnTo>
                  <a:lnTo>
                    <a:pt x="711" y="443"/>
                  </a:lnTo>
                  <a:lnTo>
                    <a:pt x="711" y="441"/>
                  </a:lnTo>
                  <a:lnTo>
                    <a:pt x="709" y="441"/>
                  </a:lnTo>
                  <a:lnTo>
                    <a:pt x="709" y="440"/>
                  </a:lnTo>
                  <a:lnTo>
                    <a:pt x="708" y="440"/>
                  </a:lnTo>
                  <a:lnTo>
                    <a:pt x="709" y="440"/>
                  </a:lnTo>
                  <a:lnTo>
                    <a:pt x="708" y="440"/>
                  </a:lnTo>
                  <a:lnTo>
                    <a:pt x="708" y="438"/>
                  </a:lnTo>
                  <a:lnTo>
                    <a:pt x="708" y="440"/>
                  </a:lnTo>
                  <a:lnTo>
                    <a:pt x="708" y="438"/>
                  </a:lnTo>
                  <a:lnTo>
                    <a:pt x="709" y="438"/>
                  </a:lnTo>
                  <a:lnTo>
                    <a:pt x="709" y="436"/>
                  </a:lnTo>
                  <a:lnTo>
                    <a:pt x="711" y="436"/>
                  </a:lnTo>
                  <a:lnTo>
                    <a:pt x="711" y="438"/>
                  </a:lnTo>
                  <a:lnTo>
                    <a:pt x="713" y="438"/>
                  </a:lnTo>
                  <a:lnTo>
                    <a:pt x="711" y="438"/>
                  </a:lnTo>
                  <a:lnTo>
                    <a:pt x="711" y="436"/>
                  </a:lnTo>
                  <a:close/>
                  <a:moveTo>
                    <a:pt x="578" y="1344"/>
                  </a:moveTo>
                  <a:lnTo>
                    <a:pt x="578" y="1346"/>
                  </a:lnTo>
                  <a:lnTo>
                    <a:pt x="576" y="1346"/>
                  </a:lnTo>
                  <a:lnTo>
                    <a:pt x="576" y="1347"/>
                  </a:lnTo>
                  <a:lnTo>
                    <a:pt x="574" y="1347"/>
                  </a:lnTo>
                  <a:lnTo>
                    <a:pt x="574" y="1349"/>
                  </a:lnTo>
                  <a:lnTo>
                    <a:pt x="573" y="1350"/>
                  </a:lnTo>
                  <a:lnTo>
                    <a:pt x="573" y="1352"/>
                  </a:lnTo>
                  <a:lnTo>
                    <a:pt x="571" y="1354"/>
                  </a:lnTo>
                  <a:lnTo>
                    <a:pt x="571" y="1355"/>
                  </a:lnTo>
                  <a:lnTo>
                    <a:pt x="571" y="1354"/>
                  </a:lnTo>
                  <a:lnTo>
                    <a:pt x="571" y="1355"/>
                  </a:lnTo>
                  <a:lnTo>
                    <a:pt x="570" y="1355"/>
                  </a:lnTo>
                  <a:lnTo>
                    <a:pt x="568" y="1355"/>
                  </a:lnTo>
                  <a:lnTo>
                    <a:pt x="568" y="1357"/>
                  </a:lnTo>
                  <a:lnTo>
                    <a:pt x="566" y="1359"/>
                  </a:lnTo>
                  <a:lnTo>
                    <a:pt x="565" y="1359"/>
                  </a:lnTo>
                  <a:lnTo>
                    <a:pt x="566" y="1357"/>
                  </a:lnTo>
                  <a:lnTo>
                    <a:pt x="565" y="1357"/>
                  </a:lnTo>
                  <a:lnTo>
                    <a:pt x="566" y="1357"/>
                  </a:lnTo>
                  <a:lnTo>
                    <a:pt x="568" y="1357"/>
                  </a:lnTo>
                  <a:lnTo>
                    <a:pt x="568" y="1355"/>
                  </a:lnTo>
                  <a:lnTo>
                    <a:pt x="566" y="1355"/>
                  </a:lnTo>
                  <a:lnTo>
                    <a:pt x="568" y="1355"/>
                  </a:lnTo>
                  <a:lnTo>
                    <a:pt x="570" y="1354"/>
                  </a:lnTo>
                  <a:lnTo>
                    <a:pt x="570" y="1352"/>
                  </a:lnTo>
                  <a:lnTo>
                    <a:pt x="571" y="1352"/>
                  </a:lnTo>
                  <a:lnTo>
                    <a:pt x="571" y="1350"/>
                  </a:lnTo>
                  <a:lnTo>
                    <a:pt x="571" y="1349"/>
                  </a:lnTo>
                  <a:lnTo>
                    <a:pt x="573" y="1349"/>
                  </a:lnTo>
                  <a:lnTo>
                    <a:pt x="573" y="1347"/>
                  </a:lnTo>
                  <a:lnTo>
                    <a:pt x="574" y="1347"/>
                  </a:lnTo>
                  <a:lnTo>
                    <a:pt x="576" y="1346"/>
                  </a:lnTo>
                  <a:lnTo>
                    <a:pt x="576" y="1344"/>
                  </a:lnTo>
                  <a:lnTo>
                    <a:pt x="578" y="1342"/>
                  </a:lnTo>
                  <a:lnTo>
                    <a:pt x="578" y="1344"/>
                  </a:lnTo>
                  <a:close/>
                  <a:moveTo>
                    <a:pt x="669" y="488"/>
                  </a:moveTo>
                  <a:lnTo>
                    <a:pt x="670" y="488"/>
                  </a:lnTo>
                  <a:lnTo>
                    <a:pt x="672" y="490"/>
                  </a:lnTo>
                  <a:lnTo>
                    <a:pt x="672" y="488"/>
                  </a:lnTo>
                  <a:lnTo>
                    <a:pt x="672" y="490"/>
                  </a:lnTo>
                  <a:lnTo>
                    <a:pt x="670" y="490"/>
                  </a:lnTo>
                  <a:lnTo>
                    <a:pt x="672" y="490"/>
                  </a:lnTo>
                  <a:lnTo>
                    <a:pt x="670" y="492"/>
                  </a:lnTo>
                  <a:lnTo>
                    <a:pt x="670" y="493"/>
                  </a:lnTo>
                  <a:lnTo>
                    <a:pt x="669" y="493"/>
                  </a:lnTo>
                  <a:lnTo>
                    <a:pt x="667" y="493"/>
                  </a:lnTo>
                  <a:lnTo>
                    <a:pt x="666" y="493"/>
                  </a:lnTo>
                  <a:lnTo>
                    <a:pt x="666" y="495"/>
                  </a:lnTo>
                  <a:lnTo>
                    <a:pt x="664" y="495"/>
                  </a:lnTo>
                  <a:lnTo>
                    <a:pt x="664" y="493"/>
                  </a:lnTo>
                  <a:lnTo>
                    <a:pt x="664" y="492"/>
                  </a:lnTo>
                  <a:lnTo>
                    <a:pt x="664" y="490"/>
                  </a:lnTo>
                  <a:lnTo>
                    <a:pt x="666" y="490"/>
                  </a:lnTo>
                  <a:lnTo>
                    <a:pt x="666" y="492"/>
                  </a:lnTo>
                  <a:lnTo>
                    <a:pt x="667" y="492"/>
                  </a:lnTo>
                  <a:lnTo>
                    <a:pt x="669" y="492"/>
                  </a:lnTo>
                  <a:lnTo>
                    <a:pt x="667" y="492"/>
                  </a:lnTo>
                  <a:lnTo>
                    <a:pt x="669" y="490"/>
                  </a:lnTo>
                  <a:lnTo>
                    <a:pt x="669" y="488"/>
                  </a:lnTo>
                  <a:close/>
                  <a:moveTo>
                    <a:pt x="383" y="1873"/>
                  </a:moveTo>
                  <a:lnTo>
                    <a:pt x="383" y="1874"/>
                  </a:lnTo>
                  <a:lnTo>
                    <a:pt x="384" y="1874"/>
                  </a:lnTo>
                  <a:lnTo>
                    <a:pt x="386" y="1874"/>
                  </a:lnTo>
                  <a:lnTo>
                    <a:pt x="387" y="1874"/>
                  </a:lnTo>
                  <a:lnTo>
                    <a:pt x="387" y="1873"/>
                  </a:lnTo>
                  <a:lnTo>
                    <a:pt x="387" y="1874"/>
                  </a:lnTo>
                  <a:lnTo>
                    <a:pt x="387" y="1876"/>
                  </a:lnTo>
                  <a:lnTo>
                    <a:pt x="386" y="1876"/>
                  </a:lnTo>
                  <a:lnTo>
                    <a:pt x="384" y="1876"/>
                  </a:lnTo>
                  <a:lnTo>
                    <a:pt x="386" y="1876"/>
                  </a:lnTo>
                  <a:lnTo>
                    <a:pt x="386" y="1877"/>
                  </a:lnTo>
                  <a:lnTo>
                    <a:pt x="386" y="1879"/>
                  </a:lnTo>
                  <a:lnTo>
                    <a:pt x="386" y="1881"/>
                  </a:lnTo>
                  <a:lnTo>
                    <a:pt x="384" y="1881"/>
                  </a:lnTo>
                  <a:lnTo>
                    <a:pt x="384" y="1879"/>
                  </a:lnTo>
                  <a:lnTo>
                    <a:pt x="383" y="1879"/>
                  </a:lnTo>
                  <a:lnTo>
                    <a:pt x="383" y="1877"/>
                  </a:lnTo>
                  <a:lnTo>
                    <a:pt x="381" y="1877"/>
                  </a:lnTo>
                  <a:lnTo>
                    <a:pt x="381" y="1876"/>
                  </a:lnTo>
                  <a:lnTo>
                    <a:pt x="381" y="1874"/>
                  </a:lnTo>
                  <a:lnTo>
                    <a:pt x="381" y="1873"/>
                  </a:lnTo>
                  <a:lnTo>
                    <a:pt x="383" y="1873"/>
                  </a:lnTo>
                  <a:close/>
                  <a:moveTo>
                    <a:pt x="573" y="1396"/>
                  </a:moveTo>
                  <a:lnTo>
                    <a:pt x="574" y="1396"/>
                  </a:lnTo>
                  <a:lnTo>
                    <a:pt x="574" y="1398"/>
                  </a:lnTo>
                  <a:lnTo>
                    <a:pt x="576" y="1396"/>
                  </a:lnTo>
                  <a:lnTo>
                    <a:pt x="576" y="1398"/>
                  </a:lnTo>
                  <a:lnTo>
                    <a:pt x="574" y="1398"/>
                  </a:lnTo>
                  <a:lnTo>
                    <a:pt x="574" y="1399"/>
                  </a:lnTo>
                  <a:lnTo>
                    <a:pt x="574" y="1401"/>
                  </a:lnTo>
                  <a:lnTo>
                    <a:pt x="573" y="1401"/>
                  </a:lnTo>
                  <a:lnTo>
                    <a:pt x="574" y="1401"/>
                  </a:lnTo>
                  <a:lnTo>
                    <a:pt x="573" y="1402"/>
                  </a:lnTo>
                  <a:lnTo>
                    <a:pt x="574" y="1402"/>
                  </a:lnTo>
                  <a:lnTo>
                    <a:pt x="573" y="1402"/>
                  </a:lnTo>
                  <a:lnTo>
                    <a:pt x="573" y="1404"/>
                  </a:lnTo>
                  <a:lnTo>
                    <a:pt x="573" y="1402"/>
                  </a:lnTo>
                  <a:lnTo>
                    <a:pt x="571" y="1402"/>
                  </a:lnTo>
                  <a:lnTo>
                    <a:pt x="570" y="1402"/>
                  </a:lnTo>
                  <a:lnTo>
                    <a:pt x="570" y="1404"/>
                  </a:lnTo>
                  <a:lnTo>
                    <a:pt x="570" y="1402"/>
                  </a:lnTo>
                  <a:lnTo>
                    <a:pt x="570" y="1404"/>
                  </a:lnTo>
                  <a:lnTo>
                    <a:pt x="570" y="1402"/>
                  </a:lnTo>
                  <a:lnTo>
                    <a:pt x="568" y="1404"/>
                  </a:lnTo>
                  <a:lnTo>
                    <a:pt x="568" y="1402"/>
                  </a:lnTo>
                  <a:lnTo>
                    <a:pt x="570" y="1402"/>
                  </a:lnTo>
                  <a:lnTo>
                    <a:pt x="570" y="1401"/>
                  </a:lnTo>
                  <a:lnTo>
                    <a:pt x="570" y="1402"/>
                  </a:lnTo>
                  <a:lnTo>
                    <a:pt x="570" y="1401"/>
                  </a:lnTo>
                  <a:lnTo>
                    <a:pt x="570" y="1399"/>
                  </a:lnTo>
                  <a:lnTo>
                    <a:pt x="570" y="1398"/>
                  </a:lnTo>
                  <a:lnTo>
                    <a:pt x="571" y="1398"/>
                  </a:lnTo>
                  <a:lnTo>
                    <a:pt x="571" y="1396"/>
                  </a:lnTo>
                  <a:lnTo>
                    <a:pt x="573" y="1396"/>
                  </a:lnTo>
                  <a:close/>
                  <a:moveTo>
                    <a:pt x="579" y="1373"/>
                  </a:moveTo>
                  <a:lnTo>
                    <a:pt x="581" y="1373"/>
                  </a:lnTo>
                  <a:lnTo>
                    <a:pt x="579" y="1375"/>
                  </a:lnTo>
                  <a:lnTo>
                    <a:pt x="581" y="1375"/>
                  </a:lnTo>
                  <a:lnTo>
                    <a:pt x="581" y="1376"/>
                  </a:lnTo>
                  <a:lnTo>
                    <a:pt x="581" y="1375"/>
                  </a:lnTo>
                  <a:lnTo>
                    <a:pt x="581" y="1376"/>
                  </a:lnTo>
                  <a:lnTo>
                    <a:pt x="579" y="1378"/>
                  </a:lnTo>
                  <a:lnTo>
                    <a:pt x="581" y="1378"/>
                  </a:lnTo>
                  <a:lnTo>
                    <a:pt x="579" y="1378"/>
                  </a:lnTo>
                  <a:lnTo>
                    <a:pt x="579" y="1380"/>
                  </a:lnTo>
                  <a:lnTo>
                    <a:pt x="579" y="1381"/>
                  </a:lnTo>
                  <a:lnTo>
                    <a:pt x="578" y="1380"/>
                  </a:lnTo>
                  <a:lnTo>
                    <a:pt x="578" y="1381"/>
                  </a:lnTo>
                  <a:lnTo>
                    <a:pt x="578" y="1383"/>
                  </a:lnTo>
                  <a:lnTo>
                    <a:pt x="576" y="1383"/>
                  </a:lnTo>
                  <a:lnTo>
                    <a:pt x="578" y="1383"/>
                  </a:lnTo>
                  <a:lnTo>
                    <a:pt x="576" y="1383"/>
                  </a:lnTo>
                  <a:lnTo>
                    <a:pt x="576" y="1381"/>
                  </a:lnTo>
                  <a:lnTo>
                    <a:pt x="576" y="1380"/>
                  </a:lnTo>
                  <a:lnTo>
                    <a:pt x="578" y="1380"/>
                  </a:lnTo>
                  <a:lnTo>
                    <a:pt x="576" y="1380"/>
                  </a:lnTo>
                  <a:lnTo>
                    <a:pt x="578" y="1380"/>
                  </a:lnTo>
                  <a:lnTo>
                    <a:pt x="576" y="1380"/>
                  </a:lnTo>
                  <a:lnTo>
                    <a:pt x="576" y="1378"/>
                  </a:lnTo>
                  <a:lnTo>
                    <a:pt x="576" y="1376"/>
                  </a:lnTo>
                  <a:lnTo>
                    <a:pt x="576" y="1375"/>
                  </a:lnTo>
                  <a:lnTo>
                    <a:pt x="578" y="1375"/>
                  </a:lnTo>
                  <a:lnTo>
                    <a:pt x="579" y="1373"/>
                  </a:lnTo>
                  <a:close/>
                  <a:moveTo>
                    <a:pt x="636" y="519"/>
                  </a:moveTo>
                  <a:lnTo>
                    <a:pt x="638" y="519"/>
                  </a:lnTo>
                  <a:lnTo>
                    <a:pt x="640" y="519"/>
                  </a:lnTo>
                  <a:lnTo>
                    <a:pt x="641" y="521"/>
                  </a:lnTo>
                  <a:lnTo>
                    <a:pt x="643" y="521"/>
                  </a:lnTo>
                  <a:lnTo>
                    <a:pt x="643" y="523"/>
                  </a:lnTo>
                  <a:lnTo>
                    <a:pt x="644" y="523"/>
                  </a:lnTo>
                  <a:lnTo>
                    <a:pt x="644" y="524"/>
                  </a:lnTo>
                  <a:lnTo>
                    <a:pt x="643" y="524"/>
                  </a:lnTo>
                  <a:lnTo>
                    <a:pt x="643" y="523"/>
                  </a:lnTo>
                  <a:lnTo>
                    <a:pt x="643" y="524"/>
                  </a:lnTo>
                  <a:lnTo>
                    <a:pt x="641" y="524"/>
                  </a:lnTo>
                  <a:lnTo>
                    <a:pt x="640" y="524"/>
                  </a:lnTo>
                  <a:lnTo>
                    <a:pt x="638" y="523"/>
                  </a:lnTo>
                  <a:lnTo>
                    <a:pt x="638" y="519"/>
                  </a:lnTo>
                  <a:lnTo>
                    <a:pt x="636" y="519"/>
                  </a:lnTo>
                  <a:close/>
                  <a:moveTo>
                    <a:pt x="49" y="1635"/>
                  </a:moveTo>
                  <a:lnTo>
                    <a:pt x="51" y="1635"/>
                  </a:lnTo>
                  <a:lnTo>
                    <a:pt x="52" y="1635"/>
                  </a:lnTo>
                  <a:lnTo>
                    <a:pt x="54" y="1637"/>
                  </a:lnTo>
                  <a:lnTo>
                    <a:pt x="54" y="1638"/>
                  </a:lnTo>
                  <a:lnTo>
                    <a:pt x="54" y="1640"/>
                  </a:lnTo>
                  <a:lnTo>
                    <a:pt x="52" y="1640"/>
                  </a:lnTo>
                  <a:lnTo>
                    <a:pt x="52" y="1642"/>
                  </a:lnTo>
                  <a:lnTo>
                    <a:pt x="51" y="1642"/>
                  </a:lnTo>
                  <a:lnTo>
                    <a:pt x="49" y="1642"/>
                  </a:lnTo>
                  <a:lnTo>
                    <a:pt x="51" y="1640"/>
                  </a:lnTo>
                  <a:lnTo>
                    <a:pt x="49" y="1642"/>
                  </a:lnTo>
                  <a:lnTo>
                    <a:pt x="49" y="1640"/>
                  </a:lnTo>
                  <a:lnTo>
                    <a:pt x="48" y="1640"/>
                  </a:lnTo>
                  <a:lnTo>
                    <a:pt x="49" y="1640"/>
                  </a:lnTo>
                  <a:lnTo>
                    <a:pt x="49" y="1642"/>
                  </a:lnTo>
                  <a:lnTo>
                    <a:pt x="48" y="1642"/>
                  </a:lnTo>
                  <a:lnTo>
                    <a:pt x="48" y="1640"/>
                  </a:lnTo>
                  <a:lnTo>
                    <a:pt x="49" y="1640"/>
                  </a:lnTo>
                  <a:lnTo>
                    <a:pt x="49" y="1638"/>
                  </a:lnTo>
                  <a:lnTo>
                    <a:pt x="51" y="1638"/>
                  </a:lnTo>
                  <a:lnTo>
                    <a:pt x="49" y="1638"/>
                  </a:lnTo>
                  <a:lnTo>
                    <a:pt x="51" y="1638"/>
                  </a:lnTo>
                  <a:lnTo>
                    <a:pt x="52" y="1638"/>
                  </a:lnTo>
                  <a:lnTo>
                    <a:pt x="51" y="1638"/>
                  </a:lnTo>
                  <a:lnTo>
                    <a:pt x="51" y="1637"/>
                  </a:lnTo>
                  <a:lnTo>
                    <a:pt x="51" y="1638"/>
                  </a:lnTo>
                  <a:lnTo>
                    <a:pt x="49" y="1638"/>
                  </a:lnTo>
                  <a:lnTo>
                    <a:pt x="49" y="1637"/>
                  </a:lnTo>
                  <a:lnTo>
                    <a:pt x="48" y="1637"/>
                  </a:lnTo>
                  <a:lnTo>
                    <a:pt x="49" y="1637"/>
                  </a:lnTo>
                  <a:lnTo>
                    <a:pt x="49" y="1635"/>
                  </a:lnTo>
                  <a:close/>
                  <a:moveTo>
                    <a:pt x="677" y="480"/>
                  </a:moveTo>
                  <a:lnTo>
                    <a:pt x="679" y="480"/>
                  </a:lnTo>
                  <a:lnTo>
                    <a:pt x="679" y="482"/>
                  </a:lnTo>
                  <a:lnTo>
                    <a:pt x="680" y="482"/>
                  </a:lnTo>
                  <a:lnTo>
                    <a:pt x="680" y="484"/>
                  </a:lnTo>
                  <a:lnTo>
                    <a:pt x="680" y="485"/>
                  </a:lnTo>
                  <a:lnTo>
                    <a:pt x="679" y="485"/>
                  </a:lnTo>
                  <a:lnTo>
                    <a:pt x="677" y="485"/>
                  </a:lnTo>
                  <a:lnTo>
                    <a:pt x="675" y="484"/>
                  </a:lnTo>
                  <a:lnTo>
                    <a:pt x="675" y="482"/>
                  </a:lnTo>
                  <a:lnTo>
                    <a:pt x="675" y="480"/>
                  </a:lnTo>
                  <a:lnTo>
                    <a:pt x="674" y="480"/>
                  </a:lnTo>
                  <a:lnTo>
                    <a:pt x="675" y="480"/>
                  </a:lnTo>
                  <a:lnTo>
                    <a:pt x="677" y="480"/>
                  </a:lnTo>
                  <a:close/>
                  <a:moveTo>
                    <a:pt x="2" y="1490"/>
                  </a:moveTo>
                  <a:lnTo>
                    <a:pt x="4" y="1490"/>
                  </a:lnTo>
                  <a:lnTo>
                    <a:pt x="4" y="1492"/>
                  </a:lnTo>
                  <a:lnTo>
                    <a:pt x="5" y="1492"/>
                  </a:lnTo>
                  <a:lnTo>
                    <a:pt x="4" y="1494"/>
                  </a:lnTo>
                  <a:lnTo>
                    <a:pt x="5" y="1494"/>
                  </a:lnTo>
                  <a:lnTo>
                    <a:pt x="5" y="1492"/>
                  </a:lnTo>
                  <a:lnTo>
                    <a:pt x="7" y="1494"/>
                  </a:lnTo>
                  <a:lnTo>
                    <a:pt x="7" y="1495"/>
                  </a:lnTo>
                  <a:lnTo>
                    <a:pt x="9" y="1497"/>
                  </a:lnTo>
                  <a:lnTo>
                    <a:pt x="7" y="1497"/>
                  </a:lnTo>
                  <a:lnTo>
                    <a:pt x="7" y="1498"/>
                  </a:lnTo>
                  <a:lnTo>
                    <a:pt x="7" y="1497"/>
                  </a:lnTo>
                  <a:lnTo>
                    <a:pt x="5" y="1497"/>
                  </a:lnTo>
                  <a:lnTo>
                    <a:pt x="4" y="1497"/>
                  </a:lnTo>
                  <a:lnTo>
                    <a:pt x="4" y="1495"/>
                  </a:lnTo>
                  <a:lnTo>
                    <a:pt x="2" y="1495"/>
                  </a:lnTo>
                  <a:lnTo>
                    <a:pt x="2" y="1494"/>
                  </a:lnTo>
                  <a:lnTo>
                    <a:pt x="4" y="1494"/>
                  </a:lnTo>
                  <a:lnTo>
                    <a:pt x="2" y="1494"/>
                  </a:lnTo>
                  <a:lnTo>
                    <a:pt x="2" y="1492"/>
                  </a:lnTo>
                  <a:lnTo>
                    <a:pt x="2" y="1490"/>
                  </a:lnTo>
                  <a:close/>
                  <a:moveTo>
                    <a:pt x="444" y="989"/>
                  </a:moveTo>
                  <a:lnTo>
                    <a:pt x="446" y="988"/>
                  </a:lnTo>
                  <a:lnTo>
                    <a:pt x="448" y="988"/>
                  </a:lnTo>
                  <a:lnTo>
                    <a:pt x="448" y="989"/>
                  </a:lnTo>
                  <a:lnTo>
                    <a:pt x="449" y="989"/>
                  </a:lnTo>
                  <a:lnTo>
                    <a:pt x="449" y="991"/>
                  </a:lnTo>
                  <a:lnTo>
                    <a:pt x="448" y="991"/>
                  </a:lnTo>
                  <a:lnTo>
                    <a:pt x="448" y="993"/>
                  </a:lnTo>
                  <a:lnTo>
                    <a:pt x="448" y="994"/>
                  </a:lnTo>
                  <a:lnTo>
                    <a:pt x="446" y="994"/>
                  </a:lnTo>
                  <a:lnTo>
                    <a:pt x="444" y="993"/>
                  </a:lnTo>
                  <a:lnTo>
                    <a:pt x="446" y="993"/>
                  </a:lnTo>
                  <a:lnTo>
                    <a:pt x="444" y="991"/>
                  </a:lnTo>
                  <a:lnTo>
                    <a:pt x="444" y="989"/>
                  </a:lnTo>
                  <a:close/>
                  <a:moveTo>
                    <a:pt x="485" y="862"/>
                  </a:moveTo>
                  <a:lnTo>
                    <a:pt x="487" y="862"/>
                  </a:lnTo>
                  <a:lnTo>
                    <a:pt x="487" y="864"/>
                  </a:lnTo>
                  <a:lnTo>
                    <a:pt x="487" y="862"/>
                  </a:lnTo>
                  <a:lnTo>
                    <a:pt x="488" y="862"/>
                  </a:lnTo>
                  <a:lnTo>
                    <a:pt x="488" y="864"/>
                  </a:lnTo>
                  <a:lnTo>
                    <a:pt x="487" y="864"/>
                  </a:lnTo>
                  <a:lnTo>
                    <a:pt x="487" y="866"/>
                  </a:lnTo>
                  <a:lnTo>
                    <a:pt x="487" y="867"/>
                  </a:lnTo>
                  <a:lnTo>
                    <a:pt x="485" y="867"/>
                  </a:lnTo>
                  <a:lnTo>
                    <a:pt x="485" y="869"/>
                  </a:lnTo>
                  <a:lnTo>
                    <a:pt x="483" y="869"/>
                  </a:lnTo>
                  <a:lnTo>
                    <a:pt x="483" y="867"/>
                  </a:lnTo>
                  <a:lnTo>
                    <a:pt x="485" y="867"/>
                  </a:lnTo>
                  <a:lnTo>
                    <a:pt x="483" y="866"/>
                  </a:lnTo>
                  <a:lnTo>
                    <a:pt x="483" y="864"/>
                  </a:lnTo>
                  <a:lnTo>
                    <a:pt x="485" y="864"/>
                  </a:lnTo>
                  <a:lnTo>
                    <a:pt x="485" y="862"/>
                  </a:lnTo>
                  <a:close/>
                  <a:moveTo>
                    <a:pt x="638" y="526"/>
                  </a:moveTo>
                  <a:lnTo>
                    <a:pt x="640" y="526"/>
                  </a:lnTo>
                  <a:lnTo>
                    <a:pt x="641" y="527"/>
                  </a:lnTo>
                  <a:lnTo>
                    <a:pt x="641" y="526"/>
                  </a:lnTo>
                  <a:lnTo>
                    <a:pt x="643" y="527"/>
                  </a:lnTo>
                  <a:lnTo>
                    <a:pt x="644" y="529"/>
                  </a:lnTo>
                  <a:lnTo>
                    <a:pt x="644" y="531"/>
                  </a:lnTo>
                  <a:lnTo>
                    <a:pt x="646" y="531"/>
                  </a:lnTo>
                  <a:lnTo>
                    <a:pt x="644" y="531"/>
                  </a:lnTo>
                  <a:lnTo>
                    <a:pt x="644" y="532"/>
                  </a:lnTo>
                  <a:lnTo>
                    <a:pt x="644" y="531"/>
                  </a:lnTo>
                  <a:lnTo>
                    <a:pt x="643" y="531"/>
                  </a:lnTo>
                  <a:lnTo>
                    <a:pt x="643" y="529"/>
                  </a:lnTo>
                  <a:lnTo>
                    <a:pt x="641" y="529"/>
                  </a:lnTo>
                  <a:lnTo>
                    <a:pt x="640" y="527"/>
                  </a:lnTo>
                  <a:lnTo>
                    <a:pt x="638" y="527"/>
                  </a:lnTo>
                  <a:lnTo>
                    <a:pt x="638" y="526"/>
                  </a:lnTo>
                  <a:close/>
                  <a:moveTo>
                    <a:pt x="438" y="1622"/>
                  </a:moveTo>
                  <a:lnTo>
                    <a:pt x="440" y="1622"/>
                  </a:lnTo>
                  <a:lnTo>
                    <a:pt x="441" y="1624"/>
                  </a:lnTo>
                  <a:lnTo>
                    <a:pt x="443" y="1625"/>
                  </a:lnTo>
                  <a:lnTo>
                    <a:pt x="441" y="1625"/>
                  </a:lnTo>
                  <a:lnTo>
                    <a:pt x="443" y="1625"/>
                  </a:lnTo>
                  <a:lnTo>
                    <a:pt x="441" y="1625"/>
                  </a:lnTo>
                  <a:lnTo>
                    <a:pt x="440" y="1625"/>
                  </a:lnTo>
                  <a:lnTo>
                    <a:pt x="441" y="1625"/>
                  </a:lnTo>
                  <a:lnTo>
                    <a:pt x="443" y="1625"/>
                  </a:lnTo>
                  <a:lnTo>
                    <a:pt x="444" y="1625"/>
                  </a:lnTo>
                  <a:lnTo>
                    <a:pt x="444" y="1627"/>
                  </a:lnTo>
                  <a:lnTo>
                    <a:pt x="443" y="1627"/>
                  </a:lnTo>
                  <a:lnTo>
                    <a:pt x="444" y="1627"/>
                  </a:lnTo>
                  <a:lnTo>
                    <a:pt x="443" y="1627"/>
                  </a:lnTo>
                  <a:lnTo>
                    <a:pt x="444" y="1627"/>
                  </a:lnTo>
                  <a:lnTo>
                    <a:pt x="443" y="1629"/>
                  </a:lnTo>
                  <a:lnTo>
                    <a:pt x="443" y="1630"/>
                  </a:lnTo>
                  <a:lnTo>
                    <a:pt x="443" y="1629"/>
                  </a:lnTo>
                  <a:lnTo>
                    <a:pt x="441" y="1629"/>
                  </a:lnTo>
                  <a:lnTo>
                    <a:pt x="441" y="1627"/>
                  </a:lnTo>
                  <a:lnTo>
                    <a:pt x="440" y="1627"/>
                  </a:lnTo>
                  <a:lnTo>
                    <a:pt x="438" y="1627"/>
                  </a:lnTo>
                  <a:lnTo>
                    <a:pt x="440" y="1625"/>
                  </a:lnTo>
                  <a:lnTo>
                    <a:pt x="440" y="1624"/>
                  </a:lnTo>
                  <a:lnTo>
                    <a:pt x="440" y="1622"/>
                  </a:lnTo>
                  <a:lnTo>
                    <a:pt x="438" y="1622"/>
                  </a:lnTo>
                  <a:close/>
                  <a:moveTo>
                    <a:pt x="435" y="1085"/>
                  </a:moveTo>
                  <a:lnTo>
                    <a:pt x="436" y="1085"/>
                  </a:lnTo>
                  <a:lnTo>
                    <a:pt x="438" y="1085"/>
                  </a:lnTo>
                  <a:lnTo>
                    <a:pt x="440" y="1087"/>
                  </a:lnTo>
                  <a:lnTo>
                    <a:pt x="441" y="1087"/>
                  </a:lnTo>
                  <a:lnTo>
                    <a:pt x="441" y="1089"/>
                  </a:lnTo>
                  <a:lnTo>
                    <a:pt x="440" y="1089"/>
                  </a:lnTo>
                  <a:lnTo>
                    <a:pt x="438" y="1089"/>
                  </a:lnTo>
                  <a:lnTo>
                    <a:pt x="436" y="1089"/>
                  </a:lnTo>
                  <a:lnTo>
                    <a:pt x="436" y="1087"/>
                  </a:lnTo>
                  <a:lnTo>
                    <a:pt x="435" y="1089"/>
                  </a:lnTo>
                  <a:lnTo>
                    <a:pt x="436" y="1089"/>
                  </a:lnTo>
                  <a:lnTo>
                    <a:pt x="435" y="1089"/>
                  </a:lnTo>
                  <a:lnTo>
                    <a:pt x="435" y="1087"/>
                  </a:lnTo>
                  <a:lnTo>
                    <a:pt x="435" y="1085"/>
                  </a:lnTo>
                  <a:close/>
                  <a:moveTo>
                    <a:pt x="444" y="1651"/>
                  </a:moveTo>
                  <a:lnTo>
                    <a:pt x="446" y="1651"/>
                  </a:lnTo>
                  <a:lnTo>
                    <a:pt x="448" y="1651"/>
                  </a:lnTo>
                  <a:lnTo>
                    <a:pt x="448" y="1653"/>
                  </a:lnTo>
                  <a:lnTo>
                    <a:pt x="448" y="1655"/>
                  </a:lnTo>
                  <a:lnTo>
                    <a:pt x="446" y="1655"/>
                  </a:lnTo>
                  <a:lnTo>
                    <a:pt x="446" y="1656"/>
                  </a:lnTo>
                  <a:lnTo>
                    <a:pt x="446" y="1658"/>
                  </a:lnTo>
                  <a:lnTo>
                    <a:pt x="444" y="1658"/>
                  </a:lnTo>
                  <a:lnTo>
                    <a:pt x="444" y="1659"/>
                  </a:lnTo>
                  <a:lnTo>
                    <a:pt x="444" y="1658"/>
                  </a:lnTo>
                  <a:lnTo>
                    <a:pt x="443" y="1658"/>
                  </a:lnTo>
                  <a:lnTo>
                    <a:pt x="443" y="1656"/>
                  </a:lnTo>
                  <a:lnTo>
                    <a:pt x="443" y="1658"/>
                  </a:lnTo>
                  <a:lnTo>
                    <a:pt x="443" y="1656"/>
                  </a:lnTo>
                  <a:lnTo>
                    <a:pt x="443" y="1658"/>
                  </a:lnTo>
                  <a:lnTo>
                    <a:pt x="441" y="1658"/>
                  </a:lnTo>
                  <a:lnTo>
                    <a:pt x="443" y="1658"/>
                  </a:lnTo>
                  <a:lnTo>
                    <a:pt x="441" y="1658"/>
                  </a:lnTo>
                  <a:lnTo>
                    <a:pt x="443" y="1658"/>
                  </a:lnTo>
                  <a:lnTo>
                    <a:pt x="441" y="1659"/>
                  </a:lnTo>
                  <a:lnTo>
                    <a:pt x="441" y="1658"/>
                  </a:lnTo>
                  <a:lnTo>
                    <a:pt x="441" y="1656"/>
                  </a:lnTo>
                  <a:lnTo>
                    <a:pt x="441" y="1658"/>
                  </a:lnTo>
                  <a:lnTo>
                    <a:pt x="441" y="1656"/>
                  </a:lnTo>
                  <a:lnTo>
                    <a:pt x="443" y="1656"/>
                  </a:lnTo>
                  <a:lnTo>
                    <a:pt x="443" y="1655"/>
                  </a:lnTo>
                  <a:lnTo>
                    <a:pt x="444" y="1655"/>
                  </a:lnTo>
                  <a:lnTo>
                    <a:pt x="444" y="1656"/>
                  </a:lnTo>
                  <a:lnTo>
                    <a:pt x="444" y="1655"/>
                  </a:lnTo>
                  <a:lnTo>
                    <a:pt x="444" y="1656"/>
                  </a:lnTo>
                  <a:lnTo>
                    <a:pt x="444" y="1655"/>
                  </a:lnTo>
                  <a:lnTo>
                    <a:pt x="444" y="1653"/>
                  </a:lnTo>
                  <a:lnTo>
                    <a:pt x="444" y="1651"/>
                  </a:lnTo>
                  <a:close/>
                  <a:moveTo>
                    <a:pt x="464" y="923"/>
                  </a:moveTo>
                  <a:lnTo>
                    <a:pt x="462" y="924"/>
                  </a:lnTo>
                  <a:lnTo>
                    <a:pt x="464" y="923"/>
                  </a:lnTo>
                  <a:lnTo>
                    <a:pt x="466" y="924"/>
                  </a:lnTo>
                  <a:lnTo>
                    <a:pt x="464" y="924"/>
                  </a:lnTo>
                  <a:lnTo>
                    <a:pt x="464" y="926"/>
                  </a:lnTo>
                  <a:lnTo>
                    <a:pt x="466" y="926"/>
                  </a:lnTo>
                  <a:lnTo>
                    <a:pt x="464" y="926"/>
                  </a:lnTo>
                  <a:lnTo>
                    <a:pt x="462" y="926"/>
                  </a:lnTo>
                  <a:lnTo>
                    <a:pt x="461" y="926"/>
                  </a:lnTo>
                  <a:lnTo>
                    <a:pt x="461" y="924"/>
                  </a:lnTo>
                  <a:lnTo>
                    <a:pt x="461" y="926"/>
                  </a:lnTo>
                  <a:lnTo>
                    <a:pt x="461" y="924"/>
                  </a:lnTo>
                  <a:lnTo>
                    <a:pt x="459" y="924"/>
                  </a:lnTo>
                  <a:lnTo>
                    <a:pt x="459" y="923"/>
                  </a:lnTo>
                  <a:lnTo>
                    <a:pt x="462" y="923"/>
                  </a:lnTo>
                  <a:lnTo>
                    <a:pt x="464" y="923"/>
                  </a:lnTo>
                  <a:close/>
                  <a:moveTo>
                    <a:pt x="568" y="1411"/>
                  </a:moveTo>
                  <a:lnTo>
                    <a:pt x="568" y="1409"/>
                  </a:lnTo>
                  <a:lnTo>
                    <a:pt x="570" y="1409"/>
                  </a:lnTo>
                  <a:lnTo>
                    <a:pt x="570" y="1411"/>
                  </a:lnTo>
                  <a:lnTo>
                    <a:pt x="570" y="1409"/>
                  </a:lnTo>
                  <a:lnTo>
                    <a:pt x="571" y="1409"/>
                  </a:lnTo>
                  <a:lnTo>
                    <a:pt x="573" y="1409"/>
                  </a:lnTo>
                  <a:lnTo>
                    <a:pt x="573" y="1411"/>
                  </a:lnTo>
                  <a:lnTo>
                    <a:pt x="571" y="1411"/>
                  </a:lnTo>
                  <a:lnTo>
                    <a:pt x="571" y="1412"/>
                  </a:lnTo>
                  <a:lnTo>
                    <a:pt x="570" y="1412"/>
                  </a:lnTo>
                  <a:lnTo>
                    <a:pt x="570" y="1414"/>
                  </a:lnTo>
                  <a:lnTo>
                    <a:pt x="568" y="1414"/>
                  </a:lnTo>
                  <a:lnTo>
                    <a:pt x="566" y="1414"/>
                  </a:lnTo>
                  <a:lnTo>
                    <a:pt x="566" y="1415"/>
                  </a:lnTo>
                  <a:lnTo>
                    <a:pt x="566" y="1414"/>
                  </a:lnTo>
                  <a:lnTo>
                    <a:pt x="568" y="1411"/>
                  </a:lnTo>
                  <a:close/>
                  <a:moveTo>
                    <a:pt x="581" y="1380"/>
                  </a:moveTo>
                  <a:lnTo>
                    <a:pt x="583" y="1380"/>
                  </a:lnTo>
                  <a:lnTo>
                    <a:pt x="583" y="1381"/>
                  </a:lnTo>
                  <a:lnTo>
                    <a:pt x="584" y="1383"/>
                  </a:lnTo>
                  <a:lnTo>
                    <a:pt x="584" y="1385"/>
                  </a:lnTo>
                  <a:lnTo>
                    <a:pt x="584" y="1386"/>
                  </a:lnTo>
                  <a:lnTo>
                    <a:pt x="583" y="1385"/>
                  </a:lnTo>
                  <a:lnTo>
                    <a:pt x="584" y="1385"/>
                  </a:lnTo>
                  <a:lnTo>
                    <a:pt x="583" y="1385"/>
                  </a:lnTo>
                  <a:lnTo>
                    <a:pt x="583" y="1386"/>
                  </a:lnTo>
                  <a:lnTo>
                    <a:pt x="581" y="1386"/>
                  </a:lnTo>
                  <a:lnTo>
                    <a:pt x="581" y="1385"/>
                  </a:lnTo>
                  <a:lnTo>
                    <a:pt x="583" y="1385"/>
                  </a:lnTo>
                  <a:lnTo>
                    <a:pt x="583" y="1383"/>
                  </a:lnTo>
                  <a:lnTo>
                    <a:pt x="581" y="1383"/>
                  </a:lnTo>
                  <a:lnTo>
                    <a:pt x="581" y="1381"/>
                  </a:lnTo>
                  <a:lnTo>
                    <a:pt x="579" y="1381"/>
                  </a:lnTo>
                  <a:lnTo>
                    <a:pt x="579" y="1380"/>
                  </a:lnTo>
                  <a:lnTo>
                    <a:pt x="581" y="1381"/>
                  </a:lnTo>
                  <a:lnTo>
                    <a:pt x="581" y="1380"/>
                  </a:lnTo>
                  <a:lnTo>
                    <a:pt x="579" y="1380"/>
                  </a:lnTo>
                  <a:lnTo>
                    <a:pt x="581" y="1380"/>
                  </a:lnTo>
                  <a:close/>
                  <a:moveTo>
                    <a:pt x="565" y="1373"/>
                  </a:moveTo>
                  <a:lnTo>
                    <a:pt x="566" y="1373"/>
                  </a:lnTo>
                  <a:lnTo>
                    <a:pt x="568" y="1373"/>
                  </a:lnTo>
                  <a:lnTo>
                    <a:pt x="566" y="1373"/>
                  </a:lnTo>
                  <a:lnTo>
                    <a:pt x="568" y="1373"/>
                  </a:lnTo>
                  <a:lnTo>
                    <a:pt x="566" y="1375"/>
                  </a:lnTo>
                  <a:lnTo>
                    <a:pt x="565" y="1375"/>
                  </a:lnTo>
                  <a:lnTo>
                    <a:pt x="565" y="1376"/>
                  </a:lnTo>
                  <a:lnTo>
                    <a:pt x="566" y="1375"/>
                  </a:lnTo>
                  <a:lnTo>
                    <a:pt x="566" y="1376"/>
                  </a:lnTo>
                  <a:lnTo>
                    <a:pt x="565" y="1376"/>
                  </a:lnTo>
                  <a:lnTo>
                    <a:pt x="563" y="1376"/>
                  </a:lnTo>
                  <a:lnTo>
                    <a:pt x="561" y="1376"/>
                  </a:lnTo>
                  <a:lnTo>
                    <a:pt x="563" y="1376"/>
                  </a:lnTo>
                  <a:lnTo>
                    <a:pt x="561" y="1378"/>
                  </a:lnTo>
                  <a:lnTo>
                    <a:pt x="560" y="1378"/>
                  </a:lnTo>
                  <a:lnTo>
                    <a:pt x="560" y="1376"/>
                  </a:lnTo>
                  <a:lnTo>
                    <a:pt x="561" y="1375"/>
                  </a:lnTo>
                  <a:lnTo>
                    <a:pt x="563" y="1373"/>
                  </a:lnTo>
                  <a:lnTo>
                    <a:pt x="563" y="1375"/>
                  </a:lnTo>
                  <a:lnTo>
                    <a:pt x="565" y="1373"/>
                  </a:lnTo>
                  <a:lnTo>
                    <a:pt x="565" y="1375"/>
                  </a:lnTo>
                  <a:lnTo>
                    <a:pt x="565" y="1373"/>
                  </a:lnTo>
                  <a:close/>
                  <a:moveTo>
                    <a:pt x="446" y="1521"/>
                  </a:moveTo>
                  <a:lnTo>
                    <a:pt x="448" y="1521"/>
                  </a:lnTo>
                  <a:lnTo>
                    <a:pt x="449" y="1521"/>
                  </a:lnTo>
                  <a:lnTo>
                    <a:pt x="449" y="1523"/>
                  </a:lnTo>
                  <a:lnTo>
                    <a:pt x="451" y="1523"/>
                  </a:lnTo>
                  <a:lnTo>
                    <a:pt x="451" y="1524"/>
                  </a:lnTo>
                  <a:lnTo>
                    <a:pt x="451" y="1523"/>
                  </a:lnTo>
                  <a:lnTo>
                    <a:pt x="453" y="1523"/>
                  </a:lnTo>
                  <a:lnTo>
                    <a:pt x="453" y="1524"/>
                  </a:lnTo>
                  <a:lnTo>
                    <a:pt x="454" y="1524"/>
                  </a:lnTo>
                  <a:lnTo>
                    <a:pt x="454" y="1526"/>
                  </a:lnTo>
                  <a:lnTo>
                    <a:pt x="454" y="1528"/>
                  </a:lnTo>
                  <a:lnTo>
                    <a:pt x="454" y="1526"/>
                  </a:lnTo>
                  <a:lnTo>
                    <a:pt x="453" y="1526"/>
                  </a:lnTo>
                  <a:lnTo>
                    <a:pt x="453" y="1528"/>
                  </a:lnTo>
                  <a:lnTo>
                    <a:pt x="451" y="1526"/>
                  </a:lnTo>
                  <a:lnTo>
                    <a:pt x="449" y="1524"/>
                  </a:lnTo>
                  <a:lnTo>
                    <a:pt x="451" y="1524"/>
                  </a:lnTo>
                  <a:lnTo>
                    <a:pt x="449" y="1524"/>
                  </a:lnTo>
                  <a:lnTo>
                    <a:pt x="451" y="1524"/>
                  </a:lnTo>
                  <a:lnTo>
                    <a:pt x="449" y="1524"/>
                  </a:lnTo>
                  <a:lnTo>
                    <a:pt x="448" y="1523"/>
                  </a:lnTo>
                  <a:lnTo>
                    <a:pt x="446" y="1523"/>
                  </a:lnTo>
                  <a:lnTo>
                    <a:pt x="446" y="1521"/>
                  </a:lnTo>
                  <a:close/>
                  <a:moveTo>
                    <a:pt x="453" y="906"/>
                  </a:moveTo>
                  <a:lnTo>
                    <a:pt x="454" y="906"/>
                  </a:lnTo>
                  <a:lnTo>
                    <a:pt x="456" y="906"/>
                  </a:lnTo>
                  <a:lnTo>
                    <a:pt x="457" y="906"/>
                  </a:lnTo>
                  <a:lnTo>
                    <a:pt x="459" y="908"/>
                  </a:lnTo>
                  <a:lnTo>
                    <a:pt x="459" y="910"/>
                  </a:lnTo>
                  <a:lnTo>
                    <a:pt x="457" y="910"/>
                  </a:lnTo>
                  <a:lnTo>
                    <a:pt x="456" y="911"/>
                  </a:lnTo>
                  <a:lnTo>
                    <a:pt x="456" y="910"/>
                  </a:lnTo>
                  <a:lnTo>
                    <a:pt x="454" y="910"/>
                  </a:lnTo>
                  <a:lnTo>
                    <a:pt x="454" y="908"/>
                  </a:lnTo>
                  <a:lnTo>
                    <a:pt x="453" y="908"/>
                  </a:lnTo>
                  <a:lnTo>
                    <a:pt x="453" y="906"/>
                  </a:lnTo>
                  <a:close/>
                  <a:moveTo>
                    <a:pt x="41" y="1593"/>
                  </a:moveTo>
                  <a:lnTo>
                    <a:pt x="41" y="1591"/>
                  </a:lnTo>
                  <a:lnTo>
                    <a:pt x="41" y="1590"/>
                  </a:lnTo>
                  <a:lnTo>
                    <a:pt x="41" y="1588"/>
                  </a:lnTo>
                  <a:lnTo>
                    <a:pt x="43" y="1588"/>
                  </a:lnTo>
                  <a:lnTo>
                    <a:pt x="44" y="1586"/>
                  </a:lnTo>
                  <a:lnTo>
                    <a:pt x="46" y="1586"/>
                  </a:lnTo>
                  <a:lnTo>
                    <a:pt x="46" y="1588"/>
                  </a:lnTo>
                  <a:lnTo>
                    <a:pt x="44" y="1590"/>
                  </a:lnTo>
                  <a:lnTo>
                    <a:pt x="43" y="1590"/>
                  </a:lnTo>
                  <a:lnTo>
                    <a:pt x="43" y="1591"/>
                  </a:lnTo>
                  <a:lnTo>
                    <a:pt x="44" y="1591"/>
                  </a:lnTo>
                  <a:lnTo>
                    <a:pt x="43" y="1591"/>
                  </a:lnTo>
                  <a:lnTo>
                    <a:pt x="41" y="1591"/>
                  </a:lnTo>
                  <a:lnTo>
                    <a:pt x="41" y="1593"/>
                  </a:lnTo>
                  <a:close/>
                  <a:moveTo>
                    <a:pt x="443" y="1619"/>
                  </a:moveTo>
                  <a:lnTo>
                    <a:pt x="444" y="1619"/>
                  </a:lnTo>
                  <a:lnTo>
                    <a:pt x="444" y="1620"/>
                  </a:lnTo>
                  <a:lnTo>
                    <a:pt x="446" y="1620"/>
                  </a:lnTo>
                  <a:lnTo>
                    <a:pt x="446" y="1622"/>
                  </a:lnTo>
                  <a:lnTo>
                    <a:pt x="448" y="1622"/>
                  </a:lnTo>
                  <a:lnTo>
                    <a:pt x="446" y="1622"/>
                  </a:lnTo>
                  <a:lnTo>
                    <a:pt x="446" y="1624"/>
                  </a:lnTo>
                  <a:lnTo>
                    <a:pt x="448" y="1624"/>
                  </a:lnTo>
                  <a:lnTo>
                    <a:pt x="448" y="1625"/>
                  </a:lnTo>
                  <a:lnTo>
                    <a:pt x="449" y="1625"/>
                  </a:lnTo>
                  <a:lnTo>
                    <a:pt x="448" y="1625"/>
                  </a:lnTo>
                  <a:lnTo>
                    <a:pt x="448" y="1624"/>
                  </a:lnTo>
                  <a:lnTo>
                    <a:pt x="446" y="1624"/>
                  </a:lnTo>
                  <a:lnTo>
                    <a:pt x="444" y="1624"/>
                  </a:lnTo>
                  <a:lnTo>
                    <a:pt x="446" y="1624"/>
                  </a:lnTo>
                  <a:lnTo>
                    <a:pt x="446" y="1625"/>
                  </a:lnTo>
                  <a:lnTo>
                    <a:pt x="444" y="1625"/>
                  </a:lnTo>
                  <a:lnTo>
                    <a:pt x="444" y="1624"/>
                  </a:lnTo>
                  <a:lnTo>
                    <a:pt x="444" y="1622"/>
                  </a:lnTo>
                  <a:lnTo>
                    <a:pt x="443" y="1622"/>
                  </a:lnTo>
                  <a:lnTo>
                    <a:pt x="443" y="1620"/>
                  </a:lnTo>
                  <a:lnTo>
                    <a:pt x="441" y="1620"/>
                  </a:lnTo>
                  <a:lnTo>
                    <a:pt x="441" y="1619"/>
                  </a:lnTo>
                  <a:lnTo>
                    <a:pt x="443" y="1619"/>
                  </a:lnTo>
                  <a:lnTo>
                    <a:pt x="441" y="1619"/>
                  </a:lnTo>
                  <a:lnTo>
                    <a:pt x="443" y="1619"/>
                  </a:lnTo>
                  <a:close/>
                  <a:moveTo>
                    <a:pt x="672" y="498"/>
                  </a:moveTo>
                  <a:lnTo>
                    <a:pt x="674" y="500"/>
                  </a:lnTo>
                  <a:lnTo>
                    <a:pt x="675" y="500"/>
                  </a:lnTo>
                  <a:lnTo>
                    <a:pt x="675" y="501"/>
                  </a:lnTo>
                  <a:lnTo>
                    <a:pt x="677" y="501"/>
                  </a:lnTo>
                  <a:lnTo>
                    <a:pt x="679" y="501"/>
                  </a:lnTo>
                  <a:lnTo>
                    <a:pt x="677" y="503"/>
                  </a:lnTo>
                  <a:lnTo>
                    <a:pt x="675" y="503"/>
                  </a:lnTo>
                  <a:lnTo>
                    <a:pt x="675" y="501"/>
                  </a:lnTo>
                  <a:lnTo>
                    <a:pt x="674" y="501"/>
                  </a:lnTo>
                  <a:lnTo>
                    <a:pt x="674" y="500"/>
                  </a:lnTo>
                  <a:lnTo>
                    <a:pt x="672" y="500"/>
                  </a:lnTo>
                  <a:lnTo>
                    <a:pt x="670" y="498"/>
                  </a:lnTo>
                  <a:lnTo>
                    <a:pt x="672" y="498"/>
                  </a:lnTo>
                  <a:close/>
                  <a:moveTo>
                    <a:pt x="46" y="1611"/>
                  </a:moveTo>
                  <a:lnTo>
                    <a:pt x="44" y="1611"/>
                  </a:lnTo>
                  <a:lnTo>
                    <a:pt x="46" y="1611"/>
                  </a:lnTo>
                  <a:lnTo>
                    <a:pt x="44" y="1611"/>
                  </a:lnTo>
                  <a:lnTo>
                    <a:pt x="44" y="1612"/>
                  </a:lnTo>
                  <a:lnTo>
                    <a:pt x="46" y="1612"/>
                  </a:lnTo>
                  <a:lnTo>
                    <a:pt x="46" y="1611"/>
                  </a:lnTo>
                  <a:lnTo>
                    <a:pt x="46" y="1612"/>
                  </a:lnTo>
                  <a:lnTo>
                    <a:pt x="44" y="1612"/>
                  </a:lnTo>
                  <a:lnTo>
                    <a:pt x="43" y="1612"/>
                  </a:lnTo>
                  <a:lnTo>
                    <a:pt x="43" y="1611"/>
                  </a:lnTo>
                  <a:lnTo>
                    <a:pt x="43" y="1609"/>
                  </a:lnTo>
                  <a:lnTo>
                    <a:pt x="43" y="1607"/>
                  </a:lnTo>
                  <a:lnTo>
                    <a:pt x="43" y="1606"/>
                  </a:lnTo>
                  <a:lnTo>
                    <a:pt x="44" y="1607"/>
                  </a:lnTo>
                  <a:lnTo>
                    <a:pt x="46" y="1607"/>
                  </a:lnTo>
                  <a:lnTo>
                    <a:pt x="46" y="1609"/>
                  </a:lnTo>
                  <a:lnTo>
                    <a:pt x="46" y="1611"/>
                  </a:lnTo>
                  <a:close/>
                  <a:moveTo>
                    <a:pt x="560" y="1381"/>
                  </a:moveTo>
                  <a:lnTo>
                    <a:pt x="561" y="1381"/>
                  </a:lnTo>
                  <a:lnTo>
                    <a:pt x="561" y="1380"/>
                  </a:lnTo>
                  <a:lnTo>
                    <a:pt x="561" y="1381"/>
                  </a:lnTo>
                  <a:lnTo>
                    <a:pt x="563" y="1381"/>
                  </a:lnTo>
                  <a:lnTo>
                    <a:pt x="563" y="1380"/>
                  </a:lnTo>
                  <a:lnTo>
                    <a:pt x="563" y="1381"/>
                  </a:lnTo>
                  <a:lnTo>
                    <a:pt x="561" y="1381"/>
                  </a:lnTo>
                  <a:lnTo>
                    <a:pt x="561" y="1383"/>
                  </a:lnTo>
                  <a:lnTo>
                    <a:pt x="563" y="1383"/>
                  </a:lnTo>
                  <a:lnTo>
                    <a:pt x="563" y="1381"/>
                  </a:lnTo>
                  <a:lnTo>
                    <a:pt x="563" y="1383"/>
                  </a:lnTo>
                  <a:lnTo>
                    <a:pt x="565" y="1383"/>
                  </a:lnTo>
                  <a:lnTo>
                    <a:pt x="566" y="1383"/>
                  </a:lnTo>
                  <a:lnTo>
                    <a:pt x="565" y="1385"/>
                  </a:lnTo>
                  <a:lnTo>
                    <a:pt x="565" y="1383"/>
                  </a:lnTo>
                  <a:lnTo>
                    <a:pt x="565" y="1385"/>
                  </a:lnTo>
                  <a:lnTo>
                    <a:pt x="563" y="1383"/>
                  </a:lnTo>
                  <a:lnTo>
                    <a:pt x="561" y="1385"/>
                  </a:lnTo>
                  <a:lnTo>
                    <a:pt x="563" y="1385"/>
                  </a:lnTo>
                  <a:lnTo>
                    <a:pt x="561" y="1385"/>
                  </a:lnTo>
                  <a:lnTo>
                    <a:pt x="560" y="1385"/>
                  </a:lnTo>
                  <a:lnTo>
                    <a:pt x="560" y="1383"/>
                  </a:lnTo>
                  <a:lnTo>
                    <a:pt x="561" y="1383"/>
                  </a:lnTo>
                  <a:lnTo>
                    <a:pt x="560" y="1383"/>
                  </a:lnTo>
                  <a:lnTo>
                    <a:pt x="560" y="1381"/>
                  </a:lnTo>
                  <a:lnTo>
                    <a:pt x="561" y="1381"/>
                  </a:lnTo>
                  <a:lnTo>
                    <a:pt x="560" y="1381"/>
                  </a:lnTo>
                  <a:lnTo>
                    <a:pt x="560" y="1380"/>
                  </a:lnTo>
                  <a:lnTo>
                    <a:pt x="561" y="1378"/>
                  </a:lnTo>
                  <a:lnTo>
                    <a:pt x="561" y="1380"/>
                  </a:lnTo>
                  <a:lnTo>
                    <a:pt x="561" y="1381"/>
                  </a:lnTo>
                  <a:lnTo>
                    <a:pt x="560" y="1381"/>
                  </a:lnTo>
                  <a:close/>
                  <a:moveTo>
                    <a:pt x="627" y="557"/>
                  </a:moveTo>
                  <a:lnTo>
                    <a:pt x="628" y="557"/>
                  </a:lnTo>
                  <a:lnTo>
                    <a:pt x="630" y="557"/>
                  </a:lnTo>
                  <a:lnTo>
                    <a:pt x="631" y="558"/>
                  </a:lnTo>
                  <a:lnTo>
                    <a:pt x="630" y="558"/>
                  </a:lnTo>
                  <a:lnTo>
                    <a:pt x="630" y="560"/>
                  </a:lnTo>
                  <a:lnTo>
                    <a:pt x="630" y="558"/>
                  </a:lnTo>
                  <a:lnTo>
                    <a:pt x="628" y="558"/>
                  </a:lnTo>
                  <a:lnTo>
                    <a:pt x="630" y="560"/>
                  </a:lnTo>
                  <a:lnTo>
                    <a:pt x="628" y="560"/>
                  </a:lnTo>
                  <a:lnTo>
                    <a:pt x="628" y="562"/>
                  </a:lnTo>
                  <a:lnTo>
                    <a:pt x="628" y="560"/>
                  </a:lnTo>
                  <a:lnTo>
                    <a:pt x="627" y="560"/>
                  </a:lnTo>
                  <a:lnTo>
                    <a:pt x="627" y="558"/>
                  </a:lnTo>
                  <a:lnTo>
                    <a:pt x="627" y="557"/>
                  </a:lnTo>
                  <a:close/>
                  <a:moveTo>
                    <a:pt x="617" y="578"/>
                  </a:moveTo>
                  <a:lnTo>
                    <a:pt x="618" y="578"/>
                  </a:lnTo>
                  <a:lnTo>
                    <a:pt x="618" y="579"/>
                  </a:lnTo>
                  <a:lnTo>
                    <a:pt x="620" y="581"/>
                  </a:lnTo>
                  <a:lnTo>
                    <a:pt x="620" y="583"/>
                  </a:lnTo>
                  <a:lnTo>
                    <a:pt x="618" y="583"/>
                  </a:lnTo>
                  <a:lnTo>
                    <a:pt x="618" y="581"/>
                  </a:lnTo>
                  <a:lnTo>
                    <a:pt x="617" y="581"/>
                  </a:lnTo>
                  <a:lnTo>
                    <a:pt x="618" y="581"/>
                  </a:lnTo>
                  <a:lnTo>
                    <a:pt x="618" y="583"/>
                  </a:lnTo>
                  <a:lnTo>
                    <a:pt x="617" y="583"/>
                  </a:lnTo>
                  <a:lnTo>
                    <a:pt x="617" y="581"/>
                  </a:lnTo>
                  <a:lnTo>
                    <a:pt x="617" y="583"/>
                  </a:lnTo>
                  <a:lnTo>
                    <a:pt x="615" y="581"/>
                  </a:lnTo>
                  <a:lnTo>
                    <a:pt x="617" y="581"/>
                  </a:lnTo>
                  <a:lnTo>
                    <a:pt x="617" y="579"/>
                  </a:lnTo>
                  <a:lnTo>
                    <a:pt x="617" y="578"/>
                  </a:lnTo>
                  <a:close/>
                  <a:moveTo>
                    <a:pt x="495" y="869"/>
                  </a:moveTo>
                  <a:lnTo>
                    <a:pt x="495" y="871"/>
                  </a:lnTo>
                  <a:lnTo>
                    <a:pt x="495" y="872"/>
                  </a:lnTo>
                  <a:lnTo>
                    <a:pt x="495" y="874"/>
                  </a:lnTo>
                  <a:lnTo>
                    <a:pt x="495" y="872"/>
                  </a:lnTo>
                  <a:lnTo>
                    <a:pt x="495" y="874"/>
                  </a:lnTo>
                  <a:lnTo>
                    <a:pt x="495" y="876"/>
                  </a:lnTo>
                  <a:lnTo>
                    <a:pt x="493" y="876"/>
                  </a:lnTo>
                  <a:lnTo>
                    <a:pt x="493" y="874"/>
                  </a:lnTo>
                  <a:lnTo>
                    <a:pt x="493" y="872"/>
                  </a:lnTo>
                  <a:lnTo>
                    <a:pt x="493" y="871"/>
                  </a:lnTo>
                  <a:lnTo>
                    <a:pt x="493" y="869"/>
                  </a:lnTo>
                  <a:lnTo>
                    <a:pt x="495" y="869"/>
                  </a:lnTo>
                  <a:lnTo>
                    <a:pt x="495" y="867"/>
                  </a:lnTo>
                  <a:lnTo>
                    <a:pt x="495" y="869"/>
                  </a:lnTo>
                  <a:close/>
                  <a:moveTo>
                    <a:pt x="677" y="464"/>
                  </a:moveTo>
                  <a:lnTo>
                    <a:pt x="679" y="466"/>
                  </a:lnTo>
                  <a:lnTo>
                    <a:pt x="679" y="467"/>
                  </a:lnTo>
                  <a:lnTo>
                    <a:pt x="677" y="467"/>
                  </a:lnTo>
                  <a:lnTo>
                    <a:pt x="675" y="467"/>
                  </a:lnTo>
                  <a:lnTo>
                    <a:pt x="675" y="466"/>
                  </a:lnTo>
                  <a:lnTo>
                    <a:pt x="677" y="464"/>
                  </a:lnTo>
                  <a:close/>
                  <a:moveTo>
                    <a:pt x="542" y="1258"/>
                  </a:moveTo>
                  <a:lnTo>
                    <a:pt x="542" y="1256"/>
                  </a:lnTo>
                  <a:lnTo>
                    <a:pt x="542" y="1258"/>
                  </a:lnTo>
                  <a:lnTo>
                    <a:pt x="542" y="1256"/>
                  </a:lnTo>
                  <a:lnTo>
                    <a:pt x="544" y="1258"/>
                  </a:lnTo>
                  <a:lnTo>
                    <a:pt x="544" y="1259"/>
                  </a:lnTo>
                  <a:lnTo>
                    <a:pt x="545" y="1258"/>
                  </a:lnTo>
                  <a:lnTo>
                    <a:pt x="545" y="1259"/>
                  </a:lnTo>
                  <a:lnTo>
                    <a:pt x="545" y="1258"/>
                  </a:lnTo>
                  <a:lnTo>
                    <a:pt x="544" y="1258"/>
                  </a:lnTo>
                  <a:lnTo>
                    <a:pt x="545" y="1258"/>
                  </a:lnTo>
                  <a:lnTo>
                    <a:pt x="547" y="1258"/>
                  </a:lnTo>
                  <a:lnTo>
                    <a:pt x="548" y="1259"/>
                  </a:lnTo>
                  <a:lnTo>
                    <a:pt x="547" y="1259"/>
                  </a:lnTo>
                  <a:lnTo>
                    <a:pt x="547" y="1261"/>
                  </a:lnTo>
                  <a:lnTo>
                    <a:pt x="545" y="1259"/>
                  </a:lnTo>
                  <a:lnTo>
                    <a:pt x="544" y="1259"/>
                  </a:lnTo>
                  <a:lnTo>
                    <a:pt x="544" y="1261"/>
                  </a:lnTo>
                  <a:lnTo>
                    <a:pt x="544" y="1259"/>
                  </a:lnTo>
                  <a:lnTo>
                    <a:pt x="542" y="1259"/>
                  </a:lnTo>
                  <a:lnTo>
                    <a:pt x="542" y="1258"/>
                  </a:lnTo>
                  <a:close/>
                  <a:moveTo>
                    <a:pt x="371" y="1874"/>
                  </a:moveTo>
                  <a:lnTo>
                    <a:pt x="371" y="1873"/>
                  </a:lnTo>
                  <a:lnTo>
                    <a:pt x="373" y="1874"/>
                  </a:lnTo>
                  <a:lnTo>
                    <a:pt x="374" y="1874"/>
                  </a:lnTo>
                  <a:lnTo>
                    <a:pt x="374" y="1876"/>
                  </a:lnTo>
                  <a:lnTo>
                    <a:pt x="374" y="1877"/>
                  </a:lnTo>
                  <a:lnTo>
                    <a:pt x="373" y="1877"/>
                  </a:lnTo>
                  <a:lnTo>
                    <a:pt x="371" y="1877"/>
                  </a:lnTo>
                  <a:lnTo>
                    <a:pt x="371" y="1876"/>
                  </a:lnTo>
                  <a:lnTo>
                    <a:pt x="371" y="1874"/>
                  </a:lnTo>
                  <a:close/>
                  <a:moveTo>
                    <a:pt x="573" y="1370"/>
                  </a:moveTo>
                  <a:lnTo>
                    <a:pt x="573" y="1372"/>
                  </a:lnTo>
                  <a:lnTo>
                    <a:pt x="573" y="1370"/>
                  </a:lnTo>
                  <a:lnTo>
                    <a:pt x="571" y="1372"/>
                  </a:lnTo>
                  <a:lnTo>
                    <a:pt x="571" y="1370"/>
                  </a:lnTo>
                  <a:lnTo>
                    <a:pt x="573" y="1370"/>
                  </a:lnTo>
                  <a:lnTo>
                    <a:pt x="571" y="1370"/>
                  </a:lnTo>
                  <a:lnTo>
                    <a:pt x="571" y="1372"/>
                  </a:lnTo>
                  <a:lnTo>
                    <a:pt x="570" y="1373"/>
                  </a:lnTo>
                  <a:lnTo>
                    <a:pt x="568" y="1373"/>
                  </a:lnTo>
                  <a:lnTo>
                    <a:pt x="566" y="1372"/>
                  </a:lnTo>
                  <a:lnTo>
                    <a:pt x="566" y="1373"/>
                  </a:lnTo>
                  <a:lnTo>
                    <a:pt x="565" y="1373"/>
                  </a:lnTo>
                  <a:lnTo>
                    <a:pt x="565" y="1372"/>
                  </a:lnTo>
                  <a:lnTo>
                    <a:pt x="566" y="1372"/>
                  </a:lnTo>
                  <a:lnTo>
                    <a:pt x="568" y="1372"/>
                  </a:lnTo>
                  <a:lnTo>
                    <a:pt x="568" y="1370"/>
                  </a:lnTo>
                  <a:lnTo>
                    <a:pt x="570" y="1370"/>
                  </a:lnTo>
                  <a:lnTo>
                    <a:pt x="570" y="1372"/>
                  </a:lnTo>
                  <a:lnTo>
                    <a:pt x="570" y="1370"/>
                  </a:lnTo>
                  <a:lnTo>
                    <a:pt x="571" y="1370"/>
                  </a:lnTo>
                  <a:lnTo>
                    <a:pt x="573" y="1368"/>
                  </a:lnTo>
                  <a:lnTo>
                    <a:pt x="573" y="1370"/>
                  </a:lnTo>
                  <a:close/>
                  <a:moveTo>
                    <a:pt x="540" y="1383"/>
                  </a:moveTo>
                  <a:lnTo>
                    <a:pt x="542" y="1383"/>
                  </a:lnTo>
                  <a:lnTo>
                    <a:pt x="544" y="1383"/>
                  </a:lnTo>
                  <a:lnTo>
                    <a:pt x="544" y="1385"/>
                  </a:lnTo>
                  <a:lnTo>
                    <a:pt x="542" y="1385"/>
                  </a:lnTo>
                  <a:lnTo>
                    <a:pt x="544" y="1385"/>
                  </a:lnTo>
                  <a:lnTo>
                    <a:pt x="545" y="1385"/>
                  </a:lnTo>
                  <a:lnTo>
                    <a:pt x="547" y="1385"/>
                  </a:lnTo>
                  <a:lnTo>
                    <a:pt x="547" y="1386"/>
                  </a:lnTo>
                  <a:lnTo>
                    <a:pt x="545" y="1386"/>
                  </a:lnTo>
                  <a:lnTo>
                    <a:pt x="544" y="1386"/>
                  </a:lnTo>
                  <a:lnTo>
                    <a:pt x="542" y="1386"/>
                  </a:lnTo>
                  <a:lnTo>
                    <a:pt x="542" y="1385"/>
                  </a:lnTo>
                  <a:lnTo>
                    <a:pt x="540" y="1385"/>
                  </a:lnTo>
                  <a:lnTo>
                    <a:pt x="540" y="1383"/>
                  </a:lnTo>
                  <a:lnTo>
                    <a:pt x="542" y="1383"/>
                  </a:lnTo>
                  <a:lnTo>
                    <a:pt x="540" y="1383"/>
                  </a:lnTo>
                  <a:close/>
                  <a:moveTo>
                    <a:pt x="680" y="477"/>
                  </a:moveTo>
                  <a:lnTo>
                    <a:pt x="682" y="477"/>
                  </a:lnTo>
                  <a:lnTo>
                    <a:pt x="682" y="479"/>
                  </a:lnTo>
                  <a:lnTo>
                    <a:pt x="680" y="479"/>
                  </a:lnTo>
                  <a:lnTo>
                    <a:pt x="679" y="479"/>
                  </a:lnTo>
                  <a:lnTo>
                    <a:pt x="677" y="477"/>
                  </a:lnTo>
                  <a:lnTo>
                    <a:pt x="677" y="475"/>
                  </a:lnTo>
                  <a:lnTo>
                    <a:pt x="679" y="475"/>
                  </a:lnTo>
                  <a:lnTo>
                    <a:pt x="679" y="477"/>
                  </a:lnTo>
                  <a:lnTo>
                    <a:pt x="680" y="477"/>
                  </a:lnTo>
                  <a:close/>
                  <a:moveTo>
                    <a:pt x="534" y="1459"/>
                  </a:moveTo>
                  <a:lnTo>
                    <a:pt x="532" y="1459"/>
                  </a:lnTo>
                  <a:lnTo>
                    <a:pt x="534" y="1459"/>
                  </a:lnTo>
                  <a:lnTo>
                    <a:pt x="534" y="1461"/>
                  </a:lnTo>
                  <a:lnTo>
                    <a:pt x="534" y="1463"/>
                  </a:lnTo>
                  <a:lnTo>
                    <a:pt x="534" y="1464"/>
                  </a:lnTo>
                  <a:lnTo>
                    <a:pt x="532" y="1463"/>
                  </a:lnTo>
                  <a:lnTo>
                    <a:pt x="532" y="1464"/>
                  </a:lnTo>
                  <a:lnTo>
                    <a:pt x="532" y="1466"/>
                  </a:lnTo>
                  <a:lnTo>
                    <a:pt x="531" y="1466"/>
                  </a:lnTo>
                  <a:lnTo>
                    <a:pt x="531" y="1464"/>
                  </a:lnTo>
                  <a:lnTo>
                    <a:pt x="531" y="1463"/>
                  </a:lnTo>
                  <a:lnTo>
                    <a:pt x="531" y="1461"/>
                  </a:lnTo>
                  <a:lnTo>
                    <a:pt x="532" y="1461"/>
                  </a:lnTo>
                  <a:lnTo>
                    <a:pt x="532" y="1459"/>
                  </a:lnTo>
                  <a:lnTo>
                    <a:pt x="534" y="1459"/>
                  </a:lnTo>
                  <a:lnTo>
                    <a:pt x="534" y="1458"/>
                  </a:lnTo>
                  <a:lnTo>
                    <a:pt x="535" y="1458"/>
                  </a:lnTo>
                  <a:lnTo>
                    <a:pt x="534" y="1459"/>
                  </a:lnTo>
                  <a:close/>
                  <a:moveTo>
                    <a:pt x="67" y="1669"/>
                  </a:moveTo>
                  <a:lnTo>
                    <a:pt x="67" y="1671"/>
                  </a:lnTo>
                  <a:lnTo>
                    <a:pt x="69" y="1671"/>
                  </a:lnTo>
                  <a:lnTo>
                    <a:pt x="67" y="1672"/>
                  </a:lnTo>
                  <a:lnTo>
                    <a:pt x="67" y="1671"/>
                  </a:lnTo>
                  <a:lnTo>
                    <a:pt x="67" y="1672"/>
                  </a:lnTo>
                  <a:lnTo>
                    <a:pt x="65" y="1674"/>
                  </a:lnTo>
                  <a:lnTo>
                    <a:pt x="65" y="1672"/>
                  </a:lnTo>
                  <a:lnTo>
                    <a:pt x="64" y="1672"/>
                  </a:lnTo>
                  <a:lnTo>
                    <a:pt x="64" y="1671"/>
                  </a:lnTo>
                  <a:lnTo>
                    <a:pt x="64" y="1672"/>
                  </a:lnTo>
                  <a:lnTo>
                    <a:pt x="62" y="1671"/>
                  </a:lnTo>
                  <a:lnTo>
                    <a:pt x="64" y="1671"/>
                  </a:lnTo>
                  <a:lnTo>
                    <a:pt x="64" y="1669"/>
                  </a:lnTo>
                  <a:lnTo>
                    <a:pt x="65" y="1669"/>
                  </a:lnTo>
                  <a:lnTo>
                    <a:pt x="65" y="1671"/>
                  </a:lnTo>
                  <a:lnTo>
                    <a:pt x="64" y="1671"/>
                  </a:lnTo>
                  <a:lnTo>
                    <a:pt x="65" y="1671"/>
                  </a:lnTo>
                  <a:lnTo>
                    <a:pt x="65" y="1669"/>
                  </a:lnTo>
                  <a:lnTo>
                    <a:pt x="67" y="1669"/>
                  </a:lnTo>
                  <a:lnTo>
                    <a:pt x="65" y="1669"/>
                  </a:lnTo>
                  <a:lnTo>
                    <a:pt x="67" y="1669"/>
                  </a:lnTo>
                  <a:close/>
                  <a:moveTo>
                    <a:pt x="148" y="1920"/>
                  </a:moveTo>
                  <a:lnTo>
                    <a:pt x="147" y="1921"/>
                  </a:lnTo>
                  <a:lnTo>
                    <a:pt x="147" y="1920"/>
                  </a:lnTo>
                  <a:lnTo>
                    <a:pt x="145" y="1920"/>
                  </a:lnTo>
                  <a:lnTo>
                    <a:pt x="145" y="1918"/>
                  </a:lnTo>
                  <a:lnTo>
                    <a:pt x="144" y="1916"/>
                  </a:lnTo>
                  <a:lnTo>
                    <a:pt x="145" y="1916"/>
                  </a:lnTo>
                  <a:lnTo>
                    <a:pt x="147" y="1916"/>
                  </a:lnTo>
                  <a:lnTo>
                    <a:pt x="148" y="1918"/>
                  </a:lnTo>
                  <a:lnTo>
                    <a:pt x="148" y="1920"/>
                  </a:lnTo>
                  <a:close/>
                  <a:moveTo>
                    <a:pt x="646" y="503"/>
                  </a:moveTo>
                  <a:lnTo>
                    <a:pt x="648" y="503"/>
                  </a:lnTo>
                  <a:lnTo>
                    <a:pt x="648" y="501"/>
                  </a:lnTo>
                  <a:lnTo>
                    <a:pt x="649" y="503"/>
                  </a:lnTo>
                  <a:lnTo>
                    <a:pt x="651" y="503"/>
                  </a:lnTo>
                  <a:lnTo>
                    <a:pt x="651" y="505"/>
                  </a:lnTo>
                  <a:lnTo>
                    <a:pt x="649" y="505"/>
                  </a:lnTo>
                  <a:lnTo>
                    <a:pt x="648" y="505"/>
                  </a:lnTo>
                  <a:lnTo>
                    <a:pt x="648" y="503"/>
                  </a:lnTo>
                  <a:lnTo>
                    <a:pt x="646" y="503"/>
                  </a:lnTo>
                  <a:close/>
                  <a:moveTo>
                    <a:pt x="495" y="1471"/>
                  </a:moveTo>
                  <a:lnTo>
                    <a:pt x="495" y="1472"/>
                  </a:lnTo>
                  <a:lnTo>
                    <a:pt x="496" y="1472"/>
                  </a:lnTo>
                  <a:lnTo>
                    <a:pt x="498" y="1472"/>
                  </a:lnTo>
                  <a:lnTo>
                    <a:pt x="498" y="1474"/>
                  </a:lnTo>
                  <a:lnTo>
                    <a:pt x="500" y="1474"/>
                  </a:lnTo>
                  <a:lnTo>
                    <a:pt x="501" y="1474"/>
                  </a:lnTo>
                  <a:lnTo>
                    <a:pt x="501" y="1476"/>
                  </a:lnTo>
                  <a:lnTo>
                    <a:pt x="503" y="1476"/>
                  </a:lnTo>
                  <a:lnTo>
                    <a:pt x="503" y="1477"/>
                  </a:lnTo>
                  <a:lnTo>
                    <a:pt x="501" y="1477"/>
                  </a:lnTo>
                  <a:lnTo>
                    <a:pt x="501" y="1476"/>
                  </a:lnTo>
                  <a:lnTo>
                    <a:pt x="501" y="1477"/>
                  </a:lnTo>
                  <a:lnTo>
                    <a:pt x="500" y="1476"/>
                  </a:lnTo>
                  <a:lnTo>
                    <a:pt x="498" y="1476"/>
                  </a:lnTo>
                  <a:lnTo>
                    <a:pt x="498" y="1474"/>
                  </a:lnTo>
                  <a:lnTo>
                    <a:pt x="498" y="1476"/>
                  </a:lnTo>
                  <a:lnTo>
                    <a:pt x="498" y="1474"/>
                  </a:lnTo>
                  <a:lnTo>
                    <a:pt x="496" y="1474"/>
                  </a:lnTo>
                  <a:lnTo>
                    <a:pt x="496" y="1472"/>
                  </a:lnTo>
                  <a:lnTo>
                    <a:pt x="495" y="1472"/>
                  </a:lnTo>
                  <a:lnTo>
                    <a:pt x="493" y="1471"/>
                  </a:lnTo>
                  <a:lnTo>
                    <a:pt x="495" y="1471"/>
                  </a:lnTo>
                  <a:lnTo>
                    <a:pt x="493" y="1471"/>
                  </a:lnTo>
                  <a:lnTo>
                    <a:pt x="495" y="1471"/>
                  </a:lnTo>
                  <a:close/>
                  <a:moveTo>
                    <a:pt x="444" y="1581"/>
                  </a:moveTo>
                  <a:lnTo>
                    <a:pt x="444" y="1580"/>
                  </a:lnTo>
                  <a:lnTo>
                    <a:pt x="446" y="1580"/>
                  </a:lnTo>
                  <a:lnTo>
                    <a:pt x="448" y="1580"/>
                  </a:lnTo>
                  <a:lnTo>
                    <a:pt x="448" y="1581"/>
                  </a:lnTo>
                  <a:lnTo>
                    <a:pt x="448" y="1580"/>
                  </a:lnTo>
                  <a:lnTo>
                    <a:pt x="446" y="1581"/>
                  </a:lnTo>
                  <a:lnTo>
                    <a:pt x="448" y="1581"/>
                  </a:lnTo>
                  <a:lnTo>
                    <a:pt x="446" y="1581"/>
                  </a:lnTo>
                  <a:lnTo>
                    <a:pt x="446" y="1583"/>
                  </a:lnTo>
                  <a:lnTo>
                    <a:pt x="448" y="1583"/>
                  </a:lnTo>
                  <a:lnTo>
                    <a:pt x="446" y="1583"/>
                  </a:lnTo>
                  <a:lnTo>
                    <a:pt x="448" y="1583"/>
                  </a:lnTo>
                  <a:lnTo>
                    <a:pt x="449" y="1583"/>
                  </a:lnTo>
                  <a:lnTo>
                    <a:pt x="448" y="1583"/>
                  </a:lnTo>
                  <a:lnTo>
                    <a:pt x="448" y="1585"/>
                  </a:lnTo>
                  <a:lnTo>
                    <a:pt x="448" y="1583"/>
                  </a:lnTo>
                  <a:lnTo>
                    <a:pt x="448" y="1585"/>
                  </a:lnTo>
                  <a:lnTo>
                    <a:pt x="449" y="1585"/>
                  </a:lnTo>
                  <a:lnTo>
                    <a:pt x="448" y="1585"/>
                  </a:lnTo>
                  <a:lnTo>
                    <a:pt x="446" y="1585"/>
                  </a:lnTo>
                  <a:lnTo>
                    <a:pt x="444" y="1583"/>
                  </a:lnTo>
                  <a:lnTo>
                    <a:pt x="444" y="1581"/>
                  </a:lnTo>
                  <a:close/>
                  <a:moveTo>
                    <a:pt x="537" y="1385"/>
                  </a:moveTo>
                  <a:lnTo>
                    <a:pt x="535" y="1385"/>
                  </a:lnTo>
                  <a:lnTo>
                    <a:pt x="535" y="1383"/>
                  </a:lnTo>
                  <a:lnTo>
                    <a:pt x="537" y="1383"/>
                  </a:lnTo>
                  <a:lnTo>
                    <a:pt x="535" y="1381"/>
                  </a:lnTo>
                  <a:lnTo>
                    <a:pt x="537" y="1381"/>
                  </a:lnTo>
                  <a:lnTo>
                    <a:pt x="535" y="1381"/>
                  </a:lnTo>
                  <a:lnTo>
                    <a:pt x="537" y="1381"/>
                  </a:lnTo>
                  <a:lnTo>
                    <a:pt x="535" y="1381"/>
                  </a:lnTo>
                  <a:lnTo>
                    <a:pt x="537" y="1380"/>
                  </a:lnTo>
                  <a:lnTo>
                    <a:pt x="539" y="1380"/>
                  </a:lnTo>
                  <a:lnTo>
                    <a:pt x="540" y="1381"/>
                  </a:lnTo>
                  <a:lnTo>
                    <a:pt x="539" y="1381"/>
                  </a:lnTo>
                  <a:lnTo>
                    <a:pt x="539" y="1383"/>
                  </a:lnTo>
                  <a:lnTo>
                    <a:pt x="537" y="1383"/>
                  </a:lnTo>
                  <a:lnTo>
                    <a:pt x="535" y="1383"/>
                  </a:lnTo>
                  <a:lnTo>
                    <a:pt x="537" y="1383"/>
                  </a:lnTo>
                  <a:lnTo>
                    <a:pt x="537" y="1385"/>
                  </a:lnTo>
                  <a:close/>
                  <a:moveTo>
                    <a:pt x="67" y="1674"/>
                  </a:moveTo>
                  <a:lnTo>
                    <a:pt x="69" y="1674"/>
                  </a:lnTo>
                  <a:lnTo>
                    <a:pt x="67" y="1676"/>
                  </a:lnTo>
                  <a:lnTo>
                    <a:pt x="67" y="1677"/>
                  </a:lnTo>
                  <a:lnTo>
                    <a:pt x="69" y="1676"/>
                  </a:lnTo>
                  <a:lnTo>
                    <a:pt x="69" y="1677"/>
                  </a:lnTo>
                  <a:lnTo>
                    <a:pt x="69" y="1679"/>
                  </a:lnTo>
                  <a:lnTo>
                    <a:pt x="67" y="1679"/>
                  </a:lnTo>
                  <a:lnTo>
                    <a:pt x="67" y="1677"/>
                  </a:lnTo>
                  <a:lnTo>
                    <a:pt x="65" y="1677"/>
                  </a:lnTo>
                  <a:lnTo>
                    <a:pt x="67" y="1677"/>
                  </a:lnTo>
                  <a:lnTo>
                    <a:pt x="65" y="1677"/>
                  </a:lnTo>
                  <a:lnTo>
                    <a:pt x="64" y="1677"/>
                  </a:lnTo>
                  <a:lnTo>
                    <a:pt x="65" y="1677"/>
                  </a:lnTo>
                  <a:lnTo>
                    <a:pt x="65" y="1676"/>
                  </a:lnTo>
                  <a:lnTo>
                    <a:pt x="65" y="1677"/>
                  </a:lnTo>
                  <a:lnTo>
                    <a:pt x="65" y="1676"/>
                  </a:lnTo>
                  <a:lnTo>
                    <a:pt x="64" y="1676"/>
                  </a:lnTo>
                  <a:lnTo>
                    <a:pt x="65" y="1676"/>
                  </a:lnTo>
                  <a:lnTo>
                    <a:pt x="65" y="1674"/>
                  </a:lnTo>
                  <a:lnTo>
                    <a:pt x="67" y="1676"/>
                  </a:lnTo>
                  <a:lnTo>
                    <a:pt x="67" y="1674"/>
                  </a:lnTo>
                  <a:close/>
                  <a:moveTo>
                    <a:pt x="581" y="1388"/>
                  </a:moveTo>
                  <a:lnTo>
                    <a:pt x="581" y="1386"/>
                  </a:lnTo>
                  <a:lnTo>
                    <a:pt x="583" y="1386"/>
                  </a:lnTo>
                  <a:lnTo>
                    <a:pt x="581" y="1388"/>
                  </a:lnTo>
                  <a:lnTo>
                    <a:pt x="583" y="1388"/>
                  </a:lnTo>
                  <a:lnTo>
                    <a:pt x="583" y="1386"/>
                  </a:lnTo>
                  <a:lnTo>
                    <a:pt x="584" y="1388"/>
                  </a:lnTo>
                  <a:lnTo>
                    <a:pt x="583" y="1388"/>
                  </a:lnTo>
                  <a:lnTo>
                    <a:pt x="581" y="1388"/>
                  </a:lnTo>
                  <a:lnTo>
                    <a:pt x="579" y="1389"/>
                  </a:lnTo>
                  <a:lnTo>
                    <a:pt x="581" y="1389"/>
                  </a:lnTo>
                  <a:lnTo>
                    <a:pt x="581" y="1391"/>
                  </a:lnTo>
                  <a:lnTo>
                    <a:pt x="579" y="1391"/>
                  </a:lnTo>
                  <a:lnTo>
                    <a:pt x="581" y="1391"/>
                  </a:lnTo>
                  <a:lnTo>
                    <a:pt x="579" y="1393"/>
                  </a:lnTo>
                  <a:lnTo>
                    <a:pt x="578" y="1393"/>
                  </a:lnTo>
                  <a:lnTo>
                    <a:pt x="576" y="1393"/>
                  </a:lnTo>
                  <a:lnTo>
                    <a:pt x="578" y="1393"/>
                  </a:lnTo>
                  <a:lnTo>
                    <a:pt x="578" y="1391"/>
                  </a:lnTo>
                  <a:lnTo>
                    <a:pt x="578" y="1393"/>
                  </a:lnTo>
                  <a:lnTo>
                    <a:pt x="579" y="1393"/>
                  </a:lnTo>
                  <a:lnTo>
                    <a:pt x="579" y="1391"/>
                  </a:lnTo>
                  <a:lnTo>
                    <a:pt x="578" y="1391"/>
                  </a:lnTo>
                  <a:lnTo>
                    <a:pt x="579" y="1391"/>
                  </a:lnTo>
                  <a:lnTo>
                    <a:pt x="579" y="1389"/>
                  </a:lnTo>
                  <a:lnTo>
                    <a:pt x="579" y="1388"/>
                  </a:lnTo>
                  <a:lnTo>
                    <a:pt x="581" y="1388"/>
                  </a:lnTo>
                  <a:close/>
                  <a:moveTo>
                    <a:pt x="54" y="1656"/>
                  </a:moveTo>
                  <a:lnTo>
                    <a:pt x="56" y="1658"/>
                  </a:lnTo>
                  <a:lnTo>
                    <a:pt x="57" y="1659"/>
                  </a:lnTo>
                  <a:lnTo>
                    <a:pt x="56" y="1659"/>
                  </a:lnTo>
                  <a:lnTo>
                    <a:pt x="56" y="1661"/>
                  </a:lnTo>
                  <a:lnTo>
                    <a:pt x="56" y="1663"/>
                  </a:lnTo>
                  <a:lnTo>
                    <a:pt x="57" y="1663"/>
                  </a:lnTo>
                  <a:lnTo>
                    <a:pt x="56" y="1663"/>
                  </a:lnTo>
                  <a:lnTo>
                    <a:pt x="54" y="1663"/>
                  </a:lnTo>
                  <a:lnTo>
                    <a:pt x="54" y="1661"/>
                  </a:lnTo>
                  <a:lnTo>
                    <a:pt x="54" y="1659"/>
                  </a:lnTo>
                  <a:lnTo>
                    <a:pt x="56" y="1659"/>
                  </a:lnTo>
                  <a:lnTo>
                    <a:pt x="56" y="1658"/>
                  </a:lnTo>
                  <a:lnTo>
                    <a:pt x="54" y="1659"/>
                  </a:lnTo>
                  <a:lnTo>
                    <a:pt x="54" y="1658"/>
                  </a:lnTo>
                  <a:lnTo>
                    <a:pt x="54" y="1659"/>
                  </a:lnTo>
                  <a:lnTo>
                    <a:pt x="54" y="1658"/>
                  </a:lnTo>
                  <a:lnTo>
                    <a:pt x="54" y="1656"/>
                  </a:lnTo>
                  <a:close/>
                  <a:moveTo>
                    <a:pt x="588" y="1313"/>
                  </a:moveTo>
                  <a:lnTo>
                    <a:pt x="589" y="1313"/>
                  </a:lnTo>
                  <a:lnTo>
                    <a:pt x="589" y="1315"/>
                  </a:lnTo>
                  <a:lnTo>
                    <a:pt x="588" y="1315"/>
                  </a:lnTo>
                  <a:lnTo>
                    <a:pt x="588" y="1316"/>
                  </a:lnTo>
                  <a:lnTo>
                    <a:pt x="588" y="1318"/>
                  </a:lnTo>
                  <a:lnTo>
                    <a:pt x="586" y="1318"/>
                  </a:lnTo>
                  <a:lnTo>
                    <a:pt x="584" y="1316"/>
                  </a:lnTo>
                  <a:lnTo>
                    <a:pt x="586" y="1316"/>
                  </a:lnTo>
                  <a:lnTo>
                    <a:pt x="586" y="1315"/>
                  </a:lnTo>
                  <a:lnTo>
                    <a:pt x="586" y="1316"/>
                  </a:lnTo>
                  <a:lnTo>
                    <a:pt x="586" y="1315"/>
                  </a:lnTo>
                  <a:lnTo>
                    <a:pt x="586" y="1313"/>
                  </a:lnTo>
                  <a:lnTo>
                    <a:pt x="588" y="1313"/>
                  </a:lnTo>
                  <a:close/>
                  <a:moveTo>
                    <a:pt x="622" y="757"/>
                  </a:moveTo>
                  <a:lnTo>
                    <a:pt x="622" y="755"/>
                  </a:lnTo>
                  <a:lnTo>
                    <a:pt x="623" y="755"/>
                  </a:lnTo>
                  <a:lnTo>
                    <a:pt x="623" y="757"/>
                  </a:lnTo>
                  <a:lnTo>
                    <a:pt x="623" y="755"/>
                  </a:lnTo>
                  <a:lnTo>
                    <a:pt x="623" y="757"/>
                  </a:lnTo>
                  <a:lnTo>
                    <a:pt x="622" y="758"/>
                  </a:lnTo>
                  <a:lnTo>
                    <a:pt x="622" y="760"/>
                  </a:lnTo>
                  <a:lnTo>
                    <a:pt x="620" y="760"/>
                  </a:lnTo>
                  <a:lnTo>
                    <a:pt x="620" y="762"/>
                  </a:lnTo>
                  <a:lnTo>
                    <a:pt x="620" y="760"/>
                  </a:lnTo>
                  <a:lnTo>
                    <a:pt x="620" y="762"/>
                  </a:lnTo>
                  <a:lnTo>
                    <a:pt x="620" y="763"/>
                  </a:lnTo>
                  <a:lnTo>
                    <a:pt x="620" y="762"/>
                  </a:lnTo>
                  <a:lnTo>
                    <a:pt x="620" y="760"/>
                  </a:lnTo>
                  <a:lnTo>
                    <a:pt x="620" y="758"/>
                  </a:lnTo>
                  <a:lnTo>
                    <a:pt x="620" y="757"/>
                  </a:lnTo>
                  <a:lnTo>
                    <a:pt x="620" y="758"/>
                  </a:lnTo>
                  <a:lnTo>
                    <a:pt x="622" y="758"/>
                  </a:lnTo>
                  <a:lnTo>
                    <a:pt x="622" y="757"/>
                  </a:lnTo>
                  <a:close/>
                  <a:moveTo>
                    <a:pt x="453" y="1559"/>
                  </a:moveTo>
                  <a:lnTo>
                    <a:pt x="451" y="1559"/>
                  </a:lnTo>
                  <a:lnTo>
                    <a:pt x="451" y="1560"/>
                  </a:lnTo>
                  <a:lnTo>
                    <a:pt x="449" y="1562"/>
                  </a:lnTo>
                  <a:lnTo>
                    <a:pt x="449" y="1560"/>
                  </a:lnTo>
                  <a:lnTo>
                    <a:pt x="449" y="1562"/>
                  </a:lnTo>
                  <a:lnTo>
                    <a:pt x="448" y="1562"/>
                  </a:lnTo>
                  <a:lnTo>
                    <a:pt x="449" y="1562"/>
                  </a:lnTo>
                  <a:lnTo>
                    <a:pt x="448" y="1560"/>
                  </a:lnTo>
                  <a:lnTo>
                    <a:pt x="449" y="1560"/>
                  </a:lnTo>
                  <a:lnTo>
                    <a:pt x="448" y="1560"/>
                  </a:lnTo>
                  <a:lnTo>
                    <a:pt x="449" y="1559"/>
                  </a:lnTo>
                  <a:lnTo>
                    <a:pt x="449" y="1557"/>
                  </a:lnTo>
                  <a:lnTo>
                    <a:pt x="451" y="1557"/>
                  </a:lnTo>
                  <a:lnTo>
                    <a:pt x="449" y="1559"/>
                  </a:lnTo>
                  <a:lnTo>
                    <a:pt x="451" y="1557"/>
                  </a:lnTo>
                  <a:lnTo>
                    <a:pt x="451" y="1555"/>
                  </a:lnTo>
                  <a:lnTo>
                    <a:pt x="453" y="1555"/>
                  </a:lnTo>
                  <a:lnTo>
                    <a:pt x="453" y="1557"/>
                  </a:lnTo>
                  <a:lnTo>
                    <a:pt x="453" y="1559"/>
                  </a:lnTo>
                  <a:close/>
                  <a:moveTo>
                    <a:pt x="747" y="456"/>
                  </a:moveTo>
                  <a:lnTo>
                    <a:pt x="747" y="458"/>
                  </a:lnTo>
                  <a:lnTo>
                    <a:pt x="749" y="458"/>
                  </a:lnTo>
                  <a:lnTo>
                    <a:pt x="749" y="459"/>
                  </a:lnTo>
                  <a:lnTo>
                    <a:pt x="747" y="459"/>
                  </a:lnTo>
                  <a:lnTo>
                    <a:pt x="747" y="458"/>
                  </a:lnTo>
                  <a:lnTo>
                    <a:pt x="745" y="458"/>
                  </a:lnTo>
                  <a:lnTo>
                    <a:pt x="745" y="456"/>
                  </a:lnTo>
                  <a:lnTo>
                    <a:pt x="745" y="454"/>
                  </a:lnTo>
                  <a:lnTo>
                    <a:pt x="745" y="453"/>
                  </a:lnTo>
                  <a:lnTo>
                    <a:pt x="747" y="453"/>
                  </a:lnTo>
                  <a:lnTo>
                    <a:pt x="745" y="453"/>
                  </a:lnTo>
                  <a:lnTo>
                    <a:pt x="745" y="454"/>
                  </a:lnTo>
                  <a:lnTo>
                    <a:pt x="747" y="456"/>
                  </a:lnTo>
                  <a:close/>
                  <a:moveTo>
                    <a:pt x="379" y="1873"/>
                  </a:moveTo>
                  <a:lnTo>
                    <a:pt x="381" y="1873"/>
                  </a:lnTo>
                  <a:lnTo>
                    <a:pt x="379" y="1874"/>
                  </a:lnTo>
                  <a:lnTo>
                    <a:pt x="381" y="1876"/>
                  </a:lnTo>
                  <a:lnTo>
                    <a:pt x="379" y="1876"/>
                  </a:lnTo>
                  <a:lnTo>
                    <a:pt x="379" y="1877"/>
                  </a:lnTo>
                  <a:lnTo>
                    <a:pt x="378" y="1877"/>
                  </a:lnTo>
                  <a:lnTo>
                    <a:pt x="378" y="1876"/>
                  </a:lnTo>
                  <a:lnTo>
                    <a:pt x="378" y="1874"/>
                  </a:lnTo>
                  <a:lnTo>
                    <a:pt x="379" y="1873"/>
                  </a:lnTo>
                  <a:close/>
                  <a:moveTo>
                    <a:pt x="54" y="1663"/>
                  </a:moveTo>
                  <a:lnTo>
                    <a:pt x="54" y="1664"/>
                  </a:lnTo>
                  <a:lnTo>
                    <a:pt x="56" y="1664"/>
                  </a:lnTo>
                  <a:lnTo>
                    <a:pt x="57" y="1663"/>
                  </a:lnTo>
                  <a:lnTo>
                    <a:pt x="57" y="1664"/>
                  </a:lnTo>
                  <a:lnTo>
                    <a:pt x="57" y="1666"/>
                  </a:lnTo>
                  <a:lnTo>
                    <a:pt x="57" y="1668"/>
                  </a:lnTo>
                  <a:lnTo>
                    <a:pt x="57" y="1666"/>
                  </a:lnTo>
                  <a:lnTo>
                    <a:pt x="56" y="1666"/>
                  </a:lnTo>
                  <a:lnTo>
                    <a:pt x="54" y="1666"/>
                  </a:lnTo>
                  <a:lnTo>
                    <a:pt x="54" y="1664"/>
                  </a:lnTo>
                  <a:lnTo>
                    <a:pt x="52" y="1666"/>
                  </a:lnTo>
                  <a:lnTo>
                    <a:pt x="52" y="1664"/>
                  </a:lnTo>
                  <a:lnTo>
                    <a:pt x="52" y="1663"/>
                  </a:lnTo>
                  <a:lnTo>
                    <a:pt x="54" y="1663"/>
                  </a:lnTo>
                  <a:close/>
                  <a:moveTo>
                    <a:pt x="396" y="1515"/>
                  </a:moveTo>
                  <a:lnTo>
                    <a:pt x="392" y="1513"/>
                  </a:lnTo>
                  <a:lnTo>
                    <a:pt x="392" y="1511"/>
                  </a:lnTo>
                  <a:lnTo>
                    <a:pt x="394" y="1511"/>
                  </a:lnTo>
                  <a:lnTo>
                    <a:pt x="396" y="1511"/>
                  </a:lnTo>
                  <a:lnTo>
                    <a:pt x="397" y="1511"/>
                  </a:lnTo>
                  <a:lnTo>
                    <a:pt x="397" y="1513"/>
                  </a:lnTo>
                  <a:lnTo>
                    <a:pt x="396" y="1513"/>
                  </a:lnTo>
                  <a:lnTo>
                    <a:pt x="396" y="1515"/>
                  </a:lnTo>
                  <a:close/>
                  <a:moveTo>
                    <a:pt x="368" y="1876"/>
                  </a:moveTo>
                  <a:lnTo>
                    <a:pt x="368" y="1877"/>
                  </a:lnTo>
                  <a:lnTo>
                    <a:pt x="368" y="1879"/>
                  </a:lnTo>
                  <a:lnTo>
                    <a:pt x="366" y="1879"/>
                  </a:lnTo>
                  <a:lnTo>
                    <a:pt x="366" y="1877"/>
                  </a:lnTo>
                  <a:lnTo>
                    <a:pt x="366" y="1879"/>
                  </a:lnTo>
                  <a:lnTo>
                    <a:pt x="365" y="1877"/>
                  </a:lnTo>
                  <a:lnTo>
                    <a:pt x="365" y="1876"/>
                  </a:lnTo>
                  <a:lnTo>
                    <a:pt x="365" y="1877"/>
                  </a:lnTo>
                  <a:lnTo>
                    <a:pt x="365" y="1876"/>
                  </a:lnTo>
                  <a:lnTo>
                    <a:pt x="366" y="1876"/>
                  </a:lnTo>
                  <a:lnTo>
                    <a:pt x="366" y="1874"/>
                  </a:lnTo>
                  <a:lnTo>
                    <a:pt x="366" y="1876"/>
                  </a:lnTo>
                  <a:lnTo>
                    <a:pt x="368" y="1874"/>
                  </a:lnTo>
                  <a:lnTo>
                    <a:pt x="368" y="1876"/>
                  </a:lnTo>
                  <a:close/>
                  <a:moveTo>
                    <a:pt x="35" y="1594"/>
                  </a:moveTo>
                  <a:lnTo>
                    <a:pt x="36" y="1594"/>
                  </a:lnTo>
                  <a:lnTo>
                    <a:pt x="36" y="1596"/>
                  </a:lnTo>
                  <a:lnTo>
                    <a:pt x="35" y="1596"/>
                  </a:lnTo>
                  <a:lnTo>
                    <a:pt x="35" y="1598"/>
                  </a:lnTo>
                  <a:lnTo>
                    <a:pt x="35" y="1599"/>
                  </a:lnTo>
                  <a:lnTo>
                    <a:pt x="35" y="1601"/>
                  </a:lnTo>
                  <a:lnTo>
                    <a:pt x="35" y="1599"/>
                  </a:lnTo>
                  <a:lnTo>
                    <a:pt x="33" y="1601"/>
                  </a:lnTo>
                  <a:lnTo>
                    <a:pt x="31" y="1601"/>
                  </a:lnTo>
                  <a:lnTo>
                    <a:pt x="31" y="1599"/>
                  </a:lnTo>
                  <a:lnTo>
                    <a:pt x="33" y="1599"/>
                  </a:lnTo>
                  <a:lnTo>
                    <a:pt x="33" y="1598"/>
                  </a:lnTo>
                  <a:lnTo>
                    <a:pt x="33" y="1596"/>
                  </a:lnTo>
                  <a:lnTo>
                    <a:pt x="35" y="1596"/>
                  </a:lnTo>
                  <a:lnTo>
                    <a:pt x="35" y="1594"/>
                  </a:lnTo>
                  <a:close/>
                  <a:moveTo>
                    <a:pt x="542" y="1267"/>
                  </a:moveTo>
                  <a:lnTo>
                    <a:pt x="544" y="1267"/>
                  </a:lnTo>
                  <a:lnTo>
                    <a:pt x="545" y="1269"/>
                  </a:lnTo>
                  <a:lnTo>
                    <a:pt x="545" y="1271"/>
                  </a:lnTo>
                  <a:lnTo>
                    <a:pt x="545" y="1269"/>
                  </a:lnTo>
                  <a:lnTo>
                    <a:pt x="545" y="1271"/>
                  </a:lnTo>
                  <a:lnTo>
                    <a:pt x="544" y="1271"/>
                  </a:lnTo>
                  <a:lnTo>
                    <a:pt x="542" y="1271"/>
                  </a:lnTo>
                  <a:lnTo>
                    <a:pt x="544" y="1271"/>
                  </a:lnTo>
                  <a:lnTo>
                    <a:pt x="542" y="1269"/>
                  </a:lnTo>
                  <a:lnTo>
                    <a:pt x="542" y="1271"/>
                  </a:lnTo>
                  <a:lnTo>
                    <a:pt x="542" y="1269"/>
                  </a:lnTo>
                  <a:lnTo>
                    <a:pt x="540" y="1269"/>
                  </a:lnTo>
                  <a:lnTo>
                    <a:pt x="540" y="1267"/>
                  </a:lnTo>
                  <a:lnTo>
                    <a:pt x="542" y="1267"/>
                  </a:lnTo>
                  <a:close/>
                  <a:moveTo>
                    <a:pt x="433" y="1160"/>
                  </a:moveTo>
                  <a:lnTo>
                    <a:pt x="435" y="1160"/>
                  </a:lnTo>
                  <a:lnTo>
                    <a:pt x="435" y="1162"/>
                  </a:lnTo>
                  <a:lnTo>
                    <a:pt x="435" y="1163"/>
                  </a:lnTo>
                  <a:lnTo>
                    <a:pt x="433" y="1163"/>
                  </a:lnTo>
                  <a:lnTo>
                    <a:pt x="431" y="1163"/>
                  </a:lnTo>
                  <a:lnTo>
                    <a:pt x="431" y="1162"/>
                  </a:lnTo>
                  <a:lnTo>
                    <a:pt x="431" y="1160"/>
                  </a:lnTo>
                  <a:lnTo>
                    <a:pt x="433" y="1160"/>
                  </a:lnTo>
                  <a:close/>
                  <a:moveTo>
                    <a:pt x="57" y="1656"/>
                  </a:moveTo>
                  <a:lnTo>
                    <a:pt x="59" y="1655"/>
                  </a:lnTo>
                  <a:lnTo>
                    <a:pt x="59" y="1656"/>
                  </a:lnTo>
                  <a:lnTo>
                    <a:pt x="59" y="1658"/>
                  </a:lnTo>
                  <a:lnTo>
                    <a:pt x="59" y="1659"/>
                  </a:lnTo>
                  <a:lnTo>
                    <a:pt x="59" y="1661"/>
                  </a:lnTo>
                  <a:lnTo>
                    <a:pt x="59" y="1663"/>
                  </a:lnTo>
                  <a:lnTo>
                    <a:pt x="57" y="1661"/>
                  </a:lnTo>
                  <a:lnTo>
                    <a:pt x="57" y="1659"/>
                  </a:lnTo>
                  <a:lnTo>
                    <a:pt x="57" y="1658"/>
                  </a:lnTo>
                  <a:lnTo>
                    <a:pt x="57" y="1656"/>
                  </a:lnTo>
                  <a:close/>
                  <a:moveTo>
                    <a:pt x="537" y="1271"/>
                  </a:moveTo>
                  <a:lnTo>
                    <a:pt x="539" y="1272"/>
                  </a:lnTo>
                  <a:lnTo>
                    <a:pt x="537" y="1274"/>
                  </a:lnTo>
                  <a:lnTo>
                    <a:pt x="535" y="1274"/>
                  </a:lnTo>
                  <a:lnTo>
                    <a:pt x="535" y="1272"/>
                  </a:lnTo>
                  <a:lnTo>
                    <a:pt x="535" y="1271"/>
                  </a:lnTo>
                  <a:lnTo>
                    <a:pt x="537" y="1271"/>
                  </a:lnTo>
                  <a:close/>
                  <a:moveTo>
                    <a:pt x="28" y="1572"/>
                  </a:moveTo>
                  <a:lnTo>
                    <a:pt x="28" y="1570"/>
                  </a:lnTo>
                  <a:lnTo>
                    <a:pt x="30" y="1570"/>
                  </a:lnTo>
                  <a:lnTo>
                    <a:pt x="30" y="1572"/>
                  </a:lnTo>
                  <a:lnTo>
                    <a:pt x="31" y="1572"/>
                  </a:lnTo>
                  <a:lnTo>
                    <a:pt x="30" y="1572"/>
                  </a:lnTo>
                  <a:lnTo>
                    <a:pt x="30" y="1573"/>
                  </a:lnTo>
                  <a:lnTo>
                    <a:pt x="30" y="1575"/>
                  </a:lnTo>
                  <a:lnTo>
                    <a:pt x="28" y="1575"/>
                  </a:lnTo>
                  <a:lnTo>
                    <a:pt x="28" y="1573"/>
                  </a:lnTo>
                  <a:lnTo>
                    <a:pt x="28" y="1572"/>
                  </a:lnTo>
                  <a:close/>
                  <a:moveTo>
                    <a:pt x="683" y="472"/>
                  </a:moveTo>
                  <a:lnTo>
                    <a:pt x="683" y="471"/>
                  </a:lnTo>
                  <a:lnTo>
                    <a:pt x="685" y="471"/>
                  </a:lnTo>
                  <a:lnTo>
                    <a:pt x="685" y="472"/>
                  </a:lnTo>
                  <a:lnTo>
                    <a:pt x="685" y="474"/>
                  </a:lnTo>
                  <a:lnTo>
                    <a:pt x="683" y="474"/>
                  </a:lnTo>
                  <a:lnTo>
                    <a:pt x="683" y="475"/>
                  </a:lnTo>
                  <a:lnTo>
                    <a:pt x="682" y="475"/>
                  </a:lnTo>
                  <a:lnTo>
                    <a:pt x="682" y="474"/>
                  </a:lnTo>
                  <a:lnTo>
                    <a:pt x="683" y="474"/>
                  </a:lnTo>
                  <a:lnTo>
                    <a:pt x="682" y="472"/>
                  </a:lnTo>
                  <a:lnTo>
                    <a:pt x="683" y="472"/>
                  </a:lnTo>
                  <a:close/>
                  <a:moveTo>
                    <a:pt x="540" y="1386"/>
                  </a:moveTo>
                  <a:lnTo>
                    <a:pt x="542" y="1386"/>
                  </a:lnTo>
                  <a:lnTo>
                    <a:pt x="544" y="1386"/>
                  </a:lnTo>
                  <a:lnTo>
                    <a:pt x="544" y="1388"/>
                  </a:lnTo>
                  <a:lnTo>
                    <a:pt x="545" y="1389"/>
                  </a:lnTo>
                  <a:lnTo>
                    <a:pt x="547" y="1389"/>
                  </a:lnTo>
                  <a:lnTo>
                    <a:pt x="547" y="1391"/>
                  </a:lnTo>
                  <a:lnTo>
                    <a:pt x="545" y="1389"/>
                  </a:lnTo>
                  <a:lnTo>
                    <a:pt x="544" y="1389"/>
                  </a:lnTo>
                  <a:lnTo>
                    <a:pt x="544" y="1388"/>
                  </a:lnTo>
                  <a:lnTo>
                    <a:pt x="542" y="1389"/>
                  </a:lnTo>
                  <a:lnTo>
                    <a:pt x="542" y="1388"/>
                  </a:lnTo>
                  <a:lnTo>
                    <a:pt x="540" y="1388"/>
                  </a:lnTo>
                  <a:lnTo>
                    <a:pt x="539" y="1388"/>
                  </a:lnTo>
                  <a:lnTo>
                    <a:pt x="540" y="1386"/>
                  </a:lnTo>
                  <a:lnTo>
                    <a:pt x="540" y="1388"/>
                  </a:lnTo>
                  <a:lnTo>
                    <a:pt x="540" y="1386"/>
                  </a:lnTo>
                  <a:lnTo>
                    <a:pt x="542" y="1386"/>
                  </a:lnTo>
                  <a:lnTo>
                    <a:pt x="540" y="1386"/>
                  </a:lnTo>
                  <a:close/>
                  <a:moveTo>
                    <a:pt x="441" y="1716"/>
                  </a:moveTo>
                  <a:lnTo>
                    <a:pt x="441" y="1718"/>
                  </a:lnTo>
                  <a:lnTo>
                    <a:pt x="440" y="1718"/>
                  </a:lnTo>
                  <a:lnTo>
                    <a:pt x="441" y="1718"/>
                  </a:lnTo>
                  <a:lnTo>
                    <a:pt x="441" y="1720"/>
                  </a:lnTo>
                  <a:lnTo>
                    <a:pt x="440" y="1720"/>
                  </a:lnTo>
                  <a:lnTo>
                    <a:pt x="440" y="1721"/>
                  </a:lnTo>
                  <a:lnTo>
                    <a:pt x="438" y="1721"/>
                  </a:lnTo>
                  <a:lnTo>
                    <a:pt x="438" y="1720"/>
                  </a:lnTo>
                  <a:lnTo>
                    <a:pt x="438" y="1718"/>
                  </a:lnTo>
                  <a:lnTo>
                    <a:pt x="438" y="1716"/>
                  </a:lnTo>
                  <a:lnTo>
                    <a:pt x="440" y="1718"/>
                  </a:lnTo>
                  <a:lnTo>
                    <a:pt x="440" y="1716"/>
                  </a:lnTo>
                  <a:lnTo>
                    <a:pt x="441" y="1716"/>
                  </a:lnTo>
                  <a:close/>
                  <a:moveTo>
                    <a:pt x="592" y="1323"/>
                  </a:moveTo>
                  <a:lnTo>
                    <a:pt x="594" y="1323"/>
                  </a:lnTo>
                  <a:lnTo>
                    <a:pt x="594" y="1324"/>
                  </a:lnTo>
                  <a:lnTo>
                    <a:pt x="594" y="1326"/>
                  </a:lnTo>
                  <a:lnTo>
                    <a:pt x="592" y="1326"/>
                  </a:lnTo>
                  <a:lnTo>
                    <a:pt x="591" y="1326"/>
                  </a:lnTo>
                  <a:lnTo>
                    <a:pt x="591" y="1324"/>
                  </a:lnTo>
                  <a:lnTo>
                    <a:pt x="592" y="1324"/>
                  </a:lnTo>
                  <a:lnTo>
                    <a:pt x="591" y="1324"/>
                  </a:lnTo>
                  <a:lnTo>
                    <a:pt x="591" y="1326"/>
                  </a:lnTo>
                  <a:lnTo>
                    <a:pt x="591" y="1324"/>
                  </a:lnTo>
                  <a:lnTo>
                    <a:pt x="592" y="1323"/>
                  </a:lnTo>
                  <a:close/>
                  <a:moveTo>
                    <a:pt x="679" y="456"/>
                  </a:moveTo>
                  <a:lnTo>
                    <a:pt x="679" y="458"/>
                  </a:lnTo>
                  <a:lnTo>
                    <a:pt x="679" y="459"/>
                  </a:lnTo>
                  <a:lnTo>
                    <a:pt x="677" y="458"/>
                  </a:lnTo>
                  <a:lnTo>
                    <a:pt x="677" y="456"/>
                  </a:lnTo>
                  <a:lnTo>
                    <a:pt x="677" y="454"/>
                  </a:lnTo>
                  <a:lnTo>
                    <a:pt x="679" y="454"/>
                  </a:lnTo>
                  <a:lnTo>
                    <a:pt x="679" y="456"/>
                  </a:lnTo>
                  <a:close/>
                  <a:moveTo>
                    <a:pt x="638" y="513"/>
                  </a:moveTo>
                  <a:lnTo>
                    <a:pt x="640" y="513"/>
                  </a:lnTo>
                  <a:lnTo>
                    <a:pt x="640" y="514"/>
                  </a:lnTo>
                  <a:lnTo>
                    <a:pt x="638" y="514"/>
                  </a:lnTo>
                  <a:lnTo>
                    <a:pt x="636" y="514"/>
                  </a:lnTo>
                  <a:lnTo>
                    <a:pt x="635" y="513"/>
                  </a:lnTo>
                  <a:lnTo>
                    <a:pt x="636" y="513"/>
                  </a:lnTo>
                  <a:lnTo>
                    <a:pt x="638" y="513"/>
                  </a:lnTo>
                  <a:close/>
                  <a:moveTo>
                    <a:pt x="435" y="965"/>
                  </a:moveTo>
                  <a:lnTo>
                    <a:pt x="435" y="963"/>
                  </a:lnTo>
                  <a:lnTo>
                    <a:pt x="435" y="965"/>
                  </a:lnTo>
                  <a:lnTo>
                    <a:pt x="436" y="965"/>
                  </a:lnTo>
                  <a:lnTo>
                    <a:pt x="435" y="965"/>
                  </a:lnTo>
                  <a:lnTo>
                    <a:pt x="436" y="965"/>
                  </a:lnTo>
                  <a:lnTo>
                    <a:pt x="436" y="967"/>
                  </a:lnTo>
                  <a:lnTo>
                    <a:pt x="436" y="968"/>
                  </a:lnTo>
                  <a:lnTo>
                    <a:pt x="435" y="968"/>
                  </a:lnTo>
                  <a:lnTo>
                    <a:pt x="435" y="967"/>
                  </a:lnTo>
                  <a:lnTo>
                    <a:pt x="433" y="967"/>
                  </a:lnTo>
                  <a:lnTo>
                    <a:pt x="433" y="965"/>
                  </a:lnTo>
                  <a:lnTo>
                    <a:pt x="435" y="965"/>
                  </a:lnTo>
                  <a:close/>
                  <a:moveTo>
                    <a:pt x="687" y="472"/>
                  </a:moveTo>
                  <a:lnTo>
                    <a:pt x="688" y="471"/>
                  </a:lnTo>
                  <a:lnTo>
                    <a:pt x="690" y="472"/>
                  </a:lnTo>
                  <a:lnTo>
                    <a:pt x="692" y="472"/>
                  </a:lnTo>
                  <a:lnTo>
                    <a:pt x="693" y="472"/>
                  </a:lnTo>
                  <a:lnTo>
                    <a:pt x="693" y="474"/>
                  </a:lnTo>
                  <a:lnTo>
                    <a:pt x="692" y="474"/>
                  </a:lnTo>
                  <a:lnTo>
                    <a:pt x="692" y="475"/>
                  </a:lnTo>
                  <a:lnTo>
                    <a:pt x="693" y="474"/>
                  </a:lnTo>
                  <a:lnTo>
                    <a:pt x="693" y="475"/>
                  </a:lnTo>
                  <a:lnTo>
                    <a:pt x="692" y="474"/>
                  </a:lnTo>
                  <a:lnTo>
                    <a:pt x="690" y="472"/>
                  </a:lnTo>
                  <a:lnTo>
                    <a:pt x="688" y="472"/>
                  </a:lnTo>
                  <a:lnTo>
                    <a:pt x="687" y="472"/>
                  </a:lnTo>
                  <a:close/>
                  <a:moveTo>
                    <a:pt x="620" y="513"/>
                  </a:moveTo>
                  <a:lnTo>
                    <a:pt x="622" y="513"/>
                  </a:lnTo>
                  <a:lnTo>
                    <a:pt x="622" y="514"/>
                  </a:lnTo>
                  <a:lnTo>
                    <a:pt x="622" y="516"/>
                  </a:lnTo>
                  <a:lnTo>
                    <a:pt x="620" y="516"/>
                  </a:lnTo>
                  <a:lnTo>
                    <a:pt x="620" y="514"/>
                  </a:lnTo>
                  <a:lnTo>
                    <a:pt x="618" y="514"/>
                  </a:lnTo>
                  <a:lnTo>
                    <a:pt x="620" y="514"/>
                  </a:lnTo>
                  <a:lnTo>
                    <a:pt x="620" y="513"/>
                  </a:lnTo>
                  <a:lnTo>
                    <a:pt x="618" y="513"/>
                  </a:lnTo>
                  <a:lnTo>
                    <a:pt x="620" y="513"/>
                  </a:lnTo>
                  <a:close/>
                  <a:moveTo>
                    <a:pt x="649" y="484"/>
                  </a:moveTo>
                  <a:lnTo>
                    <a:pt x="651" y="484"/>
                  </a:lnTo>
                  <a:lnTo>
                    <a:pt x="653" y="484"/>
                  </a:lnTo>
                  <a:lnTo>
                    <a:pt x="653" y="485"/>
                  </a:lnTo>
                  <a:lnTo>
                    <a:pt x="653" y="487"/>
                  </a:lnTo>
                  <a:lnTo>
                    <a:pt x="651" y="487"/>
                  </a:lnTo>
                  <a:lnTo>
                    <a:pt x="651" y="485"/>
                  </a:lnTo>
                  <a:lnTo>
                    <a:pt x="649" y="485"/>
                  </a:lnTo>
                  <a:lnTo>
                    <a:pt x="651" y="485"/>
                  </a:lnTo>
                  <a:lnTo>
                    <a:pt x="649" y="484"/>
                  </a:lnTo>
                  <a:close/>
                  <a:moveTo>
                    <a:pt x="451" y="1567"/>
                  </a:moveTo>
                  <a:lnTo>
                    <a:pt x="453" y="1567"/>
                  </a:lnTo>
                  <a:lnTo>
                    <a:pt x="453" y="1568"/>
                  </a:lnTo>
                  <a:lnTo>
                    <a:pt x="453" y="1567"/>
                  </a:lnTo>
                  <a:lnTo>
                    <a:pt x="454" y="1567"/>
                  </a:lnTo>
                  <a:lnTo>
                    <a:pt x="454" y="1568"/>
                  </a:lnTo>
                  <a:lnTo>
                    <a:pt x="454" y="1567"/>
                  </a:lnTo>
                  <a:lnTo>
                    <a:pt x="454" y="1568"/>
                  </a:lnTo>
                  <a:lnTo>
                    <a:pt x="456" y="1568"/>
                  </a:lnTo>
                  <a:lnTo>
                    <a:pt x="456" y="1570"/>
                  </a:lnTo>
                  <a:lnTo>
                    <a:pt x="454" y="1570"/>
                  </a:lnTo>
                  <a:lnTo>
                    <a:pt x="454" y="1572"/>
                  </a:lnTo>
                  <a:lnTo>
                    <a:pt x="454" y="1570"/>
                  </a:lnTo>
                  <a:lnTo>
                    <a:pt x="454" y="1572"/>
                  </a:lnTo>
                  <a:lnTo>
                    <a:pt x="454" y="1570"/>
                  </a:lnTo>
                  <a:lnTo>
                    <a:pt x="453" y="1570"/>
                  </a:lnTo>
                  <a:lnTo>
                    <a:pt x="453" y="1568"/>
                  </a:lnTo>
                  <a:lnTo>
                    <a:pt x="451" y="1568"/>
                  </a:lnTo>
                  <a:lnTo>
                    <a:pt x="451" y="1567"/>
                  </a:lnTo>
                  <a:lnTo>
                    <a:pt x="453" y="1568"/>
                  </a:lnTo>
                  <a:lnTo>
                    <a:pt x="453" y="1567"/>
                  </a:lnTo>
                  <a:lnTo>
                    <a:pt x="451" y="1567"/>
                  </a:lnTo>
                  <a:close/>
                  <a:moveTo>
                    <a:pt x="522" y="1225"/>
                  </a:moveTo>
                  <a:lnTo>
                    <a:pt x="522" y="1224"/>
                  </a:lnTo>
                  <a:lnTo>
                    <a:pt x="524" y="1224"/>
                  </a:lnTo>
                  <a:lnTo>
                    <a:pt x="524" y="1225"/>
                  </a:lnTo>
                  <a:lnTo>
                    <a:pt x="524" y="1227"/>
                  </a:lnTo>
                  <a:lnTo>
                    <a:pt x="526" y="1227"/>
                  </a:lnTo>
                  <a:lnTo>
                    <a:pt x="522" y="1227"/>
                  </a:lnTo>
                  <a:lnTo>
                    <a:pt x="521" y="1227"/>
                  </a:lnTo>
                  <a:lnTo>
                    <a:pt x="521" y="1225"/>
                  </a:lnTo>
                  <a:lnTo>
                    <a:pt x="522" y="1225"/>
                  </a:lnTo>
                  <a:close/>
                  <a:moveTo>
                    <a:pt x="365" y="1869"/>
                  </a:moveTo>
                  <a:lnTo>
                    <a:pt x="365" y="1868"/>
                  </a:lnTo>
                  <a:lnTo>
                    <a:pt x="366" y="1869"/>
                  </a:lnTo>
                  <a:lnTo>
                    <a:pt x="365" y="1869"/>
                  </a:lnTo>
                  <a:lnTo>
                    <a:pt x="365" y="1871"/>
                  </a:lnTo>
                  <a:lnTo>
                    <a:pt x="366" y="1873"/>
                  </a:lnTo>
                  <a:lnTo>
                    <a:pt x="366" y="1874"/>
                  </a:lnTo>
                  <a:lnTo>
                    <a:pt x="366" y="1873"/>
                  </a:lnTo>
                  <a:lnTo>
                    <a:pt x="365" y="1873"/>
                  </a:lnTo>
                  <a:lnTo>
                    <a:pt x="365" y="1871"/>
                  </a:lnTo>
                  <a:lnTo>
                    <a:pt x="363" y="1871"/>
                  </a:lnTo>
                  <a:lnTo>
                    <a:pt x="363" y="1873"/>
                  </a:lnTo>
                  <a:lnTo>
                    <a:pt x="363" y="1871"/>
                  </a:lnTo>
                  <a:lnTo>
                    <a:pt x="363" y="1869"/>
                  </a:lnTo>
                  <a:lnTo>
                    <a:pt x="361" y="1869"/>
                  </a:lnTo>
                  <a:lnTo>
                    <a:pt x="363" y="1869"/>
                  </a:lnTo>
                  <a:lnTo>
                    <a:pt x="365" y="1869"/>
                  </a:lnTo>
                  <a:close/>
                  <a:moveTo>
                    <a:pt x="436" y="1028"/>
                  </a:moveTo>
                  <a:lnTo>
                    <a:pt x="436" y="1027"/>
                  </a:lnTo>
                  <a:lnTo>
                    <a:pt x="436" y="1028"/>
                  </a:lnTo>
                  <a:lnTo>
                    <a:pt x="438" y="1028"/>
                  </a:lnTo>
                  <a:lnTo>
                    <a:pt x="440" y="1028"/>
                  </a:lnTo>
                  <a:lnTo>
                    <a:pt x="440" y="1030"/>
                  </a:lnTo>
                  <a:lnTo>
                    <a:pt x="438" y="1030"/>
                  </a:lnTo>
                  <a:lnTo>
                    <a:pt x="438" y="1028"/>
                  </a:lnTo>
                  <a:lnTo>
                    <a:pt x="436" y="1028"/>
                  </a:lnTo>
                  <a:lnTo>
                    <a:pt x="436" y="1030"/>
                  </a:lnTo>
                  <a:lnTo>
                    <a:pt x="435" y="1030"/>
                  </a:lnTo>
                  <a:lnTo>
                    <a:pt x="435" y="1028"/>
                  </a:lnTo>
                  <a:lnTo>
                    <a:pt x="436" y="1028"/>
                  </a:lnTo>
                  <a:close/>
                  <a:moveTo>
                    <a:pt x="584" y="1355"/>
                  </a:moveTo>
                  <a:lnTo>
                    <a:pt x="586" y="1354"/>
                  </a:lnTo>
                  <a:lnTo>
                    <a:pt x="588" y="1354"/>
                  </a:lnTo>
                  <a:lnTo>
                    <a:pt x="589" y="1354"/>
                  </a:lnTo>
                  <a:lnTo>
                    <a:pt x="589" y="1355"/>
                  </a:lnTo>
                  <a:lnTo>
                    <a:pt x="588" y="1355"/>
                  </a:lnTo>
                  <a:lnTo>
                    <a:pt x="586" y="1355"/>
                  </a:lnTo>
                  <a:lnTo>
                    <a:pt x="586" y="1357"/>
                  </a:lnTo>
                  <a:lnTo>
                    <a:pt x="584" y="1357"/>
                  </a:lnTo>
                  <a:lnTo>
                    <a:pt x="586" y="1355"/>
                  </a:lnTo>
                  <a:lnTo>
                    <a:pt x="584" y="1355"/>
                  </a:lnTo>
                  <a:close/>
                  <a:moveTo>
                    <a:pt x="586" y="1344"/>
                  </a:moveTo>
                  <a:lnTo>
                    <a:pt x="586" y="1346"/>
                  </a:lnTo>
                  <a:lnTo>
                    <a:pt x="584" y="1346"/>
                  </a:lnTo>
                  <a:lnTo>
                    <a:pt x="586" y="1346"/>
                  </a:lnTo>
                  <a:lnTo>
                    <a:pt x="584" y="1347"/>
                  </a:lnTo>
                  <a:lnTo>
                    <a:pt x="586" y="1347"/>
                  </a:lnTo>
                  <a:lnTo>
                    <a:pt x="584" y="1347"/>
                  </a:lnTo>
                  <a:lnTo>
                    <a:pt x="583" y="1349"/>
                  </a:lnTo>
                  <a:lnTo>
                    <a:pt x="583" y="1347"/>
                  </a:lnTo>
                  <a:lnTo>
                    <a:pt x="584" y="1347"/>
                  </a:lnTo>
                  <a:lnTo>
                    <a:pt x="583" y="1347"/>
                  </a:lnTo>
                  <a:lnTo>
                    <a:pt x="583" y="1346"/>
                  </a:lnTo>
                  <a:lnTo>
                    <a:pt x="584" y="1347"/>
                  </a:lnTo>
                  <a:lnTo>
                    <a:pt x="583" y="1347"/>
                  </a:lnTo>
                  <a:lnTo>
                    <a:pt x="584" y="1346"/>
                  </a:lnTo>
                  <a:lnTo>
                    <a:pt x="583" y="1346"/>
                  </a:lnTo>
                  <a:lnTo>
                    <a:pt x="584" y="1346"/>
                  </a:lnTo>
                  <a:lnTo>
                    <a:pt x="584" y="1344"/>
                  </a:lnTo>
                  <a:lnTo>
                    <a:pt x="586" y="1344"/>
                  </a:lnTo>
                  <a:close/>
                  <a:moveTo>
                    <a:pt x="688" y="469"/>
                  </a:moveTo>
                  <a:lnTo>
                    <a:pt x="690" y="469"/>
                  </a:lnTo>
                  <a:lnTo>
                    <a:pt x="692" y="469"/>
                  </a:lnTo>
                  <a:lnTo>
                    <a:pt x="692" y="471"/>
                  </a:lnTo>
                  <a:lnTo>
                    <a:pt x="692" y="472"/>
                  </a:lnTo>
                  <a:lnTo>
                    <a:pt x="690" y="472"/>
                  </a:lnTo>
                  <a:lnTo>
                    <a:pt x="690" y="471"/>
                  </a:lnTo>
                  <a:lnTo>
                    <a:pt x="688" y="471"/>
                  </a:lnTo>
                  <a:lnTo>
                    <a:pt x="688" y="469"/>
                  </a:lnTo>
                  <a:close/>
                  <a:moveTo>
                    <a:pt x="13" y="1508"/>
                  </a:moveTo>
                  <a:lnTo>
                    <a:pt x="13" y="1507"/>
                  </a:lnTo>
                  <a:lnTo>
                    <a:pt x="15" y="1507"/>
                  </a:lnTo>
                  <a:lnTo>
                    <a:pt x="15" y="1508"/>
                  </a:lnTo>
                  <a:lnTo>
                    <a:pt x="15" y="1510"/>
                  </a:lnTo>
                  <a:lnTo>
                    <a:pt x="15" y="1508"/>
                  </a:lnTo>
                  <a:lnTo>
                    <a:pt x="13" y="1508"/>
                  </a:lnTo>
                  <a:lnTo>
                    <a:pt x="15" y="1510"/>
                  </a:lnTo>
                  <a:lnTo>
                    <a:pt x="15" y="1511"/>
                  </a:lnTo>
                  <a:lnTo>
                    <a:pt x="17" y="1511"/>
                  </a:lnTo>
                  <a:lnTo>
                    <a:pt x="17" y="1513"/>
                  </a:lnTo>
                  <a:lnTo>
                    <a:pt x="15" y="1513"/>
                  </a:lnTo>
                  <a:lnTo>
                    <a:pt x="15" y="1511"/>
                  </a:lnTo>
                  <a:lnTo>
                    <a:pt x="13" y="1511"/>
                  </a:lnTo>
                  <a:lnTo>
                    <a:pt x="13" y="1510"/>
                  </a:lnTo>
                  <a:lnTo>
                    <a:pt x="13" y="1508"/>
                  </a:lnTo>
                  <a:close/>
                  <a:moveTo>
                    <a:pt x="583" y="1378"/>
                  </a:moveTo>
                  <a:lnTo>
                    <a:pt x="583" y="1376"/>
                  </a:lnTo>
                  <a:lnTo>
                    <a:pt x="584" y="1376"/>
                  </a:lnTo>
                  <a:lnTo>
                    <a:pt x="584" y="1378"/>
                  </a:lnTo>
                  <a:lnTo>
                    <a:pt x="586" y="1378"/>
                  </a:lnTo>
                  <a:lnTo>
                    <a:pt x="584" y="1378"/>
                  </a:lnTo>
                  <a:lnTo>
                    <a:pt x="584" y="1380"/>
                  </a:lnTo>
                  <a:lnTo>
                    <a:pt x="584" y="1378"/>
                  </a:lnTo>
                  <a:lnTo>
                    <a:pt x="584" y="1380"/>
                  </a:lnTo>
                  <a:lnTo>
                    <a:pt x="583" y="1380"/>
                  </a:lnTo>
                  <a:lnTo>
                    <a:pt x="583" y="1381"/>
                  </a:lnTo>
                  <a:lnTo>
                    <a:pt x="583" y="1380"/>
                  </a:lnTo>
                  <a:lnTo>
                    <a:pt x="583" y="1378"/>
                  </a:lnTo>
                  <a:close/>
                  <a:moveTo>
                    <a:pt x="430" y="1084"/>
                  </a:moveTo>
                  <a:lnTo>
                    <a:pt x="430" y="1085"/>
                  </a:lnTo>
                  <a:lnTo>
                    <a:pt x="428" y="1085"/>
                  </a:lnTo>
                  <a:lnTo>
                    <a:pt x="430" y="1087"/>
                  </a:lnTo>
                  <a:lnTo>
                    <a:pt x="428" y="1087"/>
                  </a:lnTo>
                  <a:lnTo>
                    <a:pt x="430" y="1087"/>
                  </a:lnTo>
                  <a:lnTo>
                    <a:pt x="428" y="1087"/>
                  </a:lnTo>
                  <a:lnTo>
                    <a:pt x="426" y="1087"/>
                  </a:lnTo>
                  <a:lnTo>
                    <a:pt x="426" y="1085"/>
                  </a:lnTo>
                  <a:lnTo>
                    <a:pt x="428" y="1085"/>
                  </a:lnTo>
                  <a:lnTo>
                    <a:pt x="426" y="1085"/>
                  </a:lnTo>
                  <a:lnTo>
                    <a:pt x="426" y="1084"/>
                  </a:lnTo>
                  <a:lnTo>
                    <a:pt x="428" y="1084"/>
                  </a:lnTo>
                  <a:lnTo>
                    <a:pt x="430" y="1084"/>
                  </a:lnTo>
                  <a:close/>
                  <a:moveTo>
                    <a:pt x="588" y="1328"/>
                  </a:moveTo>
                  <a:lnTo>
                    <a:pt x="589" y="1328"/>
                  </a:lnTo>
                  <a:lnTo>
                    <a:pt x="591" y="1328"/>
                  </a:lnTo>
                  <a:lnTo>
                    <a:pt x="591" y="1329"/>
                  </a:lnTo>
                  <a:lnTo>
                    <a:pt x="592" y="1329"/>
                  </a:lnTo>
                  <a:lnTo>
                    <a:pt x="591" y="1329"/>
                  </a:lnTo>
                  <a:lnTo>
                    <a:pt x="591" y="1331"/>
                  </a:lnTo>
                  <a:lnTo>
                    <a:pt x="591" y="1329"/>
                  </a:lnTo>
                  <a:lnTo>
                    <a:pt x="591" y="1331"/>
                  </a:lnTo>
                  <a:lnTo>
                    <a:pt x="589" y="1329"/>
                  </a:lnTo>
                  <a:lnTo>
                    <a:pt x="589" y="1331"/>
                  </a:lnTo>
                  <a:lnTo>
                    <a:pt x="589" y="1329"/>
                  </a:lnTo>
                  <a:lnTo>
                    <a:pt x="589" y="1331"/>
                  </a:lnTo>
                  <a:lnTo>
                    <a:pt x="589" y="1329"/>
                  </a:lnTo>
                  <a:lnTo>
                    <a:pt x="588" y="1329"/>
                  </a:lnTo>
                  <a:lnTo>
                    <a:pt x="588" y="1328"/>
                  </a:lnTo>
                  <a:close/>
                  <a:moveTo>
                    <a:pt x="505" y="832"/>
                  </a:moveTo>
                  <a:lnTo>
                    <a:pt x="506" y="835"/>
                  </a:lnTo>
                  <a:lnTo>
                    <a:pt x="505" y="835"/>
                  </a:lnTo>
                  <a:lnTo>
                    <a:pt x="505" y="833"/>
                  </a:lnTo>
                  <a:lnTo>
                    <a:pt x="503" y="833"/>
                  </a:lnTo>
                  <a:lnTo>
                    <a:pt x="505" y="833"/>
                  </a:lnTo>
                  <a:lnTo>
                    <a:pt x="505" y="832"/>
                  </a:lnTo>
                  <a:close/>
                  <a:moveTo>
                    <a:pt x="631" y="547"/>
                  </a:moveTo>
                  <a:lnTo>
                    <a:pt x="633" y="547"/>
                  </a:lnTo>
                  <a:lnTo>
                    <a:pt x="633" y="549"/>
                  </a:lnTo>
                  <a:lnTo>
                    <a:pt x="631" y="549"/>
                  </a:lnTo>
                  <a:lnTo>
                    <a:pt x="631" y="550"/>
                  </a:lnTo>
                  <a:lnTo>
                    <a:pt x="631" y="549"/>
                  </a:lnTo>
                  <a:lnTo>
                    <a:pt x="630" y="547"/>
                  </a:lnTo>
                  <a:lnTo>
                    <a:pt x="631" y="547"/>
                  </a:lnTo>
                  <a:close/>
                  <a:moveTo>
                    <a:pt x="557" y="1276"/>
                  </a:moveTo>
                  <a:lnTo>
                    <a:pt x="558" y="1276"/>
                  </a:lnTo>
                  <a:lnTo>
                    <a:pt x="558" y="1277"/>
                  </a:lnTo>
                  <a:lnTo>
                    <a:pt x="558" y="1279"/>
                  </a:lnTo>
                  <a:lnTo>
                    <a:pt x="557" y="1279"/>
                  </a:lnTo>
                  <a:lnTo>
                    <a:pt x="557" y="1277"/>
                  </a:lnTo>
                  <a:lnTo>
                    <a:pt x="557" y="1276"/>
                  </a:lnTo>
                  <a:close/>
                  <a:moveTo>
                    <a:pt x="17" y="1507"/>
                  </a:moveTo>
                  <a:lnTo>
                    <a:pt x="17" y="1505"/>
                  </a:lnTo>
                  <a:lnTo>
                    <a:pt x="17" y="1503"/>
                  </a:lnTo>
                  <a:lnTo>
                    <a:pt x="18" y="1505"/>
                  </a:lnTo>
                  <a:lnTo>
                    <a:pt x="18" y="1503"/>
                  </a:lnTo>
                  <a:lnTo>
                    <a:pt x="18" y="1505"/>
                  </a:lnTo>
                  <a:lnTo>
                    <a:pt x="18" y="1507"/>
                  </a:lnTo>
                  <a:lnTo>
                    <a:pt x="17" y="1507"/>
                  </a:lnTo>
                  <a:lnTo>
                    <a:pt x="17" y="1508"/>
                  </a:lnTo>
                  <a:lnTo>
                    <a:pt x="17" y="1507"/>
                  </a:lnTo>
                  <a:lnTo>
                    <a:pt x="17" y="1508"/>
                  </a:lnTo>
                  <a:lnTo>
                    <a:pt x="15" y="1507"/>
                  </a:lnTo>
                  <a:lnTo>
                    <a:pt x="17" y="1507"/>
                  </a:lnTo>
                  <a:close/>
                  <a:moveTo>
                    <a:pt x="618" y="763"/>
                  </a:moveTo>
                  <a:lnTo>
                    <a:pt x="618" y="765"/>
                  </a:lnTo>
                  <a:lnTo>
                    <a:pt x="620" y="765"/>
                  </a:lnTo>
                  <a:lnTo>
                    <a:pt x="618" y="767"/>
                  </a:lnTo>
                  <a:lnTo>
                    <a:pt x="618" y="765"/>
                  </a:lnTo>
                  <a:lnTo>
                    <a:pt x="618" y="767"/>
                  </a:lnTo>
                  <a:lnTo>
                    <a:pt x="618" y="768"/>
                  </a:lnTo>
                  <a:lnTo>
                    <a:pt x="617" y="768"/>
                  </a:lnTo>
                  <a:lnTo>
                    <a:pt x="617" y="767"/>
                  </a:lnTo>
                  <a:lnTo>
                    <a:pt x="617" y="765"/>
                  </a:lnTo>
                  <a:lnTo>
                    <a:pt x="618" y="765"/>
                  </a:lnTo>
                  <a:lnTo>
                    <a:pt x="617" y="765"/>
                  </a:lnTo>
                  <a:lnTo>
                    <a:pt x="617" y="767"/>
                  </a:lnTo>
                  <a:lnTo>
                    <a:pt x="618" y="767"/>
                  </a:lnTo>
                  <a:lnTo>
                    <a:pt x="618" y="765"/>
                  </a:lnTo>
                  <a:lnTo>
                    <a:pt x="617" y="765"/>
                  </a:lnTo>
                  <a:lnTo>
                    <a:pt x="618" y="765"/>
                  </a:lnTo>
                  <a:lnTo>
                    <a:pt x="618" y="763"/>
                  </a:lnTo>
                  <a:close/>
                  <a:moveTo>
                    <a:pt x="392" y="1877"/>
                  </a:moveTo>
                  <a:lnTo>
                    <a:pt x="392" y="1879"/>
                  </a:lnTo>
                  <a:lnTo>
                    <a:pt x="392" y="1877"/>
                  </a:lnTo>
                  <a:lnTo>
                    <a:pt x="391" y="1877"/>
                  </a:lnTo>
                  <a:lnTo>
                    <a:pt x="391" y="1879"/>
                  </a:lnTo>
                  <a:lnTo>
                    <a:pt x="392" y="1879"/>
                  </a:lnTo>
                  <a:lnTo>
                    <a:pt x="391" y="1879"/>
                  </a:lnTo>
                  <a:lnTo>
                    <a:pt x="391" y="1881"/>
                  </a:lnTo>
                  <a:lnTo>
                    <a:pt x="389" y="1881"/>
                  </a:lnTo>
                  <a:lnTo>
                    <a:pt x="389" y="1879"/>
                  </a:lnTo>
                  <a:lnTo>
                    <a:pt x="389" y="1877"/>
                  </a:lnTo>
                  <a:lnTo>
                    <a:pt x="391" y="1877"/>
                  </a:lnTo>
                  <a:lnTo>
                    <a:pt x="392" y="1876"/>
                  </a:lnTo>
                  <a:lnTo>
                    <a:pt x="392" y="1877"/>
                  </a:lnTo>
                  <a:close/>
                  <a:moveTo>
                    <a:pt x="436" y="1616"/>
                  </a:moveTo>
                  <a:lnTo>
                    <a:pt x="438" y="1616"/>
                  </a:lnTo>
                  <a:lnTo>
                    <a:pt x="438" y="1617"/>
                  </a:lnTo>
                  <a:lnTo>
                    <a:pt x="438" y="1619"/>
                  </a:lnTo>
                  <a:lnTo>
                    <a:pt x="440" y="1619"/>
                  </a:lnTo>
                  <a:lnTo>
                    <a:pt x="441" y="1620"/>
                  </a:lnTo>
                  <a:lnTo>
                    <a:pt x="440" y="1620"/>
                  </a:lnTo>
                  <a:lnTo>
                    <a:pt x="438" y="1620"/>
                  </a:lnTo>
                  <a:lnTo>
                    <a:pt x="438" y="1619"/>
                  </a:lnTo>
                  <a:lnTo>
                    <a:pt x="438" y="1617"/>
                  </a:lnTo>
                  <a:lnTo>
                    <a:pt x="436" y="1617"/>
                  </a:lnTo>
                  <a:lnTo>
                    <a:pt x="436" y="1616"/>
                  </a:lnTo>
                  <a:close/>
                  <a:moveTo>
                    <a:pt x="521" y="1459"/>
                  </a:moveTo>
                  <a:lnTo>
                    <a:pt x="521" y="1461"/>
                  </a:lnTo>
                  <a:lnTo>
                    <a:pt x="522" y="1461"/>
                  </a:lnTo>
                  <a:lnTo>
                    <a:pt x="521" y="1461"/>
                  </a:lnTo>
                  <a:lnTo>
                    <a:pt x="521" y="1463"/>
                  </a:lnTo>
                  <a:lnTo>
                    <a:pt x="521" y="1464"/>
                  </a:lnTo>
                  <a:lnTo>
                    <a:pt x="521" y="1466"/>
                  </a:lnTo>
                  <a:lnTo>
                    <a:pt x="519" y="1464"/>
                  </a:lnTo>
                  <a:lnTo>
                    <a:pt x="521" y="1464"/>
                  </a:lnTo>
                  <a:lnTo>
                    <a:pt x="521" y="1463"/>
                  </a:lnTo>
                  <a:lnTo>
                    <a:pt x="519" y="1463"/>
                  </a:lnTo>
                  <a:lnTo>
                    <a:pt x="519" y="1461"/>
                  </a:lnTo>
                  <a:lnTo>
                    <a:pt x="519" y="1459"/>
                  </a:lnTo>
                  <a:lnTo>
                    <a:pt x="521" y="1458"/>
                  </a:lnTo>
                  <a:lnTo>
                    <a:pt x="521" y="1459"/>
                  </a:lnTo>
                  <a:close/>
                  <a:moveTo>
                    <a:pt x="563" y="1352"/>
                  </a:moveTo>
                  <a:lnTo>
                    <a:pt x="563" y="1354"/>
                  </a:lnTo>
                  <a:lnTo>
                    <a:pt x="563" y="1352"/>
                  </a:lnTo>
                  <a:lnTo>
                    <a:pt x="565" y="1352"/>
                  </a:lnTo>
                  <a:lnTo>
                    <a:pt x="563" y="1354"/>
                  </a:lnTo>
                  <a:lnTo>
                    <a:pt x="563" y="1355"/>
                  </a:lnTo>
                  <a:lnTo>
                    <a:pt x="561" y="1355"/>
                  </a:lnTo>
                  <a:lnTo>
                    <a:pt x="561" y="1357"/>
                  </a:lnTo>
                  <a:lnTo>
                    <a:pt x="560" y="1355"/>
                  </a:lnTo>
                  <a:lnTo>
                    <a:pt x="561" y="1355"/>
                  </a:lnTo>
                  <a:lnTo>
                    <a:pt x="561" y="1354"/>
                  </a:lnTo>
                  <a:lnTo>
                    <a:pt x="561" y="1355"/>
                  </a:lnTo>
                  <a:lnTo>
                    <a:pt x="561" y="1354"/>
                  </a:lnTo>
                  <a:lnTo>
                    <a:pt x="563" y="1354"/>
                  </a:lnTo>
                  <a:lnTo>
                    <a:pt x="561" y="1354"/>
                  </a:lnTo>
                  <a:lnTo>
                    <a:pt x="561" y="1352"/>
                  </a:lnTo>
                  <a:lnTo>
                    <a:pt x="563" y="1352"/>
                  </a:lnTo>
                  <a:close/>
                  <a:moveTo>
                    <a:pt x="540" y="799"/>
                  </a:moveTo>
                  <a:lnTo>
                    <a:pt x="539" y="797"/>
                  </a:lnTo>
                  <a:lnTo>
                    <a:pt x="540" y="797"/>
                  </a:lnTo>
                  <a:lnTo>
                    <a:pt x="540" y="799"/>
                  </a:lnTo>
                  <a:lnTo>
                    <a:pt x="542" y="799"/>
                  </a:lnTo>
                  <a:lnTo>
                    <a:pt x="542" y="801"/>
                  </a:lnTo>
                  <a:lnTo>
                    <a:pt x="544" y="801"/>
                  </a:lnTo>
                  <a:lnTo>
                    <a:pt x="542" y="801"/>
                  </a:lnTo>
                  <a:lnTo>
                    <a:pt x="542" y="802"/>
                  </a:lnTo>
                  <a:lnTo>
                    <a:pt x="542" y="801"/>
                  </a:lnTo>
                  <a:lnTo>
                    <a:pt x="540" y="801"/>
                  </a:lnTo>
                  <a:lnTo>
                    <a:pt x="540" y="799"/>
                  </a:lnTo>
                  <a:close/>
                  <a:moveTo>
                    <a:pt x="64" y="1606"/>
                  </a:moveTo>
                  <a:lnTo>
                    <a:pt x="65" y="1606"/>
                  </a:lnTo>
                  <a:lnTo>
                    <a:pt x="65" y="1607"/>
                  </a:lnTo>
                  <a:lnTo>
                    <a:pt x="64" y="1607"/>
                  </a:lnTo>
                  <a:lnTo>
                    <a:pt x="64" y="1609"/>
                  </a:lnTo>
                  <a:lnTo>
                    <a:pt x="62" y="1607"/>
                  </a:lnTo>
                  <a:lnTo>
                    <a:pt x="62" y="1606"/>
                  </a:lnTo>
                  <a:lnTo>
                    <a:pt x="62" y="1604"/>
                  </a:lnTo>
                  <a:lnTo>
                    <a:pt x="64" y="1606"/>
                  </a:lnTo>
                  <a:close/>
                  <a:moveTo>
                    <a:pt x="727" y="440"/>
                  </a:moveTo>
                  <a:lnTo>
                    <a:pt x="729" y="440"/>
                  </a:lnTo>
                  <a:lnTo>
                    <a:pt x="729" y="441"/>
                  </a:lnTo>
                  <a:lnTo>
                    <a:pt x="727" y="441"/>
                  </a:lnTo>
                  <a:lnTo>
                    <a:pt x="727" y="440"/>
                  </a:lnTo>
                  <a:lnTo>
                    <a:pt x="726" y="440"/>
                  </a:lnTo>
                  <a:lnTo>
                    <a:pt x="727" y="440"/>
                  </a:lnTo>
                  <a:lnTo>
                    <a:pt x="727" y="438"/>
                  </a:lnTo>
                  <a:lnTo>
                    <a:pt x="726" y="438"/>
                  </a:lnTo>
                  <a:lnTo>
                    <a:pt x="726" y="436"/>
                  </a:lnTo>
                  <a:lnTo>
                    <a:pt x="727" y="436"/>
                  </a:lnTo>
                  <a:lnTo>
                    <a:pt x="727" y="438"/>
                  </a:lnTo>
                  <a:lnTo>
                    <a:pt x="727" y="440"/>
                  </a:lnTo>
                  <a:close/>
                  <a:moveTo>
                    <a:pt x="470" y="910"/>
                  </a:moveTo>
                  <a:lnTo>
                    <a:pt x="469" y="910"/>
                  </a:lnTo>
                  <a:lnTo>
                    <a:pt x="470" y="910"/>
                  </a:lnTo>
                  <a:lnTo>
                    <a:pt x="469" y="908"/>
                  </a:lnTo>
                  <a:lnTo>
                    <a:pt x="470" y="906"/>
                  </a:lnTo>
                  <a:lnTo>
                    <a:pt x="470" y="905"/>
                  </a:lnTo>
                  <a:lnTo>
                    <a:pt x="472" y="905"/>
                  </a:lnTo>
                  <a:lnTo>
                    <a:pt x="472" y="906"/>
                  </a:lnTo>
                  <a:lnTo>
                    <a:pt x="470" y="908"/>
                  </a:lnTo>
                  <a:lnTo>
                    <a:pt x="470" y="910"/>
                  </a:lnTo>
                  <a:close/>
                  <a:moveTo>
                    <a:pt x="20" y="1526"/>
                  </a:moveTo>
                  <a:lnTo>
                    <a:pt x="22" y="1526"/>
                  </a:lnTo>
                  <a:lnTo>
                    <a:pt x="22" y="1524"/>
                  </a:lnTo>
                  <a:lnTo>
                    <a:pt x="22" y="1526"/>
                  </a:lnTo>
                  <a:lnTo>
                    <a:pt x="23" y="1526"/>
                  </a:lnTo>
                  <a:lnTo>
                    <a:pt x="23" y="1528"/>
                  </a:lnTo>
                  <a:lnTo>
                    <a:pt x="23" y="1526"/>
                  </a:lnTo>
                  <a:lnTo>
                    <a:pt x="22" y="1526"/>
                  </a:lnTo>
                  <a:lnTo>
                    <a:pt x="22" y="1528"/>
                  </a:lnTo>
                  <a:lnTo>
                    <a:pt x="22" y="1529"/>
                  </a:lnTo>
                  <a:lnTo>
                    <a:pt x="20" y="1529"/>
                  </a:lnTo>
                  <a:lnTo>
                    <a:pt x="20" y="1528"/>
                  </a:lnTo>
                  <a:lnTo>
                    <a:pt x="20" y="1526"/>
                  </a:lnTo>
                  <a:close/>
                  <a:moveTo>
                    <a:pt x="438" y="1141"/>
                  </a:moveTo>
                  <a:lnTo>
                    <a:pt x="438" y="1142"/>
                  </a:lnTo>
                  <a:lnTo>
                    <a:pt x="438" y="1144"/>
                  </a:lnTo>
                  <a:lnTo>
                    <a:pt x="438" y="1145"/>
                  </a:lnTo>
                  <a:lnTo>
                    <a:pt x="436" y="1145"/>
                  </a:lnTo>
                  <a:lnTo>
                    <a:pt x="436" y="1144"/>
                  </a:lnTo>
                  <a:lnTo>
                    <a:pt x="436" y="1142"/>
                  </a:lnTo>
                  <a:lnTo>
                    <a:pt x="438" y="1141"/>
                  </a:lnTo>
                  <a:close/>
                  <a:moveTo>
                    <a:pt x="602" y="1372"/>
                  </a:moveTo>
                  <a:lnTo>
                    <a:pt x="602" y="1373"/>
                  </a:lnTo>
                  <a:lnTo>
                    <a:pt x="602" y="1375"/>
                  </a:lnTo>
                  <a:lnTo>
                    <a:pt x="601" y="1373"/>
                  </a:lnTo>
                  <a:lnTo>
                    <a:pt x="601" y="1375"/>
                  </a:lnTo>
                  <a:lnTo>
                    <a:pt x="601" y="1373"/>
                  </a:lnTo>
                  <a:lnTo>
                    <a:pt x="601" y="1372"/>
                  </a:lnTo>
                  <a:lnTo>
                    <a:pt x="601" y="1373"/>
                  </a:lnTo>
                  <a:lnTo>
                    <a:pt x="602" y="1373"/>
                  </a:lnTo>
                  <a:lnTo>
                    <a:pt x="602" y="1372"/>
                  </a:lnTo>
                  <a:lnTo>
                    <a:pt x="601" y="1372"/>
                  </a:lnTo>
                  <a:lnTo>
                    <a:pt x="602" y="1370"/>
                  </a:lnTo>
                  <a:lnTo>
                    <a:pt x="602" y="1372"/>
                  </a:lnTo>
                  <a:close/>
                  <a:moveTo>
                    <a:pt x="35" y="1586"/>
                  </a:moveTo>
                  <a:lnTo>
                    <a:pt x="36" y="1586"/>
                  </a:lnTo>
                  <a:lnTo>
                    <a:pt x="36" y="1588"/>
                  </a:lnTo>
                  <a:lnTo>
                    <a:pt x="35" y="1588"/>
                  </a:lnTo>
                  <a:lnTo>
                    <a:pt x="35" y="1590"/>
                  </a:lnTo>
                  <a:lnTo>
                    <a:pt x="33" y="1588"/>
                  </a:lnTo>
                  <a:lnTo>
                    <a:pt x="33" y="1586"/>
                  </a:lnTo>
                  <a:lnTo>
                    <a:pt x="33" y="1588"/>
                  </a:lnTo>
                  <a:lnTo>
                    <a:pt x="33" y="1586"/>
                  </a:lnTo>
                  <a:lnTo>
                    <a:pt x="33" y="1585"/>
                  </a:lnTo>
                  <a:lnTo>
                    <a:pt x="35" y="1586"/>
                  </a:lnTo>
                  <a:close/>
                  <a:moveTo>
                    <a:pt x="441" y="1061"/>
                  </a:moveTo>
                  <a:lnTo>
                    <a:pt x="443" y="1059"/>
                  </a:lnTo>
                  <a:lnTo>
                    <a:pt x="444" y="1059"/>
                  </a:lnTo>
                  <a:lnTo>
                    <a:pt x="444" y="1061"/>
                  </a:lnTo>
                  <a:lnTo>
                    <a:pt x="443" y="1061"/>
                  </a:lnTo>
                  <a:lnTo>
                    <a:pt x="444" y="1061"/>
                  </a:lnTo>
                  <a:lnTo>
                    <a:pt x="443" y="1061"/>
                  </a:lnTo>
                  <a:lnTo>
                    <a:pt x="443" y="1063"/>
                  </a:lnTo>
                  <a:lnTo>
                    <a:pt x="441" y="1063"/>
                  </a:lnTo>
                  <a:lnTo>
                    <a:pt x="443" y="1061"/>
                  </a:lnTo>
                  <a:lnTo>
                    <a:pt x="441" y="1061"/>
                  </a:lnTo>
                  <a:close/>
                  <a:moveTo>
                    <a:pt x="495" y="851"/>
                  </a:moveTo>
                  <a:lnTo>
                    <a:pt x="495" y="853"/>
                  </a:lnTo>
                  <a:lnTo>
                    <a:pt x="493" y="853"/>
                  </a:lnTo>
                  <a:lnTo>
                    <a:pt x="492" y="851"/>
                  </a:lnTo>
                  <a:lnTo>
                    <a:pt x="492" y="849"/>
                  </a:lnTo>
                  <a:lnTo>
                    <a:pt x="493" y="849"/>
                  </a:lnTo>
                  <a:lnTo>
                    <a:pt x="495" y="851"/>
                  </a:lnTo>
                  <a:close/>
                  <a:moveTo>
                    <a:pt x="636" y="540"/>
                  </a:moveTo>
                  <a:lnTo>
                    <a:pt x="636" y="542"/>
                  </a:lnTo>
                  <a:lnTo>
                    <a:pt x="638" y="542"/>
                  </a:lnTo>
                  <a:lnTo>
                    <a:pt x="636" y="542"/>
                  </a:lnTo>
                  <a:lnTo>
                    <a:pt x="635" y="540"/>
                  </a:lnTo>
                  <a:lnTo>
                    <a:pt x="635" y="539"/>
                  </a:lnTo>
                  <a:lnTo>
                    <a:pt x="636" y="539"/>
                  </a:lnTo>
                  <a:lnTo>
                    <a:pt x="636" y="540"/>
                  </a:lnTo>
                  <a:close/>
                  <a:moveTo>
                    <a:pt x="508" y="838"/>
                  </a:moveTo>
                  <a:lnTo>
                    <a:pt x="508" y="836"/>
                  </a:lnTo>
                  <a:lnTo>
                    <a:pt x="509" y="838"/>
                  </a:lnTo>
                  <a:lnTo>
                    <a:pt x="509" y="836"/>
                  </a:lnTo>
                  <a:lnTo>
                    <a:pt x="509" y="838"/>
                  </a:lnTo>
                  <a:lnTo>
                    <a:pt x="509" y="840"/>
                  </a:lnTo>
                  <a:lnTo>
                    <a:pt x="508" y="840"/>
                  </a:lnTo>
                  <a:lnTo>
                    <a:pt x="508" y="838"/>
                  </a:lnTo>
                  <a:close/>
                  <a:moveTo>
                    <a:pt x="646" y="531"/>
                  </a:moveTo>
                  <a:lnTo>
                    <a:pt x="648" y="531"/>
                  </a:lnTo>
                  <a:lnTo>
                    <a:pt x="649" y="532"/>
                  </a:lnTo>
                  <a:lnTo>
                    <a:pt x="649" y="531"/>
                  </a:lnTo>
                  <a:lnTo>
                    <a:pt x="651" y="531"/>
                  </a:lnTo>
                  <a:lnTo>
                    <a:pt x="651" y="532"/>
                  </a:lnTo>
                  <a:lnTo>
                    <a:pt x="649" y="532"/>
                  </a:lnTo>
                  <a:lnTo>
                    <a:pt x="648" y="532"/>
                  </a:lnTo>
                  <a:lnTo>
                    <a:pt x="649" y="532"/>
                  </a:lnTo>
                  <a:lnTo>
                    <a:pt x="648" y="532"/>
                  </a:lnTo>
                  <a:lnTo>
                    <a:pt x="648" y="531"/>
                  </a:lnTo>
                  <a:lnTo>
                    <a:pt x="646" y="531"/>
                  </a:lnTo>
                  <a:lnTo>
                    <a:pt x="646" y="529"/>
                  </a:lnTo>
                  <a:lnTo>
                    <a:pt x="646" y="531"/>
                  </a:lnTo>
                  <a:close/>
                  <a:moveTo>
                    <a:pt x="558" y="1433"/>
                  </a:moveTo>
                  <a:lnTo>
                    <a:pt x="560" y="1433"/>
                  </a:lnTo>
                  <a:lnTo>
                    <a:pt x="560" y="1435"/>
                  </a:lnTo>
                  <a:lnTo>
                    <a:pt x="560" y="1437"/>
                  </a:lnTo>
                  <a:lnTo>
                    <a:pt x="558" y="1437"/>
                  </a:lnTo>
                  <a:lnTo>
                    <a:pt x="558" y="1435"/>
                  </a:lnTo>
                  <a:lnTo>
                    <a:pt x="558" y="1433"/>
                  </a:lnTo>
                  <a:lnTo>
                    <a:pt x="558" y="1432"/>
                  </a:lnTo>
                  <a:lnTo>
                    <a:pt x="558" y="1433"/>
                  </a:lnTo>
                  <a:lnTo>
                    <a:pt x="560" y="1432"/>
                  </a:lnTo>
                  <a:lnTo>
                    <a:pt x="558" y="1433"/>
                  </a:lnTo>
                  <a:close/>
                  <a:moveTo>
                    <a:pt x="688" y="477"/>
                  </a:moveTo>
                  <a:lnTo>
                    <a:pt x="687" y="477"/>
                  </a:lnTo>
                  <a:lnTo>
                    <a:pt x="685" y="477"/>
                  </a:lnTo>
                  <a:lnTo>
                    <a:pt x="687" y="475"/>
                  </a:lnTo>
                  <a:lnTo>
                    <a:pt x="688" y="475"/>
                  </a:lnTo>
                  <a:lnTo>
                    <a:pt x="688" y="477"/>
                  </a:lnTo>
                  <a:close/>
                  <a:moveTo>
                    <a:pt x="755" y="438"/>
                  </a:moveTo>
                  <a:lnTo>
                    <a:pt x="755" y="436"/>
                  </a:lnTo>
                  <a:lnTo>
                    <a:pt x="755" y="438"/>
                  </a:lnTo>
                  <a:lnTo>
                    <a:pt x="757" y="438"/>
                  </a:lnTo>
                  <a:lnTo>
                    <a:pt x="758" y="438"/>
                  </a:lnTo>
                  <a:lnTo>
                    <a:pt x="757" y="438"/>
                  </a:lnTo>
                  <a:lnTo>
                    <a:pt x="758" y="438"/>
                  </a:lnTo>
                  <a:lnTo>
                    <a:pt x="757" y="438"/>
                  </a:lnTo>
                  <a:lnTo>
                    <a:pt x="757" y="440"/>
                  </a:lnTo>
                  <a:lnTo>
                    <a:pt x="755" y="440"/>
                  </a:lnTo>
                  <a:lnTo>
                    <a:pt x="755" y="438"/>
                  </a:lnTo>
                  <a:close/>
                  <a:moveTo>
                    <a:pt x="745" y="446"/>
                  </a:moveTo>
                  <a:lnTo>
                    <a:pt x="745" y="445"/>
                  </a:lnTo>
                  <a:lnTo>
                    <a:pt x="747" y="446"/>
                  </a:lnTo>
                  <a:lnTo>
                    <a:pt x="749" y="448"/>
                  </a:lnTo>
                  <a:lnTo>
                    <a:pt x="747" y="448"/>
                  </a:lnTo>
                  <a:lnTo>
                    <a:pt x="749" y="448"/>
                  </a:lnTo>
                  <a:lnTo>
                    <a:pt x="747" y="448"/>
                  </a:lnTo>
                  <a:lnTo>
                    <a:pt x="745" y="448"/>
                  </a:lnTo>
                  <a:lnTo>
                    <a:pt x="745" y="446"/>
                  </a:lnTo>
                  <a:close/>
                  <a:moveTo>
                    <a:pt x="438" y="1694"/>
                  </a:moveTo>
                  <a:lnTo>
                    <a:pt x="440" y="1694"/>
                  </a:lnTo>
                  <a:lnTo>
                    <a:pt x="440" y="1695"/>
                  </a:lnTo>
                  <a:lnTo>
                    <a:pt x="440" y="1697"/>
                  </a:lnTo>
                  <a:lnTo>
                    <a:pt x="440" y="1695"/>
                  </a:lnTo>
                  <a:lnTo>
                    <a:pt x="440" y="1697"/>
                  </a:lnTo>
                  <a:lnTo>
                    <a:pt x="440" y="1698"/>
                  </a:lnTo>
                  <a:lnTo>
                    <a:pt x="440" y="1697"/>
                  </a:lnTo>
                  <a:lnTo>
                    <a:pt x="438" y="1697"/>
                  </a:lnTo>
                  <a:lnTo>
                    <a:pt x="438" y="1695"/>
                  </a:lnTo>
                  <a:lnTo>
                    <a:pt x="438" y="1694"/>
                  </a:lnTo>
                  <a:lnTo>
                    <a:pt x="440" y="1695"/>
                  </a:lnTo>
                  <a:lnTo>
                    <a:pt x="438" y="1694"/>
                  </a:lnTo>
                  <a:close/>
                  <a:moveTo>
                    <a:pt x="703" y="451"/>
                  </a:moveTo>
                  <a:lnTo>
                    <a:pt x="705" y="451"/>
                  </a:lnTo>
                  <a:lnTo>
                    <a:pt x="705" y="453"/>
                  </a:lnTo>
                  <a:lnTo>
                    <a:pt x="703" y="453"/>
                  </a:lnTo>
                  <a:lnTo>
                    <a:pt x="703" y="451"/>
                  </a:lnTo>
                  <a:lnTo>
                    <a:pt x="701" y="451"/>
                  </a:lnTo>
                  <a:lnTo>
                    <a:pt x="703" y="451"/>
                  </a:lnTo>
                  <a:close/>
                  <a:moveTo>
                    <a:pt x="20" y="1502"/>
                  </a:moveTo>
                  <a:lnTo>
                    <a:pt x="20" y="1503"/>
                  </a:lnTo>
                  <a:lnTo>
                    <a:pt x="22" y="1503"/>
                  </a:lnTo>
                  <a:lnTo>
                    <a:pt x="20" y="1503"/>
                  </a:lnTo>
                  <a:lnTo>
                    <a:pt x="20" y="1505"/>
                  </a:lnTo>
                  <a:lnTo>
                    <a:pt x="22" y="1505"/>
                  </a:lnTo>
                  <a:lnTo>
                    <a:pt x="20" y="1505"/>
                  </a:lnTo>
                  <a:lnTo>
                    <a:pt x="18" y="1505"/>
                  </a:lnTo>
                  <a:lnTo>
                    <a:pt x="18" y="1503"/>
                  </a:lnTo>
                  <a:lnTo>
                    <a:pt x="20" y="1503"/>
                  </a:lnTo>
                  <a:lnTo>
                    <a:pt x="18" y="1503"/>
                  </a:lnTo>
                  <a:lnTo>
                    <a:pt x="18" y="1502"/>
                  </a:lnTo>
                  <a:lnTo>
                    <a:pt x="20" y="1502"/>
                  </a:lnTo>
                  <a:lnTo>
                    <a:pt x="20" y="1503"/>
                  </a:lnTo>
                  <a:lnTo>
                    <a:pt x="20" y="1502"/>
                  </a:lnTo>
                  <a:close/>
                  <a:moveTo>
                    <a:pt x="531" y="1437"/>
                  </a:moveTo>
                  <a:lnTo>
                    <a:pt x="532" y="1437"/>
                  </a:lnTo>
                  <a:lnTo>
                    <a:pt x="532" y="1435"/>
                  </a:lnTo>
                  <a:lnTo>
                    <a:pt x="532" y="1437"/>
                  </a:lnTo>
                  <a:lnTo>
                    <a:pt x="534" y="1437"/>
                  </a:lnTo>
                  <a:lnTo>
                    <a:pt x="534" y="1438"/>
                  </a:lnTo>
                  <a:lnTo>
                    <a:pt x="534" y="1437"/>
                  </a:lnTo>
                  <a:lnTo>
                    <a:pt x="532" y="1437"/>
                  </a:lnTo>
                  <a:lnTo>
                    <a:pt x="532" y="1438"/>
                  </a:lnTo>
                  <a:lnTo>
                    <a:pt x="531" y="1438"/>
                  </a:lnTo>
                  <a:lnTo>
                    <a:pt x="531" y="1437"/>
                  </a:lnTo>
                  <a:lnTo>
                    <a:pt x="531" y="1435"/>
                  </a:lnTo>
                  <a:lnTo>
                    <a:pt x="532" y="1435"/>
                  </a:lnTo>
                  <a:lnTo>
                    <a:pt x="531" y="1437"/>
                  </a:lnTo>
                  <a:close/>
                  <a:moveTo>
                    <a:pt x="688" y="445"/>
                  </a:moveTo>
                  <a:lnTo>
                    <a:pt x="688" y="446"/>
                  </a:lnTo>
                  <a:lnTo>
                    <a:pt x="690" y="446"/>
                  </a:lnTo>
                  <a:lnTo>
                    <a:pt x="688" y="446"/>
                  </a:lnTo>
                  <a:lnTo>
                    <a:pt x="688" y="448"/>
                  </a:lnTo>
                  <a:lnTo>
                    <a:pt x="690" y="448"/>
                  </a:lnTo>
                  <a:lnTo>
                    <a:pt x="688" y="448"/>
                  </a:lnTo>
                  <a:lnTo>
                    <a:pt x="688" y="446"/>
                  </a:lnTo>
                  <a:lnTo>
                    <a:pt x="687" y="446"/>
                  </a:lnTo>
                  <a:lnTo>
                    <a:pt x="687" y="445"/>
                  </a:lnTo>
                  <a:lnTo>
                    <a:pt x="687" y="446"/>
                  </a:lnTo>
                  <a:lnTo>
                    <a:pt x="687" y="445"/>
                  </a:lnTo>
                  <a:lnTo>
                    <a:pt x="688" y="445"/>
                  </a:lnTo>
                  <a:lnTo>
                    <a:pt x="688" y="446"/>
                  </a:lnTo>
                  <a:lnTo>
                    <a:pt x="688" y="445"/>
                  </a:lnTo>
                  <a:lnTo>
                    <a:pt x="688" y="443"/>
                  </a:lnTo>
                  <a:lnTo>
                    <a:pt x="688" y="445"/>
                  </a:lnTo>
                  <a:close/>
                  <a:moveTo>
                    <a:pt x="688" y="480"/>
                  </a:moveTo>
                  <a:lnTo>
                    <a:pt x="687" y="480"/>
                  </a:lnTo>
                  <a:lnTo>
                    <a:pt x="685" y="480"/>
                  </a:lnTo>
                  <a:lnTo>
                    <a:pt x="685" y="479"/>
                  </a:lnTo>
                  <a:lnTo>
                    <a:pt x="687" y="479"/>
                  </a:lnTo>
                  <a:lnTo>
                    <a:pt x="688" y="479"/>
                  </a:lnTo>
                  <a:lnTo>
                    <a:pt x="688" y="480"/>
                  </a:lnTo>
                  <a:close/>
                  <a:moveTo>
                    <a:pt x="545" y="1266"/>
                  </a:moveTo>
                  <a:lnTo>
                    <a:pt x="545" y="1264"/>
                  </a:lnTo>
                  <a:lnTo>
                    <a:pt x="547" y="1266"/>
                  </a:lnTo>
                  <a:lnTo>
                    <a:pt x="547" y="1267"/>
                  </a:lnTo>
                  <a:lnTo>
                    <a:pt x="548" y="1267"/>
                  </a:lnTo>
                  <a:lnTo>
                    <a:pt x="547" y="1267"/>
                  </a:lnTo>
                  <a:lnTo>
                    <a:pt x="547" y="1266"/>
                  </a:lnTo>
                  <a:lnTo>
                    <a:pt x="545" y="1266"/>
                  </a:lnTo>
                  <a:close/>
                  <a:moveTo>
                    <a:pt x="56" y="1633"/>
                  </a:moveTo>
                  <a:lnTo>
                    <a:pt x="54" y="1635"/>
                  </a:lnTo>
                  <a:lnTo>
                    <a:pt x="56" y="1635"/>
                  </a:lnTo>
                  <a:lnTo>
                    <a:pt x="56" y="1633"/>
                  </a:lnTo>
                  <a:lnTo>
                    <a:pt x="56" y="1635"/>
                  </a:lnTo>
                  <a:lnTo>
                    <a:pt x="56" y="1637"/>
                  </a:lnTo>
                  <a:lnTo>
                    <a:pt x="54" y="1637"/>
                  </a:lnTo>
                  <a:lnTo>
                    <a:pt x="54" y="1635"/>
                  </a:lnTo>
                  <a:lnTo>
                    <a:pt x="54" y="1633"/>
                  </a:lnTo>
                  <a:lnTo>
                    <a:pt x="54" y="1635"/>
                  </a:lnTo>
                  <a:lnTo>
                    <a:pt x="54" y="1633"/>
                  </a:lnTo>
                  <a:lnTo>
                    <a:pt x="56" y="1633"/>
                  </a:lnTo>
                  <a:close/>
                  <a:moveTo>
                    <a:pt x="490" y="861"/>
                  </a:moveTo>
                  <a:lnTo>
                    <a:pt x="492" y="859"/>
                  </a:lnTo>
                  <a:lnTo>
                    <a:pt x="493" y="861"/>
                  </a:lnTo>
                  <a:lnTo>
                    <a:pt x="492" y="861"/>
                  </a:lnTo>
                  <a:lnTo>
                    <a:pt x="492" y="862"/>
                  </a:lnTo>
                  <a:lnTo>
                    <a:pt x="492" y="864"/>
                  </a:lnTo>
                  <a:lnTo>
                    <a:pt x="492" y="862"/>
                  </a:lnTo>
                  <a:lnTo>
                    <a:pt x="490" y="862"/>
                  </a:lnTo>
                  <a:lnTo>
                    <a:pt x="490" y="861"/>
                  </a:lnTo>
                  <a:close/>
                  <a:moveTo>
                    <a:pt x="443" y="1724"/>
                  </a:moveTo>
                  <a:lnTo>
                    <a:pt x="443" y="1726"/>
                  </a:lnTo>
                  <a:lnTo>
                    <a:pt x="443" y="1724"/>
                  </a:lnTo>
                  <a:lnTo>
                    <a:pt x="444" y="1726"/>
                  </a:lnTo>
                  <a:lnTo>
                    <a:pt x="446" y="1726"/>
                  </a:lnTo>
                  <a:lnTo>
                    <a:pt x="448" y="1726"/>
                  </a:lnTo>
                  <a:lnTo>
                    <a:pt x="448" y="1728"/>
                  </a:lnTo>
                  <a:lnTo>
                    <a:pt x="446" y="1728"/>
                  </a:lnTo>
                  <a:lnTo>
                    <a:pt x="444" y="1728"/>
                  </a:lnTo>
                  <a:lnTo>
                    <a:pt x="446" y="1728"/>
                  </a:lnTo>
                  <a:lnTo>
                    <a:pt x="446" y="1726"/>
                  </a:lnTo>
                  <a:lnTo>
                    <a:pt x="444" y="1726"/>
                  </a:lnTo>
                  <a:lnTo>
                    <a:pt x="443" y="1726"/>
                  </a:lnTo>
                  <a:lnTo>
                    <a:pt x="443" y="1728"/>
                  </a:lnTo>
                  <a:lnTo>
                    <a:pt x="443" y="1726"/>
                  </a:lnTo>
                  <a:lnTo>
                    <a:pt x="443" y="1724"/>
                  </a:lnTo>
                  <a:lnTo>
                    <a:pt x="443" y="1726"/>
                  </a:lnTo>
                  <a:lnTo>
                    <a:pt x="443" y="1724"/>
                  </a:lnTo>
                  <a:close/>
                  <a:moveTo>
                    <a:pt x="664" y="453"/>
                  </a:moveTo>
                  <a:lnTo>
                    <a:pt x="664" y="451"/>
                  </a:lnTo>
                  <a:lnTo>
                    <a:pt x="666" y="453"/>
                  </a:lnTo>
                  <a:lnTo>
                    <a:pt x="664" y="453"/>
                  </a:lnTo>
                  <a:lnTo>
                    <a:pt x="666" y="453"/>
                  </a:lnTo>
                  <a:lnTo>
                    <a:pt x="666" y="454"/>
                  </a:lnTo>
                  <a:lnTo>
                    <a:pt x="664" y="454"/>
                  </a:lnTo>
                  <a:lnTo>
                    <a:pt x="662" y="454"/>
                  </a:lnTo>
                  <a:lnTo>
                    <a:pt x="662" y="453"/>
                  </a:lnTo>
                  <a:lnTo>
                    <a:pt x="664" y="453"/>
                  </a:lnTo>
                  <a:lnTo>
                    <a:pt x="662" y="453"/>
                  </a:lnTo>
                  <a:lnTo>
                    <a:pt x="664" y="453"/>
                  </a:lnTo>
                  <a:close/>
                  <a:moveTo>
                    <a:pt x="677" y="459"/>
                  </a:moveTo>
                  <a:lnTo>
                    <a:pt x="679" y="459"/>
                  </a:lnTo>
                  <a:lnTo>
                    <a:pt x="680" y="461"/>
                  </a:lnTo>
                  <a:lnTo>
                    <a:pt x="680" y="462"/>
                  </a:lnTo>
                  <a:lnTo>
                    <a:pt x="679" y="461"/>
                  </a:lnTo>
                  <a:lnTo>
                    <a:pt x="677" y="459"/>
                  </a:lnTo>
                  <a:close/>
                  <a:moveTo>
                    <a:pt x="132" y="1842"/>
                  </a:moveTo>
                  <a:lnTo>
                    <a:pt x="134" y="1842"/>
                  </a:lnTo>
                  <a:lnTo>
                    <a:pt x="134" y="1843"/>
                  </a:lnTo>
                  <a:lnTo>
                    <a:pt x="132" y="1843"/>
                  </a:lnTo>
                  <a:lnTo>
                    <a:pt x="132" y="1842"/>
                  </a:lnTo>
                  <a:lnTo>
                    <a:pt x="130" y="1842"/>
                  </a:lnTo>
                  <a:lnTo>
                    <a:pt x="130" y="1840"/>
                  </a:lnTo>
                  <a:lnTo>
                    <a:pt x="132" y="1840"/>
                  </a:lnTo>
                  <a:lnTo>
                    <a:pt x="132" y="1842"/>
                  </a:lnTo>
                  <a:close/>
                  <a:moveTo>
                    <a:pt x="690" y="480"/>
                  </a:moveTo>
                  <a:lnTo>
                    <a:pt x="690" y="482"/>
                  </a:lnTo>
                  <a:lnTo>
                    <a:pt x="690" y="484"/>
                  </a:lnTo>
                  <a:lnTo>
                    <a:pt x="690" y="482"/>
                  </a:lnTo>
                  <a:lnTo>
                    <a:pt x="690" y="484"/>
                  </a:lnTo>
                  <a:lnTo>
                    <a:pt x="688" y="484"/>
                  </a:lnTo>
                  <a:lnTo>
                    <a:pt x="688" y="482"/>
                  </a:lnTo>
                  <a:lnTo>
                    <a:pt x="688" y="480"/>
                  </a:lnTo>
                  <a:lnTo>
                    <a:pt x="690" y="480"/>
                  </a:lnTo>
                  <a:lnTo>
                    <a:pt x="688" y="480"/>
                  </a:lnTo>
                  <a:lnTo>
                    <a:pt x="690" y="480"/>
                  </a:lnTo>
                  <a:close/>
                  <a:moveTo>
                    <a:pt x="586" y="1324"/>
                  </a:moveTo>
                  <a:lnTo>
                    <a:pt x="588" y="1326"/>
                  </a:lnTo>
                  <a:lnTo>
                    <a:pt x="586" y="1326"/>
                  </a:lnTo>
                  <a:lnTo>
                    <a:pt x="584" y="1326"/>
                  </a:lnTo>
                  <a:lnTo>
                    <a:pt x="584" y="1324"/>
                  </a:lnTo>
                  <a:lnTo>
                    <a:pt x="586" y="1324"/>
                  </a:lnTo>
                  <a:lnTo>
                    <a:pt x="588" y="1323"/>
                  </a:lnTo>
                  <a:lnTo>
                    <a:pt x="588" y="1324"/>
                  </a:lnTo>
                  <a:lnTo>
                    <a:pt x="586" y="1324"/>
                  </a:lnTo>
                  <a:close/>
                  <a:moveTo>
                    <a:pt x="448" y="1544"/>
                  </a:moveTo>
                  <a:lnTo>
                    <a:pt x="448" y="1542"/>
                  </a:lnTo>
                  <a:lnTo>
                    <a:pt x="449" y="1542"/>
                  </a:lnTo>
                  <a:lnTo>
                    <a:pt x="449" y="1544"/>
                  </a:lnTo>
                  <a:lnTo>
                    <a:pt x="448" y="1546"/>
                  </a:lnTo>
                  <a:lnTo>
                    <a:pt x="449" y="1546"/>
                  </a:lnTo>
                  <a:lnTo>
                    <a:pt x="448" y="1546"/>
                  </a:lnTo>
                  <a:lnTo>
                    <a:pt x="449" y="1547"/>
                  </a:lnTo>
                  <a:lnTo>
                    <a:pt x="448" y="1547"/>
                  </a:lnTo>
                  <a:lnTo>
                    <a:pt x="446" y="1547"/>
                  </a:lnTo>
                  <a:lnTo>
                    <a:pt x="448" y="1547"/>
                  </a:lnTo>
                  <a:lnTo>
                    <a:pt x="448" y="1546"/>
                  </a:lnTo>
                  <a:lnTo>
                    <a:pt x="449" y="1544"/>
                  </a:lnTo>
                  <a:lnTo>
                    <a:pt x="448" y="1544"/>
                  </a:lnTo>
                  <a:lnTo>
                    <a:pt x="448" y="1546"/>
                  </a:lnTo>
                  <a:lnTo>
                    <a:pt x="448" y="1544"/>
                  </a:lnTo>
                  <a:close/>
                  <a:moveTo>
                    <a:pt x="666" y="479"/>
                  </a:moveTo>
                  <a:lnTo>
                    <a:pt x="667" y="479"/>
                  </a:lnTo>
                  <a:lnTo>
                    <a:pt x="667" y="480"/>
                  </a:lnTo>
                  <a:lnTo>
                    <a:pt x="667" y="479"/>
                  </a:lnTo>
                  <a:lnTo>
                    <a:pt x="667" y="480"/>
                  </a:lnTo>
                  <a:lnTo>
                    <a:pt x="669" y="480"/>
                  </a:lnTo>
                  <a:lnTo>
                    <a:pt x="667" y="482"/>
                  </a:lnTo>
                  <a:lnTo>
                    <a:pt x="667" y="480"/>
                  </a:lnTo>
                  <a:lnTo>
                    <a:pt x="666" y="479"/>
                  </a:lnTo>
                  <a:lnTo>
                    <a:pt x="664" y="479"/>
                  </a:lnTo>
                  <a:lnTo>
                    <a:pt x="664" y="477"/>
                  </a:lnTo>
                  <a:lnTo>
                    <a:pt x="666" y="477"/>
                  </a:lnTo>
                  <a:lnTo>
                    <a:pt x="666" y="479"/>
                  </a:lnTo>
                  <a:close/>
                  <a:moveTo>
                    <a:pt x="677" y="495"/>
                  </a:moveTo>
                  <a:lnTo>
                    <a:pt x="677" y="493"/>
                  </a:lnTo>
                  <a:lnTo>
                    <a:pt x="679" y="493"/>
                  </a:lnTo>
                  <a:lnTo>
                    <a:pt x="679" y="495"/>
                  </a:lnTo>
                  <a:lnTo>
                    <a:pt x="679" y="493"/>
                  </a:lnTo>
                  <a:lnTo>
                    <a:pt x="679" y="495"/>
                  </a:lnTo>
                  <a:lnTo>
                    <a:pt x="680" y="495"/>
                  </a:lnTo>
                  <a:lnTo>
                    <a:pt x="679" y="495"/>
                  </a:lnTo>
                  <a:lnTo>
                    <a:pt x="680" y="495"/>
                  </a:lnTo>
                  <a:lnTo>
                    <a:pt x="680" y="497"/>
                  </a:lnTo>
                  <a:lnTo>
                    <a:pt x="679" y="495"/>
                  </a:lnTo>
                  <a:lnTo>
                    <a:pt x="679" y="497"/>
                  </a:lnTo>
                  <a:lnTo>
                    <a:pt x="679" y="495"/>
                  </a:lnTo>
                  <a:lnTo>
                    <a:pt x="677" y="495"/>
                  </a:lnTo>
                  <a:close/>
                  <a:moveTo>
                    <a:pt x="651" y="500"/>
                  </a:moveTo>
                  <a:lnTo>
                    <a:pt x="651" y="498"/>
                  </a:lnTo>
                  <a:lnTo>
                    <a:pt x="653" y="498"/>
                  </a:lnTo>
                  <a:lnTo>
                    <a:pt x="653" y="500"/>
                  </a:lnTo>
                  <a:lnTo>
                    <a:pt x="651" y="501"/>
                  </a:lnTo>
                  <a:lnTo>
                    <a:pt x="651" y="500"/>
                  </a:lnTo>
                  <a:close/>
                  <a:moveTo>
                    <a:pt x="39" y="1611"/>
                  </a:moveTo>
                  <a:lnTo>
                    <a:pt x="41" y="1611"/>
                  </a:lnTo>
                  <a:lnTo>
                    <a:pt x="41" y="1612"/>
                  </a:lnTo>
                  <a:lnTo>
                    <a:pt x="43" y="1612"/>
                  </a:lnTo>
                  <a:lnTo>
                    <a:pt x="41" y="1612"/>
                  </a:lnTo>
                  <a:lnTo>
                    <a:pt x="39" y="1612"/>
                  </a:lnTo>
                  <a:lnTo>
                    <a:pt x="38" y="1612"/>
                  </a:lnTo>
                  <a:lnTo>
                    <a:pt x="39" y="1612"/>
                  </a:lnTo>
                  <a:lnTo>
                    <a:pt x="38" y="1611"/>
                  </a:lnTo>
                  <a:lnTo>
                    <a:pt x="39" y="1611"/>
                  </a:lnTo>
                  <a:close/>
                  <a:moveTo>
                    <a:pt x="570" y="1346"/>
                  </a:moveTo>
                  <a:lnTo>
                    <a:pt x="570" y="1344"/>
                  </a:lnTo>
                  <a:lnTo>
                    <a:pt x="571" y="1346"/>
                  </a:lnTo>
                  <a:lnTo>
                    <a:pt x="571" y="1344"/>
                  </a:lnTo>
                  <a:lnTo>
                    <a:pt x="571" y="1346"/>
                  </a:lnTo>
                  <a:lnTo>
                    <a:pt x="571" y="1344"/>
                  </a:lnTo>
                  <a:lnTo>
                    <a:pt x="573" y="1346"/>
                  </a:lnTo>
                  <a:lnTo>
                    <a:pt x="571" y="1346"/>
                  </a:lnTo>
                  <a:lnTo>
                    <a:pt x="573" y="1346"/>
                  </a:lnTo>
                  <a:lnTo>
                    <a:pt x="571" y="1346"/>
                  </a:lnTo>
                  <a:lnTo>
                    <a:pt x="571" y="1347"/>
                  </a:lnTo>
                  <a:lnTo>
                    <a:pt x="570" y="1347"/>
                  </a:lnTo>
                  <a:lnTo>
                    <a:pt x="570" y="1346"/>
                  </a:lnTo>
                  <a:lnTo>
                    <a:pt x="570" y="1347"/>
                  </a:lnTo>
                  <a:lnTo>
                    <a:pt x="570" y="1346"/>
                  </a:lnTo>
                  <a:close/>
                  <a:moveTo>
                    <a:pt x="379" y="1866"/>
                  </a:moveTo>
                  <a:lnTo>
                    <a:pt x="381" y="1866"/>
                  </a:lnTo>
                  <a:lnTo>
                    <a:pt x="381" y="1868"/>
                  </a:lnTo>
                  <a:lnTo>
                    <a:pt x="379" y="1868"/>
                  </a:lnTo>
                  <a:lnTo>
                    <a:pt x="381" y="1868"/>
                  </a:lnTo>
                  <a:lnTo>
                    <a:pt x="379" y="1868"/>
                  </a:lnTo>
                  <a:lnTo>
                    <a:pt x="379" y="1866"/>
                  </a:lnTo>
                  <a:close/>
                  <a:moveTo>
                    <a:pt x="501" y="849"/>
                  </a:moveTo>
                  <a:lnTo>
                    <a:pt x="503" y="849"/>
                  </a:lnTo>
                  <a:lnTo>
                    <a:pt x="503" y="851"/>
                  </a:lnTo>
                  <a:lnTo>
                    <a:pt x="501" y="851"/>
                  </a:lnTo>
                  <a:lnTo>
                    <a:pt x="501" y="849"/>
                  </a:lnTo>
                  <a:lnTo>
                    <a:pt x="500" y="851"/>
                  </a:lnTo>
                  <a:lnTo>
                    <a:pt x="500" y="849"/>
                  </a:lnTo>
                  <a:lnTo>
                    <a:pt x="501" y="849"/>
                  </a:lnTo>
                  <a:close/>
                  <a:moveTo>
                    <a:pt x="628" y="461"/>
                  </a:moveTo>
                  <a:lnTo>
                    <a:pt x="630" y="461"/>
                  </a:lnTo>
                  <a:lnTo>
                    <a:pt x="628" y="461"/>
                  </a:lnTo>
                  <a:lnTo>
                    <a:pt x="628" y="459"/>
                  </a:lnTo>
                  <a:lnTo>
                    <a:pt x="627" y="459"/>
                  </a:lnTo>
                  <a:lnTo>
                    <a:pt x="627" y="458"/>
                  </a:lnTo>
                  <a:lnTo>
                    <a:pt x="625" y="456"/>
                  </a:lnTo>
                  <a:lnTo>
                    <a:pt x="625" y="454"/>
                  </a:lnTo>
                  <a:lnTo>
                    <a:pt x="625" y="456"/>
                  </a:lnTo>
                  <a:lnTo>
                    <a:pt x="627" y="458"/>
                  </a:lnTo>
                  <a:lnTo>
                    <a:pt x="628" y="459"/>
                  </a:lnTo>
                  <a:lnTo>
                    <a:pt x="630" y="461"/>
                  </a:lnTo>
                  <a:lnTo>
                    <a:pt x="628" y="461"/>
                  </a:lnTo>
                  <a:close/>
                  <a:moveTo>
                    <a:pt x="433" y="1074"/>
                  </a:moveTo>
                  <a:lnTo>
                    <a:pt x="435" y="1074"/>
                  </a:lnTo>
                  <a:lnTo>
                    <a:pt x="435" y="1076"/>
                  </a:lnTo>
                  <a:lnTo>
                    <a:pt x="435" y="1077"/>
                  </a:lnTo>
                  <a:lnTo>
                    <a:pt x="435" y="1076"/>
                  </a:lnTo>
                  <a:lnTo>
                    <a:pt x="433" y="1076"/>
                  </a:lnTo>
                  <a:lnTo>
                    <a:pt x="431" y="1076"/>
                  </a:lnTo>
                  <a:lnTo>
                    <a:pt x="433" y="1076"/>
                  </a:lnTo>
                  <a:lnTo>
                    <a:pt x="431" y="1076"/>
                  </a:lnTo>
                  <a:lnTo>
                    <a:pt x="431" y="1074"/>
                  </a:lnTo>
                  <a:lnTo>
                    <a:pt x="433" y="1074"/>
                  </a:lnTo>
                  <a:lnTo>
                    <a:pt x="433" y="1072"/>
                  </a:lnTo>
                  <a:lnTo>
                    <a:pt x="433" y="1074"/>
                  </a:lnTo>
                  <a:close/>
                  <a:moveTo>
                    <a:pt x="459" y="1559"/>
                  </a:moveTo>
                  <a:lnTo>
                    <a:pt x="461" y="1559"/>
                  </a:lnTo>
                  <a:lnTo>
                    <a:pt x="461" y="1557"/>
                  </a:lnTo>
                  <a:lnTo>
                    <a:pt x="461" y="1559"/>
                  </a:lnTo>
                  <a:lnTo>
                    <a:pt x="459" y="1559"/>
                  </a:lnTo>
                  <a:lnTo>
                    <a:pt x="459" y="1560"/>
                  </a:lnTo>
                  <a:lnTo>
                    <a:pt x="457" y="1560"/>
                  </a:lnTo>
                  <a:lnTo>
                    <a:pt x="459" y="1559"/>
                  </a:lnTo>
                  <a:lnTo>
                    <a:pt x="459" y="1557"/>
                  </a:lnTo>
                  <a:lnTo>
                    <a:pt x="461" y="1557"/>
                  </a:lnTo>
                  <a:lnTo>
                    <a:pt x="459" y="1559"/>
                  </a:lnTo>
                  <a:close/>
                  <a:moveTo>
                    <a:pt x="571" y="1417"/>
                  </a:moveTo>
                  <a:lnTo>
                    <a:pt x="570" y="1417"/>
                  </a:lnTo>
                  <a:lnTo>
                    <a:pt x="570" y="1419"/>
                  </a:lnTo>
                  <a:lnTo>
                    <a:pt x="571" y="1419"/>
                  </a:lnTo>
                  <a:lnTo>
                    <a:pt x="570" y="1419"/>
                  </a:lnTo>
                  <a:lnTo>
                    <a:pt x="570" y="1420"/>
                  </a:lnTo>
                  <a:lnTo>
                    <a:pt x="568" y="1420"/>
                  </a:lnTo>
                  <a:lnTo>
                    <a:pt x="568" y="1419"/>
                  </a:lnTo>
                  <a:lnTo>
                    <a:pt x="568" y="1420"/>
                  </a:lnTo>
                  <a:lnTo>
                    <a:pt x="570" y="1419"/>
                  </a:lnTo>
                  <a:lnTo>
                    <a:pt x="568" y="1419"/>
                  </a:lnTo>
                  <a:lnTo>
                    <a:pt x="570" y="1419"/>
                  </a:lnTo>
                  <a:lnTo>
                    <a:pt x="571" y="1417"/>
                  </a:lnTo>
                  <a:lnTo>
                    <a:pt x="571" y="1415"/>
                  </a:lnTo>
                  <a:lnTo>
                    <a:pt x="571" y="1417"/>
                  </a:lnTo>
                  <a:close/>
                  <a:moveTo>
                    <a:pt x="640" y="485"/>
                  </a:moveTo>
                  <a:lnTo>
                    <a:pt x="641" y="485"/>
                  </a:lnTo>
                  <a:lnTo>
                    <a:pt x="643" y="485"/>
                  </a:lnTo>
                  <a:lnTo>
                    <a:pt x="644" y="487"/>
                  </a:lnTo>
                  <a:lnTo>
                    <a:pt x="643" y="487"/>
                  </a:lnTo>
                  <a:lnTo>
                    <a:pt x="641" y="487"/>
                  </a:lnTo>
                  <a:lnTo>
                    <a:pt x="641" y="485"/>
                  </a:lnTo>
                  <a:lnTo>
                    <a:pt x="640" y="485"/>
                  </a:lnTo>
                  <a:close/>
                  <a:moveTo>
                    <a:pt x="65" y="1681"/>
                  </a:moveTo>
                  <a:lnTo>
                    <a:pt x="65" y="1679"/>
                  </a:lnTo>
                  <a:lnTo>
                    <a:pt x="67" y="1679"/>
                  </a:lnTo>
                  <a:lnTo>
                    <a:pt x="67" y="1681"/>
                  </a:lnTo>
                  <a:lnTo>
                    <a:pt x="67" y="1682"/>
                  </a:lnTo>
                  <a:lnTo>
                    <a:pt x="67" y="1684"/>
                  </a:lnTo>
                  <a:lnTo>
                    <a:pt x="67" y="1682"/>
                  </a:lnTo>
                  <a:lnTo>
                    <a:pt x="67" y="1684"/>
                  </a:lnTo>
                  <a:lnTo>
                    <a:pt x="65" y="1682"/>
                  </a:lnTo>
                  <a:lnTo>
                    <a:pt x="65" y="1681"/>
                  </a:lnTo>
                  <a:close/>
                  <a:moveTo>
                    <a:pt x="52" y="1651"/>
                  </a:moveTo>
                  <a:lnTo>
                    <a:pt x="54" y="1653"/>
                  </a:lnTo>
                  <a:lnTo>
                    <a:pt x="52" y="1653"/>
                  </a:lnTo>
                  <a:lnTo>
                    <a:pt x="52" y="1655"/>
                  </a:lnTo>
                  <a:lnTo>
                    <a:pt x="52" y="1653"/>
                  </a:lnTo>
                  <a:lnTo>
                    <a:pt x="51" y="1653"/>
                  </a:lnTo>
                  <a:lnTo>
                    <a:pt x="51" y="1651"/>
                  </a:lnTo>
                  <a:lnTo>
                    <a:pt x="51" y="1650"/>
                  </a:lnTo>
                  <a:lnTo>
                    <a:pt x="52" y="1650"/>
                  </a:lnTo>
                  <a:lnTo>
                    <a:pt x="52" y="1651"/>
                  </a:lnTo>
                  <a:close/>
                  <a:moveTo>
                    <a:pt x="547" y="1689"/>
                  </a:moveTo>
                  <a:lnTo>
                    <a:pt x="548" y="1689"/>
                  </a:lnTo>
                  <a:lnTo>
                    <a:pt x="548" y="1690"/>
                  </a:lnTo>
                  <a:lnTo>
                    <a:pt x="547" y="1690"/>
                  </a:lnTo>
                  <a:lnTo>
                    <a:pt x="547" y="1689"/>
                  </a:lnTo>
                  <a:close/>
                  <a:moveTo>
                    <a:pt x="441" y="1648"/>
                  </a:moveTo>
                  <a:lnTo>
                    <a:pt x="441" y="1650"/>
                  </a:lnTo>
                  <a:lnTo>
                    <a:pt x="443" y="1650"/>
                  </a:lnTo>
                  <a:lnTo>
                    <a:pt x="441" y="1650"/>
                  </a:lnTo>
                  <a:lnTo>
                    <a:pt x="443" y="1650"/>
                  </a:lnTo>
                  <a:lnTo>
                    <a:pt x="441" y="1650"/>
                  </a:lnTo>
                  <a:lnTo>
                    <a:pt x="440" y="1650"/>
                  </a:lnTo>
                  <a:lnTo>
                    <a:pt x="441" y="1650"/>
                  </a:lnTo>
                  <a:lnTo>
                    <a:pt x="441" y="1648"/>
                  </a:lnTo>
                  <a:lnTo>
                    <a:pt x="441" y="1650"/>
                  </a:lnTo>
                  <a:lnTo>
                    <a:pt x="441" y="1648"/>
                  </a:lnTo>
                  <a:lnTo>
                    <a:pt x="440" y="1648"/>
                  </a:lnTo>
                  <a:lnTo>
                    <a:pt x="440" y="1646"/>
                  </a:lnTo>
                  <a:lnTo>
                    <a:pt x="441" y="1646"/>
                  </a:lnTo>
                  <a:lnTo>
                    <a:pt x="441" y="1648"/>
                  </a:lnTo>
                  <a:close/>
                  <a:moveTo>
                    <a:pt x="618" y="1606"/>
                  </a:moveTo>
                  <a:lnTo>
                    <a:pt x="620" y="1606"/>
                  </a:lnTo>
                  <a:lnTo>
                    <a:pt x="622" y="1607"/>
                  </a:lnTo>
                  <a:lnTo>
                    <a:pt x="622" y="1609"/>
                  </a:lnTo>
                  <a:lnTo>
                    <a:pt x="620" y="1609"/>
                  </a:lnTo>
                  <a:lnTo>
                    <a:pt x="620" y="1607"/>
                  </a:lnTo>
                  <a:lnTo>
                    <a:pt x="618" y="1606"/>
                  </a:lnTo>
                  <a:close/>
                  <a:moveTo>
                    <a:pt x="687" y="456"/>
                  </a:moveTo>
                  <a:lnTo>
                    <a:pt x="687" y="454"/>
                  </a:lnTo>
                  <a:lnTo>
                    <a:pt x="687" y="456"/>
                  </a:lnTo>
                  <a:lnTo>
                    <a:pt x="687" y="454"/>
                  </a:lnTo>
                  <a:lnTo>
                    <a:pt x="688" y="456"/>
                  </a:lnTo>
                  <a:lnTo>
                    <a:pt x="688" y="458"/>
                  </a:lnTo>
                  <a:lnTo>
                    <a:pt x="687" y="458"/>
                  </a:lnTo>
                  <a:lnTo>
                    <a:pt x="687" y="456"/>
                  </a:lnTo>
                  <a:lnTo>
                    <a:pt x="685" y="456"/>
                  </a:lnTo>
                  <a:lnTo>
                    <a:pt x="687" y="456"/>
                  </a:lnTo>
                  <a:close/>
                  <a:moveTo>
                    <a:pt x="490" y="1466"/>
                  </a:moveTo>
                  <a:lnTo>
                    <a:pt x="490" y="1464"/>
                  </a:lnTo>
                  <a:lnTo>
                    <a:pt x="492" y="1464"/>
                  </a:lnTo>
                  <a:lnTo>
                    <a:pt x="492" y="1466"/>
                  </a:lnTo>
                  <a:lnTo>
                    <a:pt x="493" y="1466"/>
                  </a:lnTo>
                  <a:lnTo>
                    <a:pt x="492" y="1466"/>
                  </a:lnTo>
                  <a:lnTo>
                    <a:pt x="492" y="1468"/>
                  </a:lnTo>
                  <a:lnTo>
                    <a:pt x="490" y="1466"/>
                  </a:lnTo>
                  <a:close/>
                  <a:moveTo>
                    <a:pt x="588" y="1320"/>
                  </a:moveTo>
                  <a:lnTo>
                    <a:pt x="589" y="1321"/>
                  </a:lnTo>
                  <a:lnTo>
                    <a:pt x="589" y="1320"/>
                  </a:lnTo>
                  <a:lnTo>
                    <a:pt x="591" y="1320"/>
                  </a:lnTo>
                  <a:lnTo>
                    <a:pt x="589" y="1321"/>
                  </a:lnTo>
                  <a:lnTo>
                    <a:pt x="589" y="1323"/>
                  </a:lnTo>
                  <a:lnTo>
                    <a:pt x="588" y="1323"/>
                  </a:lnTo>
                  <a:lnTo>
                    <a:pt x="588" y="1321"/>
                  </a:lnTo>
                  <a:lnTo>
                    <a:pt x="589" y="1321"/>
                  </a:lnTo>
                  <a:lnTo>
                    <a:pt x="588" y="1321"/>
                  </a:lnTo>
                  <a:lnTo>
                    <a:pt x="588" y="1320"/>
                  </a:lnTo>
                  <a:close/>
                  <a:moveTo>
                    <a:pt x="56" y="1632"/>
                  </a:moveTo>
                  <a:lnTo>
                    <a:pt x="57" y="1632"/>
                  </a:lnTo>
                  <a:lnTo>
                    <a:pt x="59" y="1632"/>
                  </a:lnTo>
                  <a:lnTo>
                    <a:pt x="59" y="1630"/>
                  </a:lnTo>
                  <a:lnTo>
                    <a:pt x="61" y="1632"/>
                  </a:lnTo>
                  <a:lnTo>
                    <a:pt x="59" y="1632"/>
                  </a:lnTo>
                  <a:lnTo>
                    <a:pt x="57" y="1632"/>
                  </a:lnTo>
                  <a:lnTo>
                    <a:pt x="57" y="1633"/>
                  </a:lnTo>
                  <a:lnTo>
                    <a:pt x="57" y="1632"/>
                  </a:lnTo>
                  <a:lnTo>
                    <a:pt x="56" y="1632"/>
                  </a:lnTo>
                  <a:close/>
                  <a:moveTo>
                    <a:pt x="573" y="1381"/>
                  </a:moveTo>
                  <a:lnTo>
                    <a:pt x="574" y="1381"/>
                  </a:lnTo>
                  <a:lnTo>
                    <a:pt x="574" y="1383"/>
                  </a:lnTo>
                  <a:lnTo>
                    <a:pt x="573" y="1383"/>
                  </a:lnTo>
                  <a:lnTo>
                    <a:pt x="571" y="1383"/>
                  </a:lnTo>
                  <a:lnTo>
                    <a:pt x="571" y="1381"/>
                  </a:lnTo>
                  <a:lnTo>
                    <a:pt x="573" y="1381"/>
                  </a:lnTo>
                  <a:lnTo>
                    <a:pt x="573" y="1383"/>
                  </a:lnTo>
                  <a:lnTo>
                    <a:pt x="573" y="1381"/>
                  </a:lnTo>
                  <a:close/>
                  <a:moveTo>
                    <a:pt x="49" y="1568"/>
                  </a:moveTo>
                  <a:lnTo>
                    <a:pt x="48" y="1568"/>
                  </a:lnTo>
                  <a:lnTo>
                    <a:pt x="48" y="1567"/>
                  </a:lnTo>
                  <a:lnTo>
                    <a:pt x="48" y="1565"/>
                  </a:lnTo>
                  <a:lnTo>
                    <a:pt x="49" y="1563"/>
                  </a:lnTo>
                  <a:lnTo>
                    <a:pt x="49" y="1567"/>
                  </a:lnTo>
                  <a:lnTo>
                    <a:pt x="49" y="1568"/>
                  </a:lnTo>
                  <a:close/>
                  <a:moveTo>
                    <a:pt x="545" y="1269"/>
                  </a:moveTo>
                  <a:lnTo>
                    <a:pt x="547" y="1269"/>
                  </a:lnTo>
                  <a:lnTo>
                    <a:pt x="547" y="1271"/>
                  </a:lnTo>
                  <a:lnTo>
                    <a:pt x="548" y="1271"/>
                  </a:lnTo>
                  <a:lnTo>
                    <a:pt x="548" y="1272"/>
                  </a:lnTo>
                  <a:lnTo>
                    <a:pt x="548" y="1271"/>
                  </a:lnTo>
                  <a:lnTo>
                    <a:pt x="548" y="1272"/>
                  </a:lnTo>
                  <a:lnTo>
                    <a:pt x="547" y="1271"/>
                  </a:lnTo>
                  <a:lnTo>
                    <a:pt x="547" y="1272"/>
                  </a:lnTo>
                  <a:lnTo>
                    <a:pt x="547" y="1271"/>
                  </a:lnTo>
                  <a:lnTo>
                    <a:pt x="545" y="1271"/>
                  </a:lnTo>
                  <a:lnTo>
                    <a:pt x="547" y="1271"/>
                  </a:lnTo>
                  <a:lnTo>
                    <a:pt x="545" y="1271"/>
                  </a:lnTo>
                  <a:lnTo>
                    <a:pt x="547" y="1271"/>
                  </a:lnTo>
                  <a:lnTo>
                    <a:pt x="545" y="1269"/>
                  </a:lnTo>
                  <a:close/>
                  <a:moveTo>
                    <a:pt x="548" y="1259"/>
                  </a:moveTo>
                  <a:lnTo>
                    <a:pt x="550" y="1259"/>
                  </a:lnTo>
                  <a:lnTo>
                    <a:pt x="548" y="1259"/>
                  </a:lnTo>
                  <a:lnTo>
                    <a:pt x="550" y="1259"/>
                  </a:lnTo>
                  <a:lnTo>
                    <a:pt x="550" y="1261"/>
                  </a:lnTo>
                  <a:lnTo>
                    <a:pt x="548" y="1263"/>
                  </a:lnTo>
                  <a:lnTo>
                    <a:pt x="548" y="1261"/>
                  </a:lnTo>
                  <a:lnTo>
                    <a:pt x="548" y="1259"/>
                  </a:lnTo>
                  <a:close/>
                  <a:moveTo>
                    <a:pt x="542" y="1254"/>
                  </a:moveTo>
                  <a:lnTo>
                    <a:pt x="544" y="1254"/>
                  </a:lnTo>
                  <a:lnTo>
                    <a:pt x="544" y="1256"/>
                  </a:lnTo>
                  <a:lnTo>
                    <a:pt x="544" y="1254"/>
                  </a:lnTo>
                  <a:lnTo>
                    <a:pt x="544" y="1256"/>
                  </a:lnTo>
                  <a:lnTo>
                    <a:pt x="544" y="1254"/>
                  </a:lnTo>
                  <a:lnTo>
                    <a:pt x="544" y="1256"/>
                  </a:lnTo>
                  <a:lnTo>
                    <a:pt x="545" y="1256"/>
                  </a:lnTo>
                  <a:lnTo>
                    <a:pt x="545" y="1258"/>
                  </a:lnTo>
                  <a:lnTo>
                    <a:pt x="545" y="1256"/>
                  </a:lnTo>
                  <a:lnTo>
                    <a:pt x="545" y="1258"/>
                  </a:lnTo>
                  <a:lnTo>
                    <a:pt x="544" y="1256"/>
                  </a:lnTo>
                  <a:lnTo>
                    <a:pt x="542" y="1256"/>
                  </a:lnTo>
                  <a:lnTo>
                    <a:pt x="542" y="1254"/>
                  </a:lnTo>
                  <a:close/>
                  <a:moveTo>
                    <a:pt x="566" y="1346"/>
                  </a:moveTo>
                  <a:lnTo>
                    <a:pt x="568" y="1346"/>
                  </a:lnTo>
                  <a:lnTo>
                    <a:pt x="568" y="1347"/>
                  </a:lnTo>
                  <a:lnTo>
                    <a:pt x="566" y="1347"/>
                  </a:lnTo>
                  <a:lnTo>
                    <a:pt x="568" y="1347"/>
                  </a:lnTo>
                  <a:lnTo>
                    <a:pt x="566" y="1347"/>
                  </a:lnTo>
                  <a:lnTo>
                    <a:pt x="566" y="1349"/>
                  </a:lnTo>
                  <a:lnTo>
                    <a:pt x="566" y="1347"/>
                  </a:lnTo>
                  <a:lnTo>
                    <a:pt x="566" y="1349"/>
                  </a:lnTo>
                  <a:lnTo>
                    <a:pt x="565" y="1349"/>
                  </a:lnTo>
                  <a:lnTo>
                    <a:pt x="565" y="1347"/>
                  </a:lnTo>
                  <a:lnTo>
                    <a:pt x="566" y="1347"/>
                  </a:lnTo>
                  <a:lnTo>
                    <a:pt x="565" y="1347"/>
                  </a:lnTo>
                  <a:lnTo>
                    <a:pt x="566" y="1346"/>
                  </a:lnTo>
                  <a:close/>
                  <a:moveTo>
                    <a:pt x="433" y="960"/>
                  </a:moveTo>
                  <a:lnTo>
                    <a:pt x="433" y="962"/>
                  </a:lnTo>
                  <a:lnTo>
                    <a:pt x="433" y="960"/>
                  </a:lnTo>
                  <a:lnTo>
                    <a:pt x="431" y="962"/>
                  </a:lnTo>
                  <a:lnTo>
                    <a:pt x="431" y="960"/>
                  </a:lnTo>
                  <a:lnTo>
                    <a:pt x="431" y="958"/>
                  </a:lnTo>
                  <a:lnTo>
                    <a:pt x="433" y="960"/>
                  </a:lnTo>
                  <a:close/>
                  <a:moveTo>
                    <a:pt x="392" y="1887"/>
                  </a:moveTo>
                  <a:lnTo>
                    <a:pt x="394" y="1886"/>
                  </a:lnTo>
                  <a:lnTo>
                    <a:pt x="396" y="1886"/>
                  </a:lnTo>
                  <a:lnTo>
                    <a:pt x="396" y="1887"/>
                  </a:lnTo>
                  <a:lnTo>
                    <a:pt x="394" y="1887"/>
                  </a:lnTo>
                  <a:lnTo>
                    <a:pt x="394" y="1889"/>
                  </a:lnTo>
                  <a:lnTo>
                    <a:pt x="392" y="1887"/>
                  </a:lnTo>
                  <a:close/>
                  <a:moveTo>
                    <a:pt x="596" y="1349"/>
                  </a:moveTo>
                  <a:lnTo>
                    <a:pt x="596" y="1350"/>
                  </a:lnTo>
                  <a:lnTo>
                    <a:pt x="597" y="1350"/>
                  </a:lnTo>
                  <a:lnTo>
                    <a:pt x="596" y="1350"/>
                  </a:lnTo>
                  <a:lnTo>
                    <a:pt x="596" y="1352"/>
                  </a:lnTo>
                  <a:lnTo>
                    <a:pt x="594" y="1352"/>
                  </a:lnTo>
                  <a:lnTo>
                    <a:pt x="594" y="1350"/>
                  </a:lnTo>
                  <a:lnTo>
                    <a:pt x="596" y="1350"/>
                  </a:lnTo>
                  <a:lnTo>
                    <a:pt x="596" y="1349"/>
                  </a:lnTo>
                  <a:close/>
                  <a:moveTo>
                    <a:pt x="677" y="500"/>
                  </a:moveTo>
                  <a:lnTo>
                    <a:pt x="675" y="498"/>
                  </a:lnTo>
                  <a:lnTo>
                    <a:pt x="675" y="497"/>
                  </a:lnTo>
                  <a:lnTo>
                    <a:pt x="675" y="498"/>
                  </a:lnTo>
                  <a:lnTo>
                    <a:pt x="677" y="498"/>
                  </a:lnTo>
                  <a:lnTo>
                    <a:pt x="677" y="500"/>
                  </a:lnTo>
                  <a:close/>
                  <a:moveTo>
                    <a:pt x="623" y="511"/>
                  </a:moveTo>
                  <a:lnTo>
                    <a:pt x="622" y="511"/>
                  </a:lnTo>
                  <a:lnTo>
                    <a:pt x="622" y="510"/>
                  </a:lnTo>
                  <a:lnTo>
                    <a:pt x="623" y="510"/>
                  </a:lnTo>
                  <a:lnTo>
                    <a:pt x="623" y="511"/>
                  </a:lnTo>
                  <a:close/>
                  <a:moveTo>
                    <a:pt x="61" y="1607"/>
                  </a:moveTo>
                  <a:lnTo>
                    <a:pt x="62" y="1606"/>
                  </a:lnTo>
                  <a:lnTo>
                    <a:pt x="62" y="1607"/>
                  </a:lnTo>
                  <a:lnTo>
                    <a:pt x="62" y="1609"/>
                  </a:lnTo>
                  <a:lnTo>
                    <a:pt x="61" y="1609"/>
                  </a:lnTo>
                  <a:lnTo>
                    <a:pt x="61" y="1607"/>
                  </a:lnTo>
                  <a:close/>
                  <a:moveTo>
                    <a:pt x="563" y="1372"/>
                  </a:moveTo>
                  <a:lnTo>
                    <a:pt x="561" y="1373"/>
                  </a:lnTo>
                  <a:lnTo>
                    <a:pt x="560" y="1373"/>
                  </a:lnTo>
                  <a:lnTo>
                    <a:pt x="558" y="1373"/>
                  </a:lnTo>
                  <a:lnTo>
                    <a:pt x="558" y="1375"/>
                  </a:lnTo>
                  <a:lnTo>
                    <a:pt x="558" y="1373"/>
                  </a:lnTo>
                  <a:lnTo>
                    <a:pt x="560" y="1373"/>
                  </a:lnTo>
                  <a:lnTo>
                    <a:pt x="561" y="1372"/>
                  </a:lnTo>
                  <a:lnTo>
                    <a:pt x="561" y="1373"/>
                  </a:lnTo>
                  <a:lnTo>
                    <a:pt x="561" y="1372"/>
                  </a:lnTo>
                  <a:lnTo>
                    <a:pt x="563" y="1372"/>
                  </a:lnTo>
                  <a:close/>
                  <a:moveTo>
                    <a:pt x="49" y="1606"/>
                  </a:moveTo>
                  <a:lnTo>
                    <a:pt x="49" y="1607"/>
                  </a:lnTo>
                  <a:lnTo>
                    <a:pt x="49" y="1609"/>
                  </a:lnTo>
                  <a:lnTo>
                    <a:pt x="48" y="1609"/>
                  </a:lnTo>
                  <a:lnTo>
                    <a:pt x="48" y="1607"/>
                  </a:lnTo>
                  <a:lnTo>
                    <a:pt x="48" y="1606"/>
                  </a:lnTo>
                  <a:lnTo>
                    <a:pt x="49" y="1606"/>
                  </a:lnTo>
                  <a:close/>
                  <a:moveTo>
                    <a:pt x="762" y="420"/>
                  </a:moveTo>
                  <a:lnTo>
                    <a:pt x="762" y="422"/>
                  </a:lnTo>
                  <a:lnTo>
                    <a:pt x="762" y="423"/>
                  </a:lnTo>
                  <a:lnTo>
                    <a:pt x="760" y="423"/>
                  </a:lnTo>
                  <a:lnTo>
                    <a:pt x="760" y="422"/>
                  </a:lnTo>
                  <a:lnTo>
                    <a:pt x="760" y="423"/>
                  </a:lnTo>
                  <a:lnTo>
                    <a:pt x="760" y="422"/>
                  </a:lnTo>
                  <a:lnTo>
                    <a:pt x="762" y="422"/>
                  </a:lnTo>
                  <a:lnTo>
                    <a:pt x="760" y="422"/>
                  </a:lnTo>
                  <a:lnTo>
                    <a:pt x="762" y="420"/>
                  </a:lnTo>
                  <a:close/>
                  <a:moveTo>
                    <a:pt x="537" y="1385"/>
                  </a:moveTo>
                  <a:lnTo>
                    <a:pt x="539" y="1385"/>
                  </a:lnTo>
                  <a:lnTo>
                    <a:pt x="540" y="1385"/>
                  </a:lnTo>
                  <a:lnTo>
                    <a:pt x="540" y="1386"/>
                  </a:lnTo>
                  <a:lnTo>
                    <a:pt x="539" y="1385"/>
                  </a:lnTo>
                  <a:lnTo>
                    <a:pt x="539" y="1386"/>
                  </a:lnTo>
                  <a:lnTo>
                    <a:pt x="537" y="1386"/>
                  </a:lnTo>
                  <a:lnTo>
                    <a:pt x="537" y="1385"/>
                  </a:lnTo>
                  <a:lnTo>
                    <a:pt x="535" y="1385"/>
                  </a:lnTo>
                  <a:lnTo>
                    <a:pt x="537" y="1385"/>
                  </a:lnTo>
                  <a:close/>
                  <a:moveTo>
                    <a:pt x="474" y="1487"/>
                  </a:moveTo>
                  <a:lnTo>
                    <a:pt x="475" y="1489"/>
                  </a:lnTo>
                  <a:lnTo>
                    <a:pt x="475" y="1490"/>
                  </a:lnTo>
                  <a:lnTo>
                    <a:pt x="475" y="1489"/>
                  </a:lnTo>
                  <a:lnTo>
                    <a:pt x="475" y="1490"/>
                  </a:lnTo>
                  <a:lnTo>
                    <a:pt x="474" y="1490"/>
                  </a:lnTo>
                  <a:lnTo>
                    <a:pt x="474" y="1489"/>
                  </a:lnTo>
                  <a:lnTo>
                    <a:pt x="472" y="1489"/>
                  </a:lnTo>
                  <a:lnTo>
                    <a:pt x="474" y="1487"/>
                  </a:lnTo>
                  <a:close/>
                  <a:moveTo>
                    <a:pt x="506" y="843"/>
                  </a:moveTo>
                  <a:lnTo>
                    <a:pt x="508" y="843"/>
                  </a:lnTo>
                  <a:lnTo>
                    <a:pt x="506" y="845"/>
                  </a:lnTo>
                  <a:lnTo>
                    <a:pt x="506" y="846"/>
                  </a:lnTo>
                  <a:lnTo>
                    <a:pt x="505" y="846"/>
                  </a:lnTo>
                  <a:lnTo>
                    <a:pt x="506" y="845"/>
                  </a:lnTo>
                  <a:lnTo>
                    <a:pt x="506" y="843"/>
                  </a:lnTo>
                  <a:close/>
                  <a:moveTo>
                    <a:pt x="453" y="1563"/>
                  </a:moveTo>
                  <a:lnTo>
                    <a:pt x="454" y="1563"/>
                  </a:lnTo>
                  <a:lnTo>
                    <a:pt x="453" y="1563"/>
                  </a:lnTo>
                  <a:lnTo>
                    <a:pt x="454" y="1563"/>
                  </a:lnTo>
                  <a:lnTo>
                    <a:pt x="454" y="1565"/>
                  </a:lnTo>
                  <a:lnTo>
                    <a:pt x="453" y="1565"/>
                  </a:lnTo>
                  <a:lnTo>
                    <a:pt x="453" y="1563"/>
                  </a:lnTo>
                  <a:lnTo>
                    <a:pt x="453" y="1562"/>
                  </a:lnTo>
                  <a:lnTo>
                    <a:pt x="453" y="1563"/>
                  </a:lnTo>
                  <a:close/>
                  <a:moveTo>
                    <a:pt x="96" y="1739"/>
                  </a:moveTo>
                  <a:lnTo>
                    <a:pt x="98" y="1739"/>
                  </a:lnTo>
                  <a:lnTo>
                    <a:pt x="98" y="1738"/>
                  </a:lnTo>
                  <a:lnTo>
                    <a:pt x="98" y="1739"/>
                  </a:lnTo>
                  <a:lnTo>
                    <a:pt x="100" y="1739"/>
                  </a:lnTo>
                  <a:lnTo>
                    <a:pt x="98" y="1739"/>
                  </a:lnTo>
                  <a:lnTo>
                    <a:pt x="98" y="1741"/>
                  </a:lnTo>
                  <a:lnTo>
                    <a:pt x="96" y="1741"/>
                  </a:lnTo>
                  <a:lnTo>
                    <a:pt x="96" y="1739"/>
                  </a:lnTo>
                  <a:lnTo>
                    <a:pt x="98" y="1739"/>
                  </a:lnTo>
                  <a:lnTo>
                    <a:pt x="96" y="1739"/>
                  </a:lnTo>
                  <a:close/>
                  <a:moveTo>
                    <a:pt x="644" y="485"/>
                  </a:moveTo>
                  <a:lnTo>
                    <a:pt x="646" y="487"/>
                  </a:lnTo>
                  <a:lnTo>
                    <a:pt x="646" y="485"/>
                  </a:lnTo>
                  <a:lnTo>
                    <a:pt x="648" y="485"/>
                  </a:lnTo>
                  <a:lnTo>
                    <a:pt x="648" y="487"/>
                  </a:lnTo>
                  <a:lnTo>
                    <a:pt x="646" y="487"/>
                  </a:lnTo>
                  <a:lnTo>
                    <a:pt x="646" y="488"/>
                  </a:lnTo>
                  <a:lnTo>
                    <a:pt x="646" y="487"/>
                  </a:lnTo>
                  <a:lnTo>
                    <a:pt x="644" y="487"/>
                  </a:lnTo>
                  <a:lnTo>
                    <a:pt x="644" y="485"/>
                  </a:lnTo>
                  <a:close/>
                  <a:moveTo>
                    <a:pt x="446" y="1604"/>
                  </a:moveTo>
                  <a:lnTo>
                    <a:pt x="448" y="1604"/>
                  </a:lnTo>
                  <a:lnTo>
                    <a:pt x="448" y="1606"/>
                  </a:lnTo>
                  <a:lnTo>
                    <a:pt x="446" y="1606"/>
                  </a:lnTo>
                  <a:lnTo>
                    <a:pt x="446" y="1604"/>
                  </a:lnTo>
                  <a:lnTo>
                    <a:pt x="446" y="1603"/>
                  </a:lnTo>
                  <a:lnTo>
                    <a:pt x="448" y="1603"/>
                  </a:lnTo>
                  <a:lnTo>
                    <a:pt x="446" y="1603"/>
                  </a:lnTo>
                  <a:lnTo>
                    <a:pt x="448" y="1603"/>
                  </a:lnTo>
                  <a:lnTo>
                    <a:pt x="446" y="1604"/>
                  </a:lnTo>
                  <a:close/>
                  <a:moveTo>
                    <a:pt x="430" y="1536"/>
                  </a:moveTo>
                  <a:lnTo>
                    <a:pt x="430" y="1537"/>
                  </a:lnTo>
                  <a:lnTo>
                    <a:pt x="431" y="1537"/>
                  </a:lnTo>
                  <a:lnTo>
                    <a:pt x="433" y="1539"/>
                  </a:lnTo>
                  <a:lnTo>
                    <a:pt x="431" y="1539"/>
                  </a:lnTo>
                  <a:lnTo>
                    <a:pt x="433" y="1539"/>
                  </a:lnTo>
                  <a:lnTo>
                    <a:pt x="431" y="1539"/>
                  </a:lnTo>
                  <a:lnTo>
                    <a:pt x="430" y="1539"/>
                  </a:lnTo>
                  <a:lnTo>
                    <a:pt x="431" y="1539"/>
                  </a:lnTo>
                  <a:lnTo>
                    <a:pt x="431" y="1537"/>
                  </a:lnTo>
                  <a:lnTo>
                    <a:pt x="430" y="1537"/>
                  </a:lnTo>
                  <a:lnTo>
                    <a:pt x="430" y="1539"/>
                  </a:lnTo>
                  <a:lnTo>
                    <a:pt x="428" y="1537"/>
                  </a:lnTo>
                  <a:lnTo>
                    <a:pt x="430" y="1537"/>
                  </a:lnTo>
                  <a:lnTo>
                    <a:pt x="430" y="1536"/>
                  </a:lnTo>
                  <a:close/>
                  <a:moveTo>
                    <a:pt x="319" y="1895"/>
                  </a:moveTo>
                  <a:lnTo>
                    <a:pt x="318" y="1895"/>
                  </a:lnTo>
                  <a:lnTo>
                    <a:pt x="318" y="1894"/>
                  </a:lnTo>
                  <a:lnTo>
                    <a:pt x="319" y="1894"/>
                  </a:lnTo>
                  <a:lnTo>
                    <a:pt x="319" y="1895"/>
                  </a:lnTo>
                  <a:close/>
                  <a:moveTo>
                    <a:pt x="531" y="1264"/>
                  </a:moveTo>
                  <a:lnTo>
                    <a:pt x="531" y="1266"/>
                  </a:lnTo>
                  <a:lnTo>
                    <a:pt x="532" y="1266"/>
                  </a:lnTo>
                  <a:lnTo>
                    <a:pt x="534" y="1266"/>
                  </a:lnTo>
                  <a:lnTo>
                    <a:pt x="534" y="1267"/>
                  </a:lnTo>
                  <a:lnTo>
                    <a:pt x="534" y="1266"/>
                  </a:lnTo>
                  <a:lnTo>
                    <a:pt x="534" y="1267"/>
                  </a:lnTo>
                  <a:lnTo>
                    <a:pt x="532" y="1267"/>
                  </a:lnTo>
                  <a:lnTo>
                    <a:pt x="532" y="1266"/>
                  </a:lnTo>
                  <a:lnTo>
                    <a:pt x="531" y="1266"/>
                  </a:lnTo>
                  <a:lnTo>
                    <a:pt x="531" y="1264"/>
                  </a:lnTo>
                  <a:close/>
                  <a:moveTo>
                    <a:pt x="583" y="1396"/>
                  </a:moveTo>
                  <a:lnTo>
                    <a:pt x="584" y="1396"/>
                  </a:lnTo>
                  <a:lnTo>
                    <a:pt x="584" y="1398"/>
                  </a:lnTo>
                  <a:lnTo>
                    <a:pt x="583" y="1398"/>
                  </a:lnTo>
                  <a:lnTo>
                    <a:pt x="581" y="1396"/>
                  </a:lnTo>
                  <a:lnTo>
                    <a:pt x="583" y="1396"/>
                  </a:lnTo>
                  <a:close/>
                  <a:moveTo>
                    <a:pt x="438" y="1661"/>
                  </a:moveTo>
                  <a:lnTo>
                    <a:pt x="440" y="1661"/>
                  </a:lnTo>
                  <a:lnTo>
                    <a:pt x="441" y="1663"/>
                  </a:lnTo>
                  <a:lnTo>
                    <a:pt x="440" y="1663"/>
                  </a:lnTo>
                  <a:lnTo>
                    <a:pt x="438" y="1663"/>
                  </a:lnTo>
                  <a:lnTo>
                    <a:pt x="438" y="1661"/>
                  </a:lnTo>
                  <a:close/>
                  <a:moveTo>
                    <a:pt x="709" y="433"/>
                  </a:moveTo>
                  <a:lnTo>
                    <a:pt x="711" y="433"/>
                  </a:lnTo>
                  <a:lnTo>
                    <a:pt x="709" y="433"/>
                  </a:lnTo>
                  <a:lnTo>
                    <a:pt x="708" y="433"/>
                  </a:lnTo>
                  <a:lnTo>
                    <a:pt x="709" y="431"/>
                  </a:lnTo>
                  <a:lnTo>
                    <a:pt x="711" y="433"/>
                  </a:lnTo>
                  <a:lnTo>
                    <a:pt x="709" y="433"/>
                  </a:lnTo>
                  <a:close/>
                  <a:moveTo>
                    <a:pt x="453" y="1559"/>
                  </a:moveTo>
                  <a:lnTo>
                    <a:pt x="453" y="1560"/>
                  </a:lnTo>
                  <a:lnTo>
                    <a:pt x="453" y="1562"/>
                  </a:lnTo>
                  <a:lnTo>
                    <a:pt x="451" y="1562"/>
                  </a:lnTo>
                  <a:lnTo>
                    <a:pt x="451" y="1560"/>
                  </a:lnTo>
                  <a:lnTo>
                    <a:pt x="453" y="1560"/>
                  </a:lnTo>
                  <a:lnTo>
                    <a:pt x="453" y="1559"/>
                  </a:lnTo>
                  <a:lnTo>
                    <a:pt x="454" y="1559"/>
                  </a:lnTo>
                  <a:lnTo>
                    <a:pt x="453" y="1559"/>
                  </a:lnTo>
                  <a:close/>
                  <a:moveTo>
                    <a:pt x="448" y="1669"/>
                  </a:moveTo>
                  <a:lnTo>
                    <a:pt x="446" y="1669"/>
                  </a:lnTo>
                  <a:lnTo>
                    <a:pt x="446" y="1668"/>
                  </a:lnTo>
                  <a:lnTo>
                    <a:pt x="444" y="1668"/>
                  </a:lnTo>
                  <a:lnTo>
                    <a:pt x="444" y="1666"/>
                  </a:lnTo>
                  <a:lnTo>
                    <a:pt x="446" y="1666"/>
                  </a:lnTo>
                  <a:lnTo>
                    <a:pt x="446" y="1668"/>
                  </a:lnTo>
                  <a:lnTo>
                    <a:pt x="448" y="1669"/>
                  </a:lnTo>
                  <a:close/>
                  <a:moveTo>
                    <a:pt x="420" y="1082"/>
                  </a:moveTo>
                  <a:lnTo>
                    <a:pt x="422" y="1082"/>
                  </a:lnTo>
                  <a:lnTo>
                    <a:pt x="423" y="1082"/>
                  </a:lnTo>
                  <a:lnTo>
                    <a:pt x="422" y="1082"/>
                  </a:lnTo>
                  <a:lnTo>
                    <a:pt x="422" y="1084"/>
                  </a:lnTo>
                  <a:lnTo>
                    <a:pt x="423" y="1084"/>
                  </a:lnTo>
                  <a:lnTo>
                    <a:pt x="422" y="1084"/>
                  </a:lnTo>
                  <a:lnTo>
                    <a:pt x="420" y="1084"/>
                  </a:lnTo>
                  <a:lnTo>
                    <a:pt x="420" y="1082"/>
                  </a:lnTo>
                  <a:close/>
                  <a:moveTo>
                    <a:pt x="675" y="441"/>
                  </a:moveTo>
                  <a:lnTo>
                    <a:pt x="675" y="440"/>
                  </a:lnTo>
                  <a:lnTo>
                    <a:pt x="675" y="441"/>
                  </a:lnTo>
                  <a:lnTo>
                    <a:pt x="675" y="443"/>
                  </a:lnTo>
                  <a:lnTo>
                    <a:pt x="674" y="441"/>
                  </a:lnTo>
                  <a:lnTo>
                    <a:pt x="674" y="443"/>
                  </a:lnTo>
                  <a:lnTo>
                    <a:pt x="674" y="441"/>
                  </a:lnTo>
                  <a:lnTo>
                    <a:pt x="674" y="440"/>
                  </a:lnTo>
                  <a:lnTo>
                    <a:pt x="674" y="441"/>
                  </a:lnTo>
                  <a:lnTo>
                    <a:pt x="675" y="441"/>
                  </a:lnTo>
                  <a:close/>
                  <a:moveTo>
                    <a:pt x="453" y="1534"/>
                  </a:moveTo>
                  <a:lnTo>
                    <a:pt x="454" y="1534"/>
                  </a:lnTo>
                  <a:lnTo>
                    <a:pt x="454" y="1536"/>
                  </a:lnTo>
                  <a:lnTo>
                    <a:pt x="454" y="1537"/>
                  </a:lnTo>
                  <a:lnTo>
                    <a:pt x="454" y="1536"/>
                  </a:lnTo>
                  <a:lnTo>
                    <a:pt x="453" y="1536"/>
                  </a:lnTo>
                  <a:lnTo>
                    <a:pt x="453" y="1537"/>
                  </a:lnTo>
                  <a:lnTo>
                    <a:pt x="453" y="1536"/>
                  </a:lnTo>
                  <a:lnTo>
                    <a:pt x="453" y="1534"/>
                  </a:lnTo>
                  <a:close/>
                  <a:moveTo>
                    <a:pt x="438" y="1741"/>
                  </a:moveTo>
                  <a:lnTo>
                    <a:pt x="440" y="1741"/>
                  </a:lnTo>
                  <a:lnTo>
                    <a:pt x="440" y="1742"/>
                  </a:lnTo>
                  <a:lnTo>
                    <a:pt x="438" y="1742"/>
                  </a:lnTo>
                  <a:lnTo>
                    <a:pt x="438" y="1741"/>
                  </a:lnTo>
                  <a:lnTo>
                    <a:pt x="438" y="1742"/>
                  </a:lnTo>
                  <a:lnTo>
                    <a:pt x="438" y="1741"/>
                  </a:lnTo>
                  <a:close/>
                  <a:moveTo>
                    <a:pt x="505" y="848"/>
                  </a:moveTo>
                  <a:lnTo>
                    <a:pt x="503" y="848"/>
                  </a:lnTo>
                  <a:lnTo>
                    <a:pt x="505" y="848"/>
                  </a:lnTo>
                  <a:lnTo>
                    <a:pt x="505" y="846"/>
                  </a:lnTo>
                  <a:lnTo>
                    <a:pt x="506" y="846"/>
                  </a:lnTo>
                  <a:lnTo>
                    <a:pt x="506" y="848"/>
                  </a:lnTo>
                  <a:lnTo>
                    <a:pt x="505" y="848"/>
                  </a:lnTo>
                  <a:close/>
                  <a:moveTo>
                    <a:pt x="12" y="1485"/>
                  </a:moveTo>
                  <a:lnTo>
                    <a:pt x="13" y="1487"/>
                  </a:lnTo>
                  <a:lnTo>
                    <a:pt x="12" y="1487"/>
                  </a:lnTo>
                  <a:lnTo>
                    <a:pt x="12" y="1485"/>
                  </a:lnTo>
                  <a:lnTo>
                    <a:pt x="10" y="1484"/>
                  </a:lnTo>
                  <a:lnTo>
                    <a:pt x="10" y="1482"/>
                  </a:lnTo>
                  <a:lnTo>
                    <a:pt x="12" y="1484"/>
                  </a:lnTo>
                  <a:lnTo>
                    <a:pt x="12" y="1485"/>
                  </a:lnTo>
                  <a:close/>
                  <a:moveTo>
                    <a:pt x="501" y="1468"/>
                  </a:moveTo>
                  <a:lnTo>
                    <a:pt x="503" y="1468"/>
                  </a:lnTo>
                  <a:lnTo>
                    <a:pt x="503" y="1469"/>
                  </a:lnTo>
                  <a:lnTo>
                    <a:pt x="503" y="1471"/>
                  </a:lnTo>
                  <a:lnTo>
                    <a:pt x="501" y="1471"/>
                  </a:lnTo>
                  <a:lnTo>
                    <a:pt x="503" y="1469"/>
                  </a:lnTo>
                  <a:lnTo>
                    <a:pt x="501" y="1469"/>
                  </a:lnTo>
                  <a:lnTo>
                    <a:pt x="501" y="1468"/>
                  </a:lnTo>
                  <a:close/>
                  <a:moveTo>
                    <a:pt x="654" y="495"/>
                  </a:moveTo>
                  <a:lnTo>
                    <a:pt x="656" y="495"/>
                  </a:lnTo>
                  <a:lnTo>
                    <a:pt x="656" y="497"/>
                  </a:lnTo>
                  <a:lnTo>
                    <a:pt x="654" y="495"/>
                  </a:lnTo>
                  <a:lnTo>
                    <a:pt x="654" y="497"/>
                  </a:lnTo>
                  <a:lnTo>
                    <a:pt x="656" y="497"/>
                  </a:lnTo>
                  <a:lnTo>
                    <a:pt x="656" y="498"/>
                  </a:lnTo>
                  <a:lnTo>
                    <a:pt x="656" y="497"/>
                  </a:lnTo>
                  <a:lnTo>
                    <a:pt x="654" y="497"/>
                  </a:lnTo>
                  <a:lnTo>
                    <a:pt x="654" y="495"/>
                  </a:lnTo>
                  <a:close/>
                  <a:moveTo>
                    <a:pt x="682" y="453"/>
                  </a:moveTo>
                  <a:lnTo>
                    <a:pt x="682" y="454"/>
                  </a:lnTo>
                  <a:lnTo>
                    <a:pt x="683" y="454"/>
                  </a:lnTo>
                  <a:lnTo>
                    <a:pt x="683" y="456"/>
                  </a:lnTo>
                  <a:lnTo>
                    <a:pt x="682" y="456"/>
                  </a:lnTo>
                  <a:lnTo>
                    <a:pt x="682" y="454"/>
                  </a:lnTo>
                  <a:lnTo>
                    <a:pt x="682" y="453"/>
                  </a:lnTo>
                  <a:close/>
                  <a:moveTo>
                    <a:pt x="431" y="1085"/>
                  </a:moveTo>
                  <a:lnTo>
                    <a:pt x="431" y="1087"/>
                  </a:lnTo>
                  <a:lnTo>
                    <a:pt x="431" y="1085"/>
                  </a:lnTo>
                  <a:lnTo>
                    <a:pt x="430" y="1085"/>
                  </a:lnTo>
                  <a:lnTo>
                    <a:pt x="431" y="1085"/>
                  </a:lnTo>
                  <a:close/>
                  <a:moveTo>
                    <a:pt x="448" y="1537"/>
                  </a:moveTo>
                  <a:lnTo>
                    <a:pt x="448" y="1539"/>
                  </a:lnTo>
                  <a:lnTo>
                    <a:pt x="448" y="1537"/>
                  </a:lnTo>
                  <a:lnTo>
                    <a:pt x="449" y="1537"/>
                  </a:lnTo>
                  <a:lnTo>
                    <a:pt x="448" y="1539"/>
                  </a:lnTo>
                  <a:lnTo>
                    <a:pt x="449" y="1539"/>
                  </a:lnTo>
                  <a:lnTo>
                    <a:pt x="448" y="1539"/>
                  </a:lnTo>
                  <a:lnTo>
                    <a:pt x="446" y="1539"/>
                  </a:lnTo>
                  <a:lnTo>
                    <a:pt x="446" y="1541"/>
                  </a:lnTo>
                  <a:lnTo>
                    <a:pt x="446" y="1539"/>
                  </a:lnTo>
                  <a:lnTo>
                    <a:pt x="448" y="1537"/>
                  </a:lnTo>
                  <a:close/>
                  <a:moveTo>
                    <a:pt x="573" y="1373"/>
                  </a:moveTo>
                  <a:lnTo>
                    <a:pt x="573" y="1375"/>
                  </a:lnTo>
                  <a:lnTo>
                    <a:pt x="571" y="1375"/>
                  </a:lnTo>
                  <a:lnTo>
                    <a:pt x="571" y="1376"/>
                  </a:lnTo>
                  <a:lnTo>
                    <a:pt x="570" y="1376"/>
                  </a:lnTo>
                  <a:lnTo>
                    <a:pt x="570" y="1375"/>
                  </a:lnTo>
                  <a:lnTo>
                    <a:pt x="570" y="1376"/>
                  </a:lnTo>
                  <a:lnTo>
                    <a:pt x="570" y="1375"/>
                  </a:lnTo>
                  <a:lnTo>
                    <a:pt x="571" y="1375"/>
                  </a:lnTo>
                  <a:lnTo>
                    <a:pt x="571" y="1373"/>
                  </a:lnTo>
                  <a:lnTo>
                    <a:pt x="573" y="1373"/>
                  </a:lnTo>
                  <a:close/>
                  <a:moveTo>
                    <a:pt x="566" y="1378"/>
                  </a:moveTo>
                  <a:lnTo>
                    <a:pt x="565" y="1378"/>
                  </a:lnTo>
                  <a:lnTo>
                    <a:pt x="563" y="1378"/>
                  </a:lnTo>
                  <a:lnTo>
                    <a:pt x="565" y="1378"/>
                  </a:lnTo>
                  <a:lnTo>
                    <a:pt x="566" y="1376"/>
                  </a:lnTo>
                  <a:lnTo>
                    <a:pt x="566" y="1378"/>
                  </a:lnTo>
                  <a:close/>
                  <a:moveTo>
                    <a:pt x="667" y="466"/>
                  </a:moveTo>
                  <a:lnTo>
                    <a:pt x="669" y="466"/>
                  </a:lnTo>
                  <a:lnTo>
                    <a:pt x="669" y="467"/>
                  </a:lnTo>
                  <a:lnTo>
                    <a:pt x="670" y="467"/>
                  </a:lnTo>
                  <a:lnTo>
                    <a:pt x="669" y="467"/>
                  </a:lnTo>
                  <a:lnTo>
                    <a:pt x="669" y="466"/>
                  </a:lnTo>
                  <a:lnTo>
                    <a:pt x="667" y="466"/>
                  </a:lnTo>
                  <a:lnTo>
                    <a:pt x="667" y="464"/>
                  </a:lnTo>
                  <a:lnTo>
                    <a:pt x="667" y="466"/>
                  </a:lnTo>
                  <a:close/>
                  <a:moveTo>
                    <a:pt x="444" y="1663"/>
                  </a:moveTo>
                  <a:lnTo>
                    <a:pt x="444" y="1664"/>
                  </a:lnTo>
                  <a:lnTo>
                    <a:pt x="444" y="1663"/>
                  </a:lnTo>
                  <a:lnTo>
                    <a:pt x="446" y="1663"/>
                  </a:lnTo>
                  <a:lnTo>
                    <a:pt x="446" y="1664"/>
                  </a:lnTo>
                  <a:lnTo>
                    <a:pt x="444" y="1664"/>
                  </a:lnTo>
                  <a:lnTo>
                    <a:pt x="443" y="1663"/>
                  </a:lnTo>
                  <a:lnTo>
                    <a:pt x="444" y="1663"/>
                  </a:lnTo>
                  <a:close/>
                  <a:moveTo>
                    <a:pt x="33" y="1580"/>
                  </a:moveTo>
                  <a:lnTo>
                    <a:pt x="33" y="1578"/>
                  </a:lnTo>
                  <a:lnTo>
                    <a:pt x="31" y="1578"/>
                  </a:lnTo>
                  <a:lnTo>
                    <a:pt x="31" y="1576"/>
                  </a:lnTo>
                  <a:lnTo>
                    <a:pt x="33" y="1576"/>
                  </a:lnTo>
                  <a:lnTo>
                    <a:pt x="33" y="1578"/>
                  </a:lnTo>
                  <a:lnTo>
                    <a:pt x="33" y="1576"/>
                  </a:lnTo>
                  <a:lnTo>
                    <a:pt x="33" y="1578"/>
                  </a:lnTo>
                  <a:lnTo>
                    <a:pt x="35" y="1578"/>
                  </a:lnTo>
                  <a:lnTo>
                    <a:pt x="35" y="1580"/>
                  </a:lnTo>
                  <a:lnTo>
                    <a:pt x="33" y="1580"/>
                  </a:lnTo>
                  <a:close/>
                  <a:moveTo>
                    <a:pt x="661" y="441"/>
                  </a:moveTo>
                  <a:lnTo>
                    <a:pt x="662" y="441"/>
                  </a:lnTo>
                  <a:lnTo>
                    <a:pt x="662" y="443"/>
                  </a:lnTo>
                  <a:lnTo>
                    <a:pt x="662" y="441"/>
                  </a:lnTo>
                  <a:lnTo>
                    <a:pt x="662" y="443"/>
                  </a:lnTo>
                  <a:lnTo>
                    <a:pt x="661" y="443"/>
                  </a:lnTo>
                  <a:lnTo>
                    <a:pt x="661" y="441"/>
                  </a:lnTo>
                  <a:close/>
                  <a:moveTo>
                    <a:pt x="516" y="1484"/>
                  </a:moveTo>
                  <a:lnTo>
                    <a:pt x="514" y="1481"/>
                  </a:lnTo>
                  <a:lnTo>
                    <a:pt x="514" y="1479"/>
                  </a:lnTo>
                  <a:lnTo>
                    <a:pt x="516" y="1481"/>
                  </a:lnTo>
                  <a:lnTo>
                    <a:pt x="516" y="1482"/>
                  </a:lnTo>
                  <a:lnTo>
                    <a:pt x="516" y="1484"/>
                  </a:lnTo>
                  <a:close/>
                  <a:moveTo>
                    <a:pt x="561" y="780"/>
                  </a:moveTo>
                  <a:lnTo>
                    <a:pt x="561" y="781"/>
                  </a:lnTo>
                  <a:lnTo>
                    <a:pt x="563" y="781"/>
                  </a:lnTo>
                  <a:lnTo>
                    <a:pt x="563" y="783"/>
                  </a:lnTo>
                  <a:lnTo>
                    <a:pt x="563" y="784"/>
                  </a:lnTo>
                  <a:lnTo>
                    <a:pt x="563" y="783"/>
                  </a:lnTo>
                  <a:lnTo>
                    <a:pt x="563" y="784"/>
                  </a:lnTo>
                  <a:lnTo>
                    <a:pt x="563" y="786"/>
                  </a:lnTo>
                  <a:lnTo>
                    <a:pt x="563" y="784"/>
                  </a:lnTo>
                  <a:lnTo>
                    <a:pt x="561" y="783"/>
                  </a:lnTo>
                  <a:lnTo>
                    <a:pt x="561" y="784"/>
                  </a:lnTo>
                  <a:lnTo>
                    <a:pt x="561" y="783"/>
                  </a:lnTo>
                  <a:lnTo>
                    <a:pt x="563" y="783"/>
                  </a:lnTo>
                  <a:lnTo>
                    <a:pt x="561" y="783"/>
                  </a:lnTo>
                  <a:lnTo>
                    <a:pt x="561" y="781"/>
                  </a:lnTo>
                  <a:lnTo>
                    <a:pt x="561" y="780"/>
                  </a:lnTo>
                  <a:close/>
                  <a:moveTo>
                    <a:pt x="729" y="436"/>
                  </a:moveTo>
                  <a:lnTo>
                    <a:pt x="731" y="438"/>
                  </a:lnTo>
                  <a:lnTo>
                    <a:pt x="732" y="440"/>
                  </a:lnTo>
                  <a:lnTo>
                    <a:pt x="731" y="440"/>
                  </a:lnTo>
                  <a:lnTo>
                    <a:pt x="731" y="438"/>
                  </a:lnTo>
                  <a:lnTo>
                    <a:pt x="729" y="438"/>
                  </a:lnTo>
                  <a:lnTo>
                    <a:pt x="729" y="436"/>
                  </a:lnTo>
                  <a:close/>
                  <a:moveTo>
                    <a:pt x="565" y="1414"/>
                  </a:moveTo>
                  <a:lnTo>
                    <a:pt x="566" y="1412"/>
                  </a:lnTo>
                  <a:lnTo>
                    <a:pt x="566" y="1414"/>
                  </a:lnTo>
                  <a:lnTo>
                    <a:pt x="565" y="1415"/>
                  </a:lnTo>
                  <a:lnTo>
                    <a:pt x="566" y="1414"/>
                  </a:lnTo>
                  <a:lnTo>
                    <a:pt x="566" y="1415"/>
                  </a:lnTo>
                  <a:lnTo>
                    <a:pt x="565" y="1415"/>
                  </a:lnTo>
                  <a:lnTo>
                    <a:pt x="565" y="1417"/>
                  </a:lnTo>
                  <a:lnTo>
                    <a:pt x="565" y="1415"/>
                  </a:lnTo>
                  <a:lnTo>
                    <a:pt x="565" y="1414"/>
                  </a:lnTo>
                  <a:lnTo>
                    <a:pt x="565" y="1412"/>
                  </a:lnTo>
                  <a:lnTo>
                    <a:pt x="566" y="1412"/>
                  </a:lnTo>
                  <a:lnTo>
                    <a:pt x="565" y="1414"/>
                  </a:lnTo>
                  <a:close/>
                  <a:moveTo>
                    <a:pt x="557" y="1424"/>
                  </a:moveTo>
                  <a:lnTo>
                    <a:pt x="558" y="1424"/>
                  </a:lnTo>
                  <a:lnTo>
                    <a:pt x="557" y="1425"/>
                  </a:lnTo>
                  <a:lnTo>
                    <a:pt x="557" y="1427"/>
                  </a:lnTo>
                  <a:lnTo>
                    <a:pt x="555" y="1427"/>
                  </a:lnTo>
                  <a:lnTo>
                    <a:pt x="555" y="1425"/>
                  </a:lnTo>
                  <a:lnTo>
                    <a:pt x="557" y="1425"/>
                  </a:lnTo>
                  <a:lnTo>
                    <a:pt x="557" y="1424"/>
                  </a:lnTo>
                  <a:close/>
                  <a:moveTo>
                    <a:pt x="669" y="462"/>
                  </a:moveTo>
                  <a:lnTo>
                    <a:pt x="670" y="462"/>
                  </a:lnTo>
                  <a:lnTo>
                    <a:pt x="672" y="464"/>
                  </a:lnTo>
                  <a:lnTo>
                    <a:pt x="670" y="464"/>
                  </a:lnTo>
                  <a:lnTo>
                    <a:pt x="669" y="462"/>
                  </a:lnTo>
                  <a:lnTo>
                    <a:pt x="670" y="462"/>
                  </a:lnTo>
                  <a:lnTo>
                    <a:pt x="669" y="462"/>
                  </a:lnTo>
                  <a:close/>
                  <a:moveTo>
                    <a:pt x="682" y="487"/>
                  </a:moveTo>
                  <a:lnTo>
                    <a:pt x="682" y="485"/>
                  </a:lnTo>
                  <a:lnTo>
                    <a:pt x="683" y="485"/>
                  </a:lnTo>
                  <a:lnTo>
                    <a:pt x="683" y="487"/>
                  </a:lnTo>
                  <a:lnTo>
                    <a:pt x="685" y="487"/>
                  </a:lnTo>
                  <a:lnTo>
                    <a:pt x="683" y="487"/>
                  </a:lnTo>
                  <a:lnTo>
                    <a:pt x="682" y="487"/>
                  </a:lnTo>
                  <a:lnTo>
                    <a:pt x="683" y="487"/>
                  </a:lnTo>
                  <a:lnTo>
                    <a:pt x="683" y="485"/>
                  </a:lnTo>
                  <a:lnTo>
                    <a:pt x="682" y="487"/>
                  </a:lnTo>
                  <a:close/>
                  <a:moveTo>
                    <a:pt x="574" y="1394"/>
                  </a:moveTo>
                  <a:lnTo>
                    <a:pt x="576" y="1394"/>
                  </a:lnTo>
                  <a:lnTo>
                    <a:pt x="578" y="1394"/>
                  </a:lnTo>
                  <a:lnTo>
                    <a:pt x="578" y="1396"/>
                  </a:lnTo>
                  <a:lnTo>
                    <a:pt x="579" y="1396"/>
                  </a:lnTo>
                  <a:lnTo>
                    <a:pt x="578" y="1396"/>
                  </a:lnTo>
                  <a:lnTo>
                    <a:pt x="576" y="1396"/>
                  </a:lnTo>
                  <a:lnTo>
                    <a:pt x="574" y="1396"/>
                  </a:lnTo>
                  <a:lnTo>
                    <a:pt x="574" y="1394"/>
                  </a:lnTo>
                  <a:close/>
                  <a:moveTo>
                    <a:pt x="563" y="1380"/>
                  </a:moveTo>
                  <a:lnTo>
                    <a:pt x="565" y="1380"/>
                  </a:lnTo>
                  <a:lnTo>
                    <a:pt x="565" y="1381"/>
                  </a:lnTo>
                  <a:lnTo>
                    <a:pt x="563" y="1381"/>
                  </a:lnTo>
                  <a:lnTo>
                    <a:pt x="563" y="1380"/>
                  </a:lnTo>
                  <a:close/>
                  <a:moveTo>
                    <a:pt x="763" y="435"/>
                  </a:moveTo>
                  <a:lnTo>
                    <a:pt x="762" y="435"/>
                  </a:lnTo>
                  <a:lnTo>
                    <a:pt x="762" y="436"/>
                  </a:lnTo>
                  <a:lnTo>
                    <a:pt x="762" y="435"/>
                  </a:lnTo>
                  <a:lnTo>
                    <a:pt x="763" y="433"/>
                  </a:lnTo>
                  <a:lnTo>
                    <a:pt x="763" y="435"/>
                  </a:lnTo>
                  <a:lnTo>
                    <a:pt x="765" y="435"/>
                  </a:lnTo>
                  <a:lnTo>
                    <a:pt x="763" y="435"/>
                  </a:lnTo>
                  <a:lnTo>
                    <a:pt x="765" y="435"/>
                  </a:lnTo>
                  <a:lnTo>
                    <a:pt x="763" y="435"/>
                  </a:lnTo>
                  <a:close/>
                  <a:moveTo>
                    <a:pt x="622" y="1658"/>
                  </a:moveTo>
                  <a:lnTo>
                    <a:pt x="623" y="1658"/>
                  </a:lnTo>
                  <a:lnTo>
                    <a:pt x="623" y="1659"/>
                  </a:lnTo>
                  <a:lnTo>
                    <a:pt x="622" y="1659"/>
                  </a:lnTo>
                  <a:lnTo>
                    <a:pt x="622" y="1658"/>
                  </a:lnTo>
                  <a:close/>
                  <a:moveTo>
                    <a:pt x="568" y="1357"/>
                  </a:moveTo>
                  <a:lnTo>
                    <a:pt x="570" y="1359"/>
                  </a:lnTo>
                  <a:lnTo>
                    <a:pt x="570" y="1357"/>
                  </a:lnTo>
                  <a:lnTo>
                    <a:pt x="570" y="1359"/>
                  </a:lnTo>
                  <a:lnTo>
                    <a:pt x="570" y="1360"/>
                  </a:lnTo>
                  <a:lnTo>
                    <a:pt x="568" y="1360"/>
                  </a:lnTo>
                  <a:lnTo>
                    <a:pt x="570" y="1360"/>
                  </a:lnTo>
                  <a:lnTo>
                    <a:pt x="570" y="1359"/>
                  </a:lnTo>
                  <a:lnTo>
                    <a:pt x="568" y="1360"/>
                  </a:lnTo>
                  <a:lnTo>
                    <a:pt x="568" y="1359"/>
                  </a:lnTo>
                  <a:lnTo>
                    <a:pt x="568" y="1357"/>
                  </a:lnTo>
                  <a:close/>
                  <a:moveTo>
                    <a:pt x="446" y="890"/>
                  </a:moveTo>
                  <a:lnTo>
                    <a:pt x="448" y="890"/>
                  </a:lnTo>
                  <a:lnTo>
                    <a:pt x="448" y="892"/>
                  </a:lnTo>
                  <a:lnTo>
                    <a:pt x="446" y="892"/>
                  </a:lnTo>
                  <a:lnTo>
                    <a:pt x="446" y="893"/>
                  </a:lnTo>
                  <a:lnTo>
                    <a:pt x="446" y="892"/>
                  </a:lnTo>
                  <a:lnTo>
                    <a:pt x="446" y="890"/>
                  </a:lnTo>
                  <a:close/>
                  <a:moveTo>
                    <a:pt x="638" y="505"/>
                  </a:moveTo>
                  <a:lnTo>
                    <a:pt x="640" y="505"/>
                  </a:lnTo>
                  <a:lnTo>
                    <a:pt x="640" y="506"/>
                  </a:lnTo>
                  <a:lnTo>
                    <a:pt x="638" y="506"/>
                  </a:lnTo>
                  <a:lnTo>
                    <a:pt x="638" y="505"/>
                  </a:lnTo>
                  <a:lnTo>
                    <a:pt x="636" y="505"/>
                  </a:lnTo>
                  <a:lnTo>
                    <a:pt x="636" y="503"/>
                  </a:lnTo>
                  <a:lnTo>
                    <a:pt x="638" y="505"/>
                  </a:lnTo>
                  <a:close/>
                  <a:moveTo>
                    <a:pt x="542" y="1276"/>
                  </a:moveTo>
                  <a:lnTo>
                    <a:pt x="544" y="1276"/>
                  </a:lnTo>
                  <a:lnTo>
                    <a:pt x="542" y="1276"/>
                  </a:lnTo>
                  <a:lnTo>
                    <a:pt x="544" y="1276"/>
                  </a:lnTo>
                  <a:lnTo>
                    <a:pt x="544" y="1277"/>
                  </a:lnTo>
                  <a:lnTo>
                    <a:pt x="542" y="1276"/>
                  </a:lnTo>
                  <a:lnTo>
                    <a:pt x="544" y="1277"/>
                  </a:lnTo>
                  <a:lnTo>
                    <a:pt x="542" y="1277"/>
                  </a:lnTo>
                  <a:lnTo>
                    <a:pt x="544" y="1277"/>
                  </a:lnTo>
                  <a:lnTo>
                    <a:pt x="542" y="1279"/>
                  </a:lnTo>
                  <a:lnTo>
                    <a:pt x="542" y="1277"/>
                  </a:lnTo>
                  <a:lnTo>
                    <a:pt x="542" y="1276"/>
                  </a:lnTo>
                  <a:lnTo>
                    <a:pt x="542" y="1277"/>
                  </a:lnTo>
                  <a:lnTo>
                    <a:pt x="542" y="1276"/>
                  </a:lnTo>
                  <a:close/>
                  <a:moveTo>
                    <a:pt x="566" y="1417"/>
                  </a:moveTo>
                  <a:lnTo>
                    <a:pt x="565" y="1417"/>
                  </a:lnTo>
                  <a:lnTo>
                    <a:pt x="565" y="1419"/>
                  </a:lnTo>
                  <a:lnTo>
                    <a:pt x="563" y="1419"/>
                  </a:lnTo>
                  <a:lnTo>
                    <a:pt x="565" y="1417"/>
                  </a:lnTo>
                  <a:lnTo>
                    <a:pt x="566" y="1415"/>
                  </a:lnTo>
                  <a:lnTo>
                    <a:pt x="566" y="1417"/>
                  </a:lnTo>
                  <a:close/>
                  <a:moveTo>
                    <a:pt x="579" y="1394"/>
                  </a:moveTo>
                  <a:lnTo>
                    <a:pt x="579" y="1393"/>
                  </a:lnTo>
                  <a:lnTo>
                    <a:pt x="581" y="1393"/>
                  </a:lnTo>
                  <a:lnTo>
                    <a:pt x="583" y="1393"/>
                  </a:lnTo>
                  <a:lnTo>
                    <a:pt x="581" y="1393"/>
                  </a:lnTo>
                  <a:lnTo>
                    <a:pt x="581" y="1394"/>
                  </a:lnTo>
                  <a:lnTo>
                    <a:pt x="579" y="1394"/>
                  </a:lnTo>
                  <a:lnTo>
                    <a:pt x="578" y="1394"/>
                  </a:lnTo>
                  <a:lnTo>
                    <a:pt x="579" y="1394"/>
                  </a:lnTo>
                  <a:close/>
                  <a:moveTo>
                    <a:pt x="22" y="1529"/>
                  </a:moveTo>
                  <a:lnTo>
                    <a:pt x="23" y="1529"/>
                  </a:lnTo>
                  <a:lnTo>
                    <a:pt x="23" y="1531"/>
                  </a:lnTo>
                  <a:lnTo>
                    <a:pt x="23" y="1533"/>
                  </a:lnTo>
                  <a:lnTo>
                    <a:pt x="22" y="1533"/>
                  </a:lnTo>
                  <a:lnTo>
                    <a:pt x="22" y="1531"/>
                  </a:lnTo>
                  <a:lnTo>
                    <a:pt x="22" y="1533"/>
                  </a:lnTo>
                  <a:lnTo>
                    <a:pt x="22" y="1531"/>
                  </a:lnTo>
                  <a:lnTo>
                    <a:pt x="22" y="1529"/>
                  </a:lnTo>
                  <a:lnTo>
                    <a:pt x="22" y="1531"/>
                  </a:lnTo>
                  <a:lnTo>
                    <a:pt x="22" y="1529"/>
                  </a:lnTo>
                  <a:close/>
                  <a:moveTo>
                    <a:pt x="758" y="420"/>
                  </a:moveTo>
                  <a:lnTo>
                    <a:pt x="760" y="420"/>
                  </a:lnTo>
                  <a:lnTo>
                    <a:pt x="760" y="422"/>
                  </a:lnTo>
                  <a:lnTo>
                    <a:pt x="758" y="422"/>
                  </a:lnTo>
                  <a:lnTo>
                    <a:pt x="758" y="420"/>
                  </a:lnTo>
                  <a:lnTo>
                    <a:pt x="758" y="422"/>
                  </a:lnTo>
                  <a:lnTo>
                    <a:pt x="758" y="420"/>
                  </a:lnTo>
                  <a:lnTo>
                    <a:pt x="760" y="420"/>
                  </a:lnTo>
                  <a:lnTo>
                    <a:pt x="758" y="420"/>
                  </a:lnTo>
                  <a:close/>
                  <a:moveTo>
                    <a:pt x="433" y="1617"/>
                  </a:moveTo>
                  <a:lnTo>
                    <a:pt x="433" y="1616"/>
                  </a:lnTo>
                  <a:lnTo>
                    <a:pt x="435" y="1617"/>
                  </a:lnTo>
                  <a:lnTo>
                    <a:pt x="435" y="1619"/>
                  </a:lnTo>
                  <a:lnTo>
                    <a:pt x="433" y="1619"/>
                  </a:lnTo>
                  <a:lnTo>
                    <a:pt x="433" y="1617"/>
                  </a:lnTo>
                  <a:close/>
                  <a:moveTo>
                    <a:pt x="430" y="1617"/>
                  </a:moveTo>
                  <a:lnTo>
                    <a:pt x="431" y="1617"/>
                  </a:lnTo>
                  <a:lnTo>
                    <a:pt x="431" y="1619"/>
                  </a:lnTo>
                  <a:lnTo>
                    <a:pt x="431" y="1617"/>
                  </a:lnTo>
                  <a:lnTo>
                    <a:pt x="433" y="1617"/>
                  </a:lnTo>
                  <a:lnTo>
                    <a:pt x="433" y="1619"/>
                  </a:lnTo>
                  <a:lnTo>
                    <a:pt x="431" y="1619"/>
                  </a:lnTo>
                  <a:lnTo>
                    <a:pt x="430" y="1619"/>
                  </a:lnTo>
                  <a:lnTo>
                    <a:pt x="430" y="1617"/>
                  </a:lnTo>
                  <a:close/>
                  <a:moveTo>
                    <a:pt x="666" y="467"/>
                  </a:moveTo>
                  <a:lnTo>
                    <a:pt x="666" y="469"/>
                  </a:lnTo>
                  <a:lnTo>
                    <a:pt x="664" y="469"/>
                  </a:lnTo>
                  <a:lnTo>
                    <a:pt x="664" y="467"/>
                  </a:lnTo>
                  <a:lnTo>
                    <a:pt x="666" y="467"/>
                  </a:lnTo>
                  <a:close/>
                  <a:moveTo>
                    <a:pt x="607" y="1620"/>
                  </a:moveTo>
                  <a:lnTo>
                    <a:pt x="609" y="1620"/>
                  </a:lnTo>
                  <a:lnTo>
                    <a:pt x="609" y="1622"/>
                  </a:lnTo>
                  <a:lnTo>
                    <a:pt x="609" y="1624"/>
                  </a:lnTo>
                  <a:lnTo>
                    <a:pt x="607" y="1624"/>
                  </a:lnTo>
                  <a:lnTo>
                    <a:pt x="607" y="1622"/>
                  </a:lnTo>
                  <a:lnTo>
                    <a:pt x="607" y="1620"/>
                  </a:lnTo>
                  <a:close/>
                  <a:moveTo>
                    <a:pt x="61" y="1627"/>
                  </a:moveTo>
                  <a:lnTo>
                    <a:pt x="61" y="1629"/>
                  </a:lnTo>
                  <a:lnTo>
                    <a:pt x="62" y="1629"/>
                  </a:lnTo>
                  <a:lnTo>
                    <a:pt x="62" y="1630"/>
                  </a:lnTo>
                  <a:lnTo>
                    <a:pt x="61" y="1630"/>
                  </a:lnTo>
                  <a:lnTo>
                    <a:pt x="61" y="1629"/>
                  </a:lnTo>
                  <a:lnTo>
                    <a:pt x="61" y="1627"/>
                  </a:lnTo>
                  <a:close/>
                  <a:moveTo>
                    <a:pt x="553" y="1381"/>
                  </a:moveTo>
                  <a:lnTo>
                    <a:pt x="555" y="1381"/>
                  </a:lnTo>
                  <a:lnTo>
                    <a:pt x="557" y="1383"/>
                  </a:lnTo>
                  <a:lnTo>
                    <a:pt x="555" y="1383"/>
                  </a:lnTo>
                  <a:lnTo>
                    <a:pt x="553" y="1383"/>
                  </a:lnTo>
                  <a:lnTo>
                    <a:pt x="555" y="1381"/>
                  </a:lnTo>
                  <a:lnTo>
                    <a:pt x="553" y="1381"/>
                  </a:lnTo>
                  <a:close/>
                  <a:moveTo>
                    <a:pt x="433" y="1622"/>
                  </a:moveTo>
                  <a:lnTo>
                    <a:pt x="431" y="1620"/>
                  </a:lnTo>
                  <a:lnTo>
                    <a:pt x="431" y="1619"/>
                  </a:lnTo>
                  <a:lnTo>
                    <a:pt x="433" y="1619"/>
                  </a:lnTo>
                  <a:lnTo>
                    <a:pt x="433" y="1620"/>
                  </a:lnTo>
                  <a:lnTo>
                    <a:pt x="433" y="1622"/>
                  </a:lnTo>
                  <a:close/>
                  <a:moveTo>
                    <a:pt x="666" y="438"/>
                  </a:moveTo>
                  <a:lnTo>
                    <a:pt x="666" y="440"/>
                  </a:lnTo>
                  <a:lnTo>
                    <a:pt x="666" y="441"/>
                  </a:lnTo>
                  <a:lnTo>
                    <a:pt x="666" y="440"/>
                  </a:lnTo>
                  <a:lnTo>
                    <a:pt x="664" y="440"/>
                  </a:lnTo>
                  <a:lnTo>
                    <a:pt x="664" y="438"/>
                  </a:lnTo>
                  <a:lnTo>
                    <a:pt x="666" y="438"/>
                  </a:lnTo>
                  <a:close/>
                  <a:moveTo>
                    <a:pt x="596" y="1339"/>
                  </a:moveTo>
                  <a:lnTo>
                    <a:pt x="596" y="1341"/>
                  </a:lnTo>
                  <a:lnTo>
                    <a:pt x="597" y="1341"/>
                  </a:lnTo>
                  <a:lnTo>
                    <a:pt x="596" y="1341"/>
                  </a:lnTo>
                  <a:lnTo>
                    <a:pt x="594" y="1341"/>
                  </a:lnTo>
                  <a:lnTo>
                    <a:pt x="596" y="1341"/>
                  </a:lnTo>
                  <a:lnTo>
                    <a:pt x="594" y="1341"/>
                  </a:lnTo>
                  <a:lnTo>
                    <a:pt x="596" y="1339"/>
                  </a:lnTo>
                  <a:close/>
                  <a:moveTo>
                    <a:pt x="547" y="1407"/>
                  </a:moveTo>
                  <a:lnTo>
                    <a:pt x="547" y="1409"/>
                  </a:lnTo>
                  <a:lnTo>
                    <a:pt x="545" y="1407"/>
                  </a:lnTo>
                  <a:lnTo>
                    <a:pt x="545" y="1406"/>
                  </a:lnTo>
                  <a:lnTo>
                    <a:pt x="547" y="1406"/>
                  </a:lnTo>
                  <a:lnTo>
                    <a:pt x="547" y="1407"/>
                  </a:lnTo>
                  <a:close/>
                  <a:moveTo>
                    <a:pt x="65" y="1612"/>
                  </a:moveTo>
                  <a:lnTo>
                    <a:pt x="65" y="1611"/>
                  </a:lnTo>
                  <a:lnTo>
                    <a:pt x="65" y="1609"/>
                  </a:lnTo>
                  <a:lnTo>
                    <a:pt x="67" y="1609"/>
                  </a:lnTo>
                  <a:lnTo>
                    <a:pt x="67" y="1611"/>
                  </a:lnTo>
                  <a:lnTo>
                    <a:pt x="65" y="1612"/>
                  </a:lnTo>
                  <a:close/>
                  <a:moveTo>
                    <a:pt x="57" y="1629"/>
                  </a:moveTo>
                  <a:lnTo>
                    <a:pt x="56" y="1629"/>
                  </a:lnTo>
                  <a:lnTo>
                    <a:pt x="56" y="1630"/>
                  </a:lnTo>
                  <a:lnTo>
                    <a:pt x="54" y="1630"/>
                  </a:lnTo>
                  <a:lnTo>
                    <a:pt x="52" y="1630"/>
                  </a:lnTo>
                  <a:lnTo>
                    <a:pt x="54" y="1629"/>
                  </a:lnTo>
                  <a:lnTo>
                    <a:pt x="56" y="1629"/>
                  </a:lnTo>
                  <a:lnTo>
                    <a:pt x="57" y="1629"/>
                  </a:lnTo>
                  <a:close/>
                  <a:moveTo>
                    <a:pt x="680" y="435"/>
                  </a:moveTo>
                  <a:lnTo>
                    <a:pt x="682" y="436"/>
                  </a:lnTo>
                  <a:lnTo>
                    <a:pt x="682" y="438"/>
                  </a:lnTo>
                  <a:lnTo>
                    <a:pt x="682" y="436"/>
                  </a:lnTo>
                  <a:lnTo>
                    <a:pt x="680" y="436"/>
                  </a:lnTo>
                  <a:lnTo>
                    <a:pt x="680" y="435"/>
                  </a:lnTo>
                  <a:close/>
                  <a:moveTo>
                    <a:pt x="643" y="510"/>
                  </a:moveTo>
                  <a:lnTo>
                    <a:pt x="643" y="508"/>
                  </a:lnTo>
                  <a:lnTo>
                    <a:pt x="644" y="510"/>
                  </a:lnTo>
                  <a:lnTo>
                    <a:pt x="644" y="511"/>
                  </a:lnTo>
                  <a:lnTo>
                    <a:pt x="644" y="510"/>
                  </a:lnTo>
                  <a:lnTo>
                    <a:pt x="643" y="510"/>
                  </a:lnTo>
                  <a:close/>
                  <a:moveTo>
                    <a:pt x="20" y="1526"/>
                  </a:moveTo>
                  <a:lnTo>
                    <a:pt x="18" y="1526"/>
                  </a:lnTo>
                  <a:lnTo>
                    <a:pt x="18" y="1524"/>
                  </a:lnTo>
                  <a:lnTo>
                    <a:pt x="18" y="1523"/>
                  </a:lnTo>
                  <a:lnTo>
                    <a:pt x="20" y="1524"/>
                  </a:lnTo>
                  <a:lnTo>
                    <a:pt x="20" y="1526"/>
                  </a:lnTo>
                  <a:close/>
                  <a:moveTo>
                    <a:pt x="565" y="1380"/>
                  </a:moveTo>
                  <a:lnTo>
                    <a:pt x="565" y="1378"/>
                  </a:lnTo>
                  <a:lnTo>
                    <a:pt x="566" y="1378"/>
                  </a:lnTo>
                  <a:lnTo>
                    <a:pt x="566" y="1380"/>
                  </a:lnTo>
                  <a:lnTo>
                    <a:pt x="568" y="1380"/>
                  </a:lnTo>
                  <a:lnTo>
                    <a:pt x="566" y="1381"/>
                  </a:lnTo>
                  <a:lnTo>
                    <a:pt x="566" y="1380"/>
                  </a:lnTo>
                  <a:lnTo>
                    <a:pt x="566" y="1381"/>
                  </a:lnTo>
                  <a:lnTo>
                    <a:pt x="565" y="1381"/>
                  </a:lnTo>
                  <a:lnTo>
                    <a:pt x="566" y="1380"/>
                  </a:lnTo>
                  <a:lnTo>
                    <a:pt x="565" y="1380"/>
                  </a:lnTo>
                  <a:lnTo>
                    <a:pt x="566" y="1380"/>
                  </a:lnTo>
                  <a:lnTo>
                    <a:pt x="565" y="1380"/>
                  </a:lnTo>
                  <a:close/>
                  <a:moveTo>
                    <a:pt x="698" y="456"/>
                  </a:moveTo>
                  <a:lnTo>
                    <a:pt x="698" y="454"/>
                  </a:lnTo>
                  <a:lnTo>
                    <a:pt x="698" y="456"/>
                  </a:lnTo>
                  <a:lnTo>
                    <a:pt x="700" y="456"/>
                  </a:lnTo>
                  <a:lnTo>
                    <a:pt x="700" y="458"/>
                  </a:lnTo>
                  <a:lnTo>
                    <a:pt x="698" y="456"/>
                  </a:lnTo>
                  <a:close/>
                  <a:moveTo>
                    <a:pt x="573" y="1404"/>
                  </a:moveTo>
                  <a:lnTo>
                    <a:pt x="573" y="1406"/>
                  </a:lnTo>
                  <a:lnTo>
                    <a:pt x="573" y="1407"/>
                  </a:lnTo>
                  <a:lnTo>
                    <a:pt x="574" y="1407"/>
                  </a:lnTo>
                  <a:lnTo>
                    <a:pt x="573" y="1407"/>
                  </a:lnTo>
                  <a:lnTo>
                    <a:pt x="571" y="1407"/>
                  </a:lnTo>
                  <a:lnTo>
                    <a:pt x="573" y="1406"/>
                  </a:lnTo>
                  <a:lnTo>
                    <a:pt x="573" y="1404"/>
                  </a:lnTo>
                  <a:close/>
                  <a:moveTo>
                    <a:pt x="522" y="828"/>
                  </a:moveTo>
                  <a:lnTo>
                    <a:pt x="522" y="827"/>
                  </a:lnTo>
                  <a:lnTo>
                    <a:pt x="524" y="827"/>
                  </a:lnTo>
                  <a:lnTo>
                    <a:pt x="524" y="828"/>
                  </a:lnTo>
                  <a:lnTo>
                    <a:pt x="522" y="828"/>
                  </a:lnTo>
                  <a:close/>
                  <a:moveTo>
                    <a:pt x="550" y="1445"/>
                  </a:moveTo>
                  <a:lnTo>
                    <a:pt x="552" y="1445"/>
                  </a:lnTo>
                  <a:lnTo>
                    <a:pt x="552" y="1446"/>
                  </a:lnTo>
                  <a:lnTo>
                    <a:pt x="553" y="1446"/>
                  </a:lnTo>
                  <a:lnTo>
                    <a:pt x="555" y="1446"/>
                  </a:lnTo>
                  <a:lnTo>
                    <a:pt x="553" y="1448"/>
                  </a:lnTo>
                  <a:lnTo>
                    <a:pt x="553" y="1446"/>
                  </a:lnTo>
                  <a:lnTo>
                    <a:pt x="553" y="1448"/>
                  </a:lnTo>
                  <a:lnTo>
                    <a:pt x="552" y="1446"/>
                  </a:lnTo>
                  <a:lnTo>
                    <a:pt x="552" y="1445"/>
                  </a:lnTo>
                  <a:lnTo>
                    <a:pt x="552" y="1446"/>
                  </a:lnTo>
                  <a:lnTo>
                    <a:pt x="550" y="1446"/>
                  </a:lnTo>
                  <a:lnTo>
                    <a:pt x="550" y="1445"/>
                  </a:lnTo>
                  <a:close/>
                  <a:moveTo>
                    <a:pt x="438" y="1599"/>
                  </a:moveTo>
                  <a:lnTo>
                    <a:pt x="440" y="1599"/>
                  </a:lnTo>
                  <a:lnTo>
                    <a:pt x="441" y="1599"/>
                  </a:lnTo>
                  <a:lnTo>
                    <a:pt x="441" y="1601"/>
                  </a:lnTo>
                  <a:lnTo>
                    <a:pt x="440" y="1601"/>
                  </a:lnTo>
                  <a:lnTo>
                    <a:pt x="438" y="1599"/>
                  </a:lnTo>
                  <a:close/>
                  <a:moveTo>
                    <a:pt x="630" y="557"/>
                  </a:moveTo>
                  <a:lnTo>
                    <a:pt x="630" y="555"/>
                  </a:lnTo>
                  <a:lnTo>
                    <a:pt x="631" y="555"/>
                  </a:lnTo>
                  <a:lnTo>
                    <a:pt x="631" y="557"/>
                  </a:lnTo>
                  <a:lnTo>
                    <a:pt x="630" y="557"/>
                  </a:lnTo>
                  <a:close/>
                  <a:moveTo>
                    <a:pt x="628" y="736"/>
                  </a:moveTo>
                  <a:lnTo>
                    <a:pt x="627" y="736"/>
                  </a:lnTo>
                  <a:lnTo>
                    <a:pt x="628" y="736"/>
                  </a:lnTo>
                  <a:lnTo>
                    <a:pt x="628" y="734"/>
                  </a:lnTo>
                  <a:lnTo>
                    <a:pt x="628" y="736"/>
                  </a:lnTo>
                  <a:close/>
                  <a:moveTo>
                    <a:pt x="700" y="451"/>
                  </a:moveTo>
                  <a:lnTo>
                    <a:pt x="701" y="451"/>
                  </a:lnTo>
                  <a:lnTo>
                    <a:pt x="701" y="453"/>
                  </a:lnTo>
                  <a:lnTo>
                    <a:pt x="700" y="453"/>
                  </a:lnTo>
                  <a:lnTo>
                    <a:pt x="700" y="451"/>
                  </a:lnTo>
                  <a:close/>
                  <a:moveTo>
                    <a:pt x="370" y="1877"/>
                  </a:moveTo>
                  <a:lnTo>
                    <a:pt x="370" y="1879"/>
                  </a:lnTo>
                  <a:lnTo>
                    <a:pt x="371" y="1879"/>
                  </a:lnTo>
                  <a:lnTo>
                    <a:pt x="370" y="1879"/>
                  </a:lnTo>
                  <a:lnTo>
                    <a:pt x="368" y="1879"/>
                  </a:lnTo>
                  <a:lnTo>
                    <a:pt x="370" y="1879"/>
                  </a:lnTo>
                  <a:lnTo>
                    <a:pt x="370" y="1877"/>
                  </a:lnTo>
                  <a:lnTo>
                    <a:pt x="368" y="1877"/>
                  </a:lnTo>
                  <a:lnTo>
                    <a:pt x="370" y="1876"/>
                  </a:lnTo>
                  <a:lnTo>
                    <a:pt x="370" y="1877"/>
                  </a:lnTo>
                  <a:close/>
                  <a:moveTo>
                    <a:pt x="540" y="1253"/>
                  </a:moveTo>
                  <a:lnTo>
                    <a:pt x="542" y="1253"/>
                  </a:lnTo>
                  <a:lnTo>
                    <a:pt x="542" y="1254"/>
                  </a:lnTo>
                  <a:lnTo>
                    <a:pt x="540" y="1254"/>
                  </a:lnTo>
                  <a:lnTo>
                    <a:pt x="540" y="1253"/>
                  </a:lnTo>
                  <a:close/>
                  <a:moveTo>
                    <a:pt x="591" y="1342"/>
                  </a:moveTo>
                  <a:lnTo>
                    <a:pt x="591" y="1341"/>
                  </a:lnTo>
                  <a:lnTo>
                    <a:pt x="592" y="1341"/>
                  </a:lnTo>
                  <a:lnTo>
                    <a:pt x="592" y="1342"/>
                  </a:lnTo>
                  <a:lnTo>
                    <a:pt x="594" y="1342"/>
                  </a:lnTo>
                  <a:lnTo>
                    <a:pt x="592" y="1342"/>
                  </a:lnTo>
                  <a:lnTo>
                    <a:pt x="591" y="1342"/>
                  </a:lnTo>
                  <a:close/>
                  <a:moveTo>
                    <a:pt x="506" y="843"/>
                  </a:moveTo>
                  <a:lnTo>
                    <a:pt x="506" y="841"/>
                  </a:lnTo>
                  <a:lnTo>
                    <a:pt x="508" y="841"/>
                  </a:lnTo>
                  <a:lnTo>
                    <a:pt x="506" y="841"/>
                  </a:lnTo>
                  <a:lnTo>
                    <a:pt x="508" y="843"/>
                  </a:lnTo>
                  <a:lnTo>
                    <a:pt x="506" y="843"/>
                  </a:lnTo>
                  <a:close/>
                  <a:moveTo>
                    <a:pt x="721" y="436"/>
                  </a:moveTo>
                  <a:lnTo>
                    <a:pt x="721" y="435"/>
                  </a:lnTo>
                  <a:lnTo>
                    <a:pt x="722" y="435"/>
                  </a:lnTo>
                  <a:lnTo>
                    <a:pt x="722" y="436"/>
                  </a:lnTo>
                  <a:lnTo>
                    <a:pt x="722" y="438"/>
                  </a:lnTo>
                  <a:lnTo>
                    <a:pt x="722" y="436"/>
                  </a:lnTo>
                  <a:lnTo>
                    <a:pt x="721" y="436"/>
                  </a:lnTo>
                  <a:close/>
                  <a:moveTo>
                    <a:pt x="420" y="1084"/>
                  </a:moveTo>
                  <a:lnTo>
                    <a:pt x="422" y="1084"/>
                  </a:lnTo>
                  <a:lnTo>
                    <a:pt x="423" y="1084"/>
                  </a:lnTo>
                  <a:lnTo>
                    <a:pt x="423" y="1085"/>
                  </a:lnTo>
                  <a:lnTo>
                    <a:pt x="425" y="1085"/>
                  </a:lnTo>
                  <a:lnTo>
                    <a:pt x="423" y="1085"/>
                  </a:lnTo>
                  <a:lnTo>
                    <a:pt x="422" y="1085"/>
                  </a:lnTo>
                  <a:lnTo>
                    <a:pt x="420" y="1085"/>
                  </a:lnTo>
                  <a:lnTo>
                    <a:pt x="420" y="1084"/>
                  </a:lnTo>
                  <a:close/>
                  <a:moveTo>
                    <a:pt x="747" y="430"/>
                  </a:moveTo>
                  <a:lnTo>
                    <a:pt x="745" y="430"/>
                  </a:lnTo>
                  <a:lnTo>
                    <a:pt x="745" y="428"/>
                  </a:lnTo>
                  <a:lnTo>
                    <a:pt x="747" y="428"/>
                  </a:lnTo>
                  <a:lnTo>
                    <a:pt x="747" y="430"/>
                  </a:lnTo>
                  <a:close/>
                  <a:moveTo>
                    <a:pt x="555" y="1687"/>
                  </a:moveTo>
                  <a:lnTo>
                    <a:pt x="553" y="1685"/>
                  </a:lnTo>
                  <a:lnTo>
                    <a:pt x="553" y="1684"/>
                  </a:lnTo>
                  <a:lnTo>
                    <a:pt x="555" y="1685"/>
                  </a:lnTo>
                  <a:lnTo>
                    <a:pt x="555" y="1687"/>
                  </a:lnTo>
                  <a:close/>
                  <a:moveTo>
                    <a:pt x="544" y="1272"/>
                  </a:moveTo>
                  <a:lnTo>
                    <a:pt x="545" y="1272"/>
                  </a:lnTo>
                  <a:lnTo>
                    <a:pt x="547" y="1272"/>
                  </a:lnTo>
                  <a:lnTo>
                    <a:pt x="547" y="1274"/>
                  </a:lnTo>
                  <a:lnTo>
                    <a:pt x="545" y="1274"/>
                  </a:lnTo>
                  <a:lnTo>
                    <a:pt x="544" y="1272"/>
                  </a:lnTo>
                  <a:close/>
                  <a:moveTo>
                    <a:pt x="596" y="1326"/>
                  </a:moveTo>
                  <a:lnTo>
                    <a:pt x="594" y="1326"/>
                  </a:lnTo>
                  <a:lnTo>
                    <a:pt x="596" y="1326"/>
                  </a:lnTo>
                  <a:lnTo>
                    <a:pt x="596" y="1328"/>
                  </a:lnTo>
                  <a:lnTo>
                    <a:pt x="594" y="1328"/>
                  </a:lnTo>
                  <a:lnTo>
                    <a:pt x="594" y="1326"/>
                  </a:lnTo>
                  <a:lnTo>
                    <a:pt x="596" y="1326"/>
                  </a:lnTo>
                  <a:close/>
                  <a:moveTo>
                    <a:pt x="441" y="1645"/>
                  </a:moveTo>
                  <a:lnTo>
                    <a:pt x="443" y="1645"/>
                  </a:lnTo>
                  <a:lnTo>
                    <a:pt x="444" y="1645"/>
                  </a:lnTo>
                  <a:lnTo>
                    <a:pt x="443" y="1645"/>
                  </a:lnTo>
                  <a:lnTo>
                    <a:pt x="441" y="1645"/>
                  </a:lnTo>
                  <a:close/>
                  <a:moveTo>
                    <a:pt x="444" y="1206"/>
                  </a:moveTo>
                  <a:lnTo>
                    <a:pt x="446" y="1206"/>
                  </a:lnTo>
                  <a:lnTo>
                    <a:pt x="448" y="1206"/>
                  </a:lnTo>
                  <a:lnTo>
                    <a:pt x="446" y="1207"/>
                  </a:lnTo>
                  <a:lnTo>
                    <a:pt x="444" y="1207"/>
                  </a:lnTo>
                  <a:lnTo>
                    <a:pt x="446" y="1206"/>
                  </a:lnTo>
                  <a:lnTo>
                    <a:pt x="444" y="1206"/>
                  </a:lnTo>
                  <a:lnTo>
                    <a:pt x="446" y="1206"/>
                  </a:lnTo>
                  <a:lnTo>
                    <a:pt x="444" y="1206"/>
                  </a:lnTo>
                  <a:close/>
                  <a:moveTo>
                    <a:pt x="638" y="540"/>
                  </a:moveTo>
                  <a:lnTo>
                    <a:pt x="640" y="540"/>
                  </a:lnTo>
                  <a:lnTo>
                    <a:pt x="640" y="542"/>
                  </a:lnTo>
                  <a:lnTo>
                    <a:pt x="638" y="542"/>
                  </a:lnTo>
                  <a:lnTo>
                    <a:pt x="640" y="542"/>
                  </a:lnTo>
                  <a:lnTo>
                    <a:pt x="638" y="540"/>
                  </a:lnTo>
                  <a:close/>
                  <a:moveTo>
                    <a:pt x="574" y="1365"/>
                  </a:moveTo>
                  <a:lnTo>
                    <a:pt x="574" y="1367"/>
                  </a:lnTo>
                  <a:lnTo>
                    <a:pt x="573" y="1367"/>
                  </a:lnTo>
                  <a:lnTo>
                    <a:pt x="573" y="1365"/>
                  </a:lnTo>
                  <a:lnTo>
                    <a:pt x="573" y="1367"/>
                  </a:lnTo>
                  <a:lnTo>
                    <a:pt x="574" y="1365"/>
                  </a:lnTo>
                  <a:close/>
                  <a:moveTo>
                    <a:pt x="573" y="1385"/>
                  </a:moveTo>
                  <a:lnTo>
                    <a:pt x="574" y="1385"/>
                  </a:lnTo>
                  <a:lnTo>
                    <a:pt x="574" y="1386"/>
                  </a:lnTo>
                  <a:lnTo>
                    <a:pt x="573" y="1386"/>
                  </a:lnTo>
                  <a:lnTo>
                    <a:pt x="573" y="1385"/>
                  </a:lnTo>
                  <a:lnTo>
                    <a:pt x="574" y="1386"/>
                  </a:lnTo>
                  <a:lnTo>
                    <a:pt x="574" y="1385"/>
                  </a:lnTo>
                  <a:lnTo>
                    <a:pt x="573" y="1385"/>
                  </a:lnTo>
                  <a:close/>
                  <a:moveTo>
                    <a:pt x="584" y="1339"/>
                  </a:moveTo>
                  <a:lnTo>
                    <a:pt x="584" y="1341"/>
                  </a:lnTo>
                  <a:lnTo>
                    <a:pt x="583" y="1341"/>
                  </a:lnTo>
                  <a:lnTo>
                    <a:pt x="583" y="1339"/>
                  </a:lnTo>
                  <a:lnTo>
                    <a:pt x="584" y="1339"/>
                  </a:lnTo>
                  <a:close/>
                  <a:moveTo>
                    <a:pt x="576" y="1342"/>
                  </a:moveTo>
                  <a:lnTo>
                    <a:pt x="578" y="1342"/>
                  </a:lnTo>
                  <a:lnTo>
                    <a:pt x="578" y="1344"/>
                  </a:lnTo>
                  <a:lnTo>
                    <a:pt x="576" y="1342"/>
                  </a:lnTo>
                  <a:lnTo>
                    <a:pt x="576" y="1344"/>
                  </a:lnTo>
                  <a:lnTo>
                    <a:pt x="574" y="1344"/>
                  </a:lnTo>
                  <a:lnTo>
                    <a:pt x="576" y="1342"/>
                  </a:lnTo>
                  <a:lnTo>
                    <a:pt x="578" y="1342"/>
                  </a:lnTo>
                  <a:lnTo>
                    <a:pt x="576" y="1342"/>
                  </a:lnTo>
                  <a:close/>
                  <a:moveTo>
                    <a:pt x="680" y="428"/>
                  </a:moveTo>
                  <a:lnTo>
                    <a:pt x="680" y="430"/>
                  </a:lnTo>
                  <a:lnTo>
                    <a:pt x="679" y="430"/>
                  </a:lnTo>
                  <a:lnTo>
                    <a:pt x="680" y="430"/>
                  </a:lnTo>
                  <a:lnTo>
                    <a:pt x="680" y="428"/>
                  </a:lnTo>
                  <a:lnTo>
                    <a:pt x="679" y="428"/>
                  </a:lnTo>
                  <a:lnTo>
                    <a:pt x="680" y="428"/>
                  </a:lnTo>
                  <a:close/>
                  <a:moveTo>
                    <a:pt x="472" y="890"/>
                  </a:moveTo>
                  <a:lnTo>
                    <a:pt x="470" y="890"/>
                  </a:lnTo>
                  <a:lnTo>
                    <a:pt x="472" y="890"/>
                  </a:lnTo>
                  <a:lnTo>
                    <a:pt x="470" y="890"/>
                  </a:lnTo>
                  <a:lnTo>
                    <a:pt x="470" y="889"/>
                  </a:lnTo>
                  <a:lnTo>
                    <a:pt x="472" y="889"/>
                  </a:lnTo>
                  <a:lnTo>
                    <a:pt x="472" y="890"/>
                  </a:lnTo>
                  <a:close/>
                  <a:moveTo>
                    <a:pt x="532" y="1438"/>
                  </a:moveTo>
                  <a:lnTo>
                    <a:pt x="534" y="1438"/>
                  </a:lnTo>
                  <a:lnTo>
                    <a:pt x="535" y="1438"/>
                  </a:lnTo>
                  <a:lnTo>
                    <a:pt x="535" y="1440"/>
                  </a:lnTo>
                  <a:lnTo>
                    <a:pt x="534" y="1440"/>
                  </a:lnTo>
                  <a:lnTo>
                    <a:pt x="534" y="1438"/>
                  </a:lnTo>
                  <a:lnTo>
                    <a:pt x="532" y="1440"/>
                  </a:lnTo>
                  <a:lnTo>
                    <a:pt x="532" y="1438"/>
                  </a:lnTo>
                  <a:close/>
                  <a:moveTo>
                    <a:pt x="591" y="1336"/>
                  </a:moveTo>
                  <a:lnTo>
                    <a:pt x="592" y="1336"/>
                  </a:lnTo>
                  <a:lnTo>
                    <a:pt x="592" y="1337"/>
                  </a:lnTo>
                  <a:lnTo>
                    <a:pt x="591" y="1337"/>
                  </a:lnTo>
                  <a:lnTo>
                    <a:pt x="591" y="1336"/>
                  </a:lnTo>
                  <a:close/>
                  <a:moveTo>
                    <a:pt x="392" y="1882"/>
                  </a:moveTo>
                  <a:lnTo>
                    <a:pt x="392" y="1884"/>
                  </a:lnTo>
                  <a:lnTo>
                    <a:pt x="391" y="1884"/>
                  </a:lnTo>
                  <a:lnTo>
                    <a:pt x="391" y="1882"/>
                  </a:lnTo>
                  <a:lnTo>
                    <a:pt x="391" y="1881"/>
                  </a:lnTo>
                  <a:lnTo>
                    <a:pt x="392" y="1881"/>
                  </a:lnTo>
                  <a:lnTo>
                    <a:pt x="392" y="1882"/>
                  </a:lnTo>
                  <a:close/>
                  <a:moveTo>
                    <a:pt x="454" y="1552"/>
                  </a:moveTo>
                  <a:lnTo>
                    <a:pt x="453" y="1552"/>
                  </a:lnTo>
                  <a:lnTo>
                    <a:pt x="453" y="1550"/>
                  </a:lnTo>
                  <a:lnTo>
                    <a:pt x="453" y="1549"/>
                  </a:lnTo>
                  <a:lnTo>
                    <a:pt x="454" y="1549"/>
                  </a:lnTo>
                  <a:lnTo>
                    <a:pt x="454" y="1550"/>
                  </a:lnTo>
                  <a:lnTo>
                    <a:pt x="454" y="1552"/>
                  </a:lnTo>
                  <a:close/>
                  <a:moveTo>
                    <a:pt x="565" y="793"/>
                  </a:moveTo>
                  <a:lnTo>
                    <a:pt x="565" y="791"/>
                  </a:lnTo>
                  <a:lnTo>
                    <a:pt x="565" y="793"/>
                  </a:lnTo>
                  <a:lnTo>
                    <a:pt x="565" y="794"/>
                  </a:lnTo>
                  <a:lnTo>
                    <a:pt x="565" y="793"/>
                  </a:lnTo>
                  <a:close/>
                  <a:moveTo>
                    <a:pt x="52" y="1607"/>
                  </a:moveTo>
                  <a:lnTo>
                    <a:pt x="52" y="1609"/>
                  </a:lnTo>
                  <a:lnTo>
                    <a:pt x="51" y="1609"/>
                  </a:lnTo>
                  <a:lnTo>
                    <a:pt x="51" y="1607"/>
                  </a:lnTo>
                  <a:lnTo>
                    <a:pt x="51" y="1609"/>
                  </a:lnTo>
                  <a:lnTo>
                    <a:pt x="51" y="1607"/>
                  </a:lnTo>
                  <a:lnTo>
                    <a:pt x="52" y="1606"/>
                  </a:lnTo>
                  <a:lnTo>
                    <a:pt x="52" y="1607"/>
                  </a:lnTo>
                  <a:close/>
                  <a:moveTo>
                    <a:pt x="51" y="1586"/>
                  </a:moveTo>
                  <a:lnTo>
                    <a:pt x="49" y="1586"/>
                  </a:lnTo>
                  <a:lnTo>
                    <a:pt x="51" y="1585"/>
                  </a:lnTo>
                  <a:lnTo>
                    <a:pt x="51" y="1583"/>
                  </a:lnTo>
                  <a:lnTo>
                    <a:pt x="52" y="1583"/>
                  </a:lnTo>
                  <a:lnTo>
                    <a:pt x="51" y="1585"/>
                  </a:lnTo>
                  <a:lnTo>
                    <a:pt x="51" y="1586"/>
                  </a:lnTo>
                  <a:close/>
                  <a:moveTo>
                    <a:pt x="52" y="1632"/>
                  </a:moveTo>
                  <a:lnTo>
                    <a:pt x="51" y="1632"/>
                  </a:lnTo>
                  <a:lnTo>
                    <a:pt x="51" y="1630"/>
                  </a:lnTo>
                  <a:lnTo>
                    <a:pt x="52" y="1630"/>
                  </a:lnTo>
                  <a:lnTo>
                    <a:pt x="52" y="1632"/>
                  </a:lnTo>
                  <a:close/>
                  <a:moveTo>
                    <a:pt x="589" y="1324"/>
                  </a:moveTo>
                  <a:lnTo>
                    <a:pt x="591" y="1324"/>
                  </a:lnTo>
                  <a:lnTo>
                    <a:pt x="591" y="1326"/>
                  </a:lnTo>
                  <a:lnTo>
                    <a:pt x="589" y="1326"/>
                  </a:lnTo>
                  <a:lnTo>
                    <a:pt x="589" y="1324"/>
                  </a:lnTo>
                  <a:close/>
                  <a:moveTo>
                    <a:pt x="545" y="1380"/>
                  </a:moveTo>
                  <a:lnTo>
                    <a:pt x="547" y="1380"/>
                  </a:lnTo>
                  <a:lnTo>
                    <a:pt x="545" y="1380"/>
                  </a:lnTo>
                  <a:lnTo>
                    <a:pt x="545" y="1381"/>
                  </a:lnTo>
                  <a:lnTo>
                    <a:pt x="544" y="1381"/>
                  </a:lnTo>
                  <a:lnTo>
                    <a:pt x="544" y="1380"/>
                  </a:lnTo>
                  <a:lnTo>
                    <a:pt x="545" y="1380"/>
                  </a:lnTo>
                  <a:close/>
                  <a:moveTo>
                    <a:pt x="443" y="1537"/>
                  </a:moveTo>
                  <a:lnTo>
                    <a:pt x="444" y="1537"/>
                  </a:lnTo>
                  <a:lnTo>
                    <a:pt x="444" y="1539"/>
                  </a:lnTo>
                  <a:lnTo>
                    <a:pt x="443" y="1539"/>
                  </a:lnTo>
                  <a:lnTo>
                    <a:pt x="443" y="1537"/>
                  </a:lnTo>
                  <a:close/>
                  <a:moveTo>
                    <a:pt x="544" y="1435"/>
                  </a:moveTo>
                  <a:lnTo>
                    <a:pt x="544" y="1437"/>
                  </a:lnTo>
                  <a:lnTo>
                    <a:pt x="544" y="1435"/>
                  </a:lnTo>
                  <a:lnTo>
                    <a:pt x="545" y="1435"/>
                  </a:lnTo>
                  <a:lnTo>
                    <a:pt x="545" y="1437"/>
                  </a:lnTo>
                  <a:lnTo>
                    <a:pt x="544" y="1438"/>
                  </a:lnTo>
                  <a:lnTo>
                    <a:pt x="544" y="1437"/>
                  </a:lnTo>
                  <a:lnTo>
                    <a:pt x="544" y="1435"/>
                  </a:lnTo>
                  <a:close/>
                  <a:moveTo>
                    <a:pt x="448" y="1576"/>
                  </a:moveTo>
                  <a:lnTo>
                    <a:pt x="448" y="1578"/>
                  </a:lnTo>
                  <a:lnTo>
                    <a:pt x="448" y="1576"/>
                  </a:lnTo>
                  <a:lnTo>
                    <a:pt x="449" y="1576"/>
                  </a:lnTo>
                  <a:lnTo>
                    <a:pt x="449" y="1578"/>
                  </a:lnTo>
                  <a:lnTo>
                    <a:pt x="449" y="1580"/>
                  </a:lnTo>
                  <a:lnTo>
                    <a:pt x="449" y="1578"/>
                  </a:lnTo>
                  <a:lnTo>
                    <a:pt x="448" y="1578"/>
                  </a:lnTo>
                  <a:lnTo>
                    <a:pt x="448" y="1580"/>
                  </a:lnTo>
                  <a:lnTo>
                    <a:pt x="448" y="1578"/>
                  </a:lnTo>
                  <a:lnTo>
                    <a:pt x="448" y="1576"/>
                  </a:lnTo>
                  <a:close/>
                  <a:moveTo>
                    <a:pt x="563" y="1428"/>
                  </a:moveTo>
                  <a:lnTo>
                    <a:pt x="565" y="1428"/>
                  </a:lnTo>
                  <a:lnTo>
                    <a:pt x="563" y="1428"/>
                  </a:lnTo>
                  <a:lnTo>
                    <a:pt x="563" y="1427"/>
                  </a:lnTo>
                  <a:lnTo>
                    <a:pt x="565" y="1427"/>
                  </a:lnTo>
                  <a:lnTo>
                    <a:pt x="565" y="1425"/>
                  </a:lnTo>
                  <a:lnTo>
                    <a:pt x="565" y="1427"/>
                  </a:lnTo>
                  <a:lnTo>
                    <a:pt x="565" y="1428"/>
                  </a:lnTo>
                  <a:lnTo>
                    <a:pt x="563" y="1428"/>
                  </a:lnTo>
                  <a:close/>
                  <a:moveTo>
                    <a:pt x="451" y="1568"/>
                  </a:moveTo>
                  <a:lnTo>
                    <a:pt x="451" y="1570"/>
                  </a:lnTo>
                  <a:lnTo>
                    <a:pt x="449" y="1570"/>
                  </a:lnTo>
                  <a:lnTo>
                    <a:pt x="449" y="1568"/>
                  </a:lnTo>
                  <a:lnTo>
                    <a:pt x="449" y="1570"/>
                  </a:lnTo>
                  <a:lnTo>
                    <a:pt x="451" y="1568"/>
                  </a:lnTo>
                  <a:close/>
                  <a:moveTo>
                    <a:pt x="563" y="1422"/>
                  </a:moveTo>
                  <a:lnTo>
                    <a:pt x="563" y="1420"/>
                  </a:lnTo>
                  <a:lnTo>
                    <a:pt x="563" y="1422"/>
                  </a:lnTo>
                  <a:lnTo>
                    <a:pt x="561" y="1422"/>
                  </a:lnTo>
                  <a:lnTo>
                    <a:pt x="561" y="1424"/>
                  </a:lnTo>
                  <a:lnTo>
                    <a:pt x="561" y="1422"/>
                  </a:lnTo>
                  <a:lnTo>
                    <a:pt x="563" y="1422"/>
                  </a:lnTo>
                  <a:close/>
                  <a:moveTo>
                    <a:pt x="566" y="1425"/>
                  </a:moveTo>
                  <a:lnTo>
                    <a:pt x="568" y="1427"/>
                  </a:lnTo>
                  <a:lnTo>
                    <a:pt x="566" y="1427"/>
                  </a:lnTo>
                  <a:lnTo>
                    <a:pt x="565" y="1427"/>
                  </a:lnTo>
                  <a:lnTo>
                    <a:pt x="566" y="1427"/>
                  </a:lnTo>
                  <a:lnTo>
                    <a:pt x="565" y="1427"/>
                  </a:lnTo>
                  <a:lnTo>
                    <a:pt x="565" y="1428"/>
                  </a:lnTo>
                  <a:lnTo>
                    <a:pt x="565" y="1427"/>
                  </a:lnTo>
                  <a:lnTo>
                    <a:pt x="565" y="1425"/>
                  </a:lnTo>
                  <a:lnTo>
                    <a:pt x="566" y="1427"/>
                  </a:lnTo>
                  <a:lnTo>
                    <a:pt x="566" y="1425"/>
                  </a:lnTo>
                  <a:close/>
                  <a:moveTo>
                    <a:pt x="765" y="433"/>
                  </a:moveTo>
                  <a:lnTo>
                    <a:pt x="766" y="433"/>
                  </a:lnTo>
                  <a:lnTo>
                    <a:pt x="766" y="435"/>
                  </a:lnTo>
                  <a:lnTo>
                    <a:pt x="766" y="433"/>
                  </a:lnTo>
                  <a:lnTo>
                    <a:pt x="765" y="433"/>
                  </a:lnTo>
                  <a:lnTo>
                    <a:pt x="765" y="435"/>
                  </a:lnTo>
                  <a:lnTo>
                    <a:pt x="765" y="433"/>
                  </a:lnTo>
                  <a:close/>
                  <a:moveTo>
                    <a:pt x="544" y="794"/>
                  </a:moveTo>
                  <a:lnTo>
                    <a:pt x="542" y="794"/>
                  </a:lnTo>
                  <a:lnTo>
                    <a:pt x="542" y="796"/>
                  </a:lnTo>
                  <a:lnTo>
                    <a:pt x="542" y="794"/>
                  </a:lnTo>
                  <a:lnTo>
                    <a:pt x="542" y="793"/>
                  </a:lnTo>
                  <a:lnTo>
                    <a:pt x="542" y="794"/>
                  </a:lnTo>
                  <a:lnTo>
                    <a:pt x="544" y="794"/>
                  </a:lnTo>
                  <a:close/>
                  <a:moveTo>
                    <a:pt x="682" y="435"/>
                  </a:moveTo>
                  <a:lnTo>
                    <a:pt x="682" y="436"/>
                  </a:lnTo>
                  <a:lnTo>
                    <a:pt x="683" y="436"/>
                  </a:lnTo>
                  <a:lnTo>
                    <a:pt x="682" y="436"/>
                  </a:lnTo>
                  <a:lnTo>
                    <a:pt x="682" y="435"/>
                  </a:lnTo>
                  <a:close/>
                  <a:moveTo>
                    <a:pt x="453" y="1199"/>
                  </a:moveTo>
                  <a:lnTo>
                    <a:pt x="453" y="1201"/>
                  </a:lnTo>
                  <a:lnTo>
                    <a:pt x="453" y="1202"/>
                  </a:lnTo>
                  <a:lnTo>
                    <a:pt x="453" y="1201"/>
                  </a:lnTo>
                  <a:lnTo>
                    <a:pt x="453" y="1202"/>
                  </a:lnTo>
                  <a:lnTo>
                    <a:pt x="453" y="1201"/>
                  </a:lnTo>
                  <a:lnTo>
                    <a:pt x="451" y="1201"/>
                  </a:lnTo>
                  <a:lnTo>
                    <a:pt x="453" y="1201"/>
                  </a:lnTo>
                  <a:lnTo>
                    <a:pt x="453" y="1199"/>
                  </a:lnTo>
                  <a:close/>
                  <a:moveTo>
                    <a:pt x="548" y="1427"/>
                  </a:moveTo>
                  <a:lnTo>
                    <a:pt x="550" y="1427"/>
                  </a:lnTo>
                  <a:lnTo>
                    <a:pt x="550" y="1428"/>
                  </a:lnTo>
                  <a:lnTo>
                    <a:pt x="548" y="1428"/>
                  </a:lnTo>
                  <a:lnTo>
                    <a:pt x="547" y="1428"/>
                  </a:lnTo>
                  <a:lnTo>
                    <a:pt x="548" y="1427"/>
                  </a:lnTo>
                  <a:close/>
                  <a:moveTo>
                    <a:pt x="22" y="1544"/>
                  </a:moveTo>
                  <a:lnTo>
                    <a:pt x="23" y="1546"/>
                  </a:lnTo>
                  <a:lnTo>
                    <a:pt x="22" y="1546"/>
                  </a:lnTo>
                  <a:lnTo>
                    <a:pt x="22" y="1544"/>
                  </a:lnTo>
                  <a:close/>
                  <a:moveTo>
                    <a:pt x="649" y="487"/>
                  </a:moveTo>
                  <a:lnTo>
                    <a:pt x="651" y="487"/>
                  </a:lnTo>
                  <a:lnTo>
                    <a:pt x="651" y="488"/>
                  </a:lnTo>
                  <a:lnTo>
                    <a:pt x="649" y="488"/>
                  </a:lnTo>
                  <a:lnTo>
                    <a:pt x="649" y="487"/>
                  </a:lnTo>
                  <a:close/>
                  <a:moveTo>
                    <a:pt x="568" y="1422"/>
                  </a:moveTo>
                  <a:lnTo>
                    <a:pt x="568" y="1420"/>
                  </a:lnTo>
                  <a:lnTo>
                    <a:pt x="568" y="1422"/>
                  </a:lnTo>
                  <a:lnTo>
                    <a:pt x="568" y="1420"/>
                  </a:lnTo>
                  <a:lnTo>
                    <a:pt x="570" y="1420"/>
                  </a:lnTo>
                  <a:lnTo>
                    <a:pt x="570" y="1422"/>
                  </a:lnTo>
                  <a:lnTo>
                    <a:pt x="568" y="1422"/>
                  </a:lnTo>
                  <a:lnTo>
                    <a:pt x="568" y="1424"/>
                  </a:lnTo>
                  <a:lnTo>
                    <a:pt x="566" y="1424"/>
                  </a:lnTo>
                  <a:lnTo>
                    <a:pt x="566" y="1422"/>
                  </a:lnTo>
                  <a:lnTo>
                    <a:pt x="568" y="1424"/>
                  </a:lnTo>
                  <a:lnTo>
                    <a:pt x="568" y="1422"/>
                  </a:lnTo>
                  <a:close/>
                  <a:moveTo>
                    <a:pt x="576" y="1368"/>
                  </a:moveTo>
                  <a:lnTo>
                    <a:pt x="576" y="1367"/>
                  </a:lnTo>
                  <a:lnTo>
                    <a:pt x="574" y="1368"/>
                  </a:lnTo>
                  <a:lnTo>
                    <a:pt x="574" y="1370"/>
                  </a:lnTo>
                  <a:lnTo>
                    <a:pt x="573" y="1370"/>
                  </a:lnTo>
                  <a:lnTo>
                    <a:pt x="573" y="1368"/>
                  </a:lnTo>
                  <a:lnTo>
                    <a:pt x="574" y="1368"/>
                  </a:lnTo>
                  <a:lnTo>
                    <a:pt x="574" y="1367"/>
                  </a:lnTo>
                  <a:lnTo>
                    <a:pt x="574" y="1368"/>
                  </a:lnTo>
                  <a:lnTo>
                    <a:pt x="576" y="1367"/>
                  </a:lnTo>
                  <a:lnTo>
                    <a:pt x="576" y="1368"/>
                  </a:lnTo>
                  <a:close/>
                  <a:moveTo>
                    <a:pt x="488" y="1477"/>
                  </a:moveTo>
                  <a:lnTo>
                    <a:pt x="488" y="1479"/>
                  </a:lnTo>
                  <a:lnTo>
                    <a:pt x="488" y="1477"/>
                  </a:lnTo>
                  <a:lnTo>
                    <a:pt x="487" y="1477"/>
                  </a:lnTo>
                  <a:lnTo>
                    <a:pt x="487" y="1476"/>
                  </a:lnTo>
                  <a:lnTo>
                    <a:pt x="488" y="1476"/>
                  </a:lnTo>
                  <a:lnTo>
                    <a:pt x="488" y="1477"/>
                  </a:lnTo>
                  <a:close/>
                  <a:moveTo>
                    <a:pt x="93" y="1720"/>
                  </a:moveTo>
                  <a:lnTo>
                    <a:pt x="93" y="1718"/>
                  </a:lnTo>
                  <a:lnTo>
                    <a:pt x="93" y="1720"/>
                  </a:lnTo>
                  <a:lnTo>
                    <a:pt x="95" y="1720"/>
                  </a:lnTo>
                  <a:lnTo>
                    <a:pt x="93" y="1721"/>
                  </a:lnTo>
                  <a:lnTo>
                    <a:pt x="93" y="1720"/>
                  </a:lnTo>
                  <a:close/>
                  <a:moveTo>
                    <a:pt x="592" y="1337"/>
                  </a:moveTo>
                  <a:lnTo>
                    <a:pt x="594" y="1337"/>
                  </a:lnTo>
                  <a:lnTo>
                    <a:pt x="594" y="1339"/>
                  </a:lnTo>
                  <a:lnTo>
                    <a:pt x="592" y="1339"/>
                  </a:lnTo>
                  <a:lnTo>
                    <a:pt x="592" y="1337"/>
                  </a:lnTo>
                  <a:lnTo>
                    <a:pt x="591" y="1337"/>
                  </a:lnTo>
                  <a:lnTo>
                    <a:pt x="592" y="1337"/>
                  </a:lnTo>
                  <a:close/>
                  <a:moveTo>
                    <a:pt x="433" y="1077"/>
                  </a:moveTo>
                  <a:lnTo>
                    <a:pt x="435" y="1077"/>
                  </a:lnTo>
                  <a:lnTo>
                    <a:pt x="435" y="1079"/>
                  </a:lnTo>
                  <a:lnTo>
                    <a:pt x="433" y="1077"/>
                  </a:lnTo>
                  <a:close/>
                  <a:moveTo>
                    <a:pt x="561" y="1437"/>
                  </a:moveTo>
                  <a:lnTo>
                    <a:pt x="563" y="1437"/>
                  </a:lnTo>
                  <a:lnTo>
                    <a:pt x="563" y="1438"/>
                  </a:lnTo>
                  <a:lnTo>
                    <a:pt x="561" y="1438"/>
                  </a:lnTo>
                  <a:lnTo>
                    <a:pt x="560" y="1437"/>
                  </a:lnTo>
                  <a:lnTo>
                    <a:pt x="561" y="1437"/>
                  </a:lnTo>
                  <a:close/>
                  <a:moveTo>
                    <a:pt x="440" y="1617"/>
                  </a:moveTo>
                  <a:lnTo>
                    <a:pt x="441" y="1617"/>
                  </a:lnTo>
                  <a:lnTo>
                    <a:pt x="440" y="1619"/>
                  </a:lnTo>
                  <a:lnTo>
                    <a:pt x="441" y="1619"/>
                  </a:lnTo>
                  <a:lnTo>
                    <a:pt x="440" y="1619"/>
                  </a:lnTo>
                  <a:lnTo>
                    <a:pt x="440" y="1617"/>
                  </a:lnTo>
                  <a:close/>
                  <a:moveTo>
                    <a:pt x="535" y="1446"/>
                  </a:moveTo>
                  <a:lnTo>
                    <a:pt x="534" y="1446"/>
                  </a:lnTo>
                  <a:lnTo>
                    <a:pt x="534" y="1445"/>
                  </a:lnTo>
                  <a:lnTo>
                    <a:pt x="535" y="1445"/>
                  </a:lnTo>
                  <a:lnTo>
                    <a:pt x="534" y="1445"/>
                  </a:lnTo>
                  <a:lnTo>
                    <a:pt x="535" y="1446"/>
                  </a:lnTo>
                  <a:close/>
                  <a:moveTo>
                    <a:pt x="22" y="1536"/>
                  </a:moveTo>
                  <a:lnTo>
                    <a:pt x="22" y="1534"/>
                  </a:lnTo>
                  <a:lnTo>
                    <a:pt x="23" y="1534"/>
                  </a:lnTo>
                  <a:lnTo>
                    <a:pt x="23" y="1536"/>
                  </a:lnTo>
                  <a:lnTo>
                    <a:pt x="22" y="1536"/>
                  </a:lnTo>
                  <a:close/>
                  <a:moveTo>
                    <a:pt x="492" y="854"/>
                  </a:moveTo>
                  <a:lnTo>
                    <a:pt x="492" y="853"/>
                  </a:lnTo>
                  <a:lnTo>
                    <a:pt x="492" y="854"/>
                  </a:lnTo>
                  <a:close/>
                  <a:moveTo>
                    <a:pt x="539" y="1256"/>
                  </a:moveTo>
                  <a:lnTo>
                    <a:pt x="540" y="1256"/>
                  </a:lnTo>
                  <a:lnTo>
                    <a:pt x="540" y="1258"/>
                  </a:lnTo>
                  <a:lnTo>
                    <a:pt x="540" y="1256"/>
                  </a:lnTo>
                  <a:lnTo>
                    <a:pt x="539" y="1256"/>
                  </a:lnTo>
                  <a:lnTo>
                    <a:pt x="540" y="1256"/>
                  </a:lnTo>
                  <a:lnTo>
                    <a:pt x="539" y="1256"/>
                  </a:lnTo>
                  <a:close/>
                  <a:moveTo>
                    <a:pt x="78" y="1715"/>
                  </a:moveTo>
                  <a:lnTo>
                    <a:pt x="80" y="1713"/>
                  </a:lnTo>
                  <a:lnTo>
                    <a:pt x="82" y="1715"/>
                  </a:lnTo>
                  <a:lnTo>
                    <a:pt x="80" y="1715"/>
                  </a:lnTo>
                  <a:lnTo>
                    <a:pt x="78" y="1715"/>
                  </a:lnTo>
                  <a:close/>
                  <a:moveTo>
                    <a:pt x="568" y="1368"/>
                  </a:moveTo>
                  <a:lnTo>
                    <a:pt x="566" y="1370"/>
                  </a:lnTo>
                  <a:lnTo>
                    <a:pt x="565" y="1370"/>
                  </a:lnTo>
                  <a:lnTo>
                    <a:pt x="566" y="1368"/>
                  </a:lnTo>
                  <a:lnTo>
                    <a:pt x="568" y="1368"/>
                  </a:lnTo>
                  <a:close/>
                  <a:moveTo>
                    <a:pt x="544" y="1386"/>
                  </a:moveTo>
                  <a:lnTo>
                    <a:pt x="545" y="1386"/>
                  </a:lnTo>
                  <a:lnTo>
                    <a:pt x="545" y="1388"/>
                  </a:lnTo>
                  <a:lnTo>
                    <a:pt x="544" y="1388"/>
                  </a:lnTo>
                  <a:lnTo>
                    <a:pt x="544" y="1386"/>
                  </a:lnTo>
                  <a:close/>
                  <a:moveTo>
                    <a:pt x="690" y="448"/>
                  </a:moveTo>
                  <a:lnTo>
                    <a:pt x="690" y="449"/>
                  </a:lnTo>
                  <a:lnTo>
                    <a:pt x="690" y="448"/>
                  </a:lnTo>
                  <a:lnTo>
                    <a:pt x="688" y="448"/>
                  </a:lnTo>
                  <a:lnTo>
                    <a:pt x="690" y="446"/>
                  </a:lnTo>
                  <a:lnTo>
                    <a:pt x="690" y="448"/>
                  </a:lnTo>
                  <a:lnTo>
                    <a:pt x="692" y="448"/>
                  </a:lnTo>
                  <a:lnTo>
                    <a:pt x="690" y="448"/>
                  </a:lnTo>
                  <a:close/>
                  <a:moveTo>
                    <a:pt x="542" y="1406"/>
                  </a:moveTo>
                  <a:lnTo>
                    <a:pt x="544" y="1406"/>
                  </a:lnTo>
                  <a:lnTo>
                    <a:pt x="545" y="1406"/>
                  </a:lnTo>
                  <a:lnTo>
                    <a:pt x="544" y="1406"/>
                  </a:lnTo>
                  <a:lnTo>
                    <a:pt x="545" y="1406"/>
                  </a:lnTo>
                  <a:lnTo>
                    <a:pt x="545" y="1407"/>
                  </a:lnTo>
                  <a:lnTo>
                    <a:pt x="544" y="1406"/>
                  </a:lnTo>
                  <a:lnTo>
                    <a:pt x="542" y="1406"/>
                  </a:lnTo>
                  <a:lnTo>
                    <a:pt x="544" y="1406"/>
                  </a:lnTo>
                  <a:lnTo>
                    <a:pt x="542" y="1406"/>
                  </a:lnTo>
                  <a:close/>
                  <a:moveTo>
                    <a:pt x="500" y="854"/>
                  </a:moveTo>
                  <a:lnTo>
                    <a:pt x="500" y="853"/>
                  </a:lnTo>
                  <a:lnTo>
                    <a:pt x="500" y="851"/>
                  </a:lnTo>
                  <a:lnTo>
                    <a:pt x="500" y="853"/>
                  </a:lnTo>
                  <a:lnTo>
                    <a:pt x="500" y="854"/>
                  </a:lnTo>
                  <a:close/>
                  <a:moveTo>
                    <a:pt x="752" y="425"/>
                  </a:moveTo>
                  <a:lnTo>
                    <a:pt x="752" y="423"/>
                  </a:lnTo>
                  <a:lnTo>
                    <a:pt x="752" y="425"/>
                  </a:lnTo>
                  <a:lnTo>
                    <a:pt x="753" y="425"/>
                  </a:lnTo>
                  <a:lnTo>
                    <a:pt x="752" y="425"/>
                  </a:lnTo>
                  <a:lnTo>
                    <a:pt x="753" y="425"/>
                  </a:lnTo>
                  <a:lnTo>
                    <a:pt x="752" y="425"/>
                  </a:lnTo>
                  <a:lnTo>
                    <a:pt x="752" y="427"/>
                  </a:lnTo>
                  <a:lnTo>
                    <a:pt x="752" y="425"/>
                  </a:lnTo>
                  <a:close/>
                  <a:moveTo>
                    <a:pt x="441" y="1630"/>
                  </a:moveTo>
                  <a:lnTo>
                    <a:pt x="441" y="1629"/>
                  </a:lnTo>
                  <a:lnTo>
                    <a:pt x="441" y="1630"/>
                  </a:lnTo>
                  <a:lnTo>
                    <a:pt x="443" y="1630"/>
                  </a:lnTo>
                  <a:lnTo>
                    <a:pt x="441" y="1629"/>
                  </a:lnTo>
                  <a:lnTo>
                    <a:pt x="443" y="1629"/>
                  </a:lnTo>
                  <a:lnTo>
                    <a:pt x="443" y="1630"/>
                  </a:lnTo>
                  <a:lnTo>
                    <a:pt x="441" y="1630"/>
                  </a:lnTo>
                  <a:close/>
                  <a:moveTo>
                    <a:pt x="31" y="1603"/>
                  </a:moveTo>
                  <a:lnTo>
                    <a:pt x="33" y="1604"/>
                  </a:lnTo>
                  <a:lnTo>
                    <a:pt x="31" y="1604"/>
                  </a:lnTo>
                  <a:lnTo>
                    <a:pt x="31" y="1606"/>
                  </a:lnTo>
                  <a:lnTo>
                    <a:pt x="31" y="1604"/>
                  </a:lnTo>
                  <a:lnTo>
                    <a:pt x="31" y="1603"/>
                  </a:lnTo>
                  <a:lnTo>
                    <a:pt x="33" y="1603"/>
                  </a:lnTo>
                  <a:lnTo>
                    <a:pt x="31" y="1603"/>
                  </a:lnTo>
                  <a:lnTo>
                    <a:pt x="33" y="1603"/>
                  </a:lnTo>
                  <a:lnTo>
                    <a:pt x="31" y="1603"/>
                  </a:lnTo>
                  <a:close/>
                  <a:moveTo>
                    <a:pt x="570" y="1414"/>
                  </a:moveTo>
                  <a:lnTo>
                    <a:pt x="570" y="1415"/>
                  </a:lnTo>
                  <a:lnTo>
                    <a:pt x="568" y="1415"/>
                  </a:lnTo>
                  <a:lnTo>
                    <a:pt x="568" y="1414"/>
                  </a:lnTo>
                  <a:lnTo>
                    <a:pt x="570" y="1414"/>
                  </a:lnTo>
                  <a:close/>
                  <a:moveTo>
                    <a:pt x="41" y="1607"/>
                  </a:moveTo>
                  <a:lnTo>
                    <a:pt x="39" y="1607"/>
                  </a:lnTo>
                  <a:lnTo>
                    <a:pt x="38" y="1607"/>
                  </a:lnTo>
                  <a:lnTo>
                    <a:pt x="39" y="1607"/>
                  </a:lnTo>
                  <a:lnTo>
                    <a:pt x="38" y="1607"/>
                  </a:lnTo>
                  <a:lnTo>
                    <a:pt x="38" y="1606"/>
                  </a:lnTo>
                  <a:lnTo>
                    <a:pt x="39" y="1606"/>
                  </a:lnTo>
                  <a:lnTo>
                    <a:pt x="41" y="1607"/>
                  </a:lnTo>
                  <a:close/>
                  <a:moveTo>
                    <a:pt x="588" y="1316"/>
                  </a:moveTo>
                  <a:lnTo>
                    <a:pt x="589" y="1315"/>
                  </a:lnTo>
                  <a:lnTo>
                    <a:pt x="589" y="1316"/>
                  </a:lnTo>
                  <a:lnTo>
                    <a:pt x="589" y="1315"/>
                  </a:lnTo>
                  <a:lnTo>
                    <a:pt x="589" y="1316"/>
                  </a:lnTo>
                  <a:lnTo>
                    <a:pt x="591" y="1316"/>
                  </a:lnTo>
                  <a:lnTo>
                    <a:pt x="589" y="1316"/>
                  </a:lnTo>
                  <a:lnTo>
                    <a:pt x="588" y="1316"/>
                  </a:lnTo>
                  <a:close/>
                  <a:moveTo>
                    <a:pt x="527" y="1440"/>
                  </a:moveTo>
                  <a:lnTo>
                    <a:pt x="526" y="1441"/>
                  </a:lnTo>
                  <a:lnTo>
                    <a:pt x="526" y="1443"/>
                  </a:lnTo>
                  <a:lnTo>
                    <a:pt x="526" y="1441"/>
                  </a:lnTo>
                  <a:lnTo>
                    <a:pt x="526" y="1440"/>
                  </a:lnTo>
                  <a:lnTo>
                    <a:pt x="526" y="1441"/>
                  </a:lnTo>
                  <a:lnTo>
                    <a:pt x="526" y="1440"/>
                  </a:lnTo>
                  <a:lnTo>
                    <a:pt x="527" y="1440"/>
                  </a:lnTo>
                  <a:close/>
                  <a:moveTo>
                    <a:pt x="20" y="1536"/>
                  </a:moveTo>
                  <a:lnTo>
                    <a:pt x="22" y="1536"/>
                  </a:lnTo>
                  <a:lnTo>
                    <a:pt x="22" y="1537"/>
                  </a:lnTo>
                  <a:lnTo>
                    <a:pt x="20" y="1537"/>
                  </a:lnTo>
                  <a:lnTo>
                    <a:pt x="22" y="1537"/>
                  </a:lnTo>
                  <a:lnTo>
                    <a:pt x="22" y="1539"/>
                  </a:lnTo>
                  <a:lnTo>
                    <a:pt x="20" y="1539"/>
                  </a:lnTo>
                  <a:lnTo>
                    <a:pt x="20" y="1537"/>
                  </a:lnTo>
                  <a:lnTo>
                    <a:pt x="20" y="1536"/>
                  </a:lnTo>
                  <a:close/>
                  <a:moveTo>
                    <a:pt x="721" y="428"/>
                  </a:moveTo>
                  <a:lnTo>
                    <a:pt x="722" y="430"/>
                  </a:lnTo>
                  <a:lnTo>
                    <a:pt x="722" y="431"/>
                  </a:lnTo>
                  <a:lnTo>
                    <a:pt x="721" y="431"/>
                  </a:lnTo>
                  <a:lnTo>
                    <a:pt x="722" y="430"/>
                  </a:lnTo>
                  <a:lnTo>
                    <a:pt x="721" y="428"/>
                  </a:lnTo>
                  <a:close/>
                  <a:moveTo>
                    <a:pt x="749" y="443"/>
                  </a:moveTo>
                  <a:lnTo>
                    <a:pt x="749" y="445"/>
                  </a:lnTo>
                  <a:lnTo>
                    <a:pt x="749" y="446"/>
                  </a:lnTo>
                  <a:lnTo>
                    <a:pt x="749" y="445"/>
                  </a:lnTo>
                  <a:lnTo>
                    <a:pt x="747" y="443"/>
                  </a:lnTo>
                  <a:lnTo>
                    <a:pt x="749" y="443"/>
                  </a:lnTo>
                  <a:close/>
                  <a:moveTo>
                    <a:pt x="758" y="430"/>
                  </a:moveTo>
                  <a:lnTo>
                    <a:pt x="760" y="428"/>
                  </a:lnTo>
                  <a:lnTo>
                    <a:pt x="760" y="430"/>
                  </a:lnTo>
                  <a:lnTo>
                    <a:pt x="758" y="430"/>
                  </a:lnTo>
                  <a:close/>
                  <a:moveTo>
                    <a:pt x="433" y="963"/>
                  </a:moveTo>
                  <a:lnTo>
                    <a:pt x="433" y="965"/>
                  </a:lnTo>
                  <a:lnTo>
                    <a:pt x="431" y="965"/>
                  </a:lnTo>
                  <a:lnTo>
                    <a:pt x="431" y="963"/>
                  </a:lnTo>
                  <a:lnTo>
                    <a:pt x="433" y="965"/>
                  </a:lnTo>
                  <a:lnTo>
                    <a:pt x="433" y="963"/>
                  </a:lnTo>
                  <a:close/>
                  <a:moveTo>
                    <a:pt x="561" y="1407"/>
                  </a:moveTo>
                  <a:lnTo>
                    <a:pt x="563" y="1407"/>
                  </a:lnTo>
                  <a:lnTo>
                    <a:pt x="561" y="1409"/>
                  </a:lnTo>
                  <a:lnTo>
                    <a:pt x="561" y="1407"/>
                  </a:lnTo>
                  <a:lnTo>
                    <a:pt x="561" y="1409"/>
                  </a:lnTo>
                  <a:lnTo>
                    <a:pt x="560" y="1409"/>
                  </a:lnTo>
                  <a:lnTo>
                    <a:pt x="560" y="1407"/>
                  </a:lnTo>
                  <a:lnTo>
                    <a:pt x="561" y="1407"/>
                  </a:lnTo>
                  <a:close/>
                  <a:moveTo>
                    <a:pt x="563" y="1359"/>
                  </a:moveTo>
                  <a:lnTo>
                    <a:pt x="561" y="1359"/>
                  </a:lnTo>
                  <a:lnTo>
                    <a:pt x="563" y="1357"/>
                  </a:lnTo>
                  <a:lnTo>
                    <a:pt x="563" y="1359"/>
                  </a:lnTo>
                  <a:close/>
                  <a:moveTo>
                    <a:pt x="440" y="882"/>
                  </a:moveTo>
                  <a:lnTo>
                    <a:pt x="441" y="880"/>
                  </a:lnTo>
                  <a:lnTo>
                    <a:pt x="441" y="882"/>
                  </a:lnTo>
                  <a:lnTo>
                    <a:pt x="440" y="882"/>
                  </a:lnTo>
                  <a:close/>
                  <a:moveTo>
                    <a:pt x="435" y="1715"/>
                  </a:moveTo>
                  <a:lnTo>
                    <a:pt x="435" y="1716"/>
                  </a:lnTo>
                  <a:lnTo>
                    <a:pt x="433" y="1716"/>
                  </a:lnTo>
                  <a:lnTo>
                    <a:pt x="433" y="1715"/>
                  </a:lnTo>
                  <a:lnTo>
                    <a:pt x="435" y="1715"/>
                  </a:lnTo>
                  <a:close/>
                  <a:moveTo>
                    <a:pt x="565" y="1385"/>
                  </a:moveTo>
                  <a:lnTo>
                    <a:pt x="566" y="1385"/>
                  </a:lnTo>
                  <a:lnTo>
                    <a:pt x="568" y="1386"/>
                  </a:lnTo>
                  <a:lnTo>
                    <a:pt x="566" y="1386"/>
                  </a:lnTo>
                  <a:lnTo>
                    <a:pt x="566" y="1385"/>
                  </a:lnTo>
                  <a:lnTo>
                    <a:pt x="566" y="1386"/>
                  </a:lnTo>
                  <a:lnTo>
                    <a:pt x="565" y="1386"/>
                  </a:lnTo>
                  <a:lnTo>
                    <a:pt x="565" y="1385"/>
                  </a:lnTo>
                  <a:lnTo>
                    <a:pt x="565" y="1386"/>
                  </a:lnTo>
                  <a:lnTo>
                    <a:pt x="563" y="1385"/>
                  </a:lnTo>
                  <a:lnTo>
                    <a:pt x="565" y="1385"/>
                  </a:lnTo>
                  <a:close/>
                  <a:moveTo>
                    <a:pt x="464" y="1498"/>
                  </a:moveTo>
                  <a:lnTo>
                    <a:pt x="466" y="1498"/>
                  </a:lnTo>
                  <a:lnTo>
                    <a:pt x="466" y="1500"/>
                  </a:lnTo>
                  <a:lnTo>
                    <a:pt x="464" y="1500"/>
                  </a:lnTo>
                  <a:lnTo>
                    <a:pt x="464" y="1498"/>
                  </a:lnTo>
                  <a:close/>
                  <a:moveTo>
                    <a:pt x="605" y="1359"/>
                  </a:moveTo>
                  <a:lnTo>
                    <a:pt x="604" y="1359"/>
                  </a:lnTo>
                  <a:lnTo>
                    <a:pt x="604" y="1357"/>
                  </a:lnTo>
                  <a:lnTo>
                    <a:pt x="605" y="1357"/>
                  </a:lnTo>
                  <a:lnTo>
                    <a:pt x="605" y="1359"/>
                  </a:lnTo>
                  <a:close/>
                  <a:moveTo>
                    <a:pt x="573" y="1339"/>
                  </a:moveTo>
                  <a:lnTo>
                    <a:pt x="574" y="1339"/>
                  </a:lnTo>
                  <a:lnTo>
                    <a:pt x="574" y="1341"/>
                  </a:lnTo>
                  <a:lnTo>
                    <a:pt x="576" y="1341"/>
                  </a:lnTo>
                  <a:lnTo>
                    <a:pt x="574" y="1341"/>
                  </a:lnTo>
                  <a:lnTo>
                    <a:pt x="573" y="1341"/>
                  </a:lnTo>
                  <a:lnTo>
                    <a:pt x="573" y="1339"/>
                  </a:lnTo>
                  <a:close/>
                  <a:moveTo>
                    <a:pt x="65" y="1684"/>
                  </a:moveTo>
                  <a:lnTo>
                    <a:pt x="67" y="1684"/>
                  </a:lnTo>
                  <a:lnTo>
                    <a:pt x="65" y="1684"/>
                  </a:lnTo>
                  <a:lnTo>
                    <a:pt x="65" y="1685"/>
                  </a:lnTo>
                  <a:lnTo>
                    <a:pt x="64" y="1685"/>
                  </a:lnTo>
                  <a:lnTo>
                    <a:pt x="64" y="1684"/>
                  </a:lnTo>
                  <a:lnTo>
                    <a:pt x="65" y="1684"/>
                  </a:lnTo>
                  <a:close/>
                  <a:moveTo>
                    <a:pt x="584" y="763"/>
                  </a:moveTo>
                  <a:lnTo>
                    <a:pt x="586" y="763"/>
                  </a:lnTo>
                  <a:lnTo>
                    <a:pt x="586" y="765"/>
                  </a:lnTo>
                  <a:lnTo>
                    <a:pt x="584" y="765"/>
                  </a:lnTo>
                  <a:lnTo>
                    <a:pt x="584" y="763"/>
                  </a:lnTo>
                  <a:close/>
                  <a:moveTo>
                    <a:pt x="327" y="1877"/>
                  </a:moveTo>
                  <a:lnTo>
                    <a:pt x="327" y="1879"/>
                  </a:lnTo>
                  <a:lnTo>
                    <a:pt x="326" y="1879"/>
                  </a:lnTo>
                  <a:lnTo>
                    <a:pt x="326" y="1877"/>
                  </a:lnTo>
                  <a:lnTo>
                    <a:pt x="327" y="1877"/>
                  </a:lnTo>
                  <a:close/>
                  <a:moveTo>
                    <a:pt x="492" y="1484"/>
                  </a:moveTo>
                  <a:lnTo>
                    <a:pt x="493" y="1484"/>
                  </a:lnTo>
                  <a:lnTo>
                    <a:pt x="495" y="1484"/>
                  </a:lnTo>
                  <a:lnTo>
                    <a:pt x="493" y="1484"/>
                  </a:lnTo>
                  <a:lnTo>
                    <a:pt x="493" y="1485"/>
                  </a:lnTo>
                  <a:lnTo>
                    <a:pt x="493" y="1484"/>
                  </a:lnTo>
                  <a:lnTo>
                    <a:pt x="493" y="1485"/>
                  </a:lnTo>
                  <a:lnTo>
                    <a:pt x="493" y="1484"/>
                  </a:lnTo>
                  <a:lnTo>
                    <a:pt x="492" y="1484"/>
                  </a:lnTo>
                  <a:close/>
                  <a:moveTo>
                    <a:pt x="446" y="1536"/>
                  </a:moveTo>
                  <a:lnTo>
                    <a:pt x="446" y="1537"/>
                  </a:lnTo>
                  <a:lnTo>
                    <a:pt x="448" y="1537"/>
                  </a:lnTo>
                  <a:lnTo>
                    <a:pt x="448" y="1536"/>
                  </a:lnTo>
                  <a:lnTo>
                    <a:pt x="448" y="1537"/>
                  </a:lnTo>
                  <a:lnTo>
                    <a:pt x="446" y="1537"/>
                  </a:lnTo>
                  <a:lnTo>
                    <a:pt x="446" y="1536"/>
                  </a:lnTo>
                  <a:close/>
                  <a:moveTo>
                    <a:pt x="548" y="1399"/>
                  </a:moveTo>
                  <a:lnTo>
                    <a:pt x="550" y="1399"/>
                  </a:lnTo>
                  <a:lnTo>
                    <a:pt x="552" y="1399"/>
                  </a:lnTo>
                  <a:lnTo>
                    <a:pt x="550" y="1399"/>
                  </a:lnTo>
                  <a:lnTo>
                    <a:pt x="548" y="1399"/>
                  </a:lnTo>
                  <a:close/>
                  <a:moveTo>
                    <a:pt x="9" y="1502"/>
                  </a:moveTo>
                  <a:lnTo>
                    <a:pt x="9" y="1503"/>
                  </a:lnTo>
                  <a:lnTo>
                    <a:pt x="7" y="1503"/>
                  </a:lnTo>
                  <a:lnTo>
                    <a:pt x="9" y="1503"/>
                  </a:lnTo>
                  <a:lnTo>
                    <a:pt x="9" y="1502"/>
                  </a:lnTo>
                  <a:close/>
                  <a:moveTo>
                    <a:pt x="448" y="1562"/>
                  </a:moveTo>
                  <a:lnTo>
                    <a:pt x="449" y="1562"/>
                  </a:lnTo>
                  <a:lnTo>
                    <a:pt x="449" y="1563"/>
                  </a:lnTo>
                  <a:lnTo>
                    <a:pt x="448" y="1563"/>
                  </a:lnTo>
                  <a:lnTo>
                    <a:pt x="448" y="1562"/>
                  </a:lnTo>
                  <a:close/>
                  <a:moveTo>
                    <a:pt x="545" y="1254"/>
                  </a:moveTo>
                  <a:lnTo>
                    <a:pt x="544" y="1254"/>
                  </a:lnTo>
                  <a:lnTo>
                    <a:pt x="544" y="1253"/>
                  </a:lnTo>
                  <a:lnTo>
                    <a:pt x="544" y="1254"/>
                  </a:lnTo>
                  <a:lnTo>
                    <a:pt x="544" y="1253"/>
                  </a:lnTo>
                  <a:lnTo>
                    <a:pt x="544" y="1254"/>
                  </a:lnTo>
                  <a:lnTo>
                    <a:pt x="545" y="1254"/>
                  </a:lnTo>
                  <a:close/>
                  <a:moveTo>
                    <a:pt x="441" y="1559"/>
                  </a:moveTo>
                  <a:lnTo>
                    <a:pt x="443" y="1559"/>
                  </a:lnTo>
                  <a:lnTo>
                    <a:pt x="443" y="1560"/>
                  </a:lnTo>
                  <a:lnTo>
                    <a:pt x="441" y="1560"/>
                  </a:lnTo>
                  <a:lnTo>
                    <a:pt x="441" y="1559"/>
                  </a:lnTo>
                  <a:close/>
                  <a:moveTo>
                    <a:pt x="568" y="1378"/>
                  </a:moveTo>
                  <a:lnTo>
                    <a:pt x="570" y="1378"/>
                  </a:lnTo>
                  <a:lnTo>
                    <a:pt x="568" y="1378"/>
                  </a:lnTo>
                  <a:lnTo>
                    <a:pt x="568" y="1380"/>
                  </a:lnTo>
                  <a:lnTo>
                    <a:pt x="566" y="1380"/>
                  </a:lnTo>
                  <a:lnTo>
                    <a:pt x="566" y="1378"/>
                  </a:lnTo>
                  <a:lnTo>
                    <a:pt x="568" y="1378"/>
                  </a:lnTo>
                  <a:close/>
                  <a:moveTo>
                    <a:pt x="61" y="1632"/>
                  </a:moveTo>
                  <a:lnTo>
                    <a:pt x="62" y="1632"/>
                  </a:lnTo>
                  <a:lnTo>
                    <a:pt x="61" y="1632"/>
                  </a:lnTo>
                  <a:close/>
                  <a:moveTo>
                    <a:pt x="490" y="1217"/>
                  </a:moveTo>
                  <a:lnTo>
                    <a:pt x="488" y="1217"/>
                  </a:lnTo>
                  <a:lnTo>
                    <a:pt x="488" y="1215"/>
                  </a:lnTo>
                  <a:lnTo>
                    <a:pt x="490" y="1215"/>
                  </a:lnTo>
                  <a:lnTo>
                    <a:pt x="490" y="1217"/>
                  </a:lnTo>
                  <a:lnTo>
                    <a:pt x="490" y="1215"/>
                  </a:lnTo>
                  <a:lnTo>
                    <a:pt x="490" y="1217"/>
                  </a:lnTo>
                  <a:close/>
                  <a:moveTo>
                    <a:pt x="52" y="1656"/>
                  </a:moveTo>
                  <a:lnTo>
                    <a:pt x="51" y="1655"/>
                  </a:lnTo>
                  <a:lnTo>
                    <a:pt x="52" y="1655"/>
                  </a:lnTo>
                  <a:lnTo>
                    <a:pt x="52" y="1656"/>
                  </a:lnTo>
                  <a:close/>
                  <a:moveTo>
                    <a:pt x="547" y="1381"/>
                  </a:moveTo>
                  <a:lnTo>
                    <a:pt x="547" y="1380"/>
                  </a:lnTo>
                  <a:lnTo>
                    <a:pt x="548" y="1380"/>
                  </a:lnTo>
                  <a:lnTo>
                    <a:pt x="548" y="1381"/>
                  </a:lnTo>
                  <a:lnTo>
                    <a:pt x="550" y="1380"/>
                  </a:lnTo>
                  <a:lnTo>
                    <a:pt x="550" y="1381"/>
                  </a:lnTo>
                  <a:lnTo>
                    <a:pt x="548" y="1381"/>
                  </a:lnTo>
                  <a:lnTo>
                    <a:pt x="547" y="1381"/>
                  </a:lnTo>
                  <a:close/>
                  <a:moveTo>
                    <a:pt x="571" y="1381"/>
                  </a:moveTo>
                  <a:lnTo>
                    <a:pt x="571" y="1380"/>
                  </a:lnTo>
                  <a:lnTo>
                    <a:pt x="571" y="1381"/>
                  </a:lnTo>
                  <a:lnTo>
                    <a:pt x="571" y="1380"/>
                  </a:lnTo>
                  <a:lnTo>
                    <a:pt x="573" y="1381"/>
                  </a:lnTo>
                  <a:lnTo>
                    <a:pt x="571" y="1381"/>
                  </a:lnTo>
                  <a:lnTo>
                    <a:pt x="570" y="1381"/>
                  </a:lnTo>
                  <a:lnTo>
                    <a:pt x="570" y="1380"/>
                  </a:lnTo>
                  <a:lnTo>
                    <a:pt x="571" y="1380"/>
                  </a:lnTo>
                  <a:lnTo>
                    <a:pt x="571" y="1381"/>
                  </a:lnTo>
                  <a:close/>
                  <a:moveTo>
                    <a:pt x="400" y="1508"/>
                  </a:moveTo>
                  <a:lnTo>
                    <a:pt x="402" y="1508"/>
                  </a:lnTo>
                  <a:lnTo>
                    <a:pt x="404" y="1508"/>
                  </a:lnTo>
                  <a:lnTo>
                    <a:pt x="402" y="1508"/>
                  </a:lnTo>
                  <a:lnTo>
                    <a:pt x="400" y="1508"/>
                  </a:lnTo>
                  <a:close/>
                  <a:moveTo>
                    <a:pt x="766" y="440"/>
                  </a:moveTo>
                  <a:lnTo>
                    <a:pt x="765" y="440"/>
                  </a:lnTo>
                  <a:lnTo>
                    <a:pt x="765" y="438"/>
                  </a:lnTo>
                  <a:lnTo>
                    <a:pt x="765" y="440"/>
                  </a:lnTo>
                  <a:lnTo>
                    <a:pt x="766" y="440"/>
                  </a:lnTo>
                  <a:close/>
                  <a:moveTo>
                    <a:pt x="62" y="1578"/>
                  </a:moveTo>
                  <a:lnTo>
                    <a:pt x="64" y="1578"/>
                  </a:lnTo>
                  <a:lnTo>
                    <a:pt x="64" y="1580"/>
                  </a:lnTo>
                  <a:lnTo>
                    <a:pt x="62" y="1580"/>
                  </a:lnTo>
                  <a:lnTo>
                    <a:pt x="62" y="1578"/>
                  </a:lnTo>
                  <a:close/>
                  <a:moveTo>
                    <a:pt x="706" y="440"/>
                  </a:moveTo>
                  <a:lnTo>
                    <a:pt x="708" y="440"/>
                  </a:lnTo>
                  <a:lnTo>
                    <a:pt x="708" y="441"/>
                  </a:lnTo>
                  <a:lnTo>
                    <a:pt x="706" y="441"/>
                  </a:lnTo>
                  <a:lnTo>
                    <a:pt x="708" y="440"/>
                  </a:lnTo>
                  <a:lnTo>
                    <a:pt x="706" y="440"/>
                  </a:lnTo>
                  <a:close/>
                  <a:moveTo>
                    <a:pt x="444" y="1207"/>
                  </a:moveTo>
                  <a:lnTo>
                    <a:pt x="444" y="1206"/>
                  </a:lnTo>
                  <a:lnTo>
                    <a:pt x="444" y="1207"/>
                  </a:lnTo>
                  <a:lnTo>
                    <a:pt x="444" y="1206"/>
                  </a:lnTo>
                  <a:lnTo>
                    <a:pt x="444" y="1207"/>
                  </a:lnTo>
                  <a:close/>
                  <a:moveTo>
                    <a:pt x="574" y="1424"/>
                  </a:moveTo>
                  <a:lnTo>
                    <a:pt x="574" y="1425"/>
                  </a:lnTo>
                  <a:lnTo>
                    <a:pt x="574" y="1424"/>
                  </a:lnTo>
                  <a:lnTo>
                    <a:pt x="573" y="1425"/>
                  </a:lnTo>
                  <a:lnTo>
                    <a:pt x="573" y="1424"/>
                  </a:lnTo>
                  <a:lnTo>
                    <a:pt x="574" y="1424"/>
                  </a:lnTo>
                  <a:lnTo>
                    <a:pt x="574" y="1422"/>
                  </a:lnTo>
                  <a:lnTo>
                    <a:pt x="574" y="1424"/>
                  </a:lnTo>
                  <a:close/>
                  <a:moveTo>
                    <a:pt x="69" y="1674"/>
                  </a:moveTo>
                  <a:lnTo>
                    <a:pt x="67" y="1674"/>
                  </a:lnTo>
                  <a:lnTo>
                    <a:pt x="67" y="1672"/>
                  </a:lnTo>
                  <a:lnTo>
                    <a:pt x="69" y="1672"/>
                  </a:lnTo>
                  <a:lnTo>
                    <a:pt x="69" y="1674"/>
                  </a:lnTo>
                  <a:close/>
                  <a:moveTo>
                    <a:pt x="363" y="1873"/>
                  </a:moveTo>
                  <a:lnTo>
                    <a:pt x="365" y="1873"/>
                  </a:lnTo>
                  <a:lnTo>
                    <a:pt x="363" y="1873"/>
                  </a:lnTo>
                  <a:lnTo>
                    <a:pt x="363" y="1874"/>
                  </a:lnTo>
                  <a:lnTo>
                    <a:pt x="361" y="1874"/>
                  </a:lnTo>
                  <a:lnTo>
                    <a:pt x="361" y="1873"/>
                  </a:lnTo>
                  <a:lnTo>
                    <a:pt x="363" y="1873"/>
                  </a:lnTo>
                  <a:close/>
                  <a:moveTo>
                    <a:pt x="531" y="1235"/>
                  </a:moveTo>
                  <a:lnTo>
                    <a:pt x="532" y="1235"/>
                  </a:lnTo>
                  <a:lnTo>
                    <a:pt x="532" y="1237"/>
                  </a:lnTo>
                  <a:lnTo>
                    <a:pt x="531" y="1237"/>
                  </a:lnTo>
                  <a:lnTo>
                    <a:pt x="532" y="1237"/>
                  </a:lnTo>
                  <a:lnTo>
                    <a:pt x="532" y="1235"/>
                  </a:lnTo>
                  <a:lnTo>
                    <a:pt x="531" y="1237"/>
                  </a:lnTo>
                  <a:lnTo>
                    <a:pt x="531" y="1235"/>
                  </a:lnTo>
                  <a:lnTo>
                    <a:pt x="531" y="1237"/>
                  </a:lnTo>
                  <a:lnTo>
                    <a:pt x="531" y="1235"/>
                  </a:lnTo>
                  <a:close/>
                  <a:moveTo>
                    <a:pt x="623" y="1368"/>
                  </a:moveTo>
                  <a:lnTo>
                    <a:pt x="623" y="1370"/>
                  </a:lnTo>
                  <a:lnTo>
                    <a:pt x="622" y="1368"/>
                  </a:lnTo>
                  <a:lnTo>
                    <a:pt x="623" y="1368"/>
                  </a:lnTo>
                  <a:close/>
                  <a:moveTo>
                    <a:pt x="431" y="1132"/>
                  </a:moveTo>
                  <a:lnTo>
                    <a:pt x="433" y="1132"/>
                  </a:lnTo>
                  <a:lnTo>
                    <a:pt x="433" y="1131"/>
                  </a:lnTo>
                  <a:lnTo>
                    <a:pt x="435" y="1132"/>
                  </a:lnTo>
                  <a:lnTo>
                    <a:pt x="433" y="1132"/>
                  </a:lnTo>
                  <a:lnTo>
                    <a:pt x="433" y="1131"/>
                  </a:lnTo>
                  <a:lnTo>
                    <a:pt x="433" y="1132"/>
                  </a:lnTo>
                  <a:lnTo>
                    <a:pt x="431" y="1132"/>
                  </a:lnTo>
                  <a:lnTo>
                    <a:pt x="433" y="1132"/>
                  </a:lnTo>
                  <a:lnTo>
                    <a:pt x="431" y="1132"/>
                  </a:lnTo>
                  <a:close/>
                  <a:moveTo>
                    <a:pt x="443" y="1617"/>
                  </a:moveTo>
                  <a:lnTo>
                    <a:pt x="444" y="1617"/>
                  </a:lnTo>
                  <a:lnTo>
                    <a:pt x="444" y="1619"/>
                  </a:lnTo>
                  <a:lnTo>
                    <a:pt x="443" y="1619"/>
                  </a:lnTo>
                  <a:lnTo>
                    <a:pt x="443" y="1617"/>
                  </a:lnTo>
                  <a:close/>
                  <a:moveTo>
                    <a:pt x="57" y="1635"/>
                  </a:moveTo>
                  <a:lnTo>
                    <a:pt x="59" y="1635"/>
                  </a:lnTo>
                  <a:lnTo>
                    <a:pt x="59" y="1637"/>
                  </a:lnTo>
                  <a:lnTo>
                    <a:pt x="57" y="1637"/>
                  </a:lnTo>
                  <a:lnTo>
                    <a:pt x="56" y="1637"/>
                  </a:lnTo>
                  <a:lnTo>
                    <a:pt x="57" y="1637"/>
                  </a:lnTo>
                  <a:lnTo>
                    <a:pt x="57" y="1635"/>
                  </a:lnTo>
                  <a:close/>
                  <a:moveTo>
                    <a:pt x="433" y="1658"/>
                  </a:moveTo>
                  <a:lnTo>
                    <a:pt x="435" y="1658"/>
                  </a:lnTo>
                  <a:lnTo>
                    <a:pt x="435" y="1659"/>
                  </a:lnTo>
                  <a:lnTo>
                    <a:pt x="433" y="1658"/>
                  </a:lnTo>
                  <a:close/>
                  <a:moveTo>
                    <a:pt x="659" y="461"/>
                  </a:moveTo>
                  <a:lnTo>
                    <a:pt x="657" y="461"/>
                  </a:lnTo>
                  <a:lnTo>
                    <a:pt x="657" y="459"/>
                  </a:lnTo>
                  <a:lnTo>
                    <a:pt x="659" y="459"/>
                  </a:lnTo>
                  <a:lnTo>
                    <a:pt x="659" y="461"/>
                  </a:lnTo>
                  <a:close/>
                  <a:moveTo>
                    <a:pt x="435" y="1157"/>
                  </a:moveTo>
                  <a:lnTo>
                    <a:pt x="436" y="1157"/>
                  </a:lnTo>
                  <a:lnTo>
                    <a:pt x="436" y="1159"/>
                  </a:lnTo>
                  <a:lnTo>
                    <a:pt x="435" y="1159"/>
                  </a:lnTo>
                  <a:lnTo>
                    <a:pt x="435" y="1157"/>
                  </a:lnTo>
                  <a:lnTo>
                    <a:pt x="435" y="1159"/>
                  </a:lnTo>
                  <a:lnTo>
                    <a:pt x="435" y="1157"/>
                  </a:lnTo>
                  <a:lnTo>
                    <a:pt x="436" y="1157"/>
                  </a:lnTo>
                  <a:lnTo>
                    <a:pt x="435" y="1157"/>
                  </a:lnTo>
                  <a:close/>
                  <a:moveTo>
                    <a:pt x="683" y="484"/>
                  </a:moveTo>
                  <a:lnTo>
                    <a:pt x="685" y="484"/>
                  </a:lnTo>
                  <a:lnTo>
                    <a:pt x="685" y="485"/>
                  </a:lnTo>
                  <a:lnTo>
                    <a:pt x="683" y="485"/>
                  </a:lnTo>
                  <a:lnTo>
                    <a:pt x="683" y="484"/>
                  </a:lnTo>
                  <a:close/>
                  <a:moveTo>
                    <a:pt x="487" y="1494"/>
                  </a:moveTo>
                  <a:lnTo>
                    <a:pt x="488" y="1495"/>
                  </a:lnTo>
                  <a:lnTo>
                    <a:pt x="487" y="1494"/>
                  </a:lnTo>
                  <a:lnTo>
                    <a:pt x="487" y="1495"/>
                  </a:lnTo>
                  <a:lnTo>
                    <a:pt x="488" y="1495"/>
                  </a:lnTo>
                  <a:lnTo>
                    <a:pt x="487" y="1495"/>
                  </a:lnTo>
                  <a:lnTo>
                    <a:pt x="488" y="1495"/>
                  </a:lnTo>
                  <a:lnTo>
                    <a:pt x="487" y="1495"/>
                  </a:lnTo>
                  <a:lnTo>
                    <a:pt x="487" y="1494"/>
                  </a:lnTo>
                  <a:close/>
                  <a:moveTo>
                    <a:pt x="566" y="1359"/>
                  </a:moveTo>
                  <a:lnTo>
                    <a:pt x="568" y="1359"/>
                  </a:lnTo>
                  <a:lnTo>
                    <a:pt x="566" y="1360"/>
                  </a:lnTo>
                  <a:lnTo>
                    <a:pt x="566" y="1359"/>
                  </a:lnTo>
                  <a:close/>
                  <a:moveTo>
                    <a:pt x="692" y="453"/>
                  </a:moveTo>
                  <a:lnTo>
                    <a:pt x="693" y="451"/>
                  </a:lnTo>
                  <a:lnTo>
                    <a:pt x="693" y="453"/>
                  </a:lnTo>
                  <a:lnTo>
                    <a:pt x="692" y="453"/>
                  </a:lnTo>
                  <a:close/>
                  <a:moveTo>
                    <a:pt x="440" y="1550"/>
                  </a:moveTo>
                  <a:lnTo>
                    <a:pt x="441" y="1550"/>
                  </a:lnTo>
                  <a:lnTo>
                    <a:pt x="441" y="1552"/>
                  </a:lnTo>
                  <a:lnTo>
                    <a:pt x="441" y="1550"/>
                  </a:lnTo>
                  <a:lnTo>
                    <a:pt x="440" y="1550"/>
                  </a:lnTo>
                  <a:close/>
                  <a:moveTo>
                    <a:pt x="20" y="1573"/>
                  </a:moveTo>
                  <a:lnTo>
                    <a:pt x="22" y="1573"/>
                  </a:lnTo>
                  <a:lnTo>
                    <a:pt x="20" y="1573"/>
                  </a:lnTo>
                  <a:close/>
                  <a:moveTo>
                    <a:pt x="669" y="458"/>
                  </a:moveTo>
                  <a:lnTo>
                    <a:pt x="669" y="456"/>
                  </a:lnTo>
                  <a:lnTo>
                    <a:pt x="669" y="458"/>
                  </a:lnTo>
                  <a:lnTo>
                    <a:pt x="667" y="458"/>
                  </a:lnTo>
                  <a:lnTo>
                    <a:pt x="669" y="458"/>
                  </a:lnTo>
                  <a:close/>
                  <a:moveTo>
                    <a:pt x="766" y="438"/>
                  </a:moveTo>
                  <a:lnTo>
                    <a:pt x="768" y="438"/>
                  </a:lnTo>
                  <a:lnTo>
                    <a:pt x="768" y="440"/>
                  </a:lnTo>
                  <a:lnTo>
                    <a:pt x="766" y="440"/>
                  </a:lnTo>
                  <a:lnTo>
                    <a:pt x="766" y="438"/>
                  </a:lnTo>
                  <a:close/>
                  <a:moveTo>
                    <a:pt x="583" y="1396"/>
                  </a:moveTo>
                  <a:lnTo>
                    <a:pt x="584" y="1396"/>
                  </a:lnTo>
                  <a:lnTo>
                    <a:pt x="586" y="1394"/>
                  </a:lnTo>
                  <a:lnTo>
                    <a:pt x="586" y="1396"/>
                  </a:lnTo>
                  <a:lnTo>
                    <a:pt x="584" y="1396"/>
                  </a:lnTo>
                  <a:lnTo>
                    <a:pt x="586" y="1396"/>
                  </a:lnTo>
                  <a:lnTo>
                    <a:pt x="584" y="1396"/>
                  </a:lnTo>
                  <a:lnTo>
                    <a:pt x="583" y="1396"/>
                  </a:lnTo>
                  <a:close/>
                  <a:moveTo>
                    <a:pt x="448" y="1638"/>
                  </a:moveTo>
                  <a:lnTo>
                    <a:pt x="449" y="1638"/>
                  </a:lnTo>
                  <a:lnTo>
                    <a:pt x="449" y="1640"/>
                  </a:lnTo>
                  <a:lnTo>
                    <a:pt x="448" y="1640"/>
                  </a:lnTo>
                  <a:lnTo>
                    <a:pt x="448" y="1638"/>
                  </a:lnTo>
                  <a:close/>
                  <a:moveTo>
                    <a:pt x="472" y="1492"/>
                  </a:moveTo>
                  <a:lnTo>
                    <a:pt x="472" y="1494"/>
                  </a:lnTo>
                  <a:lnTo>
                    <a:pt x="472" y="1492"/>
                  </a:lnTo>
                  <a:lnTo>
                    <a:pt x="470" y="1492"/>
                  </a:lnTo>
                  <a:lnTo>
                    <a:pt x="472" y="1492"/>
                  </a:lnTo>
                  <a:close/>
                  <a:moveTo>
                    <a:pt x="565" y="1344"/>
                  </a:moveTo>
                  <a:lnTo>
                    <a:pt x="566" y="1344"/>
                  </a:lnTo>
                  <a:lnTo>
                    <a:pt x="566" y="1346"/>
                  </a:lnTo>
                  <a:lnTo>
                    <a:pt x="565" y="1346"/>
                  </a:lnTo>
                  <a:lnTo>
                    <a:pt x="565" y="1344"/>
                  </a:lnTo>
                  <a:close/>
                  <a:moveTo>
                    <a:pt x="488" y="1477"/>
                  </a:moveTo>
                  <a:lnTo>
                    <a:pt x="488" y="1476"/>
                  </a:lnTo>
                  <a:lnTo>
                    <a:pt x="490" y="1476"/>
                  </a:lnTo>
                  <a:lnTo>
                    <a:pt x="490" y="1477"/>
                  </a:lnTo>
                  <a:lnTo>
                    <a:pt x="490" y="1479"/>
                  </a:lnTo>
                  <a:lnTo>
                    <a:pt x="490" y="1477"/>
                  </a:lnTo>
                  <a:lnTo>
                    <a:pt x="488" y="1477"/>
                  </a:lnTo>
                  <a:close/>
                  <a:moveTo>
                    <a:pt x="537" y="1274"/>
                  </a:moveTo>
                  <a:lnTo>
                    <a:pt x="539" y="1274"/>
                  </a:lnTo>
                  <a:lnTo>
                    <a:pt x="539" y="1276"/>
                  </a:lnTo>
                  <a:lnTo>
                    <a:pt x="537" y="1276"/>
                  </a:lnTo>
                  <a:lnTo>
                    <a:pt x="537" y="1274"/>
                  </a:lnTo>
                  <a:close/>
                  <a:moveTo>
                    <a:pt x="487" y="890"/>
                  </a:moveTo>
                  <a:lnTo>
                    <a:pt x="485" y="890"/>
                  </a:lnTo>
                  <a:lnTo>
                    <a:pt x="485" y="889"/>
                  </a:lnTo>
                  <a:lnTo>
                    <a:pt x="487" y="889"/>
                  </a:lnTo>
                  <a:lnTo>
                    <a:pt x="487" y="890"/>
                  </a:lnTo>
                  <a:close/>
                  <a:moveTo>
                    <a:pt x="560" y="1427"/>
                  </a:moveTo>
                  <a:lnTo>
                    <a:pt x="560" y="1428"/>
                  </a:lnTo>
                  <a:lnTo>
                    <a:pt x="558" y="1428"/>
                  </a:lnTo>
                  <a:lnTo>
                    <a:pt x="558" y="1427"/>
                  </a:lnTo>
                  <a:lnTo>
                    <a:pt x="560" y="1427"/>
                  </a:lnTo>
                  <a:lnTo>
                    <a:pt x="560" y="1425"/>
                  </a:lnTo>
                  <a:lnTo>
                    <a:pt x="560" y="1427"/>
                  </a:lnTo>
                  <a:close/>
                  <a:moveTo>
                    <a:pt x="78" y="1710"/>
                  </a:moveTo>
                  <a:lnTo>
                    <a:pt x="78" y="1708"/>
                  </a:lnTo>
                  <a:lnTo>
                    <a:pt x="78" y="1710"/>
                  </a:lnTo>
                  <a:lnTo>
                    <a:pt x="80" y="1710"/>
                  </a:lnTo>
                  <a:lnTo>
                    <a:pt x="78" y="1710"/>
                  </a:lnTo>
                  <a:close/>
                  <a:moveTo>
                    <a:pt x="436" y="1542"/>
                  </a:moveTo>
                  <a:lnTo>
                    <a:pt x="436" y="1541"/>
                  </a:lnTo>
                  <a:lnTo>
                    <a:pt x="436" y="1539"/>
                  </a:lnTo>
                  <a:lnTo>
                    <a:pt x="436" y="1541"/>
                  </a:lnTo>
                  <a:lnTo>
                    <a:pt x="436" y="1542"/>
                  </a:lnTo>
                  <a:close/>
                  <a:moveTo>
                    <a:pt x="387" y="1881"/>
                  </a:moveTo>
                  <a:lnTo>
                    <a:pt x="387" y="1879"/>
                  </a:lnTo>
                  <a:lnTo>
                    <a:pt x="387" y="1877"/>
                  </a:lnTo>
                  <a:lnTo>
                    <a:pt x="387" y="1879"/>
                  </a:lnTo>
                  <a:lnTo>
                    <a:pt x="387" y="1881"/>
                  </a:lnTo>
                  <a:lnTo>
                    <a:pt x="387" y="1879"/>
                  </a:lnTo>
                  <a:lnTo>
                    <a:pt x="387" y="1881"/>
                  </a:lnTo>
                  <a:close/>
                  <a:moveTo>
                    <a:pt x="547" y="1411"/>
                  </a:moveTo>
                  <a:lnTo>
                    <a:pt x="548" y="1411"/>
                  </a:lnTo>
                  <a:lnTo>
                    <a:pt x="548" y="1412"/>
                  </a:lnTo>
                  <a:lnTo>
                    <a:pt x="547" y="1411"/>
                  </a:lnTo>
                  <a:close/>
                  <a:moveTo>
                    <a:pt x="548" y="1256"/>
                  </a:moveTo>
                  <a:lnTo>
                    <a:pt x="550" y="1256"/>
                  </a:lnTo>
                  <a:lnTo>
                    <a:pt x="550" y="1258"/>
                  </a:lnTo>
                  <a:lnTo>
                    <a:pt x="548" y="1258"/>
                  </a:lnTo>
                  <a:lnTo>
                    <a:pt x="548" y="1256"/>
                  </a:lnTo>
                  <a:lnTo>
                    <a:pt x="548" y="1258"/>
                  </a:lnTo>
                  <a:lnTo>
                    <a:pt x="548" y="1256"/>
                  </a:lnTo>
                  <a:close/>
                  <a:moveTo>
                    <a:pt x="602" y="1344"/>
                  </a:moveTo>
                  <a:lnTo>
                    <a:pt x="604" y="1344"/>
                  </a:lnTo>
                  <a:lnTo>
                    <a:pt x="602" y="1344"/>
                  </a:lnTo>
                  <a:lnTo>
                    <a:pt x="604" y="1344"/>
                  </a:lnTo>
                  <a:lnTo>
                    <a:pt x="604" y="1346"/>
                  </a:lnTo>
                  <a:lnTo>
                    <a:pt x="602" y="1346"/>
                  </a:lnTo>
                  <a:lnTo>
                    <a:pt x="602" y="1344"/>
                  </a:lnTo>
                  <a:lnTo>
                    <a:pt x="602" y="1346"/>
                  </a:lnTo>
                  <a:lnTo>
                    <a:pt x="601" y="1346"/>
                  </a:lnTo>
                  <a:lnTo>
                    <a:pt x="602" y="1346"/>
                  </a:lnTo>
                  <a:lnTo>
                    <a:pt x="602" y="1344"/>
                  </a:lnTo>
                  <a:close/>
                  <a:moveTo>
                    <a:pt x="441" y="1616"/>
                  </a:moveTo>
                  <a:lnTo>
                    <a:pt x="441" y="1614"/>
                  </a:lnTo>
                  <a:lnTo>
                    <a:pt x="441" y="1616"/>
                  </a:lnTo>
                  <a:lnTo>
                    <a:pt x="441" y="1617"/>
                  </a:lnTo>
                  <a:lnTo>
                    <a:pt x="440" y="1617"/>
                  </a:lnTo>
                  <a:lnTo>
                    <a:pt x="441" y="1617"/>
                  </a:lnTo>
                  <a:lnTo>
                    <a:pt x="441" y="1616"/>
                  </a:lnTo>
                  <a:close/>
                  <a:moveTo>
                    <a:pt x="592" y="1331"/>
                  </a:moveTo>
                  <a:lnTo>
                    <a:pt x="592" y="1329"/>
                  </a:lnTo>
                  <a:lnTo>
                    <a:pt x="592" y="1331"/>
                  </a:lnTo>
                  <a:close/>
                  <a:moveTo>
                    <a:pt x="498" y="848"/>
                  </a:moveTo>
                  <a:lnTo>
                    <a:pt x="498" y="846"/>
                  </a:lnTo>
                  <a:lnTo>
                    <a:pt x="498" y="848"/>
                  </a:lnTo>
                  <a:close/>
                  <a:moveTo>
                    <a:pt x="482" y="892"/>
                  </a:moveTo>
                  <a:lnTo>
                    <a:pt x="482" y="893"/>
                  </a:lnTo>
                  <a:lnTo>
                    <a:pt x="483" y="893"/>
                  </a:lnTo>
                  <a:lnTo>
                    <a:pt x="482" y="893"/>
                  </a:lnTo>
                  <a:lnTo>
                    <a:pt x="482" y="892"/>
                  </a:lnTo>
                  <a:close/>
                  <a:moveTo>
                    <a:pt x="426" y="1113"/>
                  </a:moveTo>
                  <a:lnTo>
                    <a:pt x="428" y="1115"/>
                  </a:lnTo>
                  <a:lnTo>
                    <a:pt x="428" y="1116"/>
                  </a:lnTo>
                  <a:lnTo>
                    <a:pt x="426" y="1115"/>
                  </a:lnTo>
                  <a:lnTo>
                    <a:pt x="426" y="1113"/>
                  </a:lnTo>
                  <a:close/>
                  <a:moveTo>
                    <a:pt x="482" y="1489"/>
                  </a:moveTo>
                  <a:lnTo>
                    <a:pt x="480" y="1489"/>
                  </a:lnTo>
                  <a:lnTo>
                    <a:pt x="480" y="1487"/>
                  </a:lnTo>
                  <a:lnTo>
                    <a:pt x="482" y="1487"/>
                  </a:lnTo>
                  <a:lnTo>
                    <a:pt x="482" y="1489"/>
                  </a:lnTo>
                  <a:close/>
                  <a:moveTo>
                    <a:pt x="540" y="1427"/>
                  </a:moveTo>
                  <a:lnTo>
                    <a:pt x="542" y="1427"/>
                  </a:lnTo>
                  <a:lnTo>
                    <a:pt x="542" y="1425"/>
                  </a:lnTo>
                  <a:lnTo>
                    <a:pt x="542" y="1427"/>
                  </a:lnTo>
                  <a:lnTo>
                    <a:pt x="540" y="1427"/>
                  </a:lnTo>
                  <a:close/>
                  <a:moveTo>
                    <a:pt x="558" y="796"/>
                  </a:moveTo>
                  <a:lnTo>
                    <a:pt x="558" y="794"/>
                  </a:lnTo>
                  <a:lnTo>
                    <a:pt x="558" y="793"/>
                  </a:lnTo>
                  <a:lnTo>
                    <a:pt x="558" y="794"/>
                  </a:lnTo>
                  <a:lnTo>
                    <a:pt x="558" y="796"/>
                  </a:lnTo>
                  <a:close/>
                  <a:moveTo>
                    <a:pt x="579" y="1385"/>
                  </a:moveTo>
                  <a:lnTo>
                    <a:pt x="579" y="1383"/>
                  </a:lnTo>
                  <a:lnTo>
                    <a:pt x="579" y="1385"/>
                  </a:lnTo>
                  <a:close/>
                  <a:moveTo>
                    <a:pt x="708" y="441"/>
                  </a:moveTo>
                  <a:lnTo>
                    <a:pt x="709" y="443"/>
                  </a:lnTo>
                  <a:lnTo>
                    <a:pt x="708" y="443"/>
                  </a:lnTo>
                  <a:lnTo>
                    <a:pt x="708" y="441"/>
                  </a:lnTo>
                  <a:close/>
                  <a:moveTo>
                    <a:pt x="630" y="505"/>
                  </a:moveTo>
                  <a:lnTo>
                    <a:pt x="628" y="505"/>
                  </a:lnTo>
                  <a:lnTo>
                    <a:pt x="628" y="503"/>
                  </a:lnTo>
                  <a:lnTo>
                    <a:pt x="630" y="503"/>
                  </a:lnTo>
                  <a:lnTo>
                    <a:pt x="630" y="505"/>
                  </a:lnTo>
                  <a:close/>
                  <a:moveTo>
                    <a:pt x="617" y="711"/>
                  </a:moveTo>
                  <a:lnTo>
                    <a:pt x="618" y="711"/>
                  </a:lnTo>
                  <a:lnTo>
                    <a:pt x="617" y="711"/>
                  </a:lnTo>
                  <a:lnTo>
                    <a:pt x="617" y="710"/>
                  </a:lnTo>
                  <a:lnTo>
                    <a:pt x="618" y="710"/>
                  </a:lnTo>
                  <a:lnTo>
                    <a:pt x="617" y="711"/>
                  </a:lnTo>
                  <a:close/>
                  <a:moveTo>
                    <a:pt x="548" y="1264"/>
                  </a:moveTo>
                  <a:lnTo>
                    <a:pt x="550" y="1264"/>
                  </a:lnTo>
                  <a:lnTo>
                    <a:pt x="552" y="1264"/>
                  </a:lnTo>
                  <a:lnTo>
                    <a:pt x="550" y="1266"/>
                  </a:lnTo>
                  <a:lnTo>
                    <a:pt x="552" y="1266"/>
                  </a:lnTo>
                  <a:lnTo>
                    <a:pt x="550" y="1266"/>
                  </a:lnTo>
                  <a:lnTo>
                    <a:pt x="550" y="1264"/>
                  </a:lnTo>
                  <a:lnTo>
                    <a:pt x="548" y="1264"/>
                  </a:lnTo>
                  <a:close/>
                  <a:moveTo>
                    <a:pt x="664" y="459"/>
                  </a:moveTo>
                  <a:lnTo>
                    <a:pt x="666" y="459"/>
                  </a:lnTo>
                  <a:lnTo>
                    <a:pt x="666" y="461"/>
                  </a:lnTo>
                  <a:lnTo>
                    <a:pt x="664" y="461"/>
                  </a:lnTo>
                  <a:lnTo>
                    <a:pt x="664" y="459"/>
                  </a:lnTo>
                  <a:close/>
                  <a:moveTo>
                    <a:pt x="623" y="505"/>
                  </a:moveTo>
                  <a:lnTo>
                    <a:pt x="625" y="503"/>
                  </a:lnTo>
                  <a:lnTo>
                    <a:pt x="625" y="505"/>
                  </a:lnTo>
                  <a:lnTo>
                    <a:pt x="627" y="505"/>
                  </a:lnTo>
                  <a:lnTo>
                    <a:pt x="625" y="505"/>
                  </a:lnTo>
                  <a:lnTo>
                    <a:pt x="623" y="505"/>
                  </a:lnTo>
                  <a:close/>
                  <a:moveTo>
                    <a:pt x="612" y="1360"/>
                  </a:moveTo>
                  <a:lnTo>
                    <a:pt x="610" y="1360"/>
                  </a:lnTo>
                  <a:lnTo>
                    <a:pt x="612" y="1360"/>
                  </a:lnTo>
                  <a:lnTo>
                    <a:pt x="610" y="1360"/>
                  </a:lnTo>
                  <a:lnTo>
                    <a:pt x="610" y="1359"/>
                  </a:lnTo>
                  <a:lnTo>
                    <a:pt x="612" y="1359"/>
                  </a:lnTo>
                  <a:lnTo>
                    <a:pt x="612" y="1360"/>
                  </a:lnTo>
                  <a:close/>
                  <a:moveTo>
                    <a:pt x="448" y="1638"/>
                  </a:moveTo>
                  <a:lnTo>
                    <a:pt x="448" y="1640"/>
                  </a:lnTo>
                  <a:lnTo>
                    <a:pt x="446" y="1640"/>
                  </a:lnTo>
                  <a:lnTo>
                    <a:pt x="446" y="1638"/>
                  </a:lnTo>
                  <a:lnTo>
                    <a:pt x="448" y="1638"/>
                  </a:lnTo>
                  <a:close/>
                  <a:moveTo>
                    <a:pt x="57" y="1645"/>
                  </a:moveTo>
                  <a:lnTo>
                    <a:pt x="59" y="1645"/>
                  </a:lnTo>
                  <a:lnTo>
                    <a:pt x="59" y="1646"/>
                  </a:lnTo>
                  <a:lnTo>
                    <a:pt x="57" y="1646"/>
                  </a:lnTo>
                  <a:lnTo>
                    <a:pt x="57" y="1645"/>
                  </a:lnTo>
                  <a:close/>
                  <a:moveTo>
                    <a:pt x="601" y="1349"/>
                  </a:moveTo>
                  <a:lnTo>
                    <a:pt x="601" y="1347"/>
                  </a:lnTo>
                  <a:lnTo>
                    <a:pt x="602" y="1347"/>
                  </a:lnTo>
                  <a:lnTo>
                    <a:pt x="602" y="1349"/>
                  </a:lnTo>
                  <a:lnTo>
                    <a:pt x="601" y="1349"/>
                  </a:lnTo>
                  <a:close/>
                  <a:moveTo>
                    <a:pt x="578" y="1373"/>
                  </a:moveTo>
                  <a:lnTo>
                    <a:pt x="579" y="1373"/>
                  </a:lnTo>
                  <a:lnTo>
                    <a:pt x="579" y="1372"/>
                  </a:lnTo>
                  <a:lnTo>
                    <a:pt x="581" y="1372"/>
                  </a:lnTo>
                  <a:lnTo>
                    <a:pt x="579" y="1373"/>
                  </a:lnTo>
                  <a:lnTo>
                    <a:pt x="578" y="1373"/>
                  </a:lnTo>
                  <a:close/>
                  <a:moveTo>
                    <a:pt x="157" y="1925"/>
                  </a:moveTo>
                  <a:lnTo>
                    <a:pt x="157" y="1926"/>
                  </a:lnTo>
                  <a:lnTo>
                    <a:pt x="157" y="1925"/>
                  </a:lnTo>
                  <a:lnTo>
                    <a:pt x="157" y="1923"/>
                  </a:lnTo>
                  <a:lnTo>
                    <a:pt x="157" y="1925"/>
                  </a:lnTo>
                  <a:close/>
                  <a:moveTo>
                    <a:pt x="438" y="1624"/>
                  </a:moveTo>
                  <a:lnTo>
                    <a:pt x="438" y="1625"/>
                  </a:lnTo>
                  <a:lnTo>
                    <a:pt x="436" y="1625"/>
                  </a:lnTo>
                  <a:lnTo>
                    <a:pt x="436" y="1624"/>
                  </a:lnTo>
                  <a:lnTo>
                    <a:pt x="438" y="1624"/>
                  </a:lnTo>
                  <a:close/>
                  <a:moveTo>
                    <a:pt x="573" y="1385"/>
                  </a:moveTo>
                  <a:lnTo>
                    <a:pt x="571" y="1385"/>
                  </a:lnTo>
                  <a:lnTo>
                    <a:pt x="570" y="1383"/>
                  </a:lnTo>
                  <a:lnTo>
                    <a:pt x="571" y="1383"/>
                  </a:lnTo>
                  <a:lnTo>
                    <a:pt x="573" y="1385"/>
                  </a:lnTo>
                  <a:close/>
                  <a:moveTo>
                    <a:pt x="466" y="1500"/>
                  </a:moveTo>
                  <a:lnTo>
                    <a:pt x="466" y="1502"/>
                  </a:lnTo>
                  <a:lnTo>
                    <a:pt x="464" y="1502"/>
                  </a:lnTo>
                  <a:lnTo>
                    <a:pt x="466" y="1500"/>
                  </a:lnTo>
                  <a:close/>
                  <a:moveTo>
                    <a:pt x="394" y="1882"/>
                  </a:moveTo>
                  <a:lnTo>
                    <a:pt x="396" y="1882"/>
                  </a:lnTo>
                  <a:lnTo>
                    <a:pt x="396" y="1884"/>
                  </a:lnTo>
                  <a:lnTo>
                    <a:pt x="394" y="1884"/>
                  </a:lnTo>
                  <a:lnTo>
                    <a:pt x="396" y="1884"/>
                  </a:lnTo>
                  <a:lnTo>
                    <a:pt x="394" y="1882"/>
                  </a:lnTo>
                  <a:close/>
                  <a:moveTo>
                    <a:pt x="545" y="1388"/>
                  </a:moveTo>
                  <a:lnTo>
                    <a:pt x="547" y="1388"/>
                  </a:lnTo>
                  <a:lnTo>
                    <a:pt x="547" y="1389"/>
                  </a:lnTo>
                  <a:lnTo>
                    <a:pt x="545" y="1389"/>
                  </a:lnTo>
                  <a:lnTo>
                    <a:pt x="545" y="1388"/>
                  </a:lnTo>
                  <a:close/>
                  <a:moveTo>
                    <a:pt x="548" y="1372"/>
                  </a:moveTo>
                  <a:lnTo>
                    <a:pt x="548" y="1370"/>
                  </a:lnTo>
                  <a:lnTo>
                    <a:pt x="550" y="1370"/>
                  </a:lnTo>
                  <a:lnTo>
                    <a:pt x="548" y="1372"/>
                  </a:lnTo>
                  <a:close/>
                  <a:moveTo>
                    <a:pt x="584" y="1383"/>
                  </a:moveTo>
                  <a:lnTo>
                    <a:pt x="584" y="1381"/>
                  </a:lnTo>
                  <a:lnTo>
                    <a:pt x="584" y="1383"/>
                  </a:lnTo>
                  <a:lnTo>
                    <a:pt x="586" y="1383"/>
                  </a:lnTo>
                  <a:lnTo>
                    <a:pt x="584" y="1383"/>
                  </a:lnTo>
                  <a:close/>
                  <a:moveTo>
                    <a:pt x="548" y="1376"/>
                  </a:moveTo>
                  <a:lnTo>
                    <a:pt x="548" y="1378"/>
                  </a:lnTo>
                  <a:lnTo>
                    <a:pt x="548" y="1376"/>
                  </a:lnTo>
                  <a:lnTo>
                    <a:pt x="548" y="1378"/>
                  </a:lnTo>
                  <a:lnTo>
                    <a:pt x="548" y="1376"/>
                  </a:lnTo>
                  <a:close/>
                  <a:moveTo>
                    <a:pt x="535" y="802"/>
                  </a:moveTo>
                  <a:lnTo>
                    <a:pt x="534" y="802"/>
                  </a:lnTo>
                  <a:lnTo>
                    <a:pt x="534" y="801"/>
                  </a:lnTo>
                  <a:lnTo>
                    <a:pt x="535" y="801"/>
                  </a:lnTo>
                  <a:lnTo>
                    <a:pt x="535" y="802"/>
                  </a:lnTo>
                  <a:close/>
                  <a:moveTo>
                    <a:pt x="64" y="1674"/>
                  </a:moveTo>
                  <a:lnTo>
                    <a:pt x="65" y="1674"/>
                  </a:lnTo>
                  <a:lnTo>
                    <a:pt x="64" y="1676"/>
                  </a:lnTo>
                  <a:lnTo>
                    <a:pt x="62" y="1676"/>
                  </a:lnTo>
                  <a:lnTo>
                    <a:pt x="62" y="1674"/>
                  </a:lnTo>
                  <a:lnTo>
                    <a:pt x="64" y="1674"/>
                  </a:lnTo>
                  <a:close/>
                  <a:moveTo>
                    <a:pt x="420" y="1092"/>
                  </a:moveTo>
                  <a:lnTo>
                    <a:pt x="420" y="1093"/>
                  </a:lnTo>
                  <a:lnTo>
                    <a:pt x="422" y="1092"/>
                  </a:lnTo>
                  <a:lnTo>
                    <a:pt x="422" y="1093"/>
                  </a:lnTo>
                  <a:lnTo>
                    <a:pt x="420" y="1093"/>
                  </a:lnTo>
                  <a:lnTo>
                    <a:pt x="420" y="1092"/>
                  </a:lnTo>
                  <a:close/>
                  <a:moveTo>
                    <a:pt x="667" y="469"/>
                  </a:moveTo>
                  <a:lnTo>
                    <a:pt x="667" y="471"/>
                  </a:lnTo>
                  <a:lnTo>
                    <a:pt x="667" y="469"/>
                  </a:lnTo>
                  <a:lnTo>
                    <a:pt x="666" y="469"/>
                  </a:lnTo>
                  <a:lnTo>
                    <a:pt x="667" y="469"/>
                  </a:lnTo>
                  <a:lnTo>
                    <a:pt x="666" y="469"/>
                  </a:lnTo>
                  <a:lnTo>
                    <a:pt x="667" y="469"/>
                  </a:lnTo>
                  <a:close/>
                  <a:moveTo>
                    <a:pt x="672" y="508"/>
                  </a:moveTo>
                  <a:lnTo>
                    <a:pt x="674" y="510"/>
                  </a:lnTo>
                  <a:lnTo>
                    <a:pt x="672" y="510"/>
                  </a:lnTo>
                  <a:lnTo>
                    <a:pt x="672" y="508"/>
                  </a:lnTo>
                  <a:close/>
                  <a:moveTo>
                    <a:pt x="392" y="1879"/>
                  </a:moveTo>
                  <a:lnTo>
                    <a:pt x="394" y="1879"/>
                  </a:lnTo>
                  <a:lnTo>
                    <a:pt x="392" y="1879"/>
                  </a:lnTo>
                  <a:lnTo>
                    <a:pt x="392" y="1881"/>
                  </a:lnTo>
                  <a:lnTo>
                    <a:pt x="392" y="1879"/>
                  </a:lnTo>
                  <a:close/>
                  <a:moveTo>
                    <a:pt x="579" y="1396"/>
                  </a:moveTo>
                  <a:lnTo>
                    <a:pt x="579" y="1398"/>
                  </a:lnTo>
                  <a:lnTo>
                    <a:pt x="578" y="1396"/>
                  </a:lnTo>
                  <a:lnTo>
                    <a:pt x="579" y="1396"/>
                  </a:lnTo>
                  <a:close/>
                  <a:moveTo>
                    <a:pt x="762" y="449"/>
                  </a:moveTo>
                  <a:lnTo>
                    <a:pt x="762" y="451"/>
                  </a:lnTo>
                  <a:lnTo>
                    <a:pt x="762" y="449"/>
                  </a:lnTo>
                  <a:lnTo>
                    <a:pt x="762" y="448"/>
                  </a:lnTo>
                  <a:lnTo>
                    <a:pt x="762" y="449"/>
                  </a:lnTo>
                  <a:close/>
                  <a:moveTo>
                    <a:pt x="576" y="1336"/>
                  </a:moveTo>
                  <a:lnTo>
                    <a:pt x="576" y="1337"/>
                  </a:lnTo>
                  <a:lnTo>
                    <a:pt x="574" y="1337"/>
                  </a:lnTo>
                  <a:lnTo>
                    <a:pt x="574" y="1336"/>
                  </a:lnTo>
                  <a:lnTo>
                    <a:pt x="576" y="1337"/>
                  </a:lnTo>
                  <a:lnTo>
                    <a:pt x="576" y="1336"/>
                  </a:lnTo>
                  <a:lnTo>
                    <a:pt x="578" y="1336"/>
                  </a:lnTo>
                  <a:lnTo>
                    <a:pt x="576" y="1336"/>
                  </a:lnTo>
                  <a:close/>
                  <a:moveTo>
                    <a:pt x="547" y="1375"/>
                  </a:moveTo>
                  <a:lnTo>
                    <a:pt x="547" y="1376"/>
                  </a:lnTo>
                  <a:lnTo>
                    <a:pt x="547" y="1375"/>
                  </a:lnTo>
                  <a:lnTo>
                    <a:pt x="547" y="1373"/>
                  </a:lnTo>
                  <a:lnTo>
                    <a:pt x="547" y="1375"/>
                  </a:lnTo>
                  <a:close/>
                  <a:moveTo>
                    <a:pt x="548" y="1266"/>
                  </a:moveTo>
                  <a:lnTo>
                    <a:pt x="548" y="1267"/>
                  </a:lnTo>
                  <a:lnTo>
                    <a:pt x="548" y="1266"/>
                  </a:lnTo>
                  <a:lnTo>
                    <a:pt x="547" y="1266"/>
                  </a:lnTo>
                  <a:lnTo>
                    <a:pt x="547" y="1264"/>
                  </a:lnTo>
                  <a:lnTo>
                    <a:pt x="548" y="1266"/>
                  </a:lnTo>
                  <a:close/>
                  <a:moveTo>
                    <a:pt x="565" y="1350"/>
                  </a:moveTo>
                  <a:lnTo>
                    <a:pt x="566" y="1349"/>
                  </a:lnTo>
                  <a:lnTo>
                    <a:pt x="566" y="1350"/>
                  </a:lnTo>
                  <a:lnTo>
                    <a:pt x="565" y="1350"/>
                  </a:lnTo>
                  <a:close/>
                  <a:moveTo>
                    <a:pt x="433" y="1085"/>
                  </a:moveTo>
                  <a:lnTo>
                    <a:pt x="433" y="1087"/>
                  </a:lnTo>
                  <a:lnTo>
                    <a:pt x="433" y="1085"/>
                  </a:lnTo>
                  <a:close/>
                  <a:moveTo>
                    <a:pt x="56" y="1668"/>
                  </a:moveTo>
                  <a:lnTo>
                    <a:pt x="57" y="1668"/>
                  </a:lnTo>
                  <a:lnTo>
                    <a:pt x="56" y="1669"/>
                  </a:lnTo>
                  <a:lnTo>
                    <a:pt x="56" y="1668"/>
                  </a:lnTo>
                  <a:close/>
                  <a:moveTo>
                    <a:pt x="332" y="1869"/>
                  </a:moveTo>
                  <a:lnTo>
                    <a:pt x="334" y="1869"/>
                  </a:lnTo>
                  <a:lnTo>
                    <a:pt x="334" y="1871"/>
                  </a:lnTo>
                  <a:lnTo>
                    <a:pt x="332" y="1871"/>
                  </a:lnTo>
                  <a:lnTo>
                    <a:pt x="334" y="1871"/>
                  </a:lnTo>
                  <a:lnTo>
                    <a:pt x="334" y="1873"/>
                  </a:lnTo>
                  <a:lnTo>
                    <a:pt x="332" y="1871"/>
                  </a:lnTo>
                  <a:lnTo>
                    <a:pt x="332" y="1873"/>
                  </a:lnTo>
                  <a:lnTo>
                    <a:pt x="332" y="1871"/>
                  </a:lnTo>
                  <a:lnTo>
                    <a:pt x="332" y="1869"/>
                  </a:lnTo>
                  <a:close/>
                  <a:moveTo>
                    <a:pt x="48" y="1609"/>
                  </a:moveTo>
                  <a:lnTo>
                    <a:pt x="49" y="1609"/>
                  </a:lnTo>
                  <a:lnTo>
                    <a:pt x="49" y="1611"/>
                  </a:lnTo>
                  <a:lnTo>
                    <a:pt x="48" y="1611"/>
                  </a:lnTo>
                  <a:lnTo>
                    <a:pt x="49" y="1611"/>
                  </a:lnTo>
                  <a:lnTo>
                    <a:pt x="48" y="1611"/>
                  </a:lnTo>
                  <a:lnTo>
                    <a:pt x="48" y="1609"/>
                  </a:lnTo>
                  <a:close/>
                  <a:moveTo>
                    <a:pt x="440" y="1191"/>
                  </a:moveTo>
                  <a:lnTo>
                    <a:pt x="440" y="1189"/>
                  </a:lnTo>
                  <a:lnTo>
                    <a:pt x="441" y="1189"/>
                  </a:lnTo>
                  <a:lnTo>
                    <a:pt x="441" y="1191"/>
                  </a:lnTo>
                  <a:lnTo>
                    <a:pt x="440" y="1191"/>
                  </a:lnTo>
                  <a:lnTo>
                    <a:pt x="441" y="1191"/>
                  </a:lnTo>
                  <a:lnTo>
                    <a:pt x="440" y="1191"/>
                  </a:lnTo>
                  <a:close/>
                  <a:moveTo>
                    <a:pt x="589" y="1316"/>
                  </a:moveTo>
                  <a:lnTo>
                    <a:pt x="589" y="1318"/>
                  </a:lnTo>
                  <a:lnTo>
                    <a:pt x="588" y="1318"/>
                  </a:lnTo>
                  <a:lnTo>
                    <a:pt x="588" y="1316"/>
                  </a:lnTo>
                  <a:lnTo>
                    <a:pt x="589" y="1316"/>
                  </a:lnTo>
                  <a:close/>
                  <a:moveTo>
                    <a:pt x="503" y="1461"/>
                  </a:moveTo>
                  <a:lnTo>
                    <a:pt x="503" y="1463"/>
                  </a:lnTo>
                  <a:lnTo>
                    <a:pt x="505" y="1463"/>
                  </a:lnTo>
                  <a:lnTo>
                    <a:pt x="503" y="1463"/>
                  </a:lnTo>
                  <a:lnTo>
                    <a:pt x="503" y="1461"/>
                  </a:lnTo>
                  <a:close/>
                  <a:moveTo>
                    <a:pt x="454" y="1552"/>
                  </a:moveTo>
                  <a:lnTo>
                    <a:pt x="454" y="1550"/>
                  </a:lnTo>
                  <a:lnTo>
                    <a:pt x="456" y="1550"/>
                  </a:lnTo>
                  <a:lnTo>
                    <a:pt x="454" y="1552"/>
                  </a:lnTo>
                  <a:lnTo>
                    <a:pt x="454" y="1550"/>
                  </a:lnTo>
                  <a:lnTo>
                    <a:pt x="454" y="1552"/>
                  </a:lnTo>
                  <a:close/>
                  <a:moveTo>
                    <a:pt x="687" y="482"/>
                  </a:moveTo>
                  <a:lnTo>
                    <a:pt x="685" y="480"/>
                  </a:lnTo>
                  <a:lnTo>
                    <a:pt x="687" y="480"/>
                  </a:lnTo>
                  <a:lnTo>
                    <a:pt x="687" y="482"/>
                  </a:lnTo>
                  <a:close/>
                  <a:moveTo>
                    <a:pt x="586" y="749"/>
                  </a:moveTo>
                  <a:lnTo>
                    <a:pt x="586" y="747"/>
                  </a:lnTo>
                  <a:lnTo>
                    <a:pt x="586" y="749"/>
                  </a:lnTo>
                  <a:close/>
                  <a:moveTo>
                    <a:pt x="625" y="679"/>
                  </a:moveTo>
                  <a:lnTo>
                    <a:pt x="625" y="680"/>
                  </a:lnTo>
                  <a:lnTo>
                    <a:pt x="625" y="679"/>
                  </a:lnTo>
                  <a:lnTo>
                    <a:pt x="627" y="680"/>
                  </a:lnTo>
                  <a:lnTo>
                    <a:pt x="625" y="680"/>
                  </a:lnTo>
                  <a:lnTo>
                    <a:pt x="625" y="679"/>
                  </a:lnTo>
                  <a:close/>
                  <a:moveTo>
                    <a:pt x="535" y="1240"/>
                  </a:moveTo>
                  <a:lnTo>
                    <a:pt x="535" y="1238"/>
                  </a:lnTo>
                  <a:lnTo>
                    <a:pt x="537" y="1238"/>
                  </a:lnTo>
                  <a:lnTo>
                    <a:pt x="535" y="1240"/>
                  </a:lnTo>
                  <a:lnTo>
                    <a:pt x="537" y="1240"/>
                  </a:lnTo>
                  <a:lnTo>
                    <a:pt x="535" y="1240"/>
                  </a:lnTo>
                  <a:close/>
                  <a:moveTo>
                    <a:pt x="558" y="1385"/>
                  </a:moveTo>
                  <a:lnTo>
                    <a:pt x="560" y="1385"/>
                  </a:lnTo>
                  <a:lnTo>
                    <a:pt x="560" y="1386"/>
                  </a:lnTo>
                  <a:lnTo>
                    <a:pt x="560" y="1385"/>
                  </a:lnTo>
                  <a:lnTo>
                    <a:pt x="560" y="1386"/>
                  </a:lnTo>
                  <a:lnTo>
                    <a:pt x="558" y="1386"/>
                  </a:lnTo>
                  <a:lnTo>
                    <a:pt x="558" y="1385"/>
                  </a:lnTo>
                  <a:close/>
                  <a:moveTo>
                    <a:pt x="456" y="1562"/>
                  </a:moveTo>
                  <a:lnTo>
                    <a:pt x="457" y="1562"/>
                  </a:lnTo>
                  <a:lnTo>
                    <a:pt x="456" y="1562"/>
                  </a:lnTo>
                  <a:lnTo>
                    <a:pt x="456" y="1563"/>
                  </a:lnTo>
                  <a:lnTo>
                    <a:pt x="456" y="1562"/>
                  </a:lnTo>
                  <a:close/>
                  <a:moveTo>
                    <a:pt x="501" y="1451"/>
                  </a:moveTo>
                  <a:lnTo>
                    <a:pt x="501" y="1453"/>
                  </a:lnTo>
                  <a:lnTo>
                    <a:pt x="500" y="1451"/>
                  </a:lnTo>
                  <a:lnTo>
                    <a:pt x="500" y="1450"/>
                  </a:lnTo>
                  <a:lnTo>
                    <a:pt x="501" y="1450"/>
                  </a:lnTo>
                  <a:lnTo>
                    <a:pt x="501" y="1451"/>
                  </a:lnTo>
                  <a:close/>
                  <a:moveTo>
                    <a:pt x="10" y="1485"/>
                  </a:moveTo>
                  <a:lnTo>
                    <a:pt x="9" y="1485"/>
                  </a:lnTo>
                  <a:lnTo>
                    <a:pt x="10" y="1484"/>
                  </a:lnTo>
                  <a:lnTo>
                    <a:pt x="10" y="1485"/>
                  </a:lnTo>
                  <a:close/>
                  <a:moveTo>
                    <a:pt x="498" y="861"/>
                  </a:moveTo>
                  <a:lnTo>
                    <a:pt x="500" y="862"/>
                  </a:lnTo>
                  <a:lnTo>
                    <a:pt x="498" y="861"/>
                  </a:lnTo>
                  <a:lnTo>
                    <a:pt x="498" y="859"/>
                  </a:lnTo>
                  <a:lnTo>
                    <a:pt x="498" y="858"/>
                  </a:lnTo>
                  <a:lnTo>
                    <a:pt x="498" y="859"/>
                  </a:lnTo>
                  <a:lnTo>
                    <a:pt x="498" y="861"/>
                  </a:lnTo>
                  <a:close/>
                  <a:moveTo>
                    <a:pt x="548" y="1445"/>
                  </a:moveTo>
                  <a:lnTo>
                    <a:pt x="548" y="1443"/>
                  </a:lnTo>
                  <a:lnTo>
                    <a:pt x="550" y="1443"/>
                  </a:lnTo>
                  <a:lnTo>
                    <a:pt x="550" y="1441"/>
                  </a:lnTo>
                  <a:lnTo>
                    <a:pt x="550" y="1443"/>
                  </a:lnTo>
                  <a:lnTo>
                    <a:pt x="550" y="1445"/>
                  </a:lnTo>
                  <a:lnTo>
                    <a:pt x="548" y="1445"/>
                  </a:lnTo>
                  <a:close/>
                  <a:moveTo>
                    <a:pt x="557" y="1261"/>
                  </a:moveTo>
                  <a:lnTo>
                    <a:pt x="557" y="1259"/>
                  </a:lnTo>
                  <a:lnTo>
                    <a:pt x="558" y="1261"/>
                  </a:lnTo>
                  <a:lnTo>
                    <a:pt x="558" y="1259"/>
                  </a:lnTo>
                  <a:lnTo>
                    <a:pt x="558" y="1261"/>
                  </a:lnTo>
                  <a:lnTo>
                    <a:pt x="557" y="1261"/>
                  </a:lnTo>
                  <a:close/>
                  <a:moveTo>
                    <a:pt x="33" y="1606"/>
                  </a:moveTo>
                  <a:lnTo>
                    <a:pt x="31" y="1606"/>
                  </a:lnTo>
                  <a:lnTo>
                    <a:pt x="33" y="1604"/>
                  </a:lnTo>
                  <a:lnTo>
                    <a:pt x="33" y="1606"/>
                  </a:lnTo>
                  <a:close/>
                  <a:moveTo>
                    <a:pt x="640" y="516"/>
                  </a:moveTo>
                  <a:lnTo>
                    <a:pt x="641" y="518"/>
                  </a:lnTo>
                  <a:lnTo>
                    <a:pt x="640" y="518"/>
                  </a:lnTo>
                  <a:lnTo>
                    <a:pt x="640" y="516"/>
                  </a:lnTo>
                  <a:close/>
                  <a:moveTo>
                    <a:pt x="441" y="1723"/>
                  </a:moveTo>
                  <a:lnTo>
                    <a:pt x="441" y="1724"/>
                  </a:lnTo>
                  <a:lnTo>
                    <a:pt x="443" y="1724"/>
                  </a:lnTo>
                  <a:lnTo>
                    <a:pt x="441" y="1724"/>
                  </a:lnTo>
                  <a:lnTo>
                    <a:pt x="441" y="1723"/>
                  </a:lnTo>
                  <a:close/>
                  <a:moveTo>
                    <a:pt x="620" y="510"/>
                  </a:moveTo>
                  <a:lnTo>
                    <a:pt x="622" y="510"/>
                  </a:lnTo>
                  <a:lnTo>
                    <a:pt x="620" y="510"/>
                  </a:lnTo>
                  <a:close/>
                  <a:moveTo>
                    <a:pt x="749" y="451"/>
                  </a:moveTo>
                  <a:lnTo>
                    <a:pt x="750" y="451"/>
                  </a:lnTo>
                  <a:lnTo>
                    <a:pt x="750" y="453"/>
                  </a:lnTo>
                  <a:lnTo>
                    <a:pt x="749" y="453"/>
                  </a:lnTo>
                  <a:lnTo>
                    <a:pt x="749" y="451"/>
                  </a:lnTo>
                  <a:close/>
                  <a:moveTo>
                    <a:pt x="36" y="1604"/>
                  </a:moveTo>
                  <a:lnTo>
                    <a:pt x="36" y="1603"/>
                  </a:lnTo>
                  <a:lnTo>
                    <a:pt x="36" y="1604"/>
                  </a:lnTo>
                  <a:close/>
                  <a:moveTo>
                    <a:pt x="456" y="1559"/>
                  </a:moveTo>
                  <a:lnTo>
                    <a:pt x="456" y="1557"/>
                  </a:lnTo>
                  <a:lnTo>
                    <a:pt x="457" y="1557"/>
                  </a:lnTo>
                  <a:lnTo>
                    <a:pt x="457" y="1559"/>
                  </a:lnTo>
                  <a:lnTo>
                    <a:pt x="456" y="1559"/>
                  </a:lnTo>
                  <a:lnTo>
                    <a:pt x="457" y="1559"/>
                  </a:lnTo>
                  <a:lnTo>
                    <a:pt x="456" y="1560"/>
                  </a:lnTo>
                  <a:lnTo>
                    <a:pt x="456" y="1559"/>
                  </a:lnTo>
                  <a:lnTo>
                    <a:pt x="456" y="1560"/>
                  </a:lnTo>
                  <a:lnTo>
                    <a:pt x="456" y="1559"/>
                  </a:lnTo>
                  <a:close/>
                  <a:moveTo>
                    <a:pt x="544" y="1376"/>
                  </a:moveTo>
                  <a:lnTo>
                    <a:pt x="544" y="1375"/>
                  </a:lnTo>
                  <a:lnTo>
                    <a:pt x="545" y="1376"/>
                  </a:lnTo>
                  <a:lnTo>
                    <a:pt x="544" y="1376"/>
                  </a:lnTo>
                  <a:close/>
                  <a:moveTo>
                    <a:pt x="501" y="845"/>
                  </a:moveTo>
                  <a:lnTo>
                    <a:pt x="500" y="845"/>
                  </a:lnTo>
                  <a:lnTo>
                    <a:pt x="500" y="843"/>
                  </a:lnTo>
                  <a:lnTo>
                    <a:pt x="501" y="843"/>
                  </a:lnTo>
                  <a:lnTo>
                    <a:pt x="501" y="845"/>
                  </a:lnTo>
                  <a:close/>
                  <a:moveTo>
                    <a:pt x="736" y="466"/>
                  </a:moveTo>
                  <a:lnTo>
                    <a:pt x="737" y="466"/>
                  </a:lnTo>
                  <a:lnTo>
                    <a:pt x="737" y="467"/>
                  </a:lnTo>
                  <a:lnTo>
                    <a:pt x="736" y="467"/>
                  </a:lnTo>
                  <a:lnTo>
                    <a:pt x="737" y="466"/>
                  </a:lnTo>
                  <a:lnTo>
                    <a:pt x="736" y="467"/>
                  </a:lnTo>
                  <a:lnTo>
                    <a:pt x="736" y="466"/>
                  </a:lnTo>
                  <a:lnTo>
                    <a:pt x="736" y="467"/>
                  </a:lnTo>
                  <a:lnTo>
                    <a:pt x="736" y="466"/>
                  </a:lnTo>
                  <a:lnTo>
                    <a:pt x="736" y="467"/>
                  </a:lnTo>
                  <a:lnTo>
                    <a:pt x="736" y="466"/>
                  </a:lnTo>
                  <a:close/>
                  <a:moveTo>
                    <a:pt x="522" y="827"/>
                  </a:moveTo>
                  <a:lnTo>
                    <a:pt x="521" y="827"/>
                  </a:lnTo>
                  <a:lnTo>
                    <a:pt x="521" y="825"/>
                  </a:lnTo>
                  <a:lnTo>
                    <a:pt x="521" y="827"/>
                  </a:lnTo>
                  <a:lnTo>
                    <a:pt x="522" y="827"/>
                  </a:lnTo>
                  <a:close/>
                  <a:moveTo>
                    <a:pt x="596" y="1323"/>
                  </a:moveTo>
                  <a:lnTo>
                    <a:pt x="597" y="1323"/>
                  </a:lnTo>
                  <a:lnTo>
                    <a:pt x="596" y="1323"/>
                  </a:lnTo>
                  <a:lnTo>
                    <a:pt x="596" y="1324"/>
                  </a:lnTo>
                  <a:lnTo>
                    <a:pt x="596" y="1323"/>
                  </a:lnTo>
                  <a:close/>
                  <a:moveTo>
                    <a:pt x="70" y="1674"/>
                  </a:moveTo>
                  <a:lnTo>
                    <a:pt x="70" y="1672"/>
                  </a:lnTo>
                  <a:lnTo>
                    <a:pt x="72" y="1672"/>
                  </a:lnTo>
                  <a:lnTo>
                    <a:pt x="72" y="1674"/>
                  </a:lnTo>
                  <a:lnTo>
                    <a:pt x="72" y="1676"/>
                  </a:lnTo>
                  <a:lnTo>
                    <a:pt x="72" y="1674"/>
                  </a:lnTo>
                  <a:lnTo>
                    <a:pt x="72" y="1676"/>
                  </a:lnTo>
                  <a:lnTo>
                    <a:pt x="72" y="1674"/>
                  </a:lnTo>
                  <a:lnTo>
                    <a:pt x="70" y="1674"/>
                  </a:lnTo>
                  <a:close/>
                  <a:moveTo>
                    <a:pt x="23" y="1539"/>
                  </a:moveTo>
                  <a:lnTo>
                    <a:pt x="25" y="1539"/>
                  </a:lnTo>
                  <a:lnTo>
                    <a:pt x="23" y="1539"/>
                  </a:lnTo>
                  <a:lnTo>
                    <a:pt x="23" y="1537"/>
                  </a:lnTo>
                  <a:lnTo>
                    <a:pt x="23" y="1539"/>
                  </a:lnTo>
                  <a:close/>
                  <a:moveTo>
                    <a:pt x="588" y="1376"/>
                  </a:moveTo>
                  <a:lnTo>
                    <a:pt x="589" y="1376"/>
                  </a:lnTo>
                  <a:lnTo>
                    <a:pt x="589" y="1378"/>
                  </a:lnTo>
                  <a:lnTo>
                    <a:pt x="588" y="1378"/>
                  </a:lnTo>
                  <a:lnTo>
                    <a:pt x="588" y="1376"/>
                  </a:lnTo>
                  <a:lnTo>
                    <a:pt x="588" y="1378"/>
                  </a:lnTo>
                  <a:lnTo>
                    <a:pt x="588" y="1376"/>
                  </a:lnTo>
                  <a:close/>
                  <a:moveTo>
                    <a:pt x="588" y="1396"/>
                  </a:moveTo>
                  <a:lnTo>
                    <a:pt x="586" y="1398"/>
                  </a:lnTo>
                  <a:lnTo>
                    <a:pt x="586" y="1396"/>
                  </a:lnTo>
                  <a:lnTo>
                    <a:pt x="588" y="1396"/>
                  </a:lnTo>
                  <a:close/>
                  <a:moveTo>
                    <a:pt x="612" y="1373"/>
                  </a:moveTo>
                  <a:lnTo>
                    <a:pt x="610" y="1373"/>
                  </a:lnTo>
                  <a:lnTo>
                    <a:pt x="612" y="1373"/>
                  </a:lnTo>
                  <a:close/>
                  <a:moveTo>
                    <a:pt x="550" y="1412"/>
                  </a:moveTo>
                  <a:lnTo>
                    <a:pt x="550" y="1414"/>
                  </a:lnTo>
                  <a:lnTo>
                    <a:pt x="552" y="1412"/>
                  </a:lnTo>
                  <a:lnTo>
                    <a:pt x="552" y="1414"/>
                  </a:lnTo>
                  <a:lnTo>
                    <a:pt x="550" y="1414"/>
                  </a:lnTo>
                  <a:lnTo>
                    <a:pt x="550" y="1412"/>
                  </a:lnTo>
                  <a:close/>
                  <a:moveTo>
                    <a:pt x="49" y="1565"/>
                  </a:moveTo>
                  <a:lnTo>
                    <a:pt x="51" y="1565"/>
                  </a:lnTo>
                  <a:lnTo>
                    <a:pt x="51" y="1567"/>
                  </a:lnTo>
                  <a:lnTo>
                    <a:pt x="49" y="1567"/>
                  </a:lnTo>
                  <a:lnTo>
                    <a:pt x="49" y="1565"/>
                  </a:lnTo>
                  <a:close/>
                  <a:moveTo>
                    <a:pt x="23" y="1572"/>
                  </a:moveTo>
                  <a:lnTo>
                    <a:pt x="25" y="1572"/>
                  </a:lnTo>
                  <a:lnTo>
                    <a:pt x="23" y="1572"/>
                  </a:lnTo>
                  <a:lnTo>
                    <a:pt x="23" y="1573"/>
                  </a:lnTo>
                  <a:lnTo>
                    <a:pt x="23" y="1572"/>
                  </a:lnTo>
                  <a:close/>
                  <a:moveTo>
                    <a:pt x="555" y="1432"/>
                  </a:moveTo>
                  <a:lnTo>
                    <a:pt x="557" y="1432"/>
                  </a:lnTo>
                  <a:lnTo>
                    <a:pt x="555" y="1432"/>
                  </a:lnTo>
                  <a:lnTo>
                    <a:pt x="555" y="1433"/>
                  </a:lnTo>
                  <a:lnTo>
                    <a:pt x="555" y="1435"/>
                  </a:lnTo>
                  <a:lnTo>
                    <a:pt x="555" y="1433"/>
                  </a:lnTo>
                  <a:lnTo>
                    <a:pt x="555" y="1432"/>
                  </a:lnTo>
                  <a:lnTo>
                    <a:pt x="555" y="1430"/>
                  </a:lnTo>
                  <a:lnTo>
                    <a:pt x="555" y="1432"/>
                  </a:lnTo>
                  <a:close/>
                  <a:moveTo>
                    <a:pt x="628" y="549"/>
                  </a:moveTo>
                  <a:lnTo>
                    <a:pt x="630" y="549"/>
                  </a:lnTo>
                  <a:lnTo>
                    <a:pt x="630" y="547"/>
                  </a:lnTo>
                  <a:lnTo>
                    <a:pt x="630" y="549"/>
                  </a:lnTo>
                  <a:lnTo>
                    <a:pt x="628" y="549"/>
                  </a:lnTo>
                  <a:close/>
                  <a:moveTo>
                    <a:pt x="65" y="1581"/>
                  </a:moveTo>
                  <a:lnTo>
                    <a:pt x="64" y="1581"/>
                  </a:lnTo>
                  <a:lnTo>
                    <a:pt x="64" y="1580"/>
                  </a:lnTo>
                  <a:lnTo>
                    <a:pt x="65" y="1580"/>
                  </a:lnTo>
                  <a:lnTo>
                    <a:pt x="65" y="1581"/>
                  </a:lnTo>
                  <a:close/>
                  <a:moveTo>
                    <a:pt x="625" y="607"/>
                  </a:moveTo>
                  <a:lnTo>
                    <a:pt x="625" y="609"/>
                  </a:lnTo>
                  <a:lnTo>
                    <a:pt x="627" y="609"/>
                  </a:lnTo>
                  <a:lnTo>
                    <a:pt x="625" y="609"/>
                  </a:lnTo>
                  <a:lnTo>
                    <a:pt x="625" y="607"/>
                  </a:lnTo>
                  <a:close/>
                  <a:moveTo>
                    <a:pt x="438" y="1690"/>
                  </a:moveTo>
                  <a:lnTo>
                    <a:pt x="440" y="1690"/>
                  </a:lnTo>
                  <a:lnTo>
                    <a:pt x="438" y="1690"/>
                  </a:lnTo>
                  <a:lnTo>
                    <a:pt x="438" y="1692"/>
                  </a:lnTo>
                  <a:lnTo>
                    <a:pt x="438" y="1690"/>
                  </a:lnTo>
                  <a:lnTo>
                    <a:pt x="440" y="1690"/>
                  </a:lnTo>
                  <a:lnTo>
                    <a:pt x="440" y="1692"/>
                  </a:lnTo>
                  <a:lnTo>
                    <a:pt x="438" y="1692"/>
                  </a:lnTo>
                  <a:lnTo>
                    <a:pt x="440" y="1692"/>
                  </a:lnTo>
                  <a:lnTo>
                    <a:pt x="438" y="1692"/>
                  </a:lnTo>
                  <a:lnTo>
                    <a:pt x="438" y="1690"/>
                  </a:lnTo>
                  <a:lnTo>
                    <a:pt x="438" y="1692"/>
                  </a:lnTo>
                  <a:lnTo>
                    <a:pt x="438" y="1690"/>
                  </a:lnTo>
                  <a:close/>
                  <a:moveTo>
                    <a:pt x="444" y="1019"/>
                  </a:moveTo>
                  <a:lnTo>
                    <a:pt x="446" y="1019"/>
                  </a:lnTo>
                  <a:lnTo>
                    <a:pt x="444" y="1019"/>
                  </a:lnTo>
                  <a:lnTo>
                    <a:pt x="444" y="1020"/>
                  </a:lnTo>
                  <a:lnTo>
                    <a:pt x="444" y="1019"/>
                  </a:lnTo>
                  <a:close/>
                  <a:moveTo>
                    <a:pt x="492" y="854"/>
                  </a:moveTo>
                  <a:lnTo>
                    <a:pt x="490" y="854"/>
                  </a:lnTo>
                  <a:lnTo>
                    <a:pt x="490" y="853"/>
                  </a:lnTo>
                  <a:lnTo>
                    <a:pt x="492" y="853"/>
                  </a:lnTo>
                  <a:lnTo>
                    <a:pt x="492" y="854"/>
                  </a:lnTo>
                  <a:close/>
                  <a:moveTo>
                    <a:pt x="599" y="1391"/>
                  </a:moveTo>
                  <a:lnTo>
                    <a:pt x="601" y="1393"/>
                  </a:lnTo>
                  <a:lnTo>
                    <a:pt x="599" y="1393"/>
                  </a:lnTo>
                  <a:lnTo>
                    <a:pt x="599" y="1391"/>
                  </a:lnTo>
                  <a:close/>
                  <a:moveTo>
                    <a:pt x="648" y="506"/>
                  </a:moveTo>
                  <a:lnTo>
                    <a:pt x="648" y="505"/>
                  </a:lnTo>
                  <a:lnTo>
                    <a:pt x="649" y="505"/>
                  </a:lnTo>
                  <a:lnTo>
                    <a:pt x="649" y="506"/>
                  </a:lnTo>
                  <a:lnTo>
                    <a:pt x="648" y="506"/>
                  </a:lnTo>
                  <a:close/>
                  <a:moveTo>
                    <a:pt x="457" y="1557"/>
                  </a:moveTo>
                  <a:lnTo>
                    <a:pt x="456" y="1557"/>
                  </a:lnTo>
                  <a:lnTo>
                    <a:pt x="456" y="1555"/>
                  </a:lnTo>
                  <a:lnTo>
                    <a:pt x="456" y="1557"/>
                  </a:lnTo>
                  <a:lnTo>
                    <a:pt x="457" y="1557"/>
                  </a:lnTo>
                  <a:close/>
                  <a:moveTo>
                    <a:pt x="579" y="1409"/>
                  </a:moveTo>
                  <a:lnTo>
                    <a:pt x="581" y="1409"/>
                  </a:lnTo>
                  <a:lnTo>
                    <a:pt x="579" y="1411"/>
                  </a:lnTo>
                  <a:lnTo>
                    <a:pt x="579" y="1409"/>
                  </a:lnTo>
                  <a:lnTo>
                    <a:pt x="579" y="1407"/>
                  </a:lnTo>
                  <a:lnTo>
                    <a:pt x="579" y="1409"/>
                  </a:lnTo>
                  <a:close/>
                  <a:moveTo>
                    <a:pt x="535" y="1446"/>
                  </a:moveTo>
                  <a:lnTo>
                    <a:pt x="534" y="1448"/>
                  </a:lnTo>
                  <a:lnTo>
                    <a:pt x="534" y="1446"/>
                  </a:lnTo>
                  <a:lnTo>
                    <a:pt x="535" y="1446"/>
                  </a:lnTo>
                  <a:lnTo>
                    <a:pt x="535" y="1445"/>
                  </a:lnTo>
                  <a:lnTo>
                    <a:pt x="535" y="1446"/>
                  </a:lnTo>
                  <a:close/>
                  <a:moveTo>
                    <a:pt x="571" y="1425"/>
                  </a:moveTo>
                  <a:lnTo>
                    <a:pt x="571" y="1424"/>
                  </a:lnTo>
                  <a:lnTo>
                    <a:pt x="573" y="1424"/>
                  </a:lnTo>
                  <a:lnTo>
                    <a:pt x="573" y="1425"/>
                  </a:lnTo>
                  <a:lnTo>
                    <a:pt x="571" y="1425"/>
                  </a:lnTo>
                  <a:close/>
                  <a:moveTo>
                    <a:pt x="749" y="430"/>
                  </a:moveTo>
                  <a:lnTo>
                    <a:pt x="750" y="430"/>
                  </a:lnTo>
                  <a:lnTo>
                    <a:pt x="749" y="430"/>
                  </a:lnTo>
                  <a:lnTo>
                    <a:pt x="749" y="428"/>
                  </a:lnTo>
                  <a:lnTo>
                    <a:pt x="750" y="430"/>
                  </a:lnTo>
                  <a:lnTo>
                    <a:pt x="749" y="430"/>
                  </a:lnTo>
                  <a:close/>
                  <a:moveTo>
                    <a:pt x="578" y="1417"/>
                  </a:moveTo>
                  <a:lnTo>
                    <a:pt x="576" y="1417"/>
                  </a:lnTo>
                  <a:lnTo>
                    <a:pt x="578" y="1415"/>
                  </a:lnTo>
                  <a:lnTo>
                    <a:pt x="578" y="1417"/>
                  </a:lnTo>
                  <a:close/>
                  <a:moveTo>
                    <a:pt x="558" y="1430"/>
                  </a:moveTo>
                  <a:lnTo>
                    <a:pt x="558" y="1432"/>
                  </a:lnTo>
                  <a:lnTo>
                    <a:pt x="558" y="1430"/>
                  </a:lnTo>
                  <a:lnTo>
                    <a:pt x="557" y="1430"/>
                  </a:lnTo>
                  <a:lnTo>
                    <a:pt x="558" y="1428"/>
                  </a:lnTo>
                  <a:lnTo>
                    <a:pt x="558" y="1430"/>
                  </a:lnTo>
                  <a:close/>
                  <a:moveTo>
                    <a:pt x="454" y="1533"/>
                  </a:moveTo>
                  <a:lnTo>
                    <a:pt x="454" y="1531"/>
                  </a:lnTo>
                  <a:lnTo>
                    <a:pt x="454" y="1533"/>
                  </a:lnTo>
                  <a:lnTo>
                    <a:pt x="454" y="1534"/>
                  </a:lnTo>
                  <a:lnTo>
                    <a:pt x="454" y="1533"/>
                  </a:lnTo>
                  <a:close/>
                  <a:moveTo>
                    <a:pt x="430" y="1072"/>
                  </a:moveTo>
                  <a:lnTo>
                    <a:pt x="430" y="1071"/>
                  </a:lnTo>
                  <a:lnTo>
                    <a:pt x="430" y="1072"/>
                  </a:lnTo>
                  <a:close/>
                  <a:moveTo>
                    <a:pt x="475" y="898"/>
                  </a:moveTo>
                  <a:lnTo>
                    <a:pt x="475" y="897"/>
                  </a:lnTo>
                  <a:lnTo>
                    <a:pt x="475" y="898"/>
                  </a:lnTo>
                  <a:close/>
                  <a:moveTo>
                    <a:pt x="446" y="893"/>
                  </a:moveTo>
                  <a:lnTo>
                    <a:pt x="448" y="893"/>
                  </a:lnTo>
                  <a:lnTo>
                    <a:pt x="446" y="893"/>
                  </a:lnTo>
                  <a:close/>
                  <a:moveTo>
                    <a:pt x="680" y="475"/>
                  </a:moveTo>
                  <a:lnTo>
                    <a:pt x="680" y="474"/>
                  </a:lnTo>
                  <a:lnTo>
                    <a:pt x="680" y="475"/>
                  </a:lnTo>
                  <a:close/>
                  <a:moveTo>
                    <a:pt x="474" y="1490"/>
                  </a:moveTo>
                  <a:lnTo>
                    <a:pt x="474" y="1492"/>
                  </a:lnTo>
                  <a:lnTo>
                    <a:pt x="472" y="1492"/>
                  </a:lnTo>
                  <a:lnTo>
                    <a:pt x="472" y="1490"/>
                  </a:lnTo>
                  <a:lnTo>
                    <a:pt x="474" y="1490"/>
                  </a:lnTo>
                  <a:close/>
                  <a:moveTo>
                    <a:pt x="64" y="1674"/>
                  </a:moveTo>
                  <a:lnTo>
                    <a:pt x="64" y="1672"/>
                  </a:lnTo>
                  <a:lnTo>
                    <a:pt x="64" y="1674"/>
                  </a:lnTo>
                  <a:lnTo>
                    <a:pt x="65" y="1674"/>
                  </a:lnTo>
                  <a:lnTo>
                    <a:pt x="64" y="1674"/>
                  </a:lnTo>
                  <a:lnTo>
                    <a:pt x="62" y="1674"/>
                  </a:lnTo>
                  <a:lnTo>
                    <a:pt x="64" y="1674"/>
                  </a:lnTo>
                  <a:close/>
                  <a:moveTo>
                    <a:pt x="602" y="1334"/>
                  </a:moveTo>
                  <a:lnTo>
                    <a:pt x="601" y="1334"/>
                  </a:lnTo>
                  <a:lnTo>
                    <a:pt x="601" y="1333"/>
                  </a:lnTo>
                  <a:lnTo>
                    <a:pt x="602" y="1333"/>
                  </a:lnTo>
                  <a:lnTo>
                    <a:pt x="602" y="1334"/>
                  </a:lnTo>
                  <a:close/>
                  <a:moveTo>
                    <a:pt x="561" y="1446"/>
                  </a:moveTo>
                  <a:lnTo>
                    <a:pt x="563" y="1446"/>
                  </a:lnTo>
                  <a:lnTo>
                    <a:pt x="563" y="1445"/>
                  </a:lnTo>
                  <a:lnTo>
                    <a:pt x="565" y="1446"/>
                  </a:lnTo>
                  <a:lnTo>
                    <a:pt x="563" y="1446"/>
                  </a:lnTo>
                  <a:lnTo>
                    <a:pt x="563" y="1445"/>
                  </a:lnTo>
                  <a:lnTo>
                    <a:pt x="563" y="1446"/>
                  </a:lnTo>
                  <a:lnTo>
                    <a:pt x="561" y="1446"/>
                  </a:lnTo>
                  <a:close/>
                  <a:moveTo>
                    <a:pt x="441" y="1726"/>
                  </a:moveTo>
                  <a:lnTo>
                    <a:pt x="441" y="1724"/>
                  </a:lnTo>
                  <a:lnTo>
                    <a:pt x="441" y="1726"/>
                  </a:lnTo>
                  <a:lnTo>
                    <a:pt x="443" y="1726"/>
                  </a:lnTo>
                  <a:lnTo>
                    <a:pt x="441" y="1726"/>
                  </a:lnTo>
                  <a:close/>
                  <a:moveTo>
                    <a:pt x="597" y="1365"/>
                  </a:moveTo>
                  <a:lnTo>
                    <a:pt x="597" y="1363"/>
                  </a:lnTo>
                  <a:lnTo>
                    <a:pt x="597" y="1365"/>
                  </a:lnTo>
                  <a:close/>
                  <a:moveTo>
                    <a:pt x="457" y="1705"/>
                  </a:moveTo>
                  <a:lnTo>
                    <a:pt x="456" y="1705"/>
                  </a:lnTo>
                  <a:lnTo>
                    <a:pt x="457" y="1703"/>
                  </a:lnTo>
                  <a:lnTo>
                    <a:pt x="457" y="1705"/>
                  </a:lnTo>
                  <a:close/>
                  <a:moveTo>
                    <a:pt x="526" y="1445"/>
                  </a:moveTo>
                  <a:lnTo>
                    <a:pt x="524" y="1445"/>
                  </a:lnTo>
                  <a:lnTo>
                    <a:pt x="524" y="1443"/>
                  </a:lnTo>
                  <a:lnTo>
                    <a:pt x="526" y="1443"/>
                  </a:lnTo>
                  <a:lnTo>
                    <a:pt x="526" y="1445"/>
                  </a:lnTo>
                  <a:close/>
                  <a:moveTo>
                    <a:pt x="70" y="1586"/>
                  </a:moveTo>
                  <a:lnTo>
                    <a:pt x="70" y="1588"/>
                  </a:lnTo>
                  <a:lnTo>
                    <a:pt x="70" y="1586"/>
                  </a:lnTo>
                  <a:lnTo>
                    <a:pt x="69" y="1586"/>
                  </a:lnTo>
                  <a:lnTo>
                    <a:pt x="69" y="1585"/>
                  </a:lnTo>
                  <a:lnTo>
                    <a:pt x="70" y="1585"/>
                  </a:lnTo>
                  <a:lnTo>
                    <a:pt x="70" y="1586"/>
                  </a:lnTo>
                  <a:close/>
                  <a:moveTo>
                    <a:pt x="462" y="1502"/>
                  </a:moveTo>
                  <a:lnTo>
                    <a:pt x="462" y="1500"/>
                  </a:lnTo>
                  <a:lnTo>
                    <a:pt x="464" y="1502"/>
                  </a:lnTo>
                  <a:lnTo>
                    <a:pt x="462" y="1502"/>
                  </a:lnTo>
                  <a:close/>
                  <a:moveTo>
                    <a:pt x="535" y="1458"/>
                  </a:moveTo>
                  <a:lnTo>
                    <a:pt x="535" y="1459"/>
                  </a:lnTo>
                  <a:lnTo>
                    <a:pt x="535" y="1458"/>
                  </a:lnTo>
                  <a:close/>
                  <a:moveTo>
                    <a:pt x="690" y="482"/>
                  </a:moveTo>
                  <a:lnTo>
                    <a:pt x="692" y="482"/>
                  </a:lnTo>
                  <a:lnTo>
                    <a:pt x="690" y="482"/>
                  </a:lnTo>
                  <a:lnTo>
                    <a:pt x="690" y="480"/>
                  </a:lnTo>
                  <a:lnTo>
                    <a:pt x="692" y="482"/>
                  </a:lnTo>
                  <a:lnTo>
                    <a:pt x="690" y="482"/>
                  </a:lnTo>
                  <a:close/>
                  <a:moveTo>
                    <a:pt x="35" y="1598"/>
                  </a:moveTo>
                  <a:lnTo>
                    <a:pt x="35" y="1596"/>
                  </a:lnTo>
                  <a:lnTo>
                    <a:pt x="36" y="1598"/>
                  </a:lnTo>
                  <a:lnTo>
                    <a:pt x="36" y="1599"/>
                  </a:lnTo>
                  <a:lnTo>
                    <a:pt x="35" y="1599"/>
                  </a:lnTo>
                  <a:lnTo>
                    <a:pt x="35" y="1598"/>
                  </a:lnTo>
                  <a:lnTo>
                    <a:pt x="36" y="1598"/>
                  </a:lnTo>
                  <a:lnTo>
                    <a:pt x="35" y="1598"/>
                  </a:lnTo>
                  <a:close/>
                  <a:moveTo>
                    <a:pt x="547" y="1276"/>
                  </a:moveTo>
                  <a:lnTo>
                    <a:pt x="548" y="1276"/>
                  </a:lnTo>
                  <a:lnTo>
                    <a:pt x="547" y="1276"/>
                  </a:lnTo>
                  <a:close/>
                  <a:moveTo>
                    <a:pt x="446" y="1661"/>
                  </a:moveTo>
                  <a:lnTo>
                    <a:pt x="446" y="1663"/>
                  </a:lnTo>
                  <a:lnTo>
                    <a:pt x="446" y="1661"/>
                  </a:lnTo>
                  <a:lnTo>
                    <a:pt x="446" y="1663"/>
                  </a:lnTo>
                  <a:lnTo>
                    <a:pt x="444" y="1661"/>
                  </a:lnTo>
                  <a:lnTo>
                    <a:pt x="446" y="1661"/>
                  </a:lnTo>
                  <a:close/>
                  <a:moveTo>
                    <a:pt x="4" y="1500"/>
                  </a:moveTo>
                  <a:lnTo>
                    <a:pt x="2" y="1500"/>
                  </a:lnTo>
                  <a:lnTo>
                    <a:pt x="2" y="1498"/>
                  </a:lnTo>
                  <a:lnTo>
                    <a:pt x="4" y="1498"/>
                  </a:lnTo>
                  <a:lnTo>
                    <a:pt x="4" y="1500"/>
                  </a:lnTo>
                  <a:close/>
                  <a:moveTo>
                    <a:pt x="446" y="1676"/>
                  </a:moveTo>
                  <a:lnTo>
                    <a:pt x="446" y="1674"/>
                  </a:lnTo>
                  <a:lnTo>
                    <a:pt x="448" y="1674"/>
                  </a:lnTo>
                  <a:lnTo>
                    <a:pt x="448" y="1676"/>
                  </a:lnTo>
                  <a:lnTo>
                    <a:pt x="448" y="1674"/>
                  </a:lnTo>
                  <a:lnTo>
                    <a:pt x="448" y="1676"/>
                  </a:lnTo>
                  <a:lnTo>
                    <a:pt x="446" y="1676"/>
                  </a:lnTo>
                  <a:close/>
                  <a:moveTo>
                    <a:pt x="518" y="835"/>
                  </a:moveTo>
                  <a:lnTo>
                    <a:pt x="516" y="835"/>
                  </a:lnTo>
                  <a:lnTo>
                    <a:pt x="516" y="833"/>
                  </a:lnTo>
                  <a:lnTo>
                    <a:pt x="518" y="833"/>
                  </a:lnTo>
                  <a:lnTo>
                    <a:pt x="518" y="835"/>
                  </a:lnTo>
                  <a:close/>
                  <a:moveTo>
                    <a:pt x="64" y="1677"/>
                  </a:moveTo>
                  <a:lnTo>
                    <a:pt x="65" y="1677"/>
                  </a:lnTo>
                  <a:lnTo>
                    <a:pt x="65" y="1679"/>
                  </a:lnTo>
                  <a:lnTo>
                    <a:pt x="64" y="1679"/>
                  </a:lnTo>
                  <a:lnTo>
                    <a:pt x="64" y="1677"/>
                  </a:lnTo>
                  <a:close/>
                  <a:moveTo>
                    <a:pt x="537" y="1383"/>
                  </a:moveTo>
                  <a:lnTo>
                    <a:pt x="539" y="1383"/>
                  </a:lnTo>
                  <a:lnTo>
                    <a:pt x="540" y="1383"/>
                  </a:lnTo>
                  <a:lnTo>
                    <a:pt x="540" y="1385"/>
                  </a:lnTo>
                  <a:lnTo>
                    <a:pt x="539" y="1383"/>
                  </a:lnTo>
                  <a:lnTo>
                    <a:pt x="537" y="1383"/>
                  </a:lnTo>
                  <a:lnTo>
                    <a:pt x="537" y="1385"/>
                  </a:lnTo>
                  <a:lnTo>
                    <a:pt x="537" y="1383"/>
                  </a:lnTo>
                  <a:close/>
                  <a:moveTo>
                    <a:pt x="464" y="1503"/>
                  </a:moveTo>
                  <a:lnTo>
                    <a:pt x="466" y="1502"/>
                  </a:lnTo>
                  <a:lnTo>
                    <a:pt x="466" y="1503"/>
                  </a:lnTo>
                  <a:lnTo>
                    <a:pt x="464" y="1503"/>
                  </a:lnTo>
                  <a:lnTo>
                    <a:pt x="462" y="1503"/>
                  </a:lnTo>
                  <a:lnTo>
                    <a:pt x="464" y="1502"/>
                  </a:lnTo>
                  <a:lnTo>
                    <a:pt x="464" y="1503"/>
                  </a:lnTo>
                  <a:close/>
                  <a:moveTo>
                    <a:pt x="454" y="1539"/>
                  </a:moveTo>
                  <a:lnTo>
                    <a:pt x="454" y="1541"/>
                  </a:lnTo>
                  <a:lnTo>
                    <a:pt x="453" y="1539"/>
                  </a:lnTo>
                  <a:lnTo>
                    <a:pt x="454" y="1541"/>
                  </a:lnTo>
                  <a:lnTo>
                    <a:pt x="454" y="1539"/>
                  </a:lnTo>
                  <a:close/>
                  <a:moveTo>
                    <a:pt x="544" y="1378"/>
                  </a:moveTo>
                  <a:lnTo>
                    <a:pt x="542" y="1378"/>
                  </a:lnTo>
                  <a:lnTo>
                    <a:pt x="544" y="1378"/>
                  </a:lnTo>
                  <a:lnTo>
                    <a:pt x="544" y="1376"/>
                  </a:lnTo>
                  <a:lnTo>
                    <a:pt x="544" y="1378"/>
                  </a:lnTo>
                  <a:close/>
                  <a:moveTo>
                    <a:pt x="609" y="739"/>
                  </a:moveTo>
                  <a:lnTo>
                    <a:pt x="609" y="741"/>
                  </a:lnTo>
                  <a:lnTo>
                    <a:pt x="609" y="737"/>
                  </a:lnTo>
                  <a:lnTo>
                    <a:pt x="609" y="739"/>
                  </a:lnTo>
                  <a:close/>
                  <a:moveTo>
                    <a:pt x="52" y="1604"/>
                  </a:moveTo>
                  <a:lnTo>
                    <a:pt x="52" y="1606"/>
                  </a:lnTo>
                  <a:lnTo>
                    <a:pt x="51" y="1606"/>
                  </a:lnTo>
                  <a:lnTo>
                    <a:pt x="51" y="1604"/>
                  </a:lnTo>
                  <a:lnTo>
                    <a:pt x="52" y="1604"/>
                  </a:lnTo>
                  <a:close/>
                  <a:moveTo>
                    <a:pt x="449" y="1581"/>
                  </a:moveTo>
                  <a:lnTo>
                    <a:pt x="451" y="1581"/>
                  </a:lnTo>
                  <a:lnTo>
                    <a:pt x="449" y="1581"/>
                  </a:lnTo>
                  <a:lnTo>
                    <a:pt x="451" y="1581"/>
                  </a:lnTo>
                  <a:lnTo>
                    <a:pt x="451" y="1583"/>
                  </a:lnTo>
                  <a:lnTo>
                    <a:pt x="449" y="1583"/>
                  </a:lnTo>
                  <a:lnTo>
                    <a:pt x="449" y="1581"/>
                  </a:lnTo>
                  <a:close/>
                  <a:moveTo>
                    <a:pt x="555" y="1445"/>
                  </a:moveTo>
                  <a:lnTo>
                    <a:pt x="555" y="1446"/>
                  </a:lnTo>
                  <a:lnTo>
                    <a:pt x="555" y="1445"/>
                  </a:lnTo>
                  <a:lnTo>
                    <a:pt x="553" y="1446"/>
                  </a:lnTo>
                  <a:lnTo>
                    <a:pt x="553" y="1445"/>
                  </a:lnTo>
                  <a:lnTo>
                    <a:pt x="555" y="1445"/>
                  </a:lnTo>
                  <a:lnTo>
                    <a:pt x="557" y="1445"/>
                  </a:lnTo>
                  <a:lnTo>
                    <a:pt x="555" y="1445"/>
                  </a:lnTo>
                  <a:close/>
                  <a:moveTo>
                    <a:pt x="9" y="1539"/>
                  </a:moveTo>
                  <a:lnTo>
                    <a:pt x="9" y="1537"/>
                  </a:lnTo>
                  <a:lnTo>
                    <a:pt x="10" y="1537"/>
                  </a:lnTo>
                  <a:lnTo>
                    <a:pt x="9" y="1537"/>
                  </a:lnTo>
                  <a:lnTo>
                    <a:pt x="10" y="1539"/>
                  </a:lnTo>
                  <a:lnTo>
                    <a:pt x="9" y="1539"/>
                  </a:lnTo>
                  <a:close/>
                  <a:moveTo>
                    <a:pt x="724" y="430"/>
                  </a:moveTo>
                  <a:lnTo>
                    <a:pt x="724" y="431"/>
                  </a:lnTo>
                  <a:lnTo>
                    <a:pt x="724" y="430"/>
                  </a:lnTo>
                  <a:lnTo>
                    <a:pt x="722" y="430"/>
                  </a:lnTo>
                  <a:lnTo>
                    <a:pt x="722" y="428"/>
                  </a:lnTo>
                  <a:lnTo>
                    <a:pt x="722" y="430"/>
                  </a:lnTo>
                  <a:lnTo>
                    <a:pt x="724" y="430"/>
                  </a:lnTo>
                  <a:close/>
                  <a:moveTo>
                    <a:pt x="20" y="1533"/>
                  </a:moveTo>
                  <a:lnTo>
                    <a:pt x="22" y="1533"/>
                  </a:lnTo>
                  <a:lnTo>
                    <a:pt x="20" y="1533"/>
                  </a:lnTo>
                  <a:lnTo>
                    <a:pt x="22" y="1534"/>
                  </a:lnTo>
                  <a:lnTo>
                    <a:pt x="20" y="1534"/>
                  </a:lnTo>
                  <a:lnTo>
                    <a:pt x="20" y="1533"/>
                  </a:lnTo>
                  <a:lnTo>
                    <a:pt x="22" y="1533"/>
                  </a:lnTo>
                  <a:lnTo>
                    <a:pt x="20" y="1533"/>
                  </a:lnTo>
                  <a:close/>
                  <a:moveTo>
                    <a:pt x="640" y="625"/>
                  </a:moveTo>
                  <a:lnTo>
                    <a:pt x="640" y="627"/>
                  </a:lnTo>
                  <a:lnTo>
                    <a:pt x="641" y="627"/>
                  </a:lnTo>
                  <a:lnTo>
                    <a:pt x="640" y="627"/>
                  </a:lnTo>
                  <a:lnTo>
                    <a:pt x="640" y="625"/>
                  </a:lnTo>
                  <a:close/>
                  <a:moveTo>
                    <a:pt x="64" y="1624"/>
                  </a:moveTo>
                  <a:lnTo>
                    <a:pt x="65" y="1624"/>
                  </a:lnTo>
                  <a:lnTo>
                    <a:pt x="64" y="1624"/>
                  </a:lnTo>
                  <a:close/>
                  <a:moveTo>
                    <a:pt x="454" y="1563"/>
                  </a:moveTo>
                  <a:lnTo>
                    <a:pt x="456" y="1563"/>
                  </a:lnTo>
                  <a:lnTo>
                    <a:pt x="456" y="1565"/>
                  </a:lnTo>
                  <a:lnTo>
                    <a:pt x="454" y="1565"/>
                  </a:lnTo>
                  <a:lnTo>
                    <a:pt x="454" y="1563"/>
                  </a:lnTo>
                  <a:close/>
                  <a:moveTo>
                    <a:pt x="431" y="1790"/>
                  </a:moveTo>
                  <a:lnTo>
                    <a:pt x="431" y="1788"/>
                  </a:lnTo>
                  <a:lnTo>
                    <a:pt x="433" y="1788"/>
                  </a:lnTo>
                  <a:lnTo>
                    <a:pt x="433" y="1790"/>
                  </a:lnTo>
                  <a:lnTo>
                    <a:pt x="431" y="1790"/>
                  </a:lnTo>
                  <a:close/>
                  <a:moveTo>
                    <a:pt x="597" y="1383"/>
                  </a:moveTo>
                  <a:lnTo>
                    <a:pt x="597" y="1385"/>
                  </a:lnTo>
                  <a:lnTo>
                    <a:pt x="596" y="1383"/>
                  </a:lnTo>
                  <a:lnTo>
                    <a:pt x="597" y="1383"/>
                  </a:lnTo>
                  <a:close/>
                  <a:moveTo>
                    <a:pt x="52" y="1674"/>
                  </a:moveTo>
                  <a:lnTo>
                    <a:pt x="52" y="1672"/>
                  </a:lnTo>
                  <a:lnTo>
                    <a:pt x="52" y="1674"/>
                  </a:lnTo>
                  <a:lnTo>
                    <a:pt x="54" y="1674"/>
                  </a:lnTo>
                  <a:lnTo>
                    <a:pt x="52" y="1674"/>
                  </a:lnTo>
                  <a:close/>
                  <a:moveTo>
                    <a:pt x="56" y="1656"/>
                  </a:moveTo>
                  <a:lnTo>
                    <a:pt x="56" y="1655"/>
                  </a:lnTo>
                  <a:lnTo>
                    <a:pt x="56" y="1656"/>
                  </a:lnTo>
                  <a:close/>
                  <a:moveTo>
                    <a:pt x="38" y="1568"/>
                  </a:moveTo>
                  <a:lnTo>
                    <a:pt x="36" y="1568"/>
                  </a:lnTo>
                  <a:lnTo>
                    <a:pt x="38" y="1568"/>
                  </a:lnTo>
                  <a:close/>
                  <a:moveTo>
                    <a:pt x="568" y="1378"/>
                  </a:moveTo>
                  <a:lnTo>
                    <a:pt x="566" y="1378"/>
                  </a:lnTo>
                  <a:lnTo>
                    <a:pt x="568" y="1378"/>
                  </a:lnTo>
                  <a:lnTo>
                    <a:pt x="568" y="1376"/>
                  </a:lnTo>
                  <a:lnTo>
                    <a:pt x="568" y="1378"/>
                  </a:lnTo>
                  <a:close/>
                  <a:moveTo>
                    <a:pt x="666" y="438"/>
                  </a:moveTo>
                  <a:lnTo>
                    <a:pt x="667" y="438"/>
                  </a:lnTo>
                  <a:lnTo>
                    <a:pt x="667" y="440"/>
                  </a:lnTo>
                  <a:lnTo>
                    <a:pt x="666" y="438"/>
                  </a:lnTo>
                  <a:lnTo>
                    <a:pt x="666" y="440"/>
                  </a:lnTo>
                  <a:lnTo>
                    <a:pt x="666" y="438"/>
                  </a:lnTo>
                  <a:close/>
                  <a:moveTo>
                    <a:pt x="630" y="503"/>
                  </a:moveTo>
                  <a:lnTo>
                    <a:pt x="630" y="501"/>
                  </a:lnTo>
                  <a:lnTo>
                    <a:pt x="630" y="503"/>
                  </a:lnTo>
                  <a:close/>
                  <a:moveTo>
                    <a:pt x="443" y="1616"/>
                  </a:moveTo>
                  <a:lnTo>
                    <a:pt x="443" y="1617"/>
                  </a:lnTo>
                  <a:lnTo>
                    <a:pt x="441" y="1616"/>
                  </a:lnTo>
                  <a:lnTo>
                    <a:pt x="443" y="1616"/>
                  </a:lnTo>
                  <a:close/>
                  <a:moveTo>
                    <a:pt x="571" y="1425"/>
                  </a:moveTo>
                  <a:lnTo>
                    <a:pt x="571" y="1427"/>
                  </a:lnTo>
                  <a:lnTo>
                    <a:pt x="573" y="1427"/>
                  </a:lnTo>
                  <a:lnTo>
                    <a:pt x="571" y="1427"/>
                  </a:lnTo>
                  <a:lnTo>
                    <a:pt x="571" y="1428"/>
                  </a:lnTo>
                  <a:lnTo>
                    <a:pt x="571" y="1427"/>
                  </a:lnTo>
                  <a:lnTo>
                    <a:pt x="571" y="1428"/>
                  </a:lnTo>
                  <a:lnTo>
                    <a:pt x="571" y="1427"/>
                  </a:lnTo>
                  <a:lnTo>
                    <a:pt x="571" y="1425"/>
                  </a:lnTo>
                  <a:close/>
                  <a:moveTo>
                    <a:pt x="495" y="1469"/>
                  </a:moveTo>
                  <a:lnTo>
                    <a:pt x="496" y="1469"/>
                  </a:lnTo>
                  <a:lnTo>
                    <a:pt x="496" y="1471"/>
                  </a:lnTo>
                  <a:lnTo>
                    <a:pt x="495" y="1471"/>
                  </a:lnTo>
                  <a:lnTo>
                    <a:pt x="495" y="1469"/>
                  </a:lnTo>
                  <a:close/>
                  <a:moveTo>
                    <a:pt x="456" y="1524"/>
                  </a:moveTo>
                  <a:lnTo>
                    <a:pt x="454" y="1524"/>
                  </a:lnTo>
                  <a:lnTo>
                    <a:pt x="456" y="1524"/>
                  </a:lnTo>
                  <a:lnTo>
                    <a:pt x="456" y="1523"/>
                  </a:lnTo>
                  <a:lnTo>
                    <a:pt x="456" y="1524"/>
                  </a:lnTo>
                  <a:close/>
                  <a:moveTo>
                    <a:pt x="687" y="440"/>
                  </a:moveTo>
                  <a:lnTo>
                    <a:pt x="685" y="440"/>
                  </a:lnTo>
                  <a:lnTo>
                    <a:pt x="685" y="438"/>
                  </a:lnTo>
                  <a:lnTo>
                    <a:pt x="687" y="440"/>
                  </a:lnTo>
                  <a:close/>
                  <a:moveTo>
                    <a:pt x="571" y="1339"/>
                  </a:moveTo>
                  <a:lnTo>
                    <a:pt x="573" y="1339"/>
                  </a:lnTo>
                  <a:lnTo>
                    <a:pt x="573" y="1337"/>
                  </a:lnTo>
                  <a:lnTo>
                    <a:pt x="573" y="1339"/>
                  </a:lnTo>
                  <a:lnTo>
                    <a:pt x="571" y="1339"/>
                  </a:lnTo>
                  <a:close/>
                  <a:moveTo>
                    <a:pt x="18" y="1511"/>
                  </a:moveTo>
                  <a:lnTo>
                    <a:pt x="18" y="1513"/>
                  </a:lnTo>
                  <a:lnTo>
                    <a:pt x="17" y="1511"/>
                  </a:lnTo>
                  <a:lnTo>
                    <a:pt x="18" y="1511"/>
                  </a:lnTo>
                  <a:close/>
                  <a:moveTo>
                    <a:pt x="412" y="1850"/>
                  </a:moveTo>
                  <a:lnTo>
                    <a:pt x="412" y="1851"/>
                  </a:lnTo>
                  <a:lnTo>
                    <a:pt x="412" y="1850"/>
                  </a:lnTo>
                  <a:lnTo>
                    <a:pt x="412" y="1848"/>
                  </a:lnTo>
                  <a:lnTo>
                    <a:pt x="412" y="1850"/>
                  </a:lnTo>
                  <a:close/>
                  <a:moveTo>
                    <a:pt x="495" y="1466"/>
                  </a:moveTo>
                  <a:lnTo>
                    <a:pt x="495" y="1468"/>
                  </a:lnTo>
                  <a:lnTo>
                    <a:pt x="495" y="1466"/>
                  </a:lnTo>
                  <a:close/>
                  <a:moveTo>
                    <a:pt x="435" y="1165"/>
                  </a:moveTo>
                  <a:lnTo>
                    <a:pt x="436" y="1163"/>
                  </a:lnTo>
                  <a:lnTo>
                    <a:pt x="436" y="1165"/>
                  </a:lnTo>
                  <a:lnTo>
                    <a:pt x="435" y="1165"/>
                  </a:lnTo>
                  <a:close/>
                  <a:moveTo>
                    <a:pt x="568" y="1349"/>
                  </a:moveTo>
                  <a:lnTo>
                    <a:pt x="568" y="1347"/>
                  </a:lnTo>
                  <a:lnTo>
                    <a:pt x="570" y="1347"/>
                  </a:lnTo>
                  <a:lnTo>
                    <a:pt x="570" y="1349"/>
                  </a:lnTo>
                  <a:lnTo>
                    <a:pt x="568" y="1349"/>
                  </a:lnTo>
                  <a:close/>
                  <a:moveTo>
                    <a:pt x="586" y="1385"/>
                  </a:moveTo>
                  <a:lnTo>
                    <a:pt x="586" y="1383"/>
                  </a:lnTo>
                  <a:lnTo>
                    <a:pt x="586" y="1385"/>
                  </a:lnTo>
                  <a:close/>
                  <a:moveTo>
                    <a:pt x="594" y="1328"/>
                  </a:moveTo>
                  <a:lnTo>
                    <a:pt x="594" y="1329"/>
                  </a:lnTo>
                  <a:lnTo>
                    <a:pt x="594" y="1328"/>
                  </a:lnTo>
                  <a:lnTo>
                    <a:pt x="596" y="1328"/>
                  </a:lnTo>
                  <a:lnTo>
                    <a:pt x="596" y="1329"/>
                  </a:lnTo>
                  <a:lnTo>
                    <a:pt x="594" y="1329"/>
                  </a:lnTo>
                  <a:lnTo>
                    <a:pt x="594" y="1328"/>
                  </a:lnTo>
                  <a:lnTo>
                    <a:pt x="594" y="1329"/>
                  </a:lnTo>
                  <a:lnTo>
                    <a:pt x="592" y="1329"/>
                  </a:lnTo>
                  <a:lnTo>
                    <a:pt x="592" y="1328"/>
                  </a:lnTo>
                  <a:lnTo>
                    <a:pt x="594" y="1328"/>
                  </a:lnTo>
                  <a:close/>
                  <a:moveTo>
                    <a:pt x="599" y="1323"/>
                  </a:moveTo>
                  <a:lnTo>
                    <a:pt x="599" y="1321"/>
                  </a:lnTo>
                  <a:lnTo>
                    <a:pt x="599" y="1323"/>
                  </a:lnTo>
                  <a:close/>
                  <a:moveTo>
                    <a:pt x="54" y="1630"/>
                  </a:moveTo>
                  <a:lnTo>
                    <a:pt x="56" y="1630"/>
                  </a:lnTo>
                  <a:lnTo>
                    <a:pt x="56" y="1632"/>
                  </a:lnTo>
                  <a:lnTo>
                    <a:pt x="56" y="1630"/>
                  </a:lnTo>
                  <a:lnTo>
                    <a:pt x="56" y="1632"/>
                  </a:lnTo>
                  <a:lnTo>
                    <a:pt x="54" y="1630"/>
                  </a:lnTo>
                  <a:close/>
                  <a:moveTo>
                    <a:pt x="59" y="1648"/>
                  </a:moveTo>
                  <a:lnTo>
                    <a:pt x="61" y="1648"/>
                  </a:lnTo>
                  <a:lnTo>
                    <a:pt x="59" y="1648"/>
                  </a:lnTo>
                  <a:lnTo>
                    <a:pt x="57" y="1648"/>
                  </a:lnTo>
                  <a:lnTo>
                    <a:pt x="59" y="1648"/>
                  </a:lnTo>
                  <a:close/>
                  <a:moveTo>
                    <a:pt x="752" y="397"/>
                  </a:moveTo>
                  <a:lnTo>
                    <a:pt x="750" y="397"/>
                  </a:lnTo>
                  <a:lnTo>
                    <a:pt x="752" y="397"/>
                  </a:lnTo>
                  <a:close/>
                  <a:moveTo>
                    <a:pt x="592" y="1708"/>
                  </a:moveTo>
                  <a:lnTo>
                    <a:pt x="591" y="1708"/>
                  </a:lnTo>
                  <a:lnTo>
                    <a:pt x="592" y="1707"/>
                  </a:lnTo>
                  <a:lnTo>
                    <a:pt x="592" y="1708"/>
                  </a:lnTo>
                  <a:close/>
                  <a:moveTo>
                    <a:pt x="435" y="1116"/>
                  </a:moveTo>
                  <a:lnTo>
                    <a:pt x="436" y="1116"/>
                  </a:lnTo>
                  <a:lnTo>
                    <a:pt x="435" y="1116"/>
                  </a:lnTo>
                  <a:close/>
                  <a:moveTo>
                    <a:pt x="59" y="1664"/>
                  </a:moveTo>
                  <a:lnTo>
                    <a:pt x="59" y="1666"/>
                  </a:lnTo>
                  <a:lnTo>
                    <a:pt x="59" y="1664"/>
                  </a:lnTo>
                  <a:lnTo>
                    <a:pt x="57" y="1664"/>
                  </a:lnTo>
                  <a:lnTo>
                    <a:pt x="59" y="1664"/>
                  </a:lnTo>
                  <a:close/>
                  <a:moveTo>
                    <a:pt x="555" y="1668"/>
                  </a:moveTo>
                  <a:lnTo>
                    <a:pt x="555" y="1669"/>
                  </a:lnTo>
                  <a:lnTo>
                    <a:pt x="553" y="1668"/>
                  </a:lnTo>
                  <a:lnTo>
                    <a:pt x="555" y="1668"/>
                  </a:lnTo>
                  <a:close/>
                  <a:moveTo>
                    <a:pt x="67" y="1685"/>
                  </a:moveTo>
                  <a:lnTo>
                    <a:pt x="67" y="1684"/>
                  </a:lnTo>
                  <a:lnTo>
                    <a:pt x="69" y="1684"/>
                  </a:lnTo>
                  <a:lnTo>
                    <a:pt x="67" y="1684"/>
                  </a:lnTo>
                  <a:lnTo>
                    <a:pt x="69" y="1685"/>
                  </a:lnTo>
                  <a:lnTo>
                    <a:pt x="67" y="1685"/>
                  </a:lnTo>
                  <a:close/>
                  <a:moveTo>
                    <a:pt x="48" y="1640"/>
                  </a:moveTo>
                  <a:lnTo>
                    <a:pt x="48" y="1638"/>
                  </a:lnTo>
                  <a:lnTo>
                    <a:pt x="49" y="1638"/>
                  </a:lnTo>
                  <a:lnTo>
                    <a:pt x="48" y="1640"/>
                  </a:lnTo>
                  <a:close/>
                  <a:moveTo>
                    <a:pt x="503" y="1466"/>
                  </a:moveTo>
                  <a:lnTo>
                    <a:pt x="505" y="1468"/>
                  </a:lnTo>
                  <a:lnTo>
                    <a:pt x="503" y="1468"/>
                  </a:lnTo>
                  <a:lnTo>
                    <a:pt x="503" y="1466"/>
                  </a:lnTo>
                  <a:close/>
                  <a:moveTo>
                    <a:pt x="583" y="1326"/>
                  </a:moveTo>
                  <a:lnTo>
                    <a:pt x="584" y="1326"/>
                  </a:lnTo>
                  <a:lnTo>
                    <a:pt x="583" y="1326"/>
                  </a:lnTo>
                  <a:close/>
                  <a:moveTo>
                    <a:pt x="672" y="449"/>
                  </a:moveTo>
                  <a:lnTo>
                    <a:pt x="672" y="451"/>
                  </a:lnTo>
                  <a:lnTo>
                    <a:pt x="672" y="449"/>
                  </a:lnTo>
                  <a:close/>
                  <a:moveTo>
                    <a:pt x="535" y="1254"/>
                  </a:moveTo>
                  <a:lnTo>
                    <a:pt x="537" y="1254"/>
                  </a:lnTo>
                  <a:lnTo>
                    <a:pt x="535" y="1256"/>
                  </a:lnTo>
                  <a:lnTo>
                    <a:pt x="535" y="1254"/>
                  </a:lnTo>
                  <a:close/>
                  <a:moveTo>
                    <a:pt x="418" y="1087"/>
                  </a:moveTo>
                  <a:lnTo>
                    <a:pt x="420" y="1085"/>
                  </a:lnTo>
                  <a:lnTo>
                    <a:pt x="422" y="1087"/>
                  </a:lnTo>
                  <a:lnTo>
                    <a:pt x="420" y="1087"/>
                  </a:lnTo>
                  <a:lnTo>
                    <a:pt x="418" y="1087"/>
                  </a:lnTo>
                  <a:close/>
                  <a:moveTo>
                    <a:pt x="617" y="1614"/>
                  </a:moveTo>
                  <a:lnTo>
                    <a:pt x="617" y="1612"/>
                  </a:lnTo>
                  <a:lnTo>
                    <a:pt x="617" y="1614"/>
                  </a:lnTo>
                  <a:lnTo>
                    <a:pt x="617" y="1616"/>
                  </a:lnTo>
                  <a:lnTo>
                    <a:pt x="615" y="1614"/>
                  </a:lnTo>
                  <a:lnTo>
                    <a:pt x="617" y="1614"/>
                  </a:lnTo>
                  <a:close/>
                  <a:moveTo>
                    <a:pt x="441" y="1550"/>
                  </a:moveTo>
                  <a:lnTo>
                    <a:pt x="443" y="1550"/>
                  </a:lnTo>
                  <a:lnTo>
                    <a:pt x="443" y="1552"/>
                  </a:lnTo>
                  <a:lnTo>
                    <a:pt x="441" y="1552"/>
                  </a:lnTo>
                  <a:lnTo>
                    <a:pt x="441" y="1550"/>
                  </a:lnTo>
                  <a:close/>
                  <a:moveTo>
                    <a:pt x="418" y="1080"/>
                  </a:moveTo>
                  <a:lnTo>
                    <a:pt x="420" y="1080"/>
                  </a:lnTo>
                  <a:lnTo>
                    <a:pt x="418" y="1080"/>
                  </a:lnTo>
                  <a:close/>
                  <a:moveTo>
                    <a:pt x="443" y="1583"/>
                  </a:moveTo>
                  <a:lnTo>
                    <a:pt x="444" y="1585"/>
                  </a:lnTo>
                  <a:lnTo>
                    <a:pt x="443" y="1585"/>
                  </a:lnTo>
                  <a:lnTo>
                    <a:pt x="443" y="1583"/>
                  </a:lnTo>
                  <a:close/>
                  <a:moveTo>
                    <a:pt x="570" y="1347"/>
                  </a:moveTo>
                  <a:lnTo>
                    <a:pt x="570" y="1349"/>
                  </a:lnTo>
                  <a:lnTo>
                    <a:pt x="570" y="1347"/>
                  </a:lnTo>
                  <a:lnTo>
                    <a:pt x="571" y="1347"/>
                  </a:lnTo>
                  <a:lnTo>
                    <a:pt x="570" y="1347"/>
                  </a:lnTo>
                  <a:close/>
                  <a:moveTo>
                    <a:pt x="762" y="443"/>
                  </a:moveTo>
                  <a:lnTo>
                    <a:pt x="760" y="443"/>
                  </a:lnTo>
                  <a:lnTo>
                    <a:pt x="762" y="443"/>
                  </a:lnTo>
                  <a:close/>
                  <a:moveTo>
                    <a:pt x="605" y="1329"/>
                  </a:moveTo>
                  <a:lnTo>
                    <a:pt x="607" y="1329"/>
                  </a:lnTo>
                  <a:lnTo>
                    <a:pt x="605" y="1329"/>
                  </a:lnTo>
                  <a:lnTo>
                    <a:pt x="605" y="1328"/>
                  </a:lnTo>
                  <a:lnTo>
                    <a:pt x="605" y="1329"/>
                  </a:lnTo>
                  <a:close/>
                  <a:moveTo>
                    <a:pt x="52" y="1642"/>
                  </a:moveTo>
                  <a:lnTo>
                    <a:pt x="54" y="1642"/>
                  </a:lnTo>
                  <a:lnTo>
                    <a:pt x="52" y="1642"/>
                  </a:lnTo>
                  <a:close/>
                  <a:moveTo>
                    <a:pt x="13" y="1516"/>
                  </a:moveTo>
                  <a:lnTo>
                    <a:pt x="13" y="1515"/>
                  </a:lnTo>
                  <a:lnTo>
                    <a:pt x="15" y="1516"/>
                  </a:lnTo>
                  <a:lnTo>
                    <a:pt x="13" y="1516"/>
                  </a:lnTo>
                  <a:close/>
                  <a:moveTo>
                    <a:pt x="23" y="1536"/>
                  </a:moveTo>
                  <a:lnTo>
                    <a:pt x="23" y="1537"/>
                  </a:lnTo>
                  <a:lnTo>
                    <a:pt x="25" y="1537"/>
                  </a:lnTo>
                  <a:lnTo>
                    <a:pt x="23" y="1537"/>
                  </a:lnTo>
                  <a:lnTo>
                    <a:pt x="22" y="1537"/>
                  </a:lnTo>
                  <a:lnTo>
                    <a:pt x="23" y="1536"/>
                  </a:lnTo>
                  <a:close/>
                  <a:moveTo>
                    <a:pt x="560" y="1438"/>
                  </a:moveTo>
                  <a:lnTo>
                    <a:pt x="560" y="1437"/>
                  </a:lnTo>
                  <a:lnTo>
                    <a:pt x="560" y="1438"/>
                  </a:lnTo>
                  <a:close/>
                  <a:moveTo>
                    <a:pt x="703" y="456"/>
                  </a:moveTo>
                  <a:lnTo>
                    <a:pt x="703" y="458"/>
                  </a:lnTo>
                  <a:lnTo>
                    <a:pt x="703" y="456"/>
                  </a:lnTo>
                  <a:close/>
                  <a:moveTo>
                    <a:pt x="558" y="1277"/>
                  </a:moveTo>
                  <a:lnTo>
                    <a:pt x="560" y="1277"/>
                  </a:lnTo>
                  <a:lnTo>
                    <a:pt x="558" y="1277"/>
                  </a:lnTo>
                  <a:close/>
                  <a:moveTo>
                    <a:pt x="490" y="867"/>
                  </a:moveTo>
                  <a:lnTo>
                    <a:pt x="490" y="866"/>
                  </a:lnTo>
                  <a:lnTo>
                    <a:pt x="490" y="867"/>
                  </a:lnTo>
                  <a:close/>
                  <a:moveTo>
                    <a:pt x="757" y="443"/>
                  </a:moveTo>
                  <a:lnTo>
                    <a:pt x="757" y="441"/>
                  </a:lnTo>
                  <a:lnTo>
                    <a:pt x="758" y="441"/>
                  </a:lnTo>
                  <a:lnTo>
                    <a:pt x="758" y="443"/>
                  </a:lnTo>
                  <a:lnTo>
                    <a:pt x="757" y="443"/>
                  </a:lnTo>
                  <a:close/>
                  <a:moveTo>
                    <a:pt x="599" y="1320"/>
                  </a:moveTo>
                  <a:lnTo>
                    <a:pt x="597" y="1320"/>
                  </a:lnTo>
                  <a:lnTo>
                    <a:pt x="597" y="1321"/>
                  </a:lnTo>
                  <a:lnTo>
                    <a:pt x="597" y="1320"/>
                  </a:lnTo>
                  <a:lnTo>
                    <a:pt x="597" y="1321"/>
                  </a:lnTo>
                  <a:lnTo>
                    <a:pt x="597" y="1320"/>
                  </a:lnTo>
                  <a:lnTo>
                    <a:pt x="599" y="1320"/>
                  </a:lnTo>
                  <a:close/>
                  <a:moveTo>
                    <a:pt x="435" y="1757"/>
                  </a:moveTo>
                  <a:lnTo>
                    <a:pt x="436" y="1757"/>
                  </a:lnTo>
                  <a:lnTo>
                    <a:pt x="435" y="1757"/>
                  </a:lnTo>
                  <a:close/>
                  <a:moveTo>
                    <a:pt x="441" y="1624"/>
                  </a:moveTo>
                  <a:lnTo>
                    <a:pt x="443" y="1624"/>
                  </a:lnTo>
                  <a:lnTo>
                    <a:pt x="443" y="1625"/>
                  </a:lnTo>
                  <a:lnTo>
                    <a:pt x="443" y="1624"/>
                  </a:lnTo>
                  <a:lnTo>
                    <a:pt x="443" y="1625"/>
                  </a:lnTo>
                  <a:lnTo>
                    <a:pt x="443" y="1624"/>
                  </a:lnTo>
                  <a:lnTo>
                    <a:pt x="441" y="1624"/>
                  </a:lnTo>
                  <a:close/>
                  <a:moveTo>
                    <a:pt x="570" y="1406"/>
                  </a:moveTo>
                  <a:lnTo>
                    <a:pt x="570" y="1404"/>
                  </a:lnTo>
                  <a:lnTo>
                    <a:pt x="570" y="1406"/>
                  </a:lnTo>
                  <a:lnTo>
                    <a:pt x="570" y="1407"/>
                  </a:lnTo>
                  <a:lnTo>
                    <a:pt x="570" y="1406"/>
                  </a:lnTo>
                  <a:close/>
                  <a:moveTo>
                    <a:pt x="724" y="433"/>
                  </a:moveTo>
                  <a:lnTo>
                    <a:pt x="724" y="431"/>
                  </a:lnTo>
                  <a:lnTo>
                    <a:pt x="722" y="431"/>
                  </a:lnTo>
                  <a:lnTo>
                    <a:pt x="724" y="431"/>
                  </a:lnTo>
                  <a:lnTo>
                    <a:pt x="724" y="433"/>
                  </a:lnTo>
                  <a:close/>
                  <a:moveTo>
                    <a:pt x="22" y="1536"/>
                  </a:moveTo>
                  <a:lnTo>
                    <a:pt x="22" y="1537"/>
                  </a:lnTo>
                  <a:lnTo>
                    <a:pt x="22" y="1536"/>
                  </a:lnTo>
                  <a:close/>
                  <a:moveTo>
                    <a:pt x="701" y="451"/>
                  </a:moveTo>
                  <a:lnTo>
                    <a:pt x="703" y="453"/>
                  </a:lnTo>
                  <a:lnTo>
                    <a:pt x="701" y="453"/>
                  </a:lnTo>
                  <a:lnTo>
                    <a:pt x="701" y="451"/>
                  </a:lnTo>
                  <a:lnTo>
                    <a:pt x="701" y="453"/>
                  </a:lnTo>
                  <a:lnTo>
                    <a:pt x="701" y="451"/>
                  </a:lnTo>
                  <a:close/>
                  <a:moveTo>
                    <a:pt x="745" y="430"/>
                  </a:moveTo>
                  <a:lnTo>
                    <a:pt x="745" y="431"/>
                  </a:lnTo>
                  <a:lnTo>
                    <a:pt x="745" y="430"/>
                  </a:lnTo>
                  <a:close/>
                  <a:moveTo>
                    <a:pt x="526" y="1466"/>
                  </a:moveTo>
                  <a:lnTo>
                    <a:pt x="526" y="1464"/>
                  </a:lnTo>
                  <a:lnTo>
                    <a:pt x="526" y="1466"/>
                  </a:lnTo>
                  <a:lnTo>
                    <a:pt x="527" y="1466"/>
                  </a:lnTo>
                  <a:lnTo>
                    <a:pt x="526" y="1466"/>
                  </a:lnTo>
                  <a:close/>
                  <a:moveTo>
                    <a:pt x="563" y="791"/>
                  </a:moveTo>
                  <a:lnTo>
                    <a:pt x="563" y="789"/>
                  </a:lnTo>
                  <a:lnTo>
                    <a:pt x="563" y="788"/>
                  </a:lnTo>
                  <a:lnTo>
                    <a:pt x="563" y="789"/>
                  </a:lnTo>
                  <a:lnTo>
                    <a:pt x="563" y="791"/>
                  </a:lnTo>
                  <a:close/>
                  <a:moveTo>
                    <a:pt x="547" y="1261"/>
                  </a:moveTo>
                  <a:lnTo>
                    <a:pt x="547" y="1259"/>
                  </a:lnTo>
                  <a:lnTo>
                    <a:pt x="548" y="1261"/>
                  </a:lnTo>
                  <a:lnTo>
                    <a:pt x="547" y="1261"/>
                  </a:lnTo>
                  <a:close/>
                  <a:moveTo>
                    <a:pt x="22" y="1541"/>
                  </a:moveTo>
                  <a:lnTo>
                    <a:pt x="22" y="1539"/>
                  </a:lnTo>
                  <a:lnTo>
                    <a:pt x="22" y="1541"/>
                  </a:lnTo>
                  <a:lnTo>
                    <a:pt x="22" y="1539"/>
                  </a:lnTo>
                  <a:lnTo>
                    <a:pt x="22" y="1541"/>
                  </a:lnTo>
                  <a:lnTo>
                    <a:pt x="20" y="1541"/>
                  </a:lnTo>
                  <a:lnTo>
                    <a:pt x="22" y="1541"/>
                  </a:lnTo>
                  <a:close/>
                  <a:moveTo>
                    <a:pt x="602" y="1329"/>
                  </a:moveTo>
                  <a:lnTo>
                    <a:pt x="602" y="1328"/>
                  </a:lnTo>
                  <a:lnTo>
                    <a:pt x="602" y="1329"/>
                  </a:lnTo>
                  <a:lnTo>
                    <a:pt x="602" y="1328"/>
                  </a:lnTo>
                  <a:lnTo>
                    <a:pt x="602" y="1329"/>
                  </a:lnTo>
                  <a:close/>
                  <a:moveTo>
                    <a:pt x="444" y="1559"/>
                  </a:moveTo>
                  <a:lnTo>
                    <a:pt x="444" y="1560"/>
                  </a:lnTo>
                  <a:lnTo>
                    <a:pt x="443" y="1560"/>
                  </a:lnTo>
                  <a:lnTo>
                    <a:pt x="444" y="1559"/>
                  </a:lnTo>
                  <a:lnTo>
                    <a:pt x="443" y="1559"/>
                  </a:lnTo>
                  <a:lnTo>
                    <a:pt x="444" y="1559"/>
                  </a:lnTo>
                  <a:close/>
                  <a:moveTo>
                    <a:pt x="558" y="1386"/>
                  </a:moveTo>
                  <a:lnTo>
                    <a:pt x="560" y="1386"/>
                  </a:lnTo>
                  <a:lnTo>
                    <a:pt x="558" y="1386"/>
                  </a:lnTo>
                  <a:close/>
                  <a:moveTo>
                    <a:pt x="591" y="1328"/>
                  </a:moveTo>
                  <a:lnTo>
                    <a:pt x="591" y="1326"/>
                  </a:lnTo>
                  <a:lnTo>
                    <a:pt x="592" y="1326"/>
                  </a:lnTo>
                  <a:lnTo>
                    <a:pt x="591" y="1328"/>
                  </a:lnTo>
                  <a:close/>
                  <a:moveTo>
                    <a:pt x="524" y="1440"/>
                  </a:moveTo>
                  <a:lnTo>
                    <a:pt x="524" y="1438"/>
                  </a:lnTo>
                  <a:lnTo>
                    <a:pt x="526" y="1440"/>
                  </a:lnTo>
                  <a:lnTo>
                    <a:pt x="524" y="1440"/>
                  </a:lnTo>
                  <a:close/>
                  <a:moveTo>
                    <a:pt x="553" y="1440"/>
                  </a:moveTo>
                  <a:lnTo>
                    <a:pt x="555" y="1440"/>
                  </a:lnTo>
                  <a:lnTo>
                    <a:pt x="555" y="1438"/>
                  </a:lnTo>
                  <a:lnTo>
                    <a:pt x="555" y="1440"/>
                  </a:lnTo>
                  <a:lnTo>
                    <a:pt x="553" y="1440"/>
                  </a:lnTo>
                  <a:close/>
                  <a:moveTo>
                    <a:pt x="15" y="1518"/>
                  </a:moveTo>
                  <a:lnTo>
                    <a:pt x="13" y="1518"/>
                  </a:lnTo>
                  <a:lnTo>
                    <a:pt x="15" y="1518"/>
                  </a:lnTo>
                  <a:close/>
                  <a:moveTo>
                    <a:pt x="521" y="1391"/>
                  </a:moveTo>
                  <a:lnTo>
                    <a:pt x="522" y="1391"/>
                  </a:lnTo>
                  <a:lnTo>
                    <a:pt x="521" y="1391"/>
                  </a:lnTo>
                  <a:close/>
                  <a:moveTo>
                    <a:pt x="428" y="1132"/>
                  </a:moveTo>
                  <a:lnTo>
                    <a:pt x="430" y="1132"/>
                  </a:lnTo>
                  <a:lnTo>
                    <a:pt x="428" y="1132"/>
                  </a:lnTo>
                  <a:close/>
                  <a:moveTo>
                    <a:pt x="540" y="1238"/>
                  </a:moveTo>
                  <a:lnTo>
                    <a:pt x="540" y="1237"/>
                  </a:lnTo>
                  <a:lnTo>
                    <a:pt x="540" y="1238"/>
                  </a:lnTo>
                  <a:lnTo>
                    <a:pt x="540" y="1237"/>
                  </a:lnTo>
                  <a:lnTo>
                    <a:pt x="542" y="1238"/>
                  </a:lnTo>
                  <a:lnTo>
                    <a:pt x="540" y="1238"/>
                  </a:lnTo>
                  <a:close/>
                  <a:moveTo>
                    <a:pt x="540" y="1272"/>
                  </a:moveTo>
                  <a:lnTo>
                    <a:pt x="540" y="1274"/>
                  </a:lnTo>
                  <a:lnTo>
                    <a:pt x="540" y="1272"/>
                  </a:lnTo>
                  <a:lnTo>
                    <a:pt x="539" y="1272"/>
                  </a:lnTo>
                  <a:lnTo>
                    <a:pt x="540" y="1272"/>
                  </a:lnTo>
                  <a:close/>
                  <a:moveTo>
                    <a:pt x="23" y="1534"/>
                  </a:moveTo>
                  <a:lnTo>
                    <a:pt x="25" y="1533"/>
                  </a:lnTo>
                  <a:lnTo>
                    <a:pt x="25" y="1534"/>
                  </a:lnTo>
                  <a:lnTo>
                    <a:pt x="23" y="1534"/>
                  </a:lnTo>
                  <a:lnTo>
                    <a:pt x="25" y="1534"/>
                  </a:lnTo>
                  <a:lnTo>
                    <a:pt x="23" y="1534"/>
                  </a:lnTo>
                  <a:close/>
                  <a:moveTo>
                    <a:pt x="59" y="1638"/>
                  </a:moveTo>
                  <a:lnTo>
                    <a:pt x="59" y="1637"/>
                  </a:lnTo>
                  <a:lnTo>
                    <a:pt x="61" y="1637"/>
                  </a:lnTo>
                  <a:lnTo>
                    <a:pt x="59" y="1637"/>
                  </a:lnTo>
                  <a:lnTo>
                    <a:pt x="59" y="1638"/>
                  </a:lnTo>
                  <a:close/>
                  <a:moveTo>
                    <a:pt x="588" y="1320"/>
                  </a:moveTo>
                  <a:lnTo>
                    <a:pt x="588" y="1318"/>
                  </a:lnTo>
                  <a:lnTo>
                    <a:pt x="588" y="1316"/>
                  </a:lnTo>
                  <a:lnTo>
                    <a:pt x="588" y="1318"/>
                  </a:lnTo>
                  <a:lnTo>
                    <a:pt x="588" y="1320"/>
                  </a:lnTo>
                  <a:close/>
                  <a:moveTo>
                    <a:pt x="638" y="619"/>
                  </a:moveTo>
                  <a:lnTo>
                    <a:pt x="640" y="619"/>
                  </a:lnTo>
                  <a:lnTo>
                    <a:pt x="640" y="620"/>
                  </a:lnTo>
                  <a:lnTo>
                    <a:pt x="638" y="619"/>
                  </a:lnTo>
                  <a:close/>
                  <a:moveTo>
                    <a:pt x="409" y="1511"/>
                  </a:moveTo>
                  <a:lnTo>
                    <a:pt x="407" y="1511"/>
                  </a:lnTo>
                  <a:lnTo>
                    <a:pt x="407" y="1510"/>
                  </a:lnTo>
                  <a:lnTo>
                    <a:pt x="409" y="1510"/>
                  </a:lnTo>
                  <a:lnTo>
                    <a:pt x="409" y="1511"/>
                  </a:lnTo>
                  <a:close/>
                  <a:moveTo>
                    <a:pt x="758" y="427"/>
                  </a:moveTo>
                  <a:lnTo>
                    <a:pt x="758" y="428"/>
                  </a:lnTo>
                  <a:lnTo>
                    <a:pt x="760" y="428"/>
                  </a:lnTo>
                  <a:lnTo>
                    <a:pt x="758" y="428"/>
                  </a:lnTo>
                  <a:lnTo>
                    <a:pt x="758" y="427"/>
                  </a:lnTo>
                  <a:close/>
                  <a:moveTo>
                    <a:pt x="524" y="1388"/>
                  </a:moveTo>
                  <a:lnTo>
                    <a:pt x="526" y="1388"/>
                  </a:lnTo>
                  <a:lnTo>
                    <a:pt x="524" y="1388"/>
                  </a:lnTo>
                  <a:close/>
                  <a:moveTo>
                    <a:pt x="396" y="1881"/>
                  </a:moveTo>
                  <a:lnTo>
                    <a:pt x="397" y="1881"/>
                  </a:lnTo>
                  <a:lnTo>
                    <a:pt x="396" y="1882"/>
                  </a:lnTo>
                  <a:lnTo>
                    <a:pt x="396" y="1881"/>
                  </a:lnTo>
                  <a:close/>
                  <a:moveTo>
                    <a:pt x="537" y="1391"/>
                  </a:moveTo>
                  <a:lnTo>
                    <a:pt x="539" y="1391"/>
                  </a:lnTo>
                  <a:lnTo>
                    <a:pt x="537" y="1391"/>
                  </a:lnTo>
                  <a:close/>
                  <a:moveTo>
                    <a:pt x="423" y="1092"/>
                  </a:moveTo>
                  <a:lnTo>
                    <a:pt x="422" y="1092"/>
                  </a:lnTo>
                  <a:lnTo>
                    <a:pt x="422" y="1090"/>
                  </a:lnTo>
                  <a:lnTo>
                    <a:pt x="423" y="1090"/>
                  </a:lnTo>
                  <a:lnTo>
                    <a:pt x="423" y="1092"/>
                  </a:lnTo>
                  <a:close/>
                  <a:moveTo>
                    <a:pt x="38" y="1609"/>
                  </a:moveTo>
                  <a:lnTo>
                    <a:pt x="38" y="1607"/>
                  </a:lnTo>
                  <a:lnTo>
                    <a:pt x="38" y="1609"/>
                  </a:lnTo>
                  <a:close/>
                  <a:moveTo>
                    <a:pt x="755" y="451"/>
                  </a:moveTo>
                  <a:lnTo>
                    <a:pt x="755" y="449"/>
                  </a:lnTo>
                  <a:lnTo>
                    <a:pt x="755" y="451"/>
                  </a:lnTo>
                  <a:close/>
                  <a:moveTo>
                    <a:pt x="721" y="428"/>
                  </a:moveTo>
                  <a:lnTo>
                    <a:pt x="721" y="427"/>
                  </a:lnTo>
                  <a:lnTo>
                    <a:pt x="722" y="427"/>
                  </a:lnTo>
                  <a:lnTo>
                    <a:pt x="722" y="428"/>
                  </a:lnTo>
                  <a:lnTo>
                    <a:pt x="721" y="428"/>
                  </a:lnTo>
                  <a:close/>
                  <a:moveTo>
                    <a:pt x="444" y="1689"/>
                  </a:moveTo>
                  <a:lnTo>
                    <a:pt x="443" y="1689"/>
                  </a:lnTo>
                  <a:lnTo>
                    <a:pt x="443" y="1687"/>
                  </a:lnTo>
                  <a:lnTo>
                    <a:pt x="444" y="1687"/>
                  </a:lnTo>
                  <a:lnTo>
                    <a:pt x="443" y="1687"/>
                  </a:lnTo>
                  <a:lnTo>
                    <a:pt x="444" y="1687"/>
                  </a:lnTo>
                  <a:lnTo>
                    <a:pt x="444" y="1689"/>
                  </a:lnTo>
                  <a:close/>
                  <a:moveTo>
                    <a:pt x="44" y="1625"/>
                  </a:moveTo>
                  <a:lnTo>
                    <a:pt x="46" y="1625"/>
                  </a:lnTo>
                  <a:lnTo>
                    <a:pt x="46" y="1627"/>
                  </a:lnTo>
                  <a:lnTo>
                    <a:pt x="44" y="1627"/>
                  </a:lnTo>
                  <a:lnTo>
                    <a:pt x="44" y="1625"/>
                  </a:lnTo>
                  <a:close/>
                  <a:moveTo>
                    <a:pt x="453" y="1521"/>
                  </a:moveTo>
                  <a:lnTo>
                    <a:pt x="451" y="1521"/>
                  </a:lnTo>
                  <a:lnTo>
                    <a:pt x="453" y="1521"/>
                  </a:lnTo>
                  <a:close/>
                  <a:moveTo>
                    <a:pt x="571" y="1373"/>
                  </a:moveTo>
                  <a:lnTo>
                    <a:pt x="571" y="1372"/>
                  </a:lnTo>
                  <a:lnTo>
                    <a:pt x="571" y="1373"/>
                  </a:lnTo>
                  <a:close/>
                  <a:moveTo>
                    <a:pt x="602" y="1350"/>
                  </a:moveTo>
                  <a:lnTo>
                    <a:pt x="601" y="1350"/>
                  </a:lnTo>
                  <a:lnTo>
                    <a:pt x="602" y="1350"/>
                  </a:lnTo>
                  <a:lnTo>
                    <a:pt x="602" y="1349"/>
                  </a:lnTo>
                  <a:lnTo>
                    <a:pt x="602" y="1350"/>
                  </a:lnTo>
                  <a:close/>
                  <a:moveTo>
                    <a:pt x="46" y="1622"/>
                  </a:moveTo>
                  <a:lnTo>
                    <a:pt x="44" y="1622"/>
                  </a:lnTo>
                  <a:lnTo>
                    <a:pt x="46" y="1622"/>
                  </a:lnTo>
                  <a:lnTo>
                    <a:pt x="44" y="1622"/>
                  </a:lnTo>
                  <a:lnTo>
                    <a:pt x="46" y="1620"/>
                  </a:lnTo>
                  <a:lnTo>
                    <a:pt x="44" y="1620"/>
                  </a:lnTo>
                  <a:lnTo>
                    <a:pt x="46" y="1620"/>
                  </a:lnTo>
                  <a:lnTo>
                    <a:pt x="46" y="1622"/>
                  </a:lnTo>
                  <a:close/>
                  <a:moveTo>
                    <a:pt x="583" y="1389"/>
                  </a:moveTo>
                  <a:lnTo>
                    <a:pt x="581" y="1389"/>
                  </a:lnTo>
                  <a:lnTo>
                    <a:pt x="581" y="1388"/>
                  </a:lnTo>
                  <a:lnTo>
                    <a:pt x="583" y="1388"/>
                  </a:lnTo>
                  <a:lnTo>
                    <a:pt x="583" y="1389"/>
                  </a:lnTo>
                  <a:close/>
                  <a:moveTo>
                    <a:pt x="506" y="1472"/>
                  </a:moveTo>
                  <a:lnTo>
                    <a:pt x="506" y="1474"/>
                  </a:lnTo>
                  <a:lnTo>
                    <a:pt x="508" y="1474"/>
                  </a:lnTo>
                  <a:lnTo>
                    <a:pt x="506" y="1474"/>
                  </a:lnTo>
                  <a:lnTo>
                    <a:pt x="506" y="1472"/>
                  </a:lnTo>
                  <a:close/>
                  <a:moveTo>
                    <a:pt x="552" y="1258"/>
                  </a:moveTo>
                  <a:lnTo>
                    <a:pt x="550" y="1259"/>
                  </a:lnTo>
                  <a:lnTo>
                    <a:pt x="550" y="1258"/>
                  </a:lnTo>
                  <a:lnTo>
                    <a:pt x="552" y="1258"/>
                  </a:lnTo>
                  <a:close/>
                  <a:moveTo>
                    <a:pt x="444" y="994"/>
                  </a:moveTo>
                  <a:lnTo>
                    <a:pt x="446" y="994"/>
                  </a:lnTo>
                  <a:lnTo>
                    <a:pt x="444" y="994"/>
                  </a:lnTo>
                  <a:close/>
                  <a:moveTo>
                    <a:pt x="545" y="1375"/>
                  </a:moveTo>
                  <a:lnTo>
                    <a:pt x="547" y="1375"/>
                  </a:lnTo>
                  <a:lnTo>
                    <a:pt x="545" y="1375"/>
                  </a:lnTo>
                  <a:close/>
                  <a:moveTo>
                    <a:pt x="446" y="1542"/>
                  </a:moveTo>
                  <a:lnTo>
                    <a:pt x="446" y="1541"/>
                  </a:lnTo>
                  <a:lnTo>
                    <a:pt x="448" y="1542"/>
                  </a:lnTo>
                  <a:lnTo>
                    <a:pt x="446" y="1542"/>
                  </a:lnTo>
                  <a:lnTo>
                    <a:pt x="448" y="1542"/>
                  </a:lnTo>
                  <a:lnTo>
                    <a:pt x="446" y="1542"/>
                  </a:lnTo>
                  <a:close/>
                  <a:moveTo>
                    <a:pt x="560" y="1425"/>
                  </a:moveTo>
                  <a:lnTo>
                    <a:pt x="560" y="1424"/>
                  </a:lnTo>
                  <a:lnTo>
                    <a:pt x="561" y="1424"/>
                  </a:lnTo>
                  <a:lnTo>
                    <a:pt x="560" y="1424"/>
                  </a:lnTo>
                  <a:lnTo>
                    <a:pt x="560" y="1425"/>
                  </a:lnTo>
                  <a:close/>
                  <a:moveTo>
                    <a:pt x="589" y="755"/>
                  </a:moveTo>
                  <a:lnTo>
                    <a:pt x="589" y="754"/>
                  </a:lnTo>
                  <a:lnTo>
                    <a:pt x="589" y="755"/>
                  </a:lnTo>
                  <a:close/>
                  <a:moveTo>
                    <a:pt x="430" y="859"/>
                  </a:moveTo>
                  <a:lnTo>
                    <a:pt x="431" y="859"/>
                  </a:lnTo>
                  <a:lnTo>
                    <a:pt x="431" y="861"/>
                  </a:lnTo>
                  <a:lnTo>
                    <a:pt x="430" y="859"/>
                  </a:lnTo>
                  <a:close/>
                  <a:moveTo>
                    <a:pt x="449" y="1664"/>
                  </a:moveTo>
                  <a:lnTo>
                    <a:pt x="449" y="1666"/>
                  </a:lnTo>
                  <a:lnTo>
                    <a:pt x="449" y="1664"/>
                  </a:lnTo>
                  <a:lnTo>
                    <a:pt x="449" y="1666"/>
                  </a:lnTo>
                  <a:lnTo>
                    <a:pt x="449" y="1664"/>
                  </a:lnTo>
                  <a:close/>
                  <a:moveTo>
                    <a:pt x="553" y="1419"/>
                  </a:moveTo>
                  <a:lnTo>
                    <a:pt x="553" y="1420"/>
                  </a:lnTo>
                  <a:lnTo>
                    <a:pt x="553" y="1419"/>
                  </a:lnTo>
                  <a:lnTo>
                    <a:pt x="552" y="1420"/>
                  </a:lnTo>
                  <a:lnTo>
                    <a:pt x="553" y="1419"/>
                  </a:lnTo>
                  <a:close/>
                  <a:moveTo>
                    <a:pt x="727" y="436"/>
                  </a:moveTo>
                  <a:lnTo>
                    <a:pt x="729" y="436"/>
                  </a:lnTo>
                  <a:lnTo>
                    <a:pt x="727" y="436"/>
                  </a:lnTo>
                  <a:close/>
                  <a:moveTo>
                    <a:pt x="682" y="458"/>
                  </a:moveTo>
                  <a:lnTo>
                    <a:pt x="683" y="458"/>
                  </a:lnTo>
                  <a:lnTo>
                    <a:pt x="682" y="458"/>
                  </a:lnTo>
                  <a:close/>
                  <a:moveTo>
                    <a:pt x="62" y="1690"/>
                  </a:moveTo>
                  <a:lnTo>
                    <a:pt x="64" y="1690"/>
                  </a:lnTo>
                  <a:lnTo>
                    <a:pt x="62" y="1690"/>
                  </a:lnTo>
                  <a:lnTo>
                    <a:pt x="64" y="1690"/>
                  </a:lnTo>
                  <a:lnTo>
                    <a:pt x="62" y="1690"/>
                  </a:lnTo>
                  <a:close/>
                  <a:moveTo>
                    <a:pt x="589" y="1708"/>
                  </a:moveTo>
                  <a:lnTo>
                    <a:pt x="588" y="1710"/>
                  </a:lnTo>
                  <a:lnTo>
                    <a:pt x="588" y="1708"/>
                  </a:lnTo>
                  <a:lnTo>
                    <a:pt x="589" y="1708"/>
                  </a:lnTo>
                  <a:close/>
                  <a:moveTo>
                    <a:pt x="573" y="1414"/>
                  </a:moveTo>
                  <a:lnTo>
                    <a:pt x="573" y="1412"/>
                  </a:lnTo>
                  <a:lnTo>
                    <a:pt x="573" y="1414"/>
                  </a:lnTo>
                  <a:lnTo>
                    <a:pt x="574" y="1412"/>
                  </a:lnTo>
                  <a:lnTo>
                    <a:pt x="574" y="1414"/>
                  </a:lnTo>
                  <a:lnTo>
                    <a:pt x="573" y="1414"/>
                  </a:lnTo>
                  <a:close/>
                  <a:moveTo>
                    <a:pt x="524" y="1455"/>
                  </a:moveTo>
                  <a:lnTo>
                    <a:pt x="524" y="1456"/>
                  </a:lnTo>
                  <a:lnTo>
                    <a:pt x="524" y="1455"/>
                  </a:lnTo>
                  <a:lnTo>
                    <a:pt x="524" y="1456"/>
                  </a:lnTo>
                  <a:lnTo>
                    <a:pt x="524" y="1455"/>
                  </a:lnTo>
                  <a:close/>
                  <a:moveTo>
                    <a:pt x="563" y="778"/>
                  </a:moveTo>
                  <a:lnTo>
                    <a:pt x="561" y="778"/>
                  </a:lnTo>
                  <a:lnTo>
                    <a:pt x="563" y="776"/>
                  </a:lnTo>
                  <a:lnTo>
                    <a:pt x="563" y="778"/>
                  </a:lnTo>
                  <a:close/>
                  <a:moveTo>
                    <a:pt x="620" y="523"/>
                  </a:moveTo>
                  <a:lnTo>
                    <a:pt x="618" y="523"/>
                  </a:lnTo>
                  <a:lnTo>
                    <a:pt x="618" y="521"/>
                  </a:lnTo>
                  <a:lnTo>
                    <a:pt x="620" y="521"/>
                  </a:lnTo>
                  <a:lnTo>
                    <a:pt x="620" y="523"/>
                  </a:lnTo>
                  <a:close/>
                  <a:moveTo>
                    <a:pt x="482" y="1487"/>
                  </a:moveTo>
                  <a:lnTo>
                    <a:pt x="483" y="1489"/>
                  </a:lnTo>
                  <a:lnTo>
                    <a:pt x="482" y="1489"/>
                  </a:lnTo>
                  <a:lnTo>
                    <a:pt x="482" y="1487"/>
                  </a:lnTo>
                  <a:close/>
                  <a:moveTo>
                    <a:pt x="72" y="1674"/>
                  </a:moveTo>
                  <a:lnTo>
                    <a:pt x="72" y="1672"/>
                  </a:lnTo>
                  <a:lnTo>
                    <a:pt x="74" y="1674"/>
                  </a:lnTo>
                  <a:lnTo>
                    <a:pt x="72" y="1674"/>
                  </a:lnTo>
                  <a:close/>
                  <a:moveTo>
                    <a:pt x="35" y="1585"/>
                  </a:moveTo>
                  <a:lnTo>
                    <a:pt x="35" y="1583"/>
                  </a:lnTo>
                  <a:lnTo>
                    <a:pt x="36" y="1583"/>
                  </a:lnTo>
                  <a:lnTo>
                    <a:pt x="36" y="1585"/>
                  </a:lnTo>
                  <a:lnTo>
                    <a:pt x="35" y="1585"/>
                  </a:lnTo>
                  <a:close/>
                  <a:moveTo>
                    <a:pt x="620" y="573"/>
                  </a:moveTo>
                  <a:lnTo>
                    <a:pt x="618" y="573"/>
                  </a:lnTo>
                  <a:lnTo>
                    <a:pt x="618" y="571"/>
                  </a:lnTo>
                  <a:lnTo>
                    <a:pt x="620" y="571"/>
                  </a:lnTo>
                  <a:lnTo>
                    <a:pt x="618" y="571"/>
                  </a:lnTo>
                  <a:lnTo>
                    <a:pt x="620" y="571"/>
                  </a:lnTo>
                  <a:lnTo>
                    <a:pt x="620" y="573"/>
                  </a:lnTo>
                  <a:close/>
                  <a:moveTo>
                    <a:pt x="7" y="1500"/>
                  </a:moveTo>
                  <a:lnTo>
                    <a:pt x="5" y="1500"/>
                  </a:lnTo>
                  <a:lnTo>
                    <a:pt x="7" y="1500"/>
                  </a:lnTo>
                  <a:close/>
                  <a:moveTo>
                    <a:pt x="550" y="1271"/>
                  </a:moveTo>
                  <a:lnTo>
                    <a:pt x="552" y="1271"/>
                  </a:lnTo>
                  <a:lnTo>
                    <a:pt x="550" y="1271"/>
                  </a:lnTo>
                  <a:close/>
                  <a:moveTo>
                    <a:pt x="436" y="1024"/>
                  </a:moveTo>
                  <a:lnTo>
                    <a:pt x="438" y="1024"/>
                  </a:lnTo>
                  <a:lnTo>
                    <a:pt x="436" y="1024"/>
                  </a:lnTo>
                  <a:close/>
                  <a:moveTo>
                    <a:pt x="571" y="1385"/>
                  </a:moveTo>
                  <a:lnTo>
                    <a:pt x="571" y="1386"/>
                  </a:lnTo>
                  <a:lnTo>
                    <a:pt x="571" y="1385"/>
                  </a:lnTo>
                  <a:lnTo>
                    <a:pt x="570" y="1385"/>
                  </a:lnTo>
                  <a:lnTo>
                    <a:pt x="571" y="1385"/>
                  </a:lnTo>
                  <a:close/>
                  <a:moveTo>
                    <a:pt x="363" y="1873"/>
                  </a:moveTo>
                  <a:lnTo>
                    <a:pt x="361" y="1873"/>
                  </a:lnTo>
                  <a:lnTo>
                    <a:pt x="361" y="1871"/>
                  </a:lnTo>
                  <a:lnTo>
                    <a:pt x="363" y="1871"/>
                  </a:lnTo>
                  <a:lnTo>
                    <a:pt x="361" y="1873"/>
                  </a:lnTo>
                  <a:lnTo>
                    <a:pt x="363" y="1873"/>
                  </a:lnTo>
                  <a:close/>
                  <a:moveTo>
                    <a:pt x="52" y="1642"/>
                  </a:moveTo>
                  <a:lnTo>
                    <a:pt x="52" y="1643"/>
                  </a:lnTo>
                  <a:lnTo>
                    <a:pt x="54" y="1642"/>
                  </a:lnTo>
                  <a:lnTo>
                    <a:pt x="54" y="1643"/>
                  </a:lnTo>
                  <a:lnTo>
                    <a:pt x="52" y="1643"/>
                  </a:lnTo>
                  <a:lnTo>
                    <a:pt x="52" y="1642"/>
                  </a:lnTo>
                  <a:close/>
                  <a:moveTo>
                    <a:pt x="604" y="749"/>
                  </a:moveTo>
                  <a:lnTo>
                    <a:pt x="604" y="747"/>
                  </a:lnTo>
                  <a:lnTo>
                    <a:pt x="604" y="749"/>
                  </a:lnTo>
                  <a:close/>
                  <a:moveTo>
                    <a:pt x="565" y="1359"/>
                  </a:moveTo>
                  <a:lnTo>
                    <a:pt x="563" y="1359"/>
                  </a:lnTo>
                  <a:lnTo>
                    <a:pt x="563" y="1357"/>
                  </a:lnTo>
                  <a:lnTo>
                    <a:pt x="565" y="1357"/>
                  </a:lnTo>
                  <a:lnTo>
                    <a:pt x="565" y="1359"/>
                  </a:lnTo>
                  <a:close/>
                  <a:moveTo>
                    <a:pt x="448" y="1661"/>
                  </a:moveTo>
                  <a:lnTo>
                    <a:pt x="449" y="1661"/>
                  </a:lnTo>
                  <a:lnTo>
                    <a:pt x="449" y="1663"/>
                  </a:lnTo>
                  <a:lnTo>
                    <a:pt x="448" y="1663"/>
                  </a:lnTo>
                  <a:lnTo>
                    <a:pt x="449" y="1663"/>
                  </a:lnTo>
                  <a:lnTo>
                    <a:pt x="449" y="1661"/>
                  </a:lnTo>
                  <a:lnTo>
                    <a:pt x="448" y="1661"/>
                  </a:lnTo>
                  <a:close/>
                  <a:moveTo>
                    <a:pt x="679" y="454"/>
                  </a:moveTo>
                  <a:lnTo>
                    <a:pt x="680" y="454"/>
                  </a:lnTo>
                  <a:lnTo>
                    <a:pt x="679" y="454"/>
                  </a:lnTo>
                  <a:lnTo>
                    <a:pt x="680" y="454"/>
                  </a:lnTo>
                  <a:lnTo>
                    <a:pt x="679" y="454"/>
                  </a:lnTo>
                  <a:close/>
                  <a:moveTo>
                    <a:pt x="542" y="802"/>
                  </a:moveTo>
                  <a:lnTo>
                    <a:pt x="544" y="802"/>
                  </a:lnTo>
                  <a:lnTo>
                    <a:pt x="544" y="804"/>
                  </a:lnTo>
                  <a:lnTo>
                    <a:pt x="542" y="804"/>
                  </a:lnTo>
                  <a:lnTo>
                    <a:pt x="542" y="802"/>
                  </a:lnTo>
                  <a:close/>
                  <a:moveTo>
                    <a:pt x="69" y="1674"/>
                  </a:moveTo>
                  <a:lnTo>
                    <a:pt x="70" y="1674"/>
                  </a:lnTo>
                  <a:lnTo>
                    <a:pt x="69" y="1674"/>
                  </a:lnTo>
                  <a:close/>
                  <a:moveTo>
                    <a:pt x="4" y="1498"/>
                  </a:moveTo>
                  <a:lnTo>
                    <a:pt x="2" y="1498"/>
                  </a:lnTo>
                  <a:lnTo>
                    <a:pt x="2" y="1497"/>
                  </a:lnTo>
                  <a:lnTo>
                    <a:pt x="4" y="1497"/>
                  </a:lnTo>
                  <a:lnTo>
                    <a:pt x="4" y="1498"/>
                  </a:lnTo>
                  <a:close/>
                  <a:moveTo>
                    <a:pt x="62" y="1612"/>
                  </a:moveTo>
                  <a:lnTo>
                    <a:pt x="64" y="1612"/>
                  </a:lnTo>
                  <a:lnTo>
                    <a:pt x="64" y="1614"/>
                  </a:lnTo>
                  <a:lnTo>
                    <a:pt x="62" y="1614"/>
                  </a:lnTo>
                  <a:lnTo>
                    <a:pt x="62" y="1612"/>
                  </a:lnTo>
                  <a:close/>
                  <a:moveTo>
                    <a:pt x="711" y="435"/>
                  </a:moveTo>
                  <a:lnTo>
                    <a:pt x="711" y="433"/>
                  </a:lnTo>
                  <a:lnTo>
                    <a:pt x="711" y="435"/>
                  </a:lnTo>
                  <a:lnTo>
                    <a:pt x="713" y="435"/>
                  </a:lnTo>
                  <a:lnTo>
                    <a:pt x="711" y="435"/>
                  </a:lnTo>
                  <a:lnTo>
                    <a:pt x="713" y="435"/>
                  </a:lnTo>
                  <a:lnTo>
                    <a:pt x="711" y="435"/>
                  </a:lnTo>
                  <a:close/>
                  <a:moveTo>
                    <a:pt x="443" y="1646"/>
                  </a:moveTo>
                  <a:lnTo>
                    <a:pt x="444" y="1646"/>
                  </a:lnTo>
                  <a:lnTo>
                    <a:pt x="444" y="1648"/>
                  </a:lnTo>
                  <a:lnTo>
                    <a:pt x="443" y="1648"/>
                  </a:lnTo>
                  <a:lnTo>
                    <a:pt x="443" y="1646"/>
                  </a:lnTo>
                  <a:close/>
                  <a:moveTo>
                    <a:pt x="438" y="1752"/>
                  </a:moveTo>
                  <a:lnTo>
                    <a:pt x="436" y="1751"/>
                  </a:lnTo>
                  <a:lnTo>
                    <a:pt x="438" y="1751"/>
                  </a:lnTo>
                  <a:lnTo>
                    <a:pt x="436" y="1751"/>
                  </a:lnTo>
                  <a:lnTo>
                    <a:pt x="438" y="1751"/>
                  </a:lnTo>
                  <a:lnTo>
                    <a:pt x="438" y="1752"/>
                  </a:lnTo>
                  <a:close/>
                  <a:moveTo>
                    <a:pt x="571" y="1380"/>
                  </a:moveTo>
                  <a:lnTo>
                    <a:pt x="571" y="1378"/>
                  </a:lnTo>
                  <a:lnTo>
                    <a:pt x="573" y="1378"/>
                  </a:lnTo>
                  <a:lnTo>
                    <a:pt x="571" y="1380"/>
                  </a:lnTo>
                  <a:close/>
                  <a:moveTo>
                    <a:pt x="574" y="1404"/>
                  </a:moveTo>
                  <a:lnTo>
                    <a:pt x="574" y="1406"/>
                  </a:lnTo>
                  <a:lnTo>
                    <a:pt x="573" y="1406"/>
                  </a:lnTo>
                  <a:lnTo>
                    <a:pt x="573" y="1404"/>
                  </a:lnTo>
                  <a:lnTo>
                    <a:pt x="574" y="1404"/>
                  </a:lnTo>
                  <a:close/>
                  <a:moveTo>
                    <a:pt x="54" y="1672"/>
                  </a:moveTo>
                  <a:lnTo>
                    <a:pt x="52" y="1672"/>
                  </a:lnTo>
                  <a:lnTo>
                    <a:pt x="52" y="1671"/>
                  </a:lnTo>
                  <a:lnTo>
                    <a:pt x="54" y="1671"/>
                  </a:lnTo>
                  <a:lnTo>
                    <a:pt x="54" y="1672"/>
                  </a:lnTo>
                  <a:close/>
                  <a:moveTo>
                    <a:pt x="602" y="1375"/>
                  </a:moveTo>
                  <a:lnTo>
                    <a:pt x="602" y="1373"/>
                  </a:lnTo>
                  <a:lnTo>
                    <a:pt x="602" y="1375"/>
                  </a:lnTo>
                  <a:close/>
                  <a:moveTo>
                    <a:pt x="555" y="1276"/>
                  </a:moveTo>
                  <a:lnTo>
                    <a:pt x="557" y="1276"/>
                  </a:lnTo>
                  <a:lnTo>
                    <a:pt x="555" y="1277"/>
                  </a:lnTo>
                  <a:lnTo>
                    <a:pt x="555" y="1276"/>
                  </a:lnTo>
                  <a:close/>
                  <a:moveTo>
                    <a:pt x="545" y="1254"/>
                  </a:moveTo>
                  <a:lnTo>
                    <a:pt x="547" y="1254"/>
                  </a:lnTo>
                  <a:lnTo>
                    <a:pt x="545" y="1254"/>
                  </a:lnTo>
                  <a:lnTo>
                    <a:pt x="545" y="1256"/>
                  </a:lnTo>
                  <a:lnTo>
                    <a:pt x="545" y="1254"/>
                  </a:lnTo>
                  <a:lnTo>
                    <a:pt x="545" y="1256"/>
                  </a:lnTo>
                  <a:lnTo>
                    <a:pt x="545" y="1254"/>
                  </a:lnTo>
                  <a:close/>
                  <a:moveTo>
                    <a:pt x="674" y="469"/>
                  </a:moveTo>
                  <a:lnTo>
                    <a:pt x="674" y="467"/>
                  </a:lnTo>
                  <a:lnTo>
                    <a:pt x="674" y="469"/>
                  </a:lnTo>
                  <a:lnTo>
                    <a:pt x="675" y="469"/>
                  </a:lnTo>
                  <a:lnTo>
                    <a:pt x="674" y="469"/>
                  </a:lnTo>
                  <a:close/>
                  <a:moveTo>
                    <a:pt x="441" y="1189"/>
                  </a:moveTo>
                  <a:lnTo>
                    <a:pt x="441" y="1188"/>
                  </a:lnTo>
                  <a:lnTo>
                    <a:pt x="441" y="1189"/>
                  </a:lnTo>
                  <a:close/>
                  <a:moveTo>
                    <a:pt x="74" y="1690"/>
                  </a:moveTo>
                  <a:lnTo>
                    <a:pt x="74" y="1689"/>
                  </a:lnTo>
                  <a:lnTo>
                    <a:pt x="74" y="1690"/>
                  </a:lnTo>
                  <a:close/>
                  <a:moveTo>
                    <a:pt x="552" y="1368"/>
                  </a:moveTo>
                  <a:lnTo>
                    <a:pt x="552" y="1367"/>
                  </a:lnTo>
                  <a:lnTo>
                    <a:pt x="553" y="1367"/>
                  </a:lnTo>
                  <a:lnTo>
                    <a:pt x="552" y="1368"/>
                  </a:lnTo>
                  <a:close/>
                  <a:moveTo>
                    <a:pt x="555" y="1443"/>
                  </a:moveTo>
                  <a:lnTo>
                    <a:pt x="553" y="1443"/>
                  </a:lnTo>
                  <a:lnTo>
                    <a:pt x="555" y="1443"/>
                  </a:lnTo>
                  <a:close/>
                  <a:moveTo>
                    <a:pt x="7" y="1502"/>
                  </a:moveTo>
                  <a:lnTo>
                    <a:pt x="7" y="1500"/>
                  </a:lnTo>
                  <a:lnTo>
                    <a:pt x="7" y="1502"/>
                  </a:lnTo>
                  <a:close/>
                  <a:moveTo>
                    <a:pt x="488" y="866"/>
                  </a:moveTo>
                  <a:lnTo>
                    <a:pt x="487" y="866"/>
                  </a:lnTo>
                  <a:lnTo>
                    <a:pt x="487" y="864"/>
                  </a:lnTo>
                  <a:lnTo>
                    <a:pt x="488" y="866"/>
                  </a:lnTo>
                  <a:close/>
                  <a:moveTo>
                    <a:pt x="540" y="1240"/>
                  </a:moveTo>
                  <a:lnTo>
                    <a:pt x="542" y="1240"/>
                  </a:lnTo>
                  <a:lnTo>
                    <a:pt x="540" y="1240"/>
                  </a:lnTo>
                  <a:lnTo>
                    <a:pt x="542" y="1240"/>
                  </a:lnTo>
                  <a:lnTo>
                    <a:pt x="542" y="1241"/>
                  </a:lnTo>
                  <a:lnTo>
                    <a:pt x="540" y="1241"/>
                  </a:lnTo>
                  <a:lnTo>
                    <a:pt x="540" y="1240"/>
                  </a:lnTo>
                  <a:close/>
                  <a:moveTo>
                    <a:pt x="38" y="1606"/>
                  </a:moveTo>
                  <a:lnTo>
                    <a:pt x="36" y="1606"/>
                  </a:lnTo>
                  <a:lnTo>
                    <a:pt x="38" y="1604"/>
                  </a:lnTo>
                  <a:lnTo>
                    <a:pt x="38" y="1606"/>
                  </a:lnTo>
                  <a:close/>
                  <a:moveTo>
                    <a:pt x="459" y="1575"/>
                  </a:moveTo>
                  <a:lnTo>
                    <a:pt x="459" y="1573"/>
                  </a:lnTo>
                  <a:lnTo>
                    <a:pt x="459" y="1575"/>
                  </a:lnTo>
                  <a:close/>
                  <a:moveTo>
                    <a:pt x="57" y="1648"/>
                  </a:moveTo>
                  <a:lnTo>
                    <a:pt x="57" y="1646"/>
                  </a:lnTo>
                  <a:lnTo>
                    <a:pt x="59" y="1646"/>
                  </a:lnTo>
                  <a:lnTo>
                    <a:pt x="57" y="1648"/>
                  </a:lnTo>
                  <a:close/>
                  <a:moveTo>
                    <a:pt x="62" y="1672"/>
                  </a:moveTo>
                  <a:lnTo>
                    <a:pt x="62" y="1671"/>
                  </a:lnTo>
                  <a:lnTo>
                    <a:pt x="62" y="1672"/>
                  </a:lnTo>
                  <a:lnTo>
                    <a:pt x="64" y="1672"/>
                  </a:lnTo>
                  <a:lnTo>
                    <a:pt x="62" y="1672"/>
                  </a:lnTo>
                  <a:close/>
                  <a:moveTo>
                    <a:pt x="449" y="1659"/>
                  </a:moveTo>
                  <a:lnTo>
                    <a:pt x="451" y="1659"/>
                  </a:lnTo>
                  <a:lnTo>
                    <a:pt x="449" y="1659"/>
                  </a:lnTo>
                  <a:close/>
                  <a:moveTo>
                    <a:pt x="581" y="1375"/>
                  </a:moveTo>
                  <a:lnTo>
                    <a:pt x="581" y="1373"/>
                  </a:lnTo>
                  <a:lnTo>
                    <a:pt x="581" y="1375"/>
                  </a:lnTo>
                  <a:lnTo>
                    <a:pt x="583" y="1373"/>
                  </a:lnTo>
                  <a:lnTo>
                    <a:pt x="583" y="1375"/>
                  </a:lnTo>
                  <a:lnTo>
                    <a:pt x="581" y="1375"/>
                  </a:lnTo>
                  <a:close/>
                  <a:moveTo>
                    <a:pt x="435" y="1550"/>
                  </a:moveTo>
                  <a:lnTo>
                    <a:pt x="436" y="1550"/>
                  </a:lnTo>
                  <a:lnTo>
                    <a:pt x="436" y="1552"/>
                  </a:lnTo>
                  <a:lnTo>
                    <a:pt x="435" y="1550"/>
                  </a:lnTo>
                  <a:close/>
                  <a:moveTo>
                    <a:pt x="518" y="838"/>
                  </a:moveTo>
                  <a:lnTo>
                    <a:pt x="518" y="840"/>
                  </a:lnTo>
                  <a:lnTo>
                    <a:pt x="516" y="838"/>
                  </a:lnTo>
                  <a:lnTo>
                    <a:pt x="518" y="838"/>
                  </a:lnTo>
                  <a:close/>
                  <a:moveTo>
                    <a:pt x="456" y="915"/>
                  </a:moveTo>
                  <a:lnTo>
                    <a:pt x="456" y="913"/>
                  </a:lnTo>
                  <a:lnTo>
                    <a:pt x="456" y="915"/>
                  </a:lnTo>
                  <a:close/>
                  <a:moveTo>
                    <a:pt x="4" y="1502"/>
                  </a:moveTo>
                  <a:lnTo>
                    <a:pt x="2" y="1502"/>
                  </a:lnTo>
                  <a:lnTo>
                    <a:pt x="4" y="1502"/>
                  </a:lnTo>
                  <a:close/>
                  <a:moveTo>
                    <a:pt x="441" y="1646"/>
                  </a:moveTo>
                  <a:lnTo>
                    <a:pt x="441" y="1645"/>
                  </a:lnTo>
                  <a:lnTo>
                    <a:pt x="441" y="1646"/>
                  </a:lnTo>
                  <a:close/>
                  <a:moveTo>
                    <a:pt x="64" y="1576"/>
                  </a:moveTo>
                  <a:lnTo>
                    <a:pt x="62" y="1576"/>
                  </a:lnTo>
                  <a:lnTo>
                    <a:pt x="64" y="1576"/>
                  </a:lnTo>
                  <a:close/>
                  <a:moveTo>
                    <a:pt x="763" y="441"/>
                  </a:moveTo>
                  <a:lnTo>
                    <a:pt x="762" y="441"/>
                  </a:lnTo>
                  <a:lnTo>
                    <a:pt x="763" y="441"/>
                  </a:lnTo>
                  <a:close/>
                  <a:moveTo>
                    <a:pt x="568" y="1381"/>
                  </a:moveTo>
                  <a:lnTo>
                    <a:pt x="568" y="1383"/>
                  </a:lnTo>
                  <a:lnTo>
                    <a:pt x="568" y="1381"/>
                  </a:lnTo>
                  <a:lnTo>
                    <a:pt x="570" y="1381"/>
                  </a:lnTo>
                  <a:lnTo>
                    <a:pt x="568" y="1381"/>
                  </a:lnTo>
                  <a:close/>
                  <a:moveTo>
                    <a:pt x="537" y="1256"/>
                  </a:moveTo>
                  <a:lnTo>
                    <a:pt x="537" y="1254"/>
                  </a:lnTo>
                  <a:lnTo>
                    <a:pt x="537" y="1256"/>
                  </a:lnTo>
                  <a:close/>
                  <a:moveTo>
                    <a:pt x="565" y="1354"/>
                  </a:moveTo>
                  <a:lnTo>
                    <a:pt x="566" y="1354"/>
                  </a:lnTo>
                  <a:lnTo>
                    <a:pt x="565" y="1354"/>
                  </a:lnTo>
                  <a:close/>
                  <a:moveTo>
                    <a:pt x="532" y="1458"/>
                  </a:moveTo>
                  <a:lnTo>
                    <a:pt x="532" y="1459"/>
                  </a:lnTo>
                  <a:lnTo>
                    <a:pt x="531" y="1459"/>
                  </a:lnTo>
                  <a:lnTo>
                    <a:pt x="531" y="1458"/>
                  </a:lnTo>
                  <a:lnTo>
                    <a:pt x="532" y="1458"/>
                  </a:lnTo>
                  <a:close/>
                  <a:moveTo>
                    <a:pt x="459" y="1563"/>
                  </a:moveTo>
                  <a:lnTo>
                    <a:pt x="461" y="1563"/>
                  </a:lnTo>
                  <a:lnTo>
                    <a:pt x="461" y="1565"/>
                  </a:lnTo>
                  <a:lnTo>
                    <a:pt x="459" y="1563"/>
                  </a:lnTo>
                  <a:lnTo>
                    <a:pt x="459" y="1565"/>
                  </a:lnTo>
                  <a:lnTo>
                    <a:pt x="459" y="1563"/>
                  </a:lnTo>
                  <a:lnTo>
                    <a:pt x="461" y="1563"/>
                  </a:lnTo>
                  <a:lnTo>
                    <a:pt x="459" y="1563"/>
                  </a:lnTo>
                  <a:close/>
                  <a:moveTo>
                    <a:pt x="13" y="1505"/>
                  </a:moveTo>
                  <a:lnTo>
                    <a:pt x="15" y="1507"/>
                  </a:lnTo>
                  <a:lnTo>
                    <a:pt x="13" y="1507"/>
                  </a:lnTo>
                  <a:lnTo>
                    <a:pt x="13" y="1505"/>
                  </a:lnTo>
                  <a:close/>
                  <a:moveTo>
                    <a:pt x="674" y="449"/>
                  </a:moveTo>
                  <a:lnTo>
                    <a:pt x="672" y="449"/>
                  </a:lnTo>
                  <a:lnTo>
                    <a:pt x="672" y="448"/>
                  </a:lnTo>
                  <a:lnTo>
                    <a:pt x="674" y="448"/>
                  </a:lnTo>
                  <a:lnTo>
                    <a:pt x="674" y="449"/>
                  </a:lnTo>
                  <a:close/>
                  <a:moveTo>
                    <a:pt x="610" y="1329"/>
                  </a:moveTo>
                  <a:lnTo>
                    <a:pt x="609" y="1329"/>
                  </a:lnTo>
                  <a:lnTo>
                    <a:pt x="610" y="1329"/>
                  </a:lnTo>
                  <a:close/>
                  <a:moveTo>
                    <a:pt x="17" y="1541"/>
                  </a:moveTo>
                  <a:lnTo>
                    <a:pt x="18" y="1541"/>
                  </a:lnTo>
                  <a:lnTo>
                    <a:pt x="17" y="1541"/>
                  </a:lnTo>
                  <a:close/>
                  <a:moveTo>
                    <a:pt x="597" y="1344"/>
                  </a:moveTo>
                  <a:lnTo>
                    <a:pt x="596" y="1344"/>
                  </a:lnTo>
                  <a:lnTo>
                    <a:pt x="596" y="1342"/>
                  </a:lnTo>
                  <a:lnTo>
                    <a:pt x="597" y="1344"/>
                  </a:lnTo>
                  <a:close/>
                  <a:moveTo>
                    <a:pt x="389" y="1881"/>
                  </a:moveTo>
                  <a:lnTo>
                    <a:pt x="389" y="1882"/>
                  </a:lnTo>
                  <a:lnTo>
                    <a:pt x="387" y="1882"/>
                  </a:lnTo>
                  <a:lnTo>
                    <a:pt x="387" y="1881"/>
                  </a:lnTo>
                  <a:lnTo>
                    <a:pt x="389" y="1882"/>
                  </a:lnTo>
                  <a:lnTo>
                    <a:pt x="389" y="1881"/>
                  </a:lnTo>
                  <a:close/>
                  <a:moveTo>
                    <a:pt x="448" y="1611"/>
                  </a:moveTo>
                  <a:lnTo>
                    <a:pt x="449" y="1612"/>
                  </a:lnTo>
                  <a:lnTo>
                    <a:pt x="448" y="1612"/>
                  </a:lnTo>
                  <a:lnTo>
                    <a:pt x="448" y="1611"/>
                  </a:lnTo>
                  <a:close/>
                  <a:moveTo>
                    <a:pt x="544" y="1245"/>
                  </a:moveTo>
                  <a:lnTo>
                    <a:pt x="544" y="1246"/>
                  </a:lnTo>
                  <a:lnTo>
                    <a:pt x="544" y="1245"/>
                  </a:lnTo>
                  <a:close/>
                  <a:moveTo>
                    <a:pt x="0" y="1494"/>
                  </a:moveTo>
                  <a:lnTo>
                    <a:pt x="0" y="1495"/>
                  </a:lnTo>
                  <a:lnTo>
                    <a:pt x="0" y="1494"/>
                  </a:lnTo>
                  <a:close/>
                  <a:moveTo>
                    <a:pt x="370" y="1868"/>
                  </a:moveTo>
                  <a:lnTo>
                    <a:pt x="371" y="1868"/>
                  </a:lnTo>
                  <a:lnTo>
                    <a:pt x="371" y="1869"/>
                  </a:lnTo>
                  <a:lnTo>
                    <a:pt x="370" y="1869"/>
                  </a:lnTo>
                  <a:lnTo>
                    <a:pt x="370" y="1868"/>
                  </a:lnTo>
                  <a:close/>
                  <a:moveTo>
                    <a:pt x="548" y="1425"/>
                  </a:moveTo>
                  <a:lnTo>
                    <a:pt x="550" y="1424"/>
                  </a:lnTo>
                  <a:lnTo>
                    <a:pt x="550" y="1425"/>
                  </a:lnTo>
                  <a:lnTo>
                    <a:pt x="548" y="1425"/>
                  </a:lnTo>
                  <a:close/>
                  <a:moveTo>
                    <a:pt x="571" y="1383"/>
                  </a:moveTo>
                  <a:lnTo>
                    <a:pt x="573" y="1383"/>
                  </a:lnTo>
                  <a:lnTo>
                    <a:pt x="571" y="1383"/>
                  </a:lnTo>
                  <a:close/>
                  <a:moveTo>
                    <a:pt x="438" y="1191"/>
                  </a:moveTo>
                  <a:lnTo>
                    <a:pt x="440" y="1191"/>
                  </a:lnTo>
                  <a:lnTo>
                    <a:pt x="438" y="1191"/>
                  </a:lnTo>
                  <a:close/>
                  <a:moveTo>
                    <a:pt x="573" y="1415"/>
                  </a:moveTo>
                  <a:lnTo>
                    <a:pt x="573" y="1414"/>
                  </a:lnTo>
                  <a:lnTo>
                    <a:pt x="573" y="1415"/>
                  </a:lnTo>
                  <a:close/>
                  <a:moveTo>
                    <a:pt x="496" y="1461"/>
                  </a:moveTo>
                  <a:lnTo>
                    <a:pt x="498" y="1461"/>
                  </a:lnTo>
                  <a:lnTo>
                    <a:pt x="498" y="1463"/>
                  </a:lnTo>
                  <a:lnTo>
                    <a:pt x="498" y="1461"/>
                  </a:lnTo>
                  <a:lnTo>
                    <a:pt x="496" y="1461"/>
                  </a:lnTo>
                  <a:close/>
                  <a:moveTo>
                    <a:pt x="430" y="1134"/>
                  </a:moveTo>
                  <a:lnTo>
                    <a:pt x="430" y="1132"/>
                  </a:lnTo>
                  <a:lnTo>
                    <a:pt x="431" y="1132"/>
                  </a:lnTo>
                  <a:lnTo>
                    <a:pt x="430" y="1134"/>
                  </a:lnTo>
                  <a:close/>
                  <a:moveTo>
                    <a:pt x="583" y="1370"/>
                  </a:moveTo>
                  <a:lnTo>
                    <a:pt x="583" y="1368"/>
                  </a:lnTo>
                  <a:lnTo>
                    <a:pt x="584" y="1370"/>
                  </a:lnTo>
                  <a:lnTo>
                    <a:pt x="583" y="1370"/>
                  </a:lnTo>
                  <a:close/>
                  <a:moveTo>
                    <a:pt x="466" y="1492"/>
                  </a:moveTo>
                  <a:lnTo>
                    <a:pt x="467" y="1492"/>
                  </a:lnTo>
                  <a:lnTo>
                    <a:pt x="466" y="1492"/>
                  </a:lnTo>
                  <a:close/>
                  <a:moveTo>
                    <a:pt x="576" y="1363"/>
                  </a:moveTo>
                  <a:lnTo>
                    <a:pt x="576" y="1362"/>
                  </a:lnTo>
                  <a:lnTo>
                    <a:pt x="576" y="1363"/>
                  </a:lnTo>
                  <a:lnTo>
                    <a:pt x="574" y="1363"/>
                  </a:lnTo>
                  <a:lnTo>
                    <a:pt x="576" y="1363"/>
                  </a:lnTo>
                  <a:close/>
                  <a:moveTo>
                    <a:pt x="23" y="1549"/>
                  </a:moveTo>
                  <a:lnTo>
                    <a:pt x="23" y="1547"/>
                  </a:lnTo>
                  <a:lnTo>
                    <a:pt x="25" y="1549"/>
                  </a:lnTo>
                  <a:lnTo>
                    <a:pt x="25" y="1547"/>
                  </a:lnTo>
                  <a:lnTo>
                    <a:pt x="25" y="1549"/>
                  </a:lnTo>
                  <a:lnTo>
                    <a:pt x="23" y="1549"/>
                  </a:lnTo>
                  <a:close/>
                  <a:moveTo>
                    <a:pt x="430" y="1175"/>
                  </a:moveTo>
                  <a:lnTo>
                    <a:pt x="430" y="1173"/>
                  </a:lnTo>
                  <a:lnTo>
                    <a:pt x="430" y="1175"/>
                  </a:lnTo>
                  <a:close/>
                  <a:moveTo>
                    <a:pt x="488" y="1494"/>
                  </a:moveTo>
                  <a:lnTo>
                    <a:pt x="487" y="1492"/>
                  </a:lnTo>
                  <a:lnTo>
                    <a:pt x="488" y="1492"/>
                  </a:lnTo>
                  <a:lnTo>
                    <a:pt x="487" y="1492"/>
                  </a:lnTo>
                  <a:lnTo>
                    <a:pt x="488" y="1494"/>
                  </a:lnTo>
                  <a:close/>
                  <a:moveTo>
                    <a:pt x="527" y="1232"/>
                  </a:moveTo>
                  <a:lnTo>
                    <a:pt x="529" y="1230"/>
                  </a:lnTo>
                  <a:lnTo>
                    <a:pt x="529" y="1232"/>
                  </a:lnTo>
                  <a:lnTo>
                    <a:pt x="529" y="1230"/>
                  </a:lnTo>
                  <a:lnTo>
                    <a:pt x="529" y="1232"/>
                  </a:lnTo>
                  <a:lnTo>
                    <a:pt x="527" y="1232"/>
                  </a:lnTo>
                  <a:close/>
                  <a:moveTo>
                    <a:pt x="565" y="1360"/>
                  </a:moveTo>
                  <a:lnTo>
                    <a:pt x="565" y="1362"/>
                  </a:lnTo>
                  <a:lnTo>
                    <a:pt x="565" y="1360"/>
                  </a:lnTo>
                  <a:close/>
                  <a:moveTo>
                    <a:pt x="466" y="906"/>
                  </a:moveTo>
                  <a:lnTo>
                    <a:pt x="467" y="906"/>
                  </a:lnTo>
                  <a:lnTo>
                    <a:pt x="467" y="908"/>
                  </a:lnTo>
                  <a:lnTo>
                    <a:pt x="466" y="908"/>
                  </a:lnTo>
                  <a:lnTo>
                    <a:pt x="466" y="906"/>
                  </a:lnTo>
                  <a:close/>
                  <a:moveTo>
                    <a:pt x="488" y="856"/>
                  </a:moveTo>
                  <a:lnTo>
                    <a:pt x="487" y="856"/>
                  </a:lnTo>
                  <a:lnTo>
                    <a:pt x="487" y="854"/>
                  </a:lnTo>
                  <a:lnTo>
                    <a:pt x="488" y="854"/>
                  </a:lnTo>
                  <a:lnTo>
                    <a:pt x="488" y="856"/>
                  </a:lnTo>
                  <a:close/>
                  <a:moveTo>
                    <a:pt x="576" y="1419"/>
                  </a:moveTo>
                  <a:lnTo>
                    <a:pt x="578" y="1419"/>
                  </a:lnTo>
                  <a:lnTo>
                    <a:pt x="576" y="1419"/>
                  </a:lnTo>
                  <a:close/>
                  <a:moveTo>
                    <a:pt x="449" y="1520"/>
                  </a:moveTo>
                  <a:lnTo>
                    <a:pt x="451" y="1520"/>
                  </a:lnTo>
                  <a:lnTo>
                    <a:pt x="449" y="1520"/>
                  </a:lnTo>
                  <a:close/>
                  <a:moveTo>
                    <a:pt x="553" y="1412"/>
                  </a:moveTo>
                  <a:lnTo>
                    <a:pt x="553" y="1414"/>
                  </a:lnTo>
                  <a:lnTo>
                    <a:pt x="555" y="1414"/>
                  </a:lnTo>
                  <a:lnTo>
                    <a:pt x="553" y="1414"/>
                  </a:lnTo>
                  <a:lnTo>
                    <a:pt x="553" y="1412"/>
                  </a:lnTo>
                  <a:close/>
                  <a:moveTo>
                    <a:pt x="43" y="1619"/>
                  </a:moveTo>
                  <a:lnTo>
                    <a:pt x="44" y="1620"/>
                  </a:lnTo>
                  <a:lnTo>
                    <a:pt x="43" y="1620"/>
                  </a:lnTo>
                  <a:lnTo>
                    <a:pt x="43" y="1619"/>
                  </a:lnTo>
                  <a:close/>
                  <a:moveTo>
                    <a:pt x="588" y="1383"/>
                  </a:moveTo>
                  <a:lnTo>
                    <a:pt x="588" y="1381"/>
                  </a:lnTo>
                  <a:lnTo>
                    <a:pt x="588" y="1383"/>
                  </a:lnTo>
                  <a:close/>
                  <a:moveTo>
                    <a:pt x="610" y="1362"/>
                  </a:moveTo>
                  <a:lnTo>
                    <a:pt x="612" y="1362"/>
                  </a:lnTo>
                  <a:lnTo>
                    <a:pt x="610" y="1363"/>
                  </a:lnTo>
                  <a:lnTo>
                    <a:pt x="610" y="1362"/>
                  </a:lnTo>
                  <a:close/>
                  <a:moveTo>
                    <a:pt x="2" y="1497"/>
                  </a:moveTo>
                  <a:lnTo>
                    <a:pt x="2" y="1495"/>
                  </a:lnTo>
                  <a:lnTo>
                    <a:pt x="2" y="1497"/>
                  </a:lnTo>
                  <a:close/>
                  <a:moveTo>
                    <a:pt x="563" y="1378"/>
                  </a:moveTo>
                  <a:lnTo>
                    <a:pt x="563" y="1380"/>
                  </a:lnTo>
                  <a:lnTo>
                    <a:pt x="561" y="1380"/>
                  </a:lnTo>
                  <a:lnTo>
                    <a:pt x="561" y="1378"/>
                  </a:lnTo>
                  <a:lnTo>
                    <a:pt x="563" y="1378"/>
                  </a:lnTo>
                  <a:lnTo>
                    <a:pt x="561" y="1378"/>
                  </a:lnTo>
                  <a:lnTo>
                    <a:pt x="563" y="1378"/>
                  </a:lnTo>
                  <a:close/>
                  <a:moveTo>
                    <a:pt x="454" y="1217"/>
                  </a:moveTo>
                  <a:lnTo>
                    <a:pt x="454" y="1215"/>
                  </a:lnTo>
                  <a:lnTo>
                    <a:pt x="454" y="1217"/>
                  </a:lnTo>
                  <a:close/>
                  <a:moveTo>
                    <a:pt x="451" y="1547"/>
                  </a:moveTo>
                  <a:lnTo>
                    <a:pt x="453" y="1547"/>
                  </a:lnTo>
                  <a:lnTo>
                    <a:pt x="453" y="1549"/>
                  </a:lnTo>
                  <a:lnTo>
                    <a:pt x="451" y="1549"/>
                  </a:lnTo>
                  <a:lnTo>
                    <a:pt x="451" y="1547"/>
                  </a:lnTo>
                  <a:close/>
                  <a:moveTo>
                    <a:pt x="90" y="1721"/>
                  </a:moveTo>
                  <a:lnTo>
                    <a:pt x="91" y="1720"/>
                  </a:lnTo>
                  <a:lnTo>
                    <a:pt x="91" y="1721"/>
                  </a:lnTo>
                  <a:lnTo>
                    <a:pt x="91" y="1720"/>
                  </a:lnTo>
                  <a:lnTo>
                    <a:pt x="91" y="1721"/>
                  </a:lnTo>
                  <a:lnTo>
                    <a:pt x="90" y="1721"/>
                  </a:lnTo>
                  <a:close/>
                  <a:moveTo>
                    <a:pt x="505" y="849"/>
                  </a:moveTo>
                  <a:lnTo>
                    <a:pt x="505" y="848"/>
                  </a:lnTo>
                  <a:lnTo>
                    <a:pt x="506" y="848"/>
                  </a:lnTo>
                  <a:lnTo>
                    <a:pt x="506" y="849"/>
                  </a:lnTo>
                  <a:lnTo>
                    <a:pt x="505" y="849"/>
                  </a:lnTo>
                  <a:close/>
                  <a:moveTo>
                    <a:pt x="61" y="1650"/>
                  </a:moveTo>
                  <a:lnTo>
                    <a:pt x="59" y="1650"/>
                  </a:lnTo>
                  <a:lnTo>
                    <a:pt x="61" y="1650"/>
                  </a:lnTo>
                  <a:close/>
                  <a:moveTo>
                    <a:pt x="542" y="1256"/>
                  </a:moveTo>
                  <a:lnTo>
                    <a:pt x="544" y="1256"/>
                  </a:lnTo>
                  <a:lnTo>
                    <a:pt x="542" y="1256"/>
                  </a:lnTo>
                  <a:lnTo>
                    <a:pt x="542" y="1254"/>
                  </a:lnTo>
                  <a:lnTo>
                    <a:pt x="542" y="1256"/>
                  </a:lnTo>
                  <a:close/>
                  <a:moveTo>
                    <a:pt x="448" y="1580"/>
                  </a:moveTo>
                  <a:lnTo>
                    <a:pt x="449" y="1580"/>
                  </a:lnTo>
                  <a:lnTo>
                    <a:pt x="449" y="1581"/>
                  </a:lnTo>
                  <a:lnTo>
                    <a:pt x="448" y="1580"/>
                  </a:lnTo>
                  <a:close/>
                  <a:moveTo>
                    <a:pt x="500" y="861"/>
                  </a:moveTo>
                  <a:lnTo>
                    <a:pt x="500" y="859"/>
                  </a:lnTo>
                  <a:lnTo>
                    <a:pt x="500" y="861"/>
                  </a:lnTo>
                  <a:close/>
                  <a:moveTo>
                    <a:pt x="443" y="1666"/>
                  </a:moveTo>
                  <a:lnTo>
                    <a:pt x="443" y="1668"/>
                  </a:lnTo>
                  <a:lnTo>
                    <a:pt x="443" y="1666"/>
                  </a:lnTo>
                  <a:close/>
                  <a:moveTo>
                    <a:pt x="588" y="1320"/>
                  </a:moveTo>
                  <a:lnTo>
                    <a:pt x="588" y="1321"/>
                  </a:lnTo>
                  <a:lnTo>
                    <a:pt x="588" y="1320"/>
                  </a:lnTo>
                  <a:close/>
                  <a:moveTo>
                    <a:pt x="568" y="1375"/>
                  </a:moveTo>
                  <a:lnTo>
                    <a:pt x="566" y="1375"/>
                  </a:lnTo>
                  <a:lnTo>
                    <a:pt x="568" y="1375"/>
                  </a:lnTo>
                  <a:lnTo>
                    <a:pt x="566" y="1375"/>
                  </a:lnTo>
                  <a:lnTo>
                    <a:pt x="568" y="1375"/>
                  </a:lnTo>
                  <a:close/>
                  <a:moveTo>
                    <a:pt x="698" y="453"/>
                  </a:moveTo>
                  <a:lnTo>
                    <a:pt x="698" y="451"/>
                  </a:lnTo>
                  <a:lnTo>
                    <a:pt x="698" y="453"/>
                  </a:lnTo>
                  <a:close/>
                  <a:moveTo>
                    <a:pt x="553" y="1415"/>
                  </a:moveTo>
                  <a:lnTo>
                    <a:pt x="553" y="1417"/>
                  </a:lnTo>
                  <a:lnTo>
                    <a:pt x="553" y="1415"/>
                  </a:lnTo>
                  <a:close/>
                  <a:moveTo>
                    <a:pt x="542" y="1271"/>
                  </a:moveTo>
                  <a:lnTo>
                    <a:pt x="544" y="1271"/>
                  </a:lnTo>
                  <a:lnTo>
                    <a:pt x="544" y="1272"/>
                  </a:lnTo>
                  <a:lnTo>
                    <a:pt x="542" y="1272"/>
                  </a:lnTo>
                  <a:lnTo>
                    <a:pt x="542" y="1271"/>
                  </a:lnTo>
                  <a:close/>
                  <a:moveTo>
                    <a:pt x="88" y="1711"/>
                  </a:moveTo>
                  <a:lnTo>
                    <a:pt x="88" y="1710"/>
                  </a:lnTo>
                  <a:lnTo>
                    <a:pt x="88" y="1711"/>
                  </a:lnTo>
                  <a:close/>
                  <a:moveTo>
                    <a:pt x="628" y="555"/>
                  </a:moveTo>
                  <a:lnTo>
                    <a:pt x="630" y="555"/>
                  </a:lnTo>
                  <a:lnTo>
                    <a:pt x="628" y="555"/>
                  </a:lnTo>
                  <a:close/>
                  <a:moveTo>
                    <a:pt x="544" y="1253"/>
                  </a:moveTo>
                  <a:lnTo>
                    <a:pt x="544" y="1254"/>
                  </a:lnTo>
                  <a:lnTo>
                    <a:pt x="542" y="1254"/>
                  </a:lnTo>
                  <a:lnTo>
                    <a:pt x="542" y="1253"/>
                  </a:lnTo>
                  <a:lnTo>
                    <a:pt x="544" y="1253"/>
                  </a:lnTo>
                  <a:close/>
                  <a:moveTo>
                    <a:pt x="615" y="1349"/>
                  </a:moveTo>
                  <a:lnTo>
                    <a:pt x="614" y="1349"/>
                  </a:lnTo>
                  <a:lnTo>
                    <a:pt x="615" y="1349"/>
                  </a:lnTo>
                  <a:close/>
                  <a:moveTo>
                    <a:pt x="449" y="1624"/>
                  </a:moveTo>
                  <a:lnTo>
                    <a:pt x="448" y="1624"/>
                  </a:lnTo>
                  <a:lnTo>
                    <a:pt x="448" y="1622"/>
                  </a:lnTo>
                  <a:lnTo>
                    <a:pt x="449" y="1622"/>
                  </a:lnTo>
                  <a:lnTo>
                    <a:pt x="449" y="1624"/>
                  </a:lnTo>
                  <a:close/>
                  <a:moveTo>
                    <a:pt x="563" y="1391"/>
                  </a:moveTo>
                  <a:lnTo>
                    <a:pt x="563" y="1393"/>
                  </a:lnTo>
                  <a:lnTo>
                    <a:pt x="565" y="1393"/>
                  </a:lnTo>
                  <a:lnTo>
                    <a:pt x="565" y="1394"/>
                  </a:lnTo>
                  <a:lnTo>
                    <a:pt x="563" y="1393"/>
                  </a:lnTo>
                  <a:lnTo>
                    <a:pt x="563" y="1391"/>
                  </a:lnTo>
                  <a:close/>
                  <a:moveTo>
                    <a:pt x="394" y="1882"/>
                  </a:moveTo>
                  <a:lnTo>
                    <a:pt x="394" y="1881"/>
                  </a:lnTo>
                  <a:lnTo>
                    <a:pt x="396" y="1881"/>
                  </a:lnTo>
                  <a:lnTo>
                    <a:pt x="396" y="1882"/>
                  </a:lnTo>
                  <a:lnTo>
                    <a:pt x="394" y="1882"/>
                  </a:lnTo>
                  <a:close/>
                  <a:moveTo>
                    <a:pt x="453" y="947"/>
                  </a:moveTo>
                  <a:lnTo>
                    <a:pt x="454" y="945"/>
                  </a:lnTo>
                  <a:lnTo>
                    <a:pt x="454" y="947"/>
                  </a:lnTo>
                  <a:lnTo>
                    <a:pt x="453" y="947"/>
                  </a:lnTo>
                  <a:close/>
                  <a:moveTo>
                    <a:pt x="607" y="1684"/>
                  </a:moveTo>
                  <a:lnTo>
                    <a:pt x="609" y="1684"/>
                  </a:lnTo>
                  <a:lnTo>
                    <a:pt x="607" y="1684"/>
                  </a:lnTo>
                  <a:close/>
                  <a:moveTo>
                    <a:pt x="35" y="1578"/>
                  </a:moveTo>
                  <a:lnTo>
                    <a:pt x="36" y="1578"/>
                  </a:lnTo>
                  <a:lnTo>
                    <a:pt x="36" y="1580"/>
                  </a:lnTo>
                  <a:lnTo>
                    <a:pt x="35" y="1578"/>
                  </a:lnTo>
                  <a:close/>
                  <a:moveTo>
                    <a:pt x="597" y="1339"/>
                  </a:moveTo>
                  <a:lnTo>
                    <a:pt x="597" y="1341"/>
                  </a:lnTo>
                  <a:lnTo>
                    <a:pt x="596" y="1339"/>
                  </a:lnTo>
                  <a:lnTo>
                    <a:pt x="597" y="1339"/>
                  </a:lnTo>
                  <a:close/>
                  <a:moveTo>
                    <a:pt x="584" y="1368"/>
                  </a:moveTo>
                  <a:lnTo>
                    <a:pt x="584" y="1367"/>
                  </a:lnTo>
                  <a:lnTo>
                    <a:pt x="584" y="1368"/>
                  </a:lnTo>
                  <a:close/>
                  <a:moveTo>
                    <a:pt x="690" y="461"/>
                  </a:moveTo>
                  <a:lnTo>
                    <a:pt x="690" y="459"/>
                  </a:lnTo>
                  <a:lnTo>
                    <a:pt x="690" y="461"/>
                  </a:lnTo>
                  <a:close/>
                  <a:moveTo>
                    <a:pt x="589" y="763"/>
                  </a:moveTo>
                  <a:lnTo>
                    <a:pt x="588" y="763"/>
                  </a:lnTo>
                  <a:lnTo>
                    <a:pt x="589" y="762"/>
                  </a:lnTo>
                  <a:lnTo>
                    <a:pt x="589" y="763"/>
                  </a:lnTo>
                  <a:close/>
                  <a:moveTo>
                    <a:pt x="552" y="1425"/>
                  </a:moveTo>
                  <a:lnTo>
                    <a:pt x="552" y="1424"/>
                  </a:lnTo>
                  <a:lnTo>
                    <a:pt x="552" y="1425"/>
                  </a:lnTo>
                  <a:lnTo>
                    <a:pt x="552" y="1424"/>
                  </a:lnTo>
                  <a:lnTo>
                    <a:pt x="553" y="1424"/>
                  </a:lnTo>
                  <a:lnTo>
                    <a:pt x="552" y="1425"/>
                  </a:lnTo>
                  <a:close/>
                  <a:moveTo>
                    <a:pt x="7" y="1503"/>
                  </a:moveTo>
                  <a:lnTo>
                    <a:pt x="5" y="1503"/>
                  </a:lnTo>
                  <a:lnTo>
                    <a:pt x="7" y="1502"/>
                  </a:lnTo>
                  <a:lnTo>
                    <a:pt x="7" y="1503"/>
                  </a:lnTo>
                  <a:close/>
                  <a:moveTo>
                    <a:pt x="62" y="1664"/>
                  </a:moveTo>
                  <a:lnTo>
                    <a:pt x="64" y="1664"/>
                  </a:lnTo>
                  <a:lnTo>
                    <a:pt x="62" y="1664"/>
                  </a:lnTo>
                  <a:close/>
                  <a:moveTo>
                    <a:pt x="9" y="1484"/>
                  </a:moveTo>
                  <a:lnTo>
                    <a:pt x="9" y="1482"/>
                  </a:lnTo>
                  <a:lnTo>
                    <a:pt x="9" y="1484"/>
                  </a:lnTo>
                  <a:close/>
                  <a:moveTo>
                    <a:pt x="552" y="1367"/>
                  </a:moveTo>
                  <a:lnTo>
                    <a:pt x="550" y="1367"/>
                  </a:lnTo>
                  <a:lnTo>
                    <a:pt x="552" y="1367"/>
                  </a:lnTo>
                  <a:lnTo>
                    <a:pt x="552" y="1365"/>
                  </a:lnTo>
                  <a:lnTo>
                    <a:pt x="552" y="1367"/>
                  </a:lnTo>
                  <a:close/>
                  <a:moveTo>
                    <a:pt x="431" y="983"/>
                  </a:moveTo>
                  <a:lnTo>
                    <a:pt x="431" y="981"/>
                  </a:lnTo>
                  <a:lnTo>
                    <a:pt x="431" y="983"/>
                  </a:lnTo>
                  <a:close/>
                  <a:moveTo>
                    <a:pt x="631" y="511"/>
                  </a:moveTo>
                  <a:lnTo>
                    <a:pt x="633" y="511"/>
                  </a:lnTo>
                  <a:lnTo>
                    <a:pt x="633" y="513"/>
                  </a:lnTo>
                  <a:lnTo>
                    <a:pt x="631" y="513"/>
                  </a:lnTo>
                  <a:lnTo>
                    <a:pt x="631" y="511"/>
                  </a:lnTo>
                  <a:lnTo>
                    <a:pt x="631" y="513"/>
                  </a:lnTo>
                  <a:lnTo>
                    <a:pt x="631" y="511"/>
                  </a:lnTo>
                  <a:close/>
                  <a:moveTo>
                    <a:pt x="65" y="1656"/>
                  </a:moveTo>
                  <a:lnTo>
                    <a:pt x="65" y="1655"/>
                  </a:lnTo>
                  <a:lnTo>
                    <a:pt x="65" y="1656"/>
                  </a:lnTo>
                  <a:close/>
                  <a:moveTo>
                    <a:pt x="604" y="589"/>
                  </a:moveTo>
                  <a:lnTo>
                    <a:pt x="605" y="589"/>
                  </a:lnTo>
                  <a:lnTo>
                    <a:pt x="605" y="591"/>
                  </a:lnTo>
                  <a:lnTo>
                    <a:pt x="605" y="589"/>
                  </a:lnTo>
                  <a:lnTo>
                    <a:pt x="604" y="589"/>
                  </a:lnTo>
                  <a:close/>
                  <a:moveTo>
                    <a:pt x="539" y="1259"/>
                  </a:moveTo>
                  <a:lnTo>
                    <a:pt x="540" y="1259"/>
                  </a:lnTo>
                  <a:lnTo>
                    <a:pt x="540" y="1261"/>
                  </a:lnTo>
                  <a:lnTo>
                    <a:pt x="539" y="1259"/>
                  </a:lnTo>
                  <a:close/>
                  <a:moveTo>
                    <a:pt x="566" y="1415"/>
                  </a:moveTo>
                  <a:lnTo>
                    <a:pt x="568" y="1414"/>
                  </a:lnTo>
                  <a:lnTo>
                    <a:pt x="568" y="1415"/>
                  </a:lnTo>
                  <a:lnTo>
                    <a:pt x="566" y="1415"/>
                  </a:lnTo>
                  <a:close/>
                  <a:moveTo>
                    <a:pt x="583" y="1321"/>
                  </a:moveTo>
                  <a:lnTo>
                    <a:pt x="583" y="1320"/>
                  </a:lnTo>
                  <a:lnTo>
                    <a:pt x="583" y="1321"/>
                  </a:lnTo>
                  <a:close/>
                  <a:moveTo>
                    <a:pt x="88" y="1711"/>
                  </a:moveTo>
                  <a:lnTo>
                    <a:pt x="87" y="1711"/>
                  </a:lnTo>
                  <a:lnTo>
                    <a:pt x="87" y="1710"/>
                  </a:lnTo>
                  <a:lnTo>
                    <a:pt x="88" y="1710"/>
                  </a:lnTo>
                  <a:lnTo>
                    <a:pt x="88" y="1711"/>
                  </a:lnTo>
                  <a:close/>
                  <a:moveTo>
                    <a:pt x="456" y="1568"/>
                  </a:moveTo>
                  <a:lnTo>
                    <a:pt x="457" y="1568"/>
                  </a:lnTo>
                  <a:lnTo>
                    <a:pt x="456" y="1568"/>
                  </a:lnTo>
                  <a:close/>
                  <a:moveTo>
                    <a:pt x="353" y="1869"/>
                  </a:moveTo>
                  <a:lnTo>
                    <a:pt x="352" y="1869"/>
                  </a:lnTo>
                  <a:lnTo>
                    <a:pt x="352" y="1871"/>
                  </a:lnTo>
                  <a:lnTo>
                    <a:pt x="352" y="1869"/>
                  </a:lnTo>
                  <a:lnTo>
                    <a:pt x="350" y="1869"/>
                  </a:lnTo>
                  <a:lnTo>
                    <a:pt x="352" y="1869"/>
                  </a:lnTo>
                  <a:lnTo>
                    <a:pt x="353" y="1869"/>
                  </a:lnTo>
                  <a:close/>
                  <a:moveTo>
                    <a:pt x="477" y="900"/>
                  </a:moveTo>
                  <a:lnTo>
                    <a:pt x="475" y="900"/>
                  </a:lnTo>
                  <a:lnTo>
                    <a:pt x="475" y="898"/>
                  </a:lnTo>
                  <a:lnTo>
                    <a:pt x="477" y="898"/>
                  </a:lnTo>
                  <a:lnTo>
                    <a:pt x="477" y="900"/>
                  </a:lnTo>
                  <a:close/>
                  <a:moveTo>
                    <a:pt x="557" y="1267"/>
                  </a:moveTo>
                  <a:lnTo>
                    <a:pt x="558" y="1267"/>
                  </a:lnTo>
                  <a:lnTo>
                    <a:pt x="557" y="1267"/>
                  </a:lnTo>
                  <a:close/>
                  <a:moveTo>
                    <a:pt x="561" y="1370"/>
                  </a:moveTo>
                  <a:lnTo>
                    <a:pt x="563" y="1370"/>
                  </a:lnTo>
                  <a:lnTo>
                    <a:pt x="563" y="1372"/>
                  </a:lnTo>
                  <a:lnTo>
                    <a:pt x="561" y="1372"/>
                  </a:lnTo>
                  <a:lnTo>
                    <a:pt x="561" y="1370"/>
                  </a:lnTo>
                  <a:close/>
                  <a:moveTo>
                    <a:pt x="462" y="900"/>
                  </a:moveTo>
                  <a:lnTo>
                    <a:pt x="461" y="900"/>
                  </a:lnTo>
                  <a:lnTo>
                    <a:pt x="462" y="900"/>
                  </a:lnTo>
                  <a:lnTo>
                    <a:pt x="461" y="900"/>
                  </a:lnTo>
                  <a:lnTo>
                    <a:pt x="462" y="898"/>
                  </a:lnTo>
                  <a:lnTo>
                    <a:pt x="462" y="900"/>
                  </a:lnTo>
                  <a:close/>
                  <a:moveTo>
                    <a:pt x="641" y="505"/>
                  </a:moveTo>
                  <a:lnTo>
                    <a:pt x="641" y="506"/>
                  </a:lnTo>
                  <a:lnTo>
                    <a:pt x="641" y="505"/>
                  </a:lnTo>
                  <a:close/>
                  <a:moveTo>
                    <a:pt x="568" y="1347"/>
                  </a:moveTo>
                  <a:lnTo>
                    <a:pt x="570" y="1347"/>
                  </a:lnTo>
                  <a:lnTo>
                    <a:pt x="568" y="1347"/>
                  </a:lnTo>
                  <a:close/>
                  <a:moveTo>
                    <a:pt x="492" y="1476"/>
                  </a:moveTo>
                  <a:lnTo>
                    <a:pt x="492" y="1477"/>
                  </a:lnTo>
                  <a:lnTo>
                    <a:pt x="492" y="1476"/>
                  </a:lnTo>
                  <a:close/>
                  <a:moveTo>
                    <a:pt x="470" y="1495"/>
                  </a:moveTo>
                  <a:lnTo>
                    <a:pt x="470" y="1494"/>
                  </a:lnTo>
                  <a:lnTo>
                    <a:pt x="472" y="1494"/>
                  </a:lnTo>
                  <a:lnTo>
                    <a:pt x="470" y="1495"/>
                  </a:lnTo>
                  <a:close/>
                  <a:moveTo>
                    <a:pt x="544" y="1432"/>
                  </a:moveTo>
                  <a:lnTo>
                    <a:pt x="542" y="1433"/>
                  </a:lnTo>
                  <a:lnTo>
                    <a:pt x="544" y="1432"/>
                  </a:lnTo>
                  <a:close/>
                  <a:moveTo>
                    <a:pt x="51" y="1642"/>
                  </a:moveTo>
                  <a:lnTo>
                    <a:pt x="51" y="1643"/>
                  </a:lnTo>
                  <a:lnTo>
                    <a:pt x="51" y="1642"/>
                  </a:lnTo>
                  <a:close/>
                  <a:moveTo>
                    <a:pt x="762" y="425"/>
                  </a:moveTo>
                  <a:lnTo>
                    <a:pt x="762" y="423"/>
                  </a:lnTo>
                  <a:lnTo>
                    <a:pt x="762" y="425"/>
                  </a:lnTo>
                  <a:close/>
                  <a:moveTo>
                    <a:pt x="513" y="1476"/>
                  </a:moveTo>
                  <a:lnTo>
                    <a:pt x="513" y="1477"/>
                  </a:lnTo>
                  <a:lnTo>
                    <a:pt x="513" y="1476"/>
                  </a:lnTo>
                  <a:lnTo>
                    <a:pt x="511" y="1476"/>
                  </a:lnTo>
                  <a:lnTo>
                    <a:pt x="513" y="1476"/>
                  </a:lnTo>
                  <a:close/>
                  <a:moveTo>
                    <a:pt x="25" y="1555"/>
                  </a:moveTo>
                  <a:lnTo>
                    <a:pt x="26" y="1555"/>
                  </a:lnTo>
                  <a:lnTo>
                    <a:pt x="25" y="1555"/>
                  </a:lnTo>
                  <a:lnTo>
                    <a:pt x="26" y="1555"/>
                  </a:lnTo>
                  <a:lnTo>
                    <a:pt x="25" y="1555"/>
                  </a:lnTo>
                  <a:lnTo>
                    <a:pt x="25" y="1554"/>
                  </a:lnTo>
                  <a:lnTo>
                    <a:pt x="26" y="1554"/>
                  </a:lnTo>
                  <a:lnTo>
                    <a:pt x="25" y="1555"/>
                  </a:lnTo>
                  <a:close/>
                  <a:moveTo>
                    <a:pt x="501" y="835"/>
                  </a:moveTo>
                  <a:lnTo>
                    <a:pt x="503" y="835"/>
                  </a:lnTo>
                  <a:lnTo>
                    <a:pt x="501" y="835"/>
                  </a:lnTo>
                  <a:close/>
                  <a:moveTo>
                    <a:pt x="496" y="1471"/>
                  </a:moveTo>
                  <a:lnTo>
                    <a:pt x="498" y="1469"/>
                  </a:lnTo>
                  <a:lnTo>
                    <a:pt x="498" y="1471"/>
                  </a:lnTo>
                  <a:lnTo>
                    <a:pt x="496" y="1471"/>
                  </a:lnTo>
                  <a:close/>
                  <a:moveTo>
                    <a:pt x="431" y="1612"/>
                  </a:moveTo>
                  <a:lnTo>
                    <a:pt x="433" y="1614"/>
                  </a:lnTo>
                  <a:lnTo>
                    <a:pt x="433" y="1616"/>
                  </a:lnTo>
                  <a:lnTo>
                    <a:pt x="433" y="1614"/>
                  </a:lnTo>
                  <a:lnTo>
                    <a:pt x="431" y="1614"/>
                  </a:lnTo>
                  <a:lnTo>
                    <a:pt x="431" y="1612"/>
                  </a:lnTo>
                  <a:close/>
                  <a:moveTo>
                    <a:pt x="61" y="1664"/>
                  </a:moveTo>
                  <a:lnTo>
                    <a:pt x="59" y="1664"/>
                  </a:lnTo>
                  <a:lnTo>
                    <a:pt x="61" y="1663"/>
                  </a:lnTo>
                  <a:lnTo>
                    <a:pt x="59" y="1663"/>
                  </a:lnTo>
                  <a:lnTo>
                    <a:pt x="61" y="1664"/>
                  </a:lnTo>
                  <a:close/>
                  <a:moveTo>
                    <a:pt x="560" y="1380"/>
                  </a:moveTo>
                  <a:lnTo>
                    <a:pt x="560" y="1378"/>
                  </a:lnTo>
                  <a:lnTo>
                    <a:pt x="560" y="1380"/>
                  </a:lnTo>
                  <a:close/>
                  <a:moveTo>
                    <a:pt x="54" y="1585"/>
                  </a:moveTo>
                  <a:lnTo>
                    <a:pt x="54" y="1583"/>
                  </a:lnTo>
                  <a:lnTo>
                    <a:pt x="54" y="1585"/>
                  </a:lnTo>
                  <a:close/>
                  <a:moveTo>
                    <a:pt x="418" y="954"/>
                  </a:moveTo>
                  <a:lnTo>
                    <a:pt x="420" y="954"/>
                  </a:lnTo>
                  <a:lnTo>
                    <a:pt x="418" y="954"/>
                  </a:lnTo>
                  <a:close/>
                  <a:moveTo>
                    <a:pt x="597" y="1362"/>
                  </a:moveTo>
                  <a:lnTo>
                    <a:pt x="599" y="1362"/>
                  </a:lnTo>
                  <a:lnTo>
                    <a:pt x="597" y="1362"/>
                  </a:lnTo>
                  <a:close/>
                  <a:moveTo>
                    <a:pt x="534" y="1230"/>
                  </a:moveTo>
                  <a:lnTo>
                    <a:pt x="535" y="1230"/>
                  </a:lnTo>
                  <a:lnTo>
                    <a:pt x="535" y="1232"/>
                  </a:lnTo>
                  <a:lnTo>
                    <a:pt x="534" y="1232"/>
                  </a:lnTo>
                  <a:lnTo>
                    <a:pt x="534" y="1230"/>
                  </a:lnTo>
                  <a:close/>
                  <a:moveTo>
                    <a:pt x="544" y="1448"/>
                  </a:moveTo>
                  <a:lnTo>
                    <a:pt x="544" y="1446"/>
                  </a:lnTo>
                  <a:lnTo>
                    <a:pt x="545" y="1448"/>
                  </a:lnTo>
                  <a:lnTo>
                    <a:pt x="544" y="1448"/>
                  </a:lnTo>
                  <a:close/>
                  <a:moveTo>
                    <a:pt x="64" y="1681"/>
                  </a:moveTo>
                  <a:lnTo>
                    <a:pt x="64" y="1682"/>
                  </a:lnTo>
                  <a:lnTo>
                    <a:pt x="64" y="1681"/>
                  </a:lnTo>
                  <a:close/>
                  <a:moveTo>
                    <a:pt x="51" y="1607"/>
                  </a:moveTo>
                  <a:lnTo>
                    <a:pt x="49" y="1607"/>
                  </a:lnTo>
                  <a:lnTo>
                    <a:pt x="51" y="1607"/>
                  </a:lnTo>
                  <a:close/>
                  <a:moveTo>
                    <a:pt x="12" y="1492"/>
                  </a:moveTo>
                  <a:lnTo>
                    <a:pt x="12" y="1494"/>
                  </a:lnTo>
                  <a:lnTo>
                    <a:pt x="12" y="1492"/>
                  </a:lnTo>
                  <a:close/>
                  <a:moveTo>
                    <a:pt x="492" y="1482"/>
                  </a:moveTo>
                  <a:lnTo>
                    <a:pt x="493" y="1484"/>
                  </a:lnTo>
                  <a:lnTo>
                    <a:pt x="492" y="1484"/>
                  </a:lnTo>
                  <a:lnTo>
                    <a:pt x="492" y="1482"/>
                  </a:lnTo>
                  <a:close/>
                  <a:moveTo>
                    <a:pt x="436" y="996"/>
                  </a:moveTo>
                  <a:lnTo>
                    <a:pt x="436" y="997"/>
                  </a:lnTo>
                  <a:lnTo>
                    <a:pt x="436" y="996"/>
                  </a:lnTo>
                  <a:close/>
                  <a:moveTo>
                    <a:pt x="732" y="435"/>
                  </a:moveTo>
                  <a:lnTo>
                    <a:pt x="732" y="433"/>
                  </a:lnTo>
                  <a:lnTo>
                    <a:pt x="732" y="435"/>
                  </a:lnTo>
                  <a:close/>
                  <a:moveTo>
                    <a:pt x="443" y="1064"/>
                  </a:moveTo>
                  <a:lnTo>
                    <a:pt x="441" y="1064"/>
                  </a:lnTo>
                  <a:lnTo>
                    <a:pt x="443" y="1064"/>
                  </a:lnTo>
                  <a:lnTo>
                    <a:pt x="441" y="1064"/>
                  </a:lnTo>
                  <a:lnTo>
                    <a:pt x="443" y="1064"/>
                  </a:lnTo>
                  <a:close/>
                  <a:moveTo>
                    <a:pt x="553" y="1383"/>
                  </a:moveTo>
                  <a:lnTo>
                    <a:pt x="555" y="1383"/>
                  </a:lnTo>
                  <a:lnTo>
                    <a:pt x="553" y="1383"/>
                  </a:lnTo>
                  <a:close/>
                  <a:moveTo>
                    <a:pt x="709" y="443"/>
                  </a:moveTo>
                  <a:lnTo>
                    <a:pt x="709" y="441"/>
                  </a:lnTo>
                  <a:lnTo>
                    <a:pt x="709" y="443"/>
                  </a:lnTo>
                  <a:close/>
                  <a:moveTo>
                    <a:pt x="459" y="1202"/>
                  </a:moveTo>
                  <a:lnTo>
                    <a:pt x="461" y="1202"/>
                  </a:lnTo>
                  <a:lnTo>
                    <a:pt x="459" y="1202"/>
                  </a:lnTo>
                  <a:close/>
                  <a:moveTo>
                    <a:pt x="466" y="910"/>
                  </a:moveTo>
                  <a:lnTo>
                    <a:pt x="466" y="908"/>
                  </a:lnTo>
                  <a:lnTo>
                    <a:pt x="466" y="910"/>
                  </a:lnTo>
                  <a:close/>
                  <a:moveTo>
                    <a:pt x="588" y="1703"/>
                  </a:moveTo>
                  <a:lnTo>
                    <a:pt x="589" y="1703"/>
                  </a:lnTo>
                  <a:lnTo>
                    <a:pt x="589" y="1705"/>
                  </a:lnTo>
                  <a:lnTo>
                    <a:pt x="588" y="1703"/>
                  </a:lnTo>
                  <a:close/>
                  <a:moveTo>
                    <a:pt x="444" y="1510"/>
                  </a:moveTo>
                  <a:lnTo>
                    <a:pt x="446" y="1510"/>
                  </a:lnTo>
                  <a:lnTo>
                    <a:pt x="444" y="1510"/>
                  </a:lnTo>
                  <a:close/>
                  <a:moveTo>
                    <a:pt x="500" y="1471"/>
                  </a:moveTo>
                  <a:lnTo>
                    <a:pt x="501" y="1471"/>
                  </a:lnTo>
                  <a:lnTo>
                    <a:pt x="500" y="1471"/>
                  </a:lnTo>
                  <a:close/>
                  <a:moveTo>
                    <a:pt x="597" y="747"/>
                  </a:moveTo>
                  <a:lnTo>
                    <a:pt x="597" y="745"/>
                  </a:lnTo>
                  <a:lnTo>
                    <a:pt x="597" y="747"/>
                  </a:lnTo>
                  <a:close/>
                  <a:moveTo>
                    <a:pt x="550" y="1445"/>
                  </a:moveTo>
                  <a:lnTo>
                    <a:pt x="550" y="1443"/>
                  </a:lnTo>
                  <a:lnTo>
                    <a:pt x="550" y="1445"/>
                  </a:lnTo>
                  <a:close/>
                  <a:moveTo>
                    <a:pt x="420" y="1092"/>
                  </a:moveTo>
                  <a:lnTo>
                    <a:pt x="418" y="1092"/>
                  </a:lnTo>
                  <a:lnTo>
                    <a:pt x="420" y="1092"/>
                  </a:lnTo>
                  <a:close/>
                  <a:moveTo>
                    <a:pt x="586" y="1323"/>
                  </a:moveTo>
                  <a:lnTo>
                    <a:pt x="586" y="1324"/>
                  </a:lnTo>
                  <a:lnTo>
                    <a:pt x="586" y="1323"/>
                  </a:lnTo>
                  <a:close/>
                  <a:moveTo>
                    <a:pt x="571" y="1354"/>
                  </a:moveTo>
                  <a:lnTo>
                    <a:pt x="573" y="1354"/>
                  </a:lnTo>
                  <a:lnTo>
                    <a:pt x="571" y="1355"/>
                  </a:lnTo>
                  <a:lnTo>
                    <a:pt x="571" y="1354"/>
                  </a:lnTo>
                  <a:close/>
                  <a:moveTo>
                    <a:pt x="438" y="1622"/>
                  </a:moveTo>
                  <a:lnTo>
                    <a:pt x="438" y="1624"/>
                  </a:lnTo>
                  <a:lnTo>
                    <a:pt x="438" y="1622"/>
                  </a:lnTo>
                  <a:lnTo>
                    <a:pt x="436" y="1622"/>
                  </a:lnTo>
                  <a:lnTo>
                    <a:pt x="438" y="1622"/>
                  </a:lnTo>
                  <a:lnTo>
                    <a:pt x="438" y="1620"/>
                  </a:lnTo>
                  <a:lnTo>
                    <a:pt x="438" y="1622"/>
                  </a:lnTo>
                  <a:close/>
                  <a:moveTo>
                    <a:pt x="54" y="1651"/>
                  </a:moveTo>
                  <a:lnTo>
                    <a:pt x="54" y="1653"/>
                  </a:lnTo>
                  <a:lnTo>
                    <a:pt x="54" y="1651"/>
                  </a:lnTo>
                  <a:close/>
                  <a:moveTo>
                    <a:pt x="38" y="1611"/>
                  </a:moveTo>
                  <a:lnTo>
                    <a:pt x="38" y="1612"/>
                  </a:lnTo>
                  <a:lnTo>
                    <a:pt x="38" y="1611"/>
                  </a:lnTo>
                  <a:close/>
                  <a:moveTo>
                    <a:pt x="638" y="662"/>
                  </a:moveTo>
                  <a:lnTo>
                    <a:pt x="638" y="661"/>
                  </a:lnTo>
                  <a:lnTo>
                    <a:pt x="638" y="662"/>
                  </a:lnTo>
                  <a:close/>
                  <a:moveTo>
                    <a:pt x="449" y="1663"/>
                  </a:moveTo>
                  <a:lnTo>
                    <a:pt x="449" y="1664"/>
                  </a:lnTo>
                  <a:lnTo>
                    <a:pt x="451" y="1664"/>
                  </a:lnTo>
                  <a:lnTo>
                    <a:pt x="449" y="1664"/>
                  </a:lnTo>
                  <a:lnTo>
                    <a:pt x="451" y="1664"/>
                  </a:lnTo>
                  <a:lnTo>
                    <a:pt x="449" y="1664"/>
                  </a:lnTo>
                  <a:lnTo>
                    <a:pt x="449" y="1663"/>
                  </a:lnTo>
                  <a:close/>
                  <a:moveTo>
                    <a:pt x="610" y="1331"/>
                  </a:moveTo>
                  <a:lnTo>
                    <a:pt x="610" y="1333"/>
                  </a:lnTo>
                  <a:lnTo>
                    <a:pt x="610" y="1331"/>
                  </a:lnTo>
                  <a:close/>
                  <a:moveTo>
                    <a:pt x="457" y="913"/>
                  </a:moveTo>
                  <a:lnTo>
                    <a:pt x="457" y="911"/>
                  </a:lnTo>
                  <a:lnTo>
                    <a:pt x="459" y="911"/>
                  </a:lnTo>
                  <a:lnTo>
                    <a:pt x="459" y="913"/>
                  </a:lnTo>
                  <a:lnTo>
                    <a:pt x="457" y="913"/>
                  </a:lnTo>
                  <a:close/>
                  <a:moveTo>
                    <a:pt x="59" y="1648"/>
                  </a:moveTo>
                  <a:lnTo>
                    <a:pt x="61" y="1648"/>
                  </a:lnTo>
                  <a:lnTo>
                    <a:pt x="59" y="1648"/>
                  </a:lnTo>
                  <a:lnTo>
                    <a:pt x="59" y="1650"/>
                  </a:lnTo>
                  <a:lnTo>
                    <a:pt x="59" y="1648"/>
                  </a:lnTo>
                  <a:close/>
                  <a:moveTo>
                    <a:pt x="763" y="443"/>
                  </a:moveTo>
                  <a:lnTo>
                    <a:pt x="765" y="443"/>
                  </a:lnTo>
                  <a:lnTo>
                    <a:pt x="763" y="443"/>
                  </a:lnTo>
                  <a:close/>
                  <a:moveTo>
                    <a:pt x="610" y="1329"/>
                  </a:moveTo>
                  <a:lnTo>
                    <a:pt x="612" y="1329"/>
                  </a:lnTo>
                  <a:lnTo>
                    <a:pt x="610" y="1329"/>
                  </a:lnTo>
                  <a:close/>
                  <a:moveTo>
                    <a:pt x="586" y="750"/>
                  </a:moveTo>
                  <a:lnTo>
                    <a:pt x="588" y="750"/>
                  </a:lnTo>
                  <a:lnTo>
                    <a:pt x="588" y="752"/>
                  </a:lnTo>
                  <a:lnTo>
                    <a:pt x="586" y="752"/>
                  </a:lnTo>
                  <a:lnTo>
                    <a:pt x="586" y="750"/>
                  </a:lnTo>
                  <a:close/>
                  <a:moveTo>
                    <a:pt x="57" y="1661"/>
                  </a:moveTo>
                  <a:lnTo>
                    <a:pt x="59" y="1663"/>
                  </a:lnTo>
                  <a:lnTo>
                    <a:pt x="57" y="1663"/>
                  </a:lnTo>
                  <a:lnTo>
                    <a:pt x="57" y="1661"/>
                  </a:lnTo>
                  <a:close/>
                  <a:moveTo>
                    <a:pt x="488" y="1487"/>
                  </a:moveTo>
                  <a:lnTo>
                    <a:pt x="488" y="1489"/>
                  </a:lnTo>
                  <a:lnTo>
                    <a:pt x="488" y="1487"/>
                  </a:lnTo>
                  <a:close/>
                  <a:moveTo>
                    <a:pt x="496" y="867"/>
                  </a:moveTo>
                  <a:lnTo>
                    <a:pt x="496" y="869"/>
                  </a:lnTo>
                  <a:lnTo>
                    <a:pt x="495" y="867"/>
                  </a:lnTo>
                  <a:lnTo>
                    <a:pt x="496" y="867"/>
                  </a:lnTo>
                  <a:close/>
                  <a:moveTo>
                    <a:pt x="682" y="484"/>
                  </a:moveTo>
                  <a:lnTo>
                    <a:pt x="683" y="484"/>
                  </a:lnTo>
                  <a:lnTo>
                    <a:pt x="682" y="484"/>
                  </a:lnTo>
                  <a:close/>
                  <a:moveTo>
                    <a:pt x="745" y="389"/>
                  </a:moveTo>
                  <a:lnTo>
                    <a:pt x="747" y="391"/>
                  </a:lnTo>
                  <a:lnTo>
                    <a:pt x="745" y="389"/>
                  </a:lnTo>
                  <a:close/>
                  <a:moveTo>
                    <a:pt x="604" y="1373"/>
                  </a:moveTo>
                  <a:lnTo>
                    <a:pt x="602" y="1373"/>
                  </a:lnTo>
                  <a:lnTo>
                    <a:pt x="604" y="1373"/>
                  </a:lnTo>
                  <a:close/>
                  <a:moveTo>
                    <a:pt x="44" y="1624"/>
                  </a:moveTo>
                  <a:lnTo>
                    <a:pt x="46" y="1622"/>
                  </a:lnTo>
                  <a:lnTo>
                    <a:pt x="46" y="1624"/>
                  </a:lnTo>
                  <a:lnTo>
                    <a:pt x="44" y="1624"/>
                  </a:lnTo>
                  <a:close/>
                  <a:moveTo>
                    <a:pt x="574" y="1407"/>
                  </a:moveTo>
                  <a:lnTo>
                    <a:pt x="576" y="1409"/>
                  </a:lnTo>
                  <a:lnTo>
                    <a:pt x="574" y="1409"/>
                  </a:lnTo>
                  <a:lnTo>
                    <a:pt x="574" y="1407"/>
                  </a:lnTo>
                  <a:close/>
                  <a:moveTo>
                    <a:pt x="516" y="833"/>
                  </a:moveTo>
                  <a:lnTo>
                    <a:pt x="514" y="833"/>
                  </a:lnTo>
                  <a:lnTo>
                    <a:pt x="516" y="833"/>
                  </a:lnTo>
                  <a:close/>
                  <a:moveTo>
                    <a:pt x="93" y="1734"/>
                  </a:moveTo>
                  <a:lnTo>
                    <a:pt x="93" y="1733"/>
                  </a:lnTo>
                  <a:lnTo>
                    <a:pt x="93" y="1734"/>
                  </a:lnTo>
                  <a:close/>
                  <a:moveTo>
                    <a:pt x="666" y="445"/>
                  </a:moveTo>
                  <a:lnTo>
                    <a:pt x="667" y="445"/>
                  </a:lnTo>
                  <a:lnTo>
                    <a:pt x="666" y="445"/>
                  </a:lnTo>
                  <a:close/>
                  <a:moveTo>
                    <a:pt x="464" y="1492"/>
                  </a:moveTo>
                  <a:lnTo>
                    <a:pt x="466" y="1494"/>
                  </a:lnTo>
                  <a:lnTo>
                    <a:pt x="464" y="1494"/>
                  </a:lnTo>
                  <a:lnTo>
                    <a:pt x="464" y="1492"/>
                  </a:lnTo>
                  <a:close/>
                  <a:moveTo>
                    <a:pt x="436" y="1165"/>
                  </a:moveTo>
                  <a:lnTo>
                    <a:pt x="436" y="1167"/>
                  </a:lnTo>
                  <a:lnTo>
                    <a:pt x="436" y="1165"/>
                  </a:lnTo>
                  <a:close/>
                  <a:moveTo>
                    <a:pt x="449" y="1198"/>
                  </a:moveTo>
                  <a:lnTo>
                    <a:pt x="449" y="1199"/>
                  </a:lnTo>
                  <a:lnTo>
                    <a:pt x="449" y="1198"/>
                  </a:lnTo>
                  <a:close/>
                  <a:moveTo>
                    <a:pt x="444" y="1510"/>
                  </a:moveTo>
                  <a:lnTo>
                    <a:pt x="443" y="1510"/>
                  </a:lnTo>
                  <a:lnTo>
                    <a:pt x="444" y="1510"/>
                  </a:lnTo>
                  <a:close/>
                  <a:moveTo>
                    <a:pt x="539" y="1245"/>
                  </a:moveTo>
                  <a:lnTo>
                    <a:pt x="540" y="1245"/>
                  </a:lnTo>
                  <a:lnTo>
                    <a:pt x="540" y="1246"/>
                  </a:lnTo>
                  <a:lnTo>
                    <a:pt x="540" y="1245"/>
                  </a:lnTo>
                  <a:lnTo>
                    <a:pt x="540" y="1246"/>
                  </a:lnTo>
                  <a:lnTo>
                    <a:pt x="539" y="1245"/>
                  </a:lnTo>
                  <a:close/>
                  <a:moveTo>
                    <a:pt x="555" y="1433"/>
                  </a:moveTo>
                  <a:lnTo>
                    <a:pt x="553" y="1433"/>
                  </a:lnTo>
                  <a:lnTo>
                    <a:pt x="553" y="1432"/>
                  </a:lnTo>
                  <a:lnTo>
                    <a:pt x="555" y="1432"/>
                  </a:lnTo>
                  <a:lnTo>
                    <a:pt x="555" y="1433"/>
                  </a:lnTo>
                  <a:close/>
                  <a:moveTo>
                    <a:pt x="23" y="1573"/>
                  </a:moveTo>
                  <a:lnTo>
                    <a:pt x="22" y="1573"/>
                  </a:lnTo>
                  <a:lnTo>
                    <a:pt x="23" y="1573"/>
                  </a:lnTo>
                  <a:close/>
                  <a:moveTo>
                    <a:pt x="501" y="1453"/>
                  </a:moveTo>
                  <a:lnTo>
                    <a:pt x="501" y="1455"/>
                  </a:lnTo>
                  <a:lnTo>
                    <a:pt x="501" y="1453"/>
                  </a:lnTo>
                  <a:close/>
                  <a:moveTo>
                    <a:pt x="605" y="741"/>
                  </a:moveTo>
                  <a:lnTo>
                    <a:pt x="605" y="742"/>
                  </a:lnTo>
                  <a:lnTo>
                    <a:pt x="605" y="741"/>
                  </a:lnTo>
                  <a:lnTo>
                    <a:pt x="605" y="742"/>
                  </a:lnTo>
                  <a:lnTo>
                    <a:pt x="604" y="741"/>
                  </a:lnTo>
                  <a:lnTo>
                    <a:pt x="605" y="741"/>
                  </a:lnTo>
                  <a:close/>
                  <a:moveTo>
                    <a:pt x="693" y="454"/>
                  </a:moveTo>
                  <a:lnTo>
                    <a:pt x="695" y="454"/>
                  </a:lnTo>
                  <a:lnTo>
                    <a:pt x="693" y="454"/>
                  </a:lnTo>
                  <a:close/>
                  <a:moveTo>
                    <a:pt x="521" y="822"/>
                  </a:moveTo>
                  <a:lnTo>
                    <a:pt x="521" y="820"/>
                  </a:lnTo>
                  <a:lnTo>
                    <a:pt x="521" y="822"/>
                  </a:lnTo>
                  <a:close/>
                  <a:moveTo>
                    <a:pt x="561" y="1365"/>
                  </a:moveTo>
                  <a:lnTo>
                    <a:pt x="563" y="1365"/>
                  </a:lnTo>
                  <a:lnTo>
                    <a:pt x="563" y="1367"/>
                  </a:lnTo>
                  <a:lnTo>
                    <a:pt x="561" y="1365"/>
                  </a:lnTo>
                  <a:close/>
                  <a:moveTo>
                    <a:pt x="446" y="1666"/>
                  </a:moveTo>
                  <a:lnTo>
                    <a:pt x="446" y="1664"/>
                  </a:lnTo>
                  <a:lnTo>
                    <a:pt x="446" y="1666"/>
                  </a:lnTo>
                  <a:close/>
                  <a:moveTo>
                    <a:pt x="628" y="557"/>
                  </a:moveTo>
                  <a:lnTo>
                    <a:pt x="627" y="557"/>
                  </a:lnTo>
                  <a:lnTo>
                    <a:pt x="627" y="555"/>
                  </a:lnTo>
                  <a:lnTo>
                    <a:pt x="628" y="557"/>
                  </a:lnTo>
                  <a:close/>
                  <a:moveTo>
                    <a:pt x="44" y="1630"/>
                  </a:moveTo>
                  <a:lnTo>
                    <a:pt x="46" y="1630"/>
                  </a:lnTo>
                  <a:lnTo>
                    <a:pt x="44" y="1630"/>
                  </a:lnTo>
                  <a:close/>
                  <a:moveTo>
                    <a:pt x="387" y="1877"/>
                  </a:moveTo>
                  <a:lnTo>
                    <a:pt x="389" y="1877"/>
                  </a:lnTo>
                  <a:lnTo>
                    <a:pt x="387" y="1877"/>
                  </a:lnTo>
                  <a:close/>
                  <a:moveTo>
                    <a:pt x="440" y="1513"/>
                  </a:moveTo>
                  <a:lnTo>
                    <a:pt x="441" y="1513"/>
                  </a:lnTo>
                  <a:lnTo>
                    <a:pt x="440" y="1515"/>
                  </a:lnTo>
                  <a:lnTo>
                    <a:pt x="440" y="1513"/>
                  </a:lnTo>
                  <a:close/>
                  <a:moveTo>
                    <a:pt x="41" y="1616"/>
                  </a:moveTo>
                  <a:lnTo>
                    <a:pt x="39" y="1616"/>
                  </a:lnTo>
                  <a:lnTo>
                    <a:pt x="41" y="1616"/>
                  </a:lnTo>
                  <a:close/>
                  <a:moveTo>
                    <a:pt x="602" y="742"/>
                  </a:moveTo>
                  <a:lnTo>
                    <a:pt x="604" y="742"/>
                  </a:lnTo>
                  <a:lnTo>
                    <a:pt x="602" y="742"/>
                  </a:lnTo>
                  <a:close/>
                  <a:moveTo>
                    <a:pt x="695" y="458"/>
                  </a:moveTo>
                  <a:lnTo>
                    <a:pt x="695" y="456"/>
                  </a:lnTo>
                  <a:lnTo>
                    <a:pt x="696" y="458"/>
                  </a:lnTo>
                  <a:lnTo>
                    <a:pt x="695" y="458"/>
                  </a:lnTo>
                  <a:close/>
                  <a:moveTo>
                    <a:pt x="495" y="1463"/>
                  </a:moveTo>
                  <a:lnTo>
                    <a:pt x="496" y="1463"/>
                  </a:lnTo>
                  <a:lnTo>
                    <a:pt x="496" y="1464"/>
                  </a:lnTo>
                  <a:lnTo>
                    <a:pt x="495" y="1464"/>
                  </a:lnTo>
                  <a:lnTo>
                    <a:pt x="495" y="1463"/>
                  </a:lnTo>
                  <a:close/>
                  <a:moveTo>
                    <a:pt x="687" y="471"/>
                  </a:moveTo>
                  <a:lnTo>
                    <a:pt x="688" y="471"/>
                  </a:lnTo>
                  <a:lnTo>
                    <a:pt x="690" y="471"/>
                  </a:lnTo>
                  <a:lnTo>
                    <a:pt x="688" y="471"/>
                  </a:lnTo>
                  <a:lnTo>
                    <a:pt x="687" y="471"/>
                  </a:lnTo>
                  <a:close/>
                  <a:moveTo>
                    <a:pt x="601" y="1331"/>
                  </a:moveTo>
                  <a:lnTo>
                    <a:pt x="599" y="1331"/>
                  </a:lnTo>
                  <a:lnTo>
                    <a:pt x="601" y="1331"/>
                  </a:lnTo>
                  <a:close/>
                  <a:moveTo>
                    <a:pt x="327" y="1874"/>
                  </a:moveTo>
                  <a:lnTo>
                    <a:pt x="329" y="1876"/>
                  </a:lnTo>
                  <a:lnTo>
                    <a:pt x="329" y="1874"/>
                  </a:lnTo>
                  <a:lnTo>
                    <a:pt x="329" y="1876"/>
                  </a:lnTo>
                  <a:lnTo>
                    <a:pt x="327" y="1876"/>
                  </a:lnTo>
                  <a:lnTo>
                    <a:pt x="327" y="1874"/>
                  </a:lnTo>
                  <a:close/>
                  <a:moveTo>
                    <a:pt x="579" y="1367"/>
                  </a:moveTo>
                  <a:lnTo>
                    <a:pt x="579" y="1368"/>
                  </a:lnTo>
                  <a:lnTo>
                    <a:pt x="579" y="1367"/>
                  </a:lnTo>
                  <a:close/>
                  <a:moveTo>
                    <a:pt x="550" y="1427"/>
                  </a:moveTo>
                  <a:lnTo>
                    <a:pt x="548" y="1427"/>
                  </a:lnTo>
                  <a:lnTo>
                    <a:pt x="550" y="1425"/>
                  </a:lnTo>
                  <a:lnTo>
                    <a:pt x="550" y="1427"/>
                  </a:lnTo>
                  <a:close/>
                  <a:moveTo>
                    <a:pt x="558" y="1441"/>
                  </a:moveTo>
                  <a:lnTo>
                    <a:pt x="558" y="1443"/>
                  </a:lnTo>
                  <a:lnTo>
                    <a:pt x="558" y="1441"/>
                  </a:lnTo>
                  <a:close/>
                  <a:moveTo>
                    <a:pt x="514" y="1245"/>
                  </a:moveTo>
                  <a:lnTo>
                    <a:pt x="516" y="1245"/>
                  </a:lnTo>
                  <a:lnTo>
                    <a:pt x="514" y="1245"/>
                  </a:lnTo>
                  <a:lnTo>
                    <a:pt x="514" y="1246"/>
                  </a:lnTo>
                  <a:lnTo>
                    <a:pt x="514" y="1245"/>
                  </a:lnTo>
                  <a:close/>
                  <a:moveTo>
                    <a:pt x="716" y="443"/>
                  </a:moveTo>
                  <a:lnTo>
                    <a:pt x="716" y="445"/>
                  </a:lnTo>
                  <a:lnTo>
                    <a:pt x="716" y="443"/>
                  </a:lnTo>
                  <a:close/>
                  <a:moveTo>
                    <a:pt x="568" y="1350"/>
                  </a:moveTo>
                  <a:lnTo>
                    <a:pt x="568" y="1349"/>
                  </a:lnTo>
                  <a:lnTo>
                    <a:pt x="568" y="1350"/>
                  </a:lnTo>
                  <a:close/>
                  <a:moveTo>
                    <a:pt x="664" y="454"/>
                  </a:moveTo>
                  <a:lnTo>
                    <a:pt x="666" y="454"/>
                  </a:lnTo>
                  <a:lnTo>
                    <a:pt x="664" y="454"/>
                  </a:lnTo>
                  <a:close/>
                  <a:moveTo>
                    <a:pt x="461" y="905"/>
                  </a:moveTo>
                  <a:lnTo>
                    <a:pt x="459" y="905"/>
                  </a:lnTo>
                  <a:lnTo>
                    <a:pt x="461" y="905"/>
                  </a:lnTo>
                  <a:close/>
                  <a:moveTo>
                    <a:pt x="763" y="431"/>
                  </a:moveTo>
                  <a:lnTo>
                    <a:pt x="763" y="433"/>
                  </a:lnTo>
                  <a:lnTo>
                    <a:pt x="763" y="431"/>
                  </a:lnTo>
                  <a:close/>
                  <a:moveTo>
                    <a:pt x="65" y="1617"/>
                  </a:moveTo>
                  <a:lnTo>
                    <a:pt x="67" y="1617"/>
                  </a:lnTo>
                  <a:lnTo>
                    <a:pt x="65" y="1617"/>
                  </a:lnTo>
                  <a:close/>
                  <a:moveTo>
                    <a:pt x="539" y="1389"/>
                  </a:moveTo>
                  <a:lnTo>
                    <a:pt x="537" y="1389"/>
                  </a:lnTo>
                  <a:lnTo>
                    <a:pt x="539" y="1389"/>
                  </a:lnTo>
                  <a:close/>
                  <a:moveTo>
                    <a:pt x="490" y="1215"/>
                  </a:moveTo>
                  <a:lnTo>
                    <a:pt x="490" y="1214"/>
                  </a:lnTo>
                  <a:lnTo>
                    <a:pt x="492" y="1215"/>
                  </a:lnTo>
                  <a:lnTo>
                    <a:pt x="490" y="1215"/>
                  </a:lnTo>
                  <a:close/>
                  <a:moveTo>
                    <a:pt x="688" y="454"/>
                  </a:moveTo>
                  <a:lnTo>
                    <a:pt x="690" y="456"/>
                  </a:lnTo>
                  <a:lnTo>
                    <a:pt x="688" y="454"/>
                  </a:lnTo>
                  <a:close/>
                  <a:moveTo>
                    <a:pt x="661" y="438"/>
                  </a:moveTo>
                  <a:lnTo>
                    <a:pt x="659" y="438"/>
                  </a:lnTo>
                  <a:lnTo>
                    <a:pt x="661" y="438"/>
                  </a:lnTo>
                  <a:close/>
                  <a:moveTo>
                    <a:pt x="444" y="1629"/>
                  </a:moveTo>
                  <a:lnTo>
                    <a:pt x="444" y="1627"/>
                  </a:lnTo>
                  <a:lnTo>
                    <a:pt x="444" y="1629"/>
                  </a:lnTo>
                  <a:lnTo>
                    <a:pt x="444" y="1627"/>
                  </a:lnTo>
                  <a:lnTo>
                    <a:pt x="444" y="1629"/>
                  </a:lnTo>
                  <a:close/>
                  <a:moveTo>
                    <a:pt x="561" y="1386"/>
                  </a:moveTo>
                  <a:lnTo>
                    <a:pt x="560" y="1386"/>
                  </a:lnTo>
                  <a:lnTo>
                    <a:pt x="561" y="1386"/>
                  </a:lnTo>
                  <a:close/>
                  <a:moveTo>
                    <a:pt x="444" y="1630"/>
                  </a:moveTo>
                  <a:lnTo>
                    <a:pt x="443" y="1630"/>
                  </a:lnTo>
                  <a:lnTo>
                    <a:pt x="443" y="1629"/>
                  </a:lnTo>
                  <a:lnTo>
                    <a:pt x="444" y="1629"/>
                  </a:lnTo>
                  <a:lnTo>
                    <a:pt x="444" y="1630"/>
                  </a:lnTo>
                  <a:close/>
                  <a:moveTo>
                    <a:pt x="627" y="684"/>
                  </a:moveTo>
                  <a:lnTo>
                    <a:pt x="625" y="684"/>
                  </a:lnTo>
                  <a:lnTo>
                    <a:pt x="625" y="682"/>
                  </a:lnTo>
                  <a:lnTo>
                    <a:pt x="627" y="684"/>
                  </a:lnTo>
                  <a:close/>
                  <a:moveTo>
                    <a:pt x="431" y="1175"/>
                  </a:moveTo>
                  <a:lnTo>
                    <a:pt x="433" y="1175"/>
                  </a:lnTo>
                  <a:lnTo>
                    <a:pt x="431" y="1175"/>
                  </a:lnTo>
                  <a:lnTo>
                    <a:pt x="431" y="1173"/>
                  </a:lnTo>
                  <a:lnTo>
                    <a:pt x="431" y="1175"/>
                  </a:lnTo>
                  <a:close/>
                  <a:moveTo>
                    <a:pt x="446" y="1568"/>
                  </a:moveTo>
                  <a:lnTo>
                    <a:pt x="446" y="1567"/>
                  </a:lnTo>
                  <a:lnTo>
                    <a:pt x="448" y="1567"/>
                  </a:lnTo>
                  <a:lnTo>
                    <a:pt x="448" y="1568"/>
                  </a:lnTo>
                  <a:lnTo>
                    <a:pt x="446" y="1568"/>
                  </a:lnTo>
                  <a:close/>
                  <a:moveTo>
                    <a:pt x="545" y="1380"/>
                  </a:moveTo>
                  <a:lnTo>
                    <a:pt x="547" y="1380"/>
                  </a:lnTo>
                  <a:lnTo>
                    <a:pt x="547" y="1381"/>
                  </a:lnTo>
                  <a:lnTo>
                    <a:pt x="545" y="1381"/>
                  </a:lnTo>
                  <a:lnTo>
                    <a:pt x="545" y="1380"/>
                  </a:lnTo>
                  <a:close/>
                  <a:moveTo>
                    <a:pt x="571" y="1362"/>
                  </a:moveTo>
                  <a:lnTo>
                    <a:pt x="573" y="1362"/>
                  </a:lnTo>
                  <a:lnTo>
                    <a:pt x="571" y="1362"/>
                  </a:lnTo>
                  <a:close/>
                  <a:moveTo>
                    <a:pt x="578" y="1419"/>
                  </a:moveTo>
                  <a:lnTo>
                    <a:pt x="576" y="1419"/>
                  </a:lnTo>
                  <a:lnTo>
                    <a:pt x="578" y="1419"/>
                  </a:lnTo>
                  <a:close/>
                  <a:moveTo>
                    <a:pt x="435" y="1092"/>
                  </a:moveTo>
                  <a:lnTo>
                    <a:pt x="435" y="1090"/>
                  </a:lnTo>
                  <a:lnTo>
                    <a:pt x="436" y="1090"/>
                  </a:lnTo>
                  <a:lnTo>
                    <a:pt x="436" y="1092"/>
                  </a:lnTo>
                  <a:lnTo>
                    <a:pt x="436" y="1090"/>
                  </a:lnTo>
                  <a:lnTo>
                    <a:pt x="436" y="1092"/>
                  </a:lnTo>
                  <a:lnTo>
                    <a:pt x="435" y="1092"/>
                  </a:lnTo>
                  <a:close/>
                  <a:moveTo>
                    <a:pt x="594" y="757"/>
                  </a:moveTo>
                  <a:lnTo>
                    <a:pt x="594" y="755"/>
                  </a:lnTo>
                  <a:lnTo>
                    <a:pt x="594" y="757"/>
                  </a:lnTo>
                  <a:close/>
                  <a:moveTo>
                    <a:pt x="350" y="1871"/>
                  </a:moveTo>
                  <a:lnTo>
                    <a:pt x="352" y="1871"/>
                  </a:lnTo>
                  <a:lnTo>
                    <a:pt x="350" y="1871"/>
                  </a:lnTo>
                  <a:lnTo>
                    <a:pt x="350" y="1869"/>
                  </a:lnTo>
                  <a:lnTo>
                    <a:pt x="350" y="1871"/>
                  </a:lnTo>
                  <a:close/>
                  <a:moveTo>
                    <a:pt x="446" y="1650"/>
                  </a:moveTo>
                  <a:lnTo>
                    <a:pt x="446" y="1651"/>
                  </a:lnTo>
                  <a:lnTo>
                    <a:pt x="446" y="1650"/>
                  </a:lnTo>
                  <a:close/>
                  <a:moveTo>
                    <a:pt x="461" y="1559"/>
                  </a:moveTo>
                  <a:lnTo>
                    <a:pt x="462" y="1559"/>
                  </a:lnTo>
                  <a:lnTo>
                    <a:pt x="461" y="1559"/>
                  </a:lnTo>
                  <a:lnTo>
                    <a:pt x="461" y="1560"/>
                  </a:lnTo>
                  <a:lnTo>
                    <a:pt x="461" y="1559"/>
                  </a:lnTo>
                  <a:close/>
                  <a:moveTo>
                    <a:pt x="448" y="1655"/>
                  </a:moveTo>
                  <a:lnTo>
                    <a:pt x="448" y="1653"/>
                  </a:lnTo>
                  <a:lnTo>
                    <a:pt x="448" y="1655"/>
                  </a:lnTo>
                  <a:close/>
                  <a:moveTo>
                    <a:pt x="474" y="1492"/>
                  </a:moveTo>
                  <a:lnTo>
                    <a:pt x="475" y="1492"/>
                  </a:lnTo>
                  <a:lnTo>
                    <a:pt x="474" y="1492"/>
                  </a:lnTo>
                  <a:lnTo>
                    <a:pt x="474" y="1494"/>
                  </a:lnTo>
                  <a:lnTo>
                    <a:pt x="474" y="1492"/>
                  </a:lnTo>
                  <a:close/>
                  <a:moveTo>
                    <a:pt x="586" y="1337"/>
                  </a:moveTo>
                  <a:lnTo>
                    <a:pt x="584" y="1337"/>
                  </a:lnTo>
                  <a:lnTo>
                    <a:pt x="586" y="1336"/>
                  </a:lnTo>
                  <a:lnTo>
                    <a:pt x="586" y="1337"/>
                  </a:lnTo>
                  <a:close/>
                  <a:moveTo>
                    <a:pt x="643" y="513"/>
                  </a:moveTo>
                  <a:lnTo>
                    <a:pt x="644" y="513"/>
                  </a:lnTo>
                  <a:lnTo>
                    <a:pt x="644" y="514"/>
                  </a:lnTo>
                  <a:lnTo>
                    <a:pt x="643" y="513"/>
                  </a:lnTo>
                  <a:close/>
                  <a:moveTo>
                    <a:pt x="571" y="1404"/>
                  </a:moveTo>
                  <a:lnTo>
                    <a:pt x="571" y="1402"/>
                  </a:lnTo>
                  <a:lnTo>
                    <a:pt x="571" y="1404"/>
                  </a:lnTo>
                  <a:close/>
                  <a:moveTo>
                    <a:pt x="674" y="401"/>
                  </a:moveTo>
                  <a:lnTo>
                    <a:pt x="672" y="401"/>
                  </a:lnTo>
                  <a:lnTo>
                    <a:pt x="674" y="401"/>
                  </a:lnTo>
                  <a:close/>
                  <a:moveTo>
                    <a:pt x="586" y="749"/>
                  </a:moveTo>
                  <a:lnTo>
                    <a:pt x="588" y="749"/>
                  </a:lnTo>
                  <a:lnTo>
                    <a:pt x="588" y="750"/>
                  </a:lnTo>
                  <a:lnTo>
                    <a:pt x="586" y="750"/>
                  </a:lnTo>
                  <a:lnTo>
                    <a:pt x="586" y="749"/>
                  </a:lnTo>
                  <a:close/>
                  <a:moveTo>
                    <a:pt x="332" y="1869"/>
                  </a:moveTo>
                  <a:lnTo>
                    <a:pt x="334" y="1869"/>
                  </a:lnTo>
                  <a:lnTo>
                    <a:pt x="332" y="1869"/>
                  </a:lnTo>
                  <a:close/>
                  <a:moveTo>
                    <a:pt x="713" y="435"/>
                  </a:moveTo>
                  <a:lnTo>
                    <a:pt x="713" y="436"/>
                  </a:lnTo>
                  <a:lnTo>
                    <a:pt x="713" y="435"/>
                  </a:lnTo>
                  <a:close/>
                  <a:moveTo>
                    <a:pt x="539" y="1237"/>
                  </a:moveTo>
                  <a:lnTo>
                    <a:pt x="537" y="1237"/>
                  </a:lnTo>
                  <a:lnTo>
                    <a:pt x="539" y="1237"/>
                  </a:lnTo>
                  <a:close/>
                  <a:moveTo>
                    <a:pt x="95" y="1718"/>
                  </a:moveTo>
                  <a:lnTo>
                    <a:pt x="93" y="1718"/>
                  </a:lnTo>
                  <a:lnTo>
                    <a:pt x="95" y="1718"/>
                  </a:lnTo>
                  <a:close/>
                  <a:moveTo>
                    <a:pt x="521" y="1448"/>
                  </a:moveTo>
                  <a:lnTo>
                    <a:pt x="521" y="1446"/>
                  </a:lnTo>
                  <a:lnTo>
                    <a:pt x="521" y="1448"/>
                  </a:lnTo>
                  <a:close/>
                  <a:moveTo>
                    <a:pt x="568" y="1346"/>
                  </a:moveTo>
                  <a:lnTo>
                    <a:pt x="568" y="1347"/>
                  </a:lnTo>
                  <a:lnTo>
                    <a:pt x="568" y="1346"/>
                  </a:lnTo>
                  <a:close/>
                  <a:moveTo>
                    <a:pt x="599" y="1385"/>
                  </a:moveTo>
                  <a:lnTo>
                    <a:pt x="597" y="1385"/>
                  </a:lnTo>
                  <a:lnTo>
                    <a:pt x="597" y="1383"/>
                  </a:lnTo>
                  <a:lnTo>
                    <a:pt x="599" y="1385"/>
                  </a:lnTo>
                  <a:close/>
                  <a:moveTo>
                    <a:pt x="49" y="1585"/>
                  </a:moveTo>
                  <a:lnTo>
                    <a:pt x="48" y="1585"/>
                  </a:lnTo>
                  <a:lnTo>
                    <a:pt x="49" y="1585"/>
                  </a:lnTo>
                  <a:close/>
                  <a:moveTo>
                    <a:pt x="485" y="892"/>
                  </a:moveTo>
                  <a:lnTo>
                    <a:pt x="487" y="892"/>
                  </a:lnTo>
                  <a:lnTo>
                    <a:pt x="485" y="892"/>
                  </a:lnTo>
                  <a:close/>
                  <a:moveTo>
                    <a:pt x="464" y="1492"/>
                  </a:moveTo>
                  <a:lnTo>
                    <a:pt x="464" y="1490"/>
                  </a:lnTo>
                  <a:lnTo>
                    <a:pt x="464" y="1492"/>
                  </a:lnTo>
                  <a:close/>
                  <a:moveTo>
                    <a:pt x="456" y="1573"/>
                  </a:moveTo>
                  <a:lnTo>
                    <a:pt x="454" y="1573"/>
                  </a:lnTo>
                  <a:lnTo>
                    <a:pt x="454" y="1572"/>
                  </a:lnTo>
                  <a:lnTo>
                    <a:pt x="456" y="1573"/>
                  </a:lnTo>
                  <a:close/>
                  <a:moveTo>
                    <a:pt x="64" y="1614"/>
                  </a:moveTo>
                  <a:lnTo>
                    <a:pt x="64" y="1612"/>
                  </a:lnTo>
                  <a:lnTo>
                    <a:pt x="64" y="1614"/>
                  </a:lnTo>
                  <a:close/>
                  <a:moveTo>
                    <a:pt x="474" y="1230"/>
                  </a:moveTo>
                  <a:lnTo>
                    <a:pt x="475" y="1230"/>
                  </a:lnTo>
                  <a:lnTo>
                    <a:pt x="475" y="1232"/>
                  </a:lnTo>
                  <a:lnTo>
                    <a:pt x="475" y="1230"/>
                  </a:lnTo>
                  <a:lnTo>
                    <a:pt x="474" y="1230"/>
                  </a:lnTo>
                  <a:close/>
                  <a:moveTo>
                    <a:pt x="597" y="1383"/>
                  </a:moveTo>
                  <a:lnTo>
                    <a:pt x="599" y="1383"/>
                  </a:lnTo>
                  <a:lnTo>
                    <a:pt x="597" y="1383"/>
                  </a:lnTo>
                  <a:close/>
                  <a:moveTo>
                    <a:pt x="488" y="1485"/>
                  </a:moveTo>
                  <a:lnTo>
                    <a:pt x="490" y="1485"/>
                  </a:lnTo>
                  <a:lnTo>
                    <a:pt x="488" y="1485"/>
                  </a:lnTo>
                  <a:close/>
                  <a:moveTo>
                    <a:pt x="573" y="1411"/>
                  </a:moveTo>
                  <a:lnTo>
                    <a:pt x="573" y="1412"/>
                  </a:lnTo>
                  <a:lnTo>
                    <a:pt x="573" y="1411"/>
                  </a:lnTo>
                  <a:close/>
                  <a:moveTo>
                    <a:pt x="553" y="788"/>
                  </a:moveTo>
                  <a:lnTo>
                    <a:pt x="555" y="788"/>
                  </a:lnTo>
                  <a:lnTo>
                    <a:pt x="555" y="789"/>
                  </a:lnTo>
                  <a:lnTo>
                    <a:pt x="555" y="788"/>
                  </a:lnTo>
                  <a:lnTo>
                    <a:pt x="553" y="788"/>
                  </a:lnTo>
                  <a:close/>
                  <a:moveTo>
                    <a:pt x="563" y="1367"/>
                  </a:moveTo>
                  <a:lnTo>
                    <a:pt x="565" y="1367"/>
                  </a:lnTo>
                  <a:lnTo>
                    <a:pt x="563" y="1367"/>
                  </a:lnTo>
                  <a:close/>
                  <a:moveTo>
                    <a:pt x="57" y="1655"/>
                  </a:moveTo>
                  <a:lnTo>
                    <a:pt x="57" y="1653"/>
                  </a:lnTo>
                  <a:lnTo>
                    <a:pt x="57" y="1655"/>
                  </a:lnTo>
                  <a:close/>
                  <a:moveTo>
                    <a:pt x="648" y="518"/>
                  </a:moveTo>
                  <a:lnTo>
                    <a:pt x="649" y="519"/>
                  </a:lnTo>
                  <a:lnTo>
                    <a:pt x="648" y="519"/>
                  </a:lnTo>
                  <a:lnTo>
                    <a:pt x="648" y="518"/>
                  </a:lnTo>
                  <a:close/>
                  <a:moveTo>
                    <a:pt x="718" y="433"/>
                  </a:moveTo>
                  <a:lnTo>
                    <a:pt x="719" y="433"/>
                  </a:lnTo>
                  <a:lnTo>
                    <a:pt x="718" y="433"/>
                  </a:lnTo>
                  <a:close/>
                  <a:moveTo>
                    <a:pt x="542" y="1258"/>
                  </a:moveTo>
                  <a:lnTo>
                    <a:pt x="542" y="1259"/>
                  </a:lnTo>
                  <a:lnTo>
                    <a:pt x="542" y="1258"/>
                  </a:lnTo>
                  <a:close/>
                  <a:moveTo>
                    <a:pt x="457" y="1570"/>
                  </a:moveTo>
                  <a:lnTo>
                    <a:pt x="457" y="1568"/>
                  </a:lnTo>
                  <a:lnTo>
                    <a:pt x="457" y="1570"/>
                  </a:lnTo>
                  <a:close/>
                  <a:moveTo>
                    <a:pt x="65" y="1674"/>
                  </a:moveTo>
                  <a:lnTo>
                    <a:pt x="67" y="1674"/>
                  </a:lnTo>
                  <a:lnTo>
                    <a:pt x="65" y="1674"/>
                  </a:lnTo>
                  <a:close/>
                  <a:moveTo>
                    <a:pt x="522" y="1463"/>
                  </a:moveTo>
                  <a:lnTo>
                    <a:pt x="521" y="1463"/>
                  </a:lnTo>
                  <a:lnTo>
                    <a:pt x="522" y="1463"/>
                  </a:lnTo>
                  <a:lnTo>
                    <a:pt x="522" y="1461"/>
                  </a:lnTo>
                  <a:lnTo>
                    <a:pt x="522" y="1463"/>
                  </a:lnTo>
                  <a:close/>
                  <a:moveTo>
                    <a:pt x="548" y="1370"/>
                  </a:moveTo>
                  <a:lnTo>
                    <a:pt x="547" y="1370"/>
                  </a:lnTo>
                  <a:lnTo>
                    <a:pt x="548" y="1368"/>
                  </a:lnTo>
                  <a:lnTo>
                    <a:pt x="548" y="1370"/>
                  </a:lnTo>
                  <a:close/>
                  <a:moveTo>
                    <a:pt x="449" y="1606"/>
                  </a:moveTo>
                  <a:lnTo>
                    <a:pt x="451" y="1606"/>
                  </a:lnTo>
                  <a:lnTo>
                    <a:pt x="449" y="1606"/>
                  </a:lnTo>
                  <a:close/>
                  <a:moveTo>
                    <a:pt x="555" y="1386"/>
                  </a:moveTo>
                  <a:lnTo>
                    <a:pt x="553" y="1386"/>
                  </a:lnTo>
                  <a:lnTo>
                    <a:pt x="555" y="1385"/>
                  </a:lnTo>
                  <a:lnTo>
                    <a:pt x="555" y="1386"/>
                  </a:lnTo>
                  <a:close/>
                  <a:moveTo>
                    <a:pt x="490" y="1487"/>
                  </a:moveTo>
                  <a:lnTo>
                    <a:pt x="492" y="1487"/>
                  </a:lnTo>
                  <a:lnTo>
                    <a:pt x="492" y="1489"/>
                  </a:lnTo>
                  <a:lnTo>
                    <a:pt x="490" y="1489"/>
                  </a:lnTo>
                  <a:lnTo>
                    <a:pt x="490" y="1487"/>
                  </a:lnTo>
                  <a:lnTo>
                    <a:pt x="492" y="1487"/>
                  </a:lnTo>
                  <a:lnTo>
                    <a:pt x="490" y="1487"/>
                  </a:lnTo>
                  <a:close/>
                  <a:moveTo>
                    <a:pt x="511" y="841"/>
                  </a:moveTo>
                  <a:lnTo>
                    <a:pt x="511" y="840"/>
                  </a:lnTo>
                  <a:lnTo>
                    <a:pt x="511" y="841"/>
                  </a:lnTo>
                  <a:close/>
                  <a:moveTo>
                    <a:pt x="392" y="1886"/>
                  </a:moveTo>
                  <a:lnTo>
                    <a:pt x="392" y="1887"/>
                  </a:lnTo>
                  <a:lnTo>
                    <a:pt x="392" y="1886"/>
                  </a:lnTo>
                  <a:lnTo>
                    <a:pt x="394" y="1886"/>
                  </a:lnTo>
                  <a:lnTo>
                    <a:pt x="392" y="1886"/>
                  </a:lnTo>
                  <a:close/>
                  <a:moveTo>
                    <a:pt x="680" y="428"/>
                  </a:moveTo>
                  <a:lnTo>
                    <a:pt x="682" y="428"/>
                  </a:lnTo>
                  <a:lnTo>
                    <a:pt x="682" y="430"/>
                  </a:lnTo>
                  <a:lnTo>
                    <a:pt x="680" y="430"/>
                  </a:lnTo>
                  <a:lnTo>
                    <a:pt x="680" y="428"/>
                  </a:lnTo>
                  <a:close/>
                  <a:moveTo>
                    <a:pt x="529" y="1463"/>
                  </a:moveTo>
                  <a:lnTo>
                    <a:pt x="531" y="1463"/>
                  </a:lnTo>
                  <a:lnTo>
                    <a:pt x="529" y="1463"/>
                  </a:lnTo>
                  <a:close/>
                  <a:moveTo>
                    <a:pt x="719" y="435"/>
                  </a:moveTo>
                  <a:lnTo>
                    <a:pt x="719" y="436"/>
                  </a:lnTo>
                  <a:lnTo>
                    <a:pt x="719" y="435"/>
                  </a:lnTo>
                  <a:close/>
                  <a:moveTo>
                    <a:pt x="500" y="851"/>
                  </a:moveTo>
                  <a:lnTo>
                    <a:pt x="500" y="849"/>
                  </a:lnTo>
                  <a:lnTo>
                    <a:pt x="500" y="851"/>
                  </a:lnTo>
                  <a:close/>
                  <a:moveTo>
                    <a:pt x="488" y="1490"/>
                  </a:moveTo>
                  <a:lnTo>
                    <a:pt x="490" y="1490"/>
                  </a:lnTo>
                  <a:lnTo>
                    <a:pt x="490" y="1492"/>
                  </a:lnTo>
                  <a:lnTo>
                    <a:pt x="488" y="1492"/>
                  </a:lnTo>
                  <a:lnTo>
                    <a:pt x="488" y="1490"/>
                  </a:lnTo>
                  <a:close/>
                  <a:moveTo>
                    <a:pt x="552" y="1424"/>
                  </a:moveTo>
                  <a:lnTo>
                    <a:pt x="550" y="1424"/>
                  </a:lnTo>
                  <a:lnTo>
                    <a:pt x="550" y="1422"/>
                  </a:lnTo>
                  <a:lnTo>
                    <a:pt x="550" y="1424"/>
                  </a:lnTo>
                  <a:lnTo>
                    <a:pt x="552" y="1424"/>
                  </a:lnTo>
                  <a:close/>
                  <a:moveTo>
                    <a:pt x="454" y="1549"/>
                  </a:moveTo>
                  <a:lnTo>
                    <a:pt x="456" y="1549"/>
                  </a:lnTo>
                  <a:lnTo>
                    <a:pt x="454" y="1549"/>
                  </a:lnTo>
                  <a:close/>
                  <a:moveTo>
                    <a:pt x="630" y="669"/>
                  </a:moveTo>
                  <a:lnTo>
                    <a:pt x="631" y="669"/>
                  </a:lnTo>
                  <a:lnTo>
                    <a:pt x="630" y="669"/>
                  </a:lnTo>
                  <a:close/>
                  <a:moveTo>
                    <a:pt x="456" y="900"/>
                  </a:moveTo>
                  <a:lnTo>
                    <a:pt x="457" y="900"/>
                  </a:lnTo>
                  <a:lnTo>
                    <a:pt x="456" y="900"/>
                  </a:lnTo>
                  <a:close/>
                  <a:moveTo>
                    <a:pt x="22" y="1524"/>
                  </a:moveTo>
                  <a:lnTo>
                    <a:pt x="20" y="1524"/>
                  </a:lnTo>
                  <a:lnTo>
                    <a:pt x="22" y="1524"/>
                  </a:lnTo>
                  <a:close/>
                  <a:moveTo>
                    <a:pt x="449" y="1664"/>
                  </a:moveTo>
                  <a:lnTo>
                    <a:pt x="451" y="1664"/>
                  </a:lnTo>
                  <a:lnTo>
                    <a:pt x="451" y="1666"/>
                  </a:lnTo>
                  <a:lnTo>
                    <a:pt x="449" y="1664"/>
                  </a:lnTo>
                  <a:close/>
                  <a:moveTo>
                    <a:pt x="601" y="1378"/>
                  </a:moveTo>
                  <a:lnTo>
                    <a:pt x="602" y="1378"/>
                  </a:lnTo>
                  <a:lnTo>
                    <a:pt x="601" y="1378"/>
                  </a:lnTo>
                  <a:close/>
                  <a:moveTo>
                    <a:pt x="576" y="1394"/>
                  </a:moveTo>
                  <a:lnTo>
                    <a:pt x="576" y="1393"/>
                  </a:lnTo>
                  <a:lnTo>
                    <a:pt x="576" y="1394"/>
                  </a:lnTo>
                  <a:close/>
                  <a:moveTo>
                    <a:pt x="555" y="797"/>
                  </a:moveTo>
                  <a:lnTo>
                    <a:pt x="555" y="799"/>
                  </a:lnTo>
                  <a:lnTo>
                    <a:pt x="555" y="797"/>
                  </a:lnTo>
                  <a:close/>
                  <a:moveTo>
                    <a:pt x="763" y="446"/>
                  </a:moveTo>
                  <a:lnTo>
                    <a:pt x="763" y="445"/>
                  </a:lnTo>
                  <a:lnTo>
                    <a:pt x="763" y="446"/>
                  </a:lnTo>
                  <a:close/>
                  <a:moveTo>
                    <a:pt x="544" y="1261"/>
                  </a:moveTo>
                  <a:lnTo>
                    <a:pt x="545" y="1263"/>
                  </a:lnTo>
                  <a:lnTo>
                    <a:pt x="545" y="1261"/>
                  </a:lnTo>
                  <a:lnTo>
                    <a:pt x="544" y="1261"/>
                  </a:lnTo>
                  <a:lnTo>
                    <a:pt x="545" y="1261"/>
                  </a:lnTo>
                  <a:lnTo>
                    <a:pt x="544" y="1261"/>
                  </a:lnTo>
                  <a:close/>
                  <a:moveTo>
                    <a:pt x="469" y="1746"/>
                  </a:moveTo>
                  <a:lnTo>
                    <a:pt x="469" y="1744"/>
                  </a:lnTo>
                  <a:lnTo>
                    <a:pt x="469" y="1746"/>
                  </a:lnTo>
                  <a:close/>
                  <a:moveTo>
                    <a:pt x="443" y="1520"/>
                  </a:moveTo>
                  <a:lnTo>
                    <a:pt x="444" y="1520"/>
                  </a:lnTo>
                  <a:lnTo>
                    <a:pt x="443" y="1520"/>
                  </a:lnTo>
                  <a:close/>
                  <a:moveTo>
                    <a:pt x="563" y="1355"/>
                  </a:moveTo>
                  <a:lnTo>
                    <a:pt x="565" y="1354"/>
                  </a:lnTo>
                  <a:lnTo>
                    <a:pt x="565" y="1355"/>
                  </a:lnTo>
                  <a:lnTo>
                    <a:pt x="563" y="1355"/>
                  </a:lnTo>
                  <a:close/>
                  <a:moveTo>
                    <a:pt x="589" y="1331"/>
                  </a:moveTo>
                  <a:lnTo>
                    <a:pt x="589" y="1333"/>
                  </a:lnTo>
                  <a:lnTo>
                    <a:pt x="589" y="1331"/>
                  </a:lnTo>
                  <a:lnTo>
                    <a:pt x="591" y="1331"/>
                  </a:lnTo>
                  <a:lnTo>
                    <a:pt x="589" y="1331"/>
                  </a:lnTo>
                  <a:close/>
                  <a:moveTo>
                    <a:pt x="568" y="1398"/>
                  </a:moveTo>
                  <a:lnTo>
                    <a:pt x="568" y="1396"/>
                  </a:lnTo>
                  <a:lnTo>
                    <a:pt x="568" y="1398"/>
                  </a:lnTo>
                  <a:close/>
                  <a:moveTo>
                    <a:pt x="446" y="1630"/>
                  </a:moveTo>
                  <a:lnTo>
                    <a:pt x="448" y="1630"/>
                  </a:lnTo>
                  <a:lnTo>
                    <a:pt x="446" y="1630"/>
                  </a:lnTo>
                  <a:close/>
                  <a:moveTo>
                    <a:pt x="57" y="1672"/>
                  </a:moveTo>
                  <a:lnTo>
                    <a:pt x="59" y="1672"/>
                  </a:lnTo>
                  <a:lnTo>
                    <a:pt x="57" y="1672"/>
                  </a:lnTo>
                  <a:close/>
                  <a:moveTo>
                    <a:pt x="456" y="1534"/>
                  </a:moveTo>
                  <a:lnTo>
                    <a:pt x="456" y="1533"/>
                  </a:lnTo>
                  <a:lnTo>
                    <a:pt x="456" y="1534"/>
                  </a:lnTo>
                  <a:lnTo>
                    <a:pt x="456" y="1533"/>
                  </a:lnTo>
                  <a:lnTo>
                    <a:pt x="456" y="1534"/>
                  </a:lnTo>
                  <a:close/>
                  <a:moveTo>
                    <a:pt x="623" y="736"/>
                  </a:moveTo>
                  <a:lnTo>
                    <a:pt x="623" y="734"/>
                  </a:lnTo>
                  <a:lnTo>
                    <a:pt x="625" y="736"/>
                  </a:lnTo>
                  <a:lnTo>
                    <a:pt x="623" y="736"/>
                  </a:lnTo>
                  <a:close/>
                  <a:moveTo>
                    <a:pt x="529" y="1230"/>
                  </a:moveTo>
                  <a:lnTo>
                    <a:pt x="527" y="1230"/>
                  </a:lnTo>
                  <a:lnTo>
                    <a:pt x="527" y="1228"/>
                  </a:lnTo>
                  <a:lnTo>
                    <a:pt x="529" y="1230"/>
                  </a:lnTo>
                  <a:close/>
                  <a:moveTo>
                    <a:pt x="547" y="1373"/>
                  </a:moveTo>
                  <a:lnTo>
                    <a:pt x="547" y="1372"/>
                  </a:lnTo>
                  <a:lnTo>
                    <a:pt x="547" y="1373"/>
                  </a:lnTo>
                  <a:close/>
                  <a:moveTo>
                    <a:pt x="448" y="1614"/>
                  </a:moveTo>
                  <a:lnTo>
                    <a:pt x="448" y="1612"/>
                  </a:lnTo>
                  <a:lnTo>
                    <a:pt x="448" y="1614"/>
                  </a:lnTo>
                  <a:lnTo>
                    <a:pt x="449" y="1614"/>
                  </a:lnTo>
                  <a:lnTo>
                    <a:pt x="448" y="1614"/>
                  </a:lnTo>
                  <a:close/>
                  <a:moveTo>
                    <a:pt x="449" y="1541"/>
                  </a:moveTo>
                  <a:lnTo>
                    <a:pt x="448" y="1541"/>
                  </a:lnTo>
                  <a:lnTo>
                    <a:pt x="449" y="1541"/>
                  </a:lnTo>
                  <a:close/>
                  <a:moveTo>
                    <a:pt x="568" y="1344"/>
                  </a:moveTo>
                  <a:lnTo>
                    <a:pt x="568" y="1346"/>
                  </a:lnTo>
                  <a:lnTo>
                    <a:pt x="568" y="1344"/>
                  </a:lnTo>
                  <a:lnTo>
                    <a:pt x="568" y="1346"/>
                  </a:lnTo>
                  <a:lnTo>
                    <a:pt x="568" y="1344"/>
                  </a:lnTo>
                  <a:close/>
                  <a:moveTo>
                    <a:pt x="570" y="775"/>
                  </a:moveTo>
                  <a:lnTo>
                    <a:pt x="571" y="775"/>
                  </a:lnTo>
                  <a:lnTo>
                    <a:pt x="571" y="776"/>
                  </a:lnTo>
                  <a:lnTo>
                    <a:pt x="570" y="775"/>
                  </a:lnTo>
                  <a:close/>
                  <a:moveTo>
                    <a:pt x="745" y="435"/>
                  </a:moveTo>
                  <a:lnTo>
                    <a:pt x="747" y="433"/>
                  </a:lnTo>
                  <a:lnTo>
                    <a:pt x="747" y="435"/>
                  </a:lnTo>
                  <a:lnTo>
                    <a:pt x="745" y="435"/>
                  </a:lnTo>
                  <a:close/>
                  <a:moveTo>
                    <a:pt x="558" y="1381"/>
                  </a:moveTo>
                  <a:lnTo>
                    <a:pt x="560" y="1381"/>
                  </a:lnTo>
                  <a:lnTo>
                    <a:pt x="558" y="1381"/>
                  </a:lnTo>
                  <a:close/>
                  <a:moveTo>
                    <a:pt x="462" y="1559"/>
                  </a:moveTo>
                  <a:lnTo>
                    <a:pt x="462" y="1557"/>
                  </a:lnTo>
                  <a:lnTo>
                    <a:pt x="464" y="1557"/>
                  </a:lnTo>
                  <a:lnTo>
                    <a:pt x="462" y="1559"/>
                  </a:lnTo>
                  <a:lnTo>
                    <a:pt x="462" y="1557"/>
                  </a:lnTo>
                  <a:lnTo>
                    <a:pt x="462" y="1559"/>
                  </a:lnTo>
                  <a:close/>
                  <a:moveTo>
                    <a:pt x="17" y="1537"/>
                  </a:moveTo>
                  <a:lnTo>
                    <a:pt x="18" y="1537"/>
                  </a:lnTo>
                  <a:lnTo>
                    <a:pt x="17" y="1537"/>
                  </a:lnTo>
                  <a:close/>
                  <a:moveTo>
                    <a:pt x="573" y="1409"/>
                  </a:moveTo>
                  <a:lnTo>
                    <a:pt x="574" y="1409"/>
                  </a:lnTo>
                  <a:lnTo>
                    <a:pt x="573" y="1409"/>
                  </a:lnTo>
                  <a:close/>
                  <a:moveTo>
                    <a:pt x="30" y="1578"/>
                  </a:moveTo>
                  <a:lnTo>
                    <a:pt x="30" y="1580"/>
                  </a:lnTo>
                  <a:lnTo>
                    <a:pt x="30" y="1578"/>
                  </a:lnTo>
                  <a:close/>
                  <a:moveTo>
                    <a:pt x="75" y="1681"/>
                  </a:moveTo>
                  <a:lnTo>
                    <a:pt x="77" y="1681"/>
                  </a:lnTo>
                  <a:lnTo>
                    <a:pt x="75" y="1681"/>
                  </a:lnTo>
                  <a:close/>
                  <a:moveTo>
                    <a:pt x="627" y="609"/>
                  </a:moveTo>
                  <a:lnTo>
                    <a:pt x="628" y="609"/>
                  </a:lnTo>
                  <a:lnTo>
                    <a:pt x="628" y="610"/>
                  </a:lnTo>
                  <a:lnTo>
                    <a:pt x="628" y="609"/>
                  </a:lnTo>
                  <a:lnTo>
                    <a:pt x="627" y="609"/>
                  </a:lnTo>
                  <a:close/>
                  <a:moveTo>
                    <a:pt x="67" y="1666"/>
                  </a:moveTo>
                  <a:lnTo>
                    <a:pt x="67" y="1664"/>
                  </a:lnTo>
                  <a:lnTo>
                    <a:pt x="67" y="1666"/>
                  </a:lnTo>
                  <a:close/>
                  <a:moveTo>
                    <a:pt x="635" y="536"/>
                  </a:moveTo>
                  <a:lnTo>
                    <a:pt x="633" y="536"/>
                  </a:lnTo>
                  <a:lnTo>
                    <a:pt x="635" y="536"/>
                  </a:lnTo>
                  <a:close/>
                  <a:moveTo>
                    <a:pt x="435" y="973"/>
                  </a:moveTo>
                  <a:lnTo>
                    <a:pt x="435" y="971"/>
                  </a:lnTo>
                  <a:lnTo>
                    <a:pt x="435" y="973"/>
                  </a:lnTo>
                  <a:close/>
                  <a:moveTo>
                    <a:pt x="15" y="1510"/>
                  </a:moveTo>
                  <a:lnTo>
                    <a:pt x="15" y="1508"/>
                  </a:lnTo>
                  <a:lnTo>
                    <a:pt x="17" y="1508"/>
                  </a:lnTo>
                  <a:lnTo>
                    <a:pt x="17" y="1510"/>
                  </a:lnTo>
                  <a:lnTo>
                    <a:pt x="15" y="1510"/>
                  </a:lnTo>
                  <a:close/>
                  <a:moveTo>
                    <a:pt x="51" y="1632"/>
                  </a:moveTo>
                  <a:lnTo>
                    <a:pt x="49" y="1632"/>
                  </a:lnTo>
                  <a:lnTo>
                    <a:pt x="51" y="1632"/>
                  </a:lnTo>
                  <a:close/>
                  <a:moveTo>
                    <a:pt x="529" y="1230"/>
                  </a:moveTo>
                  <a:lnTo>
                    <a:pt x="531" y="1230"/>
                  </a:lnTo>
                  <a:lnTo>
                    <a:pt x="529" y="1230"/>
                  </a:lnTo>
                  <a:close/>
                  <a:moveTo>
                    <a:pt x="438" y="1541"/>
                  </a:moveTo>
                  <a:lnTo>
                    <a:pt x="440" y="1541"/>
                  </a:lnTo>
                  <a:lnTo>
                    <a:pt x="438" y="1541"/>
                  </a:lnTo>
                  <a:close/>
                  <a:moveTo>
                    <a:pt x="674" y="378"/>
                  </a:moveTo>
                  <a:lnTo>
                    <a:pt x="675" y="378"/>
                  </a:lnTo>
                  <a:lnTo>
                    <a:pt x="675" y="379"/>
                  </a:lnTo>
                  <a:lnTo>
                    <a:pt x="674" y="378"/>
                  </a:lnTo>
                  <a:close/>
                  <a:moveTo>
                    <a:pt x="537" y="802"/>
                  </a:moveTo>
                  <a:lnTo>
                    <a:pt x="535" y="802"/>
                  </a:lnTo>
                  <a:lnTo>
                    <a:pt x="535" y="801"/>
                  </a:lnTo>
                  <a:lnTo>
                    <a:pt x="537" y="801"/>
                  </a:lnTo>
                  <a:lnTo>
                    <a:pt x="537" y="802"/>
                  </a:lnTo>
                  <a:close/>
                  <a:moveTo>
                    <a:pt x="552" y="1446"/>
                  </a:moveTo>
                  <a:lnTo>
                    <a:pt x="553" y="1448"/>
                  </a:lnTo>
                  <a:lnTo>
                    <a:pt x="552" y="1448"/>
                  </a:lnTo>
                  <a:lnTo>
                    <a:pt x="552" y="1446"/>
                  </a:lnTo>
                  <a:lnTo>
                    <a:pt x="552" y="1448"/>
                  </a:lnTo>
                  <a:lnTo>
                    <a:pt x="552" y="1446"/>
                  </a:lnTo>
                  <a:close/>
                  <a:moveTo>
                    <a:pt x="466" y="1500"/>
                  </a:moveTo>
                  <a:lnTo>
                    <a:pt x="466" y="1502"/>
                  </a:lnTo>
                  <a:lnTo>
                    <a:pt x="466" y="1500"/>
                  </a:lnTo>
                  <a:close/>
                  <a:moveTo>
                    <a:pt x="687" y="464"/>
                  </a:moveTo>
                  <a:lnTo>
                    <a:pt x="688" y="464"/>
                  </a:lnTo>
                  <a:lnTo>
                    <a:pt x="688" y="466"/>
                  </a:lnTo>
                  <a:lnTo>
                    <a:pt x="687" y="466"/>
                  </a:lnTo>
                  <a:lnTo>
                    <a:pt x="687" y="464"/>
                  </a:lnTo>
                  <a:close/>
                  <a:moveTo>
                    <a:pt x="550" y="1415"/>
                  </a:moveTo>
                  <a:lnTo>
                    <a:pt x="552" y="1414"/>
                  </a:lnTo>
                  <a:lnTo>
                    <a:pt x="552" y="1415"/>
                  </a:lnTo>
                  <a:lnTo>
                    <a:pt x="550" y="1415"/>
                  </a:lnTo>
                  <a:close/>
                  <a:moveTo>
                    <a:pt x="547" y="1263"/>
                  </a:moveTo>
                  <a:lnTo>
                    <a:pt x="547" y="1264"/>
                  </a:lnTo>
                  <a:lnTo>
                    <a:pt x="548" y="1264"/>
                  </a:lnTo>
                  <a:lnTo>
                    <a:pt x="547" y="1264"/>
                  </a:lnTo>
                  <a:lnTo>
                    <a:pt x="547" y="1263"/>
                  </a:lnTo>
                  <a:close/>
                  <a:moveTo>
                    <a:pt x="431" y="1173"/>
                  </a:moveTo>
                  <a:lnTo>
                    <a:pt x="431" y="1172"/>
                  </a:lnTo>
                  <a:lnTo>
                    <a:pt x="431" y="1173"/>
                  </a:lnTo>
                  <a:close/>
                  <a:moveTo>
                    <a:pt x="560" y="1269"/>
                  </a:moveTo>
                  <a:lnTo>
                    <a:pt x="561" y="1269"/>
                  </a:lnTo>
                  <a:lnTo>
                    <a:pt x="560" y="1269"/>
                  </a:lnTo>
                  <a:close/>
                  <a:moveTo>
                    <a:pt x="418" y="1077"/>
                  </a:moveTo>
                  <a:lnTo>
                    <a:pt x="420" y="1077"/>
                  </a:lnTo>
                  <a:lnTo>
                    <a:pt x="418" y="1077"/>
                  </a:lnTo>
                  <a:close/>
                  <a:moveTo>
                    <a:pt x="329" y="1877"/>
                  </a:moveTo>
                  <a:lnTo>
                    <a:pt x="329" y="1876"/>
                  </a:lnTo>
                  <a:lnTo>
                    <a:pt x="329" y="1877"/>
                  </a:lnTo>
                  <a:close/>
                  <a:moveTo>
                    <a:pt x="505" y="1235"/>
                  </a:moveTo>
                  <a:lnTo>
                    <a:pt x="505" y="1237"/>
                  </a:lnTo>
                  <a:lnTo>
                    <a:pt x="503" y="1237"/>
                  </a:lnTo>
                  <a:lnTo>
                    <a:pt x="503" y="1235"/>
                  </a:lnTo>
                  <a:lnTo>
                    <a:pt x="505" y="1235"/>
                  </a:lnTo>
                  <a:close/>
                  <a:moveTo>
                    <a:pt x="420" y="1084"/>
                  </a:moveTo>
                  <a:lnTo>
                    <a:pt x="420" y="1082"/>
                  </a:lnTo>
                  <a:lnTo>
                    <a:pt x="420" y="1084"/>
                  </a:lnTo>
                  <a:close/>
                  <a:moveTo>
                    <a:pt x="672" y="464"/>
                  </a:moveTo>
                  <a:lnTo>
                    <a:pt x="674" y="464"/>
                  </a:lnTo>
                  <a:lnTo>
                    <a:pt x="672" y="464"/>
                  </a:lnTo>
                  <a:close/>
                  <a:moveTo>
                    <a:pt x="10" y="1542"/>
                  </a:moveTo>
                  <a:lnTo>
                    <a:pt x="10" y="1544"/>
                  </a:lnTo>
                  <a:lnTo>
                    <a:pt x="10" y="1542"/>
                  </a:lnTo>
                  <a:lnTo>
                    <a:pt x="10" y="1544"/>
                  </a:lnTo>
                  <a:lnTo>
                    <a:pt x="10" y="1542"/>
                  </a:lnTo>
                  <a:close/>
                  <a:moveTo>
                    <a:pt x="448" y="1604"/>
                  </a:moveTo>
                  <a:lnTo>
                    <a:pt x="449" y="1603"/>
                  </a:lnTo>
                  <a:lnTo>
                    <a:pt x="449" y="1604"/>
                  </a:lnTo>
                  <a:lnTo>
                    <a:pt x="448" y="1604"/>
                  </a:lnTo>
                  <a:close/>
                  <a:moveTo>
                    <a:pt x="90" y="1702"/>
                  </a:moveTo>
                  <a:lnTo>
                    <a:pt x="88" y="1703"/>
                  </a:lnTo>
                  <a:lnTo>
                    <a:pt x="88" y="1702"/>
                  </a:lnTo>
                  <a:lnTo>
                    <a:pt x="90" y="1702"/>
                  </a:lnTo>
                  <a:close/>
                  <a:moveTo>
                    <a:pt x="443" y="1702"/>
                  </a:moveTo>
                  <a:lnTo>
                    <a:pt x="443" y="1700"/>
                  </a:lnTo>
                  <a:lnTo>
                    <a:pt x="443" y="1702"/>
                  </a:lnTo>
                  <a:lnTo>
                    <a:pt x="444" y="1702"/>
                  </a:lnTo>
                  <a:lnTo>
                    <a:pt x="443" y="1702"/>
                  </a:lnTo>
                  <a:close/>
                  <a:moveTo>
                    <a:pt x="745" y="430"/>
                  </a:moveTo>
                  <a:lnTo>
                    <a:pt x="747" y="430"/>
                  </a:lnTo>
                  <a:lnTo>
                    <a:pt x="745" y="430"/>
                  </a:lnTo>
                  <a:close/>
                  <a:moveTo>
                    <a:pt x="454" y="1572"/>
                  </a:moveTo>
                  <a:lnTo>
                    <a:pt x="456" y="1572"/>
                  </a:lnTo>
                  <a:lnTo>
                    <a:pt x="454" y="1572"/>
                  </a:lnTo>
                  <a:close/>
                  <a:moveTo>
                    <a:pt x="586" y="1402"/>
                  </a:moveTo>
                  <a:lnTo>
                    <a:pt x="584" y="1402"/>
                  </a:lnTo>
                  <a:lnTo>
                    <a:pt x="584" y="1401"/>
                  </a:lnTo>
                  <a:lnTo>
                    <a:pt x="586" y="1402"/>
                  </a:lnTo>
                  <a:close/>
                  <a:moveTo>
                    <a:pt x="566" y="1352"/>
                  </a:moveTo>
                  <a:lnTo>
                    <a:pt x="566" y="1350"/>
                  </a:lnTo>
                  <a:lnTo>
                    <a:pt x="568" y="1350"/>
                  </a:lnTo>
                  <a:lnTo>
                    <a:pt x="566" y="1352"/>
                  </a:lnTo>
                  <a:close/>
                  <a:moveTo>
                    <a:pt x="724" y="435"/>
                  </a:moveTo>
                  <a:lnTo>
                    <a:pt x="722" y="435"/>
                  </a:lnTo>
                  <a:lnTo>
                    <a:pt x="724" y="435"/>
                  </a:lnTo>
                  <a:close/>
                  <a:moveTo>
                    <a:pt x="620" y="744"/>
                  </a:moveTo>
                  <a:lnTo>
                    <a:pt x="620" y="745"/>
                  </a:lnTo>
                  <a:lnTo>
                    <a:pt x="620" y="744"/>
                  </a:lnTo>
                  <a:lnTo>
                    <a:pt x="620" y="745"/>
                  </a:lnTo>
                  <a:lnTo>
                    <a:pt x="620" y="744"/>
                  </a:lnTo>
                  <a:close/>
                  <a:moveTo>
                    <a:pt x="578" y="1326"/>
                  </a:moveTo>
                  <a:lnTo>
                    <a:pt x="579" y="1326"/>
                  </a:lnTo>
                  <a:lnTo>
                    <a:pt x="578" y="1326"/>
                  </a:lnTo>
                  <a:close/>
                  <a:moveTo>
                    <a:pt x="453" y="1572"/>
                  </a:moveTo>
                  <a:lnTo>
                    <a:pt x="453" y="1573"/>
                  </a:lnTo>
                  <a:lnTo>
                    <a:pt x="453" y="1572"/>
                  </a:lnTo>
                  <a:close/>
                  <a:moveTo>
                    <a:pt x="35" y="1588"/>
                  </a:moveTo>
                  <a:lnTo>
                    <a:pt x="33" y="1590"/>
                  </a:lnTo>
                  <a:lnTo>
                    <a:pt x="33" y="1588"/>
                  </a:lnTo>
                  <a:lnTo>
                    <a:pt x="35" y="1588"/>
                  </a:lnTo>
                  <a:close/>
                  <a:moveTo>
                    <a:pt x="435" y="1702"/>
                  </a:moveTo>
                  <a:lnTo>
                    <a:pt x="433" y="1702"/>
                  </a:lnTo>
                  <a:lnTo>
                    <a:pt x="435" y="1702"/>
                  </a:lnTo>
                  <a:close/>
                  <a:moveTo>
                    <a:pt x="581" y="1339"/>
                  </a:moveTo>
                  <a:lnTo>
                    <a:pt x="581" y="1337"/>
                  </a:lnTo>
                  <a:lnTo>
                    <a:pt x="581" y="1339"/>
                  </a:lnTo>
                  <a:close/>
                  <a:moveTo>
                    <a:pt x="33" y="1590"/>
                  </a:moveTo>
                  <a:lnTo>
                    <a:pt x="33" y="1591"/>
                  </a:lnTo>
                  <a:lnTo>
                    <a:pt x="33" y="1590"/>
                  </a:lnTo>
                  <a:close/>
                  <a:moveTo>
                    <a:pt x="418" y="1108"/>
                  </a:moveTo>
                  <a:lnTo>
                    <a:pt x="420" y="1108"/>
                  </a:lnTo>
                  <a:lnTo>
                    <a:pt x="420" y="1110"/>
                  </a:lnTo>
                  <a:lnTo>
                    <a:pt x="418" y="1108"/>
                  </a:lnTo>
                  <a:close/>
                  <a:moveTo>
                    <a:pt x="766" y="448"/>
                  </a:moveTo>
                  <a:lnTo>
                    <a:pt x="766" y="446"/>
                  </a:lnTo>
                  <a:lnTo>
                    <a:pt x="768" y="446"/>
                  </a:lnTo>
                  <a:lnTo>
                    <a:pt x="766" y="448"/>
                  </a:lnTo>
                  <a:close/>
                  <a:moveTo>
                    <a:pt x="503" y="1463"/>
                  </a:moveTo>
                  <a:lnTo>
                    <a:pt x="503" y="1464"/>
                  </a:lnTo>
                  <a:lnTo>
                    <a:pt x="503" y="1463"/>
                  </a:lnTo>
                  <a:close/>
                  <a:moveTo>
                    <a:pt x="574" y="1409"/>
                  </a:moveTo>
                  <a:lnTo>
                    <a:pt x="574" y="1411"/>
                  </a:lnTo>
                  <a:lnTo>
                    <a:pt x="574" y="1409"/>
                  </a:lnTo>
                  <a:close/>
                  <a:moveTo>
                    <a:pt x="435" y="1770"/>
                  </a:moveTo>
                  <a:lnTo>
                    <a:pt x="435" y="1768"/>
                  </a:lnTo>
                  <a:lnTo>
                    <a:pt x="435" y="1770"/>
                  </a:lnTo>
                  <a:close/>
                  <a:moveTo>
                    <a:pt x="93" y="1731"/>
                  </a:moveTo>
                  <a:lnTo>
                    <a:pt x="91" y="1731"/>
                  </a:lnTo>
                  <a:lnTo>
                    <a:pt x="93" y="1731"/>
                  </a:lnTo>
                  <a:close/>
                  <a:moveTo>
                    <a:pt x="56" y="1646"/>
                  </a:moveTo>
                  <a:lnTo>
                    <a:pt x="56" y="1645"/>
                  </a:lnTo>
                  <a:lnTo>
                    <a:pt x="57" y="1646"/>
                  </a:lnTo>
                  <a:lnTo>
                    <a:pt x="56" y="1646"/>
                  </a:lnTo>
                  <a:close/>
                  <a:moveTo>
                    <a:pt x="488" y="1481"/>
                  </a:moveTo>
                  <a:lnTo>
                    <a:pt x="488" y="1482"/>
                  </a:lnTo>
                  <a:lnTo>
                    <a:pt x="488" y="1481"/>
                  </a:lnTo>
                  <a:close/>
                  <a:moveTo>
                    <a:pt x="680" y="466"/>
                  </a:moveTo>
                  <a:lnTo>
                    <a:pt x="682" y="466"/>
                  </a:lnTo>
                  <a:lnTo>
                    <a:pt x="682" y="467"/>
                  </a:lnTo>
                  <a:lnTo>
                    <a:pt x="680" y="466"/>
                  </a:lnTo>
                  <a:close/>
                  <a:moveTo>
                    <a:pt x="443" y="1599"/>
                  </a:moveTo>
                  <a:lnTo>
                    <a:pt x="443" y="1598"/>
                  </a:lnTo>
                  <a:lnTo>
                    <a:pt x="443" y="1599"/>
                  </a:lnTo>
                  <a:close/>
                  <a:moveTo>
                    <a:pt x="571" y="1339"/>
                  </a:moveTo>
                  <a:lnTo>
                    <a:pt x="570" y="1339"/>
                  </a:lnTo>
                  <a:lnTo>
                    <a:pt x="571" y="1339"/>
                  </a:lnTo>
                  <a:close/>
                  <a:moveTo>
                    <a:pt x="18" y="1521"/>
                  </a:moveTo>
                  <a:lnTo>
                    <a:pt x="20" y="1521"/>
                  </a:lnTo>
                  <a:lnTo>
                    <a:pt x="18" y="1521"/>
                  </a:lnTo>
                  <a:close/>
                  <a:moveTo>
                    <a:pt x="373" y="1866"/>
                  </a:moveTo>
                  <a:lnTo>
                    <a:pt x="373" y="1864"/>
                  </a:lnTo>
                  <a:lnTo>
                    <a:pt x="373" y="1866"/>
                  </a:lnTo>
                  <a:lnTo>
                    <a:pt x="373" y="1864"/>
                  </a:lnTo>
                  <a:lnTo>
                    <a:pt x="374" y="1866"/>
                  </a:lnTo>
                  <a:lnTo>
                    <a:pt x="373" y="1866"/>
                  </a:lnTo>
                  <a:close/>
                  <a:moveTo>
                    <a:pt x="666" y="462"/>
                  </a:moveTo>
                  <a:lnTo>
                    <a:pt x="667" y="462"/>
                  </a:lnTo>
                  <a:lnTo>
                    <a:pt x="666" y="462"/>
                  </a:lnTo>
                  <a:close/>
                  <a:moveTo>
                    <a:pt x="18" y="1570"/>
                  </a:moveTo>
                  <a:lnTo>
                    <a:pt x="20" y="1570"/>
                  </a:lnTo>
                  <a:lnTo>
                    <a:pt x="18" y="1570"/>
                  </a:lnTo>
                  <a:lnTo>
                    <a:pt x="20" y="1570"/>
                  </a:lnTo>
                  <a:lnTo>
                    <a:pt x="18" y="1570"/>
                  </a:lnTo>
                  <a:close/>
                  <a:moveTo>
                    <a:pt x="428" y="1030"/>
                  </a:moveTo>
                  <a:lnTo>
                    <a:pt x="426" y="1030"/>
                  </a:lnTo>
                  <a:lnTo>
                    <a:pt x="428" y="1030"/>
                  </a:lnTo>
                  <a:close/>
                  <a:moveTo>
                    <a:pt x="61" y="1648"/>
                  </a:moveTo>
                  <a:lnTo>
                    <a:pt x="61" y="1646"/>
                  </a:lnTo>
                  <a:lnTo>
                    <a:pt x="61" y="1648"/>
                  </a:lnTo>
                  <a:close/>
                  <a:moveTo>
                    <a:pt x="57" y="1629"/>
                  </a:moveTo>
                  <a:lnTo>
                    <a:pt x="57" y="1627"/>
                  </a:lnTo>
                  <a:lnTo>
                    <a:pt x="57" y="1629"/>
                  </a:lnTo>
                  <a:close/>
                  <a:moveTo>
                    <a:pt x="524" y="822"/>
                  </a:moveTo>
                  <a:lnTo>
                    <a:pt x="524" y="820"/>
                  </a:lnTo>
                  <a:lnTo>
                    <a:pt x="524" y="822"/>
                  </a:lnTo>
                  <a:close/>
                  <a:moveTo>
                    <a:pt x="607" y="739"/>
                  </a:moveTo>
                  <a:lnTo>
                    <a:pt x="609" y="739"/>
                  </a:lnTo>
                  <a:lnTo>
                    <a:pt x="609" y="741"/>
                  </a:lnTo>
                  <a:lnTo>
                    <a:pt x="609" y="739"/>
                  </a:lnTo>
                  <a:lnTo>
                    <a:pt x="607" y="739"/>
                  </a:lnTo>
                  <a:close/>
                  <a:moveTo>
                    <a:pt x="609" y="1359"/>
                  </a:moveTo>
                  <a:lnTo>
                    <a:pt x="607" y="1359"/>
                  </a:lnTo>
                  <a:lnTo>
                    <a:pt x="609" y="1359"/>
                  </a:lnTo>
                  <a:close/>
                  <a:moveTo>
                    <a:pt x="15" y="1507"/>
                  </a:moveTo>
                  <a:lnTo>
                    <a:pt x="15" y="1505"/>
                  </a:lnTo>
                  <a:lnTo>
                    <a:pt x="15" y="1507"/>
                  </a:lnTo>
                  <a:close/>
                  <a:moveTo>
                    <a:pt x="487" y="1477"/>
                  </a:moveTo>
                  <a:lnTo>
                    <a:pt x="487" y="1476"/>
                  </a:lnTo>
                  <a:lnTo>
                    <a:pt x="487" y="1477"/>
                  </a:lnTo>
                  <a:close/>
                  <a:moveTo>
                    <a:pt x="548" y="1272"/>
                  </a:moveTo>
                  <a:lnTo>
                    <a:pt x="550" y="1272"/>
                  </a:lnTo>
                  <a:lnTo>
                    <a:pt x="548" y="1272"/>
                  </a:lnTo>
                  <a:close/>
                  <a:moveTo>
                    <a:pt x="44" y="1622"/>
                  </a:moveTo>
                  <a:lnTo>
                    <a:pt x="46" y="1622"/>
                  </a:lnTo>
                  <a:lnTo>
                    <a:pt x="44" y="1622"/>
                  </a:lnTo>
                  <a:close/>
                  <a:moveTo>
                    <a:pt x="716" y="427"/>
                  </a:moveTo>
                  <a:lnTo>
                    <a:pt x="716" y="428"/>
                  </a:lnTo>
                  <a:lnTo>
                    <a:pt x="716" y="427"/>
                  </a:lnTo>
                  <a:close/>
                  <a:moveTo>
                    <a:pt x="561" y="780"/>
                  </a:moveTo>
                  <a:lnTo>
                    <a:pt x="561" y="781"/>
                  </a:lnTo>
                  <a:lnTo>
                    <a:pt x="561" y="780"/>
                  </a:lnTo>
                  <a:close/>
                  <a:moveTo>
                    <a:pt x="459" y="1573"/>
                  </a:moveTo>
                  <a:lnTo>
                    <a:pt x="457" y="1572"/>
                  </a:lnTo>
                  <a:lnTo>
                    <a:pt x="459" y="1572"/>
                  </a:lnTo>
                  <a:lnTo>
                    <a:pt x="459" y="1573"/>
                  </a:lnTo>
                  <a:close/>
                  <a:moveTo>
                    <a:pt x="448" y="1604"/>
                  </a:moveTo>
                  <a:lnTo>
                    <a:pt x="449" y="1606"/>
                  </a:lnTo>
                  <a:lnTo>
                    <a:pt x="448" y="1606"/>
                  </a:lnTo>
                  <a:lnTo>
                    <a:pt x="448" y="1604"/>
                  </a:lnTo>
                  <a:close/>
                  <a:moveTo>
                    <a:pt x="449" y="1580"/>
                  </a:moveTo>
                  <a:lnTo>
                    <a:pt x="449" y="1578"/>
                  </a:lnTo>
                  <a:lnTo>
                    <a:pt x="449" y="1580"/>
                  </a:lnTo>
                  <a:close/>
                  <a:moveTo>
                    <a:pt x="459" y="1542"/>
                  </a:moveTo>
                  <a:lnTo>
                    <a:pt x="457" y="1542"/>
                  </a:lnTo>
                  <a:lnTo>
                    <a:pt x="459" y="1541"/>
                  </a:lnTo>
                  <a:lnTo>
                    <a:pt x="459" y="1542"/>
                  </a:lnTo>
                  <a:close/>
                  <a:moveTo>
                    <a:pt x="583" y="1370"/>
                  </a:moveTo>
                  <a:lnTo>
                    <a:pt x="581" y="1370"/>
                  </a:lnTo>
                  <a:lnTo>
                    <a:pt x="583" y="1370"/>
                  </a:lnTo>
                  <a:close/>
                  <a:moveTo>
                    <a:pt x="420" y="1077"/>
                  </a:moveTo>
                  <a:lnTo>
                    <a:pt x="422" y="1077"/>
                  </a:lnTo>
                  <a:lnTo>
                    <a:pt x="420" y="1077"/>
                  </a:lnTo>
                  <a:lnTo>
                    <a:pt x="420" y="1076"/>
                  </a:lnTo>
                  <a:lnTo>
                    <a:pt x="420" y="1077"/>
                  </a:lnTo>
                  <a:close/>
                  <a:moveTo>
                    <a:pt x="526" y="820"/>
                  </a:moveTo>
                  <a:lnTo>
                    <a:pt x="526" y="822"/>
                  </a:lnTo>
                  <a:lnTo>
                    <a:pt x="526" y="820"/>
                  </a:lnTo>
                  <a:close/>
                  <a:moveTo>
                    <a:pt x="537" y="1241"/>
                  </a:moveTo>
                  <a:lnTo>
                    <a:pt x="537" y="1243"/>
                  </a:lnTo>
                  <a:lnTo>
                    <a:pt x="537" y="1241"/>
                  </a:lnTo>
                  <a:close/>
                  <a:moveTo>
                    <a:pt x="500" y="1464"/>
                  </a:moveTo>
                  <a:lnTo>
                    <a:pt x="498" y="1464"/>
                  </a:lnTo>
                  <a:lnTo>
                    <a:pt x="498" y="1463"/>
                  </a:lnTo>
                  <a:lnTo>
                    <a:pt x="500" y="1464"/>
                  </a:lnTo>
                  <a:close/>
                  <a:moveTo>
                    <a:pt x="648" y="539"/>
                  </a:moveTo>
                  <a:lnTo>
                    <a:pt x="648" y="540"/>
                  </a:lnTo>
                  <a:lnTo>
                    <a:pt x="649" y="539"/>
                  </a:lnTo>
                  <a:lnTo>
                    <a:pt x="649" y="540"/>
                  </a:lnTo>
                  <a:lnTo>
                    <a:pt x="648" y="540"/>
                  </a:lnTo>
                  <a:lnTo>
                    <a:pt x="648" y="539"/>
                  </a:lnTo>
                  <a:close/>
                  <a:moveTo>
                    <a:pt x="529" y="1453"/>
                  </a:moveTo>
                  <a:lnTo>
                    <a:pt x="527" y="1453"/>
                  </a:lnTo>
                  <a:lnTo>
                    <a:pt x="527" y="1451"/>
                  </a:lnTo>
                  <a:lnTo>
                    <a:pt x="529" y="1451"/>
                  </a:lnTo>
                  <a:lnTo>
                    <a:pt x="529" y="1453"/>
                  </a:lnTo>
                  <a:close/>
                  <a:moveTo>
                    <a:pt x="435" y="1711"/>
                  </a:moveTo>
                  <a:lnTo>
                    <a:pt x="435" y="1710"/>
                  </a:lnTo>
                  <a:lnTo>
                    <a:pt x="435" y="1711"/>
                  </a:lnTo>
                  <a:close/>
                  <a:moveTo>
                    <a:pt x="417" y="1510"/>
                  </a:moveTo>
                  <a:lnTo>
                    <a:pt x="417" y="1508"/>
                  </a:lnTo>
                  <a:lnTo>
                    <a:pt x="418" y="1510"/>
                  </a:lnTo>
                  <a:lnTo>
                    <a:pt x="417" y="1510"/>
                  </a:lnTo>
                  <a:close/>
                  <a:moveTo>
                    <a:pt x="596" y="1334"/>
                  </a:moveTo>
                  <a:lnTo>
                    <a:pt x="594" y="1334"/>
                  </a:lnTo>
                  <a:lnTo>
                    <a:pt x="596" y="1334"/>
                  </a:lnTo>
                  <a:lnTo>
                    <a:pt x="594" y="1333"/>
                  </a:lnTo>
                  <a:lnTo>
                    <a:pt x="596" y="1333"/>
                  </a:lnTo>
                  <a:lnTo>
                    <a:pt x="596" y="1334"/>
                  </a:lnTo>
                  <a:close/>
                  <a:moveTo>
                    <a:pt x="565" y="1445"/>
                  </a:moveTo>
                  <a:lnTo>
                    <a:pt x="563" y="1445"/>
                  </a:lnTo>
                  <a:lnTo>
                    <a:pt x="565" y="1445"/>
                  </a:lnTo>
                  <a:close/>
                  <a:moveTo>
                    <a:pt x="557" y="1446"/>
                  </a:moveTo>
                  <a:lnTo>
                    <a:pt x="557" y="1445"/>
                  </a:lnTo>
                  <a:lnTo>
                    <a:pt x="557" y="1446"/>
                  </a:lnTo>
                  <a:close/>
                  <a:moveTo>
                    <a:pt x="508" y="1476"/>
                  </a:moveTo>
                  <a:lnTo>
                    <a:pt x="508" y="1474"/>
                  </a:lnTo>
                  <a:lnTo>
                    <a:pt x="508" y="1476"/>
                  </a:lnTo>
                  <a:close/>
                  <a:moveTo>
                    <a:pt x="449" y="1563"/>
                  </a:moveTo>
                  <a:lnTo>
                    <a:pt x="449" y="1562"/>
                  </a:lnTo>
                  <a:lnTo>
                    <a:pt x="451" y="1562"/>
                  </a:lnTo>
                  <a:lnTo>
                    <a:pt x="451" y="1563"/>
                  </a:lnTo>
                  <a:lnTo>
                    <a:pt x="449" y="1563"/>
                  </a:lnTo>
                  <a:close/>
                  <a:moveTo>
                    <a:pt x="462" y="1565"/>
                  </a:moveTo>
                  <a:lnTo>
                    <a:pt x="461" y="1565"/>
                  </a:lnTo>
                  <a:lnTo>
                    <a:pt x="462" y="1565"/>
                  </a:lnTo>
                  <a:lnTo>
                    <a:pt x="461" y="1563"/>
                  </a:lnTo>
                  <a:lnTo>
                    <a:pt x="462" y="1563"/>
                  </a:lnTo>
                  <a:lnTo>
                    <a:pt x="462" y="1565"/>
                  </a:lnTo>
                  <a:close/>
                  <a:moveTo>
                    <a:pt x="376" y="1876"/>
                  </a:moveTo>
                  <a:lnTo>
                    <a:pt x="378" y="1876"/>
                  </a:lnTo>
                  <a:lnTo>
                    <a:pt x="376" y="1876"/>
                  </a:lnTo>
                  <a:close/>
                  <a:moveTo>
                    <a:pt x="557" y="1372"/>
                  </a:moveTo>
                  <a:lnTo>
                    <a:pt x="558" y="1372"/>
                  </a:lnTo>
                  <a:lnTo>
                    <a:pt x="557" y="1372"/>
                  </a:lnTo>
                  <a:close/>
                  <a:moveTo>
                    <a:pt x="597" y="1336"/>
                  </a:moveTo>
                  <a:lnTo>
                    <a:pt x="597" y="1334"/>
                  </a:lnTo>
                  <a:lnTo>
                    <a:pt x="597" y="1336"/>
                  </a:lnTo>
                  <a:close/>
                  <a:moveTo>
                    <a:pt x="64" y="1622"/>
                  </a:moveTo>
                  <a:lnTo>
                    <a:pt x="65" y="1622"/>
                  </a:lnTo>
                  <a:lnTo>
                    <a:pt x="65" y="1624"/>
                  </a:lnTo>
                  <a:lnTo>
                    <a:pt x="64" y="1622"/>
                  </a:lnTo>
                  <a:close/>
                  <a:moveTo>
                    <a:pt x="472" y="1736"/>
                  </a:moveTo>
                  <a:lnTo>
                    <a:pt x="470" y="1736"/>
                  </a:lnTo>
                  <a:lnTo>
                    <a:pt x="472" y="1736"/>
                  </a:lnTo>
                  <a:close/>
                  <a:moveTo>
                    <a:pt x="2" y="1495"/>
                  </a:moveTo>
                  <a:lnTo>
                    <a:pt x="4" y="1495"/>
                  </a:lnTo>
                  <a:lnTo>
                    <a:pt x="2" y="1495"/>
                  </a:lnTo>
                  <a:close/>
                  <a:moveTo>
                    <a:pt x="584" y="1323"/>
                  </a:moveTo>
                  <a:lnTo>
                    <a:pt x="586" y="1323"/>
                  </a:lnTo>
                  <a:lnTo>
                    <a:pt x="584" y="1323"/>
                  </a:lnTo>
                  <a:lnTo>
                    <a:pt x="584" y="1324"/>
                  </a:lnTo>
                  <a:lnTo>
                    <a:pt x="584" y="1323"/>
                  </a:lnTo>
                  <a:close/>
                  <a:moveTo>
                    <a:pt x="529" y="1477"/>
                  </a:moveTo>
                  <a:lnTo>
                    <a:pt x="527" y="1477"/>
                  </a:lnTo>
                  <a:lnTo>
                    <a:pt x="529" y="1477"/>
                  </a:lnTo>
                  <a:close/>
                  <a:moveTo>
                    <a:pt x="588" y="1381"/>
                  </a:moveTo>
                  <a:lnTo>
                    <a:pt x="588" y="1380"/>
                  </a:lnTo>
                  <a:lnTo>
                    <a:pt x="588" y="1381"/>
                  </a:lnTo>
                  <a:close/>
                  <a:moveTo>
                    <a:pt x="758" y="453"/>
                  </a:moveTo>
                  <a:lnTo>
                    <a:pt x="758" y="451"/>
                  </a:lnTo>
                  <a:lnTo>
                    <a:pt x="758" y="453"/>
                  </a:lnTo>
                  <a:close/>
                  <a:moveTo>
                    <a:pt x="495" y="1435"/>
                  </a:moveTo>
                  <a:lnTo>
                    <a:pt x="496" y="1435"/>
                  </a:lnTo>
                  <a:lnTo>
                    <a:pt x="495" y="1435"/>
                  </a:lnTo>
                  <a:close/>
                  <a:moveTo>
                    <a:pt x="581" y="1372"/>
                  </a:moveTo>
                  <a:lnTo>
                    <a:pt x="583" y="1372"/>
                  </a:lnTo>
                  <a:lnTo>
                    <a:pt x="581" y="1372"/>
                  </a:lnTo>
                  <a:lnTo>
                    <a:pt x="581" y="1370"/>
                  </a:lnTo>
                  <a:lnTo>
                    <a:pt x="581" y="1372"/>
                  </a:lnTo>
                  <a:close/>
                  <a:moveTo>
                    <a:pt x="654" y="487"/>
                  </a:moveTo>
                  <a:lnTo>
                    <a:pt x="656" y="487"/>
                  </a:lnTo>
                  <a:lnTo>
                    <a:pt x="654" y="487"/>
                  </a:lnTo>
                  <a:close/>
                  <a:moveTo>
                    <a:pt x="389" y="1876"/>
                  </a:moveTo>
                  <a:lnTo>
                    <a:pt x="387" y="1876"/>
                  </a:lnTo>
                  <a:lnTo>
                    <a:pt x="389" y="1876"/>
                  </a:lnTo>
                  <a:close/>
                  <a:moveTo>
                    <a:pt x="52" y="1658"/>
                  </a:moveTo>
                  <a:lnTo>
                    <a:pt x="52" y="1659"/>
                  </a:lnTo>
                  <a:lnTo>
                    <a:pt x="52" y="1658"/>
                  </a:lnTo>
                  <a:close/>
                  <a:moveTo>
                    <a:pt x="69" y="1674"/>
                  </a:moveTo>
                  <a:lnTo>
                    <a:pt x="69" y="1676"/>
                  </a:lnTo>
                  <a:lnTo>
                    <a:pt x="69" y="1674"/>
                  </a:lnTo>
                  <a:close/>
                  <a:moveTo>
                    <a:pt x="17" y="1510"/>
                  </a:moveTo>
                  <a:lnTo>
                    <a:pt x="17" y="1511"/>
                  </a:lnTo>
                  <a:lnTo>
                    <a:pt x="17" y="1510"/>
                  </a:lnTo>
                  <a:close/>
                  <a:moveTo>
                    <a:pt x="609" y="1329"/>
                  </a:moveTo>
                  <a:lnTo>
                    <a:pt x="609" y="1331"/>
                  </a:lnTo>
                  <a:lnTo>
                    <a:pt x="609" y="1329"/>
                  </a:lnTo>
                  <a:close/>
                  <a:moveTo>
                    <a:pt x="436" y="1601"/>
                  </a:moveTo>
                  <a:lnTo>
                    <a:pt x="438" y="1601"/>
                  </a:lnTo>
                  <a:lnTo>
                    <a:pt x="436" y="1601"/>
                  </a:lnTo>
                  <a:close/>
                  <a:moveTo>
                    <a:pt x="449" y="1531"/>
                  </a:moveTo>
                  <a:lnTo>
                    <a:pt x="449" y="1533"/>
                  </a:lnTo>
                  <a:lnTo>
                    <a:pt x="449" y="1531"/>
                  </a:lnTo>
                  <a:close/>
                  <a:moveTo>
                    <a:pt x="459" y="1565"/>
                  </a:moveTo>
                  <a:lnTo>
                    <a:pt x="457" y="1565"/>
                  </a:lnTo>
                  <a:lnTo>
                    <a:pt x="457" y="1563"/>
                  </a:lnTo>
                  <a:lnTo>
                    <a:pt x="459" y="1563"/>
                  </a:lnTo>
                  <a:lnTo>
                    <a:pt x="459" y="1565"/>
                  </a:lnTo>
                  <a:close/>
                  <a:moveTo>
                    <a:pt x="589" y="1320"/>
                  </a:moveTo>
                  <a:lnTo>
                    <a:pt x="588" y="1320"/>
                  </a:lnTo>
                  <a:lnTo>
                    <a:pt x="589" y="1320"/>
                  </a:lnTo>
                  <a:close/>
                  <a:moveTo>
                    <a:pt x="766" y="438"/>
                  </a:moveTo>
                  <a:lnTo>
                    <a:pt x="765" y="438"/>
                  </a:lnTo>
                  <a:lnTo>
                    <a:pt x="766" y="438"/>
                  </a:lnTo>
                  <a:close/>
                  <a:moveTo>
                    <a:pt x="623" y="620"/>
                  </a:moveTo>
                  <a:lnTo>
                    <a:pt x="623" y="619"/>
                  </a:lnTo>
                  <a:lnTo>
                    <a:pt x="623" y="620"/>
                  </a:lnTo>
                  <a:close/>
                  <a:moveTo>
                    <a:pt x="451" y="1539"/>
                  </a:moveTo>
                  <a:lnTo>
                    <a:pt x="453" y="1539"/>
                  </a:lnTo>
                  <a:lnTo>
                    <a:pt x="451" y="1539"/>
                  </a:lnTo>
                  <a:close/>
                  <a:moveTo>
                    <a:pt x="449" y="1617"/>
                  </a:moveTo>
                  <a:lnTo>
                    <a:pt x="449" y="1616"/>
                  </a:lnTo>
                  <a:lnTo>
                    <a:pt x="451" y="1616"/>
                  </a:lnTo>
                  <a:lnTo>
                    <a:pt x="451" y="1617"/>
                  </a:lnTo>
                  <a:lnTo>
                    <a:pt x="451" y="1616"/>
                  </a:lnTo>
                  <a:lnTo>
                    <a:pt x="449" y="1616"/>
                  </a:lnTo>
                  <a:lnTo>
                    <a:pt x="449" y="1617"/>
                  </a:lnTo>
                  <a:close/>
                  <a:moveTo>
                    <a:pt x="597" y="1328"/>
                  </a:moveTo>
                  <a:lnTo>
                    <a:pt x="597" y="1326"/>
                  </a:lnTo>
                  <a:lnTo>
                    <a:pt x="597" y="1328"/>
                  </a:lnTo>
                  <a:close/>
                  <a:moveTo>
                    <a:pt x="10" y="1487"/>
                  </a:moveTo>
                  <a:lnTo>
                    <a:pt x="12" y="1487"/>
                  </a:lnTo>
                  <a:lnTo>
                    <a:pt x="10" y="1487"/>
                  </a:lnTo>
                  <a:close/>
                  <a:moveTo>
                    <a:pt x="594" y="1368"/>
                  </a:moveTo>
                  <a:lnTo>
                    <a:pt x="596" y="1368"/>
                  </a:lnTo>
                  <a:lnTo>
                    <a:pt x="594" y="1368"/>
                  </a:lnTo>
                  <a:close/>
                  <a:moveTo>
                    <a:pt x="591" y="1396"/>
                  </a:moveTo>
                  <a:lnTo>
                    <a:pt x="592" y="1398"/>
                  </a:lnTo>
                  <a:lnTo>
                    <a:pt x="591" y="1398"/>
                  </a:lnTo>
                  <a:lnTo>
                    <a:pt x="591" y="1396"/>
                  </a:lnTo>
                  <a:lnTo>
                    <a:pt x="592" y="1396"/>
                  </a:lnTo>
                  <a:lnTo>
                    <a:pt x="591" y="1396"/>
                  </a:lnTo>
                  <a:close/>
                  <a:moveTo>
                    <a:pt x="443" y="1549"/>
                  </a:moveTo>
                  <a:lnTo>
                    <a:pt x="443" y="1550"/>
                  </a:lnTo>
                  <a:lnTo>
                    <a:pt x="443" y="1549"/>
                  </a:lnTo>
                  <a:close/>
                  <a:moveTo>
                    <a:pt x="59" y="1655"/>
                  </a:moveTo>
                  <a:lnTo>
                    <a:pt x="59" y="1656"/>
                  </a:lnTo>
                  <a:lnTo>
                    <a:pt x="59" y="1655"/>
                  </a:lnTo>
                  <a:close/>
                  <a:moveTo>
                    <a:pt x="501" y="1461"/>
                  </a:moveTo>
                  <a:lnTo>
                    <a:pt x="503" y="1461"/>
                  </a:lnTo>
                  <a:lnTo>
                    <a:pt x="501" y="1461"/>
                  </a:lnTo>
                  <a:lnTo>
                    <a:pt x="501" y="1459"/>
                  </a:lnTo>
                  <a:lnTo>
                    <a:pt x="501" y="1461"/>
                  </a:lnTo>
                  <a:lnTo>
                    <a:pt x="503" y="1461"/>
                  </a:lnTo>
                  <a:lnTo>
                    <a:pt x="501" y="1461"/>
                  </a:lnTo>
                  <a:close/>
                  <a:moveTo>
                    <a:pt x="22" y="1575"/>
                  </a:moveTo>
                  <a:lnTo>
                    <a:pt x="22" y="1573"/>
                  </a:lnTo>
                  <a:lnTo>
                    <a:pt x="23" y="1573"/>
                  </a:lnTo>
                  <a:lnTo>
                    <a:pt x="23" y="1575"/>
                  </a:lnTo>
                  <a:lnTo>
                    <a:pt x="22" y="1575"/>
                  </a:lnTo>
                  <a:close/>
                  <a:moveTo>
                    <a:pt x="615" y="723"/>
                  </a:moveTo>
                  <a:lnTo>
                    <a:pt x="615" y="724"/>
                  </a:lnTo>
                  <a:lnTo>
                    <a:pt x="615" y="723"/>
                  </a:lnTo>
                  <a:close/>
                  <a:moveTo>
                    <a:pt x="57" y="1669"/>
                  </a:moveTo>
                  <a:lnTo>
                    <a:pt x="57" y="1668"/>
                  </a:lnTo>
                  <a:lnTo>
                    <a:pt x="57" y="1669"/>
                  </a:lnTo>
                  <a:close/>
                  <a:moveTo>
                    <a:pt x="488" y="1492"/>
                  </a:moveTo>
                  <a:lnTo>
                    <a:pt x="488" y="1490"/>
                  </a:lnTo>
                  <a:lnTo>
                    <a:pt x="488" y="1492"/>
                  </a:lnTo>
                  <a:lnTo>
                    <a:pt x="488" y="1490"/>
                  </a:lnTo>
                  <a:lnTo>
                    <a:pt x="488" y="1492"/>
                  </a:lnTo>
                  <a:close/>
                  <a:moveTo>
                    <a:pt x="574" y="1399"/>
                  </a:moveTo>
                  <a:lnTo>
                    <a:pt x="574" y="1398"/>
                  </a:lnTo>
                  <a:lnTo>
                    <a:pt x="576" y="1398"/>
                  </a:lnTo>
                  <a:lnTo>
                    <a:pt x="576" y="1399"/>
                  </a:lnTo>
                  <a:lnTo>
                    <a:pt x="574" y="1399"/>
                  </a:lnTo>
                  <a:close/>
                  <a:moveTo>
                    <a:pt x="57" y="1640"/>
                  </a:moveTo>
                  <a:lnTo>
                    <a:pt x="56" y="1640"/>
                  </a:lnTo>
                  <a:lnTo>
                    <a:pt x="57" y="1640"/>
                  </a:lnTo>
                  <a:close/>
                  <a:moveTo>
                    <a:pt x="732" y="448"/>
                  </a:moveTo>
                  <a:lnTo>
                    <a:pt x="734" y="448"/>
                  </a:lnTo>
                  <a:lnTo>
                    <a:pt x="732" y="448"/>
                  </a:lnTo>
                  <a:close/>
                  <a:moveTo>
                    <a:pt x="563" y="788"/>
                  </a:moveTo>
                  <a:lnTo>
                    <a:pt x="563" y="789"/>
                  </a:lnTo>
                  <a:lnTo>
                    <a:pt x="563" y="788"/>
                  </a:lnTo>
                  <a:close/>
                  <a:moveTo>
                    <a:pt x="43" y="1616"/>
                  </a:moveTo>
                  <a:lnTo>
                    <a:pt x="44" y="1616"/>
                  </a:lnTo>
                  <a:lnTo>
                    <a:pt x="44" y="1617"/>
                  </a:lnTo>
                  <a:lnTo>
                    <a:pt x="43" y="1617"/>
                  </a:lnTo>
                  <a:lnTo>
                    <a:pt x="43" y="1616"/>
                  </a:lnTo>
                  <a:close/>
                  <a:moveTo>
                    <a:pt x="560" y="1362"/>
                  </a:moveTo>
                  <a:lnTo>
                    <a:pt x="560" y="1360"/>
                  </a:lnTo>
                  <a:lnTo>
                    <a:pt x="561" y="1362"/>
                  </a:lnTo>
                  <a:lnTo>
                    <a:pt x="560" y="1362"/>
                  </a:lnTo>
                  <a:close/>
                  <a:moveTo>
                    <a:pt x="441" y="1622"/>
                  </a:moveTo>
                  <a:lnTo>
                    <a:pt x="440" y="1622"/>
                  </a:lnTo>
                  <a:lnTo>
                    <a:pt x="441" y="1622"/>
                  </a:lnTo>
                  <a:close/>
                  <a:moveTo>
                    <a:pt x="674" y="376"/>
                  </a:moveTo>
                  <a:lnTo>
                    <a:pt x="674" y="375"/>
                  </a:lnTo>
                  <a:lnTo>
                    <a:pt x="674" y="376"/>
                  </a:lnTo>
                  <a:close/>
                  <a:moveTo>
                    <a:pt x="548" y="1373"/>
                  </a:moveTo>
                  <a:lnTo>
                    <a:pt x="547" y="1373"/>
                  </a:lnTo>
                  <a:lnTo>
                    <a:pt x="548" y="1373"/>
                  </a:lnTo>
                  <a:lnTo>
                    <a:pt x="548" y="1372"/>
                  </a:lnTo>
                  <a:lnTo>
                    <a:pt x="548" y="1373"/>
                  </a:lnTo>
                  <a:close/>
                  <a:moveTo>
                    <a:pt x="391" y="1876"/>
                  </a:moveTo>
                  <a:lnTo>
                    <a:pt x="391" y="1874"/>
                  </a:lnTo>
                  <a:lnTo>
                    <a:pt x="392" y="1876"/>
                  </a:lnTo>
                  <a:lnTo>
                    <a:pt x="391" y="1876"/>
                  </a:lnTo>
                  <a:close/>
                  <a:moveTo>
                    <a:pt x="618" y="765"/>
                  </a:moveTo>
                  <a:lnTo>
                    <a:pt x="620" y="765"/>
                  </a:lnTo>
                  <a:lnTo>
                    <a:pt x="618" y="765"/>
                  </a:lnTo>
                  <a:lnTo>
                    <a:pt x="618" y="763"/>
                  </a:lnTo>
                  <a:lnTo>
                    <a:pt x="618" y="765"/>
                  </a:lnTo>
                  <a:close/>
                  <a:moveTo>
                    <a:pt x="412" y="1846"/>
                  </a:moveTo>
                  <a:lnTo>
                    <a:pt x="413" y="1846"/>
                  </a:lnTo>
                  <a:lnTo>
                    <a:pt x="412" y="1846"/>
                  </a:lnTo>
                  <a:close/>
                  <a:moveTo>
                    <a:pt x="453" y="1518"/>
                  </a:moveTo>
                  <a:lnTo>
                    <a:pt x="453" y="1520"/>
                  </a:lnTo>
                  <a:lnTo>
                    <a:pt x="451" y="1518"/>
                  </a:lnTo>
                  <a:lnTo>
                    <a:pt x="453" y="1518"/>
                  </a:lnTo>
                  <a:close/>
                  <a:moveTo>
                    <a:pt x="451" y="1572"/>
                  </a:moveTo>
                  <a:lnTo>
                    <a:pt x="451" y="1570"/>
                  </a:lnTo>
                  <a:lnTo>
                    <a:pt x="453" y="1570"/>
                  </a:lnTo>
                  <a:lnTo>
                    <a:pt x="453" y="1572"/>
                  </a:lnTo>
                  <a:lnTo>
                    <a:pt x="453" y="1570"/>
                  </a:lnTo>
                  <a:lnTo>
                    <a:pt x="451" y="1572"/>
                  </a:lnTo>
                  <a:close/>
                  <a:moveTo>
                    <a:pt x="52" y="1655"/>
                  </a:moveTo>
                  <a:lnTo>
                    <a:pt x="54" y="1655"/>
                  </a:lnTo>
                  <a:lnTo>
                    <a:pt x="52" y="1655"/>
                  </a:lnTo>
                  <a:close/>
                  <a:moveTo>
                    <a:pt x="22" y="1534"/>
                  </a:moveTo>
                  <a:lnTo>
                    <a:pt x="23" y="1534"/>
                  </a:lnTo>
                  <a:lnTo>
                    <a:pt x="22" y="1534"/>
                  </a:lnTo>
                  <a:close/>
                  <a:moveTo>
                    <a:pt x="596" y="755"/>
                  </a:moveTo>
                  <a:lnTo>
                    <a:pt x="596" y="757"/>
                  </a:lnTo>
                  <a:lnTo>
                    <a:pt x="594" y="757"/>
                  </a:lnTo>
                  <a:lnTo>
                    <a:pt x="594" y="755"/>
                  </a:lnTo>
                  <a:lnTo>
                    <a:pt x="596" y="755"/>
                  </a:lnTo>
                  <a:close/>
                  <a:moveTo>
                    <a:pt x="680" y="466"/>
                  </a:moveTo>
                  <a:lnTo>
                    <a:pt x="682" y="466"/>
                  </a:lnTo>
                  <a:lnTo>
                    <a:pt x="680" y="466"/>
                  </a:lnTo>
                  <a:close/>
                  <a:moveTo>
                    <a:pt x="573" y="1425"/>
                  </a:moveTo>
                  <a:lnTo>
                    <a:pt x="574" y="1425"/>
                  </a:lnTo>
                  <a:lnTo>
                    <a:pt x="573" y="1425"/>
                  </a:lnTo>
                  <a:close/>
                  <a:moveTo>
                    <a:pt x="566" y="1419"/>
                  </a:moveTo>
                  <a:lnTo>
                    <a:pt x="568" y="1419"/>
                  </a:lnTo>
                  <a:lnTo>
                    <a:pt x="568" y="1420"/>
                  </a:lnTo>
                  <a:lnTo>
                    <a:pt x="566" y="1420"/>
                  </a:lnTo>
                  <a:lnTo>
                    <a:pt x="566" y="1419"/>
                  </a:lnTo>
                  <a:lnTo>
                    <a:pt x="568" y="1419"/>
                  </a:lnTo>
                  <a:lnTo>
                    <a:pt x="566" y="1419"/>
                  </a:lnTo>
                  <a:close/>
                  <a:moveTo>
                    <a:pt x="13" y="1487"/>
                  </a:moveTo>
                  <a:lnTo>
                    <a:pt x="15" y="1487"/>
                  </a:lnTo>
                  <a:lnTo>
                    <a:pt x="13" y="1487"/>
                  </a:lnTo>
                  <a:close/>
                  <a:moveTo>
                    <a:pt x="588" y="1383"/>
                  </a:moveTo>
                  <a:lnTo>
                    <a:pt x="588" y="1381"/>
                  </a:lnTo>
                  <a:lnTo>
                    <a:pt x="589" y="1381"/>
                  </a:lnTo>
                  <a:lnTo>
                    <a:pt x="589" y="1383"/>
                  </a:lnTo>
                  <a:lnTo>
                    <a:pt x="588" y="1383"/>
                  </a:lnTo>
                  <a:close/>
                  <a:moveTo>
                    <a:pt x="428" y="1116"/>
                  </a:moveTo>
                  <a:lnTo>
                    <a:pt x="430" y="1116"/>
                  </a:lnTo>
                  <a:lnTo>
                    <a:pt x="428" y="1116"/>
                  </a:lnTo>
                  <a:close/>
                  <a:moveTo>
                    <a:pt x="446" y="1520"/>
                  </a:moveTo>
                  <a:lnTo>
                    <a:pt x="448" y="1520"/>
                  </a:lnTo>
                  <a:lnTo>
                    <a:pt x="448" y="1521"/>
                  </a:lnTo>
                  <a:lnTo>
                    <a:pt x="446" y="1520"/>
                  </a:lnTo>
                  <a:close/>
                  <a:moveTo>
                    <a:pt x="454" y="1536"/>
                  </a:moveTo>
                  <a:lnTo>
                    <a:pt x="454" y="1537"/>
                  </a:lnTo>
                  <a:lnTo>
                    <a:pt x="454" y="1536"/>
                  </a:lnTo>
                  <a:close/>
                  <a:moveTo>
                    <a:pt x="649" y="498"/>
                  </a:moveTo>
                  <a:lnTo>
                    <a:pt x="649" y="500"/>
                  </a:lnTo>
                  <a:lnTo>
                    <a:pt x="649" y="498"/>
                  </a:lnTo>
                  <a:close/>
                  <a:moveTo>
                    <a:pt x="558" y="1415"/>
                  </a:moveTo>
                  <a:lnTo>
                    <a:pt x="560" y="1415"/>
                  </a:lnTo>
                  <a:lnTo>
                    <a:pt x="560" y="1417"/>
                  </a:lnTo>
                  <a:lnTo>
                    <a:pt x="558" y="1415"/>
                  </a:lnTo>
                  <a:close/>
                  <a:moveTo>
                    <a:pt x="594" y="1331"/>
                  </a:moveTo>
                  <a:lnTo>
                    <a:pt x="594" y="1329"/>
                  </a:lnTo>
                  <a:lnTo>
                    <a:pt x="594" y="1331"/>
                  </a:lnTo>
                  <a:close/>
                  <a:moveTo>
                    <a:pt x="578" y="1337"/>
                  </a:moveTo>
                  <a:lnTo>
                    <a:pt x="578" y="1336"/>
                  </a:lnTo>
                  <a:lnTo>
                    <a:pt x="578" y="1337"/>
                  </a:lnTo>
                  <a:close/>
                  <a:moveTo>
                    <a:pt x="597" y="1326"/>
                  </a:moveTo>
                  <a:lnTo>
                    <a:pt x="596" y="1326"/>
                  </a:lnTo>
                  <a:lnTo>
                    <a:pt x="596" y="1324"/>
                  </a:lnTo>
                  <a:lnTo>
                    <a:pt x="597" y="1326"/>
                  </a:lnTo>
                  <a:close/>
                  <a:moveTo>
                    <a:pt x="535" y="1391"/>
                  </a:moveTo>
                  <a:lnTo>
                    <a:pt x="535" y="1389"/>
                  </a:lnTo>
                  <a:lnTo>
                    <a:pt x="537" y="1389"/>
                  </a:lnTo>
                  <a:lnTo>
                    <a:pt x="535" y="1391"/>
                  </a:lnTo>
                  <a:close/>
                  <a:moveTo>
                    <a:pt x="412" y="1851"/>
                  </a:moveTo>
                  <a:lnTo>
                    <a:pt x="412" y="1850"/>
                  </a:lnTo>
                  <a:lnTo>
                    <a:pt x="412" y="1851"/>
                  </a:lnTo>
                  <a:close/>
                  <a:moveTo>
                    <a:pt x="617" y="1355"/>
                  </a:moveTo>
                  <a:lnTo>
                    <a:pt x="618" y="1355"/>
                  </a:lnTo>
                  <a:lnTo>
                    <a:pt x="617" y="1355"/>
                  </a:lnTo>
                  <a:close/>
                  <a:moveTo>
                    <a:pt x="457" y="1560"/>
                  </a:moveTo>
                  <a:lnTo>
                    <a:pt x="457" y="1559"/>
                  </a:lnTo>
                  <a:lnTo>
                    <a:pt x="457" y="1560"/>
                  </a:lnTo>
                  <a:close/>
                  <a:moveTo>
                    <a:pt x="565" y="789"/>
                  </a:moveTo>
                  <a:lnTo>
                    <a:pt x="566" y="791"/>
                  </a:lnTo>
                  <a:lnTo>
                    <a:pt x="565" y="791"/>
                  </a:lnTo>
                  <a:lnTo>
                    <a:pt x="565" y="789"/>
                  </a:lnTo>
                  <a:close/>
                  <a:moveTo>
                    <a:pt x="625" y="1603"/>
                  </a:moveTo>
                  <a:lnTo>
                    <a:pt x="627" y="1603"/>
                  </a:lnTo>
                  <a:lnTo>
                    <a:pt x="625" y="1603"/>
                  </a:lnTo>
                  <a:close/>
                  <a:moveTo>
                    <a:pt x="438" y="1059"/>
                  </a:moveTo>
                  <a:lnTo>
                    <a:pt x="438" y="1061"/>
                  </a:lnTo>
                  <a:lnTo>
                    <a:pt x="438" y="1059"/>
                  </a:lnTo>
                  <a:close/>
                  <a:moveTo>
                    <a:pt x="467" y="1215"/>
                  </a:moveTo>
                  <a:lnTo>
                    <a:pt x="467" y="1214"/>
                  </a:lnTo>
                  <a:lnTo>
                    <a:pt x="467" y="1215"/>
                  </a:lnTo>
                  <a:close/>
                  <a:moveTo>
                    <a:pt x="480" y="1485"/>
                  </a:moveTo>
                  <a:lnTo>
                    <a:pt x="482" y="1485"/>
                  </a:lnTo>
                  <a:lnTo>
                    <a:pt x="480" y="1485"/>
                  </a:lnTo>
                  <a:close/>
                  <a:moveTo>
                    <a:pt x="446" y="1534"/>
                  </a:moveTo>
                  <a:lnTo>
                    <a:pt x="446" y="1536"/>
                  </a:lnTo>
                  <a:lnTo>
                    <a:pt x="446" y="1534"/>
                  </a:lnTo>
                  <a:close/>
                  <a:moveTo>
                    <a:pt x="441" y="1723"/>
                  </a:moveTo>
                  <a:lnTo>
                    <a:pt x="443" y="1723"/>
                  </a:lnTo>
                  <a:lnTo>
                    <a:pt x="441" y="1723"/>
                  </a:lnTo>
                  <a:lnTo>
                    <a:pt x="441" y="1721"/>
                  </a:lnTo>
                  <a:lnTo>
                    <a:pt x="443" y="1721"/>
                  </a:lnTo>
                  <a:lnTo>
                    <a:pt x="441" y="1723"/>
                  </a:lnTo>
                  <a:close/>
                  <a:moveTo>
                    <a:pt x="500" y="1440"/>
                  </a:moveTo>
                  <a:lnTo>
                    <a:pt x="500" y="1438"/>
                  </a:lnTo>
                  <a:lnTo>
                    <a:pt x="500" y="1440"/>
                  </a:lnTo>
                  <a:close/>
                  <a:moveTo>
                    <a:pt x="451" y="1552"/>
                  </a:moveTo>
                  <a:lnTo>
                    <a:pt x="449" y="1552"/>
                  </a:lnTo>
                  <a:lnTo>
                    <a:pt x="451" y="1552"/>
                  </a:lnTo>
                  <a:close/>
                  <a:moveTo>
                    <a:pt x="625" y="755"/>
                  </a:moveTo>
                  <a:lnTo>
                    <a:pt x="623" y="755"/>
                  </a:lnTo>
                  <a:lnTo>
                    <a:pt x="623" y="754"/>
                  </a:lnTo>
                  <a:lnTo>
                    <a:pt x="625" y="755"/>
                  </a:lnTo>
                  <a:close/>
                  <a:moveTo>
                    <a:pt x="342" y="1874"/>
                  </a:moveTo>
                  <a:lnTo>
                    <a:pt x="340" y="1874"/>
                  </a:lnTo>
                  <a:lnTo>
                    <a:pt x="340" y="1873"/>
                  </a:lnTo>
                  <a:lnTo>
                    <a:pt x="342" y="1873"/>
                  </a:lnTo>
                  <a:lnTo>
                    <a:pt x="342" y="1874"/>
                  </a:lnTo>
                  <a:close/>
                  <a:moveTo>
                    <a:pt x="539" y="1245"/>
                  </a:moveTo>
                  <a:lnTo>
                    <a:pt x="539" y="1243"/>
                  </a:lnTo>
                  <a:lnTo>
                    <a:pt x="539" y="1245"/>
                  </a:lnTo>
                  <a:close/>
                  <a:moveTo>
                    <a:pt x="423" y="1079"/>
                  </a:moveTo>
                  <a:lnTo>
                    <a:pt x="423" y="1077"/>
                  </a:lnTo>
                  <a:lnTo>
                    <a:pt x="425" y="1079"/>
                  </a:lnTo>
                  <a:lnTo>
                    <a:pt x="423" y="1079"/>
                  </a:lnTo>
                  <a:close/>
                  <a:moveTo>
                    <a:pt x="605" y="1344"/>
                  </a:moveTo>
                  <a:lnTo>
                    <a:pt x="604" y="1344"/>
                  </a:lnTo>
                  <a:lnTo>
                    <a:pt x="605" y="1344"/>
                  </a:lnTo>
                  <a:close/>
                  <a:moveTo>
                    <a:pt x="426" y="1136"/>
                  </a:moveTo>
                  <a:lnTo>
                    <a:pt x="428" y="1136"/>
                  </a:lnTo>
                  <a:lnTo>
                    <a:pt x="426" y="1136"/>
                  </a:lnTo>
                  <a:close/>
                  <a:moveTo>
                    <a:pt x="475" y="893"/>
                  </a:moveTo>
                  <a:lnTo>
                    <a:pt x="475" y="895"/>
                  </a:lnTo>
                  <a:lnTo>
                    <a:pt x="474" y="893"/>
                  </a:lnTo>
                  <a:lnTo>
                    <a:pt x="475" y="893"/>
                  </a:lnTo>
                  <a:close/>
                  <a:moveTo>
                    <a:pt x="513" y="1477"/>
                  </a:moveTo>
                  <a:lnTo>
                    <a:pt x="514" y="1477"/>
                  </a:lnTo>
                  <a:lnTo>
                    <a:pt x="513" y="1477"/>
                  </a:lnTo>
                  <a:close/>
                  <a:moveTo>
                    <a:pt x="457" y="1550"/>
                  </a:moveTo>
                  <a:lnTo>
                    <a:pt x="457" y="1549"/>
                  </a:lnTo>
                  <a:lnTo>
                    <a:pt x="457" y="1550"/>
                  </a:lnTo>
                  <a:close/>
                  <a:moveTo>
                    <a:pt x="459" y="1550"/>
                  </a:moveTo>
                  <a:lnTo>
                    <a:pt x="457" y="1550"/>
                  </a:lnTo>
                  <a:lnTo>
                    <a:pt x="459" y="1550"/>
                  </a:lnTo>
                  <a:close/>
                  <a:moveTo>
                    <a:pt x="448" y="1585"/>
                  </a:moveTo>
                  <a:lnTo>
                    <a:pt x="449" y="1585"/>
                  </a:lnTo>
                  <a:lnTo>
                    <a:pt x="448" y="1586"/>
                  </a:lnTo>
                  <a:lnTo>
                    <a:pt x="448" y="1585"/>
                  </a:lnTo>
                  <a:close/>
                  <a:moveTo>
                    <a:pt x="599" y="1383"/>
                  </a:moveTo>
                  <a:lnTo>
                    <a:pt x="599" y="1385"/>
                  </a:lnTo>
                  <a:lnTo>
                    <a:pt x="599" y="1383"/>
                  </a:lnTo>
                  <a:close/>
                  <a:moveTo>
                    <a:pt x="449" y="1612"/>
                  </a:moveTo>
                  <a:lnTo>
                    <a:pt x="451" y="1614"/>
                  </a:lnTo>
                  <a:lnTo>
                    <a:pt x="449" y="1614"/>
                  </a:lnTo>
                  <a:lnTo>
                    <a:pt x="449" y="1612"/>
                  </a:lnTo>
                  <a:close/>
                  <a:moveTo>
                    <a:pt x="431" y="1131"/>
                  </a:moveTo>
                  <a:lnTo>
                    <a:pt x="431" y="1132"/>
                  </a:lnTo>
                  <a:lnTo>
                    <a:pt x="431" y="1131"/>
                  </a:lnTo>
                  <a:close/>
                  <a:moveTo>
                    <a:pt x="392" y="1874"/>
                  </a:moveTo>
                  <a:lnTo>
                    <a:pt x="392" y="1876"/>
                  </a:lnTo>
                  <a:lnTo>
                    <a:pt x="392" y="1874"/>
                  </a:lnTo>
                  <a:close/>
                  <a:moveTo>
                    <a:pt x="490" y="1479"/>
                  </a:moveTo>
                  <a:lnTo>
                    <a:pt x="490" y="1481"/>
                  </a:lnTo>
                  <a:lnTo>
                    <a:pt x="490" y="1479"/>
                  </a:lnTo>
                  <a:close/>
                  <a:moveTo>
                    <a:pt x="56" y="1650"/>
                  </a:moveTo>
                  <a:lnTo>
                    <a:pt x="57" y="1650"/>
                  </a:lnTo>
                  <a:lnTo>
                    <a:pt x="56" y="1650"/>
                  </a:lnTo>
                  <a:close/>
                  <a:moveTo>
                    <a:pt x="428" y="1072"/>
                  </a:moveTo>
                  <a:lnTo>
                    <a:pt x="430" y="1072"/>
                  </a:lnTo>
                  <a:lnTo>
                    <a:pt x="428" y="1072"/>
                  </a:lnTo>
                  <a:close/>
                  <a:moveTo>
                    <a:pt x="586" y="1368"/>
                  </a:moveTo>
                  <a:lnTo>
                    <a:pt x="586" y="1367"/>
                  </a:lnTo>
                  <a:lnTo>
                    <a:pt x="586" y="1368"/>
                  </a:lnTo>
                  <a:close/>
                  <a:moveTo>
                    <a:pt x="618" y="706"/>
                  </a:moveTo>
                  <a:lnTo>
                    <a:pt x="618" y="708"/>
                  </a:lnTo>
                  <a:lnTo>
                    <a:pt x="618" y="706"/>
                  </a:lnTo>
                  <a:close/>
                  <a:moveTo>
                    <a:pt x="531" y="1232"/>
                  </a:moveTo>
                  <a:lnTo>
                    <a:pt x="531" y="1233"/>
                  </a:lnTo>
                  <a:lnTo>
                    <a:pt x="531" y="1232"/>
                  </a:lnTo>
                  <a:lnTo>
                    <a:pt x="531" y="1233"/>
                  </a:lnTo>
                  <a:lnTo>
                    <a:pt x="531" y="1232"/>
                  </a:lnTo>
                  <a:close/>
                  <a:moveTo>
                    <a:pt x="531" y="1459"/>
                  </a:moveTo>
                  <a:lnTo>
                    <a:pt x="531" y="1461"/>
                  </a:lnTo>
                  <a:lnTo>
                    <a:pt x="531" y="1459"/>
                  </a:lnTo>
                  <a:close/>
                  <a:moveTo>
                    <a:pt x="446" y="1541"/>
                  </a:moveTo>
                  <a:lnTo>
                    <a:pt x="448" y="1541"/>
                  </a:lnTo>
                  <a:lnTo>
                    <a:pt x="446" y="1541"/>
                  </a:lnTo>
                  <a:close/>
                  <a:moveTo>
                    <a:pt x="680" y="443"/>
                  </a:moveTo>
                  <a:lnTo>
                    <a:pt x="682" y="443"/>
                  </a:lnTo>
                  <a:lnTo>
                    <a:pt x="682" y="445"/>
                  </a:lnTo>
                  <a:lnTo>
                    <a:pt x="680" y="443"/>
                  </a:lnTo>
                  <a:close/>
                  <a:moveTo>
                    <a:pt x="610" y="1590"/>
                  </a:moveTo>
                  <a:lnTo>
                    <a:pt x="610" y="1591"/>
                  </a:lnTo>
                  <a:lnTo>
                    <a:pt x="610" y="1590"/>
                  </a:lnTo>
                  <a:lnTo>
                    <a:pt x="612" y="1590"/>
                  </a:lnTo>
                  <a:lnTo>
                    <a:pt x="610" y="1590"/>
                  </a:lnTo>
                  <a:close/>
                  <a:moveTo>
                    <a:pt x="666" y="443"/>
                  </a:moveTo>
                  <a:lnTo>
                    <a:pt x="666" y="445"/>
                  </a:lnTo>
                  <a:lnTo>
                    <a:pt x="666" y="443"/>
                  </a:lnTo>
                  <a:close/>
                  <a:moveTo>
                    <a:pt x="449" y="1640"/>
                  </a:moveTo>
                  <a:lnTo>
                    <a:pt x="448" y="1640"/>
                  </a:lnTo>
                  <a:lnTo>
                    <a:pt x="449" y="1640"/>
                  </a:lnTo>
                  <a:close/>
                  <a:moveTo>
                    <a:pt x="412" y="1848"/>
                  </a:moveTo>
                  <a:lnTo>
                    <a:pt x="413" y="1848"/>
                  </a:lnTo>
                  <a:lnTo>
                    <a:pt x="412" y="1848"/>
                  </a:lnTo>
                  <a:close/>
                  <a:moveTo>
                    <a:pt x="570" y="1396"/>
                  </a:moveTo>
                  <a:lnTo>
                    <a:pt x="571" y="1396"/>
                  </a:lnTo>
                  <a:lnTo>
                    <a:pt x="570" y="1396"/>
                  </a:lnTo>
                  <a:close/>
                  <a:moveTo>
                    <a:pt x="594" y="1329"/>
                  </a:moveTo>
                  <a:lnTo>
                    <a:pt x="596" y="1329"/>
                  </a:lnTo>
                  <a:lnTo>
                    <a:pt x="594" y="1329"/>
                  </a:lnTo>
                  <a:lnTo>
                    <a:pt x="596" y="1329"/>
                  </a:lnTo>
                  <a:lnTo>
                    <a:pt x="594" y="1329"/>
                  </a:lnTo>
                  <a:close/>
                  <a:moveTo>
                    <a:pt x="724" y="433"/>
                  </a:moveTo>
                  <a:lnTo>
                    <a:pt x="726" y="433"/>
                  </a:lnTo>
                  <a:lnTo>
                    <a:pt x="724" y="433"/>
                  </a:lnTo>
                  <a:close/>
                  <a:moveTo>
                    <a:pt x="555" y="1443"/>
                  </a:moveTo>
                  <a:lnTo>
                    <a:pt x="557" y="1443"/>
                  </a:lnTo>
                  <a:lnTo>
                    <a:pt x="555" y="1443"/>
                  </a:lnTo>
                  <a:close/>
                  <a:moveTo>
                    <a:pt x="573" y="1365"/>
                  </a:moveTo>
                  <a:lnTo>
                    <a:pt x="574" y="1363"/>
                  </a:lnTo>
                  <a:lnTo>
                    <a:pt x="574" y="1365"/>
                  </a:lnTo>
                  <a:lnTo>
                    <a:pt x="573" y="1365"/>
                  </a:lnTo>
                  <a:close/>
                  <a:moveTo>
                    <a:pt x="527" y="1476"/>
                  </a:moveTo>
                  <a:lnTo>
                    <a:pt x="527" y="1477"/>
                  </a:lnTo>
                  <a:lnTo>
                    <a:pt x="527" y="1476"/>
                  </a:lnTo>
                  <a:close/>
                  <a:moveTo>
                    <a:pt x="467" y="1215"/>
                  </a:moveTo>
                  <a:lnTo>
                    <a:pt x="469" y="1215"/>
                  </a:lnTo>
                  <a:lnTo>
                    <a:pt x="467" y="1215"/>
                  </a:lnTo>
                  <a:close/>
                  <a:moveTo>
                    <a:pt x="570" y="1407"/>
                  </a:moveTo>
                  <a:lnTo>
                    <a:pt x="570" y="1409"/>
                  </a:lnTo>
                  <a:lnTo>
                    <a:pt x="570" y="1407"/>
                  </a:lnTo>
                  <a:close/>
                  <a:moveTo>
                    <a:pt x="604" y="1370"/>
                  </a:moveTo>
                  <a:lnTo>
                    <a:pt x="604" y="1372"/>
                  </a:lnTo>
                  <a:lnTo>
                    <a:pt x="604" y="1370"/>
                  </a:lnTo>
                  <a:close/>
                  <a:moveTo>
                    <a:pt x="544" y="1243"/>
                  </a:moveTo>
                  <a:lnTo>
                    <a:pt x="545" y="1243"/>
                  </a:lnTo>
                  <a:lnTo>
                    <a:pt x="544" y="1243"/>
                  </a:lnTo>
                  <a:close/>
                  <a:moveTo>
                    <a:pt x="589" y="1362"/>
                  </a:moveTo>
                  <a:lnTo>
                    <a:pt x="591" y="1362"/>
                  </a:lnTo>
                  <a:lnTo>
                    <a:pt x="589" y="1362"/>
                  </a:lnTo>
                  <a:close/>
                  <a:moveTo>
                    <a:pt x="610" y="1326"/>
                  </a:moveTo>
                  <a:lnTo>
                    <a:pt x="609" y="1326"/>
                  </a:lnTo>
                  <a:lnTo>
                    <a:pt x="610" y="1326"/>
                  </a:lnTo>
                  <a:close/>
                  <a:moveTo>
                    <a:pt x="448" y="1565"/>
                  </a:moveTo>
                  <a:lnTo>
                    <a:pt x="446" y="1565"/>
                  </a:lnTo>
                  <a:lnTo>
                    <a:pt x="448" y="1565"/>
                  </a:lnTo>
                  <a:close/>
                  <a:moveTo>
                    <a:pt x="30" y="1580"/>
                  </a:moveTo>
                  <a:lnTo>
                    <a:pt x="31" y="1580"/>
                  </a:lnTo>
                  <a:lnTo>
                    <a:pt x="30" y="1580"/>
                  </a:lnTo>
                  <a:close/>
                  <a:moveTo>
                    <a:pt x="573" y="1347"/>
                  </a:moveTo>
                  <a:lnTo>
                    <a:pt x="574" y="1346"/>
                  </a:lnTo>
                  <a:lnTo>
                    <a:pt x="573" y="1347"/>
                  </a:lnTo>
                  <a:close/>
                  <a:moveTo>
                    <a:pt x="423" y="1115"/>
                  </a:moveTo>
                  <a:lnTo>
                    <a:pt x="422" y="1113"/>
                  </a:lnTo>
                  <a:lnTo>
                    <a:pt x="423" y="1113"/>
                  </a:lnTo>
                  <a:lnTo>
                    <a:pt x="423" y="1115"/>
                  </a:lnTo>
                  <a:close/>
                  <a:moveTo>
                    <a:pt x="599" y="1380"/>
                  </a:moveTo>
                  <a:lnTo>
                    <a:pt x="599" y="1381"/>
                  </a:lnTo>
                  <a:lnTo>
                    <a:pt x="599" y="1380"/>
                  </a:lnTo>
                  <a:close/>
                  <a:moveTo>
                    <a:pt x="674" y="493"/>
                  </a:moveTo>
                  <a:lnTo>
                    <a:pt x="675" y="493"/>
                  </a:lnTo>
                  <a:lnTo>
                    <a:pt x="674" y="493"/>
                  </a:lnTo>
                  <a:close/>
                  <a:moveTo>
                    <a:pt x="625" y="511"/>
                  </a:moveTo>
                  <a:lnTo>
                    <a:pt x="623" y="511"/>
                  </a:lnTo>
                  <a:lnTo>
                    <a:pt x="625" y="511"/>
                  </a:lnTo>
                  <a:close/>
                  <a:moveTo>
                    <a:pt x="714" y="445"/>
                  </a:moveTo>
                  <a:lnTo>
                    <a:pt x="716" y="445"/>
                  </a:lnTo>
                  <a:lnTo>
                    <a:pt x="714" y="445"/>
                  </a:lnTo>
                  <a:close/>
                  <a:moveTo>
                    <a:pt x="457" y="911"/>
                  </a:moveTo>
                  <a:lnTo>
                    <a:pt x="457" y="910"/>
                  </a:lnTo>
                  <a:lnTo>
                    <a:pt x="457" y="911"/>
                  </a:lnTo>
                  <a:close/>
                  <a:moveTo>
                    <a:pt x="576" y="1339"/>
                  </a:moveTo>
                  <a:lnTo>
                    <a:pt x="578" y="1339"/>
                  </a:lnTo>
                  <a:lnTo>
                    <a:pt x="578" y="1337"/>
                  </a:lnTo>
                  <a:lnTo>
                    <a:pt x="578" y="1339"/>
                  </a:lnTo>
                  <a:lnTo>
                    <a:pt x="576" y="1339"/>
                  </a:lnTo>
                  <a:close/>
                  <a:moveTo>
                    <a:pt x="57" y="1606"/>
                  </a:moveTo>
                  <a:lnTo>
                    <a:pt x="56" y="1606"/>
                  </a:lnTo>
                  <a:lnTo>
                    <a:pt x="57" y="1606"/>
                  </a:lnTo>
                  <a:close/>
                  <a:moveTo>
                    <a:pt x="22" y="1531"/>
                  </a:moveTo>
                  <a:lnTo>
                    <a:pt x="20" y="1531"/>
                  </a:lnTo>
                  <a:lnTo>
                    <a:pt x="22" y="1531"/>
                  </a:lnTo>
                  <a:close/>
                  <a:moveTo>
                    <a:pt x="666" y="436"/>
                  </a:moveTo>
                  <a:lnTo>
                    <a:pt x="666" y="438"/>
                  </a:lnTo>
                  <a:lnTo>
                    <a:pt x="666" y="436"/>
                  </a:lnTo>
                  <a:close/>
                  <a:moveTo>
                    <a:pt x="565" y="1381"/>
                  </a:moveTo>
                  <a:lnTo>
                    <a:pt x="563" y="1381"/>
                  </a:lnTo>
                  <a:lnTo>
                    <a:pt x="565" y="1381"/>
                  </a:lnTo>
                  <a:close/>
                  <a:moveTo>
                    <a:pt x="576" y="1391"/>
                  </a:moveTo>
                  <a:lnTo>
                    <a:pt x="576" y="1389"/>
                  </a:lnTo>
                  <a:lnTo>
                    <a:pt x="576" y="1391"/>
                  </a:lnTo>
                  <a:close/>
                  <a:moveTo>
                    <a:pt x="605" y="741"/>
                  </a:moveTo>
                  <a:lnTo>
                    <a:pt x="604" y="741"/>
                  </a:lnTo>
                  <a:lnTo>
                    <a:pt x="604" y="739"/>
                  </a:lnTo>
                  <a:lnTo>
                    <a:pt x="605" y="741"/>
                  </a:lnTo>
                  <a:close/>
                  <a:moveTo>
                    <a:pt x="571" y="1367"/>
                  </a:moveTo>
                  <a:lnTo>
                    <a:pt x="570" y="1367"/>
                  </a:lnTo>
                  <a:lnTo>
                    <a:pt x="571" y="1367"/>
                  </a:lnTo>
                  <a:close/>
                  <a:moveTo>
                    <a:pt x="618" y="573"/>
                  </a:moveTo>
                  <a:lnTo>
                    <a:pt x="620" y="573"/>
                  </a:lnTo>
                  <a:lnTo>
                    <a:pt x="618" y="573"/>
                  </a:lnTo>
                  <a:close/>
                  <a:moveTo>
                    <a:pt x="435" y="1622"/>
                  </a:moveTo>
                  <a:lnTo>
                    <a:pt x="436" y="1622"/>
                  </a:lnTo>
                  <a:lnTo>
                    <a:pt x="436" y="1624"/>
                  </a:lnTo>
                  <a:lnTo>
                    <a:pt x="435" y="1622"/>
                  </a:lnTo>
                  <a:close/>
                  <a:moveTo>
                    <a:pt x="566" y="1428"/>
                  </a:moveTo>
                  <a:lnTo>
                    <a:pt x="565" y="1430"/>
                  </a:lnTo>
                  <a:lnTo>
                    <a:pt x="565" y="1428"/>
                  </a:lnTo>
                  <a:lnTo>
                    <a:pt x="566" y="1428"/>
                  </a:lnTo>
                  <a:close/>
                  <a:moveTo>
                    <a:pt x="558" y="1443"/>
                  </a:moveTo>
                  <a:lnTo>
                    <a:pt x="560" y="1441"/>
                  </a:lnTo>
                  <a:lnTo>
                    <a:pt x="558" y="1443"/>
                  </a:lnTo>
                  <a:close/>
                  <a:moveTo>
                    <a:pt x="422" y="1115"/>
                  </a:moveTo>
                  <a:lnTo>
                    <a:pt x="422" y="1113"/>
                  </a:lnTo>
                  <a:lnTo>
                    <a:pt x="422" y="1115"/>
                  </a:lnTo>
                  <a:close/>
                  <a:moveTo>
                    <a:pt x="56" y="1640"/>
                  </a:moveTo>
                  <a:lnTo>
                    <a:pt x="54" y="1640"/>
                  </a:lnTo>
                  <a:lnTo>
                    <a:pt x="54" y="1638"/>
                  </a:lnTo>
                  <a:lnTo>
                    <a:pt x="56" y="1638"/>
                  </a:lnTo>
                  <a:lnTo>
                    <a:pt x="56" y="1640"/>
                  </a:lnTo>
                  <a:close/>
                  <a:moveTo>
                    <a:pt x="589" y="1334"/>
                  </a:moveTo>
                  <a:lnTo>
                    <a:pt x="591" y="1334"/>
                  </a:lnTo>
                  <a:lnTo>
                    <a:pt x="589" y="1334"/>
                  </a:lnTo>
                  <a:lnTo>
                    <a:pt x="591" y="1334"/>
                  </a:lnTo>
                  <a:lnTo>
                    <a:pt x="589" y="1334"/>
                  </a:lnTo>
                  <a:close/>
                  <a:moveTo>
                    <a:pt x="459" y="1573"/>
                  </a:moveTo>
                  <a:lnTo>
                    <a:pt x="457" y="1573"/>
                  </a:lnTo>
                  <a:lnTo>
                    <a:pt x="459" y="1573"/>
                  </a:lnTo>
                  <a:close/>
                  <a:moveTo>
                    <a:pt x="579" y="1414"/>
                  </a:moveTo>
                  <a:lnTo>
                    <a:pt x="579" y="1415"/>
                  </a:lnTo>
                  <a:lnTo>
                    <a:pt x="579" y="1414"/>
                  </a:lnTo>
                  <a:close/>
                  <a:moveTo>
                    <a:pt x="545" y="1443"/>
                  </a:moveTo>
                  <a:lnTo>
                    <a:pt x="545" y="1445"/>
                  </a:lnTo>
                  <a:lnTo>
                    <a:pt x="545" y="1443"/>
                  </a:lnTo>
                  <a:close/>
                  <a:moveTo>
                    <a:pt x="477" y="898"/>
                  </a:moveTo>
                  <a:lnTo>
                    <a:pt x="477" y="897"/>
                  </a:lnTo>
                  <a:lnTo>
                    <a:pt x="477" y="898"/>
                  </a:lnTo>
                  <a:close/>
                  <a:moveTo>
                    <a:pt x="547" y="1376"/>
                  </a:moveTo>
                  <a:lnTo>
                    <a:pt x="547" y="1378"/>
                  </a:lnTo>
                  <a:lnTo>
                    <a:pt x="547" y="1376"/>
                  </a:lnTo>
                  <a:close/>
                  <a:moveTo>
                    <a:pt x="38" y="1609"/>
                  </a:moveTo>
                  <a:lnTo>
                    <a:pt x="39" y="1609"/>
                  </a:lnTo>
                  <a:lnTo>
                    <a:pt x="38" y="1609"/>
                  </a:lnTo>
                  <a:close/>
                  <a:moveTo>
                    <a:pt x="4" y="1490"/>
                  </a:moveTo>
                  <a:lnTo>
                    <a:pt x="5" y="1490"/>
                  </a:lnTo>
                  <a:lnTo>
                    <a:pt x="5" y="1492"/>
                  </a:lnTo>
                  <a:lnTo>
                    <a:pt x="4" y="1490"/>
                  </a:lnTo>
                  <a:close/>
                  <a:moveTo>
                    <a:pt x="488" y="1485"/>
                  </a:moveTo>
                  <a:lnTo>
                    <a:pt x="490" y="1484"/>
                  </a:lnTo>
                  <a:lnTo>
                    <a:pt x="490" y="1485"/>
                  </a:lnTo>
                  <a:lnTo>
                    <a:pt x="488" y="1485"/>
                  </a:lnTo>
                  <a:close/>
                  <a:moveTo>
                    <a:pt x="25" y="1559"/>
                  </a:moveTo>
                  <a:lnTo>
                    <a:pt x="25" y="1557"/>
                  </a:lnTo>
                  <a:lnTo>
                    <a:pt x="25" y="1559"/>
                  </a:lnTo>
                  <a:close/>
                  <a:moveTo>
                    <a:pt x="680" y="474"/>
                  </a:moveTo>
                  <a:lnTo>
                    <a:pt x="680" y="472"/>
                  </a:lnTo>
                  <a:lnTo>
                    <a:pt x="680" y="474"/>
                  </a:lnTo>
                  <a:close/>
                  <a:moveTo>
                    <a:pt x="61" y="1669"/>
                  </a:moveTo>
                  <a:lnTo>
                    <a:pt x="62" y="1669"/>
                  </a:lnTo>
                  <a:lnTo>
                    <a:pt x="61" y="1669"/>
                  </a:lnTo>
                  <a:close/>
                  <a:moveTo>
                    <a:pt x="610" y="1362"/>
                  </a:moveTo>
                  <a:lnTo>
                    <a:pt x="610" y="1360"/>
                  </a:lnTo>
                  <a:lnTo>
                    <a:pt x="610" y="1362"/>
                  </a:lnTo>
                  <a:close/>
                  <a:moveTo>
                    <a:pt x="622" y="573"/>
                  </a:moveTo>
                  <a:lnTo>
                    <a:pt x="622" y="571"/>
                  </a:lnTo>
                  <a:lnTo>
                    <a:pt x="622" y="573"/>
                  </a:lnTo>
                  <a:close/>
                  <a:moveTo>
                    <a:pt x="52" y="1642"/>
                  </a:moveTo>
                  <a:lnTo>
                    <a:pt x="54" y="1640"/>
                  </a:lnTo>
                  <a:lnTo>
                    <a:pt x="54" y="1642"/>
                  </a:lnTo>
                  <a:lnTo>
                    <a:pt x="52" y="1642"/>
                  </a:lnTo>
                  <a:close/>
                  <a:moveTo>
                    <a:pt x="88" y="1710"/>
                  </a:moveTo>
                  <a:lnTo>
                    <a:pt x="88" y="1708"/>
                  </a:lnTo>
                  <a:lnTo>
                    <a:pt x="88" y="1710"/>
                  </a:lnTo>
                  <a:close/>
                  <a:moveTo>
                    <a:pt x="592" y="760"/>
                  </a:moveTo>
                  <a:lnTo>
                    <a:pt x="591" y="762"/>
                  </a:lnTo>
                  <a:lnTo>
                    <a:pt x="591" y="760"/>
                  </a:lnTo>
                  <a:lnTo>
                    <a:pt x="592" y="760"/>
                  </a:lnTo>
                  <a:close/>
                  <a:moveTo>
                    <a:pt x="762" y="428"/>
                  </a:moveTo>
                  <a:lnTo>
                    <a:pt x="763" y="428"/>
                  </a:lnTo>
                  <a:lnTo>
                    <a:pt x="763" y="430"/>
                  </a:lnTo>
                  <a:lnTo>
                    <a:pt x="762" y="428"/>
                  </a:lnTo>
                  <a:close/>
                  <a:moveTo>
                    <a:pt x="560" y="1435"/>
                  </a:moveTo>
                  <a:lnTo>
                    <a:pt x="560" y="1433"/>
                  </a:lnTo>
                  <a:lnTo>
                    <a:pt x="560" y="1435"/>
                  </a:lnTo>
                  <a:close/>
                  <a:moveTo>
                    <a:pt x="558" y="1430"/>
                  </a:moveTo>
                  <a:lnTo>
                    <a:pt x="558" y="1428"/>
                  </a:lnTo>
                  <a:lnTo>
                    <a:pt x="558" y="1430"/>
                  </a:lnTo>
                  <a:close/>
                  <a:moveTo>
                    <a:pt x="443" y="958"/>
                  </a:moveTo>
                  <a:lnTo>
                    <a:pt x="444" y="958"/>
                  </a:lnTo>
                  <a:lnTo>
                    <a:pt x="443" y="958"/>
                  </a:lnTo>
                  <a:close/>
                  <a:moveTo>
                    <a:pt x="550" y="1368"/>
                  </a:moveTo>
                  <a:lnTo>
                    <a:pt x="548" y="1368"/>
                  </a:lnTo>
                  <a:lnTo>
                    <a:pt x="550" y="1368"/>
                  </a:lnTo>
                  <a:close/>
                  <a:moveTo>
                    <a:pt x="601" y="1326"/>
                  </a:moveTo>
                  <a:lnTo>
                    <a:pt x="601" y="1324"/>
                  </a:lnTo>
                  <a:lnTo>
                    <a:pt x="601" y="1326"/>
                  </a:lnTo>
                  <a:close/>
                  <a:moveTo>
                    <a:pt x="495" y="1468"/>
                  </a:moveTo>
                  <a:lnTo>
                    <a:pt x="495" y="1469"/>
                  </a:lnTo>
                  <a:lnTo>
                    <a:pt x="495" y="1468"/>
                  </a:lnTo>
                  <a:close/>
                  <a:moveTo>
                    <a:pt x="444" y="1550"/>
                  </a:moveTo>
                  <a:lnTo>
                    <a:pt x="443" y="1550"/>
                  </a:lnTo>
                  <a:lnTo>
                    <a:pt x="443" y="1549"/>
                  </a:lnTo>
                  <a:lnTo>
                    <a:pt x="444" y="1550"/>
                  </a:lnTo>
                  <a:close/>
                  <a:moveTo>
                    <a:pt x="552" y="1412"/>
                  </a:moveTo>
                  <a:lnTo>
                    <a:pt x="552" y="1411"/>
                  </a:lnTo>
                  <a:lnTo>
                    <a:pt x="552" y="1412"/>
                  </a:lnTo>
                  <a:close/>
                  <a:moveTo>
                    <a:pt x="534" y="1254"/>
                  </a:moveTo>
                  <a:lnTo>
                    <a:pt x="535" y="1254"/>
                  </a:lnTo>
                  <a:lnTo>
                    <a:pt x="535" y="1256"/>
                  </a:lnTo>
                  <a:lnTo>
                    <a:pt x="534" y="1254"/>
                  </a:lnTo>
                  <a:close/>
                  <a:moveTo>
                    <a:pt x="698" y="423"/>
                  </a:moveTo>
                  <a:lnTo>
                    <a:pt x="700" y="425"/>
                  </a:lnTo>
                  <a:lnTo>
                    <a:pt x="698" y="423"/>
                  </a:lnTo>
                  <a:close/>
                  <a:moveTo>
                    <a:pt x="54" y="1640"/>
                  </a:moveTo>
                  <a:lnTo>
                    <a:pt x="54" y="1642"/>
                  </a:lnTo>
                  <a:lnTo>
                    <a:pt x="54" y="1640"/>
                  </a:lnTo>
                  <a:close/>
                  <a:moveTo>
                    <a:pt x="597" y="1324"/>
                  </a:moveTo>
                  <a:lnTo>
                    <a:pt x="597" y="1323"/>
                  </a:lnTo>
                  <a:lnTo>
                    <a:pt x="597" y="1324"/>
                  </a:lnTo>
                  <a:close/>
                  <a:moveTo>
                    <a:pt x="9" y="1536"/>
                  </a:moveTo>
                  <a:lnTo>
                    <a:pt x="7" y="1536"/>
                  </a:lnTo>
                  <a:lnTo>
                    <a:pt x="9" y="1536"/>
                  </a:lnTo>
                  <a:close/>
                  <a:moveTo>
                    <a:pt x="605" y="1331"/>
                  </a:moveTo>
                  <a:lnTo>
                    <a:pt x="605" y="1333"/>
                  </a:lnTo>
                  <a:lnTo>
                    <a:pt x="605" y="1331"/>
                  </a:lnTo>
                  <a:close/>
                  <a:moveTo>
                    <a:pt x="449" y="1575"/>
                  </a:moveTo>
                  <a:lnTo>
                    <a:pt x="448" y="1573"/>
                  </a:lnTo>
                  <a:lnTo>
                    <a:pt x="449" y="1573"/>
                  </a:lnTo>
                  <a:lnTo>
                    <a:pt x="449" y="1575"/>
                  </a:lnTo>
                  <a:close/>
                  <a:moveTo>
                    <a:pt x="457" y="1539"/>
                  </a:moveTo>
                  <a:lnTo>
                    <a:pt x="456" y="1541"/>
                  </a:lnTo>
                  <a:lnTo>
                    <a:pt x="456" y="1539"/>
                  </a:lnTo>
                  <a:lnTo>
                    <a:pt x="457" y="1539"/>
                  </a:lnTo>
                  <a:close/>
                  <a:moveTo>
                    <a:pt x="604" y="1349"/>
                  </a:moveTo>
                  <a:lnTo>
                    <a:pt x="604" y="1347"/>
                  </a:lnTo>
                  <a:lnTo>
                    <a:pt x="604" y="1349"/>
                  </a:lnTo>
                  <a:close/>
                  <a:moveTo>
                    <a:pt x="620" y="767"/>
                  </a:moveTo>
                  <a:lnTo>
                    <a:pt x="620" y="768"/>
                  </a:lnTo>
                  <a:lnTo>
                    <a:pt x="620" y="767"/>
                  </a:lnTo>
                  <a:close/>
                  <a:moveTo>
                    <a:pt x="625" y="737"/>
                  </a:moveTo>
                  <a:lnTo>
                    <a:pt x="627" y="737"/>
                  </a:lnTo>
                  <a:lnTo>
                    <a:pt x="625" y="739"/>
                  </a:lnTo>
                  <a:lnTo>
                    <a:pt x="625" y="737"/>
                  </a:lnTo>
                  <a:close/>
                  <a:moveTo>
                    <a:pt x="568" y="784"/>
                  </a:moveTo>
                  <a:lnTo>
                    <a:pt x="568" y="783"/>
                  </a:lnTo>
                  <a:lnTo>
                    <a:pt x="568" y="784"/>
                  </a:lnTo>
                  <a:close/>
                  <a:moveTo>
                    <a:pt x="627" y="752"/>
                  </a:moveTo>
                  <a:lnTo>
                    <a:pt x="625" y="752"/>
                  </a:lnTo>
                  <a:lnTo>
                    <a:pt x="627" y="752"/>
                  </a:lnTo>
                  <a:lnTo>
                    <a:pt x="627" y="750"/>
                  </a:lnTo>
                  <a:lnTo>
                    <a:pt x="627" y="752"/>
                  </a:lnTo>
                  <a:close/>
                  <a:moveTo>
                    <a:pt x="568" y="1346"/>
                  </a:moveTo>
                  <a:lnTo>
                    <a:pt x="568" y="1344"/>
                  </a:lnTo>
                  <a:lnTo>
                    <a:pt x="570" y="1344"/>
                  </a:lnTo>
                  <a:lnTo>
                    <a:pt x="568" y="1346"/>
                  </a:lnTo>
                  <a:close/>
                  <a:moveTo>
                    <a:pt x="490" y="1484"/>
                  </a:moveTo>
                  <a:lnTo>
                    <a:pt x="490" y="1485"/>
                  </a:lnTo>
                  <a:lnTo>
                    <a:pt x="492" y="1485"/>
                  </a:lnTo>
                  <a:lnTo>
                    <a:pt x="490" y="1485"/>
                  </a:lnTo>
                  <a:lnTo>
                    <a:pt x="490" y="1484"/>
                  </a:lnTo>
                  <a:close/>
                  <a:moveTo>
                    <a:pt x="537" y="1276"/>
                  </a:moveTo>
                  <a:lnTo>
                    <a:pt x="539" y="1276"/>
                  </a:lnTo>
                  <a:lnTo>
                    <a:pt x="537" y="1276"/>
                  </a:lnTo>
                  <a:close/>
                  <a:moveTo>
                    <a:pt x="573" y="1373"/>
                  </a:moveTo>
                  <a:lnTo>
                    <a:pt x="573" y="1375"/>
                  </a:lnTo>
                  <a:lnTo>
                    <a:pt x="573" y="1373"/>
                  </a:lnTo>
                  <a:close/>
                  <a:moveTo>
                    <a:pt x="631" y="540"/>
                  </a:moveTo>
                  <a:lnTo>
                    <a:pt x="633" y="542"/>
                  </a:lnTo>
                  <a:lnTo>
                    <a:pt x="631" y="540"/>
                  </a:lnTo>
                  <a:close/>
                  <a:moveTo>
                    <a:pt x="7" y="1544"/>
                  </a:moveTo>
                  <a:lnTo>
                    <a:pt x="5" y="1544"/>
                  </a:lnTo>
                  <a:lnTo>
                    <a:pt x="7" y="1544"/>
                  </a:lnTo>
                  <a:close/>
                  <a:moveTo>
                    <a:pt x="423" y="980"/>
                  </a:moveTo>
                  <a:lnTo>
                    <a:pt x="423" y="978"/>
                  </a:lnTo>
                  <a:lnTo>
                    <a:pt x="423" y="980"/>
                  </a:lnTo>
                  <a:close/>
                  <a:moveTo>
                    <a:pt x="680" y="440"/>
                  </a:moveTo>
                  <a:lnTo>
                    <a:pt x="680" y="441"/>
                  </a:lnTo>
                  <a:lnTo>
                    <a:pt x="680" y="440"/>
                  </a:lnTo>
                  <a:close/>
                  <a:moveTo>
                    <a:pt x="591" y="1326"/>
                  </a:moveTo>
                  <a:lnTo>
                    <a:pt x="589" y="1328"/>
                  </a:lnTo>
                  <a:lnTo>
                    <a:pt x="589" y="1326"/>
                  </a:lnTo>
                  <a:lnTo>
                    <a:pt x="591" y="1326"/>
                  </a:lnTo>
                  <a:close/>
                  <a:moveTo>
                    <a:pt x="557" y="1414"/>
                  </a:moveTo>
                  <a:lnTo>
                    <a:pt x="558" y="1414"/>
                  </a:lnTo>
                  <a:lnTo>
                    <a:pt x="558" y="1415"/>
                  </a:lnTo>
                  <a:lnTo>
                    <a:pt x="557" y="1414"/>
                  </a:lnTo>
                  <a:close/>
                  <a:moveTo>
                    <a:pt x="583" y="760"/>
                  </a:moveTo>
                  <a:lnTo>
                    <a:pt x="583" y="762"/>
                  </a:lnTo>
                  <a:lnTo>
                    <a:pt x="583" y="760"/>
                  </a:lnTo>
                  <a:close/>
                  <a:moveTo>
                    <a:pt x="18" y="1521"/>
                  </a:moveTo>
                  <a:lnTo>
                    <a:pt x="17" y="1523"/>
                  </a:lnTo>
                  <a:lnTo>
                    <a:pt x="17" y="1521"/>
                  </a:lnTo>
                  <a:lnTo>
                    <a:pt x="18" y="1521"/>
                  </a:lnTo>
                  <a:close/>
                  <a:moveTo>
                    <a:pt x="448" y="1658"/>
                  </a:moveTo>
                  <a:lnTo>
                    <a:pt x="449" y="1658"/>
                  </a:lnTo>
                  <a:lnTo>
                    <a:pt x="448" y="1658"/>
                  </a:lnTo>
                  <a:close/>
                  <a:moveTo>
                    <a:pt x="560" y="1272"/>
                  </a:moveTo>
                  <a:lnTo>
                    <a:pt x="560" y="1271"/>
                  </a:lnTo>
                  <a:lnTo>
                    <a:pt x="560" y="1272"/>
                  </a:lnTo>
                  <a:close/>
                  <a:moveTo>
                    <a:pt x="524" y="1383"/>
                  </a:moveTo>
                  <a:lnTo>
                    <a:pt x="524" y="1381"/>
                  </a:lnTo>
                  <a:lnTo>
                    <a:pt x="524" y="1383"/>
                  </a:lnTo>
                  <a:close/>
                  <a:moveTo>
                    <a:pt x="534" y="1254"/>
                  </a:moveTo>
                  <a:lnTo>
                    <a:pt x="534" y="1253"/>
                  </a:lnTo>
                  <a:lnTo>
                    <a:pt x="534" y="1254"/>
                  </a:lnTo>
                  <a:close/>
                  <a:moveTo>
                    <a:pt x="449" y="1542"/>
                  </a:moveTo>
                  <a:lnTo>
                    <a:pt x="451" y="1542"/>
                  </a:lnTo>
                  <a:lnTo>
                    <a:pt x="451" y="1544"/>
                  </a:lnTo>
                  <a:lnTo>
                    <a:pt x="451" y="1542"/>
                  </a:lnTo>
                  <a:lnTo>
                    <a:pt x="449" y="1542"/>
                  </a:lnTo>
                  <a:close/>
                  <a:moveTo>
                    <a:pt x="75" y="1682"/>
                  </a:moveTo>
                  <a:lnTo>
                    <a:pt x="75" y="1681"/>
                  </a:lnTo>
                  <a:lnTo>
                    <a:pt x="77" y="1681"/>
                  </a:lnTo>
                  <a:lnTo>
                    <a:pt x="77" y="1682"/>
                  </a:lnTo>
                  <a:lnTo>
                    <a:pt x="75" y="1682"/>
                  </a:lnTo>
                  <a:close/>
                  <a:moveTo>
                    <a:pt x="555" y="1435"/>
                  </a:moveTo>
                  <a:lnTo>
                    <a:pt x="553" y="1435"/>
                  </a:lnTo>
                  <a:lnTo>
                    <a:pt x="555" y="1433"/>
                  </a:lnTo>
                  <a:lnTo>
                    <a:pt x="555" y="1435"/>
                  </a:lnTo>
                  <a:close/>
                  <a:moveTo>
                    <a:pt x="604" y="1360"/>
                  </a:moveTo>
                  <a:lnTo>
                    <a:pt x="602" y="1360"/>
                  </a:lnTo>
                  <a:lnTo>
                    <a:pt x="604" y="1359"/>
                  </a:lnTo>
                  <a:lnTo>
                    <a:pt x="604" y="1360"/>
                  </a:lnTo>
                  <a:close/>
                  <a:moveTo>
                    <a:pt x="586" y="1386"/>
                  </a:moveTo>
                  <a:lnTo>
                    <a:pt x="584" y="1386"/>
                  </a:lnTo>
                  <a:lnTo>
                    <a:pt x="586" y="1386"/>
                  </a:lnTo>
                  <a:close/>
                  <a:moveTo>
                    <a:pt x="558" y="796"/>
                  </a:moveTo>
                  <a:lnTo>
                    <a:pt x="557" y="796"/>
                  </a:lnTo>
                  <a:lnTo>
                    <a:pt x="558" y="796"/>
                  </a:lnTo>
                  <a:close/>
                  <a:moveTo>
                    <a:pt x="565" y="1428"/>
                  </a:moveTo>
                  <a:lnTo>
                    <a:pt x="566" y="1428"/>
                  </a:lnTo>
                  <a:lnTo>
                    <a:pt x="565" y="1428"/>
                  </a:lnTo>
                  <a:close/>
                  <a:moveTo>
                    <a:pt x="640" y="632"/>
                  </a:moveTo>
                  <a:lnTo>
                    <a:pt x="641" y="630"/>
                  </a:lnTo>
                  <a:lnTo>
                    <a:pt x="641" y="632"/>
                  </a:lnTo>
                  <a:lnTo>
                    <a:pt x="640" y="632"/>
                  </a:lnTo>
                  <a:close/>
                  <a:moveTo>
                    <a:pt x="526" y="1445"/>
                  </a:moveTo>
                  <a:lnTo>
                    <a:pt x="526" y="1443"/>
                  </a:lnTo>
                  <a:lnTo>
                    <a:pt x="526" y="1445"/>
                  </a:lnTo>
                  <a:close/>
                  <a:moveTo>
                    <a:pt x="438" y="1544"/>
                  </a:moveTo>
                  <a:lnTo>
                    <a:pt x="440" y="1544"/>
                  </a:lnTo>
                  <a:lnTo>
                    <a:pt x="438" y="1544"/>
                  </a:lnTo>
                  <a:close/>
                  <a:moveTo>
                    <a:pt x="456" y="1536"/>
                  </a:moveTo>
                  <a:lnTo>
                    <a:pt x="457" y="1536"/>
                  </a:lnTo>
                  <a:lnTo>
                    <a:pt x="456" y="1536"/>
                  </a:lnTo>
                  <a:close/>
                  <a:moveTo>
                    <a:pt x="513" y="1479"/>
                  </a:moveTo>
                  <a:lnTo>
                    <a:pt x="513" y="1477"/>
                  </a:lnTo>
                  <a:lnTo>
                    <a:pt x="513" y="1479"/>
                  </a:lnTo>
                  <a:close/>
                  <a:moveTo>
                    <a:pt x="438" y="1764"/>
                  </a:moveTo>
                  <a:lnTo>
                    <a:pt x="438" y="1765"/>
                  </a:lnTo>
                  <a:lnTo>
                    <a:pt x="438" y="1764"/>
                  </a:lnTo>
                  <a:close/>
                  <a:moveTo>
                    <a:pt x="583" y="1372"/>
                  </a:moveTo>
                  <a:lnTo>
                    <a:pt x="584" y="1372"/>
                  </a:lnTo>
                  <a:lnTo>
                    <a:pt x="583" y="1372"/>
                  </a:lnTo>
                  <a:close/>
                  <a:moveTo>
                    <a:pt x="365" y="1876"/>
                  </a:moveTo>
                  <a:lnTo>
                    <a:pt x="363" y="1876"/>
                  </a:lnTo>
                  <a:lnTo>
                    <a:pt x="365" y="1876"/>
                  </a:lnTo>
                  <a:close/>
                  <a:moveTo>
                    <a:pt x="627" y="610"/>
                  </a:moveTo>
                  <a:lnTo>
                    <a:pt x="627" y="609"/>
                  </a:lnTo>
                  <a:lnTo>
                    <a:pt x="627" y="610"/>
                  </a:lnTo>
                  <a:close/>
                  <a:moveTo>
                    <a:pt x="457" y="1552"/>
                  </a:moveTo>
                  <a:lnTo>
                    <a:pt x="457" y="1550"/>
                  </a:lnTo>
                  <a:lnTo>
                    <a:pt x="457" y="1552"/>
                  </a:lnTo>
                  <a:close/>
                  <a:moveTo>
                    <a:pt x="760" y="449"/>
                  </a:moveTo>
                  <a:lnTo>
                    <a:pt x="760" y="448"/>
                  </a:lnTo>
                  <a:lnTo>
                    <a:pt x="762" y="448"/>
                  </a:lnTo>
                  <a:lnTo>
                    <a:pt x="762" y="449"/>
                  </a:lnTo>
                  <a:lnTo>
                    <a:pt x="760" y="449"/>
                  </a:lnTo>
                  <a:close/>
                  <a:moveTo>
                    <a:pt x="597" y="1321"/>
                  </a:moveTo>
                  <a:lnTo>
                    <a:pt x="599" y="1321"/>
                  </a:lnTo>
                  <a:lnTo>
                    <a:pt x="597" y="1321"/>
                  </a:lnTo>
                  <a:close/>
                  <a:moveTo>
                    <a:pt x="443" y="1552"/>
                  </a:moveTo>
                  <a:lnTo>
                    <a:pt x="444" y="1552"/>
                  </a:lnTo>
                  <a:lnTo>
                    <a:pt x="443" y="1552"/>
                  </a:lnTo>
                  <a:close/>
                  <a:moveTo>
                    <a:pt x="675" y="484"/>
                  </a:moveTo>
                  <a:lnTo>
                    <a:pt x="675" y="485"/>
                  </a:lnTo>
                  <a:lnTo>
                    <a:pt x="675" y="484"/>
                  </a:lnTo>
                  <a:close/>
                  <a:moveTo>
                    <a:pt x="623" y="619"/>
                  </a:moveTo>
                  <a:lnTo>
                    <a:pt x="623" y="617"/>
                  </a:lnTo>
                  <a:lnTo>
                    <a:pt x="623" y="619"/>
                  </a:lnTo>
                  <a:close/>
                  <a:moveTo>
                    <a:pt x="630" y="547"/>
                  </a:moveTo>
                  <a:lnTo>
                    <a:pt x="631" y="547"/>
                  </a:lnTo>
                  <a:lnTo>
                    <a:pt x="630" y="547"/>
                  </a:lnTo>
                  <a:close/>
                  <a:moveTo>
                    <a:pt x="500" y="1456"/>
                  </a:moveTo>
                  <a:lnTo>
                    <a:pt x="500" y="1455"/>
                  </a:lnTo>
                  <a:lnTo>
                    <a:pt x="500" y="1456"/>
                  </a:lnTo>
                  <a:close/>
                  <a:moveTo>
                    <a:pt x="56" y="1669"/>
                  </a:moveTo>
                  <a:lnTo>
                    <a:pt x="54" y="1669"/>
                  </a:lnTo>
                  <a:lnTo>
                    <a:pt x="56" y="1669"/>
                  </a:lnTo>
                  <a:close/>
                  <a:moveTo>
                    <a:pt x="615" y="1346"/>
                  </a:moveTo>
                  <a:lnTo>
                    <a:pt x="615" y="1347"/>
                  </a:lnTo>
                  <a:lnTo>
                    <a:pt x="615" y="1346"/>
                  </a:lnTo>
                  <a:close/>
                  <a:moveTo>
                    <a:pt x="449" y="898"/>
                  </a:moveTo>
                  <a:lnTo>
                    <a:pt x="449" y="897"/>
                  </a:lnTo>
                  <a:lnTo>
                    <a:pt x="449" y="898"/>
                  </a:lnTo>
                  <a:close/>
                  <a:moveTo>
                    <a:pt x="449" y="902"/>
                  </a:moveTo>
                  <a:lnTo>
                    <a:pt x="451" y="902"/>
                  </a:lnTo>
                  <a:lnTo>
                    <a:pt x="449" y="902"/>
                  </a:lnTo>
                  <a:close/>
                  <a:moveTo>
                    <a:pt x="474" y="1228"/>
                  </a:moveTo>
                  <a:lnTo>
                    <a:pt x="472" y="1228"/>
                  </a:lnTo>
                  <a:lnTo>
                    <a:pt x="474" y="1227"/>
                  </a:lnTo>
                  <a:lnTo>
                    <a:pt x="474" y="1228"/>
                  </a:lnTo>
                  <a:close/>
                  <a:moveTo>
                    <a:pt x="588" y="1365"/>
                  </a:moveTo>
                  <a:lnTo>
                    <a:pt x="588" y="1363"/>
                  </a:lnTo>
                  <a:lnTo>
                    <a:pt x="588" y="1365"/>
                  </a:lnTo>
                  <a:close/>
                  <a:moveTo>
                    <a:pt x="20" y="1528"/>
                  </a:moveTo>
                  <a:lnTo>
                    <a:pt x="18" y="1528"/>
                  </a:lnTo>
                  <a:lnTo>
                    <a:pt x="20" y="1526"/>
                  </a:lnTo>
                  <a:lnTo>
                    <a:pt x="20" y="1528"/>
                  </a:lnTo>
                  <a:close/>
                  <a:moveTo>
                    <a:pt x="444" y="1593"/>
                  </a:moveTo>
                  <a:lnTo>
                    <a:pt x="446" y="1593"/>
                  </a:lnTo>
                  <a:lnTo>
                    <a:pt x="444" y="1593"/>
                  </a:lnTo>
                  <a:close/>
                  <a:moveTo>
                    <a:pt x="506" y="1233"/>
                  </a:moveTo>
                  <a:lnTo>
                    <a:pt x="508" y="1233"/>
                  </a:lnTo>
                  <a:lnTo>
                    <a:pt x="508" y="1235"/>
                  </a:lnTo>
                  <a:lnTo>
                    <a:pt x="506" y="1235"/>
                  </a:lnTo>
                  <a:lnTo>
                    <a:pt x="506" y="1233"/>
                  </a:lnTo>
                  <a:close/>
                  <a:moveTo>
                    <a:pt x="529" y="1459"/>
                  </a:moveTo>
                  <a:lnTo>
                    <a:pt x="531" y="1459"/>
                  </a:lnTo>
                  <a:lnTo>
                    <a:pt x="529" y="1459"/>
                  </a:lnTo>
                  <a:close/>
                  <a:moveTo>
                    <a:pt x="763" y="430"/>
                  </a:moveTo>
                  <a:lnTo>
                    <a:pt x="765" y="430"/>
                  </a:lnTo>
                  <a:lnTo>
                    <a:pt x="763" y="430"/>
                  </a:lnTo>
                  <a:close/>
                  <a:moveTo>
                    <a:pt x="459" y="1547"/>
                  </a:moveTo>
                  <a:lnTo>
                    <a:pt x="457" y="1547"/>
                  </a:lnTo>
                  <a:lnTo>
                    <a:pt x="459" y="1547"/>
                  </a:lnTo>
                  <a:close/>
                  <a:moveTo>
                    <a:pt x="547" y="1393"/>
                  </a:moveTo>
                  <a:lnTo>
                    <a:pt x="548" y="1393"/>
                  </a:lnTo>
                  <a:lnTo>
                    <a:pt x="547" y="1393"/>
                  </a:lnTo>
                  <a:close/>
                  <a:moveTo>
                    <a:pt x="566" y="1385"/>
                  </a:moveTo>
                  <a:lnTo>
                    <a:pt x="566" y="1383"/>
                  </a:lnTo>
                  <a:lnTo>
                    <a:pt x="566" y="1385"/>
                  </a:lnTo>
                  <a:close/>
                  <a:moveTo>
                    <a:pt x="17" y="1534"/>
                  </a:moveTo>
                  <a:lnTo>
                    <a:pt x="17" y="1533"/>
                  </a:lnTo>
                  <a:lnTo>
                    <a:pt x="18" y="1534"/>
                  </a:lnTo>
                  <a:lnTo>
                    <a:pt x="17" y="1534"/>
                  </a:lnTo>
                  <a:close/>
                  <a:moveTo>
                    <a:pt x="570" y="1415"/>
                  </a:moveTo>
                  <a:lnTo>
                    <a:pt x="570" y="1417"/>
                  </a:lnTo>
                  <a:lnTo>
                    <a:pt x="570" y="1415"/>
                  </a:lnTo>
                  <a:close/>
                  <a:moveTo>
                    <a:pt x="467" y="1492"/>
                  </a:moveTo>
                  <a:lnTo>
                    <a:pt x="469" y="1490"/>
                  </a:lnTo>
                  <a:lnTo>
                    <a:pt x="469" y="1492"/>
                  </a:lnTo>
                  <a:lnTo>
                    <a:pt x="467" y="1492"/>
                  </a:lnTo>
                  <a:close/>
                  <a:moveTo>
                    <a:pt x="493" y="1481"/>
                  </a:moveTo>
                  <a:lnTo>
                    <a:pt x="495" y="1481"/>
                  </a:lnTo>
                  <a:lnTo>
                    <a:pt x="495" y="1482"/>
                  </a:lnTo>
                  <a:lnTo>
                    <a:pt x="493" y="1481"/>
                  </a:lnTo>
                  <a:close/>
                  <a:moveTo>
                    <a:pt x="404" y="1511"/>
                  </a:moveTo>
                  <a:lnTo>
                    <a:pt x="404" y="1513"/>
                  </a:lnTo>
                  <a:lnTo>
                    <a:pt x="404" y="1511"/>
                  </a:lnTo>
                  <a:close/>
                  <a:moveTo>
                    <a:pt x="472" y="1490"/>
                  </a:moveTo>
                  <a:lnTo>
                    <a:pt x="474" y="1490"/>
                  </a:lnTo>
                  <a:lnTo>
                    <a:pt x="472" y="1490"/>
                  </a:lnTo>
                  <a:close/>
                  <a:moveTo>
                    <a:pt x="589" y="1318"/>
                  </a:moveTo>
                  <a:lnTo>
                    <a:pt x="591" y="1318"/>
                  </a:lnTo>
                  <a:lnTo>
                    <a:pt x="589" y="1318"/>
                  </a:lnTo>
                  <a:close/>
                  <a:moveTo>
                    <a:pt x="449" y="1518"/>
                  </a:moveTo>
                  <a:lnTo>
                    <a:pt x="449" y="1520"/>
                  </a:lnTo>
                  <a:lnTo>
                    <a:pt x="449" y="1518"/>
                  </a:lnTo>
                  <a:close/>
                  <a:moveTo>
                    <a:pt x="529" y="1228"/>
                  </a:moveTo>
                  <a:lnTo>
                    <a:pt x="529" y="1230"/>
                  </a:lnTo>
                  <a:lnTo>
                    <a:pt x="529" y="1228"/>
                  </a:lnTo>
                  <a:close/>
                  <a:moveTo>
                    <a:pt x="571" y="1404"/>
                  </a:moveTo>
                  <a:lnTo>
                    <a:pt x="570" y="1406"/>
                  </a:lnTo>
                  <a:lnTo>
                    <a:pt x="571" y="1404"/>
                  </a:lnTo>
                  <a:close/>
                  <a:moveTo>
                    <a:pt x="584" y="1355"/>
                  </a:moveTo>
                  <a:lnTo>
                    <a:pt x="584" y="1354"/>
                  </a:lnTo>
                  <a:lnTo>
                    <a:pt x="584" y="1355"/>
                  </a:lnTo>
                  <a:close/>
                  <a:moveTo>
                    <a:pt x="594" y="757"/>
                  </a:moveTo>
                  <a:lnTo>
                    <a:pt x="594" y="758"/>
                  </a:lnTo>
                  <a:lnTo>
                    <a:pt x="594" y="757"/>
                  </a:lnTo>
                  <a:lnTo>
                    <a:pt x="596" y="757"/>
                  </a:lnTo>
                  <a:lnTo>
                    <a:pt x="594" y="757"/>
                  </a:lnTo>
                  <a:close/>
                  <a:moveTo>
                    <a:pt x="448" y="1536"/>
                  </a:moveTo>
                  <a:lnTo>
                    <a:pt x="449" y="1536"/>
                  </a:lnTo>
                  <a:lnTo>
                    <a:pt x="448" y="1536"/>
                  </a:lnTo>
                  <a:close/>
                  <a:moveTo>
                    <a:pt x="514" y="1472"/>
                  </a:moveTo>
                  <a:lnTo>
                    <a:pt x="516" y="1471"/>
                  </a:lnTo>
                  <a:lnTo>
                    <a:pt x="516" y="1472"/>
                  </a:lnTo>
                  <a:lnTo>
                    <a:pt x="514" y="1472"/>
                  </a:lnTo>
                  <a:close/>
                  <a:moveTo>
                    <a:pt x="692" y="482"/>
                  </a:moveTo>
                  <a:lnTo>
                    <a:pt x="692" y="484"/>
                  </a:lnTo>
                  <a:lnTo>
                    <a:pt x="692" y="482"/>
                  </a:lnTo>
                  <a:close/>
                  <a:moveTo>
                    <a:pt x="65" y="1679"/>
                  </a:moveTo>
                  <a:lnTo>
                    <a:pt x="64" y="1679"/>
                  </a:lnTo>
                  <a:lnTo>
                    <a:pt x="65" y="1679"/>
                  </a:lnTo>
                  <a:close/>
                  <a:moveTo>
                    <a:pt x="609" y="1331"/>
                  </a:moveTo>
                  <a:lnTo>
                    <a:pt x="610" y="1333"/>
                  </a:lnTo>
                  <a:lnTo>
                    <a:pt x="609" y="1333"/>
                  </a:lnTo>
                  <a:lnTo>
                    <a:pt x="609" y="1331"/>
                  </a:lnTo>
                  <a:close/>
                  <a:moveTo>
                    <a:pt x="350" y="1871"/>
                  </a:moveTo>
                  <a:lnTo>
                    <a:pt x="348" y="1871"/>
                  </a:lnTo>
                  <a:lnTo>
                    <a:pt x="350" y="1871"/>
                  </a:lnTo>
                  <a:close/>
                  <a:moveTo>
                    <a:pt x="43" y="1612"/>
                  </a:moveTo>
                  <a:lnTo>
                    <a:pt x="44" y="1612"/>
                  </a:lnTo>
                  <a:lnTo>
                    <a:pt x="43" y="1612"/>
                  </a:lnTo>
                  <a:close/>
                  <a:moveTo>
                    <a:pt x="700" y="456"/>
                  </a:moveTo>
                  <a:lnTo>
                    <a:pt x="701" y="456"/>
                  </a:lnTo>
                  <a:lnTo>
                    <a:pt x="700" y="456"/>
                  </a:lnTo>
                  <a:close/>
                  <a:moveTo>
                    <a:pt x="571" y="1365"/>
                  </a:moveTo>
                  <a:lnTo>
                    <a:pt x="573" y="1365"/>
                  </a:lnTo>
                  <a:lnTo>
                    <a:pt x="573" y="1367"/>
                  </a:lnTo>
                  <a:lnTo>
                    <a:pt x="571" y="1365"/>
                  </a:lnTo>
                  <a:close/>
                  <a:moveTo>
                    <a:pt x="490" y="1479"/>
                  </a:moveTo>
                  <a:lnTo>
                    <a:pt x="488" y="1479"/>
                  </a:lnTo>
                  <a:lnTo>
                    <a:pt x="490" y="1479"/>
                  </a:lnTo>
                  <a:close/>
                  <a:moveTo>
                    <a:pt x="12" y="1515"/>
                  </a:moveTo>
                  <a:lnTo>
                    <a:pt x="12" y="1513"/>
                  </a:lnTo>
                  <a:lnTo>
                    <a:pt x="12" y="1515"/>
                  </a:lnTo>
                  <a:close/>
                  <a:moveTo>
                    <a:pt x="75" y="1690"/>
                  </a:moveTo>
                  <a:lnTo>
                    <a:pt x="77" y="1690"/>
                  </a:lnTo>
                  <a:lnTo>
                    <a:pt x="75" y="1690"/>
                  </a:lnTo>
                  <a:close/>
                  <a:moveTo>
                    <a:pt x="584" y="1402"/>
                  </a:moveTo>
                  <a:lnTo>
                    <a:pt x="584" y="1401"/>
                  </a:lnTo>
                  <a:lnTo>
                    <a:pt x="584" y="1402"/>
                  </a:lnTo>
                  <a:close/>
                  <a:moveTo>
                    <a:pt x="483" y="1487"/>
                  </a:moveTo>
                  <a:lnTo>
                    <a:pt x="483" y="1485"/>
                  </a:lnTo>
                  <a:lnTo>
                    <a:pt x="483" y="1487"/>
                  </a:lnTo>
                  <a:close/>
                  <a:moveTo>
                    <a:pt x="589" y="1320"/>
                  </a:moveTo>
                  <a:lnTo>
                    <a:pt x="589" y="1318"/>
                  </a:lnTo>
                  <a:lnTo>
                    <a:pt x="589" y="1320"/>
                  </a:lnTo>
                  <a:close/>
                  <a:moveTo>
                    <a:pt x="41" y="1619"/>
                  </a:moveTo>
                  <a:lnTo>
                    <a:pt x="39" y="1619"/>
                  </a:lnTo>
                  <a:lnTo>
                    <a:pt x="41" y="1619"/>
                  </a:lnTo>
                  <a:close/>
                  <a:moveTo>
                    <a:pt x="425" y="955"/>
                  </a:moveTo>
                  <a:lnTo>
                    <a:pt x="426" y="955"/>
                  </a:lnTo>
                  <a:lnTo>
                    <a:pt x="425" y="955"/>
                  </a:lnTo>
                  <a:close/>
                  <a:moveTo>
                    <a:pt x="602" y="1336"/>
                  </a:moveTo>
                  <a:lnTo>
                    <a:pt x="604" y="1336"/>
                  </a:lnTo>
                  <a:lnTo>
                    <a:pt x="604" y="1337"/>
                  </a:lnTo>
                  <a:lnTo>
                    <a:pt x="602" y="1336"/>
                  </a:lnTo>
                  <a:close/>
                  <a:moveTo>
                    <a:pt x="18" y="1523"/>
                  </a:moveTo>
                  <a:lnTo>
                    <a:pt x="18" y="1521"/>
                  </a:lnTo>
                  <a:lnTo>
                    <a:pt x="18" y="1523"/>
                  </a:lnTo>
                  <a:close/>
                  <a:moveTo>
                    <a:pt x="448" y="1651"/>
                  </a:moveTo>
                  <a:lnTo>
                    <a:pt x="448" y="1653"/>
                  </a:lnTo>
                  <a:lnTo>
                    <a:pt x="448" y="1651"/>
                  </a:lnTo>
                  <a:close/>
                  <a:moveTo>
                    <a:pt x="461" y="1560"/>
                  </a:moveTo>
                  <a:lnTo>
                    <a:pt x="461" y="1559"/>
                  </a:lnTo>
                  <a:lnTo>
                    <a:pt x="462" y="1559"/>
                  </a:lnTo>
                  <a:lnTo>
                    <a:pt x="461" y="1560"/>
                  </a:lnTo>
                  <a:close/>
                  <a:moveTo>
                    <a:pt x="488" y="1484"/>
                  </a:moveTo>
                  <a:lnTo>
                    <a:pt x="488" y="1485"/>
                  </a:lnTo>
                  <a:lnTo>
                    <a:pt x="488" y="1484"/>
                  </a:lnTo>
                  <a:close/>
                  <a:moveTo>
                    <a:pt x="18" y="1537"/>
                  </a:moveTo>
                  <a:lnTo>
                    <a:pt x="18" y="1536"/>
                  </a:lnTo>
                  <a:lnTo>
                    <a:pt x="18" y="1537"/>
                  </a:lnTo>
                  <a:close/>
                  <a:moveTo>
                    <a:pt x="443" y="1206"/>
                  </a:moveTo>
                  <a:lnTo>
                    <a:pt x="444" y="1207"/>
                  </a:lnTo>
                  <a:lnTo>
                    <a:pt x="443" y="1207"/>
                  </a:lnTo>
                  <a:lnTo>
                    <a:pt x="443" y="1206"/>
                  </a:lnTo>
                  <a:close/>
                  <a:moveTo>
                    <a:pt x="542" y="1389"/>
                  </a:moveTo>
                  <a:lnTo>
                    <a:pt x="544" y="1389"/>
                  </a:lnTo>
                  <a:lnTo>
                    <a:pt x="542" y="1389"/>
                  </a:lnTo>
                  <a:close/>
                  <a:moveTo>
                    <a:pt x="644" y="518"/>
                  </a:moveTo>
                  <a:lnTo>
                    <a:pt x="644" y="516"/>
                  </a:lnTo>
                  <a:lnTo>
                    <a:pt x="644" y="518"/>
                  </a:lnTo>
                  <a:close/>
                  <a:moveTo>
                    <a:pt x="579" y="1381"/>
                  </a:moveTo>
                  <a:lnTo>
                    <a:pt x="579" y="1383"/>
                  </a:lnTo>
                  <a:lnTo>
                    <a:pt x="579" y="1381"/>
                  </a:lnTo>
                  <a:close/>
                  <a:moveTo>
                    <a:pt x="469" y="1492"/>
                  </a:moveTo>
                  <a:lnTo>
                    <a:pt x="470" y="1494"/>
                  </a:lnTo>
                  <a:lnTo>
                    <a:pt x="469" y="1494"/>
                  </a:lnTo>
                  <a:lnTo>
                    <a:pt x="469" y="1492"/>
                  </a:lnTo>
                  <a:close/>
                  <a:moveTo>
                    <a:pt x="456" y="1560"/>
                  </a:moveTo>
                  <a:lnTo>
                    <a:pt x="457" y="1559"/>
                  </a:lnTo>
                  <a:lnTo>
                    <a:pt x="457" y="1560"/>
                  </a:lnTo>
                  <a:lnTo>
                    <a:pt x="456" y="1560"/>
                  </a:lnTo>
                  <a:close/>
                  <a:moveTo>
                    <a:pt x="622" y="682"/>
                  </a:moveTo>
                  <a:lnTo>
                    <a:pt x="622" y="680"/>
                  </a:lnTo>
                  <a:lnTo>
                    <a:pt x="622" y="682"/>
                  </a:lnTo>
                  <a:close/>
                  <a:moveTo>
                    <a:pt x="675" y="474"/>
                  </a:moveTo>
                  <a:lnTo>
                    <a:pt x="677" y="474"/>
                  </a:lnTo>
                  <a:lnTo>
                    <a:pt x="675" y="474"/>
                  </a:lnTo>
                  <a:close/>
                  <a:moveTo>
                    <a:pt x="566" y="1352"/>
                  </a:moveTo>
                  <a:lnTo>
                    <a:pt x="565" y="1352"/>
                  </a:lnTo>
                  <a:lnTo>
                    <a:pt x="566" y="1352"/>
                  </a:lnTo>
                  <a:close/>
                  <a:moveTo>
                    <a:pt x="529" y="1450"/>
                  </a:moveTo>
                  <a:lnTo>
                    <a:pt x="529" y="1448"/>
                  </a:lnTo>
                  <a:lnTo>
                    <a:pt x="529" y="1450"/>
                  </a:lnTo>
                  <a:close/>
                  <a:moveTo>
                    <a:pt x="565" y="1420"/>
                  </a:moveTo>
                  <a:lnTo>
                    <a:pt x="565" y="1422"/>
                  </a:lnTo>
                  <a:lnTo>
                    <a:pt x="565" y="1420"/>
                  </a:lnTo>
                  <a:close/>
                  <a:moveTo>
                    <a:pt x="35" y="1594"/>
                  </a:moveTo>
                  <a:lnTo>
                    <a:pt x="33" y="1594"/>
                  </a:lnTo>
                  <a:lnTo>
                    <a:pt x="35" y="1594"/>
                  </a:lnTo>
                  <a:close/>
                  <a:moveTo>
                    <a:pt x="33" y="1586"/>
                  </a:moveTo>
                  <a:lnTo>
                    <a:pt x="31" y="1586"/>
                  </a:lnTo>
                  <a:lnTo>
                    <a:pt x="33" y="1586"/>
                  </a:lnTo>
                  <a:close/>
                  <a:moveTo>
                    <a:pt x="675" y="449"/>
                  </a:moveTo>
                  <a:lnTo>
                    <a:pt x="675" y="448"/>
                  </a:lnTo>
                  <a:lnTo>
                    <a:pt x="675" y="449"/>
                  </a:lnTo>
                  <a:close/>
                  <a:moveTo>
                    <a:pt x="64" y="1676"/>
                  </a:moveTo>
                  <a:lnTo>
                    <a:pt x="64" y="1677"/>
                  </a:lnTo>
                  <a:lnTo>
                    <a:pt x="64" y="1676"/>
                  </a:lnTo>
                  <a:close/>
                  <a:moveTo>
                    <a:pt x="444" y="1594"/>
                  </a:moveTo>
                  <a:lnTo>
                    <a:pt x="446" y="1594"/>
                  </a:lnTo>
                  <a:lnTo>
                    <a:pt x="444" y="1594"/>
                  </a:lnTo>
                  <a:lnTo>
                    <a:pt x="446" y="1594"/>
                  </a:lnTo>
                  <a:lnTo>
                    <a:pt x="444" y="1594"/>
                  </a:lnTo>
                  <a:close/>
                  <a:moveTo>
                    <a:pt x="407" y="1511"/>
                  </a:moveTo>
                  <a:lnTo>
                    <a:pt x="409" y="1511"/>
                  </a:lnTo>
                  <a:lnTo>
                    <a:pt x="407" y="1511"/>
                  </a:lnTo>
                  <a:close/>
                  <a:moveTo>
                    <a:pt x="26" y="1557"/>
                  </a:moveTo>
                  <a:lnTo>
                    <a:pt x="25" y="1557"/>
                  </a:lnTo>
                  <a:lnTo>
                    <a:pt x="26" y="1557"/>
                  </a:lnTo>
                  <a:close/>
                  <a:moveTo>
                    <a:pt x="545" y="1373"/>
                  </a:moveTo>
                  <a:lnTo>
                    <a:pt x="547" y="1372"/>
                  </a:lnTo>
                  <a:lnTo>
                    <a:pt x="545" y="1373"/>
                  </a:lnTo>
                  <a:close/>
                  <a:moveTo>
                    <a:pt x="745" y="389"/>
                  </a:moveTo>
                  <a:lnTo>
                    <a:pt x="747" y="391"/>
                  </a:lnTo>
                  <a:lnTo>
                    <a:pt x="745" y="389"/>
                  </a:lnTo>
                  <a:close/>
                  <a:moveTo>
                    <a:pt x="64" y="1612"/>
                  </a:moveTo>
                  <a:lnTo>
                    <a:pt x="65" y="1612"/>
                  </a:lnTo>
                  <a:lnTo>
                    <a:pt x="64" y="1612"/>
                  </a:lnTo>
                  <a:close/>
                  <a:moveTo>
                    <a:pt x="670" y="392"/>
                  </a:moveTo>
                  <a:lnTo>
                    <a:pt x="670" y="394"/>
                  </a:lnTo>
                  <a:lnTo>
                    <a:pt x="670" y="392"/>
                  </a:lnTo>
                  <a:close/>
                  <a:moveTo>
                    <a:pt x="713" y="446"/>
                  </a:moveTo>
                  <a:lnTo>
                    <a:pt x="714" y="446"/>
                  </a:lnTo>
                  <a:lnTo>
                    <a:pt x="713" y="446"/>
                  </a:lnTo>
                  <a:close/>
                  <a:moveTo>
                    <a:pt x="51" y="1604"/>
                  </a:moveTo>
                  <a:lnTo>
                    <a:pt x="51" y="1606"/>
                  </a:lnTo>
                  <a:lnTo>
                    <a:pt x="51" y="1604"/>
                  </a:lnTo>
                  <a:lnTo>
                    <a:pt x="51" y="1606"/>
                  </a:lnTo>
                  <a:lnTo>
                    <a:pt x="51" y="1604"/>
                  </a:lnTo>
                  <a:close/>
                  <a:moveTo>
                    <a:pt x="574" y="1411"/>
                  </a:moveTo>
                  <a:lnTo>
                    <a:pt x="574" y="1409"/>
                  </a:lnTo>
                  <a:lnTo>
                    <a:pt x="574" y="1411"/>
                  </a:lnTo>
                  <a:close/>
                  <a:moveTo>
                    <a:pt x="664" y="487"/>
                  </a:moveTo>
                  <a:lnTo>
                    <a:pt x="662" y="487"/>
                  </a:lnTo>
                  <a:lnTo>
                    <a:pt x="664" y="487"/>
                  </a:lnTo>
                  <a:close/>
                  <a:moveTo>
                    <a:pt x="440" y="1516"/>
                  </a:moveTo>
                  <a:lnTo>
                    <a:pt x="440" y="1515"/>
                  </a:lnTo>
                  <a:lnTo>
                    <a:pt x="440" y="1516"/>
                  </a:lnTo>
                  <a:close/>
                  <a:moveTo>
                    <a:pt x="571" y="1307"/>
                  </a:moveTo>
                  <a:lnTo>
                    <a:pt x="571" y="1308"/>
                  </a:lnTo>
                  <a:lnTo>
                    <a:pt x="571" y="1307"/>
                  </a:lnTo>
                  <a:close/>
                  <a:moveTo>
                    <a:pt x="295" y="1892"/>
                  </a:moveTo>
                  <a:lnTo>
                    <a:pt x="295" y="1894"/>
                  </a:lnTo>
                  <a:lnTo>
                    <a:pt x="295" y="1892"/>
                  </a:lnTo>
                  <a:close/>
                  <a:moveTo>
                    <a:pt x="457" y="1521"/>
                  </a:moveTo>
                  <a:lnTo>
                    <a:pt x="457" y="1520"/>
                  </a:lnTo>
                  <a:lnTo>
                    <a:pt x="457" y="1521"/>
                  </a:lnTo>
                  <a:close/>
                  <a:moveTo>
                    <a:pt x="54" y="1674"/>
                  </a:moveTo>
                  <a:lnTo>
                    <a:pt x="56" y="1674"/>
                  </a:lnTo>
                  <a:lnTo>
                    <a:pt x="54" y="1674"/>
                  </a:lnTo>
                  <a:close/>
                  <a:moveTo>
                    <a:pt x="565" y="1354"/>
                  </a:moveTo>
                  <a:lnTo>
                    <a:pt x="563" y="1354"/>
                  </a:lnTo>
                  <a:lnTo>
                    <a:pt x="565" y="1354"/>
                  </a:lnTo>
                  <a:close/>
                  <a:moveTo>
                    <a:pt x="52" y="1609"/>
                  </a:moveTo>
                  <a:lnTo>
                    <a:pt x="52" y="1607"/>
                  </a:lnTo>
                  <a:lnTo>
                    <a:pt x="52" y="1609"/>
                  </a:lnTo>
                  <a:close/>
                  <a:moveTo>
                    <a:pt x="670" y="365"/>
                  </a:moveTo>
                  <a:lnTo>
                    <a:pt x="670" y="363"/>
                  </a:lnTo>
                  <a:lnTo>
                    <a:pt x="670" y="365"/>
                  </a:lnTo>
                  <a:close/>
                  <a:moveTo>
                    <a:pt x="453" y="1524"/>
                  </a:moveTo>
                  <a:lnTo>
                    <a:pt x="454" y="1524"/>
                  </a:lnTo>
                  <a:lnTo>
                    <a:pt x="453" y="1524"/>
                  </a:lnTo>
                  <a:close/>
                  <a:moveTo>
                    <a:pt x="459" y="1565"/>
                  </a:moveTo>
                  <a:lnTo>
                    <a:pt x="457" y="1567"/>
                  </a:lnTo>
                  <a:lnTo>
                    <a:pt x="457" y="1565"/>
                  </a:lnTo>
                  <a:lnTo>
                    <a:pt x="459" y="1565"/>
                  </a:lnTo>
                  <a:close/>
                  <a:moveTo>
                    <a:pt x="570" y="1368"/>
                  </a:moveTo>
                  <a:lnTo>
                    <a:pt x="571" y="1370"/>
                  </a:lnTo>
                  <a:lnTo>
                    <a:pt x="570" y="1370"/>
                  </a:lnTo>
                  <a:lnTo>
                    <a:pt x="570" y="1368"/>
                  </a:lnTo>
                  <a:close/>
                  <a:moveTo>
                    <a:pt x="623" y="563"/>
                  </a:moveTo>
                  <a:lnTo>
                    <a:pt x="623" y="565"/>
                  </a:lnTo>
                  <a:lnTo>
                    <a:pt x="623" y="563"/>
                  </a:lnTo>
                  <a:close/>
                  <a:moveTo>
                    <a:pt x="20" y="1524"/>
                  </a:moveTo>
                  <a:lnTo>
                    <a:pt x="20" y="1523"/>
                  </a:lnTo>
                  <a:lnTo>
                    <a:pt x="20" y="1524"/>
                  </a:lnTo>
                  <a:close/>
                  <a:moveTo>
                    <a:pt x="547" y="1373"/>
                  </a:moveTo>
                  <a:lnTo>
                    <a:pt x="547" y="1372"/>
                  </a:lnTo>
                  <a:lnTo>
                    <a:pt x="547" y="1373"/>
                  </a:lnTo>
                  <a:close/>
                  <a:moveTo>
                    <a:pt x="539" y="1237"/>
                  </a:moveTo>
                  <a:lnTo>
                    <a:pt x="539" y="1238"/>
                  </a:lnTo>
                  <a:lnTo>
                    <a:pt x="539" y="1237"/>
                  </a:lnTo>
                  <a:close/>
                  <a:moveTo>
                    <a:pt x="74" y="1677"/>
                  </a:moveTo>
                  <a:lnTo>
                    <a:pt x="74" y="1676"/>
                  </a:lnTo>
                  <a:lnTo>
                    <a:pt x="74" y="1677"/>
                  </a:lnTo>
                  <a:close/>
                  <a:moveTo>
                    <a:pt x="535" y="1243"/>
                  </a:moveTo>
                  <a:lnTo>
                    <a:pt x="535" y="1245"/>
                  </a:lnTo>
                  <a:lnTo>
                    <a:pt x="535" y="1243"/>
                  </a:lnTo>
                  <a:close/>
                  <a:moveTo>
                    <a:pt x="440" y="1733"/>
                  </a:moveTo>
                  <a:lnTo>
                    <a:pt x="441" y="1733"/>
                  </a:lnTo>
                  <a:lnTo>
                    <a:pt x="440" y="1733"/>
                  </a:lnTo>
                  <a:close/>
                  <a:moveTo>
                    <a:pt x="625" y="739"/>
                  </a:moveTo>
                  <a:lnTo>
                    <a:pt x="625" y="741"/>
                  </a:lnTo>
                  <a:lnTo>
                    <a:pt x="625" y="739"/>
                  </a:lnTo>
                  <a:close/>
                  <a:moveTo>
                    <a:pt x="594" y="1329"/>
                  </a:moveTo>
                  <a:lnTo>
                    <a:pt x="594" y="1331"/>
                  </a:lnTo>
                  <a:lnTo>
                    <a:pt x="594" y="1329"/>
                  </a:lnTo>
                  <a:close/>
                  <a:moveTo>
                    <a:pt x="17" y="1479"/>
                  </a:moveTo>
                  <a:lnTo>
                    <a:pt x="15" y="1479"/>
                  </a:lnTo>
                  <a:lnTo>
                    <a:pt x="17" y="1479"/>
                  </a:lnTo>
                  <a:close/>
                  <a:moveTo>
                    <a:pt x="519" y="1468"/>
                  </a:moveTo>
                  <a:lnTo>
                    <a:pt x="519" y="1469"/>
                  </a:lnTo>
                  <a:lnTo>
                    <a:pt x="519" y="1468"/>
                  </a:lnTo>
                  <a:close/>
                  <a:moveTo>
                    <a:pt x="545" y="1425"/>
                  </a:moveTo>
                  <a:lnTo>
                    <a:pt x="547" y="1425"/>
                  </a:lnTo>
                  <a:lnTo>
                    <a:pt x="545" y="1425"/>
                  </a:lnTo>
                  <a:close/>
                  <a:moveTo>
                    <a:pt x="33" y="1586"/>
                  </a:moveTo>
                  <a:lnTo>
                    <a:pt x="31" y="1586"/>
                  </a:lnTo>
                  <a:lnTo>
                    <a:pt x="33" y="1586"/>
                  </a:lnTo>
                  <a:close/>
                  <a:moveTo>
                    <a:pt x="586" y="1383"/>
                  </a:moveTo>
                  <a:lnTo>
                    <a:pt x="588" y="1383"/>
                  </a:lnTo>
                  <a:lnTo>
                    <a:pt x="586" y="1383"/>
                  </a:lnTo>
                  <a:close/>
                  <a:moveTo>
                    <a:pt x="51" y="1646"/>
                  </a:moveTo>
                  <a:lnTo>
                    <a:pt x="51" y="1648"/>
                  </a:lnTo>
                  <a:lnTo>
                    <a:pt x="51" y="1646"/>
                  </a:lnTo>
                  <a:close/>
                  <a:moveTo>
                    <a:pt x="457" y="1544"/>
                  </a:moveTo>
                  <a:lnTo>
                    <a:pt x="457" y="1546"/>
                  </a:lnTo>
                  <a:lnTo>
                    <a:pt x="457" y="1544"/>
                  </a:lnTo>
                  <a:close/>
                  <a:moveTo>
                    <a:pt x="33" y="1603"/>
                  </a:moveTo>
                  <a:lnTo>
                    <a:pt x="33" y="1601"/>
                  </a:lnTo>
                  <a:lnTo>
                    <a:pt x="33" y="1603"/>
                  </a:lnTo>
                  <a:close/>
                  <a:moveTo>
                    <a:pt x="586" y="1342"/>
                  </a:moveTo>
                  <a:lnTo>
                    <a:pt x="584" y="1342"/>
                  </a:lnTo>
                  <a:lnTo>
                    <a:pt x="586" y="1341"/>
                  </a:lnTo>
                  <a:lnTo>
                    <a:pt x="586" y="1342"/>
                  </a:lnTo>
                  <a:close/>
                  <a:moveTo>
                    <a:pt x="36" y="1594"/>
                  </a:moveTo>
                  <a:lnTo>
                    <a:pt x="38" y="1594"/>
                  </a:lnTo>
                  <a:lnTo>
                    <a:pt x="36" y="1594"/>
                  </a:lnTo>
                  <a:close/>
                  <a:moveTo>
                    <a:pt x="560" y="1433"/>
                  </a:moveTo>
                  <a:lnTo>
                    <a:pt x="560" y="1435"/>
                  </a:lnTo>
                  <a:lnTo>
                    <a:pt x="560" y="1433"/>
                  </a:lnTo>
                  <a:lnTo>
                    <a:pt x="561" y="1433"/>
                  </a:lnTo>
                  <a:lnTo>
                    <a:pt x="560" y="1433"/>
                  </a:lnTo>
                  <a:close/>
                  <a:moveTo>
                    <a:pt x="604" y="1372"/>
                  </a:moveTo>
                  <a:lnTo>
                    <a:pt x="602" y="1372"/>
                  </a:lnTo>
                  <a:lnTo>
                    <a:pt x="604" y="1370"/>
                  </a:lnTo>
                  <a:lnTo>
                    <a:pt x="604" y="1372"/>
                  </a:lnTo>
                  <a:close/>
                  <a:moveTo>
                    <a:pt x="547" y="1451"/>
                  </a:moveTo>
                  <a:lnTo>
                    <a:pt x="545" y="1451"/>
                  </a:lnTo>
                  <a:lnTo>
                    <a:pt x="547" y="1451"/>
                  </a:lnTo>
                  <a:close/>
                  <a:moveTo>
                    <a:pt x="26" y="1552"/>
                  </a:moveTo>
                  <a:lnTo>
                    <a:pt x="26" y="1550"/>
                  </a:lnTo>
                  <a:lnTo>
                    <a:pt x="26" y="1552"/>
                  </a:lnTo>
                  <a:close/>
                  <a:moveTo>
                    <a:pt x="539" y="806"/>
                  </a:moveTo>
                  <a:lnTo>
                    <a:pt x="540" y="806"/>
                  </a:lnTo>
                  <a:lnTo>
                    <a:pt x="539" y="806"/>
                  </a:lnTo>
                  <a:close/>
                  <a:moveTo>
                    <a:pt x="661" y="438"/>
                  </a:moveTo>
                  <a:lnTo>
                    <a:pt x="662" y="438"/>
                  </a:lnTo>
                  <a:lnTo>
                    <a:pt x="661" y="438"/>
                  </a:lnTo>
                  <a:close/>
                  <a:moveTo>
                    <a:pt x="448" y="1533"/>
                  </a:moveTo>
                  <a:lnTo>
                    <a:pt x="448" y="1531"/>
                  </a:lnTo>
                  <a:lnTo>
                    <a:pt x="448" y="1533"/>
                  </a:lnTo>
                  <a:close/>
                  <a:moveTo>
                    <a:pt x="631" y="550"/>
                  </a:moveTo>
                  <a:lnTo>
                    <a:pt x="633" y="550"/>
                  </a:lnTo>
                  <a:lnTo>
                    <a:pt x="631" y="550"/>
                  </a:lnTo>
                  <a:close/>
                  <a:moveTo>
                    <a:pt x="664" y="488"/>
                  </a:moveTo>
                  <a:lnTo>
                    <a:pt x="666" y="488"/>
                  </a:lnTo>
                  <a:lnTo>
                    <a:pt x="664" y="488"/>
                  </a:lnTo>
                  <a:close/>
                  <a:moveTo>
                    <a:pt x="609" y="1328"/>
                  </a:moveTo>
                  <a:lnTo>
                    <a:pt x="610" y="1328"/>
                  </a:lnTo>
                  <a:lnTo>
                    <a:pt x="609" y="1328"/>
                  </a:lnTo>
                  <a:close/>
                  <a:moveTo>
                    <a:pt x="570" y="1419"/>
                  </a:moveTo>
                  <a:lnTo>
                    <a:pt x="568" y="1419"/>
                  </a:lnTo>
                  <a:lnTo>
                    <a:pt x="570" y="1419"/>
                  </a:lnTo>
                  <a:close/>
                  <a:moveTo>
                    <a:pt x="9" y="1498"/>
                  </a:moveTo>
                  <a:lnTo>
                    <a:pt x="9" y="1497"/>
                  </a:lnTo>
                  <a:lnTo>
                    <a:pt x="9" y="1498"/>
                  </a:lnTo>
                  <a:close/>
                  <a:moveTo>
                    <a:pt x="537" y="1256"/>
                  </a:moveTo>
                  <a:lnTo>
                    <a:pt x="537" y="1258"/>
                  </a:lnTo>
                  <a:lnTo>
                    <a:pt x="537" y="1256"/>
                  </a:lnTo>
                  <a:close/>
                  <a:moveTo>
                    <a:pt x="44" y="1633"/>
                  </a:moveTo>
                  <a:lnTo>
                    <a:pt x="43" y="1632"/>
                  </a:lnTo>
                  <a:lnTo>
                    <a:pt x="44" y="1632"/>
                  </a:lnTo>
                  <a:lnTo>
                    <a:pt x="44" y="1633"/>
                  </a:lnTo>
                  <a:close/>
                  <a:moveTo>
                    <a:pt x="492" y="866"/>
                  </a:moveTo>
                  <a:lnTo>
                    <a:pt x="492" y="864"/>
                  </a:lnTo>
                  <a:lnTo>
                    <a:pt x="492" y="866"/>
                  </a:lnTo>
                  <a:close/>
                  <a:moveTo>
                    <a:pt x="544" y="1380"/>
                  </a:moveTo>
                  <a:lnTo>
                    <a:pt x="545" y="1380"/>
                  </a:lnTo>
                  <a:lnTo>
                    <a:pt x="544" y="1380"/>
                  </a:lnTo>
                  <a:close/>
                  <a:moveTo>
                    <a:pt x="64" y="1620"/>
                  </a:moveTo>
                  <a:lnTo>
                    <a:pt x="65" y="1620"/>
                  </a:lnTo>
                  <a:lnTo>
                    <a:pt x="64" y="1620"/>
                  </a:lnTo>
                  <a:close/>
                  <a:moveTo>
                    <a:pt x="505" y="1237"/>
                  </a:moveTo>
                  <a:lnTo>
                    <a:pt x="506" y="1237"/>
                  </a:lnTo>
                  <a:lnTo>
                    <a:pt x="505" y="1237"/>
                  </a:lnTo>
                  <a:close/>
                  <a:moveTo>
                    <a:pt x="625" y="684"/>
                  </a:moveTo>
                  <a:lnTo>
                    <a:pt x="627" y="684"/>
                  </a:lnTo>
                  <a:lnTo>
                    <a:pt x="625" y="684"/>
                  </a:lnTo>
                  <a:close/>
                  <a:moveTo>
                    <a:pt x="667" y="353"/>
                  </a:moveTo>
                  <a:lnTo>
                    <a:pt x="669" y="353"/>
                  </a:lnTo>
                  <a:lnTo>
                    <a:pt x="667" y="353"/>
                  </a:lnTo>
                  <a:close/>
                  <a:moveTo>
                    <a:pt x="708" y="438"/>
                  </a:moveTo>
                  <a:lnTo>
                    <a:pt x="706" y="438"/>
                  </a:lnTo>
                  <a:lnTo>
                    <a:pt x="708" y="438"/>
                  </a:lnTo>
                  <a:close/>
                  <a:moveTo>
                    <a:pt x="448" y="1541"/>
                  </a:moveTo>
                  <a:lnTo>
                    <a:pt x="449" y="1541"/>
                  </a:lnTo>
                  <a:lnTo>
                    <a:pt x="449" y="1542"/>
                  </a:lnTo>
                  <a:lnTo>
                    <a:pt x="448" y="1541"/>
                  </a:lnTo>
                  <a:close/>
                  <a:moveTo>
                    <a:pt x="570" y="1398"/>
                  </a:moveTo>
                  <a:lnTo>
                    <a:pt x="568" y="1398"/>
                  </a:lnTo>
                  <a:lnTo>
                    <a:pt x="570" y="1398"/>
                  </a:lnTo>
                  <a:close/>
                  <a:moveTo>
                    <a:pt x="540" y="797"/>
                  </a:moveTo>
                  <a:lnTo>
                    <a:pt x="542" y="797"/>
                  </a:lnTo>
                  <a:lnTo>
                    <a:pt x="542" y="799"/>
                  </a:lnTo>
                  <a:lnTo>
                    <a:pt x="540" y="797"/>
                  </a:lnTo>
                  <a:close/>
                  <a:moveTo>
                    <a:pt x="506" y="1476"/>
                  </a:moveTo>
                  <a:lnTo>
                    <a:pt x="506" y="1477"/>
                  </a:lnTo>
                  <a:lnTo>
                    <a:pt x="506" y="1476"/>
                  </a:lnTo>
                  <a:close/>
                  <a:moveTo>
                    <a:pt x="581" y="1393"/>
                  </a:moveTo>
                  <a:lnTo>
                    <a:pt x="579" y="1393"/>
                  </a:lnTo>
                  <a:lnTo>
                    <a:pt x="581" y="1393"/>
                  </a:lnTo>
                  <a:close/>
                  <a:moveTo>
                    <a:pt x="485" y="890"/>
                  </a:moveTo>
                  <a:lnTo>
                    <a:pt x="485" y="889"/>
                  </a:lnTo>
                  <a:lnTo>
                    <a:pt x="485" y="890"/>
                  </a:lnTo>
                  <a:close/>
                  <a:moveTo>
                    <a:pt x="20" y="1533"/>
                  </a:moveTo>
                  <a:lnTo>
                    <a:pt x="20" y="1531"/>
                  </a:lnTo>
                  <a:lnTo>
                    <a:pt x="20" y="1533"/>
                  </a:lnTo>
                  <a:close/>
                  <a:moveTo>
                    <a:pt x="505" y="1237"/>
                  </a:moveTo>
                  <a:lnTo>
                    <a:pt x="505" y="1238"/>
                  </a:lnTo>
                  <a:lnTo>
                    <a:pt x="505" y="1237"/>
                  </a:lnTo>
                  <a:close/>
                  <a:moveTo>
                    <a:pt x="544" y="1380"/>
                  </a:moveTo>
                  <a:lnTo>
                    <a:pt x="542" y="1380"/>
                  </a:lnTo>
                  <a:lnTo>
                    <a:pt x="544" y="1380"/>
                  </a:lnTo>
                  <a:close/>
                  <a:moveTo>
                    <a:pt x="553" y="1365"/>
                  </a:moveTo>
                  <a:lnTo>
                    <a:pt x="553" y="1363"/>
                  </a:lnTo>
                  <a:lnTo>
                    <a:pt x="553" y="1365"/>
                  </a:lnTo>
                  <a:close/>
                  <a:moveTo>
                    <a:pt x="635" y="261"/>
                  </a:moveTo>
                  <a:lnTo>
                    <a:pt x="636" y="261"/>
                  </a:lnTo>
                  <a:lnTo>
                    <a:pt x="635" y="261"/>
                  </a:lnTo>
                  <a:close/>
                  <a:moveTo>
                    <a:pt x="12" y="1481"/>
                  </a:moveTo>
                  <a:lnTo>
                    <a:pt x="13" y="1481"/>
                  </a:lnTo>
                  <a:lnTo>
                    <a:pt x="12" y="1481"/>
                  </a:lnTo>
                  <a:close/>
                  <a:moveTo>
                    <a:pt x="490" y="1490"/>
                  </a:moveTo>
                  <a:lnTo>
                    <a:pt x="490" y="1492"/>
                  </a:lnTo>
                  <a:lnTo>
                    <a:pt x="490" y="1490"/>
                  </a:lnTo>
                  <a:lnTo>
                    <a:pt x="488" y="1490"/>
                  </a:lnTo>
                  <a:lnTo>
                    <a:pt x="490" y="1490"/>
                  </a:lnTo>
                  <a:close/>
                  <a:moveTo>
                    <a:pt x="448" y="1603"/>
                  </a:moveTo>
                  <a:lnTo>
                    <a:pt x="448" y="1604"/>
                  </a:lnTo>
                  <a:lnTo>
                    <a:pt x="448" y="1603"/>
                  </a:lnTo>
                  <a:close/>
                  <a:moveTo>
                    <a:pt x="560" y="1407"/>
                  </a:moveTo>
                  <a:lnTo>
                    <a:pt x="561" y="1407"/>
                  </a:lnTo>
                  <a:lnTo>
                    <a:pt x="560" y="1407"/>
                  </a:lnTo>
                  <a:close/>
                  <a:moveTo>
                    <a:pt x="451" y="1672"/>
                  </a:moveTo>
                  <a:lnTo>
                    <a:pt x="451" y="1671"/>
                  </a:lnTo>
                  <a:lnTo>
                    <a:pt x="451" y="1672"/>
                  </a:lnTo>
                  <a:close/>
                  <a:moveTo>
                    <a:pt x="740" y="428"/>
                  </a:moveTo>
                  <a:lnTo>
                    <a:pt x="742" y="428"/>
                  </a:lnTo>
                  <a:lnTo>
                    <a:pt x="740" y="428"/>
                  </a:lnTo>
                  <a:close/>
                  <a:moveTo>
                    <a:pt x="77" y="1703"/>
                  </a:moveTo>
                  <a:lnTo>
                    <a:pt x="77" y="1702"/>
                  </a:lnTo>
                  <a:lnTo>
                    <a:pt x="77" y="1703"/>
                  </a:lnTo>
                  <a:close/>
                  <a:moveTo>
                    <a:pt x="609" y="1362"/>
                  </a:moveTo>
                  <a:lnTo>
                    <a:pt x="610" y="1362"/>
                  </a:lnTo>
                  <a:lnTo>
                    <a:pt x="609" y="1362"/>
                  </a:lnTo>
                  <a:close/>
                  <a:moveTo>
                    <a:pt x="30" y="1581"/>
                  </a:moveTo>
                  <a:lnTo>
                    <a:pt x="30" y="1583"/>
                  </a:lnTo>
                  <a:lnTo>
                    <a:pt x="30" y="1581"/>
                  </a:lnTo>
                  <a:close/>
                  <a:moveTo>
                    <a:pt x="542" y="1428"/>
                  </a:moveTo>
                  <a:lnTo>
                    <a:pt x="542" y="1427"/>
                  </a:lnTo>
                  <a:lnTo>
                    <a:pt x="542" y="1428"/>
                  </a:lnTo>
                  <a:close/>
                  <a:moveTo>
                    <a:pt x="39" y="1607"/>
                  </a:moveTo>
                  <a:lnTo>
                    <a:pt x="41" y="1607"/>
                  </a:lnTo>
                  <a:lnTo>
                    <a:pt x="39" y="1607"/>
                  </a:lnTo>
                  <a:close/>
                  <a:moveTo>
                    <a:pt x="469" y="1494"/>
                  </a:moveTo>
                  <a:lnTo>
                    <a:pt x="470" y="1494"/>
                  </a:lnTo>
                  <a:lnTo>
                    <a:pt x="469" y="1494"/>
                  </a:lnTo>
                  <a:close/>
                  <a:moveTo>
                    <a:pt x="604" y="1333"/>
                  </a:moveTo>
                  <a:lnTo>
                    <a:pt x="604" y="1334"/>
                  </a:lnTo>
                  <a:lnTo>
                    <a:pt x="604" y="1333"/>
                  </a:lnTo>
                  <a:close/>
                  <a:moveTo>
                    <a:pt x="579" y="1355"/>
                  </a:moveTo>
                  <a:lnTo>
                    <a:pt x="579" y="1354"/>
                  </a:lnTo>
                  <a:lnTo>
                    <a:pt x="579" y="1355"/>
                  </a:lnTo>
                  <a:close/>
                  <a:moveTo>
                    <a:pt x="446" y="1518"/>
                  </a:moveTo>
                  <a:lnTo>
                    <a:pt x="448" y="1518"/>
                  </a:lnTo>
                  <a:lnTo>
                    <a:pt x="446" y="1518"/>
                  </a:lnTo>
                  <a:close/>
                  <a:moveTo>
                    <a:pt x="43" y="1612"/>
                  </a:moveTo>
                  <a:lnTo>
                    <a:pt x="43" y="1611"/>
                  </a:lnTo>
                  <a:lnTo>
                    <a:pt x="43" y="1612"/>
                  </a:lnTo>
                  <a:close/>
                  <a:moveTo>
                    <a:pt x="444" y="1204"/>
                  </a:moveTo>
                  <a:lnTo>
                    <a:pt x="444" y="1206"/>
                  </a:lnTo>
                  <a:lnTo>
                    <a:pt x="444" y="1204"/>
                  </a:lnTo>
                  <a:close/>
                  <a:moveTo>
                    <a:pt x="607" y="1329"/>
                  </a:moveTo>
                  <a:lnTo>
                    <a:pt x="609" y="1329"/>
                  </a:lnTo>
                  <a:lnTo>
                    <a:pt x="607" y="1329"/>
                  </a:lnTo>
                  <a:close/>
                  <a:moveTo>
                    <a:pt x="326" y="1874"/>
                  </a:moveTo>
                  <a:lnTo>
                    <a:pt x="327" y="1874"/>
                  </a:lnTo>
                  <a:lnTo>
                    <a:pt x="326" y="1874"/>
                  </a:lnTo>
                  <a:close/>
                  <a:moveTo>
                    <a:pt x="571" y="1386"/>
                  </a:moveTo>
                  <a:lnTo>
                    <a:pt x="573" y="1385"/>
                  </a:lnTo>
                  <a:lnTo>
                    <a:pt x="573" y="1386"/>
                  </a:lnTo>
                  <a:lnTo>
                    <a:pt x="571" y="1386"/>
                  </a:lnTo>
                  <a:close/>
                  <a:moveTo>
                    <a:pt x="449" y="1565"/>
                  </a:moveTo>
                  <a:lnTo>
                    <a:pt x="449" y="1563"/>
                  </a:lnTo>
                  <a:lnTo>
                    <a:pt x="449" y="1565"/>
                  </a:lnTo>
                  <a:close/>
                  <a:moveTo>
                    <a:pt x="628" y="620"/>
                  </a:moveTo>
                  <a:lnTo>
                    <a:pt x="628" y="622"/>
                  </a:lnTo>
                  <a:lnTo>
                    <a:pt x="628" y="620"/>
                  </a:lnTo>
                  <a:close/>
                  <a:moveTo>
                    <a:pt x="602" y="1350"/>
                  </a:moveTo>
                  <a:lnTo>
                    <a:pt x="602" y="1349"/>
                  </a:lnTo>
                  <a:lnTo>
                    <a:pt x="602" y="1350"/>
                  </a:lnTo>
                  <a:close/>
                  <a:moveTo>
                    <a:pt x="602" y="741"/>
                  </a:moveTo>
                  <a:lnTo>
                    <a:pt x="604" y="741"/>
                  </a:lnTo>
                  <a:lnTo>
                    <a:pt x="602" y="741"/>
                  </a:lnTo>
                  <a:lnTo>
                    <a:pt x="602" y="742"/>
                  </a:lnTo>
                  <a:lnTo>
                    <a:pt x="602" y="741"/>
                  </a:lnTo>
                  <a:close/>
                  <a:moveTo>
                    <a:pt x="758" y="425"/>
                  </a:moveTo>
                  <a:lnTo>
                    <a:pt x="758" y="427"/>
                  </a:lnTo>
                  <a:lnTo>
                    <a:pt x="758" y="425"/>
                  </a:lnTo>
                  <a:close/>
                  <a:moveTo>
                    <a:pt x="488" y="862"/>
                  </a:moveTo>
                  <a:lnTo>
                    <a:pt x="488" y="861"/>
                  </a:lnTo>
                  <a:lnTo>
                    <a:pt x="488" y="862"/>
                  </a:lnTo>
                  <a:close/>
                  <a:moveTo>
                    <a:pt x="443" y="1685"/>
                  </a:moveTo>
                  <a:lnTo>
                    <a:pt x="444" y="1685"/>
                  </a:lnTo>
                  <a:lnTo>
                    <a:pt x="443" y="1685"/>
                  </a:lnTo>
                  <a:close/>
                  <a:moveTo>
                    <a:pt x="578" y="1415"/>
                  </a:moveTo>
                  <a:lnTo>
                    <a:pt x="579" y="1415"/>
                  </a:lnTo>
                  <a:lnTo>
                    <a:pt x="578" y="1417"/>
                  </a:lnTo>
                  <a:lnTo>
                    <a:pt x="578" y="1415"/>
                  </a:lnTo>
                  <a:close/>
                  <a:moveTo>
                    <a:pt x="583" y="1406"/>
                  </a:moveTo>
                  <a:lnTo>
                    <a:pt x="583" y="1404"/>
                  </a:lnTo>
                  <a:lnTo>
                    <a:pt x="583" y="1406"/>
                  </a:lnTo>
                  <a:close/>
                  <a:moveTo>
                    <a:pt x="428" y="1173"/>
                  </a:moveTo>
                  <a:lnTo>
                    <a:pt x="430" y="1173"/>
                  </a:lnTo>
                  <a:lnTo>
                    <a:pt x="428" y="1173"/>
                  </a:lnTo>
                  <a:close/>
                  <a:moveTo>
                    <a:pt x="586" y="1383"/>
                  </a:moveTo>
                  <a:lnTo>
                    <a:pt x="586" y="1381"/>
                  </a:lnTo>
                  <a:lnTo>
                    <a:pt x="586" y="1383"/>
                  </a:lnTo>
                  <a:close/>
                  <a:moveTo>
                    <a:pt x="59" y="1578"/>
                  </a:moveTo>
                  <a:lnTo>
                    <a:pt x="59" y="1576"/>
                  </a:lnTo>
                  <a:lnTo>
                    <a:pt x="59" y="1578"/>
                  </a:lnTo>
                  <a:close/>
                  <a:moveTo>
                    <a:pt x="69" y="1681"/>
                  </a:moveTo>
                  <a:lnTo>
                    <a:pt x="69" y="1682"/>
                  </a:lnTo>
                  <a:lnTo>
                    <a:pt x="69" y="1681"/>
                  </a:lnTo>
                  <a:lnTo>
                    <a:pt x="70" y="1681"/>
                  </a:lnTo>
                  <a:lnTo>
                    <a:pt x="69" y="1681"/>
                  </a:lnTo>
                  <a:close/>
                  <a:moveTo>
                    <a:pt x="501" y="1458"/>
                  </a:moveTo>
                  <a:lnTo>
                    <a:pt x="500" y="1458"/>
                  </a:lnTo>
                  <a:lnTo>
                    <a:pt x="500" y="1456"/>
                  </a:lnTo>
                  <a:lnTo>
                    <a:pt x="501" y="1456"/>
                  </a:lnTo>
                  <a:lnTo>
                    <a:pt x="501" y="1458"/>
                  </a:lnTo>
                  <a:close/>
                  <a:moveTo>
                    <a:pt x="571" y="1373"/>
                  </a:moveTo>
                  <a:lnTo>
                    <a:pt x="570" y="1373"/>
                  </a:lnTo>
                  <a:lnTo>
                    <a:pt x="571" y="1373"/>
                  </a:lnTo>
                  <a:close/>
                  <a:moveTo>
                    <a:pt x="763" y="430"/>
                  </a:moveTo>
                  <a:lnTo>
                    <a:pt x="763" y="431"/>
                  </a:lnTo>
                  <a:lnTo>
                    <a:pt x="763" y="430"/>
                  </a:lnTo>
                  <a:close/>
                  <a:moveTo>
                    <a:pt x="48" y="1643"/>
                  </a:moveTo>
                  <a:lnTo>
                    <a:pt x="48" y="1642"/>
                  </a:lnTo>
                  <a:lnTo>
                    <a:pt x="48" y="1643"/>
                  </a:lnTo>
                  <a:close/>
                  <a:moveTo>
                    <a:pt x="550" y="1276"/>
                  </a:moveTo>
                  <a:lnTo>
                    <a:pt x="550" y="1277"/>
                  </a:lnTo>
                  <a:lnTo>
                    <a:pt x="550" y="1276"/>
                  </a:lnTo>
                  <a:close/>
                  <a:moveTo>
                    <a:pt x="514" y="1477"/>
                  </a:moveTo>
                  <a:lnTo>
                    <a:pt x="514" y="1479"/>
                  </a:lnTo>
                  <a:lnTo>
                    <a:pt x="514" y="1477"/>
                  </a:lnTo>
                  <a:close/>
                  <a:moveTo>
                    <a:pt x="443" y="1591"/>
                  </a:moveTo>
                  <a:lnTo>
                    <a:pt x="444" y="1591"/>
                  </a:lnTo>
                  <a:lnTo>
                    <a:pt x="443" y="1591"/>
                  </a:lnTo>
                  <a:close/>
                  <a:moveTo>
                    <a:pt x="581" y="1401"/>
                  </a:moveTo>
                  <a:lnTo>
                    <a:pt x="583" y="1401"/>
                  </a:lnTo>
                  <a:lnTo>
                    <a:pt x="581" y="1401"/>
                  </a:lnTo>
                  <a:close/>
                  <a:moveTo>
                    <a:pt x="451" y="1521"/>
                  </a:moveTo>
                  <a:lnTo>
                    <a:pt x="449" y="1521"/>
                  </a:lnTo>
                  <a:lnTo>
                    <a:pt x="449" y="1520"/>
                  </a:lnTo>
                  <a:lnTo>
                    <a:pt x="451" y="1521"/>
                  </a:lnTo>
                  <a:close/>
                  <a:moveTo>
                    <a:pt x="535" y="801"/>
                  </a:moveTo>
                  <a:lnTo>
                    <a:pt x="535" y="799"/>
                  </a:lnTo>
                  <a:lnTo>
                    <a:pt x="535" y="801"/>
                  </a:lnTo>
                  <a:lnTo>
                    <a:pt x="535" y="799"/>
                  </a:lnTo>
                  <a:lnTo>
                    <a:pt x="537" y="801"/>
                  </a:lnTo>
                  <a:lnTo>
                    <a:pt x="535" y="801"/>
                  </a:lnTo>
                  <a:close/>
                  <a:moveTo>
                    <a:pt x="347" y="1874"/>
                  </a:moveTo>
                  <a:lnTo>
                    <a:pt x="347" y="1873"/>
                  </a:lnTo>
                  <a:lnTo>
                    <a:pt x="347" y="1874"/>
                  </a:lnTo>
                  <a:close/>
                  <a:moveTo>
                    <a:pt x="444" y="1723"/>
                  </a:moveTo>
                  <a:lnTo>
                    <a:pt x="444" y="1721"/>
                  </a:lnTo>
                  <a:lnTo>
                    <a:pt x="444" y="1723"/>
                  </a:lnTo>
                  <a:close/>
                  <a:moveTo>
                    <a:pt x="713" y="438"/>
                  </a:moveTo>
                  <a:lnTo>
                    <a:pt x="714" y="438"/>
                  </a:lnTo>
                  <a:lnTo>
                    <a:pt x="714" y="440"/>
                  </a:lnTo>
                  <a:lnTo>
                    <a:pt x="713" y="438"/>
                  </a:lnTo>
                  <a:close/>
                  <a:moveTo>
                    <a:pt x="518" y="1477"/>
                  </a:moveTo>
                  <a:lnTo>
                    <a:pt x="518" y="1476"/>
                  </a:lnTo>
                  <a:lnTo>
                    <a:pt x="518" y="1477"/>
                  </a:lnTo>
                  <a:close/>
                  <a:moveTo>
                    <a:pt x="35" y="1603"/>
                  </a:moveTo>
                  <a:lnTo>
                    <a:pt x="33" y="1603"/>
                  </a:lnTo>
                  <a:lnTo>
                    <a:pt x="35" y="1603"/>
                  </a:lnTo>
                  <a:close/>
                  <a:moveTo>
                    <a:pt x="417" y="1085"/>
                  </a:moveTo>
                  <a:lnTo>
                    <a:pt x="418" y="1085"/>
                  </a:lnTo>
                  <a:lnTo>
                    <a:pt x="417" y="1085"/>
                  </a:lnTo>
                  <a:close/>
                  <a:moveTo>
                    <a:pt x="591" y="1328"/>
                  </a:moveTo>
                  <a:lnTo>
                    <a:pt x="592" y="1328"/>
                  </a:lnTo>
                  <a:lnTo>
                    <a:pt x="591" y="1328"/>
                  </a:lnTo>
                  <a:close/>
                  <a:moveTo>
                    <a:pt x="451" y="1500"/>
                  </a:moveTo>
                  <a:lnTo>
                    <a:pt x="453" y="1500"/>
                  </a:lnTo>
                  <a:lnTo>
                    <a:pt x="451" y="1500"/>
                  </a:lnTo>
                  <a:close/>
                  <a:moveTo>
                    <a:pt x="422" y="1085"/>
                  </a:moveTo>
                  <a:lnTo>
                    <a:pt x="423" y="1085"/>
                  </a:lnTo>
                  <a:lnTo>
                    <a:pt x="422" y="1085"/>
                  </a:lnTo>
                  <a:close/>
                  <a:moveTo>
                    <a:pt x="571" y="1341"/>
                  </a:moveTo>
                  <a:lnTo>
                    <a:pt x="571" y="1339"/>
                  </a:lnTo>
                  <a:lnTo>
                    <a:pt x="571" y="1341"/>
                  </a:lnTo>
                  <a:close/>
                  <a:moveTo>
                    <a:pt x="605" y="1368"/>
                  </a:moveTo>
                  <a:lnTo>
                    <a:pt x="605" y="1367"/>
                  </a:lnTo>
                  <a:lnTo>
                    <a:pt x="605" y="1368"/>
                  </a:lnTo>
                  <a:close/>
                  <a:moveTo>
                    <a:pt x="441" y="1560"/>
                  </a:moveTo>
                  <a:lnTo>
                    <a:pt x="443" y="1560"/>
                  </a:lnTo>
                  <a:lnTo>
                    <a:pt x="441" y="1560"/>
                  </a:lnTo>
                  <a:close/>
                  <a:moveTo>
                    <a:pt x="451" y="1552"/>
                  </a:moveTo>
                  <a:lnTo>
                    <a:pt x="451" y="1550"/>
                  </a:lnTo>
                  <a:lnTo>
                    <a:pt x="451" y="1552"/>
                  </a:lnTo>
                  <a:close/>
                  <a:moveTo>
                    <a:pt x="521" y="1459"/>
                  </a:moveTo>
                  <a:lnTo>
                    <a:pt x="522" y="1459"/>
                  </a:lnTo>
                  <a:lnTo>
                    <a:pt x="521" y="1459"/>
                  </a:lnTo>
                  <a:close/>
                  <a:moveTo>
                    <a:pt x="607" y="1682"/>
                  </a:moveTo>
                  <a:lnTo>
                    <a:pt x="609" y="1681"/>
                  </a:lnTo>
                  <a:lnTo>
                    <a:pt x="609" y="1682"/>
                  </a:lnTo>
                  <a:lnTo>
                    <a:pt x="607" y="1682"/>
                  </a:lnTo>
                  <a:close/>
                  <a:moveTo>
                    <a:pt x="537" y="791"/>
                  </a:moveTo>
                  <a:lnTo>
                    <a:pt x="537" y="793"/>
                  </a:lnTo>
                  <a:lnTo>
                    <a:pt x="537" y="791"/>
                  </a:lnTo>
                  <a:close/>
                  <a:moveTo>
                    <a:pt x="553" y="1441"/>
                  </a:moveTo>
                  <a:lnTo>
                    <a:pt x="555" y="1441"/>
                  </a:lnTo>
                  <a:lnTo>
                    <a:pt x="553" y="1441"/>
                  </a:lnTo>
                  <a:close/>
                  <a:moveTo>
                    <a:pt x="65" y="1604"/>
                  </a:moveTo>
                  <a:lnTo>
                    <a:pt x="65" y="1606"/>
                  </a:lnTo>
                  <a:lnTo>
                    <a:pt x="65" y="1604"/>
                  </a:lnTo>
                  <a:close/>
                  <a:moveTo>
                    <a:pt x="617" y="765"/>
                  </a:moveTo>
                  <a:lnTo>
                    <a:pt x="617" y="763"/>
                  </a:lnTo>
                  <a:lnTo>
                    <a:pt x="617" y="765"/>
                  </a:lnTo>
                  <a:close/>
                  <a:moveTo>
                    <a:pt x="436" y="1617"/>
                  </a:moveTo>
                  <a:lnTo>
                    <a:pt x="435" y="1617"/>
                  </a:lnTo>
                  <a:lnTo>
                    <a:pt x="436" y="1617"/>
                  </a:lnTo>
                  <a:close/>
                  <a:moveTo>
                    <a:pt x="438" y="1768"/>
                  </a:moveTo>
                  <a:lnTo>
                    <a:pt x="436" y="1768"/>
                  </a:lnTo>
                  <a:lnTo>
                    <a:pt x="438" y="1768"/>
                  </a:lnTo>
                  <a:close/>
                  <a:moveTo>
                    <a:pt x="565" y="1381"/>
                  </a:moveTo>
                  <a:lnTo>
                    <a:pt x="566" y="1381"/>
                  </a:lnTo>
                  <a:lnTo>
                    <a:pt x="565" y="1381"/>
                  </a:lnTo>
                  <a:close/>
                  <a:moveTo>
                    <a:pt x="12" y="1507"/>
                  </a:moveTo>
                  <a:lnTo>
                    <a:pt x="12" y="1508"/>
                  </a:lnTo>
                  <a:lnTo>
                    <a:pt x="12" y="1507"/>
                  </a:lnTo>
                  <a:close/>
                  <a:moveTo>
                    <a:pt x="553" y="1419"/>
                  </a:moveTo>
                  <a:lnTo>
                    <a:pt x="553" y="1417"/>
                  </a:lnTo>
                  <a:lnTo>
                    <a:pt x="553" y="1419"/>
                  </a:lnTo>
                  <a:close/>
                  <a:moveTo>
                    <a:pt x="435" y="1129"/>
                  </a:moveTo>
                  <a:lnTo>
                    <a:pt x="435" y="1131"/>
                  </a:lnTo>
                  <a:lnTo>
                    <a:pt x="435" y="1129"/>
                  </a:lnTo>
                  <a:close/>
                  <a:moveTo>
                    <a:pt x="454" y="1533"/>
                  </a:moveTo>
                  <a:lnTo>
                    <a:pt x="454" y="1531"/>
                  </a:lnTo>
                  <a:lnTo>
                    <a:pt x="454" y="1533"/>
                  </a:lnTo>
                  <a:close/>
                  <a:moveTo>
                    <a:pt x="610" y="1326"/>
                  </a:moveTo>
                  <a:lnTo>
                    <a:pt x="610" y="1328"/>
                  </a:lnTo>
                  <a:lnTo>
                    <a:pt x="610" y="1326"/>
                  </a:lnTo>
                  <a:close/>
                  <a:moveTo>
                    <a:pt x="451" y="1541"/>
                  </a:moveTo>
                  <a:lnTo>
                    <a:pt x="451" y="1542"/>
                  </a:lnTo>
                  <a:lnTo>
                    <a:pt x="451" y="1541"/>
                  </a:lnTo>
                  <a:close/>
                  <a:moveTo>
                    <a:pt x="505" y="843"/>
                  </a:moveTo>
                  <a:lnTo>
                    <a:pt x="506" y="843"/>
                  </a:lnTo>
                  <a:lnTo>
                    <a:pt x="505" y="845"/>
                  </a:lnTo>
                  <a:lnTo>
                    <a:pt x="505" y="843"/>
                  </a:lnTo>
                  <a:close/>
                  <a:moveTo>
                    <a:pt x="589" y="1331"/>
                  </a:moveTo>
                  <a:lnTo>
                    <a:pt x="589" y="1333"/>
                  </a:lnTo>
                  <a:lnTo>
                    <a:pt x="589" y="1331"/>
                  </a:lnTo>
                  <a:close/>
                  <a:moveTo>
                    <a:pt x="550" y="1425"/>
                  </a:moveTo>
                  <a:lnTo>
                    <a:pt x="552" y="1425"/>
                  </a:lnTo>
                  <a:lnTo>
                    <a:pt x="550" y="1425"/>
                  </a:lnTo>
                  <a:close/>
                  <a:moveTo>
                    <a:pt x="560" y="1428"/>
                  </a:moveTo>
                  <a:lnTo>
                    <a:pt x="560" y="1427"/>
                  </a:lnTo>
                  <a:lnTo>
                    <a:pt x="560" y="1428"/>
                  </a:lnTo>
                  <a:close/>
                  <a:moveTo>
                    <a:pt x="31" y="1581"/>
                  </a:moveTo>
                  <a:lnTo>
                    <a:pt x="31" y="1580"/>
                  </a:lnTo>
                  <a:lnTo>
                    <a:pt x="31" y="1581"/>
                  </a:lnTo>
                  <a:close/>
                  <a:moveTo>
                    <a:pt x="52" y="1646"/>
                  </a:moveTo>
                  <a:lnTo>
                    <a:pt x="54" y="1646"/>
                  </a:lnTo>
                  <a:lnTo>
                    <a:pt x="52" y="1646"/>
                  </a:lnTo>
                  <a:close/>
                  <a:moveTo>
                    <a:pt x="583" y="1339"/>
                  </a:moveTo>
                  <a:lnTo>
                    <a:pt x="584" y="1337"/>
                  </a:lnTo>
                  <a:lnTo>
                    <a:pt x="584" y="1339"/>
                  </a:lnTo>
                  <a:lnTo>
                    <a:pt x="583" y="1339"/>
                  </a:lnTo>
                  <a:close/>
                  <a:moveTo>
                    <a:pt x="474" y="1490"/>
                  </a:moveTo>
                  <a:lnTo>
                    <a:pt x="475" y="1490"/>
                  </a:lnTo>
                  <a:lnTo>
                    <a:pt x="474" y="1490"/>
                  </a:lnTo>
                  <a:close/>
                  <a:moveTo>
                    <a:pt x="428" y="1142"/>
                  </a:moveTo>
                  <a:lnTo>
                    <a:pt x="428" y="1144"/>
                  </a:lnTo>
                  <a:lnTo>
                    <a:pt x="428" y="1142"/>
                  </a:lnTo>
                  <a:close/>
                  <a:moveTo>
                    <a:pt x="441" y="1736"/>
                  </a:moveTo>
                  <a:lnTo>
                    <a:pt x="443" y="1738"/>
                  </a:lnTo>
                  <a:lnTo>
                    <a:pt x="441" y="1736"/>
                  </a:lnTo>
                  <a:close/>
                  <a:moveTo>
                    <a:pt x="579" y="1415"/>
                  </a:moveTo>
                  <a:lnTo>
                    <a:pt x="579" y="1414"/>
                  </a:lnTo>
                  <a:lnTo>
                    <a:pt x="579" y="1415"/>
                  </a:lnTo>
                  <a:close/>
                  <a:moveTo>
                    <a:pt x="620" y="1373"/>
                  </a:moveTo>
                  <a:lnTo>
                    <a:pt x="622" y="1373"/>
                  </a:lnTo>
                  <a:lnTo>
                    <a:pt x="620" y="1373"/>
                  </a:lnTo>
                  <a:close/>
                  <a:moveTo>
                    <a:pt x="392" y="1881"/>
                  </a:moveTo>
                  <a:lnTo>
                    <a:pt x="394" y="1881"/>
                  </a:lnTo>
                  <a:lnTo>
                    <a:pt x="392" y="1882"/>
                  </a:lnTo>
                  <a:lnTo>
                    <a:pt x="392" y="1881"/>
                  </a:lnTo>
                  <a:close/>
                  <a:moveTo>
                    <a:pt x="470" y="1739"/>
                  </a:moveTo>
                  <a:lnTo>
                    <a:pt x="472" y="1739"/>
                  </a:lnTo>
                  <a:lnTo>
                    <a:pt x="472" y="1741"/>
                  </a:lnTo>
                  <a:lnTo>
                    <a:pt x="472" y="1739"/>
                  </a:lnTo>
                  <a:lnTo>
                    <a:pt x="470" y="1739"/>
                  </a:lnTo>
                  <a:close/>
                  <a:moveTo>
                    <a:pt x="46" y="1630"/>
                  </a:moveTo>
                  <a:lnTo>
                    <a:pt x="48" y="1630"/>
                  </a:lnTo>
                  <a:lnTo>
                    <a:pt x="48" y="1632"/>
                  </a:lnTo>
                  <a:lnTo>
                    <a:pt x="46" y="1632"/>
                  </a:lnTo>
                  <a:lnTo>
                    <a:pt x="46" y="1630"/>
                  </a:lnTo>
                  <a:close/>
                  <a:moveTo>
                    <a:pt x="444" y="1646"/>
                  </a:moveTo>
                  <a:lnTo>
                    <a:pt x="446" y="1646"/>
                  </a:lnTo>
                  <a:lnTo>
                    <a:pt x="444" y="1646"/>
                  </a:lnTo>
                  <a:close/>
                  <a:moveTo>
                    <a:pt x="75" y="1684"/>
                  </a:moveTo>
                  <a:lnTo>
                    <a:pt x="75" y="1682"/>
                  </a:lnTo>
                  <a:lnTo>
                    <a:pt x="77" y="1682"/>
                  </a:lnTo>
                  <a:lnTo>
                    <a:pt x="75" y="1684"/>
                  </a:lnTo>
                  <a:close/>
                  <a:moveTo>
                    <a:pt x="441" y="1596"/>
                  </a:moveTo>
                  <a:lnTo>
                    <a:pt x="443" y="1596"/>
                  </a:lnTo>
                  <a:lnTo>
                    <a:pt x="443" y="1598"/>
                  </a:lnTo>
                  <a:lnTo>
                    <a:pt x="441" y="1596"/>
                  </a:lnTo>
                  <a:close/>
                  <a:moveTo>
                    <a:pt x="742" y="433"/>
                  </a:moveTo>
                  <a:lnTo>
                    <a:pt x="742" y="435"/>
                  </a:lnTo>
                  <a:lnTo>
                    <a:pt x="740" y="433"/>
                  </a:lnTo>
                  <a:lnTo>
                    <a:pt x="742" y="433"/>
                  </a:lnTo>
                  <a:close/>
                  <a:moveTo>
                    <a:pt x="651" y="492"/>
                  </a:moveTo>
                  <a:lnTo>
                    <a:pt x="649" y="492"/>
                  </a:lnTo>
                  <a:lnTo>
                    <a:pt x="651" y="492"/>
                  </a:lnTo>
                  <a:close/>
                  <a:moveTo>
                    <a:pt x="446" y="1568"/>
                  </a:moveTo>
                  <a:lnTo>
                    <a:pt x="446" y="1567"/>
                  </a:lnTo>
                  <a:lnTo>
                    <a:pt x="446" y="1568"/>
                  </a:lnTo>
                  <a:close/>
                  <a:moveTo>
                    <a:pt x="623" y="1367"/>
                  </a:moveTo>
                  <a:lnTo>
                    <a:pt x="623" y="1368"/>
                  </a:lnTo>
                  <a:lnTo>
                    <a:pt x="623" y="1367"/>
                  </a:lnTo>
                  <a:close/>
                  <a:moveTo>
                    <a:pt x="67" y="1656"/>
                  </a:moveTo>
                  <a:lnTo>
                    <a:pt x="65" y="1656"/>
                  </a:lnTo>
                  <a:lnTo>
                    <a:pt x="65" y="1655"/>
                  </a:lnTo>
                  <a:lnTo>
                    <a:pt x="67" y="1656"/>
                  </a:lnTo>
                  <a:close/>
                  <a:moveTo>
                    <a:pt x="599" y="1334"/>
                  </a:moveTo>
                  <a:lnTo>
                    <a:pt x="597" y="1334"/>
                  </a:lnTo>
                  <a:lnTo>
                    <a:pt x="599" y="1334"/>
                  </a:lnTo>
                  <a:close/>
                  <a:moveTo>
                    <a:pt x="640" y="467"/>
                  </a:moveTo>
                  <a:lnTo>
                    <a:pt x="641" y="467"/>
                  </a:lnTo>
                  <a:lnTo>
                    <a:pt x="640" y="467"/>
                  </a:lnTo>
                  <a:close/>
                  <a:moveTo>
                    <a:pt x="640" y="625"/>
                  </a:moveTo>
                  <a:lnTo>
                    <a:pt x="640" y="623"/>
                  </a:lnTo>
                  <a:lnTo>
                    <a:pt x="640" y="625"/>
                  </a:lnTo>
                  <a:close/>
                  <a:moveTo>
                    <a:pt x="441" y="1583"/>
                  </a:moveTo>
                  <a:lnTo>
                    <a:pt x="443" y="1583"/>
                  </a:lnTo>
                  <a:lnTo>
                    <a:pt x="441" y="1583"/>
                  </a:lnTo>
                  <a:close/>
                  <a:moveTo>
                    <a:pt x="41" y="1617"/>
                  </a:moveTo>
                  <a:lnTo>
                    <a:pt x="43" y="1617"/>
                  </a:lnTo>
                  <a:lnTo>
                    <a:pt x="41" y="1617"/>
                  </a:lnTo>
                  <a:close/>
                  <a:moveTo>
                    <a:pt x="565" y="1344"/>
                  </a:moveTo>
                  <a:lnTo>
                    <a:pt x="565" y="1342"/>
                  </a:lnTo>
                  <a:lnTo>
                    <a:pt x="565" y="1344"/>
                  </a:lnTo>
                  <a:close/>
                  <a:moveTo>
                    <a:pt x="101" y="1742"/>
                  </a:moveTo>
                  <a:lnTo>
                    <a:pt x="101" y="1744"/>
                  </a:lnTo>
                  <a:lnTo>
                    <a:pt x="101" y="1742"/>
                  </a:lnTo>
                  <a:close/>
                  <a:moveTo>
                    <a:pt x="630" y="510"/>
                  </a:moveTo>
                  <a:lnTo>
                    <a:pt x="630" y="511"/>
                  </a:lnTo>
                  <a:lnTo>
                    <a:pt x="630" y="510"/>
                  </a:lnTo>
                  <a:close/>
                  <a:moveTo>
                    <a:pt x="555" y="1362"/>
                  </a:moveTo>
                  <a:lnTo>
                    <a:pt x="557" y="1362"/>
                  </a:lnTo>
                  <a:lnTo>
                    <a:pt x="555" y="1363"/>
                  </a:lnTo>
                  <a:lnTo>
                    <a:pt x="555" y="1362"/>
                  </a:lnTo>
                  <a:close/>
                  <a:moveTo>
                    <a:pt x="435" y="1762"/>
                  </a:moveTo>
                  <a:lnTo>
                    <a:pt x="436" y="1762"/>
                  </a:lnTo>
                  <a:lnTo>
                    <a:pt x="435" y="1762"/>
                  </a:lnTo>
                  <a:close/>
                  <a:moveTo>
                    <a:pt x="566" y="1360"/>
                  </a:moveTo>
                  <a:lnTo>
                    <a:pt x="565" y="1360"/>
                  </a:lnTo>
                  <a:lnTo>
                    <a:pt x="566" y="1360"/>
                  </a:lnTo>
                  <a:close/>
                  <a:moveTo>
                    <a:pt x="670" y="443"/>
                  </a:moveTo>
                  <a:lnTo>
                    <a:pt x="670" y="441"/>
                  </a:lnTo>
                  <a:lnTo>
                    <a:pt x="670" y="443"/>
                  </a:lnTo>
                  <a:close/>
                  <a:moveTo>
                    <a:pt x="54" y="1672"/>
                  </a:moveTo>
                  <a:lnTo>
                    <a:pt x="56" y="1671"/>
                  </a:lnTo>
                  <a:lnTo>
                    <a:pt x="56" y="1672"/>
                  </a:lnTo>
                  <a:lnTo>
                    <a:pt x="54" y="1672"/>
                  </a:lnTo>
                  <a:close/>
                  <a:moveTo>
                    <a:pt x="168" y="1981"/>
                  </a:moveTo>
                  <a:lnTo>
                    <a:pt x="170" y="1981"/>
                  </a:lnTo>
                  <a:lnTo>
                    <a:pt x="168" y="1981"/>
                  </a:lnTo>
                  <a:close/>
                  <a:moveTo>
                    <a:pt x="451" y="1518"/>
                  </a:moveTo>
                  <a:lnTo>
                    <a:pt x="449" y="1518"/>
                  </a:lnTo>
                  <a:lnTo>
                    <a:pt x="451" y="1518"/>
                  </a:lnTo>
                  <a:close/>
                  <a:moveTo>
                    <a:pt x="544" y="1407"/>
                  </a:moveTo>
                  <a:lnTo>
                    <a:pt x="545" y="1407"/>
                  </a:lnTo>
                  <a:lnTo>
                    <a:pt x="544" y="1407"/>
                  </a:lnTo>
                  <a:close/>
                  <a:moveTo>
                    <a:pt x="597" y="1347"/>
                  </a:moveTo>
                  <a:lnTo>
                    <a:pt x="597" y="1346"/>
                  </a:lnTo>
                  <a:lnTo>
                    <a:pt x="597" y="1347"/>
                  </a:lnTo>
                  <a:close/>
                  <a:moveTo>
                    <a:pt x="578" y="1420"/>
                  </a:moveTo>
                  <a:lnTo>
                    <a:pt x="576" y="1420"/>
                  </a:lnTo>
                  <a:lnTo>
                    <a:pt x="578" y="1420"/>
                  </a:lnTo>
                  <a:close/>
                  <a:moveTo>
                    <a:pt x="604" y="1333"/>
                  </a:moveTo>
                  <a:lnTo>
                    <a:pt x="604" y="1331"/>
                  </a:lnTo>
                  <a:lnTo>
                    <a:pt x="605" y="1331"/>
                  </a:lnTo>
                  <a:lnTo>
                    <a:pt x="605" y="1333"/>
                  </a:lnTo>
                  <a:lnTo>
                    <a:pt x="604" y="1333"/>
                  </a:lnTo>
                  <a:close/>
                  <a:moveTo>
                    <a:pt x="498" y="1225"/>
                  </a:moveTo>
                  <a:lnTo>
                    <a:pt x="500" y="1225"/>
                  </a:lnTo>
                  <a:lnTo>
                    <a:pt x="498" y="1225"/>
                  </a:lnTo>
                  <a:close/>
                  <a:moveTo>
                    <a:pt x="609" y="1326"/>
                  </a:moveTo>
                  <a:lnTo>
                    <a:pt x="609" y="1328"/>
                  </a:lnTo>
                  <a:lnTo>
                    <a:pt x="609" y="1326"/>
                  </a:lnTo>
                  <a:close/>
                  <a:moveTo>
                    <a:pt x="389" y="1881"/>
                  </a:moveTo>
                  <a:lnTo>
                    <a:pt x="389" y="1879"/>
                  </a:lnTo>
                  <a:lnTo>
                    <a:pt x="389" y="1881"/>
                  </a:lnTo>
                  <a:close/>
                  <a:moveTo>
                    <a:pt x="586" y="1311"/>
                  </a:moveTo>
                  <a:lnTo>
                    <a:pt x="586" y="1313"/>
                  </a:lnTo>
                  <a:lnTo>
                    <a:pt x="586" y="1311"/>
                  </a:lnTo>
                  <a:close/>
                  <a:moveTo>
                    <a:pt x="641" y="638"/>
                  </a:moveTo>
                  <a:lnTo>
                    <a:pt x="643" y="640"/>
                  </a:lnTo>
                  <a:lnTo>
                    <a:pt x="641" y="640"/>
                  </a:lnTo>
                  <a:lnTo>
                    <a:pt x="641" y="638"/>
                  </a:lnTo>
                  <a:close/>
                  <a:moveTo>
                    <a:pt x="503" y="1471"/>
                  </a:moveTo>
                  <a:lnTo>
                    <a:pt x="501" y="1472"/>
                  </a:lnTo>
                  <a:lnTo>
                    <a:pt x="501" y="1471"/>
                  </a:lnTo>
                  <a:lnTo>
                    <a:pt x="503" y="1471"/>
                  </a:lnTo>
                  <a:close/>
                  <a:moveTo>
                    <a:pt x="4" y="1498"/>
                  </a:moveTo>
                  <a:lnTo>
                    <a:pt x="5" y="1498"/>
                  </a:lnTo>
                  <a:lnTo>
                    <a:pt x="4" y="1498"/>
                  </a:lnTo>
                  <a:close/>
                  <a:moveTo>
                    <a:pt x="75" y="1689"/>
                  </a:moveTo>
                  <a:lnTo>
                    <a:pt x="77" y="1689"/>
                  </a:lnTo>
                  <a:lnTo>
                    <a:pt x="75" y="1689"/>
                  </a:lnTo>
                  <a:close/>
                  <a:moveTo>
                    <a:pt x="56" y="1633"/>
                  </a:moveTo>
                  <a:lnTo>
                    <a:pt x="57" y="1633"/>
                  </a:lnTo>
                  <a:lnTo>
                    <a:pt x="56" y="1633"/>
                  </a:lnTo>
                  <a:close/>
                  <a:moveTo>
                    <a:pt x="599" y="1331"/>
                  </a:moveTo>
                  <a:lnTo>
                    <a:pt x="599" y="1329"/>
                  </a:lnTo>
                  <a:lnTo>
                    <a:pt x="599" y="1331"/>
                  </a:lnTo>
                  <a:close/>
                  <a:moveTo>
                    <a:pt x="49" y="1645"/>
                  </a:moveTo>
                  <a:lnTo>
                    <a:pt x="51" y="1645"/>
                  </a:lnTo>
                  <a:lnTo>
                    <a:pt x="49" y="1645"/>
                  </a:lnTo>
                  <a:close/>
                  <a:moveTo>
                    <a:pt x="583" y="1373"/>
                  </a:moveTo>
                  <a:lnTo>
                    <a:pt x="583" y="1375"/>
                  </a:lnTo>
                  <a:lnTo>
                    <a:pt x="583" y="1373"/>
                  </a:lnTo>
                  <a:close/>
                  <a:moveTo>
                    <a:pt x="436" y="1025"/>
                  </a:moveTo>
                  <a:lnTo>
                    <a:pt x="436" y="1024"/>
                  </a:lnTo>
                  <a:lnTo>
                    <a:pt x="438" y="1024"/>
                  </a:lnTo>
                  <a:lnTo>
                    <a:pt x="436" y="1025"/>
                  </a:lnTo>
                  <a:close/>
                  <a:moveTo>
                    <a:pt x="453" y="1542"/>
                  </a:moveTo>
                  <a:lnTo>
                    <a:pt x="453" y="1544"/>
                  </a:lnTo>
                  <a:lnTo>
                    <a:pt x="453" y="1542"/>
                  </a:lnTo>
                  <a:lnTo>
                    <a:pt x="454" y="1542"/>
                  </a:lnTo>
                  <a:lnTo>
                    <a:pt x="453" y="1542"/>
                  </a:lnTo>
                  <a:close/>
                  <a:moveTo>
                    <a:pt x="394" y="1884"/>
                  </a:moveTo>
                  <a:lnTo>
                    <a:pt x="394" y="1882"/>
                  </a:lnTo>
                  <a:lnTo>
                    <a:pt x="394" y="1884"/>
                  </a:lnTo>
                  <a:close/>
                  <a:moveTo>
                    <a:pt x="596" y="754"/>
                  </a:moveTo>
                  <a:lnTo>
                    <a:pt x="594" y="754"/>
                  </a:lnTo>
                  <a:lnTo>
                    <a:pt x="596" y="754"/>
                  </a:lnTo>
                  <a:close/>
                  <a:moveTo>
                    <a:pt x="418" y="1819"/>
                  </a:moveTo>
                  <a:lnTo>
                    <a:pt x="418" y="1817"/>
                  </a:lnTo>
                  <a:lnTo>
                    <a:pt x="418" y="1819"/>
                  </a:lnTo>
                  <a:close/>
                  <a:moveTo>
                    <a:pt x="457" y="1550"/>
                  </a:moveTo>
                  <a:lnTo>
                    <a:pt x="456" y="1550"/>
                  </a:lnTo>
                  <a:lnTo>
                    <a:pt x="457" y="1550"/>
                  </a:lnTo>
                  <a:close/>
                  <a:moveTo>
                    <a:pt x="547" y="1443"/>
                  </a:moveTo>
                  <a:lnTo>
                    <a:pt x="547" y="1445"/>
                  </a:lnTo>
                  <a:lnTo>
                    <a:pt x="545" y="1443"/>
                  </a:lnTo>
                  <a:lnTo>
                    <a:pt x="547" y="1443"/>
                  </a:lnTo>
                  <a:close/>
                  <a:moveTo>
                    <a:pt x="596" y="1365"/>
                  </a:moveTo>
                  <a:lnTo>
                    <a:pt x="597" y="1365"/>
                  </a:lnTo>
                  <a:lnTo>
                    <a:pt x="597" y="1367"/>
                  </a:lnTo>
                  <a:lnTo>
                    <a:pt x="597" y="1365"/>
                  </a:lnTo>
                  <a:lnTo>
                    <a:pt x="596" y="1365"/>
                  </a:lnTo>
                  <a:close/>
                  <a:moveTo>
                    <a:pt x="579" y="1341"/>
                  </a:moveTo>
                  <a:lnTo>
                    <a:pt x="578" y="1341"/>
                  </a:lnTo>
                  <a:lnTo>
                    <a:pt x="579" y="1341"/>
                  </a:lnTo>
                  <a:close/>
                  <a:moveTo>
                    <a:pt x="77" y="1692"/>
                  </a:moveTo>
                  <a:lnTo>
                    <a:pt x="77" y="1694"/>
                  </a:lnTo>
                  <a:lnTo>
                    <a:pt x="77" y="1692"/>
                  </a:lnTo>
                  <a:close/>
                  <a:moveTo>
                    <a:pt x="592" y="1337"/>
                  </a:moveTo>
                  <a:lnTo>
                    <a:pt x="591" y="1337"/>
                  </a:lnTo>
                  <a:lnTo>
                    <a:pt x="592" y="1337"/>
                  </a:lnTo>
                  <a:close/>
                  <a:moveTo>
                    <a:pt x="26" y="1568"/>
                  </a:moveTo>
                  <a:lnTo>
                    <a:pt x="28" y="1568"/>
                  </a:lnTo>
                  <a:lnTo>
                    <a:pt x="26" y="1570"/>
                  </a:lnTo>
                  <a:lnTo>
                    <a:pt x="26" y="1568"/>
                  </a:lnTo>
                  <a:close/>
                  <a:moveTo>
                    <a:pt x="295" y="1895"/>
                  </a:moveTo>
                  <a:lnTo>
                    <a:pt x="295" y="1894"/>
                  </a:lnTo>
                  <a:lnTo>
                    <a:pt x="295" y="1895"/>
                  </a:lnTo>
                  <a:close/>
                  <a:moveTo>
                    <a:pt x="631" y="516"/>
                  </a:moveTo>
                  <a:lnTo>
                    <a:pt x="631" y="518"/>
                  </a:lnTo>
                  <a:lnTo>
                    <a:pt x="631" y="516"/>
                  </a:lnTo>
                  <a:close/>
                  <a:moveTo>
                    <a:pt x="558" y="1279"/>
                  </a:moveTo>
                  <a:lnTo>
                    <a:pt x="558" y="1277"/>
                  </a:lnTo>
                  <a:lnTo>
                    <a:pt x="560" y="1279"/>
                  </a:lnTo>
                  <a:lnTo>
                    <a:pt x="558" y="1279"/>
                  </a:lnTo>
                  <a:close/>
                  <a:moveTo>
                    <a:pt x="625" y="514"/>
                  </a:moveTo>
                  <a:lnTo>
                    <a:pt x="627" y="514"/>
                  </a:lnTo>
                  <a:lnTo>
                    <a:pt x="625" y="514"/>
                  </a:lnTo>
                  <a:close/>
                  <a:moveTo>
                    <a:pt x="435" y="1713"/>
                  </a:moveTo>
                  <a:lnTo>
                    <a:pt x="435" y="1711"/>
                  </a:lnTo>
                  <a:lnTo>
                    <a:pt x="435" y="1713"/>
                  </a:lnTo>
                  <a:close/>
                  <a:moveTo>
                    <a:pt x="459" y="1568"/>
                  </a:moveTo>
                  <a:lnTo>
                    <a:pt x="459" y="1567"/>
                  </a:lnTo>
                  <a:lnTo>
                    <a:pt x="459" y="1568"/>
                  </a:lnTo>
                  <a:close/>
                  <a:moveTo>
                    <a:pt x="601" y="1331"/>
                  </a:moveTo>
                  <a:lnTo>
                    <a:pt x="602" y="1331"/>
                  </a:lnTo>
                  <a:lnTo>
                    <a:pt x="601" y="1331"/>
                  </a:lnTo>
                  <a:close/>
                  <a:moveTo>
                    <a:pt x="539" y="1435"/>
                  </a:moveTo>
                  <a:lnTo>
                    <a:pt x="539" y="1433"/>
                  </a:lnTo>
                  <a:lnTo>
                    <a:pt x="539" y="1435"/>
                  </a:lnTo>
                  <a:close/>
                  <a:moveTo>
                    <a:pt x="683" y="438"/>
                  </a:moveTo>
                  <a:lnTo>
                    <a:pt x="683" y="436"/>
                  </a:lnTo>
                  <a:lnTo>
                    <a:pt x="685" y="436"/>
                  </a:lnTo>
                  <a:lnTo>
                    <a:pt x="685" y="438"/>
                  </a:lnTo>
                  <a:lnTo>
                    <a:pt x="683" y="438"/>
                  </a:lnTo>
                  <a:close/>
                  <a:moveTo>
                    <a:pt x="592" y="1328"/>
                  </a:moveTo>
                  <a:lnTo>
                    <a:pt x="591" y="1328"/>
                  </a:lnTo>
                  <a:lnTo>
                    <a:pt x="592" y="1328"/>
                  </a:lnTo>
                  <a:close/>
                  <a:moveTo>
                    <a:pt x="555" y="1417"/>
                  </a:moveTo>
                  <a:lnTo>
                    <a:pt x="555" y="1415"/>
                  </a:lnTo>
                  <a:lnTo>
                    <a:pt x="555" y="1417"/>
                  </a:lnTo>
                  <a:close/>
                  <a:moveTo>
                    <a:pt x="620" y="1355"/>
                  </a:moveTo>
                  <a:lnTo>
                    <a:pt x="618" y="1355"/>
                  </a:lnTo>
                  <a:lnTo>
                    <a:pt x="620" y="1355"/>
                  </a:lnTo>
                  <a:close/>
                  <a:moveTo>
                    <a:pt x="594" y="760"/>
                  </a:moveTo>
                  <a:lnTo>
                    <a:pt x="594" y="762"/>
                  </a:lnTo>
                  <a:lnTo>
                    <a:pt x="594" y="760"/>
                  </a:lnTo>
                  <a:close/>
                  <a:moveTo>
                    <a:pt x="12" y="1487"/>
                  </a:moveTo>
                  <a:lnTo>
                    <a:pt x="13" y="1487"/>
                  </a:lnTo>
                  <a:lnTo>
                    <a:pt x="12" y="1487"/>
                  </a:lnTo>
                  <a:close/>
                  <a:moveTo>
                    <a:pt x="441" y="1646"/>
                  </a:moveTo>
                  <a:lnTo>
                    <a:pt x="440" y="1646"/>
                  </a:lnTo>
                  <a:lnTo>
                    <a:pt x="441" y="1646"/>
                  </a:lnTo>
                  <a:close/>
                  <a:moveTo>
                    <a:pt x="581" y="1349"/>
                  </a:moveTo>
                  <a:lnTo>
                    <a:pt x="581" y="1350"/>
                  </a:lnTo>
                  <a:lnTo>
                    <a:pt x="581" y="1349"/>
                  </a:lnTo>
                  <a:close/>
                  <a:moveTo>
                    <a:pt x="731" y="430"/>
                  </a:moveTo>
                  <a:lnTo>
                    <a:pt x="731" y="431"/>
                  </a:lnTo>
                  <a:lnTo>
                    <a:pt x="731" y="430"/>
                  </a:lnTo>
                  <a:close/>
                  <a:moveTo>
                    <a:pt x="586" y="1367"/>
                  </a:moveTo>
                  <a:lnTo>
                    <a:pt x="588" y="1367"/>
                  </a:lnTo>
                  <a:lnTo>
                    <a:pt x="586" y="1367"/>
                  </a:lnTo>
                  <a:close/>
                  <a:moveTo>
                    <a:pt x="10" y="1487"/>
                  </a:moveTo>
                  <a:lnTo>
                    <a:pt x="12" y="1487"/>
                  </a:lnTo>
                  <a:lnTo>
                    <a:pt x="12" y="1489"/>
                  </a:lnTo>
                  <a:lnTo>
                    <a:pt x="10" y="1487"/>
                  </a:lnTo>
                  <a:close/>
                  <a:moveTo>
                    <a:pt x="623" y="1355"/>
                  </a:moveTo>
                  <a:lnTo>
                    <a:pt x="623" y="1354"/>
                  </a:lnTo>
                  <a:lnTo>
                    <a:pt x="623" y="1355"/>
                  </a:lnTo>
                  <a:close/>
                  <a:moveTo>
                    <a:pt x="532" y="801"/>
                  </a:moveTo>
                  <a:lnTo>
                    <a:pt x="534" y="801"/>
                  </a:lnTo>
                  <a:lnTo>
                    <a:pt x="532" y="801"/>
                  </a:lnTo>
                  <a:close/>
                  <a:moveTo>
                    <a:pt x="75" y="1679"/>
                  </a:moveTo>
                  <a:lnTo>
                    <a:pt x="75" y="1681"/>
                  </a:lnTo>
                  <a:lnTo>
                    <a:pt x="75" y="1679"/>
                  </a:lnTo>
                  <a:close/>
                  <a:moveTo>
                    <a:pt x="444" y="1555"/>
                  </a:moveTo>
                  <a:lnTo>
                    <a:pt x="444" y="1557"/>
                  </a:lnTo>
                  <a:lnTo>
                    <a:pt x="444" y="1555"/>
                  </a:lnTo>
                  <a:close/>
                  <a:moveTo>
                    <a:pt x="534" y="1437"/>
                  </a:moveTo>
                  <a:lnTo>
                    <a:pt x="535" y="1437"/>
                  </a:lnTo>
                  <a:lnTo>
                    <a:pt x="534" y="1437"/>
                  </a:lnTo>
                  <a:close/>
                  <a:moveTo>
                    <a:pt x="443" y="1560"/>
                  </a:moveTo>
                  <a:lnTo>
                    <a:pt x="441" y="1560"/>
                  </a:lnTo>
                  <a:lnTo>
                    <a:pt x="443" y="1560"/>
                  </a:lnTo>
                  <a:close/>
                  <a:moveTo>
                    <a:pt x="604" y="1329"/>
                  </a:moveTo>
                  <a:lnTo>
                    <a:pt x="605" y="1331"/>
                  </a:lnTo>
                  <a:lnTo>
                    <a:pt x="604" y="1331"/>
                  </a:lnTo>
                  <a:lnTo>
                    <a:pt x="604" y="1329"/>
                  </a:lnTo>
                  <a:close/>
                  <a:moveTo>
                    <a:pt x="449" y="1611"/>
                  </a:moveTo>
                  <a:lnTo>
                    <a:pt x="451" y="1611"/>
                  </a:lnTo>
                  <a:lnTo>
                    <a:pt x="449" y="1611"/>
                  </a:lnTo>
                  <a:close/>
                  <a:moveTo>
                    <a:pt x="646" y="537"/>
                  </a:moveTo>
                  <a:lnTo>
                    <a:pt x="646" y="539"/>
                  </a:lnTo>
                  <a:lnTo>
                    <a:pt x="646" y="537"/>
                  </a:lnTo>
                  <a:close/>
                  <a:moveTo>
                    <a:pt x="383" y="1871"/>
                  </a:moveTo>
                  <a:lnTo>
                    <a:pt x="383" y="1869"/>
                  </a:lnTo>
                  <a:lnTo>
                    <a:pt x="383" y="1871"/>
                  </a:lnTo>
                  <a:close/>
                  <a:moveTo>
                    <a:pt x="635" y="526"/>
                  </a:moveTo>
                  <a:lnTo>
                    <a:pt x="633" y="526"/>
                  </a:lnTo>
                  <a:lnTo>
                    <a:pt x="635" y="526"/>
                  </a:lnTo>
                  <a:close/>
                  <a:moveTo>
                    <a:pt x="539" y="1241"/>
                  </a:moveTo>
                  <a:lnTo>
                    <a:pt x="539" y="1243"/>
                  </a:lnTo>
                  <a:lnTo>
                    <a:pt x="539" y="1241"/>
                  </a:lnTo>
                  <a:close/>
                  <a:moveTo>
                    <a:pt x="560" y="1370"/>
                  </a:moveTo>
                  <a:lnTo>
                    <a:pt x="558" y="1370"/>
                  </a:lnTo>
                  <a:lnTo>
                    <a:pt x="560" y="1370"/>
                  </a:lnTo>
                  <a:close/>
                  <a:moveTo>
                    <a:pt x="435" y="1050"/>
                  </a:moveTo>
                  <a:lnTo>
                    <a:pt x="435" y="1048"/>
                  </a:lnTo>
                  <a:lnTo>
                    <a:pt x="435" y="1050"/>
                  </a:lnTo>
                  <a:close/>
                  <a:moveTo>
                    <a:pt x="26" y="1554"/>
                  </a:moveTo>
                  <a:lnTo>
                    <a:pt x="25" y="1554"/>
                  </a:lnTo>
                  <a:lnTo>
                    <a:pt x="26" y="1554"/>
                  </a:lnTo>
                  <a:close/>
                  <a:moveTo>
                    <a:pt x="508" y="1243"/>
                  </a:moveTo>
                  <a:lnTo>
                    <a:pt x="508" y="1241"/>
                  </a:lnTo>
                  <a:lnTo>
                    <a:pt x="508" y="1243"/>
                  </a:lnTo>
                  <a:lnTo>
                    <a:pt x="508" y="1241"/>
                  </a:lnTo>
                  <a:lnTo>
                    <a:pt x="508" y="1243"/>
                  </a:lnTo>
                  <a:close/>
                  <a:moveTo>
                    <a:pt x="568" y="1720"/>
                  </a:moveTo>
                  <a:lnTo>
                    <a:pt x="566" y="1720"/>
                  </a:lnTo>
                  <a:lnTo>
                    <a:pt x="566" y="1718"/>
                  </a:lnTo>
                  <a:lnTo>
                    <a:pt x="568" y="1718"/>
                  </a:lnTo>
                  <a:lnTo>
                    <a:pt x="568" y="1720"/>
                  </a:lnTo>
                  <a:close/>
                  <a:moveTo>
                    <a:pt x="574" y="1359"/>
                  </a:moveTo>
                  <a:lnTo>
                    <a:pt x="574" y="1357"/>
                  </a:lnTo>
                  <a:lnTo>
                    <a:pt x="574" y="1359"/>
                  </a:lnTo>
                  <a:close/>
                  <a:moveTo>
                    <a:pt x="623" y="1355"/>
                  </a:moveTo>
                  <a:lnTo>
                    <a:pt x="625" y="1355"/>
                  </a:lnTo>
                  <a:lnTo>
                    <a:pt x="623" y="1355"/>
                  </a:lnTo>
                  <a:close/>
                  <a:moveTo>
                    <a:pt x="453" y="1562"/>
                  </a:moveTo>
                  <a:lnTo>
                    <a:pt x="453" y="1560"/>
                  </a:lnTo>
                  <a:lnTo>
                    <a:pt x="453" y="1562"/>
                  </a:lnTo>
                  <a:close/>
                  <a:moveTo>
                    <a:pt x="553" y="1440"/>
                  </a:moveTo>
                  <a:lnTo>
                    <a:pt x="552" y="1440"/>
                  </a:lnTo>
                  <a:lnTo>
                    <a:pt x="553" y="1440"/>
                  </a:lnTo>
                  <a:close/>
                  <a:moveTo>
                    <a:pt x="440" y="1542"/>
                  </a:moveTo>
                  <a:lnTo>
                    <a:pt x="438" y="1542"/>
                  </a:lnTo>
                  <a:lnTo>
                    <a:pt x="440" y="1542"/>
                  </a:lnTo>
                  <a:close/>
                  <a:moveTo>
                    <a:pt x="560" y="1254"/>
                  </a:moveTo>
                  <a:lnTo>
                    <a:pt x="560" y="1253"/>
                  </a:lnTo>
                  <a:lnTo>
                    <a:pt x="560" y="1254"/>
                  </a:lnTo>
                  <a:close/>
                  <a:moveTo>
                    <a:pt x="614" y="1359"/>
                  </a:moveTo>
                  <a:lnTo>
                    <a:pt x="614" y="1357"/>
                  </a:lnTo>
                  <a:lnTo>
                    <a:pt x="614" y="1359"/>
                  </a:lnTo>
                  <a:close/>
                  <a:moveTo>
                    <a:pt x="7" y="1495"/>
                  </a:moveTo>
                  <a:lnTo>
                    <a:pt x="9" y="1495"/>
                  </a:lnTo>
                  <a:lnTo>
                    <a:pt x="7" y="1495"/>
                  </a:lnTo>
                  <a:close/>
                  <a:moveTo>
                    <a:pt x="588" y="1326"/>
                  </a:moveTo>
                  <a:lnTo>
                    <a:pt x="588" y="1324"/>
                  </a:lnTo>
                  <a:lnTo>
                    <a:pt x="588" y="1326"/>
                  </a:lnTo>
                  <a:close/>
                  <a:moveTo>
                    <a:pt x="20" y="1539"/>
                  </a:moveTo>
                  <a:lnTo>
                    <a:pt x="20" y="1541"/>
                  </a:lnTo>
                  <a:lnTo>
                    <a:pt x="20" y="1539"/>
                  </a:lnTo>
                  <a:close/>
                  <a:moveTo>
                    <a:pt x="326" y="1874"/>
                  </a:moveTo>
                  <a:lnTo>
                    <a:pt x="327" y="1876"/>
                  </a:lnTo>
                  <a:lnTo>
                    <a:pt x="326" y="1876"/>
                  </a:lnTo>
                  <a:lnTo>
                    <a:pt x="326" y="1874"/>
                  </a:lnTo>
                  <a:close/>
                  <a:moveTo>
                    <a:pt x="373" y="1868"/>
                  </a:moveTo>
                  <a:lnTo>
                    <a:pt x="371" y="1868"/>
                  </a:lnTo>
                  <a:lnTo>
                    <a:pt x="373" y="1868"/>
                  </a:lnTo>
                  <a:close/>
                  <a:moveTo>
                    <a:pt x="433" y="1089"/>
                  </a:moveTo>
                  <a:lnTo>
                    <a:pt x="433" y="1087"/>
                  </a:lnTo>
                  <a:lnTo>
                    <a:pt x="433" y="1089"/>
                  </a:lnTo>
                  <a:lnTo>
                    <a:pt x="433" y="1087"/>
                  </a:lnTo>
                  <a:lnTo>
                    <a:pt x="433" y="1089"/>
                  </a:lnTo>
                  <a:close/>
                  <a:moveTo>
                    <a:pt x="35" y="1603"/>
                  </a:moveTo>
                  <a:lnTo>
                    <a:pt x="36" y="1603"/>
                  </a:lnTo>
                  <a:lnTo>
                    <a:pt x="35" y="1603"/>
                  </a:lnTo>
                  <a:close/>
                  <a:moveTo>
                    <a:pt x="604" y="1342"/>
                  </a:moveTo>
                  <a:lnTo>
                    <a:pt x="604" y="1341"/>
                  </a:lnTo>
                  <a:lnTo>
                    <a:pt x="604" y="1342"/>
                  </a:lnTo>
                  <a:close/>
                  <a:moveTo>
                    <a:pt x="605" y="1363"/>
                  </a:moveTo>
                  <a:lnTo>
                    <a:pt x="607" y="1363"/>
                  </a:lnTo>
                  <a:lnTo>
                    <a:pt x="607" y="1365"/>
                  </a:lnTo>
                  <a:lnTo>
                    <a:pt x="605" y="1363"/>
                  </a:lnTo>
                  <a:close/>
                  <a:moveTo>
                    <a:pt x="59" y="1656"/>
                  </a:moveTo>
                  <a:lnTo>
                    <a:pt x="61" y="1655"/>
                  </a:lnTo>
                  <a:lnTo>
                    <a:pt x="61" y="1656"/>
                  </a:lnTo>
                  <a:lnTo>
                    <a:pt x="59" y="1656"/>
                  </a:lnTo>
                  <a:close/>
                  <a:moveTo>
                    <a:pt x="449" y="1539"/>
                  </a:moveTo>
                  <a:lnTo>
                    <a:pt x="451" y="1539"/>
                  </a:lnTo>
                  <a:lnTo>
                    <a:pt x="449" y="1539"/>
                  </a:lnTo>
                  <a:close/>
                  <a:moveTo>
                    <a:pt x="440" y="1188"/>
                  </a:moveTo>
                  <a:lnTo>
                    <a:pt x="441" y="1188"/>
                  </a:lnTo>
                  <a:lnTo>
                    <a:pt x="440" y="1188"/>
                  </a:lnTo>
                  <a:close/>
                  <a:moveTo>
                    <a:pt x="505" y="1468"/>
                  </a:moveTo>
                  <a:lnTo>
                    <a:pt x="505" y="1466"/>
                  </a:lnTo>
                  <a:lnTo>
                    <a:pt x="505" y="1468"/>
                  </a:lnTo>
                  <a:close/>
                  <a:moveTo>
                    <a:pt x="448" y="1674"/>
                  </a:moveTo>
                  <a:lnTo>
                    <a:pt x="449" y="1674"/>
                  </a:lnTo>
                  <a:lnTo>
                    <a:pt x="448" y="1674"/>
                  </a:lnTo>
                  <a:close/>
                  <a:moveTo>
                    <a:pt x="487" y="1482"/>
                  </a:moveTo>
                  <a:lnTo>
                    <a:pt x="487" y="1481"/>
                  </a:lnTo>
                  <a:lnTo>
                    <a:pt x="487" y="1482"/>
                  </a:lnTo>
                  <a:close/>
                  <a:moveTo>
                    <a:pt x="602" y="1331"/>
                  </a:moveTo>
                  <a:lnTo>
                    <a:pt x="602" y="1329"/>
                  </a:lnTo>
                  <a:lnTo>
                    <a:pt x="602" y="1331"/>
                  </a:lnTo>
                  <a:close/>
                  <a:moveTo>
                    <a:pt x="635" y="516"/>
                  </a:moveTo>
                  <a:lnTo>
                    <a:pt x="633" y="516"/>
                  </a:lnTo>
                  <a:lnTo>
                    <a:pt x="635" y="516"/>
                  </a:lnTo>
                  <a:close/>
                  <a:moveTo>
                    <a:pt x="422" y="1536"/>
                  </a:moveTo>
                  <a:lnTo>
                    <a:pt x="420" y="1536"/>
                  </a:lnTo>
                  <a:lnTo>
                    <a:pt x="420" y="1534"/>
                  </a:lnTo>
                  <a:lnTo>
                    <a:pt x="422" y="1534"/>
                  </a:lnTo>
                  <a:lnTo>
                    <a:pt x="422" y="1536"/>
                  </a:lnTo>
                  <a:close/>
                  <a:moveTo>
                    <a:pt x="537" y="1256"/>
                  </a:moveTo>
                  <a:lnTo>
                    <a:pt x="539" y="1256"/>
                  </a:lnTo>
                  <a:lnTo>
                    <a:pt x="537" y="1256"/>
                  </a:lnTo>
                  <a:close/>
                  <a:moveTo>
                    <a:pt x="573" y="1357"/>
                  </a:moveTo>
                  <a:lnTo>
                    <a:pt x="574" y="1357"/>
                  </a:lnTo>
                  <a:lnTo>
                    <a:pt x="573" y="1357"/>
                  </a:lnTo>
                  <a:close/>
                  <a:moveTo>
                    <a:pt x="61" y="1609"/>
                  </a:moveTo>
                  <a:lnTo>
                    <a:pt x="59" y="1609"/>
                  </a:lnTo>
                  <a:lnTo>
                    <a:pt x="61" y="1609"/>
                  </a:lnTo>
                  <a:close/>
                  <a:moveTo>
                    <a:pt x="77" y="1690"/>
                  </a:moveTo>
                  <a:lnTo>
                    <a:pt x="77" y="1689"/>
                  </a:lnTo>
                  <a:lnTo>
                    <a:pt x="78" y="1690"/>
                  </a:lnTo>
                  <a:lnTo>
                    <a:pt x="77" y="1690"/>
                  </a:lnTo>
                  <a:close/>
                  <a:moveTo>
                    <a:pt x="518" y="833"/>
                  </a:moveTo>
                  <a:lnTo>
                    <a:pt x="518" y="835"/>
                  </a:lnTo>
                  <a:lnTo>
                    <a:pt x="518" y="833"/>
                  </a:lnTo>
                  <a:close/>
                  <a:moveTo>
                    <a:pt x="630" y="553"/>
                  </a:moveTo>
                  <a:lnTo>
                    <a:pt x="631" y="552"/>
                  </a:lnTo>
                  <a:lnTo>
                    <a:pt x="631" y="553"/>
                  </a:lnTo>
                  <a:lnTo>
                    <a:pt x="630" y="553"/>
                  </a:lnTo>
                  <a:close/>
                  <a:moveTo>
                    <a:pt x="433" y="1152"/>
                  </a:moveTo>
                  <a:lnTo>
                    <a:pt x="433" y="1154"/>
                  </a:lnTo>
                  <a:lnTo>
                    <a:pt x="433" y="1152"/>
                  </a:lnTo>
                  <a:close/>
                  <a:moveTo>
                    <a:pt x="609" y="1333"/>
                  </a:moveTo>
                  <a:lnTo>
                    <a:pt x="609" y="1331"/>
                  </a:lnTo>
                  <a:lnTo>
                    <a:pt x="609" y="1333"/>
                  </a:lnTo>
                  <a:close/>
                  <a:moveTo>
                    <a:pt x="552" y="1438"/>
                  </a:moveTo>
                  <a:lnTo>
                    <a:pt x="552" y="1440"/>
                  </a:lnTo>
                  <a:lnTo>
                    <a:pt x="553" y="1438"/>
                  </a:lnTo>
                  <a:lnTo>
                    <a:pt x="552" y="1438"/>
                  </a:lnTo>
                  <a:close/>
                  <a:moveTo>
                    <a:pt x="605" y="1347"/>
                  </a:moveTo>
                  <a:lnTo>
                    <a:pt x="604" y="1347"/>
                  </a:lnTo>
                  <a:lnTo>
                    <a:pt x="605" y="1347"/>
                  </a:lnTo>
                  <a:close/>
                  <a:moveTo>
                    <a:pt x="467" y="1494"/>
                  </a:moveTo>
                  <a:lnTo>
                    <a:pt x="466" y="1494"/>
                  </a:lnTo>
                  <a:lnTo>
                    <a:pt x="467" y="1494"/>
                  </a:lnTo>
                  <a:close/>
                  <a:moveTo>
                    <a:pt x="15" y="1510"/>
                  </a:moveTo>
                  <a:lnTo>
                    <a:pt x="17" y="1510"/>
                  </a:lnTo>
                  <a:lnTo>
                    <a:pt x="17" y="1511"/>
                  </a:lnTo>
                  <a:lnTo>
                    <a:pt x="15" y="1510"/>
                  </a:lnTo>
                  <a:close/>
                  <a:moveTo>
                    <a:pt x="492" y="859"/>
                  </a:moveTo>
                  <a:lnTo>
                    <a:pt x="492" y="858"/>
                  </a:lnTo>
                  <a:lnTo>
                    <a:pt x="492" y="859"/>
                  </a:lnTo>
                  <a:close/>
                  <a:moveTo>
                    <a:pt x="604" y="741"/>
                  </a:moveTo>
                  <a:lnTo>
                    <a:pt x="604" y="739"/>
                  </a:lnTo>
                  <a:lnTo>
                    <a:pt x="604" y="741"/>
                  </a:lnTo>
                  <a:close/>
                  <a:moveTo>
                    <a:pt x="737" y="430"/>
                  </a:moveTo>
                  <a:lnTo>
                    <a:pt x="736" y="430"/>
                  </a:lnTo>
                  <a:lnTo>
                    <a:pt x="737" y="430"/>
                  </a:lnTo>
                  <a:close/>
                  <a:moveTo>
                    <a:pt x="584" y="1321"/>
                  </a:moveTo>
                  <a:lnTo>
                    <a:pt x="586" y="1321"/>
                  </a:lnTo>
                  <a:lnTo>
                    <a:pt x="584" y="1321"/>
                  </a:lnTo>
                  <a:close/>
                  <a:moveTo>
                    <a:pt x="579" y="1412"/>
                  </a:moveTo>
                  <a:lnTo>
                    <a:pt x="579" y="1411"/>
                  </a:lnTo>
                  <a:lnTo>
                    <a:pt x="579" y="1412"/>
                  </a:lnTo>
                  <a:close/>
                  <a:moveTo>
                    <a:pt x="599" y="1363"/>
                  </a:moveTo>
                  <a:lnTo>
                    <a:pt x="601" y="1363"/>
                  </a:lnTo>
                  <a:lnTo>
                    <a:pt x="599" y="1363"/>
                  </a:lnTo>
                  <a:close/>
                  <a:moveTo>
                    <a:pt x="526" y="1453"/>
                  </a:moveTo>
                  <a:lnTo>
                    <a:pt x="527" y="1453"/>
                  </a:lnTo>
                  <a:lnTo>
                    <a:pt x="526" y="1453"/>
                  </a:lnTo>
                  <a:close/>
                  <a:moveTo>
                    <a:pt x="729" y="440"/>
                  </a:moveTo>
                  <a:lnTo>
                    <a:pt x="729" y="438"/>
                  </a:lnTo>
                  <a:lnTo>
                    <a:pt x="729" y="440"/>
                  </a:lnTo>
                  <a:close/>
                  <a:moveTo>
                    <a:pt x="505" y="1472"/>
                  </a:moveTo>
                  <a:lnTo>
                    <a:pt x="506" y="1472"/>
                  </a:lnTo>
                  <a:lnTo>
                    <a:pt x="505" y="1472"/>
                  </a:lnTo>
                  <a:close/>
                  <a:moveTo>
                    <a:pt x="56" y="1638"/>
                  </a:moveTo>
                  <a:lnTo>
                    <a:pt x="57" y="1638"/>
                  </a:lnTo>
                  <a:lnTo>
                    <a:pt x="56" y="1638"/>
                  </a:lnTo>
                  <a:close/>
                  <a:moveTo>
                    <a:pt x="568" y="1383"/>
                  </a:moveTo>
                  <a:lnTo>
                    <a:pt x="566" y="1383"/>
                  </a:lnTo>
                  <a:lnTo>
                    <a:pt x="568" y="1383"/>
                  </a:lnTo>
                  <a:close/>
                  <a:moveTo>
                    <a:pt x="448" y="1645"/>
                  </a:moveTo>
                  <a:lnTo>
                    <a:pt x="446" y="1645"/>
                  </a:lnTo>
                  <a:lnTo>
                    <a:pt x="448" y="1645"/>
                  </a:lnTo>
                  <a:close/>
                  <a:moveTo>
                    <a:pt x="588" y="1360"/>
                  </a:moveTo>
                  <a:lnTo>
                    <a:pt x="588" y="1359"/>
                  </a:lnTo>
                  <a:lnTo>
                    <a:pt x="588" y="1360"/>
                  </a:lnTo>
                  <a:close/>
                  <a:moveTo>
                    <a:pt x="555" y="1385"/>
                  </a:moveTo>
                  <a:lnTo>
                    <a:pt x="557" y="1385"/>
                  </a:lnTo>
                  <a:lnTo>
                    <a:pt x="555" y="1385"/>
                  </a:lnTo>
                  <a:close/>
                  <a:moveTo>
                    <a:pt x="74" y="1684"/>
                  </a:moveTo>
                  <a:lnTo>
                    <a:pt x="75" y="1684"/>
                  </a:lnTo>
                  <a:lnTo>
                    <a:pt x="74" y="1684"/>
                  </a:lnTo>
                  <a:close/>
                  <a:moveTo>
                    <a:pt x="568" y="1435"/>
                  </a:moveTo>
                  <a:lnTo>
                    <a:pt x="568" y="1433"/>
                  </a:lnTo>
                  <a:lnTo>
                    <a:pt x="568" y="1435"/>
                  </a:lnTo>
                  <a:close/>
                  <a:moveTo>
                    <a:pt x="558" y="1425"/>
                  </a:moveTo>
                  <a:lnTo>
                    <a:pt x="558" y="1424"/>
                  </a:lnTo>
                  <a:lnTo>
                    <a:pt x="558" y="1425"/>
                  </a:lnTo>
                  <a:close/>
                  <a:moveTo>
                    <a:pt x="547" y="1428"/>
                  </a:moveTo>
                  <a:lnTo>
                    <a:pt x="545" y="1428"/>
                  </a:lnTo>
                  <a:lnTo>
                    <a:pt x="547" y="1427"/>
                  </a:lnTo>
                  <a:lnTo>
                    <a:pt x="547" y="1428"/>
                  </a:lnTo>
                  <a:close/>
                  <a:moveTo>
                    <a:pt x="535" y="1230"/>
                  </a:moveTo>
                  <a:lnTo>
                    <a:pt x="535" y="1232"/>
                  </a:lnTo>
                  <a:lnTo>
                    <a:pt x="535" y="1230"/>
                  </a:lnTo>
                  <a:close/>
                  <a:moveTo>
                    <a:pt x="51" y="1563"/>
                  </a:moveTo>
                  <a:lnTo>
                    <a:pt x="51" y="1562"/>
                  </a:lnTo>
                  <a:lnTo>
                    <a:pt x="51" y="1563"/>
                  </a:lnTo>
                  <a:close/>
                  <a:moveTo>
                    <a:pt x="13" y="1469"/>
                  </a:moveTo>
                  <a:lnTo>
                    <a:pt x="15" y="1469"/>
                  </a:lnTo>
                  <a:lnTo>
                    <a:pt x="13" y="1469"/>
                  </a:lnTo>
                  <a:close/>
                  <a:moveTo>
                    <a:pt x="498" y="1463"/>
                  </a:moveTo>
                  <a:lnTo>
                    <a:pt x="500" y="1463"/>
                  </a:lnTo>
                  <a:lnTo>
                    <a:pt x="498" y="1463"/>
                  </a:lnTo>
                  <a:close/>
                  <a:moveTo>
                    <a:pt x="448" y="1598"/>
                  </a:moveTo>
                  <a:lnTo>
                    <a:pt x="446" y="1598"/>
                  </a:lnTo>
                  <a:lnTo>
                    <a:pt x="448" y="1598"/>
                  </a:lnTo>
                  <a:close/>
                  <a:moveTo>
                    <a:pt x="441" y="1189"/>
                  </a:moveTo>
                  <a:lnTo>
                    <a:pt x="441" y="1191"/>
                  </a:lnTo>
                  <a:lnTo>
                    <a:pt x="441" y="1189"/>
                  </a:lnTo>
                  <a:close/>
                  <a:moveTo>
                    <a:pt x="43" y="1632"/>
                  </a:moveTo>
                  <a:lnTo>
                    <a:pt x="43" y="1633"/>
                  </a:lnTo>
                  <a:lnTo>
                    <a:pt x="43" y="1632"/>
                  </a:lnTo>
                  <a:close/>
                  <a:moveTo>
                    <a:pt x="18" y="1529"/>
                  </a:moveTo>
                  <a:lnTo>
                    <a:pt x="20" y="1529"/>
                  </a:lnTo>
                  <a:lnTo>
                    <a:pt x="18" y="1529"/>
                  </a:lnTo>
                  <a:close/>
                  <a:moveTo>
                    <a:pt x="555" y="1383"/>
                  </a:moveTo>
                  <a:lnTo>
                    <a:pt x="557" y="1383"/>
                  </a:lnTo>
                  <a:lnTo>
                    <a:pt x="555" y="1383"/>
                  </a:lnTo>
                  <a:close/>
                  <a:moveTo>
                    <a:pt x="571" y="1376"/>
                  </a:moveTo>
                  <a:lnTo>
                    <a:pt x="573" y="1376"/>
                  </a:lnTo>
                  <a:lnTo>
                    <a:pt x="571" y="1376"/>
                  </a:lnTo>
                  <a:lnTo>
                    <a:pt x="571" y="1375"/>
                  </a:lnTo>
                  <a:lnTo>
                    <a:pt x="573" y="1375"/>
                  </a:lnTo>
                  <a:lnTo>
                    <a:pt x="571" y="1376"/>
                  </a:lnTo>
                  <a:close/>
                  <a:moveTo>
                    <a:pt x="449" y="1576"/>
                  </a:moveTo>
                  <a:lnTo>
                    <a:pt x="451" y="1576"/>
                  </a:lnTo>
                  <a:lnTo>
                    <a:pt x="449" y="1576"/>
                  </a:lnTo>
                  <a:close/>
                  <a:moveTo>
                    <a:pt x="59" y="1611"/>
                  </a:moveTo>
                  <a:lnTo>
                    <a:pt x="59" y="1609"/>
                  </a:lnTo>
                  <a:lnTo>
                    <a:pt x="59" y="1611"/>
                  </a:lnTo>
                  <a:close/>
                  <a:moveTo>
                    <a:pt x="467" y="1492"/>
                  </a:moveTo>
                  <a:lnTo>
                    <a:pt x="469" y="1492"/>
                  </a:lnTo>
                  <a:lnTo>
                    <a:pt x="467" y="1492"/>
                  </a:lnTo>
                  <a:close/>
                  <a:moveTo>
                    <a:pt x="539" y="1380"/>
                  </a:moveTo>
                  <a:lnTo>
                    <a:pt x="540" y="1380"/>
                  </a:lnTo>
                  <a:lnTo>
                    <a:pt x="539" y="1380"/>
                  </a:lnTo>
                  <a:close/>
                  <a:moveTo>
                    <a:pt x="674" y="482"/>
                  </a:moveTo>
                  <a:lnTo>
                    <a:pt x="675" y="482"/>
                  </a:lnTo>
                  <a:lnTo>
                    <a:pt x="674" y="482"/>
                  </a:lnTo>
                  <a:close/>
                  <a:moveTo>
                    <a:pt x="521" y="1230"/>
                  </a:moveTo>
                  <a:lnTo>
                    <a:pt x="521" y="1232"/>
                  </a:lnTo>
                  <a:lnTo>
                    <a:pt x="521" y="1230"/>
                  </a:lnTo>
                  <a:close/>
                  <a:moveTo>
                    <a:pt x="433" y="1659"/>
                  </a:moveTo>
                  <a:lnTo>
                    <a:pt x="433" y="1658"/>
                  </a:lnTo>
                  <a:lnTo>
                    <a:pt x="433" y="1659"/>
                  </a:lnTo>
                  <a:close/>
                  <a:moveTo>
                    <a:pt x="444" y="1629"/>
                  </a:moveTo>
                  <a:lnTo>
                    <a:pt x="443" y="1629"/>
                  </a:lnTo>
                  <a:lnTo>
                    <a:pt x="444" y="1629"/>
                  </a:lnTo>
                  <a:close/>
                  <a:moveTo>
                    <a:pt x="627" y="529"/>
                  </a:moveTo>
                  <a:lnTo>
                    <a:pt x="628" y="529"/>
                  </a:lnTo>
                  <a:lnTo>
                    <a:pt x="627" y="529"/>
                  </a:lnTo>
                  <a:close/>
                  <a:moveTo>
                    <a:pt x="578" y="1422"/>
                  </a:moveTo>
                  <a:lnTo>
                    <a:pt x="578" y="1420"/>
                  </a:lnTo>
                  <a:lnTo>
                    <a:pt x="578" y="1422"/>
                  </a:lnTo>
                  <a:close/>
                  <a:moveTo>
                    <a:pt x="576" y="1422"/>
                  </a:moveTo>
                  <a:lnTo>
                    <a:pt x="576" y="1420"/>
                  </a:lnTo>
                  <a:lnTo>
                    <a:pt x="578" y="1420"/>
                  </a:lnTo>
                  <a:lnTo>
                    <a:pt x="576" y="1422"/>
                  </a:lnTo>
                  <a:close/>
                  <a:moveTo>
                    <a:pt x="23" y="1528"/>
                  </a:moveTo>
                  <a:lnTo>
                    <a:pt x="22" y="1528"/>
                  </a:lnTo>
                  <a:lnTo>
                    <a:pt x="23" y="1528"/>
                  </a:lnTo>
                  <a:close/>
                  <a:moveTo>
                    <a:pt x="448" y="1627"/>
                  </a:moveTo>
                  <a:lnTo>
                    <a:pt x="449" y="1627"/>
                  </a:lnTo>
                  <a:lnTo>
                    <a:pt x="448" y="1627"/>
                  </a:lnTo>
                  <a:close/>
                  <a:moveTo>
                    <a:pt x="441" y="1181"/>
                  </a:moveTo>
                  <a:lnTo>
                    <a:pt x="441" y="1180"/>
                  </a:lnTo>
                  <a:lnTo>
                    <a:pt x="441" y="1181"/>
                  </a:lnTo>
                  <a:close/>
                  <a:moveTo>
                    <a:pt x="436" y="1759"/>
                  </a:moveTo>
                  <a:lnTo>
                    <a:pt x="436" y="1757"/>
                  </a:lnTo>
                  <a:lnTo>
                    <a:pt x="436" y="1759"/>
                  </a:lnTo>
                  <a:close/>
                  <a:moveTo>
                    <a:pt x="41" y="1637"/>
                  </a:moveTo>
                  <a:lnTo>
                    <a:pt x="41" y="1635"/>
                  </a:lnTo>
                  <a:lnTo>
                    <a:pt x="41" y="1637"/>
                  </a:lnTo>
                  <a:close/>
                  <a:moveTo>
                    <a:pt x="604" y="1329"/>
                  </a:moveTo>
                  <a:lnTo>
                    <a:pt x="604" y="1328"/>
                  </a:lnTo>
                  <a:lnTo>
                    <a:pt x="604" y="1329"/>
                  </a:lnTo>
                  <a:close/>
                  <a:moveTo>
                    <a:pt x="503" y="1463"/>
                  </a:moveTo>
                  <a:lnTo>
                    <a:pt x="503" y="1464"/>
                  </a:lnTo>
                  <a:lnTo>
                    <a:pt x="503" y="1463"/>
                  </a:lnTo>
                  <a:close/>
                  <a:moveTo>
                    <a:pt x="614" y="1357"/>
                  </a:moveTo>
                  <a:lnTo>
                    <a:pt x="615" y="1357"/>
                  </a:lnTo>
                  <a:lnTo>
                    <a:pt x="614" y="1357"/>
                  </a:lnTo>
                  <a:close/>
                  <a:moveTo>
                    <a:pt x="49" y="1635"/>
                  </a:moveTo>
                  <a:lnTo>
                    <a:pt x="51" y="1633"/>
                  </a:lnTo>
                  <a:lnTo>
                    <a:pt x="51" y="1635"/>
                  </a:lnTo>
                  <a:lnTo>
                    <a:pt x="49" y="1635"/>
                  </a:lnTo>
                  <a:close/>
                  <a:moveTo>
                    <a:pt x="565" y="1352"/>
                  </a:moveTo>
                  <a:lnTo>
                    <a:pt x="565" y="1350"/>
                  </a:lnTo>
                  <a:lnTo>
                    <a:pt x="565" y="1352"/>
                  </a:lnTo>
                  <a:close/>
                  <a:moveTo>
                    <a:pt x="574" y="1337"/>
                  </a:moveTo>
                  <a:lnTo>
                    <a:pt x="576" y="1337"/>
                  </a:lnTo>
                  <a:lnTo>
                    <a:pt x="576" y="1339"/>
                  </a:lnTo>
                  <a:lnTo>
                    <a:pt x="574" y="1337"/>
                  </a:lnTo>
                  <a:close/>
                  <a:moveTo>
                    <a:pt x="571" y="1357"/>
                  </a:moveTo>
                  <a:lnTo>
                    <a:pt x="573" y="1357"/>
                  </a:lnTo>
                  <a:lnTo>
                    <a:pt x="571" y="1357"/>
                  </a:lnTo>
                  <a:close/>
                  <a:moveTo>
                    <a:pt x="498" y="1471"/>
                  </a:moveTo>
                  <a:lnTo>
                    <a:pt x="498" y="1469"/>
                  </a:lnTo>
                  <a:lnTo>
                    <a:pt x="500" y="1471"/>
                  </a:lnTo>
                  <a:lnTo>
                    <a:pt x="498" y="1471"/>
                  </a:lnTo>
                  <a:close/>
                  <a:moveTo>
                    <a:pt x="636" y="1586"/>
                  </a:moveTo>
                  <a:lnTo>
                    <a:pt x="636" y="1585"/>
                  </a:lnTo>
                  <a:lnTo>
                    <a:pt x="636" y="1586"/>
                  </a:lnTo>
                  <a:close/>
                  <a:moveTo>
                    <a:pt x="59" y="1633"/>
                  </a:moveTo>
                  <a:lnTo>
                    <a:pt x="59" y="1632"/>
                  </a:lnTo>
                  <a:lnTo>
                    <a:pt x="59" y="1633"/>
                  </a:lnTo>
                  <a:close/>
                  <a:moveTo>
                    <a:pt x="449" y="1562"/>
                  </a:moveTo>
                  <a:lnTo>
                    <a:pt x="449" y="1563"/>
                  </a:lnTo>
                  <a:lnTo>
                    <a:pt x="449" y="1562"/>
                  </a:lnTo>
                  <a:close/>
                  <a:moveTo>
                    <a:pt x="77" y="1682"/>
                  </a:moveTo>
                  <a:lnTo>
                    <a:pt x="77" y="1681"/>
                  </a:lnTo>
                  <a:lnTo>
                    <a:pt x="77" y="1682"/>
                  </a:lnTo>
                  <a:close/>
                  <a:moveTo>
                    <a:pt x="51" y="1607"/>
                  </a:moveTo>
                  <a:lnTo>
                    <a:pt x="51" y="1606"/>
                  </a:lnTo>
                  <a:lnTo>
                    <a:pt x="51" y="1607"/>
                  </a:lnTo>
                  <a:close/>
                  <a:moveTo>
                    <a:pt x="456" y="1505"/>
                  </a:moveTo>
                  <a:lnTo>
                    <a:pt x="456" y="1503"/>
                  </a:lnTo>
                  <a:lnTo>
                    <a:pt x="456" y="1505"/>
                  </a:lnTo>
                  <a:close/>
                  <a:moveTo>
                    <a:pt x="641" y="658"/>
                  </a:moveTo>
                  <a:lnTo>
                    <a:pt x="641" y="659"/>
                  </a:lnTo>
                  <a:lnTo>
                    <a:pt x="641" y="658"/>
                  </a:lnTo>
                  <a:close/>
                  <a:moveTo>
                    <a:pt x="573" y="1396"/>
                  </a:moveTo>
                  <a:lnTo>
                    <a:pt x="571" y="1396"/>
                  </a:lnTo>
                  <a:lnTo>
                    <a:pt x="571" y="1394"/>
                  </a:lnTo>
                  <a:lnTo>
                    <a:pt x="573" y="1394"/>
                  </a:lnTo>
                  <a:lnTo>
                    <a:pt x="573" y="1396"/>
                  </a:lnTo>
                  <a:close/>
                  <a:moveTo>
                    <a:pt x="449" y="1672"/>
                  </a:moveTo>
                  <a:lnTo>
                    <a:pt x="449" y="1674"/>
                  </a:lnTo>
                  <a:lnTo>
                    <a:pt x="448" y="1672"/>
                  </a:lnTo>
                  <a:lnTo>
                    <a:pt x="449" y="1672"/>
                  </a:lnTo>
                  <a:close/>
                  <a:moveTo>
                    <a:pt x="617" y="576"/>
                  </a:moveTo>
                  <a:lnTo>
                    <a:pt x="618" y="576"/>
                  </a:lnTo>
                  <a:lnTo>
                    <a:pt x="617" y="576"/>
                  </a:lnTo>
                  <a:close/>
                  <a:moveTo>
                    <a:pt x="20" y="1521"/>
                  </a:moveTo>
                  <a:lnTo>
                    <a:pt x="20" y="1523"/>
                  </a:lnTo>
                  <a:lnTo>
                    <a:pt x="20" y="1521"/>
                  </a:lnTo>
                  <a:close/>
                  <a:moveTo>
                    <a:pt x="739" y="423"/>
                  </a:moveTo>
                  <a:lnTo>
                    <a:pt x="739" y="425"/>
                  </a:lnTo>
                  <a:lnTo>
                    <a:pt x="739" y="423"/>
                  </a:lnTo>
                  <a:close/>
                  <a:moveTo>
                    <a:pt x="552" y="1245"/>
                  </a:moveTo>
                  <a:lnTo>
                    <a:pt x="552" y="1243"/>
                  </a:lnTo>
                  <a:lnTo>
                    <a:pt x="552" y="1245"/>
                  </a:lnTo>
                  <a:close/>
                  <a:moveTo>
                    <a:pt x="740" y="381"/>
                  </a:moveTo>
                  <a:lnTo>
                    <a:pt x="740" y="383"/>
                  </a:lnTo>
                  <a:lnTo>
                    <a:pt x="740" y="381"/>
                  </a:lnTo>
                  <a:close/>
                  <a:moveTo>
                    <a:pt x="59" y="1646"/>
                  </a:moveTo>
                  <a:lnTo>
                    <a:pt x="59" y="1648"/>
                  </a:lnTo>
                  <a:lnTo>
                    <a:pt x="59" y="1646"/>
                  </a:lnTo>
                  <a:close/>
                  <a:moveTo>
                    <a:pt x="449" y="1669"/>
                  </a:moveTo>
                  <a:lnTo>
                    <a:pt x="451" y="1671"/>
                  </a:lnTo>
                  <a:lnTo>
                    <a:pt x="449" y="1671"/>
                  </a:lnTo>
                  <a:lnTo>
                    <a:pt x="449" y="1669"/>
                  </a:lnTo>
                  <a:close/>
                  <a:moveTo>
                    <a:pt x="31" y="1603"/>
                  </a:moveTo>
                  <a:lnTo>
                    <a:pt x="31" y="1601"/>
                  </a:lnTo>
                  <a:lnTo>
                    <a:pt x="31" y="1603"/>
                  </a:lnTo>
                  <a:close/>
                  <a:moveTo>
                    <a:pt x="35" y="1601"/>
                  </a:moveTo>
                  <a:lnTo>
                    <a:pt x="36" y="1601"/>
                  </a:lnTo>
                  <a:lnTo>
                    <a:pt x="35" y="1601"/>
                  </a:lnTo>
                  <a:close/>
                  <a:moveTo>
                    <a:pt x="61" y="1651"/>
                  </a:moveTo>
                  <a:lnTo>
                    <a:pt x="61" y="1650"/>
                  </a:lnTo>
                  <a:lnTo>
                    <a:pt x="61" y="1651"/>
                  </a:lnTo>
                  <a:close/>
                  <a:moveTo>
                    <a:pt x="15" y="1498"/>
                  </a:moveTo>
                  <a:lnTo>
                    <a:pt x="17" y="1498"/>
                  </a:lnTo>
                  <a:lnTo>
                    <a:pt x="15" y="1498"/>
                  </a:lnTo>
                  <a:close/>
                  <a:moveTo>
                    <a:pt x="581" y="1412"/>
                  </a:moveTo>
                  <a:lnTo>
                    <a:pt x="581" y="1411"/>
                  </a:lnTo>
                  <a:lnTo>
                    <a:pt x="581" y="1412"/>
                  </a:lnTo>
                  <a:close/>
                  <a:moveTo>
                    <a:pt x="457" y="1536"/>
                  </a:moveTo>
                  <a:lnTo>
                    <a:pt x="457" y="1534"/>
                  </a:lnTo>
                  <a:lnTo>
                    <a:pt x="457" y="1536"/>
                  </a:lnTo>
                  <a:close/>
                  <a:moveTo>
                    <a:pt x="522" y="1232"/>
                  </a:moveTo>
                  <a:lnTo>
                    <a:pt x="521" y="1232"/>
                  </a:lnTo>
                  <a:lnTo>
                    <a:pt x="522" y="1232"/>
                  </a:lnTo>
                  <a:close/>
                  <a:moveTo>
                    <a:pt x="387" y="1877"/>
                  </a:moveTo>
                  <a:lnTo>
                    <a:pt x="389" y="1877"/>
                  </a:lnTo>
                  <a:lnTo>
                    <a:pt x="387" y="1877"/>
                  </a:lnTo>
                  <a:close/>
                  <a:moveTo>
                    <a:pt x="466" y="1502"/>
                  </a:moveTo>
                  <a:lnTo>
                    <a:pt x="467" y="1502"/>
                  </a:lnTo>
                  <a:lnTo>
                    <a:pt x="466" y="1503"/>
                  </a:lnTo>
                  <a:lnTo>
                    <a:pt x="466" y="1502"/>
                  </a:lnTo>
                  <a:close/>
                  <a:moveTo>
                    <a:pt x="30" y="1570"/>
                  </a:moveTo>
                  <a:lnTo>
                    <a:pt x="30" y="1568"/>
                  </a:lnTo>
                  <a:lnTo>
                    <a:pt x="30" y="1570"/>
                  </a:lnTo>
                  <a:close/>
                  <a:moveTo>
                    <a:pt x="563" y="1448"/>
                  </a:moveTo>
                  <a:lnTo>
                    <a:pt x="563" y="1446"/>
                  </a:lnTo>
                  <a:lnTo>
                    <a:pt x="563" y="1448"/>
                  </a:lnTo>
                  <a:close/>
                  <a:moveTo>
                    <a:pt x="459" y="1541"/>
                  </a:moveTo>
                  <a:lnTo>
                    <a:pt x="459" y="1542"/>
                  </a:lnTo>
                  <a:lnTo>
                    <a:pt x="459" y="1541"/>
                  </a:lnTo>
                  <a:close/>
                  <a:moveTo>
                    <a:pt x="649" y="495"/>
                  </a:moveTo>
                  <a:lnTo>
                    <a:pt x="649" y="493"/>
                  </a:lnTo>
                  <a:lnTo>
                    <a:pt x="651" y="495"/>
                  </a:lnTo>
                  <a:lnTo>
                    <a:pt x="649" y="495"/>
                  </a:lnTo>
                  <a:close/>
                  <a:moveTo>
                    <a:pt x="602" y="1326"/>
                  </a:moveTo>
                  <a:lnTo>
                    <a:pt x="601" y="1326"/>
                  </a:lnTo>
                  <a:lnTo>
                    <a:pt x="601" y="1324"/>
                  </a:lnTo>
                  <a:lnTo>
                    <a:pt x="602" y="1324"/>
                  </a:lnTo>
                  <a:lnTo>
                    <a:pt x="602" y="1326"/>
                  </a:lnTo>
                  <a:close/>
                  <a:moveTo>
                    <a:pt x="448" y="1622"/>
                  </a:moveTo>
                  <a:lnTo>
                    <a:pt x="448" y="1624"/>
                  </a:lnTo>
                  <a:lnTo>
                    <a:pt x="448" y="1622"/>
                  </a:lnTo>
                  <a:close/>
                  <a:moveTo>
                    <a:pt x="35" y="1585"/>
                  </a:moveTo>
                  <a:lnTo>
                    <a:pt x="36" y="1585"/>
                  </a:lnTo>
                  <a:lnTo>
                    <a:pt x="35" y="1585"/>
                  </a:lnTo>
                  <a:close/>
                  <a:moveTo>
                    <a:pt x="334" y="1874"/>
                  </a:moveTo>
                  <a:lnTo>
                    <a:pt x="335" y="1874"/>
                  </a:lnTo>
                  <a:lnTo>
                    <a:pt x="334" y="1874"/>
                  </a:lnTo>
                  <a:close/>
                  <a:moveTo>
                    <a:pt x="714" y="440"/>
                  </a:moveTo>
                  <a:lnTo>
                    <a:pt x="716" y="440"/>
                  </a:lnTo>
                  <a:lnTo>
                    <a:pt x="714" y="440"/>
                  </a:lnTo>
                  <a:close/>
                  <a:moveTo>
                    <a:pt x="498" y="1228"/>
                  </a:moveTo>
                  <a:lnTo>
                    <a:pt x="500" y="1228"/>
                  </a:lnTo>
                  <a:lnTo>
                    <a:pt x="498" y="1228"/>
                  </a:lnTo>
                  <a:close/>
                  <a:moveTo>
                    <a:pt x="627" y="610"/>
                  </a:moveTo>
                  <a:lnTo>
                    <a:pt x="625" y="610"/>
                  </a:lnTo>
                  <a:lnTo>
                    <a:pt x="625" y="609"/>
                  </a:lnTo>
                  <a:lnTo>
                    <a:pt x="625" y="610"/>
                  </a:lnTo>
                  <a:lnTo>
                    <a:pt x="627" y="610"/>
                  </a:lnTo>
                  <a:close/>
                  <a:moveTo>
                    <a:pt x="711" y="433"/>
                  </a:moveTo>
                  <a:lnTo>
                    <a:pt x="711" y="435"/>
                  </a:lnTo>
                  <a:lnTo>
                    <a:pt x="711" y="433"/>
                  </a:lnTo>
                  <a:close/>
                  <a:moveTo>
                    <a:pt x="561" y="1386"/>
                  </a:moveTo>
                  <a:lnTo>
                    <a:pt x="563" y="1386"/>
                  </a:lnTo>
                  <a:lnTo>
                    <a:pt x="561" y="1386"/>
                  </a:lnTo>
                  <a:close/>
                  <a:moveTo>
                    <a:pt x="69" y="1672"/>
                  </a:moveTo>
                  <a:lnTo>
                    <a:pt x="70" y="1672"/>
                  </a:lnTo>
                  <a:lnTo>
                    <a:pt x="70" y="1674"/>
                  </a:lnTo>
                  <a:lnTo>
                    <a:pt x="69" y="1672"/>
                  </a:lnTo>
                  <a:close/>
                  <a:moveTo>
                    <a:pt x="526" y="1451"/>
                  </a:moveTo>
                  <a:lnTo>
                    <a:pt x="527" y="1451"/>
                  </a:lnTo>
                  <a:lnTo>
                    <a:pt x="526" y="1453"/>
                  </a:lnTo>
                  <a:lnTo>
                    <a:pt x="526" y="1451"/>
                  </a:lnTo>
                  <a:close/>
                  <a:moveTo>
                    <a:pt x="448" y="1679"/>
                  </a:moveTo>
                  <a:lnTo>
                    <a:pt x="449" y="1679"/>
                  </a:lnTo>
                  <a:lnTo>
                    <a:pt x="448" y="1679"/>
                  </a:lnTo>
                  <a:close/>
                  <a:moveTo>
                    <a:pt x="618" y="513"/>
                  </a:moveTo>
                  <a:lnTo>
                    <a:pt x="618" y="514"/>
                  </a:lnTo>
                  <a:lnTo>
                    <a:pt x="618" y="513"/>
                  </a:lnTo>
                  <a:close/>
                  <a:moveTo>
                    <a:pt x="493" y="1497"/>
                  </a:moveTo>
                  <a:lnTo>
                    <a:pt x="493" y="1495"/>
                  </a:lnTo>
                  <a:lnTo>
                    <a:pt x="493" y="1497"/>
                  </a:lnTo>
                  <a:close/>
                  <a:moveTo>
                    <a:pt x="578" y="1407"/>
                  </a:moveTo>
                  <a:lnTo>
                    <a:pt x="578" y="1409"/>
                  </a:lnTo>
                  <a:lnTo>
                    <a:pt x="578" y="1407"/>
                  </a:lnTo>
                  <a:close/>
                  <a:moveTo>
                    <a:pt x="596" y="1346"/>
                  </a:moveTo>
                  <a:lnTo>
                    <a:pt x="596" y="1344"/>
                  </a:lnTo>
                  <a:lnTo>
                    <a:pt x="596" y="1346"/>
                  </a:lnTo>
                  <a:close/>
                  <a:moveTo>
                    <a:pt x="287" y="1903"/>
                  </a:moveTo>
                  <a:lnTo>
                    <a:pt x="287" y="1902"/>
                  </a:lnTo>
                  <a:lnTo>
                    <a:pt x="287" y="1903"/>
                  </a:lnTo>
                  <a:close/>
                  <a:moveTo>
                    <a:pt x="687" y="466"/>
                  </a:moveTo>
                  <a:lnTo>
                    <a:pt x="687" y="464"/>
                  </a:lnTo>
                  <a:lnTo>
                    <a:pt x="687" y="466"/>
                  </a:lnTo>
                  <a:close/>
                  <a:moveTo>
                    <a:pt x="449" y="1531"/>
                  </a:moveTo>
                  <a:lnTo>
                    <a:pt x="448" y="1531"/>
                  </a:lnTo>
                  <a:lnTo>
                    <a:pt x="449" y="1531"/>
                  </a:lnTo>
                  <a:close/>
                  <a:moveTo>
                    <a:pt x="492" y="1494"/>
                  </a:moveTo>
                  <a:lnTo>
                    <a:pt x="493" y="1494"/>
                  </a:lnTo>
                  <a:lnTo>
                    <a:pt x="492" y="1494"/>
                  </a:lnTo>
                  <a:close/>
                  <a:moveTo>
                    <a:pt x="495" y="1219"/>
                  </a:moveTo>
                  <a:lnTo>
                    <a:pt x="495" y="1217"/>
                  </a:lnTo>
                  <a:lnTo>
                    <a:pt x="495" y="1219"/>
                  </a:lnTo>
                  <a:close/>
                  <a:moveTo>
                    <a:pt x="469" y="906"/>
                  </a:moveTo>
                  <a:lnTo>
                    <a:pt x="469" y="905"/>
                  </a:lnTo>
                  <a:lnTo>
                    <a:pt x="469" y="906"/>
                  </a:lnTo>
                  <a:close/>
                  <a:moveTo>
                    <a:pt x="461" y="1572"/>
                  </a:moveTo>
                  <a:lnTo>
                    <a:pt x="461" y="1570"/>
                  </a:lnTo>
                  <a:lnTo>
                    <a:pt x="461" y="1572"/>
                  </a:lnTo>
                  <a:close/>
                  <a:moveTo>
                    <a:pt x="431" y="1134"/>
                  </a:moveTo>
                  <a:lnTo>
                    <a:pt x="431" y="1136"/>
                  </a:lnTo>
                  <a:lnTo>
                    <a:pt x="431" y="1134"/>
                  </a:lnTo>
                  <a:close/>
                  <a:moveTo>
                    <a:pt x="618" y="571"/>
                  </a:moveTo>
                  <a:lnTo>
                    <a:pt x="620" y="571"/>
                  </a:lnTo>
                  <a:lnTo>
                    <a:pt x="618" y="571"/>
                  </a:lnTo>
                  <a:close/>
                  <a:moveTo>
                    <a:pt x="462" y="1555"/>
                  </a:moveTo>
                  <a:lnTo>
                    <a:pt x="462" y="1554"/>
                  </a:lnTo>
                  <a:lnTo>
                    <a:pt x="462" y="1555"/>
                  </a:lnTo>
                  <a:close/>
                  <a:moveTo>
                    <a:pt x="428" y="1038"/>
                  </a:moveTo>
                  <a:lnTo>
                    <a:pt x="428" y="1037"/>
                  </a:lnTo>
                  <a:lnTo>
                    <a:pt x="428" y="1038"/>
                  </a:lnTo>
                  <a:close/>
                  <a:moveTo>
                    <a:pt x="742" y="440"/>
                  </a:moveTo>
                  <a:lnTo>
                    <a:pt x="744" y="440"/>
                  </a:lnTo>
                  <a:lnTo>
                    <a:pt x="742" y="440"/>
                  </a:lnTo>
                  <a:close/>
                  <a:moveTo>
                    <a:pt x="35" y="1601"/>
                  </a:moveTo>
                  <a:lnTo>
                    <a:pt x="35" y="1599"/>
                  </a:lnTo>
                  <a:lnTo>
                    <a:pt x="35" y="1601"/>
                  </a:lnTo>
                  <a:close/>
                  <a:moveTo>
                    <a:pt x="360" y="1874"/>
                  </a:moveTo>
                  <a:lnTo>
                    <a:pt x="360" y="1873"/>
                  </a:lnTo>
                  <a:lnTo>
                    <a:pt x="360" y="1874"/>
                  </a:lnTo>
                  <a:close/>
                  <a:moveTo>
                    <a:pt x="453" y="1542"/>
                  </a:moveTo>
                  <a:lnTo>
                    <a:pt x="453" y="1541"/>
                  </a:lnTo>
                  <a:lnTo>
                    <a:pt x="453" y="1542"/>
                  </a:lnTo>
                  <a:close/>
                  <a:moveTo>
                    <a:pt x="604" y="1337"/>
                  </a:moveTo>
                  <a:lnTo>
                    <a:pt x="604" y="1336"/>
                  </a:lnTo>
                  <a:lnTo>
                    <a:pt x="604" y="1337"/>
                  </a:lnTo>
                  <a:close/>
                  <a:moveTo>
                    <a:pt x="433" y="1659"/>
                  </a:moveTo>
                  <a:lnTo>
                    <a:pt x="435" y="1659"/>
                  </a:lnTo>
                  <a:lnTo>
                    <a:pt x="433" y="1659"/>
                  </a:lnTo>
                  <a:close/>
                  <a:moveTo>
                    <a:pt x="631" y="549"/>
                  </a:moveTo>
                  <a:lnTo>
                    <a:pt x="631" y="550"/>
                  </a:lnTo>
                  <a:lnTo>
                    <a:pt x="633" y="550"/>
                  </a:lnTo>
                  <a:lnTo>
                    <a:pt x="631" y="550"/>
                  </a:lnTo>
                  <a:lnTo>
                    <a:pt x="631" y="549"/>
                  </a:lnTo>
                  <a:close/>
                  <a:moveTo>
                    <a:pt x="558" y="1372"/>
                  </a:moveTo>
                  <a:lnTo>
                    <a:pt x="558" y="1370"/>
                  </a:lnTo>
                  <a:lnTo>
                    <a:pt x="558" y="1372"/>
                  </a:lnTo>
                  <a:close/>
                  <a:moveTo>
                    <a:pt x="532" y="1461"/>
                  </a:moveTo>
                  <a:lnTo>
                    <a:pt x="532" y="1459"/>
                  </a:lnTo>
                  <a:lnTo>
                    <a:pt x="532" y="1461"/>
                  </a:lnTo>
                  <a:close/>
                  <a:moveTo>
                    <a:pt x="31" y="1580"/>
                  </a:moveTo>
                  <a:lnTo>
                    <a:pt x="33" y="1580"/>
                  </a:lnTo>
                  <a:lnTo>
                    <a:pt x="31" y="1580"/>
                  </a:lnTo>
                  <a:close/>
                  <a:moveTo>
                    <a:pt x="65" y="1672"/>
                  </a:moveTo>
                  <a:lnTo>
                    <a:pt x="65" y="1674"/>
                  </a:lnTo>
                  <a:lnTo>
                    <a:pt x="65" y="1672"/>
                  </a:lnTo>
                  <a:close/>
                  <a:moveTo>
                    <a:pt x="527" y="1477"/>
                  </a:moveTo>
                  <a:lnTo>
                    <a:pt x="527" y="1479"/>
                  </a:lnTo>
                  <a:lnTo>
                    <a:pt x="527" y="1477"/>
                  </a:lnTo>
                  <a:close/>
                  <a:moveTo>
                    <a:pt x="448" y="1607"/>
                  </a:moveTo>
                  <a:lnTo>
                    <a:pt x="448" y="1609"/>
                  </a:lnTo>
                  <a:lnTo>
                    <a:pt x="448" y="1607"/>
                  </a:lnTo>
                  <a:close/>
                  <a:moveTo>
                    <a:pt x="62" y="1609"/>
                  </a:moveTo>
                  <a:lnTo>
                    <a:pt x="61" y="1609"/>
                  </a:lnTo>
                  <a:lnTo>
                    <a:pt x="62" y="1609"/>
                  </a:lnTo>
                  <a:close/>
                  <a:moveTo>
                    <a:pt x="496" y="1469"/>
                  </a:moveTo>
                  <a:lnTo>
                    <a:pt x="496" y="1471"/>
                  </a:lnTo>
                  <a:lnTo>
                    <a:pt x="496" y="1469"/>
                  </a:lnTo>
                  <a:close/>
                  <a:moveTo>
                    <a:pt x="594" y="1354"/>
                  </a:moveTo>
                  <a:lnTo>
                    <a:pt x="596" y="1354"/>
                  </a:lnTo>
                  <a:lnTo>
                    <a:pt x="594" y="1354"/>
                  </a:lnTo>
                  <a:close/>
                  <a:moveTo>
                    <a:pt x="558" y="1441"/>
                  </a:moveTo>
                  <a:lnTo>
                    <a:pt x="560" y="1441"/>
                  </a:lnTo>
                  <a:lnTo>
                    <a:pt x="558" y="1441"/>
                  </a:lnTo>
                  <a:close/>
                  <a:moveTo>
                    <a:pt x="661" y="443"/>
                  </a:moveTo>
                  <a:lnTo>
                    <a:pt x="662" y="443"/>
                  </a:lnTo>
                  <a:lnTo>
                    <a:pt x="661" y="443"/>
                  </a:lnTo>
                  <a:close/>
                  <a:moveTo>
                    <a:pt x="522" y="1461"/>
                  </a:moveTo>
                  <a:lnTo>
                    <a:pt x="521" y="1463"/>
                  </a:lnTo>
                  <a:lnTo>
                    <a:pt x="521" y="1461"/>
                  </a:lnTo>
                  <a:lnTo>
                    <a:pt x="522" y="1461"/>
                  </a:lnTo>
                  <a:close/>
                  <a:moveTo>
                    <a:pt x="532" y="802"/>
                  </a:moveTo>
                  <a:lnTo>
                    <a:pt x="532" y="804"/>
                  </a:lnTo>
                  <a:lnTo>
                    <a:pt x="532" y="802"/>
                  </a:lnTo>
                  <a:close/>
                  <a:moveTo>
                    <a:pt x="705" y="446"/>
                  </a:moveTo>
                  <a:lnTo>
                    <a:pt x="705" y="445"/>
                  </a:lnTo>
                  <a:lnTo>
                    <a:pt x="705" y="446"/>
                  </a:lnTo>
                  <a:close/>
                  <a:moveTo>
                    <a:pt x="454" y="1500"/>
                  </a:moveTo>
                  <a:lnTo>
                    <a:pt x="456" y="1500"/>
                  </a:lnTo>
                  <a:lnTo>
                    <a:pt x="454" y="1500"/>
                  </a:lnTo>
                  <a:close/>
                  <a:moveTo>
                    <a:pt x="571" y="1414"/>
                  </a:moveTo>
                  <a:lnTo>
                    <a:pt x="571" y="1412"/>
                  </a:lnTo>
                  <a:lnTo>
                    <a:pt x="571" y="1414"/>
                  </a:lnTo>
                  <a:close/>
                  <a:moveTo>
                    <a:pt x="495" y="1479"/>
                  </a:moveTo>
                  <a:lnTo>
                    <a:pt x="495" y="1477"/>
                  </a:lnTo>
                  <a:lnTo>
                    <a:pt x="495" y="1479"/>
                  </a:lnTo>
                  <a:close/>
                  <a:moveTo>
                    <a:pt x="646" y="487"/>
                  </a:moveTo>
                  <a:lnTo>
                    <a:pt x="648" y="487"/>
                  </a:lnTo>
                  <a:lnTo>
                    <a:pt x="646" y="487"/>
                  </a:lnTo>
                  <a:close/>
                  <a:moveTo>
                    <a:pt x="430" y="1066"/>
                  </a:moveTo>
                  <a:lnTo>
                    <a:pt x="430" y="1067"/>
                  </a:lnTo>
                  <a:lnTo>
                    <a:pt x="430" y="1066"/>
                  </a:lnTo>
                  <a:close/>
                  <a:moveTo>
                    <a:pt x="573" y="1402"/>
                  </a:moveTo>
                  <a:lnTo>
                    <a:pt x="571" y="1402"/>
                  </a:lnTo>
                  <a:lnTo>
                    <a:pt x="573" y="1402"/>
                  </a:lnTo>
                  <a:close/>
                  <a:moveTo>
                    <a:pt x="653" y="501"/>
                  </a:moveTo>
                  <a:lnTo>
                    <a:pt x="654" y="501"/>
                  </a:lnTo>
                  <a:lnTo>
                    <a:pt x="653" y="501"/>
                  </a:lnTo>
                  <a:close/>
                  <a:moveTo>
                    <a:pt x="540" y="1251"/>
                  </a:moveTo>
                  <a:lnTo>
                    <a:pt x="540" y="1250"/>
                  </a:lnTo>
                  <a:lnTo>
                    <a:pt x="540" y="1251"/>
                  </a:lnTo>
                  <a:close/>
                  <a:moveTo>
                    <a:pt x="560" y="1375"/>
                  </a:moveTo>
                  <a:lnTo>
                    <a:pt x="561" y="1375"/>
                  </a:lnTo>
                  <a:lnTo>
                    <a:pt x="560" y="1375"/>
                  </a:lnTo>
                  <a:close/>
                  <a:moveTo>
                    <a:pt x="718" y="441"/>
                  </a:moveTo>
                  <a:lnTo>
                    <a:pt x="719" y="441"/>
                  </a:lnTo>
                  <a:lnTo>
                    <a:pt x="718" y="441"/>
                  </a:lnTo>
                  <a:close/>
                  <a:moveTo>
                    <a:pt x="540" y="1269"/>
                  </a:moveTo>
                  <a:lnTo>
                    <a:pt x="542" y="1269"/>
                  </a:lnTo>
                  <a:lnTo>
                    <a:pt x="542" y="1271"/>
                  </a:lnTo>
                  <a:lnTo>
                    <a:pt x="540" y="1269"/>
                  </a:lnTo>
                  <a:close/>
                  <a:moveTo>
                    <a:pt x="466" y="1498"/>
                  </a:moveTo>
                  <a:lnTo>
                    <a:pt x="466" y="1500"/>
                  </a:lnTo>
                  <a:lnTo>
                    <a:pt x="466" y="1498"/>
                  </a:lnTo>
                  <a:close/>
                  <a:moveTo>
                    <a:pt x="588" y="1363"/>
                  </a:moveTo>
                  <a:lnTo>
                    <a:pt x="589" y="1362"/>
                  </a:lnTo>
                  <a:lnTo>
                    <a:pt x="589" y="1363"/>
                  </a:lnTo>
                  <a:lnTo>
                    <a:pt x="588" y="1363"/>
                  </a:lnTo>
                  <a:close/>
                  <a:moveTo>
                    <a:pt x="441" y="1637"/>
                  </a:moveTo>
                  <a:lnTo>
                    <a:pt x="443" y="1637"/>
                  </a:lnTo>
                  <a:lnTo>
                    <a:pt x="441" y="1637"/>
                  </a:lnTo>
                  <a:close/>
                  <a:moveTo>
                    <a:pt x="470" y="1492"/>
                  </a:moveTo>
                  <a:lnTo>
                    <a:pt x="470" y="1494"/>
                  </a:lnTo>
                  <a:lnTo>
                    <a:pt x="470" y="1492"/>
                  </a:lnTo>
                  <a:close/>
                  <a:moveTo>
                    <a:pt x="440" y="1742"/>
                  </a:moveTo>
                  <a:lnTo>
                    <a:pt x="441" y="1742"/>
                  </a:lnTo>
                  <a:lnTo>
                    <a:pt x="440" y="1742"/>
                  </a:lnTo>
                  <a:close/>
                  <a:moveTo>
                    <a:pt x="75" y="1684"/>
                  </a:moveTo>
                  <a:lnTo>
                    <a:pt x="77" y="1684"/>
                  </a:lnTo>
                  <a:lnTo>
                    <a:pt x="75" y="1684"/>
                  </a:lnTo>
                  <a:close/>
                  <a:moveTo>
                    <a:pt x="623" y="754"/>
                  </a:moveTo>
                  <a:lnTo>
                    <a:pt x="625" y="754"/>
                  </a:lnTo>
                  <a:lnTo>
                    <a:pt x="623" y="754"/>
                  </a:lnTo>
                  <a:close/>
                  <a:moveTo>
                    <a:pt x="503" y="1233"/>
                  </a:moveTo>
                  <a:lnTo>
                    <a:pt x="503" y="1235"/>
                  </a:lnTo>
                  <a:lnTo>
                    <a:pt x="503" y="1233"/>
                  </a:lnTo>
                  <a:close/>
                  <a:moveTo>
                    <a:pt x="423" y="1622"/>
                  </a:moveTo>
                  <a:lnTo>
                    <a:pt x="423" y="1624"/>
                  </a:lnTo>
                  <a:lnTo>
                    <a:pt x="423" y="1622"/>
                  </a:lnTo>
                  <a:close/>
                  <a:moveTo>
                    <a:pt x="498" y="1463"/>
                  </a:moveTo>
                  <a:lnTo>
                    <a:pt x="498" y="1461"/>
                  </a:lnTo>
                  <a:lnTo>
                    <a:pt x="498" y="1463"/>
                  </a:lnTo>
                  <a:close/>
                  <a:moveTo>
                    <a:pt x="625" y="1347"/>
                  </a:moveTo>
                  <a:lnTo>
                    <a:pt x="627" y="1347"/>
                  </a:lnTo>
                  <a:lnTo>
                    <a:pt x="627" y="1349"/>
                  </a:lnTo>
                  <a:lnTo>
                    <a:pt x="625" y="1347"/>
                  </a:lnTo>
                  <a:close/>
                  <a:moveTo>
                    <a:pt x="521" y="1458"/>
                  </a:moveTo>
                  <a:lnTo>
                    <a:pt x="521" y="1459"/>
                  </a:lnTo>
                  <a:lnTo>
                    <a:pt x="521" y="1458"/>
                  </a:lnTo>
                  <a:close/>
                  <a:moveTo>
                    <a:pt x="23" y="1541"/>
                  </a:moveTo>
                  <a:lnTo>
                    <a:pt x="23" y="1539"/>
                  </a:lnTo>
                  <a:lnTo>
                    <a:pt x="23" y="1541"/>
                  </a:lnTo>
                  <a:close/>
                  <a:moveTo>
                    <a:pt x="667" y="456"/>
                  </a:moveTo>
                  <a:lnTo>
                    <a:pt x="669" y="456"/>
                  </a:lnTo>
                  <a:lnTo>
                    <a:pt x="667" y="456"/>
                  </a:lnTo>
                  <a:close/>
                  <a:moveTo>
                    <a:pt x="617" y="703"/>
                  </a:moveTo>
                  <a:lnTo>
                    <a:pt x="618" y="703"/>
                  </a:lnTo>
                  <a:lnTo>
                    <a:pt x="617" y="703"/>
                  </a:lnTo>
                  <a:close/>
                  <a:moveTo>
                    <a:pt x="490" y="1490"/>
                  </a:moveTo>
                  <a:lnTo>
                    <a:pt x="490" y="1489"/>
                  </a:lnTo>
                  <a:lnTo>
                    <a:pt x="490" y="1490"/>
                  </a:lnTo>
                  <a:lnTo>
                    <a:pt x="490" y="1489"/>
                  </a:lnTo>
                  <a:lnTo>
                    <a:pt x="490" y="1490"/>
                  </a:lnTo>
                  <a:close/>
                  <a:moveTo>
                    <a:pt x="449" y="1547"/>
                  </a:moveTo>
                  <a:lnTo>
                    <a:pt x="449" y="1546"/>
                  </a:lnTo>
                  <a:lnTo>
                    <a:pt x="449" y="1547"/>
                  </a:lnTo>
                  <a:close/>
                  <a:moveTo>
                    <a:pt x="488" y="1472"/>
                  </a:moveTo>
                  <a:lnTo>
                    <a:pt x="488" y="1474"/>
                  </a:lnTo>
                  <a:lnTo>
                    <a:pt x="488" y="1472"/>
                  </a:lnTo>
                  <a:close/>
                  <a:moveTo>
                    <a:pt x="628" y="620"/>
                  </a:moveTo>
                  <a:lnTo>
                    <a:pt x="628" y="622"/>
                  </a:lnTo>
                  <a:lnTo>
                    <a:pt x="628" y="620"/>
                  </a:lnTo>
                  <a:close/>
                  <a:moveTo>
                    <a:pt x="453" y="1542"/>
                  </a:moveTo>
                  <a:lnTo>
                    <a:pt x="454" y="1542"/>
                  </a:lnTo>
                  <a:lnTo>
                    <a:pt x="453" y="1542"/>
                  </a:lnTo>
                  <a:close/>
                  <a:moveTo>
                    <a:pt x="566" y="1360"/>
                  </a:moveTo>
                  <a:lnTo>
                    <a:pt x="565" y="1360"/>
                  </a:lnTo>
                  <a:lnTo>
                    <a:pt x="566" y="1360"/>
                  </a:lnTo>
                  <a:close/>
                  <a:moveTo>
                    <a:pt x="422" y="1536"/>
                  </a:moveTo>
                  <a:lnTo>
                    <a:pt x="422" y="1534"/>
                  </a:lnTo>
                  <a:lnTo>
                    <a:pt x="422" y="1536"/>
                  </a:lnTo>
                  <a:close/>
                  <a:moveTo>
                    <a:pt x="440" y="1694"/>
                  </a:moveTo>
                  <a:lnTo>
                    <a:pt x="441" y="1694"/>
                  </a:lnTo>
                  <a:lnTo>
                    <a:pt x="440" y="1694"/>
                  </a:lnTo>
                  <a:close/>
                  <a:moveTo>
                    <a:pt x="436" y="1752"/>
                  </a:moveTo>
                  <a:lnTo>
                    <a:pt x="436" y="1754"/>
                  </a:lnTo>
                  <a:lnTo>
                    <a:pt x="436" y="1752"/>
                  </a:lnTo>
                  <a:close/>
                  <a:moveTo>
                    <a:pt x="464" y="1492"/>
                  </a:moveTo>
                  <a:lnTo>
                    <a:pt x="466" y="1492"/>
                  </a:lnTo>
                  <a:lnTo>
                    <a:pt x="464" y="1492"/>
                  </a:lnTo>
                  <a:close/>
                  <a:moveTo>
                    <a:pt x="718" y="435"/>
                  </a:moveTo>
                  <a:lnTo>
                    <a:pt x="719" y="435"/>
                  </a:lnTo>
                  <a:lnTo>
                    <a:pt x="718" y="435"/>
                  </a:lnTo>
                  <a:close/>
                  <a:moveTo>
                    <a:pt x="449" y="1655"/>
                  </a:moveTo>
                  <a:lnTo>
                    <a:pt x="451" y="1655"/>
                  </a:lnTo>
                  <a:lnTo>
                    <a:pt x="449" y="1655"/>
                  </a:lnTo>
                  <a:close/>
                  <a:moveTo>
                    <a:pt x="26" y="1539"/>
                  </a:moveTo>
                  <a:lnTo>
                    <a:pt x="25" y="1539"/>
                  </a:lnTo>
                  <a:lnTo>
                    <a:pt x="26" y="1539"/>
                  </a:lnTo>
                  <a:close/>
                  <a:moveTo>
                    <a:pt x="574" y="1368"/>
                  </a:moveTo>
                  <a:lnTo>
                    <a:pt x="576" y="1368"/>
                  </a:lnTo>
                  <a:lnTo>
                    <a:pt x="574" y="1368"/>
                  </a:lnTo>
                  <a:close/>
                  <a:moveTo>
                    <a:pt x="680" y="445"/>
                  </a:moveTo>
                  <a:lnTo>
                    <a:pt x="680" y="443"/>
                  </a:lnTo>
                  <a:lnTo>
                    <a:pt x="680" y="445"/>
                  </a:lnTo>
                  <a:close/>
                  <a:moveTo>
                    <a:pt x="482" y="1490"/>
                  </a:moveTo>
                  <a:lnTo>
                    <a:pt x="482" y="1489"/>
                  </a:lnTo>
                  <a:lnTo>
                    <a:pt x="482" y="1490"/>
                  </a:lnTo>
                  <a:close/>
                  <a:moveTo>
                    <a:pt x="635" y="505"/>
                  </a:moveTo>
                  <a:lnTo>
                    <a:pt x="635" y="503"/>
                  </a:lnTo>
                  <a:lnTo>
                    <a:pt x="635" y="505"/>
                  </a:lnTo>
                  <a:close/>
                  <a:moveTo>
                    <a:pt x="601" y="1334"/>
                  </a:moveTo>
                  <a:lnTo>
                    <a:pt x="601" y="1333"/>
                  </a:lnTo>
                  <a:lnTo>
                    <a:pt x="601" y="1334"/>
                  </a:lnTo>
                  <a:close/>
                  <a:moveTo>
                    <a:pt x="18" y="1523"/>
                  </a:moveTo>
                  <a:lnTo>
                    <a:pt x="20" y="1521"/>
                  </a:lnTo>
                  <a:lnTo>
                    <a:pt x="20" y="1523"/>
                  </a:lnTo>
                  <a:lnTo>
                    <a:pt x="18" y="1523"/>
                  </a:lnTo>
                  <a:close/>
                  <a:moveTo>
                    <a:pt x="648" y="643"/>
                  </a:moveTo>
                  <a:lnTo>
                    <a:pt x="649" y="643"/>
                  </a:lnTo>
                  <a:lnTo>
                    <a:pt x="648" y="643"/>
                  </a:lnTo>
                  <a:close/>
                  <a:moveTo>
                    <a:pt x="570" y="1383"/>
                  </a:moveTo>
                  <a:lnTo>
                    <a:pt x="570" y="1381"/>
                  </a:lnTo>
                  <a:lnTo>
                    <a:pt x="570" y="1383"/>
                  </a:lnTo>
                  <a:close/>
                  <a:moveTo>
                    <a:pt x="622" y="1370"/>
                  </a:moveTo>
                  <a:lnTo>
                    <a:pt x="623" y="1370"/>
                  </a:lnTo>
                  <a:lnTo>
                    <a:pt x="622" y="1370"/>
                  </a:lnTo>
                  <a:close/>
                  <a:moveTo>
                    <a:pt x="449" y="1627"/>
                  </a:moveTo>
                  <a:lnTo>
                    <a:pt x="449" y="1629"/>
                  </a:lnTo>
                  <a:lnTo>
                    <a:pt x="449" y="1627"/>
                  </a:lnTo>
                  <a:close/>
                  <a:moveTo>
                    <a:pt x="529" y="1440"/>
                  </a:moveTo>
                  <a:lnTo>
                    <a:pt x="531" y="1440"/>
                  </a:lnTo>
                  <a:lnTo>
                    <a:pt x="531" y="1441"/>
                  </a:lnTo>
                  <a:lnTo>
                    <a:pt x="529" y="1440"/>
                  </a:lnTo>
                  <a:close/>
                  <a:moveTo>
                    <a:pt x="54" y="1633"/>
                  </a:moveTo>
                  <a:lnTo>
                    <a:pt x="54" y="1635"/>
                  </a:lnTo>
                  <a:lnTo>
                    <a:pt x="52" y="1633"/>
                  </a:lnTo>
                  <a:lnTo>
                    <a:pt x="54" y="1633"/>
                  </a:lnTo>
                  <a:close/>
                  <a:moveTo>
                    <a:pt x="483" y="1487"/>
                  </a:moveTo>
                  <a:lnTo>
                    <a:pt x="485" y="1487"/>
                  </a:lnTo>
                  <a:lnTo>
                    <a:pt x="483" y="1487"/>
                  </a:lnTo>
                  <a:close/>
                  <a:moveTo>
                    <a:pt x="54" y="1655"/>
                  </a:moveTo>
                  <a:lnTo>
                    <a:pt x="54" y="1656"/>
                  </a:lnTo>
                  <a:lnTo>
                    <a:pt x="54" y="1655"/>
                  </a:lnTo>
                  <a:close/>
                  <a:moveTo>
                    <a:pt x="506" y="1240"/>
                  </a:moveTo>
                  <a:lnTo>
                    <a:pt x="508" y="1240"/>
                  </a:lnTo>
                  <a:lnTo>
                    <a:pt x="506" y="1240"/>
                  </a:lnTo>
                  <a:close/>
                  <a:moveTo>
                    <a:pt x="52" y="1606"/>
                  </a:moveTo>
                  <a:lnTo>
                    <a:pt x="52" y="1604"/>
                  </a:lnTo>
                  <a:lnTo>
                    <a:pt x="52" y="1606"/>
                  </a:lnTo>
                  <a:close/>
                  <a:moveTo>
                    <a:pt x="470" y="874"/>
                  </a:moveTo>
                  <a:lnTo>
                    <a:pt x="470" y="876"/>
                  </a:lnTo>
                  <a:lnTo>
                    <a:pt x="470" y="874"/>
                  </a:lnTo>
                  <a:close/>
                  <a:moveTo>
                    <a:pt x="589" y="1398"/>
                  </a:moveTo>
                  <a:lnTo>
                    <a:pt x="589" y="1396"/>
                  </a:lnTo>
                  <a:lnTo>
                    <a:pt x="589" y="1398"/>
                  </a:lnTo>
                  <a:close/>
                  <a:moveTo>
                    <a:pt x="448" y="1661"/>
                  </a:moveTo>
                  <a:lnTo>
                    <a:pt x="446" y="1661"/>
                  </a:lnTo>
                  <a:lnTo>
                    <a:pt x="446" y="1659"/>
                  </a:lnTo>
                  <a:lnTo>
                    <a:pt x="446" y="1661"/>
                  </a:lnTo>
                  <a:lnTo>
                    <a:pt x="448" y="1661"/>
                  </a:lnTo>
                  <a:close/>
                  <a:moveTo>
                    <a:pt x="568" y="784"/>
                  </a:moveTo>
                  <a:lnTo>
                    <a:pt x="568" y="786"/>
                  </a:lnTo>
                  <a:lnTo>
                    <a:pt x="568" y="784"/>
                  </a:lnTo>
                  <a:close/>
                  <a:moveTo>
                    <a:pt x="516" y="1243"/>
                  </a:moveTo>
                  <a:lnTo>
                    <a:pt x="516" y="1241"/>
                  </a:lnTo>
                  <a:lnTo>
                    <a:pt x="516" y="1243"/>
                  </a:lnTo>
                  <a:close/>
                  <a:moveTo>
                    <a:pt x="522" y="1235"/>
                  </a:moveTo>
                  <a:lnTo>
                    <a:pt x="522" y="1237"/>
                  </a:lnTo>
                  <a:lnTo>
                    <a:pt x="522" y="1235"/>
                  </a:lnTo>
                  <a:close/>
                  <a:moveTo>
                    <a:pt x="436" y="996"/>
                  </a:moveTo>
                  <a:lnTo>
                    <a:pt x="436" y="994"/>
                  </a:lnTo>
                  <a:lnTo>
                    <a:pt x="436" y="996"/>
                  </a:lnTo>
                  <a:close/>
                  <a:moveTo>
                    <a:pt x="435" y="1659"/>
                  </a:moveTo>
                  <a:lnTo>
                    <a:pt x="435" y="1658"/>
                  </a:lnTo>
                  <a:lnTo>
                    <a:pt x="435" y="1659"/>
                  </a:lnTo>
                  <a:close/>
                  <a:moveTo>
                    <a:pt x="553" y="801"/>
                  </a:moveTo>
                  <a:lnTo>
                    <a:pt x="555" y="801"/>
                  </a:lnTo>
                  <a:lnTo>
                    <a:pt x="553" y="801"/>
                  </a:lnTo>
                  <a:close/>
                  <a:moveTo>
                    <a:pt x="57" y="1650"/>
                  </a:moveTo>
                  <a:lnTo>
                    <a:pt x="57" y="1648"/>
                  </a:lnTo>
                  <a:lnTo>
                    <a:pt x="57" y="1650"/>
                  </a:lnTo>
                  <a:close/>
                  <a:moveTo>
                    <a:pt x="688" y="454"/>
                  </a:moveTo>
                  <a:lnTo>
                    <a:pt x="690" y="454"/>
                  </a:lnTo>
                  <a:lnTo>
                    <a:pt x="688" y="454"/>
                  </a:lnTo>
                  <a:close/>
                  <a:moveTo>
                    <a:pt x="495" y="876"/>
                  </a:moveTo>
                  <a:lnTo>
                    <a:pt x="495" y="874"/>
                  </a:lnTo>
                  <a:lnTo>
                    <a:pt x="495" y="876"/>
                  </a:lnTo>
                  <a:close/>
                  <a:moveTo>
                    <a:pt x="474" y="1492"/>
                  </a:moveTo>
                  <a:lnTo>
                    <a:pt x="472" y="1492"/>
                  </a:lnTo>
                  <a:lnTo>
                    <a:pt x="474" y="1492"/>
                  </a:lnTo>
                  <a:close/>
                  <a:moveTo>
                    <a:pt x="449" y="1568"/>
                  </a:moveTo>
                  <a:lnTo>
                    <a:pt x="449" y="1567"/>
                  </a:lnTo>
                  <a:lnTo>
                    <a:pt x="449" y="1568"/>
                  </a:lnTo>
                  <a:close/>
                  <a:moveTo>
                    <a:pt x="18" y="1539"/>
                  </a:moveTo>
                  <a:lnTo>
                    <a:pt x="20" y="1539"/>
                  </a:lnTo>
                  <a:lnTo>
                    <a:pt x="18" y="1539"/>
                  </a:lnTo>
                  <a:close/>
                  <a:moveTo>
                    <a:pt x="33" y="1581"/>
                  </a:moveTo>
                  <a:lnTo>
                    <a:pt x="33" y="1583"/>
                  </a:lnTo>
                  <a:lnTo>
                    <a:pt x="33" y="1581"/>
                  </a:lnTo>
                  <a:close/>
                  <a:moveTo>
                    <a:pt x="428" y="1046"/>
                  </a:moveTo>
                  <a:lnTo>
                    <a:pt x="430" y="1046"/>
                  </a:lnTo>
                  <a:lnTo>
                    <a:pt x="428" y="1046"/>
                  </a:lnTo>
                  <a:close/>
                  <a:moveTo>
                    <a:pt x="531" y="1232"/>
                  </a:moveTo>
                  <a:lnTo>
                    <a:pt x="531" y="1230"/>
                  </a:lnTo>
                  <a:lnTo>
                    <a:pt x="531" y="1232"/>
                  </a:lnTo>
                  <a:close/>
                  <a:moveTo>
                    <a:pt x="596" y="1324"/>
                  </a:moveTo>
                  <a:lnTo>
                    <a:pt x="596" y="1323"/>
                  </a:lnTo>
                  <a:lnTo>
                    <a:pt x="597" y="1323"/>
                  </a:lnTo>
                  <a:lnTo>
                    <a:pt x="597" y="1324"/>
                  </a:lnTo>
                  <a:lnTo>
                    <a:pt x="596" y="1324"/>
                  </a:lnTo>
                  <a:lnTo>
                    <a:pt x="596" y="1323"/>
                  </a:lnTo>
                  <a:lnTo>
                    <a:pt x="596" y="1324"/>
                  </a:lnTo>
                  <a:close/>
                  <a:moveTo>
                    <a:pt x="2" y="1500"/>
                  </a:moveTo>
                  <a:lnTo>
                    <a:pt x="0" y="1500"/>
                  </a:lnTo>
                  <a:lnTo>
                    <a:pt x="2" y="1500"/>
                  </a:lnTo>
                  <a:close/>
                  <a:moveTo>
                    <a:pt x="518" y="838"/>
                  </a:moveTo>
                  <a:lnTo>
                    <a:pt x="519" y="838"/>
                  </a:lnTo>
                  <a:lnTo>
                    <a:pt x="518" y="838"/>
                  </a:lnTo>
                  <a:close/>
                  <a:moveTo>
                    <a:pt x="552" y="1381"/>
                  </a:moveTo>
                  <a:lnTo>
                    <a:pt x="553" y="1381"/>
                  </a:lnTo>
                  <a:lnTo>
                    <a:pt x="552" y="1381"/>
                  </a:lnTo>
                  <a:close/>
                  <a:moveTo>
                    <a:pt x="618" y="508"/>
                  </a:moveTo>
                  <a:lnTo>
                    <a:pt x="618" y="510"/>
                  </a:lnTo>
                  <a:lnTo>
                    <a:pt x="618" y="508"/>
                  </a:lnTo>
                  <a:close/>
                  <a:moveTo>
                    <a:pt x="56" y="1642"/>
                  </a:moveTo>
                  <a:lnTo>
                    <a:pt x="56" y="1640"/>
                  </a:lnTo>
                  <a:lnTo>
                    <a:pt x="56" y="1642"/>
                  </a:lnTo>
                  <a:close/>
                  <a:moveTo>
                    <a:pt x="444" y="1738"/>
                  </a:moveTo>
                  <a:lnTo>
                    <a:pt x="443" y="1738"/>
                  </a:lnTo>
                  <a:lnTo>
                    <a:pt x="444" y="1738"/>
                  </a:lnTo>
                  <a:close/>
                  <a:moveTo>
                    <a:pt x="430" y="980"/>
                  </a:moveTo>
                  <a:lnTo>
                    <a:pt x="431" y="980"/>
                  </a:lnTo>
                  <a:lnTo>
                    <a:pt x="430" y="980"/>
                  </a:lnTo>
                  <a:close/>
                  <a:moveTo>
                    <a:pt x="75" y="1689"/>
                  </a:moveTo>
                  <a:lnTo>
                    <a:pt x="75" y="1690"/>
                  </a:lnTo>
                  <a:lnTo>
                    <a:pt x="75" y="1689"/>
                  </a:lnTo>
                  <a:close/>
                  <a:moveTo>
                    <a:pt x="620" y="606"/>
                  </a:moveTo>
                  <a:lnTo>
                    <a:pt x="622" y="606"/>
                  </a:lnTo>
                  <a:lnTo>
                    <a:pt x="620" y="606"/>
                  </a:lnTo>
                  <a:close/>
                  <a:moveTo>
                    <a:pt x="586" y="1381"/>
                  </a:moveTo>
                  <a:lnTo>
                    <a:pt x="586" y="1380"/>
                  </a:lnTo>
                  <a:lnTo>
                    <a:pt x="586" y="1381"/>
                  </a:lnTo>
                  <a:close/>
                  <a:moveTo>
                    <a:pt x="552" y="1277"/>
                  </a:moveTo>
                  <a:lnTo>
                    <a:pt x="552" y="1276"/>
                  </a:lnTo>
                  <a:lnTo>
                    <a:pt x="553" y="1277"/>
                  </a:lnTo>
                  <a:lnTo>
                    <a:pt x="552" y="1277"/>
                  </a:lnTo>
                  <a:close/>
                  <a:moveTo>
                    <a:pt x="573" y="1417"/>
                  </a:moveTo>
                  <a:lnTo>
                    <a:pt x="571" y="1419"/>
                  </a:lnTo>
                  <a:lnTo>
                    <a:pt x="571" y="1417"/>
                  </a:lnTo>
                  <a:lnTo>
                    <a:pt x="573" y="1417"/>
                  </a:lnTo>
                  <a:close/>
                  <a:moveTo>
                    <a:pt x="535" y="1269"/>
                  </a:moveTo>
                  <a:lnTo>
                    <a:pt x="537" y="1269"/>
                  </a:lnTo>
                  <a:lnTo>
                    <a:pt x="537" y="1271"/>
                  </a:lnTo>
                  <a:lnTo>
                    <a:pt x="537" y="1269"/>
                  </a:lnTo>
                  <a:lnTo>
                    <a:pt x="537" y="1271"/>
                  </a:lnTo>
                  <a:lnTo>
                    <a:pt x="535" y="1271"/>
                  </a:lnTo>
                  <a:lnTo>
                    <a:pt x="535" y="1269"/>
                  </a:lnTo>
                  <a:close/>
                  <a:moveTo>
                    <a:pt x="609" y="1367"/>
                  </a:moveTo>
                  <a:lnTo>
                    <a:pt x="609" y="1365"/>
                  </a:lnTo>
                  <a:lnTo>
                    <a:pt x="609" y="1367"/>
                  </a:lnTo>
                  <a:close/>
                  <a:moveTo>
                    <a:pt x="441" y="1198"/>
                  </a:moveTo>
                  <a:lnTo>
                    <a:pt x="443" y="1198"/>
                  </a:lnTo>
                  <a:lnTo>
                    <a:pt x="441" y="1198"/>
                  </a:lnTo>
                  <a:close/>
                  <a:moveTo>
                    <a:pt x="339" y="1874"/>
                  </a:moveTo>
                  <a:lnTo>
                    <a:pt x="339" y="1873"/>
                  </a:lnTo>
                  <a:lnTo>
                    <a:pt x="339" y="1874"/>
                  </a:lnTo>
                  <a:close/>
                  <a:moveTo>
                    <a:pt x="433" y="970"/>
                  </a:moveTo>
                  <a:lnTo>
                    <a:pt x="433" y="968"/>
                  </a:lnTo>
                  <a:lnTo>
                    <a:pt x="433" y="970"/>
                  </a:lnTo>
                  <a:close/>
                  <a:moveTo>
                    <a:pt x="548" y="1394"/>
                  </a:moveTo>
                  <a:lnTo>
                    <a:pt x="550" y="1394"/>
                  </a:lnTo>
                  <a:lnTo>
                    <a:pt x="548" y="1394"/>
                  </a:lnTo>
                  <a:close/>
                  <a:moveTo>
                    <a:pt x="563" y="1373"/>
                  </a:moveTo>
                  <a:lnTo>
                    <a:pt x="565" y="1373"/>
                  </a:lnTo>
                  <a:lnTo>
                    <a:pt x="563" y="1373"/>
                  </a:lnTo>
                  <a:close/>
                  <a:moveTo>
                    <a:pt x="749" y="453"/>
                  </a:moveTo>
                  <a:lnTo>
                    <a:pt x="750" y="453"/>
                  </a:lnTo>
                  <a:lnTo>
                    <a:pt x="749" y="453"/>
                  </a:lnTo>
                  <a:close/>
                  <a:moveTo>
                    <a:pt x="561" y="788"/>
                  </a:moveTo>
                  <a:lnTo>
                    <a:pt x="561" y="789"/>
                  </a:lnTo>
                  <a:lnTo>
                    <a:pt x="561" y="788"/>
                  </a:lnTo>
                  <a:close/>
                  <a:moveTo>
                    <a:pt x="578" y="1417"/>
                  </a:moveTo>
                  <a:lnTo>
                    <a:pt x="579" y="1417"/>
                  </a:lnTo>
                  <a:lnTo>
                    <a:pt x="578" y="1417"/>
                  </a:lnTo>
                  <a:close/>
                  <a:moveTo>
                    <a:pt x="456" y="1521"/>
                  </a:moveTo>
                  <a:lnTo>
                    <a:pt x="456" y="1520"/>
                  </a:lnTo>
                  <a:lnTo>
                    <a:pt x="456" y="1521"/>
                  </a:lnTo>
                  <a:close/>
                  <a:moveTo>
                    <a:pt x="588" y="1385"/>
                  </a:moveTo>
                  <a:lnTo>
                    <a:pt x="588" y="1383"/>
                  </a:lnTo>
                  <a:lnTo>
                    <a:pt x="588" y="1385"/>
                  </a:lnTo>
                  <a:close/>
                  <a:moveTo>
                    <a:pt x="760" y="410"/>
                  </a:moveTo>
                  <a:lnTo>
                    <a:pt x="760" y="412"/>
                  </a:lnTo>
                  <a:lnTo>
                    <a:pt x="760" y="410"/>
                  </a:lnTo>
                  <a:close/>
                  <a:moveTo>
                    <a:pt x="52" y="1669"/>
                  </a:moveTo>
                  <a:lnTo>
                    <a:pt x="52" y="1671"/>
                  </a:lnTo>
                  <a:lnTo>
                    <a:pt x="52" y="1669"/>
                  </a:lnTo>
                  <a:close/>
                  <a:moveTo>
                    <a:pt x="540" y="1389"/>
                  </a:moveTo>
                  <a:lnTo>
                    <a:pt x="542" y="1389"/>
                  </a:lnTo>
                  <a:lnTo>
                    <a:pt x="540" y="1389"/>
                  </a:lnTo>
                  <a:close/>
                  <a:moveTo>
                    <a:pt x="588" y="1331"/>
                  </a:moveTo>
                  <a:lnTo>
                    <a:pt x="588" y="1329"/>
                  </a:lnTo>
                  <a:lnTo>
                    <a:pt x="589" y="1331"/>
                  </a:lnTo>
                  <a:lnTo>
                    <a:pt x="588" y="1331"/>
                  </a:lnTo>
                  <a:close/>
                  <a:moveTo>
                    <a:pt x="425" y="1111"/>
                  </a:moveTo>
                  <a:lnTo>
                    <a:pt x="426" y="1113"/>
                  </a:lnTo>
                  <a:lnTo>
                    <a:pt x="425" y="1111"/>
                  </a:lnTo>
                  <a:close/>
                  <a:moveTo>
                    <a:pt x="56" y="1576"/>
                  </a:moveTo>
                  <a:lnTo>
                    <a:pt x="57" y="1576"/>
                  </a:lnTo>
                  <a:lnTo>
                    <a:pt x="56" y="1576"/>
                  </a:lnTo>
                  <a:close/>
                  <a:moveTo>
                    <a:pt x="557" y="1381"/>
                  </a:moveTo>
                  <a:lnTo>
                    <a:pt x="555" y="1381"/>
                  </a:lnTo>
                  <a:lnTo>
                    <a:pt x="557" y="1381"/>
                  </a:lnTo>
                  <a:close/>
                  <a:moveTo>
                    <a:pt x="46" y="1590"/>
                  </a:moveTo>
                  <a:lnTo>
                    <a:pt x="44" y="1590"/>
                  </a:lnTo>
                  <a:lnTo>
                    <a:pt x="46" y="1590"/>
                  </a:lnTo>
                  <a:close/>
                  <a:moveTo>
                    <a:pt x="467" y="1513"/>
                  </a:moveTo>
                  <a:lnTo>
                    <a:pt x="469" y="1515"/>
                  </a:lnTo>
                  <a:lnTo>
                    <a:pt x="467" y="1515"/>
                  </a:lnTo>
                  <a:lnTo>
                    <a:pt x="467" y="1513"/>
                  </a:lnTo>
                  <a:close/>
                  <a:moveTo>
                    <a:pt x="52" y="1642"/>
                  </a:moveTo>
                  <a:lnTo>
                    <a:pt x="52" y="1643"/>
                  </a:lnTo>
                  <a:lnTo>
                    <a:pt x="52" y="1642"/>
                  </a:lnTo>
                  <a:close/>
                  <a:moveTo>
                    <a:pt x="518" y="1241"/>
                  </a:moveTo>
                  <a:lnTo>
                    <a:pt x="518" y="1243"/>
                  </a:lnTo>
                  <a:lnTo>
                    <a:pt x="518" y="1241"/>
                  </a:lnTo>
                  <a:close/>
                  <a:moveTo>
                    <a:pt x="617" y="763"/>
                  </a:moveTo>
                  <a:lnTo>
                    <a:pt x="618" y="763"/>
                  </a:lnTo>
                  <a:lnTo>
                    <a:pt x="617" y="763"/>
                  </a:lnTo>
                  <a:close/>
                  <a:moveTo>
                    <a:pt x="586" y="1365"/>
                  </a:moveTo>
                  <a:lnTo>
                    <a:pt x="584" y="1365"/>
                  </a:lnTo>
                  <a:lnTo>
                    <a:pt x="586" y="1365"/>
                  </a:lnTo>
                  <a:close/>
                  <a:moveTo>
                    <a:pt x="428" y="1136"/>
                  </a:moveTo>
                  <a:lnTo>
                    <a:pt x="430" y="1136"/>
                  </a:lnTo>
                  <a:lnTo>
                    <a:pt x="428" y="1136"/>
                  </a:lnTo>
                  <a:close/>
                  <a:moveTo>
                    <a:pt x="566" y="1398"/>
                  </a:moveTo>
                  <a:lnTo>
                    <a:pt x="566" y="1396"/>
                  </a:lnTo>
                  <a:lnTo>
                    <a:pt x="566" y="1398"/>
                  </a:lnTo>
                  <a:close/>
                  <a:moveTo>
                    <a:pt x="558" y="1383"/>
                  </a:moveTo>
                  <a:lnTo>
                    <a:pt x="558" y="1385"/>
                  </a:lnTo>
                  <a:lnTo>
                    <a:pt x="558" y="1383"/>
                  </a:lnTo>
                  <a:close/>
                  <a:moveTo>
                    <a:pt x="565" y="1385"/>
                  </a:moveTo>
                  <a:lnTo>
                    <a:pt x="565" y="1383"/>
                  </a:lnTo>
                  <a:lnTo>
                    <a:pt x="566" y="1383"/>
                  </a:lnTo>
                  <a:lnTo>
                    <a:pt x="565" y="1385"/>
                  </a:lnTo>
                  <a:close/>
                  <a:moveTo>
                    <a:pt x="534" y="1391"/>
                  </a:moveTo>
                  <a:lnTo>
                    <a:pt x="534" y="1389"/>
                  </a:lnTo>
                  <a:lnTo>
                    <a:pt x="534" y="1391"/>
                  </a:lnTo>
                  <a:close/>
                  <a:moveTo>
                    <a:pt x="64" y="1689"/>
                  </a:moveTo>
                  <a:lnTo>
                    <a:pt x="65" y="1689"/>
                  </a:lnTo>
                  <a:lnTo>
                    <a:pt x="64" y="1689"/>
                  </a:lnTo>
                  <a:close/>
                  <a:moveTo>
                    <a:pt x="584" y="1324"/>
                  </a:moveTo>
                  <a:lnTo>
                    <a:pt x="584" y="1323"/>
                  </a:lnTo>
                  <a:lnTo>
                    <a:pt x="584" y="1324"/>
                  </a:lnTo>
                  <a:close/>
                  <a:moveTo>
                    <a:pt x="454" y="1513"/>
                  </a:moveTo>
                  <a:lnTo>
                    <a:pt x="456" y="1513"/>
                  </a:lnTo>
                  <a:lnTo>
                    <a:pt x="454" y="1513"/>
                  </a:lnTo>
                  <a:close/>
                  <a:moveTo>
                    <a:pt x="12" y="1479"/>
                  </a:moveTo>
                  <a:lnTo>
                    <a:pt x="13" y="1479"/>
                  </a:lnTo>
                  <a:lnTo>
                    <a:pt x="12" y="1479"/>
                  </a:lnTo>
                  <a:close/>
                  <a:moveTo>
                    <a:pt x="5" y="1500"/>
                  </a:moveTo>
                  <a:lnTo>
                    <a:pt x="5" y="1498"/>
                  </a:lnTo>
                  <a:lnTo>
                    <a:pt x="5" y="1500"/>
                  </a:lnTo>
                  <a:close/>
                  <a:moveTo>
                    <a:pt x="38" y="1604"/>
                  </a:moveTo>
                  <a:lnTo>
                    <a:pt x="39" y="1604"/>
                  </a:lnTo>
                  <a:lnTo>
                    <a:pt x="39" y="1606"/>
                  </a:lnTo>
                  <a:lnTo>
                    <a:pt x="38" y="1604"/>
                  </a:lnTo>
                  <a:close/>
                  <a:moveTo>
                    <a:pt x="448" y="1598"/>
                  </a:moveTo>
                  <a:lnTo>
                    <a:pt x="449" y="1598"/>
                  </a:lnTo>
                  <a:lnTo>
                    <a:pt x="448" y="1598"/>
                  </a:lnTo>
                  <a:close/>
                  <a:moveTo>
                    <a:pt x="438" y="1599"/>
                  </a:moveTo>
                  <a:lnTo>
                    <a:pt x="438" y="1601"/>
                  </a:lnTo>
                  <a:lnTo>
                    <a:pt x="438" y="1599"/>
                  </a:lnTo>
                  <a:close/>
                  <a:moveTo>
                    <a:pt x="589" y="1315"/>
                  </a:moveTo>
                  <a:lnTo>
                    <a:pt x="589" y="1313"/>
                  </a:lnTo>
                  <a:lnTo>
                    <a:pt x="589" y="1315"/>
                  </a:lnTo>
                  <a:close/>
                  <a:moveTo>
                    <a:pt x="522" y="1446"/>
                  </a:moveTo>
                  <a:lnTo>
                    <a:pt x="522" y="1445"/>
                  </a:lnTo>
                  <a:lnTo>
                    <a:pt x="522" y="1446"/>
                  </a:lnTo>
                  <a:close/>
                  <a:moveTo>
                    <a:pt x="441" y="1510"/>
                  </a:moveTo>
                  <a:lnTo>
                    <a:pt x="443" y="1510"/>
                  </a:lnTo>
                  <a:lnTo>
                    <a:pt x="441" y="1510"/>
                  </a:lnTo>
                  <a:close/>
                  <a:moveTo>
                    <a:pt x="444" y="1632"/>
                  </a:moveTo>
                  <a:lnTo>
                    <a:pt x="443" y="1632"/>
                  </a:lnTo>
                  <a:lnTo>
                    <a:pt x="443" y="1630"/>
                  </a:lnTo>
                  <a:lnTo>
                    <a:pt x="444" y="1630"/>
                  </a:lnTo>
                  <a:lnTo>
                    <a:pt x="444" y="1632"/>
                  </a:lnTo>
                  <a:close/>
                  <a:moveTo>
                    <a:pt x="456" y="1570"/>
                  </a:moveTo>
                  <a:lnTo>
                    <a:pt x="457" y="1570"/>
                  </a:lnTo>
                  <a:lnTo>
                    <a:pt x="457" y="1568"/>
                  </a:lnTo>
                  <a:lnTo>
                    <a:pt x="457" y="1570"/>
                  </a:lnTo>
                  <a:lnTo>
                    <a:pt x="456" y="1570"/>
                  </a:lnTo>
                  <a:close/>
                  <a:moveTo>
                    <a:pt x="576" y="1355"/>
                  </a:moveTo>
                  <a:lnTo>
                    <a:pt x="576" y="1357"/>
                  </a:lnTo>
                  <a:lnTo>
                    <a:pt x="576" y="1355"/>
                  </a:lnTo>
                  <a:close/>
                  <a:moveTo>
                    <a:pt x="596" y="1323"/>
                  </a:moveTo>
                  <a:lnTo>
                    <a:pt x="596" y="1321"/>
                  </a:lnTo>
                  <a:lnTo>
                    <a:pt x="596" y="1323"/>
                  </a:lnTo>
                  <a:close/>
                  <a:moveTo>
                    <a:pt x="444" y="1685"/>
                  </a:moveTo>
                  <a:lnTo>
                    <a:pt x="444" y="1684"/>
                  </a:lnTo>
                  <a:lnTo>
                    <a:pt x="444" y="1685"/>
                  </a:lnTo>
                  <a:close/>
                  <a:moveTo>
                    <a:pt x="456" y="1537"/>
                  </a:moveTo>
                  <a:lnTo>
                    <a:pt x="456" y="1536"/>
                  </a:lnTo>
                  <a:lnTo>
                    <a:pt x="456" y="1537"/>
                  </a:lnTo>
                  <a:close/>
                  <a:moveTo>
                    <a:pt x="493" y="1484"/>
                  </a:moveTo>
                  <a:lnTo>
                    <a:pt x="495" y="1484"/>
                  </a:lnTo>
                  <a:lnTo>
                    <a:pt x="493" y="1484"/>
                  </a:lnTo>
                  <a:close/>
                  <a:moveTo>
                    <a:pt x="469" y="1741"/>
                  </a:moveTo>
                  <a:lnTo>
                    <a:pt x="470" y="1741"/>
                  </a:lnTo>
                  <a:lnTo>
                    <a:pt x="470" y="1742"/>
                  </a:lnTo>
                  <a:lnTo>
                    <a:pt x="469" y="1741"/>
                  </a:lnTo>
                  <a:close/>
                  <a:moveTo>
                    <a:pt x="674" y="425"/>
                  </a:moveTo>
                  <a:lnTo>
                    <a:pt x="675" y="425"/>
                  </a:lnTo>
                  <a:lnTo>
                    <a:pt x="674" y="425"/>
                  </a:lnTo>
                  <a:close/>
                  <a:moveTo>
                    <a:pt x="438" y="1510"/>
                  </a:moveTo>
                  <a:lnTo>
                    <a:pt x="440" y="1510"/>
                  </a:lnTo>
                  <a:lnTo>
                    <a:pt x="438" y="1510"/>
                  </a:lnTo>
                  <a:close/>
                  <a:moveTo>
                    <a:pt x="573" y="1341"/>
                  </a:moveTo>
                  <a:lnTo>
                    <a:pt x="571" y="1341"/>
                  </a:lnTo>
                  <a:lnTo>
                    <a:pt x="573" y="1341"/>
                  </a:lnTo>
                  <a:close/>
                  <a:moveTo>
                    <a:pt x="433" y="1614"/>
                  </a:moveTo>
                  <a:lnTo>
                    <a:pt x="433" y="1612"/>
                  </a:lnTo>
                  <a:lnTo>
                    <a:pt x="433" y="1614"/>
                  </a:lnTo>
                  <a:close/>
                  <a:moveTo>
                    <a:pt x="573" y="1362"/>
                  </a:moveTo>
                  <a:lnTo>
                    <a:pt x="573" y="1363"/>
                  </a:lnTo>
                  <a:lnTo>
                    <a:pt x="573" y="1362"/>
                  </a:lnTo>
                  <a:lnTo>
                    <a:pt x="574" y="1362"/>
                  </a:lnTo>
                  <a:lnTo>
                    <a:pt x="573" y="1362"/>
                  </a:lnTo>
                  <a:close/>
                  <a:moveTo>
                    <a:pt x="54" y="1671"/>
                  </a:moveTo>
                  <a:lnTo>
                    <a:pt x="54" y="1669"/>
                  </a:lnTo>
                  <a:lnTo>
                    <a:pt x="54" y="1671"/>
                  </a:lnTo>
                  <a:close/>
                  <a:moveTo>
                    <a:pt x="529" y="1461"/>
                  </a:moveTo>
                  <a:lnTo>
                    <a:pt x="531" y="1459"/>
                  </a:lnTo>
                  <a:lnTo>
                    <a:pt x="531" y="1461"/>
                  </a:lnTo>
                  <a:lnTo>
                    <a:pt x="529" y="1461"/>
                  </a:lnTo>
                  <a:close/>
                  <a:moveTo>
                    <a:pt x="61" y="1651"/>
                  </a:moveTo>
                  <a:lnTo>
                    <a:pt x="62" y="1651"/>
                  </a:lnTo>
                  <a:lnTo>
                    <a:pt x="61" y="1653"/>
                  </a:lnTo>
                  <a:lnTo>
                    <a:pt x="61" y="1651"/>
                  </a:lnTo>
                  <a:close/>
                  <a:moveTo>
                    <a:pt x="574" y="1402"/>
                  </a:moveTo>
                  <a:lnTo>
                    <a:pt x="574" y="1401"/>
                  </a:lnTo>
                  <a:lnTo>
                    <a:pt x="574" y="1402"/>
                  </a:lnTo>
                  <a:close/>
                  <a:moveTo>
                    <a:pt x="563" y="1432"/>
                  </a:moveTo>
                  <a:lnTo>
                    <a:pt x="563" y="1433"/>
                  </a:lnTo>
                  <a:lnTo>
                    <a:pt x="563" y="1432"/>
                  </a:lnTo>
                  <a:close/>
                  <a:moveTo>
                    <a:pt x="453" y="1537"/>
                  </a:moveTo>
                  <a:lnTo>
                    <a:pt x="454" y="1537"/>
                  </a:lnTo>
                  <a:lnTo>
                    <a:pt x="453" y="1537"/>
                  </a:lnTo>
                  <a:close/>
                  <a:moveTo>
                    <a:pt x="542" y="1237"/>
                  </a:moveTo>
                  <a:lnTo>
                    <a:pt x="540" y="1237"/>
                  </a:lnTo>
                  <a:lnTo>
                    <a:pt x="542" y="1237"/>
                  </a:lnTo>
                  <a:close/>
                  <a:moveTo>
                    <a:pt x="472" y="895"/>
                  </a:moveTo>
                  <a:lnTo>
                    <a:pt x="470" y="895"/>
                  </a:lnTo>
                  <a:lnTo>
                    <a:pt x="472" y="895"/>
                  </a:lnTo>
                  <a:close/>
                  <a:moveTo>
                    <a:pt x="581" y="1411"/>
                  </a:moveTo>
                  <a:lnTo>
                    <a:pt x="581" y="1409"/>
                  </a:lnTo>
                  <a:lnTo>
                    <a:pt x="581" y="1411"/>
                  </a:lnTo>
                  <a:close/>
                  <a:moveTo>
                    <a:pt x="10" y="1539"/>
                  </a:moveTo>
                  <a:lnTo>
                    <a:pt x="9" y="1539"/>
                  </a:lnTo>
                  <a:lnTo>
                    <a:pt x="10" y="1539"/>
                  </a:lnTo>
                  <a:close/>
                  <a:moveTo>
                    <a:pt x="4" y="1500"/>
                  </a:moveTo>
                  <a:lnTo>
                    <a:pt x="5" y="1500"/>
                  </a:lnTo>
                  <a:lnTo>
                    <a:pt x="4" y="1500"/>
                  </a:lnTo>
                  <a:lnTo>
                    <a:pt x="5" y="1500"/>
                  </a:lnTo>
                  <a:lnTo>
                    <a:pt x="4" y="1500"/>
                  </a:lnTo>
                  <a:close/>
                  <a:moveTo>
                    <a:pt x="547" y="1277"/>
                  </a:moveTo>
                  <a:lnTo>
                    <a:pt x="548" y="1277"/>
                  </a:lnTo>
                  <a:lnTo>
                    <a:pt x="547" y="1277"/>
                  </a:lnTo>
                  <a:close/>
                  <a:moveTo>
                    <a:pt x="721" y="427"/>
                  </a:moveTo>
                  <a:lnTo>
                    <a:pt x="721" y="428"/>
                  </a:lnTo>
                  <a:lnTo>
                    <a:pt x="721" y="427"/>
                  </a:lnTo>
                  <a:close/>
                  <a:moveTo>
                    <a:pt x="448" y="1604"/>
                  </a:moveTo>
                  <a:lnTo>
                    <a:pt x="449" y="1604"/>
                  </a:lnTo>
                  <a:lnTo>
                    <a:pt x="448" y="1604"/>
                  </a:lnTo>
                  <a:close/>
                  <a:moveTo>
                    <a:pt x="692" y="443"/>
                  </a:moveTo>
                  <a:lnTo>
                    <a:pt x="693" y="443"/>
                  </a:lnTo>
                  <a:lnTo>
                    <a:pt x="692" y="443"/>
                  </a:lnTo>
                  <a:close/>
                  <a:moveTo>
                    <a:pt x="690" y="459"/>
                  </a:moveTo>
                  <a:lnTo>
                    <a:pt x="690" y="461"/>
                  </a:lnTo>
                  <a:lnTo>
                    <a:pt x="690" y="459"/>
                  </a:lnTo>
                  <a:close/>
                  <a:moveTo>
                    <a:pt x="550" y="1417"/>
                  </a:moveTo>
                  <a:lnTo>
                    <a:pt x="550" y="1415"/>
                  </a:lnTo>
                  <a:lnTo>
                    <a:pt x="550" y="1417"/>
                  </a:lnTo>
                  <a:close/>
                  <a:moveTo>
                    <a:pt x="435" y="1760"/>
                  </a:moveTo>
                  <a:lnTo>
                    <a:pt x="436" y="1760"/>
                  </a:lnTo>
                  <a:lnTo>
                    <a:pt x="435" y="1760"/>
                  </a:lnTo>
                  <a:close/>
                  <a:moveTo>
                    <a:pt x="552" y="1414"/>
                  </a:moveTo>
                  <a:lnTo>
                    <a:pt x="553" y="1414"/>
                  </a:lnTo>
                  <a:lnTo>
                    <a:pt x="552" y="1414"/>
                  </a:lnTo>
                  <a:close/>
                  <a:moveTo>
                    <a:pt x="70" y="1677"/>
                  </a:moveTo>
                  <a:lnTo>
                    <a:pt x="70" y="1676"/>
                  </a:lnTo>
                  <a:lnTo>
                    <a:pt x="70" y="1677"/>
                  </a:lnTo>
                  <a:close/>
                  <a:moveTo>
                    <a:pt x="448" y="1607"/>
                  </a:moveTo>
                  <a:lnTo>
                    <a:pt x="449" y="1609"/>
                  </a:lnTo>
                  <a:lnTo>
                    <a:pt x="448" y="1609"/>
                  </a:lnTo>
                  <a:lnTo>
                    <a:pt x="448" y="1607"/>
                  </a:lnTo>
                  <a:close/>
                  <a:moveTo>
                    <a:pt x="586" y="1334"/>
                  </a:moveTo>
                  <a:lnTo>
                    <a:pt x="588" y="1334"/>
                  </a:lnTo>
                  <a:lnTo>
                    <a:pt x="586" y="1334"/>
                  </a:lnTo>
                  <a:close/>
                  <a:moveTo>
                    <a:pt x="17" y="1531"/>
                  </a:moveTo>
                  <a:lnTo>
                    <a:pt x="18" y="1529"/>
                  </a:lnTo>
                  <a:lnTo>
                    <a:pt x="18" y="1531"/>
                  </a:lnTo>
                  <a:lnTo>
                    <a:pt x="17" y="1531"/>
                  </a:lnTo>
                  <a:close/>
                  <a:moveTo>
                    <a:pt x="448" y="1658"/>
                  </a:moveTo>
                  <a:lnTo>
                    <a:pt x="449" y="1658"/>
                  </a:lnTo>
                  <a:lnTo>
                    <a:pt x="448" y="1658"/>
                  </a:lnTo>
                  <a:close/>
                  <a:moveTo>
                    <a:pt x="527" y="1443"/>
                  </a:moveTo>
                  <a:lnTo>
                    <a:pt x="526" y="1443"/>
                  </a:lnTo>
                  <a:lnTo>
                    <a:pt x="527" y="1443"/>
                  </a:lnTo>
                  <a:close/>
                  <a:moveTo>
                    <a:pt x="623" y="615"/>
                  </a:moveTo>
                  <a:lnTo>
                    <a:pt x="623" y="614"/>
                  </a:lnTo>
                  <a:lnTo>
                    <a:pt x="625" y="615"/>
                  </a:lnTo>
                  <a:lnTo>
                    <a:pt x="623" y="615"/>
                  </a:lnTo>
                  <a:close/>
                  <a:moveTo>
                    <a:pt x="430" y="1607"/>
                  </a:moveTo>
                  <a:lnTo>
                    <a:pt x="431" y="1607"/>
                  </a:lnTo>
                  <a:lnTo>
                    <a:pt x="430" y="1607"/>
                  </a:lnTo>
                  <a:close/>
                  <a:moveTo>
                    <a:pt x="586" y="1375"/>
                  </a:moveTo>
                  <a:lnTo>
                    <a:pt x="588" y="1375"/>
                  </a:lnTo>
                  <a:lnTo>
                    <a:pt x="588" y="1376"/>
                  </a:lnTo>
                  <a:lnTo>
                    <a:pt x="586" y="1375"/>
                  </a:lnTo>
                  <a:close/>
                  <a:moveTo>
                    <a:pt x="555" y="1424"/>
                  </a:moveTo>
                  <a:lnTo>
                    <a:pt x="555" y="1425"/>
                  </a:lnTo>
                  <a:lnTo>
                    <a:pt x="555" y="1424"/>
                  </a:lnTo>
                  <a:close/>
                  <a:moveTo>
                    <a:pt x="605" y="1376"/>
                  </a:moveTo>
                  <a:lnTo>
                    <a:pt x="604" y="1376"/>
                  </a:lnTo>
                  <a:lnTo>
                    <a:pt x="605" y="1376"/>
                  </a:lnTo>
                  <a:close/>
                  <a:moveTo>
                    <a:pt x="446" y="1590"/>
                  </a:moveTo>
                  <a:lnTo>
                    <a:pt x="448" y="1590"/>
                  </a:lnTo>
                  <a:lnTo>
                    <a:pt x="446" y="1590"/>
                  </a:lnTo>
                  <a:close/>
                  <a:moveTo>
                    <a:pt x="565" y="1344"/>
                  </a:moveTo>
                  <a:lnTo>
                    <a:pt x="566" y="1344"/>
                  </a:lnTo>
                  <a:lnTo>
                    <a:pt x="565" y="1344"/>
                  </a:lnTo>
                  <a:lnTo>
                    <a:pt x="566" y="1344"/>
                  </a:lnTo>
                  <a:lnTo>
                    <a:pt x="565" y="1344"/>
                  </a:lnTo>
                  <a:close/>
                  <a:moveTo>
                    <a:pt x="75" y="1702"/>
                  </a:moveTo>
                  <a:lnTo>
                    <a:pt x="77" y="1702"/>
                  </a:lnTo>
                  <a:lnTo>
                    <a:pt x="75" y="1702"/>
                  </a:lnTo>
                  <a:close/>
                  <a:moveTo>
                    <a:pt x="435" y="1116"/>
                  </a:moveTo>
                  <a:lnTo>
                    <a:pt x="435" y="1118"/>
                  </a:lnTo>
                  <a:lnTo>
                    <a:pt x="435" y="1116"/>
                  </a:lnTo>
                  <a:close/>
                  <a:moveTo>
                    <a:pt x="448" y="1603"/>
                  </a:moveTo>
                  <a:lnTo>
                    <a:pt x="449" y="1603"/>
                  </a:lnTo>
                  <a:lnTo>
                    <a:pt x="448" y="1603"/>
                  </a:lnTo>
                  <a:close/>
                  <a:moveTo>
                    <a:pt x="48" y="1637"/>
                  </a:moveTo>
                  <a:lnTo>
                    <a:pt x="49" y="1637"/>
                  </a:lnTo>
                  <a:lnTo>
                    <a:pt x="48" y="1637"/>
                  </a:lnTo>
                  <a:close/>
                  <a:moveTo>
                    <a:pt x="22" y="1539"/>
                  </a:moveTo>
                  <a:lnTo>
                    <a:pt x="22" y="1537"/>
                  </a:lnTo>
                  <a:lnTo>
                    <a:pt x="22" y="1539"/>
                  </a:lnTo>
                  <a:close/>
                  <a:moveTo>
                    <a:pt x="462" y="1494"/>
                  </a:moveTo>
                  <a:lnTo>
                    <a:pt x="462" y="1492"/>
                  </a:lnTo>
                  <a:lnTo>
                    <a:pt x="464" y="1494"/>
                  </a:lnTo>
                  <a:lnTo>
                    <a:pt x="462" y="1494"/>
                  </a:lnTo>
                  <a:close/>
                  <a:moveTo>
                    <a:pt x="540" y="1235"/>
                  </a:moveTo>
                  <a:lnTo>
                    <a:pt x="540" y="1237"/>
                  </a:lnTo>
                  <a:lnTo>
                    <a:pt x="540" y="1235"/>
                  </a:lnTo>
                  <a:lnTo>
                    <a:pt x="540" y="1237"/>
                  </a:lnTo>
                  <a:lnTo>
                    <a:pt x="540" y="1235"/>
                  </a:lnTo>
                  <a:close/>
                  <a:moveTo>
                    <a:pt x="453" y="1516"/>
                  </a:moveTo>
                  <a:lnTo>
                    <a:pt x="454" y="1516"/>
                  </a:lnTo>
                  <a:lnTo>
                    <a:pt x="453" y="1516"/>
                  </a:lnTo>
                  <a:close/>
                  <a:moveTo>
                    <a:pt x="65" y="1655"/>
                  </a:moveTo>
                  <a:lnTo>
                    <a:pt x="64" y="1655"/>
                  </a:lnTo>
                  <a:lnTo>
                    <a:pt x="65" y="1655"/>
                  </a:lnTo>
                  <a:close/>
                  <a:moveTo>
                    <a:pt x="584" y="1311"/>
                  </a:moveTo>
                  <a:lnTo>
                    <a:pt x="584" y="1310"/>
                  </a:lnTo>
                  <a:lnTo>
                    <a:pt x="584" y="1311"/>
                  </a:lnTo>
                  <a:close/>
                  <a:moveTo>
                    <a:pt x="636" y="662"/>
                  </a:moveTo>
                  <a:lnTo>
                    <a:pt x="636" y="664"/>
                  </a:lnTo>
                  <a:lnTo>
                    <a:pt x="635" y="662"/>
                  </a:lnTo>
                  <a:lnTo>
                    <a:pt x="636" y="662"/>
                  </a:lnTo>
                  <a:close/>
                  <a:moveTo>
                    <a:pt x="584" y="1381"/>
                  </a:moveTo>
                  <a:lnTo>
                    <a:pt x="583" y="1381"/>
                  </a:lnTo>
                  <a:lnTo>
                    <a:pt x="584" y="1381"/>
                  </a:lnTo>
                  <a:close/>
                  <a:moveTo>
                    <a:pt x="488" y="1495"/>
                  </a:moveTo>
                  <a:lnTo>
                    <a:pt x="488" y="1494"/>
                  </a:lnTo>
                  <a:lnTo>
                    <a:pt x="488" y="1495"/>
                  </a:lnTo>
                  <a:close/>
                  <a:moveTo>
                    <a:pt x="594" y="1398"/>
                  </a:moveTo>
                  <a:lnTo>
                    <a:pt x="594" y="1396"/>
                  </a:lnTo>
                  <a:lnTo>
                    <a:pt x="594" y="1398"/>
                  </a:lnTo>
                  <a:close/>
                  <a:moveTo>
                    <a:pt x="539" y="1274"/>
                  </a:moveTo>
                  <a:lnTo>
                    <a:pt x="540" y="1274"/>
                  </a:lnTo>
                  <a:lnTo>
                    <a:pt x="539" y="1274"/>
                  </a:lnTo>
                  <a:close/>
                  <a:moveTo>
                    <a:pt x="615" y="610"/>
                  </a:moveTo>
                  <a:lnTo>
                    <a:pt x="617" y="610"/>
                  </a:lnTo>
                  <a:lnTo>
                    <a:pt x="615" y="610"/>
                  </a:lnTo>
                  <a:close/>
                  <a:moveTo>
                    <a:pt x="498" y="1227"/>
                  </a:moveTo>
                  <a:lnTo>
                    <a:pt x="498" y="1225"/>
                  </a:lnTo>
                  <a:lnTo>
                    <a:pt x="498" y="1227"/>
                  </a:lnTo>
                  <a:close/>
                  <a:moveTo>
                    <a:pt x="583" y="1389"/>
                  </a:moveTo>
                  <a:lnTo>
                    <a:pt x="583" y="1391"/>
                  </a:lnTo>
                  <a:lnTo>
                    <a:pt x="583" y="1389"/>
                  </a:lnTo>
                  <a:close/>
                  <a:moveTo>
                    <a:pt x="23" y="1529"/>
                  </a:moveTo>
                  <a:lnTo>
                    <a:pt x="23" y="1528"/>
                  </a:lnTo>
                  <a:lnTo>
                    <a:pt x="23" y="1529"/>
                  </a:lnTo>
                  <a:close/>
                  <a:moveTo>
                    <a:pt x="457" y="1552"/>
                  </a:moveTo>
                  <a:lnTo>
                    <a:pt x="459" y="1552"/>
                  </a:lnTo>
                  <a:lnTo>
                    <a:pt x="457" y="1552"/>
                  </a:lnTo>
                  <a:close/>
                  <a:moveTo>
                    <a:pt x="438" y="1544"/>
                  </a:moveTo>
                  <a:lnTo>
                    <a:pt x="438" y="1542"/>
                  </a:lnTo>
                  <a:lnTo>
                    <a:pt x="438" y="1544"/>
                  </a:lnTo>
                  <a:close/>
                  <a:moveTo>
                    <a:pt x="438" y="1755"/>
                  </a:moveTo>
                  <a:lnTo>
                    <a:pt x="440" y="1755"/>
                  </a:lnTo>
                  <a:lnTo>
                    <a:pt x="440" y="1757"/>
                  </a:lnTo>
                  <a:lnTo>
                    <a:pt x="438" y="1757"/>
                  </a:lnTo>
                  <a:lnTo>
                    <a:pt x="438" y="1755"/>
                  </a:lnTo>
                  <a:close/>
                  <a:moveTo>
                    <a:pt x="627" y="739"/>
                  </a:moveTo>
                  <a:lnTo>
                    <a:pt x="625" y="739"/>
                  </a:lnTo>
                  <a:lnTo>
                    <a:pt x="627" y="739"/>
                  </a:lnTo>
                  <a:close/>
                  <a:moveTo>
                    <a:pt x="453" y="1619"/>
                  </a:moveTo>
                  <a:lnTo>
                    <a:pt x="453" y="1620"/>
                  </a:lnTo>
                  <a:lnTo>
                    <a:pt x="453" y="1619"/>
                  </a:lnTo>
                  <a:close/>
                  <a:moveTo>
                    <a:pt x="59" y="1646"/>
                  </a:moveTo>
                  <a:lnTo>
                    <a:pt x="61" y="1646"/>
                  </a:lnTo>
                  <a:lnTo>
                    <a:pt x="61" y="1648"/>
                  </a:lnTo>
                  <a:lnTo>
                    <a:pt x="59" y="1646"/>
                  </a:lnTo>
                  <a:close/>
                  <a:moveTo>
                    <a:pt x="602" y="1349"/>
                  </a:moveTo>
                  <a:lnTo>
                    <a:pt x="601" y="1349"/>
                  </a:lnTo>
                  <a:lnTo>
                    <a:pt x="602" y="1349"/>
                  </a:lnTo>
                  <a:close/>
                  <a:moveTo>
                    <a:pt x="558" y="1432"/>
                  </a:moveTo>
                  <a:lnTo>
                    <a:pt x="557" y="1432"/>
                  </a:lnTo>
                  <a:lnTo>
                    <a:pt x="558" y="1432"/>
                  </a:lnTo>
                  <a:close/>
                  <a:moveTo>
                    <a:pt x="430" y="1119"/>
                  </a:moveTo>
                  <a:lnTo>
                    <a:pt x="431" y="1119"/>
                  </a:lnTo>
                  <a:lnTo>
                    <a:pt x="430" y="1119"/>
                  </a:lnTo>
                  <a:close/>
                  <a:moveTo>
                    <a:pt x="335" y="1874"/>
                  </a:moveTo>
                  <a:lnTo>
                    <a:pt x="335" y="1876"/>
                  </a:lnTo>
                  <a:lnTo>
                    <a:pt x="335" y="1874"/>
                  </a:lnTo>
                  <a:close/>
                  <a:moveTo>
                    <a:pt x="542" y="1277"/>
                  </a:moveTo>
                  <a:lnTo>
                    <a:pt x="542" y="1279"/>
                  </a:lnTo>
                  <a:lnTo>
                    <a:pt x="542" y="1277"/>
                  </a:lnTo>
                  <a:close/>
                  <a:moveTo>
                    <a:pt x="17" y="1536"/>
                  </a:moveTo>
                  <a:lnTo>
                    <a:pt x="18" y="1536"/>
                  </a:lnTo>
                  <a:lnTo>
                    <a:pt x="18" y="1537"/>
                  </a:lnTo>
                  <a:lnTo>
                    <a:pt x="17" y="1537"/>
                  </a:lnTo>
                  <a:lnTo>
                    <a:pt x="17" y="1536"/>
                  </a:lnTo>
                  <a:close/>
                  <a:moveTo>
                    <a:pt x="441" y="1619"/>
                  </a:moveTo>
                  <a:lnTo>
                    <a:pt x="441" y="1617"/>
                  </a:lnTo>
                  <a:lnTo>
                    <a:pt x="443" y="1617"/>
                  </a:lnTo>
                  <a:lnTo>
                    <a:pt x="443" y="1619"/>
                  </a:lnTo>
                  <a:lnTo>
                    <a:pt x="441" y="1619"/>
                  </a:lnTo>
                  <a:close/>
                  <a:moveTo>
                    <a:pt x="592" y="1396"/>
                  </a:moveTo>
                  <a:lnTo>
                    <a:pt x="594" y="1394"/>
                  </a:lnTo>
                  <a:lnTo>
                    <a:pt x="594" y="1396"/>
                  </a:lnTo>
                  <a:lnTo>
                    <a:pt x="592" y="1396"/>
                  </a:lnTo>
                  <a:close/>
                  <a:moveTo>
                    <a:pt x="2" y="1495"/>
                  </a:moveTo>
                  <a:lnTo>
                    <a:pt x="4" y="1495"/>
                  </a:lnTo>
                  <a:lnTo>
                    <a:pt x="4" y="1497"/>
                  </a:lnTo>
                  <a:lnTo>
                    <a:pt x="2" y="1495"/>
                  </a:lnTo>
                  <a:close/>
                  <a:moveTo>
                    <a:pt x="557" y="1427"/>
                  </a:moveTo>
                  <a:lnTo>
                    <a:pt x="558" y="1425"/>
                  </a:lnTo>
                  <a:lnTo>
                    <a:pt x="557" y="1427"/>
                  </a:lnTo>
                  <a:close/>
                  <a:moveTo>
                    <a:pt x="685" y="456"/>
                  </a:moveTo>
                  <a:lnTo>
                    <a:pt x="687" y="456"/>
                  </a:lnTo>
                  <a:lnTo>
                    <a:pt x="687" y="458"/>
                  </a:lnTo>
                  <a:lnTo>
                    <a:pt x="685" y="456"/>
                  </a:lnTo>
                  <a:close/>
                  <a:moveTo>
                    <a:pt x="597" y="745"/>
                  </a:moveTo>
                  <a:lnTo>
                    <a:pt x="597" y="747"/>
                  </a:lnTo>
                  <a:lnTo>
                    <a:pt x="597" y="745"/>
                  </a:lnTo>
                  <a:close/>
                  <a:moveTo>
                    <a:pt x="667" y="480"/>
                  </a:moveTo>
                  <a:lnTo>
                    <a:pt x="666" y="480"/>
                  </a:lnTo>
                  <a:lnTo>
                    <a:pt x="667" y="480"/>
                  </a:lnTo>
                  <a:close/>
                  <a:moveTo>
                    <a:pt x="454" y="1524"/>
                  </a:moveTo>
                  <a:lnTo>
                    <a:pt x="456" y="1523"/>
                  </a:lnTo>
                  <a:lnTo>
                    <a:pt x="456" y="1524"/>
                  </a:lnTo>
                  <a:lnTo>
                    <a:pt x="454" y="1524"/>
                  </a:lnTo>
                  <a:close/>
                  <a:moveTo>
                    <a:pt x="627" y="620"/>
                  </a:moveTo>
                  <a:lnTo>
                    <a:pt x="628" y="620"/>
                  </a:lnTo>
                  <a:lnTo>
                    <a:pt x="627" y="620"/>
                  </a:lnTo>
                  <a:close/>
                  <a:moveTo>
                    <a:pt x="555" y="1445"/>
                  </a:moveTo>
                  <a:lnTo>
                    <a:pt x="555" y="1446"/>
                  </a:lnTo>
                  <a:lnTo>
                    <a:pt x="555" y="1445"/>
                  </a:lnTo>
                  <a:close/>
                  <a:moveTo>
                    <a:pt x="597" y="744"/>
                  </a:moveTo>
                  <a:lnTo>
                    <a:pt x="597" y="745"/>
                  </a:lnTo>
                  <a:lnTo>
                    <a:pt x="597" y="744"/>
                  </a:lnTo>
                  <a:close/>
                  <a:moveTo>
                    <a:pt x="449" y="1567"/>
                  </a:moveTo>
                  <a:lnTo>
                    <a:pt x="451" y="1567"/>
                  </a:lnTo>
                  <a:lnTo>
                    <a:pt x="449" y="1567"/>
                  </a:lnTo>
                  <a:close/>
                  <a:moveTo>
                    <a:pt x="573" y="1386"/>
                  </a:moveTo>
                  <a:lnTo>
                    <a:pt x="574" y="1386"/>
                  </a:lnTo>
                  <a:lnTo>
                    <a:pt x="573" y="1386"/>
                  </a:lnTo>
                  <a:close/>
                  <a:moveTo>
                    <a:pt x="558" y="1409"/>
                  </a:moveTo>
                  <a:lnTo>
                    <a:pt x="558" y="1411"/>
                  </a:lnTo>
                  <a:lnTo>
                    <a:pt x="558" y="1409"/>
                  </a:lnTo>
                  <a:close/>
                  <a:moveTo>
                    <a:pt x="436" y="1181"/>
                  </a:moveTo>
                  <a:lnTo>
                    <a:pt x="435" y="1181"/>
                  </a:lnTo>
                  <a:lnTo>
                    <a:pt x="436" y="1181"/>
                  </a:lnTo>
                  <a:close/>
                  <a:moveTo>
                    <a:pt x="464" y="1500"/>
                  </a:moveTo>
                  <a:lnTo>
                    <a:pt x="464" y="1502"/>
                  </a:lnTo>
                  <a:lnTo>
                    <a:pt x="464" y="1500"/>
                  </a:lnTo>
                  <a:close/>
                  <a:moveTo>
                    <a:pt x="553" y="1274"/>
                  </a:moveTo>
                  <a:lnTo>
                    <a:pt x="552" y="1274"/>
                  </a:lnTo>
                  <a:lnTo>
                    <a:pt x="553" y="1274"/>
                  </a:lnTo>
                  <a:close/>
                  <a:moveTo>
                    <a:pt x="57" y="1635"/>
                  </a:moveTo>
                  <a:lnTo>
                    <a:pt x="57" y="1633"/>
                  </a:lnTo>
                  <a:lnTo>
                    <a:pt x="57" y="1635"/>
                  </a:lnTo>
                  <a:close/>
                  <a:moveTo>
                    <a:pt x="539" y="1393"/>
                  </a:moveTo>
                  <a:lnTo>
                    <a:pt x="539" y="1391"/>
                  </a:lnTo>
                  <a:lnTo>
                    <a:pt x="539" y="1393"/>
                  </a:lnTo>
                  <a:close/>
                  <a:moveTo>
                    <a:pt x="518" y="1468"/>
                  </a:moveTo>
                  <a:lnTo>
                    <a:pt x="518" y="1466"/>
                  </a:lnTo>
                  <a:lnTo>
                    <a:pt x="518" y="1468"/>
                  </a:lnTo>
                  <a:close/>
                  <a:moveTo>
                    <a:pt x="571" y="773"/>
                  </a:moveTo>
                  <a:lnTo>
                    <a:pt x="571" y="775"/>
                  </a:lnTo>
                  <a:lnTo>
                    <a:pt x="570" y="773"/>
                  </a:lnTo>
                  <a:lnTo>
                    <a:pt x="571" y="773"/>
                  </a:lnTo>
                  <a:close/>
                  <a:moveTo>
                    <a:pt x="566" y="1360"/>
                  </a:moveTo>
                  <a:lnTo>
                    <a:pt x="568" y="1360"/>
                  </a:lnTo>
                  <a:lnTo>
                    <a:pt x="566" y="1360"/>
                  </a:lnTo>
                  <a:close/>
                  <a:moveTo>
                    <a:pt x="7" y="1542"/>
                  </a:moveTo>
                  <a:lnTo>
                    <a:pt x="7" y="1541"/>
                  </a:lnTo>
                  <a:lnTo>
                    <a:pt x="9" y="1541"/>
                  </a:lnTo>
                  <a:lnTo>
                    <a:pt x="7" y="1542"/>
                  </a:lnTo>
                  <a:close/>
                  <a:moveTo>
                    <a:pt x="441" y="1736"/>
                  </a:moveTo>
                  <a:lnTo>
                    <a:pt x="441" y="1738"/>
                  </a:lnTo>
                  <a:lnTo>
                    <a:pt x="441" y="1736"/>
                  </a:lnTo>
                  <a:close/>
                  <a:moveTo>
                    <a:pt x="537" y="806"/>
                  </a:moveTo>
                  <a:lnTo>
                    <a:pt x="539" y="806"/>
                  </a:lnTo>
                  <a:lnTo>
                    <a:pt x="537" y="806"/>
                  </a:lnTo>
                  <a:close/>
                  <a:moveTo>
                    <a:pt x="594" y="1321"/>
                  </a:moveTo>
                  <a:lnTo>
                    <a:pt x="596" y="1321"/>
                  </a:lnTo>
                  <a:lnTo>
                    <a:pt x="596" y="1323"/>
                  </a:lnTo>
                  <a:lnTo>
                    <a:pt x="594" y="1321"/>
                  </a:lnTo>
                  <a:close/>
                  <a:moveTo>
                    <a:pt x="61" y="1648"/>
                  </a:moveTo>
                  <a:lnTo>
                    <a:pt x="62" y="1650"/>
                  </a:lnTo>
                  <a:lnTo>
                    <a:pt x="61" y="1650"/>
                  </a:lnTo>
                  <a:lnTo>
                    <a:pt x="61" y="1648"/>
                  </a:lnTo>
                  <a:close/>
                  <a:moveTo>
                    <a:pt x="451" y="1546"/>
                  </a:moveTo>
                  <a:lnTo>
                    <a:pt x="453" y="1546"/>
                  </a:lnTo>
                  <a:lnTo>
                    <a:pt x="451" y="1546"/>
                  </a:lnTo>
                  <a:close/>
                  <a:moveTo>
                    <a:pt x="612" y="719"/>
                  </a:moveTo>
                  <a:lnTo>
                    <a:pt x="612" y="718"/>
                  </a:lnTo>
                  <a:lnTo>
                    <a:pt x="612" y="719"/>
                  </a:lnTo>
                  <a:close/>
                  <a:moveTo>
                    <a:pt x="440" y="1731"/>
                  </a:moveTo>
                  <a:lnTo>
                    <a:pt x="441" y="1731"/>
                  </a:lnTo>
                  <a:lnTo>
                    <a:pt x="441" y="1733"/>
                  </a:lnTo>
                  <a:lnTo>
                    <a:pt x="440" y="1731"/>
                  </a:lnTo>
                  <a:close/>
                  <a:moveTo>
                    <a:pt x="446" y="1645"/>
                  </a:moveTo>
                  <a:lnTo>
                    <a:pt x="448" y="1645"/>
                  </a:lnTo>
                  <a:lnTo>
                    <a:pt x="446" y="1645"/>
                  </a:lnTo>
                  <a:close/>
                  <a:moveTo>
                    <a:pt x="440" y="1515"/>
                  </a:moveTo>
                  <a:lnTo>
                    <a:pt x="441" y="1515"/>
                  </a:lnTo>
                  <a:lnTo>
                    <a:pt x="440" y="1515"/>
                  </a:lnTo>
                  <a:close/>
                  <a:moveTo>
                    <a:pt x="638" y="630"/>
                  </a:moveTo>
                  <a:lnTo>
                    <a:pt x="638" y="632"/>
                  </a:lnTo>
                  <a:lnTo>
                    <a:pt x="638" y="630"/>
                  </a:lnTo>
                  <a:close/>
                  <a:moveTo>
                    <a:pt x="557" y="1362"/>
                  </a:moveTo>
                  <a:lnTo>
                    <a:pt x="557" y="1360"/>
                  </a:lnTo>
                  <a:lnTo>
                    <a:pt x="557" y="1362"/>
                  </a:lnTo>
                  <a:close/>
                  <a:moveTo>
                    <a:pt x="752" y="425"/>
                  </a:moveTo>
                  <a:lnTo>
                    <a:pt x="752" y="423"/>
                  </a:lnTo>
                  <a:lnTo>
                    <a:pt x="752" y="425"/>
                  </a:lnTo>
                  <a:close/>
                  <a:moveTo>
                    <a:pt x="636" y="622"/>
                  </a:moveTo>
                  <a:lnTo>
                    <a:pt x="636" y="623"/>
                  </a:lnTo>
                  <a:lnTo>
                    <a:pt x="636" y="622"/>
                  </a:lnTo>
                  <a:close/>
                  <a:moveTo>
                    <a:pt x="477" y="1224"/>
                  </a:moveTo>
                  <a:lnTo>
                    <a:pt x="477" y="1225"/>
                  </a:lnTo>
                  <a:lnTo>
                    <a:pt x="477" y="1224"/>
                  </a:lnTo>
                  <a:close/>
                  <a:moveTo>
                    <a:pt x="62" y="1573"/>
                  </a:moveTo>
                  <a:lnTo>
                    <a:pt x="64" y="1573"/>
                  </a:lnTo>
                  <a:lnTo>
                    <a:pt x="64" y="1575"/>
                  </a:lnTo>
                  <a:lnTo>
                    <a:pt x="62" y="1575"/>
                  </a:lnTo>
                  <a:lnTo>
                    <a:pt x="62" y="1573"/>
                  </a:lnTo>
                  <a:close/>
                  <a:moveTo>
                    <a:pt x="602" y="1328"/>
                  </a:moveTo>
                  <a:lnTo>
                    <a:pt x="604" y="1328"/>
                  </a:lnTo>
                  <a:lnTo>
                    <a:pt x="604" y="1329"/>
                  </a:lnTo>
                  <a:lnTo>
                    <a:pt x="602" y="1328"/>
                  </a:lnTo>
                  <a:close/>
                  <a:moveTo>
                    <a:pt x="440" y="1617"/>
                  </a:moveTo>
                  <a:lnTo>
                    <a:pt x="440" y="1616"/>
                  </a:lnTo>
                  <a:lnTo>
                    <a:pt x="440" y="1617"/>
                  </a:lnTo>
                  <a:close/>
                  <a:moveTo>
                    <a:pt x="457" y="1563"/>
                  </a:moveTo>
                  <a:lnTo>
                    <a:pt x="457" y="1562"/>
                  </a:lnTo>
                  <a:lnTo>
                    <a:pt x="457" y="1563"/>
                  </a:lnTo>
                  <a:close/>
                  <a:moveTo>
                    <a:pt x="594" y="1396"/>
                  </a:moveTo>
                  <a:lnTo>
                    <a:pt x="594" y="1398"/>
                  </a:lnTo>
                  <a:lnTo>
                    <a:pt x="594" y="1396"/>
                  </a:lnTo>
                  <a:close/>
                  <a:moveTo>
                    <a:pt x="371" y="1866"/>
                  </a:moveTo>
                  <a:lnTo>
                    <a:pt x="371" y="1868"/>
                  </a:lnTo>
                  <a:lnTo>
                    <a:pt x="371" y="1866"/>
                  </a:lnTo>
                  <a:close/>
                  <a:moveTo>
                    <a:pt x="78" y="1692"/>
                  </a:moveTo>
                  <a:lnTo>
                    <a:pt x="80" y="1694"/>
                  </a:lnTo>
                  <a:lnTo>
                    <a:pt x="78" y="1694"/>
                  </a:lnTo>
                  <a:lnTo>
                    <a:pt x="78" y="1692"/>
                  </a:lnTo>
                  <a:close/>
                  <a:moveTo>
                    <a:pt x="579" y="765"/>
                  </a:moveTo>
                  <a:lnTo>
                    <a:pt x="581" y="765"/>
                  </a:lnTo>
                  <a:lnTo>
                    <a:pt x="581" y="767"/>
                  </a:lnTo>
                  <a:lnTo>
                    <a:pt x="579" y="765"/>
                  </a:lnTo>
                  <a:close/>
                  <a:moveTo>
                    <a:pt x="553" y="1433"/>
                  </a:moveTo>
                  <a:lnTo>
                    <a:pt x="555" y="1433"/>
                  </a:lnTo>
                  <a:lnTo>
                    <a:pt x="553" y="1433"/>
                  </a:lnTo>
                  <a:close/>
                  <a:moveTo>
                    <a:pt x="444" y="1510"/>
                  </a:moveTo>
                  <a:lnTo>
                    <a:pt x="443" y="1510"/>
                  </a:lnTo>
                  <a:lnTo>
                    <a:pt x="444" y="1510"/>
                  </a:lnTo>
                  <a:close/>
                  <a:moveTo>
                    <a:pt x="700" y="440"/>
                  </a:moveTo>
                  <a:lnTo>
                    <a:pt x="700" y="441"/>
                  </a:lnTo>
                  <a:lnTo>
                    <a:pt x="700" y="440"/>
                  </a:lnTo>
                  <a:close/>
                  <a:moveTo>
                    <a:pt x="560" y="1359"/>
                  </a:moveTo>
                  <a:lnTo>
                    <a:pt x="560" y="1360"/>
                  </a:lnTo>
                  <a:lnTo>
                    <a:pt x="560" y="1359"/>
                  </a:lnTo>
                  <a:close/>
                  <a:moveTo>
                    <a:pt x="568" y="788"/>
                  </a:moveTo>
                  <a:lnTo>
                    <a:pt x="568" y="786"/>
                  </a:lnTo>
                  <a:lnTo>
                    <a:pt x="568" y="788"/>
                  </a:lnTo>
                  <a:close/>
                  <a:moveTo>
                    <a:pt x="449" y="1563"/>
                  </a:moveTo>
                  <a:lnTo>
                    <a:pt x="448" y="1563"/>
                  </a:lnTo>
                  <a:lnTo>
                    <a:pt x="449" y="1563"/>
                  </a:lnTo>
                  <a:close/>
                  <a:moveTo>
                    <a:pt x="583" y="1389"/>
                  </a:moveTo>
                  <a:lnTo>
                    <a:pt x="584" y="1389"/>
                  </a:lnTo>
                  <a:lnTo>
                    <a:pt x="583" y="1389"/>
                  </a:lnTo>
                  <a:close/>
                  <a:moveTo>
                    <a:pt x="573" y="1376"/>
                  </a:moveTo>
                  <a:lnTo>
                    <a:pt x="573" y="1378"/>
                  </a:lnTo>
                  <a:lnTo>
                    <a:pt x="573" y="1376"/>
                  </a:lnTo>
                  <a:close/>
                  <a:moveTo>
                    <a:pt x="87" y="1711"/>
                  </a:moveTo>
                  <a:lnTo>
                    <a:pt x="88" y="1711"/>
                  </a:lnTo>
                  <a:lnTo>
                    <a:pt x="87" y="1711"/>
                  </a:lnTo>
                  <a:close/>
                  <a:moveTo>
                    <a:pt x="72" y="1676"/>
                  </a:moveTo>
                  <a:lnTo>
                    <a:pt x="74" y="1676"/>
                  </a:lnTo>
                  <a:lnTo>
                    <a:pt x="72" y="1676"/>
                  </a:lnTo>
                  <a:close/>
                  <a:moveTo>
                    <a:pt x="667" y="438"/>
                  </a:moveTo>
                  <a:lnTo>
                    <a:pt x="666" y="438"/>
                  </a:lnTo>
                  <a:lnTo>
                    <a:pt x="667" y="438"/>
                  </a:lnTo>
                  <a:close/>
                  <a:moveTo>
                    <a:pt x="630" y="552"/>
                  </a:moveTo>
                  <a:lnTo>
                    <a:pt x="631" y="552"/>
                  </a:lnTo>
                  <a:lnTo>
                    <a:pt x="630" y="552"/>
                  </a:lnTo>
                  <a:close/>
                  <a:moveTo>
                    <a:pt x="399" y="1510"/>
                  </a:moveTo>
                  <a:lnTo>
                    <a:pt x="400" y="1510"/>
                  </a:lnTo>
                  <a:lnTo>
                    <a:pt x="399" y="1510"/>
                  </a:lnTo>
                  <a:close/>
                  <a:moveTo>
                    <a:pt x="640" y="632"/>
                  </a:moveTo>
                  <a:lnTo>
                    <a:pt x="641" y="632"/>
                  </a:lnTo>
                  <a:lnTo>
                    <a:pt x="640" y="632"/>
                  </a:lnTo>
                  <a:close/>
                  <a:moveTo>
                    <a:pt x="441" y="1546"/>
                  </a:moveTo>
                  <a:lnTo>
                    <a:pt x="441" y="1544"/>
                  </a:lnTo>
                  <a:lnTo>
                    <a:pt x="441" y="1546"/>
                  </a:lnTo>
                  <a:close/>
                  <a:moveTo>
                    <a:pt x="566" y="1344"/>
                  </a:moveTo>
                  <a:lnTo>
                    <a:pt x="566" y="1346"/>
                  </a:lnTo>
                  <a:lnTo>
                    <a:pt x="566" y="1344"/>
                  </a:lnTo>
                  <a:close/>
                  <a:moveTo>
                    <a:pt x="574" y="1346"/>
                  </a:moveTo>
                  <a:lnTo>
                    <a:pt x="574" y="1344"/>
                  </a:lnTo>
                  <a:lnTo>
                    <a:pt x="574" y="1346"/>
                  </a:lnTo>
                  <a:close/>
                  <a:moveTo>
                    <a:pt x="22" y="1524"/>
                  </a:moveTo>
                  <a:lnTo>
                    <a:pt x="23" y="1524"/>
                  </a:lnTo>
                  <a:lnTo>
                    <a:pt x="22" y="1524"/>
                  </a:lnTo>
                  <a:close/>
                  <a:moveTo>
                    <a:pt x="90" y="1707"/>
                  </a:moveTo>
                  <a:lnTo>
                    <a:pt x="90" y="1705"/>
                  </a:lnTo>
                  <a:lnTo>
                    <a:pt x="90" y="1707"/>
                  </a:lnTo>
                  <a:close/>
                  <a:moveTo>
                    <a:pt x="431" y="1128"/>
                  </a:moveTo>
                  <a:lnTo>
                    <a:pt x="431" y="1126"/>
                  </a:lnTo>
                  <a:lnTo>
                    <a:pt x="431" y="1128"/>
                  </a:lnTo>
                  <a:close/>
                  <a:moveTo>
                    <a:pt x="500" y="1459"/>
                  </a:moveTo>
                  <a:lnTo>
                    <a:pt x="500" y="1461"/>
                  </a:lnTo>
                  <a:lnTo>
                    <a:pt x="500" y="1459"/>
                  </a:lnTo>
                  <a:close/>
                  <a:moveTo>
                    <a:pt x="428" y="1071"/>
                  </a:moveTo>
                  <a:lnTo>
                    <a:pt x="430" y="1071"/>
                  </a:lnTo>
                  <a:lnTo>
                    <a:pt x="428" y="1071"/>
                  </a:lnTo>
                  <a:close/>
                  <a:moveTo>
                    <a:pt x="436" y="1742"/>
                  </a:moveTo>
                  <a:lnTo>
                    <a:pt x="436" y="1744"/>
                  </a:lnTo>
                  <a:lnTo>
                    <a:pt x="436" y="1742"/>
                  </a:lnTo>
                  <a:close/>
                  <a:moveTo>
                    <a:pt x="459" y="1554"/>
                  </a:moveTo>
                  <a:lnTo>
                    <a:pt x="457" y="1554"/>
                  </a:lnTo>
                  <a:lnTo>
                    <a:pt x="459" y="1554"/>
                  </a:lnTo>
                  <a:close/>
                  <a:moveTo>
                    <a:pt x="594" y="749"/>
                  </a:moveTo>
                  <a:lnTo>
                    <a:pt x="596" y="749"/>
                  </a:lnTo>
                  <a:lnTo>
                    <a:pt x="594" y="749"/>
                  </a:lnTo>
                  <a:close/>
                  <a:moveTo>
                    <a:pt x="4" y="1502"/>
                  </a:moveTo>
                  <a:lnTo>
                    <a:pt x="4" y="1500"/>
                  </a:lnTo>
                  <a:lnTo>
                    <a:pt x="4" y="1502"/>
                  </a:lnTo>
                  <a:close/>
                  <a:moveTo>
                    <a:pt x="565" y="1407"/>
                  </a:moveTo>
                  <a:lnTo>
                    <a:pt x="563" y="1407"/>
                  </a:lnTo>
                  <a:lnTo>
                    <a:pt x="565" y="1407"/>
                  </a:lnTo>
                  <a:close/>
                  <a:moveTo>
                    <a:pt x="49" y="1563"/>
                  </a:moveTo>
                  <a:lnTo>
                    <a:pt x="51" y="1563"/>
                  </a:lnTo>
                  <a:lnTo>
                    <a:pt x="49" y="1563"/>
                  </a:lnTo>
                  <a:close/>
                  <a:moveTo>
                    <a:pt x="651" y="527"/>
                  </a:moveTo>
                  <a:lnTo>
                    <a:pt x="651" y="529"/>
                  </a:lnTo>
                  <a:lnTo>
                    <a:pt x="651" y="527"/>
                  </a:lnTo>
                  <a:close/>
                  <a:moveTo>
                    <a:pt x="435" y="1747"/>
                  </a:moveTo>
                  <a:lnTo>
                    <a:pt x="436" y="1747"/>
                  </a:lnTo>
                  <a:lnTo>
                    <a:pt x="435" y="1747"/>
                  </a:lnTo>
                  <a:close/>
                  <a:moveTo>
                    <a:pt x="467" y="1497"/>
                  </a:moveTo>
                  <a:lnTo>
                    <a:pt x="469" y="1497"/>
                  </a:lnTo>
                  <a:lnTo>
                    <a:pt x="467" y="1497"/>
                  </a:lnTo>
                  <a:close/>
                  <a:moveTo>
                    <a:pt x="22" y="1515"/>
                  </a:moveTo>
                  <a:lnTo>
                    <a:pt x="20" y="1515"/>
                  </a:lnTo>
                  <a:lnTo>
                    <a:pt x="22" y="1515"/>
                  </a:lnTo>
                  <a:close/>
                  <a:moveTo>
                    <a:pt x="648" y="485"/>
                  </a:moveTo>
                  <a:lnTo>
                    <a:pt x="648" y="487"/>
                  </a:lnTo>
                  <a:lnTo>
                    <a:pt x="648" y="485"/>
                  </a:lnTo>
                  <a:close/>
                  <a:moveTo>
                    <a:pt x="39" y="1593"/>
                  </a:moveTo>
                  <a:lnTo>
                    <a:pt x="39" y="1591"/>
                  </a:lnTo>
                  <a:lnTo>
                    <a:pt x="39" y="1593"/>
                  </a:lnTo>
                  <a:close/>
                  <a:moveTo>
                    <a:pt x="74" y="1684"/>
                  </a:moveTo>
                  <a:lnTo>
                    <a:pt x="75" y="1684"/>
                  </a:lnTo>
                  <a:lnTo>
                    <a:pt x="74" y="1684"/>
                  </a:lnTo>
                  <a:close/>
                  <a:moveTo>
                    <a:pt x="426" y="1069"/>
                  </a:moveTo>
                  <a:lnTo>
                    <a:pt x="428" y="1071"/>
                  </a:lnTo>
                  <a:lnTo>
                    <a:pt x="428" y="1069"/>
                  </a:lnTo>
                  <a:lnTo>
                    <a:pt x="428" y="1071"/>
                  </a:lnTo>
                  <a:lnTo>
                    <a:pt x="426" y="1069"/>
                  </a:lnTo>
                  <a:close/>
                  <a:moveTo>
                    <a:pt x="438" y="1554"/>
                  </a:moveTo>
                  <a:lnTo>
                    <a:pt x="438" y="1552"/>
                  </a:lnTo>
                  <a:lnTo>
                    <a:pt x="438" y="1554"/>
                  </a:lnTo>
                  <a:close/>
                  <a:moveTo>
                    <a:pt x="436" y="1752"/>
                  </a:moveTo>
                  <a:lnTo>
                    <a:pt x="438" y="1752"/>
                  </a:lnTo>
                  <a:lnTo>
                    <a:pt x="436" y="1752"/>
                  </a:lnTo>
                  <a:close/>
                  <a:moveTo>
                    <a:pt x="441" y="1515"/>
                  </a:moveTo>
                  <a:lnTo>
                    <a:pt x="443" y="1515"/>
                  </a:lnTo>
                  <a:lnTo>
                    <a:pt x="441" y="1515"/>
                  </a:lnTo>
                  <a:close/>
                  <a:moveTo>
                    <a:pt x="617" y="586"/>
                  </a:moveTo>
                  <a:lnTo>
                    <a:pt x="618" y="586"/>
                  </a:lnTo>
                  <a:lnTo>
                    <a:pt x="617" y="588"/>
                  </a:lnTo>
                  <a:lnTo>
                    <a:pt x="617" y="586"/>
                  </a:lnTo>
                  <a:close/>
                  <a:moveTo>
                    <a:pt x="588" y="1381"/>
                  </a:moveTo>
                  <a:lnTo>
                    <a:pt x="589" y="1381"/>
                  </a:lnTo>
                  <a:lnTo>
                    <a:pt x="588" y="1381"/>
                  </a:lnTo>
                  <a:close/>
                  <a:moveTo>
                    <a:pt x="31" y="1583"/>
                  </a:moveTo>
                  <a:lnTo>
                    <a:pt x="31" y="1581"/>
                  </a:lnTo>
                  <a:lnTo>
                    <a:pt x="31" y="1583"/>
                  </a:lnTo>
                  <a:close/>
                  <a:moveTo>
                    <a:pt x="26" y="1568"/>
                  </a:moveTo>
                  <a:lnTo>
                    <a:pt x="28" y="1568"/>
                  </a:lnTo>
                  <a:lnTo>
                    <a:pt x="26" y="1568"/>
                  </a:lnTo>
                  <a:close/>
                  <a:moveTo>
                    <a:pt x="436" y="1089"/>
                  </a:moveTo>
                  <a:lnTo>
                    <a:pt x="438" y="1090"/>
                  </a:lnTo>
                  <a:lnTo>
                    <a:pt x="436" y="1090"/>
                  </a:lnTo>
                  <a:lnTo>
                    <a:pt x="436" y="1089"/>
                  </a:lnTo>
                  <a:close/>
                  <a:moveTo>
                    <a:pt x="441" y="1198"/>
                  </a:moveTo>
                  <a:lnTo>
                    <a:pt x="441" y="1196"/>
                  </a:lnTo>
                  <a:lnTo>
                    <a:pt x="441" y="1198"/>
                  </a:lnTo>
                  <a:close/>
                  <a:moveTo>
                    <a:pt x="74" y="1677"/>
                  </a:moveTo>
                  <a:lnTo>
                    <a:pt x="75" y="1677"/>
                  </a:lnTo>
                  <a:lnTo>
                    <a:pt x="74" y="1677"/>
                  </a:lnTo>
                  <a:close/>
                  <a:moveTo>
                    <a:pt x="36" y="1568"/>
                  </a:moveTo>
                  <a:lnTo>
                    <a:pt x="36" y="1567"/>
                  </a:lnTo>
                  <a:lnTo>
                    <a:pt x="36" y="1568"/>
                  </a:lnTo>
                  <a:close/>
                  <a:moveTo>
                    <a:pt x="516" y="1477"/>
                  </a:moveTo>
                  <a:lnTo>
                    <a:pt x="514" y="1477"/>
                  </a:lnTo>
                  <a:lnTo>
                    <a:pt x="516" y="1477"/>
                  </a:lnTo>
                  <a:close/>
                  <a:moveTo>
                    <a:pt x="690" y="449"/>
                  </a:moveTo>
                  <a:lnTo>
                    <a:pt x="692" y="449"/>
                  </a:lnTo>
                  <a:lnTo>
                    <a:pt x="690" y="449"/>
                  </a:lnTo>
                  <a:close/>
                  <a:moveTo>
                    <a:pt x="532" y="1433"/>
                  </a:moveTo>
                  <a:lnTo>
                    <a:pt x="532" y="1435"/>
                  </a:lnTo>
                  <a:lnTo>
                    <a:pt x="532" y="1433"/>
                  </a:lnTo>
                  <a:close/>
                  <a:moveTo>
                    <a:pt x="576" y="1420"/>
                  </a:moveTo>
                  <a:lnTo>
                    <a:pt x="578" y="1420"/>
                  </a:lnTo>
                  <a:lnTo>
                    <a:pt x="576" y="1420"/>
                  </a:lnTo>
                  <a:close/>
                  <a:moveTo>
                    <a:pt x="561" y="1370"/>
                  </a:moveTo>
                  <a:lnTo>
                    <a:pt x="561" y="1368"/>
                  </a:lnTo>
                  <a:lnTo>
                    <a:pt x="561" y="1370"/>
                  </a:lnTo>
                  <a:close/>
                  <a:moveTo>
                    <a:pt x="426" y="1071"/>
                  </a:moveTo>
                  <a:lnTo>
                    <a:pt x="426" y="1072"/>
                  </a:lnTo>
                  <a:lnTo>
                    <a:pt x="426" y="1071"/>
                  </a:lnTo>
                  <a:close/>
                  <a:moveTo>
                    <a:pt x="602" y="1344"/>
                  </a:moveTo>
                  <a:lnTo>
                    <a:pt x="602" y="1342"/>
                  </a:lnTo>
                  <a:lnTo>
                    <a:pt x="602" y="1344"/>
                  </a:lnTo>
                  <a:close/>
                  <a:moveTo>
                    <a:pt x="4" y="1490"/>
                  </a:moveTo>
                  <a:lnTo>
                    <a:pt x="4" y="1492"/>
                  </a:lnTo>
                  <a:lnTo>
                    <a:pt x="4" y="1490"/>
                  </a:lnTo>
                  <a:close/>
                  <a:moveTo>
                    <a:pt x="500" y="1472"/>
                  </a:moveTo>
                  <a:lnTo>
                    <a:pt x="500" y="1471"/>
                  </a:lnTo>
                  <a:lnTo>
                    <a:pt x="500" y="1472"/>
                  </a:lnTo>
                  <a:close/>
                  <a:moveTo>
                    <a:pt x="558" y="796"/>
                  </a:moveTo>
                  <a:lnTo>
                    <a:pt x="558" y="794"/>
                  </a:lnTo>
                  <a:lnTo>
                    <a:pt x="558" y="796"/>
                  </a:lnTo>
                  <a:close/>
                  <a:moveTo>
                    <a:pt x="426" y="1074"/>
                  </a:moveTo>
                  <a:lnTo>
                    <a:pt x="426" y="1076"/>
                  </a:lnTo>
                  <a:lnTo>
                    <a:pt x="426" y="1074"/>
                  </a:lnTo>
                  <a:close/>
                  <a:moveTo>
                    <a:pt x="579" y="1394"/>
                  </a:moveTo>
                  <a:lnTo>
                    <a:pt x="581" y="1394"/>
                  </a:lnTo>
                  <a:lnTo>
                    <a:pt x="579" y="1394"/>
                  </a:lnTo>
                  <a:close/>
                  <a:moveTo>
                    <a:pt x="443" y="1643"/>
                  </a:moveTo>
                  <a:lnTo>
                    <a:pt x="444" y="1643"/>
                  </a:lnTo>
                  <a:lnTo>
                    <a:pt x="443" y="1643"/>
                  </a:lnTo>
                  <a:close/>
                  <a:moveTo>
                    <a:pt x="677" y="480"/>
                  </a:moveTo>
                  <a:lnTo>
                    <a:pt x="677" y="479"/>
                  </a:lnTo>
                  <a:lnTo>
                    <a:pt x="677" y="480"/>
                  </a:lnTo>
                  <a:close/>
                  <a:moveTo>
                    <a:pt x="539" y="1464"/>
                  </a:moveTo>
                  <a:lnTo>
                    <a:pt x="539" y="1463"/>
                  </a:lnTo>
                  <a:lnTo>
                    <a:pt x="539" y="1464"/>
                  </a:lnTo>
                  <a:close/>
                  <a:moveTo>
                    <a:pt x="363" y="1877"/>
                  </a:moveTo>
                  <a:lnTo>
                    <a:pt x="363" y="1876"/>
                  </a:lnTo>
                  <a:lnTo>
                    <a:pt x="363" y="1877"/>
                  </a:lnTo>
                  <a:close/>
                  <a:moveTo>
                    <a:pt x="742" y="386"/>
                  </a:moveTo>
                  <a:lnTo>
                    <a:pt x="744" y="388"/>
                  </a:lnTo>
                  <a:lnTo>
                    <a:pt x="742" y="386"/>
                  </a:lnTo>
                  <a:close/>
                  <a:moveTo>
                    <a:pt x="394" y="1884"/>
                  </a:moveTo>
                  <a:lnTo>
                    <a:pt x="392" y="1884"/>
                  </a:lnTo>
                  <a:lnTo>
                    <a:pt x="394" y="1882"/>
                  </a:lnTo>
                  <a:lnTo>
                    <a:pt x="394" y="1884"/>
                  </a:lnTo>
                  <a:close/>
                  <a:moveTo>
                    <a:pt x="571" y="1368"/>
                  </a:moveTo>
                  <a:lnTo>
                    <a:pt x="571" y="1370"/>
                  </a:lnTo>
                  <a:lnTo>
                    <a:pt x="571" y="1368"/>
                  </a:lnTo>
                  <a:close/>
                  <a:moveTo>
                    <a:pt x="456" y="1550"/>
                  </a:moveTo>
                  <a:lnTo>
                    <a:pt x="456" y="1549"/>
                  </a:lnTo>
                  <a:lnTo>
                    <a:pt x="456" y="1550"/>
                  </a:lnTo>
                  <a:close/>
                  <a:moveTo>
                    <a:pt x="443" y="1188"/>
                  </a:moveTo>
                  <a:lnTo>
                    <a:pt x="441" y="1188"/>
                  </a:lnTo>
                  <a:lnTo>
                    <a:pt x="443" y="1188"/>
                  </a:lnTo>
                  <a:close/>
                  <a:moveTo>
                    <a:pt x="423" y="952"/>
                  </a:moveTo>
                  <a:lnTo>
                    <a:pt x="423" y="950"/>
                  </a:lnTo>
                  <a:lnTo>
                    <a:pt x="423" y="952"/>
                  </a:lnTo>
                  <a:close/>
                  <a:moveTo>
                    <a:pt x="441" y="1537"/>
                  </a:moveTo>
                  <a:lnTo>
                    <a:pt x="441" y="1536"/>
                  </a:lnTo>
                  <a:lnTo>
                    <a:pt x="441" y="1537"/>
                  </a:lnTo>
                  <a:close/>
                  <a:moveTo>
                    <a:pt x="747" y="436"/>
                  </a:moveTo>
                  <a:lnTo>
                    <a:pt x="747" y="435"/>
                  </a:lnTo>
                  <a:lnTo>
                    <a:pt x="747" y="436"/>
                  </a:lnTo>
                  <a:close/>
                  <a:moveTo>
                    <a:pt x="552" y="1274"/>
                  </a:moveTo>
                  <a:lnTo>
                    <a:pt x="553" y="1274"/>
                  </a:lnTo>
                  <a:lnTo>
                    <a:pt x="553" y="1276"/>
                  </a:lnTo>
                  <a:lnTo>
                    <a:pt x="552" y="1276"/>
                  </a:lnTo>
                  <a:lnTo>
                    <a:pt x="552" y="1274"/>
                  </a:lnTo>
                  <a:close/>
                  <a:moveTo>
                    <a:pt x="446" y="1542"/>
                  </a:moveTo>
                  <a:lnTo>
                    <a:pt x="446" y="1541"/>
                  </a:lnTo>
                  <a:lnTo>
                    <a:pt x="446" y="1542"/>
                  </a:lnTo>
                  <a:close/>
                  <a:moveTo>
                    <a:pt x="443" y="1653"/>
                  </a:moveTo>
                  <a:lnTo>
                    <a:pt x="443" y="1651"/>
                  </a:lnTo>
                  <a:lnTo>
                    <a:pt x="443" y="1653"/>
                  </a:lnTo>
                  <a:close/>
                  <a:moveTo>
                    <a:pt x="518" y="1243"/>
                  </a:moveTo>
                  <a:lnTo>
                    <a:pt x="516" y="1243"/>
                  </a:lnTo>
                  <a:lnTo>
                    <a:pt x="518" y="1241"/>
                  </a:lnTo>
                  <a:lnTo>
                    <a:pt x="518" y="1243"/>
                  </a:lnTo>
                  <a:close/>
                  <a:moveTo>
                    <a:pt x="490" y="1214"/>
                  </a:moveTo>
                  <a:lnTo>
                    <a:pt x="490" y="1215"/>
                  </a:lnTo>
                  <a:lnTo>
                    <a:pt x="490" y="1214"/>
                  </a:lnTo>
                  <a:close/>
                  <a:moveTo>
                    <a:pt x="448" y="1656"/>
                  </a:moveTo>
                  <a:lnTo>
                    <a:pt x="448" y="1658"/>
                  </a:lnTo>
                  <a:lnTo>
                    <a:pt x="448" y="1656"/>
                  </a:lnTo>
                  <a:close/>
                  <a:moveTo>
                    <a:pt x="132" y="1843"/>
                  </a:moveTo>
                  <a:lnTo>
                    <a:pt x="132" y="1845"/>
                  </a:lnTo>
                  <a:lnTo>
                    <a:pt x="132" y="1843"/>
                  </a:lnTo>
                  <a:close/>
                  <a:moveTo>
                    <a:pt x="61" y="1672"/>
                  </a:moveTo>
                  <a:lnTo>
                    <a:pt x="62" y="1672"/>
                  </a:lnTo>
                  <a:lnTo>
                    <a:pt x="61" y="1672"/>
                  </a:lnTo>
                  <a:close/>
                  <a:moveTo>
                    <a:pt x="425" y="1604"/>
                  </a:moveTo>
                  <a:lnTo>
                    <a:pt x="425" y="1603"/>
                  </a:lnTo>
                  <a:lnTo>
                    <a:pt x="425" y="1604"/>
                  </a:lnTo>
                  <a:close/>
                  <a:moveTo>
                    <a:pt x="550" y="1441"/>
                  </a:moveTo>
                  <a:lnTo>
                    <a:pt x="552" y="1441"/>
                  </a:lnTo>
                  <a:lnTo>
                    <a:pt x="550" y="1441"/>
                  </a:lnTo>
                  <a:close/>
                  <a:moveTo>
                    <a:pt x="446" y="1638"/>
                  </a:moveTo>
                  <a:lnTo>
                    <a:pt x="446" y="1637"/>
                  </a:lnTo>
                  <a:lnTo>
                    <a:pt x="446" y="1638"/>
                  </a:lnTo>
                  <a:close/>
                  <a:moveTo>
                    <a:pt x="555" y="1417"/>
                  </a:moveTo>
                  <a:lnTo>
                    <a:pt x="557" y="1417"/>
                  </a:lnTo>
                  <a:lnTo>
                    <a:pt x="555" y="1417"/>
                  </a:lnTo>
                  <a:close/>
                  <a:moveTo>
                    <a:pt x="602" y="742"/>
                  </a:moveTo>
                  <a:lnTo>
                    <a:pt x="602" y="741"/>
                  </a:lnTo>
                  <a:lnTo>
                    <a:pt x="602" y="742"/>
                  </a:lnTo>
                  <a:close/>
                  <a:moveTo>
                    <a:pt x="534" y="802"/>
                  </a:moveTo>
                  <a:lnTo>
                    <a:pt x="534" y="801"/>
                  </a:lnTo>
                  <a:lnTo>
                    <a:pt x="534" y="802"/>
                  </a:lnTo>
                  <a:close/>
                  <a:moveTo>
                    <a:pt x="740" y="433"/>
                  </a:moveTo>
                  <a:lnTo>
                    <a:pt x="739" y="433"/>
                  </a:lnTo>
                  <a:lnTo>
                    <a:pt x="740" y="433"/>
                  </a:lnTo>
                  <a:close/>
                  <a:moveTo>
                    <a:pt x="430" y="1625"/>
                  </a:moveTo>
                  <a:lnTo>
                    <a:pt x="431" y="1625"/>
                  </a:lnTo>
                  <a:lnTo>
                    <a:pt x="430" y="1625"/>
                  </a:lnTo>
                  <a:close/>
                  <a:moveTo>
                    <a:pt x="440" y="1658"/>
                  </a:moveTo>
                  <a:lnTo>
                    <a:pt x="441" y="1658"/>
                  </a:lnTo>
                  <a:lnTo>
                    <a:pt x="440" y="1658"/>
                  </a:lnTo>
                  <a:close/>
                  <a:moveTo>
                    <a:pt x="571" y="1415"/>
                  </a:moveTo>
                  <a:lnTo>
                    <a:pt x="573" y="1415"/>
                  </a:lnTo>
                  <a:lnTo>
                    <a:pt x="571" y="1415"/>
                  </a:lnTo>
                  <a:close/>
                  <a:moveTo>
                    <a:pt x="472" y="1230"/>
                  </a:moveTo>
                  <a:lnTo>
                    <a:pt x="472" y="1232"/>
                  </a:lnTo>
                  <a:lnTo>
                    <a:pt x="472" y="1230"/>
                  </a:lnTo>
                  <a:close/>
                  <a:moveTo>
                    <a:pt x="52" y="1664"/>
                  </a:moveTo>
                  <a:lnTo>
                    <a:pt x="52" y="1666"/>
                  </a:lnTo>
                  <a:lnTo>
                    <a:pt x="52" y="1664"/>
                  </a:lnTo>
                  <a:close/>
                  <a:moveTo>
                    <a:pt x="630" y="555"/>
                  </a:moveTo>
                  <a:lnTo>
                    <a:pt x="631" y="555"/>
                  </a:lnTo>
                  <a:lnTo>
                    <a:pt x="630" y="555"/>
                  </a:lnTo>
                  <a:close/>
                  <a:moveTo>
                    <a:pt x="573" y="1406"/>
                  </a:moveTo>
                  <a:lnTo>
                    <a:pt x="574" y="1406"/>
                  </a:lnTo>
                  <a:lnTo>
                    <a:pt x="573" y="1406"/>
                  </a:lnTo>
                  <a:close/>
                  <a:moveTo>
                    <a:pt x="701" y="456"/>
                  </a:moveTo>
                  <a:lnTo>
                    <a:pt x="703" y="456"/>
                  </a:lnTo>
                  <a:lnTo>
                    <a:pt x="701" y="456"/>
                  </a:lnTo>
                  <a:close/>
                  <a:moveTo>
                    <a:pt x="531" y="1461"/>
                  </a:moveTo>
                  <a:lnTo>
                    <a:pt x="531" y="1463"/>
                  </a:lnTo>
                  <a:lnTo>
                    <a:pt x="531" y="1461"/>
                  </a:lnTo>
                  <a:close/>
                  <a:moveTo>
                    <a:pt x="623" y="508"/>
                  </a:moveTo>
                  <a:lnTo>
                    <a:pt x="625" y="508"/>
                  </a:lnTo>
                  <a:lnTo>
                    <a:pt x="625" y="510"/>
                  </a:lnTo>
                  <a:lnTo>
                    <a:pt x="623" y="508"/>
                  </a:lnTo>
                  <a:close/>
                  <a:moveTo>
                    <a:pt x="594" y="763"/>
                  </a:moveTo>
                  <a:lnTo>
                    <a:pt x="592" y="763"/>
                  </a:lnTo>
                  <a:lnTo>
                    <a:pt x="594" y="763"/>
                  </a:lnTo>
                  <a:close/>
                  <a:moveTo>
                    <a:pt x="531" y="1450"/>
                  </a:moveTo>
                  <a:lnTo>
                    <a:pt x="532" y="1450"/>
                  </a:lnTo>
                  <a:lnTo>
                    <a:pt x="531" y="1450"/>
                  </a:lnTo>
                  <a:close/>
                  <a:moveTo>
                    <a:pt x="763" y="448"/>
                  </a:moveTo>
                  <a:lnTo>
                    <a:pt x="765" y="448"/>
                  </a:lnTo>
                  <a:lnTo>
                    <a:pt x="763" y="448"/>
                  </a:lnTo>
                  <a:close/>
                  <a:moveTo>
                    <a:pt x="628" y="619"/>
                  </a:moveTo>
                  <a:lnTo>
                    <a:pt x="628" y="620"/>
                  </a:lnTo>
                  <a:lnTo>
                    <a:pt x="628" y="619"/>
                  </a:lnTo>
                  <a:close/>
                  <a:moveTo>
                    <a:pt x="516" y="1243"/>
                  </a:moveTo>
                  <a:lnTo>
                    <a:pt x="516" y="1245"/>
                  </a:lnTo>
                  <a:lnTo>
                    <a:pt x="516" y="1243"/>
                  </a:lnTo>
                  <a:close/>
                  <a:moveTo>
                    <a:pt x="560" y="1370"/>
                  </a:moveTo>
                  <a:lnTo>
                    <a:pt x="561" y="1370"/>
                  </a:lnTo>
                  <a:lnTo>
                    <a:pt x="560" y="1370"/>
                  </a:lnTo>
                  <a:close/>
                  <a:moveTo>
                    <a:pt x="760" y="431"/>
                  </a:moveTo>
                  <a:lnTo>
                    <a:pt x="762" y="431"/>
                  </a:lnTo>
                  <a:lnTo>
                    <a:pt x="760" y="431"/>
                  </a:lnTo>
                  <a:close/>
                  <a:moveTo>
                    <a:pt x="459" y="1550"/>
                  </a:moveTo>
                  <a:lnTo>
                    <a:pt x="459" y="1552"/>
                  </a:lnTo>
                  <a:lnTo>
                    <a:pt x="459" y="1550"/>
                  </a:lnTo>
                  <a:close/>
                  <a:moveTo>
                    <a:pt x="540" y="1245"/>
                  </a:moveTo>
                  <a:lnTo>
                    <a:pt x="542" y="1245"/>
                  </a:lnTo>
                  <a:lnTo>
                    <a:pt x="542" y="1246"/>
                  </a:lnTo>
                  <a:lnTo>
                    <a:pt x="540" y="1245"/>
                  </a:lnTo>
                  <a:close/>
                  <a:moveTo>
                    <a:pt x="64" y="1620"/>
                  </a:moveTo>
                  <a:lnTo>
                    <a:pt x="65" y="1620"/>
                  </a:lnTo>
                  <a:lnTo>
                    <a:pt x="64" y="1620"/>
                  </a:lnTo>
                  <a:close/>
                  <a:moveTo>
                    <a:pt x="46" y="1611"/>
                  </a:moveTo>
                  <a:lnTo>
                    <a:pt x="48" y="1611"/>
                  </a:lnTo>
                  <a:lnTo>
                    <a:pt x="46" y="1611"/>
                  </a:lnTo>
                  <a:lnTo>
                    <a:pt x="48" y="1611"/>
                  </a:lnTo>
                  <a:lnTo>
                    <a:pt x="46" y="1611"/>
                  </a:lnTo>
                  <a:close/>
                  <a:moveTo>
                    <a:pt x="602" y="745"/>
                  </a:moveTo>
                  <a:lnTo>
                    <a:pt x="602" y="744"/>
                  </a:lnTo>
                  <a:lnTo>
                    <a:pt x="602" y="745"/>
                  </a:lnTo>
                  <a:close/>
                  <a:moveTo>
                    <a:pt x="534" y="1437"/>
                  </a:moveTo>
                  <a:lnTo>
                    <a:pt x="535" y="1437"/>
                  </a:lnTo>
                  <a:lnTo>
                    <a:pt x="534" y="1437"/>
                  </a:lnTo>
                  <a:close/>
                  <a:moveTo>
                    <a:pt x="630" y="529"/>
                  </a:moveTo>
                  <a:lnTo>
                    <a:pt x="631" y="529"/>
                  </a:lnTo>
                  <a:lnTo>
                    <a:pt x="630" y="529"/>
                  </a:lnTo>
                  <a:close/>
                  <a:moveTo>
                    <a:pt x="602" y="1344"/>
                  </a:moveTo>
                  <a:lnTo>
                    <a:pt x="602" y="1342"/>
                  </a:lnTo>
                  <a:lnTo>
                    <a:pt x="602" y="1344"/>
                  </a:lnTo>
                  <a:close/>
                  <a:moveTo>
                    <a:pt x="422" y="954"/>
                  </a:moveTo>
                  <a:lnTo>
                    <a:pt x="423" y="954"/>
                  </a:lnTo>
                  <a:lnTo>
                    <a:pt x="422" y="954"/>
                  </a:lnTo>
                  <a:close/>
                  <a:moveTo>
                    <a:pt x="438" y="1539"/>
                  </a:moveTo>
                  <a:lnTo>
                    <a:pt x="440" y="1539"/>
                  </a:lnTo>
                  <a:lnTo>
                    <a:pt x="438" y="1539"/>
                  </a:lnTo>
                  <a:close/>
                  <a:moveTo>
                    <a:pt x="578" y="1404"/>
                  </a:moveTo>
                  <a:lnTo>
                    <a:pt x="576" y="1404"/>
                  </a:lnTo>
                  <a:lnTo>
                    <a:pt x="578" y="1404"/>
                  </a:lnTo>
                  <a:close/>
                  <a:moveTo>
                    <a:pt x="550" y="1380"/>
                  </a:moveTo>
                  <a:lnTo>
                    <a:pt x="552" y="1380"/>
                  </a:lnTo>
                  <a:lnTo>
                    <a:pt x="550" y="1380"/>
                  </a:lnTo>
                  <a:close/>
                  <a:moveTo>
                    <a:pt x="43" y="1620"/>
                  </a:moveTo>
                  <a:lnTo>
                    <a:pt x="43" y="1622"/>
                  </a:lnTo>
                  <a:lnTo>
                    <a:pt x="43" y="1620"/>
                  </a:lnTo>
                  <a:close/>
                  <a:moveTo>
                    <a:pt x="441" y="1515"/>
                  </a:moveTo>
                  <a:lnTo>
                    <a:pt x="443" y="1515"/>
                  </a:lnTo>
                  <a:lnTo>
                    <a:pt x="441" y="1515"/>
                  </a:lnTo>
                  <a:close/>
                  <a:moveTo>
                    <a:pt x="457" y="1554"/>
                  </a:moveTo>
                  <a:lnTo>
                    <a:pt x="459" y="1554"/>
                  </a:lnTo>
                  <a:lnTo>
                    <a:pt x="457" y="1554"/>
                  </a:lnTo>
                  <a:close/>
                  <a:moveTo>
                    <a:pt x="446" y="1563"/>
                  </a:moveTo>
                  <a:lnTo>
                    <a:pt x="446" y="1562"/>
                  </a:lnTo>
                  <a:lnTo>
                    <a:pt x="446" y="1563"/>
                  </a:lnTo>
                  <a:close/>
                  <a:moveTo>
                    <a:pt x="574" y="1381"/>
                  </a:moveTo>
                  <a:lnTo>
                    <a:pt x="574" y="1380"/>
                  </a:lnTo>
                  <a:lnTo>
                    <a:pt x="574" y="1381"/>
                  </a:lnTo>
                  <a:close/>
                  <a:moveTo>
                    <a:pt x="516" y="1250"/>
                  </a:moveTo>
                  <a:lnTo>
                    <a:pt x="518" y="1250"/>
                  </a:lnTo>
                  <a:lnTo>
                    <a:pt x="516" y="1250"/>
                  </a:lnTo>
                  <a:close/>
                  <a:moveTo>
                    <a:pt x="490" y="856"/>
                  </a:moveTo>
                  <a:lnTo>
                    <a:pt x="490" y="854"/>
                  </a:lnTo>
                  <a:lnTo>
                    <a:pt x="490" y="856"/>
                  </a:lnTo>
                  <a:close/>
                  <a:moveTo>
                    <a:pt x="540" y="1238"/>
                  </a:moveTo>
                  <a:lnTo>
                    <a:pt x="542" y="1238"/>
                  </a:lnTo>
                  <a:lnTo>
                    <a:pt x="540" y="1238"/>
                  </a:lnTo>
                  <a:close/>
                  <a:moveTo>
                    <a:pt x="545" y="1375"/>
                  </a:moveTo>
                  <a:lnTo>
                    <a:pt x="545" y="1376"/>
                  </a:lnTo>
                  <a:lnTo>
                    <a:pt x="545" y="1375"/>
                  </a:lnTo>
                  <a:close/>
                  <a:moveTo>
                    <a:pt x="488" y="1490"/>
                  </a:moveTo>
                  <a:lnTo>
                    <a:pt x="488" y="1489"/>
                  </a:lnTo>
                  <a:lnTo>
                    <a:pt x="488" y="1490"/>
                  </a:lnTo>
                  <a:close/>
                  <a:moveTo>
                    <a:pt x="509" y="1474"/>
                  </a:moveTo>
                  <a:lnTo>
                    <a:pt x="509" y="1472"/>
                  </a:lnTo>
                  <a:lnTo>
                    <a:pt x="509" y="1474"/>
                  </a:lnTo>
                  <a:close/>
                  <a:moveTo>
                    <a:pt x="574" y="1373"/>
                  </a:moveTo>
                  <a:lnTo>
                    <a:pt x="574" y="1372"/>
                  </a:lnTo>
                  <a:lnTo>
                    <a:pt x="574" y="1373"/>
                  </a:lnTo>
                  <a:close/>
                  <a:moveTo>
                    <a:pt x="731" y="441"/>
                  </a:moveTo>
                  <a:lnTo>
                    <a:pt x="732" y="441"/>
                  </a:lnTo>
                  <a:lnTo>
                    <a:pt x="731" y="441"/>
                  </a:lnTo>
                  <a:close/>
                  <a:moveTo>
                    <a:pt x="485" y="1494"/>
                  </a:moveTo>
                  <a:lnTo>
                    <a:pt x="485" y="1492"/>
                  </a:lnTo>
                  <a:lnTo>
                    <a:pt x="485" y="1494"/>
                  </a:lnTo>
                  <a:close/>
                  <a:moveTo>
                    <a:pt x="449" y="1596"/>
                  </a:moveTo>
                  <a:lnTo>
                    <a:pt x="451" y="1596"/>
                  </a:lnTo>
                  <a:lnTo>
                    <a:pt x="449" y="1596"/>
                  </a:lnTo>
                  <a:close/>
                  <a:moveTo>
                    <a:pt x="436" y="867"/>
                  </a:moveTo>
                  <a:lnTo>
                    <a:pt x="436" y="869"/>
                  </a:lnTo>
                  <a:lnTo>
                    <a:pt x="436" y="867"/>
                  </a:lnTo>
                  <a:close/>
                  <a:moveTo>
                    <a:pt x="584" y="1385"/>
                  </a:moveTo>
                  <a:lnTo>
                    <a:pt x="586" y="1385"/>
                  </a:lnTo>
                  <a:lnTo>
                    <a:pt x="584" y="1386"/>
                  </a:lnTo>
                  <a:lnTo>
                    <a:pt x="584" y="1385"/>
                  </a:lnTo>
                  <a:close/>
                  <a:moveTo>
                    <a:pt x="454" y="905"/>
                  </a:moveTo>
                  <a:lnTo>
                    <a:pt x="456" y="905"/>
                  </a:lnTo>
                  <a:lnTo>
                    <a:pt x="454" y="905"/>
                  </a:lnTo>
                  <a:close/>
                  <a:moveTo>
                    <a:pt x="583" y="765"/>
                  </a:moveTo>
                  <a:lnTo>
                    <a:pt x="581" y="765"/>
                  </a:lnTo>
                  <a:lnTo>
                    <a:pt x="583" y="765"/>
                  </a:lnTo>
                  <a:close/>
                  <a:moveTo>
                    <a:pt x="44" y="1632"/>
                  </a:moveTo>
                  <a:lnTo>
                    <a:pt x="43" y="1632"/>
                  </a:lnTo>
                  <a:lnTo>
                    <a:pt x="44" y="1632"/>
                  </a:lnTo>
                  <a:close/>
                  <a:moveTo>
                    <a:pt x="418" y="1819"/>
                  </a:moveTo>
                  <a:lnTo>
                    <a:pt x="418" y="1817"/>
                  </a:lnTo>
                  <a:lnTo>
                    <a:pt x="418" y="1819"/>
                  </a:lnTo>
                  <a:close/>
                  <a:moveTo>
                    <a:pt x="568" y="1344"/>
                  </a:moveTo>
                  <a:lnTo>
                    <a:pt x="568" y="1342"/>
                  </a:lnTo>
                  <a:lnTo>
                    <a:pt x="568" y="1344"/>
                  </a:lnTo>
                  <a:close/>
                  <a:moveTo>
                    <a:pt x="561" y="1391"/>
                  </a:moveTo>
                  <a:lnTo>
                    <a:pt x="561" y="1389"/>
                  </a:lnTo>
                  <a:lnTo>
                    <a:pt x="561" y="1391"/>
                  </a:lnTo>
                  <a:close/>
                  <a:moveTo>
                    <a:pt x="618" y="610"/>
                  </a:moveTo>
                  <a:lnTo>
                    <a:pt x="618" y="609"/>
                  </a:lnTo>
                  <a:lnTo>
                    <a:pt x="618" y="610"/>
                  </a:lnTo>
                  <a:close/>
                  <a:moveTo>
                    <a:pt x="680" y="498"/>
                  </a:moveTo>
                  <a:lnTo>
                    <a:pt x="679" y="498"/>
                  </a:lnTo>
                  <a:lnTo>
                    <a:pt x="680" y="498"/>
                  </a:lnTo>
                  <a:close/>
                  <a:moveTo>
                    <a:pt x="540" y="1428"/>
                  </a:moveTo>
                  <a:lnTo>
                    <a:pt x="542" y="1428"/>
                  </a:lnTo>
                  <a:lnTo>
                    <a:pt x="540" y="1428"/>
                  </a:lnTo>
                  <a:close/>
                  <a:moveTo>
                    <a:pt x="483" y="890"/>
                  </a:moveTo>
                  <a:lnTo>
                    <a:pt x="485" y="889"/>
                  </a:lnTo>
                  <a:lnTo>
                    <a:pt x="485" y="890"/>
                  </a:lnTo>
                  <a:lnTo>
                    <a:pt x="483" y="890"/>
                  </a:lnTo>
                  <a:close/>
                  <a:moveTo>
                    <a:pt x="470" y="1507"/>
                  </a:moveTo>
                  <a:lnTo>
                    <a:pt x="470" y="1505"/>
                  </a:lnTo>
                  <a:lnTo>
                    <a:pt x="470" y="1507"/>
                  </a:lnTo>
                  <a:close/>
                  <a:moveTo>
                    <a:pt x="558" y="1427"/>
                  </a:moveTo>
                  <a:lnTo>
                    <a:pt x="558" y="1425"/>
                  </a:lnTo>
                  <a:lnTo>
                    <a:pt x="558" y="1427"/>
                  </a:lnTo>
                  <a:close/>
                  <a:moveTo>
                    <a:pt x="553" y="1277"/>
                  </a:moveTo>
                  <a:lnTo>
                    <a:pt x="555" y="1277"/>
                  </a:lnTo>
                  <a:lnTo>
                    <a:pt x="553" y="1277"/>
                  </a:lnTo>
                  <a:close/>
                  <a:moveTo>
                    <a:pt x="558" y="1380"/>
                  </a:moveTo>
                  <a:lnTo>
                    <a:pt x="558" y="1378"/>
                  </a:lnTo>
                  <a:lnTo>
                    <a:pt x="560" y="1380"/>
                  </a:lnTo>
                  <a:lnTo>
                    <a:pt x="558" y="1380"/>
                  </a:lnTo>
                  <a:close/>
                  <a:moveTo>
                    <a:pt x="365" y="1874"/>
                  </a:moveTo>
                  <a:lnTo>
                    <a:pt x="365" y="1873"/>
                  </a:lnTo>
                  <a:lnTo>
                    <a:pt x="365" y="1874"/>
                  </a:lnTo>
                  <a:close/>
                  <a:moveTo>
                    <a:pt x="12" y="1489"/>
                  </a:moveTo>
                  <a:lnTo>
                    <a:pt x="13" y="1489"/>
                  </a:lnTo>
                  <a:lnTo>
                    <a:pt x="12" y="1489"/>
                  </a:lnTo>
                  <a:close/>
                  <a:moveTo>
                    <a:pt x="488" y="1489"/>
                  </a:moveTo>
                  <a:lnTo>
                    <a:pt x="488" y="1487"/>
                  </a:lnTo>
                  <a:lnTo>
                    <a:pt x="488" y="1489"/>
                  </a:lnTo>
                  <a:close/>
                  <a:moveTo>
                    <a:pt x="739" y="431"/>
                  </a:moveTo>
                  <a:lnTo>
                    <a:pt x="740" y="431"/>
                  </a:lnTo>
                  <a:lnTo>
                    <a:pt x="740" y="433"/>
                  </a:lnTo>
                  <a:lnTo>
                    <a:pt x="739" y="431"/>
                  </a:lnTo>
                  <a:close/>
                  <a:moveTo>
                    <a:pt x="38" y="1620"/>
                  </a:moveTo>
                  <a:lnTo>
                    <a:pt x="39" y="1620"/>
                  </a:lnTo>
                  <a:lnTo>
                    <a:pt x="39" y="1622"/>
                  </a:lnTo>
                  <a:lnTo>
                    <a:pt x="38" y="1622"/>
                  </a:lnTo>
                  <a:lnTo>
                    <a:pt x="38" y="1620"/>
                  </a:lnTo>
                  <a:close/>
                  <a:moveTo>
                    <a:pt x="52" y="1645"/>
                  </a:moveTo>
                  <a:lnTo>
                    <a:pt x="52" y="1643"/>
                  </a:lnTo>
                  <a:lnTo>
                    <a:pt x="54" y="1643"/>
                  </a:lnTo>
                  <a:lnTo>
                    <a:pt x="54" y="1645"/>
                  </a:lnTo>
                  <a:lnTo>
                    <a:pt x="52" y="1645"/>
                  </a:lnTo>
                  <a:close/>
                  <a:moveTo>
                    <a:pt x="467" y="1500"/>
                  </a:moveTo>
                  <a:lnTo>
                    <a:pt x="469" y="1500"/>
                  </a:lnTo>
                  <a:lnTo>
                    <a:pt x="467" y="1500"/>
                  </a:lnTo>
                  <a:close/>
                  <a:moveTo>
                    <a:pt x="542" y="1279"/>
                  </a:moveTo>
                  <a:lnTo>
                    <a:pt x="542" y="1277"/>
                  </a:lnTo>
                  <a:lnTo>
                    <a:pt x="542" y="1279"/>
                  </a:lnTo>
                  <a:close/>
                  <a:moveTo>
                    <a:pt x="576" y="1399"/>
                  </a:moveTo>
                  <a:lnTo>
                    <a:pt x="578" y="1399"/>
                  </a:lnTo>
                  <a:lnTo>
                    <a:pt x="576" y="1399"/>
                  </a:lnTo>
                  <a:close/>
                  <a:moveTo>
                    <a:pt x="579" y="1310"/>
                  </a:moveTo>
                  <a:lnTo>
                    <a:pt x="579" y="1308"/>
                  </a:lnTo>
                  <a:lnTo>
                    <a:pt x="579" y="1310"/>
                  </a:lnTo>
                  <a:close/>
                  <a:moveTo>
                    <a:pt x="612" y="724"/>
                  </a:moveTo>
                  <a:lnTo>
                    <a:pt x="614" y="724"/>
                  </a:lnTo>
                  <a:lnTo>
                    <a:pt x="614" y="726"/>
                  </a:lnTo>
                  <a:lnTo>
                    <a:pt x="612" y="724"/>
                  </a:lnTo>
                  <a:close/>
                  <a:moveTo>
                    <a:pt x="646" y="508"/>
                  </a:moveTo>
                  <a:lnTo>
                    <a:pt x="648" y="510"/>
                  </a:lnTo>
                  <a:lnTo>
                    <a:pt x="646" y="510"/>
                  </a:lnTo>
                  <a:lnTo>
                    <a:pt x="646" y="508"/>
                  </a:lnTo>
                  <a:close/>
                  <a:moveTo>
                    <a:pt x="78" y="1661"/>
                  </a:moveTo>
                  <a:lnTo>
                    <a:pt x="80" y="1661"/>
                  </a:lnTo>
                  <a:lnTo>
                    <a:pt x="78" y="1661"/>
                  </a:lnTo>
                  <a:close/>
                  <a:moveTo>
                    <a:pt x="540" y="799"/>
                  </a:moveTo>
                  <a:lnTo>
                    <a:pt x="540" y="797"/>
                  </a:lnTo>
                  <a:lnTo>
                    <a:pt x="540" y="799"/>
                  </a:lnTo>
                  <a:close/>
                  <a:moveTo>
                    <a:pt x="402" y="1869"/>
                  </a:moveTo>
                  <a:lnTo>
                    <a:pt x="402" y="1871"/>
                  </a:lnTo>
                  <a:lnTo>
                    <a:pt x="402" y="1869"/>
                  </a:lnTo>
                  <a:close/>
                  <a:moveTo>
                    <a:pt x="625" y="505"/>
                  </a:moveTo>
                  <a:lnTo>
                    <a:pt x="627" y="506"/>
                  </a:lnTo>
                  <a:lnTo>
                    <a:pt x="625" y="505"/>
                  </a:lnTo>
                  <a:close/>
                  <a:moveTo>
                    <a:pt x="15" y="1507"/>
                  </a:moveTo>
                  <a:lnTo>
                    <a:pt x="15" y="1508"/>
                  </a:lnTo>
                  <a:lnTo>
                    <a:pt x="15" y="1507"/>
                  </a:lnTo>
                  <a:close/>
                  <a:moveTo>
                    <a:pt x="456" y="1568"/>
                  </a:moveTo>
                  <a:lnTo>
                    <a:pt x="456" y="1570"/>
                  </a:lnTo>
                  <a:lnTo>
                    <a:pt x="456" y="1568"/>
                  </a:lnTo>
                  <a:close/>
                  <a:moveTo>
                    <a:pt x="428" y="1606"/>
                  </a:moveTo>
                  <a:lnTo>
                    <a:pt x="430" y="1606"/>
                  </a:lnTo>
                  <a:lnTo>
                    <a:pt x="428" y="1606"/>
                  </a:lnTo>
                  <a:close/>
                  <a:moveTo>
                    <a:pt x="446" y="1642"/>
                  </a:moveTo>
                  <a:lnTo>
                    <a:pt x="444" y="1642"/>
                  </a:lnTo>
                  <a:lnTo>
                    <a:pt x="446" y="1642"/>
                  </a:lnTo>
                  <a:close/>
                  <a:moveTo>
                    <a:pt x="134" y="1845"/>
                  </a:moveTo>
                  <a:lnTo>
                    <a:pt x="135" y="1845"/>
                  </a:lnTo>
                  <a:lnTo>
                    <a:pt x="135" y="1843"/>
                  </a:lnTo>
                  <a:lnTo>
                    <a:pt x="135" y="1845"/>
                  </a:lnTo>
                  <a:lnTo>
                    <a:pt x="134" y="1845"/>
                  </a:lnTo>
                  <a:close/>
                  <a:moveTo>
                    <a:pt x="688" y="461"/>
                  </a:moveTo>
                  <a:lnTo>
                    <a:pt x="688" y="459"/>
                  </a:lnTo>
                  <a:lnTo>
                    <a:pt x="688" y="461"/>
                  </a:lnTo>
                  <a:close/>
                  <a:moveTo>
                    <a:pt x="425" y="1137"/>
                  </a:moveTo>
                  <a:lnTo>
                    <a:pt x="426" y="1137"/>
                  </a:lnTo>
                  <a:lnTo>
                    <a:pt x="426" y="1139"/>
                  </a:lnTo>
                  <a:lnTo>
                    <a:pt x="425" y="1137"/>
                  </a:lnTo>
                  <a:close/>
                  <a:moveTo>
                    <a:pt x="438" y="1549"/>
                  </a:moveTo>
                  <a:lnTo>
                    <a:pt x="436" y="1549"/>
                  </a:lnTo>
                  <a:lnTo>
                    <a:pt x="438" y="1549"/>
                  </a:lnTo>
                  <a:close/>
                  <a:moveTo>
                    <a:pt x="457" y="1502"/>
                  </a:moveTo>
                  <a:lnTo>
                    <a:pt x="457" y="1503"/>
                  </a:lnTo>
                  <a:lnTo>
                    <a:pt x="457" y="1502"/>
                  </a:lnTo>
                  <a:close/>
                  <a:moveTo>
                    <a:pt x="449" y="1607"/>
                  </a:moveTo>
                  <a:lnTo>
                    <a:pt x="451" y="1607"/>
                  </a:lnTo>
                  <a:lnTo>
                    <a:pt x="449" y="1607"/>
                  </a:lnTo>
                  <a:close/>
                  <a:moveTo>
                    <a:pt x="426" y="1089"/>
                  </a:moveTo>
                  <a:lnTo>
                    <a:pt x="426" y="1087"/>
                  </a:lnTo>
                  <a:lnTo>
                    <a:pt x="426" y="1089"/>
                  </a:lnTo>
                  <a:close/>
                  <a:moveTo>
                    <a:pt x="636" y="537"/>
                  </a:moveTo>
                  <a:lnTo>
                    <a:pt x="636" y="539"/>
                  </a:lnTo>
                  <a:lnTo>
                    <a:pt x="636" y="537"/>
                  </a:lnTo>
                  <a:close/>
                  <a:moveTo>
                    <a:pt x="443" y="1632"/>
                  </a:moveTo>
                  <a:lnTo>
                    <a:pt x="443" y="1630"/>
                  </a:lnTo>
                  <a:lnTo>
                    <a:pt x="443" y="1632"/>
                  </a:lnTo>
                  <a:close/>
                  <a:moveTo>
                    <a:pt x="574" y="1363"/>
                  </a:moveTo>
                  <a:lnTo>
                    <a:pt x="574" y="1365"/>
                  </a:lnTo>
                  <a:lnTo>
                    <a:pt x="574" y="1363"/>
                  </a:lnTo>
                  <a:close/>
                  <a:moveTo>
                    <a:pt x="680" y="440"/>
                  </a:moveTo>
                  <a:lnTo>
                    <a:pt x="680" y="438"/>
                  </a:lnTo>
                  <a:lnTo>
                    <a:pt x="680" y="440"/>
                  </a:lnTo>
                  <a:close/>
                  <a:moveTo>
                    <a:pt x="557" y="1383"/>
                  </a:moveTo>
                  <a:lnTo>
                    <a:pt x="558" y="1383"/>
                  </a:lnTo>
                  <a:lnTo>
                    <a:pt x="557" y="1383"/>
                  </a:lnTo>
                  <a:close/>
                  <a:moveTo>
                    <a:pt x="12" y="1510"/>
                  </a:moveTo>
                  <a:lnTo>
                    <a:pt x="13" y="1510"/>
                  </a:lnTo>
                  <a:lnTo>
                    <a:pt x="13" y="1511"/>
                  </a:lnTo>
                  <a:lnTo>
                    <a:pt x="12" y="1510"/>
                  </a:lnTo>
                  <a:close/>
                  <a:moveTo>
                    <a:pt x="588" y="1386"/>
                  </a:moveTo>
                  <a:lnTo>
                    <a:pt x="589" y="1386"/>
                  </a:lnTo>
                  <a:lnTo>
                    <a:pt x="588" y="1386"/>
                  </a:lnTo>
                  <a:close/>
                  <a:moveTo>
                    <a:pt x="680" y="443"/>
                  </a:moveTo>
                  <a:lnTo>
                    <a:pt x="680" y="445"/>
                  </a:lnTo>
                  <a:lnTo>
                    <a:pt x="680" y="443"/>
                  </a:lnTo>
                  <a:close/>
                  <a:moveTo>
                    <a:pt x="563" y="1360"/>
                  </a:moveTo>
                  <a:lnTo>
                    <a:pt x="565" y="1360"/>
                  </a:lnTo>
                  <a:lnTo>
                    <a:pt x="563" y="1360"/>
                  </a:lnTo>
                  <a:close/>
                  <a:moveTo>
                    <a:pt x="422" y="1110"/>
                  </a:moveTo>
                  <a:lnTo>
                    <a:pt x="423" y="1110"/>
                  </a:lnTo>
                  <a:lnTo>
                    <a:pt x="422" y="1110"/>
                  </a:lnTo>
                  <a:close/>
                  <a:moveTo>
                    <a:pt x="527" y="1398"/>
                  </a:moveTo>
                  <a:lnTo>
                    <a:pt x="527" y="1396"/>
                  </a:lnTo>
                  <a:lnTo>
                    <a:pt x="529" y="1396"/>
                  </a:lnTo>
                  <a:lnTo>
                    <a:pt x="527" y="1398"/>
                  </a:lnTo>
                  <a:close/>
                  <a:moveTo>
                    <a:pt x="490" y="1466"/>
                  </a:moveTo>
                  <a:lnTo>
                    <a:pt x="490" y="1464"/>
                  </a:lnTo>
                  <a:lnTo>
                    <a:pt x="490" y="1466"/>
                  </a:lnTo>
                  <a:close/>
                  <a:moveTo>
                    <a:pt x="444" y="1211"/>
                  </a:moveTo>
                  <a:lnTo>
                    <a:pt x="444" y="1209"/>
                  </a:lnTo>
                  <a:lnTo>
                    <a:pt x="444" y="1211"/>
                  </a:lnTo>
                  <a:close/>
                  <a:moveTo>
                    <a:pt x="52" y="1642"/>
                  </a:moveTo>
                  <a:lnTo>
                    <a:pt x="54" y="1642"/>
                  </a:lnTo>
                  <a:lnTo>
                    <a:pt x="52" y="1642"/>
                  </a:lnTo>
                  <a:close/>
                  <a:moveTo>
                    <a:pt x="682" y="428"/>
                  </a:moveTo>
                  <a:lnTo>
                    <a:pt x="682" y="430"/>
                  </a:lnTo>
                  <a:lnTo>
                    <a:pt x="682" y="428"/>
                  </a:lnTo>
                  <a:close/>
                  <a:moveTo>
                    <a:pt x="657" y="459"/>
                  </a:moveTo>
                  <a:lnTo>
                    <a:pt x="659" y="459"/>
                  </a:lnTo>
                  <a:lnTo>
                    <a:pt x="657" y="459"/>
                  </a:lnTo>
                  <a:close/>
                  <a:moveTo>
                    <a:pt x="430" y="981"/>
                  </a:moveTo>
                  <a:lnTo>
                    <a:pt x="431" y="981"/>
                  </a:lnTo>
                  <a:lnTo>
                    <a:pt x="430" y="981"/>
                  </a:lnTo>
                  <a:close/>
                  <a:moveTo>
                    <a:pt x="513" y="841"/>
                  </a:moveTo>
                  <a:lnTo>
                    <a:pt x="513" y="840"/>
                  </a:lnTo>
                  <a:lnTo>
                    <a:pt x="514" y="840"/>
                  </a:lnTo>
                  <a:lnTo>
                    <a:pt x="514" y="841"/>
                  </a:lnTo>
                  <a:lnTo>
                    <a:pt x="513" y="841"/>
                  </a:lnTo>
                  <a:close/>
                  <a:moveTo>
                    <a:pt x="627" y="754"/>
                  </a:moveTo>
                  <a:lnTo>
                    <a:pt x="625" y="754"/>
                  </a:lnTo>
                  <a:lnTo>
                    <a:pt x="627" y="754"/>
                  </a:lnTo>
                  <a:close/>
                  <a:moveTo>
                    <a:pt x="12" y="1494"/>
                  </a:moveTo>
                  <a:lnTo>
                    <a:pt x="12" y="1495"/>
                  </a:lnTo>
                  <a:lnTo>
                    <a:pt x="12" y="1494"/>
                  </a:lnTo>
                  <a:close/>
                  <a:moveTo>
                    <a:pt x="454" y="1559"/>
                  </a:moveTo>
                  <a:lnTo>
                    <a:pt x="454" y="1557"/>
                  </a:lnTo>
                  <a:lnTo>
                    <a:pt x="454" y="1559"/>
                  </a:lnTo>
                  <a:close/>
                  <a:moveTo>
                    <a:pt x="565" y="1365"/>
                  </a:moveTo>
                  <a:lnTo>
                    <a:pt x="563" y="1365"/>
                  </a:lnTo>
                  <a:lnTo>
                    <a:pt x="565" y="1365"/>
                  </a:lnTo>
                  <a:close/>
                  <a:moveTo>
                    <a:pt x="540" y="1388"/>
                  </a:moveTo>
                  <a:lnTo>
                    <a:pt x="542" y="1388"/>
                  </a:lnTo>
                  <a:lnTo>
                    <a:pt x="540" y="1388"/>
                  </a:lnTo>
                  <a:close/>
                  <a:moveTo>
                    <a:pt x="570" y="1383"/>
                  </a:moveTo>
                  <a:lnTo>
                    <a:pt x="570" y="1381"/>
                  </a:lnTo>
                  <a:lnTo>
                    <a:pt x="571" y="1383"/>
                  </a:lnTo>
                  <a:lnTo>
                    <a:pt x="570" y="1383"/>
                  </a:lnTo>
                  <a:close/>
                  <a:moveTo>
                    <a:pt x="539" y="797"/>
                  </a:moveTo>
                  <a:lnTo>
                    <a:pt x="539" y="799"/>
                  </a:lnTo>
                  <a:lnTo>
                    <a:pt x="539" y="797"/>
                  </a:lnTo>
                  <a:close/>
                  <a:moveTo>
                    <a:pt x="449" y="1603"/>
                  </a:moveTo>
                  <a:lnTo>
                    <a:pt x="451" y="1603"/>
                  </a:lnTo>
                  <a:lnTo>
                    <a:pt x="449" y="1603"/>
                  </a:lnTo>
                  <a:close/>
                  <a:moveTo>
                    <a:pt x="509" y="1468"/>
                  </a:moveTo>
                  <a:lnTo>
                    <a:pt x="509" y="1466"/>
                  </a:lnTo>
                  <a:lnTo>
                    <a:pt x="509" y="1468"/>
                  </a:lnTo>
                  <a:close/>
                  <a:moveTo>
                    <a:pt x="443" y="1622"/>
                  </a:moveTo>
                  <a:lnTo>
                    <a:pt x="443" y="1624"/>
                  </a:lnTo>
                  <a:lnTo>
                    <a:pt x="443" y="1622"/>
                  </a:lnTo>
                  <a:close/>
                  <a:moveTo>
                    <a:pt x="443" y="1651"/>
                  </a:moveTo>
                  <a:lnTo>
                    <a:pt x="443" y="1650"/>
                  </a:lnTo>
                  <a:lnTo>
                    <a:pt x="443" y="1651"/>
                  </a:lnTo>
                  <a:close/>
                  <a:moveTo>
                    <a:pt x="454" y="1526"/>
                  </a:moveTo>
                  <a:lnTo>
                    <a:pt x="456" y="1526"/>
                  </a:lnTo>
                  <a:lnTo>
                    <a:pt x="454" y="1526"/>
                  </a:lnTo>
                  <a:close/>
                  <a:moveTo>
                    <a:pt x="454" y="1507"/>
                  </a:moveTo>
                  <a:lnTo>
                    <a:pt x="456" y="1507"/>
                  </a:lnTo>
                  <a:lnTo>
                    <a:pt x="454" y="1507"/>
                  </a:lnTo>
                  <a:close/>
                  <a:moveTo>
                    <a:pt x="456" y="1572"/>
                  </a:moveTo>
                  <a:lnTo>
                    <a:pt x="454" y="1572"/>
                  </a:lnTo>
                  <a:lnTo>
                    <a:pt x="456" y="1572"/>
                  </a:lnTo>
                  <a:close/>
                  <a:moveTo>
                    <a:pt x="446" y="1516"/>
                  </a:moveTo>
                  <a:lnTo>
                    <a:pt x="446" y="1518"/>
                  </a:lnTo>
                  <a:lnTo>
                    <a:pt x="446" y="1516"/>
                  </a:lnTo>
                  <a:close/>
                  <a:moveTo>
                    <a:pt x="431" y="981"/>
                  </a:moveTo>
                  <a:lnTo>
                    <a:pt x="431" y="980"/>
                  </a:lnTo>
                  <a:lnTo>
                    <a:pt x="431" y="981"/>
                  </a:lnTo>
                  <a:close/>
                  <a:moveTo>
                    <a:pt x="628" y="549"/>
                  </a:moveTo>
                  <a:lnTo>
                    <a:pt x="628" y="547"/>
                  </a:lnTo>
                  <a:lnTo>
                    <a:pt x="628" y="549"/>
                  </a:lnTo>
                  <a:close/>
                  <a:moveTo>
                    <a:pt x="438" y="1762"/>
                  </a:moveTo>
                  <a:lnTo>
                    <a:pt x="440" y="1762"/>
                  </a:lnTo>
                  <a:lnTo>
                    <a:pt x="438" y="1762"/>
                  </a:lnTo>
                  <a:close/>
                  <a:moveTo>
                    <a:pt x="532" y="1235"/>
                  </a:moveTo>
                  <a:lnTo>
                    <a:pt x="534" y="1235"/>
                  </a:lnTo>
                  <a:lnTo>
                    <a:pt x="532" y="1235"/>
                  </a:lnTo>
                  <a:close/>
                  <a:moveTo>
                    <a:pt x="457" y="1534"/>
                  </a:moveTo>
                  <a:lnTo>
                    <a:pt x="459" y="1534"/>
                  </a:lnTo>
                  <a:lnTo>
                    <a:pt x="457" y="1534"/>
                  </a:lnTo>
                  <a:close/>
                  <a:moveTo>
                    <a:pt x="542" y="1381"/>
                  </a:moveTo>
                  <a:lnTo>
                    <a:pt x="544" y="1381"/>
                  </a:lnTo>
                  <a:lnTo>
                    <a:pt x="542" y="1381"/>
                  </a:lnTo>
                  <a:close/>
                  <a:moveTo>
                    <a:pt x="653" y="477"/>
                  </a:moveTo>
                  <a:lnTo>
                    <a:pt x="654" y="477"/>
                  </a:lnTo>
                  <a:lnTo>
                    <a:pt x="653" y="477"/>
                  </a:lnTo>
                  <a:close/>
                  <a:moveTo>
                    <a:pt x="675" y="449"/>
                  </a:moveTo>
                  <a:lnTo>
                    <a:pt x="674" y="449"/>
                  </a:lnTo>
                  <a:lnTo>
                    <a:pt x="675" y="449"/>
                  </a:lnTo>
                  <a:close/>
                  <a:moveTo>
                    <a:pt x="644" y="487"/>
                  </a:moveTo>
                  <a:lnTo>
                    <a:pt x="644" y="488"/>
                  </a:lnTo>
                  <a:lnTo>
                    <a:pt x="644" y="487"/>
                  </a:lnTo>
                  <a:close/>
                  <a:moveTo>
                    <a:pt x="490" y="1490"/>
                  </a:moveTo>
                  <a:lnTo>
                    <a:pt x="490" y="1492"/>
                  </a:lnTo>
                  <a:lnTo>
                    <a:pt x="490" y="1490"/>
                  </a:lnTo>
                  <a:close/>
                  <a:moveTo>
                    <a:pt x="435" y="1616"/>
                  </a:moveTo>
                  <a:lnTo>
                    <a:pt x="435" y="1617"/>
                  </a:lnTo>
                  <a:lnTo>
                    <a:pt x="435" y="1616"/>
                  </a:lnTo>
                  <a:close/>
                  <a:moveTo>
                    <a:pt x="573" y="1310"/>
                  </a:moveTo>
                  <a:lnTo>
                    <a:pt x="571" y="1310"/>
                  </a:lnTo>
                  <a:lnTo>
                    <a:pt x="571" y="1308"/>
                  </a:lnTo>
                  <a:lnTo>
                    <a:pt x="573" y="1308"/>
                  </a:lnTo>
                  <a:lnTo>
                    <a:pt x="573" y="1310"/>
                  </a:lnTo>
                  <a:close/>
                  <a:moveTo>
                    <a:pt x="456" y="1534"/>
                  </a:moveTo>
                  <a:lnTo>
                    <a:pt x="457" y="1534"/>
                  </a:lnTo>
                  <a:lnTo>
                    <a:pt x="456" y="1534"/>
                  </a:lnTo>
                  <a:close/>
                  <a:moveTo>
                    <a:pt x="529" y="1233"/>
                  </a:moveTo>
                  <a:lnTo>
                    <a:pt x="531" y="1233"/>
                  </a:lnTo>
                  <a:lnTo>
                    <a:pt x="529" y="1233"/>
                  </a:lnTo>
                  <a:close/>
                  <a:moveTo>
                    <a:pt x="444" y="1625"/>
                  </a:moveTo>
                  <a:lnTo>
                    <a:pt x="446" y="1625"/>
                  </a:lnTo>
                  <a:lnTo>
                    <a:pt x="444" y="1625"/>
                  </a:lnTo>
                  <a:close/>
                  <a:moveTo>
                    <a:pt x="745" y="425"/>
                  </a:moveTo>
                  <a:lnTo>
                    <a:pt x="747" y="425"/>
                  </a:lnTo>
                  <a:lnTo>
                    <a:pt x="745" y="425"/>
                  </a:lnTo>
                  <a:close/>
                  <a:moveTo>
                    <a:pt x="547" y="1437"/>
                  </a:moveTo>
                  <a:lnTo>
                    <a:pt x="547" y="1435"/>
                  </a:lnTo>
                  <a:lnTo>
                    <a:pt x="547" y="1437"/>
                  </a:lnTo>
                  <a:close/>
                  <a:moveTo>
                    <a:pt x="462" y="1559"/>
                  </a:moveTo>
                  <a:lnTo>
                    <a:pt x="464" y="1559"/>
                  </a:lnTo>
                  <a:lnTo>
                    <a:pt x="462" y="1559"/>
                  </a:lnTo>
                  <a:close/>
                  <a:moveTo>
                    <a:pt x="436" y="1150"/>
                  </a:moveTo>
                  <a:lnTo>
                    <a:pt x="436" y="1149"/>
                  </a:lnTo>
                  <a:lnTo>
                    <a:pt x="436" y="1150"/>
                  </a:lnTo>
                  <a:close/>
                  <a:moveTo>
                    <a:pt x="345" y="1874"/>
                  </a:moveTo>
                  <a:lnTo>
                    <a:pt x="345" y="1873"/>
                  </a:lnTo>
                  <a:lnTo>
                    <a:pt x="345" y="1874"/>
                  </a:lnTo>
                  <a:close/>
                  <a:moveTo>
                    <a:pt x="350" y="1871"/>
                  </a:moveTo>
                  <a:lnTo>
                    <a:pt x="350" y="1873"/>
                  </a:lnTo>
                  <a:lnTo>
                    <a:pt x="350" y="1871"/>
                  </a:lnTo>
                  <a:close/>
                  <a:moveTo>
                    <a:pt x="444" y="1664"/>
                  </a:moveTo>
                  <a:lnTo>
                    <a:pt x="444" y="1666"/>
                  </a:lnTo>
                  <a:lnTo>
                    <a:pt x="444" y="1664"/>
                  </a:lnTo>
                  <a:close/>
                  <a:moveTo>
                    <a:pt x="12" y="1490"/>
                  </a:moveTo>
                  <a:lnTo>
                    <a:pt x="10" y="1490"/>
                  </a:lnTo>
                  <a:lnTo>
                    <a:pt x="12" y="1490"/>
                  </a:lnTo>
                  <a:close/>
                  <a:moveTo>
                    <a:pt x="379" y="1869"/>
                  </a:moveTo>
                  <a:lnTo>
                    <a:pt x="381" y="1869"/>
                  </a:lnTo>
                  <a:lnTo>
                    <a:pt x="379" y="1869"/>
                  </a:lnTo>
                  <a:close/>
                  <a:moveTo>
                    <a:pt x="628" y="461"/>
                  </a:moveTo>
                  <a:lnTo>
                    <a:pt x="630" y="461"/>
                  </a:lnTo>
                  <a:lnTo>
                    <a:pt x="628" y="461"/>
                  </a:lnTo>
                  <a:close/>
                  <a:moveTo>
                    <a:pt x="431" y="1612"/>
                  </a:moveTo>
                  <a:lnTo>
                    <a:pt x="433" y="1612"/>
                  </a:lnTo>
                  <a:lnTo>
                    <a:pt x="431" y="1612"/>
                  </a:lnTo>
                  <a:close/>
                  <a:moveTo>
                    <a:pt x="0" y="1500"/>
                  </a:moveTo>
                  <a:lnTo>
                    <a:pt x="2" y="1500"/>
                  </a:lnTo>
                  <a:lnTo>
                    <a:pt x="0" y="1500"/>
                  </a:lnTo>
                  <a:close/>
                  <a:moveTo>
                    <a:pt x="69" y="1666"/>
                  </a:moveTo>
                  <a:lnTo>
                    <a:pt x="69" y="1668"/>
                  </a:lnTo>
                  <a:lnTo>
                    <a:pt x="69" y="1666"/>
                  </a:lnTo>
                  <a:close/>
                  <a:moveTo>
                    <a:pt x="627" y="506"/>
                  </a:moveTo>
                  <a:lnTo>
                    <a:pt x="627" y="505"/>
                  </a:lnTo>
                  <a:lnTo>
                    <a:pt x="627" y="506"/>
                  </a:lnTo>
                  <a:close/>
                  <a:moveTo>
                    <a:pt x="448" y="1562"/>
                  </a:moveTo>
                  <a:lnTo>
                    <a:pt x="448" y="1560"/>
                  </a:lnTo>
                  <a:lnTo>
                    <a:pt x="448" y="1562"/>
                  </a:lnTo>
                  <a:close/>
                  <a:moveTo>
                    <a:pt x="714" y="445"/>
                  </a:moveTo>
                  <a:lnTo>
                    <a:pt x="716" y="445"/>
                  </a:lnTo>
                  <a:lnTo>
                    <a:pt x="714" y="445"/>
                  </a:lnTo>
                  <a:close/>
                  <a:moveTo>
                    <a:pt x="443" y="1513"/>
                  </a:moveTo>
                  <a:lnTo>
                    <a:pt x="443" y="1511"/>
                  </a:lnTo>
                  <a:lnTo>
                    <a:pt x="443" y="1513"/>
                  </a:lnTo>
                  <a:close/>
                  <a:moveTo>
                    <a:pt x="493" y="1482"/>
                  </a:moveTo>
                  <a:lnTo>
                    <a:pt x="492" y="1482"/>
                  </a:lnTo>
                  <a:lnTo>
                    <a:pt x="493" y="1482"/>
                  </a:lnTo>
                  <a:close/>
                  <a:moveTo>
                    <a:pt x="496" y="1461"/>
                  </a:moveTo>
                  <a:lnTo>
                    <a:pt x="498" y="1461"/>
                  </a:lnTo>
                  <a:lnTo>
                    <a:pt x="498" y="1463"/>
                  </a:lnTo>
                  <a:lnTo>
                    <a:pt x="496" y="1461"/>
                  </a:lnTo>
                  <a:close/>
                  <a:moveTo>
                    <a:pt x="690" y="472"/>
                  </a:moveTo>
                  <a:lnTo>
                    <a:pt x="690" y="474"/>
                  </a:lnTo>
                  <a:lnTo>
                    <a:pt x="690" y="472"/>
                  </a:lnTo>
                  <a:close/>
                  <a:moveTo>
                    <a:pt x="539" y="786"/>
                  </a:moveTo>
                  <a:lnTo>
                    <a:pt x="539" y="784"/>
                  </a:lnTo>
                  <a:lnTo>
                    <a:pt x="539" y="786"/>
                  </a:lnTo>
                  <a:close/>
                  <a:moveTo>
                    <a:pt x="444" y="957"/>
                  </a:moveTo>
                  <a:lnTo>
                    <a:pt x="444" y="958"/>
                  </a:lnTo>
                  <a:lnTo>
                    <a:pt x="444" y="957"/>
                  </a:lnTo>
                  <a:close/>
                  <a:moveTo>
                    <a:pt x="365" y="1873"/>
                  </a:moveTo>
                  <a:lnTo>
                    <a:pt x="365" y="1874"/>
                  </a:lnTo>
                  <a:lnTo>
                    <a:pt x="365" y="1873"/>
                  </a:lnTo>
                  <a:close/>
                  <a:moveTo>
                    <a:pt x="453" y="1523"/>
                  </a:moveTo>
                  <a:lnTo>
                    <a:pt x="453" y="1521"/>
                  </a:lnTo>
                  <a:lnTo>
                    <a:pt x="453" y="1523"/>
                  </a:lnTo>
                  <a:close/>
                  <a:moveTo>
                    <a:pt x="539" y="1238"/>
                  </a:moveTo>
                  <a:lnTo>
                    <a:pt x="540" y="1238"/>
                  </a:lnTo>
                  <a:lnTo>
                    <a:pt x="539" y="1238"/>
                  </a:lnTo>
                  <a:close/>
                  <a:moveTo>
                    <a:pt x="431" y="1053"/>
                  </a:moveTo>
                  <a:lnTo>
                    <a:pt x="433" y="1053"/>
                  </a:lnTo>
                  <a:lnTo>
                    <a:pt x="431" y="1053"/>
                  </a:lnTo>
                  <a:close/>
                  <a:moveTo>
                    <a:pt x="576" y="1409"/>
                  </a:moveTo>
                  <a:lnTo>
                    <a:pt x="576" y="1407"/>
                  </a:lnTo>
                  <a:lnTo>
                    <a:pt x="576" y="1409"/>
                  </a:lnTo>
                  <a:close/>
                  <a:moveTo>
                    <a:pt x="666" y="495"/>
                  </a:moveTo>
                  <a:lnTo>
                    <a:pt x="667" y="495"/>
                  </a:lnTo>
                  <a:lnTo>
                    <a:pt x="666" y="495"/>
                  </a:lnTo>
                  <a:close/>
                  <a:moveTo>
                    <a:pt x="20" y="1502"/>
                  </a:moveTo>
                  <a:lnTo>
                    <a:pt x="22" y="1502"/>
                  </a:lnTo>
                  <a:lnTo>
                    <a:pt x="20" y="1502"/>
                  </a:lnTo>
                  <a:close/>
                  <a:moveTo>
                    <a:pt x="433" y="981"/>
                  </a:moveTo>
                  <a:lnTo>
                    <a:pt x="435" y="981"/>
                  </a:lnTo>
                  <a:lnTo>
                    <a:pt x="433" y="983"/>
                  </a:lnTo>
                  <a:lnTo>
                    <a:pt x="433" y="981"/>
                  </a:lnTo>
                  <a:close/>
                  <a:moveTo>
                    <a:pt x="584" y="1389"/>
                  </a:moveTo>
                  <a:lnTo>
                    <a:pt x="584" y="1391"/>
                  </a:lnTo>
                  <a:lnTo>
                    <a:pt x="584" y="1389"/>
                  </a:lnTo>
                  <a:close/>
                  <a:moveTo>
                    <a:pt x="23" y="1524"/>
                  </a:moveTo>
                  <a:lnTo>
                    <a:pt x="23" y="1526"/>
                  </a:lnTo>
                  <a:lnTo>
                    <a:pt x="23" y="1524"/>
                  </a:lnTo>
                  <a:close/>
                  <a:moveTo>
                    <a:pt x="531" y="1232"/>
                  </a:moveTo>
                  <a:lnTo>
                    <a:pt x="529" y="1232"/>
                  </a:lnTo>
                  <a:lnTo>
                    <a:pt x="531" y="1232"/>
                  </a:lnTo>
                  <a:close/>
                  <a:moveTo>
                    <a:pt x="443" y="1664"/>
                  </a:moveTo>
                  <a:lnTo>
                    <a:pt x="443" y="1666"/>
                  </a:lnTo>
                  <a:lnTo>
                    <a:pt x="443" y="1664"/>
                  </a:lnTo>
                  <a:close/>
                  <a:moveTo>
                    <a:pt x="586" y="747"/>
                  </a:moveTo>
                  <a:lnTo>
                    <a:pt x="584" y="747"/>
                  </a:lnTo>
                  <a:lnTo>
                    <a:pt x="586" y="747"/>
                  </a:lnTo>
                  <a:close/>
                  <a:moveTo>
                    <a:pt x="470" y="1500"/>
                  </a:moveTo>
                  <a:lnTo>
                    <a:pt x="470" y="1498"/>
                  </a:lnTo>
                  <a:lnTo>
                    <a:pt x="470" y="1500"/>
                  </a:lnTo>
                  <a:close/>
                  <a:moveTo>
                    <a:pt x="656" y="487"/>
                  </a:moveTo>
                  <a:lnTo>
                    <a:pt x="656" y="488"/>
                  </a:lnTo>
                  <a:lnTo>
                    <a:pt x="656" y="487"/>
                  </a:lnTo>
                  <a:close/>
                  <a:moveTo>
                    <a:pt x="35" y="1591"/>
                  </a:moveTo>
                  <a:lnTo>
                    <a:pt x="35" y="1593"/>
                  </a:lnTo>
                  <a:lnTo>
                    <a:pt x="35" y="1591"/>
                  </a:lnTo>
                  <a:close/>
                  <a:moveTo>
                    <a:pt x="495" y="1456"/>
                  </a:moveTo>
                  <a:lnTo>
                    <a:pt x="495" y="1455"/>
                  </a:lnTo>
                  <a:lnTo>
                    <a:pt x="495" y="1456"/>
                  </a:lnTo>
                  <a:close/>
                  <a:moveTo>
                    <a:pt x="576" y="1372"/>
                  </a:moveTo>
                  <a:lnTo>
                    <a:pt x="574" y="1372"/>
                  </a:lnTo>
                  <a:lnTo>
                    <a:pt x="576" y="1372"/>
                  </a:lnTo>
                  <a:close/>
                  <a:moveTo>
                    <a:pt x="570" y="1435"/>
                  </a:moveTo>
                  <a:lnTo>
                    <a:pt x="570" y="1433"/>
                  </a:lnTo>
                  <a:lnTo>
                    <a:pt x="570" y="1435"/>
                  </a:lnTo>
                  <a:close/>
                  <a:moveTo>
                    <a:pt x="627" y="745"/>
                  </a:moveTo>
                  <a:lnTo>
                    <a:pt x="627" y="744"/>
                  </a:lnTo>
                  <a:lnTo>
                    <a:pt x="627" y="745"/>
                  </a:lnTo>
                  <a:close/>
                  <a:moveTo>
                    <a:pt x="423" y="1076"/>
                  </a:moveTo>
                  <a:lnTo>
                    <a:pt x="425" y="1076"/>
                  </a:lnTo>
                  <a:lnTo>
                    <a:pt x="423" y="1076"/>
                  </a:lnTo>
                  <a:close/>
                  <a:moveTo>
                    <a:pt x="737" y="423"/>
                  </a:moveTo>
                  <a:lnTo>
                    <a:pt x="739" y="423"/>
                  </a:lnTo>
                  <a:lnTo>
                    <a:pt x="737" y="423"/>
                  </a:lnTo>
                  <a:close/>
                  <a:moveTo>
                    <a:pt x="441" y="955"/>
                  </a:moveTo>
                  <a:lnTo>
                    <a:pt x="441" y="957"/>
                  </a:lnTo>
                  <a:lnTo>
                    <a:pt x="441" y="955"/>
                  </a:lnTo>
                  <a:close/>
                  <a:moveTo>
                    <a:pt x="100" y="1744"/>
                  </a:moveTo>
                  <a:lnTo>
                    <a:pt x="100" y="1746"/>
                  </a:lnTo>
                  <a:lnTo>
                    <a:pt x="100" y="1744"/>
                  </a:lnTo>
                  <a:close/>
                  <a:moveTo>
                    <a:pt x="570" y="1368"/>
                  </a:moveTo>
                  <a:lnTo>
                    <a:pt x="571" y="1368"/>
                  </a:lnTo>
                  <a:lnTo>
                    <a:pt x="570" y="1368"/>
                  </a:lnTo>
                  <a:close/>
                  <a:moveTo>
                    <a:pt x="426" y="1076"/>
                  </a:moveTo>
                  <a:lnTo>
                    <a:pt x="425" y="1076"/>
                  </a:lnTo>
                  <a:lnTo>
                    <a:pt x="426" y="1076"/>
                  </a:lnTo>
                  <a:close/>
                  <a:moveTo>
                    <a:pt x="35" y="1576"/>
                  </a:moveTo>
                  <a:lnTo>
                    <a:pt x="35" y="1578"/>
                  </a:lnTo>
                  <a:lnTo>
                    <a:pt x="35" y="1576"/>
                  </a:lnTo>
                  <a:close/>
                  <a:moveTo>
                    <a:pt x="444" y="1547"/>
                  </a:moveTo>
                  <a:lnTo>
                    <a:pt x="444" y="1546"/>
                  </a:lnTo>
                  <a:lnTo>
                    <a:pt x="444" y="1547"/>
                  </a:lnTo>
                  <a:close/>
                  <a:moveTo>
                    <a:pt x="13" y="1515"/>
                  </a:moveTo>
                  <a:lnTo>
                    <a:pt x="15" y="1515"/>
                  </a:lnTo>
                  <a:lnTo>
                    <a:pt x="13" y="1515"/>
                  </a:lnTo>
                  <a:close/>
                  <a:moveTo>
                    <a:pt x="44" y="1627"/>
                  </a:moveTo>
                  <a:lnTo>
                    <a:pt x="46" y="1627"/>
                  </a:lnTo>
                  <a:lnTo>
                    <a:pt x="44" y="1627"/>
                  </a:lnTo>
                  <a:close/>
                  <a:moveTo>
                    <a:pt x="540" y="793"/>
                  </a:moveTo>
                  <a:lnTo>
                    <a:pt x="542" y="793"/>
                  </a:lnTo>
                  <a:lnTo>
                    <a:pt x="540" y="793"/>
                  </a:lnTo>
                  <a:close/>
                  <a:moveTo>
                    <a:pt x="574" y="1339"/>
                  </a:moveTo>
                  <a:lnTo>
                    <a:pt x="574" y="1337"/>
                  </a:lnTo>
                  <a:lnTo>
                    <a:pt x="574" y="1339"/>
                  </a:lnTo>
                  <a:close/>
                  <a:moveTo>
                    <a:pt x="625" y="508"/>
                  </a:moveTo>
                  <a:lnTo>
                    <a:pt x="627" y="508"/>
                  </a:lnTo>
                  <a:lnTo>
                    <a:pt x="625" y="508"/>
                  </a:lnTo>
                  <a:close/>
                  <a:moveTo>
                    <a:pt x="435" y="1799"/>
                  </a:moveTo>
                  <a:lnTo>
                    <a:pt x="435" y="1798"/>
                  </a:lnTo>
                  <a:lnTo>
                    <a:pt x="435" y="1799"/>
                  </a:lnTo>
                  <a:close/>
                  <a:moveTo>
                    <a:pt x="9" y="1498"/>
                  </a:moveTo>
                  <a:lnTo>
                    <a:pt x="9" y="1497"/>
                  </a:lnTo>
                  <a:lnTo>
                    <a:pt x="9" y="1498"/>
                  </a:lnTo>
                  <a:close/>
                  <a:moveTo>
                    <a:pt x="428" y="1173"/>
                  </a:moveTo>
                  <a:lnTo>
                    <a:pt x="428" y="1175"/>
                  </a:lnTo>
                  <a:lnTo>
                    <a:pt x="428" y="1173"/>
                  </a:lnTo>
                  <a:close/>
                  <a:moveTo>
                    <a:pt x="461" y="1547"/>
                  </a:moveTo>
                  <a:lnTo>
                    <a:pt x="459" y="1547"/>
                  </a:lnTo>
                  <a:lnTo>
                    <a:pt x="461" y="1547"/>
                  </a:lnTo>
                  <a:close/>
                  <a:moveTo>
                    <a:pt x="627" y="684"/>
                  </a:moveTo>
                  <a:lnTo>
                    <a:pt x="628" y="684"/>
                  </a:lnTo>
                  <a:lnTo>
                    <a:pt x="627" y="684"/>
                  </a:lnTo>
                  <a:close/>
                  <a:moveTo>
                    <a:pt x="565" y="1352"/>
                  </a:moveTo>
                  <a:lnTo>
                    <a:pt x="565" y="1354"/>
                  </a:lnTo>
                  <a:lnTo>
                    <a:pt x="565" y="1352"/>
                  </a:lnTo>
                  <a:close/>
                  <a:moveTo>
                    <a:pt x="426" y="1119"/>
                  </a:moveTo>
                  <a:lnTo>
                    <a:pt x="428" y="1119"/>
                  </a:lnTo>
                  <a:lnTo>
                    <a:pt x="426" y="1119"/>
                  </a:lnTo>
                  <a:close/>
                  <a:moveTo>
                    <a:pt x="617" y="1355"/>
                  </a:moveTo>
                  <a:lnTo>
                    <a:pt x="618" y="1355"/>
                  </a:lnTo>
                  <a:lnTo>
                    <a:pt x="618" y="1357"/>
                  </a:lnTo>
                  <a:lnTo>
                    <a:pt x="617" y="1357"/>
                  </a:lnTo>
                  <a:lnTo>
                    <a:pt x="617" y="1355"/>
                  </a:lnTo>
                  <a:close/>
                  <a:moveTo>
                    <a:pt x="446" y="1627"/>
                  </a:moveTo>
                  <a:lnTo>
                    <a:pt x="446" y="1625"/>
                  </a:lnTo>
                  <a:lnTo>
                    <a:pt x="446" y="1627"/>
                  </a:lnTo>
                  <a:close/>
                  <a:moveTo>
                    <a:pt x="571" y="1363"/>
                  </a:moveTo>
                  <a:lnTo>
                    <a:pt x="573" y="1363"/>
                  </a:lnTo>
                  <a:lnTo>
                    <a:pt x="571" y="1363"/>
                  </a:lnTo>
                  <a:close/>
                  <a:moveTo>
                    <a:pt x="726" y="435"/>
                  </a:moveTo>
                  <a:lnTo>
                    <a:pt x="726" y="433"/>
                  </a:lnTo>
                  <a:lnTo>
                    <a:pt x="726" y="435"/>
                  </a:lnTo>
                  <a:close/>
                  <a:moveTo>
                    <a:pt x="563" y="1256"/>
                  </a:moveTo>
                  <a:lnTo>
                    <a:pt x="563" y="1254"/>
                  </a:lnTo>
                  <a:lnTo>
                    <a:pt x="563" y="1256"/>
                  </a:lnTo>
                  <a:close/>
                  <a:moveTo>
                    <a:pt x="438" y="1550"/>
                  </a:moveTo>
                  <a:lnTo>
                    <a:pt x="438" y="1549"/>
                  </a:lnTo>
                  <a:lnTo>
                    <a:pt x="438" y="1550"/>
                  </a:lnTo>
                  <a:close/>
                  <a:moveTo>
                    <a:pt x="573" y="1363"/>
                  </a:moveTo>
                  <a:lnTo>
                    <a:pt x="573" y="1362"/>
                  </a:lnTo>
                  <a:lnTo>
                    <a:pt x="573" y="1363"/>
                  </a:lnTo>
                  <a:close/>
                  <a:moveTo>
                    <a:pt x="552" y="1438"/>
                  </a:moveTo>
                  <a:lnTo>
                    <a:pt x="552" y="1437"/>
                  </a:lnTo>
                  <a:lnTo>
                    <a:pt x="552" y="1438"/>
                  </a:lnTo>
                  <a:close/>
                  <a:moveTo>
                    <a:pt x="12" y="1485"/>
                  </a:moveTo>
                  <a:lnTo>
                    <a:pt x="13" y="1485"/>
                  </a:lnTo>
                  <a:lnTo>
                    <a:pt x="12" y="1485"/>
                  </a:lnTo>
                  <a:close/>
                  <a:moveTo>
                    <a:pt x="472" y="1220"/>
                  </a:moveTo>
                  <a:lnTo>
                    <a:pt x="474" y="1220"/>
                  </a:lnTo>
                  <a:lnTo>
                    <a:pt x="472" y="1220"/>
                  </a:lnTo>
                  <a:close/>
                  <a:moveTo>
                    <a:pt x="688" y="458"/>
                  </a:moveTo>
                  <a:lnTo>
                    <a:pt x="690" y="458"/>
                  </a:lnTo>
                  <a:lnTo>
                    <a:pt x="688" y="458"/>
                  </a:lnTo>
                  <a:close/>
                  <a:moveTo>
                    <a:pt x="509" y="1243"/>
                  </a:moveTo>
                  <a:lnTo>
                    <a:pt x="509" y="1241"/>
                  </a:lnTo>
                  <a:lnTo>
                    <a:pt x="509" y="1243"/>
                  </a:lnTo>
                  <a:close/>
                  <a:moveTo>
                    <a:pt x="628" y="536"/>
                  </a:moveTo>
                  <a:lnTo>
                    <a:pt x="628" y="534"/>
                  </a:lnTo>
                  <a:lnTo>
                    <a:pt x="628" y="536"/>
                  </a:lnTo>
                  <a:close/>
                  <a:moveTo>
                    <a:pt x="545" y="1406"/>
                  </a:moveTo>
                  <a:lnTo>
                    <a:pt x="547" y="1406"/>
                  </a:lnTo>
                  <a:lnTo>
                    <a:pt x="545" y="1406"/>
                  </a:lnTo>
                  <a:close/>
                  <a:moveTo>
                    <a:pt x="529" y="1464"/>
                  </a:moveTo>
                  <a:lnTo>
                    <a:pt x="531" y="1464"/>
                  </a:lnTo>
                  <a:lnTo>
                    <a:pt x="529" y="1464"/>
                  </a:lnTo>
                  <a:close/>
                  <a:moveTo>
                    <a:pt x="12" y="1481"/>
                  </a:moveTo>
                  <a:lnTo>
                    <a:pt x="10" y="1481"/>
                  </a:lnTo>
                  <a:lnTo>
                    <a:pt x="12" y="1481"/>
                  </a:lnTo>
                  <a:close/>
                  <a:moveTo>
                    <a:pt x="482" y="892"/>
                  </a:moveTo>
                  <a:lnTo>
                    <a:pt x="483" y="892"/>
                  </a:lnTo>
                  <a:lnTo>
                    <a:pt x="482" y="892"/>
                  </a:lnTo>
                  <a:close/>
                  <a:moveTo>
                    <a:pt x="428" y="1614"/>
                  </a:moveTo>
                  <a:lnTo>
                    <a:pt x="428" y="1616"/>
                  </a:lnTo>
                  <a:lnTo>
                    <a:pt x="428" y="1614"/>
                  </a:lnTo>
                  <a:close/>
                  <a:moveTo>
                    <a:pt x="558" y="1385"/>
                  </a:moveTo>
                  <a:lnTo>
                    <a:pt x="560" y="1385"/>
                  </a:lnTo>
                  <a:lnTo>
                    <a:pt x="558" y="1385"/>
                  </a:lnTo>
                  <a:close/>
                  <a:moveTo>
                    <a:pt x="547" y="1409"/>
                  </a:moveTo>
                  <a:lnTo>
                    <a:pt x="548" y="1411"/>
                  </a:lnTo>
                  <a:lnTo>
                    <a:pt x="547" y="1409"/>
                  </a:lnTo>
                  <a:close/>
                  <a:moveTo>
                    <a:pt x="545" y="796"/>
                  </a:moveTo>
                  <a:lnTo>
                    <a:pt x="547" y="796"/>
                  </a:lnTo>
                  <a:lnTo>
                    <a:pt x="545" y="796"/>
                  </a:lnTo>
                  <a:close/>
                  <a:moveTo>
                    <a:pt x="467" y="1225"/>
                  </a:moveTo>
                  <a:lnTo>
                    <a:pt x="467" y="1224"/>
                  </a:lnTo>
                  <a:lnTo>
                    <a:pt x="467" y="1225"/>
                  </a:lnTo>
                  <a:close/>
                  <a:moveTo>
                    <a:pt x="563" y="1433"/>
                  </a:moveTo>
                  <a:lnTo>
                    <a:pt x="565" y="1433"/>
                  </a:lnTo>
                  <a:lnTo>
                    <a:pt x="563" y="1433"/>
                  </a:lnTo>
                  <a:close/>
                  <a:moveTo>
                    <a:pt x="474" y="1494"/>
                  </a:moveTo>
                  <a:lnTo>
                    <a:pt x="474" y="1495"/>
                  </a:lnTo>
                  <a:lnTo>
                    <a:pt x="472" y="1494"/>
                  </a:lnTo>
                  <a:lnTo>
                    <a:pt x="474" y="1494"/>
                  </a:lnTo>
                  <a:close/>
                  <a:moveTo>
                    <a:pt x="420" y="1113"/>
                  </a:moveTo>
                  <a:lnTo>
                    <a:pt x="422" y="1113"/>
                  </a:lnTo>
                  <a:lnTo>
                    <a:pt x="420" y="1113"/>
                  </a:lnTo>
                  <a:close/>
                  <a:moveTo>
                    <a:pt x="449" y="1679"/>
                  </a:moveTo>
                  <a:lnTo>
                    <a:pt x="449" y="1677"/>
                  </a:lnTo>
                  <a:lnTo>
                    <a:pt x="449" y="1679"/>
                  </a:lnTo>
                  <a:close/>
                  <a:moveTo>
                    <a:pt x="461" y="1494"/>
                  </a:moveTo>
                  <a:lnTo>
                    <a:pt x="462" y="1494"/>
                  </a:lnTo>
                  <a:lnTo>
                    <a:pt x="461" y="1494"/>
                  </a:lnTo>
                  <a:close/>
                  <a:moveTo>
                    <a:pt x="565" y="1352"/>
                  </a:moveTo>
                  <a:lnTo>
                    <a:pt x="565" y="1350"/>
                  </a:lnTo>
                  <a:lnTo>
                    <a:pt x="566" y="1350"/>
                  </a:lnTo>
                  <a:lnTo>
                    <a:pt x="566" y="1352"/>
                  </a:lnTo>
                  <a:lnTo>
                    <a:pt x="565" y="1352"/>
                  </a:lnTo>
                  <a:close/>
                  <a:moveTo>
                    <a:pt x="547" y="1417"/>
                  </a:moveTo>
                  <a:lnTo>
                    <a:pt x="547" y="1415"/>
                  </a:lnTo>
                  <a:lnTo>
                    <a:pt x="547" y="1417"/>
                  </a:lnTo>
                  <a:close/>
                  <a:moveTo>
                    <a:pt x="758" y="425"/>
                  </a:moveTo>
                  <a:lnTo>
                    <a:pt x="760" y="427"/>
                  </a:lnTo>
                  <a:lnTo>
                    <a:pt x="758" y="425"/>
                  </a:lnTo>
                  <a:close/>
                  <a:moveTo>
                    <a:pt x="763" y="449"/>
                  </a:moveTo>
                  <a:lnTo>
                    <a:pt x="763" y="448"/>
                  </a:lnTo>
                  <a:lnTo>
                    <a:pt x="763" y="449"/>
                  </a:lnTo>
                  <a:close/>
                  <a:moveTo>
                    <a:pt x="544" y="1245"/>
                  </a:moveTo>
                  <a:lnTo>
                    <a:pt x="544" y="1243"/>
                  </a:lnTo>
                  <a:lnTo>
                    <a:pt x="544" y="1245"/>
                  </a:lnTo>
                  <a:close/>
                  <a:moveTo>
                    <a:pt x="18" y="1533"/>
                  </a:moveTo>
                  <a:lnTo>
                    <a:pt x="18" y="1534"/>
                  </a:lnTo>
                  <a:lnTo>
                    <a:pt x="18" y="1533"/>
                  </a:lnTo>
                  <a:close/>
                  <a:moveTo>
                    <a:pt x="570" y="1380"/>
                  </a:moveTo>
                  <a:lnTo>
                    <a:pt x="570" y="1381"/>
                  </a:lnTo>
                  <a:lnTo>
                    <a:pt x="570" y="1380"/>
                  </a:lnTo>
                  <a:close/>
                  <a:moveTo>
                    <a:pt x="534" y="1443"/>
                  </a:moveTo>
                  <a:lnTo>
                    <a:pt x="534" y="1445"/>
                  </a:lnTo>
                  <a:lnTo>
                    <a:pt x="534" y="1443"/>
                  </a:lnTo>
                  <a:close/>
                  <a:moveTo>
                    <a:pt x="690" y="436"/>
                  </a:moveTo>
                  <a:lnTo>
                    <a:pt x="690" y="435"/>
                  </a:lnTo>
                  <a:lnTo>
                    <a:pt x="690" y="436"/>
                  </a:lnTo>
                  <a:close/>
                  <a:moveTo>
                    <a:pt x="459" y="1547"/>
                  </a:moveTo>
                  <a:lnTo>
                    <a:pt x="459" y="1546"/>
                  </a:lnTo>
                  <a:lnTo>
                    <a:pt x="459" y="1547"/>
                  </a:lnTo>
                  <a:close/>
                  <a:moveTo>
                    <a:pt x="449" y="1640"/>
                  </a:moveTo>
                  <a:lnTo>
                    <a:pt x="451" y="1642"/>
                  </a:lnTo>
                  <a:lnTo>
                    <a:pt x="449" y="1640"/>
                  </a:lnTo>
                  <a:close/>
                  <a:moveTo>
                    <a:pt x="604" y="1359"/>
                  </a:moveTo>
                  <a:lnTo>
                    <a:pt x="602" y="1359"/>
                  </a:lnTo>
                  <a:lnTo>
                    <a:pt x="604" y="1357"/>
                  </a:lnTo>
                  <a:lnTo>
                    <a:pt x="604" y="1359"/>
                  </a:lnTo>
                  <a:close/>
                  <a:moveTo>
                    <a:pt x="449" y="1604"/>
                  </a:moveTo>
                  <a:lnTo>
                    <a:pt x="451" y="1604"/>
                  </a:lnTo>
                  <a:lnTo>
                    <a:pt x="449" y="1604"/>
                  </a:lnTo>
                  <a:close/>
                  <a:moveTo>
                    <a:pt x="745" y="436"/>
                  </a:moveTo>
                  <a:lnTo>
                    <a:pt x="745" y="435"/>
                  </a:lnTo>
                  <a:lnTo>
                    <a:pt x="745" y="436"/>
                  </a:lnTo>
                  <a:close/>
                  <a:moveTo>
                    <a:pt x="10" y="1481"/>
                  </a:moveTo>
                  <a:lnTo>
                    <a:pt x="10" y="1479"/>
                  </a:lnTo>
                  <a:lnTo>
                    <a:pt x="12" y="1479"/>
                  </a:lnTo>
                  <a:lnTo>
                    <a:pt x="10" y="1481"/>
                  </a:lnTo>
                  <a:close/>
                  <a:moveTo>
                    <a:pt x="470" y="1232"/>
                  </a:moveTo>
                  <a:lnTo>
                    <a:pt x="472" y="1232"/>
                  </a:lnTo>
                  <a:lnTo>
                    <a:pt x="470" y="1232"/>
                  </a:lnTo>
                  <a:close/>
                  <a:moveTo>
                    <a:pt x="539" y="1276"/>
                  </a:moveTo>
                  <a:lnTo>
                    <a:pt x="540" y="1276"/>
                  </a:lnTo>
                  <a:lnTo>
                    <a:pt x="539" y="1276"/>
                  </a:lnTo>
                  <a:close/>
                  <a:moveTo>
                    <a:pt x="462" y="1562"/>
                  </a:moveTo>
                  <a:lnTo>
                    <a:pt x="464" y="1562"/>
                  </a:lnTo>
                  <a:lnTo>
                    <a:pt x="462" y="1562"/>
                  </a:lnTo>
                  <a:close/>
                  <a:moveTo>
                    <a:pt x="674" y="451"/>
                  </a:moveTo>
                  <a:lnTo>
                    <a:pt x="675" y="451"/>
                  </a:lnTo>
                  <a:lnTo>
                    <a:pt x="674" y="451"/>
                  </a:lnTo>
                  <a:close/>
                  <a:moveTo>
                    <a:pt x="570" y="1386"/>
                  </a:moveTo>
                  <a:lnTo>
                    <a:pt x="568" y="1386"/>
                  </a:lnTo>
                  <a:lnTo>
                    <a:pt x="570" y="1386"/>
                  </a:lnTo>
                  <a:close/>
                  <a:moveTo>
                    <a:pt x="500" y="1441"/>
                  </a:moveTo>
                  <a:lnTo>
                    <a:pt x="500" y="1440"/>
                  </a:lnTo>
                  <a:lnTo>
                    <a:pt x="500" y="1441"/>
                  </a:lnTo>
                  <a:close/>
                  <a:moveTo>
                    <a:pt x="461" y="1557"/>
                  </a:moveTo>
                  <a:lnTo>
                    <a:pt x="462" y="1557"/>
                  </a:lnTo>
                  <a:lnTo>
                    <a:pt x="461" y="1557"/>
                  </a:lnTo>
                  <a:close/>
                  <a:moveTo>
                    <a:pt x="438" y="1511"/>
                  </a:moveTo>
                  <a:lnTo>
                    <a:pt x="438" y="1510"/>
                  </a:lnTo>
                  <a:lnTo>
                    <a:pt x="438" y="1511"/>
                  </a:lnTo>
                  <a:close/>
                  <a:moveTo>
                    <a:pt x="490" y="1492"/>
                  </a:moveTo>
                  <a:lnTo>
                    <a:pt x="492" y="1492"/>
                  </a:lnTo>
                  <a:lnTo>
                    <a:pt x="490" y="1492"/>
                  </a:lnTo>
                  <a:close/>
                  <a:moveTo>
                    <a:pt x="441" y="1663"/>
                  </a:moveTo>
                  <a:lnTo>
                    <a:pt x="443" y="1663"/>
                  </a:lnTo>
                  <a:lnTo>
                    <a:pt x="441" y="1663"/>
                  </a:lnTo>
                  <a:close/>
                  <a:moveTo>
                    <a:pt x="548" y="1276"/>
                  </a:moveTo>
                  <a:lnTo>
                    <a:pt x="548" y="1277"/>
                  </a:lnTo>
                  <a:lnTo>
                    <a:pt x="548" y="1276"/>
                  </a:lnTo>
                  <a:close/>
                  <a:moveTo>
                    <a:pt x="620" y="763"/>
                  </a:moveTo>
                  <a:lnTo>
                    <a:pt x="620" y="762"/>
                  </a:lnTo>
                  <a:lnTo>
                    <a:pt x="620" y="763"/>
                  </a:lnTo>
                  <a:close/>
                  <a:moveTo>
                    <a:pt x="571" y="1367"/>
                  </a:moveTo>
                  <a:lnTo>
                    <a:pt x="573" y="1367"/>
                  </a:lnTo>
                  <a:lnTo>
                    <a:pt x="571" y="1367"/>
                  </a:lnTo>
                  <a:close/>
                  <a:moveTo>
                    <a:pt x="548" y="1412"/>
                  </a:moveTo>
                  <a:lnTo>
                    <a:pt x="548" y="1411"/>
                  </a:lnTo>
                  <a:lnTo>
                    <a:pt x="550" y="1412"/>
                  </a:lnTo>
                  <a:lnTo>
                    <a:pt x="548" y="1412"/>
                  </a:lnTo>
                  <a:close/>
                  <a:moveTo>
                    <a:pt x="553" y="1438"/>
                  </a:moveTo>
                  <a:lnTo>
                    <a:pt x="555" y="1438"/>
                  </a:lnTo>
                  <a:lnTo>
                    <a:pt x="553" y="1438"/>
                  </a:lnTo>
                  <a:close/>
                  <a:moveTo>
                    <a:pt x="448" y="1562"/>
                  </a:moveTo>
                  <a:lnTo>
                    <a:pt x="448" y="1560"/>
                  </a:lnTo>
                  <a:lnTo>
                    <a:pt x="448" y="1562"/>
                  </a:lnTo>
                  <a:close/>
                  <a:moveTo>
                    <a:pt x="566" y="1396"/>
                  </a:moveTo>
                  <a:lnTo>
                    <a:pt x="568" y="1396"/>
                  </a:lnTo>
                  <a:lnTo>
                    <a:pt x="566" y="1396"/>
                  </a:lnTo>
                  <a:close/>
                  <a:moveTo>
                    <a:pt x="586" y="1337"/>
                  </a:moveTo>
                  <a:lnTo>
                    <a:pt x="586" y="1336"/>
                  </a:lnTo>
                  <a:lnTo>
                    <a:pt x="586" y="1337"/>
                  </a:lnTo>
                  <a:close/>
                  <a:moveTo>
                    <a:pt x="529" y="1461"/>
                  </a:moveTo>
                  <a:lnTo>
                    <a:pt x="531" y="1461"/>
                  </a:lnTo>
                  <a:lnTo>
                    <a:pt x="529" y="1461"/>
                  </a:lnTo>
                  <a:close/>
                  <a:moveTo>
                    <a:pt x="459" y="1521"/>
                  </a:moveTo>
                  <a:lnTo>
                    <a:pt x="459" y="1523"/>
                  </a:lnTo>
                  <a:lnTo>
                    <a:pt x="459" y="1521"/>
                  </a:lnTo>
                  <a:close/>
                  <a:moveTo>
                    <a:pt x="700" y="458"/>
                  </a:moveTo>
                  <a:lnTo>
                    <a:pt x="701" y="458"/>
                  </a:lnTo>
                  <a:lnTo>
                    <a:pt x="700" y="458"/>
                  </a:lnTo>
                  <a:close/>
                  <a:moveTo>
                    <a:pt x="557" y="1269"/>
                  </a:moveTo>
                  <a:lnTo>
                    <a:pt x="557" y="1267"/>
                  </a:lnTo>
                  <a:lnTo>
                    <a:pt x="557" y="1269"/>
                  </a:lnTo>
                  <a:close/>
                  <a:moveTo>
                    <a:pt x="568" y="1376"/>
                  </a:moveTo>
                  <a:lnTo>
                    <a:pt x="570" y="1376"/>
                  </a:lnTo>
                  <a:lnTo>
                    <a:pt x="568" y="1376"/>
                  </a:lnTo>
                  <a:close/>
                  <a:moveTo>
                    <a:pt x="423" y="1137"/>
                  </a:moveTo>
                  <a:lnTo>
                    <a:pt x="425" y="1137"/>
                  </a:lnTo>
                  <a:lnTo>
                    <a:pt x="423" y="1137"/>
                  </a:lnTo>
                  <a:close/>
                  <a:moveTo>
                    <a:pt x="571" y="1339"/>
                  </a:moveTo>
                  <a:lnTo>
                    <a:pt x="571" y="1337"/>
                  </a:lnTo>
                  <a:lnTo>
                    <a:pt x="571" y="1339"/>
                  </a:lnTo>
                  <a:close/>
                  <a:moveTo>
                    <a:pt x="444" y="1653"/>
                  </a:moveTo>
                  <a:lnTo>
                    <a:pt x="444" y="1655"/>
                  </a:lnTo>
                  <a:lnTo>
                    <a:pt x="444" y="1653"/>
                  </a:lnTo>
                  <a:close/>
                  <a:moveTo>
                    <a:pt x="407" y="1513"/>
                  </a:moveTo>
                  <a:lnTo>
                    <a:pt x="409" y="1513"/>
                  </a:lnTo>
                  <a:lnTo>
                    <a:pt x="407" y="1513"/>
                  </a:lnTo>
                  <a:close/>
                  <a:moveTo>
                    <a:pt x="677" y="425"/>
                  </a:moveTo>
                  <a:lnTo>
                    <a:pt x="677" y="427"/>
                  </a:lnTo>
                  <a:lnTo>
                    <a:pt x="677" y="425"/>
                  </a:lnTo>
                  <a:close/>
                  <a:moveTo>
                    <a:pt x="609" y="518"/>
                  </a:moveTo>
                  <a:lnTo>
                    <a:pt x="609" y="519"/>
                  </a:lnTo>
                  <a:lnTo>
                    <a:pt x="609" y="518"/>
                  </a:lnTo>
                  <a:close/>
                  <a:moveTo>
                    <a:pt x="545" y="1433"/>
                  </a:moveTo>
                  <a:lnTo>
                    <a:pt x="545" y="1432"/>
                  </a:lnTo>
                  <a:lnTo>
                    <a:pt x="545" y="1433"/>
                  </a:lnTo>
                  <a:close/>
                  <a:moveTo>
                    <a:pt x="664" y="487"/>
                  </a:moveTo>
                  <a:lnTo>
                    <a:pt x="664" y="485"/>
                  </a:lnTo>
                  <a:lnTo>
                    <a:pt x="664" y="487"/>
                  </a:lnTo>
                  <a:close/>
                  <a:moveTo>
                    <a:pt x="563" y="1347"/>
                  </a:moveTo>
                  <a:lnTo>
                    <a:pt x="565" y="1347"/>
                  </a:lnTo>
                  <a:lnTo>
                    <a:pt x="563" y="1347"/>
                  </a:lnTo>
                  <a:close/>
                  <a:moveTo>
                    <a:pt x="563" y="1372"/>
                  </a:moveTo>
                  <a:lnTo>
                    <a:pt x="565" y="1372"/>
                  </a:lnTo>
                  <a:lnTo>
                    <a:pt x="563" y="1372"/>
                  </a:lnTo>
                  <a:close/>
                  <a:moveTo>
                    <a:pt x="539" y="1432"/>
                  </a:moveTo>
                  <a:lnTo>
                    <a:pt x="540" y="1432"/>
                  </a:lnTo>
                  <a:lnTo>
                    <a:pt x="539" y="1432"/>
                  </a:lnTo>
                  <a:close/>
                  <a:moveTo>
                    <a:pt x="542" y="796"/>
                  </a:moveTo>
                  <a:lnTo>
                    <a:pt x="544" y="796"/>
                  </a:lnTo>
                  <a:lnTo>
                    <a:pt x="542" y="796"/>
                  </a:lnTo>
                  <a:close/>
                  <a:moveTo>
                    <a:pt x="706" y="443"/>
                  </a:moveTo>
                  <a:lnTo>
                    <a:pt x="708" y="443"/>
                  </a:lnTo>
                  <a:lnTo>
                    <a:pt x="706" y="443"/>
                  </a:lnTo>
                  <a:close/>
                  <a:moveTo>
                    <a:pt x="566" y="1375"/>
                  </a:moveTo>
                  <a:lnTo>
                    <a:pt x="566" y="1376"/>
                  </a:lnTo>
                  <a:lnTo>
                    <a:pt x="566" y="1375"/>
                  </a:lnTo>
                  <a:close/>
                  <a:moveTo>
                    <a:pt x="545" y="1427"/>
                  </a:moveTo>
                  <a:lnTo>
                    <a:pt x="547" y="1427"/>
                  </a:lnTo>
                  <a:lnTo>
                    <a:pt x="545" y="1427"/>
                  </a:lnTo>
                  <a:close/>
                  <a:moveTo>
                    <a:pt x="555" y="1277"/>
                  </a:moveTo>
                  <a:lnTo>
                    <a:pt x="555" y="1279"/>
                  </a:lnTo>
                  <a:lnTo>
                    <a:pt x="555" y="1277"/>
                  </a:lnTo>
                  <a:close/>
                  <a:moveTo>
                    <a:pt x="566" y="1342"/>
                  </a:moveTo>
                  <a:lnTo>
                    <a:pt x="566" y="1341"/>
                  </a:lnTo>
                  <a:lnTo>
                    <a:pt x="566" y="1342"/>
                  </a:lnTo>
                  <a:close/>
                  <a:moveTo>
                    <a:pt x="426" y="1067"/>
                  </a:moveTo>
                  <a:lnTo>
                    <a:pt x="426" y="1066"/>
                  </a:lnTo>
                  <a:lnTo>
                    <a:pt x="426" y="1067"/>
                  </a:lnTo>
                  <a:close/>
                  <a:moveTo>
                    <a:pt x="431" y="1124"/>
                  </a:moveTo>
                  <a:lnTo>
                    <a:pt x="430" y="1124"/>
                  </a:lnTo>
                  <a:lnTo>
                    <a:pt x="431" y="1124"/>
                  </a:lnTo>
                  <a:lnTo>
                    <a:pt x="431" y="1123"/>
                  </a:lnTo>
                  <a:lnTo>
                    <a:pt x="431" y="1124"/>
                  </a:lnTo>
                  <a:close/>
                  <a:moveTo>
                    <a:pt x="766" y="448"/>
                  </a:moveTo>
                  <a:lnTo>
                    <a:pt x="766" y="446"/>
                  </a:lnTo>
                  <a:lnTo>
                    <a:pt x="766" y="448"/>
                  </a:lnTo>
                  <a:close/>
                  <a:moveTo>
                    <a:pt x="558" y="1417"/>
                  </a:moveTo>
                  <a:lnTo>
                    <a:pt x="557" y="1417"/>
                  </a:lnTo>
                  <a:lnTo>
                    <a:pt x="558" y="1417"/>
                  </a:lnTo>
                  <a:close/>
                  <a:moveTo>
                    <a:pt x="529" y="1451"/>
                  </a:moveTo>
                  <a:lnTo>
                    <a:pt x="531" y="1451"/>
                  </a:lnTo>
                  <a:lnTo>
                    <a:pt x="529" y="1451"/>
                  </a:lnTo>
                  <a:close/>
                  <a:moveTo>
                    <a:pt x="535" y="791"/>
                  </a:moveTo>
                  <a:lnTo>
                    <a:pt x="535" y="789"/>
                  </a:lnTo>
                  <a:lnTo>
                    <a:pt x="535" y="791"/>
                  </a:lnTo>
                  <a:close/>
                  <a:moveTo>
                    <a:pt x="456" y="1204"/>
                  </a:moveTo>
                  <a:lnTo>
                    <a:pt x="456" y="1202"/>
                  </a:lnTo>
                  <a:lnTo>
                    <a:pt x="456" y="1204"/>
                  </a:lnTo>
                  <a:close/>
                  <a:moveTo>
                    <a:pt x="23" y="1557"/>
                  </a:moveTo>
                  <a:lnTo>
                    <a:pt x="23" y="1555"/>
                  </a:lnTo>
                  <a:lnTo>
                    <a:pt x="23" y="1557"/>
                  </a:lnTo>
                  <a:close/>
                  <a:moveTo>
                    <a:pt x="435" y="1154"/>
                  </a:moveTo>
                  <a:lnTo>
                    <a:pt x="435" y="1152"/>
                  </a:lnTo>
                  <a:lnTo>
                    <a:pt x="435" y="1154"/>
                  </a:lnTo>
                  <a:close/>
                  <a:moveTo>
                    <a:pt x="430" y="1162"/>
                  </a:moveTo>
                  <a:lnTo>
                    <a:pt x="431" y="1162"/>
                  </a:lnTo>
                  <a:lnTo>
                    <a:pt x="430" y="1162"/>
                  </a:lnTo>
                  <a:close/>
                  <a:moveTo>
                    <a:pt x="722" y="431"/>
                  </a:moveTo>
                  <a:lnTo>
                    <a:pt x="722" y="430"/>
                  </a:lnTo>
                  <a:lnTo>
                    <a:pt x="722" y="431"/>
                  </a:lnTo>
                  <a:close/>
                  <a:moveTo>
                    <a:pt x="72" y="1591"/>
                  </a:moveTo>
                  <a:lnTo>
                    <a:pt x="72" y="1590"/>
                  </a:lnTo>
                  <a:lnTo>
                    <a:pt x="72" y="1591"/>
                  </a:lnTo>
                  <a:close/>
                  <a:moveTo>
                    <a:pt x="563" y="1355"/>
                  </a:moveTo>
                  <a:lnTo>
                    <a:pt x="563" y="1354"/>
                  </a:lnTo>
                  <a:lnTo>
                    <a:pt x="563" y="1355"/>
                  </a:lnTo>
                  <a:close/>
                  <a:moveTo>
                    <a:pt x="535" y="1445"/>
                  </a:moveTo>
                  <a:lnTo>
                    <a:pt x="535" y="1443"/>
                  </a:lnTo>
                  <a:lnTo>
                    <a:pt x="535" y="1445"/>
                  </a:lnTo>
                  <a:close/>
                  <a:moveTo>
                    <a:pt x="544" y="1385"/>
                  </a:moveTo>
                  <a:lnTo>
                    <a:pt x="545" y="1385"/>
                  </a:lnTo>
                  <a:lnTo>
                    <a:pt x="544" y="1385"/>
                  </a:lnTo>
                  <a:close/>
                  <a:moveTo>
                    <a:pt x="622" y="604"/>
                  </a:moveTo>
                  <a:lnTo>
                    <a:pt x="622" y="606"/>
                  </a:lnTo>
                  <a:lnTo>
                    <a:pt x="622" y="604"/>
                  </a:lnTo>
                  <a:close/>
                  <a:moveTo>
                    <a:pt x="430" y="1123"/>
                  </a:moveTo>
                  <a:lnTo>
                    <a:pt x="431" y="1123"/>
                  </a:lnTo>
                  <a:lnTo>
                    <a:pt x="430" y="1123"/>
                  </a:lnTo>
                  <a:close/>
                  <a:moveTo>
                    <a:pt x="605" y="589"/>
                  </a:moveTo>
                  <a:lnTo>
                    <a:pt x="607" y="589"/>
                  </a:lnTo>
                  <a:lnTo>
                    <a:pt x="605" y="591"/>
                  </a:lnTo>
                  <a:lnTo>
                    <a:pt x="605" y="589"/>
                  </a:lnTo>
                  <a:close/>
                  <a:moveTo>
                    <a:pt x="443" y="1651"/>
                  </a:moveTo>
                  <a:lnTo>
                    <a:pt x="444" y="1651"/>
                  </a:lnTo>
                  <a:lnTo>
                    <a:pt x="443" y="1651"/>
                  </a:lnTo>
                  <a:close/>
                  <a:moveTo>
                    <a:pt x="519" y="827"/>
                  </a:moveTo>
                  <a:lnTo>
                    <a:pt x="519" y="828"/>
                  </a:lnTo>
                  <a:lnTo>
                    <a:pt x="519" y="827"/>
                  </a:lnTo>
                  <a:close/>
                  <a:moveTo>
                    <a:pt x="288" y="1902"/>
                  </a:moveTo>
                  <a:lnTo>
                    <a:pt x="288" y="1903"/>
                  </a:lnTo>
                  <a:lnTo>
                    <a:pt x="288" y="1902"/>
                  </a:lnTo>
                  <a:close/>
                  <a:moveTo>
                    <a:pt x="682" y="480"/>
                  </a:moveTo>
                  <a:lnTo>
                    <a:pt x="683" y="480"/>
                  </a:lnTo>
                  <a:lnTo>
                    <a:pt x="682" y="480"/>
                  </a:lnTo>
                  <a:close/>
                  <a:moveTo>
                    <a:pt x="423" y="1092"/>
                  </a:moveTo>
                  <a:lnTo>
                    <a:pt x="425" y="1092"/>
                  </a:lnTo>
                  <a:lnTo>
                    <a:pt x="423" y="1092"/>
                  </a:lnTo>
                  <a:close/>
                  <a:moveTo>
                    <a:pt x="547" y="1453"/>
                  </a:moveTo>
                  <a:lnTo>
                    <a:pt x="547" y="1455"/>
                  </a:lnTo>
                  <a:lnTo>
                    <a:pt x="547" y="1453"/>
                  </a:lnTo>
                  <a:close/>
                  <a:moveTo>
                    <a:pt x="646" y="474"/>
                  </a:moveTo>
                  <a:lnTo>
                    <a:pt x="648" y="474"/>
                  </a:lnTo>
                  <a:lnTo>
                    <a:pt x="646" y="474"/>
                  </a:lnTo>
                  <a:close/>
                  <a:moveTo>
                    <a:pt x="448" y="1565"/>
                  </a:moveTo>
                  <a:lnTo>
                    <a:pt x="449" y="1565"/>
                  </a:lnTo>
                  <a:lnTo>
                    <a:pt x="448" y="1565"/>
                  </a:lnTo>
                  <a:close/>
                  <a:moveTo>
                    <a:pt x="41" y="1590"/>
                  </a:moveTo>
                  <a:lnTo>
                    <a:pt x="41" y="1588"/>
                  </a:lnTo>
                  <a:lnTo>
                    <a:pt x="41" y="1590"/>
                  </a:lnTo>
                  <a:close/>
                  <a:moveTo>
                    <a:pt x="578" y="1355"/>
                  </a:moveTo>
                  <a:lnTo>
                    <a:pt x="579" y="1355"/>
                  </a:lnTo>
                  <a:lnTo>
                    <a:pt x="578" y="1355"/>
                  </a:lnTo>
                  <a:close/>
                  <a:moveTo>
                    <a:pt x="287" y="1900"/>
                  </a:moveTo>
                  <a:lnTo>
                    <a:pt x="288" y="1902"/>
                  </a:lnTo>
                  <a:lnTo>
                    <a:pt x="287" y="1900"/>
                  </a:lnTo>
                  <a:close/>
                  <a:moveTo>
                    <a:pt x="636" y="516"/>
                  </a:moveTo>
                  <a:lnTo>
                    <a:pt x="636" y="518"/>
                  </a:lnTo>
                  <a:lnTo>
                    <a:pt x="636" y="516"/>
                  </a:lnTo>
                  <a:close/>
                  <a:moveTo>
                    <a:pt x="625" y="747"/>
                  </a:moveTo>
                  <a:lnTo>
                    <a:pt x="625" y="745"/>
                  </a:lnTo>
                  <a:lnTo>
                    <a:pt x="625" y="747"/>
                  </a:lnTo>
                  <a:close/>
                  <a:moveTo>
                    <a:pt x="35" y="1575"/>
                  </a:moveTo>
                  <a:lnTo>
                    <a:pt x="35" y="1576"/>
                  </a:lnTo>
                  <a:lnTo>
                    <a:pt x="35" y="1575"/>
                  </a:lnTo>
                  <a:close/>
                  <a:moveTo>
                    <a:pt x="529" y="1437"/>
                  </a:moveTo>
                  <a:lnTo>
                    <a:pt x="529" y="1435"/>
                  </a:lnTo>
                  <a:lnTo>
                    <a:pt x="529" y="1437"/>
                  </a:lnTo>
                  <a:close/>
                  <a:moveTo>
                    <a:pt x="488" y="859"/>
                  </a:moveTo>
                  <a:lnTo>
                    <a:pt x="490" y="859"/>
                  </a:lnTo>
                  <a:lnTo>
                    <a:pt x="488" y="859"/>
                  </a:lnTo>
                  <a:close/>
                  <a:moveTo>
                    <a:pt x="490" y="1217"/>
                  </a:moveTo>
                  <a:lnTo>
                    <a:pt x="492" y="1217"/>
                  </a:lnTo>
                  <a:lnTo>
                    <a:pt x="490" y="1217"/>
                  </a:lnTo>
                  <a:close/>
                  <a:moveTo>
                    <a:pt x="539" y="1389"/>
                  </a:moveTo>
                  <a:lnTo>
                    <a:pt x="540" y="1389"/>
                  </a:lnTo>
                  <a:lnTo>
                    <a:pt x="539" y="1389"/>
                  </a:lnTo>
                  <a:close/>
                  <a:moveTo>
                    <a:pt x="54" y="1609"/>
                  </a:moveTo>
                  <a:lnTo>
                    <a:pt x="54" y="1611"/>
                  </a:lnTo>
                  <a:lnTo>
                    <a:pt x="54" y="1609"/>
                  </a:lnTo>
                  <a:close/>
                  <a:moveTo>
                    <a:pt x="539" y="1383"/>
                  </a:moveTo>
                  <a:lnTo>
                    <a:pt x="540" y="1383"/>
                  </a:lnTo>
                  <a:lnTo>
                    <a:pt x="539" y="1383"/>
                  </a:lnTo>
                  <a:close/>
                  <a:moveTo>
                    <a:pt x="579" y="1396"/>
                  </a:moveTo>
                  <a:lnTo>
                    <a:pt x="579" y="1394"/>
                  </a:lnTo>
                  <a:lnTo>
                    <a:pt x="579" y="1396"/>
                  </a:lnTo>
                  <a:close/>
                  <a:moveTo>
                    <a:pt x="581" y="1326"/>
                  </a:moveTo>
                  <a:lnTo>
                    <a:pt x="583" y="1326"/>
                  </a:lnTo>
                  <a:lnTo>
                    <a:pt x="581" y="1326"/>
                  </a:lnTo>
                  <a:close/>
                  <a:moveTo>
                    <a:pt x="623" y="619"/>
                  </a:moveTo>
                  <a:lnTo>
                    <a:pt x="625" y="619"/>
                  </a:lnTo>
                  <a:lnTo>
                    <a:pt x="623" y="619"/>
                  </a:lnTo>
                  <a:close/>
                  <a:moveTo>
                    <a:pt x="726" y="371"/>
                  </a:moveTo>
                  <a:lnTo>
                    <a:pt x="727" y="371"/>
                  </a:lnTo>
                  <a:lnTo>
                    <a:pt x="726" y="371"/>
                  </a:lnTo>
                  <a:close/>
                  <a:moveTo>
                    <a:pt x="529" y="1233"/>
                  </a:moveTo>
                  <a:lnTo>
                    <a:pt x="531" y="1233"/>
                  </a:lnTo>
                  <a:lnTo>
                    <a:pt x="529" y="1233"/>
                  </a:lnTo>
                  <a:close/>
                  <a:moveTo>
                    <a:pt x="565" y="1365"/>
                  </a:moveTo>
                  <a:lnTo>
                    <a:pt x="565" y="1363"/>
                  </a:lnTo>
                  <a:lnTo>
                    <a:pt x="565" y="1365"/>
                  </a:lnTo>
                  <a:close/>
                  <a:moveTo>
                    <a:pt x="500" y="1441"/>
                  </a:moveTo>
                  <a:lnTo>
                    <a:pt x="501" y="1441"/>
                  </a:lnTo>
                  <a:lnTo>
                    <a:pt x="500" y="1441"/>
                  </a:lnTo>
                  <a:close/>
                  <a:moveTo>
                    <a:pt x="134" y="1788"/>
                  </a:moveTo>
                  <a:lnTo>
                    <a:pt x="134" y="1790"/>
                  </a:lnTo>
                  <a:lnTo>
                    <a:pt x="134" y="1788"/>
                  </a:lnTo>
                  <a:close/>
                  <a:moveTo>
                    <a:pt x="558" y="1671"/>
                  </a:moveTo>
                  <a:lnTo>
                    <a:pt x="560" y="1671"/>
                  </a:lnTo>
                  <a:lnTo>
                    <a:pt x="558" y="1671"/>
                  </a:lnTo>
                  <a:close/>
                  <a:moveTo>
                    <a:pt x="666" y="454"/>
                  </a:moveTo>
                  <a:lnTo>
                    <a:pt x="667" y="454"/>
                  </a:lnTo>
                  <a:lnTo>
                    <a:pt x="667" y="456"/>
                  </a:lnTo>
                  <a:lnTo>
                    <a:pt x="666" y="454"/>
                  </a:lnTo>
                  <a:close/>
                  <a:moveTo>
                    <a:pt x="431" y="970"/>
                  </a:moveTo>
                  <a:lnTo>
                    <a:pt x="433" y="970"/>
                  </a:lnTo>
                  <a:lnTo>
                    <a:pt x="431" y="970"/>
                  </a:lnTo>
                  <a:close/>
                  <a:moveTo>
                    <a:pt x="326" y="1874"/>
                  </a:moveTo>
                  <a:lnTo>
                    <a:pt x="327" y="1874"/>
                  </a:lnTo>
                  <a:lnTo>
                    <a:pt x="326" y="1874"/>
                  </a:lnTo>
                  <a:close/>
                  <a:moveTo>
                    <a:pt x="535" y="1241"/>
                  </a:moveTo>
                  <a:lnTo>
                    <a:pt x="537" y="1241"/>
                  </a:lnTo>
                  <a:lnTo>
                    <a:pt x="535" y="1241"/>
                  </a:lnTo>
                  <a:close/>
                  <a:moveTo>
                    <a:pt x="441" y="884"/>
                  </a:moveTo>
                  <a:lnTo>
                    <a:pt x="443" y="884"/>
                  </a:lnTo>
                  <a:lnTo>
                    <a:pt x="441" y="884"/>
                  </a:lnTo>
                  <a:close/>
                  <a:moveTo>
                    <a:pt x="560" y="1386"/>
                  </a:moveTo>
                  <a:lnTo>
                    <a:pt x="561" y="1385"/>
                  </a:lnTo>
                  <a:lnTo>
                    <a:pt x="561" y="1386"/>
                  </a:lnTo>
                  <a:lnTo>
                    <a:pt x="560" y="1386"/>
                  </a:lnTo>
                  <a:close/>
                  <a:moveTo>
                    <a:pt x="449" y="1627"/>
                  </a:moveTo>
                  <a:lnTo>
                    <a:pt x="449" y="1625"/>
                  </a:lnTo>
                  <a:lnTo>
                    <a:pt x="449" y="1627"/>
                  </a:lnTo>
                  <a:close/>
                  <a:moveTo>
                    <a:pt x="446" y="950"/>
                  </a:moveTo>
                  <a:lnTo>
                    <a:pt x="448" y="950"/>
                  </a:lnTo>
                  <a:lnTo>
                    <a:pt x="446" y="950"/>
                  </a:lnTo>
                  <a:close/>
                  <a:moveTo>
                    <a:pt x="474" y="1485"/>
                  </a:moveTo>
                  <a:lnTo>
                    <a:pt x="474" y="1487"/>
                  </a:lnTo>
                  <a:lnTo>
                    <a:pt x="474" y="1485"/>
                  </a:lnTo>
                  <a:close/>
                  <a:moveTo>
                    <a:pt x="15" y="1487"/>
                  </a:moveTo>
                  <a:lnTo>
                    <a:pt x="15" y="1489"/>
                  </a:lnTo>
                  <a:lnTo>
                    <a:pt x="15" y="1487"/>
                  </a:lnTo>
                  <a:close/>
                  <a:moveTo>
                    <a:pt x="480" y="1484"/>
                  </a:moveTo>
                  <a:lnTo>
                    <a:pt x="480" y="1485"/>
                  </a:lnTo>
                  <a:lnTo>
                    <a:pt x="480" y="1484"/>
                  </a:lnTo>
                  <a:close/>
                  <a:moveTo>
                    <a:pt x="662" y="479"/>
                  </a:moveTo>
                  <a:lnTo>
                    <a:pt x="662" y="480"/>
                  </a:lnTo>
                  <a:lnTo>
                    <a:pt x="662" y="479"/>
                  </a:lnTo>
                  <a:close/>
                  <a:moveTo>
                    <a:pt x="438" y="1765"/>
                  </a:moveTo>
                  <a:lnTo>
                    <a:pt x="440" y="1767"/>
                  </a:lnTo>
                  <a:lnTo>
                    <a:pt x="438" y="1765"/>
                  </a:lnTo>
                  <a:close/>
                  <a:moveTo>
                    <a:pt x="48" y="1588"/>
                  </a:moveTo>
                  <a:lnTo>
                    <a:pt x="48" y="1586"/>
                  </a:lnTo>
                  <a:lnTo>
                    <a:pt x="48" y="1588"/>
                  </a:lnTo>
                  <a:close/>
                  <a:moveTo>
                    <a:pt x="574" y="1407"/>
                  </a:moveTo>
                  <a:lnTo>
                    <a:pt x="576" y="1407"/>
                  </a:lnTo>
                  <a:lnTo>
                    <a:pt x="574" y="1407"/>
                  </a:lnTo>
                  <a:close/>
                  <a:moveTo>
                    <a:pt x="449" y="903"/>
                  </a:moveTo>
                  <a:lnTo>
                    <a:pt x="451" y="903"/>
                  </a:lnTo>
                  <a:lnTo>
                    <a:pt x="449" y="903"/>
                  </a:lnTo>
                  <a:close/>
                  <a:moveTo>
                    <a:pt x="496" y="1222"/>
                  </a:moveTo>
                  <a:lnTo>
                    <a:pt x="496" y="1220"/>
                  </a:lnTo>
                  <a:lnTo>
                    <a:pt x="496" y="1222"/>
                  </a:lnTo>
                  <a:close/>
                  <a:moveTo>
                    <a:pt x="470" y="1230"/>
                  </a:moveTo>
                  <a:lnTo>
                    <a:pt x="472" y="1230"/>
                  </a:lnTo>
                  <a:lnTo>
                    <a:pt x="470" y="1230"/>
                  </a:lnTo>
                  <a:close/>
                  <a:moveTo>
                    <a:pt x="446" y="1606"/>
                  </a:moveTo>
                  <a:lnTo>
                    <a:pt x="448" y="1606"/>
                  </a:lnTo>
                  <a:lnTo>
                    <a:pt x="446" y="1606"/>
                  </a:lnTo>
                  <a:close/>
                  <a:moveTo>
                    <a:pt x="444" y="1510"/>
                  </a:moveTo>
                  <a:lnTo>
                    <a:pt x="444" y="1508"/>
                  </a:lnTo>
                  <a:lnTo>
                    <a:pt x="444" y="1510"/>
                  </a:lnTo>
                  <a:close/>
                  <a:moveTo>
                    <a:pt x="513" y="1241"/>
                  </a:moveTo>
                  <a:lnTo>
                    <a:pt x="514" y="1243"/>
                  </a:lnTo>
                  <a:lnTo>
                    <a:pt x="513" y="1243"/>
                  </a:lnTo>
                  <a:lnTo>
                    <a:pt x="513" y="1241"/>
                  </a:lnTo>
                  <a:close/>
                  <a:moveTo>
                    <a:pt x="539" y="1267"/>
                  </a:moveTo>
                  <a:lnTo>
                    <a:pt x="540" y="1267"/>
                  </a:lnTo>
                  <a:lnTo>
                    <a:pt x="539" y="1267"/>
                  </a:lnTo>
                  <a:close/>
                  <a:moveTo>
                    <a:pt x="638" y="628"/>
                  </a:moveTo>
                  <a:lnTo>
                    <a:pt x="640" y="628"/>
                  </a:lnTo>
                  <a:lnTo>
                    <a:pt x="638" y="630"/>
                  </a:lnTo>
                  <a:lnTo>
                    <a:pt x="638" y="628"/>
                  </a:lnTo>
                  <a:close/>
                  <a:moveTo>
                    <a:pt x="755" y="436"/>
                  </a:moveTo>
                  <a:lnTo>
                    <a:pt x="757" y="436"/>
                  </a:lnTo>
                  <a:lnTo>
                    <a:pt x="755" y="436"/>
                  </a:lnTo>
                  <a:close/>
                  <a:moveTo>
                    <a:pt x="430" y="1154"/>
                  </a:moveTo>
                  <a:lnTo>
                    <a:pt x="430" y="1152"/>
                  </a:lnTo>
                  <a:lnTo>
                    <a:pt x="430" y="1154"/>
                  </a:lnTo>
                  <a:close/>
                  <a:moveTo>
                    <a:pt x="565" y="1391"/>
                  </a:moveTo>
                  <a:lnTo>
                    <a:pt x="565" y="1393"/>
                  </a:lnTo>
                  <a:lnTo>
                    <a:pt x="565" y="1391"/>
                  </a:lnTo>
                  <a:close/>
                  <a:moveTo>
                    <a:pt x="737" y="436"/>
                  </a:moveTo>
                  <a:lnTo>
                    <a:pt x="737" y="435"/>
                  </a:lnTo>
                  <a:lnTo>
                    <a:pt x="737" y="436"/>
                  </a:lnTo>
                  <a:close/>
                  <a:moveTo>
                    <a:pt x="711" y="431"/>
                  </a:moveTo>
                  <a:lnTo>
                    <a:pt x="711" y="430"/>
                  </a:lnTo>
                  <a:lnTo>
                    <a:pt x="711" y="431"/>
                  </a:lnTo>
                  <a:close/>
                  <a:moveTo>
                    <a:pt x="477" y="866"/>
                  </a:moveTo>
                  <a:lnTo>
                    <a:pt x="477" y="867"/>
                  </a:lnTo>
                  <a:lnTo>
                    <a:pt x="477" y="866"/>
                  </a:lnTo>
                  <a:close/>
                  <a:moveTo>
                    <a:pt x="547" y="1433"/>
                  </a:moveTo>
                  <a:lnTo>
                    <a:pt x="545" y="1433"/>
                  </a:lnTo>
                  <a:lnTo>
                    <a:pt x="547" y="1433"/>
                  </a:lnTo>
                  <a:close/>
                  <a:moveTo>
                    <a:pt x="28" y="1575"/>
                  </a:moveTo>
                  <a:lnTo>
                    <a:pt x="30" y="1575"/>
                  </a:lnTo>
                  <a:lnTo>
                    <a:pt x="28" y="1575"/>
                  </a:lnTo>
                  <a:close/>
                  <a:moveTo>
                    <a:pt x="618" y="700"/>
                  </a:moveTo>
                  <a:lnTo>
                    <a:pt x="618" y="698"/>
                  </a:lnTo>
                  <a:lnTo>
                    <a:pt x="618" y="700"/>
                  </a:lnTo>
                  <a:close/>
                  <a:moveTo>
                    <a:pt x="57" y="1635"/>
                  </a:moveTo>
                  <a:lnTo>
                    <a:pt x="57" y="1633"/>
                  </a:lnTo>
                  <a:lnTo>
                    <a:pt x="57" y="1635"/>
                  </a:lnTo>
                  <a:close/>
                  <a:moveTo>
                    <a:pt x="459" y="1568"/>
                  </a:moveTo>
                  <a:lnTo>
                    <a:pt x="461" y="1568"/>
                  </a:lnTo>
                  <a:lnTo>
                    <a:pt x="459" y="1568"/>
                  </a:lnTo>
                  <a:close/>
                  <a:moveTo>
                    <a:pt x="718" y="445"/>
                  </a:moveTo>
                  <a:lnTo>
                    <a:pt x="718" y="446"/>
                  </a:lnTo>
                  <a:lnTo>
                    <a:pt x="718" y="445"/>
                  </a:lnTo>
                  <a:close/>
                  <a:moveTo>
                    <a:pt x="698" y="449"/>
                  </a:moveTo>
                  <a:lnTo>
                    <a:pt x="698" y="451"/>
                  </a:lnTo>
                  <a:lnTo>
                    <a:pt x="698" y="449"/>
                  </a:lnTo>
                  <a:close/>
                  <a:moveTo>
                    <a:pt x="722" y="435"/>
                  </a:moveTo>
                  <a:lnTo>
                    <a:pt x="724" y="435"/>
                  </a:lnTo>
                  <a:lnTo>
                    <a:pt x="722" y="435"/>
                  </a:lnTo>
                  <a:close/>
                  <a:moveTo>
                    <a:pt x="648" y="643"/>
                  </a:moveTo>
                  <a:lnTo>
                    <a:pt x="648" y="645"/>
                  </a:lnTo>
                  <a:lnTo>
                    <a:pt x="648" y="643"/>
                  </a:lnTo>
                  <a:close/>
                  <a:moveTo>
                    <a:pt x="622" y="566"/>
                  </a:moveTo>
                  <a:lnTo>
                    <a:pt x="622" y="565"/>
                  </a:lnTo>
                  <a:lnTo>
                    <a:pt x="622" y="566"/>
                  </a:lnTo>
                  <a:close/>
                  <a:moveTo>
                    <a:pt x="701" y="448"/>
                  </a:moveTo>
                  <a:lnTo>
                    <a:pt x="701" y="449"/>
                  </a:lnTo>
                  <a:lnTo>
                    <a:pt x="701" y="448"/>
                  </a:lnTo>
                  <a:close/>
                  <a:moveTo>
                    <a:pt x="347" y="1873"/>
                  </a:moveTo>
                  <a:lnTo>
                    <a:pt x="347" y="1871"/>
                  </a:lnTo>
                  <a:lnTo>
                    <a:pt x="347" y="1873"/>
                  </a:lnTo>
                  <a:close/>
                  <a:moveTo>
                    <a:pt x="537" y="1256"/>
                  </a:moveTo>
                  <a:lnTo>
                    <a:pt x="537" y="1258"/>
                  </a:lnTo>
                  <a:lnTo>
                    <a:pt x="537" y="1256"/>
                  </a:lnTo>
                  <a:close/>
                  <a:moveTo>
                    <a:pt x="537" y="1258"/>
                  </a:moveTo>
                  <a:lnTo>
                    <a:pt x="539" y="1256"/>
                  </a:lnTo>
                  <a:lnTo>
                    <a:pt x="539" y="1258"/>
                  </a:lnTo>
                  <a:lnTo>
                    <a:pt x="537" y="1258"/>
                  </a:lnTo>
                  <a:close/>
                  <a:moveTo>
                    <a:pt x="561" y="1254"/>
                  </a:moveTo>
                  <a:lnTo>
                    <a:pt x="561" y="1256"/>
                  </a:lnTo>
                  <a:lnTo>
                    <a:pt x="561" y="1254"/>
                  </a:lnTo>
                  <a:close/>
                  <a:moveTo>
                    <a:pt x="12" y="1479"/>
                  </a:moveTo>
                  <a:lnTo>
                    <a:pt x="12" y="1481"/>
                  </a:lnTo>
                  <a:lnTo>
                    <a:pt x="12" y="1479"/>
                  </a:lnTo>
                  <a:close/>
                  <a:moveTo>
                    <a:pt x="490" y="1487"/>
                  </a:moveTo>
                  <a:lnTo>
                    <a:pt x="490" y="1485"/>
                  </a:lnTo>
                  <a:lnTo>
                    <a:pt x="490" y="1487"/>
                  </a:lnTo>
                  <a:close/>
                  <a:moveTo>
                    <a:pt x="431" y="1625"/>
                  </a:moveTo>
                  <a:lnTo>
                    <a:pt x="433" y="1625"/>
                  </a:lnTo>
                  <a:lnTo>
                    <a:pt x="431" y="1625"/>
                  </a:lnTo>
                  <a:close/>
                  <a:moveTo>
                    <a:pt x="560" y="1267"/>
                  </a:moveTo>
                  <a:lnTo>
                    <a:pt x="560" y="1269"/>
                  </a:lnTo>
                  <a:lnTo>
                    <a:pt x="560" y="1267"/>
                  </a:lnTo>
                  <a:close/>
                  <a:moveTo>
                    <a:pt x="492" y="1487"/>
                  </a:moveTo>
                  <a:lnTo>
                    <a:pt x="492" y="1485"/>
                  </a:lnTo>
                  <a:lnTo>
                    <a:pt x="492" y="1487"/>
                  </a:lnTo>
                  <a:close/>
                  <a:moveTo>
                    <a:pt x="604" y="742"/>
                  </a:moveTo>
                  <a:lnTo>
                    <a:pt x="604" y="741"/>
                  </a:lnTo>
                  <a:lnTo>
                    <a:pt x="604" y="742"/>
                  </a:lnTo>
                  <a:close/>
                  <a:moveTo>
                    <a:pt x="93" y="1736"/>
                  </a:moveTo>
                  <a:lnTo>
                    <a:pt x="95" y="1736"/>
                  </a:lnTo>
                  <a:lnTo>
                    <a:pt x="93" y="1736"/>
                  </a:lnTo>
                  <a:close/>
                  <a:moveTo>
                    <a:pt x="441" y="1663"/>
                  </a:moveTo>
                  <a:lnTo>
                    <a:pt x="443" y="1663"/>
                  </a:lnTo>
                  <a:lnTo>
                    <a:pt x="441" y="1663"/>
                  </a:lnTo>
                  <a:close/>
                  <a:moveTo>
                    <a:pt x="568" y="1425"/>
                  </a:moveTo>
                  <a:lnTo>
                    <a:pt x="568" y="1424"/>
                  </a:lnTo>
                  <a:lnTo>
                    <a:pt x="568" y="1425"/>
                  </a:lnTo>
                  <a:close/>
                  <a:moveTo>
                    <a:pt x="446" y="1674"/>
                  </a:moveTo>
                  <a:lnTo>
                    <a:pt x="448" y="1674"/>
                  </a:lnTo>
                  <a:lnTo>
                    <a:pt x="446" y="1674"/>
                  </a:lnTo>
                  <a:close/>
                  <a:moveTo>
                    <a:pt x="540" y="1274"/>
                  </a:moveTo>
                  <a:lnTo>
                    <a:pt x="540" y="1276"/>
                  </a:lnTo>
                  <a:lnTo>
                    <a:pt x="540" y="1274"/>
                  </a:lnTo>
                  <a:close/>
                  <a:moveTo>
                    <a:pt x="57" y="1635"/>
                  </a:moveTo>
                  <a:lnTo>
                    <a:pt x="57" y="1633"/>
                  </a:lnTo>
                  <a:lnTo>
                    <a:pt x="57" y="1635"/>
                  </a:lnTo>
                  <a:close/>
                  <a:moveTo>
                    <a:pt x="535" y="1241"/>
                  </a:moveTo>
                  <a:lnTo>
                    <a:pt x="537" y="1241"/>
                  </a:lnTo>
                  <a:lnTo>
                    <a:pt x="535" y="1241"/>
                  </a:lnTo>
                  <a:close/>
                  <a:moveTo>
                    <a:pt x="635" y="536"/>
                  </a:moveTo>
                  <a:lnTo>
                    <a:pt x="635" y="537"/>
                  </a:lnTo>
                  <a:lnTo>
                    <a:pt x="635" y="536"/>
                  </a:lnTo>
                  <a:close/>
                  <a:moveTo>
                    <a:pt x="545" y="1264"/>
                  </a:moveTo>
                  <a:lnTo>
                    <a:pt x="545" y="1263"/>
                  </a:lnTo>
                  <a:lnTo>
                    <a:pt x="545" y="1264"/>
                  </a:lnTo>
                  <a:close/>
                  <a:moveTo>
                    <a:pt x="529" y="1232"/>
                  </a:moveTo>
                  <a:lnTo>
                    <a:pt x="529" y="1233"/>
                  </a:lnTo>
                  <a:lnTo>
                    <a:pt x="529" y="1232"/>
                  </a:lnTo>
                  <a:close/>
                  <a:moveTo>
                    <a:pt x="561" y="786"/>
                  </a:moveTo>
                  <a:lnTo>
                    <a:pt x="561" y="784"/>
                  </a:lnTo>
                  <a:lnTo>
                    <a:pt x="561" y="786"/>
                  </a:lnTo>
                  <a:close/>
                  <a:moveTo>
                    <a:pt x="540" y="1235"/>
                  </a:moveTo>
                  <a:lnTo>
                    <a:pt x="540" y="1237"/>
                  </a:lnTo>
                  <a:lnTo>
                    <a:pt x="540" y="1235"/>
                  </a:lnTo>
                  <a:close/>
                  <a:moveTo>
                    <a:pt x="461" y="1572"/>
                  </a:moveTo>
                  <a:lnTo>
                    <a:pt x="461" y="1570"/>
                  </a:lnTo>
                  <a:lnTo>
                    <a:pt x="461" y="1572"/>
                  </a:lnTo>
                  <a:close/>
                  <a:moveTo>
                    <a:pt x="646" y="513"/>
                  </a:moveTo>
                  <a:lnTo>
                    <a:pt x="648" y="513"/>
                  </a:lnTo>
                  <a:lnTo>
                    <a:pt x="648" y="514"/>
                  </a:lnTo>
                  <a:lnTo>
                    <a:pt x="646" y="513"/>
                  </a:lnTo>
                  <a:close/>
                  <a:moveTo>
                    <a:pt x="542" y="793"/>
                  </a:moveTo>
                  <a:lnTo>
                    <a:pt x="544" y="793"/>
                  </a:lnTo>
                  <a:lnTo>
                    <a:pt x="542" y="793"/>
                  </a:lnTo>
                  <a:close/>
                  <a:moveTo>
                    <a:pt x="535" y="1258"/>
                  </a:moveTo>
                  <a:lnTo>
                    <a:pt x="535" y="1256"/>
                  </a:lnTo>
                  <a:lnTo>
                    <a:pt x="535" y="1258"/>
                  </a:lnTo>
                  <a:close/>
                  <a:moveTo>
                    <a:pt x="469" y="1227"/>
                  </a:moveTo>
                  <a:lnTo>
                    <a:pt x="469" y="1225"/>
                  </a:lnTo>
                  <a:lnTo>
                    <a:pt x="469" y="1227"/>
                  </a:lnTo>
                  <a:close/>
                  <a:moveTo>
                    <a:pt x="433" y="973"/>
                  </a:moveTo>
                  <a:lnTo>
                    <a:pt x="435" y="973"/>
                  </a:lnTo>
                  <a:lnTo>
                    <a:pt x="433" y="973"/>
                  </a:lnTo>
                  <a:close/>
                  <a:moveTo>
                    <a:pt x="457" y="1542"/>
                  </a:moveTo>
                  <a:lnTo>
                    <a:pt x="459" y="1542"/>
                  </a:lnTo>
                  <a:lnTo>
                    <a:pt x="457" y="1542"/>
                  </a:lnTo>
                  <a:close/>
                  <a:moveTo>
                    <a:pt x="550" y="1276"/>
                  </a:moveTo>
                  <a:lnTo>
                    <a:pt x="552" y="1276"/>
                  </a:lnTo>
                  <a:lnTo>
                    <a:pt x="550" y="1276"/>
                  </a:lnTo>
                  <a:close/>
                  <a:moveTo>
                    <a:pt x="466" y="1497"/>
                  </a:moveTo>
                  <a:lnTo>
                    <a:pt x="464" y="1497"/>
                  </a:lnTo>
                  <a:lnTo>
                    <a:pt x="466" y="1497"/>
                  </a:lnTo>
                  <a:close/>
                  <a:moveTo>
                    <a:pt x="664" y="467"/>
                  </a:moveTo>
                  <a:lnTo>
                    <a:pt x="664" y="469"/>
                  </a:lnTo>
                  <a:lnTo>
                    <a:pt x="664" y="467"/>
                  </a:lnTo>
                  <a:close/>
                  <a:moveTo>
                    <a:pt x="526" y="1261"/>
                  </a:moveTo>
                  <a:lnTo>
                    <a:pt x="527" y="1261"/>
                  </a:lnTo>
                  <a:lnTo>
                    <a:pt x="526" y="1261"/>
                  </a:lnTo>
                  <a:close/>
                  <a:moveTo>
                    <a:pt x="627" y="620"/>
                  </a:moveTo>
                  <a:lnTo>
                    <a:pt x="627" y="619"/>
                  </a:lnTo>
                  <a:lnTo>
                    <a:pt x="627" y="620"/>
                  </a:lnTo>
                  <a:close/>
                  <a:moveTo>
                    <a:pt x="727" y="440"/>
                  </a:moveTo>
                  <a:lnTo>
                    <a:pt x="727" y="441"/>
                  </a:lnTo>
                  <a:lnTo>
                    <a:pt x="727" y="440"/>
                  </a:lnTo>
                  <a:close/>
                  <a:moveTo>
                    <a:pt x="566" y="1443"/>
                  </a:moveTo>
                  <a:lnTo>
                    <a:pt x="566" y="1445"/>
                  </a:lnTo>
                  <a:lnTo>
                    <a:pt x="566" y="1443"/>
                  </a:lnTo>
                  <a:close/>
                  <a:moveTo>
                    <a:pt x="553" y="1437"/>
                  </a:moveTo>
                  <a:lnTo>
                    <a:pt x="552" y="1437"/>
                  </a:lnTo>
                  <a:lnTo>
                    <a:pt x="553" y="1437"/>
                  </a:lnTo>
                  <a:close/>
                  <a:moveTo>
                    <a:pt x="425" y="1079"/>
                  </a:moveTo>
                  <a:lnTo>
                    <a:pt x="426" y="1079"/>
                  </a:lnTo>
                  <a:lnTo>
                    <a:pt x="425" y="1079"/>
                  </a:lnTo>
                  <a:close/>
                  <a:moveTo>
                    <a:pt x="539" y="1272"/>
                  </a:moveTo>
                  <a:lnTo>
                    <a:pt x="539" y="1274"/>
                  </a:lnTo>
                  <a:lnTo>
                    <a:pt x="539" y="1272"/>
                  </a:lnTo>
                  <a:close/>
                  <a:moveTo>
                    <a:pt x="532" y="1237"/>
                  </a:moveTo>
                  <a:lnTo>
                    <a:pt x="532" y="1235"/>
                  </a:lnTo>
                  <a:lnTo>
                    <a:pt x="532" y="1237"/>
                  </a:lnTo>
                  <a:close/>
                  <a:moveTo>
                    <a:pt x="467" y="1224"/>
                  </a:moveTo>
                  <a:lnTo>
                    <a:pt x="467" y="1225"/>
                  </a:lnTo>
                  <a:lnTo>
                    <a:pt x="467" y="1224"/>
                  </a:lnTo>
                  <a:close/>
                  <a:moveTo>
                    <a:pt x="438" y="994"/>
                  </a:moveTo>
                  <a:lnTo>
                    <a:pt x="438" y="993"/>
                  </a:lnTo>
                  <a:lnTo>
                    <a:pt x="440" y="994"/>
                  </a:lnTo>
                  <a:lnTo>
                    <a:pt x="438" y="994"/>
                  </a:lnTo>
                  <a:close/>
                  <a:moveTo>
                    <a:pt x="604" y="744"/>
                  </a:moveTo>
                  <a:lnTo>
                    <a:pt x="604" y="742"/>
                  </a:lnTo>
                  <a:lnTo>
                    <a:pt x="604" y="744"/>
                  </a:lnTo>
                  <a:close/>
                  <a:moveTo>
                    <a:pt x="534" y="1272"/>
                  </a:moveTo>
                  <a:lnTo>
                    <a:pt x="535" y="1272"/>
                  </a:lnTo>
                  <a:lnTo>
                    <a:pt x="534" y="1272"/>
                  </a:lnTo>
                  <a:close/>
                  <a:moveTo>
                    <a:pt x="545" y="1259"/>
                  </a:moveTo>
                  <a:lnTo>
                    <a:pt x="545" y="1261"/>
                  </a:lnTo>
                  <a:lnTo>
                    <a:pt x="545" y="1259"/>
                  </a:lnTo>
                  <a:close/>
                  <a:moveTo>
                    <a:pt x="13" y="1500"/>
                  </a:moveTo>
                  <a:lnTo>
                    <a:pt x="13" y="1498"/>
                  </a:lnTo>
                  <a:lnTo>
                    <a:pt x="13" y="1500"/>
                  </a:lnTo>
                  <a:close/>
                  <a:moveTo>
                    <a:pt x="420" y="1064"/>
                  </a:moveTo>
                  <a:lnTo>
                    <a:pt x="420" y="1066"/>
                  </a:lnTo>
                  <a:lnTo>
                    <a:pt x="420" y="1064"/>
                  </a:lnTo>
                  <a:close/>
                  <a:moveTo>
                    <a:pt x="443" y="1633"/>
                  </a:moveTo>
                  <a:lnTo>
                    <a:pt x="444" y="1633"/>
                  </a:lnTo>
                  <a:lnTo>
                    <a:pt x="443" y="1633"/>
                  </a:lnTo>
                  <a:close/>
                  <a:moveTo>
                    <a:pt x="456" y="1503"/>
                  </a:moveTo>
                  <a:lnTo>
                    <a:pt x="456" y="1502"/>
                  </a:lnTo>
                  <a:lnTo>
                    <a:pt x="456" y="1503"/>
                  </a:lnTo>
                  <a:close/>
                  <a:moveTo>
                    <a:pt x="418" y="1093"/>
                  </a:moveTo>
                  <a:lnTo>
                    <a:pt x="418" y="1095"/>
                  </a:lnTo>
                  <a:lnTo>
                    <a:pt x="418" y="1093"/>
                  </a:lnTo>
                  <a:close/>
                  <a:moveTo>
                    <a:pt x="423" y="1093"/>
                  </a:moveTo>
                  <a:lnTo>
                    <a:pt x="425" y="1093"/>
                  </a:lnTo>
                  <a:lnTo>
                    <a:pt x="423" y="1093"/>
                  </a:lnTo>
                  <a:close/>
                  <a:moveTo>
                    <a:pt x="566" y="1355"/>
                  </a:moveTo>
                  <a:lnTo>
                    <a:pt x="568" y="1355"/>
                  </a:lnTo>
                  <a:lnTo>
                    <a:pt x="566" y="1355"/>
                  </a:lnTo>
                  <a:close/>
                  <a:moveTo>
                    <a:pt x="35" y="1591"/>
                  </a:moveTo>
                  <a:lnTo>
                    <a:pt x="35" y="1590"/>
                  </a:lnTo>
                  <a:lnTo>
                    <a:pt x="35" y="1591"/>
                  </a:lnTo>
                  <a:close/>
                  <a:moveTo>
                    <a:pt x="420" y="1113"/>
                  </a:moveTo>
                  <a:lnTo>
                    <a:pt x="420" y="1111"/>
                  </a:lnTo>
                  <a:lnTo>
                    <a:pt x="420" y="1113"/>
                  </a:lnTo>
                  <a:close/>
                  <a:moveTo>
                    <a:pt x="589" y="763"/>
                  </a:moveTo>
                  <a:lnTo>
                    <a:pt x="589" y="765"/>
                  </a:lnTo>
                  <a:lnTo>
                    <a:pt x="589" y="763"/>
                  </a:lnTo>
                  <a:close/>
                  <a:moveTo>
                    <a:pt x="529" y="1233"/>
                  </a:moveTo>
                  <a:lnTo>
                    <a:pt x="529" y="1232"/>
                  </a:lnTo>
                  <a:lnTo>
                    <a:pt x="529" y="1233"/>
                  </a:lnTo>
                  <a:close/>
                  <a:moveTo>
                    <a:pt x="431" y="1121"/>
                  </a:moveTo>
                  <a:lnTo>
                    <a:pt x="431" y="1123"/>
                  </a:lnTo>
                  <a:lnTo>
                    <a:pt x="431" y="1121"/>
                  </a:lnTo>
                  <a:close/>
                  <a:moveTo>
                    <a:pt x="563" y="1354"/>
                  </a:moveTo>
                  <a:lnTo>
                    <a:pt x="563" y="1352"/>
                  </a:lnTo>
                  <a:lnTo>
                    <a:pt x="565" y="1352"/>
                  </a:lnTo>
                  <a:lnTo>
                    <a:pt x="563" y="1354"/>
                  </a:lnTo>
                  <a:close/>
                  <a:moveTo>
                    <a:pt x="524" y="1438"/>
                  </a:moveTo>
                  <a:lnTo>
                    <a:pt x="526" y="1438"/>
                  </a:lnTo>
                  <a:lnTo>
                    <a:pt x="524" y="1438"/>
                  </a:lnTo>
                  <a:close/>
                  <a:moveTo>
                    <a:pt x="444" y="1648"/>
                  </a:moveTo>
                  <a:lnTo>
                    <a:pt x="446" y="1648"/>
                  </a:lnTo>
                  <a:lnTo>
                    <a:pt x="444" y="1648"/>
                  </a:lnTo>
                  <a:close/>
                  <a:moveTo>
                    <a:pt x="531" y="1240"/>
                  </a:moveTo>
                  <a:lnTo>
                    <a:pt x="532" y="1240"/>
                  </a:lnTo>
                  <a:lnTo>
                    <a:pt x="531" y="1240"/>
                  </a:lnTo>
                  <a:close/>
                  <a:moveTo>
                    <a:pt x="446" y="1604"/>
                  </a:moveTo>
                  <a:lnTo>
                    <a:pt x="448" y="1603"/>
                  </a:lnTo>
                  <a:lnTo>
                    <a:pt x="448" y="1604"/>
                  </a:lnTo>
                  <a:lnTo>
                    <a:pt x="446" y="1604"/>
                  </a:lnTo>
                  <a:close/>
                  <a:moveTo>
                    <a:pt x="745" y="438"/>
                  </a:moveTo>
                  <a:lnTo>
                    <a:pt x="747" y="438"/>
                  </a:lnTo>
                  <a:lnTo>
                    <a:pt x="745" y="438"/>
                  </a:lnTo>
                  <a:close/>
                  <a:moveTo>
                    <a:pt x="636" y="261"/>
                  </a:moveTo>
                  <a:lnTo>
                    <a:pt x="635" y="261"/>
                  </a:lnTo>
                  <a:lnTo>
                    <a:pt x="636" y="261"/>
                  </a:lnTo>
                  <a:close/>
                  <a:moveTo>
                    <a:pt x="448" y="1599"/>
                  </a:moveTo>
                  <a:lnTo>
                    <a:pt x="449" y="1599"/>
                  </a:lnTo>
                  <a:lnTo>
                    <a:pt x="448" y="1599"/>
                  </a:lnTo>
                  <a:close/>
                  <a:moveTo>
                    <a:pt x="706" y="430"/>
                  </a:moveTo>
                  <a:lnTo>
                    <a:pt x="706" y="428"/>
                  </a:lnTo>
                  <a:lnTo>
                    <a:pt x="706" y="430"/>
                  </a:lnTo>
                  <a:close/>
                  <a:moveTo>
                    <a:pt x="604" y="742"/>
                  </a:moveTo>
                  <a:lnTo>
                    <a:pt x="604" y="741"/>
                  </a:lnTo>
                  <a:lnTo>
                    <a:pt x="604" y="742"/>
                  </a:lnTo>
                  <a:close/>
                  <a:moveTo>
                    <a:pt x="527" y="1250"/>
                  </a:moveTo>
                  <a:lnTo>
                    <a:pt x="527" y="1251"/>
                  </a:lnTo>
                  <a:lnTo>
                    <a:pt x="527" y="1250"/>
                  </a:lnTo>
                  <a:close/>
                  <a:moveTo>
                    <a:pt x="487" y="1474"/>
                  </a:moveTo>
                  <a:lnTo>
                    <a:pt x="488" y="1474"/>
                  </a:lnTo>
                  <a:lnTo>
                    <a:pt x="488" y="1476"/>
                  </a:lnTo>
                  <a:lnTo>
                    <a:pt x="487" y="1474"/>
                  </a:lnTo>
                  <a:close/>
                  <a:moveTo>
                    <a:pt x="596" y="757"/>
                  </a:moveTo>
                  <a:lnTo>
                    <a:pt x="596" y="755"/>
                  </a:lnTo>
                  <a:lnTo>
                    <a:pt x="596" y="757"/>
                  </a:lnTo>
                  <a:close/>
                  <a:moveTo>
                    <a:pt x="657" y="435"/>
                  </a:moveTo>
                  <a:lnTo>
                    <a:pt x="659" y="435"/>
                  </a:lnTo>
                  <a:lnTo>
                    <a:pt x="659" y="436"/>
                  </a:lnTo>
                  <a:lnTo>
                    <a:pt x="657" y="435"/>
                  </a:lnTo>
                  <a:close/>
                  <a:moveTo>
                    <a:pt x="605" y="744"/>
                  </a:moveTo>
                  <a:lnTo>
                    <a:pt x="605" y="742"/>
                  </a:lnTo>
                  <a:lnTo>
                    <a:pt x="605" y="744"/>
                  </a:lnTo>
                  <a:close/>
                  <a:moveTo>
                    <a:pt x="752" y="436"/>
                  </a:moveTo>
                  <a:lnTo>
                    <a:pt x="753" y="436"/>
                  </a:lnTo>
                  <a:lnTo>
                    <a:pt x="752" y="436"/>
                  </a:lnTo>
                  <a:close/>
                  <a:moveTo>
                    <a:pt x="451" y="1529"/>
                  </a:moveTo>
                  <a:lnTo>
                    <a:pt x="453" y="1529"/>
                  </a:lnTo>
                  <a:lnTo>
                    <a:pt x="451" y="1529"/>
                  </a:lnTo>
                  <a:close/>
                  <a:moveTo>
                    <a:pt x="574" y="1402"/>
                  </a:moveTo>
                  <a:lnTo>
                    <a:pt x="574" y="1404"/>
                  </a:lnTo>
                  <a:lnTo>
                    <a:pt x="574" y="1402"/>
                  </a:lnTo>
                  <a:close/>
                  <a:moveTo>
                    <a:pt x="683" y="453"/>
                  </a:moveTo>
                  <a:lnTo>
                    <a:pt x="682" y="451"/>
                  </a:lnTo>
                  <a:lnTo>
                    <a:pt x="683" y="451"/>
                  </a:lnTo>
                  <a:lnTo>
                    <a:pt x="683" y="453"/>
                  </a:lnTo>
                  <a:close/>
                  <a:moveTo>
                    <a:pt x="522" y="827"/>
                  </a:moveTo>
                  <a:lnTo>
                    <a:pt x="524" y="827"/>
                  </a:lnTo>
                  <a:lnTo>
                    <a:pt x="522" y="827"/>
                  </a:lnTo>
                  <a:close/>
                  <a:moveTo>
                    <a:pt x="448" y="1520"/>
                  </a:moveTo>
                  <a:lnTo>
                    <a:pt x="448" y="1518"/>
                  </a:lnTo>
                  <a:lnTo>
                    <a:pt x="448" y="1520"/>
                  </a:lnTo>
                  <a:close/>
                  <a:moveTo>
                    <a:pt x="724" y="441"/>
                  </a:moveTo>
                  <a:lnTo>
                    <a:pt x="724" y="440"/>
                  </a:lnTo>
                  <a:lnTo>
                    <a:pt x="724" y="441"/>
                  </a:lnTo>
                  <a:close/>
                  <a:moveTo>
                    <a:pt x="441" y="1620"/>
                  </a:moveTo>
                  <a:lnTo>
                    <a:pt x="441" y="1622"/>
                  </a:lnTo>
                  <a:lnTo>
                    <a:pt x="441" y="1620"/>
                  </a:lnTo>
                  <a:close/>
                  <a:moveTo>
                    <a:pt x="490" y="1212"/>
                  </a:moveTo>
                  <a:lnTo>
                    <a:pt x="492" y="1212"/>
                  </a:lnTo>
                  <a:lnTo>
                    <a:pt x="490" y="1212"/>
                  </a:lnTo>
                  <a:close/>
                  <a:moveTo>
                    <a:pt x="475" y="1227"/>
                  </a:moveTo>
                  <a:lnTo>
                    <a:pt x="475" y="1225"/>
                  </a:lnTo>
                  <a:lnTo>
                    <a:pt x="475" y="1227"/>
                  </a:lnTo>
                  <a:close/>
                  <a:moveTo>
                    <a:pt x="680" y="475"/>
                  </a:moveTo>
                  <a:lnTo>
                    <a:pt x="680" y="477"/>
                  </a:lnTo>
                  <a:lnTo>
                    <a:pt x="680" y="475"/>
                  </a:lnTo>
                  <a:close/>
                  <a:moveTo>
                    <a:pt x="732" y="440"/>
                  </a:moveTo>
                  <a:lnTo>
                    <a:pt x="732" y="441"/>
                  </a:lnTo>
                  <a:lnTo>
                    <a:pt x="732" y="440"/>
                  </a:lnTo>
                  <a:close/>
                  <a:moveTo>
                    <a:pt x="744" y="435"/>
                  </a:moveTo>
                  <a:lnTo>
                    <a:pt x="745" y="435"/>
                  </a:lnTo>
                  <a:lnTo>
                    <a:pt x="744" y="436"/>
                  </a:lnTo>
                  <a:lnTo>
                    <a:pt x="744" y="435"/>
                  </a:lnTo>
                  <a:close/>
                  <a:moveTo>
                    <a:pt x="544" y="1448"/>
                  </a:moveTo>
                  <a:lnTo>
                    <a:pt x="544" y="1446"/>
                  </a:lnTo>
                  <a:lnTo>
                    <a:pt x="544" y="1448"/>
                  </a:lnTo>
                  <a:close/>
                  <a:moveTo>
                    <a:pt x="459" y="1544"/>
                  </a:moveTo>
                  <a:lnTo>
                    <a:pt x="459" y="1542"/>
                  </a:lnTo>
                  <a:lnTo>
                    <a:pt x="459" y="1544"/>
                  </a:lnTo>
                  <a:close/>
                  <a:moveTo>
                    <a:pt x="638" y="545"/>
                  </a:moveTo>
                  <a:lnTo>
                    <a:pt x="638" y="544"/>
                  </a:lnTo>
                  <a:lnTo>
                    <a:pt x="638" y="545"/>
                  </a:lnTo>
                  <a:close/>
                  <a:moveTo>
                    <a:pt x="579" y="765"/>
                  </a:moveTo>
                  <a:lnTo>
                    <a:pt x="579" y="767"/>
                  </a:lnTo>
                  <a:lnTo>
                    <a:pt x="579" y="765"/>
                  </a:lnTo>
                  <a:close/>
                  <a:moveTo>
                    <a:pt x="431" y="1121"/>
                  </a:moveTo>
                  <a:lnTo>
                    <a:pt x="431" y="1119"/>
                  </a:lnTo>
                  <a:lnTo>
                    <a:pt x="431" y="1121"/>
                  </a:lnTo>
                  <a:close/>
                  <a:moveTo>
                    <a:pt x="433" y="1180"/>
                  </a:moveTo>
                  <a:lnTo>
                    <a:pt x="435" y="1180"/>
                  </a:lnTo>
                  <a:lnTo>
                    <a:pt x="433" y="1180"/>
                  </a:lnTo>
                  <a:close/>
                  <a:moveTo>
                    <a:pt x="674" y="391"/>
                  </a:moveTo>
                  <a:lnTo>
                    <a:pt x="672" y="391"/>
                  </a:lnTo>
                  <a:lnTo>
                    <a:pt x="674" y="391"/>
                  </a:lnTo>
                  <a:close/>
                  <a:moveTo>
                    <a:pt x="529" y="1230"/>
                  </a:moveTo>
                  <a:lnTo>
                    <a:pt x="531" y="1232"/>
                  </a:lnTo>
                  <a:lnTo>
                    <a:pt x="529" y="1230"/>
                  </a:lnTo>
                  <a:close/>
                  <a:moveTo>
                    <a:pt x="451" y="1572"/>
                  </a:moveTo>
                  <a:lnTo>
                    <a:pt x="451" y="1573"/>
                  </a:lnTo>
                  <a:lnTo>
                    <a:pt x="451" y="1572"/>
                  </a:lnTo>
                  <a:close/>
                  <a:moveTo>
                    <a:pt x="423" y="1084"/>
                  </a:moveTo>
                  <a:lnTo>
                    <a:pt x="425" y="1084"/>
                  </a:lnTo>
                  <a:lnTo>
                    <a:pt x="425" y="1085"/>
                  </a:lnTo>
                  <a:lnTo>
                    <a:pt x="423" y="1084"/>
                  </a:lnTo>
                  <a:close/>
                  <a:moveTo>
                    <a:pt x="542" y="1389"/>
                  </a:moveTo>
                  <a:lnTo>
                    <a:pt x="542" y="1391"/>
                  </a:lnTo>
                  <a:lnTo>
                    <a:pt x="542" y="1389"/>
                  </a:lnTo>
                  <a:close/>
                  <a:moveTo>
                    <a:pt x="682" y="488"/>
                  </a:moveTo>
                  <a:lnTo>
                    <a:pt x="683" y="488"/>
                  </a:lnTo>
                  <a:lnTo>
                    <a:pt x="682" y="488"/>
                  </a:lnTo>
                  <a:close/>
                  <a:moveTo>
                    <a:pt x="557" y="1266"/>
                  </a:moveTo>
                  <a:lnTo>
                    <a:pt x="558" y="1266"/>
                  </a:lnTo>
                  <a:lnTo>
                    <a:pt x="558" y="1267"/>
                  </a:lnTo>
                  <a:lnTo>
                    <a:pt x="557" y="1267"/>
                  </a:lnTo>
                  <a:lnTo>
                    <a:pt x="557" y="1266"/>
                  </a:lnTo>
                  <a:close/>
                  <a:moveTo>
                    <a:pt x="537" y="1245"/>
                  </a:moveTo>
                  <a:lnTo>
                    <a:pt x="537" y="1243"/>
                  </a:lnTo>
                  <a:lnTo>
                    <a:pt x="537" y="1245"/>
                  </a:lnTo>
                  <a:close/>
                  <a:moveTo>
                    <a:pt x="561" y="1280"/>
                  </a:moveTo>
                  <a:lnTo>
                    <a:pt x="561" y="1279"/>
                  </a:lnTo>
                  <a:lnTo>
                    <a:pt x="561" y="1280"/>
                  </a:lnTo>
                  <a:close/>
                  <a:moveTo>
                    <a:pt x="714" y="445"/>
                  </a:moveTo>
                  <a:lnTo>
                    <a:pt x="716" y="445"/>
                  </a:lnTo>
                  <a:lnTo>
                    <a:pt x="714" y="445"/>
                  </a:lnTo>
                  <a:close/>
                  <a:moveTo>
                    <a:pt x="487" y="884"/>
                  </a:moveTo>
                  <a:lnTo>
                    <a:pt x="487" y="882"/>
                  </a:lnTo>
                  <a:lnTo>
                    <a:pt x="487" y="884"/>
                  </a:lnTo>
                  <a:close/>
                  <a:moveTo>
                    <a:pt x="444" y="1669"/>
                  </a:moveTo>
                  <a:lnTo>
                    <a:pt x="446" y="1669"/>
                  </a:lnTo>
                  <a:lnTo>
                    <a:pt x="444" y="1669"/>
                  </a:lnTo>
                  <a:close/>
                  <a:moveTo>
                    <a:pt x="457" y="1544"/>
                  </a:moveTo>
                  <a:lnTo>
                    <a:pt x="457" y="1542"/>
                  </a:lnTo>
                  <a:lnTo>
                    <a:pt x="457" y="1544"/>
                  </a:lnTo>
                  <a:close/>
                  <a:moveTo>
                    <a:pt x="431" y="1134"/>
                  </a:moveTo>
                  <a:lnTo>
                    <a:pt x="433" y="1134"/>
                  </a:lnTo>
                  <a:lnTo>
                    <a:pt x="431" y="1134"/>
                  </a:lnTo>
                  <a:close/>
                  <a:moveTo>
                    <a:pt x="701" y="453"/>
                  </a:moveTo>
                  <a:lnTo>
                    <a:pt x="703" y="453"/>
                  </a:lnTo>
                  <a:lnTo>
                    <a:pt x="703" y="454"/>
                  </a:lnTo>
                  <a:lnTo>
                    <a:pt x="701" y="453"/>
                  </a:lnTo>
                  <a:close/>
                  <a:moveTo>
                    <a:pt x="618" y="767"/>
                  </a:moveTo>
                  <a:lnTo>
                    <a:pt x="620" y="767"/>
                  </a:lnTo>
                  <a:lnTo>
                    <a:pt x="618" y="767"/>
                  </a:lnTo>
                  <a:close/>
                  <a:moveTo>
                    <a:pt x="568" y="1367"/>
                  </a:moveTo>
                  <a:lnTo>
                    <a:pt x="570" y="1367"/>
                  </a:lnTo>
                  <a:lnTo>
                    <a:pt x="568" y="1367"/>
                  </a:lnTo>
                  <a:close/>
                  <a:moveTo>
                    <a:pt x="426" y="1129"/>
                  </a:moveTo>
                  <a:lnTo>
                    <a:pt x="428" y="1129"/>
                  </a:lnTo>
                  <a:lnTo>
                    <a:pt x="426" y="1129"/>
                  </a:lnTo>
                  <a:close/>
                  <a:moveTo>
                    <a:pt x="498" y="845"/>
                  </a:moveTo>
                  <a:lnTo>
                    <a:pt x="498" y="843"/>
                  </a:lnTo>
                  <a:lnTo>
                    <a:pt x="498" y="845"/>
                  </a:lnTo>
                  <a:close/>
                  <a:moveTo>
                    <a:pt x="441" y="1193"/>
                  </a:moveTo>
                  <a:lnTo>
                    <a:pt x="443" y="1193"/>
                  </a:lnTo>
                  <a:lnTo>
                    <a:pt x="441" y="1193"/>
                  </a:lnTo>
                  <a:close/>
                  <a:moveTo>
                    <a:pt x="625" y="754"/>
                  </a:moveTo>
                  <a:lnTo>
                    <a:pt x="625" y="752"/>
                  </a:lnTo>
                  <a:lnTo>
                    <a:pt x="625" y="754"/>
                  </a:lnTo>
                  <a:close/>
                  <a:moveTo>
                    <a:pt x="435" y="1180"/>
                  </a:moveTo>
                  <a:lnTo>
                    <a:pt x="435" y="1181"/>
                  </a:lnTo>
                  <a:lnTo>
                    <a:pt x="435" y="1180"/>
                  </a:lnTo>
                  <a:close/>
                  <a:moveTo>
                    <a:pt x="750" y="435"/>
                  </a:moveTo>
                  <a:lnTo>
                    <a:pt x="749" y="435"/>
                  </a:lnTo>
                  <a:lnTo>
                    <a:pt x="750" y="435"/>
                  </a:lnTo>
                  <a:close/>
                  <a:moveTo>
                    <a:pt x="422" y="1093"/>
                  </a:moveTo>
                  <a:lnTo>
                    <a:pt x="423" y="1093"/>
                  </a:lnTo>
                  <a:lnTo>
                    <a:pt x="422" y="1093"/>
                  </a:lnTo>
                  <a:close/>
                  <a:moveTo>
                    <a:pt x="544" y="1245"/>
                  </a:moveTo>
                  <a:lnTo>
                    <a:pt x="545" y="1243"/>
                  </a:lnTo>
                  <a:lnTo>
                    <a:pt x="544" y="1245"/>
                  </a:lnTo>
                  <a:close/>
                  <a:moveTo>
                    <a:pt x="664" y="469"/>
                  </a:moveTo>
                  <a:lnTo>
                    <a:pt x="664" y="471"/>
                  </a:lnTo>
                  <a:lnTo>
                    <a:pt x="664" y="469"/>
                  </a:lnTo>
                  <a:close/>
                  <a:moveTo>
                    <a:pt x="441" y="1188"/>
                  </a:moveTo>
                  <a:lnTo>
                    <a:pt x="441" y="1189"/>
                  </a:lnTo>
                  <a:lnTo>
                    <a:pt x="441" y="1188"/>
                  </a:lnTo>
                  <a:close/>
                  <a:moveTo>
                    <a:pt x="532" y="1237"/>
                  </a:moveTo>
                  <a:lnTo>
                    <a:pt x="534" y="1237"/>
                  </a:lnTo>
                  <a:lnTo>
                    <a:pt x="532" y="1237"/>
                  </a:lnTo>
                  <a:close/>
                  <a:moveTo>
                    <a:pt x="521" y="1232"/>
                  </a:moveTo>
                  <a:lnTo>
                    <a:pt x="521" y="1233"/>
                  </a:lnTo>
                  <a:lnTo>
                    <a:pt x="521" y="1232"/>
                  </a:lnTo>
                  <a:close/>
                  <a:moveTo>
                    <a:pt x="534" y="1237"/>
                  </a:moveTo>
                  <a:lnTo>
                    <a:pt x="534" y="1235"/>
                  </a:lnTo>
                  <a:lnTo>
                    <a:pt x="534" y="1237"/>
                  </a:lnTo>
                  <a:close/>
                  <a:moveTo>
                    <a:pt x="540" y="1237"/>
                  </a:moveTo>
                  <a:lnTo>
                    <a:pt x="540" y="1238"/>
                  </a:lnTo>
                  <a:lnTo>
                    <a:pt x="540" y="1237"/>
                  </a:lnTo>
                  <a:close/>
                  <a:moveTo>
                    <a:pt x="415" y="1090"/>
                  </a:moveTo>
                  <a:lnTo>
                    <a:pt x="417" y="1090"/>
                  </a:lnTo>
                  <a:lnTo>
                    <a:pt x="415" y="1090"/>
                  </a:lnTo>
                  <a:close/>
                  <a:moveTo>
                    <a:pt x="524" y="820"/>
                  </a:moveTo>
                  <a:lnTo>
                    <a:pt x="526" y="820"/>
                  </a:lnTo>
                  <a:lnTo>
                    <a:pt x="524" y="820"/>
                  </a:lnTo>
                  <a:close/>
                  <a:moveTo>
                    <a:pt x="544" y="802"/>
                  </a:moveTo>
                  <a:lnTo>
                    <a:pt x="544" y="801"/>
                  </a:lnTo>
                  <a:lnTo>
                    <a:pt x="544" y="802"/>
                  </a:lnTo>
                  <a:close/>
                  <a:moveTo>
                    <a:pt x="760" y="423"/>
                  </a:moveTo>
                  <a:lnTo>
                    <a:pt x="760" y="425"/>
                  </a:lnTo>
                  <a:lnTo>
                    <a:pt x="760" y="423"/>
                  </a:lnTo>
                  <a:close/>
                  <a:moveTo>
                    <a:pt x="457" y="902"/>
                  </a:moveTo>
                  <a:lnTo>
                    <a:pt x="457" y="900"/>
                  </a:lnTo>
                  <a:lnTo>
                    <a:pt x="457" y="902"/>
                  </a:lnTo>
                  <a:close/>
                  <a:moveTo>
                    <a:pt x="431" y="1163"/>
                  </a:moveTo>
                  <a:lnTo>
                    <a:pt x="433" y="1163"/>
                  </a:lnTo>
                  <a:lnTo>
                    <a:pt x="431" y="1163"/>
                  </a:lnTo>
                  <a:close/>
                  <a:moveTo>
                    <a:pt x="558" y="1383"/>
                  </a:moveTo>
                  <a:lnTo>
                    <a:pt x="560" y="1383"/>
                  </a:lnTo>
                  <a:lnTo>
                    <a:pt x="558" y="1383"/>
                  </a:lnTo>
                  <a:close/>
                  <a:moveTo>
                    <a:pt x="724" y="431"/>
                  </a:moveTo>
                  <a:lnTo>
                    <a:pt x="726" y="431"/>
                  </a:lnTo>
                  <a:lnTo>
                    <a:pt x="724" y="431"/>
                  </a:lnTo>
                  <a:close/>
                  <a:moveTo>
                    <a:pt x="669" y="360"/>
                  </a:moveTo>
                  <a:lnTo>
                    <a:pt x="669" y="362"/>
                  </a:lnTo>
                  <a:lnTo>
                    <a:pt x="669" y="360"/>
                  </a:lnTo>
                  <a:close/>
                  <a:moveTo>
                    <a:pt x="622" y="615"/>
                  </a:moveTo>
                  <a:lnTo>
                    <a:pt x="623" y="615"/>
                  </a:lnTo>
                  <a:lnTo>
                    <a:pt x="623" y="617"/>
                  </a:lnTo>
                  <a:lnTo>
                    <a:pt x="622" y="615"/>
                  </a:lnTo>
                  <a:close/>
                  <a:moveTo>
                    <a:pt x="565" y="1385"/>
                  </a:moveTo>
                  <a:lnTo>
                    <a:pt x="566" y="1385"/>
                  </a:lnTo>
                  <a:lnTo>
                    <a:pt x="565" y="1385"/>
                  </a:lnTo>
                  <a:close/>
                  <a:moveTo>
                    <a:pt x="623" y="571"/>
                  </a:moveTo>
                  <a:lnTo>
                    <a:pt x="625" y="571"/>
                  </a:lnTo>
                  <a:lnTo>
                    <a:pt x="623" y="571"/>
                  </a:lnTo>
                  <a:close/>
                  <a:moveTo>
                    <a:pt x="762" y="433"/>
                  </a:moveTo>
                  <a:lnTo>
                    <a:pt x="762" y="431"/>
                  </a:lnTo>
                  <a:lnTo>
                    <a:pt x="762" y="433"/>
                  </a:lnTo>
                  <a:close/>
                  <a:moveTo>
                    <a:pt x="560" y="780"/>
                  </a:moveTo>
                  <a:lnTo>
                    <a:pt x="561" y="780"/>
                  </a:lnTo>
                  <a:lnTo>
                    <a:pt x="560" y="780"/>
                  </a:lnTo>
                  <a:close/>
                  <a:moveTo>
                    <a:pt x="526" y="1251"/>
                  </a:moveTo>
                  <a:lnTo>
                    <a:pt x="526" y="1250"/>
                  </a:lnTo>
                  <a:lnTo>
                    <a:pt x="526" y="1251"/>
                  </a:lnTo>
                  <a:close/>
                  <a:moveTo>
                    <a:pt x="675" y="379"/>
                  </a:moveTo>
                  <a:lnTo>
                    <a:pt x="675" y="378"/>
                  </a:lnTo>
                  <a:lnTo>
                    <a:pt x="675" y="379"/>
                  </a:lnTo>
                  <a:close/>
                  <a:moveTo>
                    <a:pt x="614" y="721"/>
                  </a:moveTo>
                  <a:lnTo>
                    <a:pt x="614" y="719"/>
                  </a:lnTo>
                  <a:lnTo>
                    <a:pt x="614" y="721"/>
                  </a:lnTo>
                  <a:close/>
                  <a:moveTo>
                    <a:pt x="477" y="900"/>
                  </a:moveTo>
                  <a:lnTo>
                    <a:pt x="477" y="898"/>
                  </a:lnTo>
                  <a:lnTo>
                    <a:pt x="477" y="900"/>
                  </a:lnTo>
                  <a:close/>
                  <a:moveTo>
                    <a:pt x="659" y="461"/>
                  </a:moveTo>
                  <a:lnTo>
                    <a:pt x="661" y="461"/>
                  </a:lnTo>
                  <a:lnTo>
                    <a:pt x="659" y="461"/>
                  </a:lnTo>
                  <a:close/>
                  <a:moveTo>
                    <a:pt x="745" y="425"/>
                  </a:moveTo>
                  <a:lnTo>
                    <a:pt x="747" y="425"/>
                  </a:lnTo>
                  <a:lnTo>
                    <a:pt x="745" y="425"/>
                  </a:lnTo>
                  <a:close/>
                  <a:moveTo>
                    <a:pt x="436" y="1145"/>
                  </a:moveTo>
                  <a:lnTo>
                    <a:pt x="438" y="1145"/>
                  </a:lnTo>
                  <a:lnTo>
                    <a:pt x="436" y="1145"/>
                  </a:lnTo>
                  <a:close/>
                  <a:moveTo>
                    <a:pt x="535" y="1269"/>
                  </a:moveTo>
                  <a:lnTo>
                    <a:pt x="535" y="1271"/>
                  </a:lnTo>
                  <a:lnTo>
                    <a:pt x="535" y="1269"/>
                  </a:lnTo>
                  <a:close/>
                  <a:moveTo>
                    <a:pt x="589" y="760"/>
                  </a:moveTo>
                  <a:lnTo>
                    <a:pt x="589" y="762"/>
                  </a:lnTo>
                  <a:lnTo>
                    <a:pt x="589" y="760"/>
                  </a:lnTo>
                  <a:close/>
                  <a:moveTo>
                    <a:pt x="431" y="1058"/>
                  </a:moveTo>
                  <a:lnTo>
                    <a:pt x="433" y="1058"/>
                  </a:lnTo>
                  <a:lnTo>
                    <a:pt x="431" y="1058"/>
                  </a:lnTo>
                  <a:close/>
                  <a:moveTo>
                    <a:pt x="428" y="1043"/>
                  </a:moveTo>
                  <a:lnTo>
                    <a:pt x="426" y="1043"/>
                  </a:lnTo>
                  <a:lnTo>
                    <a:pt x="428" y="1043"/>
                  </a:lnTo>
                  <a:close/>
                  <a:moveTo>
                    <a:pt x="560" y="1292"/>
                  </a:moveTo>
                  <a:lnTo>
                    <a:pt x="560" y="1293"/>
                  </a:lnTo>
                  <a:lnTo>
                    <a:pt x="560" y="1292"/>
                  </a:lnTo>
                  <a:close/>
                  <a:moveTo>
                    <a:pt x="674" y="378"/>
                  </a:moveTo>
                  <a:lnTo>
                    <a:pt x="674" y="379"/>
                  </a:lnTo>
                  <a:lnTo>
                    <a:pt x="674" y="378"/>
                  </a:lnTo>
                  <a:close/>
                  <a:moveTo>
                    <a:pt x="550" y="1261"/>
                  </a:moveTo>
                  <a:lnTo>
                    <a:pt x="552" y="1261"/>
                  </a:lnTo>
                  <a:lnTo>
                    <a:pt x="550" y="1261"/>
                  </a:lnTo>
                  <a:close/>
                  <a:moveTo>
                    <a:pt x="433" y="1045"/>
                  </a:moveTo>
                  <a:lnTo>
                    <a:pt x="435" y="1045"/>
                  </a:lnTo>
                  <a:lnTo>
                    <a:pt x="433" y="1045"/>
                  </a:lnTo>
                  <a:close/>
                  <a:moveTo>
                    <a:pt x="714" y="446"/>
                  </a:moveTo>
                  <a:lnTo>
                    <a:pt x="714" y="445"/>
                  </a:lnTo>
                  <a:lnTo>
                    <a:pt x="714" y="446"/>
                  </a:lnTo>
                  <a:close/>
                  <a:moveTo>
                    <a:pt x="430" y="1134"/>
                  </a:moveTo>
                  <a:lnTo>
                    <a:pt x="430" y="1132"/>
                  </a:lnTo>
                  <a:lnTo>
                    <a:pt x="430" y="1134"/>
                  </a:lnTo>
                  <a:close/>
                  <a:moveTo>
                    <a:pt x="706" y="443"/>
                  </a:moveTo>
                  <a:lnTo>
                    <a:pt x="708" y="443"/>
                  </a:lnTo>
                  <a:lnTo>
                    <a:pt x="706" y="443"/>
                  </a:lnTo>
                  <a:close/>
                  <a:moveTo>
                    <a:pt x="661" y="454"/>
                  </a:moveTo>
                  <a:lnTo>
                    <a:pt x="659" y="453"/>
                  </a:lnTo>
                  <a:lnTo>
                    <a:pt x="661" y="453"/>
                  </a:lnTo>
                  <a:lnTo>
                    <a:pt x="661" y="454"/>
                  </a:lnTo>
                  <a:close/>
                  <a:moveTo>
                    <a:pt x="539" y="1240"/>
                  </a:moveTo>
                  <a:lnTo>
                    <a:pt x="539" y="1238"/>
                  </a:lnTo>
                  <a:lnTo>
                    <a:pt x="539" y="1240"/>
                  </a:lnTo>
                  <a:close/>
                  <a:moveTo>
                    <a:pt x="623" y="758"/>
                  </a:moveTo>
                  <a:lnTo>
                    <a:pt x="623" y="760"/>
                  </a:lnTo>
                  <a:lnTo>
                    <a:pt x="623" y="758"/>
                  </a:lnTo>
                  <a:close/>
                  <a:moveTo>
                    <a:pt x="589" y="762"/>
                  </a:moveTo>
                  <a:lnTo>
                    <a:pt x="589" y="760"/>
                  </a:lnTo>
                  <a:lnTo>
                    <a:pt x="589" y="762"/>
                  </a:lnTo>
                  <a:close/>
                  <a:moveTo>
                    <a:pt x="713" y="440"/>
                  </a:moveTo>
                  <a:lnTo>
                    <a:pt x="714" y="440"/>
                  </a:lnTo>
                  <a:lnTo>
                    <a:pt x="713" y="440"/>
                  </a:lnTo>
                  <a:close/>
                  <a:moveTo>
                    <a:pt x="540" y="1279"/>
                  </a:moveTo>
                  <a:lnTo>
                    <a:pt x="542" y="1279"/>
                  </a:lnTo>
                  <a:lnTo>
                    <a:pt x="540" y="1279"/>
                  </a:lnTo>
                  <a:close/>
                  <a:moveTo>
                    <a:pt x="636" y="630"/>
                  </a:moveTo>
                  <a:lnTo>
                    <a:pt x="638" y="630"/>
                  </a:lnTo>
                  <a:lnTo>
                    <a:pt x="636" y="630"/>
                  </a:lnTo>
                  <a:close/>
                  <a:moveTo>
                    <a:pt x="529" y="1230"/>
                  </a:moveTo>
                  <a:lnTo>
                    <a:pt x="529" y="1228"/>
                  </a:lnTo>
                  <a:lnTo>
                    <a:pt x="529" y="1230"/>
                  </a:lnTo>
                  <a:close/>
                  <a:moveTo>
                    <a:pt x="508" y="1238"/>
                  </a:moveTo>
                  <a:lnTo>
                    <a:pt x="508" y="1240"/>
                  </a:lnTo>
                  <a:lnTo>
                    <a:pt x="508" y="1238"/>
                  </a:lnTo>
                  <a:close/>
                  <a:moveTo>
                    <a:pt x="428" y="1126"/>
                  </a:moveTo>
                  <a:lnTo>
                    <a:pt x="428" y="1128"/>
                  </a:lnTo>
                  <a:lnTo>
                    <a:pt x="428" y="1126"/>
                  </a:lnTo>
                  <a:close/>
                  <a:moveTo>
                    <a:pt x="542" y="1263"/>
                  </a:moveTo>
                  <a:lnTo>
                    <a:pt x="542" y="1261"/>
                  </a:lnTo>
                  <a:lnTo>
                    <a:pt x="542" y="1263"/>
                  </a:lnTo>
                  <a:close/>
                  <a:moveTo>
                    <a:pt x="503" y="851"/>
                  </a:moveTo>
                  <a:lnTo>
                    <a:pt x="503" y="849"/>
                  </a:lnTo>
                  <a:lnTo>
                    <a:pt x="503" y="851"/>
                  </a:lnTo>
                  <a:close/>
                  <a:moveTo>
                    <a:pt x="526" y="1225"/>
                  </a:moveTo>
                  <a:lnTo>
                    <a:pt x="526" y="1227"/>
                  </a:lnTo>
                  <a:lnTo>
                    <a:pt x="526" y="1225"/>
                  </a:lnTo>
                  <a:close/>
                  <a:moveTo>
                    <a:pt x="675" y="484"/>
                  </a:moveTo>
                  <a:lnTo>
                    <a:pt x="675" y="482"/>
                  </a:lnTo>
                  <a:lnTo>
                    <a:pt x="675" y="484"/>
                  </a:lnTo>
                  <a:close/>
                  <a:moveTo>
                    <a:pt x="420" y="1092"/>
                  </a:moveTo>
                  <a:lnTo>
                    <a:pt x="422" y="1092"/>
                  </a:lnTo>
                  <a:lnTo>
                    <a:pt x="420" y="1092"/>
                  </a:lnTo>
                  <a:close/>
                  <a:moveTo>
                    <a:pt x="532" y="1238"/>
                  </a:moveTo>
                  <a:lnTo>
                    <a:pt x="534" y="1238"/>
                  </a:lnTo>
                  <a:lnTo>
                    <a:pt x="532" y="1238"/>
                  </a:lnTo>
                  <a:close/>
                  <a:moveTo>
                    <a:pt x="722" y="428"/>
                  </a:moveTo>
                  <a:lnTo>
                    <a:pt x="722" y="430"/>
                  </a:lnTo>
                  <a:lnTo>
                    <a:pt x="722" y="428"/>
                  </a:lnTo>
                  <a:close/>
                  <a:moveTo>
                    <a:pt x="618" y="612"/>
                  </a:moveTo>
                  <a:lnTo>
                    <a:pt x="620" y="612"/>
                  </a:lnTo>
                  <a:lnTo>
                    <a:pt x="618" y="612"/>
                  </a:lnTo>
                  <a:close/>
                  <a:moveTo>
                    <a:pt x="518" y="1248"/>
                  </a:moveTo>
                  <a:lnTo>
                    <a:pt x="519" y="1248"/>
                  </a:lnTo>
                  <a:lnTo>
                    <a:pt x="518" y="1248"/>
                  </a:lnTo>
                  <a:close/>
                  <a:moveTo>
                    <a:pt x="514" y="1243"/>
                  </a:moveTo>
                  <a:lnTo>
                    <a:pt x="514" y="1241"/>
                  </a:lnTo>
                  <a:lnTo>
                    <a:pt x="514" y="1243"/>
                  </a:lnTo>
                  <a:close/>
                  <a:moveTo>
                    <a:pt x="680" y="464"/>
                  </a:moveTo>
                  <a:lnTo>
                    <a:pt x="680" y="466"/>
                  </a:lnTo>
                  <a:lnTo>
                    <a:pt x="680" y="464"/>
                  </a:lnTo>
                  <a:close/>
                  <a:moveTo>
                    <a:pt x="527" y="801"/>
                  </a:moveTo>
                  <a:lnTo>
                    <a:pt x="527" y="799"/>
                  </a:lnTo>
                  <a:lnTo>
                    <a:pt x="527" y="801"/>
                  </a:lnTo>
                  <a:close/>
                  <a:moveTo>
                    <a:pt x="683" y="433"/>
                  </a:moveTo>
                  <a:lnTo>
                    <a:pt x="683" y="431"/>
                  </a:lnTo>
                  <a:lnTo>
                    <a:pt x="683" y="433"/>
                  </a:lnTo>
                  <a:close/>
                  <a:moveTo>
                    <a:pt x="623" y="511"/>
                  </a:moveTo>
                  <a:lnTo>
                    <a:pt x="623" y="513"/>
                  </a:lnTo>
                  <a:lnTo>
                    <a:pt x="623" y="511"/>
                  </a:lnTo>
                  <a:close/>
                  <a:moveTo>
                    <a:pt x="640" y="658"/>
                  </a:moveTo>
                  <a:lnTo>
                    <a:pt x="640" y="659"/>
                  </a:lnTo>
                  <a:lnTo>
                    <a:pt x="640" y="658"/>
                  </a:lnTo>
                  <a:close/>
                  <a:moveTo>
                    <a:pt x="719" y="438"/>
                  </a:moveTo>
                  <a:lnTo>
                    <a:pt x="721" y="438"/>
                  </a:lnTo>
                  <a:lnTo>
                    <a:pt x="721" y="440"/>
                  </a:lnTo>
                  <a:lnTo>
                    <a:pt x="719" y="440"/>
                  </a:lnTo>
                  <a:lnTo>
                    <a:pt x="719" y="438"/>
                  </a:lnTo>
                  <a:close/>
                  <a:moveTo>
                    <a:pt x="431" y="1067"/>
                  </a:moveTo>
                  <a:lnTo>
                    <a:pt x="431" y="1069"/>
                  </a:lnTo>
                  <a:lnTo>
                    <a:pt x="431" y="1067"/>
                  </a:lnTo>
                  <a:close/>
                  <a:moveTo>
                    <a:pt x="426" y="1119"/>
                  </a:moveTo>
                  <a:lnTo>
                    <a:pt x="426" y="1118"/>
                  </a:lnTo>
                  <a:lnTo>
                    <a:pt x="426" y="1119"/>
                  </a:lnTo>
                  <a:close/>
                  <a:moveTo>
                    <a:pt x="553" y="1261"/>
                  </a:moveTo>
                  <a:lnTo>
                    <a:pt x="555" y="1261"/>
                  </a:lnTo>
                  <a:lnTo>
                    <a:pt x="553" y="1261"/>
                  </a:lnTo>
                  <a:close/>
                  <a:moveTo>
                    <a:pt x="550" y="1263"/>
                  </a:moveTo>
                  <a:lnTo>
                    <a:pt x="552" y="1263"/>
                  </a:lnTo>
                  <a:lnTo>
                    <a:pt x="550" y="1263"/>
                  </a:lnTo>
                  <a:close/>
                  <a:moveTo>
                    <a:pt x="496" y="1225"/>
                  </a:moveTo>
                  <a:lnTo>
                    <a:pt x="498" y="1225"/>
                  </a:lnTo>
                  <a:lnTo>
                    <a:pt x="496" y="1225"/>
                  </a:lnTo>
                  <a:close/>
                  <a:moveTo>
                    <a:pt x="516" y="838"/>
                  </a:moveTo>
                  <a:lnTo>
                    <a:pt x="516" y="840"/>
                  </a:lnTo>
                  <a:lnTo>
                    <a:pt x="516" y="838"/>
                  </a:lnTo>
                  <a:close/>
                  <a:moveTo>
                    <a:pt x="623" y="617"/>
                  </a:moveTo>
                  <a:lnTo>
                    <a:pt x="623" y="615"/>
                  </a:lnTo>
                  <a:lnTo>
                    <a:pt x="623" y="617"/>
                  </a:lnTo>
                  <a:close/>
                  <a:moveTo>
                    <a:pt x="428" y="1132"/>
                  </a:moveTo>
                  <a:lnTo>
                    <a:pt x="428" y="1134"/>
                  </a:lnTo>
                  <a:lnTo>
                    <a:pt x="428" y="1132"/>
                  </a:lnTo>
                  <a:close/>
                  <a:moveTo>
                    <a:pt x="422" y="1066"/>
                  </a:moveTo>
                  <a:lnTo>
                    <a:pt x="423" y="1066"/>
                  </a:lnTo>
                  <a:lnTo>
                    <a:pt x="422" y="1066"/>
                  </a:lnTo>
                  <a:close/>
                  <a:moveTo>
                    <a:pt x="604" y="742"/>
                  </a:moveTo>
                  <a:lnTo>
                    <a:pt x="604" y="741"/>
                  </a:lnTo>
                  <a:lnTo>
                    <a:pt x="604" y="742"/>
                  </a:lnTo>
                  <a:close/>
                  <a:moveTo>
                    <a:pt x="542" y="1237"/>
                  </a:moveTo>
                  <a:lnTo>
                    <a:pt x="542" y="1235"/>
                  </a:lnTo>
                  <a:lnTo>
                    <a:pt x="542" y="1237"/>
                  </a:lnTo>
                  <a:close/>
                  <a:moveTo>
                    <a:pt x="547" y="1272"/>
                  </a:moveTo>
                  <a:lnTo>
                    <a:pt x="548" y="1272"/>
                  </a:lnTo>
                  <a:lnTo>
                    <a:pt x="547" y="1272"/>
                  </a:lnTo>
                  <a:close/>
                  <a:moveTo>
                    <a:pt x="596" y="754"/>
                  </a:moveTo>
                  <a:lnTo>
                    <a:pt x="596" y="755"/>
                  </a:lnTo>
                  <a:lnTo>
                    <a:pt x="596" y="754"/>
                  </a:lnTo>
                  <a:close/>
                  <a:moveTo>
                    <a:pt x="682" y="410"/>
                  </a:moveTo>
                  <a:lnTo>
                    <a:pt x="682" y="412"/>
                  </a:lnTo>
                  <a:lnTo>
                    <a:pt x="682" y="410"/>
                  </a:lnTo>
                  <a:close/>
                  <a:moveTo>
                    <a:pt x="545" y="1272"/>
                  </a:moveTo>
                  <a:lnTo>
                    <a:pt x="547" y="1272"/>
                  </a:lnTo>
                  <a:lnTo>
                    <a:pt x="545" y="1272"/>
                  </a:lnTo>
                  <a:close/>
                  <a:moveTo>
                    <a:pt x="548" y="802"/>
                  </a:moveTo>
                  <a:lnTo>
                    <a:pt x="550" y="802"/>
                  </a:lnTo>
                  <a:lnTo>
                    <a:pt x="548" y="802"/>
                  </a:lnTo>
                  <a:close/>
                  <a:moveTo>
                    <a:pt x="431" y="1175"/>
                  </a:moveTo>
                  <a:lnTo>
                    <a:pt x="431" y="1173"/>
                  </a:lnTo>
                  <a:lnTo>
                    <a:pt x="431" y="1175"/>
                  </a:lnTo>
                  <a:close/>
                  <a:moveTo>
                    <a:pt x="714" y="433"/>
                  </a:moveTo>
                  <a:lnTo>
                    <a:pt x="716" y="433"/>
                  </a:lnTo>
                  <a:lnTo>
                    <a:pt x="714" y="433"/>
                  </a:lnTo>
                  <a:close/>
                  <a:moveTo>
                    <a:pt x="623" y="505"/>
                  </a:moveTo>
                  <a:lnTo>
                    <a:pt x="623" y="506"/>
                  </a:lnTo>
                  <a:lnTo>
                    <a:pt x="623" y="505"/>
                  </a:lnTo>
                  <a:close/>
                  <a:moveTo>
                    <a:pt x="693" y="474"/>
                  </a:moveTo>
                  <a:lnTo>
                    <a:pt x="693" y="475"/>
                  </a:lnTo>
                  <a:lnTo>
                    <a:pt x="693" y="474"/>
                  </a:lnTo>
                  <a:close/>
                  <a:moveTo>
                    <a:pt x="540" y="1251"/>
                  </a:moveTo>
                  <a:lnTo>
                    <a:pt x="540" y="1253"/>
                  </a:lnTo>
                  <a:lnTo>
                    <a:pt x="540" y="1251"/>
                  </a:lnTo>
                  <a:close/>
                  <a:moveTo>
                    <a:pt x="557" y="1266"/>
                  </a:moveTo>
                  <a:lnTo>
                    <a:pt x="557" y="1267"/>
                  </a:lnTo>
                  <a:lnTo>
                    <a:pt x="557" y="1266"/>
                  </a:lnTo>
                  <a:close/>
                  <a:moveTo>
                    <a:pt x="618" y="703"/>
                  </a:moveTo>
                  <a:lnTo>
                    <a:pt x="618" y="705"/>
                  </a:lnTo>
                  <a:lnTo>
                    <a:pt x="618" y="703"/>
                  </a:lnTo>
                  <a:close/>
                  <a:moveTo>
                    <a:pt x="539" y="1235"/>
                  </a:moveTo>
                  <a:lnTo>
                    <a:pt x="539" y="1233"/>
                  </a:lnTo>
                  <a:lnTo>
                    <a:pt x="539" y="1235"/>
                  </a:lnTo>
                  <a:close/>
                  <a:moveTo>
                    <a:pt x="444" y="1199"/>
                  </a:moveTo>
                  <a:lnTo>
                    <a:pt x="444" y="1198"/>
                  </a:lnTo>
                  <a:lnTo>
                    <a:pt x="446" y="1199"/>
                  </a:lnTo>
                  <a:lnTo>
                    <a:pt x="444" y="1199"/>
                  </a:lnTo>
                  <a:close/>
                  <a:moveTo>
                    <a:pt x="618" y="700"/>
                  </a:moveTo>
                  <a:lnTo>
                    <a:pt x="618" y="701"/>
                  </a:lnTo>
                  <a:lnTo>
                    <a:pt x="618" y="700"/>
                  </a:lnTo>
                  <a:close/>
                  <a:moveTo>
                    <a:pt x="623" y="599"/>
                  </a:moveTo>
                  <a:lnTo>
                    <a:pt x="623" y="601"/>
                  </a:lnTo>
                  <a:lnTo>
                    <a:pt x="623" y="599"/>
                  </a:lnTo>
                  <a:close/>
                  <a:moveTo>
                    <a:pt x="726" y="438"/>
                  </a:moveTo>
                  <a:lnTo>
                    <a:pt x="727" y="438"/>
                  </a:lnTo>
                  <a:lnTo>
                    <a:pt x="726" y="438"/>
                  </a:lnTo>
                  <a:close/>
                  <a:moveTo>
                    <a:pt x="526" y="830"/>
                  </a:moveTo>
                  <a:lnTo>
                    <a:pt x="526" y="832"/>
                  </a:lnTo>
                  <a:lnTo>
                    <a:pt x="526" y="830"/>
                  </a:lnTo>
                  <a:close/>
                  <a:moveTo>
                    <a:pt x="467" y="1215"/>
                  </a:moveTo>
                  <a:lnTo>
                    <a:pt x="467" y="1214"/>
                  </a:lnTo>
                  <a:lnTo>
                    <a:pt x="469" y="1214"/>
                  </a:lnTo>
                  <a:lnTo>
                    <a:pt x="467" y="1215"/>
                  </a:lnTo>
                  <a:close/>
                  <a:moveTo>
                    <a:pt x="750" y="436"/>
                  </a:moveTo>
                  <a:lnTo>
                    <a:pt x="750" y="435"/>
                  </a:lnTo>
                  <a:lnTo>
                    <a:pt x="750" y="436"/>
                  </a:lnTo>
                  <a:close/>
                  <a:moveTo>
                    <a:pt x="428" y="1129"/>
                  </a:moveTo>
                  <a:lnTo>
                    <a:pt x="430" y="1129"/>
                  </a:lnTo>
                  <a:lnTo>
                    <a:pt x="428" y="1129"/>
                  </a:lnTo>
                  <a:close/>
                  <a:moveTo>
                    <a:pt x="622" y="511"/>
                  </a:moveTo>
                  <a:lnTo>
                    <a:pt x="622" y="513"/>
                  </a:lnTo>
                  <a:lnTo>
                    <a:pt x="622" y="511"/>
                  </a:lnTo>
                  <a:close/>
                  <a:moveTo>
                    <a:pt x="537" y="1256"/>
                  </a:moveTo>
                  <a:lnTo>
                    <a:pt x="539" y="1256"/>
                  </a:lnTo>
                  <a:lnTo>
                    <a:pt x="537" y="1256"/>
                  </a:lnTo>
                  <a:close/>
                  <a:moveTo>
                    <a:pt x="532" y="1254"/>
                  </a:moveTo>
                  <a:lnTo>
                    <a:pt x="532" y="1253"/>
                  </a:lnTo>
                  <a:lnTo>
                    <a:pt x="532" y="1254"/>
                  </a:lnTo>
                  <a:close/>
                  <a:moveTo>
                    <a:pt x="435" y="1124"/>
                  </a:moveTo>
                  <a:lnTo>
                    <a:pt x="435" y="1126"/>
                  </a:lnTo>
                  <a:lnTo>
                    <a:pt x="435" y="1124"/>
                  </a:lnTo>
                  <a:close/>
                  <a:moveTo>
                    <a:pt x="620" y="571"/>
                  </a:moveTo>
                  <a:lnTo>
                    <a:pt x="620" y="573"/>
                  </a:lnTo>
                  <a:lnTo>
                    <a:pt x="620" y="571"/>
                  </a:lnTo>
                  <a:close/>
                  <a:moveTo>
                    <a:pt x="436" y="994"/>
                  </a:moveTo>
                  <a:lnTo>
                    <a:pt x="436" y="996"/>
                  </a:lnTo>
                  <a:lnTo>
                    <a:pt x="436" y="994"/>
                  </a:lnTo>
                  <a:close/>
                  <a:moveTo>
                    <a:pt x="682" y="466"/>
                  </a:moveTo>
                  <a:lnTo>
                    <a:pt x="682" y="464"/>
                  </a:lnTo>
                  <a:lnTo>
                    <a:pt x="682" y="466"/>
                  </a:lnTo>
                  <a:close/>
                  <a:moveTo>
                    <a:pt x="604" y="744"/>
                  </a:moveTo>
                  <a:lnTo>
                    <a:pt x="604" y="742"/>
                  </a:lnTo>
                  <a:lnTo>
                    <a:pt x="604" y="744"/>
                  </a:lnTo>
                  <a:close/>
                  <a:moveTo>
                    <a:pt x="444" y="1209"/>
                  </a:moveTo>
                  <a:lnTo>
                    <a:pt x="444" y="1207"/>
                  </a:lnTo>
                  <a:lnTo>
                    <a:pt x="444" y="1209"/>
                  </a:lnTo>
                  <a:close/>
                  <a:moveTo>
                    <a:pt x="480" y="1224"/>
                  </a:moveTo>
                  <a:lnTo>
                    <a:pt x="480" y="1222"/>
                  </a:lnTo>
                  <a:lnTo>
                    <a:pt x="480" y="1224"/>
                  </a:lnTo>
                  <a:close/>
                  <a:moveTo>
                    <a:pt x="418" y="1079"/>
                  </a:moveTo>
                  <a:lnTo>
                    <a:pt x="418" y="1077"/>
                  </a:lnTo>
                  <a:lnTo>
                    <a:pt x="418" y="1079"/>
                  </a:lnTo>
                  <a:close/>
                  <a:moveTo>
                    <a:pt x="747" y="443"/>
                  </a:moveTo>
                  <a:lnTo>
                    <a:pt x="749" y="443"/>
                  </a:lnTo>
                  <a:lnTo>
                    <a:pt x="747" y="443"/>
                  </a:lnTo>
                  <a:close/>
                  <a:moveTo>
                    <a:pt x="422" y="1092"/>
                  </a:moveTo>
                  <a:lnTo>
                    <a:pt x="422" y="1093"/>
                  </a:lnTo>
                  <a:lnTo>
                    <a:pt x="422" y="1092"/>
                  </a:lnTo>
                  <a:close/>
                  <a:moveTo>
                    <a:pt x="490" y="1215"/>
                  </a:moveTo>
                  <a:lnTo>
                    <a:pt x="492" y="1215"/>
                  </a:lnTo>
                  <a:lnTo>
                    <a:pt x="490" y="1215"/>
                  </a:lnTo>
                  <a:close/>
                  <a:moveTo>
                    <a:pt x="420" y="1113"/>
                  </a:moveTo>
                  <a:lnTo>
                    <a:pt x="420" y="1111"/>
                  </a:lnTo>
                  <a:lnTo>
                    <a:pt x="420" y="1113"/>
                  </a:lnTo>
                  <a:close/>
                  <a:moveTo>
                    <a:pt x="623" y="758"/>
                  </a:moveTo>
                  <a:lnTo>
                    <a:pt x="623" y="757"/>
                  </a:lnTo>
                  <a:lnTo>
                    <a:pt x="623" y="758"/>
                  </a:lnTo>
                  <a:close/>
                  <a:moveTo>
                    <a:pt x="617" y="579"/>
                  </a:moveTo>
                  <a:lnTo>
                    <a:pt x="617" y="581"/>
                  </a:lnTo>
                  <a:lnTo>
                    <a:pt x="617" y="579"/>
                  </a:lnTo>
                  <a:close/>
                  <a:moveTo>
                    <a:pt x="553" y="1261"/>
                  </a:moveTo>
                  <a:lnTo>
                    <a:pt x="555" y="1261"/>
                  </a:lnTo>
                  <a:lnTo>
                    <a:pt x="553" y="1261"/>
                  </a:lnTo>
                  <a:close/>
                  <a:moveTo>
                    <a:pt x="430" y="1157"/>
                  </a:moveTo>
                  <a:lnTo>
                    <a:pt x="430" y="1159"/>
                  </a:lnTo>
                  <a:lnTo>
                    <a:pt x="430" y="1157"/>
                  </a:lnTo>
                  <a:close/>
                  <a:moveTo>
                    <a:pt x="542" y="802"/>
                  </a:moveTo>
                  <a:lnTo>
                    <a:pt x="542" y="801"/>
                  </a:lnTo>
                  <a:lnTo>
                    <a:pt x="542" y="802"/>
                  </a:lnTo>
                  <a:close/>
                  <a:moveTo>
                    <a:pt x="602" y="744"/>
                  </a:moveTo>
                  <a:lnTo>
                    <a:pt x="602" y="742"/>
                  </a:lnTo>
                  <a:lnTo>
                    <a:pt x="602" y="744"/>
                  </a:lnTo>
                  <a:close/>
                  <a:moveTo>
                    <a:pt x="428" y="981"/>
                  </a:moveTo>
                  <a:lnTo>
                    <a:pt x="430" y="981"/>
                  </a:lnTo>
                  <a:lnTo>
                    <a:pt x="428" y="981"/>
                  </a:lnTo>
                  <a:close/>
                  <a:moveTo>
                    <a:pt x="431" y="1172"/>
                  </a:moveTo>
                  <a:lnTo>
                    <a:pt x="431" y="1173"/>
                  </a:lnTo>
                  <a:lnTo>
                    <a:pt x="431" y="1172"/>
                  </a:lnTo>
                  <a:close/>
                  <a:moveTo>
                    <a:pt x="591" y="767"/>
                  </a:moveTo>
                  <a:lnTo>
                    <a:pt x="592" y="767"/>
                  </a:lnTo>
                  <a:lnTo>
                    <a:pt x="591" y="767"/>
                  </a:lnTo>
                  <a:close/>
                  <a:moveTo>
                    <a:pt x="594" y="752"/>
                  </a:moveTo>
                  <a:lnTo>
                    <a:pt x="594" y="750"/>
                  </a:lnTo>
                  <a:lnTo>
                    <a:pt x="594" y="752"/>
                  </a:lnTo>
                  <a:close/>
                  <a:moveTo>
                    <a:pt x="714" y="431"/>
                  </a:moveTo>
                  <a:lnTo>
                    <a:pt x="714" y="430"/>
                  </a:lnTo>
                  <a:lnTo>
                    <a:pt x="714" y="431"/>
                  </a:lnTo>
                  <a:close/>
                  <a:moveTo>
                    <a:pt x="514" y="1253"/>
                  </a:moveTo>
                  <a:lnTo>
                    <a:pt x="516" y="1253"/>
                  </a:lnTo>
                  <a:lnTo>
                    <a:pt x="514" y="1253"/>
                  </a:lnTo>
                  <a:close/>
                  <a:moveTo>
                    <a:pt x="589" y="765"/>
                  </a:moveTo>
                  <a:lnTo>
                    <a:pt x="591" y="765"/>
                  </a:lnTo>
                  <a:lnTo>
                    <a:pt x="589" y="765"/>
                  </a:lnTo>
                  <a:close/>
                  <a:moveTo>
                    <a:pt x="459" y="921"/>
                  </a:moveTo>
                  <a:lnTo>
                    <a:pt x="459" y="923"/>
                  </a:lnTo>
                  <a:lnTo>
                    <a:pt x="459" y="921"/>
                  </a:lnTo>
                  <a:close/>
                  <a:moveTo>
                    <a:pt x="696" y="451"/>
                  </a:moveTo>
                  <a:lnTo>
                    <a:pt x="696" y="449"/>
                  </a:lnTo>
                  <a:lnTo>
                    <a:pt x="696" y="451"/>
                  </a:lnTo>
                  <a:close/>
                  <a:moveTo>
                    <a:pt x="423" y="1077"/>
                  </a:moveTo>
                  <a:lnTo>
                    <a:pt x="423" y="1076"/>
                  </a:lnTo>
                  <a:lnTo>
                    <a:pt x="423" y="1077"/>
                  </a:lnTo>
                  <a:close/>
                  <a:moveTo>
                    <a:pt x="558" y="783"/>
                  </a:moveTo>
                  <a:lnTo>
                    <a:pt x="560" y="783"/>
                  </a:lnTo>
                  <a:lnTo>
                    <a:pt x="558" y="783"/>
                  </a:lnTo>
                  <a:close/>
                  <a:moveTo>
                    <a:pt x="474" y="1227"/>
                  </a:moveTo>
                  <a:lnTo>
                    <a:pt x="475" y="1227"/>
                  </a:lnTo>
                  <a:lnTo>
                    <a:pt x="474" y="1227"/>
                  </a:lnTo>
                  <a:close/>
                  <a:moveTo>
                    <a:pt x="436" y="1165"/>
                  </a:moveTo>
                  <a:lnTo>
                    <a:pt x="436" y="1167"/>
                  </a:lnTo>
                  <a:lnTo>
                    <a:pt x="436" y="1165"/>
                  </a:lnTo>
                  <a:close/>
                  <a:moveTo>
                    <a:pt x="561" y="1267"/>
                  </a:moveTo>
                  <a:lnTo>
                    <a:pt x="561" y="1269"/>
                  </a:lnTo>
                  <a:lnTo>
                    <a:pt x="561" y="1267"/>
                  </a:lnTo>
                  <a:close/>
                  <a:moveTo>
                    <a:pt x="521" y="1248"/>
                  </a:moveTo>
                  <a:lnTo>
                    <a:pt x="522" y="1248"/>
                  </a:lnTo>
                  <a:lnTo>
                    <a:pt x="521" y="1248"/>
                  </a:lnTo>
                  <a:close/>
                  <a:moveTo>
                    <a:pt x="540" y="1259"/>
                  </a:moveTo>
                  <a:lnTo>
                    <a:pt x="540" y="1261"/>
                  </a:lnTo>
                  <a:lnTo>
                    <a:pt x="540" y="1259"/>
                  </a:lnTo>
                  <a:close/>
                  <a:moveTo>
                    <a:pt x="423" y="1110"/>
                  </a:moveTo>
                  <a:lnTo>
                    <a:pt x="425" y="1110"/>
                  </a:lnTo>
                  <a:lnTo>
                    <a:pt x="423" y="1110"/>
                  </a:lnTo>
                  <a:close/>
                  <a:moveTo>
                    <a:pt x="755" y="423"/>
                  </a:moveTo>
                  <a:lnTo>
                    <a:pt x="757" y="423"/>
                  </a:lnTo>
                  <a:lnTo>
                    <a:pt x="755" y="423"/>
                  </a:lnTo>
                  <a:close/>
                  <a:moveTo>
                    <a:pt x="501" y="1233"/>
                  </a:moveTo>
                  <a:lnTo>
                    <a:pt x="503" y="1233"/>
                  </a:lnTo>
                  <a:lnTo>
                    <a:pt x="501" y="1233"/>
                  </a:lnTo>
                  <a:close/>
                  <a:moveTo>
                    <a:pt x="492" y="1214"/>
                  </a:moveTo>
                  <a:lnTo>
                    <a:pt x="493" y="1214"/>
                  </a:lnTo>
                  <a:lnTo>
                    <a:pt x="492" y="1214"/>
                  </a:lnTo>
                  <a:close/>
                  <a:moveTo>
                    <a:pt x="618" y="571"/>
                  </a:moveTo>
                  <a:lnTo>
                    <a:pt x="618" y="573"/>
                  </a:lnTo>
                  <a:lnTo>
                    <a:pt x="618" y="571"/>
                  </a:lnTo>
                  <a:close/>
                  <a:moveTo>
                    <a:pt x="493" y="1217"/>
                  </a:moveTo>
                  <a:lnTo>
                    <a:pt x="495" y="1217"/>
                  </a:lnTo>
                  <a:lnTo>
                    <a:pt x="493" y="1217"/>
                  </a:lnTo>
                  <a:close/>
                  <a:moveTo>
                    <a:pt x="563" y="780"/>
                  </a:moveTo>
                  <a:lnTo>
                    <a:pt x="563" y="778"/>
                  </a:lnTo>
                  <a:lnTo>
                    <a:pt x="563" y="780"/>
                  </a:lnTo>
                  <a:close/>
                  <a:moveTo>
                    <a:pt x="542" y="806"/>
                  </a:moveTo>
                  <a:lnTo>
                    <a:pt x="544" y="806"/>
                  </a:lnTo>
                  <a:lnTo>
                    <a:pt x="542" y="806"/>
                  </a:lnTo>
                  <a:close/>
                  <a:moveTo>
                    <a:pt x="625" y="744"/>
                  </a:moveTo>
                  <a:lnTo>
                    <a:pt x="627" y="744"/>
                  </a:lnTo>
                  <a:lnTo>
                    <a:pt x="625" y="744"/>
                  </a:lnTo>
                  <a:close/>
                  <a:moveTo>
                    <a:pt x="495" y="1220"/>
                  </a:moveTo>
                  <a:lnTo>
                    <a:pt x="496" y="1220"/>
                  </a:lnTo>
                  <a:lnTo>
                    <a:pt x="495" y="1220"/>
                  </a:lnTo>
                  <a:close/>
                  <a:moveTo>
                    <a:pt x="498" y="1224"/>
                  </a:moveTo>
                  <a:lnTo>
                    <a:pt x="498" y="1225"/>
                  </a:lnTo>
                  <a:lnTo>
                    <a:pt x="498" y="1224"/>
                  </a:lnTo>
                  <a:close/>
                  <a:moveTo>
                    <a:pt x="441" y="1183"/>
                  </a:moveTo>
                  <a:lnTo>
                    <a:pt x="441" y="1181"/>
                  </a:lnTo>
                  <a:lnTo>
                    <a:pt x="441" y="1183"/>
                  </a:lnTo>
                  <a:close/>
                  <a:moveTo>
                    <a:pt x="511" y="1240"/>
                  </a:moveTo>
                  <a:lnTo>
                    <a:pt x="511" y="1241"/>
                  </a:lnTo>
                  <a:lnTo>
                    <a:pt x="511" y="1240"/>
                  </a:lnTo>
                  <a:close/>
                  <a:moveTo>
                    <a:pt x="529" y="1232"/>
                  </a:moveTo>
                  <a:lnTo>
                    <a:pt x="529" y="1233"/>
                  </a:lnTo>
                  <a:lnTo>
                    <a:pt x="529" y="1232"/>
                  </a:lnTo>
                  <a:close/>
                  <a:moveTo>
                    <a:pt x="532" y="1251"/>
                  </a:moveTo>
                  <a:lnTo>
                    <a:pt x="532" y="1253"/>
                  </a:lnTo>
                  <a:lnTo>
                    <a:pt x="532" y="1251"/>
                  </a:lnTo>
                  <a:close/>
                  <a:moveTo>
                    <a:pt x="513" y="1243"/>
                  </a:moveTo>
                  <a:lnTo>
                    <a:pt x="514" y="1243"/>
                  </a:lnTo>
                  <a:lnTo>
                    <a:pt x="513" y="1243"/>
                  </a:lnTo>
                  <a:close/>
                  <a:moveTo>
                    <a:pt x="615" y="583"/>
                  </a:moveTo>
                  <a:lnTo>
                    <a:pt x="615" y="584"/>
                  </a:lnTo>
                  <a:lnTo>
                    <a:pt x="615" y="583"/>
                  </a:lnTo>
                  <a:close/>
                  <a:moveTo>
                    <a:pt x="513" y="1238"/>
                  </a:moveTo>
                  <a:lnTo>
                    <a:pt x="513" y="1240"/>
                  </a:lnTo>
                  <a:lnTo>
                    <a:pt x="513" y="1238"/>
                  </a:lnTo>
                  <a:close/>
                  <a:moveTo>
                    <a:pt x="753" y="449"/>
                  </a:moveTo>
                  <a:lnTo>
                    <a:pt x="753" y="451"/>
                  </a:lnTo>
                  <a:lnTo>
                    <a:pt x="753" y="449"/>
                  </a:lnTo>
                  <a:close/>
                  <a:moveTo>
                    <a:pt x="646" y="508"/>
                  </a:moveTo>
                  <a:lnTo>
                    <a:pt x="648" y="508"/>
                  </a:lnTo>
                  <a:lnTo>
                    <a:pt x="646" y="508"/>
                  </a:lnTo>
                  <a:close/>
                  <a:moveTo>
                    <a:pt x="420" y="1090"/>
                  </a:moveTo>
                  <a:lnTo>
                    <a:pt x="420" y="1092"/>
                  </a:lnTo>
                  <a:lnTo>
                    <a:pt x="420" y="1090"/>
                  </a:lnTo>
                  <a:close/>
                  <a:moveTo>
                    <a:pt x="425" y="1089"/>
                  </a:moveTo>
                  <a:lnTo>
                    <a:pt x="425" y="1087"/>
                  </a:lnTo>
                  <a:lnTo>
                    <a:pt x="425" y="1089"/>
                  </a:lnTo>
                  <a:close/>
                  <a:moveTo>
                    <a:pt x="610" y="596"/>
                  </a:moveTo>
                  <a:lnTo>
                    <a:pt x="610" y="597"/>
                  </a:lnTo>
                  <a:lnTo>
                    <a:pt x="610" y="596"/>
                  </a:lnTo>
                  <a:close/>
                  <a:moveTo>
                    <a:pt x="433" y="1154"/>
                  </a:moveTo>
                  <a:lnTo>
                    <a:pt x="435" y="1154"/>
                  </a:lnTo>
                  <a:lnTo>
                    <a:pt x="433" y="1154"/>
                  </a:lnTo>
                  <a:close/>
                  <a:moveTo>
                    <a:pt x="532" y="1253"/>
                  </a:moveTo>
                  <a:lnTo>
                    <a:pt x="534" y="1253"/>
                  </a:lnTo>
                  <a:lnTo>
                    <a:pt x="532" y="1253"/>
                  </a:lnTo>
                  <a:close/>
                  <a:moveTo>
                    <a:pt x="540" y="1271"/>
                  </a:moveTo>
                  <a:lnTo>
                    <a:pt x="542" y="1272"/>
                  </a:lnTo>
                  <a:lnTo>
                    <a:pt x="540" y="1272"/>
                  </a:lnTo>
                  <a:lnTo>
                    <a:pt x="540" y="1271"/>
                  </a:lnTo>
                  <a:close/>
                  <a:moveTo>
                    <a:pt x="459" y="1570"/>
                  </a:moveTo>
                  <a:lnTo>
                    <a:pt x="459" y="1572"/>
                  </a:lnTo>
                  <a:lnTo>
                    <a:pt x="459" y="1570"/>
                  </a:lnTo>
                  <a:close/>
                  <a:moveTo>
                    <a:pt x="534" y="1233"/>
                  </a:moveTo>
                  <a:lnTo>
                    <a:pt x="534" y="1235"/>
                  </a:lnTo>
                  <a:lnTo>
                    <a:pt x="534" y="1233"/>
                  </a:lnTo>
                  <a:close/>
                  <a:moveTo>
                    <a:pt x="540" y="1274"/>
                  </a:moveTo>
                  <a:lnTo>
                    <a:pt x="540" y="1276"/>
                  </a:lnTo>
                  <a:lnTo>
                    <a:pt x="540" y="1274"/>
                  </a:lnTo>
                  <a:close/>
                  <a:moveTo>
                    <a:pt x="539" y="1272"/>
                  </a:moveTo>
                  <a:lnTo>
                    <a:pt x="539" y="1274"/>
                  </a:lnTo>
                  <a:lnTo>
                    <a:pt x="539" y="1272"/>
                  </a:lnTo>
                  <a:close/>
                  <a:moveTo>
                    <a:pt x="731" y="427"/>
                  </a:moveTo>
                  <a:lnTo>
                    <a:pt x="732" y="427"/>
                  </a:lnTo>
                  <a:lnTo>
                    <a:pt x="731" y="427"/>
                  </a:lnTo>
                  <a:close/>
                  <a:moveTo>
                    <a:pt x="623" y="744"/>
                  </a:moveTo>
                  <a:lnTo>
                    <a:pt x="623" y="742"/>
                  </a:lnTo>
                  <a:lnTo>
                    <a:pt x="623" y="744"/>
                  </a:lnTo>
                  <a:close/>
                  <a:moveTo>
                    <a:pt x="511" y="1243"/>
                  </a:moveTo>
                  <a:lnTo>
                    <a:pt x="511" y="1245"/>
                  </a:lnTo>
                  <a:lnTo>
                    <a:pt x="511" y="1243"/>
                  </a:lnTo>
                  <a:close/>
                  <a:moveTo>
                    <a:pt x="623" y="570"/>
                  </a:moveTo>
                  <a:lnTo>
                    <a:pt x="625" y="570"/>
                  </a:lnTo>
                  <a:lnTo>
                    <a:pt x="623" y="570"/>
                  </a:lnTo>
                  <a:close/>
                  <a:moveTo>
                    <a:pt x="435" y="1152"/>
                  </a:moveTo>
                  <a:lnTo>
                    <a:pt x="436" y="1152"/>
                  </a:lnTo>
                  <a:lnTo>
                    <a:pt x="435" y="1152"/>
                  </a:lnTo>
                  <a:close/>
                  <a:moveTo>
                    <a:pt x="705" y="458"/>
                  </a:moveTo>
                  <a:lnTo>
                    <a:pt x="705" y="459"/>
                  </a:lnTo>
                  <a:lnTo>
                    <a:pt x="705" y="458"/>
                  </a:lnTo>
                  <a:close/>
                </a:path>
              </a:pathLst>
            </a:custGeom>
            <a:solidFill>
              <a:schemeClr val="bg1">
                <a:lumMod val="75000"/>
              </a:scheme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1213" name="Freeform 59">
              <a:extLst>
                <a:ext uri="{FF2B5EF4-FFF2-40B4-BE49-F238E27FC236}">
                  <a16:creationId xmlns:a16="http://schemas.microsoft.com/office/drawing/2014/main" id="{865C01C4-E9FF-9E9D-7383-95C995A037B5}"/>
                </a:ext>
              </a:extLst>
            </p:cNvPr>
            <p:cNvSpPr>
              <a:spLocks noEditPoints="1"/>
            </p:cNvSpPr>
            <p:nvPr/>
          </p:nvSpPr>
          <p:spPr bwMode="auto">
            <a:xfrm>
              <a:off x="4541" y="4173"/>
              <a:ext cx="322" cy="221"/>
            </a:xfrm>
            <a:custGeom>
              <a:avLst/>
              <a:gdLst>
                <a:gd name="T0" fmla="*/ 286 w 322"/>
                <a:gd name="T1" fmla="*/ 13 h 221"/>
                <a:gd name="T2" fmla="*/ 297 w 322"/>
                <a:gd name="T3" fmla="*/ 27 h 221"/>
                <a:gd name="T4" fmla="*/ 306 w 322"/>
                <a:gd name="T5" fmla="*/ 42 h 221"/>
                <a:gd name="T6" fmla="*/ 322 w 322"/>
                <a:gd name="T7" fmla="*/ 53 h 221"/>
                <a:gd name="T8" fmla="*/ 312 w 322"/>
                <a:gd name="T9" fmla="*/ 53 h 221"/>
                <a:gd name="T10" fmla="*/ 299 w 322"/>
                <a:gd name="T11" fmla="*/ 47 h 221"/>
                <a:gd name="T12" fmla="*/ 284 w 322"/>
                <a:gd name="T13" fmla="*/ 60 h 221"/>
                <a:gd name="T14" fmla="*/ 278 w 322"/>
                <a:gd name="T15" fmla="*/ 69 h 221"/>
                <a:gd name="T16" fmla="*/ 262 w 322"/>
                <a:gd name="T17" fmla="*/ 81 h 221"/>
                <a:gd name="T18" fmla="*/ 239 w 322"/>
                <a:gd name="T19" fmla="*/ 97 h 221"/>
                <a:gd name="T20" fmla="*/ 226 w 322"/>
                <a:gd name="T21" fmla="*/ 104 h 221"/>
                <a:gd name="T22" fmla="*/ 224 w 322"/>
                <a:gd name="T23" fmla="*/ 113 h 221"/>
                <a:gd name="T24" fmla="*/ 234 w 322"/>
                <a:gd name="T25" fmla="*/ 120 h 221"/>
                <a:gd name="T26" fmla="*/ 234 w 322"/>
                <a:gd name="T27" fmla="*/ 130 h 221"/>
                <a:gd name="T28" fmla="*/ 229 w 322"/>
                <a:gd name="T29" fmla="*/ 154 h 221"/>
                <a:gd name="T30" fmla="*/ 203 w 322"/>
                <a:gd name="T31" fmla="*/ 164 h 221"/>
                <a:gd name="T32" fmla="*/ 202 w 322"/>
                <a:gd name="T33" fmla="*/ 172 h 221"/>
                <a:gd name="T34" fmla="*/ 202 w 322"/>
                <a:gd name="T35" fmla="*/ 183 h 221"/>
                <a:gd name="T36" fmla="*/ 198 w 322"/>
                <a:gd name="T37" fmla="*/ 196 h 221"/>
                <a:gd name="T38" fmla="*/ 205 w 322"/>
                <a:gd name="T39" fmla="*/ 208 h 221"/>
                <a:gd name="T40" fmla="*/ 189 w 322"/>
                <a:gd name="T41" fmla="*/ 213 h 221"/>
                <a:gd name="T42" fmla="*/ 177 w 322"/>
                <a:gd name="T43" fmla="*/ 209 h 221"/>
                <a:gd name="T44" fmla="*/ 161 w 322"/>
                <a:gd name="T45" fmla="*/ 203 h 221"/>
                <a:gd name="T46" fmla="*/ 153 w 322"/>
                <a:gd name="T47" fmla="*/ 211 h 221"/>
                <a:gd name="T48" fmla="*/ 145 w 322"/>
                <a:gd name="T49" fmla="*/ 206 h 221"/>
                <a:gd name="T50" fmla="*/ 136 w 322"/>
                <a:gd name="T51" fmla="*/ 201 h 221"/>
                <a:gd name="T52" fmla="*/ 130 w 322"/>
                <a:gd name="T53" fmla="*/ 187 h 221"/>
                <a:gd name="T54" fmla="*/ 117 w 322"/>
                <a:gd name="T55" fmla="*/ 200 h 221"/>
                <a:gd name="T56" fmla="*/ 94 w 322"/>
                <a:gd name="T57" fmla="*/ 208 h 221"/>
                <a:gd name="T58" fmla="*/ 75 w 322"/>
                <a:gd name="T59" fmla="*/ 211 h 221"/>
                <a:gd name="T60" fmla="*/ 62 w 322"/>
                <a:gd name="T61" fmla="*/ 217 h 221"/>
                <a:gd name="T62" fmla="*/ 36 w 322"/>
                <a:gd name="T63" fmla="*/ 221 h 221"/>
                <a:gd name="T64" fmla="*/ 26 w 322"/>
                <a:gd name="T65" fmla="*/ 213 h 221"/>
                <a:gd name="T66" fmla="*/ 34 w 322"/>
                <a:gd name="T67" fmla="*/ 206 h 221"/>
                <a:gd name="T68" fmla="*/ 37 w 322"/>
                <a:gd name="T69" fmla="*/ 200 h 221"/>
                <a:gd name="T70" fmla="*/ 58 w 322"/>
                <a:gd name="T71" fmla="*/ 191 h 221"/>
                <a:gd name="T72" fmla="*/ 37 w 322"/>
                <a:gd name="T73" fmla="*/ 174 h 221"/>
                <a:gd name="T74" fmla="*/ 24 w 322"/>
                <a:gd name="T75" fmla="*/ 157 h 221"/>
                <a:gd name="T76" fmla="*/ 24 w 322"/>
                <a:gd name="T77" fmla="*/ 143 h 221"/>
                <a:gd name="T78" fmla="*/ 14 w 322"/>
                <a:gd name="T79" fmla="*/ 139 h 221"/>
                <a:gd name="T80" fmla="*/ 21 w 322"/>
                <a:gd name="T81" fmla="*/ 130 h 221"/>
                <a:gd name="T82" fmla="*/ 29 w 322"/>
                <a:gd name="T83" fmla="*/ 115 h 221"/>
                <a:gd name="T84" fmla="*/ 13 w 322"/>
                <a:gd name="T85" fmla="*/ 112 h 221"/>
                <a:gd name="T86" fmla="*/ 3 w 322"/>
                <a:gd name="T87" fmla="*/ 105 h 221"/>
                <a:gd name="T88" fmla="*/ 8 w 322"/>
                <a:gd name="T89" fmla="*/ 91 h 221"/>
                <a:gd name="T90" fmla="*/ 24 w 322"/>
                <a:gd name="T91" fmla="*/ 78 h 221"/>
                <a:gd name="T92" fmla="*/ 32 w 322"/>
                <a:gd name="T93" fmla="*/ 66 h 221"/>
                <a:gd name="T94" fmla="*/ 55 w 322"/>
                <a:gd name="T95" fmla="*/ 68 h 221"/>
                <a:gd name="T96" fmla="*/ 75 w 322"/>
                <a:gd name="T97" fmla="*/ 73 h 221"/>
                <a:gd name="T98" fmla="*/ 93 w 322"/>
                <a:gd name="T99" fmla="*/ 76 h 221"/>
                <a:gd name="T100" fmla="*/ 112 w 322"/>
                <a:gd name="T101" fmla="*/ 76 h 221"/>
                <a:gd name="T102" fmla="*/ 123 w 322"/>
                <a:gd name="T103" fmla="*/ 73 h 221"/>
                <a:gd name="T104" fmla="*/ 135 w 322"/>
                <a:gd name="T105" fmla="*/ 65 h 221"/>
                <a:gd name="T106" fmla="*/ 145 w 322"/>
                <a:gd name="T107" fmla="*/ 50 h 221"/>
                <a:gd name="T108" fmla="*/ 156 w 322"/>
                <a:gd name="T109" fmla="*/ 48 h 221"/>
                <a:gd name="T110" fmla="*/ 171 w 322"/>
                <a:gd name="T111" fmla="*/ 39 h 221"/>
                <a:gd name="T112" fmla="*/ 190 w 322"/>
                <a:gd name="T113" fmla="*/ 39 h 221"/>
                <a:gd name="T114" fmla="*/ 211 w 322"/>
                <a:gd name="T115" fmla="*/ 40 h 221"/>
                <a:gd name="T116" fmla="*/ 223 w 322"/>
                <a:gd name="T117" fmla="*/ 29 h 221"/>
                <a:gd name="T118" fmla="*/ 242 w 322"/>
                <a:gd name="T119" fmla="*/ 24 h 221"/>
                <a:gd name="T120" fmla="*/ 258 w 322"/>
                <a:gd name="T121" fmla="*/ 32 h 221"/>
                <a:gd name="T122" fmla="*/ 254 w 322"/>
                <a:gd name="T123" fmla="*/ 11 h 221"/>
                <a:gd name="T124" fmla="*/ 271 w 322"/>
                <a:gd name="T125" fmla="*/ 3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22" h="221">
                  <a:moveTo>
                    <a:pt x="283" y="0"/>
                  </a:moveTo>
                  <a:lnTo>
                    <a:pt x="284" y="1"/>
                  </a:lnTo>
                  <a:lnTo>
                    <a:pt x="286" y="1"/>
                  </a:lnTo>
                  <a:lnTo>
                    <a:pt x="286" y="3"/>
                  </a:lnTo>
                  <a:lnTo>
                    <a:pt x="288" y="3"/>
                  </a:lnTo>
                  <a:lnTo>
                    <a:pt x="289" y="4"/>
                  </a:lnTo>
                  <a:lnTo>
                    <a:pt x="288" y="6"/>
                  </a:lnTo>
                  <a:lnTo>
                    <a:pt x="288" y="8"/>
                  </a:lnTo>
                  <a:lnTo>
                    <a:pt x="288" y="9"/>
                  </a:lnTo>
                  <a:lnTo>
                    <a:pt x="286" y="9"/>
                  </a:lnTo>
                  <a:lnTo>
                    <a:pt x="286" y="11"/>
                  </a:lnTo>
                  <a:lnTo>
                    <a:pt x="286" y="13"/>
                  </a:lnTo>
                  <a:lnTo>
                    <a:pt x="288" y="13"/>
                  </a:lnTo>
                  <a:lnTo>
                    <a:pt x="288" y="14"/>
                  </a:lnTo>
                  <a:lnTo>
                    <a:pt x="286" y="16"/>
                  </a:lnTo>
                  <a:lnTo>
                    <a:pt x="288" y="16"/>
                  </a:lnTo>
                  <a:lnTo>
                    <a:pt x="288" y="17"/>
                  </a:lnTo>
                  <a:lnTo>
                    <a:pt x="289" y="19"/>
                  </a:lnTo>
                  <a:lnTo>
                    <a:pt x="291" y="21"/>
                  </a:lnTo>
                  <a:lnTo>
                    <a:pt x="293" y="21"/>
                  </a:lnTo>
                  <a:lnTo>
                    <a:pt x="293" y="22"/>
                  </a:lnTo>
                  <a:lnTo>
                    <a:pt x="293" y="24"/>
                  </a:lnTo>
                  <a:lnTo>
                    <a:pt x="297" y="24"/>
                  </a:lnTo>
                  <a:lnTo>
                    <a:pt x="297" y="27"/>
                  </a:lnTo>
                  <a:lnTo>
                    <a:pt x="297" y="29"/>
                  </a:lnTo>
                  <a:lnTo>
                    <a:pt x="296" y="29"/>
                  </a:lnTo>
                  <a:lnTo>
                    <a:pt x="296" y="30"/>
                  </a:lnTo>
                  <a:lnTo>
                    <a:pt x="296" y="32"/>
                  </a:lnTo>
                  <a:lnTo>
                    <a:pt x="297" y="34"/>
                  </a:lnTo>
                  <a:lnTo>
                    <a:pt x="297" y="35"/>
                  </a:lnTo>
                  <a:lnTo>
                    <a:pt x="301" y="35"/>
                  </a:lnTo>
                  <a:lnTo>
                    <a:pt x="302" y="37"/>
                  </a:lnTo>
                  <a:lnTo>
                    <a:pt x="302" y="39"/>
                  </a:lnTo>
                  <a:lnTo>
                    <a:pt x="304" y="39"/>
                  </a:lnTo>
                  <a:lnTo>
                    <a:pt x="306" y="40"/>
                  </a:lnTo>
                  <a:lnTo>
                    <a:pt x="306" y="42"/>
                  </a:lnTo>
                  <a:lnTo>
                    <a:pt x="307" y="42"/>
                  </a:lnTo>
                  <a:lnTo>
                    <a:pt x="309" y="45"/>
                  </a:lnTo>
                  <a:lnTo>
                    <a:pt x="310" y="45"/>
                  </a:lnTo>
                  <a:lnTo>
                    <a:pt x="310" y="47"/>
                  </a:lnTo>
                  <a:lnTo>
                    <a:pt x="310" y="48"/>
                  </a:lnTo>
                  <a:lnTo>
                    <a:pt x="310" y="50"/>
                  </a:lnTo>
                  <a:lnTo>
                    <a:pt x="315" y="52"/>
                  </a:lnTo>
                  <a:lnTo>
                    <a:pt x="315" y="53"/>
                  </a:lnTo>
                  <a:lnTo>
                    <a:pt x="317" y="53"/>
                  </a:lnTo>
                  <a:lnTo>
                    <a:pt x="319" y="53"/>
                  </a:lnTo>
                  <a:lnTo>
                    <a:pt x="320" y="53"/>
                  </a:lnTo>
                  <a:lnTo>
                    <a:pt x="322" y="53"/>
                  </a:lnTo>
                  <a:lnTo>
                    <a:pt x="322" y="55"/>
                  </a:lnTo>
                  <a:lnTo>
                    <a:pt x="320" y="55"/>
                  </a:lnTo>
                  <a:lnTo>
                    <a:pt x="319" y="55"/>
                  </a:lnTo>
                  <a:lnTo>
                    <a:pt x="319" y="53"/>
                  </a:lnTo>
                  <a:lnTo>
                    <a:pt x="319" y="55"/>
                  </a:lnTo>
                  <a:lnTo>
                    <a:pt x="317" y="55"/>
                  </a:lnTo>
                  <a:lnTo>
                    <a:pt x="317" y="53"/>
                  </a:lnTo>
                  <a:lnTo>
                    <a:pt x="317" y="55"/>
                  </a:lnTo>
                  <a:lnTo>
                    <a:pt x="315" y="55"/>
                  </a:lnTo>
                  <a:lnTo>
                    <a:pt x="314" y="55"/>
                  </a:lnTo>
                  <a:lnTo>
                    <a:pt x="312" y="55"/>
                  </a:lnTo>
                  <a:lnTo>
                    <a:pt x="312" y="53"/>
                  </a:lnTo>
                  <a:lnTo>
                    <a:pt x="310" y="53"/>
                  </a:lnTo>
                  <a:lnTo>
                    <a:pt x="309" y="53"/>
                  </a:lnTo>
                  <a:lnTo>
                    <a:pt x="310" y="52"/>
                  </a:lnTo>
                  <a:lnTo>
                    <a:pt x="309" y="52"/>
                  </a:lnTo>
                  <a:lnTo>
                    <a:pt x="307" y="52"/>
                  </a:lnTo>
                  <a:lnTo>
                    <a:pt x="306" y="50"/>
                  </a:lnTo>
                  <a:lnTo>
                    <a:pt x="304" y="50"/>
                  </a:lnTo>
                  <a:lnTo>
                    <a:pt x="304" y="48"/>
                  </a:lnTo>
                  <a:lnTo>
                    <a:pt x="302" y="48"/>
                  </a:lnTo>
                  <a:lnTo>
                    <a:pt x="301" y="50"/>
                  </a:lnTo>
                  <a:lnTo>
                    <a:pt x="299" y="48"/>
                  </a:lnTo>
                  <a:lnTo>
                    <a:pt x="299" y="47"/>
                  </a:lnTo>
                  <a:lnTo>
                    <a:pt x="297" y="47"/>
                  </a:lnTo>
                  <a:lnTo>
                    <a:pt x="296" y="47"/>
                  </a:lnTo>
                  <a:lnTo>
                    <a:pt x="294" y="47"/>
                  </a:lnTo>
                  <a:lnTo>
                    <a:pt x="293" y="47"/>
                  </a:lnTo>
                  <a:lnTo>
                    <a:pt x="291" y="48"/>
                  </a:lnTo>
                  <a:lnTo>
                    <a:pt x="289" y="48"/>
                  </a:lnTo>
                  <a:lnTo>
                    <a:pt x="288" y="48"/>
                  </a:lnTo>
                  <a:lnTo>
                    <a:pt x="288" y="50"/>
                  </a:lnTo>
                  <a:lnTo>
                    <a:pt x="286" y="50"/>
                  </a:lnTo>
                  <a:lnTo>
                    <a:pt x="286" y="53"/>
                  </a:lnTo>
                  <a:lnTo>
                    <a:pt x="284" y="56"/>
                  </a:lnTo>
                  <a:lnTo>
                    <a:pt x="284" y="60"/>
                  </a:lnTo>
                  <a:lnTo>
                    <a:pt x="286" y="61"/>
                  </a:lnTo>
                  <a:lnTo>
                    <a:pt x="286" y="63"/>
                  </a:lnTo>
                  <a:lnTo>
                    <a:pt x="286" y="65"/>
                  </a:lnTo>
                  <a:lnTo>
                    <a:pt x="286" y="66"/>
                  </a:lnTo>
                  <a:lnTo>
                    <a:pt x="289" y="66"/>
                  </a:lnTo>
                  <a:lnTo>
                    <a:pt x="289" y="68"/>
                  </a:lnTo>
                  <a:lnTo>
                    <a:pt x="289" y="69"/>
                  </a:lnTo>
                  <a:lnTo>
                    <a:pt x="286" y="69"/>
                  </a:lnTo>
                  <a:lnTo>
                    <a:pt x="284" y="69"/>
                  </a:lnTo>
                  <a:lnTo>
                    <a:pt x="281" y="69"/>
                  </a:lnTo>
                  <a:lnTo>
                    <a:pt x="280" y="69"/>
                  </a:lnTo>
                  <a:lnTo>
                    <a:pt x="278" y="69"/>
                  </a:lnTo>
                  <a:lnTo>
                    <a:pt x="275" y="68"/>
                  </a:lnTo>
                  <a:lnTo>
                    <a:pt x="273" y="68"/>
                  </a:lnTo>
                  <a:lnTo>
                    <a:pt x="271" y="68"/>
                  </a:lnTo>
                  <a:lnTo>
                    <a:pt x="270" y="69"/>
                  </a:lnTo>
                  <a:lnTo>
                    <a:pt x="268" y="69"/>
                  </a:lnTo>
                  <a:lnTo>
                    <a:pt x="267" y="69"/>
                  </a:lnTo>
                  <a:lnTo>
                    <a:pt x="265" y="71"/>
                  </a:lnTo>
                  <a:lnTo>
                    <a:pt x="268" y="74"/>
                  </a:lnTo>
                  <a:lnTo>
                    <a:pt x="268" y="76"/>
                  </a:lnTo>
                  <a:lnTo>
                    <a:pt x="267" y="76"/>
                  </a:lnTo>
                  <a:lnTo>
                    <a:pt x="265" y="78"/>
                  </a:lnTo>
                  <a:lnTo>
                    <a:pt x="262" y="81"/>
                  </a:lnTo>
                  <a:lnTo>
                    <a:pt x="258" y="84"/>
                  </a:lnTo>
                  <a:lnTo>
                    <a:pt x="255" y="86"/>
                  </a:lnTo>
                  <a:lnTo>
                    <a:pt x="254" y="86"/>
                  </a:lnTo>
                  <a:lnTo>
                    <a:pt x="252" y="86"/>
                  </a:lnTo>
                  <a:lnTo>
                    <a:pt x="250" y="87"/>
                  </a:lnTo>
                  <a:lnTo>
                    <a:pt x="250" y="89"/>
                  </a:lnTo>
                  <a:lnTo>
                    <a:pt x="247" y="89"/>
                  </a:lnTo>
                  <a:lnTo>
                    <a:pt x="241" y="91"/>
                  </a:lnTo>
                  <a:lnTo>
                    <a:pt x="239" y="92"/>
                  </a:lnTo>
                  <a:lnTo>
                    <a:pt x="239" y="94"/>
                  </a:lnTo>
                  <a:lnTo>
                    <a:pt x="241" y="95"/>
                  </a:lnTo>
                  <a:lnTo>
                    <a:pt x="239" y="97"/>
                  </a:lnTo>
                  <a:lnTo>
                    <a:pt x="237" y="99"/>
                  </a:lnTo>
                  <a:lnTo>
                    <a:pt x="237" y="97"/>
                  </a:lnTo>
                  <a:lnTo>
                    <a:pt x="236" y="97"/>
                  </a:lnTo>
                  <a:lnTo>
                    <a:pt x="234" y="97"/>
                  </a:lnTo>
                  <a:lnTo>
                    <a:pt x="232" y="97"/>
                  </a:lnTo>
                  <a:lnTo>
                    <a:pt x="231" y="97"/>
                  </a:lnTo>
                  <a:lnTo>
                    <a:pt x="229" y="97"/>
                  </a:lnTo>
                  <a:lnTo>
                    <a:pt x="228" y="97"/>
                  </a:lnTo>
                  <a:lnTo>
                    <a:pt x="226" y="99"/>
                  </a:lnTo>
                  <a:lnTo>
                    <a:pt x="228" y="102"/>
                  </a:lnTo>
                  <a:lnTo>
                    <a:pt x="226" y="102"/>
                  </a:lnTo>
                  <a:lnTo>
                    <a:pt x="226" y="104"/>
                  </a:lnTo>
                  <a:lnTo>
                    <a:pt x="224" y="104"/>
                  </a:lnTo>
                  <a:lnTo>
                    <a:pt x="224" y="105"/>
                  </a:lnTo>
                  <a:lnTo>
                    <a:pt x="223" y="105"/>
                  </a:lnTo>
                  <a:lnTo>
                    <a:pt x="223" y="107"/>
                  </a:lnTo>
                  <a:lnTo>
                    <a:pt x="223" y="108"/>
                  </a:lnTo>
                  <a:lnTo>
                    <a:pt x="223" y="110"/>
                  </a:lnTo>
                  <a:lnTo>
                    <a:pt x="224" y="110"/>
                  </a:lnTo>
                  <a:lnTo>
                    <a:pt x="224" y="112"/>
                  </a:lnTo>
                  <a:lnTo>
                    <a:pt x="223" y="112"/>
                  </a:lnTo>
                  <a:lnTo>
                    <a:pt x="224" y="112"/>
                  </a:lnTo>
                  <a:lnTo>
                    <a:pt x="223" y="113"/>
                  </a:lnTo>
                  <a:lnTo>
                    <a:pt x="224" y="113"/>
                  </a:lnTo>
                  <a:lnTo>
                    <a:pt x="224" y="115"/>
                  </a:lnTo>
                  <a:lnTo>
                    <a:pt x="226" y="115"/>
                  </a:lnTo>
                  <a:lnTo>
                    <a:pt x="226" y="117"/>
                  </a:lnTo>
                  <a:lnTo>
                    <a:pt x="224" y="117"/>
                  </a:lnTo>
                  <a:lnTo>
                    <a:pt x="226" y="117"/>
                  </a:lnTo>
                  <a:lnTo>
                    <a:pt x="228" y="117"/>
                  </a:lnTo>
                  <a:lnTo>
                    <a:pt x="229" y="117"/>
                  </a:lnTo>
                  <a:lnTo>
                    <a:pt x="229" y="118"/>
                  </a:lnTo>
                  <a:lnTo>
                    <a:pt x="231" y="118"/>
                  </a:lnTo>
                  <a:lnTo>
                    <a:pt x="232" y="118"/>
                  </a:lnTo>
                  <a:lnTo>
                    <a:pt x="232" y="120"/>
                  </a:lnTo>
                  <a:lnTo>
                    <a:pt x="234" y="120"/>
                  </a:lnTo>
                  <a:lnTo>
                    <a:pt x="236" y="120"/>
                  </a:lnTo>
                  <a:lnTo>
                    <a:pt x="236" y="122"/>
                  </a:lnTo>
                  <a:lnTo>
                    <a:pt x="237" y="122"/>
                  </a:lnTo>
                  <a:lnTo>
                    <a:pt x="236" y="123"/>
                  </a:lnTo>
                  <a:lnTo>
                    <a:pt x="236" y="125"/>
                  </a:lnTo>
                  <a:lnTo>
                    <a:pt x="236" y="126"/>
                  </a:lnTo>
                  <a:lnTo>
                    <a:pt x="234" y="126"/>
                  </a:lnTo>
                  <a:lnTo>
                    <a:pt x="236" y="126"/>
                  </a:lnTo>
                  <a:lnTo>
                    <a:pt x="234" y="126"/>
                  </a:lnTo>
                  <a:lnTo>
                    <a:pt x="236" y="128"/>
                  </a:lnTo>
                  <a:lnTo>
                    <a:pt x="234" y="128"/>
                  </a:lnTo>
                  <a:lnTo>
                    <a:pt x="234" y="130"/>
                  </a:lnTo>
                  <a:lnTo>
                    <a:pt x="234" y="131"/>
                  </a:lnTo>
                  <a:lnTo>
                    <a:pt x="236" y="135"/>
                  </a:lnTo>
                  <a:lnTo>
                    <a:pt x="236" y="136"/>
                  </a:lnTo>
                  <a:lnTo>
                    <a:pt x="236" y="138"/>
                  </a:lnTo>
                  <a:lnTo>
                    <a:pt x="236" y="139"/>
                  </a:lnTo>
                  <a:lnTo>
                    <a:pt x="234" y="139"/>
                  </a:lnTo>
                  <a:lnTo>
                    <a:pt x="234" y="141"/>
                  </a:lnTo>
                  <a:lnTo>
                    <a:pt x="232" y="143"/>
                  </a:lnTo>
                  <a:lnTo>
                    <a:pt x="232" y="149"/>
                  </a:lnTo>
                  <a:lnTo>
                    <a:pt x="232" y="151"/>
                  </a:lnTo>
                  <a:lnTo>
                    <a:pt x="231" y="154"/>
                  </a:lnTo>
                  <a:lnTo>
                    <a:pt x="229" y="154"/>
                  </a:lnTo>
                  <a:lnTo>
                    <a:pt x="226" y="152"/>
                  </a:lnTo>
                  <a:lnTo>
                    <a:pt x="224" y="151"/>
                  </a:lnTo>
                  <a:lnTo>
                    <a:pt x="223" y="151"/>
                  </a:lnTo>
                  <a:lnTo>
                    <a:pt x="219" y="152"/>
                  </a:lnTo>
                  <a:lnTo>
                    <a:pt x="219" y="154"/>
                  </a:lnTo>
                  <a:lnTo>
                    <a:pt x="216" y="156"/>
                  </a:lnTo>
                  <a:lnTo>
                    <a:pt x="215" y="157"/>
                  </a:lnTo>
                  <a:lnTo>
                    <a:pt x="213" y="159"/>
                  </a:lnTo>
                  <a:lnTo>
                    <a:pt x="210" y="161"/>
                  </a:lnTo>
                  <a:lnTo>
                    <a:pt x="206" y="162"/>
                  </a:lnTo>
                  <a:lnTo>
                    <a:pt x="205" y="162"/>
                  </a:lnTo>
                  <a:lnTo>
                    <a:pt x="203" y="164"/>
                  </a:lnTo>
                  <a:lnTo>
                    <a:pt x="202" y="164"/>
                  </a:lnTo>
                  <a:lnTo>
                    <a:pt x="200" y="165"/>
                  </a:lnTo>
                  <a:lnTo>
                    <a:pt x="198" y="165"/>
                  </a:lnTo>
                  <a:lnTo>
                    <a:pt x="198" y="167"/>
                  </a:lnTo>
                  <a:lnTo>
                    <a:pt x="197" y="169"/>
                  </a:lnTo>
                  <a:lnTo>
                    <a:pt x="193" y="172"/>
                  </a:lnTo>
                  <a:lnTo>
                    <a:pt x="193" y="174"/>
                  </a:lnTo>
                  <a:lnTo>
                    <a:pt x="197" y="174"/>
                  </a:lnTo>
                  <a:lnTo>
                    <a:pt x="197" y="175"/>
                  </a:lnTo>
                  <a:lnTo>
                    <a:pt x="198" y="175"/>
                  </a:lnTo>
                  <a:lnTo>
                    <a:pt x="200" y="174"/>
                  </a:lnTo>
                  <a:lnTo>
                    <a:pt x="202" y="172"/>
                  </a:lnTo>
                  <a:lnTo>
                    <a:pt x="203" y="174"/>
                  </a:lnTo>
                  <a:lnTo>
                    <a:pt x="203" y="175"/>
                  </a:lnTo>
                  <a:lnTo>
                    <a:pt x="206" y="180"/>
                  </a:lnTo>
                  <a:lnTo>
                    <a:pt x="208" y="182"/>
                  </a:lnTo>
                  <a:lnTo>
                    <a:pt x="206" y="183"/>
                  </a:lnTo>
                  <a:lnTo>
                    <a:pt x="206" y="182"/>
                  </a:lnTo>
                  <a:lnTo>
                    <a:pt x="205" y="182"/>
                  </a:lnTo>
                  <a:lnTo>
                    <a:pt x="203" y="182"/>
                  </a:lnTo>
                  <a:lnTo>
                    <a:pt x="202" y="182"/>
                  </a:lnTo>
                  <a:lnTo>
                    <a:pt x="203" y="182"/>
                  </a:lnTo>
                  <a:lnTo>
                    <a:pt x="203" y="183"/>
                  </a:lnTo>
                  <a:lnTo>
                    <a:pt x="202" y="183"/>
                  </a:lnTo>
                  <a:lnTo>
                    <a:pt x="200" y="183"/>
                  </a:lnTo>
                  <a:lnTo>
                    <a:pt x="198" y="183"/>
                  </a:lnTo>
                  <a:lnTo>
                    <a:pt x="198" y="185"/>
                  </a:lnTo>
                  <a:lnTo>
                    <a:pt x="198" y="187"/>
                  </a:lnTo>
                  <a:lnTo>
                    <a:pt x="197" y="187"/>
                  </a:lnTo>
                  <a:lnTo>
                    <a:pt x="197" y="188"/>
                  </a:lnTo>
                  <a:lnTo>
                    <a:pt x="195" y="188"/>
                  </a:lnTo>
                  <a:lnTo>
                    <a:pt x="197" y="190"/>
                  </a:lnTo>
                  <a:lnTo>
                    <a:pt x="198" y="191"/>
                  </a:lnTo>
                  <a:lnTo>
                    <a:pt x="198" y="193"/>
                  </a:lnTo>
                  <a:lnTo>
                    <a:pt x="198" y="195"/>
                  </a:lnTo>
                  <a:lnTo>
                    <a:pt x="198" y="196"/>
                  </a:lnTo>
                  <a:lnTo>
                    <a:pt x="198" y="198"/>
                  </a:lnTo>
                  <a:lnTo>
                    <a:pt x="200" y="198"/>
                  </a:lnTo>
                  <a:lnTo>
                    <a:pt x="200" y="200"/>
                  </a:lnTo>
                  <a:lnTo>
                    <a:pt x="202" y="200"/>
                  </a:lnTo>
                  <a:lnTo>
                    <a:pt x="202" y="201"/>
                  </a:lnTo>
                  <a:lnTo>
                    <a:pt x="205" y="203"/>
                  </a:lnTo>
                  <a:lnTo>
                    <a:pt x="206" y="203"/>
                  </a:lnTo>
                  <a:lnTo>
                    <a:pt x="206" y="204"/>
                  </a:lnTo>
                  <a:lnTo>
                    <a:pt x="208" y="204"/>
                  </a:lnTo>
                  <a:lnTo>
                    <a:pt x="206" y="204"/>
                  </a:lnTo>
                  <a:lnTo>
                    <a:pt x="205" y="206"/>
                  </a:lnTo>
                  <a:lnTo>
                    <a:pt x="205" y="208"/>
                  </a:lnTo>
                  <a:lnTo>
                    <a:pt x="203" y="209"/>
                  </a:lnTo>
                  <a:lnTo>
                    <a:pt x="202" y="209"/>
                  </a:lnTo>
                  <a:lnTo>
                    <a:pt x="200" y="209"/>
                  </a:lnTo>
                  <a:lnTo>
                    <a:pt x="197" y="208"/>
                  </a:lnTo>
                  <a:lnTo>
                    <a:pt x="197" y="209"/>
                  </a:lnTo>
                  <a:lnTo>
                    <a:pt x="195" y="209"/>
                  </a:lnTo>
                  <a:lnTo>
                    <a:pt x="193" y="209"/>
                  </a:lnTo>
                  <a:lnTo>
                    <a:pt x="193" y="211"/>
                  </a:lnTo>
                  <a:lnTo>
                    <a:pt x="192" y="213"/>
                  </a:lnTo>
                  <a:lnTo>
                    <a:pt x="192" y="214"/>
                  </a:lnTo>
                  <a:lnTo>
                    <a:pt x="190" y="214"/>
                  </a:lnTo>
                  <a:lnTo>
                    <a:pt x="189" y="213"/>
                  </a:lnTo>
                  <a:lnTo>
                    <a:pt x="189" y="214"/>
                  </a:lnTo>
                  <a:lnTo>
                    <a:pt x="187" y="216"/>
                  </a:lnTo>
                  <a:lnTo>
                    <a:pt x="187" y="214"/>
                  </a:lnTo>
                  <a:lnTo>
                    <a:pt x="187" y="216"/>
                  </a:lnTo>
                  <a:lnTo>
                    <a:pt x="185" y="214"/>
                  </a:lnTo>
                  <a:lnTo>
                    <a:pt x="184" y="214"/>
                  </a:lnTo>
                  <a:lnTo>
                    <a:pt x="184" y="213"/>
                  </a:lnTo>
                  <a:lnTo>
                    <a:pt x="182" y="211"/>
                  </a:lnTo>
                  <a:lnTo>
                    <a:pt x="180" y="211"/>
                  </a:lnTo>
                  <a:lnTo>
                    <a:pt x="180" y="209"/>
                  </a:lnTo>
                  <a:lnTo>
                    <a:pt x="179" y="209"/>
                  </a:lnTo>
                  <a:lnTo>
                    <a:pt x="177" y="209"/>
                  </a:lnTo>
                  <a:lnTo>
                    <a:pt x="177" y="208"/>
                  </a:lnTo>
                  <a:lnTo>
                    <a:pt x="177" y="206"/>
                  </a:lnTo>
                  <a:lnTo>
                    <a:pt x="177" y="208"/>
                  </a:lnTo>
                  <a:lnTo>
                    <a:pt x="176" y="206"/>
                  </a:lnTo>
                  <a:lnTo>
                    <a:pt x="174" y="206"/>
                  </a:lnTo>
                  <a:lnTo>
                    <a:pt x="172" y="208"/>
                  </a:lnTo>
                  <a:lnTo>
                    <a:pt x="171" y="206"/>
                  </a:lnTo>
                  <a:lnTo>
                    <a:pt x="167" y="206"/>
                  </a:lnTo>
                  <a:lnTo>
                    <a:pt x="166" y="204"/>
                  </a:lnTo>
                  <a:lnTo>
                    <a:pt x="162" y="201"/>
                  </a:lnTo>
                  <a:lnTo>
                    <a:pt x="161" y="201"/>
                  </a:lnTo>
                  <a:lnTo>
                    <a:pt x="161" y="203"/>
                  </a:lnTo>
                  <a:lnTo>
                    <a:pt x="159" y="203"/>
                  </a:lnTo>
                  <a:lnTo>
                    <a:pt x="159" y="204"/>
                  </a:lnTo>
                  <a:lnTo>
                    <a:pt x="161" y="204"/>
                  </a:lnTo>
                  <a:lnTo>
                    <a:pt x="159" y="206"/>
                  </a:lnTo>
                  <a:lnTo>
                    <a:pt x="161" y="206"/>
                  </a:lnTo>
                  <a:lnTo>
                    <a:pt x="159" y="208"/>
                  </a:lnTo>
                  <a:lnTo>
                    <a:pt x="159" y="209"/>
                  </a:lnTo>
                  <a:lnTo>
                    <a:pt x="158" y="209"/>
                  </a:lnTo>
                  <a:lnTo>
                    <a:pt x="156" y="209"/>
                  </a:lnTo>
                  <a:lnTo>
                    <a:pt x="156" y="211"/>
                  </a:lnTo>
                  <a:lnTo>
                    <a:pt x="154" y="211"/>
                  </a:lnTo>
                  <a:lnTo>
                    <a:pt x="153" y="211"/>
                  </a:lnTo>
                  <a:lnTo>
                    <a:pt x="153" y="213"/>
                  </a:lnTo>
                  <a:lnTo>
                    <a:pt x="151" y="211"/>
                  </a:lnTo>
                  <a:lnTo>
                    <a:pt x="151" y="213"/>
                  </a:lnTo>
                  <a:lnTo>
                    <a:pt x="151" y="211"/>
                  </a:lnTo>
                  <a:lnTo>
                    <a:pt x="149" y="209"/>
                  </a:lnTo>
                  <a:lnTo>
                    <a:pt x="149" y="208"/>
                  </a:lnTo>
                  <a:lnTo>
                    <a:pt x="148" y="208"/>
                  </a:lnTo>
                  <a:lnTo>
                    <a:pt x="149" y="208"/>
                  </a:lnTo>
                  <a:lnTo>
                    <a:pt x="149" y="206"/>
                  </a:lnTo>
                  <a:lnTo>
                    <a:pt x="148" y="206"/>
                  </a:lnTo>
                  <a:lnTo>
                    <a:pt x="146" y="206"/>
                  </a:lnTo>
                  <a:lnTo>
                    <a:pt x="145" y="206"/>
                  </a:lnTo>
                  <a:lnTo>
                    <a:pt x="146" y="204"/>
                  </a:lnTo>
                  <a:lnTo>
                    <a:pt x="145" y="204"/>
                  </a:lnTo>
                  <a:lnTo>
                    <a:pt x="143" y="203"/>
                  </a:lnTo>
                  <a:lnTo>
                    <a:pt x="141" y="203"/>
                  </a:lnTo>
                  <a:lnTo>
                    <a:pt x="140" y="201"/>
                  </a:lnTo>
                  <a:lnTo>
                    <a:pt x="140" y="203"/>
                  </a:lnTo>
                  <a:lnTo>
                    <a:pt x="140" y="201"/>
                  </a:lnTo>
                  <a:lnTo>
                    <a:pt x="140" y="203"/>
                  </a:lnTo>
                  <a:lnTo>
                    <a:pt x="140" y="201"/>
                  </a:lnTo>
                  <a:lnTo>
                    <a:pt x="138" y="203"/>
                  </a:lnTo>
                  <a:lnTo>
                    <a:pt x="136" y="203"/>
                  </a:lnTo>
                  <a:lnTo>
                    <a:pt x="136" y="201"/>
                  </a:lnTo>
                  <a:lnTo>
                    <a:pt x="136" y="200"/>
                  </a:lnTo>
                  <a:lnTo>
                    <a:pt x="138" y="200"/>
                  </a:lnTo>
                  <a:lnTo>
                    <a:pt x="138" y="198"/>
                  </a:lnTo>
                  <a:lnTo>
                    <a:pt x="136" y="196"/>
                  </a:lnTo>
                  <a:lnTo>
                    <a:pt x="136" y="195"/>
                  </a:lnTo>
                  <a:lnTo>
                    <a:pt x="135" y="195"/>
                  </a:lnTo>
                  <a:lnTo>
                    <a:pt x="133" y="195"/>
                  </a:lnTo>
                  <a:lnTo>
                    <a:pt x="132" y="193"/>
                  </a:lnTo>
                  <a:lnTo>
                    <a:pt x="130" y="191"/>
                  </a:lnTo>
                  <a:lnTo>
                    <a:pt x="128" y="191"/>
                  </a:lnTo>
                  <a:lnTo>
                    <a:pt x="128" y="188"/>
                  </a:lnTo>
                  <a:lnTo>
                    <a:pt x="130" y="187"/>
                  </a:lnTo>
                  <a:lnTo>
                    <a:pt x="130" y="185"/>
                  </a:lnTo>
                  <a:lnTo>
                    <a:pt x="130" y="183"/>
                  </a:lnTo>
                  <a:lnTo>
                    <a:pt x="128" y="183"/>
                  </a:lnTo>
                  <a:lnTo>
                    <a:pt x="125" y="183"/>
                  </a:lnTo>
                  <a:lnTo>
                    <a:pt x="125" y="187"/>
                  </a:lnTo>
                  <a:lnTo>
                    <a:pt x="122" y="190"/>
                  </a:lnTo>
                  <a:lnTo>
                    <a:pt x="120" y="191"/>
                  </a:lnTo>
                  <a:lnTo>
                    <a:pt x="120" y="193"/>
                  </a:lnTo>
                  <a:lnTo>
                    <a:pt x="119" y="193"/>
                  </a:lnTo>
                  <a:lnTo>
                    <a:pt x="117" y="193"/>
                  </a:lnTo>
                  <a:lnTo>
                    <a:pt x="117" y="196"/>
                  </a:lnTo>
                  <a:lnTo>
                    <a:pt x="117" y="200"/>
                  </a:lnTo>
                  <a:lnTo>
                    <a:pt x="117" y="203"/>
                  </a:lnTo>
                  <a:lnTo>
                    <a:pt x="117" y="204"/>
                  </a:lnTo>
                  <a:lnTo>
                    <a:pt x="115" y="206"/>
                  </a:lnTo>
                  <a:lnTo>
                    <a:pt x="110" y="209"/>
                  </a:lnTo>
                  <a:lnTo>
                    <a:pt x="109" y="211"/>
                  </a:lnTo>
                  <a:lnTo>
                    <a:pt x="107" y="211"/>
                  </a:lnTo>
                  <a:lnTo>
                    <a:pt x="104" y="211"/>
                  </a:lnTo>
                  <a:lnTo>
                    <a:pt x="102" y="211"/>
                  </a:lnTo>
                  <a:lnTo>
                    <a:pt x="99" y="208"/>
                  </a:lnTo>
                  <a:lnTo>
                    <a:pt x="97" y="208"/>
                  </a:lnTo>
                  <a:lnTo>
                    <a:pt x="96" y="208"/>
                  </a:lnTo>
                  <a:lnTo>
                    <a:pt x="94" y="208"/>
                  </a:lnTo>
                  <a:lnTo>
                    <a:pt x="94" y="209"/>
                  </a:lnTo>
                  <a:lnTo>
                    <a:pt x="93" y="211"/>
                  </a:lnTo>
                  <a:lnTo>
                    <a:pt x="89" y="211"/>
                  </a:lnTo>
                  <a:lnTo>
                    <a:pt x="89" y="213"/>
                  </a:lnTo>
                  <a:lnTo>
                    <a:pt x="89" y="214"/>
                  </a:lnTo>
                  <a:lnTo>
                    <a:pt x="88" y="214"/>
                  </a:lnTo>
                  <a:lnTo>
                    <a:pt x="84" y="213"/>
                  </a:lnTo>
                  <a:lnTo>
                    <a:pt x="81" y="211"/>
                  </a:lnTo>
                  <a:lnTo>
                    <a:pt x="80" y="211"/>
                  </a:lnTo>
                  <a:lnTo>
                    <a:pt x="78" y="213"/>
                  </a:lnTo>
                  <a:lnTo>
                    <a:pt x="76" y="213"/>
                  </a:lnTo>
                  <a:lnTo>
                    <a:pt x="75" y="211"/>
                  </a:lnTo>
                  <a:lnTo>
                    <a:pt x="73" y="209"/>
                  </a:lnTo>
                  <a:lnTo>
                    <a:pt x="71" y="208"/>
                  </a:lnTo>
                  <a:lnTo>
                    <a:pt x="70" y="208"/>
                  </a:lnTo>
                  <a:lnTo>
                    <a:pt x="68" y="211"/>
                  </a:lnTo>
                  <a:lnTo>
                    <a:pt x="67" y="211"/>
                  </a:lnTo>
                  <a:lnTo>
                    <a:pt x="67" y="213"/>
                  </a:lnTo>
                  <a:lnTo>
                    <a:pt x="68" y="213"/>
                  </a:lnTo>
                  <a:lnTo>
                    <a:pt x="68" y="214"/>
                  </a:lnTo>
                  <a:lnTo>
                    <a:pt x="68" y="216"/>
                  </a:lnTo>
                  <a:lnTo>
                    <a:pt x="68" y="217"/>
                  </a:lnTo>
                  <a:lnTo>
                    <a:pt x="63" y="217"/>
                  </a:lnTo>
                  <a:lnTo>
                    <a:pt x="62" y="217"/>
                  </a:lnTo>
                  <a:lnTo>
                    <a:pt x="60" y="219"/>
                  </a:lnTo>
                  <a:lnTo>
                    <a:pt x="54" y="216"/>
                  </a:lnTo>
                  <a:lnTo>
                    <a:pt x="52" y="216"/>
                  </a:lnTo>
                  <a:lnTo>
                    <a:pt x="50" y="216"/>
                  </a:lnTo>
                  <a:lnTo>
                    <a:pt x="49" y="216"/>
                  </a:lnTo>
                  <a:lnTo>
                    <a:pt x="47" y="217"/>
                  </a:lnTo>
                  <a:lnTo>
                    <a:pt x="45" y="217"/>
                  </a:lnTo>
                  <a:lnTo>
                    <a:pt x="42" y="216"/>
                  </a:lnTo>
                  <a:lnTo>
                    <a:pt x="41" y="217"/>
                  </a:lnTo>
                  <a:lnTo>
                    <a:pt x="39" y="219"/>
                  </a:lnTo>
                  <a:lnTo>
                    <a:pt x="37" y="219"/>
                  </a:lnTo>
                  <a:lnTo>
                    <a:pt x="36" y="221"/>
                  </a:lnTo>
                  <a:lnTo>
                    <a:pt x="36" y="219"/>
                  </a:lnTo>
                  <a:lnTo>
                    <a:pt x="34" y="219"/>
                  </a:lnTo>
                  <a:lnTo>
                    <a:pt x="32" y="219"/>
                  </a:lnTo>
                  <a:lnTo>
                    <a:pt x="31" y="219"/>
                  </a:lnTo>
                  <a:lnTo>
                    <a:pt x="29" y="217"/>
                  </a:lnTo>
                  <a:lnTo>
                    <a:pt x="29" y="216"/>
                  </a:lnTo>
                  <a:lnTo>
                    <a:pt x="31" y="216"/>
                  </a:lnTo>
                  <a:lnTo>
                    <a:pt x="29" y="214"/>
                  </a:lnTo>
                  <a:lnTo>
                    <a:pt x="28" y="214"/>
                  </a:lnTo>
                  <a:lnTo>
                    <a:pt x="28" y="213"/>
                  </a:lnTo>
                  <a:lnTo>
                    <a:pt x="28" y="214"/>
                  </a:lnTo>
                  <a:lnTo>
                    <a:pt x="26" y="213"/>
                  </a:lnTo>
                  <a:lnTo>
                    <a:pt x="28" y="213"/>
                  </a:lnTo>
                  <a:lnTo>
                    <a:pt x="28" y="211"/>
                  </a:lnTo>
                  <a:lnTo>
                    <a:pt x="26" y="211"/>
                  </a:lnTo>
                  <a:lnTo>
                    <a:pt x="24" y="211"/>
                  </a:lnTo>
                  <a:lnTo>
                    <a:pt x="24" y="209"/>
                  </a:lnTo>
                  <a:lnTo>
                    <a:pt x="26" y="209"/>
                  </a:lnTo>
                  <a:lnTo>
                    <a:pt x="28" y="209"/>
                  </a:lnTo>
                  <a:lnTo>
                    <a:pt x="28" y="208"/>
                  </a:lnTo>
                  <a:lnTo>
                    <a:pt x="29" y="208"/>
                  </a:lnTo>
                  <a:lnTo>
                    <a:pt x="31" y="208"/>
                  </a:lnTo>
                  <a:lnTo>
                    <a:pt x="32" y="208"/>
                  </a:lnTo>
                  <a:lnTo>
                    <a:pt x="34" y="206"/>
                  </a:lnTo>
                  <a:lnTo>
                    <a:pt x="34" y="208"/>
                  </a:lnTo>
                  <a:lnTo>
                    <a:pt x="36" y="206"/>
                  </a:lnTo>
                  <a:lnTo>
                    <a:pt x="37" y="206"/>
                  </a:lnTo>
                  <a:lnTo>
                    <a:pt x="39" y="206"/>
                  </a:lnTo>
                  <a:lnTo>
                    <a:pt x="41" y="206"/>
                  </a:lnTo>
                  <a:lnTo>
                    <a:pt x="41" y="204"/>
                  </a:lnTo>
                  <a:lnTo>
                    <a:pt x="41" y="203"/>
                  </a:lnTo>
                  <a:lnTo>
                    <a:pt x="42" y="203"/>
                  </a:lnTo>
                  <a:lnTo>
                    <a:pt x="42" y="201"/>
                  </a:lnTo>
                  <a:lnTo>
                    <a:pt x="41" y="201"/>
                  </a:lnTo>
                  <a:lnTo>
                    <a:pt x="39" y="201"/>
                  </a:lnTo>
                  <a:lnTo>
                    <a:pt x="37" y="200"/>
                  </a:lnTo>
                  <a:lnTo>
                    <a:pt x="39" y="200"/>
                  </a:lnTo>
                  <a:lnTo>
                    <a:pt x="41" y="198"/>
                  </a:lnTo>
                  <a:lnTo>
                    <a:pt x="42" y="198"/>
                  </a:lnTo>
                  <a:lnTo>
                    <a:pt x="44" y="200"/>
                  </a:lnTo>
                  <a:lnTo>
                    <a:pt x="45" y="201"/>
                  </a:lnTo>
                  <a:lnTo>
                    <a:pt x="49" y="201"/>
                  </a:lnTo>
                  <a:lnTo>
                    <a:pt x="52" y="200"/>
                  </a:lnTo>
                  <a:lnTo>
                    <a:pt x="54" y="198"/>
                  </a:lnTo>
                  <a:lnTo>
                    <a:pt x="54" y="196"/>
                  </a:lnTo>
                  <a:lnTo>
                    <a:pt x="57" y="195"/>
                  </a:lnTo>
                  <a:lnTo>
                    <a:pt x="58" y="193"/>
                  </a:lnTo>
                  <a:lnTo>
                    <a:pt x="58" y="191"/>
                  </a:lnTo>
                  <a:lnTo>
                    <a:pt x="57" y="191"/>
                  </a:lnTo>
                  <a:lnTo>
                    <a:pt x="55" y="190"/>
                  </a:lnTo>
                  <a:lnTo>
                    <a:pt x="54" y="188"/>
                  </a:lnTo>
                  <a:lnTo>
                    <a:pt x="50" y="185"/>
                  </a:lnTo>
                  <a:lnTo>
                    <a:pt x="50" y="182"/>
                  </a:lnTo>
                  <a:lnTo>
                    <a:pt x="49" y="180"/>
                  </a:lnTo>
                  <a:lnTo>
                    <a:pt x="47" y="180"/>
                  </a:lnTo>
                  <a:lnTo>
                    <a:pt x="45" y="177"/>
                  </a:lnTo>
                  <a:lnTo>
                    <a:pt x="44" y="177"/>
                  </a:lnTo>
                  <a:lnTo>
                    <a:pt x="41" y="175"/>
                  </a:lnTo>
                  <a:lnTo>
                    <a:pt x="39" y="175"/>
                  </a:lnTo>
                  <a:lnTo>
                    <a:pt x="37" y="174"/>
                  </a:lnTo>
                  <a:lnTo>
                    <a:pt x="36" y="174"/>
                  </a:lnTo>
                  <a:lnTo>
                    <a:pt x="34" y="170"/>
                  </a:lnTo>
                  <a:lnTo>
                    <a:pt x="32" y="170"/>
                  </a:lnTo>
                  <a:lnTo>
                    <a:pt x="29" y="170"/>
                  </a:lnTo>
                  <a:lnTo>
                    <a:pt x="28" y="170"/>
                  </a:lnTo>
                  <a:lnTo>
                    <a:pt x="26" y="169"/>
                  </a:lnTo>
                  <a:lnTo>
                    <a:pt x="24" y="167"/>
                  </a:lnTo>
                  <a:lnTo>
                    <a:pt x="24" y="165"/>
                  </a:lnTo>
                  <a:lnTo>
                    <a:pt x="23" y="164"/>
                  </a:lnTo>
                  <a:lnTo>
                    <a:pt x="23" y="162"/>
                  </a:lnTo>
                  <a:lnTo>
                    <a:pt x="24" y="159"/>
                  </a:lnTo>
                  <a:lnTo>
                    <a:pt x="24" y="157"/>
                  </a:lnTo>
                  <a:lnTo>
                    <a:pt x="26" y="157"/>
                  </a:lnTo>
                  <a:lnTo>
                    <a:pt x="26" y="156"/>
                  </a:lnTo>
                  <a:lnTo>
                    <a:pt x="28" y="154"/>
                  </a:lnTo>
                  <a:lnTo>
                    <a:pt x="28" y="152"/>
                  </a:lnTo>
                  <a:lnTo>
                    <a:pt x="28" y="151"/>
                  </a:lnTo>
                  <a:lnTo>
                    <a:pt x="28" y="149"/>
                  </a:lnTo>
                  <a:lnTo>
                    <a:pt x="28" y="146"/>
                  </a:lnTo>
                  <a:lnTo>
                    <a:pt x="29" y="146"/>
                  </a:lnTo>
                  <a:lnTo>
                    <a:pt x="29" y="144"/>
                  </a:lnTo>
                  <a:lnTo>
                    <a:pt x="28" y="143"/>
                  </a:lnTo>
                  <a:lnTo>
                    <a:pt x="28" y="144"/>
                  </a:lnTo>
                  <a:lnTo>
                    <a:pt x="24" y="143"/>
                  </a:lnTo>
                  <a:lnTo>
                    <a:pt x="23" y="144"/>
                  </a:lnTo>
                  <a:lnTo>
                    <a:pt x="23" y="146"/>
                  </a:lnTo>
                  <a:lnTo>
                    <a:pt x="21" y="146"/>
                  </a:lnTo>
                  <a:lnTo>
                    <a:pt x="19" y="146"/>
                  </a:lnTo>
                  <a:lnTo>
                    <a:pt x="18" y="146"/>
                  </a:lnTo>
                  <a:lnTo>
                    <a:pt x="16" y="146"/>
                  </a:lnTo>
                  <a:lnTo>
                    <a:pt x="16" y="144"/>
                  </a:lnTo>
                  <a:lnTo>
                    <a:pt x="14" y="144"/>
                  </a:lnTo>
                  <a:lnTo>
                    <a:pt x="14" y="143"/>
                  </a:lnTo>
                  <a:lnTo>
                    <a:pt x="13" y="143"/>
                  </a:lnTo>
                  <a:lnTo>
                    <a:pt x="13" y="141"/>
                  </a:lnTo>
                  <a:lnTo>
                    <a:pt x="14" y="139"/>
                  </a:lnTo>
                  <a:lnTo>
                    <a:pt x="14" y="138"/>
                  </a:lnTo>
                  <a:lnTo>
                    <a:pt x="16" y="136"/>
                  </a:lnTo>
                  <a:lnTo>
                    <a:pt x="14" y="136"/>
                  </a:lnTo>
                  <a:lnTo>
                    <a:pt x="13" y="136"/>
                  </a:lnTo>
                  <a:lnTo>
                    <a:pt x="13" y="135"/>
                  </a:lnTo>
                  <a:lnTo>
                    <a:pt x="14" y="135"/>
                  </a:lnTo>
                  <a:lnTo>
                    <a:pt x="14" y="133"/>
                  </a:lnTo>
                  <a:lnTo>
                    <a:pt x="16" y="133"/>
                  </a:lnTo>
                  <a:lnTo>
                    <a:pt x="18" y="131"/>
                  </a:lnTo>
                  <a:lnTo>
                    <a:pt x="18" y="130"/>
                  </a:lnTo>
                  <a:lnTo>
                    <a:pt x="19" y="130"/>
                  </a:lnTo>
                  <a:lnTo>
                    <a:pt x="21" y="130"/>
                  </a:lnTo>
                  <a:lnTo>
                    <a:pt x="21" y="128"/>
                  </a:lnTo>
                  <a:lnTo>
                    <a:pt x="23" y="126"/>
                  </a:lnTo>
                  <a:lnTo>
                    <a:pt x="24" y="126"/>
                  </a:lnTo>
                  <a:lnTo>
                    <a:pt x="24" y="125"/>
                  </a:lnTo>
                  <a:lnTo>
                    <a:pt x="26" y="125"/>
                  </a:lnTo>
                  <a:lnTo>
                    <a:pt x="28" y="123"/>
                  </a:lnTo>
                  <a:lnTo>
                    <a:pt x="28" y="122"/>
                  </a:lnTo>
                  <a:lnTo>
                    <a:pt x="29" y="120"/>
                  </a:lnTo>
                  <a:lnTo>
                    <a:pt x="29" y="118"/>
                  </a:lnTo>
                  <a:lnTo>
                    <a:pt x="31" y="117"/>
                  </a:lnTo>
                  <a:lnTo>
                    <a:pt x="31" y="115"/>
                  </a:lnTo>
                  <a:lnTo>
                    <a:pt x="29" y="115"/>
                  </a:lnTo>
                  <a:lnTo>
                    <a:pt x="28" y="115"/>
                  </a:lnTo>
                  <a:lnTo>
                    <a:pt x="26" y="113"/>
                  </a:lnTo>
                  <a:lnTo>
                    <a:pt x="26" y="115"/>
                  </a:lnTo>
                  <a:lnTo>
                    <a:pt x="24" y="115"/>
                  </a:lnTo>
                  <a:lnTo>
                    <a:pt x="23" y="115"/>
                  </a:lnTo>
                  <a:lnTo>
                    <a:pt x="21" y="115"/>
                  </a:lnTo>
                  <a:lnTo>
                    <a:pt x="19" y="115"/>
                  </a:lnTo>
                  <a:lnTo>
                    <a:pt x="19" y="113"/>
                  </a:lnTo>
                  <a:lnTo>
                    <a:pt x="19" y="112"/>
                  </a:lnTo>
                  <a:lnTo>
                    <a:pt x="16" y="110"/>
                  </a:lnTo>
                  <a:lnTo>
                    <a:pt x="14" y="112"/>
                  </a:lnTo>
                  <a:lnTo>
                    <a:pt x="13" y="112"/>
                  </a:lnTo>
                  <a:lnTo>
                    <a:pt x="11" y="110"/>
                  </a:lnTo>
                  <a:lnTo>
                    <a:pt x="10" y="110"/>
                  </a:lnTo>
                  <a:lnTo>
                    <a:pt x="8" y="110"/>
                  </a:lnTo>
                  <a:lnTo>
                    <a:pt x="10" y="112"/>
                  </a:lnTo>
                  <a:lnTo>
                    <a:pt x="10" y="113"/>
                  </a:lnTo>
                  <a:lnTo>
                    <a:pt x="8" y="113"/>
                  </a:lnTo>
                  <a:lnTo>
                    <a:pt x="8" y="112"/>
                  </a:lnTo>
                  <a:lnTo>
                    <a:pt x="5" y="113"/>
                  </a:lnTo>
                  <a:lnTo>
                    <a:pt x="5" y="112"/>
                  </a:lnTo>
                  <a:lnTo>
                    <a:pt x="5" y="110"/>
                  </a:lnTo>
                  <a:lnTo>
                    <a:pt x="5" y="108"/>
                  </a:lnTo>
                  <a:lnTo>
                    <a:pt x="3" y="105"/>
                  </a:lnTo>
                  <a:lnTo>
                    <a:pt x="1" y="102"/>
                  </a:lnTo>
                  <a:lnTo>
                    <a:pt x="1" y="100"/>
                  </a:lnTo>
                  <a:lnTo>
                    <a:pt x="0" y="100"/>
                  </a:lnTo>
                  <a:lnTo>
                    <a:pt x="3" y="99"/>
                  </a:lnTo>
                  <a:lnTo>
                    <a:pt x="5" y="99"/>
                  </a:lnTo>
                  <a:lnTo>
                    <a:pt x="5" y="97"/>
                  </a:lnTo>
                  <a:lnTo>
                    <a:pt x="6" y="97"/>
                  </a:lnTo>
                  <a:lnTo>
                    <a:pt x="6" y="95"/>
                  </a:lnTo>
                  <a:lnTo>
                    <a:pt x="6" y="94"/>
                  </a:lnTo>
                  <a:lnTo>
                    <a:pt x="6" y="92"/>
                  </a:lnTo>
                  <a:lnTo>
                    <a:pt x="6" y="91"/>
                  </a:lnTo>
                  <a:lnTo>
                    <a:pt x="8" y="91"/>
                  </a:lnTo>
                  <a:lnTo>
                    <a:pt x="10" y="91"/>
                  </a:lnTo>
                  <a:lnTo>
                    <a:pt x="11" y="89"/>
                  </a:lnTo>
                  <a:lnTo>
                    <a:pt x="13" y="89"/>
                  </a:lnTo>
                  <a:lnTo>
                    <a:pt x="13" y="87"/>
                  </a:lnTo>
                  <a:lnTo>
                    <a:pt x="14" y="87"/>
                  </a:lnTo>
                  <a:lnTo>
                    <a:pt x="16" y="87"/>
                  </a:lnTo>
                  <a:lnTo>
                    <a:pt x="18" y="86"/>
                  </a:lnTo>
                  <a:lnTo>
                    <a:pt x="19" y="84"/>
                  </a:lnTo>
                  <a:lnTo>
                    <a:pt x="19" y="82"/>
                  </a:lnTo>
                  <a:lnTo>
                    <a:pt x="19" y="81"/>
                  </a:lnTo>
                  <a:lnTo>
                    <a:pt x="21" y="79"/>
                  </a:lnTo>
                  <a:lnTo>
                    <a:pt x="24" y="78"/>
                  </a:lnTo>
                  <a:lnTo>
                    <a:pt x="26" y="78"/>
                  </a:lnTo>
                  <a:lnTo>
                    <a:pt x="28" y="78"/>
                  </a:lnTo>
                  <a:lnTo>
                    <a:pt x="29" y="78"/>
                  </a:lnTo>
                  <a:lnTo>
                    <a:pt x="31" y="78"/>
                  </a:lnTo>
                  <a:lnTo>
                    <a:pt x="31" y="76"/>
                  </a:lnTo>
                  <a:lnTo>
                    <a:pt x="31" y="74"/>
                  </a:lnTo>
                  <a:lnTo>
                    <a:pt x="32" y="73"/>
                  </a:lnTo>
                  <a:lnTo>
                    <a:pt x="31" y="71"/>
                  </a:lnTo>
                  <a:lnTo>
                    <a:pt x="31" y="69"/>
                  </a:lnTo>
                  <a:lnTo>
                    <a:pt x="32" y="69"/>
                  </a:lnTo>
                  <a:lnTo>
                    <a:pt x="32" y="68"/>
                  </a:lnTo>
                  <a:lnTo>
                    <a:pt x="32" y="66"/>
                  </a:lnTo>
                  <a:lnTo>
                    <a:pt x="34" y="66"/>
                  </a:lnTo>
                  <a:lnTo>
                    <a:pt x="37" y="68"/>
                  </a:lnTo>
                  <a:lnTo>
                    <a:pt x="41" y="68"/>
                  </a:lnTo>
                  <a:lnTo>
                    <a:pt x="42" y="68"/>
                  </a:lnTo>
                  <a:lnTo>
                    <a:pt x="44" y="66"/>
                  </a:lnTo>
                  <a:lnTo>
                    <a:pt x="47" y="66"/>
                  </a:lnTo>
                  <a:lnTo>
                    <a:pt x="49" y="66"/>
                  </a:lnTo>
                  <a:lnTo>
                    <a:pt x="50" y="66"/>
                  </a:lnTo>
                  <a:lnTo>
                    <a:pt x="52" y="66"/>
                  </a:lnTo>
                  <a:lnTo>
                    <a:pt x="54" y="66"/>
                  </a:lnTo>
                  <a:lnTo>
                    <a:pt x="55" y="66"/>
                  </a:lnTo>
                  <a:lnTo>
                    <a:pt x="55" y="68"/>
                  </a:lnTo>
                  <a:lnTo>
                    <a:pt x="57" y="68"/>
                  </a:lnTo>
                  <a:lnTo>
                    <a:pt x="58" y="69"/>
                  </a:lnTo>
                  <a:lnTo>
                    <a:pt x="60" y="69"/>
                  </a:lnTo>
                  <a:lnTo>
                    <a:pt x="62" y="71"/>
                  </a:lnTo>
                  <a:lnTo>
                    <a:pt x="63" y="71"/>
                  </a:lnTo>
                  <a:lnTo>
                    <a:pt x="63" y="69"/>
                  </a:lnTo>
                  <a:lnTo>
                    <a:pt x="65" y="69"/>
                  </a:lnTo>
                  <a:lnTo>
                    <a:pt x="67" y="69"/>
                  </a:lnTo>
                  <a:lnTo>
                    <a:pt x="68" y="69"/>
                  </a:lnTo>
                  <a:lnTo>
                    <a:pt x="70" y="69"/>
                  </a:lnTo>
                  <a:lnTo>
                    <a:pt x="73" y="71"/>
                  </a:lnTo>
                  <a:lnTo>
                    <a:pt x="75" y="73"/>
                  </a:lnTo>
                  <a:lnTo>
                    <a:pt x="75" y="74"/>
                  </a:lnTo>
                  <a:lnTo>
                    <a:pt x="76" y="76"/>
                  </a:lnTo>
                  <a:lnTo>
                    <a:pt x="76" y="78"/>
                  </a:lnTo>
                  <a:lnTo>
                    <a:pt x="78" y="78"/>
                  </a:lnTo>
                  <a:lnTo>
                    <a:pt x="80" y="76"/>
                  </a:lnTo>
                  <a:lnTo>
                    <a:pt x="81" y="76"/>
                  </a:lnTo>
                  <a:lnTo>
                    <a:pt x="83" y="76"/>
                  </a:lnTo>
                  <a:lnTo>
                    <a:pt x="84" y="76"/>
                  </a:lnTo>
                  <a:lnTo>
                    <a:pt x="88" y="74"/>
                  </a:lnTo>
                  <a:lnTo>
                    <a:pt x="89" y="74"/>
                  </a:lnTo>
                  <a:lnTo>
                    <a:pt x="91" y="76"/>
                  </a:lnTo>
                  <a:lnTo>
                    <a:pt x="93" y="76"/>
                  </a:lnTo>
                  <a:lnTo>
                    <a:pt x="94" y="76"/>
                  </a:lnTo>
                  <a:lnTo>
                    <a:pt x="96" y="76"/>
                  </a:lnTo>
                  <a:lnTo>
                    <a:pt x="97" y="74"/>
                  </a:lnTo>
                  <a:lnTo>
                    <a:pt x="99" y="74"/>
                  </a:lnTo>
                  <a:lnTo>
                    <a:pt x="101" y="74"/>
                  </a:lnTo>
                  <a:lnTo>
                    <a:pt x="104" y="74"/>
                  </a:lnTo>
                  <a:lnTo>
                    <a:pt x="104" y="76"/>
                  </a:lnTo>
                  <a:lnTo>
                    <a:pt x="106" y="76"/>
                  </a:lnTo>
                  <a:lnTo>
                    <a:pt x="107" y="78"/>
                  </a:lnTo>
                  <a:lnTo>
                    <a:pt x="110" y="78"/>
                  </a:lnTo>
                  <a:lnTo>
                    <a:pt x="110" y="76"/>
                  </a:lnTo>
                  <a:lnTo>
                    <a:pt x="112" y="76"/>
                  </a:lnTo>
                  <a:lnTo>
                    <a:pt x="115" y="78"/>
                  </a:lnTo>
                  <a:lnTo>
                    <a:pt x="115" y="79"/>
                  </a:lnTo>
                  <a:lnTo>
                    <a:pt x="117" y="81"/>
                  </a:lnTo>
                  <a:lnTo>
                    <a:pt x="117" y="82"/>
                  </a:lnTo>
                  <a:lnTo>
                    <a:pt x="119" y="82"/>
                  </a:lnTo>
                  <a:lnTo>
                    <a:pt x="120" y="81"/>
                  </a:lnTo>
                  <a:lnTo>
                    <a:pt x="120" y="78"/>
                  </a:lnTo>
                  <a:lnTo>
                    <a:pt x="119" y="76"/>
                  </a:lnTo>
                  <a:lnTo>
                    <a:pt x="119" y="74"/>
                  </a:lnTo>
                  <a:lnTo>
                    <a:pt x="120" y="74"/>
                  </a:lnTo>
                  <a:lnTo>
                    <a:pt x="122" y="73"/>
                  </a:lnTo>
                  <a:lnTo>
                    <a:pt x="123" y="73"/>
                  </a:lnTo>
                  <a:lnTo>
                    <a:pt x="125" y="73"/>
                  </a:lnTo>
                  <a:lnTo>
                    <a:pt x="127" y="73"/>
                  </a:lnTo>
                  <a:lnTo>
                    <a:pt x="127" y="71"/>
                  </a:lnTo>
                  <a:lnTo>
                    <a:pt x="128" y="71"/>
                  </a:lnTo>
                  <a:lnTo>
                    <a:pt x="128" y="69"/>
                  </a:lnTo>
                  <a:lnTo>
                    <a:pt x="130" y="69"/>
                  </a:lnTo>
                  <a:lnTo>
                    <a:pt x="130" y="68"/>
                  </a:lnTo>
                  <a:lnTo>
                    <a:pt x="132" y="66"/>
                  </a:lnTo>
                  <a:lnTo>
                    <a:pt x="132" y="65"/>
                  </a:lnTo>
                  <a:lnTo>
                    <a:pt x="133" y="65"/>
                  </a:lnTo>
                  <a:lnTo>
                    <a:pt x="133" y="63"/>
                  </a:lnTo>
                  <a:lnTo>
                    <a:pt x="135" y="65"/>
                  </a:lnTo>
                  <a:lnTo>
                    <a:pt x="136" y="63"/>
                  </a:lnTo>
                  <a:lnTo>
                    <a:pt x="138" y="63"/>
                  </a:lnTo>
                  <a:lnTo>
                    <a:pt x="141" y="63"/>
                  </a:lnTo>
                  <a:lnTo>
                    <a:pt x="141" y="61"/>
                  </a:lnTo>
                  <a:lnTo>
                    <a:pt x="141" y="60"/>
                  </a:lnTo>
                  <a:lnTo>
                    <a:pt x="143" y="60"/>
                  </a:lnTo>
                  <a:lnTo>
                    <a:pt x="141" y="58"/>
                  </a:lnTo>
                  <a:lnTo>
                    <a:pt x="143" y="58"/>
                  </a:lnTo>
                  <a:lnTo>
                    <a:pt x="143" y="56"/>
                  </a:lnTo>
                  <a:lnTo>
                    <a:pt x="143" y="53"/>
                  </a:lnTo>
                  <a:lnTo>
                    <a:pt x="145" y="52"/>
                  </a:lnTo>
                  <a:lnTo>
                    <a:pt x="145" y="50"/>
                  </a:lnTo>
                  <a:lnTo>
                    <a:pt x="145" y="48"/>
                  </a:lnTo>
                  <a:lnTo>
                    <a:pt x="146" y="48"/>
                  </a:lnTo>
                  <a:lnTo>
                    <a:pt x="146" y="47"/>
                  </a:lnTo>
                  <a:lnTo>
                    <a:pt x="148" y="47"/>
                  </a:lnTo>
                  <a:lnTo>
                    <a:pt x="149" y="48"/>
                  </a:lnTo>
                  <a:lnTo>
                    <a:pt x="151" y="48"/>
                  </a:lnTo>
                  <a:lnTo>
                    <a:pt x="151" y="47"/>
                  </a:lnTo>
                  <a:lnTo>
                    <a:pt x="151" y="45"/>
                  </a:lnTo>
                  <a:lnTo>
                    <a:pt x="153" y="45"/>
                  </a:lnTo>
                  <a:lnTo>
                    <a:pt x="154" y="45"/>
                  </a:lnTo>
                  <a:lnTo>
                    <a:pt x="154" y="48"/>
                  </a:lnTo>
                  <a:lnTo>
                    <a:pt x="156" y="48"/>
                  </a:lnTo>
                  <a:lnTo>
                    <a:pt x="158" y="47"/>
                  </a:lnTo>
                  <a:lnTo>
                    <a:pt x="158" y="45"/>
                  </a:lnTo>
                  <a:lnTo>
                    <a:pt x="159" y="43"/>
                  </a:lnTo>
                  <a:lnTo>
                    <a:pt x="161" y="42"/>
                  </a:lnTo>
                  <a:lnTo>
                    <a:pt x="162" y="40"/>
                  </a:lnTo>
                  <a:lnTo>
                    <a:pt x="164" y="40"/>
                  </a:lnTo>
                  <a:lnTo>
                    <a:pt x="166" y="40"/>
                  </a:lnTo>
                  <a:lnTo>
                    <a:pt x="166" y="42"/>
                  </a:lnTo>
                  <a:lnTo>
                    <a:pt x="167" y="42"/>
                  </a:lnTo>
                  <a:lnTo>
                    <a:pt x="169" y="40"/>
                  </a:lnTo>
                  <a:lnTo>
                    <a:pt x="169" y="39"/>
                  </a:lnTo>
                  <a:lnTo>
                    <a:pt x="171" y="39"/>
                  </a:lnTo>
                  <a:lnTo>
                    <a:pt x="172" y="39"/>
                  </a:lnTo>
                  <a:lnTo>
                    <a:pt x="174" y="39"/>
                  </a:lnTo>
                  <a:lnTo>
                    <a:pt x="176" y="39"/>
                  </a:lnTo>
                  <a:lnTo>
                    <a:pt x="177" y="39"/>
                  </a:lnTo>
                  <a:lnTo>
                    <a:pt x="177" y="40"/>
                  </a:lnTo>
                  <a:lnTo>
                    <a:pt x="179" y="40"/>
                  </a:lnTo>
                  <a:lnTo>
                    <a:pt x="182" y="40"/>
                  </a:lnTo>
                  <a:lnTo>
                    <a:pt x="184" y="40"/>
                  </a:lnTo>
                  <a:lnTo>
                    <a:pt x="185" y="40"/>
                  </a:lnTo>
                  <a:lnTo>
                    <a:pt x="187" y="39"/>
                  </a:lnTo>
                  <a:lnTo>
                    <a:pt x="189" y="39"/>
                  </a:lnTo>
                  <a:lnTo>
                    <a:pt x="190" y="39"/>
                  </a:lnTo>
                  <a:lnTo>
                    <a:pt x="192" y="39"/>
                  </a:lnTo>
                  <a:lnTo>
                    <a:pt x="193" y="39"/>
                  </a:lnTo>
                  <a:lnTo>
                    <a:pt x="198" y="37"/>
                  </a:lnTo>
                  <a:lnTo>
                    <a:pt x="200" y="37"/>
                  </a:lnTo>
                  <a:lnTo>
                    <a:pt x="200" y="39"/>
                  </a:lnTo>
                  <a:lnTo>
                    <a:pt x="202" y="39"/>
                  </a:lnTo>
                  <a:lnTo>
                    <a:pt x="205" y="42"/>
                  </a:lnTo>
                  <a:lnTo>
                    <a:pt x="206" y="42"/>
                  </a:lnTo>
                  <a:lnTo>
                    <a:pt x="208" y="42"/>
                  </a:lnTo>
                  <a:lnTo>
                    <a:pt x="210" y="42"/>
                  </a:lnTo>
                  <a:lnTo>
                    <a:pt x="210" y="40"/>
                  </a:lnTo>
                  <a:lnTo>
                    <a:pt x="211" y="40"/>
                  </a:lnTo>
                  <a:lnTo>
                    <a:pt x="211" y="39"/>
                  </a:lnTo>
                  <a:lnTo>
                    <a:pt x="213" y="37"/>
                  </a:lnTo>
                  <a:lnTo>
                    <a:pt x="211" y="34"/>
                  </a:lnTo>
                  <a:lnTo>
                    <a:pt x="213" y="34"/>
                  </a:lnTo>
                  <a:lnTo>
                    <a:pt x="215" y="32"/>
                  </a:lnTo>
                  <a:lnTo>
                    <a:pt x="216" y="32"/>
                  </a:lnTo>
                  <a:lnTo>
                    <a:pt x="216" y="30"/>
                  </a:lnTo>
                  <a:lnTo>
                    <a:pt x="218" y="30"/>
                  </a:lnTo>
                  <a:lnTo>
                    <a:pt x="219" y="30"/>
                  </a:lnTo>
                  <a:lnTo>
                    <a:pt x="221" y="30"/>
                  </a:lnTo>
                  <a:lnTo>
                    <a:pt x="221" y="29"/>
                  </a:lnTo>
                  <a:lnTo>
                    <a:pt x="223" y="29"/>
                  </a:lnTo>
                  <a:lnTo>
                    <a:pt x="224" y="27"/>
                  </a:lnTo>
                  <a:lnTo>
                    <a:pt x="226" y="29"/>
                  </a:lnTo>
                  <a:lnTo>
                    <a:pt x="228" y="29"/>
                  </a:lnTo>
                  <a:lnTo>
                    <a:pt x="229" y="29"/>
                  </a:lnTo>
                  <a:lnTo>
                    <a:pt x="231" y="29"/>
                  </a:lnTo>
                  <a:lnTo>
                    <a:pt x="232" y="29"/>
                  </a:lnTo>
                  <a:lnTo>
                    <a:pt x="234" y="29"/>
                  </a:lnTo>
                  <a:lnTo>
                    <a:pt x="234" y="27"/>
                  </a:lnTo>
                  <a:lnTo>
                    <a:pt x="236" y="26"/>
                  </a:lnTo>
                  <a:lnTo>
                    <a:pt x="237" y="26"/>
                  </a:lnTo>
                  <a:lnTo>
                    <a:pt x="239" y="24"/>
                  </a:lnTo>
                  <a:lnTo>
                    <a:pt x="242" y="24"/>
                  </a:lnTo>
                  <a:lnTo>
                    <a:pt x="244" y="24"/>
                  </a:lnTo>
                  <a:lnTo>
                    <a:pt x="245" y="26"/>
                  </a:lnTo>
                  <a:lnTo>
                    <a:pt x="247" y="26"/>
                  </a:lnTo>
                  <a:lnTo>
                    <a:pt x="250" y="27"/>
                  </a:lnTo>
                  <a:lnTo>
                    <a:pt x="250" y="29"/>
                  </a:lnTo>
                  <a:lnTo>
                    <a:pt x="252" y="29"/>
                  </a:lnTo>
                  <a:lnTo>
                    <a:pt x="254" y="29"/>
                  </a:lnTo>
                  <a:lnTo>
                    <a:pt x="255" y="29"/>
                  </a:lnTo>
                  <a:lnTo>
                    <a:pt x="257" y="29"/>
                  </a:lnTo>
                  <a:lnTo>
                    <a:pt x="257" y="30"/>
                  </a:lnTo>
                  <a:lnTo>
                    <a:pt x="257" y="32"/>
                  </a:lnTo>
                  <a:lnTo>
                    <a:pt x="258" y="32"/>
                  </a:lnTo>
                  <a:lnTo>
                    <a:pt x="260" y="32"/>
                  </a:lnTo>
                  <a:lnTo>
                    <a:pt x="262" y="32"/>
                  </a:lnTo>
                  <a:lnTo>
                    <a:pt x="260" y="29"/>
                  </a:lnTo>
                  <a:lnTo>
                    <a:pt x="258" y="24"/>
                  </a:lnTo>
                  <a:lnTo>
                    <a:pt x="257" y="24"/>
                  </a:lnTo>
                  <a:lnTo>
                    <a:pt x="255" y="24"/>
                  </a:lnTo>
                  <a:lnTo>
                    <a:pt x="255" y="22"/>
                  </a:lnTo>
                  <a:lnTo>
                    <a:pt x="254" y="19"/>
                  </a:lnTo>
                  <a:lnTo>
                    <a:pt x="254" y="16"/>
                  </a:lnTo>
                  <a:lnTo>
                    <a:pt x="255" y="14"/>
                  </a:lnTo>
                  <a:lnTo>
                    <a:pt x="254" y="13"/>
                  </a:lnTo>
                  <a:lnTo>
                    <a:pt x="254" y="11"/>
                  </a:lnTo>
                  <a:lnTo>
                    <a:pt x="254" y="9"/>
                  </a:lnTo>
                  <a:lnTo>
                    <a:pt x="255" y="8"/>
                  </a:lnTo>
                  <a:lnTo>
                    <a:pt x="257" y="8"/>
                  </a:lnTo>
                  <a:lnTo>
                    <a:pt x="258" y="6"/>
                  </a:lnTo>
                  <a:lnTo>
                    <a:pt x="260" y="6"/>
                  </a:lnTo>
                  <a:lnTo>
                    <a:pt x="263" y="3"/>
                  </a:lnTo>
                  <a:lnTo>
                    <a:pt x="265" y="3"/>
                  </a:lnTo>
                  <a:lnTo>
                    <a:pt x="267" y="1"/>
                  </a:lnTo>
                  <a:lnTo>
                    <a:pt x="267" y="3"/>
                  </a:lnTo>
                  <a:lnTo>
                    <a:pt x="268" y="3"/>
                  </a:lnTo>
                  <a:lnTo>
                    <a:pt x="270" y="3"/>
                  </a:lnTo>
                  <a:lnTo>
                    <a:pt x="271" y="3"/>
                  </a:lnTo>
                  <a:lnTo>
                    <a:pt x="273" y="1"/>
                  </a:lnTo>
                  <a:lnTo>
                    <a:pt x="275" y="0"/>
                  </a:lnTo>
                  <a:lnTo>
                    <a:pt x="276" y="0"/>
                  </a:lnTo>
                  <a:lnTo>
                    <a:pt x="278" y="0"/>
                  </a:lnTo>
                  <a:lnTo>
                    <a:pt x="283" y="0"/>
                  </a:lnTo>
                  <a:close/>
                  <a:moveTo>
                    <a:pt x="28" y="216"/>
                  </a:moveTo>
                  <a:lnTo>
                    <a:pt x="28" y="214"/>
                  </a:lnTo>
                  <a:lnTo>
                    <a:pt x="28" y="216"/>
                  </a:lnTo>
                  <a:close/>
                </a:path>
              </a:pathLst>
            </a:custGeom>
            <a:solidFill>
              <a:srgbClr val="1EC08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1214" name="Freeform 60">
              <a:extLst>
                <a:ext uri="{FF2B5EF4-FFF2-40B4-BE49-F238E27FC236}">
                  <a16:creationId xmlns:a16="http://schemas.microsoft.com/office/drawing/2014/main" id="{ABEB103E-1428-8A25-4FB5-B5D2E47DBD92}"/>
                </a:ext>
              </a:extLst>
            </p:cNvPr>
            <p:cNvSpPr>
              <a:spLocks/>
            </p:cNvSpPr>
            <p:nvPr/>
          </p:nvSpPr>
          <p:spPr bwMode="auto">
            <a:xfrm>
              <a:off x="4858" y="3745"/>
              <a:ext cx="525" cy="289"/>
            </a:xfrm>
            <a:custGeom>
              <a:avLst/>
              <a:gdLst>
                <a:gd name="T0" fmla="*/ 246 w 525"/>
                <a:gd name="T1" fmla="*/ 29 h 289"/>
                <a:gd name="T2" fmla="*/ 263 w 525"/>
                <a:gd name="T3" fmla="*/ 40 h 289"/>
                <a:gd name="T4" fmla="*/ 267 w 525"/>
                <a:gd name="T5" fmla="*/ 58 h 289"/>
                <a:gd name="T6" fmla="*/ 293 w 525"/>
                <a:gd name="T7" fmla="*/ 55 h 289"/>
                <a:gd name="T8" fmla="*/ 299 w 525"/>
                <a:gd name="T9" fmla="*/ 34 h 289"/>
                <a:gd name="T10" fmla="*/ 316 w 525"/>
                <a:gd name="T11" fmla="*/ 23 h 289"/>
                <a:gd name="T12" fmla="*/ 342 w 525"/>
                <a:gd name="T13" fmla="*/ 19 h 289"/>
                <a:gd name="T14" fmla="*/ 355 w 525"/>
                <a:gd name="T15" fmla="*/ 23 h 289"/>
                <a:gd name="T16" fmla="*/ 364 w 525"/>
                <a:gd name="T17" fmla="*/ 27 h 289"/>
                <a:gd name="T18" fmla="*/ 381 w 525"/>
                <a:gd name="T19" fmla="*/ 14 h 289"/>
                <a:gd name="T20" fmla="*/ 400 w 525"/>
                <a:gd name="T21" fmla="*/ 3 h 289"/>
                <a:gd name="T22" fmla="*/ 424 w 525"/>
                <a:gd name="T23" fmla="*/ 1 h 289"/>
                <a:gd name="T24" fmla="*/ 452 w 525"/>
                <a:gd name="T25" fmla="*/ 6 h 289"/>
                <a:gd name="T26" fmla="*/ 477 w 525"/>
                <a:gd name="T27" fmla="*/ 26 h 289"/>
                <a:gd name="T28" fmla="*/ 506 w 525"/>
                <a:gd name="T29" fmla="*/ 32 h 289"/>
                <a:gd name="T30" fmla="*/ 524 w 525"/>
                <a:gd name="T31" fmla="*/ 39 h 289"/>
                <a:gd name="T32" fmla="*/ 514 w 525"/>
                <a:gd name="T33" fmla="*/ 81 h 289"/>
                <a:gd name="T34" fmla="*/ 506 w 525"/>
                <a:gd name="T35" fmla="*/ 107 h 289"/>
                <a:gd name="T36" fmla="*/ 496 w 525"/>
                <a:gd name="T37" fmla="*/ 143 h 289"/>
                <a:gd name="T38" fmla="*/ 477 w 525"/>
                <a:gd name="T39" fmla="*/ 149 h 289"/>
                <a:gd name="T40" fmla="*/ 455 w 525"/>
                <a:gd name="T41" fmla="*/ 145 h 289"/>
                <a:gd name="T42" fmla="*/ 434 w 525"/>
                <a:gd name="T43" fmla="*/ 125 h 289"/>
                <a:gd name="T44" fmla="*/ 420 w 525"/>
                <a:gd name="T45" fmla="*/ 133 h 289"/>
                <a:gd name="T46" fmla="*/ 400 w 525"/>
                <a:gd name="T47" fmla="*/ 138 h 289"/>
                <a:gd name="T48" fmla="*/ 377 w 525"/>
                <a:gd name="T49" fmla="*/ 136 h 289"/>
                <a:gd name="T50" fmla="*/ 346 w 525"/>
                <a:gd name="T51" fmla="*/ 145 h 289"/>
                <a:gd name="T52" fmla="*/ 337 w 525"/>
                <a:gd name="T53" fmla="*/ 171 h 289"/>
                <a:gd name="T54" fmla="*/ 319 w 525"/>
                <a:gd name="T55" fmla="*/ 190 h 289"/>
                <a:gd name="T56" fmla="*/ 299 w 525"/>
                <a:gd name="T57" fmla="*/ 206 h 289"/>
                <a:gd name="T58" fmla="*/ 285 w 525"/>
                <a:gd name="T59" fmla="*/ 208 h 289"/>
                <a:gd name="T60" fmla="*/ 267 w 525"/>
                <a:gd name="T61" fmla="*/ 197 h 289"/>
                <a:gd name="T62" fmla="*/ 257 w 525"/>
                <a:gd name="T63" fmla="*/ 216 h 289"/>
                <a:gd name="T64" fmla="*/ 246 w 525"/>
                <a:gd name="T65" fmla="*/ 223 h 289"/>
                <a:gd name="T66" fmla="*/ 224 w 525"/>
                <a:gd name="T67" fmla="*/ 227 h 289"/>
                <a:gd name="T68" fmla="*/ 211 w 525"/>
                <a:gd name="T69" fmla="*/ 229 h 289"/>
                <a:gd name="T70" fmla="*/ 194 w 525"/>
                <a:gd name="T71" fmla="*/ 236 h 289"/>
                <a:gd name="T72" fmla="*/ 190 w 525"/>
                <a:gd name="T73" fmla="*/ 254 h 289"/>
                <a:gd name="T74" fmla="*/ 194 w 525"/>
                <a:gd name="T75" fmla="*/ 268 h 289"/>
                <a:gd name="T76" fmla="*/ 166 w 525"/>
                <a:gd name="T77" fmla="*/ 280 h 289"/>
                <a:gd name="T78" fmla="*/ 122 w 525"/>
                <a:gd name="T79" fmla="*/ 284 h 289"/>
                <a:gd name="T80" fmla="*/ 89 w 525"/>
                <a:gd name="T81" fmla="*/ 286 h 289"/>
                <a:gd name="T82" fmla="*/ 67 w 525"/>
                <a:gd name="T83" fmla="*/ 273 h 289"/>
                <a:gd name="T84" fmla="*/ 46 w 525"/>
                <a:gd name="T85" fmla="*/ 258 h 289"/>
                <a:gd name="T86" fmla="*/ 28 w 525"/>
                <a:gd name="T87" fmla="*/ 250 h 289"/>
                <a:gd name="T88" fmla="*/ 11 w 525"/>
                <a:gd name="T89" fmla="*/ 226 h 289"/>
                <a:gd name="T90" fmla="*/ 3 w 525"/>
                <a:gd name="T91" fmla="*/ 211 h 289"/>
                <a:gd name="T92" fmla="*/ 3 w 525"/>
                <a:gd name="T93" fmla="*/ 192 h 289"/>
                <a:gd name="T94" fmla="*/ 7 w 525"/>
                <a:gd name="T95" fmla="*/ 175 h 289"/>
                <a:gd name="T96" fmla="*/ 15 w 525"/>
                <a:gd name="T97" fmla="*/ 153 h 289"/>
                <a:gd name="T98" fmla="*/ 31 w 525"/>
                <a:gd name="T99" fmla="*/ 133 h 289"/>
                <a:gd name="T100" fmla="*/ 54 w 525"/>
                <a:gd name="T101" fmla="*/ 136 h 289"/>
                <a:gd name="T102" fmla="*/ 76 w 525"/>
                <a:gd name="T103" fmla="*/ 128 h 289"/>
                <a:gd name="T104" fmla="*/ 93 w 525"/>
                <a:gd name="T105" fmla="*/ 109 h 289"/>
                <a:gd name="T106" fmla="*/ 109 w 525"/>
                <a:gd name="T107" fmla="*/ 91 h 289"/>
                <a:gd name="T108" fmla="*/ 115 w 525"/>
                <a:gd name="T109" fmla="*/ 63 h 289"/>
                <a:gd name="T110" fmla="*/ 138 w 525"/>
                <a:gd name="T111" fmla="*/ 44 h 289"/>
                <a:gd name="T112" fmla="*/ 158 w 525"/>
                <a:gd name="T113" fmla="*/ 29 h 289"/>
                <a:gd name="T114" fmla="*/ 184 w 525"/>
                <a:gd name="T115" fmla="*/ 29 h 289"/>
                <a:gd name="T116" fmla="*/ 195 w 525"/>
                <a:gd name="T117" fmla="*/ 37 h 289"/>
                <a:gd name="T118" fmla="*/ 207 w 525"/>
                <a:gd name="T119" fmla="*/ 26 h 289"/>
                <a:gd name="T120" fmla="*/ 223 w 525"/>
                <a:gd name="T121" fmla="*/ 6 h 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25" h="289">
                  <a:moveTo>
                    <a:pt x="231" y="8"/>
                  </a:moveTo>
                  <a:lnTo>
                    <a:pt x="233" y="10"/>
                  </a:lnTo>
                  <a:lnTo>
                    <a:pt x="234" y="10"/>
                  </a:lnTo>
                  <a:lnTo>
                    <a:pt x="234" y="11"/>
                  </a:lnTo>
                  <a:lnTo>
                    <a:pt x="234" y="14"/>
                  </a:lnTo>
                  <a:lnTo>
                    <a:pt x="236" y="18"/>
                  </a:lnTo>
                  <a:lnTo>
                    <a:pt x="237" y="19"/>
                  </a:lnTo>
                  <a:lnTo>
                    <a:pt x="241" y="26"/>
                  </a:lnTo>
                  <a:lnTo>
                    <a:pt x="242" y="24"/>
                  </a:lnTo>
                  <a:lnTo>
                    <a:pt x="244" y="24"/>
                  </a:lnTo>
                  <a:lnTo>
                    <a:pt x="244" y="26"/>
                  </a:lnTo>
                  <a:lnTo>
                    <a:pt x="246" y="24"/>
                  </a:lnTo>
                  <a:lnTo>
                    <a:pt x="246" y="26"/>
                  </a:lnTo>
                  <a:lnTo>
                    <a:pt x="246" y="27"/>
                  </a:lnTo>
                  <a:lnTo>
                    <a:pt x="247" y="27"/>
                  </a:lnTo>
                  <a:lnTo>
                    <a:pt x="246" y="29"/>
                  </a:lnTo>
                  <a:lnTo>
                    <a:pt x="246" y="31"/>
                  </a:lnTo>
                  <a:lnTo>
                    <a:pt x="247" y="31"/>
                  </a:lnTo>
                  <a:lnTo>
                    <a:pt x="250" y="31"/>
                  </a:lnTo>
                  <a:lnTo>
                    <a:pt x="252" y="32"/>
                  </a:lnTo>
                  <a:lnTo>
                    <a:pt x="254" y="32"/>
                  </a:lnTo>
                  <a:lnTo>
                    <a:pt x="255" y="32"/>
                  </a:lnTo>
                  <a:lnTo>
                    <a:pt x="257" y="31"/>
                  </a:lnTo>
                  <a:lnTo>
                    <a:pt x="257" y="29"/>
                  </a:lnTo>
                  <a:lnTo>
                    <a:pt x="259" y="29"/>
                  </a:lnTo>
                  <a:lnTo>
                    <a:pt x="260" y="29"/>
                  </a:lnTo>
                  <a:lnTo>
                    <a:pt x="262" y="34"/>
                  </a:lnTo>
                  <a:lnTo>
                    <a:pt x="262" y="36"/>
                  </a:lnTo>
                  <a:lnTo>
                    <a:pt x="263" y="36"/>
                  </a:lnTo>
                  <a:lnTo>
                    <a:pt x="262" y="37"/>
                  </a:lnTo>
                  <a:lnTo>
                    <a:pt x="262" y="39"/>
                  </a:lnTo>
                  <a:lnTo>
                    <a:pt x="263" y="40"/>
                  </a:lnTo>
                  <a:lnTo>
                    <a:pt x="263" y="42"/>
                  </a:lnTo>
                  <a:lnTo>
                    <a:pt x="263" y="44"/>
                  </a:lnTo>
                  <a:lnTo>
                    <a:pt x="263" y="45"/>
                  </a:lnTo>
                  <a:lnTo>
                    <a:pt x="265" y="45"/>
                  </a:lnTo>
                  <a:lnTo>
                    <a:pt x="265" y="47"/>
                  </a:lnTo>
                  <a:lnTo>
                    <a:pt x="265" y="49"/>
                  </a:lnTo>
                  <a:lnTo>
                    <a:pt x="263" y="49"/>
                  </a:lnTo>
                  <a:lnTo>
                    <a:pt x="263" y="50"/>
                  </a:lnTo>
                  <a:lnTo>
                    <a:pt x="263" y="52"/>
                  </a:lnTo>
                  <a:lnTo>
                    <a:pt x="262" y="53"/>
                  </a:lnTo>
                  <a:lnTo>
                    <a:pt x="262" y="55"/>
                  </a:lnTo>
                  <a:lnTo>
                    <a:pt x="262" y="57"/>
                  </a:lnTo>
                  <a:lnTo>
                    <a:pt x="262" y="58"/>
                  </a:lnTo>
                  <a:lnTo>
                    <a:pt x="263" y="58"/>
                  </a:lnTo>
                  <a:lnTo>
                    <a:pt x="265" y="58"/>
                  </a:lnTo>
                  <a:lnTo>
                    <a:pt x="267" y="58"/>
                  </a:lnTo>
                  <a:lnTo>
                    <a:pt x="270" y="58"/>
                  </a:lnTo>
                  <a:lnTo>
                    <a:pt x="272" y="58"/>
                  </a:lnTo>
                  <a:lnTo>
                    <a:pt x="275" y="57"/>
                  </a:lnTo>
                  <a:lnTo>
                    <a:pt x="275" y="55"/>
                  </a:lnTo>
                  <a:lnTo>
                    <a:pt x="275" y="53"/>
                  </a:lnTo>
                  <a:lnTo>
                    <a:pt x="276" y="52"/>
                  </a:lnTo>
                  <a:lnTo>
                    <a:pt x="278" y="52"/>
                  </a:lnTo>
                  <a:lnTo>
                    <a:pt x="281" y="52"/>
                  </a:lnTo>
                  <a:lnTo>
                    <a:pt x="285" y="53"/>
                  </a:lnTo>
                  <a:lnTo>
                    <a:pt x="285" y="55"/>
                  </a:lnTo>
                  <a:lnTo>
                    <a:pt x="286" y="55"/>
                  </a:lnTo>
                  <a:lnTo>
                    <a:pt x="288" y="57"/>
                  </a:lnTo>
                  <a:lnTo>
                    <a:pt x="289" y="57"/>
                  </a:lnTo>
                  <a:lnTo>
                    <a:pt x="291" y="58"/>
                  </a:lnTo>
                  <a:lnTo>
                    <a:pt x="293" y="58"/>
                  </a:lnTo>
                  <a:lnTo>
                    <a:pt x="293" y="55"/>
                  </a:lnTo>
                  <a:lnTo>
                    <a:pt x="293" y="53"/>
                  </a:lnTo>
                  <a:lnTo>
                    <a:pt x="293" y="52"/>
                  </a:lnTo>
                  <a:lnTo>
                    <a:pt x="293" y="50"/>
                  </a:lnTo>
                  <a:lnTo>
                    <a:pt x="293" y="49"/>
                  </a:lnTo>
                  <a:lnTo>
                    <a:pt x="293" y="47"/>
                  </a:lnTo>
                  <a:lnTo>
                    <a:pt x="294" y="45"/>
                  </a:lnTo>
                  <a:lnTo>
                    <a:pt x="294" y="44"/>
                  </a:lnTo>
                  <a:lnTo>
                    <a:pt x="294" y="42"/>
                  </a:lnTo>
                  <a:lnTo>
                    <a:pt x="294" y="40"/>
                  </a:lnTo>
                  <a:lnTo>
                    <a:pt x="294" y="39"/>
                  </a:lnTo>
                  <a:lnTo>
                    <a:pt x="296" y="37"/>
                  </a:lnTo>
                  <a:lnTo>
                    <a:pt x="296" y="39"/>
                  </a:lnTo>
                  <a:lnTo>
                    <a:pt x="298" y="39"/>
                  </a:lnTo>
                  <a:lnTo>
                    <a:pt x="298" y="37"/>
                  </a:lnTo>
                  <a:lnTo>
                    <a:pt x="298" y="36"/>
                  </a:lnTo>
                  <a:lnTo>
                    <a:pt x="299" y="34"/>
                  </a:lnTo>
                  <a:lnTo>
                    <a:pt x="301" y="32"/>
                  </a:lnTo>
                  <a:lnTo>
                    <a:pt x="303" y="32"/>
                  </a:lnTo>
                  <a:lnTo>
                    <a:pt x="304" y="32"/>
                  </a:lnTo>
                  <a:lnTo>
                    <a:pt x="306" y="32"/>
                  </a:lnTo>
                  <a:lnTo>
                    <a:pt x="307" y="31"/>
                  </a:lnTo>
                  <a:lnTo>
                    <a:pt x="311" y="31"/>
                  </a:lnTo>
                  <a:lnTo>
                    <a:pt x="311" y="29"/>
                  </a:lnTo>
                  <a:lnTo>
                    <a:pt x="311" y="26"/>
                  </a:lnTo>
                  <a:lnTo>
                    <a:pt x="311" y="24"/>
                  </a:lnTo>
                  <a:lnTo>
                    <a:pt x="309" y="24"/>
                  </a:lnTo>
                  <a:lnTo>
                    <a:pt x="311" y="23"/>
                  </a:lnTo>
                  <a:lnTo>
                    <a:pt x="312" y="23"/>
                  </a:lnTo>
                  <a:lnTo>
                    <a:pt x="314" y="23"/>
                  </a:lnTo>
                  <a:lnTo>
                    <a:pt x="314" y="21"/>
                  </a:lnTo>
                  <a:lnTo>
                    <a:pt x="316" y="21"/>
                  </a:lnTo>
                  <a:lnTo>
                    <a:pt x="316" y="23"/>
                  </a:lnTo>
                  <a:lnTo>
                    <a:pt x="317" y="23"/>
                  </a:lnTo>
                  <a:lnTo>
                    <a:pt x="320" y="21"/>
                  </a:lnTo>
                  <a:lnTo>
                    <a:pt x="322" y="19"/>
                  </a:lnTo>
                  <a:lnTo>
                    <a:pt x="324" y="19"/>
                  </a:lnTo>
                  <a:lnTo>
                    <a:pt x="327" y="21"/>
                  </a:lnTo>
                  <a:lnTo>
                    <a:pt x="329" y="23"/>
                  </a:lnTo>
                  <a:lnTo>
                    <a:pt x="330" y="23"/>
                  </a:lnTo>
                  <a:lnTo>
                    <a:pt x="333" y="24"/>
                  </a:lnTo>
                  <a:lnTo>
                    <a:pt x="333" y="23"/>
                  </a:lnTo>
                  <a:lnTo>
                    <a:pt x="335" y="23"/>
                  </a:lnTo>
                  <a:lnTo>
                    <a:pt x="335" y="21"/>
                  </a:lnTo>
                  <a:lnTo>
                    <a:pt x="337" y="19"/>
                  </a:lnTo>
                  <a:lnTo>
                    <a:pt x="337" y="18"/>
                  </a:lnTo>
                  <a:lnTo>
                    <a:pt x="338" y="18"/>
                  </a:lnTo>
                  <a:lnTo>
                    <a:pt x="340" y="19"/>
                  </a:lnTo>
                  <a:lnTo>
                    <a:pt x="342" y="19"/>
                  </a:lnTo>
                  <a:lnTo>
                    <a:pt x="342" y="18"/>
                  </a:lnTo>
                  <a:lnTo>
                    <a:pt x="343" y="16"/>
                  </a:lnTo>
                  <a:lnTo>
                    <a:pt x="345" y="16"/>
                  </a:lnTo>
                  <a:lnTo>
                    <a:pt x="346" y="16"/>
                  </a:lnTo>
                  <a:lnTo>
                    <a:pt x="348" y="16"/>
                  </a:lnTo>
                  <a:lnTo>
                    <a:pt x="350" y="16"/>
                  </a:lnTo>
                  <a:lnTo>
                    <a:pt x="348" y="18"/>
                  </a:lnTo>
                  <a:lnTo>
                    <a:pt x="350" y="18"/>
                  </a:lnTo>
                  <a:lnTo>
                    <a:pt x="350" y="19"/>
                  </a:lnTo>
                  <a:lnTo>
                    <a:pt x="351" y="19"/>
                  </a:lnTo>
                  <a:lnTo>
                    <a:pt x="351" y="21"/>
                  </a:lnTo>
                  <a:lnTo>
                    <a:pt x="351" y="23"/>
                  </a:lnTo>
                  <a:lnTo>
                    <a:pt x="353" y="21"/>
                  </a:lnTo>
                  <a:lnTo>
                    <a:pt x="355" y="21"/>
                  </a:lnTo>
                  <a:lnTo>
                    <a:pt x="353" y="23"/>
                  </a:lnTo>
                  <a:lnTo>
                    <a:pt x="355" y="23"/>
                  </a:lnTo>
                  <a:lnTo>
                    <a:pt x="356" y="23"/>
                  </a:lnTo>
                  <a:lnTo>
                    <a:pt x="356" y="24"/>
                  </a:lnTo>
                  <a:lnTo>
                    <a:pt x="356" y="23"/>
                  </a:lnTo>
                  <a:lnTo>
                    <a:pt x="355" y="23"/>
                  </a:lnTo>
                  <a:lnTo>
                    <a:pt x="355" y="24"/>
                  </a:lnTo>
                  <a:lnTo>
                    <a:pt x="355" y="26"/>
                  </a:lnTo>
                  <a:lnTo>
                    <a:pt x="356" y="26"/>
                  </a:lnTo>
                  <a:lnTo>
                    <a:pt x="356" y="24"/>
                  </a:lnTo>
                  <a:lnTo>
                    <a:pt x="356" y="26"/>
                  </a:lnTo>
                  <a:lnTo>
                    <a:pt x="358" y="26"/>
                  </a:lnTo>
                  <a:lnTo>
                    <a:pt x="359" y="26"/>
                  </a:lnTo>
                  <a:lnTo>
                    <a:pt x="359" y="24"/>
                  </a:lnTo>
                  <a:lnTo>
                    <a:pt x="361" y="24"/>
                  </a:lnTo>
                  <a:lnTo>
                    <a:pt x="363" y="26"/>
                  </a:lnTo>
                  <a:lnTo>
                    <a:pt x="363" y="27"/>
                  </a:lnTo>
                  <a:lnTo>
                    <a:pt x="364" y="27"/>
                  </a:lnTo>
                  <a:lnTo>
                    <a:pt x="366" y="31"/>
                  </a:lnTo>
                  <a:lnTo>
                    <a:pt x="369" y="31"/>
                  </a:lnTo>
                  <a:lnTo>
                    <a:pt x="371" y="29"/>
                  </a:lnTo>
                  <a:lnTo>
                    <a:pt x="372" y="29"/>
                  </a:lnTo>
                  <a:lnTo>
                    <a:pt x="374" y="27"/>
                  </a:lnTo>
                  <a:lnTo>
                    <a:pt x="374" y="26"/>
                  </a:lnTo>
                  <a:lnTo>
                    <a:pt x="374" y="24"/>
                  </a:lnTo>
                  <a:lnTo>
                    <a:pt x="374" y="23"/>
                  </a:lnTo>
                  <a:lnTo>
                    <a:pt x="376" y="21"/>
                  </a:lnTo>
                  <a:lnTo>
                    <a:pt x="376" y="19"/>
                  </a:lnTo>
                  <a:lnTo>
                    <a:pt x="377" y="19"/>
                  </a:lnTo>
                  <a:lnTo>
                    <a:pt x="379" y="19"/>
                  </a:lnTo>
                  <a:lnTo>
                    <a:pt x="381" y="19"/>
                  </a:lnTo>
                  <a:lnTo>
                    <a:pt x="382" y="18"/>
                  </a:lnTo>
                  <a:lnTo>
                    <a:pt x="382" y="16"/>
                  </a:lnTo>
                  <a:lnTo>
                    <a:pt x="381" y="14"/>
                  </a:lnTo>
                  <a:lnTo>
                    <a:pt x="379" y="13"/>
                  </a:lnTo>
                  <a:lnTo>
                    <a:pt x="377" y="13"/>
                  </a:lnTo>
                  <a:lnTo>
                    <a:pt x="377" y="11"/>
                  </a:lnTo>
                  <a:lnTo>
                    <a:pt x="382" y="10"/>
                  </a:lnTo>
                  <a:lnTo>
                    <a:pt x="384" y="8"/>
                  </a:lnTo>
                  <a:lnTo>
                    <a:pt x="385" y="8"/>
                  </a:lnTo>
                  <a:lnTo>
                    <a:pt x="389" y="11"/>
                  </a:lnTo>
                  <a:lnTo>
                    <a:pt x="390" y="11"/>
                  </a:lnTo>
                  <a:lnTo>
                    <a:pt x="392" y="11"/>
                  </a:lnTo>
                  <a:lnTo>
                    <a:pt x="392" y="10"/>
                  </a:lnTo>
                  <a:lnTo>
                    <a:pt x="394" y="8"/>
                  </a:lnTo>
                  <a:lnTo>
                    <a:pt x="394" y="6"/>
                  </a:lnTo>
                  <a:lnTo>
                    <a:pt x="395" y="5"/>
                  </a:lnTo>
                  <a:lnTo>
                    <a:pt x="397" y="3"/>
                  </a:lnTo>
                  <a:lnTo>
                    <a:pt x="398" y="3"/>
                  </a:lnTo>
                  <a:lnTo>
                    <a:pt x="400" y="3"/>
                  </a:lnTo>
                  <a:lnTo>
                    <a:pt x="402" y="3"/>
                  </a:lnTo>
                  <a:lnTo>
                    <a:pt x="403" y="3"/>
                  </a:lnTo>
                  <a:lnTo>
                    <a:pt x="407" y="5"/>
                  </a:lnTo>
                  <a:lnTo>
                    <a:pt x="408" y="5"/>
                  </a:lnTo>
                  <a:lnTo>
                    <a:pt x="411" y="6"/>
                  </a:lnTo>
                  <a:lnTo>
                    <a:pt x="413" y="6"/>
                  </a:lnTo>
                  <a:lnTo>
                    <a:pt x="415" y="6"/>
                  </a:lnTo>
                  <a:lnTo>
                    <a:pt x="416" y="6"/>
                  </a:lnTo>
                  <a:lnTo>
                    <a:pt x="416" y="5"/>
                  </a:lnTo>
                  <a:lnTo>
                    <a:pt x="416" y="3"/>
                  </a:lnTo>
                  <a:lnTo>
                    <a:pt x="418" y="3"/>
                  </a:lnTo>
                  <a:lnTo>
                    <a:pt x="420" y="5"/>
                  </a:lnTo>
                  <a:lnTo>
                    <a:pt x="421" y="3"/>
                  </a:lnTo>
                  <a:lnTo>
                    <a:pt x="421" y="1"/>
                  </a:lnTo>
                  <a:lnTo>
                    <a:pt x="423" y="1"/>
                  </a:lnTo>
                  <a:lnTo>
                    <a:pt x="424" y="1"/>
                  </a:lnTo>
                  <a:lnTo>
                    <a:pt x="426" y="1"/>
                  </a:lnTo>
                  <a:lnTo>
                    <a:pt x="429" y="0"/>
                  </a:lnTo>
                  <a:lnTo>
                    <a:pt x="434" y="3"/>
                  </a:lnTo>
                  <a:lnTo>
                    <a:pt x="436" y="3"/>
                  </a:lnTo>
                  <a:lnTo>
                    <a:pt x="437" y="1"/>
                  </a:lnTo>
                  <a:lnTo>
                    <a:pt x="439" y="3"/>
                  </a:lnTo>
                  <a:lnTo>
                    <a:pt x="441" y="5"/>
                  </a:lnTo>
                  <a:lnTo>
                    <a:pt x="444" y="6"/>
                  </a:lnTo>
                  <a:lnTo>
                    <a:pt x="444" y="8"/>
                  </a:lnTo>
                  <a:lnTo>
                    <a:pt x="446" y="10"/>
                  </a:lnTo>
                  <a:lnTo>
                    <a:pt x="447" y="8"/>
                  </a:lnTo>
                  <a:lnTo>
                    <a:pt x="447" y="5"/>
                  </a:lnTo>
                  <a:lnTo>
                    <a:pt x="449" y="3"/>
                  </a:lnTo>
                  <a:lnTo>
                    <a:pt x="451" y="5"/>
                  </a:lnTo>
                  <a:lnTo>
                    <a:pt x="452" y="5"/>
                  </a:lnTo>
                  <a:lnTo>
                    <a:pt x="452" y="6"/>
                  </a:lnTo>
                  <a:lnTo>
                    <a:pt x="454" y="6"/>
                  </a:lnTo>
                  <a:lnTo>
                    <a:pt x="455" y="6"/>
                  </a:lnTo>
                  <a:lnTo>
                    <a:pt x="457" y="8"/>
                  </a:lnTo>
                  <a:lnTo>
                    <a:pt x="462" y="8"/>
                  </a:lnTo>
                  <a:lnTo>
                    <a:pt x="464" y="8"/>
                  </a:lnTo>
                  <a:lnTo>
                    <a:pt x="464" y="10"/>
                  </a:lnTo>
                  <a:lnTo>
                    <a:pt x="465" y="13"/>
                  </a:lnTo>
                  <a:lnTo>
                    <a:pt x="467" y="14"/>
                  </a:lnTo>
                  <a:lnTo>
                    <a:pt x="468" y="14"/>
                  </a:lnTo>
                  <a:lnTo>
                    <a:pt x="470" y="16"/>
                  </a:lnTo>
                  <a:lnTo>
                    <a:pt x="472" y="18"/>
                  </a:lnTo>
                  <a:lnTo>
                    <a:pt x="472" y="19"/>
                  </a:lnTo>
                  <a:lnTo>
                    <a:pt x="472" y="21"/>
                  </a:lnTo>
                  <a:lnTo>
                    <a:pt x="472" y="24"/>
                  </a:lnTo>
                  <a:lnTo>
                    <a:pt x="473" y="26"/>
                  </a:lnTo>
                  <a:lnTo>
                    <a:pt x="477" y="26"/>
                  </a:lnTo>
                  <a:lnTo>
                    <a:pt x="483" y="26"/>
                  </a:lnTo>
                  <a:lnTo>
                    <a:pt x="486" y="27"/>
                  </a:lnTo>
                  <a:lnTo>
                    <a:pt x="488" y="29"/>
                  </a:lnTo>
                  <a:lnTo>
                    <a:pt x="490" y="27"/>
                  </a:lnTo>
                  <a:lnTo>
                    <a:pt x="491" y="27"/>
                  </a:lnTo>
                  <a:lnTo>
                    <a:pt x="491" y="29"/>
                  </a:lnTo>
                  <a:lnTo>
                    <a:pt x="491" y="31"/>
                  </a:lnTo>
                  <a:lnTo>
                    <a:pt x="494" y="31"/>
                  </a:lnTo>
                  <a:lnTo>
                    <a:pt x="496" y="32"/>
                  </a:lnTo>
                  <a:lnTo>
                    <a:pt x="498" y="32"/>
                  </a:lnTo>
                  <a:lnTo>
                    <a:pt x="499" y="32"/>
                  </a:lnTo>
                  <a:lnTo>
                    <a:pt x="501" y="32"/>
                  </a:lnTo>
                  <a:lnTo>
                    <a:pt x="503" y="31"/>
                  </a:lnTo>
                  <a:lnTo>
                    <a:pt x="504" y="31"/>
                  </a:lnTo>
                  <a:lnTo>
                    <a:pt x="506" y="31"/>
                  </a:lnTo>
                  <a:lnTo>
                    <a:pt x="506" y="32"/>
                  </a:lnTo>
                  <a:lnTo>
                    <a:pt x="507" y="32"/>
                  </a:lnTo>
                  <a:lnTo>
                    <a:pt x="507" y="34"/>
                  </a:lnTo>
                  <a:lnTo>
                    <a:pt x="511" y="36"/>
                  </a:lnTo>
                  <a:lnTo>
                    <a:pt x="512" y="36"/>
                  </a:lnTo>
                  <a:lnTo>
                    <a:pt x="514" y="34"/>
                  </a:lnTo>
                  <a:lnTo>
                    <a:pt x="516" y="36"/>
                  </a:lnTo>
                  <a:lnTo>
                    <a:pt x="517" y="36"/>
                  </a:lnTo>
                  <a:lnTo>
                    <a:pt x="517" y="37"/>
                  </a:lnTo>
                  <a:lnTo>
                    <a:pt x="519" y="37"/>
                  </a:lnTo>
                  <a:lnTo>
                    <a:pt x="519" y="36"/>
                  </a:lnTo>
                  <a:lnTo>
                    <a:pt x="520" y="36"/>
                  </a:lnTo>
                  <a:lnTo>
                    <a:pt x="522" y="36"/>
                  </a:lnTo>
                  <a:lnTo>
                    <a:pt x="524" y="36"/>
                  </a:lnTo>
                  <a:lnTo>
                    <a:pt x="525" y="36"/>
                  </a:lnTo>
                  <a:lnTo>
                    <a:pt x="524" y="37"/>
                  </a:lnTo>
                  <a:lnTo>
                    <a:pt x="524" y="39"/>
                  </a:lnTo>
                  <a:lnTo>
                    <a:pt x="524" y="44"/>
                  </a:lnTo>
                  <a:lnTo>
                    <a:pt x="524" y="45"/>
                  </a:lnTo>
                  <a:lnTo>
                    <a:pt x="524" y="47"/>
                  </a:lnTo>
                  <a:lnTo>
                    <a:pt x="522" y="50"/>
                  </a:lnTo>
                  <a:lnTo>
                    <a:pt x="519" y="50"/>
                  </a:lnTo>
                  <a:lnTo>
                    <a:pt x="519" y="52"/>
                  </a:lnTo>
                  <a:lnTo>
                    <a:pt x="517" y="53"/>
                  </a:lnTo>
                  <a:lnTo>
                    <a:pt x="516" y="58"/>
                  </a:lnTo>
                  <a:lnTo>
                    <a:pt x="516" y="60"/>
                  </a:lnTo>
                  <a:lnTo>
                    <a:pt x="516" y="66"/>
                  </a:lnTo>
                  <a:lnTo>
                    <a:pt x="514" y="68"/>
                  </a:lnTo>
                  <a:lnTo>
                    <a:pt x="512" y="70"/>
                  </a:lnTo>
                  <a:lnTo>
                    <a:pt x="512" y="75"/>
                  </a:lnTo>
                  <a:lnTo>
                    <a:pt x="514" y="76"/>
                  </a:lnTo>
                  <a:lnTo>
                    <a:pt x="514" y="79"/>
                  </a:lnTo>
                  <a:lnTo>
                    <a:pt x="514" y="81"/>
                  </a:lnTo>
                  <a:lnTo>
                    <a:pt x="512" y="84"/>
                  </a:lnTo>
                  <a:lnTo>
                    <a:pt x="511" y="86"/>
                  </a:lnTo>
                  <a:lnTo>
                    <a:pt x="512" y="86"/>
                  </a:lnTo>
                  <a:lnTo>
                    <a:pt x="512" y="88"/>
                  </a:lnTo>
                  <a:lnTo>
                    <a:pt x="514" y="88"/>
                  </a:lnTo>
                  <a:lnTo>
                    <a:pt x="514" y="89"/>
                  </a:lnTo>
                  <a:lnTo>
                    <a:pt x="514" y="91"/>
                  </a:lnTo>
                  <a:lnTo>
                    <a:pt x="514" y="92"/>
                  </a:lnTo>
                  <a:lnTo>
                    <a:pt x="512" y="94"/>
                  </a:lnTo>
                  <a:lnTo>
                    <a:pt x="512" y="96"/>
                  </a:lnTo>
                  <a:lnTo>
                    <a:pt x="511" y="97"/>
                  </a:lnTo>
                  <a:lnTo>
                    <a:pt x="509" y="99"/>
                  </a:lnTo>
                  <a:lnTo>
                    <a:pt x="507" y="101"/>
                  </a:lnTo>
                  <a:lnTo>
                    <a:pt x="506" y="102"/>
                  </a:lnTo>
                  <a:lnTo>
                    <a:pt x="506" y="104"/>
                  </a:lnTo>
                  <a:lnTo>
                    <a:pt x="506" y="107"/>
                  </a:lnTo>
                  <a:lnTo>
                    <a:pt x="504" y="107"/>
                  </a:lnTo>
                  <a:lnTo>
                    <a:pt x="503" y="107"/>
                  </a:lnTo>
                  <a:lnTo>
                    <a:pt x="503" y="109"/>
                  </a:lnTo>
                  <a:lnTo>
                    <a:pt x="501" y="109"/>
                  </a:lnTo>
                  <a:lnTo>
                    <a:pt x="499" y="112"/>
                  </a:lnTo>
                  <a:lnTo>
                    <a:pt x="499" y="115"/>
                  </a:lnTo>
                  <a:lnTo>
                    <a:pt x="499" y="122"/>
                  </a:lnTo>
                  <a:lnTo>
                    <a:pt x="499" y="130"/>
                  </a:lnTo>
                  <a:lnTo>
                    <a:pt x="499" y="135"/>
                  </a:lnTo>
                  <a:lnTo>
                    <a:pt x="501" y="138"/>
                  </a:lnTo>
                  <a:lnTo>
                    <a:pt x="501" y="141"/>
                  </a:lnTo>
                  <a:lnTo>
                    <a:pt x="501" y="143"/>
                  </a:lnTo>
                  <a:lnTo>
                    <a:pt x="499" y="143"/>
                  </a:lnTo>
                  <a:lnTo>
                    <a:pt x="498" y="145"/>
                  </a:lnTo>
                  <a:lnTo>
                    <a:pt x="496" y="145"/>
                  </a:lnTo>
                  <a:lnTo>
                    <a:pt x="496" y="143"/>
                  </a:lnTo>
                  <a:lnTo>
                    <a:pt x="494" y="143"/>
                  </a:lnTo>
                  <a:lnTo>
                    <a:pt x="494" y="145"/>
                  </a:lnTo>
                  <a:lnTo>
                    <a:pt x="493" y="145"/>
                  </a:lnTo>
                  <a:lnTo>
                    <a:pt x="491" y="145"/>
                  </a:lnTo>
                  <a:lnTo>
                    <a:pt x="491" y="143"/>
                  </a:lnTo>
                  <a:lnTo>
                    <a:pt x="490" y="143"/>
                  </a:lnTo>
                  <a:lnTo>
                    <a:pt x="488" y="145"/>
                  </a:lnTo>
                  <a:lnTo>
                    <a:pt x="486" y="145"/>
                  </a:lnTo>
                  <a:lnTo>
                    <a:pt x="485" y="145"/>
                  </a:lnTo>
                  <a:lnTo>
                    <a:pt x="483" y="146"/>
                  </a:lnTo>
                  <a:lnTo>
                    <a:pt x="483" y="148"/>
                  </a:lnTo>
                  <a:lnTo>
                    <a:pt x="481" y="148"/>
                  </a:lnTo>
                  <a:lnTo>
                    <a:pt x="480" y="148"/>
                  </a:lnTo>
                  <a:lnTo>
                    <a:pt x="478" y="148"/>
                  </a:lnTo>
                  <a:lnTo>
                    <a:pt x="478" y="149"/>
                  </a:lnTo>
                  <a:lnTo>
                    <a:pt x="477" y="149"/>
                  </a:lnTo>
                  <a:lnTo>
                    <a:pt x="475" y="149"/>
                  </a:lnTo>
                  <a:lnTo>
                    <a:pt x="473" y="149"/>
                  </a:lnTo>
                  <a:lnTo>
                    <a:pt x="473" y="151"/>
                  </a:lnTo>
                  <a:lnTo>
                    <a:pt x="473" y="153"/>
                  </a:lnTo>
                  <a:lnTo>
                    <a:pt x="472" y="153"/>
                  </a:lnTo>
                  <a:lnTo>
                    <a:pt x="470" y="154"/>
                  </a:lnTo>
                  <a:lnTo>
                    <a:pt x="468" y="154"/>
                  </a:lnTo>
                  <a:lnTo>
                    <a:pt x="467" y="154"/>
                  </a:lnTo>
                  <a:lnTo>
                    <a:pt x="465" y="153"/>
                  </a:lnTo>
                  <a:lnTo>
                    <a:pt x="464" y="153"/>
                  </a:lnTo>
                  <a:lnTo>
                    <a:pt x="460" y="151"/>
                  </a:lnTo>
                  <a:lnTo>
                    <a:pt x="460" y="149"/>
                  </a:lnTo>
                  <a:lnTo>
                    <a:pt x="459" y="148"/>
                  </a:lnTo>
                  <a:lnTo>
                    <a:pt x="457" y="148"/>
                  </a:lnTo>
                  <a:lnTo>
                    <a:pt x="455" y="146"/>
                  </a:lnTo>
                  <a:lnTo>
                    <a:pt x="455" y="145"/>
                  </a:lnTo>
                  <a:lnTo>
                    <a:pt x="454" y="141"/>
                  </a:lnTo>
                  <a:lnTo>
                    <a:pt x="452" y="140"/>
                  </a:lnTo>
                  <a:lnTo>
                    <a:pt x="451" y="138"/>
                  </a:lnTo>
                  <a:lnTo>
                    <a:pt x="451" y="135"/>
                  </a:lnTo>
                  <a:lnTo>
                    <a:pt x="449" y="132"/>
                  </a:lnTo>
                  <a:lnTo>
                    <a:pt x="447" y="132"/>
                  </a:lnTo>
                  <a:lnTo>
                    <a:pt x="447" y="133"/>
                  </a:lnTo>
                  <a:lnTo>
                    <a:pt x="446" y="133"/>
                  </a:lnTo>
                  <a:lnTo>
                    <a:pt x="444" y="133"/>
                  </a:lnTo>
                  <a:lnTo>
                    <a:pt x="442" y="133"/>
                  </a:lnTo>
                  <a:lnTo>
                    <a:pt x="441" y="133"/>
                  </a:lnTo>
                  <a:lnTo>
                    <a:pt x="439" y="130"/>
                  </a:lnTo>
                  <a:lnTo>
                    <a:pt x="437" y="128"/>
                  </a:lnTo>
                  <a:lnTo>
                    <a:pt x="437" y="127"/>
                  </a:lnTo>
                  <a:lnTo>
                    <a:pt x="436" y="127"/>
                  </a:lnTo>
                  <a:lnTo>
                    <a:pt x="434" y="125"/>
                  </a:lnTo>
                  <a:lnTo>
                    <a:pt x="433" y="123"/>
                  </a:lnTo>
                  <a:lnTo>
                    <a:pt x="431" y="123"/>
                  </a:lnTo>
                  <a:lnTo>
                    <a:pt x="429" y="125"/>
                  </a:lnTo>
                  <a:lnTo>
                    <a:pt x="429" y="127"/>
                  </a:lnTo>
                  <a:lnTo>
                    <a:pt x="429" y="128"/>
                  </a:lnTo>
                  <a:lnTo>
                    <a:pt x="428" y="128"/>
                  </a:lnTo>
                  <a:lnTo>
                    <a:pt x="426" y="128"/>
                  </a:lnTo>
                  <a:lnTo>
                    <a:pt x="424" y="128"/>
                  </a:lnTo>
                  <a:lnTo>
                    <a:pt x="421" y="130"/>
                  </a:lnTo>
                  <a:lnTo>
                    <a:pt x="420" y="130"/>
                  </a:lnTo>
                  <a:lnTo>
                    <a:pt x="420" y="132"/>
                  </a:lnTo>
                  <a:lnTo>
                    <a:pt x="421" y="132"/>
                  </a:lnTo>
                  <a:lnTo>
                    <a:pt x="420" y="132"/>
                  </a:lnTo>
                  <a:lnTo>
                    <a:pt x="421" y="132"/>
                  </a:lnTo>
                  <a:lnTo>
                    <a:pt x="420" y="132"/>
                  </a:lnTo>
                  <a:lnTo>
                    <a:pt x="420" y="133"/>
                  </a:lnTo>
                  <a:lnTo>
                    <a:pt x="421" y="133"/>
                  </a:lnTo>
                  <a:lnTo>
                    <a:pt x="420" y="133"/>
                  </a:lnTo>
                  <a:lnTo>
                    <a:pt x="420" y="135"/>
                  </a:lnTo>
                  <a:lnTo>
                    <a:pt x="418" y="135"/>
                  </a:lnTo>
                  <a:lnTo>
                    <a:pt x="415" y="135"/>
                  </a:lnTo>
                  <a:lnTo>
                    <a:pt x="413" y="133"/>
                  </a:lnTo>
                  <a:lnTo>
                    <a:pt x="411" y="133"/>
                  </a:lnTo>
                  <a:lnTo>
                    <a:pt x="410" y="136"/>
                  </a:lnTo>
                  <a:lnTo>
                    <a:pt x="407" y="136"/>
                  </a:lnTo>
                  <a:lnTo>
                    <a:pt x="407" y="138"/>
                  </a:lnTo>
                  <a:lnTo>
                    <a:pt x="405" y="140"/>
                  </a:lnTo>
                  <a:lnTo>
                    <a:pt x="403" y="141"/>
                  </a:lnTo>
                  <a:lnTo>
                    <a:pt x="402" y="141"/>
                  </a:lnTo>
                  <a:lnTo>
                    <a:pt x="400" y="141"/>
                  </a:lnTo>
                  <a:lnTo>
                    <a:pt x="400" y="140"/>
                  </a:lnTo>
                  <a:lnTo>
                    <a:pt x="400" y="138"/>
                  </a:lnTo>
                  <a:lnTo>
                    <a:pt x="398" y="138"/>
                  </a:lnTo>
                  <a:lnTo>
                    <a:pt x="395" y="138"/>
                  </a:lnTo>
                  <a:lnTo>
                    <a:pt x="392" y="138"/>
                  </a:lnTo>
                  <a:lnTo>
                    <a:pt x="390" y="138"/>
                  </a:lnTo>
                  <a:lnTo>
                    <a:pt x="390" y="140"/>
                  </a:lnTo>
                  <a:lnTo>
                    <a:pt x="389" y="140"/>
                  </a:lnTo>
                  <a:lnTo>
                    <a:pt x="387" y="140"/>
                  </a:lnTo>
                  <a:lnTo>
                    <a:pt x="387" y="138"/>
                  </a:lnTo>
                  <a:lnTo>
                    <a:pt x="385" y="138"/>
                  </a:lnTo>
                  <a:lnTo>
                    <a:pt x="385" y="136"/>
                  </a:lnTo>
                  <a:lnTo>
                    <a:pt x="384" y="136"/>
                  </a:lnTo>
                  <a:lnTo>
                    <a:pt x="384" y="135"/>
                  </a:lnTo>
                  <a:lnTo>
                    <a:pt x="382" y="135"/>
                  </a:lnTo>
                  <a:lnTo>
                    <a:pt x="381" y="136"/>
                  </a:lnTo>
                  <a:lnTo>
                    <a:pt x="379" y="136"/>
                  </a:lnTo>
                  <a:lnTo>
                    <a:pt x="377" y="136"/>
                  </a:lnTo>
                  <a:lnTo>
                    <a:pt x="377" y="135"/>
                  </a:lnTo>
                  <a:lnTo>
                    <a:pt x="376" y="135"/>
                  </a:lnTo>
                  <a:lnTo>
                    <a:pt x="374" y="133"/>
                  </a:lnTo>
                  <a:lnTo>
                    <a:pt x="371" y="135"/>
                  </a:lnTo>
                  <a:lnTo>
                    <a:pt x="368" y="135"/>
                  </a:lnTo>
                  <a:lnTo>
                    <a:pt x="363" y="136"/>
                  </a:lnTo>
                  <a:lnTo>
                    <a:pt x="361" y="136"/>
                  </a:lnTo>
                  <a:lnTo>
                    <a:pt x="361" y="138"/>
                  </a:lnTo>
                  <a:lnTo>
                    <a:pt x="358" y="140"/>
                  </a:lnTo>
                  <a:lnTo>
                    <a:pt x="356" y="140"/>
                  </a:lnTo>
                  <a:lnTo>
                    <a:pt x="355" y="141"/>
                  </a:lnTo>
                  <a:lnTo>
                    <a:pt x="353" y="143"/>
                  </a:lnTo>
                  <a:lnTo>
                    <a:pt x="351" y="143"/>
                  </a:lnTo>
                  <a:lnTo>
                    <a:pt x="348" y="143"/>
                  </a:lnTo>
                  <a:lnTo>
                    <a:pt x="348" y="145"/>
                  </a:lnTo>
                  <a:lnTo>
                    <a:pt x="346" y="145"/>
                  </a:lnTo>
                  <a:lnTo>
                    <a:pt x="345" y="145"/>
                  </a:lnTo>
                  <a:lnTo>
                    <a:pt x="345" y="146"/>
                  </a:lnTo>
                  <a:lnTo>
                    <a:pt x="345" y="148"/>
                  </a:lnTo>
                  <a:lnTo>
                    <a:pt x="345" y="151"/>
                  </a:lnTo>
                  <a:lnTo>
                    <a:pt x="343" y="151"/>
                  </a:lnTo>
                  <a:lnTo>
                    <a:pt x="343" y="153"/>
                  </a:lnTo>
                  <a:lnTo>
                    <a:pt x="342" y="154"/>
                  </a:lnTo>
                  <a:lnTo>
                    <a:pt x="343" y="156"/>
                  </a:lnTo>
                  <a:lnTo>
                    <a:pt x="342" y="158"/>
                  </a:lnTo>
                  <a:lnTo>
                    <a:pt x="340" y="158"/>
                  </a:lnTo>
                  <a:lnTo>
                    <a:pt x="340" y="159"/>
                  </a:lnTo>
                  <a:lnTo>
                    <a:pt x="338" y="161"/>
                  </a:lnTo>
                  <a:lnTo>
                    <a:pt x="338" y="164"/>
                  </a:lnTo>
                  <a:lnTo>
                    <a:pt x="338" y="167"/>
                  </a:lnTo>
                  <a:lnTo>
                    <a:pt x="338" y="169"/>
                  </a:lnTo>
                  <a:lnTo>
                    <a:pt x="337" y="171"/>
                  </a:lnTo>
                  <a:lnTo>
                    <a:pt x="337" y="174"/>
                  </a:lnTo>
                  <a:lnTo>
                    <a:pt x="335" y="175"/>
                  </a:lnTo>
                  <a:lnTo>
                    <a:pt x="335" y="177"/>
                  </a:lnTo>
                  <a:lnTo>
                    <a:pt x="333" y="180"/>
                  </a:lnTo>
                  <a:lnTo>
                    <a:pt x="332" y="184"/>
                  </a:lnTo>
                  <a:lnTo>
                    <a:pt x="332" y="185"/>
                  </a:lnTo>
                  <a:lnTo>
                    <a:pt x="330" y="185"/>
                  </a:lnTo>
                  <a:lnTo>
                    <a:pt x="329" y="185"/>
                  </a:lnTo>
                  <a:lnTo>
                    <a:pt x="327" y="184"/>
                  </a:lnTo>
                  <a:lnTo>
                    <a:pt x="325" y="184"/>
                  </a:lnTo>
                  <a:lnTo>
                    <a:pt x="324" y="184"/>
                  </a:lnTo>
                  <a:lnTo>
                    <a:pt x="324" y="185"/>
                  </a:lnTo>
                  <a:lnTo>
                    <a:pt x="324" y="187"/>
                  </a:lnTo>
                  <a:lnTo>
                    <a:pt x="322" y="187"/>
                  </a:lnTo>
                  <a:lnTo>
                    <a:pt x="322" y="188"/>
                  </a:lnTo>
                  <a:lnTo>
                    <a:pt x="319" y="190"/>
                  </a:lnTo>
                  <a:lnTo>
                    <a:pt x="316" y="188"/>
                  </a:lnTo>
                  <a:lnTo>
                    <a:pt x="316" y="190"/>
                  </a:lnTo>
                  <a:lnTo>
                    <a:pt x="316" y="192"/>
                  </a:lnTo>
                  <a:lnTo>
                    <a:pt x="316" y="193"/>
                  </a:lnTo>
                  <a:lnTo>
                    <a:pt x="312" y="195"/>
                  </a:lnTo>
                  <a:lnTo>
                    <a:pt x="312" y="197"/>
                  </a:lnTo>
                  <a:lnTo>
                    <a:pt x="311" y="198"/>
                  </a:lnTo>
                  <a:lnTo>
                    <a:pt x="309" y="198"/>
                  </a:lnTo>
                  <a:lnTo>
                    <a:pt x="311" y="200"/>
                  </a:lnTo>
                  <a:lnTo>
                    <a:pt x="309" y="201"/>
                  </a:lnTo>
                  <a:lnTo>
                    <a:pt x="307" y="201"/>
                  </a:lnTo>
                  <a:lnTo>
                    <a:pt x="306" y="201"/>
                  </a:lnTo>
                  <a:lnTo>
                    <a:pt x="304" y="203"/>
                  </a:lnTo>
                  <a:lnTo>
                    <a:pt x="303" y="205"/>
                  </a:lnTo>
                  <a:lnTo>
                    <a:pt x="301" y="205"/>
                  </a:lnTo>
                  <a:lnTo>
                    <a:pt x="299" y="206"/>
                  </a:lnTo>
                  <a:lnTo>
                    <a:pt x="299" y="208"/>
                  </a:lnTo>
                  <a:lnTo>
                    <a:pt x="298" y="208"/>
                  </a:lnTo>
                  <a:lnTo>
                    <a:pt x="298" y="210"/>
                  </a:lnTo>
                  <a:lnTo>
                    <a:pt x="296" y="210"/>
                  </a:lnTo>
                  <a:lnTo>
                    <a:pt x="294" y="210"/>
                  </a:lnTo>
                  <a:lnTo>
                    <a:pt x="294" y="206"/>
                  </a:lnTo>
                  <a:lnTo>
                    <a:pt x="294" y="205"/>
                  </a:lnTo>
                  <a:lnTo>
                    <a:pt x="293" y="205"/>
                  </a:lnTo>
                  <a:lnTo>
                    <a:pt x="291" y="205"/>
                  </a:lnTo>
                  <a:lnTo>
                    <a:pt x="289" y="205"/>
                  </a:lnTo>
                  <a:lnTo>
                    <a:pt x="289" y="203"/>
                  </a:lnTo>
                  <a:lnTo>
                    <a:pt x="289" y="205"/>
                  </a:lnTo>
                  <a:lnTo>
                    <a:pt x="288" y="205"/>
                  </a:lnTo>
                  <a:lnTo>
                    <a:pt x="286" y="205"/>
                  </a:lnTo>
                  <a:lnTo>
                    <a:pt x="286" y="206"/>
                  </a:lnTo>
                  <a:lnTo>
                    <a:pt x="285" y="208"/>
                  </a:lnTo>
                  <a:lnTo>
                    <a:pt x="283" y="206"/>
                  </a:lnTo>
                  <a:lnTo>
                    <a:pt x="283" y="205"/>
                  </a:lnTo>
                  <a:lnTo>
                    <a:pt x="285" y="203"/>
                  </a:lnTo>
                  <a:lnTo>
                    <a:pt x="285" y="201"/>
                  </a:lnTo>
                  <a:lnTo>
                    <a:pt x="283" y="201"/>
                  </a:lnTo>
                  <a:lnTo>
                    <a:pt x="281" y="201"/>
                  </a:lnTo>
                  <a:lnTo>
                    <a:pt x="280" y="200"/>
                  </a:lnTo>
                  <a:lnTo>
                    <a:pt x="278" y="200"/>
                  </a:lnTo>
                  <a:lnTo>
                    <a:pt x="276" y="201"/>
                  </a:lnTo>
                  <a:lnTo>
                    <a:pt x="275" y="201"/>
                  </a:lnTo>
                  <a:lnTo>
                    <a:pt x="273" y="201"/>
                  </a:lnTo>
                  <a:lnTo>
                    <a:pt x="270" y="197"/>
                  </a:lnTo>
                  <a:lnTo>
                    <a:pt x="268" y="197"/>
                  </a:lnTo>
                  <a:lnTo>
                    <a:pt x="267" y="197"/>
                  </a:lnTo>
                  <a:lnTo>
                    <a:pt x="267" y="195"/>
                  </a:lnTo>
                  <a:lnTo>
                    <a:pt x="267" y="197"/>
                  </a:lnTo>
                  <a:lnTo>
                    <a:pt x="265" y="198"/>
                  </a:lnTo>
                  <a:lnTo>
                    <a:pt x="265" y="200"/>
                  </a:lnTo>
                  <a:lnTo>
                    <a:pt x="263" y="200"/>
                  </a:lnTo>
                  <a:lnTo>
                    <a:pt x="262" y="201"/>
                  </a:lnTo>
                  <a:lnTo>
                    <a:pt x="260" y="203"/>
                  </a:lnTo>
                  <a:lnTo>
                    <a:pt x="259" y="203"/>
                  </a:lnTo>
                  <a:lnTo>
                    <a:pt x="259" y="205"/>
                  </a:lnTo>
                  <a:lnTo>
                    <a:pt x="259" y="206"/>
                  </a:lnTo>
                  <a:lnTo>
                    <a:pt x="257" y="206"/>
                  </a:lnTo>
                  <a:lnTo>
                    <a:pt x="257" y="208"/>
                  </a:lnTo>
                  <a:lnTo>
                    <a:pt x="257" y="210"/>
                  </a:lnTo>
                  <a:lnTo>
                    <a:pt x="257" y="211"/>
                  </a:lnTo>
                  <a:lnTo>
                    <a:pt x="257" y="213"/>
                  </a:lnTo>
                  <a:lnTo>
                    <a:pt x="255" y="213"/>
                  </a:lnTo>
                  <a:lnTo>
                    <a:pt x="257" y="214"/>
                  </a:lnTo>
                  <a:lnTo>
                    <a:pt x="257" y="216"/>
                  </a:lnTo>
                  <a:lnTo>
                    <a:pt x="257" y="218"/>
                  </a:lnTo>
                  <a:lnTo>
                    <a:pt x="255" y="218"/>
                  </a:lnTo>
                  <a:lnTo>
                    <a:pt x="255" y="219"/>
                  </a:lnTo>
                  <a:lnTo>
                    <a:pt x="255" y="221"/>
                  </a:lnTo>
                  <a:lnTo>
                    <a:pt x="254" y="221"/>
                  </a:lnTo>
                  <a:lnTo>
                    <a:pt x="255" y="221"/>
                  </a:lnTo>
                  <a:lnTo>
                    <a:pt x="254" y="223"/>
                  </a:lnTo>
                  <a:lnTo>
                    <a:pt x="254" y="221"/>
                  </a:lnTo>
                  <a:lnTo>
                    <a:pt x="252" y="221"/>
                  </a:lnTo>
                  <a:lnTo>
                    <a:pt x="252" y="219"/>
                  </a:lnTo>
                  <a:lnTo>
                    <a:pt x="250" y="221"/>
                  </a:lnTo>
                  <a:lnTo>
                    <a:pt x="250" y="223"/>
                  </a:lnTo>
                  <a:lnTo>
                    <a:pt x="249" y="223"/>
                  </a:lnTo>
                  <a:lnTo>
                    <a:pt x="247" y="223"/>
                  </a:lnTo>
                  <a:lnTo>
                    <a:pt x="247" y="221"/>
                  </a:lnTo>
                  <a:lnTo>
                    <a:pt x="246" y="223"/>
                  </a:lnTo>
                  <a:lnTo>
                    <a:pt x="244" y="223"/>
                  </a:lnTo>
                  <a:lnTo>
                    <a:pt x="242" y="223"/>
                  </a:lnTo>
                  <a:lnTo>
                    <a:pt x="241" y="223"/>
                  </a:lnTo>
                  <a:lnTo>
                    <a:pt x="239" y="223"/>
                  </a:lnTo>
                  <a:lnTo>
                    <a:pt x="237" y="224"/>
                  </a:lnTo>
                  <a:lnTo>
                    <a:pt x="237" y="226"/>
                  </a:lnTo>
                  <a:lnTo>
                    <a:pt x="236" y="226"/>
                  </a:lnTo>
                  <a:lnTo>
                    <a:pt x="234" y="226"/>
                  </a:lnTo>
                  <a:lnTo>
                    <a:pt x="234" y="227"/>
                  </a:lnTo>
                  <a:lnTo>
                    <a:pt x="234" y="229"/>
                  </a:lnTo>
                  <a:lnTo>
                    <a:pt x="233" y="229"/>
                  </a:lnTo>
                  <a:lnTo>
                    <a:pt x="231" y="227"/>
                  </a:lnTo>
                  <a:lnTo>
                    <a:pt x="229" y="227"/>
                  </a:lnTo>
                  <a:lnTo>
                    <a:pt x="228" y="229"/>
                  </a:lnTo>
                  <a:lnTo>
                    <a:pt x="226" y="227"/>
                  </a:lnTo>
                  <a:lnTo>
                    <a:pt x="224" y="227"/>
                  </a:lnTo>
                  <a:lnTo>
                    <a:pt x="223" y="227"/>
                  </a:lnTo>
                  <a:lnTo>
                    <a:pt x="221" y="227"/>
                  </a:lnTo>
                  <a:lnTo>
                    <a:pt x="221" y="229"/>
                  </a:lnTo>
                  <a:lnTo>
                    <a:pt x="220" y="229"/>
                  </a:lnTo>
                  <a:lnTo>
                    <a:pt x="220" y="227"/>
                  </a:lnTo>
                  <a:lnTo>
                    <a:pt x="218" y="227"/>
                  </a:lnTo>
                  <a:lnTo>
                    <a:pt x="218" y="229"/>
                  </a:lnTo>
                  <a:lnTo>
                    <a:pt x="216" y="229"/>
                  </a:lnTo>
                  <a:lnTo>
                    <a:pt x="216" y="231"/>
                  </a:lnTo>
                  <a:lnTo>
                    <a:pt x="215" y="229"/>
                  </a:lnTo>
                  <a:lnTo>
                    <a:pt x="213" y="229"/>
                  </a:lnTo>
                  <a:lnTo>
                    <a:pt x="211" y="229"/>
                  </a:lnTo>
                  <a:lnTo>
                    <a:pt x="213" y="229"/>
                  </a:lnTo>
                  <a:lnTo>
                    <a:pt x="211" y="229"/>
                  </a:lnTo>
                  <a:lnTo>
                    <a:pt x="211" y="227"/>
                  </a:lnTo>
                  <a:lnTo>
                    <a:pt x="211" y="229"/>
                  </a:lnTo>
                  <a:lnTo>
                    <a:pt x="210" y="229"/>
                  </a:lnTo>
                  <a:lnTo>
                    <a:pt x="210" y="231"/>
                  </a:lnTo>
                  <a:lnTo>
                    <a:pt x="208" y="232"/>
                  </a:lnTo>
                  <a:lnTo>
                    <a:pt x="208" y="231"/>
                  </a:lnTo>
                  <a:lnTo>
                    <a:pt x="207" y="231"/>
                  </a:lnTo>
                  <a:lnTo>
                    <a:pt x="207" y="229"/>
                  </a:lnTo>
                  <a:lnTo>
                    <a:pt x="205" y="231"/>
                  </a:lnTo>
                  <a:lnTo>
                    <a:pt x="203" y="232"/>
                  </a:lnTo>
                  <a:lnTo>
                    <a:pt x="202" y="232"/>
                  </a:lnTo>
                  <a:lnTo>
                    <a:pt x="200" y="232"/>
                  </a:lnTo>
                  <a:lnTo>
                    <a:pt x="200" y="234"/>
                  </a:lnTo>
                  <a:lnTo>
                    <a:pt x="198" y="234"/>
                  </a:lnTo>
                  <a:lnTo>
                    <a:pt x="197" y="234"/>
                  </a:lnTo>
                  <a:lnTo>
                    <a:pt x="195" y="234"/>
                  </a:lnTo>
                  <a:lnTo>
                    <a:pt x="195" y="236"/>
                  </a:lnTo>
                  <a:lnTo>
                    <a:pt x="194" y="236"/>
                  </a:lnTo>
                  <a:lnTo>
                    <a:pt x="195" y="237"/>
                  </a:lnTo>
                  <a:lnTo>
                    <a:pt x="194" y="237"/>
                  </a:lnTo>
                  <a:lnTo>
                    <a:pt x="194" y="239"/>
                  </a:lnTo>
                  <a:lnTo>
                    <a:pt x="194" y="240"/>
                  </a:lnTo>
                  <a:lnTo>
                    <a:pt x="194" y="242"/>
                  </a:lnTo>
                  <a:lnTo>
                    <a:pt x="194" y="244"/>
                  </a:lnTo>
                  <a:lnTo>
                    <a:pt x="192" y="244"/>
                  </a:lnTo>
                  <a:lnTo>
                    <a:pt x="190" y="244"/>
                  </a:lnTo>
                  <a:lnTo>
                    <a:pt x="189" y="244"/>
                  </a:lnTo>
                  <a:lnTo>
                    <a:pt x="189" y="245"/>
                  </a:lnTo>
                  <a:lnTo>
                    <a:pt x="189" y="247"/>
                  </a:lnTo>
                  <a:lnTo>
                    <a:pt x="190" y="247"/>
                  </a:lnTo>
                  <a:lnTo>
                    <a:pt x="190" y="249"/>
                  </a:lnTo>
                  <a:lnTo>
                    <a:pt x="190" y="250"/>
                  </a:lnTo>
                  <a:lnTo>
                    <a:pt x="190" y="252"/>
                  </a:lnTo>
                  <a:lnTo>
                    <a:pt x="190" y="254"/>
                  </a:lnTo>
                  <a:lnTo>
                    <a:pt x="190" y="255"/>
                  </a:lnTo>
                  <a:lnTo>
                    <a:pt x="190" y="257"/>
                  </a:lnTo>
                  <a:lnTo>
                    <a:pt x="190" y="258"/>
                  </a:lnTo>
                  <a:lnTo>
                    <a:pt x="190" y="260"/>
                  </a:lnTo>
                  <a:lnTo>
                    <a:pt x="192" y="260"/>
                  </a:lnTo>
                  <a:lnTo>
                    <a:pt x="194" y="262"/>
                  </a:lnTo>
                  <a:lnTo>
                    <a:pt x="197" y="262"/>
                  </a:lnTo>
                  <a:lnTo>
                    <a:pt x="197" y="263"/>
                  </a:lnTo>
                  <a:lnTo>
                    <a:pt x="198" y="265"/>
                  </a:lnTo>
                  <a:lnTo>
                    <a:pt x="200" y="265"/>
                  </a:lnTo>
                  <a:lnTo>
                    <a:pt x="200" y="267"/>
                  </a:lnTo>
                  <a:lnTo>
                    <a:pt x="200" y="268"/>
                  </a:lnTo>
                  <a:lnTo>
                    <a:pt x="198" y="268"/>
                  </a:lnTo>
                  <a:lnTo>
                    <a:pt x="197" y="268"/>
                  </a:lnTo>
                  <a:lnTo>
                    <a:pt x="195" y="268"/>
                  </a:lnTo>
                  <a:lnTo>
                    <a:pt x="194" y="268"/>
                  </a:lnTo>
                  <a:lnTo>
                    <a:pt x="192" y="268"/>
                  </a:lnTo>
                  <a:lnTo>
                    <a:pt x="190" y="270"/>
                  </a:lnTo>
                  <a:lnTo>
                    <a:pt x="189" y="270"/>
                  </a:lnTo>
                  <a:lnTo>
                    <a:pt x="189" y="271"/>
                  </a:lnTo>
                  <a:lnTo>
                    <a:pt x="189" y="273"/>
                  </a:lnTo>
                  <a:lnTo>
                    <a:pt x="184" y="276"/>
                  </a:lnTo>
                  <a:lnTo>
                    <a:pt x="182" y="278"/>
                  </a:lnTo>
                  <a:lnTo>
                    <a:pt x="181" y="278"/>
                  </a:lnTo>
                  <a:lnTo>
                    <a:pt x="179" y="278"/>
                  </a:lnTo>
                  <a:lnTo>
                    <a:pt x="177" y="278"/>
                  </a:lnTo>
                  <a:lnTo>
                    <a:pt x="174" y="278"/>
                  </a:lnTo>
                  <a:lnTo>
                    <a:pt x="172" y="278"/>
                  </a:lnTo>
                  <a:lnTo>
                    <a:pt x="171" y="280"/>
                  </a:lnTo>
                  <a:lnTo>
                    <a:pt x="169" y="280"/>
                  </a:lnTo>
                  <a:lnTo>
                    <a:pt x="168" y="281"/>
                  </a:lnTo>
                  <a:lnTo>
                    <a:pt x="166" y="280"/>
                  </a:lnTo>
                  <a:lnTo>
                    <a:pt x="164" y="280"/>
                  </a:lnTo>
                  <a:lnTo>
                    <a:pt x="163" y="280"/>
                  </a:lnTo>
                  <a:lnTo>
                    <a:pt x="161" y="281"/>
                  </a:lnTo>
                  <a:lnTo>
                    <a:pt x="159" y="281"/>
                  </a:lnTo>
                  <a:lnTo>
                    <a:pt x="158" y="281"/>
                  </a:lnTo>
                  <a:lnTo>
                    <a:pt x="156" y="283"/>
                  </a:lnTo>
                  <a:lnTo>
                    <a:pt x="148" y="286"/>
                  </a:lnTo>
                  <a:lnTo>
                    <a:pt x="145" y="284"/>
                  </a:lnTo>
                  <a:lnTo>
                    <a:pt x="143" y="284"/>
                  </a:lnTo>
                  <a:lnTo>
                    <a:pt x="140" y="284"/>
                  </a:lnTo>
                  <a:lnTo>
                    <a:pt x="138" y="286"/>
                  </a:lnTo>
                  <a:lnTo>
                    <a:pt x="137" y="286"/>
                  </a:lnTo>
                  <a:lnTo>
                    <a:pt x="132" y="284"/>
                  </a:lnTo>
                  <a:lnTo>
                    <a:pt x="130" y="284"/>
                  </a:lnTo>
                  <a:lnTo>
                    <a:pt x="128" y="284"/>
                  </a:lnTo>
                  <a:lnTo>
                    <a:pt x="122" y="284"/>
                  </a:lnTo>
                  <a:lnTo>
                    <a:pt x="120" y="286"/>
                  </a:lnTo>
                  <a:lnTo>
                    <a:pt x="117" y="286"/>
                  </a:lnTo>
                  <a:lnTo>
                    <a:pt x="115" y="286"/>
                  </a:lnTo>
                  <a:lnTo>
                    <a:pt x="114" y="288"/>
                  </a:lnTo>
                  <a:lnTo>
                    <a:pt x="111" y="288"/>
                  </a:lnTo>
                  <a:lnTo>
                    <a:pt x="111" y="289"/>
                  </a:lnTo>
                  <a:lnTo>
                    <a:pt x="106" y="288"/>
                  </a:lnTo>
                  <a:lnTo>
                    <a:pt x="104" y="289"/>
                  </a:lnTo>
                  <a:lnTo>
                    <a:pt x="102" y="289"/>
                  </a:lnTo>
                  <a:lnTo>
                    <a:pt x="101" y="289"/>
                  </a:lnTo>
                  <a:lnTo>
                    <a:pt x="99" y="289"/>
                  </a:lnTo>
                  <a:lnTo>
                    <a:pt x="98" y="289"/>
                  </a:lnTo>
                  <a:lnTo>
                    <a:pt x="96" y="289"/>
                  </a:lnTo>
                  <a:lnTo>
                    <a:pt x="94" y="289"/>
                  </a:lnTo>
                  <a:lnTo>
                    <a:pt x="91" y="288"/>
                  </a:lnTo>
                  <a:lnTo>
                    <a:pt x="89" y="286"/>
                  </a:lnTo>
                  <a:lnTo>
                    <a:pt x="88" y="284"/>
                  </a:lnTo>
                  <a:lnTo>
                    <a:pt x="85" y="283"/>
                  </a:lnTo>
                  <a:lnTo>
                    <a:pt x="81" y="280"/>
                  </a:lnTo>
                  <a:lnTo>
                    <a:pt x="80" y="280"/>
                  </a:lnTo>
                  <a:lnTo>
                    <a:pt x="78" y="281"/>
                  </a:lnTo>
                  <a:lnTo>
                    <a:pt x="76" y="281"/>
                  </a:lnTo>
                  <a:lnTo>
                    <a:pt x="76" y="280"/>
                  </a:lnTo>
                  <a:lnTo>
                    <a:pt x="75" y="280"/>
                  </a:lnTo>
                  <a:lnTo>
                    <a:pt x="75" y="278"/>
                  </a:lnTo>
                  <a:lnTo>
                    <a:pt x="75" y="276"/>
                  </a:lnTo>
                  <a:lnTo>
                    <a:pt x="73" y="275"/>
                  </a:lnTo>
                  <a:lnTo>
                    <a:pt x="72" y="275"/>
                  </a:lnTo>
                  <a:lnTo>
                    <a:pt x="70" y="275"/>
                  </a:lnTo>
                  <a:lnTo>
                    <a:pt x="68" y="275"/>
                  </a:lnTo>
                  <a:lnTo>
                    <a:pt x="68" y="273"/>
                  </a:lnTo>
                  <a:lnTo>
                    <a:pt x="67" y="273"/>
                  </a:lnTo>
                  <a:lnTo>
                    <a:pt x="65" y="273"/>
                  </a:lnTo>
                  <a:lnTo>
                    <a:pt x="65" y="271"/>
                  </a:lnTo>
                  <a:lnTo>
                    <a:pt x="63" y="270"/>
                  </a:lnTo>
                  <a:lnTo>
                    <a:pt x="63" y="268"/>
                  </a:lnTo>
                  <a:lnTo>
                    <a:pt x="62" y="267"/>
                  </a:lnTo>
                  <a:lnTo>
                    <a:pt x="60" y="265"/>
                  </a:lnTo>
                  <a:lnTo>
                    <a:pt x="60" y="263"/>
                  </a:lnTo>
                  <a:lnTo>
                    <a:pt x="59" y="263"/>
                  </a:lnTo>
                  <a:lnTo>
                    <a:pt x="57" y="263"/>
                  </a:lnTo>
                  <a:lnTo>
                    <a:pt x="55" y="260"/>
                  </a:lnTo>
                  <a:lnTo>
                    <a:pt x="54" y="260"/>
                  </a:lnTo>
                  <a:lnTo>
                    <a:pt x="54" y="258"/>
                  </a:lnTo>
                  <a:lnTo>
                    <a:pt x="52" y="258"/>
                  </a:lnTo>
                  <a:lnTo>
                    <a:pt x="50" y="258"/>
                  </a:lnTo>
                  <a:lnTo>
                    <a:pt x="47" y="258"/>
                  </a:lnTo>
                  <a:lnTo>
                    <a:pt x="46" y="258"/>
                  </a:lnTo>
                  <a:lnTo>
                    <a:pt x="44" y="257"/>
                  </a:lnTo>
                  <a:lnTo>
                    <a:pt x="44" y="255"/>
                  </a:lnTo>
                  <a:lnTo>
                    <a:pt x="42" y="255"/>
                  </a:lnTo>
                  <a:lnTo>
                    <a:pt x="41" y="255"/>
                  </a:lnTo>
                  <a:lnTo>
                    <a:pt x="39" y="255"/>
                  </a:lnTo>
                  <a:lnTo>
                    <a:pt x="36" y="257"/>
                  </a:lnTo>
                  <a:lnTo>
                    <a:pt x="36" y="258"/>
                  </a:lnTo>
                  <a:lnTo>
                    <a:pt x="33" y="255"/>
                  </a:lnTo>
                  <a:lnTo>
                    <a:pt x="31" y="255"/>
                  </a:lnTo>
                  <a:lnTo>
                    <a:pt x="29" y="257"/>
                  </a:lnTo>
                  <a:lnTo>
                    <a:pt x="28" y="257"/>
                  </a:lnTo>
                  <a:lnTo>
                    <a:pt x="26" y="255"/>
                  </a:lnTo>
                  <a:lnTo>
                    <a:pt x="28" y="254"/>
                  </a:lnTo>
                  <a:lnTo>
                    <a:pt x="28" y="252"/>
                  </a:lnTo>
                  <a:lnTo>
                    <a:pt x="26" y="252"/>
                  </a:lnTo>
                  <a:lnTo>
                    <a:pt x="28" y="250"/>
                  </a:lnTo>
                  <a:lnTo>
                    <a:pt x="26" y="249"/>
                  </a:lnTo>
                  <a:lnTo>
                    <a:pt x="28" y="247"/>
                  </a:lnTo>
                  <a:lnTo>
                    <a:pt x="28" y="245"/>
                  </a:lnTo>
                  <a:lnTo>
                    <a:pt x="26" y="244"/>
                  </a:lnTo>
                  <a:lnTo>
                    <a:pt x="26" y="242"/>
                  </a:lnTo>
                  <a:lnTo>
                    <a:pt x="24" y="242"/>
                  </a:lnTo>
                  <a:lnTo>
                    <a:pt x="24" y="239"/>
                  </a:lnTo>
                  <a:lnTo>
                    <a:pt x="21" y="240"/>
                  </a:lnTo>
                  <a:lnTo>
                    <a:pt x="20" y="239"/>
                  </a:lnTo>
                  <a:lnTo>
                    <a:pt x="16" y="236"/>
                  </a:lnTo>
                  <a:lnTo>
                    <a:pt x="16" y="234"/>
                  </a:lnTo>
                  <a:lnTo>
                    <a:pt x="15" y="232"/>
                  </a:lnTo>
                  <a:lnTo>
                    <a:pt x="13" y="231"/>
                  </a:lnTo>
                  <a:lnTo>
                    <a:pt x="13" y="229"/>
                  </a:lnTo>
                  <a:lnTo>
                    <a:pt x="11" y="227"/>
                  </a:lnTo>
                  <a:lnTo>
                    <a:pt x="11" y="226"/>
                  </a:lnTo>
                  <a:lnTo>
                    <a:pt x="13" y="224"/>
                  </a:lnTo>
                  <a:lnTo>
                    <a:pt x="13" y="223"/>
                  </a:lnTo>
                  <a:lnTo>
                    <a:pt x="11" y="223"/>
                  </a:lnTo>
                  <a:lnTo>
                    <a:pt x="10" y="223"/>
                  </a:lnTo>
                  <a:lnTo>
                    <a:pt x="10" y="221"/>
                  </a:lnTo>
                  <a:lnTo>
                    <a:pt x="8" y="221"/>
                  </a:lnTo>
                  <a:lnTo>
                    <a:pt x="8" y="219"/>
                  </a:lnTo>
                  <a:lnTo>
                    <a:pt x="7" y="219"/>
                  </a:lnTo>
                  <a:lnTo>
                    <a:pt x="7" y="218"/>
                  </a:lnTo>
                  <a:lnTo>
                    <a:pt x="7" y="216"/>
                  </a:lnTo>
                  <a:lnTo>
                    <a:pt x="8" y="214"/>
                  </a:lnTo>
                  <a:lnTo>
                    <a:pt x="7" y="214"/>
                  </a:lnTo>
                  <a:lnTo>
                    <a:pt x="5" y="214"/>
                  </a:lnTo>
                  <a:lnTo>
                    <a:pt x="5" y="213"/>
                  </a:lnTo>
                  <a:lnTo>
                    <a:pt x="3" y="213"/>
                  </a:lnTo>
                  <a:lnTo>
                    <a:pt x="3" y="211"/>
                  </a:lnTo>
                  <a:lnTo>
                    <a:pt x="2" y="211"/>
                  </a:lnTo>
                  <a:lnTo>
                    <a:pt x="0" y="211"/>
                  </a:lnTo>
                  <a:lnTo>
                    <a:pt x="0" y="210"/>
                  </a:lnTo>
                  <a:lnTo>
                    <a:pt x="0" y="208"/>
                  </a:lnTo>
                  <a:lnTo>
                    <a:pt x="0" y="206"/>
                  </a:lnTo>
                  <a:lnTo>
                    <a:pt x="2" y="206"/>
                  </a:lnTo>
                  <a:lnTo>
                    <a:pt x="2" y="205"/>
                  </a:lnTo>
                  <a:lnTo>
                    <a:pt x="0" y="203"/>
                  </a:lnTo>
                  <a:lnTo>
                    <a:pt x="2" y="201"/>
                  </a:lnTo>
                  <a:lnTo>
                    <a:pt x="0" y="200"/>
                  </a:lnTo>
                  <a:lnTo>
                    <a:pt x="0" y="197"/>
                  </a:lnTo>
                  <a:lnTo>
                    <a:pt x="2" y="197"/>
                  </a:lnTo>
                  <a:lnTo>
                    <a:pt x="0" y="197"/>
                  </a:lnTo>
                  <a:lnTo>
                    <a:pt x="2" y="195"/>
                  </a:lnTo>
                  <a:lnTo>
                    <a:pt x="3" y="193"/>
                  </a:lnTo>
                  <a:lnTo>
                    <a:pt x="3" y="192"/>
                  </a:lnTo>
                  <a:lnTo>
                    <a:pt x="3" y="190"/>
                  </a:lnTo>
                  <a:lnTo>
                    <a:pt x="5" y="190"/>
                  </a:lnTo>
                  <a:lnTo>
                    <a:pt x="7" y="190"/>
                  </a:lnTo>
                  <a:lnTo>
                    <a:pt x="5" y="190"/>
                  </a:lnTo>
                  <a:lnTo>
                    <a:pt x="5" y="188"/>
                  </a:lnTo>
                  <a:lnTo>
                    <a:pt x="7" y="188"/>
                  </a:lnTo>
                  <a:lnTo>
                    <a:pt x="7" y="187"/>
                  </a:lnTo>
                  <a:lnTo>
                    <a:pt x="8" y="187"/>
                  </a:lnTo>
                  <a:lnTo>
                    <a:pt x="8" y="185"/>
                  </a:lnTo>
                  <a:lnTo>
                    <a:pt x="8" y="184"/>
                  </a:lnTo>
                  <a:lnTo>
                    <a:pt x="8" y="182"/>
                  </a:lnTo>
                  <a:lnTo>
                    <a:pt x="8" y="180"/>
                  </a:lnTo>
                  <a:lnTo>
                    <a:pt x="7" y="180"/>
                  </a:lnTo>
                  <a:lnTo>
                    <a:pt x="7" y="179"/>
                  </a:lnTo>
                  <a:lnTo>
                    <a:pt x="7" y="177"/>
                  </a:lnTo>
                  <a:lnTo>
                    <a:pt x="7" y="175"/>
                  </a:lnTo>
                  <a:lnTo>
                    <a:pt x="7" y="174"/>
                  </a:lnTo>
                  <a:lnTo>
                    <a:pt x="7" y="172"/>
                  </a:lnTo>
                  <a:lnTo>
                    <a:pt x="8" y="172"/>
                  </a:lnTo>
                  <a:lnTo>
                    <a:pt x="8" y="171"/>
                  </a:lnTo>
                  <a:lnTo>
                    <a:pt x="8" y="169"/>
                  </a:lnTo>
                  <a:lnTo>
                    <a:pt x="8" y="167"/>
                  </a:lnTo>
                  <a:lnTo>
                    <a:pt x="8" y="166"/>
                  </a:lnTo>
                  <a:lnTo>
                    <a:pt x="10" y="164"/>
                  </a:lnTo>
                  <a:lnTo>
                    <a:pt x="10" y="162"/>
                  </a:lnTo>
                  <a:lnTo>
                    <a:pt x="11" y="161"/>
                  </a:lnTo>
                  <a:lnTo>
                    <a:pt x="11" y="159"/>
                  </a:lnTo>
                  <a:lnTo>
                    <a:pt x="11" y="158"/>
                  </a:lnTo>
                  <a:lnTo>
                    <a:pt x="11" y="156"/>
                  </a:lnTo>
                  <a:lnTo>
                    <a:pt x="13" y="154"/>
                  </a:lnTo>
                  <a:lnTo>
                    <a:pt x="13" y="153"/>
                  </a:lnTo>
                  <a:lnTo>
                    <a:pt x="15" y="153"/>
                  </a:lnTo>
                  <a:lnTo>
                    <a:pt x="15" y="151"/>
                  </a:lnTo>
                  <a:lnTo>
                    <a:pt x="16" y="149"/>
                  </a:lnTo>
                  <a:lnTo>
                    <a:pt x="16" y="148"/>
                  </a:lnTo>
                  <a:lnTo>
                    <a:pt x="18" y="148"/>
                  </a:lnTo>
                  <a:lnTo>
                    <a:pt x="18" y="146"/>
                  </a:lnTo>
                  <a:lnTo>
                    <a:pt x="18" y="145"/>
                  </a:lnTo>
                  <a:lnTo>
                    <a:pt x="20" y="145"/>
                  </a:lnTo>
                  <a:lnTo>
                    <a:pt x="20" y="143"/>
                  </a:lnTo>
                  <a:lnTo>
                    <a:pt x="20" y="141"/>
                  </a:lnTo>
                  <a:lnTo>
                    <a:pt x="20" y="140"/>
                  </a:lnTo>
                  <a:lnTo>
                    <a:pt x="23" y="138"/>
                  </a:lnTo>
                  <a:lnTo>
                    <a:pt x="24" y="136"/>
                  </a:lnTo>
                  <a:lnTo>
                    <a:pt x="26" y="135"/>
                  </a:lnTo>
                  <a:lnTo>
                    <a:pt x="28" y="133"/>
                  </a:lnTo>
                  <a:lnTo>
                    <a:pt x="29" y="133"/>
                  </a:lnTo>
                  <a:lnTo>
                    <a:pt x="31" y="133"/>
                  </a:lnTo>
                  <a:lnTo>
                    <a:pt x="33" y="135"/>
                  </a:lnTo>
                  <a:lnTo>
                    <a:pt x="36" y="135"/>
                  </a:lnTo>
                  <a:lnTo>
                    <a:pt x="36" y="136"/>
                  </a:lnTo>
                  <a:lnTo>
                    <a:pt x="37" y="136"/>
                  </a:lnTo>
                  <a:lnTo>
                    <a:pt x="39" y="136"/>
                  </a:lnTo>
                  <a:lnTo>
                    <a:pt x="41" y="138"/>
                  </a:lnTo>
                  <a:lnTo>
                    <a:pt x="42" y="140"/>
                  </a:lnTo>
                  <a:lnTo>
                    <a:pt x="44" y="140"/>
                  </a:lnTo>
                  <a:lnTo>
                    <a:pt x="46" y="140"/>
                  </a:lnTo>
                  <a:lnTo>
                    <a:pt x="47" y="140"/>
                  </a:lnTo>
                  <a:lnTo>
                    <a:pt x="49" y="138"/>
                  </a:lnTo>
                  <a:lnTo>
                    <a:pt x="50" y="138"/>
                  </a:lnTo>
                  <a:lnTo>
                    <a:pt x="50" y="136"/>
                  </a:lnTo>
                  <a:lnTo>
                    <a:pt x="52" y="135"/>
                  </a:lnTo>
                  <a:lnTo>
                    <a:pt x="54" y="135"/>
                  </a:lnTo>
                  <a:lnTo>
                    <a:pt x="54" y="136"/>
                  </a:lnTo>
                  <a:lnTo>
                    <a:pt x="55" y="136"/>
                  </a:lnTo>
                  <a:lnTo>
                    <a:pt x="57" y="140"/>
                  </a:lnTo>
                  <a:lnTo>
                    <a:pt x="59" y="140"/>
                  </a:lnTo>
                  <a:lnTo>
                    <a:pt x="60" y="138"/>
                  </a:lnTo>
                  <a:lnTo>
                    <a:pt x="62" y="136"/>
                  </a:lnTo>
                  <a:lnTo>
                    <a:pt x="63" y="136"/>
                  </a:lnTo>
                  <a:lnTo>
                    <a:pt x="65" y="136"/>
                  </a:lnTo>
                  <a:lnTo>
                    <a:pt x="67" y="133"/>
                  </a:lnTo>
                  <a:lnTo>
                    <a:pt x="68" y="133"/>
                  </a:lnTo>
                  <a:lnTo>
                    <a:pt x="68" y="132"/>
                  </a:lnTo>
                  <a:lnTo>
                    <a:pt x="70" y="132"/>
                  </a:lnTo>
                  <a:lnTo>
                    <a:pt x="72" y="132"/>
                  </a:lnTo>
                  <a:lnTo>
                    <a:pt x="73" y="132"/>
                  </a:lnTo>
                  <a:lnTo>
                    <a:pt x="75" y="132"/>
                  </a:lnTo>
                  <a:lnTo>
                    <a:pt x="75" y="130"/>
                  </a:lnTo>
                  <a:lnTo>
                    <a:pt x="76" y="128"/>
                  </a:lnTo>
                  <a:lnTo>
                    <a:pt x="78" y="128"/>
                  </a:lnTo>
                  <a:lnTo>
                    <a:pt x="78" y="127"/>
                  </a:lnTo>
                  <a:lnTo>
                    <a:pt x="80" y="123"/>
                  </a:lnTo>
                  <a:lnTo>
                    <a:pt x="81" y="122"/>
                  </a:lnTo>
                  <a:lnTo>
                    <a:pt x="81" y="120"/>
                  </a:lnTo>
                  <a:lnTo>
                    <a:pt x="83" y="120"/>
                  </a:lnTo>
                  <a:lnTo>
                    <a:pt x="85" y="120"/>
                  </a:lnTo>
                  <a:lnTo>
                    <a:pt x="86" y="120"/>
                  </a:lnTo>
                  <a:lnTo>
                    <a:pt x="88" y="120"/>
                  </a:lnTo>
                  <a:lnTo>
                    <a:pt x="89" y="120"/>
                  </a:lnTo>
                  <a:lnTo>
                    <a:pt x="91" y="119"/>
                  </a:lnTo>
                  <a:lnTo>
                    <a:pt x="91" y="117"/>
                  </a:lnTo>
                  <a:lnTo>
                    <a:pt x="91" y="115"/>
                  </a:lnTo>
                  <a:lnTo>
                    <a:pt x="91" y="114"/>
                  </a:lnTo>
                  <a:lnTo>
                    <a:pt x="93" y="110"/>
                  </a:lnTo>
                  <a:lnTo>
                    <a:pt x="93" y="109"/>
                  </a:lnTo>
                  <a:lnTo>
                    <a:pt x="93" y="107"/>
                  </a:lnTo>
                  <a:lnTo>
                    <a:pt x="93" y="105"/>
                  </a:lnTo>
                  <a:lnTo>
                    <a:pt x="94" y="105"/>
                  </a:lnTo>
                  <a:lnTo>
                    <a:pt x="98" y="105"/>
                  </a:lnTo>
                  <a:lnTo>
                    <a:pt x="99" y="104"/>
                  </a:lnTo>
                  <a:lnTo>
                    <a:pt x="102" y="104"/>
                  </a:lnTo>
                  <a:lnTo>
                    <a:pt x="104" y="104"/>
                  </a:lnTo>
                  <a:lnTo>
                    <a:pt x="106" y="102"/>
                  </a:lnTo>
                  <a:lnTo>
                    <a:pt x="107" y="102"/>
                  </a:lnTo>
                  <a:lnTo>
                    <a:pt x="107" y="101"/>
                  </a:lnTo>
                  <a:lnTo>
                    <a:pt x="107" y="99"/>
                  </a:lnTo>
                  <a:lnTo>
                    <a:pt x="109" y="97"/>
                  </a:lnTo>
                  <a:lnTo>
                    <a:pt x="109" y="96"/>
                  </a:lnTo>
                  <a:lnTo>
                    <a:pt x="109" y="94"/>
                  </a:lnTo>
                  <a:lnTo>
                    <a:pt x="111" y="94"/>
                  </a:lnTo>
                  <a:lnTo>
                    <a:pt x="109" y="91"/>
                  </a:lnTo>
                  <a:lnTo>
                    <a:pt x="109" y="89"/>
                  </a:lnTo>
                  <a:lnTo>
                    <a:pt x="109" y="88"/>
                  </a:lnTo>
                  <a:lnTo>
                    <a:pt x="109" y="86"/>
                  </a:lnTo>
                  <a:lnTo>
                    <a:pt x="111" y="84"/>
                  </a:lnTo>
                  <a:lnTo>
                    <a:pt x="111" y="83"/>
                  </a:lnTo>
                  <a:lnTo>
                    <a:pt x="111" y="79"/>
                  </a:lnTo>
                  <a:lnTo>
                    <a:pt x="111" y="78"/>
                  </a:lnTo>
                  <a:lnTo>
                    <a:pt x="112" y="75"/>
                  </a:lnTo>
                  <a:lnTo>
                    <a:pt x="111" y="73"/>
                  </a:lnTo>
                  <a:lnTo>
                    <a:pt x="111" y="71"/>
                  </a:lnTo>
                  <a:lnTo>
                    <a:pt x="111" y="70"/>
                  </a:lnTo>
                  <a:lnTo>
                    <a:pt x="112" y="70"/>
                  </a:lnTo>
                  <a:lnTo>
                    <a:pt x="114" y="68"/>
                  </a:lnTo>
                  <a:lnTo>
                    <a:pt x="114" y="66"/>
                  </a:lnTo>
                  <a:lnTo>
                    <a:pt x="114" y="65"/>
                  </a:lnTo>
                  <a:lnTo>
                    <a:pt x="115" y="63"/>
                  </a:lnTo>
                  <a:lnTo>
                    <a:pt x="120" y="63"/>
                  </a:lnTo>
                  <a:lnTo>
                    <a:pt x="122" y="62"/>
                  </a:lnTo>
                  <a:lnTo>
                    <a:pt x="125" y="62"/>
                  </a:lnTo>
                  <a:lnTo>
                    <a:pt x="127" y="60"/>
                  </a:lnTo>
                  <a:lnTo>
                    <a:pt x="128" y="58"/>
                  </a:lnTo>
                  <a:lnTo>
                    <a:pt x="130" y="58"/>
                  </a:lnTo>
                  <a:lnTo>
                    <a:pt x="132" y="58"/>
                  </a:lnTo>
                  <a:lnTo>
                    <a:pt x="132" y="55"/>
                  </a:lnTo>
                  <a:lnTo>
                    <a:pt x="133" y="53"/>
                  </a:lnTo>
                  <a:lnTo>
                    <a:pt x="133" y="50"/>
                  </a:lnTo>
                  <a:lnTo>
                    <a:pt x="132" y="49"/>
                  </a:lnTo>
                  <a:lnTo>
                    <a:pt x="132" y="47"/>
                  </a:lnTo>
                  <a:lnTo>
                    <a:pt x="133" y="47"/>
                  </a:lnTo>
                  <a:lnTo>
                    <a:pt x="135" y="47"/>
                  </a:lnTo>
                  <a:lnTo>
                    <a:pt x="137" y="45"/>
                  </a:lnTo>
                  <a:lnTo>
                    <a:pt x="138" y="44"/>
                  </a:lnTo>
                  <a:lnTo>
                    <a:pt x="140" y="42"/>
                  </a:lnTo>
                  <a:lnTo>
                    <a:pt x="141" y="39"/>
                  </a:lnTo>
                  <a:lnTo>
                    <a:pt x="143" y="37"/>
                  </a:lnTo>
                  <a:lnTo>
                    <a:pt x="143" y="36"/>
                  </a:lnTo>
                  <a:lnTo>
                    <a:pt x="145" y="36"/>
                  </a:lnTo>
                  <a:lnTo>
                    <a:pt x="143" y="32"/>
                  </a:lnTo>
                  <a:lnTo>
                    <a:pt x="143" y="31"/>
                  </a:lnTo>
                  <a:lnTo>
                    <a:pt x="145" y="31"/>
                  </a:lnTo>
                  <a:lnTo>
                    <a:pt x="146" y="29"/>
                  </a:lnTo>
                  <a:lnTo>
                    <a:pt x="148" y="29"/>
                  </a:lnTo>
                  <a:lnTo>
                    <a:pt x="150" y="31"/>
                  </a:lnTo>
                  <a:lnTo>
                    <a:pt x="151" y="31"/>
                  </a:lnTo>
                  <a:lnTo>
                    <a:pt x="153" y="29"/>
                  </a:lnTo>
                  <a:lnTo>
                    <a:pt x="155" y="29"/>
                  </a:lnTo>
                  <a:lnTo>
                    <a:pt x="156" y="29"/>
                  </a:lnTo>
                  <a:lnTo>
                    <a:pt x="158" y="29"/>
                  </a:lnTo>
                  <a:lnTo>
                    <a:pt x="159" y="29"/>
                  </a:lnTo>
                  <a:lnTo>
                    <a:pt x="161" y="29"/>
                  </a:lnTo>
                  <a:lnTo>
                    <a:pt x="163" y="29"/>
                  </a:lnTo>
                  <a:lnTo>
                    <a:pt x="164" y="29"/>
                  </a:lnTo>
                  <a:lnTo>
                    <a:pt x="166" y="27"/>
                  </a:lnTo>
                  <a:lnTo>
                    <a:pt x="168" y="26"/>
                  </a:lnTo>
                  <a:lnTo>
                    <a:pt x="169" y="26"/>
                  </a:lnTo>
                  <a:lnTo>
                    <a:pt x="171" y="26"/>
                  </a:lnTo>
                  <a:lnTo>
                    <a:pt x="171" y="24"/>
                  </a:lnTo>
                  <a:lnTo>
                    <a:pt x="172" y="24"/>
                  </a:lnTo>
                  <a:lnTo>
                    <a:pt x="176" y="24"/>
                  </a:lnTo>
                  <a:lnTo>
                    <a:pt x="179" y="24"/>
                  </a:lnTo>
                  <a:lnTo>
                    <a:pt x="181" y="24"/>
                  </a:lnTo>
                  <a:lnTo>
                    <a:pt x="182" y="26"/>
                  </a:lnTo>
                  <a:lnTo>
                    <a:pt x="182" y="27"/>
                  </a:lnTo>
                  <a:lnTo>
                    <a:pt x="184" y="29"/>
                  </a:lnTo>
                  <a:lnTo>
                    <a:pt x="182" y="32"/>
                  </a:lnTo>
                  <a:lnTo>
                    <a:pt x="184" y="32"/>
                  </a:lnTo>
                  <a:lnTo>
                    <a:pt x="184" y="34"/>
                  </a:lnTo>
                  <a:lnTo>
                    <a:pt x="185" y="34"/>
                  </a:lnTo>
                  <a:lnTo>
                    <a:pt x="185" y="36"/>
                  </a:lnTo>
                  <a:lnTo>
                    <a:pt x="185" y="37"/>
                  </a:lnTo>
                  <a:lnTo>
                    <a:pt x="184" y="39"/>
                  </a:lnTo>
                  <a:lnTo>
                    <a:pt x="185" y="39"/>
                  </a:lnTo>
                  <a:lnTo>
                    <a:pt x="185" y="40"/>
                  </a:lnTo>
                  <a:lnTo>
                    <a:pt x="187" y="40"/>
                  </a:lnTo>
                  <a:lnTo>
                    <a:pt x="190" y="40"/>
                  </a:lnTo>
                  <a:lnTo>
                    <a:pt x="192" y="40"/>
                  </a:lnTo>
                  <a:lnTo>
                    <a:pt x="192" y="39"/>
                  </a:lnTo>
                  <a:lnTo>
                    <a:pt x="192" y="37"/>
                  </a:lnTo>
                  <a:lnTo>
                    <a:pt x="194" y="37"/>
                  </a:lnTo>
                  <a:lnTo>
                    <a:pt x="195" y="37"/>
                  </a:lnTo>
                  <a:lnTo>
                    <a:pt x="197" y="39"/>
                  </a:lnTo>
                  <a:lnTo>
                    <a:pt x="198" y="39"/>
                  </a:lnTo>
                  <a:lnTo>
                    <a:pt x="198" y="37"/>
                  </a:lnTo>
                  <a:lnTo>
                    <a:pt x="200" y="37"/>
                  </a:lnTo>
                  <a:lnTo>
                    <a:pt x="202" y="37"/>
                  </a:lnTo>
                  <a:lnTo>
                    <a:pt x="203" y="36"/>
                  </a:lnTo>
                  <a:lnTo>
                    <a:pt x="205" y="37"/>
                  </a:lnTo>
                  <a:lnTo>
                    <a:pt x="205" y="36"/>
                  </a:lnTo>
                  <a:lnTo>
                    <a:pt x="205" y="34"/>
                  </a:lnTo>
                  <a:lnTo>
                    <a:pt x="205" y="32"/>
                  </a:lnTo>
                  <a:lnTo>
                    <a:pt x="205" y="31"/>
                  </a:lnTo>
                  <a:lnTo>
                    <a:pt x="207" y="31"/>
                  </a:lnTo>
                  <a:lnTo>
                    <a:pt x="208" y="31"/>
                  </a:lnTo>
                  <a:lnTo>
                    <a:pt x="208" y="29"/>
                  </a:lnTo>
                  <a:lnTo>
                    <a:pt x="207" y="27"/>
                  </a:lnTo>
                  <a:lnTo>
                    <a:pt x="207" y="26"/>
                  </a:lnTo>
                  <a:lnTo>
                    <a:pt x="207" y="24"/>
                  </a:lnTo>
                  <a:lnTo>
                    <a:pt x="208" y="23"/>
                  </a:lnTo>
                  <a:lnTo>
                    <a:pt x="208" y="21"/>
                  </a:lnTo>
                  <a:lnTo>
                    <a:pt x="210" y="18"/>
                  </a:lnTo>
                  <a:lnTo>
                    <a:pt x="211" y="18"/>
                  </a:lnTo>
                  <a:lnTo>
                    <a:pt x="213" y="18"/>
                  </a:lnTo>
                  <a:lnTo>
                    <a:pt x="215" y="18"/>
                  </a:lnTo>
                  <a:lnTo>
                    <a:pt x="216" y="16"/>
                  </a:lnTo>
                  <a:lnTo>
                    <a:pt x="218" y="16"/>
                  </a:lnTo>
                  <a:lnTo>
                    <a:pt x="220" y="16"/>
                  </a:lnTo>
                  <a:lnTo>
                    <a:pt x="220" y="14"/>
                  </a:lnTo>
                  <a:lnTo>
                    <a:pt x="220" y="13"/>
                  </a:lnTo>
                  <a:lnTo>
                    <a:pt x="220" y="11"/>
                  </a:lnTo>
                  <a:lnTo>
                    <a:pt x="221" y="10"/>
                  </a:lnTo>
                  <a:lnTo>
                    <a:pt x="223" y="8"/>
                  </a:lnTo>
                  <a:lnTo>
                    <a:pt x="223" y="6"/>
                  </a:lnTo>
                  <a:lnTo>
                    <a:pt x="224" y="6"/>
                  </a:lnTo>
                  <a:lnTo>
                    <a:pt x="224" y="5"/>
                  </a:lnTo>
                  <a:lnTo>
                    <a:pt x="226" y="5"/>
                  </a:lnTo>
                  <a:lnTo>
                    <a:pt x="228" y="5"/>
                  </a:lnTo>
                  <a:lnTo>
                    <a:pt x="228" y="6"/>
                  </a:lnTo>
                  <a:lnTo>
                    <a:pt x="228" y="8"/>
                  </a:lnTo>
                  <a:lnTo>
                    <a:pt x="229" y="8"/>
                  </a:lnTo>
                  <a:lnTo>
                    <a:pt x="231" y="8"/>
                  </a:lnTo>
                  <a:close/>
                </a:path>
              </a:pathLst>
            </a:custGeom>
            <a:solidFill>
              <a:srgbClr val="00B0F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1215" name="Freeform 61">
              <a:extLst>
                <a:ext uri="{FF2B5EF4-FFF2-40B4-BE49-F238E27FC236}">
                  <a16:creationId xmlns:a16="http://schemas.microsoft.com/office/drawing/2014/main" id="{6C73C90C-A6F6-0237-58DE-D058494407CC}"/>
                </a:ext>
              </a:extLst>
            </p:cNvPr>
            <p:cNvSpPr>
              <a:spLocks/>
            </p:cNvSpPr>
            <p:nvPr/>
          </p:nvSpPr>
          <p:spPr bwMode="auto">
            <a:xfrm>
              <a:off x="4456" y="4607"/>
              <a:ext cx="10" cy="13"/>
            </a:xfrm>
            <a:custGeom>
              <a:avLst/>
              <a:gdLst>
                <a:gd name="T0" fmla="*/ 8 w 10"/>
                <a:gd name="T1" fmla="*/ 10 h 13"/>
                <a:gd name="T2" fmla="*/ 8 w 10"/>
                <a:gd name="T3" fmla="*/ 13 h 13"/>
                <a:gd name="T4" fmla="*/ 8 w 10"/>
                <a:gd name="T5" fmla="*/ 13 h 13"/>
                <a:gd name="T6" fmla="*/ 7 w 10"/>
                <a:gd name="T7" fmla="*/ 13 h 13"/>
                <a:gd name="T8" fmla="*/ 5 w 10"/>
                <a:gd name="T9" fmla="*/ 13 h 13"/>
                <a:gd name="T10" fmla="*/ 4 w 10"/>
                <a:gd name="T11" fmla="*/ 13 h 13"/>
                <a:gd name="T12" fmla="*/ 4 w 10"/>
                <a:gd name="T13" fmla="*/ 11 h 13"/>
                <a:gd name="T14" fmla="*/ 2 w 10"/>
                <a:gd name="T15" fmla="*/ 13 h 13"/>
                <a:gd name="T16" fmla="*/ 2 w 10"/>
                <a:gd name="T17" fmla="*/ 11 h 13"/>
                <a:gd name="T18" fmla="*/ 0 w 10"/>
                <a:gd name="T19" fmla="*/ 13 h 13"/>
                <a:gd name="T20" fmla="*/ 0 w 10"/>
                <a:gd name="T21" fmla="*/ 13 h 13"/>
                <a:gd name="T22" fmla="*/ 0 w 10"/>
                <a:gd name="T23" fmla="*/ 11 h 13"/>
                <a:gd name="T24" fmla="*/ 0 w 10"/>
                <a:gd name="T25" fmla="*/ 8 h 13"/>
                <a:gd name="T26" fmla="*/ 0 w 10"/>
                <a:gd name="T27" fmla="*/ 8 h 13"/>
                <a:gd name="T28" fmla="*/ 0 w 10"/>
                <a:gd name="T29" fmla="*/ 6 h 13"/>
                <a:gd name="T30" fmla="*/ 0 w 10"/>
                <a:gd name="T31" fmla="*/ 5 h 13"/>
                <a:gd name="T32" fmla="*/ 0 w 10"/>
                <a:gd name="T33" fmla="*/ 5 h 13"/>
                <a:gd name="T34" fmla="*/ 0 w 10"/>
                <a:gd name="T35" fmla="*/ 5 h 13"/>
                <a:gd name="T36" fmla="*/ 0 w 10"/>
                <a:gd name="T37" fmla="*/ 5 h 13"/>
                <a:gd name="T38" fmla="*/ 2 w 10"/>
                <a:gd name="T39" fmla="*/ 5 h 13"/>
                <a:gd name="T40" fmla="*/ 2 w 10"/>
                <a:gd name="T41" fmla="*/ 5 h 13"/>
                <a:gd name="T42" fmla="*/ 4 w 10"/>
                <a:gd name="T43" fmla="*/ 3 h 13"/>
                <a:gd name="T44" fmla="*/ 5 w 10"/>
                <a:gd name="T45" fmla="*/ 1 h 13"/>
                <a:gd name="T46" fmla="*/ 7 w 10"/>
                <a:gd name="T47" fmla="*/ 1 h 13"/>
                <a:gd name="T48" fmla="*/ 7 w 10"/>
                <a:gd name="T49" fmla="*/ 0 h 13"/>
                <a:gd name="T50" fmla="*/ 10 w 10"/>
                <a:gd name="T51" fmla="*/ 0 h 13"/>
                <a:gd name="T52" fmla="*/ 10 w 10"/>
                <a:gd name="T53" fmla="*/ 0 h 13"/>
                <a:gd name="T54" fmla="*/ 10 w 10"/>
                <a:gd name="T55" fmla="*/ 3 h 13"/>
                <a:gd name="T56" fmla="*/ 10 w 10"/>
                <a:gd name="T57" fmla="*/ 3 h 13"/>
                <a:gd name="T58" fmla="*/ 10 w 10"/>
                <a:gd name="T59" fmla="*/ 5 h 13"/>
                <a:gd name="T60" fmla="*/ 10 w 10"/>
                <a:gd name="T61" fmla="*/ 6 h 13"/>
                <a:gd name="T62" fmla="*/ 10 w 10"/>
                <a:gd name="T63" fmla="*/ 6 h 13"/>
                <a:gd name="T64" fmla="*/ 10 w 10"/>
                <a:gd name="T65" fmla="*/ 6 h 13"/>
                <a:gd name="T66" fmla="*/ 8 w 10"/>
                <a:gd name="T67" fmla="*/ 8 h 13"/>
                <a:gd name="T68" fmla="*/ 8 w 10"/>
                <a:gd name="T69" fmla="*/ 1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 h="13">
                  <a:moveTo>
                    <a:pt x="8" y="10"/>
                  </a:moveTo>
                  <a:lnTo>
                    <a:pt x="8" y="13"/>
                  </a:lnTo>
                  <a:lnTo>
                    <a:pt x="8" y="13"/>
                  </a:lnTo>
                  <a:lnTo>
                    <a:pt x="7" y="13"/>
                  </a:lnTo>
                  <a:lnTo>
                    <a:pt x="5" y="13"/>
                  </a:lnTo>
                  <a:lnTo>
                    <a:pt x="4" y="13"/>
                  </a:lnTo>
                  <a:lnTo>
                    <a:pt x="4" y="11"/>
                  </a:lnTo>
                  <a:lnTo>
                    <a:pt x="2" y="13"/>
                  </a:lnTo>
                  <a:lnTo>
                    <a:pt x="2" y="11"/>
                  </a:lnTo>
                  <a:lnTo>
                    <a:pt x="0" y="13"/>
                  </a:lnTo>
                  <a:lnTo>
                    <a:pt x="0" y="13"/>
                  </a:lnTo>
                  <a:lnTo>
                    <a:pt x="0" y="11"/>
                  </a:lnTo>
                  <a:lnTo>
                    <a:pt x="0" y="8"/>
                  </a:lnTo>
                  <a:lnTo>
                    <a:pt x="0" y="8"/>
                  </a:lnTo>
                  <a:lnTo>
                    <a:pt x="0" y="6"/>
                  </a:lnTo>
                  <a:lnTo>
                    <a:pt x="0" y="5"/>
                  </a:lnTo>
                  <a:lnTo>
                    <a:pt x="0" y="5"/>
                  </a:lnTo>
                  <a:lnTo>
                    <a:pt x="0" y="5"/>
                  </a:lnTo>
                  <a:lnTo>
                    <a:pt x="0" y="5"/>
                  </a:lnTo>
                  <a:lnTo>
                    <a:pt x="2" y="5"/>
                  </a:lnTo>
                  <a:lnTo>
                    <a:pt x="2" y="5"/>
                  </a:lnTo>
                  <a:lnTo>
                    <a:pt x="4" y="3"/>
                  </a:lnTo>
                  <a:lnTo>
                    <a:pt x="5" y="1"/>
                  </a:lnTo>
                  <a:lnTo>
                    <a:pt x="7" y="1"/>
                  </a:lnTo>
                  <a:lnTo>
                    <a:pt x="7" y="0"/>
                  </a:lnTo>
                  <a:lnTo>
                    <a:pt x="10" y="0"/>
                  </a:lnTo>
                  <a:lnTo>
                    <a:pt x="10" y="0"/>
                  </a:lnTo>
                  <a:lnTo>
                    <a:pt x="10" y="3"/>
                  </a:lnTo>
                  <a:lnTo>
                    <a:pt x="10" y="3"/>
                  </a:lnTo>
                  <a:lnTo>
                    <a:pt x="10" y="5"/>
                  </a:lnTo>
                  <a:lnTo>
                    <a:pt x="10" y="6"/>
                  </a:lnTo>
                  <a:lnTo>
                    <a:pt x="10" y="6"/>
                  </a:lnTo>
                  <a:lnTo>
                    <a:pt x="10" y="6"/>
                  </a:lnTo>
                  <a:lnTo>
                    <a:pt x="8" y="8"/>
                  </a:lnTo>
                  <a:lnTo>
                    <a:pt x="8" y="10"/>
                  </a:lnTo>
                  <a:close/>
                </a:path>
              </a:pathLst>
            </a:custGeom>
            <a:solidFill>
              <a:srgbClr val="E5E5E5"/>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1216" name="Freeform 62">
              <a:extLst>
                <a:ext uri="{FF2B5EF4-FFF2-40B4-BE49-F238E27FC236}">
                  <a16:creationId xmlns:a16="http://schemas.microsoft.com/office/drawing/2014/main" id="{B38463D7-2055-E2C4-FEEA-7B2D5F15DE59}"/>
                </a:ext>
              </a:extLst>
            </p:cNvPr>
            <p:cNvSpPr>
              <a:spLocks noEditPoints="1"/>
            </p:cNvSpPr>
            <p:nvPr/>
          </p:nvSpPr>
          <p:spPr bwMode="auto">
            <a:xfrm>
              <a:off x="7176" y="4789"/>
              <a:ext cx="647" cy="925"/>
            </a:xfrm>
            <a:custGeom>
              <a:avLst/>
              <a:gdLst>
                <a:gd name="T0" fmla="*/ 4 w 647"/>
                <a:gd name="T1" fmla="*/ 514 h 925"/>
                <a:gd name="T2" fmla="*/ 4 w 647"/>
                <a:gd name="T3" fmla="*/ 501 h 925"/>
                <a:gd name="T4" fmla="*/ 4 w 647"/>
                <a:gd name="T5" fmla="*/ 481 h 925"/>
                <a:gd name="T6" fmla="*/ 8 w 647"/>
                <a:gd name="T7" fmla="*/ 463 h 925"/>
                <a:gd name="T8" fmla="*/ 24 w 647"/>
                <a:gd name="T9" fmla="*/ 462 h 925"/>
                <a:gd name="T10" fmla="*/ 39 w 647"/>
                <a:gd name="T11" fmla="*/ 447 h 925"/>
                <a:gd name="T12" fmla="*/ 53 w 647"/>
                <a:gd name="T13" fmla="*/ 436 h 925"/>
                <a:gd name="T14" fmla="*/ 55 w 647"/>
                <a:gd name="T15" fmla="*/ 421 h 925"/>
                <a:gd name="T16" fmla="*/ 48 w 647"/>
                <a:gd name="T17" fmla="*/ 407 h 925"/>
                <a:gd name="T18" fmla="*/ 53 w 647"/>
                <a:gd name="T19" fmla="*/ 400 h 925"/>
                <a:gd name="T20" fmla="*/ 70 w 647"/>
                <a:gd name="T21" fmla="*/ 394 h 925"/>
                <a:gd name="T22" fmla="*/ 73 w 647"/>
                <a:gd name="T23" fmla="*/ 376 h 925"/>
                <a:gd name="T24" fmla="*/ 57 w 647"/>
                <a:gd name="T25" fmla="*/ 363 h 925"/>
                <a:gd name="T26" fmla="*/ 53 w 647"/>
                <a:gd name="T27" fmla="*/ 328 h 925"/>
                <a:gd name="T28" fmla="*/ 55 w 647"/>
                <a:gd name="T29" fmla="*/ 312 h 925"/>
                <a:gd name="T30" fmla="*/ 96 w 647"/>
                <a:gd name="T31" fmla="*/ 306 h 925"/>
                <a:gd name="T32" fmla="*/ 113 w 647"/>
                <a:gd name="T33" fmla="*/ 312 h 925"/>
                <a:gd name="T34" fmla="*/ 164 w 647"/>
                <a:gd name="T35" fmla="*/ 278 h 925"/>
                <a:gd name="T36" fmla="*/ 198 w 647"/>
                <a:gd name="T37" fmla="*/ 249 h 925"/>
                <a:gd name="T38" fmla="*/ 218 w 647"/>
                <a:gd name="T39" fmla="*/ 231 h 925"/>
                <a:gd name="T40" fmla="*/ 279 w 647"/>
                <a:gd name="T41" fmla="*/ 239 h 925"/>
                <a:gd name="T42" fmla="*/ 372 w 647"/>
                <a:gd name="T43" fmla="*/ 200 h 925"/>
                <a:gd name="T44" fmla="*/ 422 w 647"/>
                <a:gd name="T45" fmla="*/ 156 h 925"/>
                <a:gd name="T46" fmla="*/ 465 w 647"/>
                <a:gd name="T47" fmla="*/ 106 h 925"/>
                <a:gd name="T48" fmla="*/ 489 w 647"/>
                <a:gd name="T49" fmla="*/ 88 h 925"/>
                <a:gd name="T50" fmla="*/ 543 w 647"/>
                <a:gd name="T51" fmla="*/ 72 h 925"/>
                <a:gd name="T52" fmla="*/ 595 w 647"/>
                <a:gd name="T53" fmla="*/ 34 h 925"/>
                <a:gd name="T54" fmla="*/ 613 w 647"/>
                <a:gd name="T55" fmla="*/ 13 h 925"/>
                <a:gd name="T56" fmla="*/ 627 w 647"/>
                <a:gd name="T57" fmla="*/ 3 h 925"/>
                <a:gd name="T58" fmla="*/ 642 w 647"/>
                <a:gd name="T59" fmla="*/ 21 h 925"/>
                <a:gd name="T60" fmla="*/ 582 w 647"/>
                <a:gd name="T61" fmla="*/ 213 h 925"/>
                <a:gd name="T62" fmla="*/ 637 w 647"/>
                <a:gd name="T63" fmla="*/ 408 h 925"/>
                <a:gd name="T64" fmla="*/ 392 w 647"/>
                <a:gd name="T65" fmla="*/ 750 h 925"/>
                <a:gd name="T66" fmla="*/ 244 w 647"/>
                <a:gd name="T67" fmla="*/ 919 h 925"/>
                <a:gd name="T68" fmla="*/ 178 w 647"/>
                <a:gd name="T69" fmla="*/ 912 h 925"/>
                <a:gd name="T70" fmla="*/ 156 w 647"/>
                <a:gd name="T71" fmla="*/ 903 h 925"/>
                <a:gd name="T72" fmla="*/ 136 w 647"/>
                <a:gd name="T73" fmla="*/ 899 h 925"/>
                <a:gd name="T74" fmla="*/ 122 w 647"/>
                <a:gd name="T75" fmla="*/ 901 h 925"/>
                <a:gd name="T76" fmla="*/ 113 w 647"/>
                <a:gd name="T77" fmla="*/ 912 h 925"/>
                <a:gd name="T78" fmla="*/ 105 w 647"/>
                <a:gd name="T79" fmla="*/ 893 h 925"/>
                <a:gd name="T80" fmla="*/ 92 w 647"/>
                <a:gd name="T81" fmla="*/ 870 h 925"/>
                <a:gd name="T82" fmla="*/ 87 w 647"/>
                <a:gd name="T83" fmla="*/ 838 h 925"/>
                <a:gd name="T84" fmla="*/ 100 w 647"/>
                <a:gd name="T85" fmla="*/ 820 h 925"/>
                <a:gd name="T86" fmla="*/ 112 w 647"/>
                <a:gd name="T87" fmla="*/ 789 h 925"/>
                <a:gd name="T88" fmla="*/ 110 w 647"/>
                <a:gd name="T89" fmla="*/ 771 h 925"/>
                <a:gd name="T90" fmla="*/ 112 w 647"/>
                <a:gd name="T91" fmla="*/ 750 h 925"/>
                <a:gd name="T92" fmla="*/ 131 w 647"/>
                <a:gd name="T93" fmla="*/ 732 h 925"/>
                <a:gd name="T94" fmla="*/ 138 w 647"/>
                <a:gd name="T95" fmla="*/ 709 h 925"/>
                <a:gd name="T96" fmla="*/ 152 w 647"/>
                <a:gd name="T97" fmla="*/ 690 h 925"/>
                <a:gd name="T98" fmla="*/ 154 w 647"/>
                <a:gd name="T99" fmla="*/ 667 h 925"/>
                <a:gd name="T100" fmla="*/ 143 w 647"/>
                <a:gd name="T101" fmla="*/ 647 h 925"/>
                <a:gd name="T102" fmla="*/ 122 w 647"/>
                <a:gd name="T103" fmla="*/ 636 h 925"/>
                <a:gd name="T104" fmla="*/ 122 w 647"/>
                <a:gd name="T105" fmla="*/ 621 h 925"/>
                <a:gd name="T106" fmla="*/ 109 w 647"/>
                <a:gd name="T107" fmla="*/ 613 h 925"/>
                <a:gd name="T108" fmla="*/ 96 w 647"/>
                <a:gd name="T109" fmla="*/ 626 h 925"/>
                <a:gd name="T110" fmla="*/ 73 w 647"/>
                <a:gd name="T111" fmla="*/ 633 h 925"/>
                <a:gd name="T112" fmla="*/ 53 w 647"/>
                <a:gd name="T113" fmla="*/ 610 h 925"/>
                <a:gd name="T114" fmla="*/ 47 w 647"/>
                <a:gd name="T115" fmla="*/ 600 h 925"/>
                <a:gd name="T116" fmla="*/ 42 w 647"/>
                <a:gd name="T117" fmla="*/ 579 h 925"/>
                <a:gd name="T118" fmla="*/ 42 w 647"/>
                <a:gd name="T119" fmla="*/ 555 h 925"/>
                <a:gd name="T120" fmla="*/ 30 w 647"/>
                <a:gd name="T121" fmla="*/ 532 h 925"/>
                <a:gd name="T122" fmla="*/ 48 w 647"/>
                <a:gd name="T123" fmla="*/ 610 h 9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47" h="925">
                  <a:moveTo>
                    <a:pt x="9" y="524"/>
                  </a:moveTo>
                  <a:lnTo>
                    <a:pt x="9" y="522"/>
                  </a:lnTo>
                  <a:lnTo>
                    <a:pt x="9" y="520"/>
                  </a:lnTo>
                  <a:lnTo>
                    <a:pt x="9" y="519"/>
                  </a:lnTo>
                  <a:lnTo>
                    <a:pt x="8" y="520"/>
                  </a:lnTo>
                  <a:lnTo>
                    <a:pt x="8" y="519"/>
                  </a:lnTo>
                  <a:lnTo>
                    <a:pt x="6" y="519"/>
                  </a:lnTo>
                  <a:lnTo>
                    <a:pt x="4" y="519"/>
                  </a:lnTo>
                  <a:lnTo>
                    <a:pt x="4" y="517"/>
                  </a:lnTo>
                  <a:lnTo>
                    <a:pt x="4" y="516"/>
                  </a:lnTo>
                  <a:lnTo>
                    <a:pt x="4" y="514"/>
                  </a:lnTo>
                  <a:lnTo>
                    <a:pt x="3" y="514"/>
                  </a:lnTo>
                  <a:lnTo>
                    <a:pt x="3" y="516"/>
                  </a:lnTo>
                  <a:lnTo>
                    <a:pt x="1" y="516"/>
                  </a:lnTo>
                  <a:lnTo>
                    <a:pt x="3" y="516"/>
                  </a:lnTo>
                  <a:lnTo>
                    <a:pt x="3" y="514"/>
                  </a:lnTo>
                  <a:lnTo>
                    <a:pt x="4" y="514"/>
                  </a:lnTo>
                  <a:lnTo>
                    <a:pt x="4" y="512"/>
                  </a:lnTo>
                  <a:lnTo>
                    <a:pt x="6" y="512"/>
                  </a:lnTo>
                  <a:lnTo>
                    <a:pt x="6" y="511"/>
                  </a:lnTo>
                  <a:lnTo>
                    <a:pt x="6" y="509"/>
                  </a:lnTo>
                  <a:lnTo>
                    <a:pt x="6" y="511"/>
                  </a:lnTo>
                  <a:lnTo>
                    <a:pt x="8" y="509"/>
                  </a:lnTo>
                  <a:lnTo>
                    <a:pt x="6" y="509"/>
                  </a:lnTo>
                  <a:lnTo>
                    <a:pt x="6" y="507"/>
                  </a:lnTo>
                  <a:lnTo>
                    <a:pt x="8" y="507"/>
                  </a:lnTo>
                  <a:lnTo>
                    <a:pt x="6" y="506"/>
                  </a:lnTo>
                  <a:lnTo>
                    <a:pt x="8" y="506"/>
                  </a:lnTo>
                  <a:lnTo>
                    <a:pt x="6" y="506"/>
                  </a:lnTo>
                  <a:lnTo>
                    <a:pt x="6" y="504"/>
                  </a:lnTo>
                  <a:lnTo>
                    <a:pt x="4" y="504"/>
                  </a:lnTo>
                  <a:lnTo>
                    <a:pt x="4" y="503"/>
                  </a:lnTo>
                  <a:lnTo>
                    <a:pt x="3" y="503"/>
                  </a:lnTo>
                  <a:lnTo>
                    <a:pt x="4" y="501"/>
                  </a:lnTo>
                  <a:lnTo>
                    <a:pt x="4" y="499"/>
                  </a:lnTo>
                  <a:lnTo>
                    <a:pt x="6" y="499"/>
                  </a:lnTo>
                  <a:lnTo>
                    <a:pt x="6" y="498"/>
                  </a:lnTo>
                  <a:lnTo>
                    <a:pt x="6" y="496"/>
                  </a:lnTo>
                  <a:lnTo>
                    <a:pt x="8" y="496"/>
                  </a:lnTo>
                  <a:lnTo>
                    <a:pt x="8" y="494"/>
                  </a:lnTo>
                  <a:lnTo>
                    <a:pt x="8" y="493"/>
                  </a:lnTo>
                  <a:lnTo>
                    <a:pt x="9" y="493"/>
                  </a:lnTo>
                  <a:lnTo>
                    <a:pt x="8" y="489"/>
                  </a:lnTo>
                  <a:lnTo>
                    <a:pt x="9" y="489"/>
                  </a:lnTo>
                  <a:lnTo>
                    <a:pt x="9" y="488"/>
                  </a:lnTo>
                  <a:lnTo>
                    <a:pt x="8" y="486"/>
                  </a:lnTo>
                  <a:lnTo>
                    <a:pt x="8" y="485"/>
                  </a:lnTo>
                  <a:lnTo>
                    <a:pt x="8" y="483"/>
                  </a:lnTo>
                  <a:lnTo>
                    <a:pt x="6" y="483"/>
                  </a:lnTo>
                  <a:lnTo>
                    <a:pt x="4" y="483"/>
                  </a:lnTo>
                  <a:lnTo>
                    <a:pt x="4" y="481"/>
                  </a:lnTo>
                  <a:lnTo>
                    <a:pt x="4" y="480"/>
                  </a:lnTo>
                  <a:lnTo>
                    <a:pt x="3" y="480"/>
                  </a:lnTo>
                  <a:lnTo>
                    <a:pt x="3" y="478"/>
                  </a:lnTo>
                  <a:lnTo>
                    <a:pt x="1" y="478"/>
                  </a:lnTo>
                  <a:lnTo>
                    <a:pt x="1" y="476"/>
                  </a:lnTo>
                  <a:lnTo>
                    <a:pt x="1" y="475"/>
                  </a:lnTo>
                  <a:lnTo>
                    <a:pt x="0" y="475"/>
                  </a:lnTo>
                  <a:lnTo>
                    <a:pt x="1" y="475"/>
                  </a:lnTo>
                  <a:lnTo>
                    <a:pt x="3" y="475"/>
                  </a:lnTo>
                  <a:lnTo>
                    <a:pt x="4" y="475"/>
                  </a:lnTo>
                  <a:lnTo>
                    <a:pt x="4" y="473"/>
                  </a:lnTo>
                  <a:lnTo>
                    <a:pt x="6" y="472"/>
                  </a:lnTo>
                  <a:lnTo>
                    <a:pt x="8" y="472"/>
                  </a:lnTo>
                  <a:lnTo>
                    <a:pt x="8" y="470"/>
                  </a:lnTo>
                  <a:lnTo>
                    <a:pt x="8" y="467"/>
                  </a:lnTo>
                  <a:lnTo>
                    <a:pt x="8" y="465"/>
                  </a:lnTo>
                  <a:lnTo>
                    <a:pt x="8" y="463"/>
                  </a:lnTo>
                  <a:lnTo>
                    <a:pt x="8" y="462"/>
                  </a:lnTo>
                  <a:lnTo>
                    <a:pt x="9" y="462"/>
                  </a:lnTo>
                  <a:lnTo>
                    <a:pt x="9" y="460"/>
                  </a:lnTo>
                  <a:lnTo>
                    <a:pt x="11" y="460"/>
                  </a:lnTo>
                  <a:lnTo>
                    <a:pt x="13" y="459"/>
                  </a:lnTo>
                  <a:lnTo>
                    <a:pt x="14" y="459"/>
                  </a:lnTo>
                  <a:lnTo>
                    <a:pt x="14" y="457"/>
                  </a:lnTo>
                  <a:lnTo>
                    <a:pt x="16" y="457"/>
                  </a:lnTo>
                  <a:lnTo>
                    <a:pt x="16" y="455"/>
                  </a:lnTo>
                  <a:lnTo>
                    <a:pt x="19" y="455"/>
                  </a:lnTo>
                  <a:lnTo>
                    <a:pt x="21" y="457"/>
                  </a:lnTo>
                  <a:lnTo>
                    <a:pt x="21" y="460"/>
                  </a:lnTo>
                  <a:lnTo>
                    <a:pt x="21" y="462"/>
                  </a:lnTo>
                  <a:lnTo>
                    <a:pt x="21" y="463"/>
                  </a:lnTo>
                  <a:lnTo>
                    <a:pt x="22" y="463"/>
                  </a:lnTo>
                  <a:lnTo>
                    <a:pt x="22" y="462"/>
                  </a:lnTo>
                  <a:lnTo>
                    <a:pt x="24" y="462"/>
                  </a:lnTo>
                  <a:lnTo>
                    <a:pt x="24" y="463"/>
                  </a:lnTo>
                  <a:lnTo>
                    <a:pt x="26" y="462"/>
                  </a:lnTo>
                  <a:lnTo>
                    <a:pt x="29" y="462"/>
                  </a:lnTo>
                  <a:lnTo>
                    <a:pt x="30" y="462"/>
                  </a:lnTo>
                  <a:lnTo>
                    <a:pt x="32" y="462"/>
                  </a:lnTo>
                  <a:lnTo>
                    <a:pt x="34" y="462"/>
                  </a:lnTo>
                  <a:lnTo>
                    <a:pt x="35" y="462"/>
                  </a:lnTo>
                  <a:lnTo>
                    <a:pt x="40" y="467"/>
                  </a:lnTo>
                  <a:lnTo>
                    <a:pt x="42" y="465"/>
                  </a:lnTo>
                  <a:lnTo>
                    <a:pt x="40" y="463"/>
                  </a:lnTo>
                  <a:lnTo>
                    <a:pt x="40" y="462"/>
                  </a:lnTo>
                  <a:lnTo>
                    <a:pt x="40" y="459"/>
                  </a:lnTo>
                  <a:lnTo>
                    <a:pt x="39" y="457"/>
                  </a:lnTo>
                  <a:lnTo>
                    <a:pt x="39" y="455"/>
                  </a:lnTo>
                  <a:lnTo>
                    <a:pt x="39" y="452"/>
                  </a:lnTo>
                  <a:lnTo>
                    <a:pt x="39" y="450"/>
                  </a:lnTo>
                  <a:lnTo>
                    <a:pt x="39" y="447"/>
                  </a:lnTo>
                  <a:lnTo>
                    <a:pt x="40" y="446"/>
                  </a:lnTo>
                  <a:lnTo>
                    <a:pt x="43" y="444"/>
                  </a:lnTo>
                  <a:lnTo>
                    <a:pt x="45" y="442"/>
                  </a:lnTo>
                  <a:lnTo>
                    <a:pt x="47" y="444"/>
                  </a:lnTo>
                  <a:lnTo>
                    <a:pt x="48" y="444"/>
                  </a:lnTo>
                  <a:lnTo>
                    <a:pt x="48" y="442"/>
                  </a:lnTo>
                  <a:lnTo>
                    <a:pt x="50" y="442"/>
                  </a:lnTo>
                  <a:lnTo>
                    <a:pt x="50" y="441"/>
                  </a:lnTo>
                  <a:lnTo>
                    <a:pt x="48" y="439"/>
                  </a:lnTo>
                  <a:lnTo>
                    <a:pt x="47" y="439"/>
                  </a:lnTo>
                  <a:lnTo>
                    <a:pt x="47" y="437"/>
                  </a:lnTo>
                  <a:lnTo>
                    <a:pt x="47" y="436"/>
                  </a:lnTo>
                  <a:lnTo>
                    <a:pt x="47" y="434"/>
                  </a:lnTo>
                  <a:lnTo>
                    <a:pt x="48" y="434"/>
                  </a:lnTo>
                  <a:lnTo>
                    <a:pt x="50" y="434"/>
                  </a:lnTo>
                  <a:lnTo>
                    <a:pt x="52" y="436"/>
                  </a:lnTo>
                  <a:lnTo>
                    <a:pt x="53" y="436"/>
                  </a:lnTo>
                  <a:lnTo>
                    <a:pt x="57" y="433"/>
                  </a:lnTo>
                  <a:lnTo>
                    <a:pt x="57" y="431"/>
                  </a:lnTo>
                  <a:lnTo>
                    <a:pt x="57" y="429"/>
                  </a:lnTo>
                  <a:lnTo>
                    <a:pt x="55" y="431"/>
                  </a:lnTo>
                  <a:lnTo>
                    <a:pt x="55" y="429"/>
                  </a:lnTo>
                  <a:lnTo>
                    <a:pt x="57" y="429"/>
                  </a:lnTo>
                  <a:lnTo>
                    <a:pt x="55" y="428"/>
                  </a:lnTo>
                  <a:lnTo>
                    <a:pt x="57" y="428"/>
                  </a:lnTo>
                  <a:lnTo>
                    <a:pt x="55" y="428"/>
                  </a:lnTo>
                  <a:lnTo>
                    <a:pt x="57" y="426"/>
                  </a:lnTo>
                  <a:lnTo>
                    <a:pt x="55" y="426"/>
                  </a:lnTo>
                  <a:lnTo>
                    <a:pt x="57" y="426"/>
                  </a:lnTo>
                  <a:lnTo>
                    <a:pt x="55" y="424"/>
                  </a:lnTo>
                  <a:lnTo>
                    <a:pt x="55" y="423"/>
                  </a:lnTo>
                  <a:lnTo>
                    <a:pt x="53" y="423"/>
                  </a:lnTo>
                  <a:lnTo>
                    <a:pt x="55" y="423"/>
                  </a:lnTo>
                  <a:lnTo>
                    <a:pt x="55" y="421"/>
                  </a:lnTo>
                  <a:lnTo>
                    <a:pt x="53" y="420"/>
                  </a:lnTo>
                  <a:lnTo>
                    <a:pt x="53" y="418"/>
                  </a:lnTo>
                  <a:lnTo>
                    <a:pt x="52" y="418"/>
                  </a:lnTo>
                  <a:lnTo>
                    <a:pt x="53" y="418"/>
                  </a:lnTo>
                  <a:lnTo>
                    <a:pt x="52" y="418"/>
                  </a:lnTo>
                  <a:lnTo>
                    <a:pt x="52" y="416"/>
                  </a:lnTo>
                  <a:lnTo>
                    <a:pt x="52" y="415"/>
                  </a:lnTo>
                  <a:lnTo>
                    <a:pt x="52" y="413"/>
                  </a:lnTo>
                  <a:lnTo>
                    <a:pt x="52" y="411"/>
                  </a:lnTo>
                  <a:lnTo>
                    <a:pt x="52" y="413"/>
                  </a:lnTo>
                  <a:lnTo>
                    <a:pt x="50" y="411"/>
                  </a:lnTo>
                  <a:lnTo>
                    <a:pt x="48" y="411"/>
                  </a:lnTo>
                  <a:lnTo>
                    <a:pt x="48" y="410"/>
                  </a:lnTo>
                  <a:lnTo>
                    <a:pt x="50" y="410"/>
                  </a:lnTo>
                  <a:lnTo>
                    <a:pt x="48" y="408"/>
                  </a:lnTo>
                  <a:lnTo>
                    <a:pt x="50" y="408"/>
                  </a:lnTo>
                  <a:lnTo>
                    <a:pt x="48" y="407"/>
                  </a:lnTo>
                  <a:lnTo>
                    <a:pt x="50" y="407"/>
                  </a:lnTo>
                  <a:lnTo>
                    <a:pt x="52" y="407"/>
                  </a:lnTo>
                  <a:lnTo>
                    <a:pt x="50" y="407"/>
                  </a:lnTo>
                  <a:lnTo>
                    <a:pt x="50" y="405"/>
                  </a:lnTo>
                  <a:lnTo>
                    <a:pt x="52" y="407"/>
                  </a:lnTo>
                  <a:lnTo>
                    <a:pt x="52" y="405"/>
                  </a:lnTo>
                  <a:lnTo>
                    <a:pt x="50" y="405"/>
                  </a:lnTo>
                  <a:lnTo>
                    <a:pt x="50" y="403"/>
                  </a:lnTo>
                  <a:lnTo>
                    <a:pt x="50" y="405"/>
                  </a:lnTo>
                  <a:lnTo>
                    <a:pt x="50" y="403"/>
                  </a:lnTo>
                  <a:lnTo>
                    <a:pt x="48" y="403"/>
                  </a:lnTo>
                  <a:lnTo>
                    <a:pt x="50" y="403"/>
                  </a:lnTo>
                  <a:lnTo>
                    <a:pt x="48" y="403"/>
                  </a:lnTo>
                  <a:lnTo>
                    <a:pt x="48" y="402"/>
                  </a:lnTo>
                  <a:lnTo>
                    <a:pt x="50" y="400"/>
                  </a:lnTo>
                  <a:lnTo>
                    <a:pt x="52" y="402"/>
                  </a:lnTo>
                  <a:lnTo>
                    <a:pt x="53" y="400"/>
                  </a:lnTo>
                  <a:lnTo>
                    <a:pt x="55" y="400"/>
                  </a:lnTo>
                  <a:lnTo>
                    <a:pt x="57" y="398"/>
                  </a:lnTo>
                  <a:lnTo>
                    <a:pt x="58" y="400"/>
                  </a:lnTo>
                  <a:lnTo>
                    <a:pt x="60" y="398"/>
                  </a:lnTo>
                  <a:lnTo>
                    <a:pt x="58" y="397"/>
                  </a:lnTo>
                  <a:lnTo>
                    <a:pt x="60" y="395"/>
                  </a:lnTo>
                  <a:lnTo>
                    <a:pt x="60" y="397"/>
                  </a:lnTo>
                  <a:lnTo>
                    <a:pt x="61" y="397"/>
                  </a:lnTo>
                  <a:lnTo>
                    <a:pt x="60" y="397"/>
                  </a:lnTo>
                  <a:lnTo>
                    <a:pt x="60" y="395"/>
                  </a:lnTo>
                  <a:lnTo>
                    <a:pt x="61" y="395"/>
                  </a:lnTo>
                  <a:lnTo>
                    <a:pt x="61" y="394"/>
                  </a:lnTo>
                  <a:lnTo>
                    <a:pt x="63" y="394"/>
                  </a:lnTo>
                  <a:lnTo>
                    <a:pt x="66" y="395"/>
                  </a:lnTo>
                  <a:lnTo>
                    <a:pt x="66" y="394"/>
                  </a:lnTo>
                  <a:lnTo>
                    <a:pt x="68" y="394"/>
                  </a:lnTo>
                  <a:lnTo>
                    <a:pt x="70" y="394"/>
                  </a:lnTo>
                  <a:lnTo>
                    <a:pt x="73" y="394"/>
                  </a:lnTo>
                  <a:lnTo>
                    <a:pt x="74" y="394"/>
                  </a:lnTo>
                  <a:lnTo>
                    <a:pt x="73" y="390"/>
                  </a:lnTo>
                  <a:lnTo>
                    <a:pt x="74" y="390"/>
                  </a:lnTo>
                  <a:lnTo>
                    <a:pt x="78" y="390"/>
                  </a:lnTo>
                  <a:lnTo>
                    <a:pt x="79" y="389"/>
                  </a:lnTo>
                  <a:lnTo>
                    <a:pt x="81" y="387"/>
                  </a:lnTo>
                  <a:lnTo>
                    <a:pt x="81" y="385"/>
                  </a:lnTo>
                  <a:lnTo>
                    <a:pt x="78" y="384"/>
                  </a:lnTo>
                  <a:lnTo>
                    <a:pt x="78" y="382"/>
                  </a:lnTo>
                  <a:lnTo>
                    <a:pt x="79" y="381"/>
                  </a:lnTo>
                  <a:lnTo>
                    <a:pt x="76" y="381"/>
                  </a:lnTo>
                  <a:lnTo>
                    <a:pt x="74" y="381"/>
                  </a:lnTo>
                  <a:lnTo>
                    <a:pt x="74" y="379"/>
                  </a:lnTo>
                  <a:lnTo>
                    <a:pt x="74" y="377"/>
                  </a:lnTo>
                  <a:lnTo>
                    <a:pt x="74" y="376"/>
                  </a:lnTo>
                  <a:lnTo>
                    <a:pt x="73" y="376"/>
                  </a:lnTo>
                  <a:lnTo>
                    <a:pt x="71" y="376"/>
                  </a:lnTo>
                  <a:lnTo>
                    <a:pt x="70" y="376"/>
                  </a:lnTo>
                  <a:lnTo>
                    <a:pt x="70" y="377"/>
                  </a:lnTo>
                  <a:lnTo>
                    <a:pt x="68" y="377"/>
                  </a:lnTo>
                  <a:lnTo>
                    <a:pt x="68" y="379"/>
                  </a:lnTo>
                  <a:lnTo>
                    <a:pt x="66" y="376"/>
                  </a:lnTo>
                  <a:lnTo>
                    <a:pt x="68" y="376"/>
                  </a:lnTo>
                  <a:lnTo>
                    <a:pt x="68" y="374"/>
                  </a:lnTo>
                  <a:lnTo>
                    <a:pt x="66" y="374"/>
                  </a:lnTo>
                  <a:lnTo>
                    <a:pt x="65" y="372"/>
                  </a:lnTo>
                  <a:lnTo>
                    <a:pt x="65" y="371"/>
                  </a:lnTo>
                  <a:lnTo>
                    <a:pt x="63" y="371"/>
                  </a:lnTo>
                  <a:lnTo>
                    <a:pt x="61" y="369"/>
                  </a:lnTo>
                  <a:lnTo>
                    <a:pt x="60" y="368"/>
                  </a:lnTo>
                  <a:lnTo>
                    <a:pt x="58" y="366"/>
                  </a:lnTo>
                  <a:lnTo>
                    <a:pt x="58" y="364"/>
                  </a:lnTo>
                  <a:lnTo>
                    <a:pt x="57" y="363"/>
                  </a:lnTo>
                  <a:lnTo>
                    <a:pt x="57" y="361"/>
                  </a:lnTo>
                  <a:lnTo>
                    <a:pt x="55" y="361"/>
                  </a:lnTo>
                  <a:lnTo>
                    <a:pt x="55" y="358"/>
                  </a:lnTo>
                  <a:lnTo>
                    <a:pt x="53" y="358"/>
                  </a:lnTo>
                  <a:lnTo>
                    <a:pt x="55" y="355"/>
                  </a:lnTo>
                  <a:lnTo>
                    <a:pt x="55" y="353"/>
                  </a:lnTo>
                  <a:lnTo>
                    <a:pt x="55" y="345"/>
                  </a:lnTo>
                  <a:lnTo>
                    <a:pt x="53" y="343"/>
                  </a:lnTo>
                  <a:lnTo>
                    <a:pt x="53" y="341"/>
                  </a:lnTo>
                  <a:lnTo>
                    <a:pt x="52" y="341"/>
                  </a:lnTo>
                  <a:lnTo>
                    <a:pt x="50" y="335"/>
                  </a:lnTo>
                  <a:lnTo>
                    <a:pt x="52" y="335"/>
                  </a:lnTo>
                  <a:lnTo>
                    <a:pt x="52" y="333"/>
                  </a:lnTo>
                  <a:lnTo>
                    <a:pt x="52" y="332"/>
                  </a:lnTo>
                  <a:lnTo>
                    <a:pt x="53" y="332"/>
                  </a:lnTo>
                  <a:lnTo>
                    <a:pt x="53" y="330"/>
                  </a:lnTo>
                  <a:lnTo>
                    <a:pt x="53" y="328"/>
                  </a:lnTo>
                  <a:lnTo>
                    <a:pt x="53" y="327"/>
                  </a:lnTo>
                  <a:lnTo>
                    <a:pt x="53" y="325"/>
                  </a:lnTo>
                  <a:lnTo>
                    <a:pt x="53" y="324"/>
                  </a:lnTo>
                  <a:lnTo>
                    <a:pt x="52" y="324"/>
                  </a:lnTo>
                  <a:lnTo>
                    <a:pt x="52" y="322"/>
                  </a:lnTo>
                  <a:lnTo>
                    <a:pt x="50" y="322"/>
                  </a:lnTo>
                  <a:lnTo>
                    <a:pt x="52" y="320"/>
                  </a:lnTo>
                  <a:lnTo>
                    <a:pt x="52" y="319"/>
                  </a:lnTo>
                  <a:lnTo>
                    <a:pt x="52" y="317"/>
                  </a:lnTo>
                  <a:lnTo>
                    <a:pt x="53" y="317"/>
                  </a:lnTo>
                  <a:lnTo>
                    <a:pt x="52" y="317"/>
                  </a:lnTo>
                  <a:lnTo>
                    <a:pt x="52" y="315"/>
                  </a:lnTo>
                  <a:lnTo>
                    <a:pt x="53" y="314"/>
                  </a:lnTo>
                  <a:lnTo>
                    <a:pt x="53" y="312"/>
                  </a:lnTo>
                  <a:lnTo>
                    <a:pt x="55" y="312"/>
                  </a:lnTo>
                  <a:lnTo>
                    <a:pt x="53" y="312"/>
                  </a:lnTo>
                  <a:lnTo>
                    <a:pt x="55" y="312"/>
                  </a:lnTo>
                  <a:lnTo>
                    <a:pt x="53" y="311"/>
                  </a:lnTo>
                  <a:lnTo>
                    <a:pt x="53" y="309"/>
                  </a:lnTo>
                  <a:lnTo>
                    <a:pt x="53" y="307"/>
                  </a:lnTo>
                  <a:lnTo>
                    <a:pt x="55" y="307"/>
                  </a:lnTo>
                  <a:lnTo>
                    <a:pt x="60" y="306"/>
                  </a:lnTo>
                  <a:lnTo>
                    <a:pt x="61" y="306"/>
                  </a:lnTo>
                  <a:lnTo>
                    <a:pt x="68" y="307"/>
                  </a:lnTo>
                  <a:lnTo>
                    <a:pt x="71" y="307"/>
                  </a:lnTo>
                  <a:lnTo>
                    <a:pt x="78" y="306"/>
                  </a:lnTo>
                  <a:lnTo>
                    <a:pt x="79" y="306"/>
                  </a:lnTo>
                  <a:lnTo>
                    <a:pt x="81" y="306"/>
                  </a:lnTo>
                  <a:lnTo>
                    <a:pt x="83" y="304"/>
                  </a:lnTo>
                  <a:lnTo>
                    <a:pt x="84" y="304"/>
                  </a:lnTo>
                  <a:lnTo>
                    <a:pt x="92" y="306"/>
                  </a:lnTo>
                  <a:lnTo>
                    <a:pt x="92" y="307"/>
                  </a:lnTo>
                  <a:lnTo>
                    <a:pt x="94" y="307"/>
                  </a:lnTo>
                  <a:lnTo>
                    <a:pt x="96" y="306"/>
                  </a:lnTo>
                  <a:lnTo>
                    <a:pt x="97" y="306"/>
                  </a:lnTo>
                  <a:lnTo>
                    <a:pt x="99" y="307"/>
                  </a:lnTo>
                  <a:lnTo>
                    <a:pt x="99" y="309"/>
                  </a:lnTo>
                  <a:lnTo>
                    <a:pt x="99" y="311"/>
                  </a:lnTo>
                  <a:lnTo>
                    <a:pt x="99" y="312"/>
                  </a:lnTo>
                  <a:lnTo>
                    <a:pt x="97" y="314"/>
                  </a:lnTo>
                  <a:lnTo>
                    <a:pt x="99" y="315"/>
                  </a:lnTo>
                  <a:lnTo>
                    <a:pt x="100" y="315"/>
                  </a:lnTo>
                  <a:lnTo>
                    <a:pt x="102" y="315"/>
                  </a:lnTo>
                  <a:lnTo>
                    <a:pt x="102" y="317"/>
                  </a:lnTo>
                  <a:lnTo>
                    <a:pt x="104" y="317"/>
                  </a:lnTo>
                  <a:lnTo>
                    <a:pt x="107" y="317"/>
                  </a:lnTo>
                  <a:lnTo>
                    <a:pt x="107" y="315"/>
                  </a:lnTo>
                  <a:lnTo>
                    <a:pt x="107" y="312"/>
                  </a:lnTo>
                  <a:lnTo>
                    <a:pt x="110" y="312"/>
                  </a:lnTo>
                  <a:lnTo>
                    <a:pt x="110" y="311"/>
                  </a:lnTo>
                  <a:lnTo>
                    <a:pt x="113" y="312"/>
                  </a:lnTo>
                  <a:lnTo>
                    <a:pt x="118" y="307"/>
                  </a:lnTo>
                  <a:lnTo>
                    <a:pt x="125" y="306"/>
                  </a:lnTo>
                  <a:lnTo>
                    <a:pt x="126" y="306"/>
                  </a:lnTo>
                  <a:lnTo>
                    <a:pt x="128" y="304"/>
                  </a:lnTo>
                  <a:lnTo>
                    <a:pt x="138" y="302"/>
                  </a:lnTo>
                  <a:lnTo>
                    <a:pt x="141" y="304"/>
                  </a:lnTo>
                  <a:lnTo>
                    <a:pt x="143" y="302"/>
                  </a:lnTo>
                  <a:lnTo>
                    <a:pt x="144" y="302"/>
                  </a:lnTo>
                  <a:lnTo>
                    <a:pt x="146" y="302"/>
                  </a:lnTo>
                  <a:lnTo>
                    <a:pt x="149" y="302"/>
                  </a:lnTo>
                  <a:lnTo>
                    <a:pt x="149" y="299"/>
                  </a:lnTo>
                  <a:lnTo>
                    <a:pt x="149" y="298"/>
                  </a:lnTo>
                  <a:lnTo>
                    <a:pt x="149" y="296"/>
                  </a:lnTo>
                  <a:lnTo>
                    <a:pt x="152" y="293"/>
                  </a:lnTo>
                  <a:lnTo>
                    <a:pt x="161" y="285"/>
                  </a:lnTo>
                  <a:lnTo>
                    <a:pt x="162" y="280"/>
                  </a:lnTo>
                  <a:lnTo>
                    <a:pt x="164" y="278"/>
                  </a:lnTo>
                  <a:lnTo>
                    <a:pt x="165" y="280"/>
                  </a:lnTo>
                  <a:lnTo>
                    <a:pt x="165" y="278"/>
                  </a:lnTo>
                  <a:lnTo>
                    <a:pt x="167" y="276"/>
                  </a:lnTo>
                  <a:lnTo>
                    <a:pt x="170" y="276"/>
                  </a:lnTo>
                  <a:lnTo>
                    <a:pt x="177" y="273"/>
                  </a:lnTo>
                  <a:lnTo>
                    <a:pt x="178" y="272"/>
                  </a:lnTo>
                  <a:lnTo>
                    <a:pt x="180" y="268"/>
                  </a:lnTo>
                  <a:lnTo>
                    <a:pt x="185" y="265"/>
                  </a:lnTo>
                  <a:lnTo>
                    <a:pt x="188" y="263"/>
                  </a:lnTo>
                  <a:lnTo>
                    <a:pt x="190" y="259"/>
                  </a:lnTo>
                  <a:lnTo>
                    <a:pt x="190" y="257"/>
                  </a:lnTo>
                  <a:lnTo>
                    <a:pt x="193" y="257"/>
                  </a:lnTo>
                  <a:lnTo>
                    <a:pt x="196" y="254"/>
                  </a:lnTo>
                  <a:lnTo>
                    <a:pt x="198" y="254"/>
                  </a:lnTo>
                  <a:lnTo>
                    <a:pt x="200" y="252"/>
                  </a:lnTo>
                  <a:lnTo>
                    <a:pt x="198" y="250"/>
                  </a:lnTo>
                  <a:lnTo>
                    <a:pt x="198" y="249"/>
                  </a:lnTo>
                  <a:lnTo>
                    <a:pt x="200" y="249"/>
                  </a:lnTo>
                  <a:lnTo>
                    <a:pt x="200" y="247"/>
                  </a:lnTo>
                  <a:lnTo>
                    <a:pt x="201" y="247"/>
                  </a:lnTo>
                  <a:lnTo>
                    <a:pt x="203" y="246"/>
                  </a:lnTo>
                  <a:lnTo>
                    <a:pt x="203" y="244"/>
                  </a:lnTo>
                  <a:lnTo>
                    <a:pt x="205" y="244"/>
                  </a:lnTo>
                  <a:lnTo>
                    <a:pt x="205" y="242"/>
                  </a:lnTo>
                  <a:lnTo>
                    <a:pt x="206" y="242"/>
                  </a:lnTo>
                  <a:lnTo>
                    <a:pt x="206" y="241"/>
                  </a:lnTo>
                  <a:lnTo>
                    <a:pt x="208" y="239"/>
                  </a:lnTo>
                  <a:lnTo>
                    <a:pt x="209" y="239"/>
                  </a:lnTo>
                  <a:lnTo>
                    <a:pt x="211" y="237"/>
                  </a:lnTo>
                  <a:lnTo>
                    <a:pt x="211" y="236"/>
                  </a:lnTo>
                  <a:lnTo>
                    <a:pt x="213" y="236"/>
                  </a:lnTo>
                  <a:lnTo>
                    <a:pt x="213" y="234"/>
                  </a:lnTo>
                  <a:lnTo>
                    <a:pt x="216" y="234"/>
                  </a:lnTo>
                  <a:lnTo>
                    <a:pt x="218" y="231"/>
                  </a:lnTo>
                  <a:lnTo>
                    <a:pt x="219" y="231"/>
                  </a:lnTo>
                  <a:lnTo>
                    <a:pt x="221" y="231"/>
                  </a:lnTo>
                  <a:lnTo>
                    <a:pt x="222" y="231"/>
                  </a:lnTo>
                  <a:lnTo>
                    <a:pt x="229" y="229"/>
                  </a:lnTo>
                  <a:lnTo>
                    <a:pt x="235" y="228"/>
                  </a:lnTo>
                  <a:lnTo>
                    <a:pt x="255" y="228"/>
                  </a:lnTo>
                  <a:lnTo>
                    <a:pt x="255" y="229"/>
                  </a:lnTo>
                  <a:lnTo>
                    <a:pt x="257" y="231"/>
                  </a:lnTo>
                  <a:lnTo>
                    <a:pt x="258" y="231"/>
                  </a:lnTo>
                  <a:lnTo>
                    <a:pt x="260" y="229"/>
                  </a:lnTo>
                  <a:lnTo>
                    <a:pt x="260" y="231"/>
                  </a:lnTo>
                  <a:lnTo>
                    <a:pt x="261" y="233"/>
                  </a:lnTo>
                  <a:lnTo>
                    <a:pt x="263" y="233"/>
                  </a:lnTo>
                  <a:lnTo>
                    <a:pt x="266" y="234"/>
                  </a:lnTo>
                  <a:lnTo>
                    <a:pt x="270" y="236"/>
                  </a:lnTo>
                  <a:lnTo>
                    <a:pt x="274" y="237"/>
                  </a:lnTo>
                  <a:lnTo>
                    <a:pt x="279" y="239"/>
                  </a:lnTo>
                  <a:lnTo>
                    <a:pt x="281" y="239"/>
                  </a:lnTo>
                  <a:lnTo>
                    <a:pt x="283" y="239"/>
                  </a:lnTo>
                  <a:lnTo>
                    <a:pt x="297" y="234"/>
                  </a:lnTo>
                  <a:lnTo>
                    <a:pt x="302" y="231"/>
                  </a:lnTo>
                  <a:lnTo>
                    <a:pt x="305" y="229"/>
                  </a:lnTo>
                  <a:lnTo>
                    <a:pt x="312" y="226"/>
                  </a:lnTo>
                  <a:lnTo>
                    <a:pt x="315" y="226"/>
                  </a:lnTo>
                  <a:lnTo>
                    <a:pt x="325" y="224"/>
                  </a:lnTo>
                  <a:lnTo>
                    <a:pt x="326" y="224"/>
                  </a:lnTo>
                  <a:lnTo>
                    <a:pt x="333" y="224"/>
                  </a:lnTo>
                  <a:lnTo>
                    <a:pt x="339" y="221"/>
                  </a:lnTo>
                  <a:lnTo>
                    <a:pt x="348" y="215"/>
                  </a:lnTo>
                  <a:lnTo>
                    <a:pt x="349" y="213"/>
                  </a:lnTo>
                  <a:lnTo>
                    <a:pt x="361" y="208"/>
                  </a:lnTo>
                  <a:lnTo>
                    <a:pt x="362" y="208"/>
                  </a:lnTo>
                  <a:lnTo>
                    <a:pt x="367" y="203"/>
                  </a:lnTo>
                  <a:lnTo>
                    <a:pt x="372" y="200"/>
                  </a:lnTo>
                  <a:lnTo>
                    <a:pt x="377" y="197"/>
                  </a:lnTo>
                  <a:lnTo>
                    <a:pt x="382" y="193"/>
                  </a:lnTo>
                  <a:lnTo>
                    <a:pt x="382" y="192"/>
                  </a:lnTo>
                  <a:lnTo>
                    <a:pt x="383" y="190"/>
                  </a:lnTo>
                  <a:lnTo>
                    <a:pt x="393" y="185"/>
                  </a:lnTo>
                  <a:lnTo>
                    <a:pt x="395" y="185"/>
                  </a:lnTo>
                  <a:lnTo>
                    <a:pt x="396" y="184"/>
                  </a:lnTo>
                  <a:lnTo>
                    <a:pt x="396" y="180"/>
                  </a:lnTo>
                  <a:lnTo>
                    <a:pt x="398" y="179"/>
                  </a:lnTo>
                  <a:lnTo>
                    <a:pt x="403" y="176"/>
                  </a:lnTo>
                  <a:lnTo>
                    <a:pt x="409" y="167"/>
                  </a:lnTo>
                  <a:lnTo>
                    <a:pt x="413" y="166"/>
                  </a:lnTo>
                  <a:lnTo>
                    <a:pt x="414" y="163"/>
                  </a:lnTo>
                  <a:lnTo>
                    <a:pt x="414" y="161"/>
                  </a:lnTo>
                  <a:lnTo>
                    <a:pt x="418" y="159"/>
                  </a:lnTo>
                  <a:lnTo>
                    <a:pt x="419" y="158"/>
                  </a:lnTo>
                  <a:lnTo>
                    <a:pt x="422" y="156"/>
                  </a:lnTo>
                  <a:lnTo>
                    <a:pt x="427" y="153"/>
                  </a:lnTo>
                  <a:lnTo>
                    <a:pt x="427" y="151"/>
                  </a:lnTo>
                  <a:lnTo>
                    <a:pt x="431" y="146"/>
                  </a:lnTo>
                  <a:lnTo>
                    <a:pt x="431" y="145"/>
                  </a:lnTo>
                  <a:lnTo>
                    <a:pt x="434" y="143"/>
                  </a:lnTo>
                  <a:lnTo>
                    <a:pt x="437" y="138"/>
                  </a:lnTo>
                  <a:lnTo>
                    <a:pt x="439" y="135"/>
                  </a:lnTo>
                  <a:lnTo>
                    <a:pt x="440" y="133"/>
                  </a:lnTo>
                  <a:lnTo>
                    <a:pt x="442" y="130"/>
                  </a:lnTo>
                  <a:lnTo>
                    <a:pt x="442" y="128"/>
                  </a:lnTo>
                  <a:lnTo>
                    <a:pt x="444" y="125"/>
                  </a:lnTo>
                  <a:lnTo>
                    <a:pt x="444" y="124"/>
                  </a:lnTo>
                  <a:lnTo>
                    <a:pt x="457" y="117"/>
                  </a:lnTo>
                  <a:lnTo>
                    <a:pt x="460" y="112"/>
                  </a:lnTo>
                  <a:lnTo>
                    <a:pt x="460" y="109"/>
                  </a:lnTo>
                  <a:lnTo>
                    <a:pt x="463" y="107"/>
                  </a:lnTo>
                  <a:lnTo>
                    <a:pt x="465" y="106"/>
                  </a:lnTo>
                  <a:lnTo>
                    <a:pt x="468" y="102"/>
                  </a:lnTo>
                  <a:lnTo>
                    <a:pt x="470" y="99"/>
                  </a:lnTo>
                  <a:lnTo>
                    <a:pt x="471" y="99"/>
                  </a:lnTo>
                  <a:lnTo>
                    <a:pt x="471" y="98"/>
                  </a:lnTo>
                  <a:lnTo>
                    <a:pt x="473" y="98"/>
                  </a:lnTo>
                  <a:lnTo>
                    <a:pt x="474" y="96"/>
                  </a:lnTo>
                  <a:lnTo>
                    <a:pt x="476" y="96"/>
                  </a:lnTo>
                  <a:lnTo>
                    <a:pt x="476" y="93"/>
                  </a:lnTo>
                  <a:lnTo>
                    <a:pt x="478" y="93"/>
                  </a:lnTo>
                  <a:lnTo>
                    <a:pt x="479" y="93"/>
                  </a:lnTo>
                  <a:lnTo>
                    <a:pt x="481" y="91"/>
                  </a:lnTo>
                  <a:lnTo>
                    <a:pt x="483" y="93"/>
                  </a:lnTo>
                  <a:lnTo>
                    <a:pt x="484" y="93"/>
                  </a:lnTo>
                  <a:lnTo>
                    <a:pt x="484" y="91"/>
                  </a:lnTo>
                  <a:lnTo>
                    <a:pt x="484" y="89"/>
                  </a:lnTo>
                  <a:lnTo>
                    <a:pt x="487" y="88"/>
                  </a:lnTo>
                  <a:lnTo>
                    <a:pt x="489" y="88"/>
                  </a:lnTo>
                  <a:lnTo>
                    <a:pt x="491" y="86"/>
                  </a:lnTo>
                  <a:lnTo>
                    <a:pt x="499" y="85"/>
                  </a:lnTo>
                  <a:lnTo>
                    <a:pt x="502" y="83"/>
                  </a:lnTo>
                  <a:lnTo>
                    <a:pt x="512" y="81"/>
                  </a:lnTo>
                  <a:lnTo>
                    <a:pt x="515" y="81"/>
                  </a:lnTo>
                  <a:lnTo>
                    <a:pt x="515" y="80"/>
                  </a:lnTo>
                  <a:lnTo>
                    <a:pt x="517" y="80"/>
                  </a:lnTo>
                  <a:lnTo>
                    <a:pt x="520" y="78"/>
                  </a:lnTo>
                  <a:lnTo>
                    <a:pt x="522" y="80"/>
                  </a:lnTo>
                  <a:lnTo>
                    <a:pt x="523" y="80"/>
                  </a:lnTo>
                  <a:lnTo>
                    <a:pt x="525" y="81"/>
                  </a:lnTo>
                  <a:lnTo>
                    <a:pt x="527" y="81"/>
                  </a:lnTo>
                  <a:lnTo>
                    <a:pt x="527" y="78"/>
                  </a:lnTo>
                  <a:lnTo>
                    <a:pt x="531" y="76"/>
                  </a:lnTo>
                  <a:lnTo>
                    <a:pt x="533" y="75"/>
                  </a:lnTo>
                  <a:lnTo>
                    <a:pt x="540" y="72"/>
                  </a:lnTo>
                  <a:lnTo>
                    <a:pt x="543" y="72"/>
                  </a:lnTo>
                  <a:lnTo>
                    <a:pt x="546" y="68"/>
                  </a:lnTo>
                  <a:lnTo>
                    <a:pt x="553" y="67"/>
                  </a:lnTo>
                  <a:lnTo>
                    <a:pt x="556" y="65"/>
                  </a:lnTo>
                  <a:lnTo>
                    <a:pt x="557" y="65"/>
                  </a:lnTo>
                  <a:lnTo>
                    <a:pt x="557" y="63"/>
                  </a:lnTo>
                  <a:lnTo>
                    <a:pt x="561" y="62"/>
                  </a:lnTo>
                  <a:lnTo>
                    <a:pt x="564" y="58"/>
                  </a:lnTo>
                  <a:lnTo>
                    <a:pt x="566" y="57"/>
                  </a:lnTo>
                  <a:lnTo>
                    <a:pt x="570" y="52"/>
                  </a:lnTo>
                  <a:lnTo>
                    <a:pt x="574" y="52"/>
                  </a:lnTo>
                  <a:lnTo>
                    <a:pt x="575" y="50"/>
                  </a:lnTo>
                  <a:lnTo>
                    <a:pt x="582" y="45"/>
                  </a:lnTo>
                  <a:lnTo>
                    <a:pt x="585" y="44"/>
                  </a:lnTo>
                  <a:lnTo>
                    <a:pt x="585" y="42"/>
                  </a:lnTo>
                  <a:lnTo>
                    <a:pt x="587" y="42"/>
                  </a:lnTo>
                  <a:lnTo>
                    <a:pt x="592" y="39"/>
                  </a:lnTo>
                  <a:lnTo>
                    <a:pt x="595" y="34"/>
                  </a:lnTo>
                  <a:lnTo>
                    <a:pt x="596" y="34"/>
                  </a:lnTo>
                  <a:lnTo>
                    <a:pt x="598" y="34"/>
                  </a:lnTo>
                  <a:lnTo>
                    <a:pt x="600" y="32"/>
                  </a:lnTo>
                  <a:lnTo>
                    <a:pt x="600" y="31"/>
                  </a:lnTo>
                  <a:lnTo>
                    <a:pt x="601" y="29"/>
                  </a:lnTo>
                  <a:lnTo>
                    <a:pt x="603" y="28"/>
                  </a:lnTo>
                  <a:lnTo>
                    <a:pt x="605" y="28"/>
                  </a:lnTo>
                  <a:lnTo>
                    <a:pt x="605" y="26"/>
                  </a:lnTo>
                  <a:lnTo>
                    <a:pt x="606" y="26"/>
                  </a:lnTo>
                  <a:lnTo>
                    <a:pt x="606" y="24"/>
                  </a:lnTo>
                  <a:lnTo>
                    <a:pt x="608" y="23"/>
                  </a:lnTo>
                  <a:lnTo>
                    <a:pt x="608" y="21"/>
                  </a:lnTo>
                  <a:lnTo>
                    <a:pt x="609" y="19"/>
                  </a:lnTo>
                  <a:lnTo>
                    <a:pt x="609" y="18"/>
                  </a:lnTo>
                  <a:lnTo>
                    <a:pt x="609" y="16"/>
                  </a:lnTo>
                  <a:lnTo>
                    <a:pt x="611" y="15"/>
                  </a:lnTo>
                  <a:lnTo>
                    <a:pt x="613" y="13"/>
                  </a:lnTo>
                  <a:lnTo>
                    <a:pt x="614" y="8"/>
                  </a:lnTo>
                  <a:lnTo>
                    <a:pt x="614" y="6"/>
                  </a:lnTo>
                  <a:lnTo>
                    <a:pt x="616" y="5"/>
                  </a:lnTo>
                  <a:lnTo>
                    <a:pt x="616" y="3"/>
                  </a:lnTo>
                  <a:lnTo>
                    <a:pt x="616" y="0"/>
                  </a:lnTo>
                  <a:lnTo>
                    <a:pt x="618" y="0"/>
                  </a:lnTo>
                  <a:lnTo>
                    <a:pt x="619" y="0"/>
                  </a:lnTo>
                  <a:lnTo>
                    <a:pt x="618" y="3"/>
                  </a:lnTo>
                  <a:lnTo>
                    <a:pt x="618" y="5"/>
                  </a:lnTo>
                  <a:lnTo>
                    <a:pt x="619" y="5"/>
                  </a:lnTo>
                  <a:lnTo>
                    <a:pt x="621" y="3"/>
                  </a:lnTo>
                  <a:lnTo>
                    <a:pt x="622" y="3"/>
                  </a:lnTo>
                  <a:lnTo>
                    <a:pt x="624" y="3"/>
                  </a:lnTo>
                  <a:lnTo>
                    <a:pt x="626" y="3"/>
                  </a:lnTo>
                  <a:lnTo>
                    <a:pt x="626" y="2"/>
                  </a:lnTo>
                  <a:lnTo>
                    <a:pt x="627" y="2"/>
                  </a:lnTo>
                  <a:lnTo>
                    <a:pt x="627" y="3"/>
                  </a:lnTo>
                  <a:lnTo>
                    <a:pt x="629" y="3"/>
                  </a:lnTo>
                  <a:lnTo>
                    <a:pt x="631" y="3"/>
                  </a:lnTo>
                  <a:lnTo>
                    <a:pt x="632" y="5"/>
                  </a:lnTo>
                  <a:lnTo>
                    <a:pt x="634" y="5"/>
                  </a:lnTo>
                  <a:lnTo>
                    <a:pt x="635" y="5"/>
                  </a:lnTo>
                  <a:lnTo>
                    <a:pt x="635" y="6"/>
                  </a:lnTo>
                  <a:lnTo>
                    <a:pt x="637" y="6"/>
                  </a:lnTo>
                  <a:lnTo>
                    <a:pt x="635" y="8"/>
                  </a:lnTo>
                  <a:lnTo>
                    <a:pt x="635" y="10"/>
                  </a:lnTo>
                  <a:lnTo>
                    <a:pt x="635" y="11"/>
                  </a:lnTo>
                  <a:lnTo>
                    <a:pt x="635" y="13"/>
                  </a:lnTo>
                  <a:lnTo>
                    <a:pt x="637" y="15"/>
                  </a:lnTo>
                  <a:lnTo>
                    <a:pt x="637" y="16"/>
                  </a:lnTo>
                  <a:lnTo>
                    <a:pt x="640" y="18"/>
                  </a:lnTo>
                  <a:lnTo>
                    <a:pt x="642" y="18"/>
                  </a:lnTo>
                  <a:lnTo>
                    <a:pt x="642" y="19"/>
                  </a:lnTo>
                  <a:lnTo>
                    <a:pt x="642" y="21"/>
                  </a:lnTo>
                  <a:lnTo>
                    <a:pt x="644" y="23"/>
                  </a:lnTo>
                  <a:lnTo>
                    <a:pt x="644" y="24"/>
                  </a:lnTo>
                  <a:lnTo>
                    <a:pt x="647" y="24"/>
                  </a:lnTo>
                  <a:lnTo>
                    <a:pt x="647" y="26"/>
                  </a:lnTo>
                  <a:lnTo>
                    <a:pt x="645" y="29"/>
                  </a:lnTo>
                  <a:lnTo>
                    <a:pt x="644" y="34"/>
                  </a:lnTo>
                  <a:lnTo>
                    <a:pt x="619" y="102"/>
                  </a:lnTo>
                  <a:lnTo>
                    <a:pt x="618" y="109"/>
                  </a:lnTo>
                  <a:lnTo>
                    <a:pt x="614" y="115"/>
                  </a:lnTo>
                  <a:lnTo>
                    <a:pt x="574" y="145"/>
                  </a:lnTo>
                  <a:lnTo>
                    <a:pt x="572" y="146"/>
                  </a:lnTo>
                  <a:lnTo>
                    <a:pt x="570" y="163"/>
                  </a:lnTo>
                  <a:lnTo>
                    <a:pt x="569" y="172"/>
                  </a:lnTo>
                  <a:lnTo>
                    <a:pt x="569" y="174"/>
                  </a:lnTo>
                  <a:lnTo>
                    <a:pt x="572" y="180"/>
                  </a:lnTo>
                  <a:lnTo>
                    <a:pt x="574" y="187"/>
                  </a:lnTo>
                  <a:lnTo>
                    <a:pt x="582" y="213"/>
                  </a:lnTo>
                  <a:lnTo>
                    <a:pt x="603" y="236"/>
                  </a:lnTo>
                  <a:lnTo>
                    <a:pt x="605" y="237"/>
                  </a:lnTo>
                  <a:lnTo>
                    <a:pt x="613" y="255"/>
                  </a:lnTo>
                  <a:lnTo>
                    <a:pt x="616" y="265"/>
                  </a:lnTo>
                  <a:lnTo>
                    <a:pt x="614" y="276"/>
                  </a:lnTo>
                  <a:lnTo>
                    <a:pt x="611" y="289"/>
                  </a:lnTo>
                  <a:lnTo>
                    <a:pt x="614" y="299"/>
                  </a:lnTo>
                  <a:lnTo>
                    <a:pt x="616" y="304"/>
                  </a:lnTo>
                  <a:lnTo>
                    <a:pt x="618" y="322"/>
                  </a:lnTo>
                  <a:lnTo>
                    <a:pt x="619" y="327"/>
                  </a:lnTo>
                  <a:lnTo>
                    <a:pt x="621" y="332"/>
                  </a:lnTo>
                  <a:lnTo>
                    <a:pt x="622" y="338"/>
                  </a:lnTo>
                  <a:lnTo>
                    <a:pt x="626" y="348"/>
                  </a:lnTo>
                  <a:lnTo>
                    <a:pt x="639" y="379"/>
                  </a:lnTo>
                  <a:lnTo>
                    <a:pt x="642" y="385"/>
                  </a:lnTo>
                  <a:lnTo>
                    <a:pt x="640" y="390"/>
                  </a:lnTo>
                  <a:lnTo>
                    <a:pt x="637" y="408"/>
                  </a:lnTo>
                  <a:lnTo>
                    <a:pt x="635" y="441"/>
                  </a:lnTo>
                  <a:lnTo>
                    <a:pt x="634" y="444"/>
                  </a:lnTo>
                  <a:lnTo>
                    <a:pt x="634" y="446"/>
                  </a:lnTo>
                  <a:lnTo>
                    <a:pt x="634" y="449"/>
                  </a:lnTo>
                  <a:lnTo>
                    <a:pt x="600" y="476"/>
                  </a:lnTo>
                  <a:lnTo>
                    <a:pt x="572" y="514"/>
                  </a:lnTo>
                  <a:lnTo>
                    <a:pt x="549" y="545"/>
                  </a:lnTo>
                  <a:lnTo>
                    <a:pt x="523" y="577"/>
                  </a:lnTo>
                  <a:lnTo>
                    <a:pt x="509" y="598"/>
                  </a:lnTo>
                  <a:lnTo>
                    <a:pt x="502" y="607"/>
                  </a:lnTo>
                  <a:lnTo>
                    <a:pt x="497" y="611"/>
                  </a:lnTo>
                  <a:lnTo>
                    <a:pt x="494" y="618"/>
                  </a:lnTo>
                  <a:lnTo>
                    <a:pt x="460" y="660"/>
                  </a:lnTo>
                  <a:lnTo>
                    <a:pt x="439" y="688"/>
                  </a:lnTo>
                  <a:lnTo>
                    <a:pt x="409" y="725"/>
                  </a:lnTo>
                  <a:lnTo>
                    <a:pt x="396" y="743"/>
                  </a:lnTo>
                  <a:lnTo>
                    <a:pt x="392" y="750"/>
                  </a:lnTo>
                  <a:lnTo>
                    <a:pt x="388" y="753"/>
                  </a:lnTo>
                  <a:lnTo>
                    <a:pt x="387" y="755"/>
                  </a:lnTo>
                  <a:lnTo>
                    <a:pt x="353" y="800"/>
                  </a:lnTo>
                  <a:lnTo>
                    <a:pt x="343" y="813"/>
                  </a:lnTo>
                  <a:lnTo>
                    <a:pt x="322" y="838"/>
                  </a:lnTo>
                  <a:lnTo>
                    <a:pt x="317" y="844"/>
                  </a:lnTo>
                  <a:lnTo>
                    <a:pt x="304" y="860"/>
                  </a:lnTo>
                  <a:lnTo>
                    <a:pt x="294" y="873"/>
                  </a:lnTo>
                  <a:lnTo>
                    <a:pt x="284" y="885"/>
                  </a:lnTo>
                  <a:lnTo>
                    <a:pt x="276" y="896"/>
                  </a:lnTo>
                  <a:lnTo>
                    <a:pt x="266" y="909"/>
                  </a:lnTo>
                  <a:lnTo>
                    <a:pt x="263" y="916"/>
                  </a:lnTo>
                  <a:lnTo>
                    <a:pt x="248" y="917"/>
                  </a:lnTo>
                  <a:lnTo>
                    <a:pt x="248" y="919"/>
                  </a:lnTo>
                  <a:lnTo>
                    <a:pt x="247" y="919"/>
                  </a:lnTo>
                  <a:lnTo>
                    <a:pt x="245" y="919"/>
                  </a:lnTo>
                  <a:lnTo>
                    <a:pt x="244" y="919"/>
                  </a:lnTo>
                  <a:lnTo>
                    <a:pt x="235" y="920"/>
                  </a:lnTo>
                  <a:lnTo>
                    <a:pt x="232" y="920"/>
                  </a:lnTo>
                  <a:lnTo>
                    <a:pt x="226" y="922"/>
                  </a:lnTo>
                  <a:lnTo>
                    <a:pt x="224" y="924"/>
                  </a:lnTo>
                  <a:lnTo>
                    <a:pt x="222" y="924"/>
                  </a:lnTo>
                  <a:lnTo>
                    <a:pt x="221" y="924"/>
                  </a:lnTo>
                  <a:lnTo>
                    <a:pt x="221" y="922"/>
                  </a:lnTo>
                  <a:lnTo>
                    <a:pt x="219" y="922"/>
                  </a:lnTo>
                  <a:lnTo>
                    <a:pt x="213" y="924"/>
                  </a:lnTo>
                  <a:lnTo>
                    <a:pt x="209" y="925"/>
                  </a:lnTo>
                  <a:lnTo>
                    <a:pt x="205" y="922"/>
                  </a:lnTo>
                  <a:lnTo>
                    <a:pt x="196" y="917"/>
                  </a:lnTo>
                  <a:lnTo>
                    <a:pt x="193" y="917"/>
                  </a:lnTo>
                  <a:lnTo>
                    <a:pt x="190" y="916"/>
                  </a:lnTo>
                  <a:lnTo>
                    <a:pt x="187" y="916"/>
                  </a:lnTo>
                  <a:lnTo>
                    <a:pt x="180" y="912"/>
                  </a:lnTo>
                  <a:lnTo>
                    <a:pt x="178" y="912"/>
                  </a:lnTo>
                  <a:lnTo>
                    <a:pt x="178" y="914"/>
                  </a:lnTo>
                  <a:lnTo>
                    <a:pt x="177" y="916"/>
                  </a:lnTo>
                  <a:lnTo>
                    <a:pt x="175" y="916"/>
                  </a:lnTo>
                  <a:lnTo>
                    <a:pt x="172" y="916"/>
                  </a:lnTo>
                  <a:lnTo>
                    <a:pt x="172" y="917"/>
                  </a:lnTo>
                  <a:lnTo>
                    <a:pt x="167" y="919"/>
                  </a:lnTo>
                  <a:lnTo>
                    <a:pt x="165" y="917"/>
                  </a:lnTo>
                  <a:lnTo>
                    <a:pt x="165" y="916"/>
                  </a:lnTo>
                  <a:lnTo>
                    <a:pt x="165" y="914"/>
                  </a:lnTo>
                  <a:lnTo>
                    <a:pt x="164" y="914"/>
                  </a:lnTo>
                  <a:lnTo>
                    <a:pt x="164" y="912"/>
                  </a:lnTo>
                  <a:lnTo>
                    <a:pt x="161" y="911"/>
                  </a:lnTo>
                  <a:lnTo>
                    <a:pt x="157" y="911"/>
                  </a:lnTo>
                  <a:lnTo>
                    <a:pt x="157" y="909"/>
                  </a:lnTo>
                  <a:lnTo>
                    <a:pt x="157" y="907"/>
                  </a:lnTo>
                  <a:lnTo>
                    <a:pt x="156" y="904"/>
                  </a:lnTo>
                  <a:lnTo>
                    <a:pt x="156" y="903"/>
                  </a:lnTo>
                  <a:lnTo>
                    <a:pt x="152" y="903"/>
                  </a:lnTo>
                  <a:lnTo>
                    <a:pt x="151" y="904"/>
                  </a:lnTo>
                  <a:lnTo>
                    <a:pt x="148" y="904"/>
                  </a:lnTo>
                  <a:lnTo>
                    <a:pt x="146" y="903"/>
                  </a:lnTo>
                  <a:lnTo>
                    <a:pt x="148" y="903"/>
                  </a:lnTo>
                  <a:lnTo>
                    <a:pt x="148" y="901"/>
                  </a:lnTo>
                  <a:lnTo>
                    <a:pt x="146" y="899"/>
                  </a:lnTo>
                  <a:lnTo>
                    <a:pt x="144" y="901"/>
                  </a:lnTo>
                  <a:lnTo>
                    <a:pt x="144" y="899"/>
                  </a:lnTo>
                  <a:lnTo>
                    <a:pt x="144" y="901"/>
                  </a:lnTo>
                  <a:lnTo>
                    <a:pt x="143" y="899"/>
                  </a:lnTo>
                  <a:lnTo>
                    <a:pt x="143" y="898"/>
                  </a:lnTo>
                  <a:lnTo>
                    <a:pt x="141" y="898"/>
                  </a:lnTo>
                  <a:lnTo>
                    <a:pt x="139" y="898"/>
                  </a:lnTo>
                  <a:lnTo>
                    <a:pt x="138" y="898"/>
                  </a:lnTo>
                  <a:lnTo>
                    <a:pt x="138" y="899"/>
                  </a:lnTo>
                  <a:lnTo>
                    <a:pt x="136" y="899"/>
                  </a:lnTo>
                  <a:lnTo>
                    <a:pt x="136" y="898"/>
                  </a:lnTo>
                  <a:lnTo>
                    <a:pt x="135" y="898"/>
                  </a:lnTo>
                  <a:lnTo>
                    <a:pt x="133" y="898"/>
                  </a:lnTo>
                  <a:lnTo>
                    <a:pt x="133" y="899"/>
                  </a:lnTo>
                  <a:lnTo>
                    <a:pt x="131" y="899"/>
                  </a:lnTo>
                  <a:lnTo>
                    <a:pt x="130" y="901"/>
                  </a:lnTo>
                  <a:lnTo>
                    <a:pt x="128" y="899"/>
                  </a:lnTo>
                  <a:lnTo>
                    <a:pt x="126" y="899"/>
                  </a:lnTo>
                  <a:lnTo>
                    <a:pt x="126" y="901"/>
                  </a:lnTo>
                  <a:lnTo>
                    <a:pt x="126" y="899"/>
                  </a:lnTo>
                  <a:lnTo>
                    <a:pt x="125" y="899"/>
                  </a:lnTo>
                  <a:lnTo>
                    <a:pt x="126" y="899"/>
                  </a:lnTo>
                  <a:lnTo>
                    <a:pt x="125" y="898"/>
                  </a:lnTo>
                  <a:lnTo>
                    <a:pt x="125" y="899"/>
                  </a:lnTo>
                  <a:lnTo>
                    <a:pt x="123" y="899"/>
                  </a:lnTo>
                  <a:lnTo>
                    <a:pt x="123" y="901"/>
                  </a:lnTo>
                  <a:lnTo>
                    <a:pt x="122" y="901"/>
                  </a:lnTo>
                  <a:lnTo>
                    <a:pt x="120" y="901"/>
                  </a:lnTo>
                  <a:lnTo>
                    <a:pt x="120" y="903"/>
                  </a:lnTo>
                  <a:lnTo>
                    <a:pt x="120" y="904"/>
                  </a:lnTo>
                  <a:lnTo>
                    <a:pt x="118" y="903"/>
                  </a:lnTo>
                  <a:lnTo>
                    <a:pt x="118" y="904"/>
                  </a:lnTo>
                  <a:lnTo>
                    <a:pt x="118" y="906"/>
                  </a:lnTo>
                  <a:lnTo>
                    <a:pt x="118" y="904"/>
                  </a:lnTo>
                  <a:lnTo>
                    <a:pt x="118" y="906"/>
                  </a:lnTo>
                  <a:lnTo>
                    <a:pt x="117" y="906"/>
                  </a:lnTo>
                  <a:lnTo>
                    <a:pt x="117" y="907"/>
                  </a:lnTo>
                  <a:lnTo>
                    <a:pt x="117" y="906"/>
                  </a:lnTo>
                  <a:lnTo>
                    <a:pt x="117" y="907"/>
                  </a:lnTo>
                  <a:lnTo>
                    <a:pt x="115" y="907"/>
                  </a:lnTo>
                  <a:lnTo>
                    <a:pt x="115" y="909"/>
                  </a:lnTo>
                  <a:lnTo>
                    <a:pt x="113" y="909"/>
                  </a:lnTo>
                  <a:lnTo>
                    <a:pt x="113" y="911"/>
                  </a:lnTo>
                  <a:lnTo>
                    <a:pt x="113" y="912"/>
                  </a:lnTo>
                  <a:lnTo>
                    <a:pt x="112" y="912"/>
                  </a:lnTo>
                  <a:lnTo>
                    <a:pt x="112" y="914"/>
                  </a:lnTo>
                  <a:lnTo>
                    <a:pt x="110" y="914"/>
                  </a:lnTo>
                  <a:lnTo>
                    <a:pt x="109" y="914"/>
                  </a:lnTo>
                  <a:lnTo>
                    <a:pt x="109" y="916"/>
                  </a:lnTo>
                  <a:lnTo>
                    <a:pt x="104" y="912"/>
                  </a:lnTo>
                  <a:lnTo>
                    <a:pt x="105" y="911"/>
                  </a:lnTo>
                  <a:lnTo>
                    <a:pt x="107" y="907"/>
                  </a:lnTo>
                  <a:lnTo>
                    <a:pt x="107" y="906"/>
                  </a:lnTo>
                  <a:lnTo>
                    <a:pt x="107" y="903"/>
                  </a:lnTo>
                  <a:lnTo>
                    <a:pt x="105" y="901"/>
                  </a:lnTo>
                  <a:lnTo>
                    <a:pt x="105" y="899"/>
                  </a:lnTo>
                  <a:lnTo>
                    <a:pt x="105" y="898"/>
                  </a:lnTo>
                  <a:lnTo>
                    <a:pt x="105" y="896"/>
                  </a:lnTo>
                  <a:lnTo>
                    <a:pt x="105" y="894"/>
                  </a:lnTo>
                  <a:lnTo>
                    <a:pt x="104" y="894"/>
                  </a:lnTo>
                  <a:lnTo>
                    <a:pt x="105" y="893"/>
                  </a:lnTo>
                  <a:lnTo>
                    <a:pt x="105" y="891"/>
                  </a:lnTo>
                  <a:lnTo>
                    <a:pt x="104" y="890"/>
                  </a:lnTo>
                  <a:lnTo>
                    <a:pt x="102" y="890"/>
                  </a:lnTo>
                  <a:lnTo>
                    <a:pt x="102" y="888"/>
                  </a:lnTo>
                  <a:lnTo>
                    <a:pt x="100" y="888"/>
                  </a:lnTo>
                  <a:lnTo>
                    <a:pt x="99" y="888"/>
                  </a:lnTo>
                  <a:lnTo>
                    <a:pt x="99" y="886"/>
                  </a:lnTo>
                  <a:lnTo>
                    <a:pt x="99" y="885"/>
                  </a:lnTo>
                  <a:lnTo>
                    <a:pt x="99" y="883"/>
                  </a:lnTo>
                  <a:lnTo>
                    <a:pt x="99" y="881"/>
                  </a:lnTo>
                  <a:lnTo>
                    <a:pt x="99" y="880"/>
                  </a:lnTo>
                  <a:lnTo>
                    <a:pt x="97" y="878"/>
                  </a:lnTo>
                  <a:lnTo>
                    <a:pt x="97" y="877"/>
                  </a:lnTo>
                  <a:lnTo>
                    <a:pt x="97" y="875"/>
                  </a:lnTo>
                  <a:lnTo>
                    <a:pt x="96" y="873"/>
                  </a:lnTo>
                  <a:lnTo>
                    <a:pt x="96" y="872"/>
                  </a:lnTo>
                  <a:lnTo>
                    <a:pt x="92" y="870"/>
                  </a:lnTo>
                  <a:lnTo>
                    <a:pt x="94" y="867"/>
                  </a:lnTo>
                  <a:lnTo>
                    <a:pt x="96" y="867"/>
                  </a:lnTo>
                  <a:lnTo>
                    <a:pt x="96" y="865"/>
                  </a:lnTo>
                  <a:lnTo>
                    <a:pt x="96" y="864"/>
                  </a:lnTo>
                  <a:lnTo>
                    <a:pt x="96" y="862"/>
                  </a:lnTo>
                  <a:lnTo>
                    <a:pt x="96" y="860"/>
                  </a:lnTo>
                  <a:lnTo>
                    <a:pt x="94" y="854"/>
                  </a:lnTo>
                  <a:lnTo>
                    <a:pt x="94" y="851"/>
                  </a:lnTo>
                  <a:lnTo>
                    <a:pt x="94" y="847"/>
                  </a:lnTo>
                  <a:lnTo>
                    <a:pt x="92" y="846"/>
                  </a:lnTo>
                  <a:lnTo>
                    <a:pt x="92" y="844"/>
                  </a:lnTo>
                  <a:lnTo>
                    <a:pt x="92" y="842"/>
                  </a:lnTo>
                  <a:lnTo>
                    <a:pt x="92" y="839"/>
                  </a:lnTo>
                  <a:lnTo>
                    <a:pt x="92" y="838"/>
                  </a:lnTo>
                  <a:lnTo>
                    <a:pt x="92" y="836"/>
                  </a:lnTo>
                  <a:lnTo>
                    <a:pt x="89" y="836"/>
                  </a:lnTo>
                  <a:lnTo>
                    <a:pt x="87" y="838"/>
                  </a:lnTo>
                  <a:lnTo>
                    <a:pt x="87" y="839"/>
                  </a:lnTo>
                  <a:lnTo>
                    <a:pt x="86" y="839"/>
                  </a:lnTo>
                  <a:lnTo>
                    <a:pt x="86" y="838"/>
                  </a:lnTo>
                  <a:lnTo>
                    <a:pt x="84" y="838"/>
                  </a:lnTo>
                  <a:lnTo>
                    <a:pt x="84" y="836"/>
                  </a:lnTo>
                  <a:lnTo>
                    <a:pt x="84" y="834"/>
                  </a:lnTo>
                  <a:lnTo>
                    <a:pt x="86" y="834"/>
                  </a:lnTo>
                  <a:lnTo>
                    <a:pt x="87" y="833"/>
                  </a:lnTo>
                  <a:lnTo>
                    <a:pt x="89" y="833"/>
                  </a:lnTo>
                  <a:lnTo>
                    <a:pt x="91" y="829"/>
                  </a:lnTo>
                  <a:lnTo>
                    <a:pt x="92" y="826"/>
                  </a:lnTo>
                  <a:lnTo>
                    <a:pt x="92" y="825"/>
                  </a:lnTo>
                  <a:lnTo>
                    <a:pt x="94" y="823"/>
                  </a:lnTo>
                  <a:lnTo>
                    <a:pt x="96" y="823"/>
                  </a:lnTo>
                  <a:lnTo>
                    <a:pt x="97" y="821"/>
                  </a:lnTo>
                  <a:lnTo>
                    <a:pt x="99" y="821"/>
                  </a:lnTo>
                  <a:lnTo>
                    <a:pt x="100" y="820"/>
                  </a:lnTo>
                  <a:lnTo>
                    <a:pt x="102" y="818"/>
                  </a:lnTo>
                  <a:lnTo>
                    <a:pt x="102" y="816"/>
                  </a:lnTo>
                  <a:lnTo>
                    <a:pt x="104" y="815"/>
                  </a:lnTo>
                  <a:lnTo>
                    <a:pt x="102" y="813"/>
                  </a:lnTo>
                  <a:lnTo>
                    <a:pt x="102" y="810"/>
                  </a:lnTo>
                  <a:lnTo>
                    <a:pt x="104" y="810"/>
                  </a:lnTo>
                  <a:lnTo>
                    <a:pt x="104" y="808"/>
                  </a:lnTo>
                  <a:lnTo>
                    <a:pt x="105" y="807"/>
                  </a:lnTo>
                  <a:lnTo>
                    <a:pt x="105" y="805"/>
                  </a:lnTo>
                  <a:lnTo>
                    <a:pt x="107" y="805"/>
                  </a:lnTo>
                  <a:lnTo>
                    <a:pt x="110" y="800"/>
                  </a:lnTo>
                  <a:lnTo>
                    <a:pt x="112" y="799"/>
                  </a:lnTo>
                  <a:lnTo>
                    <a:pt x="113" y="795"/>
                  </a:lnTo>
                  <a:lnTo>
                    <a:pt x="115" y="792"/>
                  </a:lnTo>
                  <a:lnTo>
                    <a:pt x="113" y="790"/>
                  </a:lnTo>
                  <a:lnTo>
                    <a:pt x="112" y="790"/>
                  </a:lnTo>
                  <a:lnTo>
                    <a:pt x="112" y="789"/>
                  </a:lnTo>
                  <a:lnTo>
                    <a:pt x="112" y="787"/>
                  </a:lnTo>
                  <a:lnTo>
                    <a:pt x="115" y="786"/>
                  </a:lnTo>
                  <a:lnTo>
                    <a:pt x="115" y="784"/>
                  </a:lnTo>
                  <a:lnTo>
                    <a:pt x="117" y="784"/>
                  </a:lnTo>
                  <a:lnTo>
                    <a:pt x="117" y="782"/>
                  </a:lnTo>
                  <a:lnTo>
                    <a:pt x="120" y="781"/>
                  </a:lnTo>
                  <a:lnTo>
                    <a:pt x="122" y="777"/>
                  </a:lnTo>
                  <a:lnTo>
                    <a:pt x="123" y="776"/>
                  </a:lnTo>
                  <a:lnTo>
                    <a:pt x="122" y="774"/>
                  </a:lnTo>
                  <a:lnTo>
                    <a:pt x="120" y="774"/>
                  </a:lnTo>
                  <a:lnTo>
                    <a:pt x="118" y="772"/>
                  </a:lnTo>
                  <a:lnTo>
                    <a:pt x="117" y="772"/>
                  </a:lnTo>
                  <a:lnTo>
                    <a:pt x="115" y="771"/>
                  </a:lnTo>
                  <a:lnTo>
                    <a:pt x="113" y="772"/>
                  </a:lnTo>
                  <a:lnTo>
                    <a:pt x="112" y="772"/>
                  </a:lnTo>
                  <a:lnTo>
                    <a:pt x="110" y="772"/>
                  </a:lnTo>
                  <a:lnTo>
                    <a:pt x="110" y="771"/>
                  </a:lnTo>
                  <a:lnTo>
                    <a:pt x="109" y="772"/>
                  </a:lnTo>
                  <a:lnTo>
                    <a:pt x="107" y="772"/>
                  </a:lnTo>
                  <a:lnTo>
                    <a:pt x="105" y="772"/>
                  </a:lnTo>
                  <a:lnTo>
                    <a:pt x="105" y="771"/>
                  </a:lnTo>
                  <a:lnTo>
                    <a:pt x="105" y="769"/>
                  </a:lnTo>
                  <a:lnTo>
                    <a:pt x="105" y="768"/>
                  </a:lnTo>
                  <a:lnTo>
                    <a:pt x="107" y="766"/>
                  </a:lnTo>
                  <a:lnTo>
                    <a:pt x="107" y="764"/>
                  </a:lnTo>
                  <a:lnTo>
                    <a:pt x="107" y="763"/>
                  </a:lnTo>
                  <a:lnTo>
                    <a:pt x="107" y="761"/>
                  </a:lnTo>
                  <a:lnTo>
                    <a:pt x="107" y="759"/>
                  </a:lnTo>
                  <a:lnTo>
                    <a:pt x="107" y="758"/>
                  </a:lnTo>
                  <a:lnTo>
                    <a:pt x="109" y="756"/>
                  </a:lnTo>
                  <a:lnTo>
                    <a:pt x="109" y="753"/>
                  </a:lnTo>
                  <a:lnTo>
                    <a:pt x="109" y="751"/>
                  </a:lnTo>
                  <a:lnTo>
                    <a:pt x="110" y="751"/>
                  </a:lnTo>
                  <a:lnTo>
                    <a:pt x="112" y="750"/>
                  </a:lnTo>
                  <a:lnTo>
                    <a:pt x="112" y="748"/>
                  </a:lnTo>
                  <a:lnTo>
                    <a:pt x="112" y="745"/>
                  </a:lnTo>
                  <a:lnTo>
                    <a:pt x="113" y="742"/>
                  </a:lnTo>
                  <a:lnTo>
                    <a:pt x="115" y="742"/>
                  </a:lnTo>
                  <a:lnTo>
                    <a:pt x="117" y="742"/>
                  </a:lnTo>
                  <a:lnTo>
                    <a:pt x="117" y="740"/>
                  </a:lnTo>
                  <a:lnTo>
                    <a:pt x="118" y="740"/>
                  </a:lnTo>
                  <a:lnTo>
                    <a:pt x="118" y="738"/>
                  </a:lnTo>
                  <a:lnTo>
                    <a:pt x="120" y="738"/>
                  </a:lnTo>
                  <a:lnTo>
                    <a:pt x="120" y="737"/>
                  </a:lnTo>
                  <a:lnTo>
                    <a:pt x="122" y="735"/>
                  </a:lnTo>
                  <a:lnTo>
                    <a:pt x="123" y="735"/>
                  </a:lnTo>
                  <a:lnTo>
                    <a:pt x="125" y="737"/>
                  </a:lnTo>
                  <a:lnTo>
                    <a:pt x="126" y="737"/>
                  </a:lnTo>
                  <a:lnTo>
                    <a:pt x="128" y="735"/>
                  </a:lnTo>
                  <a:lnTo>
                    <a:pt x="131" y="733"/>
                  </a:lnTo>
                  <a:lnTo>
                    <a:pt x="131" y="732"/>
                  </a:lnTo>
                  <a:lnTo>
                    <a:pt x="131" y="730"/>
                  </a:lnTo>
                  <a:lnTo>
                    <a:pt x="133" y="730"/>
                  </a:lnTo>
                  <a:lnTo>
                    <a:pt x="136" y="729"/>
                  </a:lnTo>
                  <a:lnTo>
                    <a:pt x="138" y="730"/>
                  </a:lnTo>
                  <a:lnTo>
                    <a:pt x="139" y="730"/>
                  </a:lnTo>
                  <a:lnTo>
                    <a:pt x="141" y="730"/>
                  </a:lnTo>
                  <a:lnTo>
                    <a:pt x="143" y="729"/>
                  </a:lnTo>
                  <a:lnTo>
                    <a:pt x="146" y="729"/>
                  </a:lnTo>
                  <a:lnTo>
                    <a:pt x="149" y="727"/>
                  </a:lnTo>
                  <a:lnTo>
                    <a:pt x="149" y="725"/>
                  </a:lnTo>
                  <a:lnTo>
                    <a:pt x="148" y="724"/>
                  </a:lnTo>
                  <a:lnTo>
                    <a:pt x="135" y="722"/>
                  </a:lnTo>
                  <a:lnTo>
                    <a:pt x="133" y="722"/>
                  </a:lnTo>
                  <a:lnTo>
                    <a:pt x="135" y="717"/>
                  </a:lnTo>
                  <a:lnTo>
                    <a:pt x="135" y="714"/>
                  </a:lnTo>
                  <a:lnTo>
                    <a:pt x="136" y="711"/>
                  </a:lnTo>
                  <a:lnTo>
                    <a:pt x="138" y="709"/>
                  </a:lnTo>
                  <a:lnTo>
                    <a:pt x="139" y="709"/>
                  </a:lnTo>
                  <a:lnTo>
                    <a:pt x="139" y="707"/>
                  </a:lnTo>
                  <a:lnTo>
                    <a:pt x="139" y="706"/>
                  </a:lnTo>
                  <a:lnTo>
                    <a:pt x="139" y="704"/>
                  </a:lnTo>
                  <a:lnTo>
                    <a:pt x="141" y="704"/>
                  </a:lnTo>
                  <a:lnTo>
                    <a:pt x="141" y="703"/>
                  </a:lnTo>
                  <a:lnTo>
                    <a:pt x="141" y="701"/>
                  </a:lnTo>
                  <a:lnTo>
                    <a:pt x="143" y="699"/>
                  </a:lnTo>
                  <a:lnTo>
                    <a:pt x="141" y="699"/>
                  </a:lnTo>
                  <a:lnTo>
                    <a:pt x="141" y="698"/>
                  </a:lnTo>
                  <a:lnTo>
                    <a:pt x="143" y="698"/>
                  </a:lnTo>
                  <a:lnTo>
                    <a:pt x="144" y="696"/>
                  </a:lnTo>
                  <a:lnTo>
                    <a:pt x="149" y="696"/>
                  </a:lnTo>
                  <a:lnTo>
                    <a:pt x="151" y="694"/>
                  </a:lnTo>
                  <a:lnTo>
                    <a:pt x="152" y="693"/>
                  </a:lnTo>
                  <a:lnTo>
                    <a:pt x="152" y="691"/>
                  </a:lnTo>
                  <a:lnTo>
                    <a:pt x="152" y="690"/>
                  </a:lnTo>
                  <a:lnTo>
                    <a:pt x="151" y="688"/>
                  </a:lnTo>
                  <a:lnTo>
                    <a:pt x="151" y="686"/>
                  </a:lnTo>
                  <a:lnTo>
                    <a:pt x="152" y="683"/>
                  </a:lnTo>
                  <a:lnTo>
                    <a:pt x="154" y="681"/>
                  </a:lnTo>
                  <a:lnTo>
                    <a:pt x="156" y="680"/>
                  </a:lnTo>
                  <a:lnTo>
                    <a:pt x="157" y="678"/>
                  </a:lnTo>
                  <a:lnTo>
                    <a:pt x="156" y="677"/>
                  </a:lnTo>
                  <a:lnTo>
                    <a:pt x="156" y="675"/>
                  </a:lnTo>
                  <a:lnTo>
                    <a:pt x="157" y="675"/>
                  </a:lnTo>
                  <a:lnTo>
                    <a:pt x="157" y="673"/>
                  </a:lnTo>
                  <a:lnTo>
                    <a:pt x="157" y="672"/>
                  </a:lnTo>
                  <a:lnTo>
                    <a:pt x="157" y="670"/>
                  </a:lnTo>
                  <a:lnTo>
                    <a:pt x="159" y="670"/>
                  </a:lnTo>
                  <a:lnTo>
                    <a:pt x="161" y="668"/>
                  </a:lnTo>
                  <a:lnTo>
                    <a:pt x="159" y="667"/>
                  </a:lnTo>
                  <a:lnTo>
                    <a:pt x="157" y="665"/>
                  </a:lnTo>
                  <a:lnTo>
                    <a:pt x="154" y="667"/>
                  </a:lnTo>
                  <a:lnTo>
                    <a:pt x="154" y="665"/>
                  </a:lnTo>
                  <a:lnTo>
                    <a:pt x="152" y="662"/>
                  </a:lnTo>
                  <a:lnTo>
                    <a:pt x="151" y="660"/>
                  </a:lnTo>
                  <a:lnTo>
                    <a:pt x="151" y="659"/>
                  </a:lnTo>
                  <a:lnTo>
                    <a:pt x="152" y="659"/>
                  </a:lnTo>
                  <a:lnTo>
                    <a:pt x="152" y="657"/>
                  </a:lnTo>
                  <a:lnTo>
                    <a:pt x="151" y="657"/>
                  </a:lnTo>
                  <a:lnTo>
                    <a:pt x="149" y="655"/>
                  </a:lnTo>
                  <a:lnTo>
                    <a:pt x="148" y="655"/>
                  </a:lnTo>
                  <a:lnTo>
                    <a:pt x="148" y="654"/>
                  </a:lnTo>
                  <a:lnTo>
                    <a:pt x="148" y="652"/>
                  </a:lnTo>
                  <a:lnTo>
                    <a:pt x="146" y="652"/>
                  </a:lnTo>
                  <a:lnTo>
                    <a:pt x="144" y="652"/>
                  </a:lnTo>
                  <a:lnTo>
                    <a:pt x="144" y="651"/>
                  </a:lnTo>
                  <a:lnTo>
                    <a:pt x="143" y="649"/>
                  </a:lnTo>
                  <a:lnTo>
                    <a:pt x="141" y="649"/>
                  </a:lnTo>
                  <a:lnTo>
                    <a:pt x="143" y="647"/>
                  </a:lnTo>
                  <a:lnTo>
                    <a:pt x="143" y="646"/>
                  </a:lnTo>
                  <a:lnTo>
                    <a:pt x="144" y="642"/>
                  </a:lnTo>
                  <a:lnTo>
                    <a:pt x="143" y="641"/>
                  </a:lnTo>
                  <a:lnTo>
                    <a:pt x="141" y="641"/>
                  </a:lnTo>
                  <a:lnTo>
                    <a:pt x="139" y="641"/>
                  </a:lnTo>
                  <a:lnTo>
                    <a:pt x="138" y="639"/>
                  </a:lnTo>
                  <a:lnTo>
                    <a:pt x="136" y="639"/>
                  </a:lnTo>
                  <a:lnTo>
                    <a:pt x="135" y="639"/>
                  </a:lnTo>
                  <a:lnTo>
                    <a:pt x="133" y="637"/>
                  </a:lnTo>
                  <a:lnTo>
                    <a:pt x="131" y="639"/>
                  </a:lnTo>
                  <a:lnTo>
                    <a:pt x="130" y="637"/>
                  </a:lnTo>
                  <a:lnTo>
                    <a:pt x="128" y="634"/>
                  </a:lnTo>
                  <a:lnTo>
                    <a:pt x="126" y="634"/>
                  </a:lnTo>
                  <a:lnTo>
                    <a:pt x="125" y="634"/>
                  </a:lnTo>
                  <a:lnTo>
                    <a:pt x="123" y="636"/>
                  </a:lnTo>
                  <a:lnTo>
                    <a:pt x="122" y="637"/>
                  </a:lnTo>
                  <a:lnTo>
                    <a:pt x="122" y="636"/>
                  </a:lnTo>
                  <a:lnTo>
                    <a:pt x="120" y="637"/>
                  </a:lnTo>
                  <a:lnTo>
                    <a:pt x="118" y="639"/>
                  </a:lnTo>
                  <a:lnTo>
                    <a:pt x="117" y="639"/>
                  </a:lnTo>
                  <a:lnTo>
                    <a:pt x="117" y="636"/>
                  </a:lnTo>
                  <a:lnTo>
                    <a:pt x="117" y="633"/>
                  </a:lnTo>
                  <a:lnTo>
                    <a:pt x="118" y="633"/>
                  </a:lnTo>
                  <a:lnTo>
                    <a:pt x="118" y="629"/>
                  </a:lnTo>
                  <a:lnTo>
                    <a:pt x="120" y="629"/>
                  </a:lnTo>
                  <a:lnTo>
                    <a:pt x="122" y="628"/>
                  </a:lnTo>
                  <a:lnTo>
                    <a:pt x="122" y="626"/>
                  </a:lnTo>
                  <a:lnTo>
                    <a:pt x="120" y="626"/>
                  </a:lnTo>
                  <a:lnTo>
                    <a:pt x="118" y="626"/>
                  </a:lnTo>
                  <a:lnTo>
                    <a:pt x="120" y="624"/>
                  </a:lnTo>
                  <a:lnTo>
                    <a:pt x="118" y="623"/>
                  </a:lnTo>
                  <a:lnTo>
                    <a:pt x="118" y="621"/>
                  </a:lnTo>
                  <a:lnTo>
                    <a:pt x="120" y="621"/>
                  </a:lnTo>
                  <a:lnTo>
                    <a:pt x="122" y="621"/>
                  </a:lnTo>
                  <a:lnTo>
                    <a:pt x="123" y="621"/>
                  </a:lnTo>
                  <a:lnTo>
                    <a:pt x="125" y="621"/>
                  </a:lnTo>
                  <a:lnTo>
                    <a:pt x="125" y="620"/>
                  </a:lnTo>
                  <a:lnTo>
                    <a:pt x="125" y="618"/>
                  </a:lnTo>
                  <a:lnTo>
                    <a:pt x="123" y="616"/>
                  </a:lnTo>
                  <a:lnTo>
                    <a:pt x="123" y="615"/>
                  </a:lnTo>
                  <a:lnTo>
                    <a:pt x="122" y="615"/>
                  </a:lnTo>
                  <a:lnTo>
                    <a:pt x="122" y="616"/>
                  </a:lnTo>
                  <a:lnTo>
                    <a:pt x="120" y="618"/>
                  </a:lnTo>
                  <a:lnTo>
                    <a:pt x="117" y="618"/>
                  </a:lnTo>
                  <a:lnTo>
                    <a:pt x="115" y="618"/>
                  </a:lnTo>
                  <a:lnTo>
                    <a:pt x="113" y="618"/>
                  </a:lnTo>
                  <a:lnTo>
                    <a:pt x="112" y="618"/>
                  </a:lnTo>
                  <a:lnTo>
                    <a:pt x="110" y="616"/>
                  </a:lnTo>
                  <a:lnTo>
                    <a:pt x="110" y="615"/>
                  </a:lnTo>
                  <a:lnTo>
                    <a:pt x="110" y="613"/>
                  </a:lnTo>
                  <a:lnTo>
                    <a:pt x="109" y="613"/>
                  </a:lnTo>
                  <a:lnTo>
                    <a:pt x="107" y="613"/>
                  </a:lnTo>
                  <a:lnTo>
                    <a:pt x="105" y="613"/>
                  </a:lnTo>
                  <a:lnTo>
                    <a:pt x="105" y="615"/>
                  </a:lnTo>
                  <a:lnTo>
                    <a:pt x="105" y="616"/>
                  </a:lnTo>
                  <a:lnTo>
                    <a:pt x="105" y="618"/>
                  </a:lnTo>
                  <a:lnTo>
                    <a:pt x="105" y="620"/>
                  </a:lnTo>
                  <a:lnTo>
                    <a:pt x="105" y="621"/>
                  </a:lnTo>
                  <a:lnTo>
                    <a:pt x="105" y="623"/>
                  </a:lnTo>
                  <a:lnTo>
                    <a:pt x="104" y="623"/>
                  </a:lnTo>
                  <a:lnTo>
                    <a:pt x="102" y="623"/>
                  </a:lnTo>
                  <a:lnTo>
                    <a:pt x="102" y="624"/>
                  </a:lnTo>
                  <a:lnTo>
                    <a:pt x="100" y="624"/>
                  </a:lnTo>
                  <a:lnTo>
                    <a:pt x="99" y="624"/>
                  </a:lnTo>
                  <a:lnTo>
                    <a:pt x="99" y="626"/>
                  </a:lnTo>
                  <a:lnTo>
                    <a:pt x="97" y="624"/>
                  </a:lnTo>
                  <a:lnTo>
                    <a:pt x="97" y="626"/>
                  </a:lnTo>
                  <a:lnTo>
                    <a:pt x="96" y="626"/>
                  </a:lnTo>
                  <a:lnTo>
                    <a:pt x="94" y="626"/>
                  </a:lnTo>
                  <a:lnTo>
                    <a:pt x="92" y="626"/>
                  </a:lnTo>
                  <a:lnTo>
                    <a:pt x="92" y="628"/>
                  </a:lnTo>
                  <a:lnTo>
                    <a:pt x="91" y="628"/>
                  </a:lnTo>
                  <a:lnTo>
                    <a:pt x="89" y="628"/>
                  </a:lnTo>
                  <a:lnTo>
                    <a:pt x="87" y="628"/>
                  </a:lnTo>
                  <a:lnTo>
                    <a:pt x="86" y="628"/>
                  </a:lnTo>
                  <a:lnTo>
                    <a:pt x="84" y="629"/>
                  </a:lnTo>
                  <a:lnTo>
                    <a:pt x="83" y="629"/>
                  </a:lnTo>
                  <a:lnTo>
                    <a:pt x="83" y="631"/>
                  </a:lnTo>
                  <a:lnTo>
                    <a:pt x="81" y="631"/>
                  </a:lnTo>
                  <a:lnTo>
                    <a:pt x="79" y="631"/>
                  </a:lnTo>
                  <a:lnTo>
                    <a:pt x="78" y="631"/>
                  </a:lnTo>
                  <a:lnTo>
                    <a:pt x="78" y="633"/>
                  </a:lnTo>
                  <a:lnTo>
                    <a:pt x="76" y="633"/>
                  </a:lnTo>
                  <a:lnTo>
                    <a:pt x="74" y="633"/>
                  </a:lnTo>
                  <a:lnTo>
                    <a:pt x="73" y="633"/>
                  </a:lnTo>
                  <a:lnTo>
                    <a:pt x="71" y="633"/>
                  </a:lnTo>
                  <a:lnTo>
                    <a:pt x="70" y="633"/>
                  </a:lnTo>
                  <a:lnTo>
                    <a:pt x="71" y="633"/>
                  </a:lnTo>
                  <a:lnTo>
                    <a:pt x="70" y="633"/>
                  </a:lnTo>
                  <a:lnTo>
                    <a:pt x="70" y="634"/>
                  </a:lnTo>
                  <a:lnTo>
                    <a:pt x="68" y="633"/>
                  </a:lnTo>
                  <a:lnTo>
                    <a:pt x="65" y="628"/>
                  </a:lnTo>
                  <a:lnTo>
                    <a:pt x="63" y="626"/>
                  </a:lnTo>
                  <a:lnTo>
                    <a:pt x="60" y="623"/>
                  </a:lnTo>
                  <a:lnTo>
                    <a:pt x="60" y="620"/>
                  </a:lnTo>
                  <a:lnTo>
                    <a:pt x="58" y="618"/>
                  </a:lnTo>
                  <a:lnTo>
                    <a:pt x="58" y="616"/>
                  </a:lnTo>
                  <a:lnTo>
                    <a:pt x="57" y="615"/>
                  </a:lnTo>
                  <a:lnTo>
                    <a:pt x="57" y="613"/>
                  </a:lnTo>
                  <a:lnTo>
                    <a:pt x="55" y="613"/>
                  </a:lnTo>
                  <a:lnTo>
                    <a:pt x="55" y="611"/>
                  </a:lnTo>
                  <a:lnTo>
                    <a:pt x="53" y="610"/>
                  </a:lnTo>
                  <a:lnTo>
                    <a:pt x="50" y="608"/>
                  </a:lnTo>
                  <a:lnTo>
                    <a:pt x="50" y="607"/>
                  </a:lnTo>
                  <a:lnTo>
                    <a:pt x="50" y="605"/>
                  </a:lnTo>
                  <a:lnTo>
                    <a:pt x="48" y="605"/>
                  </a:lnTo>
                  <a:lnTo>
                    <a:pt x="48" y="603"/>
                  </a:lnTo>
                  <a:lnTo>
                    <a:pt x="47" y="603"/>
                  </a:lnTo>
                  <a:lnTo>
                    <a:pt x="45" y="603"/>
                  </a:lnTo>
                  <a:lnTo>
                    <a:pt x="45" y="602"/>
                  </a:lnTo>
                  <a:lnTo>
                    <a:pt x="45" y="603"/>
                  </a:lnTo>
                  <a:lnTo>
                    <a:pt x="47" y="603"/>
                  </a:lnTo>
                  <a:lnTo>
                    <a:pt x="47" y="602"/>
                  </a:lnTo>
                  <a:lnTo>
                    <a:pt x="47" y="603"/>
                  </a:lnTo>
                  <a:lnTo>
                    <a:pt x="47" y="602"/>
                  </a:lnTo>
                  <a:lnTo>
                    <a:pt x="45" y="602"/>
                  </a:lnTo>
                  <a:lnTo>
                    <a:pt x="47" y="602"/>
                  </a:lnTo>
                  <a:lnTo>
                    <a:pt x="45" y="602"/>
                  </a:lnTo>
                  <a:lnTo>
                    <a:pt x="47" y="600"/>
                  </a:lnTo>
                  <a:lnTo>
                    <a:pt x="45" y="602"/>
                  </a:lnTo>
                  <a:lnTo>
                    <a:pt x="47" y="600"/>
                  </a:lnTo>
                  <a:lnTo>
                    <a:pt x="47" y="597"/>
                  </a:lnTo>
                  <a:lnTo>
                    <a:pt x="45" y="597"/>
                  </a:lnTo>
                  <a:lnTo>
                    <a:pt x="45" y="595"/>
                  </a:lnTo>
                  <a:lnTo>
                    <a:pt x="45" y="594"/>
                  </a:lnTo>
                  <a:lnTo>
                    <a:pt x="43" y="594"/>
                  </a:lnTo>
                  <a:lnTo>
                    <a:pt x="45" y="594"/>
                  </a:lnTo>
                  <a:lnTo>
                    <a:pt x="43" y="592"/>
                  </a:lnTo>
                  <a:lnTo>
                    <a:pt x="43" y="590"/>
                  </a:lnTo>
                  <a:lnTo>
                    <a:pt x="45" y="589"/>
                  </a:lnTo>
                  <a:lnTo>
                    <a:pt x="45" y="587"/>
                  </a:lnTo>
                  <a:lnTo>
                    <a:pt x="45" y="585"/>
                  </a:lnTo>
                  <a:lnTo>
                    <a:pt x="43" y="584"/>
                  </a:lnTo>
                  <a:lnTo>
                    <a:pt x="42" y="582"/>
                  </a:lnTo>
                  <a:lnTo>
                    <a:pt x="42" y="581"/>
                  </a:lnTo>
                  <a:lnTo>
                    <a:pt x="42" y="579"/>
                  </a:lnTo>
                  <a:lnTo>
                    <a:pt x="42" y="577"/>
                  </a:lnTo>
                  <a:lnTo>
                    <a:pt x="42" y="576"/>
                  </a:lnTo>
                  <a:lnTo>
                    <a:pt x="40" y="576"/>
                  </a:lnTo>
                  <a:lnTo>
                    <a:pt x="40" y="574"/>
                  </a:lnTo>
                  <a:lnTo>
                    <a:pt x="40" y="572"/>
                  </a:lnTo>
                  <a:lnTo>
                    <a:pt x="42" y="572"/>
                  </a:lnTo>
                  <a:lnTo>
                    <a:pt x="42" y="571"/>
                  </a:lnTo>
                  <a:lnTo>
                    <a:pt x="42" y="569"/>
                  </a:lnTo>
                  <a:lnTo>
                    <a:pt x="42" y="568"/>
                  </a:lnTo>
                  <a:lnTo>
                    <a:pt x="42" y="566"/>
                  </a:lnTo>
                  <a:lnTo>
                    <a:pt x="42" y="564"/>
                  </a:lnTo>
                  <a:lnTo>
                    <a:pt x="42" y="563"/>
                  </a:lnTo>
                  <a:lnTo>
                    <a:pt x="43" y="561"/>
                  </a:lnTo>
                  <a:lnTo>
                    <a:pt x="43" y="559"/>
                  </a:lnTo>
                  <a:lnTo>
                    <a:pt x="43" y="558"/>
                  </a:lnTo>
                  <a:lnTo>
                    <a:pt x="42" y="556"/>
                  </a:lnTo>
                  <a:lnTo>
                    <a:pt x="42" y="555"/>
                  </a:lnTo>
                  <a:lnTo>
                    <a:pt x="40" y="553"/>
                  </a:lnTo>
                  <a:lnTo>
                    <a:pt x="39" y="551"/>
                  </a:lnTo>
                  <a:lnTo>
                    <a:pt x="37" y="550"/>
                  </a:lnTo>
                  <a:lnTo>
                    <a:pt x="37" y="548"/>
                  </a:lnTo>
                  <a:lnTo>
                    <a:pt x="37" y="546"/>
                  </a:lnTo>
                  <a:lnTo>
                    <a:pt x="35" y="546"/>
                  </a:lnTo>
                  <a:lnTo>
                    <a:pt x="35" y="545"/>
                  </a:lnTo>
                  <a:lnTo>
                    <a:pt x="35" y="543"/>
                  </a:lnTo>
                  <a:lnTo>
                    <a:pt x="34" y="543"/>
                  </a:lnTo>
                  <a:lnTo>
                    <a:pt x="35" y="542"/>
                  </a:lnTo>
                  <a:lnTo>
                    <a:pt x="34" y="542"/>
                  </a:lnTo>
                  <a:lnTo>
                    <a:pt x="34" y="540"/>
                  </a:lnTo>
                  <a:lnTo>
                    <a:pt x="34" y="538"/>
                  </a:lnTo>
                  <a:lnTo>
                    <a:pt x="32" y="537"/>
                  </a:lnTo>
                  <a:lnTo>
                    <a:pt x="32" y="535"/>
                  </a:lnTo>
                  <a:lnTo>
                    <a:pt x="32" y="533"/>
                  </a:lnTo>
                  <a:lnTo>
                    <a:pt x="30" y="532"/>
                  </a:lnTo>
                  <a:lnTo>
                    <a:pt x="30" y="530"/>
                  </a:lnTo>
                  <a:lnTo>
                    <a:pt x="29" y="529"/>
                  </a:lnTo>
                  <a:lnTo>
                    <a:pt x="27" y="529"/>
                  </a:lnTo>
                  <a:lnTo>
                    <a:pt x="24" y="527"/>
                  </a:lnTo>
                  <a:lnTo>
                    <a:pt x="22" y="525"/>
                  </a:lnTo>
                  <a:lnTo>
                    <a:pt x="19" y="524"/>
                  </a:lnTo>
                  <a:lnTo>
                    <a:pt x="17" y="524"/>
                  </a:lnTo>
                  <a:lnTo>
                    <a:pt x="16" y="524"/>
                  </a:lnTo>
                  <a:lnTo>
                    <a:pt x="14" y="524"/>
                  </a:lnTo>
                  <a:lnTo>
                    <a:pt x="13" y="524"/>
                  </a:lnTo>
                  <a:lnTo>
                    <a:pt x="13" y="525"/>
                  </a:lnTo>
                  <a:lnTo>
                    <a:pt x="11" y="524"/>
                  </a:lnTo>
                  <a:lnTo>
                    <a:pt x="9" y="524"/>
                  </a:lnTo>
                  <a:close/>
                  <a:moveTo>
                    <a:pt x="48" y="610"/>
                  </a:moveTo>
                  <a:lnTo>
                    <a:pt x="47" y="610"/>
                  </a:lnTo>
                  <a:lnTo>
                    <a:pt x="47" y="608"/>
                  </a:lnTo>
                  <a:lnTo>
                    <a:pt x="48" y="610"/>
                  </a:lnTo>
                  <a:close/>
                  <a:moveTo>
                    <a:pt x="9" y="524"/>
                  </a:moveTo>
                  <a:lnTo>
                    <a:pt x="9" y="522"/>
                  </a:lnTo>
                  <a:lnTo>
                    <a:pt x="8" y="520"/>
                  </a:lnTo>
                  <a:lnTo>
                    <a:pt x="9" y="522"/>
                  </a:lnTo>
                  <a:lnTo>
                    <a:pt x="9" y="524"/>
                  </a:lnTo>
                  <a:close/>
                </a:path>
              </a:pathLst>
            </a:custGeom>
            <a:solidFill>
              <a:srgbClr val="E5E5E5"/>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1217" name="Freeform 63">
              <a:extLst>
                <a:ext uri="{FF2B5EF4-FFF2-40B4-BE49-F238E27FC236}">
                  <a16:creationId xmlns:a16="http://schemas.microsoft.com/office/drawing/2014/main" id="{C703548C-54A7-724B-316E-C6F30B08E20B}"/>
                </a:ext>
              </a:extLst>
            </p:cNvPr>
            <p:cNvSpPr>
              <a:spLocks noEditPoints="1"/>
            </p:cNvSpPr>
            <p:nvPr/>
          </p:nvSpPr>
          <p:spPr bwMode="auto">
            <a:xfrm>
              <a:off x="5922" y="4192"/>
              <a:ext cx="2145" cy="1244"/>
            </a:xfrm>
            <a:custGeom>
              <a:avLst/>
              <a:gdLst>
                <a:gd name="T0" fmla="*/ 1036 w 2145"/>
                <a:gd name="T1" fmla="*/ 1083 h 1244"/>
                <a:gd name="T2" fmla="*/ 933 w 2145"/>
                <a:gd name="T3" fmla="*/ 1142 h 1244"/>
                <a:gd name="T4" fmla="*/ 764 w 2145"/>
                <a:gd name="T5" fmla="*/ 1109 h 1244"/>
                <a:gd name="T6" fmla="*/ 645 w 2145"/>
                <a:gd name="T7" fmla="*/ 1186 h 1244"/>
                <a:gd name="T8" fmla="*/ 554 w 2145"/>
                <a:gd name="T9" fmla="*/ 1241 h 1244"/>
                <a:gd name="T10" fmla="*/ 475 w 2145"/>
                <a:gd name="T11" fmla="*/ 1204 h 1244"/>
                <a:gd name="T12" fmla="*/ 436 w 2145"/>
                <a:gd name="T13" fmla="*/ 1192 h 1244"/>
                <a:gd name="T14" fmla="*/ 387 w 2145"/>
                <a:gd name="T15" fmla="*/ 1200 h 1244"/>
                <a:gd name="T16" fmla="*/ 366 w 2145"/>
                <a:gd name="T17" fmla="*/ 1207 h 1244"/>
                <a:gd name="T18" fmla="*/ 289 w 2145"/>
                <a:gd name="T19" fmla="*/ 1233 h 1244"/>
                <a:gd name="T20" fmla="*/ 354 w 2145"/>
                <a:gd name="T21" fmla="*/ 1186 h 1244"/>
                <a:gd name="T22" fmla="*/ 322 w 2145"/>
                <a:gd name="T23" fmla="*/ 1176 h 1244"/>
                <a:gd name="T24" fmla="*/ 266 w 2145"/>
                <a:gd name="T25" fmla="*/ 1169 h 1244"/>
                <a:gd name="T26" fmla="*/ 281 w 2145"/>
                <a:gd name="T27" fmla="*/ 1147 h 1244"/>
                <a:gd name="T28" fmla="*/ 239 w 2145"/>
                <a:gd name="T29" fmla="*/ 1119 h 1244"/>
                <a:gd name="T30" fmla="*/ 190 w 2145"/>
                <a:gd name="T31" fmla="*/ 1056 h 1244"/>
                <a:gd name="T32" fmla="*/ 118 w 2145"/>
                <a:gd name="T33" fmla="*/ 1038 h 1244"/>
                <a:gd name="T34" fmla="*/ 115 w 2145"/>
                <a:gd name="T35" fmla="*/ 982 h 1244"/>
                <a:gd name="T36" fmla="*/ 196 w 2145"/>
                <a:gd name="T37" fmla="*/ 1000 h 1244"/>
                <a:gd name="T38" fmla="*/ 162 w 2145"/>
                <a:gd name="T39" fmla="*/ 956 h 1244"/>
                <a:gd name="T40" fmla="*/ 154 w 2145"/>
                <a:gd name="T41" fmla="*/ 903 h 1244"/>
                <a:gd name="T42" fmla="*/ 102 w 2145"/>
                <a:gd name="T43" fmla="*/ 859 h 1244"/>
                <a:gd name="T44" fmla="*/ 91 w 2145"/>
                <a:gd name="T45" fmla="*/ 755 h 1244"/>
                <a:gd name="T46" fmla="*/ 222 w 2145"/>
                <a:gd name="T47" fmla="*/ 712 h 1244"/>
                <a:gd name="T48" fmla="*/ 286 w 2145"/>
                <a:gd name="T49" fmla="*/ 686 h 1244"/>
                <a:gd name="T50" fmla="*/ 377 w 2145"/>
                <a:gd name="T51" fmla="*/ 621 h 1244"/>
                <a:gd name="T52" fmla="*/ 362 w 2145"/>
                <a:gd name="T53" fmla="*/ 602 h 1244"/>
                <a:gd name="T54" fmla="*/ 429 w 2145"/>
                <a:gd name="T55" fmla="*/ 540 h 1244"/>
                <a:gd name="T56" fmla="*/ 592 w 2145"/>
                <a:gd name="T57" fmla="*/ 454 h 1244"/>
                <a:gd name="T58" fmla="*/ 707 w 2145"/>
                <a:gd name="T59" fmla="*/ 345 h 1244"/>
                <a:gd name="T60" fmla="*/ 873 w 2145"/>
                <a:gd name="T61" fmla="*/ 283 h 1244"/>
                <a:gd name="T62" fmla="*/ 1021 w 2145"/>
                <a:gd name="T63" fmla="*/ 265 h 1244"/>
                <a:gd name="T64" fmla="*/ 1213 w 2145"/>
                <a:gd name="T65" fmla="*/ 293 h 1244"/>
                <a:gd name="T66" fmla="*/ 1364 w 2145"/>
                <a:gd name="T67" fmla="*/ 233 h 1244"/>
                <a:gd name="T68" fmla="*/ 1524 w 2145"/>
                <a:gd name="T69" fmla="*/ 153 h 1244"/>
                <a:gd name="T70" fmla="*/ 1672 w 2145"/>
                <a:gd name="T71" fmla="*/ 36 h 1244"/>
                <a:gd name="T72" fmla="*/ 1831 w 2145"/>
                <a:gd name="T73" fmla="*/ 63 h 1244"/>
                <a:gd name="T74" fmla="*/ 1909 w 2145"/>
                <a:gd name="T75" fmla="*/ 148 h 1244"/>
                <a:gd name="T76" fmla="*/ 1972 w 2145"/>
                <a:gd name="T77" fmla="*/ 177 h 1244"/>
                <a:gd name="T78" fmla="*/ 2007 w 2145"/>
                <a:gd name="T79" fmla="*/ 316 h 1244"/>
                <a:gd name="T80" fmla="*/ 2094 w 2145"/>
                <a:gd name="T81" fmla="*/ 423 h 1244"/>
                <a:gd name="T82" fmla="*/ 2090 w 2145"/>
                <a:gd name="T83" fmla="*/ 517 h 1244"/>
                <a:gd name="T84" fmla="*/ 1925 w 2145"/>
                <a:gd name="T85" fmla="*/ 564 h 1244"/>
                <a:gd name="T86" fmla="*/ 1794 w 2145"/>
                <a:gd name="T87" fmla="*/ 669 h 1244"/>
                <a:gd name="T88" fmla="*/ 1421 w 2145"/>
                <a:gd name="T89" fmla="*/ 873 h 1244"/>
                <a:gd name="T90" fmla="*/ 1314 w 2145"/>
                <a:gd name="T91" fmla="*/ 994 h 1244"/>
                <a:gd name="T92" fmla="*/ 1247 w 2145"/>
                <a:gd name="T93" fmla="*/ 1023 h 1244"/>
                <a:gd name="T94" fmla="*/ 1219 w 2145"/>
                <a:gd name="T95" fmla="*/ 938 h 1244"/>
                <a:gd name="T96" fmla="*/ 1174 w 2145"/>
                <a:gd name="T97" fmla="*/ 995 h 1244"/>
                <a:gd name="T98" fmla="*/ 170 w 2145"/>
                <a:gd name="T99" fmla="*/ 486 h 1244"/>
                <a:gd name="T100" fmla="*/ 284 w 2145"/>
                <a:gd name="T101" fmla="*/ 548 h 1244"/>
                <a:gd name="T102" fmla="*/ 281 w 2145"/>
                <a:gd name="T103" fmla="*/ 600 h 1244"/>
                <a:gd name="T104" fmla="*/ 127 w 2145"/>
                <a:gd name="T105" fmla="*/ 703 h 1244"/>
                <a:gd name="T106" fmla="*/ 70 w 2145"/>
                <a:gd name="T107" fmla="*/ 737 h 1244"/>
                <a:gd name="T108" fmla="*/ 37 w 2145"/>
                <a:gd name="T109" fmla="*/ 682 h 1244"/>
                <a:gd name="T110" fmla="*/ 40 w 2145"/>
                <a:gd name="T111" fmla="*/ 556 h 1244"/>
                <a:gd name="T112" fmla="*/ 1 w 2145"/>
                <a:gd name="T113" fmla="*/ 792 h 1244"/>
                <a:gd name="T114" fmla="*/ 156 w 2145"/>
                <a:gd name="T115" fmla="*/ 995 h 1244"/>
                <a:gd name="T116" fmla="*/ 289 w 2145"/>
                <a:gd name="T117" fmla="*/ 1191 h 1244"/>
                <a:gd name="T118" fmla="*/ 167 w 2145"/>
                <a:gd name="T119" fmla="*/ 1002 h 1244"/>
                <a:gd name="T120" fmla="*/ 379 w 2145"/>
                <a:gd name="T121" fmla="*/ 1191 h 1244"/>
                <a:gd name="T122" fmla="*/ 557 w 2145"/>
                <a:gd name="T123" fmla="*/ 1244 h 1244"/>
                <a:gd name="T124" fmla="*/ 554 w 2145"/>
                <a:gd name="T125" fmla="*/ 1243 h 1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145" h="1244">
                  <a:moveTo>
                    <a:pt x="1169" y="992"/>
                  </a:moveTo>
                  <a:lnTo>
                    <a:pt x="1171" y="992"/>
                  </a:lnTo>
                  <a:lnTo>
                    <a:pt x="1172" y="992"/>
                  </a:lnTo>
                  <a:lnTo>
                    <a:pt x="1172" y="994"/>
                  </a:lnTo>
                  <a:lnTo>
                    <a:pt x="1171" y="994"/>
                  </a:lnTo>
                  <a:lnTo>
                    <a:pt x="1169" y="994"/>
                  </a:lnTo>
                  <a:lnTo>
                    <a:pt x="1166" y="992"/>
                  </a:lnTo>
                  <a:lnTo>
                    <a:pt x="1164" y="992"/>
                  </a:lnTo>
                  <a:lnTo>
                    <a:pt x="1161" y="992"/>
                  </a:lnTo>
                  <a:lnTo>
                    <a:pt x="1159" y="992"/>
                  </a:lnTo>
                  <a:lnTo>
                    <a:pt x="1158" y="991"/>
                  </a:lnTo>
                  <a:lnTo>
                    <a:pt x="1151" y="991"/>
                  </a:lnTo>
                  <a:lnTo>
                    <a:pt x="1145" y="989"/>
                  </a:lnTo>
                  <a:lnTo>
                    <a:pt x="1143" y="987"/>
                  </a:lnTo>
                  <a:lnTo>
                    <a:pt x="1143" y="989"/>
                  </a:lnTo>
                  <a:lnTo>
                    <a:pt x="1141" y="987"/>
                  </a:lnTo>
                  <a:lnTo>
                    <a:pt x="1140" y="987"/>
                  </a:lnTo>
                  <a:lnTo>
                    <a:pt x="1136" y="987"/>
                  </a:lnTo>
                  <a:lnTo>
                    <a:pt x="1130" y="986"/>
                  </a:lnTo>
                  <a:lnTo>
                    <a:pt x="1125" y="986"/>
                  </a:lnTo>
                  <a:lnTo>
                    <a:pt x="1122" y="987"/>
                  </a:lnTo>
                  <a:lnTo>
                    <a:pt x="1120" y="987"/>
                  </a:lnTo>
                  <a:lnTo>
                    <a:pt x="1119" y="987"/>
                  </a:lnTo>
                  <a:lnTo>
                    <a:pt x="1119" y="986"/>
                  </a:lnTo>
                  <a:lnTo>
                    <a:pt x="1117" y="984"/>
                  </a:lnTo>
                  <a:lnTo>
                    <a:pt x="1114" y="982"/>
                  </a:lnTo>
                  <a:lnTo>
                    <a:pt x="1112" y="981"/>
                  </a:lnTo>
                  <a:lnTo>
                    <a:pt x="1109" y="981"/>
                  </a:lnTo>
                  <a:lnTo>
                    <a:pt x="1107" y="981"/>
                  </a:lnTo>
                  <a:lnTo>
                    <a:pt x="1106" y="981"/>
                  </a:lnTo>
                  <a:lnTo>
                    <a:pt x="1104" y="981"/>
                  </a:lnTo>
                  <a:lnTo>
                    <a:pt x="1101" y="981"/>
                  </a:lnTo>
                  <a:lnTo>
                    <a:pt x="1099" y="981"/>
                  </a:lnTo>
                  <a:lnTo>
                    <a:pt x="1097" y="981"/>
                  </a:lnTo>
                  <a:lnTo>
                    <a:pt x="1097" y="982"/>
                  </a:lnTo>
                  <a:lnTo>
                    <a:pt x="1096" y="982"/>
                  </a:lnTo>
                  <a:lnTo>
                    <a:pt x="1094" y="984"/>
                  </a:lnTo>
                  <a:lnTo>
                    <a:pt x="1093" y="984"/>
                  </a:lnTo>
                  <a:lnTo>
                    <a:pt x="1091" y="984"/>
                  </a:lnTo>
                  <a:lnTo>
                    <a:pt x="1091" y="986"/>
                  </a:lnTo>
                  <a:lnTo>
                    <a:pt x="1089" y="986"/>
                  </a:lnTo>
                  <a:lnTo>
                    <a:pt x="1089" y="987"/>
                  </a:lnTo>
                  <a:lnTo>
                    <a:pt x="1088" y="986"/>
                  </a:lnTo>
                  <a:lnTo>
                    <a:pt x="1088" y="987"/>
                  </a:lnTo>
                  <a:lnTo>
                    <a:pt x="1088" y="986"/>
                  </a:lnTo>
                  <a:lnTo>
                    <a:pt x="1088" y="987"/>
                  </a:lnTo>
                  <a:lnTo>
                    <a:pt x="1086" y="989"/>
                  </a:lnTo>
                  <a:lnTo>
                    <a:pt x="1088" y="989"/>
                  </a:lnTo>
                  <a:lnTo>
                    <a:pt x="1086" y="989"/>
                  </a:lnTo>
                  <a:lnTo>
                    <a:pt x="1086" y="991"/>
                  </a:lnTo>
                  <a:lnTo>
                    <a:pt x="1084" y="991"/>
                  </a:lnTo>
                  <a:lnTo>
                    <a:pt x="1083" y="992"/>
                  </a:lnTo>
                  <a:lnTo>
                    <a:pt x="1081" y="992"/>
                  </a:lnTo>
                  <a:lnTo>
                    <a:pt x="1080" y="994"/>
                  </a:lnTo>
                  <a:lnTo>
                    <a:pt x="1080" y="995"/>
                  </a:lnTo>
                  <a:lnTo>
                    <a:pt x="1080" y="997"/>
                  </a:lnTo>
                  <a:lnTo>
                    <a:pt x="1080" y="999"/>
                  </a:lnTo>
                  <a:lnTo>
                    <a:pt x="1078" y="999"/>
                  </a:lnTo>
                  <a:lnTo>
                    <a:pt x="1078" y="1000"/>
                  </a:lnTo>
                  <a:lnTo>
                    <a:pt x="1076" y="1000"/>
                  </a:lnTo>
                  <a:lnTo>
                    <a:pt x="1076" y="1002"/>
                  </a:lnTo>
                  <a:lnTo>
                    <a:pt x="1075" y="1004"/>
                  </a:lnTo>
                  <a:lnTo>
                    <a:pt x="1073" y="1005"/>
                  </a:lnTo>
                  <a:lnTo>
                    <a:pt x="1071" y="1007"/>
                  </a:lnTo>
                  <a:lnTo>
                    <a:pt x="1071" y="1008"/>
                  </a:lnTo>
                  <a:lnTo>
                    <a:pt x="1070" y="1010"/>
                  </a:lnTo>
                  <a:lnTo>
                    <a:pt x="1070" y="1012"/>
                  </a:lnTo>
                  <a:lnTo>
                    <a:pt x="1070" y="1013"/>
                  </a:lnTo>
                  <a:lnTo>
                    <a:pt x="1068" y="1015"/>
                  </a:lnTo>
                  <a:lnTo>
                    <a:pt x="1067" y="1017"/>
                  </a:lnTo>
                  <a:lnTo>
                    <a:pt x="1065" y="1018"/>
                  </a:lnTo>
                  <a:lnTo>
                    <a:pt x="1063" y="1018"/>
                  </a:lnTo>
                  <a:lnTo>
                    <a:pt x="1063" y="1020"/>
                  </a:lnTo>
                  <a:lnTo>
                    <a:pt x="1062" y="1021"/>
                  </a:lnTo>
                  <a:lnTo>
                    <a:pt x="1062" y="1023"/>
                  </a:lnTo>
                  <a:lnTo>
                    <a:pt x="1060" y="1026"/>
                  </a:lnTo>
                  <a:lnTo>
                    <a:pt x="1058" y="1026"/>
                  </a:lnTo>
                  <a:lnTo>
                    <a:pt x="1058" y="1028"/>
                  </a:lnTo>
                  <a:lnTo>
                    <a:pt x="1057" y="1028"/>
                  </a:lnTo>
                  <a:lnTo>
                    <a:pt x="1057" y="1030"/>
                  </a:lnTo>
                  <a:lnTo>
                    <a:pt x="1055" y="1033"/>
                  </a:lnTo>
                  <a:lnTo>
                    <a:pt x="1054" y="1038"/>
                  </a:lnTo>
                  <a:lnTo>
                    <a:pt x="1054" y="1039"/>
                  </a:lnTo>
                  <a:lnTo>
                    <a:pt x="1052" y="1039"/>
                  </a:lnTo>
                  <a:lnTo>
                    <a:pt x="1052" y="1041"/>
                  </a:lnTo>
                  <a:lnTo>
                    <a:pt x="1052" y="1043"/>
                  </a:lnTo>
                  <a:lnTo>
                    <a:pt x="1050" y="1043"/>
                  </a:lnTo>
                  <a:lnTo>
                    <a:pt x="1050" y="1044"/>
                  </a:lnTo>
                  <a:lnTo>
                    <a:pt x="1050" y="1046"/>
                  </a:lnTo>
                  <a:lnTo>
                    <a:pt x="1050" y="1047"/>
                  </a:lnTo>
                  <a:lnTo>
                    <a:pt x="1049" y="1047"/>
                  </a:lnTo>
                  <a:lnTo>
                    <a:pt x="1050" y="1047"/>
                  </a:lnTo>
                  <a:lnTo>
                    <a:pt x="1049" y="1047"/>
                  </a:lnTo>
                  <a:lnTo>
                    <a:pt x="1049" y="1049"/>
                  </a:lnTo>
                  <a:lnTo>
                    <a:pt x="1049" y="1051"/>
                  </a:lnTo>
                  <a:lnTo>
                    <a:pt x="1047" y="1051"/>
                  </a:lnTo>
                  <a:lnTo>
                    <a:pt x="1047" y="1052"/>
                  </a:lnTo>
                  <a:lnTo>
                    <a:pt x="1045" y="1052"/>
                  </a:lnTo>
                  <a:lnTo>
                    <a:pt x="1045" y="1054"/>
                  </a:lnTo>
                  <a:lnTo>
                    <a:pt x="1044" y="1054"/>
                  </a:lnTo>
                  <a:lnTo>
                    <a:pt x="1044" y="1056"/>
                  </a:lnTo>
                  <a:lnTo>
                    <a:pt x="1045" y="1056"/>
                  </a:lnTo>
                  <a:lnTo>
                    <a:pt x="1044" y="1056"/>
                  </a:lnTo>
                  <a:lnTo>
                    <a:pt x="1044" y="1057"/>
                  </a:lnTo>
                  <a:lnTo>
                    <a:pt x="1044" y="1056"/>
                  </a:lnTo>
                  <a:lnTo>
                    <a:pt x="1045" y="1057"/>
                  </a:lnTo>
                  <a:lnTo>
                    <a:pt x="1044" y="1057"/>
                  </a:lnTo>
                  <a:lnTo>
                    <a:pt x="1044" y="1059"/>
                  </a:lnTo>
                  <a:lnTo>
                    <a:pt x="1044" y="1057"/>
                  </a:lnTo>
                  <a:lnTo>
                    <a:pt x="1044" y="1059"/>
                  </a:lnTo>
                  <a:lnTo>
                    <a:pt x="1042" y="1059"/>
                  </a:lnTo>
                  <a:lnTo>
                    <a:pt x="1042" y="1060"/>
                  </a:lnTo>
                  <a:lnTo>
                    <a:pt x="1042" y="1062"/>
                  </a:lnTo>
                  <a:lnTo>
                    <a:pt x="1042" y="1064"/>
                  </a:lnTo>
                  <a:lnTo>
                    <a:pt x="1042" y="1065"/>
                  </a:lnTo>
                  <a:lnTo>
                    <a:pt x="1044" y="1067"/>
                  </a:lnTo>
                  <a:lnTo>
                    <a:pt x="1044" y="1069"/>
                  </a:lnTo>
                  <a:lnTo>
                    <a:pt x="1044" y="1072"/>
                  </a:lnTo>
                  <a:lnTo>
                    <a:pt x="1044" y="1073"/>
                  </a:lnTo>
                  <a:lnTo>
                    <a:pt x="1044" y="1075"/>
                  </a:lnTo>
                  <a:lnTo>
                    <a:pt x="1044" y="1077"/>
                  </a:lnTo>
                  <a:lnTo>
                    <a:pt x="1042" y="1077"/>
                  </a:lnTo>
                  <a:lnTo>
                    <a:pt x="1042" y="1078"/>
                  </a:lnTo>
                  <a:lnTo>
                    <a:pt x="1041" y="1077"/>
                  </a:lnTo>
                  <a:lnTo>
                    <a:pt x="1039" y="1078"/>
                  </a:lnTo>
                  <a:lnTo>
                    <a:pt x="1039" y="1077"/>
                  </a:lnTo>
                  <a:lnTo>
                    <a:pt x="1039" y="1078"/>
                  </a:lnTo>
                  <a:lnTo>
                    <a:pt x="1037" y="1077"/>
                  </a:lnTo>
                  <a:lnTo>
                    <a:pt x="1037" y="1078"/>
                  </a:lnTo>
                  <a:lnTo>
                    <a:pt x="1036" y="1080"/>
                  </a:lnTo>
                  <a:lnTo>
                    <a:pt x="1036" y="1082"/>
                  </a:lnTo>
                  <a:lnTo>
                    <a:pt x="1036" y="1083"/>
                  </a:lnTo>
                  <a:lnTo>
                    <a:pt x="1037" y="1080"/>
                  </a:lnTo>
                  <a:lnTo>
                    <a:pt x="1037" y="1082"/>
                  </a:lnTo>
                  <a:lnTo>
                    <a:pt x="1036" y="1085"/>
                  </a:lnTo>
                  <a:lnTo>
                    <a:pt x="1036" y="1086"/>
                  </a:lnTo>
                  <a:lnTo>
                    <a:pt x="1036" y="1090"/>
                  </a:lnTo>
                  <a:lnTo>
                    <a:pt x="1034" y="1090"/>
                  </a:lnTo>
                  <a:lnTo>
                    <a:pt x="1034" y="1088"/>
                  </a:lnTo>
                  <a:lnTo>
                    <a:pt x="1034" y="1086"/>
                  </a:lnTo>
                  <a:lnTo>
                    <a:pt x="1032" y="1085"/>
                  </a:lnTo>
                  <a:lnTo>
                    <a:pt x="1032" y="1083"/>
                  </a:lnTo>
                  <a:lnTo>
                    <a:pt x="1031" y="1083"/>
                  </a:lnTo>
                  <a:lnTo>
                    <a:pt x="1028" y="1082"/>
                  </a:lnTo>
                  <a:lnTo>
                    <a:pt x="1026" y="1082"/>
                  </a:lnTo>
                  <a:lnTo>
                    <a:pt x="1026" y="1080"/>
                  </a:lnTo>
                  <a:lnTo>
                    <a:pt x="1024" y="1080"/>
                  </a:lnTo>
                  <a:lnTo>
                    <a:pt x="1023" y="1080"/>
                  </a:lnTo>
                  <a:lnTo>
                    <a:pt x="1021" y="1082"/>
                  </a:lnTo>
                  <a:lnTo>
                    <a:pt x="1021" y="1083"/>
                  </a:lnTo>
                  <a:lnTo>
                    <a:pt x="1021" y="1085"/>
                  </a:lnTo>
                  <a:lnTo>
                    <a:pt x="1019" y="1085"/>
                  </a:lnTo>
                  <a:lnTo>
                    <a:pt x="1019" y="1086"/>
                  </a:lnTo>
                  <a:lnTo>
                    <a:pt x="1019" y="1088"/>
                  </a:lnTo>
                  <a:lnTo>
                    <a:pt x="1021" y="1088"/>
                  </a:lnTo>
                  <a:lnTo>
                    <a:pt x="1019" y="1088"/>
                  </a:lnTo>
                  <a:lnTo>
                    <a:pt x="1018" y="1088"/>
                  </a:lnTo>
                  <a:lnTo>
                    <a:pt x="1018" y="1090"/>
                  </a:lnTo>
                  <a:lnTo>
                    <a:pt x="1019" y="1090"/>
                  </a:lnTo>
                  <a:lnTo>
                    <a:pt x="1019" y="1091"/>
                  </a:lnTo>
                  <a:lnTo>
                    <a:pt x="1018" y="1091"/>
                  </a:lnTo>
                  <a:lnTo>
                    <a:pt x="1018" y="1093"/>
                  </a:lnTo>
                  <a:lnTo>
                    <a:pt x="1018" y="1095"/>
                  </a:lnTo>
                  <a:lnTo>
                    <a:pt x="1018" y="1096"/>
                  </a:lnTo>
                  <a:lnTo>
                    <a:pt x="1016" y="1096"/>
                  </a:lnTo>
                  <a:lnTo>
                    <a:pt x="1016" y="1098"/>
                  </a:lnTo>
                  <a:lnTo>
                    <a:pt x="1015" y="1098"/>
                  </a:lnTo>
                  <a:lnTo>
                    <a:pt x="1015" y="1100"/>
                  </a:lnTo>
                  <a:lnTo>
                    <a:pt x="1013" y="1100"/>
                  </a:lnTo>
                  <a:lnTo>
                    <a:pt x="1013" y="1101"/>
                  </a:lnTo>
                  <a:lnTo>
                    <a:pt x="1011" y="1101"/>
                  </a:lnTo>
                  <a:lnTo>
                    <a:pt x="1011" y="1103"/>
                  </a:lnTo>
                  <a:lnTo>
                    <a:pt x="1011" y="1104"/>
                  </a:lnTo>
                  <a:lnTo>
                    <a:pt x="1010" y="1104"/>
                  </a:lnTo>
                  <a:lnTo>
                    <a:pt x="1008" y="1108"/>
                  </a:lnTo>
                  <a:lnTo>
                    <a:pt x="1008" y="1109"/>
                  </a:lnTo>
                  <a:lnTo>
                    <a:pt x="1010" y="1109"/>
                  </a:lnTo>
                  <a:lnTo>
                    <a:pt x="1008" y="1109"/>
                  </a:lnTo>
                  <a:lnTo>
                    <a:pt x="1010" y="1109"/>
                  </a:lnTo>
                  <a:lnTo>
                    <a:pt x="1010" y="1111"/>
                  </a:lnTo>
                  <a:lnTo>
                    <a:pt x="1010" y="1113"/>
                  </a:lnTo>
                  <a:lnTo>
                    <a:pt x="1008" y="1113"/>
                  </a:lnTo>
                  <a:lnTo>
                    <a:pt x="1006" y="1111"/>
                  </a:lnTo>
                  <a:lnTo>
                    <a:pt x="1008" y="1109"/>
                  </a:lnTo>
                  <a:lnTo>
                    <a:pt x="1006" y="1109"/>
                  </a:lnTo>
                  <a:lnTo>
                    <a:pt x="1005" y="1111"/>
                  </a:lnTo>
                  <a:lnTo>
                    <a:pt x="1005" y="1109"/>
                  </a:lnTo>
                  <a:lnTo>
                    <a:pt x="1003" y="1108"/>
                  </a:lnTo>
                  <a:lnTo>
                    <a:pt x="1003" y="1106"/>
                  </a:lnTo>
                  <a:lnTo>
                    <a:pt x="1001" y="1106"/>
                  </a:lnTo>
                  <a:lnTo>
                    <a:pt x="1001" y="1108"/>
                  </a:lnTo>
                  <a:lnTo>
                    <a:pt x="1000" y="1108"/>
                  </a:lnTo>
                  <a:lnTo>
                    <a:pt x="998" y="1109"/>
                  </a:lnTo>
                  <a:lnTo>
                    <a:pt x="997" y="1111"/>
                  </a:lnTo>
                  <a:lnTo>
                    <a:pt x="997" y="1114"/>
                  </a:lnTo>
                  <a:lnTo>
                    <a:pt x="995" y="1113"/>
                  </a:lnTo>
                  <a:lnTo>
                    <a:pt x="995" y="1114"/>
                  </a:lnTo>
                  <a:lnTo>
                    <a:pt x="997" y="1116"/>
                  </a:lnTo>
                  <a:lnTo>
                    <a:pt x="995" y="1116"/>
                  </a:lnTo>
                  <a:lnTo>
                    <a:pt x="995" y="1117"/>
                  </a:lnTo>
                  <a:lnTo>
                    <a:pt x="995" y="1119"/>
                  </a:lnTo>
                  <a:lnTo>
                    <a:pt x="993" y="1119"/>
                  </a:lnTo>
                  <a:lnTo>
                    <a:pt x="992" y="1119"/>
                  </a:lnTo>
                  <a:lnTo>
                    <a:pt x="992" y="1117"/>
                  </a:lnTo>
                  <a:lnTo>
                    <a:pt x="993" y="1117"/>
                  </a:lnTo>
                  <a:lnTo>
                    <a:pt x="992" y="1117"/>
                  </a:lnTo>
                  <a:lnTo>
                    <a:pt x="990" y="1117"/>
                  </a:lnTo>
                  <a:lnTo>
                    <a:pt x="992" y="1117"/>
                  </a:lnTo>
                  <a:lnTo>
                    <a:pt x="990" y="1117"/>
                  </a:lnTo>
                  <a:lnTo>
                    <a:pt x="988" y="1117"/>
                  </a:lnTo>
                  <a:lnTo>
                    <a:pt x="987" y="1117"/>
                  </a:lnTo>
                  <a:lnTo>
                    <a:pt x="985" y="1117"/>
                  </a:lnTo>
                  <a:lnTo>
                    <a:pt x="984" y="1117"/>
                  </a:lnTo>
                  <a:lnTo>
                    <a:pt x="982" y="1117"/>
                  </a:lnTo>
                  <a:lnTo>
                    <a:pt x="982" y="1119"/>
                  </a:lnTo>
                  <a:lnTo>
                    <a:pt x="980" y="1119"/>
                  </a:lnTo>
                  <a:lnTo>
                    <a:pt x="980" y="1121"/>
                  </a:lnTo>
                  <a:lnTo>
                    <a:pt x="980" y="1119"/>
                  </a:lnTo>
                  <a:lnTo>
                    <a:pt x="979" y="1121"/>
                  </a:lnTo>
                  <a:lnTo>
                    <a:pt x="979" y="1122"/>
                  </a:lnTo>
                  <a:lnTo>
                    <a:pt x="977" y="1122"/>
                  </a:lnTo>
                  <a:lnTo>
                    <a:pt x="977" y="1124"/>
                  </a:lnTo>
                  <a:lnTo>
                    <a:pt x="975" y="1124"/>
                  </a:lnTo>
                  <a:lnTo>
                    <a:pt x="975" y="1122"/>
                  </a:lnTo>
                  <a:lnTo>
                    <a:pt x="974" y="1122"/>
                  </a:lnTo>
                  <a:lnTo>
                    <a:pt x="974" y="1124"/>
                  </a:lnTo>
                  <a:lnTo>
                    <a:pt x="974" y="1122"/>
                  </a:lnTo>
                  <a:lnTo>
                    <a:pt x="974" y="1124"/>
                  </a:lnTo>
                  <a:lnTo>
                    <a:pt x="972" y="1124"/>
                  </a:lnTo>
                  <a:lnTo>
                    <a:pt x="972" y="1122"/>
                  </a:lnTo>
                  <a:lnTo>
                    <a:pt x="971" y="1122"/>
                  </a:lnTo>
                  <a:lnTo>
                    <a:pt x="969" y="1122"/>
                  </a:lnTo>
                  <a:lnTo>
                    <a:pt x="969" y="1124"/>
                  </a:lnTo>
                  <a:lnTo>
                    <a:pt x="966" y="1127"/>
                  </a:lnTo>
                  <a:lnTo>
                    <a:pt x="964" y="1127"/>
                  </a:lnTo>
                  <a:lnTo>
                    <a:pt x="962" y="1129"/>
                  </a:lnTo>
                  <a:lnTo>
                    <a:pt x="962" y="1127"/>
                  </a:lnTo>
                  <a:lnTo>
                    <a:pt x="961" y="1129"/>
                  </a:lnTo>
                  <a:lnTo>
                    <a:pt x="959" y="1129"/>
                  </a:lnTo>
                  <a:lnTo>
                    <a:pt x="959" y="1130"/>
                  </a:lnTo>
                  <a:lnTo>
                    <a:pt x="958" y="1130"/>
                  </a:lnTo>
                  <a:lnTo>
                    <a:pt x="956" y="1130"/>
                  </a:lnTo>
                  <a:lnTo>
                    <a:pt x="954" y="1130"/>
                  </a:lnTo>
                  <a:lnTo>
                    <a:pt x="953" y="1130"/>
                  </a:lnTo>
                  <a:lnTo>
                    <a:pt x="951" y="1130"/>
                  </a:lnTo>
                  <a:lnTo>
                    <a:pt x="949" y="1130"/>
                  </a:lnTo>
                  <a:lnTo>
                    <a:pt x="948" y="1132"/>
                  </a:lnTo>
                  <a:lnTo>
                    <a:pt x="946" y="1134"/>
                  </a:lnTo>
                  <a:lnTo>
                    <a:pt x="946" y="1135"/>
                  </a:lnTo>
                  <a:lnTo>
                    <a:pt x="946" y="1137"/>
                  </a:lnTo>
                  <a:lnTo>
                    <a:pt x="945" y="1139"/>
                  </a:lnTo>
                  <a:lnTo>
                    <a:pt x="945" y="1140"/>
                  </a:lnTo>
                  <a:lnTo>
                    <a:pt x="945" y="1142"/>
                  </a:lnTo>
                  <a:lnTo>
                    <a:pt x="945" y="1143"/>
                  </a:lnTo>
                  <a:lnTo>
                    <a:pt x="943" y="1143"/>
                  </a:lnTo>
                  <a:lnTo>
                    <a:pt x="943" y="1142"/>
                  </a:lnTo>
                  <a:lnTo>
                    <a:pt x="941" y="1142"/>
                  </a:lnTo>
                  <a:lnTo>
                    <a:pt x="941" y="1140"/>
                  </a:lnTo>
                  <a:lnTo>
                    <a:pt x="940" y="1142"/>
                  </a:lnTo>
                  <a:lnTo>
                    <a:pt x="940" y="1140"/>
                  </a:lnTo>
                  <a:lnTo>
                    <a:pt x="938" y="1142"/>
                  </a:lnTo>
                  <a:lnTo>
                    <a:pt x="936" y="1142"/>
                  </a:lnTo>
                  <a:lnTo>
                    <a:pt x="935" y="1142"/>
                  </a:lnTo>
                  <a:lnTo>
                    <a:pt x="933" y="1142"/>
                  </a:lnTo>
                  <a:lnTo>
                    <a:pt x="932" y="1143"/>
                  </a:lnTo>
                  <a:lnTo>
                    <a:pt x="930" y="1143"/>
                  </a:lnTo>
                  <a:lnTo>
                    <a:pt x="928" y="1142"/>
                  </a:lnTo>
                  <a:lnTo>
                    <a:pt x="928" y="1143"/>
                  </a:lnTo>
                  <a:lnTo>
                    <a:pt x="927" y="1143"/>
                  </a:lnTo>
                  <a:lnTo>
                    <a:pt x="927" y="1145"/>
                  </a:lnTo>
                  <a:lnTo>
                    <a:pt x="925" y="1147"/>
                  </a:lnTo>
                  <a:lnTo>
                    <a:pt x="923" y="1147"/>
                  </a:lnTo>
                  <a:lnTo>
                    <a:pt x="923" y="1148"/>
                  </a:lnTo>
                  <a:lnTo>
                    <a:pt x="922" y="1148"/>
                  </a:lnTo>
                  <a:lnTo>
                    <a:pt x="922" y="1150"/>
                  </a:lnTo>
                  <a:lnTo>
                    <a:pt x="920" y="1150"/>
                  </a:lnTo>
                  <a:lnTo>
                    <a:pt x="920" y="1152"/>
                  </a:lnTo>
                  <a:lnTo>
                    <a:pt x="919" y="1153"/>
                  </a:lnTo>
                  <a:lnTo>
                    <a:pt x="919" y="1155"/>
                  </a:lnTo>
                  <a:lnTo>
                    <a:pt x="915" y="1156"/>
                  </a:lnTo>
                  <a:lnTo>
                    <a:pt x="915" y="1160"/>
                  </a:lnTo>
                  <a:lnTo>
                    <a:pt x="914" y="1160"/>
                  </a:lnTo>
                  <a:lnTo>
                    <a:pt x="912" y="1160"/>
                  </a:lnTo>
                  <a:lnTo>
                    <a:pt x="910" y="1160"/>
                  </a:lnTo>
                  <a:lnTo>
                    <a:pt x="909" y="1160"/>
                  </a:lnTo>
                  <a:lnTo>
                    <a:pt x="907" y="1160"/>
                  </a:lnTo>
                  <a:lnTo>
                    <a:pt x="906" y="1160"/>
                  </a:lnTo>
                  <a:lnTo>
                    <a:pt x="904" y="1160"/>
                  </a:lnTo>
                  <a:lnTo>
                    <a:pt x="904" y="1161"/>
                  </a:lnTo>
                  <a:lnTo>
                    <a:pt x="902" y="1161"/>
                  </a:lnTo>
                  <a:lnTo>
                    <a:pt x="901" y="1160"/>
                  </a:lnTo>
                  <a:lnTo>
                    <a:pt x="901" y="1161"/>
                  </a:lnTo>
                  <a:lnTo>
                    <a:pt x="899" y="1161"/>
                  </a:lnTo>
                  <a:lnTo>
                    <a:pt x="897" y="1161"/>
                  </a:lnTo>
                  <a:lnTo>
                    <a:pt x="897" y="1160"/>
                  </a:lnTo>
                  <a:lnTo>
                    <a:pt x="896" y="1160"/>
                  </a:lnTo>
                  <a:lnTo>
                    <a:pt x="894" y="1160"/>
                  </a:lnTo>
                  <a:lnTo>
                    <a:pt x="893" y="1158"/>
                  </a:lnTo>
                  <a:lnTo>
                    <a:pt x="891" y="1158"/>
                  </a:lnTo>
                  <a:lnTo>
                    <a:pt x="889" y="1158"/>
                  </a:lnTo>
                  <a:lnTo>
                    <a:pt x="888" y="1158"/>
                  </a:lnTo>
                  <a:lnTo>
                    <a:pt x="886" y="1156"/>
                  </a:lnTo>
                  <a:lnTo>
                    <a:pt x="884" y="1156"/>
                  </a:lnTo>
                  <a:lnTo>
                    <a:pt x="884" y="1158"/>
                  </a:lnTo>
                  <a:lnTo>
                    <a:pt x="883" y="1158"/>
                  </a:lnTo>
                  <a:lnTo>
                    <a:pt x="881" y="1158"/>
                  </a:lnTo>
                  <a:lnTo>
                    <a:pt x="880" y="1158"/>
                  </a:lnTo>
                  <a:lnTo>
                    <a:pt x="878" y="1158"/>
                  </a:lnTo>
                  <a:lnTo>
                    <a:pt x="876" y="1158"/>
                  </a:lnTo>
                  <a:lnTo>
                    <a:pt x="875" y="1156"/>
                  </a:lnTo>
                  <a:lnTo>
                    <a:pt x="873" y="1156"/>
                  </a:lnTo>
                  <a:lnTo>
                    <a:pt x="873" y="1155"/>
                  </a:lnTo>
                  <a:lnTo>
                    <a:pt x="870" y="1155"/>
                  </a:lnTo>
                  <a:lnTo>
                    <a:pt x="868" y="1155"/>
                  </a:lnTo>
                  <a:lnTo>
                    <a:pt x="867" y="1155"/>
                  </a:lnTo>
                  <a:lnTo>
                    <a:pt x="867" y="1153"/>
                  </a:lnTo>
                  <a:lnTo>
                    <a:pt x="865" y="1153"/>
                  </a:lnTo>
                  <a:lnTo>
                    <a:pt x="863" y="1153"/>
                  </a:lnTo>
                  <a:lnTo>
                    <a:pt x="862" y="1153"/>
                  </a:lnTo>
                  <a:lnTo>
                    <a:pt x="862" y="1152"/>
                  </a:lnTo>
                  <a:lnTo>
                    <a:pt x="860" y="1152"/>
                  </a:lnTo>
                  <a:lnTo>
                    <a:pt x="860" y="1150"/>
                  </a:lnTo>
                  <a:lnTo>
                    <a:pt x="858" y="1150"/>
                  </a:lnTo>
                  <a:lnTo>
                    <a:pt x="857" y="1148"/>
                  </a:lnTo>
                  <a:lnTo>
                    <a:pt x="855" y="1148"/>
                  </a:lnTo>
                  <a:lnTo>
                    <a:pt x="853" y="1148"/>
                  </a:lnTo>
                  <a:lnTo>
                    <a:pt x="852" y="1147"/>
                  </a:lnTo>
                  <a:lnTo>
                    <a:pt x="850" y="1147"/>
                  </a:lnTo>
                  <a:lnTo>
                    <a:pt x="850" y="1145"/>
                  </a:lnTo>
                  <a:lnTo>
                    <a:pt x="849" y="1145"/>
                  </a:lnTo>
                  <a:lnTo>
                    <a:pt x="847" y="1143"/>
                  </a:lnTo>
                  <a:lnTo>
                    <a:pt x="847" y="1142"/>
                  </a:lnTo>
                  <a:lnTo>
                    <a:pt x="847" y="1140"/>
                  </a:lnTo>
                  <a:lnTo>
                    <a:pt x="845" y="1140"/>
                  </a:lnTo>
                  <a:lnTo>
                    <a:pt x="844" y="1139"/>
                  </a:lnTo>
                  <a:lnTo>
                    <a:pt x="842" y="1139"/>
                  </a:lnTo>
                  <a:lnTo>
                    <a:pt x="842" y="1137"/>
                  </a:lnTo>
                  <a:lnTo>
                    <a:pt x="840" y="1137"/>
                  </a:lnTo>
                  <a:lnTo>
                    <a:pt x="839" y="1137"/>
                  </a:lnTo>
                  <a:lnTo>
                    <a:pt x="839" y="1135"/>
                  </a:lnTo>
                  <a:lnTo>
                    <a:pt x="837" y="1135"/>
                  </a:lnTo>
                  <a:lnTo>
                    <a:pt x="836" y="1132"/>
                  </a:lnTo>
                  <a:lnTo>
                    <a:pt x="834" y="1132"/>
                  </a:lnTo>
                  <a:lnTo>
                    <a:pt x="834" y="1130"/>
                  </a:lnTo>
                  <a:lnTo>
                    <a:pt x="832" y="1130"/>
                  </a:lnTo>
                  <a:lnTo>
                    <a:pt x="831" y="1129"/>
                  </a:lnTo>
                  <a:lnTo>
                    <a:pt x="831" y="1127"/>
                  </a:lnTo>
                  <a:lnTo>
                    <a:pt x="829" y="1126"/>
                  </a:lnTo>
                  <a:lnTo>
                    <a:pt x="827" y="1126"/>
                  </a:lnTo>
                  <a:lnTo>
                    <a:pt x="826" y="1126"/>
                  </a:lnTo>
                  <a:lnTo>
                    <a:pt x="826" y="1124"/>
                  </a:lnTo>
                  <a:lnTo>
                    <a:pt x="824" y="1124"/>
                  </a:lnTo>
                  <a:lnTo>
                    <a:pt x="823" y="1124"/>
                  </a:lnTo>
                  <a:lnTo>
                    <a:pt x="823" y="1122"/>
                  </a:lnTo>
                  <a:lnTo>
                    <a:pt x="823" y="1121"/>
                  </a:lnTo>
                  <a:lnTo>
                    <a:pt x="819" y="1119"/>
                  </a:lnTo>
                  <a:lnTo>
                    <a:pt x="818" y="1119"/>
                  </a:lnTo>
                  <a:lnTo>
                    <a:pt x="816" y="1117"/>
                  </a:lnTo>
                  <a:lnTo>
                    <a:pt x="814" y="1116"/>
                  </a:lnTo>
                  <a:lnTo>
                    <a:pt x="813" y="1116"/>
                  </a:lnTo>
                  <a:lnTo>
                    <a:pt x="810" y="1114"/>
                  </a:lnTo>
                  <a:lnTo>
                    <a:pt x="808" y="1114"/>
                  </a:lnTo>
                  <a:lnTo>
                    <a:pt x="806" y="1114"/>
                  </a:lnTo>
                  <a:lnTo>
                    <a:pt x="806" y="1116"/>
                  </a:lnTo>
                  <a:lnTo>
                    <a:pt x="806" y="1114"/>
                  </a:lnTo>
                  <a:lnTo>
                    <a:pt x="806" y="1116"/>
                  </a:lnTo>
                  <a:lnTo>
                    <a:pt x="806" y="1117"/>
                  </a:lnTo>
                  <a:lnTo>
                    <a:pt x="805" y="1117"/>
                  </a:lnTo>
                  <a:lnTo>
                    <a:pt x="806" y="1117"/>
                  </a:lnTo>
                  <a:lnTo>
                    <a:pt x="805" y="1116"/>
                  </a:lnTo>
                  <a:lnTo>
                    <a:pt x="803" y="1114"/>
                  </a:lnTo>
                  <a:lnTo>
                    <a:pt x="801" y="1114"/>
                  </a:lnTo>
                  <a:lnTo>
                    <a:pt x="800" y="1114"/>
                  </a:lnTo>
                  <a:lnTo>
                    <a:pt x="798" y="1114"/>
                  </a:lnTo>
                  <a:lnTo>
                    <a:pt x="797" y="1114"/>
                  </a:lnTo>
                  <a:lnTo>
                    <a:pt x="795" y="1114"/>
                  </a:lnTo>
                  <a:lnTo>
                    <a:pt x="793" y="1114"/>
                  </a:lnTo>
                  <a:lnTo>
                    <a:pt x="788" y="1113"/>
                  </a:lnTo>
                  <a:lnTo>
                    <a:pt x="785" y="1113"/>
                  </a:lnTo>
                  <a:lnTo>
                    <a:pt x="784" y="1114"/>
                  </a:lnTo>
                  <a:lnTo>
                    <a:pt x="782" y="1113"/>
                  </a:lnTo>
                  <a:lnTo>
                    <a:pt x="780" y="1113"/>
                  </a:lnTo>
                  <a:lnTo>
                    <a:pt x="779" y="1114"/>
                  </a:lnTo>
                  <a:lnTo>
                    <a:pt x="779" y="1113"/>
                  </a:lnTo>
                  <a:lnTo>
                    <a:pt x="777" y="1111"/>
                  </a:lnTo>
                  <a:lnTo>
                    <a:pt x="775" y="1111"/>
                  </a:lnTo>
                  <a:lnTo>
                    <a:pt x="775" y="1109"/>
                  </a:lnTo>
                  <a:lnTo>
                    <a:pt x="774" y="1109"/>
                  </a:lnTo>
                  <a:lnTo>
                    <a:pt x="772" y="1111"/>
                  </a:lnTo>
                  <a:lnTo>
                    <a:pt x="771" y="1111"/>
                  </a:lnTo>
                  <a:lnTo>
                    <a:pt x="769" y="1111"/>
                  </a:lnTo>
                  <a:lnTo>
                    <a:pt x="767" y="1111"/>
                  </a:lnTo>
                  <a:lnTo>
                    <a:pt x="766" y="1111"/>
                  </a:lnTo>
                  <a:lnTo>
                    <a:pt x="767" y="1111"/>
                  </a:lnTo>
                  <a:lnTo>
                    <a:pt x="766" y="1111"/>
                  </a:lnTo>
                  <a:lnTo>
                    <a:pt x="764" y="1109"/>
                  </a:lnTo>
                  <a:lnTo>
                    <a:pt x="762" y="1109"/>
                  </a:lnTo>
                  <a:lnTo>
                    <a:pt x="761" y="1109"/>
                  </a:lnTo>
                  <a:lnTo>
                    <a:pt x="758" y="1108"/>
                  </a:lnTo>
                  <a:lnTo>
                    <a:pt x="756" y="1108"/>
                  </a:lnTo>
                  <a:lnTo>
                    <a:pt x="754" y="1106"/>
                  </a:lnTo>
                  <a:lnTo>
                    <a:pt x="753" y="1106"/>
                  </a:lnTo>
                  <a:lnTo>
                    <a:pt x="751" y="1106"/>
                  </a:lnTo>
                  <a:lnTo>
                    <a:pt x="749" y="1104"/>
                  </a:lnTo>
                  <a:lnTo>
                    <a:pt x="748" y="1104"/>
                  </a:lnTo>
                  <a:lnTo>
                    <a:pt x="746" y="1104"/>
                  </a:lnTo>
                  <a:lnTo>
                    <a:pt x="745" y="1104"/>
                  </a:lnTo>
                  <a:lnTo>
                    <a:pt x="743" y="1104"/>
                  </a:lnTo>
                  <a:lnTo>
                    <a:pt x="740" y="1104"/>
                  </a:lnTo>
                  <a:lnTo>
                    <a:pt x="738" y="1104"/>
                  </a:lnTo>
                  <a:lnTo>
                    <a:pt x="736" y="1104"/>
                  </a:lnTo>
                  <a:lnTo>
                    <a:pt x="735" y="1104"/>
                  </a:lnTo>
                  <a:lnTo>
                    <a:pt x="732" y="1103"/>
                  </a:lnTo>
                  <a:lnTo>
                    <a:pt x="730" y="1104"/>
                  </a:lnTo>
                  <a:lnTo>
                    <a:pt x="730" y="1103"/>
                  </a:lnTo>
                  <a:lnTo>
                    <a:pt x="730" y="1101"/>
                  </a:lnTo>
                  <a:lnTo>
                    <a:pt x="728" y="1101"/>
                  </a:lnTo>
                  <a:lnTo>
                    <a:pt x="727" y="1100"/>
                  </a:lnTo>
                  <a:lnTo>
                    <a:pt x="723" y="1100"/>
                  </a:lnTo>
                  <a:lnTo>
                    <a:pt x="720" y="1100"/>
                  </a:lnTo>
                  <a:lnTo>
                    <a:pt x="719" y="1100"/>
                  </a:lnTo>
                  <a:lnTo>
                    <a:pt x="717" y="1100"/>
                  </a:lnTo>
                  <a:lnTo>
                    <a:pt x="715" y="1100"/>
                  </a:lnTo>
                  <a:lnTo>
                    <a:pt x="715" y="1101"/>
                  </a:lnTo>
                  <a:lnTo>
                    <a:pt x="715" y="1100"/>
                  </a:lnTo>
                  <a:lnTo>
                    <a:pt x="714" y="1100"/>
                  </a:lnTo>
                  <a:lnTo>
                    <a:pt x="710" y="1101"/>
                  </a:lnTo>
                  <a:lnTo>
                    <a:pt x="709" y="1101"/>
                  </a:lnTo>
                  <a:lnTo>
                    <a:pt x="707" y="1101"/>
                  </a:lnTo>
                  <a:lnTo>
                    <a:pt x="705" y="1101"/>
                  </a:lnTo>
                  <a:lnTo>
                    <a:pt x="704" y="1101"/>
                  </a:lnTo>
                  <a:lnTo>
                    <a:pt x="699" y="1103"/>
                  </a:lnTo>
                  <a:lnTo>
                    <a:pt x="697" y="1103"/>
                  </a:lnTo>
                  <a:lnTo>
                    <a:pt x="696" y="1103"/>
                  </a:lnTo>
                  <a:lnTo>
                    <a:pt x="694" y="1103"/>
                  </a:lnTo>
                  <a:lnTo>
                    <a:pt x="692" y="1103"/>
                  </a:lnTo>
                  <a:lnTo>
                    <a:pt x="691" y="1103"/>
                  </a:lnTo>
                  <a:lnTo>
                    <a:pt x="689" y="1103"/>
                  </a:lnTo>
                  <a:lnTo>
                    <a:pt x="686" y="1103"/>
                  </a:lnTo>
                  <a:lnTo>
                    <a:pt x="684" y="1103"/>
                  </a:lnTo>
                  <a:lnTo>
                    <a:pt x="683" y="1104"/>
                  </a:lnTo>
                  <a:lnTo>
                    <a:pt x="679" y="1104"/>
                  </a:lnTo>
                  <a:lnTo>
                    <a:pt x="678" y="1106"/>
                  </a:lnTo>
                  <a:lnTo>
                    <a:pt x="676" y="1106"/>
                  </a:lnTo>
                  <a:lnTo>
                    <a:pt x="675" y="1106"/>
                  </a:lnTo>
                  <a:lnTo>
                    <a:pt x="673" y="1108"/>
                  </a:lnTo>
                  <a:lnTo>
                    <a:pt x="671" y="1108"/>
                  </a:lnTo>
                  <a:lnTo>
                    <a:pt x="670" y="1108"/>
                  </a:lnTo>
                  <a:lnTo>
                    <a:pt x="665" y="1111"/>
                  </a:lnTo>
                  <a:lnTo>
                    <a:pt x="663" y="1111"/>
                  </a:lnTo>
                  <a:lnTo>
                    <a:pt x="662" y="1111"/>
                  </a:lnTo>
                  <a:lnTo>
                    <a:pt x="660" y="1111"/>
                  </a:lnTo>
                  <a:lnTo>
                    <a:pt x="658" y="1113"/>
                  </a:lnTo>
                  <a:lnTo>
                    <a:pt x="657" y="1113"/>
                  </a:lnTo>
                  <a:lnTo>
                    <a:pt x="655" y="1113"/>
                  </a:lnTo>
                  <a:lnTo>
                    <a:pt x="653" y="1113"/>
                  </a:lnTo>
                  <a:lnTo>
                    <a:pt x="653" y="1111"/>
                  </a:lnTo>
                  <a:lnTo>
                    <a:pt x="652" y="1111"/>
                  </a:lnTo>
                  <a:lnTo>
                    <a:pt x="652" y="1109"/>
                  </a:lnTo>
                  <a:lnTo>
                    <a:pt x="652" y="1111"/>
                  </a:lnTo>
                  <a:lnTo>
                    <a:pt x="650" y="1109"/>
                  </a:lnTo>
                  <a:lnTo>
                    <a:pt x="649" y="1109"/>
                  </a:lnTo>
                  <a:lnTo>
                    <a:pt x="647" y="1109"/>
                  </a:lnTo>
                  <a:lnTo>
                    <a:pt x="647" y="1111"/>
                  </a:lnTo>
                  <a:lnTo>
                    <a:pt x="645" y="1113"/>
                  </a:lnTo>
                  <a:lnTo>
                    <a:pt x="642" y="1116"/>
                  </a:lnTo>
                  <a:lnTo>
                    <a:pt x="642" y="1117"/>
                  </a:lnTo>
                  <a:lnTo>
                    <a:pt x="642" y="1119"/>
                  </a:lnTo>
                  <a:lnTo>
                    <a:pt x="640" y="1119"/>
                  </a:lnTo>
                  <a:lnTo>
                    <a:pt x="642" y="1119"/>
                  </a:lnTo>
                  <a:lnTo>
                    <a:pt x="640" y="1121"/>
                  </a:lnTo>
                  <a:lnTo>
                    <a:pt x="640" y="1122"/>
                  </a:lnTo>
                  <a:lnTo>
                    <a:pt x="639" y="1124"/>
                  </a:lnTo>
                  <a:lnTo>
                    <a:pt x="639" y="1126"/>
                  </a:lnTo>
                  <a:lnTo>
                    <a:pt x="639" y="1127"/>
                  </a:lnTo>
                  <a:lnTo>
                    <a:pt x="640" y="1130"/>
                  </a:lnTo>
                  <a:lnTo>
                    <a:pt x="640" y="1132"/>
                  </a:lnTo>
                  <a:lnTo>
                    <a:pt x="640" y="1134"/>
                  </a:lnTo>
                  <a:lnTo>
                    <a:pt x="640" y="1135"/>
                  </a:lnTo>
                  <a:lnTo>
                    <a:pt x="640" y="1137"/>
                  </a:lnTo>
                  <a:lnTo>
                    <a:pt x="642" y="1137"/>
                  </a:lnTo>
                  <a:lnTo>
                    <a:pt x="642" y="1139"/>
                  </a:lnTo>
                  <a:lnTo>
                    <a:pt x="642" y="1140"/>
                  </a:lnTo>
                  <a:lnTo>
                    <a:pt x="642" y="1142"/>
                  </a:lnTo>
                  <a:lnTo>
                    <a:pt x="642" y="1143"/>
                  </a:lnTo>
                  <a:lnTo>
                    <a:pt x="642" y="1145"/>
                  </a:lnTo>
                  <a:lnTo>
                    <a:pt x="642" y="1147"/>
                  </a:lnTo>
                  <a:lnTo>
                    <a:pt x="642" y="1148"/>
                  </a:lnTo>
                  <a:lnTo>
                    <a:pt x="644" y="1150"/>
                  </a:lnTo>
                  <a:lnTo>
                    <a:pt x="644" y="1152"/>
                  </a:lnTo>
                  <a:lnTo>
                    <a:pt x="645" y="1152"/>
                  </a:lnTo>
                  <a:lnTo>
                    <a:pt x="645" y="1153"/>
                  </a:lnTo>
                  <a:lnTo>
                    <a:pt x="647" y="1153"/>
                  </a:lnTo>
                  <a:lnTo>
                    <a:pt x="647" y="1152"/>
                  </a:lnTo>
                  <a:lnTo>
                    <a:pt x="649" y="1153"/>
                  </a:lnTo>
                  <a:lnTo>
                    <a:pt x="647" y="1153"/>
                  </a:lnTo>
                  <a:lnTo>
                    <a:pt x="649" y="1155"/>
                  </a:lnTo>
                  <a:lnTo>
                    <a:pt x="647" y="1155"/>
                  </a:lnTo>
                  <a:lnTo>
                    <a:pt x="647" y="1158"/>
                  </a:lnTo>
                  <a:lnTo>
                    <a:pt x="645" y="1161"/>
                  </a:lnTo>
                  <a:lnTo>
                    <a:pt x="647" y="1161"/>
                  </a:lnTo>
                  <a:lnTo>
                    <a:pt x="647" y="1163"/>
                  </a:lnTo>
                  <a:lnTo>
                    <a:pt x="645" y="1163"/>
                  </a:lnTo>
                  <a:lnTo>
                    <a:pt x="645" y="1165"/>
                  </a:lnTo>
                  <a:lnTo>
                    <a:pt x="645" y="1163"/>
                  </a:lnTo>
                  <a:lnTo>
                    <a:pt x="645" y="1165"/>
                  </a:lnTo>
                  <a:lnTo>
                    <a:pt x="645" y="1166"/>
                  </a:lnTo>
                  <a:lnTo>
                    <a:pt x="644" y="1168"/>
                  </a:lnTo>
                  <a:lnTo>
                    <a:pt x="644" y="1169"/>
                  </a:lnTo>
                  <a:lnTo>
                    <a:pt x="644" y="1171"/>
                  </a:lnTo>
                  <a:lnTo>
                    <a:pt x="644" y="1173"/>
                  </a:lnTo>
                  <a:lnTo>
                    <a:pt x="642" y="1173"/>
                  </a:lnTo>
                  <a:lnTo>
                    <a:pt x="644" y="1173"/>
                  </a:lnTo>
                  <a:lnTo>
                    <a:pt x="644" y="1174"/>
                  </a:lnTo>
                  <a:lnTo>
                    <a:pt x="644" y="1176"/>
                  </a:lnTo>
                  <a:lnTo>
                    <a:pt x="644" y="1178"/>
                  </a:lnTo>
                  <a:lnTo>
                    <a:pt x="642" y="1178"/>
                  </a:lnTo>
                  <a:lnTo>
                    <a:pt x="640" y="1178"/>
                  </a:lnTo>
                  <a:lnTo>
                    <a:pt x="642" y="1178"/>
                  </a:lnTo>
                  <a:lnTo>
                    <a:pt x="640" y="1178"/>
                  </a:lnTo>
                  <a:lnTo>
                    <a:pt x="642" y="1178"/>
                  </a:lnTo>
                  <a:lnTo>
                    <a:pt x="642" y="1179"/>
                  </a:lnTo>
                  <a:lnTo>
                    <a:pt x="642" y="1181"/>
                  </a:lnTo>
                  <a:lnTo>
                    <a:pt x="642" y="1182"/>
                  </a:lnTo>
                  <a:lnTo>
                    <a:pt x="642" y="1184"/>
                  </a:lnTo>
                  <a:lnTo>
                    <a:pt x="644" y="1186"/>
                  </a:lnTo>
                  <a:lnTo>
                    <a:pt x="645" y="1187"/>
                  </a:lnTo>
                  <a:lnTo>
                    <a:pt x="645" y="1186"/>
                  </a:lnTo>
                  <a:lnTo>
                    <a:pt x="647" y="1187"/>
                  </a:lnTo>
                  <a:lnTo>
                    <a:pt x="645" y="1187"/>
                  </a:lnTo>
                  <a:lnTo>
                    <a:pt x="645" y="1189"/>
                  </a:lnTo>
                  <a:lnTo>
                    <a:pt x="647" y="1187"/>
                  </a:lnTo>
                  <a:lnTo>
                    <a:pt x="647" y="1189"/>
                  </a:lnTo>
                  <a:lnTo>
                    <a:pt x="649" y="1189"/>
                  </a:lnTo>
                  <a:lnTo>
                    <a:pt x="649" y="1191"/>
                  </a:lnTo>
                  <a:lnTo>
                    <a:pt x="649" y="1192"/>
                  </a:lnTo>
                  <a:lnTo>
                    <a:pt x="647" y="1191"/>
                  </a:lnTo>
                  <a:lnTo>
                    <a:pt x="647" y="1192"/>
                  </a:lnTo>
                  <a:lnTo>
                    <a:pt x="645" y="1192"/>
                  </a:lnTo>
                  <a:lnTo>
                    <a:pt x="645" y="1194"/>
                  </a:lnTo>
                  <a:lnTo>
                    <a:pt x="644" y="1194"/>
                  </a:lnTo>
                  <a:lnTo>
                    <a:pt x="644" y="1195"/>
                  </a:lnTo>
                  <a:lnTo>
                    <a:pt x="644" y="1197"/>
                  </a:lnTo>
                  <a:lnTo>
                    <a:pt x="645" y="1197"/>
                  </a:lnTo>
                  <a:lnTo>
                    <a:pt x="645" y="1199"/>
                  </a:lnTo>
                  <a:lnTo>
                    <a:pt x="647" y="1199"/>
                  </a:lnTo>
                  <a:lnTo>
                    <a:pt x="645" y="1200"/>
                  </a:lnTo>
                  <a:lnTo>
                    <a:pt x="644" y="1202"/>
                  </a:lnTo>
                  <a:lnTo>
                    <a:pt x="644" y="1204"/>
                  </a:lnTo>
                  <a:lnTo>
                    <a:pt x="642" y="1205"/>
                  </a:lnTo>
                  <a:lnTo>
                    <a:pt x="642" y="1207"/>
                  </a:lnTo>
                  <a:lnTo>
                    <a:pt x="642" y="1208"/>
                  </a:lnTo>
                  <a:lnTo>
                    <a:pt x="640" y="1208"/>
                  </a:lnTo>
                  <a:lnTo>
                    <a:pt x="640" y="1210"/>
                  </a:lnTo>
                  <a:lnTo>
                    <a:pt x="640" y="1212"/>
                  </a:lnTo>
                  <a:lnTo>
                    <a:pt x="639" y="1212"/>
                  </a:lnTo>
                  <a:lnTo>
                    <a:pt x="639" y="1210"/>
                  </a:lnTo>
                  <a:lnTo>
                    <a:pt x="639" y="1208"/>
                  </a:lnTo>
                  <a:lnTo>
                    <a:pt x="639" y="1207"/>
                  </a:lnTo>
                  <a:lnTo>
                    <a:pt x="637" y="1207"/>
                  </a:lnTo>
                  <a:lnTo>
                    <a:pt x="637" y="1205"/>
                  </a:lnTo>
                  <a:lnTo>
                    <a:pt x="639" y="1205"/>
                  </a:lnTo>
                  <a:lnTo>
                    <a:pt x="639" y="1204"/>
                  </a:lnTo>
                  <a:lnTo>
                    <a:pt x="637" y="1202"/>
                  </a:lnTo>
                  <a:lnTo>
                    <a:pt x="637" y="1204"/>
                  </a:lnTo>
                  <a:lnTo>
                    <a:pt x="636" y="1204"/>
                  </a:lnTo>
                  <a:lnTo>
                    <a:pt x="636" y="1202"/>
                  </a:lnTo>
                  <a:lnTo>
                    <a:pt x="636" y="1204"/>
                  </a:lnTo>
                  <a:lnTo>
                    <a:pt x="634" y="1204"/>
                  </a:lnTo>
                  <a:lnTo>
                    <a:pt x="631" y="1204"/>
                  </a:lnTo>
                  <a:lnTo>
                    <a:pt x="629" y="1202"/>
                  </a:lnTo>
                  <a:lnTo>
                    <a:pt x="627" y="1202"/>
                  </a:lnTo>
                  <a:lnTo>
                    <a:pt x="626" y="1202"/>
                  </a:lnTo>
                  <a:lnTo>
                    <a:pt x="624" y="1200"/>
                  </a:lnTo>
                  <a:lnTo>
                    <a:pt x="623" y="1200"/>
                  </a:lnTo>
                  <a:lnTo>
                    <a:pt x="621" y="1200"/>
                  </a:lnTo>
                  <a:lnTo>
                    <a:pt x="621" y="1202"/>
                  </a:lnTo>
                  <a:lnTo>
                    <a:pt x="619" y="1202"/>
                  </a:lnTo>
                  <a:lnTo>
                    <a:pt x="618" y="1202"/>
                  </a:lnTo>
                  <a:lnTo>
                    <a:pt x="616" y="1202"/>
                  </a:lnTo>
                  <a:lnTo>
                    <a:pt x="613" y="1204"/>
                  </a:lnTo>
                  <a:lnTo>
                    <a:pt x="611" y="1204"/>
                  </a:lnTo>
                  <a:lnTo>
                    <a:pt x="610" y="1205"/>
                  </a:lnTo>
                  <a:lnTo>
                    <a:pt x="608" y="1207"/>
                  </a:lnTo>
                  <a:lnTo>
                    <a:pt x="608" y="1208"/>
                  </a:lnTo>
                  <a:lnTo>
                    <a:pt x="610" y="1210"/>
                  </a:lnTo>
                  <a:lnTo>
                    <a:pt x="608" y="1212"/>
                  </a:lnTo>
                  <a:lnTo>
                    <a:pt x="608" y="1210"/>
                  </a:lnTo>
                  <a:lnTo>
                    <a:pt x="606" y="1210"/>
                  </a:lnTo>
                  <a:lnTo>
                    <a:pt x="606" y="1212"/>
                  </a:lnTo>
                  <a:lnTo>
                    <a:pt x="606" y="1213"/>
                  </a:lnTo>
                  <a:lnTo>
                    <a:pt x="606" y="1215"/>
                  </a:lnTo>
                  <a:lnTo>
                    <a:pt x="605" y="1215"/>
                  </a:lnTo>
                  <a:lnTo>
                    <a:pt x="603" y="1215"/>
                  </a:lnTo>
                  <a:lnTo>
                    <a:pt x="601" y="1215"/>
                  </a:lnTo>
                  <a:lnTo>
                    <a:pt x="600" y="1215"/>
                  </a:lnTo>
                  <a:lnTo>
                    <a:pt x="598" y="1215"/>
                  </a:lnTo>
                  <a:lnTo>
                    <a:pt x="598" y="1217"/>
                  </a:lnTo>
                  <a:lnTo>
                    <a:pt x="595" y="1220"/>
                  </a:lnTo>
                  <a:lnTo>
                    <a:pt x="593" y="1221"/>
                  </a:lnTo>
                  <a:lnTo>
                    <a:pt x="592" y="1223"/>
                  </a:lnTo>
                  <a:lnTo>
                    <a:pt x="593" y="1223"/>
                  </a:lnTo>
                  <a:lnTo>
                    <a:pt x="592" y="1223"/>
                  </a:lnTo>
                  <a:lnTo>
                    <a:pt x="590" y="1223"/>
                  </a:lnTo>
                  <a:lnTo>
                    <a:pt x="588" y="1223"/>
                  </a:lnTo>
                  <a:lnTo>
                    <a:pt x="588" y="1225"/>
                  </a:lnTo>
                  <a:lnTo>
                    <a:pt x="587" y="1223"/>
                  </a:lnTo>
                  <a:lnTo>
                    <a:pt x="585" y="1223"/>
                  </a:lnTo>
                  <a:lnTo>
                    <a:pt x="584" y="1225"/>
                  </a:lnTo>
                  <a:lnTo>
                    <a:pt x="584" y="1226"/>
                  </a:lnTo>
                  <a:lnTo>
                    <a:pt x="582" y="1226"/>
                  </a:lnTo>
                  <a:lnTo>
                    <a:pt x="582" y="1228"/>
                  </a:lnTo>
                  <a:lnTo>
                    <a:pt x="584" y="1228"/>
                  </a:lnTo>
                  <a:lnTo>
                    <a:pt x="582" y="1228"/>
                  </a:lnTo>
                  <a:lnTo>
                    <a:pt x="582" y="1230"/>
                  </a:lnTo>
                  <a:lnTo>
                    <a:pt x="580" y="1230"/>
                  </a:lnTo>
                  <a:lnTo>
                    <a:pt x="579" y="1231"/>
                  </a:lnTo>
                  <a:lnTo>
                    <a:pt x="579" y="1230"/>
                  </a:lnTo>
                  <a:lnTo>
                    <a:pt x="577" y="1230"/>
                  </a:lnTo>
                  <a:lnTo>
                    <a:pt x="577" y="1231"/>
                  </a:lnTo>
                  <a:lnTo>
                    <a:pt x="575" y="1231"/>
                  </a:lnTo>
                  <a:lnTo>
                    <a:pt x="575" y="1233"/>
                  </a:lnTo>
                  <a:lnTo>
                    <a:pt x="577" y="1231"/>
                  </a:lnTo>
                  <a:lnTo>
                    <a:pt x="577" y="1233"/>
                  </a:lnTo>
                  <a:lnTo>
                    <a:pt x="575" y="1233"/>
                  </a:lnTo>
                  <a:lnTo>
                    <a:pt x="575" y="1234"/>
                  </a:lnTo>
                  <a:lnTo>
                    <a:pt x="574" y="1234"/>
                  </a:lnTo>
                  <a:lnTo>
                    <a:pt x="574" y="1236"/>
                  </a:lnTo>
                  <a:lnTo>
                    <a:pt x="575" y="1234"/>
                  </a:lnTo>
                  <a:lnTo>
                    <a:pt x="575" y="1236"/>
                  </a:lnTo>
                  <a:lnTo>
                    <a:pt x="574" y="1238"/>
                  </a:lnTo>
                  <a:lnTo>
                    <a:pt x="574" y="1239"/>
                  </a:lnTo>
                  <a:lnTo>
                    <a:pt x="572" y="1239"/>
                  </a:lnTo>
                  <a:lnTo>
                    <a:pt x="571" y="1241"/>
                  </a:lnTo>
                  <a:lnTo>
                    <a:pt x="569" y="1241"/>
                  </a:lnTo>
                  <a:lnTo>
                    <a:pt x="571" y="1239"/>
                  </a:lnTo>
                  <a:lnTo>
                    <a:pt x="571" y="1238"/>
                  </a:lnTo>
                  <a:lnTo>
                    <a:pt x="569" y="1238"/>
                  </a:lnTo>
                  <a:lnTo>
                    <a:pt x="569" y="1239"/>
                  </a:lnTo>
                  <a:lnTo>
                    <a:pt x="567" y="1239"/>
                  </a:lnTo>
                  <a:lnTo>
                    <a:pt x="567" y="1238"/>
                  </a:lnTo>
                  <a:lnTo>
                    <a:pt x="567" y="1239"/>
                  </a:lnTo>
                  <a:lnTo>
                    <a:pt x="566" y="1239"/>
                  </a:lnTo>
                  <a:lnTo>
                    <a:pt x="566" y="1238"/>
                  </a:lnTo>
                  <a:lnTo>
                    <a:pt x="564" y="1238"/>
                  </a:lnTo>
                  <a:lnTo>
                    <a:pt x="564" y="1239"/>
                  </a:lnTo>
                  <a:lnTo>
                    <a:pt x="564" y="1241"/>
                  </a:lnTo>
                  <a:lnTo>
                    <a:pt x="562" y="1241"/>
                  </a:lnTo>
                  <a:lnTo>
                    <a:pt x="562" y="1243"/>
                  </a:lnTo>
                  <a:lnTo>
                    <a:pt x="562" y="1241"/>
                  </a:lnTo>
                  <a:lnTo>
                    <a:pt x="561" y="1243"/>
                  </a:lnTo>
                  <a:lnTo>
                    <a:pt x="561" y="1244"/>
                  </a:lnTo>
                  <a:lnTo>
                    <a:pt x="559" y="1243"/>
                  </a:lnTo>
                  <a:lnTo>
                    <a:pt x="559" y="1241"/>
                  </a:lnTo>
                  <a:lnTo>
                    <a:pt x="557" y="1243"/>
                  </a:lnTo>
                  <a:lnTo>
                    <a:pt x="559" y="1243"/>
                  </a:lnTo>
                  <a:lnTo>
                    <a:pt x="557" y="1243"/>
                  </a:lnTo>
                  <a:lnTo>
                    <a:pt x="557" y="1241"/>
                  </a:lnTo>
                  <a:lnTo>
                    <a:pt x="556" y="1241"/>
                  </a:lnTo>
                  <a:lnTo>
                    <a:pt x="554" y="1241"/>
                  </a:lnTo>
                  <a:lnTo>
                    <a:pt x="554" y="1239"/>
                  </a:lnTo>
                  <a:lnTo>
                    <a:pt x="554" y="1238"/>
                  </a:lnTo>
                  <a:lnTo>
                    <a:pt x="554" y="1239"/>
                  </a:lnTo>
                  <a:lnTo>
                    <a:pt x="556" y="1239"/>
                  </a:lnTo>
                  <a:lnTo>
                    <a:pt x="556" y="1238"/>
                  </a:lnTo>
                  <a:lnTo>
                    <a:pt x="556" y="1236"/>
                  </a:lnTo>
                  <a:lnTo>
                    <a:pt x="554" y="1236"/>
                  </a:lnTo>
                  <a:lnTo>
                    <a:pt x="553" y="1236"/>
                  </a:lnTo>
                  <a:lnTo>
                    <a:pt x="551" y="1236"/>
                  </a:lnTo>
                  <a:lnTo>
                    <a:pt x="551" y="1238"/>
                  </a:lnTo>
                  <a:lnTo>
                    <a:pt x="551" y="1239"/>
                  </a:lnTo>
                  <a:lnTo>
                    <a:pt x="549" y="1239"/>
                  </a:lnTo>
                  <a:lnTo>
                    <a:pt x="548" y="1239"/>
                  </a:lnTo>
                  <a:lnTo>
                    <a:pt x="548" y="1238"/>
                  </a:lnTo>
                  <a:lnTo>
                    <a:pt x="549" y="1238"/>
                  </a:lnTo>
                  <a:lnTo>
                    <a:pt x="551" y="1236"/>
                  </a:lnTo>
                  <a:lnTo>
                    <a:pt x="553" y="1236"/>
                  </a:lnTo>
                  <a:lnTo>
                    <a:pt x="551" y="1236"/>
                  </a:lnTo>
                  <a:lnTo>
                    <a:pt x="549" y="1236"/>
                  </a:lnTo>
                  <a:lnTo>
                    <a:pt x="548" y="1238"/>
                  </a:lnTo>
                  <a:lnTo>
                    <a:pt x="546" y="1238"/>
                  </a:lnTo>
                  <a:lnTo>
                    <a:pt x="546" y="1236"/>
                  </a:lnTo>
                  <a:lnTo>
                    <a:pt x="543" y="1238"/>
                  </a:lnTo>
                  <a:lnTo>
                    <a:pt x="541" y="1238"/>
                  </a:lnTo>
                  <a:lnTo>
                    <a:pt x="540" y="1238"/>
                  </a:lnTo>
                  <a:lnTo>
                    <a:pt x="538" y="1239"/>
                  </a:lnTo>
                  <a:lnTo>
                    <a:pt x="536" y="1239"/>
                  </a:lnTo>
                  <a:lnTo>
                    <a:pt x="535" y="1239"/>
                  </a:lnTo>
                  <a:lnTo>
                    <a:pt x="533" y="1239"/>
                  </a:lnTo>
                  <a:lnTo>
                    <a:pt x="533" y="1238"/>
                  </a:lnTo>
                  <a:lnTo>
                    <a:pt x="531" y="1239"/>
                  </a:lnTo>
                  <a:lnTo>
                    <a:pt x="531" y="1241"/>
                  </a:lnTo>
                  <a:lnTo>
                    <a:pt x="531" y="1239"/>
                  </a:lnTo>
                  <a:lnTo>
                    <a:pt x="531" y="1238"/>
                  </a:lnTo>
                  <a:lnTo>
                    <a:pt x="530" y="1238"/>
                  </a:lnTo>
                  <a:lnTo>
                    <a:pt x="528" y="1238"/>
                  </a:lnTo>
                  <a:lnTo>
                    <a:pt x="527" y="1239"/>
                  </a:lnTo>
                  <a:lnTo>
                    <a:pt x="527" y="1238"/>
                  </a:lnTo>
                  <a:lnTo>
                    <a:pt x="527" y="1236"/>
                  </a:lnTo>
                  <a:lnTo>
                    <a:pt x="527" y="1234"/>
                  </a:lnTo>
                  <a:lnTo>
                    <a:pt x="525" y="1234"/>
                  </a:lnTo>
                  <a:lnTo>
                    <a:pt x="523" y="1234"/>
                  </a:lnTo>
                  <a:lnTo>
                    <a:pt x="522" y="1234"/>
                  </a:lnTo>
                  <a:lnTo>
                    <a:pt x="522" y="1236"/>
                  </a:lnTo>
                  <a:lnTo>
                    <a:pt x="522" y="1238"/>
                  </a:lnTo>
                  <a:lnTo>
                    <a:pt x="522" y="1239"/>
                  </a:lnTo>
                  <a:lnTo>
                    <a:pt x="520" y="1241"/>
                  </a:lnTo>
                  <a:lnTo>
                    <a:pt x="520" y="1239"/>
                  </a:lnTo>
                  <a:lnTo>
                    <a:pt x="518" y="1239"/>
                  </a:lnTo>
                  <a:lnTo>
                    <a:pt x="517" y="1239"/>
                  </a:lnTo>
                  <a:lnTo>
                    <a:pt x="517" y="1238"/>
                  </a:lnTo>
                  <a:lnTo>
                    <a:pt x="517" y="1239"/>
                  </a:lnTo>
                  <a:lnTo>
                    <a:pt x="515" y="1239"/>
                  </a:lnTo>
                  <a:lnTo>
                    <a:pt x="515" y="1238"/>
                  </a:lnTo>
                  <a:lnTo>
                    <a:pt x="514" y="1236"/>
                  </a:lnTo>
                  <a:lnTo>
                    <a:pt x="510" y="1234"/>
                  </a:lnTo>
                  <a:lnTo>
                    <a:pt x="509" y="1234"/>
                  </a:lnTo>
                  <a:lnTo>
                    <a:pt x="507" y="1234"/>
                  </a:lnTo>
                  <a:lnTo>
                    <a:pt x="507" y="1233"/>
                  </a:lnTo>
                  <a:lnTo>
                    <a:pt x="509" y="1234"/>
                  </a:lnTo>
                  <a:lnTo>
                    <a:pt x="509" y="1233"/>
                  </a:lnTo>
                  <a:lnTo>
                    <a:pt x="507" y="1233"/>
                  </a:lnTo>
                  <a:lnTo>
                    <a:pt x="505" y="1231"/>
                  </a:lnTo>
                  <a:lnTo>
                    <a:pt x="504" y="1231"/>
                  </a:lnTo>
                  <a:lnTo>
                    <a:pt x="504" y="1230"/>
                  </a:lnTo>
                  <a:lnTo>
                    <a:pt x="502" y="1231"/>
                  </a:lnTo>
                  <a:lnTo>
                    <a:pt x="501" y="1231"/>
                  </a:lnTo>
                  <a:lnTo>
                    <a:pt x="501" y="1230"/>
                  </a:lnTo>
                  <a:lnTo>
                    <a:pt x="499" y="1230"/>
                  </a:lnTo>
                  <a:lnTo>
                    <a:pt x="499" y="1231"/>
                  </a:lnTo>
                  <a:lnTo>
                    <a:pt x="497" y="1231"/>
                  </a:lnTo>
                  <a:lnTo>
                    <a:pt x="497" y="1230"/>
                  </a:lnTo>
                  <a:lnTo>
                    <a:pt x="496" y="1230"/>
                  </a:lnTo>
                  <a:lnTo>
                    <a:pt x="496" y="1228"/>
                  </a:lnTo>
                  <a:lnTo>
                    <a:pt x="496" y="1230"/>
                  </a:lnTo>
                  <a:lnTo>
                    <a:pt x="494" y="1228"/>
                  </a:lnTo>
                  <a:lnTo>
                    <a:pt x="494" y="1230"/>
                  </a:lnTo>
                  <a:lnTo>
                    <a:pt x="494" y="1228"/>
                  </a:lnTo>
                  <a:lnTo>
                    <a:pt x="492" y="1228"/>
                  </a:lnTo>
                  <a:lnTo>
                    <a:pt x="492" y="1226"/>
                  </a:lnTo>
                  <a:lnTo>
                    <a:pt x="491" y="1226"/>
                  </a:lnTo>
                  <a:lnTo>
                    <a:pt x="489" y="1226"/>
                  </a:lnTo>
                  <a:lnTo>
                    <a:pt x="489" y="1225"/>
                  </a:lnTo>
                  <a:lnTo>
                    <a:pt x="488" y="1225"/>
                  </a:lnTo>
                  <a:lnTo>
                    <a:pt x="488" y="1226"/>
                  </a:lnTo>
                  <a:lnTo>
                    <a:pt x="488" y="1225"/>
                  </a:lnTo>
                  <a:lnTo>
                    <a:pt x="488" y="1223"/>
                  </a:lnTo>
                  <a:lnTo>
                    <a:pt x="488" y="1221"/>
                  </a:lnTo>
                  <a:lnTo>
                    <a:pt x="489" y="1221"/>
                  </a:lnTo>
                  <a:lnTo>
                    <a:pt x="489" y="1220"/>
                  </a:lnTo>
                  <a:lnTo>
                    <a:pt x="488" y="1220"/>
                  </a:lnTo>
                  <a:lnTo>
                    <a:pt x="489" y="1220"/>
                  </a:lnTo>
                  <a:lnTo>
                    <a:pt x="489" y="1218"/>
                  </a:lnTo>
                  <a:lnTo>
                    <a:pt x="489" y="1217"/>
                  </a:lnTo>
                  <a:lnTo>
                    <a:pt x="488" y="1217"/>
                  </a:lnTo>
                  <a:lnTo>
                    <a:pt x="488" y="1218"/>
                  </a:lnTo>
                  <a:lnTo>
                    <a:pt x="488" y="1217"/>
                  </a:lnTo>
                  <a:lnTo>
                    <a:pt x="488" y="1215"/>
                  </a:lnTo>
                  <a:lnTo>
                    <a:pt x="486" y="1215"/>
                  </a:lnTo>
                  <a:lnTo>
                    <a:pt x="484" y="1215"/>
                  </a:lnTo>
                  <a:lnTo>
                    <a:pt x="484" y="1213"/>
                  </a:lnTo>
                  <a:lnTo>
                    <a:pt x="486" y="1212"/>
                  </a:lnTo>
                  <a:lnTo>
                    <a:pt x="486" y="1210"/>
                  </a:lnTo>
                  <a:lnTo>
                    <a:pt x="486" y="1208"/>
                  </a:lnTo>
                  <a:lnTo>
                    <a:pt x="486" y="1207"/>
                  </a:lnTo>
                  <a:lnTo>
                    <a:pt x="486" y="1205"/>
                  </a:lnTo>
                  <a:lnTo>
                    <a:pt x="484" y="1204"/>
                  </a:lnTo>
                  <a:lnTo>
                    <a:pt x="483" y="1204"/>
                  </a:lnTo>
                  <a:lnTo>
                    <a:pt x="484" y="1202"/>
                  </a:lnTo>
                  <a:lnTo>
                    <a:pt x="483" y="1202"/>
                  </a:lnTo>
                  <a:lnTo>
                    <a:pt x="483" y="1204"/>
                  </a:lnTo>
                  <a:lnTo>
                    <a:pt x="481" y="1204"/>
                  </a:lnTo>
                  <a:lnTo>
                    <a:pt x="481" y="1202"/>
                  </a:lnTo>
                  <a:lnTo>
                    <a:pt x="479" y="1202"/>
                  </a:lnTo>
                  <a:lnTo>
                    <a:pt x="478" y="1204"/>
                  </a:lnTo>
                  <a:lnTo>
                    <a:pt x="476" y="1204"/>
                  </a:lnTo>
                  <a:lnTo>
                    <a:pt x="476" y="1205"/>
                  </a:lnTo>
                  <a:lnTo>
                    <a:pt x="478" y="1205"/>
                  </a:lnTo>
                  <a:lnTo>
                    <a:pt x="476" y="1205"/>
                  </a:lnTo>
                  <a:lnTo>
                    <a:pt x="478" y="1205"/>
                  </a:lnTo>
                  <a:lnTo>
                    <a:pt x="476" y="1207"/>
                  </a:lnTo>
                  <a:lnTo>
                    <a:pt x="476" y="1205"/>
                  </a:lnTo>
                  <a:lnTo>
                    <a:pt x="476" y="1207"/>
                  </a:lnTo>
                  <a:lnTo>
                    <a:pt x="475" y="1207"/>
                  </a:lnTo>
                  <a:lnTo>
                    <a:pt x="475" y="1205"/>
                  </a:lnTo>
                  <a:lnTo>
                    <a:pt x="475" y="1207"/>
                  </a:lnTo>
                  <a:lnTo>
                    <a:pt x="473" y="1207"/>
                  </a:lnTo>
                  <a:lnTo>
                    <a:pt x="471" y="1207"/>
                  </a:lnTo>
                  <a:lnTo>
                    <a:pt x="473" y="1207"/>
                  </a:lnTo>
                  <a:lnTo>
                    <a:pt x="473" y="1205"/>
                  </a:lnTo>
                  <a:lnTo>
                    <a:pt x="475" y="1205"/>
                  </a:lnTo>
                  <a:lnTo>
                    <a:pt x="475" y="1204"/>
                  </a:lnTo>
                  <a:lnTo>
                    <a:pt x="476" y="1204"/>
                  </a:lnTo>
                  <a:lnTo>
                    <a:pt x="476" y="1202"/>
                  </a:lnTo>
                  <a:lnTo>
                    <a:pt x="475" y="1202"/>
                  </a:lnTo>
                  <a:lnTo>
                    <a:pt x="473" y="1202"/>
                  </a:lnTo>
                  <a:lnTo>
                    <a:pt x="475" y="1202"/>
                  </a:lnTo>
                  <a:lnTo>
                    <a:pt x="473" y="1202"/>
                  </a:lnTo>
                  <a:lnTo>
                    <a:pt x="475" y="1200"/>
                  </a:lnTo>
                  <a:lnTo>
                    <a:pt x="473" y="1200"/>
                  </a:lnTo>
                  <a:lnTo>
                    <a:pt x="473" y="1199"/>
                  </a:lnTo>
                  <a:lnTo>
                    <a:pt x="473" y="1197"/>
                  </a:lnTo>
                  <a:lnTo>
                    <a:pt x="473" y="1195"/>
                  </a:lnTo>
                  <a:lnTo>
                    <a:pt x="475" y="1195"/>
                  </a:lnTo>
                  <a:lnTo>
                    <a:pt x="476" y="1195"/>
                  </a:lnTo>
                  <a:lnTo>
                    <a:pt x="478" y="1195"/>
                  </a:lnTo>
                  <a:lnTo>
                    <a:pt x="476" y="1194"/>
                  </a:lnTo>
                  <a:lnTo>
                    <a:pt x="478" y="1194"/>
                  </a:lnTo>
                  <a:lnTo>
                    <a:pt x="476" y="1194"/>
                  </a:lnTo>
                  <a:lnTo>
                    <a:pt x="476" y="1192"/>
                  </a:lnTo>
                  <a:lnTo>
                    <a:pt x="476" y="1194"/>
                  </a:lnTo>
                  <a:lnTo>
                    <a:pt x="478" y="1192"/>
                  </a:lnTo>
                  <a:lnTo>
                    <a:pt x="476" y="1192"/>
                  </a:lnTo>
                  <a:lnTo>
                    <a:pt x="476" y="1191"/>
                  </a:lnTo>
                  <a:lnTo>
                    <a:pt x="478" y="1191"/>
                  </a:lnTo>
                  <a:lnTo>
                    <a:pt x="479" y="1191"/>
                  </a:lnTo>
                  <a:lnTo>
                    <a:pt x="479" y="1192"/>
                  </a:lnTo>
                  <a:lnTo>
                    <a:pt x="478" y="1194"/>
                  </a:lnTo>
                  <a:lnTo>
                    <a:pt x="479" y="1194"/>
                  </a:lnTo>
                  <a:lnTo>
                    <a:pt x="479" y="1192"/>
                  </a:lnTo>
                  <a:lnTo>
                    <a:pt x="481" y="1192"/>
                  </a:lnTo>
                  <a:lnTo>
                    <a:pt x="481" y="1191"/>
                  </a:lnTo>
                  <a:lnTo>
                    <a:pt x="481" y="1189"/>
                  </a:lnTo>
                  <a:lnTo>
                    <a:pt x="479" y="1189"/>
                  </a:lnTo>
                  <a:lnTo>
                    <a:pt x="479" y="1187"/>
                  </a:lnTo>
                  <a:lnTo>
                    <a:pt x="479" y="1186"/>
                  </a:lnTo>
                  <a:lnTo>
                    <a:pt x="478" y="1186"/>
                  </a:lnTo>
                  <a:lnTo>
                    <a:pt x="476" y="1186"/>
                  </a:lnTo>
                  <a:lnTo>
                    <a:pt x="475" y="1186"/>
                  </a:lnTo>
                  <a:lnTo>
                    <a:pt x="473" y="1186"/>
                  </a:lnTo>
                  <a:lnTo>
                    <a:pt x="471" y="1186"/>
                  </a:lnTo>
                  <a:lnTo>
                    <a:pt x="470" y="1184"/>
                  </a:lnTo>
                  <a:lnTo>
                    <a:pt x="470" y="1182"/>
                  </a:lnTo>
                  <a:lnTo>
                    <a:pt x="470" y="1184"/>
                  </a:lnTo>
                  <a:lnTo>
                    <a:pt x="468" y="1184"/>
                  </a:lnTo>
                  <a:lnTo>
                    <a:pt x="468" y="1182"/>
                  </a:lnTo>
                  <a:lnTo>
                    <a:pt x="466" y="1182"/>
                  </a:lnTo>
                  <a:lnTo>
                    <a:pt x="466" y="1184"/>
                  </a:lnTo>
                  <a:lnTo>
                    <a:pt x="465" y="1182"/>
                  </a:lnTo>
                  <a:lnTo>
                    <a:pt x="465" y="1184"/>
                  </a:lnTo>
                  <a:lnTo>
                    <a:pt x="466" y="1184"/>
                  </a:lnTo>
                  <a:lnTo>
                    <a:pt x="465" y="1184"/>
                  </a:lnTo>
                  <a:lnTo>
                    <a:pt x="465" y="1182"/>
                  </a:lnTo>
                  <a:lnTo>
                    <a:pt x="463" y="1182"/>
                  </a:lnTo>
                  <a:lnTo>
                    <a:pt x="462" y="1182"/>
                  </a:lnTo>
                  <a:lnTo>
                    <a:pt x="460" y="1182"/>
                  </a:lnTo>
                  <a:lnTo>
                    <a:pt x="460" y="1181"/>
                  </a:lnTo>
                  <a:lnTo>
                    <a:pt x="458" y="1181"/>
                  </a:lnTo>
                  <a:lnTo>
                    <a:pt x="458" y="1179"/>
                  </a:lnTo>
                  <a:lnTo>
                    <a:pt x="457" y="1179"/>
                  </a:lnTo>
                  <a:lnTo>
                    <a:pt x="457" y="1181"/>
                  </a:lnTo>
                  <a:lnTo>
                    <a:pt x="455" y="1181"/>
                  </a:lnTo>
                  <a:lnTo>
                    <a:pt x="457" y="1181"/>
                  </a:lnTo>
                  <a:lnTo>
                    <a:pt x="457" y="1179"/>
                  </a:lnTo>
                  <a:lnTo>
                    <a:pt x="457" y="1181"/>
                  </a:lnTo>
                  <a:lnTo>
                    <a:pt x="457" y="1182"/>
                  </a:lnTo>
                  <a:lnTo>
                    <a:pt x="457" y="1184"/>
                  </a:lnTo>
                  <a:lnTo>
                    <a:pt x="455" y="1184"/>
                  </a:lnTo>
                  <a:lnTo>
                    <a:pt x="455" y="1186"/>
                  </a:lnTo>
                  <a:lnTo>
                    <a:pt x="453" y="1186"/>
                  </a:lnTo>
                  <a:lnTo>
                    <a:pt x="453" y="1187"/>
                  </a:lnTo>
                  <a:lnTo>
                    <a:pt x="455" y="1187"/>
                  </a:lnTo>
                  <a:lnTo>
                    <a:pt x="455" y="1189"/>
                  </a:lnTo>
                  <a:lnTo>
                    <a:pt x="453" y="1189"/>
                  </a:lnTo>
                  <a:lnTo>
                    <a:pt x="452" y="1189"/>
                  </a:lnTo>
                  <a:lnTo>
                    <a:pt x="453" y="1189"/>
                  </a:lnTo>
                  <a:lnTo>
                    <a:pt x="452" y="1189"/>
                  </a:lnTo>
                  <a:lnTo>
                    <a:pt x="452" y="1191"/>
                  </a:lnTo>
                  <a:lnTo>
                    <a:pt x="452" y="1192"/>
                  </a:lnTo>
                  <a:lnTo>
                    <a:pt x="450" y="1192"/>
                  </a:lnTo>
                  <a:lnTo>
                    <a:pt x="452" y="1192"/>
                  </a:lnTo>
                  <a:lnTo>
                    <a:pt x="452" y="1194"/>
                  </a:lnTo>
                  <a:lnTo>
                    <a:pt x="450" y="1194"/>
                  </a:lnTo>
                  <a:lnTo>
                    <a:pt x="450" y="1195"/>
                  </a:lnTo>
                  <a:lnTo>
                    <a:pt x="452" y="1195"/>
                  </a:lnTo>
                  <a:lnTo>
                    <a:pt x="452" y="1197"/>
                  </a:lnTo>
                  <a:lnTo>
                    <a:pt x="453" y="1197"/>
                  </a:lnTo>
                  <a:lnTo>
                    <a:pt x="452" y="1197"/>
                  </a:lnTo>
                  <a:lnTo>
                    <a:pt x="453" y="1199"/>
                  </a:lnTo>
                  <a:lnTo>
                    <a:pt x="455" y="1197"/>
                  </a:lnTo>
                  <a:lnTo>
                    <a:pt x="453" y="1195"/>
                  </a:lnTo>
                  <a:lnTo>
                    <a:pt x="455" y="1195"/>
                  </a:lnTo>
                  <a:lnTo>
                    <a:pt x="457" y="1195"/>
                  </a:lnTo>
                  <a:lnTo>
                    <a:pt x="458" y="1195"/>
                  </a:lnTo>
                  <a:lnTo>
                    <a:pt x="457" y="1197"/>
                  </a:lnTo>
                  <a:lnTo>
                    <a:pt x="457" y="1195"/>
                  </a:lnTo>
                  <a:lnTo>
                    <a:pt x="457" y="1197"/>
                  </a:lnTo>
                  <a:lnTo>
                    <a:pt x="455" y="1197"/>
                  </a:lnTo>
                  <a:lnTo>
                    <a:pt x="457" y="1199"/>
                  </a:lnTo>
                  <a:lnTo>
                    <a:pt x="455" y="1199"/>
                  </a:lnTo>
                  <a:lnTo>
                    <a:pt x="455" y="1200"/>
                  </a:lnTo>
                  <a:lnTo>
                    <a:pt x="453" y="1200"/>
                  </a:lnTo>
                  <a:lnTo>
                    <a:pt x="455" y="1200"/>
                  </a:lnTo>
                  <a:lnTo>
                    <a:pt x="453" y="1200"/>
                  </a:lnTo>
                  <a:lnTo>
                    <a:pt x="453" y="1202"/>
                  </a:lnTo>
                  <a:lnTo>
                    <a:pt x="455" y="1202"/>
                  </a:lnTo>
                  <a:lnTo>
                    <a:pt x="453" y="1202"/>
                  </a:lnTo>
                  <a:lnTo>
                    <a:pt x="453" y="1204"/>
                  </a:lnTo>
                  <a:lnTo>
                    <a:pt x="452" y="1205"/>
                  </a:lnTo>
                  <a:lnTo>
                    <a:pt x="452" y="1204"/>
                  </a:lnTo>
                  <a:lnTo>
                    <a:pt x="450" y="1204"/>
                  </a:lnTo>
                  <a:lnTo>
                    <a:pt x="450" y="1202"/>
                  </a:lnTo>
                  <a:lnTo>
                    <a:pt x="449" y="1202"/>
                  </a:lnTo>
                  <a:lnTo>
                    <a:pt x="449" y="1200"/>
                  </a:lnTo>
                  <a:lnTo>
                    <a:pt x="450" y="1200"/>
                  </a:lnTo>
                  <a:lnTo>
                    <a:pt x="450" y="1199"/>
                  </a:lnTo>
                  <a:lnTo>
                    <a:pt x="452" y="1199"/>
                  </a:lnTo>
                  <a:lnTo>
                    <a:pt x="450" y="1197"/>
                  </a:lnTo>
                  <a:lnTo>
                    <a:pt x="449" y="1199"/>
                  </a:lnTo>
                  <a:lnTo>
                    <a:pt x="449" y="1197"/>
                  </a:lnTo>
                  <a:lnTo>
                    <a:pt x="447" y="1197"/>
                  </a:lnTo>
                  <a:lnTo>
                    <a:pt x="447" y="1195"/>
                  </a:lnTo>
                  <a:lnTo>
                    <a:pt x="447" y="1197"/>
                  </a:lnTo>
                  <a:lnTo>
                    <a:pt x="445" y="1197"/>
                  </a:lnTo>
                  <a:lnTo>
                    <a:pt x="444" y="1197"/>
                  </a:lnTo>
                  <a:lnTo>
                    <a:pt x="445" y="1197"/>
                  </a:lnTo>
                  <a:lnTo>
                    <a:pt x="444" y="1197"/>
                  </a:lnTo>
                  <a:lnTo>
                    <a:pt x="444" y="1195"/>
                  </a:lnTo>
                  <a:lnTo>
                    <a:pt x="445" y="1195"/>
                  </a:lnTo>
                  <a:lnTo>
                    <a:pt x="444" y="1194"/>
                  </a:lnTo>
                  <a:lnTo>
                    <a:pt x="440" y="1192"/>
                  </a:lnTo>
                  <a:lnTo>
                    <a:pt x="439" y="1192"/>
                  </a:lnTo>
                  <a:lnTo>
                    <a:pt x="437" y="1192"/>
                  </a:lnTo>
                  <a:lnTo>
                    <a:pt x="436" y="1192"/>
                  </a:lnTo>
                  <a:lnTo>
                    <a:pt x="436" y="1191"/>
                  </a:lnTo>
                  <a:lnTo>
                    <a:pt x="436" y="1192"/>
                  </a:lnTo>
                  <a:lnTo>
                    <a:pt x="434" y="1192"/>
                  </a:lnTo>
                  <a:lnTo>
                    <a:pt x="432" y="1192"/>
                  </a:lnTo>
                  <a:lnTo>
                    <a:pt x="432" y="1194"/>
                  </a:lnTo>
                  <a:lnTo>
                    <a:pt x="431" y="1194"/>
                  </a:lnTo>
                  <a:lnTo>
                    <a:pt x="431" y="1195"/>
                  </a:lnTo>
                  <a:lnTo>
                    <a:pt x="429" y="1195"/>
                  </a:lnTo>
                  <a:lnTo>
                    <a:pt x="429" y="1194"/>
                  </a:lnTo>
                  <a:lnTo>
                    <a:pt x="427" y="1192"/>
                  </a:lnTo>
                  <a:lnTo>
                    <a:pt x="427" y="1194"/>
                  </a:lnTo>
                  <a:lnTo>
                    <a:pt x="427" y="1192"/>
                  </a:lnTo>
                  <a:lnTo>
                    <a:pt x="426" y="1192"/>
                  </a:lnTo>
                  <a:lnTo>
                    <a:pt x="426" y="1194"/>
                  </a:lnTo>
                  <a:lnTo>
                    <a:pt x="426" y="1195"/>
                  </a:lnTo>
                  <a:lnTo>
                    <a:pt x="424" y="1195"/>
                  </a:lnTo>
                  <a:lnTo>
                    <a:pt x="423" y="1195"/>
                  </a:lnTo>
                  <a:lnTo>
                    <a:pt x="423" y="1194"/>
                  </a:lnTo>
                  <a:lnTo>
                    <a:pt x="423" y="1192"/>
                  </a:lnTo>
                  <a:lnTo>
                    <a:pt x="423" y="1191"/>
                  </a:lnTo>
                  <a:lnTo>
                    <a:pt x="421" y="1192"/>
                  </a:lnTo>
                  <a:lnTo>
                    <a:pt x="421" y="1191"/>
                  </a:lnTo>
                  <a:lnTo>
                    <a:pt x="423" y="1191"/>
                  </a:lnTo>
                  <a:lnTo>
                    <a:pt x="423" y="1189"/>
                  </a:lnTo>
                  <a:lnTo>
                    <a:pt x="423" y="1187"/>
                  </a:lnTo>
                  <a:lnTo>
                    <a:pt x="421" y="1187"/>
                  </a:lnTo>
                  <a:lnTo>
                    <a:pt x="421" y="1186"/>
                  </a:lnTo>
                  <a:lnTo>
                    <a:pt x="423" y="1186"/>
                  </a:lnTo>
                  <a:lnTo>
                    <a:pt x="423" y="1184"/>
                  </a:lnTo>
                  <a:lnTo>
                    <a:pt x="421" y="1182"/>
                  </a:lnTo>
                  <a:lnTo>
                    <a:pt x="419" y="1182"/>
                  </a:lnTo>
                  <a:lnTo>
                    <a:pt x="418" y="1182"/>
                  </a:lnTo>
                  <a:lnTo>
                    <a:pt x="418" y="1181"/>
                  </a:lnTo>
                  <a:lnTo>
                    <a:pt x="416" y="1181"/>
                  </a:lnTo>
                  <a:lnTo>
                    <a:pt x="414" y="1181"/>
                  </a:lnTo>
                  <a:lnTo>
                    <a:pt x="413" y="1181"/>
                  </a:lnTo>
                  <a:lnTo>
                    <a:pt x="414" y="1181"/>
                  </a:lnTo>
                  <a:lnTo>
                    <a:pt x="413" y="1179"/>
                  </a:lnTo>
                  <a:lnTo>
                    <a:pt x="411" y="1179"/>
                  </a:lnTo>
                  <a:lnTo>
                    <a:pt x="411" y="1181"/>
                  </a:lnTo>
                  <a:lnTo>
                    <a:pt x="413" y="1182"/>
                  </a:lnTo>
                  <a:lnTo>
                    <a:pt x="411" y="1182"/>
                  </a:lnTo>
                  <a:lnTo>
                    <a:pt x="409" y="1182"/>
                  </a:lnTo>
                  <a:lnTo>
                    <a:pt x="409" y="1184"/>
                  </a:lnTo>
                  <a:lnTo>
                    <a:pt x="411" y="1184"/>
                  </a:lnTo>
                  <a:lnTo>
                    <a:pt x="411" y="1186"/>
                  </a:lnTo>
                  <a:lnTo>
                    <a:pt x="409" y="1186"/>
                  </a:lnTo>
                  <a:lnTo>
                    <a:pt x="408" y="1186"/>
                  </a:lnTo>
                  <a:lnTo>
                    <a:pt x="408" y="1187"/>
                  </a:lnTo>
                  <a:lnTo>
                    <a:pt x="408" y="1186"/>
                  </a:lnTo>
                  <a:lnTo>
                    <a:pt x="406" y="1186"/>
                  </a:lnTo>
                  <a:lnTo>
                    <a:pt x="406" y="1184"/>
                  </a:lnTo>
                  <a:lnTo>
                    <a:pt x="406" y="1182"/>
                  </a:lnTo>
                  <a:lnTo>
                    <a:pt x="405" y="1184"/>
                  </a:lnTo>
                  <a:lnTo>
                    <a:pt x="403" y="1184"/>
                  </a:lnTo>
                  <a:lnTo>
                    <a:pt x="401" y="1184"/>
                  </a:lnTo>
                  <a:lnTo>
                    <a:pt x="401" y="1182"/>
                  </a:lnTo>
                  <a:lnTo>
                    <a:pt x="400" y="1182"/>
                  </a:lnTo>
                  <a:lnTo>
                    <a:pt x="400" y="1181"/>
                  </a:lnTo>
                  <a:lnTo>
                    <a:pt x="401" y="1181"/>
                  </a:lnTo>
                  <a:lnTo>
                    <a:pt x="400" y="1181"/>
                  </a:lnTo>
                  <a:lnTo>
                    <a:pt x="400" y="1179"/>
                  </a:lnTo>
                  <a:lnTo>
                    <a:pt x="401" y="1179"/>
                  </a:lnTo>
                  <a:lnTo>
                    <a:pt x="401" y="1178"/>
                  </a:lnTo>
                  <a:lnTo>
                    <a:pt x="400" y="1178"/>
                  </a:lnTo>
                  <a:lnTo>
                    <a:pt x="400" y="1176"/>
                  </a:lnTo>
                  <a:lnTo>
                    <a:pt x="398" y="1176"/>
                  </a:lnTo>
                  <a:lnTo>
                    <a:pt x="398" y="1178"/>
                  </a:lnTo>
                  <a:lnTo>
                    <a:pt x="398" y="1179"/>
                  </a:lnTo>
                  <a:lnTo>
                    <a:pt x="396" y="1179"/>
                  </a:lnTo>
                  <a:lnTo>
                    <a:pt x="395" y="1181"/>
                  </a:lnTo>
                  <a:lnTo>
                    <a:pt x="395" y="1179"/>
                  </a:lnTo>
                  <a:lnTo>
                    <a:pt x="393" y="1179"/>
                  </a:lnTo>
                  <a:lnTo>
                    <a:pt x="393" y="1181"/>
                  </a:lnTo>
                  <a:lnTo>
                    <a:pt x="392" y="1182"/>
                  </a:lnTo>
                  <a:lnTo>
                    <a:pt x="393" y="1182"/>
                  </a:lnTo>
                  <a:lnTo>
                    <a:pt x="393" y="1184"/>
                  </a:lnTo>
                  <a:lnTo>
                    <a:pt x="393" y="1182"/>
                  </a:lnTo>
                  <a:lnTo>
                    <a:pt x="395" y="1182"/>
                  </a:lnTo>
                  <a:lnTo>
                    <a:pt x="396" y="1182"/>
                  </a:lnTo>
                  <a:lnTo>
                    <a:pt x="398" y="1182"/>
                  </a:lnTo>
                  <a:lnTo>
                    <a:pt x="398" y="1184"/>
                  </a:lnTo>
                  <a:lnTo>
                    <a:pt x="396" y="1186"/>
                  </a:lnTo>
                  <a:lnTo>
                    <a:pt x="396" y="1187"/>
                  </a:lnTo>
                  <a:lnTo>
                    <a:pt x="396" y="1189"/>
                  </a:lnTo>
                  <a:lnTo>
                    <a:pt x="396" y="1191"/>
                  </a:lnTo>
                  <a:lnTo>
                    <a:pt x="395" y="1191"/>
                  </a:lnTo>
                  <a:lnTo>
                    <a:pt x="393" y="1191"/>
                  </a:lnTo>
                  <a:lnTo>
                    <a:pt x="393" y="1189"/>
                  </a:lnTo>
                  <a:lnTo>
                    <a:pt x="392" y="1189"/>
                  </a:lnTo>
                  <a:lnTo>
                    <a:pt x="390" y="1189"/>
                  </a:lnTo>
                  <a:lnTo>
                    <a:pt x="388" y="1189"/>
                  </a:lnTo>
                  <a:lnTo>
                    <a:pt x="387" y="1189"/>
                  </a:lnTo>
                  <a:lnTo>
                    <a:pt x="385" y="1189"/>
                  </a:lnTo>
                  <a:lnTo>
                    <a:pt x="385" y="1191"/>
                  </a:lnTo>
                  <a:lnTo>
                    <a:pt x="387" y="1191"/>
                  </a:lnTo>
                  <a:lnTo>
                    <a:pt x="385" y="1191"/>
                  </a:lnTo>
                  <a:lnTo>
                    <a:pt x="385" y="1192"/>
                  </a:lnTo>
                  <a:lnTo>
                    <a:pt x="383" y="1192"/>
                  </a:lnTo>
                  <a:lnTo>
                    <a:pt x="382" y="1192"/>
                  </a:lnTo>
                  <a:lnTo>
                    <a:pt x="382" y="1191"/>
                  </a:lnTo>
                  <a:lnTo>
                    <a:pt x="380" y="1191"/>
                  </a:lnTo>
                  <a:lnTo>
                    <a:pt x="382" y="1189"/>
                  </a:lnTo>
                  <a:lnTo>
                    <a:pt x="382" y="1191"/>
                  </a:lnTo>
                  <a:lnTo>
                    <a:pt x="382" y="1189"/>
                  </a:lnTo>
                  <a:lnTo>
                    <a:pt x="383" y="1189"/>
                  </a:lnTo>
                  <a:lnTo>
                    <a:pt x="383" y="1187"/>
                  </a:lnTo>
                  <a:lnTo>
                    <a:pt x="385" y="1189"/>
                  </a:lnTo>
                  <a:lnTo>
                    <a:pt x="385" y="1187"/>
                  </a:lnTo>
                  <a:lnTo>
                    <a:pt x="383" y="1187"/>
                  </a:lnTo>
                  <a:lnTo>
                    <a:pt x="383" y="1186"/>
                  </a:lnTo>
                  <a:lnTo>
                    <a:pt x="382" y="1186"/>
                  </a:lnTo>
                  <a:lnTo>
                    <a:pt x="382" y="1184"/>
                  </a:lnTo>
                  <a:lnTo>
                    <a:pt x="380" y="1184"/>
                  </a:lnTo>
                  <a:lnTo>
                    <a:pt x="379" y="1184"/>
                  </a:lnTo>
                  <a:lnTo>
                    <a:pt x="379" y="1186"/>
                  </a:lnTo>
                  <a:lnTo>
                    <a:pt x="377" y="1187"/>
                  </a:lnTo>
                  <a:lnTo>
                    <a:pt x="377" y="1189"/>
                  </a:lnTo>
                  <a:lnTo>
                    <a:pt x="377" y="1191"/>
                  </a:lnTo>
                  <a:lnTo>
                    <a:pt x="377" y="1192"/>
                  </a:lnTo>
                  <a:lnTo>
                    <a:pt x="379" y="1192"/>
                  </a:lnTo>
                  <a:lnTo>
                    <a:pt x="380" y="1194"/>
                  </a:lnTo>
                  <a:lnTo>
                    <a:pt x="380" y="1195"/>
                  </a:lnTo>
                  <a:lnTo>
                    <a:pt x="380" y="1197"/>
                  </a:lnTo>
                  <a:lnTo>
                    <a:pt x="382" y="1197"/>
                  </a:lnTo>
                  <a:lnTo>
                    <a:pt x="382" y="1199"/>
                  </a:lnTo>
                  <a:lnTo>
                    <a:pt x="383" y="1199"/>
                  </a:lnTo>
                  <a:lnTo>
                    <a:pt x="385" y="1199"/>
                  </a:lnTo>
                  <a:lnTo>
                    <a:pt x="387" y="1199"/>
                  </a:lnTo>
                  <a:lnTo>
                    <a:pt x="387" y="1200"/>
                  </a:lnTo>
                  <a:lnTo>
                    <a:pt x="385" y="1200"/>
                  </a:lnTo>
                  <a:lnTo>
                    <a:pt x="387" y="1200"/>
                  </a:lnTo>
                  <a:lnTo>
                    <a:pt x="385" y="1202"/>
                  </a:lnTo>
                  <a:lnTo>
                    <a:pt x="385" y="1200"/>
                  </a:lnTo>
                  <a:lnTo>
                    <a:pt x="383" y="1200"/>
                  </a:lnTo>
                  <a:lnTo>
                    <a:pt x="383" y="1202"/>
                  </a:lnTo>
                  <a:lnTo>
                    <a:pt x="382" y="1202"/>
                  </a:lnTo>
                  <a:lnTo>
                    <a:pt x="380" y="1204"/>
                  </a:lnTo>
                  <a:lnTo>
                    <a:pt x="382" y="1204"/>
                  </a:lnTo>
                  <a:lnTo>
                    <a:pt x="380" y="1204"/>
                  </a:lnTo>
                  <a:lnTo>
                    <a:pt x="380" y="1205"/>
                  </a:lnTo>
                  <a:lnTo>
                    <a:pt x="379" y="1207"/>
                  </a:lnTo>
                  <a:lnTo>
                    <a:pt x="380" y="1207"/>
                  </a:lnTo>
                  <a:lnTo>
                    <a:pt x="379" y="1207"/>
                  </a:lnTo>
                  <a:lnTo>
                    <a:pt x="379" y="1208"/>
                  </a:lnTo>
                  <a:lnTo>
                    <a:pt x="380" y="1208"/>
                  </a:lnTo>
                  <a:lnTo>
                    <a:pt x="379" y="1208"/>
                  </a:lnTo>
                  <a:lnTo>
                    <a:pt x="377" y="1208"/>
                  </a:lnTo>
                  <a:lnTo>
                    <a:pt x="377" y="1210"/>
                  </a:lnTo>
                  <a:lnTo>
                    <a:pt x="375" y="1210"/>
                  </a:lnTo>
                  <a:lnTo>
                    <a:pt x="374" y="1212"/>
                  </a:lnTo>
                  <a:lnTo>
                    <a:pt x="374" y="1210"/>
                  </a:lnTo>
                  <a:lnTo>
                    <a:pt x="372" y="1210"/>
                  </a:lnTo>
                  <a:lnTo>
                    <a:pt x="372" y="1212"/>
                  </a:lnTo>
                  <a:lnTo>
                    <a:pt x="372" y="1213"/>
                  </a:lnTo>
                  <a:lnTo>
                    <a:pt x="374" y="1213"/>
                  </a:lnTo>
                  <a:lnTo>
                    <a:pt x="372" y="1213"/>
                  </a:lnTo>
                  <a:lnTo>
                    <a:pt x="372" y="1215"/>
                  </a:lnTo>
                  <a:lnTo>
                    <a:pt x="372" y="1217"/>
                  </a:lnTo>
                  <a:lnTo>
                    <a:pt x="372" y="1215"/>
                  </a:lnTo>
                  <a:lnTo>
                    <a:pt x="370" y="1217"/>
                  </a:lnTo>
                  <a:lnTo>
                    <a:pt x="372" y="1217"/>
                  </a:lnTo>
                  <a:lnTo>
                    <a:pt x="370" y="1218"/>
                  </a:lnTo>
                  <a:lnTo>
                    <a:pt x="370" y="1220"/>
                  </a:lnTo>
                  <a:lnTo>
                    <a:pt x="370" y="1221"/>
                  </a:lnTo>
                  <a:lnTo>
                    <a:pt x="370" y="1223"/>
                  </a:lnTo>
                  <a:lnTo>
                    <a:pt x="369" y="1223"/>
                  </a:lnTo>
                  <a:lnTo>
                    <a:pt x="369" y="1225"/>
                  </a:lnTo>
                  <a:lnTo>
                    <a:pt x="367" y="1226"/>
                  </a:lnTo>
                  <a:lnTo>
                    <a:pt x="366" y="1226"/>
                  </a:lnTo>
                  <a:lnTo>
                    <a:pt x="366" y="1225"/>
                  </a:lnTo>
                  <a:lnTo>
                    <a:pt x="366" y="1226"/>
                  </a:lnTo>
                  <a:lnTo>
                    <a:pt x="364" y="1226"/>
                  </a:lnTo>
                  <a:lnTo>
                    <a:pt x="364" y="1228"/>
                  </a:lnTo>
                  <a:lnTo>
                    <a:pt x="362" y="1228"/>
                  </a:lnTo>
                  <a:lnTo>
                    <a:pt x="362" y="1230"/>
                  </a:lnTo>
                  <a:lnTo>
                    <a:pt x="362" y="1228"/>
                  </a:lnTo>
                  <a:lnTo>
                    <a:pt x="362" y="1230"/>
                  </a:lnTo>
                  <a:lnTo>
                    <a:pt x="362" y="1231"/>
                  </a:lnTo>
                  <a:lnTo>
                    <a:pt x="361" y="1231"/>
                  </a:lnTo>
                  <a:lnTo>
                    <a:pt x="359" y="1230"/>
                  </a:lnTo>
                  <a:lnTo>
                    <a:pt x="359" y="1231"/>
                  </a:lnTo>
                  <a:lnTo>
                    <a:pt x="357" y="1231"/>
                  </a:lnTo>
                  <a:lnTo>
                    <a:pt x="357" y="1233"/>
                  </a:lnTo>
                  <a:lnTo>
                    <a:pt x="356" y="1233"/>
                  </a:lnTo>
                  <a:lnTo>
                    <a:pt x="356" y="1234"/>
                  </a:lnTo>
                  <a:lnTo>
                    <a:pt x="356" y="1233"/>
                  </a:lnTo>
                  <a:lnTo>
                    <a:pt x="356" y="1231"/>
                  </a:lnTo>
                  <a:lnTo>
                    <a:pt x="354" y="1231"/>
                  </a:lnTo>
                  <a:lnTo>
                    <a:pt x="353" y="1231"/>
                  </a:lnTo>
                  <a:lnTo>
                    <a:pt x="353" y="1230"/>
                  </a:lnTo>
                  <a:lnTo>
                    <a:pt x="354" y="1230"/>
                  </a:lnTo>
                  <a:lnTo>
                    <a:pt x="353" y="1228"/>
                  </a:lnTo>
                  <a:lnTo>
                    <a:pt x="351" y="1228"/>
                  </a:lnTo>
                  <a:lnTo>
                    <a:pt x="353" y="1228"/>
                  </a:lnTo>
                  <a:lnTo>
                    <a:pt x="353" y="1226"/>
                  </a:lnTo>
                  <a:lnTo>
                    <a:pt x="354" y="1226"/>
                  </a:lnTo>
                  <a:lnTo>
                    <a:pt x="356" y="1226"/>
                  </a:lnTo>
                  <a:lnTo>
                    <a:pt x="357" y="1226"/>
                  </a:lnTo>
                  <a:lnTo>
                    <a:pt x="359" y="1226"/>
                  </a:lnTo>
                  <a:lnTo>
                    <a:pt x="361" y="1226"/>
                  </a:lnTo>
                  <a:lnTo>
                    <a:pt x="361" y="1225"/>
                  </a:lnTo>
                  <a:lnTo>
                    <a:pt x="362" y="1225"/>
                  </a:lnTo>
                  <a:lnTo>
                    <a:pt x="364" y="1225"/>
                  </a:lnTo>
                  <a:lnTo>
                    <a:pt x="362" y="1225"/>
                  </a:lnTo>
                  <a:lnTo>
                    <a:pt x="362" y="1223"/>
                  </a:lnTo>
                  <a:lnTo>
                    <a:pt x="364" y="1223"/>
                  </a:lnTo>
                  <a:lnTo>
                    <a:pt x="364" y="1221"/>
                  </a:lnTo>
                  <a:lnTo>
                    <a:pt x="366" y="1218"/>
                  </a:lnTo>
                  <a:lnTo>
                    <a:pt x="366" y="1217"/>
                  </a:lnTo>
                  <a:lnTo>
                    <a:pt x="366" y="1218"/>
                  </a:lnTo>
                  <a:lnTo>
                    <a:pt x="366" y="1217"/>
                  </a:lnTo>
                  <a:lnTo>
                    <a:pt x="364" y="1217"/>
                  </a:lnTo>
                  <a:lnTo>
                    <a:pt x="362" y="1217"/>
                  </a:lnTo>
                  <a:lnTo>
                    <a:pt x="362" y="1220"/>
                  </a:lnTo>
                  <a:lnTo>
                    <a:pt x="361" y="1220"/>
                  </a:lnTo>
                  <a:lnTo>
                    <a:pt x="362" y="1220"/>
                  </a:lnTo>
                  <a:lnTo>
                    <a:pt x="362" y="1218"/>
                  </a:lnTo>
                  <a:lnTo>
                    <a:pt x="362" y="1217"/>
                  </a:lnTo>
                  <a:lnTo>
                    <a:pt x="361" y="1218"/>
                  </a:lnTo>
                  <a:lnTo>
                    <a:pt x="361" y="1217"/>
                  </a:lnTo>
                  <a:lnTo>
                    <a:pt x="362" y="1217"/>
                  </a:lnTo>
                  <a:lnTo>
                    <a:pt x="362" y="1215"/>
                  </a:lnTo>
                  <a:lnTo>
                    <a:pt x="361" y="1215"/>
                  </a:lnTo>
                  <a:lnTo>
                    <a:pt x="359" y="1215"/>
                  </a:lnTo>
                  <a:lnTo>
                    <a:pt x="361" y="1213"/>
                  </a:lnTo>
                  <a:lnTo>
                    <a:pt x="359" y="1213"/>
                  </a:lnTo>
                  <a:lnTo>
                    <a:pt x="357" y="1213"/>
                  </a:lnTo>
                  <a:lnTo>
                    <a:pt x="359" y="1213"/>
                  </a:lnTo>
                  <a:lnTo>
                    <a:pt x="359" y="1215"/>
                  </a:lnTo>
                  <a:lnTo>
                    <a:pt x="357" y="1217"/>
                  </a:lnTo>
                  <a:lnTo>
                    <a:pt x="356" y="1217"/>
                  </a:lnTo>
                  <a:lnTo>
                    <a:pt x="354" y="1217"/>
                  </a:lnTo>
                  <a:lnTo>
                    <a:pt x="353" y="1217"/>
                  </a:lnTo>
                  <a:lnTo>
                    <a:pt x="351" y="1217"/>
                  </a:lnTo>
                  <a:lnTo>
                    <a:pt x="349" y="1217"/>
                  </a:lnTo>
                  <a:lnTo>
                    <a:pt x="351" y="1215"/>
                  </a:lnTo>
                  <a:lnTo>
                    <a:pt x="351" y="1217"/>
                  </a:lnTo>
                  <a:lnTo>
                    <a:pt x="351" y="1215"/>
                  </a:lnTo>
                  <a:lnTo>
                    <a:pt x="353" y="1215"/>
                  </a:lnTo>
                  <a:lnTo>
                    <a:pt x="351" y="1217"/>
                  </a:lnTo>
                  <a:lnTo>
                    <a:pt x="353" y="1217"/>
                  </a:lnTo>
                  <a:lnTo>
                    <a:pt x="353" y="1215"/>
                  </a:lnTo>
                  <a:lnTo>
                    <a:pt x="353" y="1213"/>
                  </a:lnTo>
                  <a:lnTo>
                    <a:pt x="354" y="1212"/>
                  </a:lnTo>
                  <a:lnTo>
                    <a:pt x="354" y="1213"/>
                  </a:lnTo>
                  <a:lnTo>
                    <a:pt x="356" y="1213"/>
                  </a:lnTo>
                  <a:lnTo>
                    <a:pt x="354" y="1212"/>
                  </a:lnTo>
                  <a:lnTo>
                    <a:pt x="356" y="1212"/>
                  </a:lnTo>
                  <a:lnTo>
                    <a:pt x="357" y="1210"/>
                  </a:lnTo>
                  <a:lnTo>
                    <a:pt x="357" y="1212"/>
                  </a:lnTo>
                  <a:lnTo>
                    <a:pt x="359" y="1212"/>
                  </a:lnTo>
                  <a:lnTo>
                    <a:pt x="357" y="1210"/>
                  </a:lnTo>
                  <a:lnTo>
                    <a:pt x="359" y="1208"/>
                  </a:lnTo>
                  <a:lnTo>
                    <a:pt x="361" y="1208"/>
                  </a:lnTo>
                  <a:lnTo>
                    <a:pt x="362" y="1207"/>
                  </a:lnTo>
                  <a:lnTo>
                    <a:pt x="364" y="1207"/>
                  </a:lnTo>
                  <a:lnTo>
                    <a:pt x="362" y="1208"/>
                  </a:lnTo>
                  <a:lnTo>
                    <a:pt x="364" y="1210"/>
                  </a:lnTo>
                  <a:lnTo>
                    <a:pt x="364" y="1208"/>
                  </a:lnTo>
                  <a:lnTo>
                    <a:pt x="364" y="1210"/>
                  </a:lnTo>
                  <a:lnTo>
                    <a:pt x="366" y="1210"/>
                  </a:lnTo>
                  <a:lnTo>
                    <a:pt x="366" y="1208"/>
                  </a:lnTo>
                  <a:lnTo>
                    <a:pt x="366" y="1207"/>
                  </a:lnTo>
                  <a:lnTo>
                    <a:pt x="366" y="1205"/>
                  </a:lnTo>
                  <a:lnTo>
                    <a:pt x="367" y="1205"/>
                  </a:lnTo>
                  <a:lnTo>
                    <a:pt x="366" y="1205"/>
                  </a:lnTo>
                  <a:lnTo>
                    <a:pt x="364" y="1205"/>
                  </a:lnTo>
                  <a:lnTo>
                    <a:pt x="362" y="1205"/>
                  </a:lnTo>
                  <a:lnTo>
                    <a:pt x="362" y="1204"/>
                  </a:lnTo>
                  <a:lnTo>
                    <a:pt x="362" y="1202"/>
                  </a:lnTo>
                  <a:lnTo>
                    <a:pt x="362" y="1200"/>
                  </a:lnTo>
                  <a:lnTo>
                    <a:pt x="364" y="1200"/>
                  </a:lnTo>
                  <a:lnTo>
                    <a:pt x="364" y="1202"/>
                  </a:lnTo>
                  <a:lnTo>
                    <a:pt x="364" y="1200"/>
                  </a:lnTo>
                  <a:lnTo>
                    <a:pt x="364" y="1199"/>
                  </a:lnTo>
                  <a:lnTo>
                    <a:pt x="364" y="1200"/>
                  </a:lnTo>
                  <a:lnTo>
                    <a:pt x="366" y="1200"/>
                  </a:lnTo>
                  <a:lnTo>
                    <a:pt x="366" y="1202"/>
                  </a:lnTo>
                  <a:lnTo>
                    <a:pt x="367" y="1202"/>
                  </a:lnTo>
                  <a:lnTo>
                    <a:pt x="367" y="1200"/>
                  </a:lnTo>
                  <a:lnTo>
                    <a:pt x="366" y="1200"/>
                  </a:lnTo>
                  <a:lnTo>
                    <a:pt x="366" y="1199"/>
                  </a:lnTo>
                  <a:lnTo>
                    <a:pt x="366" y="1197"/>
                  </a:lnTo>
                  <a:lnTo>
                    <a:pt x="366" y="1195"/>
                  </a:lnTo>
                  <a:lnTo>
                    <a:pt x="364" y="1195"/>
                  </a:lnTo>
                  <a:lnTo>
                    <a:pt x="362" y="1195"/>
                  </a:lnTo>
                  <a:lnTo>
                    <a:pt x="361" y="1197"/>
                  </a:lnTo>
                  <a:lnTo>
                    <a:pt x="361" y="1199"/>
                  </a:lnTo>
                  <a:lnTo>
                    <a:pt x="359" y="1199"/>
                  </a:lnTo>
                  <a:lnTo>
                    <a:pt x="361" y="1199"/>
                  </a:lnTo>
                  <a:lnTo>
                    <a:pt x="361" y="1200"/>
                  </a:lnTo>
                  <a:lnTo>
                    <a:pt x="359" y="1200"/>
                  </a:lnTo>
                  <a:lnTo>
                    <a:pt x="359" y="1202"/>
                  </a:lnTo>
                  <a:lnTo>
                    <a:pt x="357" y="1202"/>
                  </a:lnTo>
                  <a:lnTo>
                    <a:pt x="357" y="1204"/>
                  </a:lnTo>
                  <a:lnTo>
                    <a:pt x="357" y="1202"/>
                  </a:lnTo>
                  <a:lnTo>
                    <a:pt x="356" y="1202"/>
                  </a:lnTo>
                  <a:lnTo>
                    <a:pt x="356" y="1200"/>
                  </a:lnTo>
                  <a:lnTo>
                    <a:pt x="357" y="1200"/>
                  </a:lnTo>
                  <a:lnTo>
                    <a:pt x="356" y="1200"/>
                  </a:lnTo>
                  <a:lnTo>
                    <a:pt x="356" y="1202"/>
                  </a:lnTo>
                  <a:lnTo>
                    <a:pt x="356" y="1204"/>
                  </a:lnTo>
                  <a:lnTo>
                    <a:pt x="354" y="1204"/>
                  </a:lnTo>
                  <a:lnTo>
                    <a:pt x="354" y="1205"/>
                  </a:lnTo>
                  <a:lnTo>
                    <a:pt x="353" y="1204"/>
                  </a:lnTo>
                  <a:lnTo>
                    <a:pt x="353" y="1205"/>
                  </a:lnTo>
                  <a:lnTo>
                    <a:pt x="351" y="1205"/>
                  </a:lnTo>
                  <a:lnTo>
                    <a:pt x="349" y="1205"/>
                  </a:lnTo>
                  <a:lnTo>
                    <a:pt x="349" y="1207"/>
                  </a:lnTo>
                  <a:lnTo>
                    <a:pt x="348" y="1207"/>
                  </a:lnTo>
                  <a:lnTo>
                    <a:pt x="348" y="1205"/>
                  </a:lnTo>
                  <a:lnTo>
                    <a:pt x="346" y="1205"/>
                  </a:lnTo>
                  <a:lnTo>
                    <a:pt x="346" y="1207"/>
                  </a:lnTo>
                  <a:lnTo>
                    <a:pt x="346" y="1208"/>
                  </a:lnTo>
                  <a:lnTo>
                    <a:pt x="344" y="1208"/>
                  </a:lnTo>
                  <a:lnTo>
                    <a:pt x="346" y="1208"/>
                  </a:lnTo>
                  <a:lnTo>
                    <a:pt x="344" y="1208"/>
                  </a:lnTo>
                  <a:lnTo>
                    <a:pt x="343" y="1208"/>
                  </a:lnTo>
                  <a:lnTo>
                    <a:pt x="344" y="1208"/>
                  </a:lnTo>
                  <a:lnTo>
                    <a:pt x="343" y="1208"/>
                  </a:lnTo>
                  <a:lnTo>
                    <a:pt x="343" y="1207"/>
                  </a:lnTo>
                  <a:lnTo>
                    <a:pt x="343" y="1208"/>
                  </a:lnTo>
                  <a:lnTo>
                    <a:pt x="341" y="1208"/>
                  </a:lnTo>
                  <a:lnTo>
                    <a:pt x="340" y="1208"/>
                  </a:lnTo>
                  <a:lnTo>
                    <a:pt x="341" y="1208"/>
                  </a:lnTo>
                  <a:lnTo>
                    <a:pt x="341" y="1210"/>
                  </a:lnTo>
                  <a:lnTo>
                    <a:pt x="340" y="1210"/>
                  </a:lnTo>
                  <a:lnTo>
                    <a:pt x="340" y="1208"/>
                  </a:lnTo>
                  <a:lnTo>
                    <a:pt x="338" y="1208"/>
                  </a:lnTo>
                  <a:lnTo>
                    <a:pt x="338" y="1210"/>
                  </a:lnTo>
                  <a:lnTo>
                    <a:pt x="336" y="1210"/>
                  </a:lnTo>
                  <a:lnTo>
                    <a:pt x="336" y="1212"/>
                  </a:lnTo>
                  <a:lnTo>
                    <a:pt x="336" y="1210"/>
                  </a:lnTo>
                  <a:lnTo>
                    <a:pt x="335" y="1210"/>
                  </a:lnTo>
                  <a:lnTo>
                    <a:pt x="335" y="1212"/>
                  </a:lnTo>
                  <a:lnTo>
                    <a:pt x="333" y="1210"/>
                  </a:lnTo>
                  <a:lnTo>
                    <a:pt x="331" y="1208"/>
                  </a:lnTo>
                  <a:lnTo>
                    <a:pt x="331" y="1210"/>
                  </a:lnTo>
                  <a:lnTo>
                    <a:pt x="330" y="1210"/>
                  </a:lnTo>
                  <a:lnTo>
                    <a:pt x="330" y="1208"/>
                  </a:lnTo>
                  <a:lnTo>
                    <a:pt x="330" y="1210"/>
                  </a:lnTo>
                  <a:lnTo>
                    <a:pt x="328" y="1210"/>
                  </a:lnTo>
                  <a:lnTo>
                    <a:pt x="328" y="1212"/>
                  </a:lnTo>
                  <a:lnTo>
                    <a:pt x="327" y="1212"/>
                  </a:lnTo>
                  <a:lnTo>
                    <a:pt x="327" y="1210"/>
                  </a:lnTo>
                  <a:lnTo>
                    <a:pt x="325" y="1210"/>
                  </a:lnTo>
                  <a:lnTo>
                    <a:pt x="323" y="1210"/>
                  </a:lnTo>
                  <a:lnTo>
                    <a:pt x="322" y="1212"/>
                  </a:lnTo>
                  <a:lnTo>
                    <a:pt x="320" y="1212"/>
                  </a:lnTo>
                  <a:lnTo>
                    <a:pt x="320" y="1213"/>
                  </a:lnTo>
                  <a:lnTo>
                    <a:pt x="318" y="1215"/>
                  </a:lnTo>
                  <a:lnTo>
                    <a:pt x="318" y="1217"/>
                  </a:lnTo>
                  <a:lnTo>
                    <a:pt x="318" y="1218"/>
                  </a:lnTo>
                  <a:lnTo>
                    <a:pt x="318" y="1220"/>
                  </a:lnTo>
                  <a:lnTo>
                    <a:pt x="318" y="1221"/>
                  </a:lnTo>
                  <a:lnTo>
                    <a:pt x="317" y="1221"/>
                  </a:lnTo>
                  <a:lnTo>
                    <a:pt x="318" y="1221"/>
                  </a:lnTo>
                  <a:lnTo>
                    <a:pt x="317" y="1223"/>
                  </a:lnTo>
                  <a:lnTo>
                    <a:pt x="318" y="1223"/>
                  </a:lnTo>
                  <a:lnTo>
                    <a:pt x="317" y="1225"/>
                  </a:lnTo>
                  <a:lnTo>
                    <a:pt x="318" y="1226"/>
                  </a:lnTo>
                  <a:lnTo>
                    <a:pt x="317" y="1226"/>
                  </a:lnTo>
                  <a:lnTo>
                    <a:pt x="318" y="1226"/>
                  </a:lnTo>
                  <a:lnTo>
                    <a:pt x="318" y="1228"/>
                  </a:lnTo>
                  <a:lnTo>
                    <a:pt x="317" y="1228"/>
                  </a:lnTo>
                  <a:lnTo>
                    <a:pt x="317" y="1226"/>
                  </a:lnTo>
                  <a:lnTo>
                    <a:pt x="317" y="1228"/>
                  </a:lnTo>
                  <a:lnTo>
                    <a:pt x="315" y="1228"/>
                  </a:lnTo>
                  <a:lnTo>
                    <a:pt x="315" y="1226"/>
                  </a:lnTo>
                  <a:lnTo>
                    <a:pt x="314" y="1226"/>
                  </a:lnTo>
                  <a:lnTo>
                    <a:pt x="312" y="1226"/>
                  </a:lnTo>
                  <a:lnTo>
                    <a:pt x="310" y="1226"/>
                  </a:lnTo>
                  <a:lnTo>
                    <a:pt x="309" y="1226"/>
                  </a:lnTo>
                  <a:lnTo>
                    <a:pt x="307" y="1226"/>
                  </a:lnTo>
                  <a:lnTo>
                    <a:pt x="305" y="1226"/>
                  </a:lnTo>
                  <a:lnTo>
                    <a:pt x="305" y="1228"/>
                  </a:lnTo>
                  <a:lnTo>
                    <a:pt x="304" y="1228"/>
                  </a:lnTo>
                  <a:lnTo>
                    <a:pt x="302" y="1230"/>
                  </a:lnTo>
                  <a:lnTo>
                    <a:pt x="302" y="1228"/>
                  </a:lnTo>
                  <a:lnTo>
                    <a:pt x="302" y="1230"/>
                  </a:lnTo>
                  <a:lnTo>
                    <a:pt x="301" y="1230"/>
                  </a:lnTo>
                  <a:lnTo>
                    <a:pt x="299" y="1230"/>
                  </a:lnTo>
                  <a:lnTo>
                    <a:pt x="299" y="1231"/>
                  </a:lnTo>
                  <a:lnTo>
                    <a:pt x="297" y="1231"/>
                  </a:lnTo>
                  <a:lnTo>
                    <a:pt x="297" y="1233"/>
                  </a:lnTo>
                  <a:lnTo>
                    <a:pt x="296" y="1233"/>
                  </a:lnTo>
                  <a:lnTo>
                    <a:pt x="297" y="1234"/>
                  </a:lnTo>
                  <a:lnTo>
                    <a:pt x="296" y="1234"/>
                  </a:lnTo>
                  <a:lnTo>
                    <a:pt x="296" y="1233"/>
                  </a:lnTo>
                  <a:lnTo>
                    <a:pt x="296" y="1234"/>
                  </a:lnTo>
                  <a:lnTo>
                    <a:pt x="296" y="1233"/>
                  </a:lnTo>
                  <a:lnTo>
                    <a:pt x="294" y="1233"/>
                  </a:lnTo>
                  <a:lnTo>
                    <a:pt x="292" y="1233"/>
                  </a:lnTo>
                  <a:lnTo>
                    <a:pt x="291" y="1233"/>
                  </a:lnTo>
                  <a:lnTo>
                    <a:pt x="289" y="1233"/>
                  </a:lnTo>
                  <a:lnTo>
                    <a:pt x="288" y="1234"/>
                  </a:lnTo>
                  <a:lnTo>
                    <a:pt x="288" y="1233"/>
                  </a:lnTo>
                  <a:lnTo>
                    <a:pt x="288" y="1231"/>
                  </a:lnTo>
                  <a:lnTo>
                    <a:pt x="286" y="1231"/>
                  </a:lnTo>
                  <a:lnTo>
                    <a:pt x="284" y="1231"/>
                  </a:lnTo>
                  <a:lnTo>
                    <a:pt x="283" y="1231"/>
                  </a:lnTo>
                  <a:lnTo>
                    <a:pt x="284" y="1233"/>
                  </a:lnTo>
                  <a:lnTo>
                    <a:pt x="283" y="1231"/>
                  </a:lnTo>
                  <a:lnTo>
                    <a:pt x="283" y="1230"/>
                  </a:lnTo>
                  <a:lnTo>
                    <a:pt x="281" y="1230"/>
                  </a:lnTo>
                  <a:lnTo>
                    <a:pt x="281" y="1228"/>
                  </a:lnTo>
                  <a:lnTo>
                    <a:pt x="283" y="1228"/>
                  </a:lnTo>
                  <a:lnTo>
                    <a:pt x="283" y="1230"/>
                  </a:lnTo>
                  <a:lnTo>
                    <a:pt x="284" y="1228"/>
                  </a:lnTo>
                  <a:lnTo>
                    <a:pt x="284" y="1230"/>
                  </a:lnTo>
                  <a:lnTo>
                    <a:pt x="284" y="1228"/>
                  </a:lnTo>
                  <a:lnTo>
                    <a:pt x="286" y="1228"/>
                  </a:lnTo>
                  <a:lnTo>
                    <a:pt x="286" y="1230"/>
                  </a:lnTo>
                  <a:lnTo>
                    <a:pt x="286" y="1228"/>
                  </a:lnTo>
                  <a:lnTo>
                    <a:pt x="288" y="1228"/>
                  </a:lnTo>
                  <a:lnTo>
                    <a:pt x="288" y="1226"/>
                  </a:lnTo>
                  <a:lnTo>
                    <a:pt x="288" y="1225"/>
                  </a:lnTo>
                  <a:lnTo>
                    <a:pt x="288" y="1223"/>
                  </a:lnTo>
                  <a:lnTo>
                    <a:pt x="288" y="1221"/>
                  </a:lnTo>
                  <a:lnTo>
                    <a:pt x="289" y="1221"/>
                  </a:lnTo>
                  <a:lnTo>
                    <a:pt x="291" y="1221"/>
                  </a:lnTo>
                  <a:lnTo>
                    <a:pt x="291" y="1220"/>
                  </a:lnTo>
                  <a:lnTo>
                    <a:pt x="291" y="1218"/>
                  </a:lnTo>
                  <a:lnTo>
                    <a:pt x="292" y="1218"/>
                  </a:lnTo>
                  <a:lnTo>
                    <a:pt x="292" y="1220"/>
                  </a:lnTo>
                  <a:lnTo>
                    <a:pt x="294" y="1220"/>
                  </a:lnTo>
                  <a:lnTo>
                    <a:pt x="294" y="1218"/>
                  </a:lnTo>
                  <a:lnTo>
                    <a:pt x="296" y="1220"/>
                  </a:lnTo>
                  <a:lnTo>
                    <a:pt x="296" y="1218"/>
                  </a:lnTo>
                  <a:lnTo>
                    <a:pt x="296" y="1220"/>
                  </a:lnTo>
                  <a:lnTo>
                    <a:pt x="297" y="1218"/>
                  </a:lnTo>
                  <a:lnTo>
                    <a:pt x="299" y="1218"/>
                  </a:lnTo>
                  <a:lnTo>
                    <a:pt x="301" y="1218"/>
                  </a:lnTo>
                  <a:lnTo>
                    <a:pt x="301" y="1217"/>
                  </a:lnTo>
                  <a:lnTo>
                    <a:pt x="302" y="1217"/>
                  </a:lnTo>
                  <a:lnTo>
                    <a:pt x="304" y="1215"/>
                  </a:lnTo>
                  <a:lnTo>
                    <a:pt x="305" y="1215"/>
                  </a:lnTo>
                  <a:lnTo>
                    <a:pt x="307" y="1215"/>
                  </a:lnTo>
                  <a:lnTo>
                    <a:pt x="309" y="1213"/>
                  </a:lnTo>
                  <a:lnTo>
                    <a:pt x="309" y="1212"/>
                  </a:lnTo>
                  <a:lnTo>
                    <a:pt x="309" y="1210"/>
                  </a:lnTo>
                  <a:lnTo>
                    <a:pt x="309" y="1208"/>
                  </a:lnTo>
                  <a:lnTo>
                    <a:pt x="310" y="1208"/>
                  </a:lnTo>
                  <a:lnTo>
                    <a:pt x="310" y="1207"/>
                  </a:lnTo>
                  <a:lnTo>
                    <a:pt x="312" y="1207"/>
                  </a:lnTo>
                  <a:lnTo>
                    <a:pt x="314" y="1208"/>
                  </a:lnTo>
                  <a:lnTo>
                    <a:pt x="314" y="1207"/>
                  </a:lnTo>
                  <a:lnTo>
                    <a:pt x="315" y="1208"/>
                  </a:lnTo>
                  <a:lnTo>
                    <a:pt x="317" y="1208"/>
                  </a:lnTo>
                  <a:lnTo>
                    <a:pt x="318" y="1208"/>
                  </a:lnTo>
                  <a:lnTo>
                    <a:pt x="320" y="1208"/>
                  </a:lnTo>
                  <a:lnTo>
                    <a:pt x="322" y="1208"/>
                  </a:lnTo>
                  <a:lnTo>
                    <a:pt x="323" y="1207"/>
                  </a:lnTo>
                  <a:lnTo>
                    <a:pt x="325" y="1207"/>
                  </a:lnTo>
                  <a:lnTo>
                    <a:pt x="327" y="1205"/>
                  </a:lnTo>
                  <a:lnTo>
                    <a:pt x="327" y="1204"/>
                  </a:lnTo>
                  <a:lnTo>
                    <a:pt x="327" y="1205"/>
                  </a:lnTo>
                  <a:lnTo>
                    <a:pt x="328" y="1204"/>
                  </a:lnTo>
                  <a:lnTo>
                    <a:pt x="330" y="1202"/>
                  </a:lnTo>
                  <a:lnTo>
                    <a:pt x="331" y="1202"/>
                  </a:lnTo>
                  <a:lnTo>
                    <a:pt x="333" y="1202"/>
                  </a:lnTo>
                  <a:lnTo>
                    <a:pt x="335" y="1202"/>
                  </a:lnTo>
                  <a:lnTo>
                    <a:pt x="336" y="1202"/>
                  </a:lnTo>
                  <a:lnTo>
                    <a:pt x="338" y="1202"/>
                  </a:lnTo>
                  <a:lnTo>
                    <a:pt x="338" y="1200"/>
                  </a:lnTo>
                  <a:lnTo>
                    <a:pt x="338" y="1202"/>
                  </a:lnTo>
                  <a:lnTo>
                    <a:pt x="338" y="1200"/>
                  </a:lnTo>
                  <a:lnTo>
                    <a:pt x="340" y="1200"/>
                  </a:lnTo>
                  <a:lnTo>
                    <a:pt x="341" y="1200"/>
                  </a:lnTo>
                  <a:lnTo>
                    <a:pt x="341" y="1202"/>
                  </a:lnTo>
                  <a:lnTo>
                    <a:pt x="343" y="1200"/>
                  </a:lnTo>
                  <a:lnTo>
                    <a:pt x="344" y="1200"/>
                  </a:lnTo>
                  <a:lnTo>
                    <a:pt x="346" y="1200"/>
                  </a:lnTo>
                  <a:lnTo>
                    <a:pt x="348" y="1200"/>
                  </a:lnTo>
                  <a:lnTo>
                    <a:pt x="349" y="1200"/>
                  </a:lnTo>
                  <a:lnTo>
                    <a:pt x="349" y="1199"/>
                  </a:lnTo>
                  <a:lnTo>
                    <a:pt x="349" y="1200"/>
                  </a:lnTo>
                  <a:lnTo>
                    <a:pt x="351" y="1199"/>
                  </a:lnTo>
                  <a:lnTo>
                    <a:pt x="351" y="1200"/>
                  </a:lnTo>
                  <a:lnTo>
                    <a:pt x="351" y="1199"/>
                  </a:lnTo>
                  <a:lnTo>
                    <a:pt x="353" y="1200"/>
                  </a:lnTo>
                  <a:lnTo>
                    <a:pt x="353" y="1199"/>
                  </a:lnTo>
                  <a:lnTo>
                    <a:pt x="353" y="1200"/>
                  </a:lnTo>
                  <a:lnTo>
                    <a:pt x="353" y="1199"/>
                  </a:lnTo>
                  <a:lnTo>
                    <a:pt x="353" y="1200"/>
                  </a:lnTo>
                  <a:lnTo>
                    <a:pt x="353" y="1199"/>
                  </a:lnTo>
                  <a:lnTo>
                    <a:pt x="354" y="1200"/>
                  </a:lnTo>
                  <a:lnTo>
                    <a:pt x="354" y="1199"/>
                  </a:lnTo>
                  <a:lnTo>
                    <a:pt x="354" y="1200"/>
                  </a:lnTo>
                  <a:lnTo>
                    <a:pt x="354" y="1199"/>
                  </a:lnTo>
                  <a:lnTo>
                    <a:pt x="354" y="1200"/>
                  </a:lnTo>
                  <a:lnTo>
                    <a:pt x="354" y="1199"/>
                  </a:lnTo>
                  <a:lnTo>
                    <a:pt x="356" y="1199"/>
                  </a:lnTo>
                  <a:lnTo>
                    <a:pt x="356" y="1197"/>
                  </a:lnTo>
                  <a:lnTo>
                    <a:pt x="357" y="1197"/>
                  </a:lnTo>
                  <a:lnTo>
                    <a:pt x="357" y="1195"/>
                  </a:lnTo>
                  <a:lnTo>
                    <a:pt x="356" y="1195"/>
                  </a:lnTo>
                  <a:lnTo>
                    <a:pt x="357" y="1195"/>
                  </a:lnTo>
                  <a:lnTo>
                    <a:pt x="357" y="1194"/>
                  </a:lnTo>
                  <a:lnTo>
                    <a:pt x="356" y="1194"/>
                  </a:lnTo>
                  <a:lnTo>
                    <a:pt x="356" y="1192"/>
                  </a:lnTo>
                  <a:lnTo>
                    <a:pt x="356" y="1194"/>
                  </a:lnTo>
                  <a:lnTo>
                    <a:pt x="354" y="1194"/>
                  </a:lnTo>
                  <a:lnTo>
                    <a:pt x="353" y="1194"/>
                  </a:lnTo>
                  <a:lnTo>
                    <a:pt x="353" y="1195"/>
                  </a:lnTo>
                  <a:lnTo>
                    <a:pt x="353" y="1194"/>
                  </a:lnTo>
                  <a:lnTo>
                    <a:pt x="351" y="1194"/>
                  </a:lnTo>
                  <a:lnTo>
                    <a:pt x="349" y="1194"/>
                  </a:lnTo>
                  <a:lnTo>
                    <a:pt x="351" y="1194"/>
                  </a:lnTo>
                  <a:lnTo>
                    <a:pt x="353" y="1194"/>
                  </a:lnTo>
                  <a:lnTo>
                    <a:pt x="353" y="1192"/>
                  </a:lnTo>
                  <a:lnTo>
                    <a:pt x="351" y="1192"/>
                  </a:lnTo>
                  <a:lnTo>
                    <a:pt x="351" y="1191"/>
                  </a:lnTo>
                  <a:lnTo>
                    <a:pt x="349" y="1192"/>
                  </a:lnTo>
                  <a:lnTo>
                    <a:pt x="351" y="1191"/>
                  </a:lnTo>
                  <a:lnTo>
                    <a:pt x="351" y="1189"/>
                  </a:lnTo>
                  <a:lnTo>
                    <a:pt x="351" y="1191"/>
                  </a:lnTo>
                  <a:lnTo>
                    <a:pt x="353" y="1191"/>
                  </a:lnTo>
                  <a:lnTo>
                    <a:pt x="353" y="1189"/>
                  </a:lnTo>
                  <a:lnTo>
                    <a:pt x="354" y="1189"/>
                  </a:lnTo>
                  <a:lnTo>
                    <a:pt x="354" y="1187"/>
                  </a:lnTo>
                  <a:lnTo>
                    <a:pt x="354" y="1189"/>
                  </a:lnTo>
                  <a:lnTo>
                    <a:pt x="354" y="1187"/>
                  </a:lnTo>
                  <a:lnTo>
                    <a:pt x="356" y="1186"/>
                  </a:lnTo>
                  <a:lnTo>
                    <a:pt x="354" y="1186"/>
                  </a:lnTo>
                  <a:lnTo>
                    <a:pt x="354" y="1187"/>
                  </a:lnTo>
                  <a:lnTo>
                    <a:pt x="354" y="1186"/>
                  </a:lnTo>
                  <a:lnTo>
                    <a:pt x="353" y="1186"/>
                  </a:lnTo>
                  <a:lnTo>
                    <a:pt x="354" y="1184"/>
                  </a:lnTo>
                  <a:lnTo>
                    <a:pt x="353" y="1184"/>
                  </a:lnTo>
                  <a:lnTo>
                    <a:pt x="351" y="1184"/>
                  </a:lnTo>
                  <a:lnTo>
                    <a:pt x="349" y="1184"/>
                  </a:lnTo>
                  <a:lnTo>
                    <a:pt x="351" y="1184"/>
                  </a:lnTo>
                  <a:lnTo>
                    <a:pt x="351" y="1182"/>
                  </a:lnTo>
                  <a:lnTo>
                    <a:pt x="351" y="1184"/>
                  </a:lnTo>
                  <a:lnTo>
                    <a:pt x="353" y="1182"/>
                  </a:lnTo>
                  <a:lnTo>
                    <a:pt x="351" y="1182"/>
                  </a:lnTo>
                  <a:lnTo>
                    <a:pt x="351" y="1181"/>
                  </a:lnTo>
                  <a:lnTo>
                    <a:pt x="351" y="1182"/>
                  </a:lnTo>
                  <a:lnTo>
                    <a:pt x="349" y="1182"/>
                  </a:lnTo>
                  <a:lnTo>
                    <a:pt x="351" y="1181"/>
                  </a:lnTo>
                  <a:lnTo>
                    <a:pt x="349" y="1181"/>
                  </a:lnTo>
                  <a:lnTo>
                    <a:pt x="351" y="1181"/>
                  </a:lnTo>
                  <a:lnTo>
                    <a:pt x="353" y="1181"/>
                  </a:lnTo>
                  <a:lnTo>
                    <a:pt x="353" y="1179"/>
                  </a:lnTo>
                  <a:lnTo>
                    <a:pt x="354" y="1179"/>
                  </a:lnTo>
                  <a:lnTo>
                    <a:pt x="356" y="1179"/>
                  </a:lnTo>
                  <a:lnTo>
                    <a:pt x="354" y="1179"/>
                  </a:lnTo>
                  <a:lnTo>
                    <a:pt x="353" y="1179"/>
                  </a:lnTo>
                  <a:lnTo>
                    <a:pt x="351" y="1179"/>
                  </a:lnTo>
                  <a:lnTo>
                    <a:pt x="353" y="1179"/>
                  </a:lnTo>
                  <a:lnTo>
                    <a:pt x="354" y="1178"/>
                  </a:lnTo>
                  <a:lnTo>
                    <a:pt x="356" y="1178"/>
                  </a:lnTo>
                  <a:lnTo>
                    <a:pt x="357" y="1178"/>
                  </a:lnTo>
                  <a:lnTo>
                    <a:pt x="359" y="1178"/>
                  </a:lnTo>
                  <a:lnTo>
                    <a:pt x="361" y="1178"/>
                  </a:lnTo>
                  <a:lnTo>
                    <a:pt x="361" y="1176"/>
                  </a:lnTo>
                  <a:lnTo>
                    <a:pt x="361" y="1178"/>
                  </a:lnTo>
                  <a:lnTo>
                    <a:pt x="362" y="1178"/>
                  </a:lnTo>
                  <a:lnTo>
                    <a:pt x="362" y="1176"/>
                  </a:lnTo>
                  <a:lnTo>
                    <a:pt x="362" y="1178"/>
                  </a:lnTo>
                  <a:lnTo>
                    <a:pt x="364" y="1178"/>
                  </a:lnTo>
                  <a:lnTo>
                    <a:pt x="364" y="1179"/>
                  </a:lnTo>
                  <a:lnTo>
                    <a:pt x="364" y="1178"/>
                  </a:lnTo>
                  <a:lnTo>
                    <a:pt x="366" y="1178"/>
                  </a:lnTo>
                  <a:lnTo>
                    <a:pt x="364" y="1178"/>
                  </a:lnTo>
                  <a:lnTo>
                    <a:pt x="366" y="1178"/>
                  </a:lnTo>
                  <a:lnTo>
                    <a:pt x="366" y="1179"/>
                  </a:lnTo>
                  <a:lnTo>
                    <a:pt x="367" y="1179"/>
                  </a:lnTo>
                  <a:lnTo>
                    <a:pt x="366" y="1179"/>
                  </a:lnTo>
                  <a:lnTo>
                    <a:pt x="367" y="1178"/>
                  </a:lnTo>
                  <a:lnTo>
                    <a:pt x="366" y="1178"/>
                  </a:lnTo>
                  <a:lnTo>
                    <a:pt x="367" y="1176"/>
                  </a:lnTo>
                  <a:lnTo>
                    <a:pt x="366" y="1176"/>
                  </a:lnTo>
                  <a:lnTo>
                    <a:pt x="366" y="1174"/>
                  </a:lnTo>
                  <a:lnTo>
                    <a:pt x="364" y="1174"/>
                  </a:lnTo>
                  <a:lnTo>
                    <a:pt x="366" y="1174"/>
                  </a:lnTo>
                  <a:lnTo>
                    <a:pt x="366" y="1173"/>
                  </a:lnTo>
                  <a:lnTo>
                    <a:pt x="366" y="1174"/>
                  </a:lnTo>
                  <a:lnTo>
                    <a:pt x="366" y="1173"/>
                  </a:lnTo>
                  <a:lnTo>
                    <a:pt x="366" y="1174"/>
                  </a:lnTo>
                  <a:lnTo>
                    <a:pt x="366" y="1173"/>
                  </a:lnTo>
                  <a:lnTo>
                    <a:pt x="366" y="1174"/>
                  </a:lnTo>
                  <a:lnTo>
                    <a:pt x="367" y="1174"/>
                  </a:lnTo>
                  <a:lnTo>
                    <a:pt x="367" y="1173"/>
                  </a:lnTo>
                  <a:lnTo>
                    <a:pt x="367" y="1174"/>
                  </a:lnTo>
                  <a:lnTo>
                    <a:pt x="369" y="1174"/>
                  </a:lnTo>
                  <a:lnTo>
                    <a:pt x="369" y="1173"/>
                  </a:lnTo>
                  <a:lnTo>
                    <a:pt x="369" y="1171"/>
                  </a:lnTo>
                  <a:lnTo>
                    <a:pt x="369" y="1169"/>
                  </a:lnTo>
                  <a:lnTo>
                    <a:pt x="370" y="1168"/>
                  </a:lnTo>
                  <a:lnTo>
                    <a:pt x="369" y="1168"/>
                  </a:lnTo>
                  <a:lnTo>
                    <a:pt x="367" y="1168"/>
                  </a:lnTo>
                  <a:lnTo>
                    <a:pt x="369" y="1168"/>
                  </a:lnTo>
                  <a:lnTo>
                    <a:pt x="369" y="1166"/>
                  </a:lnTo>
                  <a:lnTo>
                    <a:pt x="370" y="1165"/>
                  </a:lnTo>
                  <a:lnTo>
                    <a:pt x="370" y="1166"/>
                  </a:lnTo>
                  <a:lnTo>
                    <a:pt x="372" y="1166"/>
                  </a:lnTo>
                  <a:lnTo>
                    <a:pt x="374" y="1166"/>
                  </a:lnTo>
                  <a:lnTo>
                    <a:pt x="374" y="1165"/>
                  </a:lnTo>
                  <a:lnTo>
                    <a:pt x="372" y="1165"/>
                  </a:lnTo>
                  <a:lnTo>
                    <a:pt x="374" y="1163"/>
                  </a:lnTo>
                  <a:lnTo>
                    <a:pt x="375" y="1163"/>
                  </a:lnTo>
                  <a:lnTo>
                    <a:pt x="374" y="1161"/>
                  </a:lnTo>
                  <a:lnTo>
                    <a:pt x="375" y="1161"/>
                  </a:lnTo>
                  <a:lnTo>
                    <a:pt x="377" y="1161"/>
                  </a:lnTo>
                  <a:lnTo>
                    <a:pt x="377" y="1160"/>
                  </a:lnTo>
                  <a:lnTo>
                    <a:pt x="379" y="1160"/>
                  </a:lnTo>
                  <a:lnTo>
                    <a:pt x="380" y="1160"/>
                  </a:lnTo>
                  <a:lnTo>
                    <a:pt x="380" y="1158"/>
                  </a:lnTo>
                  <a:lnTo>
                    <a:pt x="380" y="1155"/>
                  </a:lnTo>
                  <a:lnTo>
                    <a:pt x="379" y="1155"/>
                  </a:lnTo>
                  <a:lnTo>
                    <a:pt x="379" y="1156"/>
                  </a:lnTo>
                  <a:lnTo>
                    <a:pt x="379" y="1155"/>
                  </a:lnTo>
                  <a:lnTo>
                    <a:pt x="379" y="1156"/>
                  </a:lnTo>
                  <a:lnTo>
                    <a:pt x="377" y="1156"/>
                  </a:lnTo>
                  <a:lnTo>
                    <a:pt x="375" y="1156"/>
                  </a:lnTo>
                  <a:lnTo>
                    <a:pt x="374" y="1156"/>
                  </a:lnTo>
                  <a:lnTo>
                    <a:pt x="374" y="1158"/>
                  </a:lnTo>
                  <a:lnTo>
                    <a:pt x="372" y="1158"/>
                  </a:lnTo>
                  <a:lnTo>
                    <a:pt x="370" y="1160"/>
                  </a:lnTo>
                  <a:lnTo>
                    <a:pt x="369" y="1160"/>
                  </a:lnTo>
                  <a:lnTo>
                    <a:pt x="366" y="1160"/>
                  </a:lnTo>
                  <a:lnTo>
                    <a:pt x="366" y="1161"/>
                  </a:lnTo>
                  <a:lnTo>
                    <a:pt x="364" y="1161"/>
                  </a:lnTo>
                  <a:lnTo>
                    <a:pt x="362" y="1163"/>
                  </a:lnTo>
                  <a:lnTo>
                    <a:pt x="361" y="1163"/>
                  </a:lnTo>
                  <a:lnTo>
                    <a:pt x="359" y="1163"/>
                  </a:lnTo>
                  <a:lnTo>
                    <a:pt x="357" y="1163"/>
                  </a:lnTo>
                  <a:lnTo>
                    <a:pt x="356" y="1163"/>
                  </a:lnTo>
                  <a:lnTo>
                    <a:pt x="354" y="1165"/>
                  </a:lnTo>
                  <a:lnTo>
                    <a:pt x="357" y="1165"/>
                  </a:lnTo>
                  <a:lnTo>
                    <a:pt x="357" y="1166"/>
                  </a:lnTo>
                  <a:lnTo>
                    <a:pt x="356" y="1166"/>
                  </a:lnTo>
                  <a:lnTo>
                    <a:pt x="354" y="1166"/>
                  </a:lnTo>
                  <a:lnTo>
                    <a:pt x="354" y="1165"/>
                  </a:lnTo>
                  <a:lnTo>
                    <a:pt x="354" y="1166"/>
                  </a:lnTo>
                  <a:lnTo>
                    <a:pt x="353" y="1166"/>
                  </a:lnTo>
                  <a:lnTo>
                    <a:pt x="351" y="1166"/>
                  </a:lnTo>
                  <a:lnTo>
                    <a:pt x="348" y="1168"/>
                  </a:lnTo>
                  <a:lnTo>
                    <a:pt x="344" y="1168"/>
                  </a:lnTo>
                  <a:lnTo>
                    <a:pt x="341" y="1168"/>
                  </a:lnTo>
                  <a:lnTo>
                    <a:pt x="341" y="1169"/>
                  </a:lnTo>
                  <a:lnTo>
                    <a:pt x="340" y="1169"/>
                  </a:lnTo>
                  <a:lnTo>
                    <a:pt x="338" y="1171"/>
                  </a:lnTo>
                  <a:lnTo>
                    <a:pt x="336" y="1169"/>
                  </a:lnTo>
                  <a:lnTo>
                    <a:pt x="333" y="1171"/>
                  </a:lnTo>
                  <a:lnTo>
                    <a:pt x="331" y="1169"/>
                  </a:lnTo>
                  <a:lnTo>
                    <a:pt x="331" y="1171"/>
                  </a:lnTo>
                  <a:lnTo>
                    <a:pt x="330" y="1171"/>
                  </a:lnTo>
                  <a:lnTo>
                    <a:pt x="328" y="1173"/>
                  </a:lnTo>
                  <a:lnTo>
                    <a:pt x="327" y="1173"/>
                  </a:lnTo>
                  <a:lnTo>
                    <a:pt x="327" y="1174"/>
                  </a:lnTo>
                  <a:lnTo>
                    <a:pt x="325" y="1174"/>
                  </a:lnTo>
                  <a:lnTo>
                    <a:pt x="323" y="1176"/>
                  </a:lnTo>
                  <a:lnTo>
                    <a:pt x="322" y="1178"/>
                  </a:lnTo>
                  <a:lnTo>
                    <a:pt x="322" y="1176"/>
                  </a:lnTo>
                  <a:lnTo>
                    <a:pt x="320" y="1176"/>
                  </a:lnTo>
                  <a:lnTo>
                    <a:pt x="322" y="1176"/>
                  </a:lnTo>
                  <a:lnTo>
                    <a:pt x="320" y="1176"/>
                  </a:lnTo>
                  <a:lnTo>
                    <a:pt x="322" y="1176"/>
                  </a:lnTo>
                  <a:lnTo>
                    <a:pt x="322" y="1178"/>
                  </a:lnTo>
                  <a:lnTo>
                    <a:pt x="320" y="1178"/>
                  </a:lnTo>
                  <a:lnTo>
                    <a:pt x="318" y="1178"/>
                  </a:lnTo>
                  <a:lnTo>
                    <a:pt x="318" y="1179"/>
                  </a:lnTo>
                  <a:lnTo>
                    <a:pt x="318" y="1178"/>
                  </a:lnTo>
                  <a:lnTo>
                    <a:pt x="318" y="1179"/>
                  </a:lnTo>
                  <a:lnTo>
                    <a:pt x="318" y="1178"/>
                  </a:lnTo>
                  <a:lnTo>
                    <a:pt x="317" y="1178"/>
                  </a:lnTo>
                  <a:lnTo>
                    <a:pt x="315" y="1179"/>
                  </a:lnTo>
                  <a:lnTo>
                    <a:pt x="315" y="1178"/>
                  </a:lnTo>
                  <a:lnTo>
                    <a:pt x="314" y="1178"/>
                  </a:lnTo>
                  <a:lnTo>
                    <a:pt x="312" y="1179"/>
                  </a:lnTo>
                  <a:lnTo>
                    <a:pt x="310" y="1179"/>
                  </a:lnTo>
                  <a:lnTo>
                    <a:pt x="309" y="1179"/>
                  </a:lnTo>
                  <a:lnTo>
                    <a:pt x="309" y="1181"/>
                  </a:lnTo>
                  <a:lnTo>
                    <a:pt x="307" y="1181"/>
                  </a:lnTo>
                  <a:lnTo>
                    <a:pt x="305" y="1181"/>
                  </a:lnTo>
                  <a:lnTo>
                    <a:pt x="305" y="1182"/>
                  </a:lnTo>
                  <a:lnTo>
                    <a:pt x="305" y="1184"/>
                  </a:lnTo>
                  <a:lnTo>
                    <a:pt x="304" y="1184"/>
                  </a:lnTo>
                  <a:lnTo>
                    <a:pt x="302" y="1184"/>
                  </a:lnTo>
                  <a:lnTo>
                    <a:pt x="301" y="1184"/>
                  </a:lnTo>
                  <a:lnTo>
                    <a:pt x="301" y="1182"/>
                  </a:lnTo>
                  <a:lnTo>
                    <a:pt x="299" y="1182"/>
                  </a:lnTo>
                  <a:lnTo>
                    <a:pt x="297" y="1184"/>
                  </a:lnTo>
                  <a:lnTo>
                    <a:pt x="296" y="1184"/>
                  </a:lnTo>
                  <a:lnTo>
                    <a:pt x="297" y="1184"/>
                  </a:lnTo>
                  <a:lnTo>
                    <a:pt x="297" y="1186"/>
                  </a:lnTo>
                  <a:lnTo>
                    <a:pt x="296" y="1186"/>
                  </a:lnTo>
                  <a:lnTo>
                    <a:pt x="294" y="1186"/>
                  </a:lnTo>
                  <a:lnTo>
                    <a:pt x="292" y="1186"/>
                  </a:lnTo>
                  <a:lnTo>
                    <a:pt x="292" y="1184"/>
                  </a:lnTo>
                  <a:lnTo>
                    <a:pt x="291" y="1186"/>
                  </a:lnTo>
                  <a:lnTo>
                    <a:pt x="291" y="1184"/>
                  </a:lnTo>
                  <a:lnTo>
                    <a:pt x="289" y="1186"/>
                  </a:lnTo>
                  <a:lnTo>
                    <a:pt x="291" y="1186"/>
                  </a:lnTo>
                  <a:lnTo>
                    <a:pt x="289" y="1186"/>
                  </a:lnTo>
                  <a:lnTo>
                    <a:pt x="289" y="1187"/>
                  </a:lnTo>
                  <a:lnTo>
                    <a:pt x="289" y="1186"/>
                  </a:lnTo>
                  <a:lnTo>
                    <a:pt x="288" y="1186"/>
                  </a:lnTo>
                  <a:lnTo>
                    <a:pt x="288" y="1187"/>
                  </a:lnTo>
                  <a:lnTo>
                    <a:pt x="288" y="1186"/>
                  </a:lnTo>
                  <a:lnTo>
                    <a:pt x="286" y="1186"/>
                  </a:lnTo>
                  <a:lnTo>
                    <a:pt x="284" y="1186"/>
                  </a:lnTo>
                  <a:lnTo>
                    <a:pt x="284" y="1184"/>
                  </a:lnTo>
                  <a:lnTo>
                    <a:pt x="283" y="1184"/>
                  </a:lnTo>
                  <a:lnTo>
                    <a:pt x="281" y="1182"/>
                  </a:lnTo>
                  <a:lnTo>
                    <a:pt x="281" y="1181"/>
                  </a:lnTo>
                  <a:lnTo>
                    <a:pt x="279" y="1182"/>
                  </a:lnTo>
                  <a:lnTo>
                    <a:pt x="279" y="1181"/>
                  </a:lnTo>
                  <a:lnTo>
                    <a:pt x="279" y="1182"/>
                  </a:lnTo>
                  <a:lnTo>
                    <a:pt x="279" y="1184"/>
                  </a:lnTo>
                  <a:lnTo>
                    <a:pt x="278" y="1184"/>
                  </a:lnTo>
                  <a:lnTo>
                    <a:pt x="278" y="1182"/>
                  </a:lnTo>
                  <a:lnTo>
                    <a:pt x="276" y="1182"/>
                  </a:lnTo>
                  <a:lnTo>
                    <a:pt x="276" y="1184"/>
                  </a:lnTo>
                  <a:lnTo>
                    <a:pt x="276" y="1186"/>
                  </a:lnTo>
                  <a:lnTo>
                    <a:pt x="275" y="1187"/>
                  </a:lnTo>
                  <a:lnTo>
                    <a:pt x="275" y="1186"/>
                  </a:lnTo>
                  <a:lnTo>
                    <a:pt x="275" y="1184"/>
                  </a:lnTo>
                  <a:lnTo>
                    <a:pt x="273" y="1184"/>
                  </a:lnTo>
                  <a:lnTo>
                    <a:pt x="273" y="1186"/>
                  </a:lnTo>
                  <a:lnTo>
                    <a:pt x="271" y="1186"/>
                  </a:lnTo>
                  <a:lnTo>
                    <a:pt x="270" y="1187"/>
                  </a:lnTo>
                  <a:lnTo>
                    <a:pt x="270" y="1189"/>
                  </a:lnTo>
                  <a:lnTo>
                    <a:pt x="271" y="1189"/>
                  </a:lnTo>
                  <a:lnTo>
                    <a:pt x="270" y="1189"/>
                  </a:lnTo>
                  <a:lnTo>
                    <a:pt x="270" y="1191"/>
                  </a:lnTo>
                  <a:lnTo>
                    <a:pt x="270" y="1192"/>
                  </a:lnTo>
                  <a:lnTo>
                    <a:pt x="268" y="1192"/>
                  </a:lnTo>
                  <a:lnTo>
                    <a:pt x="268" y="1194"/>
                  </a:lnTo>
                  <a:lnTo>
                    <a:pt x="266" y="1194"/>
                  </a:lnTo>
                  <a:lnTo>
                    <a:pt x="268" y="1194"/>
                  </a:lnTo>
                  <a:lnTo>
                    <a:pt x="268" y="1195"/>
                  </a:lnTo>
                  <a:lnTo>
                    <a:pt x="266" y="1195"/>
                  </a:lnTo>
                  <a:lnTo>
                    <a:pt x="266" y="1194"/>
                  </a:lnTo>
                  <a:lnTo>
                    <a:pt x="266" y="1195"/>
                  </a:lnTo>
                  <a:lnTo>
                    <a:pt x="265" y="1195"/>
                  </a:lnTo>
                  <a:lnTo>
                    <a:pt x="266" y="1195"/>
                  </a:lnTo>
                  <a:lnTo>
                    <a:pt x="265" y="1195"/>
                  </a:lnTo>
                  <a:lnTo>
                    <a:pt x="263" y="1195"/>
                  </a:lnTo>
                  <a:lnTo>
                    <a:pt x="263" y="1194"/>
                  </a:lnTo>
                  <a:lnTo>
                    <a:pt x="261" y="1194"/>
                  </a:lnTo>
                  <a:lnTo>
                    <a:pt x="261" y="1192"/>
                  </a:lnTo>
                  <a:lnTo>
                    <a:pt x="261" y="1191"/>
                  </a:lnTo>
                  <a:lnTo>
                    <a:pt x="261" y="1189"/>
                  </a:lnTo>
                  <a:lnTo>
                    <a:pt x="260" y="1187"/>
                  </a:lnTo>
                  <a:lnTo>
                    <a:pt x="258" y="1186"/>
                  </a:lnTo>
                  <a:lnTo>
                    <a:pt x="257" y="1186"/>
                  </a:lnTo>
                  <a:lnTo>
                    <a:pt x="258" y="1184"/>
                  </a:lnTo>
                  <a:lnTo>
                    <a:pt x="257" y="1184"/>
                  </a:lnTo>
                  <a:lnTo>
                    <a:pt x="257" y="1182"/>
                  </a:lnTo>
                  <a:lnTo>
                    <a:pt x="258" y="1182"/>
                  </a:lnTo>
                  <a:lnTo>
                    <a:pt x="257" y="1181"/>
                  </a:lnTo>
                  <a:lnTo>
                    <a:pt x="257" y="1179"/>
                  </a:lnTo>
                  <a:lnTo>
                    <a:pt x="258" y="1179"/>
                  </a:lnTo>
                  <a:lnTo>
                    <a:pt x="258" y="1178"/>
                  </a:lnTo>
                  <a:lnTo>
                    <a:pt x="260" y="1178"/>
                  </a:lnTo>
                  <a:lnTo>
                    <a:pt x="260" y="1176"/>
                  </a:lnTo>
                  <a:lnTo>
                    <a:pt x="261" y="1176"/>
                  </a:lnTo>
                  <a:lnTo>
                    <a:pt x="261" y="1174"/>
                  </a:lnTo>
                  <a:lnTo>
                    <a:pt x="263" y="1174"/>
                  </a:lnTo>
                  <a:lnTo>
                    <a:pt x="261" y="1174"/>
                  </a:lnTo>
                  <a:lnTo>
                    <a:pt x="261" y="1173"/>
                  </a:lnTo>
                  <a:lnTo>
                    <a:pt x="261" y="1174"/>
                  </a:lnTo>
                  <a:lnTo>
                    <a:pt x="260" y="1173"/>
                  </a:lnTo>
                  <a:lnTo>
                    <a:pt x="260" y="1174"/>
                  </a:lnTo>
                  <a:lnTo>
                    <a:pt x="258" y="1174"/>
                  </a:lnTo>
                  <a:lnTo>
                    <a:pt x="258" y="1176"/>
                  </a:lnTo>
                  <a:lnTo>
                    <a:pt x="258" y="1174"/>
                  </a:lnTo>
                  <a:lnTo>
                    <a:pt x="258" y="1173"/>
                  </a:lnTo>
                  <a:lnTo>
                    <a:pt x="257" y="1173"/>
                  </a:lnTo>
                  <a:lnTo>
                    <a:pt x="258" y="1173"/>
                  </a:lnTo>
                  <a:lnTo>
                    <a:pt x="258" y="1174"/>
                  </a:lnTo>
                  <a:lnTo>
                    <a:pt x="258" y="1173"/>
                  </a:lnTo>
                  <a:lnTo>
                    <a:pt x="258" y="1171"/>
                  </a:lnTo>
                  <a:lnTo>
                    <a:pt x="260" y="1171"/>
                  </a:lnTo>
                  <a:lnTo>
                    <a:pt x="260" y="1173"/>
                  </a:lnTo>
                  <a:lnTo>
                    <a:pt x="261" y="1171"/>
                  </a:lnTo>
                  <a:lnTo>
                    <a:pt x="261" y="1173"/>
                  </a:lnTo>
                  <a:lnTo>
                    <a:pt x="263" y="1173"/>
                  </a:lnTo>
                  <a:lnTo>
                    <a:pt x="265" y="1173"/>
                  </a:lnTo>
                  <a:lnTo>
                    <a:pt x="265" y="1171"/>
                  </a:lnTo>
                  <a:lnTo>
                    <a:pt x="263" y="1171"/>
                  </a:lnTo>
                  <a:lnTo>
                    <a:pt x="263" y="1169"/>
                  </a:lnTo>
                  <a:lnTo>
                    <a:pt x="265" y="1169"/>
                  </a:lnTo>
                  <a:lnTo>
                    <a:pt x="265" y="1168"/>
                  </a:lnTo>
                  <a:lnTo>
                    <a:pt x="265" y="1166"/>
                  </a:lnTo>
                  <a:lnTo>
                    <a:pt x="266" y="1168"/>
                  </a:lnTo>
                  <a:lnTo>
                    <a:pt x="266" y="1169"/>
                  </a:lnTo>
                  <a:lnTo>
                    <a:pt x="268" y="1171"/>
                  </a:lnTo>
                  <a:lnTo>
                    <a:pt x="268" y="1169"/>
                  </a:lnTo>
                  <a:lnTo>
                    <a:pt x="268" y="1168"/>
                  </a:lnTo>
                  <a:lnTo>
                    <a:pt x="270" y="1168"/>
                  </a:lnTo>
                  <a:lnTo>
                    <a:pt x="268" y="1166"/>
                  </a:lnTo>
                  <a:lnTo>
                    <a:pt x="270" y="1166"/>
                  </a:lnTo>
                  <a:lnTo>
                    <a:pt x="271" y="1166"/>
                  </a:lnTo>
                  <a:lnTo>
                    <a:pt x="271" y="1168"/>
                  </a:lnTo>
                  <a:lnTo>
                    <a:pt x="273" y="1168"/>
                  </a:lnTo>
                  <a:lnTo>
                    <a:pt x="271" y="1168"/>
                  </a:lnTo>
                  <a:lnTo>
                    <a:pt x="271" y="1169"/>
                  </a:lnTo>
                  <a:lnTo>
                    <a:pt x="273" y="1169"/>
                  </a:lnTo>
                  <a:lnTo>
                    <a:pt x="273" y="1171"/>
                  </a:lnTo>
                  <a:lnTo>
                    <a:pt x="273" y="1169"/>
                  </a:lnTo>
                  <a:lnTo>
                    <a:pt x="275" y="1169"/>
                  </a:lnTo>
                  <a:lnTo>
                    <a:pt x="275" y="1168"/>
                  </a:lnTo>
                  <a:lnTo>
                    <a:pt x="275" y="1169"/>
                  </a:lnTo>
                  <a:lnTo>
                    <a:pt x="275" y="1168"/>
                  </a:lnTo>
                  <a:lnTo>
                    <a:pt x="275" y="1169"/>
                  </a:lnTo>
                  <a:lnTo>
                    <a:pt x="276" y="1169"/>
                  </a:lnTo>
                  <a:lnTo>
                    <a:pt x="276" y="1171"/>
                  </a:lnTo>
                  <a:lnTo>
                    <a:pt x="276" y="1169"/>
                  </a:lnTo>
                  <a:lnTo>
                    <a:pt x="278" y="1168"/>
                  </a:lnTo>
                  <a:lnTo>
                    <a:pt x="278" y="1169"/>
                  </a:lnTo>
                  <a:lnTo>
                    <a:pt x="279" y="1169"/>
                  </a:lnTo>
                  <a:lnTo>
                    <a:pt x="279" y="1171"/>
                  </a:lnTo>
                  <a:lnTo>
                    <a:pt x="279" y="1173"/>
                  </a:lnTo>
                  <a:lnTo>
                    <a:pt x="281" y="1173"/>
                  </a:lnTo>
                  <a:lnTo>
                    <a:pt x="281" y="1174"/>
                  </a:lnTo>
                  <a:lnTo>
                    <a:pt x="283" y="1174"/>
                  </a:lnTo>
                  <a:lnTo>
                    <a:pt x="284" y="1174"/>
                  </a:lnTo>
                  <a:lnTo>
                    <a:pt x="284" y="1173"/>
                  </a:lnTo>
                  <a:lnTo>
                    <a:pt x="283" y="1173"/>
                  </a:lnTo>
                  <a:lnTo>
                    <a:pt x="284" y="1173"/>
                  </a:lnTo>
                  <a:lnTo>
                    <a:pt x="284" y="1171"/>
                  </a:lnTo>
                  <a:lnTo>
                    <a:pt x="286" y="1171"/>
                  </a:lnTo>
                  <a:lnTo>
                    <a:pt x="286" y="1169"/>
                  </a:lnTo>
                  <a:lnTo>
                    <a:pt x="288" y="1169"/>
                  </a:lnTo>
                  <a:lnTo>
                    <a:pt x="288" y="1168"/>
                  </a:lnTo>
                  <a:lnTo>
                    <a:pt x="289" y="1168"/>
                  </a:lnTo>
                  <a:lnTo>
                    <a:pt x="289" y="1166"/>
                  </a:lnTo>
                  <a:lnTo>
                    <a:pt x="291" y="1166"/>
                  </a:lnTo>
                  <a:lnTo>
                    <a:pt x="292" y="1165"/>
                  </a:lnTo>
                  <a:lnTo>
                    <a:pt x="294" y="1165"/>
                  </a:lnTo>
                  <a:lnTo>
                    <a:pt x="294" y="1163"/>
                  </a:lnTo>
                  <a:lnTo>
                    <a:pt x="292" y="1163"/>
                  </a:lnTo>
                  <a:lnTo>
                    <a:pt x="292" y="1165"/>
                  </a:lnTo>
                  <a:lnTo>
                    <a:pt x="291" y="1165"/>
                  </a:lnTo>
                  <a:lnTo>
                    <a:pt x="291" y="1163"/>
                  </a:lnTo>
                  <a:lnTo>
                    <a:pt x="291" y="1161"/>
                  </a:lnTo>
                  <a:lnTo>
                    <a:pt x="289" y="1163"/>
                  </a:lnTo>
                  <a:lnTo>
                    <a:pt x="289" y="1161"/>
                  </a:lnTo>
                  <a:lnTo>
                    <a:pt x="289" y="1160"/>
                  </a:lnTo>
                  <a:lnTo>
                    <a:pt x="288" y="1160"/>
                  </a:lnTo>
                  <a:lnTo>
                    <a:pt x="289" y="1160"/>
                  </a:lnTo>
                  <a:lnTo>
                    <a:pt x="288" y="1158"/>
                  </a:lnTo>
                  <a:lnTo>
                    <a:pt x="289" y="1158"/>
                  </a:lnTo>
                  <a:lnTo>
                    <a:pt x="288" y="1158"/>
                  </a:lnTo>
                  <a:lnTo>
                    <a:pt x="288" y="1156"/>
                  </a:lnTo>
                  <a:lnTo>
                    <a:pt x="286" y="1156"/>
                  </a:lnTo>
                  <a:lnTo>
                    <a:pt x="288" y="1156"/>
                  </a:lnTo>
                  <a:lnTo>
                    <a:pt x="289" y="1156"/>
                  </a:lnTo>
                  <a:lnTo>
                    <a:pt x="289" y="1155"/>
                  </a:lnTo>
                  <a:lnTo>
                    <a:pt x="291" y="1155"/>
                  </a:lnTo>
                  <a:lnTo>
                    <a:pt x="291" y="1153"/>
                  </a:lnTo>
                  <a:lnTo>
                    <a:pt x="292" y="1153"/>
                  </a:lnTo>
                  <a:lnTo>
                    <a:pt x="292" y="1155"/>
                  </a:lnTo>
                  <a:lnTo>
                    <a:pt x="294" y="1155"/>
                  </a:lnTo>
                  <a:lnTo>
                    <a:pt x="292" y="1155"/>
                  </a:lnTo>
                  <a:lnTo>
                    <a:pt x="292" y="1156"/>
                  </a:lnTo>
                  <a:lnTo>
                    <a:pt x="292" y="1158"/>
                  </a:lnTo>
                  <a:lnTo>
                    <a:pt x="292" y="1156"/>
                  </a:lnTo>
                  <a:lnTo>
                    <a:pt x="292" y="1158"/>
                  </a:lnTo>
                  <a:lnTo>
                    <a:pt x="294" y="1156"/>
                  </a:lnTo>
                  <a:lnTo>
                    <a:pt x="294" y="1155"/>
                  </a:lnTo>
                  <a:lnTo>
                    <a:pt x="296" y="1155"/>
                  </a:lnTo>
                  <a:lnTo>
                    <a:pt x="294" y="1155"/>
                  </a:lnTo>
                  <a:lnTo>
                    <a:pt x="296" y="1155"/>
                  </a:lnTo>
                  <a:lnTo>
                    <a:pt x="296" y="1153"/>
                  </a:lnTo>
                  <a:lnTo>
                    <a:pt x="296" y="1155"/>
                  </a:lnTo>
                  <a:lnTo>
                    <a:pt x="294" y="1153"/>
                  </a:lnTo>
                  <a:lnTo>
                    <a:pt x="294" y="1155"/>
                  </a:lnTo>
                  <a:lnTo>
                    <a:pt x="292" y="1153"/>
                  </a:lnTo>
                  <a:lnTo>
                    <a:pt x="291" y="1153"/>
                  </a:lnTo>
                  <a:lnTo>
                    <a:pt x="291" y="1152"/>
                  </a:lnTo>
                  <a:lnTo>
                    <a:pt x="292" y="1152"/>
                  </a:lnTo>
                  <a:lnTo>
                    <a:pt x="292" y="1150"/>
                  </a:lnTo>
                  <a:lnTo>
                    <a:pt x="292" y="1148"/>
                  </a:lnTo>
                  <a:lnTo>
                    <a:pt x="294" y="1147"/>
                  </a:lnTo>
                  <a:lnTo>
                    <a:pt x="294" y="1145"/>
                  </a:lnTo>
                  <a:lnTo>
                    <a:pt x="292" y="1143"/>
                  </a:lnTo>
                  <a:lnTo>
                    <a:pt x="294" y="1143"/>
                  </a:lnTo>
                  <a:lnTo>
                    <a:pt x="292" y="1143"/>
                  </a:lnTo>
                  <a:lnTo>
                    <a:pt x="294" y="1142"/>
                  </a:lnTo>
                  <a:lnTo>
                    <a:pt x="292" y="1142"/>
                  </a:lnTo>
                  <a:lnTo>
                    <a:pt x="292" y="1143"/>
                  </a:lnTo>
                  <a:lnTo>
                    <a:pt x="292" y="1142"/>
                  </a:lnTo>
                  <a:lnTo>
                    <a:pt x="291" y="1142"/>
                  </a:lnTo>
                  <a:lnTo>
                    <a:pt x="291" y="1143"/>
                  </a:lnTo>
                  <a:lnTo>
                    <a:pt x="289" y="1143"/>
                  </a:lnTo>
                  <a:lnTo>
                    <a:pt x="291" y="1145"/>
                  </a:lnTo>
                  <a:lnTo>
                    <a:pt x="289" y="1145"/>
                  </a:lnTo>
                  <a:lnTo>
                    <a:pt x="288" y="1143"/>
                  </a:lnTo>
                  <a:lnTo>
                    <a:pt x="288" y="1145"/>
                  </a:lnTo>
                  <a:lnTo>
                    <a:pt x="286" y="1145"/>
                  </a:lnTo>
                  <a:lnTo>
                    <a:pt x="288" y="1145"/>
                  </a:lnTo>
                  <a:lnTo>
                    <a:pt x="286" y="1147"/>
                  </a:lnTo>
                  <a:lnTo>
                    <a:pt x="286" y="1148"/>
                  </a:lnTo>
                  <a:lnTo>
                    <a:pt x="288" y="1148"/>
                  </a:lnTo>
                  <a:lnTo>
                    <a:pt x="288" y="1150"/>
                  </a:lnTo>
                  <a:lnTo>
                    <a:pt x="288" y="1148"/>
                  </a:lnTo>
                  <a:lnTo>
                    <a:pt x="286" y="1148"/>
                  </a:lnTo>
                  <a:lnTo>
                    <a:pt x="286" y="1150"/>
                  </a:lnTo>
                  <a:lnTo>
                    <a:pt x="284" y="1150"/>
                  </a:lnTo>
                  <a:lnTo>
                    <a:pt x="286" y="1152"/>
                  </a:lnTo>
                  <a:lnTo>
                    <a:pt x="284" y="1152"/>
                  </a:lnTo>
                  <a:lnTo>
                    <a:pt x="283" y="1153"/>
                  </a:lnTo>
                  <a:lnTo>
                    <a:pt x="283" y="1152"/>
                  </a:lnTo>
                  <a:lnTo>
                    <a:pt x="281" y="1152"/>
                  </a:lnTo>
                  <a:lnTo>
                    <a:pt x="283" y="1152"/>
                  </a:lnTo>
                  <a:lnTo>
                    <a:pt x="283" y="1150"/>
                  </a:lnTo>
                  <a:lnTo>
                    <a:pt x="284" y="1150"/>
                  </a:lnTo>
                  <a:lnTo>
                    <a:pt x="284" y="1148"/>
                  </a:lnTo>
                  <a:lnTo>
                    <a:pt x="283" y="1150"/>
                  </a:lnTo>
                  <a:lnTo>
                    <a:pt x="283" y="1148"/>
                  </a:lnTo>
                  <a:lnTo>
                    <a:pt x="284" y="1148"/>
                  </a:lnTo>
                  <a:lnTo>
                    <a:pt x="283" y="1148"/>
                  </a:lnTo>
                  <a:lnTo>
                    <a:pt x="284" y="1147"/>
                  </a:lnTo>
                  <a:lnTo>
                    <a:pt x="283" y="1147"/>
                  </a:lnTo>
                  <a:lnTo>
                    <a:pt x="283" y="1145"/>
                  </a:lnTo>
                  <a:lnTo>
                    <a:pt x="281" y="1145"/>
                  </a:lnTo>
                  <a:lnTo>
                    <a:pt x="281" y="1147"/>
                  </a:lnTo>
                  <a:lnTo>
                    <a:pt x="279" y="1147"/>
                  </a:lnTo>
                  <a:lnTo>
                    <a:pt x="279" y="1148"/>
                  </a:lnTo>
                  <a:lnTo>
                    <a:pt x="278" y="1148"/>
                  </a:lnTo>
                  <a:lnTo>
                    <a:pt x="279" y="1148"/>
                  </a:lnTo>
                  <a:lnTo>
                    <a:pt x="279" y="1150"/>
                  </a:lnTo>
                  <a:lnTo>
                    <a:pt x="278" y="1150"/>
                  </a:lnTo>
                  <a:lnTo>
                    <a:pt x="276" y="1150"/>
                  </a:lnTo>
                  <a:lnTo>
                    <a:pt x="276" y="1148"/>
                  </a:lnTo>
                  <a:lnTo>
                    <a:pt x="278" y="1148"/>
                  </a:lnTo>
                  <a:lnTo>
                    <a:pt x="278" y="1147"/>
                  </a:lnTo>
                  <a:lnTo>
                    <a:pt x="278" y="1145"/>
                  </a:lnTo>
                  <a:lnTo>
                    <a:pt x="279" y="1143"/>
                  </a:lnTo>
                  <a:lnTo>
                    <a:pt x="279" y="1142"/>
                  </a:lnTo>
                  <a:lnTo>
                    <a:pt x="279" y="1140"/>
                  </a:lnTo>
                  <a:lnTo>
                    <a:pt x="278" y="1139"/>
                  </a:lnTo>
                  <a:lnTo>
                    <a:pt x="276" y="1139"/>
                  </a:lnTo>
                  <a:lnTo>
                    <a:pt x="276" y="1137"/>
                  </a:lnTo>
                  <a:lnTo>
                    <a:pt x="276" y="1139"/>
                  </a:lnTo>
                  <a:lnTo>
                    <a:pt x="276" y="1140"/>
                  </a:lnTo>
                  <a:lnTo>
                    <a:pt x="276" y="1142"/>
                  </a:lnTo>
                  <a:lnTo>
                    <a:pt x="275" y="1142"/>
                  </a:lnTo>
                  <a:lnTo>
                    <a:pt x="275" y="1143"/>
                  </a:lnTo>
                  <a:lnTo>
                    <a:pt x="273" y="1143"/>
                  </a:lnTo>
                  <a:lnTo>
                    <a:pt x="271" y="1143"/>
                  </a:lnTo>
                  <a:lnTo>
                    <a:pt x="270" y="1145"/>
                  </a:lnTo>
                  <a:lnTo>
                    <a:pt x="270" y="1143"/>
                  </a:lnTo>
                  <a:lnTo>
                    <a:pt x="268" y="1143"/>
                  </a:lnTo>
                  <a:lnTo>
                    <a:pt x="268" y="1142"/>
                  </a:lnTo>
                  <a:lnTo>
                    <a:pt x="266" y="1142"/>
                  </a:lnTo>
                  <a:lnTo>
                    <a:pt x="268" y="1142"/>
                  </a:lnTo>
                  <a:lnTo>
                    <a:pt x="266" y="1142"/>
                  </a:lnTo>
                  <a:lnTo>
                    <a:pt x="266" y="1140"/>
                  </a:lnTo>
                  <a:lnTo>
                    <a:pt x="266" y="1139"/>
                  </a:lnTo>
                  <a:lnTo>
                    <a:pt x="265" y="1139"/>
                  </a:lnTo>
                  <a:lnTo>
                    <a:pt x="265" y="1137"/>
                  </a:lnTo>
                  <a:lnTo>
                    <a:pt x="266" y="1137"/>
                  </a:lnTo>
                  <a:lnTo>
                    <a:pt x="268" y="1135"/>
                  </a:lnTo>
                  <a:lnTo>
                    <a:pt x="268" y="1134"/>
                  </a:lnTo>
                  <a:lnTo>
                    <a:pt x="270" y="1134"/>
                  </a:lnTo>
                  <a:lnTo>
                    <a:pt x="270" y="1132"/>
                  </a:lnTo>
                  <a:lnTo>
                    <a:pt x="270" y="1130"/>
                  </a:lnTo>
                  <a:lnTo>
                    <a:pt x="268" y="1129"/>
                  </a:lnTo>
                  <a:lnTo>
                    <a:pt x="266" y="1129"/>
                  </a:lnTo>
                  <a:lnTo>
                    <a:pt x="265" y="1130"/>
                  </a:lnTo>
                  <a:lnTo>
                    <a:pt x="263" y="1130"/>
                  </a:lnTo>
                  <a:lnTo>
                    <a:pt x="263" y="1132"/>
                  </a:lnTo>
                  <a:lnTo>
                    <a:pt x="263" y="1134"/>
                  </a:lnTo>
                  <a:lnTo>
                    <a:pt x="261" y="1134"/>
                  </a:lnTo>
                  <a:lnTo>
                    <a:pt x="263" y="1134"/>
                  </a:lnTo>
                  <a:lnTo>
                    <a:pt x="263" y="1135"/>
                  </a:lnTo>
                  <a:lnTo>
                    <a:pt x="261" y="1135"/>
                  </a:lnTo>
                  <a:lnTo>
                    <a:pt x="263" y="1137"/>
                  </a:lnTo>
                  <a:lnTo>
                    <a:pt x="261" y="1137"/>
                  </a:lnTo>
                  <a:lnTo>
                    <a:pt x="260" y="1137"/>
                  </a:lnTo>
                  <a:lnTo>
                    <a:pt x="258" y="1137"/>
                  </a:lnTo>
                  <a:lnTo>
                    <a:pt x="260" y="1137"/>
                  </a:lnTo>
                  <a:lnTo>
                    <a:pt x="258" y="1137"/>
                  </a:lnTo>
                  <a:lnTo>
                    <a:pt x="258" y="1139"/>
                  </a:lnTo>
                  <a:lnTo>
                    <a:pt x="258" y="1140"/>
                  </a:lnTo>
                  <a:lnTo>
                    <a:pt x="260" y="1140"/>
                  </a:lnTo>
                  <a:lnTo>
                    <a:pt x="260" y="1142"/>
                  </a:lnTo>
                  <a:lnTo>
                    <a:pt x="258" y="1142"/>
                  </a:lnTo>
                  <a:lnTo>
                    <a:pt x="257" y="1142"/>
                  </a:lnTo>
                  <a:lnTo>
                    <a:pt x="257" y="1140"/>
                  </a:lnTo>
                  <a:lnTo>
                    <a:pt x="257" y="1142"/>
                  </a:lnTo>
                  <a:lnTo>
                    <a:pt x="255" y="1140"/>
                  </a:lnTo>
                  <a:lnTo>
                    <a:pt x="253" y="1140"/>
                  </a:lnTo>
                  <a:lnTo>
                    <a:pt x="253" y="1142"/>
                  </a:lnTo>
                  <a:lnTo>
                    <a:pt x="253" y="1143"/>
                  </a:lnTo>
                  <a:lnTo>
                    <a:pt x="252" y="1143"/>
                  </a:lnTo>
                  <a:lnTo>
                    <a:pt x="250" y="1143"/>
                  </a:lnTo>
                  <a:lnTo>
                    <a:pt x="248" y="1143"/>
                  </a:lnTo>
                  <a:lnTo>
                    <a:pt x="250" y="1143"/>
                  </a:lnTo>
                  <a:lnTo>
                    <a:pt x="248" y="1143"/>
                  </a:lnTo>
                  <a:lnTo>
                    <a:pt x="248" y="1142"/>
                  </a:lnTo>
                  <a:lnTo>
                    <a:pt x="247" y="1143"/>
                  </a:lnTo>
                  <a:lnTo>
                    <a:pt x="247" y="1142"/>
                  </a:lnTo>
                  <a:lnTo>
                    <a:pt x="247" y="1143"/>
                  </a:lnTo>
                  <a:lnTo>
                    <a:pt x="245" y="1143"/>
                  </a:lnTo>
                  <a:lnTo>
                    <a:pt x="245" y="1142"/>
                  </a:lnTo>
                  <a:lnTo>
                    <a:pt x="245" y="1143"/>
                  </a:lnTo>
                  <a:lnTo>
                    <a:pt x="244" y="1143"/>
                  </a:lnTo>
                  <a:lnTo>
                    <a:pt x="245" y="1142"/>
                  </a:lnTo>
                  <a:lnTo>
                    <a:pt x="245" y="1140"/>
                  </a:lnTo>
                  <a:lnTo>
                    <a:pt x="245" y="1139"/>
                  </a:lnTo>
                  <a:lnTo>
                    <a:pt x="245" y="1137"/>
                  </a:lnTo>
                  <a:lnTo>
                    <a:pt x="245" y="1135"/>
                  </a:lnTo>
                  <a:lnTo>
                    <a:pt x="245" y="1137"/>
                  </a:lnTo>
                  <a:lnTo>
                    <a:pt x="245" y="1135"/>
                  </a:lnTo>
                  <a:lnTo>
                    <a:pt x="247" y="1135"/>
                  </a:lnTo>
                  <a:lnTo>
                    <a:pt x="245" y="1134"/>
                  </a:lnTo>
                  <a:lnTo>
                    <a:pt x="245" y="1132"/>
                  </a:lnTo>
                  <a:lnTo>
                    <a:pt x="245" y="1130"/>
                  </a:lnTo>
                  <a:lnTo>
                    <a:pt x="245" y="1129"/>
                  </a:lnTo>
                  <a:lnTo>
                    <a:pt x="244" y="1129"/>
                  </a:lnTo>
                  <a:lnTo>
                    <a:pt x="245" y="1129"/>
                  </a:lnTo>
                  <a:lnTo>
                    <a:pt x="245" y="1127"/>
                  </a:lnTo>
                  <a:lnTo>
                    <a:pt x="244" y="1127"/>
                  </a:lnTo>
                  <a:lnTo>
                    <a:pt x="245" y="1126"/>
                  </a:lnTo>
                  <a:lnTo>
                    <a:pt x="244" y="1126"/>
                  </a:lnTo>
                  <a:lnTo>
                    <a:pt x="244" y="1124"/>
                  </a:lnTo>
                  <a:lnTo>
                    <a:pt x="242" y="1124"/>
                  </a:lnTo>
                  <a:lnTo>
                    <a:pt x="242" y="1126"/>
                  </a:lnTo>
                  <a:lnTo>
                    <a:pt x="242" y="1124"/>
                  </a:lnTo>
                  <a:lnTo>
                    <a:pt x="240" y="1126"/>
                  </a:lnTo>
                  <a:lnTo>
                    <a:pt x="239" y="1127"/>
                  </a:lnTo>
                  <a:lnTo>
                    <a:pt x="240" y="1126"/>
                  </a:lnTo>
                  <a:lnTo>
                    <a:pt x="242" y="1124"/>
                  </a:lnTo>
                  <a:lnTo>
                    <a:pt x="242" y="1122"/>
                  </a:lnTo>
                  <a:lnTo>
                    <a:pt x="240" y="1124"/>
                  </a:lnTo>
                  <a:lnTo>
                    <a:pt x="240" y="1122"/>
                  </a:lnTo>
                  <a:lnTo>
                    <a:pt x="240" y="1121"/>
                  </a:lnTo>
                  <a:lnTo>
                    <a:pt x="240" y="1119"/>
                  </a:lnTo>
                  <a:lnTo>
                    <a:pt x="239" y="1119"/>
                  </a:lnTo>
                  <a:lnTo>
                    <a:pt x="239" y="1117"/>
                  </a:lnTo>
                  <a:lnTo>
                    <a:pt x="239" y="1119"/>
                  </a:lnTo>
                  <a:lnTo>
                    <a:pt x="239" y="1121"/>
                  </a:lnTo>
                  <a:lnTo>
                    <a:pt x="240" y="1121"/>
                  </a:lnTo>
                  <a:lnTo>
                    <a:pt x="239" y="1121"/>
                  </a:lnTo>
                  <a:lnTo>
                    <a:pt x="240" y="1121"/>
                  </a:lnTo>
                  <a:lnTo>
                    <a:pt x="239" y="1121"/>
                  </a:lnTo>
                  <a:lnTo>
                    <a:pt x="239" y="1122"/>
                  </a:lnTo>
                  <a:lnTo>
                    <a:pt x="240" y="1122"/>
                  </a:lnTo>
                  <a:lnTo>
                    <a:pt x="239" y="1122"/>
                  </a:lnTo>
                  <a:lnTo>
                    <a:pt x="240" y="1124"/>
                  </a:lnTo>
                  <a:lnTo>
                    <a:pt x="239" y="1124"/>
                  </a:lnTo>
                  <a:lnTo>
                    <a:pt x="239" y="1126"/>
                  </a:lnTo>
                  <a:lnTo>
                    <a:pt x="239" y="1122"/>
                  </a:lnTo>
                  <a:lnTo>
                    <a:pt x="239" y="1121"/>
                  </a:lnTo>
                  <a:lnTo>
                    <a:pt x="239" y="1119"/>
                  </a:lnTo>
                  <a:lnTo>
                    <a:pt x="239" y="1117"/>
                  </a:lnTo>
                  <a:lnTo>
                    <a:pt x="239" y="1119"/>
                  </a:lnTo>
                  <a:lnTo>
                    <a:pt x="239" y="1117"/>
                  </a:lnTo>
                  <a:lnTo>
                    <a:pt x="239" y="1116"/>
                  </a:lnTo>
                  <a:lnTo>
                    <a:pt x="237" y="1116"/>
                  </a:lnTo>
                  <a:lnTo>
                    <a:pt x="237" y="1117"/>
                  </a:lnTo>
                  <a:lnTo>
                    <a:pt x="235" y="1117"/>
                  </a:lnTo>
                  <a:lnTo>
                    <a:pt x="235" y="1116"/>
                  </a:lnTo>
                  <a:lnTo>
                    <a:pt x="235" y="1114"/>
                  </a:lnTo>
                  <a:lnTo>
                    <a:pt x="234" y="1111"/>
                  </a:lnTo>
                  <a:lnTo>
                    <a:pt x="234" y="1113"/>
                  </a:lnTo>
                  <a:lnTo>
                    <a:pt x="235" y="1113"/>
                  </a:lnTo>
                  <a:lnTo>
                    <a:pt x="235" y="1114"/>
                  </a:lnTo>
                  <a:lnTo>
                    <a:pt x="237" y="1114"/>
                  </a:lnTo>
                  <a:lnTo>
                    <a:pt x="235" y="1114"/>
                  </a:lnTo>
                  <a:lnTo>
                    <a:pt x="235" y="1116"/>
                  </a:lnTo>
                  <a:lnTo>
                    <a:pt x="237" y="1116"/>
                  </a:lnTo>
                  <a:lnTo>
                    <a:pt x="237" y="1114"/>
                  </a:lnTo>
                  <a:lnTo>
                    <a:pt x="239" y="1114"/>
                  </a:lnTo>
                  <a:lnTo>
                    <a:pt x="237" y="1114"/>
                  </a:lnTo>
                  <a:lnTo>
                    <a:pt x="239" y="1113"/>
                  </a:lnTo>
                  <a:lnTo>
                    <a:pt x="240" y="1111"/>
                  </a:lnTo>
                  <a:lnTo>
                    <a:pt x="240" y="1109"/>
                  </a:lnTo>
                  <a:lnTo>
                    <a:pt x="239" y="1109"/>
                  </a:lnTo>
                  <a:lnTo>
                    <a:pt x="239" y="1108"/>
                  </a:lnTo>
                  <a:lnTo>
                    <a:pt x="237" y="1108"/>
                  </a:lnTo>
                  <a:lnTo>
                    <a:pt x="235" y="1108"/>
                  </a:lnTo>
                  <a:lnTo>
                    <a:pt x="234" y="1108"/>
                  </a:lnTo>
                  <a:lnTo>
                    <a:pt x="232" y="1108"/>
                  </a:lnTo>
                  <a:lnTo>
                    <a:pt x="231" y="1108"/>
                  </a:lnTo>
                  <a:lnTo>
                    <a:pt x="231" y="1106"/>
                  </a:lnTo>
                  <a:lnTo>
                    <a:pt x="231" y="1108"/>
                  </a:lnTo>
                  <a:lnTo>
                    <a:pt x="229" y="1108"/>
                  </a:lnTo>
                  <a:lnTo>
                    <a:pt x="229" y="1106"/>
                  </a:lnTo>
                  <a:lnTo>
                    <a:pt x="227" y="1106"/>
                  </a:lnTo>
                  <a:lnTo>
                    <a:pt x="226" y="1106"/>
                  </a:lnTo>
                  <a:lnTo>
                    <a:pt x="224" y="1106"/>
                  </a:lnTo>
                  <a:lnTo>
                    <a:pt x="222" y="1106"/>
                  </a:lnTo>
                  <a:lnTo>
                    <a:pt x="221" y="1106"/>
                  </a:lnTo>
                  <a:lnTo>
                    <a:pt x="219" y="1106"/>
                  </a:lnTo>
                  <a:lnTo>
                    <a:pt x="218" y="1106"/>
                  </a:lnTo>
                  <a:lnTo>
                    <a:pt x="216" y="1106"/>
                  </a:lnTo>
                  <a:lnTo>
                    <a:pt x="214" y="1106"/>
                  </a:lnTo>
                  <a:lnTo>
                    <a:pt x="214" y="1104"/>
                  </a:lnTo>
                  <a:lnTo>
                    <a:pt x="214" y="1103"/>
                  </a:lnTo>
                  <a:lnTo>
                    <a:pt x="214" y="1101"/>
                  </a:lnTo>
                  <a:lnTo>
                    <a:pt x="216" y="1101"/>
                  </a:lnTo>
                  <a:lnTo>
                    <a:pt x="216" y="1100"/>
                  </a:lnTo>
                  <a:lnTo>
                    <a:pt x="218" y="1101"/>
                  </a:lnTo>
                  <a:lnTo>
                    <a:pt x="219" y="1101"/>
                  </a:lnTo>
                  <a:lnTo>
                    <a:pt x="221" y="1101"/>
                  </a:lnTo>
                  <a:lnTo>
                    <a:pt x="221" y="1100"/>
                  </a:lnTo>
                  <a:lnTo>
                    <a:pt x="222" y="1100"/>
                  </a:lnTo>
                  <a:lnTo>
                    <a:pt x="224" y="1100"/>
                  </a:lnTo>
                  <a:lnTo>
                    <a:pt x="226" y="1100"/>
                  </a:lnTo>
                  <a:lnTo>
                    <a:pt x="227" y="1098"/>
                  </a:lnTo>
                  <a:lnTo>
                    <a:pt x="229" y="1098"/>
                  </a:lnTo>
                  <a:lnTo>
                    <a:pt x="229" y="1096"/>
                  </a:lnTo>
                  <a:lnTo>
                    <a:pt x="231" y="1096"/>
                  </a:lnTo>
                  <a:lnTo>
                    <a:pt x="232" y="1095"/>
                  </a:lnTo>
                  <a:lnTo>
                    <a:pt x="234" y="1095"/>
                  </a:lnTo>
                  <a:lnTo>
                    <a:pt x="234" y="1093"/>
                  </a:lnTo>
                  <a:lnTo>
                    <a:pt x="235" y="1093"/>
                  </a:lnTo>
                  <a:lnTo>
                    <a:pt x="237" y="1093"/>
                  </a:lnTo>
                  <a:lnTo>
                    <a:pt x="237" y="1091"/>
                  </a:lnTo>
                  <a:lnTo>
                    <a:pt x="239" y="1090"/>
                  </a:lnTo>
                  <a:lnTo>
                    <a:pt x="240" y="1088"/>
                  </a:lnTo>
                  <a:lnTo>
                    <a:pt x="240" y="1086"/>
                  </a:lnTo>
                  <a:lnTo>
                    <a:pt x="240" y="1083"/>
                  </a:lnTo>
                  <a:lnTo>
                    <a:pt x="240" y="1080"/>
                  </a:lnTo>
                  <a:lnTo>
                    <a:pt x="240" y="1078"/>
                  </a:lnTo>
                  <a:lnTo>
                    <a:pt x="239" y="1077"/>
                  </a:lnTo>
                  <a:lnTo>
                    <a:pt x="239" y="1075"/>
                  </a:lnTo>
                  <a:lnTo>
                    <a:pt x="237" y="1075"/>
                  </a:lnTo>
                  <a:lnTo>
                    <a:pt x="237" y="1077"/>
                  </a:lnTo>
                  <a:lnTo>
                    <a:pt x="237" y="1075"/>
                  </a:lnTo>
                  <a:lnTo>
                    <a:pt x="237" y="1077"/>
                  </a:lnTo>
                  <a:lnTo>
                    <a:pt x="235" y="1075"/>
                  </a:lnTo>
                  <a:lnTo>
                    <a:pt x="235" y="1073"/>
                  </a:lnTo>
                  <a:lnTo>
                    <a:pt x="235" y="1072"/>
                  </a:lnTo>
                  <a:lnTo>
                    <a:pt x="235" y="1070"/>
                  </a:lnTo>
                  <a:lnTo>
                    <a:pt x="237" y="1070"/>
                  </a:lnTo>
                  <a:lnTo>
                    <a:pt x="237" y="1069"/>
                  </a:lnTo>
                  <a:lnTo>
                    <a:pt x="237" y="1070"/>
                  </a:lnTo>
                  <a:lnTo>
                    <a:pt x="237" y="1069"/>
                  </a:lnTo>
                  <a:lnTo>
                    <a:pt x="237" y="1067"/>
                  </a:lnTo>
                  <a:lnTo>
                    <a:pt x="237" y="1065"/>
                  </a:lnTo>
                  <a:lnTo>
                    <a:pt x="237" y="1064"/>
                  </a:lnTo>
                  <a:lnTo>
                    <a:pt x="235" y="1064"/>
                  </a:lnTo>
                  <a:lnTo>
                    <a:pt x="235" y="1062"/>
                  </a:lnTo>
                  <a:lnTo>
                    <a:pt x="237" y="1062"/>
                  </a:lnTo>
                  <a:lnTo>
                    <a:pt x="237" y="1060"/>
                  </a:lnTo>
                  <a:lnTo>
                    <a:pt x="237" y="1059"/>
                  </a:lnTo>
                  <a:lnTo>
                    <a:pt x="235" y="1057"/>
                  </a:lnTo>
                  <a:lnTo>
                    <a:pt x="234" y="1057"/>
                  </a:lnTo>
                  <a:lnTo>
                    <a:pt x="234" y="1056"/>
                  </a:lnTo>
                  <a:lnTo>
                    <a:pt x="234" y="1054"/>
                  </a:lnTo>
                  <a:lnTo>
                    <a:pt x="232" y="1054"/>
                  </a:lnTo>
                  <a:lnTo>
                    <a:pt x="231" y="1054"/>
                  </a:lnTo>
                  <a:lnTo>
                    <a:pt x="229" y="1054"/>
                  </a:lnTo>
                  <a:lnTo>
                    <a:pt x="227" y="1054"/>
                  </a:lnTo>
                  <a:lnTo>
                    <a:pt x="226" y="1054"/>
                  </a:lnTo>
                  <a:lnTo>
                    <a:pt x="226" y="1056"/>
                  </a:lnTo>
                  <a:lnTo>
                    <a:pt x="224" y="1056"/>
                  </a:lnTo>
                  <a:lnTo>
                    <a:pt x="222" y="1056"/>
                  </a:lnTo>
                  <a:lnTo>
                    <a:pt x="221" y="1056"/>
                  </a:lnTo>
                  <a:lnTo>
                    <a:pt x="221" y="1057"/>
                  </a:lnTo>
                  <a:lnTo>
                    <a:pt x="221" y="1056"/>
                  </a:lnTo>
                  <a:lnTo>
                    <a:pt x="219" y="1056"/>
                  </a:lnTo>
                  <a:lnTo>
                    <a:pt x="218" y="1056"/>
                  </a:lnTo>
                  <a:lnTo>
                    <a:pt x="218" y="1054"/>
                  </a:lnTo>
                  <a:lnTo>
                    <a:pt x="218" y="1056"/>
                  </a:lnTo>
                  <a:lnTo>
                    <a:pt x="216" y="1056"/>
                  </a:lnTo>
                  <a:lnTo>
                    <a:pt x="216" y="1054"/>
                  </a:lnTo>
                  <a:lnTo>
                    <a:pt x="214" y="1052"/>
                  </a:lnTo>
                  <a:lnTo>
                    <a:pt x="214" y="1054"/>
                  </a:lnTo>
                  <a:lnTo>
                    <a:pt x="213" y="1054"/>
                  </a:lnTo>
                  <a:lnTo>
                    <a:pt x="211" y="1054"/>
                  </a:lnTo>
                  <a:lnTo>
                    <a:pt x="211" y="1052"/>
                  </a:lnTo>
                  <a:lnTo>
                    <a:pt x="211" y="1051"/>
                  </a:lnTo>
                  <a:lnTo>
                    <a:pt x="209" y="1051"/>
                  </a:lnTo>
                  <a:lnTo>
                    <a:pt x="208" y="1049"/>
                  </a:lnTo>
                  <a:lnTo>
                    <a:pt x="205" y="1049"/>
                  </a:lnTo>
                  <a:lnTo>
                    <a:pt x="203" y="1049"/>
                  </a:lnTo>
                  <a:lnTo>
                    <a:pt x="201" y="1047"/>
                  </a:lnTo>
                  <a:lnTo>
                    <a:pt x="200" y="1047"/>
                  </a:lnTo>
                  <a:lnTo>
                    <a:pt x="198" y="1049"/>
                  </a:lnTo>
                  <a:lnTo>
                    <a:pt x="198" y="1047"/>
                  </a:lnTo>
                  <a:lnTo>
                    <a:pt x="198" y="1049"/>
                  </a:lnTo>
                  <a:lnTo>
                    <a:pt x="196" y="1049"/>
                  </a:lnTo>
                  <a:lnTo>
                    <a:pt x="195" y="1049"/>
                  </a:lnTo>
                  <a:lnTo>
                    <a:pt x="192" y="1052"/>
                  </a:lnTo>
                  <a:lnTo>
                    <a:pt x="190" y="1054"/>
                  </a:lnTo>
                  <a:lnTo>
                    <a:pt x="190" y="1056"/>
                  </a:lnTo>
                  <a:lnTo>
                    <a:pt x="190" y="1057"/>
                  </a:lnTo>
                  <a:lnTo>
                    <a:pt x="188" y="1057"/>
                  </a:lnTo>
                  <a:lnTo>
                    <a:pt x="188" y="1056"/>
                  </a:lnTo>
                  <a:lnTo>
                    <a:pt x="187" y="1056"/>
                  </a:lnTo>
                  <a:lnTo>
                    <a:pt x="187" y="1054"/>
                  </a:lnTo>
                  <a:lnTo>
                    <a:pt x="185" y="1051"/>
                  </a:lnTo>
                  <a:lnTo>
                    <a:pt x="185" y="1049"/>
                  </a:lnTo>
                  <a:lnTo>
                    <a:pt x="185" y="1047"/>
                  </a:lnTo>
                  <a:lnTo>
                    <a:pt x="183" y="1046"/>
                  </a:lnTo>
                  <a:lnTo>
                    <a:pt x="183" y="1044"/>
                  </a:lnTo>
                  <a:lnTo>
                    <a:pt x="182" y="1044"/>
                  </a:lnTo>
                  <a:lnTo>
                    <a:pt x="183" y="1044"/>
                  </a:lnTo>
                  <a:lnTo>
                    <a:pt x="182" y="1044"/>
                  </a:lnTo>
                  <a:lnTo>
                    <a:pt x="182" y="1043"/>
                  </a:lnTo>
                  <a:lnTo>
                    <a:pt x="180" y="1043"/>
                  </a:lnTo>
                  <a:lnTo>
                    <a:pt x="180" y="1041"/>
                  </a:lnTo>
                  <a:lnTo>
                    <a:pt x="180" y="1039"/>
                  </a:lnTo>
                  <a:lnTo>
                    <a:pt x="179" y="1039"/>
                  </a:lnTo>
                  <a:lnTo>
                    <a:pt x="177" y="1039"/>
                  </a:lnTo>
                  <a:lnTo>
                    <a:pt x="175" y="1041"/>
                  </a:lnTo>
                  <a:lnTo>
                    <a:pt x="175" y="1039"/>
                  </a:lnTo>
                  <a:lnTo>
                    <a:pt x="174" y="1039"/>
                  </a:lnTo>
                  <a:lnTo>
                    <a:pt x="174" y="1038"/>
                  </a:lnTo>
                  <a:lnTo>
                    <a:pt x="174" y="1036"/>
                  </a:lnTo>
                  <a:lnTo>
                    <a:pt x="175" y="1036"/>
                  </a:lnTo>
                  <a:lnTo>
                    <a:pt x="175" y="1034"/>
                  </a:lnTo>
                  <a:lnTo>
                    <a:pt x="174" y="1034"/>
                  </a:lnTo>
                  <a:lnTo>
                    <a:pt x="172" y="1034"/>
                  </a:lnTo>
                  <a:lnTo>
                    <a:pt x="172" y="1033"/>
                  </a:lnTo>
                  <a:lnTo>
                    <a:pt x="172" y="1034"/>
                  </a:lnTo>
                  <a:lnTo>
                    <a:pt x="172" y="1033"/>
                  </a:lnTo>
                  <a:lnTo>
                    <a:pt x="170" y="1033"/>
                  </a:lnTo>
                  <a:lnTo>
                    <a:pt x="170" y="1034"/>
                  </a:lnTo>
                  <a:lnTo>
                    <a:pt x="169" y="1034"/>
                  </a:lnTo>
                  <a:lnTo>
                    <a:pt x="169" y="1036"/>
                  </a:lnTo>
                  <a:lnTo>
                    <a:pt x="167" y="1036"/>
                  </a:lnTo>
                  <a:lnTo>
                    <a:pt x="167" y="1034"/>
                  </a:lnTo>
                  <a:lnTo>
                    <a:pt x="167" y="1036"/>
                  </a:lnTo>
                  <a:lnTo>
                    <a:pt x="166" y="1036"/>
                  </a:lnTo>
                  <a:lnTo>
                    <a:pt x="164" y="1036"/>
                  </a:lnTo>
                  <a:lnTo>
                    <a:pt x="166" y="1036"/>
                  </a:lnTo>
                  <a:lnTo>
                    <a:pt x="164" y="1036"/>
                  </a:lnTo>
                  <a:lnTo>
                    <a:pt x="164" y="1038"/>
                  </a:lnTo>
                  <a:lnTo>
                    <a:pt x="164" y="1036"/>
                  </a:lnTo>
                  <a:lnTo>
                    <a:pt x="162" y="1036"/>
                  </a:lnTo>
                  <a:lnTo>
                    <a:pt x="162" y="1038"/>
                  </a:lnTo>
                  <a:lnTo>
                    <a:pt x="161" y="1038"/>
                  </a:lnTo>
                  <a:lnTo>
                    <a:pt x="159" y="1038"/>
                  </a:lnTo>
                  <a:lnTo>
                    <a:pt x="159" y="1039"/>
                  </a:lnTo>
                  <a:lnTo>
                    <a:pt x="157" y="1039"/>
                  </a:lnTo>
                  <a:lnTo>
                    <a:pt x="159" y="1041"/>
                  </a:lnTo>
                  <a:lnTo>
                    <a:pt x="157" y="1041"/>
                  </a:lnTo>
                  <a:lnTo>
                    <a:pt x="159" y="1041"/>
                  </a:lnTo>
                  <a:lnTo>
                    <a:pt x="159" y="1043"/>
                  </a:lnTo>
                  <a:lnTo>
                    <a:pt x="159" y="1044"/>
                  </a:lnTo>
                  <a:lnTo>
                    <a:pt x="159" y="1046"/>
                  </a:lnTo>
                  <a:lnTo>
                    <a:pt x="159" y="1047"/>
                  </a:lnTo>
                  <a:lnTo>
                    <a:pt x="157" y="1047"/>
                  </a:lnTo>
                  <a:lnTo>
                    <a:pt x="156" y="1047"/>
                  </a:lnTo>
                  <a:lnTo>
                    <a:pt x="157" y="1049"/>
                  </a:lnTo>
                  <a:lnTo>
                    <a:pt x="157" y="1051"/>
                  </a:lnTo>
                  <a:lnTo>
                    <a:pt x="159" y="1051"/>
                  </a:lnTo>
                  <a:lnTo>
                    <a:pt x="159" y="1052"/>
                  </a:lnTo>
                  <a:lnTo>
                    <a:pt x="157" y="1052"/>
                  </a:lnTo>
                  <a:lnTo>
                    <a:pt x="157" y="1054"/>
                  </a:lnTo>
                  <a:lnTo>
                    <a:pt x="157" y="1052"/>
                  </a:lnTo>
                  <a:lnTo>
                    <a:pt x="156" y="1054"/>
                  </a:lnTo>
                  <a:lnTo>
                    <a:pt x="156" y="1052"/>
                  </a:lnTo>
                  <a:lnTo>
                    <a:pt x="154" y="1052"/>
                  </a:lnTo>
                  <a:lnTo>
                    <a:pt x="156" y="1052"/>
                  </a:lnTo>
                  <a:lnTo>
                    <a:pt x="154" y="1052"/>
                  </a:lnTo>
                  <a:lnTo>
                    <a:pt x="154" y="1051"/>
                  </a:lnTo>
                  <a:lnTo>
                    <a:pt x="154" y="1049"/>
                  </a:lnTo>
                  <a:lnTo>
                    <a:pt x="153" y="1049"/>
                  </a:lnTo>
                  <a:lnTo>
                    <a:pt x="153" y="1051"/>
                  </a:lnTo>
                  <a:lnTo>
                    <a:pt x="153" y="1052"/>
                  </a:lnTo>
                  <a:lnTo>
                    <a:pt x="151" y="1052"/>
                  </a:lnTo>
                  <a:lnTo>
                    <a:pt x="151" y="1051"/>
                  </a:lnTo>
                  <a:lnTo>
                    <a:pt x="149" y="1051"/>
                  </a:lnTo>
                  <a:lnTo>
                    <a:pt x="149" y="1052"/>
                  </a:lnTo>
                  <a:lnTo>
                    <a:pt x="149" y="1051"/>
                  </a:lnTo>
                  <a:lnTo>
                    <a:pt x="148" y="1051"/>
                  </a:lnTo>
                  <a:lnTo>
                    <a:pt x="149" y="1051"/>
                  </a:lnTo>
                  <a:lnTo>
                    <a:pt x="148" y="1051"/>
                  </a:lnTo>
                  <a:lnTo>
                    <a:pt x="148" y="1049"/>
                  </a:lnTo>
                  <a:lnTo>
                    <a:pt x="148" y="1047"/>
                  </a:lnTo>
                  <a:lnTo>
                    <a:pt x="146" y="1047"/>
                  </a:lnTo>
                  <a:lnTo>
                    <a:pt x="146" y="1046"/>
                  </a:lnTo>
                  <a:lnTo>
                    <a:pt x="146" y="1044"/>
                  </a:lnTo>
                  <a:lnTo>
                    <a:pt x="144" y="1046"/>
                  </a:lnTo>
                  <a:lnTo>
                    <a:pt x="144" y="1044"/>
                  </a:lnTo>
                  <a:lnTo>
                    <a:pt x="144" y="1046"/>
                  </a:lnTo>
                  <a:lnTo>
                    <a:pt x="143" y="1044"/>
                  </a:lnTo>
                  <a:lnTo>
                    <a:pt x="143" y="1043"/>
                  </a:lnTo>
                  <a:lnTo>
                    <a:pt x="143" y="1044"/>
                  </a:lnTo>
                  <a:lnTo>
                    <a:pt x="141" y="1044"/>
                  </a:lnTo>
                  <a:lnTo>
                    <a:pt x="140" y="1044"/>
                  </a:lnTo>
                  <a:lnTo>
                    <a:pt x="140" y="1043"/>
                  </a:lnTo>
                  <a:lnTo>
                    <a:pt x="138" y="1043"/>
                  </a:lnTo>
                  <a:lnTo>
                    <a:pt x="136" y="1043"/>
                  </a:lnTo>
                  <a:lnTo>
                    <a:pt x="136" y="1041"/>
                  </a:lnTo>
                  <a:lnTo>
                    <a:pt x="135" y="1041"/>
                  </a:lnTo>
                  <a:lnTo>
                    <a:pt x="135" y="1043"/>
                  </a:lnTo>
                  <a:lnTo>
                    <a:pt x="136" y="1043"/>
                  </a:lnTo>
                  <a:lnTo>
                    <a:pt x="136" y="1044"/>
                  </a:lnTo>
                  <a:lnTo>
                    <a:pt x="135" y="1044"/>
                  </a:lnTo>
                  <a:lnTo>
                    <a:pt x="133" y="1043"/>
                  </a:lnTo>
                  <a:lnTo>
                    <a:pt x="131" y="1043"/>
                  </a:lnTo>
                  <a:lnTo>
                    <a:pt x="131" y="1041"/>
                  </a:lnTo>
                  <a:lnTo>
                    <a:pt x="130" y="1041"/>
                  </a:lnTo>
                  <a:lnTo>
                    <a:pt x="131" y="1041"/>
                  </a:lnTo>
                  <a:lnTo>
                    <a:pt x="130" y="1039"/>
                  </a:lnTo>
                  <a:lnTo>
                    <a:pt x="131" y="1039"/>
                  </a:lnTo>
                  <a:lnTo>
                    <a:pt x="131" y="1038"/>
                  </a:lnTo>
                  <a:lnTo>
                    <a:pt x="130" y="1036"/>
                  </a:lnTo>
                  <a:lnTo>
                    <a:pt x="128" y="1036"/>
                  </a:lnTo>
                  <a:lnTo>
                    <a:pt x="130" y="1038"/>
                  </a:lnTo>
                  <a:lnTo>
                    <a:pt x="130" y="1039"/>
                  </a:lnTo>
                  <a:lnTo>
                    <a:pt x="128" y="1039"/>
                  </a:lnTo>
                  <a:lnTo>
                    <a:pt x="128" y="1041"/>
                  </a:lnTo>
                  <a:lnTo>
                    <a:pt x="128" y="1043"/>
                  </a:lnTo>
                  <a:lnTo>
                    <a:pt x="127" y="1041"/>
                  </a:lnTo>
                  <a:lnTo>
                    <a:pt x="127" y="1043"/>
                  </a:lnTo>
                  <a:lnTo>
                    <a:pt x="127" y="1041"/>
                  </a:lnTo>
                  <a:lnTo>
                    <a:pt x="127" y="1043"/>
                  </a:lnTo>
                  <a:lnTo>
                    <a:pt x="125" y="1043"/>
                  </a:lnTo>
                  <a:lnTo>
                    <a:pt x="123" y="1043"/>
                  </a:lnTo>
                  <a:lnTo>
                    <a:pt x="122" y="1041"/>
                  </a:lnTo>
                  <a:lnTo>
                    <a:pt x="120" y="1041"/>
                  </a:lnTo>
                  <a:lnTo>
                    <a:pt x="120" y="1039"/>
                  </a:lnTo>
                  <a:lnTo>
                    <a:pt x="118" y="1039"/>
                  </a:lnTo>
                  <a:lnTo>
                    <a:pt x="118" y="1038"/>
                  </a:lnTo>
                  <a:lnTo>
                    <a:pt x="117" y="1038"/>
                  </a:lnTo>
                  <a:lnTo>
                    <a:pt x="115" y="1038"/>
                  </a:lnTo>
                  <a:lnTo>
                    <a:pt x="113" y="1039"/>
                  </a:lnTo>
                  <a:lnTo>
                    <a:pt x="112" y="1039"/>
                  </a:lnTo>
                  <a:lnTo>
                    <a:pt x="112" y="1038"/>
                  </a:lnTo>
                  <a:lnTo>
                    <a:pt x="112" y="1036"/>
                  </a:lnTo>
                  <a:lnTo>
                    <a:pt x="112" y="1034"/>
                  </a:lnTo>
                  <a:lnTo>
                    <a:pt x="112" y="1036"/>
                  </a:lnTo>
                  <a:lnTo>
                    <a:pt x="113" y="1036"/>
                  </a:lnTo>
                  <a:lnTo>
                    <a:pt x="115" y="1036"/>
                  </a:lnTo>
                  <a:lnTo>
                    <a:pt x="115" y="1034"/>
                  </a:lnTo>
                  <a:lnTo>
                    <a:pt x="117" y="1034"/>
                  </a:lnTo>
                  <a:lnTo>
                    <a:pt x="117" y="1033"/>
                  </a:lnTo>
                  <a:lnTo>
                    <a:pt x="117" y="1031"/>
                  </a:lnTo>
                  <a:lnTo>
                    <a:pt x="115" y="1031"/>
                  </a:lnTo>
                  <a:lnTo>
                    <a:pt x="115" y="1030"/>
                  </a:lnTo>
                  <a:lnTo>
                    <a:pt x="117" y="1030"/>
                  </a:lnTo>
                  <a:lnTo>
                    <a:pt x="117" y="1031"/>
                  </a:lnTo>
                  <a:lnTo>
                    <a:pt x="117" y="1030"/>
                  </a:lnTo>
                  <a:lnTo>
                    <a:pt x="118" y="1030"/>
                  </a:lnTo>
                  <a:lnTo>
                    <a:pt x="117" y="1030"/>
                  </a:lnTo>
                  <a:lnTo>
                    <a:pt x="117" y="1028"/>
                  </a:lnTo>
                  <a:lnTo>
                    <a:pt x="115" y="1028"/>
                  </a:lnTo>
                  <a:lnTo>
                    <a:pt x="115" y="1026"/>
                  </a:lnTo>
                  <a:lnTo>
                    <a:pt x="115" y="1025"/>
                  </a:lnTo>
                  <a:lnTo>
                    <a:pt x="115" y="1023"/>
                  </a:lnTo>
                  <a:lnTo>
                    <a:pt x="115" y="1025"/>
                  </a:lnTo>
                  <a:lnTo>
                    <a:pt x="117" y="1025"/>
                  </a:lnTo>
                  <a:lnTo>
                    <a:pt x="117" y="1023"/>
                  </a:lnTo>
                  <a:lnTo>
                    <a:pt x="118" y="1023"/>
                  </a:lnTo>
                  <a:lnTo>
                    <a:pt x="118" y="1021"/>
                  </a:lnTo>
                  <a:lnTo>
                    <a:pt x="118" y="1023"/>
                  </a:lnTo>
                  <a:lnTo>
                    <a:pt x="118" y="1025"/>
                  </a:lnTo>
                  <a:lnTo>
                    <a:pt x="120" y="1025"/>
                  </a:lnTo>
                  <a:lnTo>
                    <a:pt x="120" y="1026"/>
                  </a:lnTo>
                  <a:lnTo>
                    <a:pt x="118" y="1026"/>
                  </a:lnTo>
                  <a:lnTo>
                    <a:pt x="120" y="1026"/>
                  </a:lnTo>
                  <a:lnTo>
                    <a:pt x="120" y="1028"/>
                  </a:lnTo>
                  <a:lnTo>
                    <a:pt x="118" y="1026"/>
                  </a:lnTo>
                  <a:lnTo>
                    <a:pt x="118" y="1028"/>
                  </a:lnTo>
                  <a:lnTo>
                    <a:pt x="120" y="1028"/>
                  </a:lnTo>
                  <a:lnTo>
                    <a:pt x="120" y="1030"/>
                  </a:lnTo>
                  <a:lnTo>
                    <a:pt x="122" y="1030"/>
                  </a:lnTo>
                  <a:lnTo>
                    <a:pt x="122" y="1028"/>
                  </a:lnTo>
                  <a:lnTo>
                    <a:pt x="123" y="1028"/>
                  </a:lnTo>
                  <a:lnTo>
                    <a:pt x="123" y="1030"/>
                  </a:lnTo>
                  <a:lnTo>
                    <a:pt x="125" y="1030"/>
                  </a:lnTo>
                  <a:lnTo>
                    <a:pt x="125" y="1031"/>
                  </a:lnTo>
                  <a:lnTo>
                    <a:pt x="127" y="1031"/>
                  </a:lnTo>
                  <a:lnTo>
                    <a:pt x="127" y="1030"/>
                  </a:lnTo>
                  <a:lnTo>
                    <a:pt x="128" y="1030"/>
                  </a:lnTo>
                  <a:lnTo>
                    <a:pt x="128" y="1028"/>
                  </a:lnTo>
                  <a:lnTo>
                    <a:pt x="127" y="1028"/>
                  </a:lnTo>
                  <a:lnTo>
                    <a:pt x="128" y="1028"/>
                  </a:lnTo>
                  <a:lnTo>
                    <a:pt x="127" y="1026"/>
                  </a:lnTo>
                  <a:lnTo>
                    <a:pt x="128" y="1026"/>
                  </a:lnTo>
                  <a:lnTo>
                    <a:pt x="127" y="1026"/>
                  </a:lnTo>
                  <a:lnTo>
                    <a:pt x="127" y="1025"/>
                  </a:lnTo>
                  <a:lnTo>
                    <a:pt x="127" y="1026"/>
                  </a:lnTo>
                  <a:lnTo>
                    <a:pt x="128" y="1025"/>
                  </a:lnTo>
                  <a:lnTo>
                    <a:pt x="130" y="1026"/>
                  </a:lnTo>
                  <a:lnTo>
                    <a:pt x="128" y="1026"/>
                  </a:lnTo>
                  <a:lnTo>
                    <a:pt x="128" y="1028"/>
                  </a:lnTo>
                  <a:lnTo>
                    <a:pt x="130" y="1028"/>
                  </a:lnTo>
                  <a:lnTo>
                    <a:pt x="130" y="1026"/>
                  </a:lnTo>
                  <a:lnTo>
                    <a:pt x="131" y="1026"/>
                  </a:lnTo>
                  <a:lnTo>
                    <a:pt x="131" y="1025"/>
                  </a:lnTo>
                  <a:lnTo>
                    <a:pt x="133" y="1023"/>
                  </a:lnTo>
                  <a:lnTo>
                    <a:pt x="135" y="1023"/>
                  </a:lnTo>
                  <a:lnTo>
                    <a:pt x="135" y="1021"/>
                  </a:lnTo>
                  <a:lnTo>
                    <a:pt x="135" y="1020"/>
                  </a:lnTo>
                  <a:lnTo>
                    <a:pt x="136" y="1018"/>
                  </a:lnTo>
                  <a:lnTo>
                    <a:pt x="135" y="1017"/>
                  </a:lnTo>
                  <a:lnTo>
                    <a:pt x="135" y="1015"/>
                  </a:lnTo>
                  <a:lnTo>
                    <a:pt x="135" y="1013"/>
                  </a:lnTo>
                  <a:lnTo>
                    <a:pt x="133" y="1013"/>
                  </a:lnTo>
                  <a:lnTo>
                    <a:pt x="133" y="1012"/>
                  </a:lnTo>
                  <a:lnTo>
                    <a:pt x="133" y="1013"/>
                  </a:lnTo>
                  <a:lnTo>
                    <a:pt x="131" y="1013"/>
                  </a:lnTo>
                  <a:lnTo>
                    <a:pt x="131" y="1012"/>
                  </a:lnTo>
                  <a:lnTo>
                    <a:pt x="133" y="1012"/>
                  </a:lnTo>
                  <a:lnTo>
                    <a:pt x="135" y="1012"/>
                  </a:lnTo>
                  <a:lnTo>
                    <a:pt x="136" y="1013"/>
                  </a:lnTo>
                  <a:lnTo>
                    <a:pt x="136" y="1015"/>
                  </a:lnTo>
                  <a:lnTo>
                    <a:pt x="138" y="1013"/>
                  </a:lnTo>
                  <a:lnTo>
                    <a:pt x="138" y="1012"/>
                  </a:lnTo>
                  <a:lnTo>
                    <a:pt x="138" y="1010"/>
                  </a:lnTo>
                  <a:lnTo>
                    <a:pt x="140" y="1010"/>
                  </a:lnTo>
                  <a:lnTo>
                    <a:pt x="138" y="1010"/>
                  </a:lnTo>
                  <a:lnTo>
                    <a:pt x="138" y="1008"/>
                  </a:lnTo>
                  <a:lnTo>
                    <a:pt x="136" y="1008"/>
                  </a:lnTo>
                  <a:lnTo>
                    <a:pt x="135" y="1008"/>
                  </a:lnTo>
                  <a:lnTo>
                    <a:pt x="133" y="1007"/>
                  </a:lnTo>
                  <a:lnTo>
                    <a:pt x="131" y="1007"/>
                  </a:lnTo>
                  <a:lnTo>
                    <a:pt x="131" y="1005"/>
                  </a:lnTo>
                  <a:lnTo>
                    <a:pt x="130" y="1005"/>
                  </a:lnTo>
                  <a:lnTo>
                    <a:pt x="128" y="1005"/>
                  </a:lnTo>
                  <a:lnTo>
                    <a:pt x="127" y="1005"/>
                  </a:lnTo>
                  <a:lnTo>
                    <a:pt x="127" y="1007"/>
                  </a:lnTo>
                  <a:lnTo>
                    <a:pt x="127" y="1008"/>
                  </a:lnTo>
                  <a:lnTo>
                    <a:pt x="127" y="1010"/>
                  </a:lnTo>
                  <a:lnTo>
                    <a:pt x="125" y="1010"/>
                  </a:lnTo>
                  <a:lnTo>
                    <a:pt x="125" y="1008"/>
                  </a:lnTo>
                  <a:lnTo>
                    <a:pt x="125" y="1007"/>
                  </a:lnTo>
                  <a:lnTo>
                    <a:pt x="125" y="1005"/>
                  </a:lnTo>
                  <a:lnTo>
                    <a:pt x="125" y="1004"/>
                  </a:lnTo>
                  <a:lnTo>
                    <a:pt x="125" y="1002"/>
                  </a:lnTo>
                  <a:lnTo>
                    <a:pt x="123" y="1002"/>
                  </a:lnTo>
                  <a:lnTo>
                    <a:pt x="123" y="1000"/>
                  </a:lnTo>
                  <a:lnTo>
                    <a:pt x="122" y="1000"/>
                  </a:lnTo>
                  <a:lnTo>
                    <a:pt x="120" y="999"/>
                  </a:lnTo>
                  <a:lnTo>
                    <a:pt x="120" y="997"/>
                  </a:lnTo>
                  <a:lnTo>
                    <a:pt x="120" y="999"/>
                  </a:lnTo>
                  <a:lnTo>
                    <a:pt x="122" y="999"/>
                  </a:lnTo>
                  <a:lnTo>
                    <a:pt x="122" y="1000"/>
                  </a:lnTo>
                  <a:lnTo>
                    <a:pt x="120" y="997"/>
                  </a:lnTo>
                  <a:lnTo>
                    <a:pt x="118" y="995"/>
                  </a:lnTo>
                  <a:lnTo>
                    <a:pt x="120" y="995"/>
                  </a:lnTo>
                  <a:lnTo>
                    <a:pt x="118" y="995"/>
                  </a:lnTo>
                  <a:lnTo>
                    <a:pt x="118" y="994"/>
                  </a:lnTo>
                  <a:lnTo>
                    <a:pt x="118" y="992"/>
                  </a:lnTo>
                  <a:lnTo>
                    <a:pt x="117" y="992"/>
                  </a:lnTo>
                  <a:lnTo>
                    <a:pt x="118" y="992"/>
                  </a:lnTo>
                  <a:lnTo>
                    <a:pt x="117" y="992"/>
                  </a:lnTo>
                  <a:lnTo>
                    <a:pt x="118" y="992"/>
                  </a:lnTo>
                  <a:lnTo>
                    <a:pt x="117" y="991"/>
                  </a:lnTo>
                  <a:lnTo>
                    <a:pt x="117" y="989"/>
                  </a:lnTo>
                  <a:lnTo>
                    <a:pt x="115" y="987"/>
                  </a:lnTo>
                  <a:lnTo>
                    <a:pt x="117" y="987"/>
                  </a:lnTo>
                  <a:lnTo>
                    <a:pt x="115" y="986"/>
                  </a:lnTo>
                  <a:lnTo>
                    <a:pt x="115" y="984"/>
                  </a:lnTo>
                  <a:lnTo>
                    <a:pt x="115" y="982"/>
                  </a:lnTo>
                  <a:lnTo>
                    <a:pt x="115" y="981"/>
                  </a:lnTo>
                  <a:lnTo>
                    <a:pt x="117" y="981"/>
                  </a:lnTo>
                  <a:lnTo>
                    <a:pt x="117" y="979"/>
                  </a:lnTo>
                  <a:lnTo>
                    <a:pt x="118" y="979"/>
                  </a:lnTo>
                  <a:lnTo>
                    <a:pt x="120" y="979"/>
                  </a:lnTo>
                  <a:lnTo>
                    <a:pt x="122" y="978"/>
                  </a:lnTo>
                  <a:lnTo>
                    <a:pt x="123" y="978"/>
                  </a:lnTo>
                  <a:lnTo>
                    <a:pt x="125" y="978"/>
                  </a:lnTo>
                  <a:lnTo>
                    <a:pt x="127" y="978"/>
                  </a:lnTo>
                  <a:lnTo>
                    <a:pt x="128" y="976"/>
                  </a:lnTo>
                  <a:lnTo>
                    <a:pt x="128" y="978"/>
                  </a:lnTo>
                  <a:lnTo>
                    <a:pt x="130" y="978"/>
                  </a:lnTo>
                  <a:lnTo>
                    <a:pt x="131" y="978"/>
                  </a:lnTo>
                  <a:lnTo>
                    <a:pt x="131" y="979"/>
                  </a:lnTo>
                  <a:lnTo>
                    <a:pt x="133" y="979"/>
                  </a:lnTo>
                  <a:lnTo>
                    <a:pt x="135" y="979"/>
                  </a:lnTo>
                  <a:lnTo>
                    <a:pt x="133" y="981"/>
                  </a:lnTo>
                  <a:lnTo>
                    <a:pt x="135" y="981"/>
                  </a:lnTo>
                  <a:lnTo>
                    <a:pt x="135" y="982"/>
                  </a:lnTo>
                  <a:lnTo>
                    <a:pt x="136" y="982"/>
                  </a:lnTo>
                  <a:lnTo>
                    <a:pt x="136" y="984"/>
                  </a:lnTo>
                  <a:lnTo>
                    <a:pt x="138" y="984"/>
                  </a:lnTo>
                  <a:lnTo>
                    <a:pt x="140" y="984"/>
                  </a:lnTo>
                  <a:lnTo>
                    <a:pt x="140" y="986"/>
                  </a:lnTo>
                  <a:lnTo>
                    <a:pt x="140" y="987"/>
                  </a:lnTo>
                  <a:lnTo>
                    <a:pt x="141" y="987"/>
                  </a:lnTo>
                  <a:lnTo>
                    <a:pt x="141" y="989"/>
                  </a:lnTo>
                  <a:lnTo>
                    <a:pt x="141" y="991"/>
                  </a:lnTo>
                  <a:lnTo>
                    <a:pt x="143" y="991"/>
                  </a:lnTo>
                  <a:lnTo>
                    <a:pt x="143" y="992"/>
                  </a:lnTo>
                  <a:lnTo>
                    <a:pt x="144" y="992"/>
                  </a:lnTo>
                  <a:lnTo>
                    <a:pt x="146" y="992"/>
                  </a:lnTo>
                  <a:lnTo>
                    <a:pt x="146" y="994"/>
                  </a:lnTo>
                  <a:lnTo>
                    <a:pt x="148" y="994"/>
                  </a:lnTo>
                  <a:lnTo>
                    <a:pt x="148" y="992"/>
                  </a:lnTo>
                  <a:lnTo>
                    <a:pt x="148" y="994"/>
                  </a:lnTo>
                  <a:lnTo>
                    <a:pt x="148" y="992"/>
                  </a:lnTo>
                  <a:lnTo>
                    <a:pt x="148" y="994"/>
                  </a:lnTo>
                  <a:lnTo>
                    <a:pt x="149" y="994"/>
                  </a:lnTo>
                  <a:lnTo>
                    <a:pt x="149" y="995"/>
                  </a:lnTo>
                  <a:lnTo>
                    <a:pt x="149" y="997"/>
                  </a:lnTo>
                  <a:lnTo>
                    <a:pt x="151" y="997"/>
                  </a:lnTo>
                  <a:lnTo>
                    <a:pt x="151" y="999"/>
                  </a:lnTo>
                  <a:lnTo>
                    <a:pt x="151" y="1000"/>
                  </a:lnTo>
                  <a:lnTo>
                    <a:pt x="151" y="1002"/>
                  </a:lnTo>
                  <a:lnTo>
                    <a:pt x="149" y="1002"/>
                  </a:lnTo>
                  <a:lnTo>
                    <a:pt x="148" y="1002"/>
                  </a:lnTo>
                  <a:lnTo>
                    <a:pt x="146" y="1002"/>
                  </a:lnTo>
                  <a:lnTo>
                    <a:pt x="148" y="1002"/>
                  </a:lnTo>
                  <a:lnTo>
                    <a:pt x="146" y="1002"/>
                  </a:lnTo>
                  <a:lnTo>
                    <a:pt x="146" y="1004"/>
                  </a:lnTo>
                  <a:lnTo>
                    <a:pt x="148" y="1004"/>
                  </a:lnTo>
                  <a:lnTo>
                    <a:pt x="148" y="1005"/>
                  </a:lnTo>
                  <a:lnTo>
                    <a:pt x="148" y="1007"/>
                  </a:lnTo>
                  <a:lnTo>
                    <a:pt x="148" y="1008"/>
                  </a:lnTo>
                  <a:lnTo>
                    <a:pt x="146" y="1008"/>
                  </a:lnTo>
                  <a:lnTo>
                    <a:pt x="148" y="1008"/>
                  </a:lnTo>
                  <a:lnTo>
                    <a:pt x="149" y="1010"/>
                  </a:lnTo>
                  <a:lnTo>
                    <a:pt x="149" y="1008"/>
                  </a:lnTo>
                  <a:lnTo>
                    <a:pt x="151" y="1010"/>
                  </a:lnTo>
                  <a:lnTo>
                    <a:pt x="151" y="1012"/>
                  </a:lnTo>
                  <a:lnTo>
                    <a:pt x="153" y="1012"/>
                  </a:lnTo>
                  <a:lnTo>
                    <a:pt x="153" y="1013"/>
                  </a:lnTo>
                  <a:lnTo>
                    <a:pt x="154" y="1013"/>
                  </a:lnTo>
                  <a:lnTo>
                    <a:pt x="154" y="1015"/>
                  </a:lnTo>
                  <a:lnTo>
                    <a:pt x="156" y="1017"/>
                  </a:lnTo>
                  <a:lnTo>
                    <a:pt x="156" y="1018"/>
                  </a:lnTo>
                  <a:lnTo>
                    <a:pt x="156" y="1020"/>
                  </a:lnTo>
                  <a:lnTo>
                    <a:pt x="157" y="1020"/>
                  </a:lnTo>
                  <a:lnTo>
                    <a:pt x="156" y="1020"/>
                  </a:lnTo>
                  <a:lnTo>
                    <a:pt x="157" y="1020"/>
                  </a:lnTo>
                  <a:lnTo>
                    <a:pt x="157" y="1021"/>
                  </a:lnTo>
                  <a:lnTo>
                    <a:pt x="159" y="1021"/>
                  </a:lnTo>
                  <a:lnTo>
                    <a:pt x="159" y="1023"/>
                  </a:lnTo>
                  <a:lnTo>
                    <a:pt x="161" y="1023"/>
                  </a:lnTo>
                  <a:lnTo>
                    <a:pt x="161" y="1021"/>
                  </a:lnTo>
                  <a:lnTo>
                    <a:pt x="162" y="1021"/>
                  </a:lnTo>
                  <a:lnTo>
                    <a:pt x="162" y="1020"/>
                  </a:lnTo>
                  <a:lnTo>
                    <a:pt x="162" y="1018"/>
                  </a:lnTo>
                  <a:lnTo>
                    <a:pt x="161" y="1018"/>
                  </a:lnTo>
                  <a:lnTo>
                    <a:pt x="161" y="1017"/>
                  </a:lnTo>
                  <a:lnTo>
                    <a:pt x="159" y="1017"/>
                  </a:lnTo>
                  <a:lnTo>
                    <a:pt x="159" y="1015"/>
                  </a:lnTo>
                  <a:lnTo>
                    <a:pt x="159" y="1017"/>
                  </a:lnTo>
                  <a:lnTo>
                    <a:pt x="161" y="1017"/>
                  </a:lnTo>
                  <a:lnTo>
                    <a:pt x="159" y="1015"/>
                  </a:lnTo>
                  <a:lnTo>
                    <a:pt x="159" y="1013"/>
                  </a:lnTo>
                  <a:lnTo>
                    <a:pt x="157" y="1013"/>
                  </a:lnTo>
                  <a:lnTo>
                    <a:pt x="157" y="1012"/>
                  </a:lnTo>
                  <a:lnTo>
                    <a:pt x="157" y="1010"/>
                  </a:lnTo>
                  <a:lnTo>
                    <a:pt x="159" y="1010"/>
                  </a:lnTo>
                  <a:lnTo>
                    <a:pt x="157" y="1008"/>
                  </a:lnTo>
                  <a:lnTo>
                    <a:pt x="157" y="1007"/>
                  </a:lnTo>
                  <a:lnTo>
                    <a:pt x="159" y="1007"/>
                  </a:lnTo>
                  <a:lnTo>
                    <a:pt x="159" y="1005"/>
                  </a:lnTo>
                  <a:lnTo>
                    <a:pt x="161" y="1004"/>
                  </a:lnTo>
                  <a:lnTo>
                    <a:pt x="161" y="1005"/>
                  </a:lnTo>
                  <a:lnTo>
                    <a:pt x="162" y="1005"/>
                  </a:lnTo>
                  <a:lnTo>
                    <a:pt x="162" y="1004"/>
                  </a:lnTo>
                  <a:lnTo>
                    <a:pt x="161" y="1004"/>
                  </a:lnTo>
                  <a:lnTo>
                    <a:pt x="162" y="1004"/>
                  </a:lnTo>
                  <a:lnTo>
                    <a:pt x="162" y="1005"/>
                  </a:lnTo>
                  <a:lnTo>
                    <a:pt x="164" y="1005"/>
                  </a:lnTo>
                  <a:lnTo>
                    <a:pt x="164" y="1007"/>
                  </a:lnTo>
                  <a:lnTo>
                    <a:pt x="164" y="1008"/>
                  </a:lnTo>
                  <a:lnTo>
                    <a:pt x="166" y="1008"/>
                  </a:lnTo>
                  <a:lnTo>
                    <a:pt x="166" y="1010"/>
                  </a:lnTo>
                  <a:lnTo>
                    <a:pt x="167" y="1010"/>
                  </a:lnTo>
                  <a:lnTo>
                    <a:pt x="167" y="1012"/>
                  </a:lnTo>
                  <a:lnTo>
                    <a:pt x="169" y="1012"/>
                  </a:lnTo>
                  <a:lnTo>
                    <a:pt x="169" y="1013"/>
                  </a:lnTo>
                  <a:lnTo>
                    <a:pt x="170" y="1012"/>
                  </a:lnTo>
                  <a:lnTo>
                    <a:pt x="170" y="1013"/>
                  </a:lnTo>
                  <a:lnTo>
                    <a:pt x="172" y="1013"/>
                  </a:lnTo>
                  <a:lnTo>
                    <a:pt x="174" y="1013"/>
                  </a:lnTo>
                  <a:lnTo>
                    <a:pt x="174" y="1012"/>
                  </a:lnTo>
                  <a:lnTo>
                    <a:pt x="175" y="1012"/>
                  </a:lnTo>
                  <a:lnTo>
                    <a:pt x="175" y="1010"/>
                  </a:lnTo>
                  <a:lnTo>
                    <a:pt x="179" y="1008"/>
                  </a:lnTo>
                  <a:lnTo>
                    <a:pt x="180" y="1008"/>
                  </a:lnTo>
                  <a:lnTo>
                    <a:pt x="183" y="1007"/>
                  </a:lnTo>
                  <a:lnTo>
                    <a:pt x="185" y="1005"/>
                  </a:lnTo>
                  <a:lnTo>
                    <a:pt x="187" y="1005"/>
                  </a:lnTo>
                  <a:lnTo>
                    <a:pt x="188" y="1004"/>
                  </a:lnTo>
                  <a:lnTo>
                    <a:pt x="190" y="1004"/>
                  </a:lnTo>
                  <a:lnTo>
                    <a:pt x="192" y="1004"/>
                  </a:lnTo>
                  <a:lnTo>
                    <a:pt x="192" y="1002"/>
                  </a:lnTo>
                  <a:lnTo>
                    <a:pt x="193" y="1000"/>
                  </a:lnTo>
                  <a:lnTo>
                    <a:pt x="195" y="1000"/>
                  </a:lnTo>
                  <a:lnTo>
                    <a:pt x="195" y="999"/>
                  </a:lnTo>
                  <a:lnTo>
                    <a:pt x="196" y="999"/>
                  </a:lnTo>
                  <a:lnTo>
                    <a:pt x="196" y="1000"/>
                  </a:lnTo>
                  <a:lnTo>
                    <a:pt x="200" y="999"/>
                  </a:lnTo>
                  <a:lnTo>
                    <a:pt x="201" y="999"/>
                  </a:lnTo>
                  <a:lnTo>
                    <a:pt x="201" y="1000"/>
                  </a:lnTo>
                  <a:lnTo>
                    <a:pt x="203" y="1000"/>
                  </a:lnTo>
                  <a:lnTo>
                    <a:pt x="203" y="999"/>
                  </a:lnTo>
                  <a:lnTo>
                    <a:pt x="205" y="999"/>
                  </a:lnTo>
                  <a:lnTo>
                    <a:pt x="205" y="997"/>
                  </a:lnTo>
                  <a:lnTo>
                    <a:pt x="206" y="997"/>
                  </a:lnTo>
                  <a:lnTo>
                    <a:pt x="206" y="995"/>
                  </a:lnTo>
                  <a:lnTo>
                    <a:pt x="208" y="994"/>
                  </a:lnTo>
                  <a:lnTo>
                    <a:pt x="208" y="992"/>
                  </a:lnTo>
                  <a:lnTo>
                    <a:pt x="209" y="992"/>
                  </a:lnTo>
                  <a:lnTo>
                    <a:pt x="211" y="992"/>
                  </a:lnTo>
                  <a:lnTo>
                    <a:pt x="209" y="991"/>
                  </a:lnTo>
                  <a:lnTo>
                    <a:pt x="211" y="992"/>
                  </a:lnTo>
                  <a:lnTo>
                    <a:pt x="211" y="991"/>
                  </a:lnTo>
                  <a:lnTo>
                    <a:pt x="209" y="991"/>
                  </a:lnTo>
                  <a:lnTo>
                    <a:pt x="209" y="989"/>
                  </a:lnTo>
                  <a:lnTo>
                    <a:pt x="208" y="989"/>
                  </a:lnTo>
                  <a:lnTo>
                    <a:pt x="206" y="989"/>
                  </a:lnTo>
                  <a:lnTo>
                    <a:pt x="206" y="991"/>
                  </a:lnTo>
                  <a:lnTo>
                    <a:pt x="205" y="991"/>
                  </a:lnTo>
                  <a:lnTo>
                    <a:pt x="205" y="992"/>
                  </a:lnTo>
                  <a:lnTo>
                    <a:pt x="203" y="992"/>
                  </a:lnTo>
                  <a:lnTo>
                    <a:pt x="201" y="992"/>
                  </a:lnTo>
                  <a:lnTo>
                    <a:pt x="200" y="991"/>
                  </a:lnTo>
                  <a:lnTo>
                    <a:pt x="200" y="992"/>
                  </a:lnTo>
                  <a:lnTo>
                    <a:pt x="198" y="992"/>
                  </a:lnTo>
                  <a:lnTo>
                    <a:pt x="196" y="992"/>
                  </a:lnTo>
                  <a:lnTo>
                    <a:pt x="195" y="992"/>
                  </a:lnTo>
                  <a:lnTo>
                    <a:pt x="193" y="992"/>
                  </a:lnTo>
                  <a:lnTo>
                    <a:pt x="193" y="994"/>
                  </a:lnTo>
                  <a:lnTo>
                    <a:pt x="192" y="994"/>
                  </a:lnTo>
                  <a:lnTo>
                    <a:pt x="190" y="995"/>
                  </a:lnTo>
                  <a:lnTo>
                    <a:pt x="190" y="994"/>
                  </a:lnTo>
                  <a:lnTo>
                    <a:pt x="190" y="995"/>
                  </a:lnTo>
                  <a:lnTo>
                    <a:pt x="188" y="995"/>
                  </a:lnTo>
                  <a:lnTo>
                    <a:pt x="188" y="997"/>
                  </a:lnTo>
                  <a:lnTo>
                    <a:pt x="188" y="995"/>
                  </a:lnTo>
                  <a:lnTo>
                    <a:pt x="188" y="997"/>
                  </a:lnTo>
                  <a:lnTo>
                    <a:pt x="187" y="997"/>
                  </a:lnTo>
                  <a:lnTo>
                    <a:pt x="187" y="999"/>
                  </a:lnTo>
                  <a:lnTo>
                    <a:pt x="187" y="997"/>
                  </a:lnTo>
                  <a:lnTo>
                    <a:pt x="185" y="997"/>
                  </a:lnTo>
                  <a:lnTo>
                    <a:pt x="183" y="995"/>
                  </a:lnTo>
                  <a:lnTo>
                    <a:pt x="183" y="997"/>
                  </a:lnTo>
                  <a:lnTo>
                    <a:pt x="183" y="995"/>
                  </a:lnTo>
                  <a:lnTo>
                    <a:pt x="183" y="997"/>
                  </a:lnTo>
                  <a:lnTo>
                    <a:pt x="183" y="995"/>
                  </a:lnTo>
                  <a:lnTo>
                    <a:pt x="182" y="994"/>
                  </a:lnTo>
                  <a:lnTo>
                    <a:pt x="180" y="992"/>
                  </a:lnTo>
                  <a:lnTo>
                    <a:pt x="179" y="992"/>
                  </a:lnTo>
                  <a:lnTo>
                    <a:pt x="179" y="991"/>
                  </a:lnTo>
                  <a:lnTo>
                    <a:pt x="177" y="991"/>
                  </a:lnTo>
                  <a:lnTo>
                    <a:pt x="177" y="989"/>
                  </a:lnTo>
                  <a:lnTo>
                    <a:pt x="175" y="989"/>
                  </a:lnTo>
                  <a:lnTo>
                    <a:pt x="172" y="989"/>
                  </a:lnTo>
                  <a:lnTo>
                    <a:pt x="170" y="989"/>
                  </a:lnTo>
                  <a:lnTo>
                    <a:pt x="170" y="987"/>
                  </a:lnTo>
                  <a:lnTo>
                    <a:pt x="170" y="989"/>
                  </a:lnTo>
                  <a:lnTo>
                    <a:pt x="172" y="989"/>
                  </a:lnTo>
                  <a:lnTo>
                    <a:pt x="174" y="989"/>
                  </a:lnTo>
                  <a:lnTo>
                    <a:pt x="175" y="989"/>
                  </a:lnTo>
                  <a:lnTo>
                    <a:pt x="177" y="989"/>
                  </a:lnTo>
                  <a:lnTo>
                    <a:pt x="177" y="987"/>
                  </a:lnTo>
                  <a:lnTo>
                    <a:pt x="175" y="987"/>
                  </a:lnTo>
                  <a:lnTo>
                    <a:pt x="177" y="987"/>
                  </a:lnTo>
                  <a:lnTo>
                    <a:pt x="177" y="986"/>
                  </a:lnTo>
                  <a:lnTo>
                    <a:pt x="175" y="986"/>
                  </a:lnTo>
                  <a:lnTo>
                    <a:pt x="174" y="986"/>
                  </a:lnTo>
                  <a:lnTo>
                    <a:pt x="172" y="986"/>
                  </a:lnTo>
                  <a:lnTo>
                    <a:pt x="172" y="984"/>
                  </a:lnTo>
                  <a:lnTo>
                    <a:pt x="170" y="984"/>
                  </a:lnTo>
                  <a:lnTo>
                    <a:pt x="172" y="984"/>
                  </a:lnTo>
                  <a:lnTo>
                    <a:pt x="170" y="984"/>
                  </a:lnTo>
                  <a:lnTo>
                    <a:pt x="172" y="984"/>
                  </a:lnTo>
                  <a:lnTo>
                    <a:pt x="170" y="984"/>
                  </a:lnTo>
                  <a:lnTo>
                    <a:pt x="169" y="986"/>
                  </a:lnTo>
                  <a:lnTo>
                    <a:pt x="170" y="984"/>
                  </a:lnTo>
                  <a:lnTo>
                    <a:pt x="172" y="984"/>
                  </a:lnTo>
                  <a:lnTo>
                    <a:pt x="172" y="982"/>
                  </a:lnTo>
                  <a:lnTo>
                    <a:pt x="170" y="982"/>
                  </a:lnTo>
                  <a:lnTo>
                    <a:pt x="172" y="981"/>
                  </a:lnTo>
                  <a:lnTo>
                    <a:pt x="170" y="981"/>
                  </a:lnTo>
                  <a:lnTo>
                    <a:pt x="170" y="979"/>
                  </a:lnTo>
                  <a:lnTo>
                    <a:pt x="169" y="981"/>
                  </a:lnTo>
                  <a:lnTo>
                    <a:pt x="169" y="979"/>
                  </a:lnTo>
                  <a:lnTo>
                    <a:pt x="169" y="981"/>
                  </a:lnTo>
                  <a:lnTo>
                    <a:pt x="167" y="981"/>
                  </a:lnTo>
                  <a:lnTo>
                    <a:pt x="167" y="979"/>
                  </a:lnTo>
                  <a:lnTo>
                    <a:pt x="166" y="979"/>
                  </a:lnTo>
                  <a:lnTo>
                    <a:pt x="166" y="978"/>
                  </a:lnTo>
                  <a:lnTo>
                    <a:pt x="164" y="978"/>
                  </a:lnTo>
                  <a:lnTo>
                    <a:pt x="162" y="978"/>
                  </a:lnTo>
                  <a:lnTo>
                    <a:pt x="161" y="978"/>
                  </a:lnTo>
                  <a:lnTo>
                    <a:pt x="159" y="976"/>
                  </a:lnTo>
                  <a:lnTo>
                    <a:pt x="161" y="976"/>
                  </a:lnTo>
                  <a:lnTo>
                    <a:pt x="161" y="974"/>
                  </a:lnTo>
                  <a:lnTo>
                    <a:pt x="159" y="976"/>
                  </a:lnTo>
                  <a:lnTo>
                    <a:pt x="157" y="974"/>
                  </a:lnTo>
                  <a:lnTo>
                    <a:pt x="156" y="974"/>
                  </a:lnTo>
                  <a:lnTo>
                    <a:pt x="157" y="973"/>
                  </a:lnTo>
                  <a:lnTo>
                    <a:pt x="156" y="973"/>
                  </a:lnTo>
                  <a:lnTo>
                    <a:pt x="156" y="974"/>
                  </a:lnTo>
                  <a:lnTo>
                    <a:pt x="156" y="973"/>
                  </a:lnTo>
                  <a:lnTo>
                    <a:pt x="156" y="971"/>
                  </a:lnTo>
                  <a:lnTo>
                    <a:pt x="157" y="971"/>
                  </a:lnTo>
                  <a:lnTo>
                    <a:pt x="159" y="971"/>
                  </a:lnTo>
                  <a:lnTo>
                    <a:pt x="157" y="971"/>
                  </a:lnTo>
                  <a:lnTo>
                    <a:pt x="159" y="969"/>
                  </a:lnTo>
                  <a:lnTo>
                    <a:pt x="157" y="969"/>
                  </a:lnTo>
                  <a:lnTo>
                    <a:pt x="156" y="969"/>
                  </a:lnTo>
                  <a:lnTo>
                    <a:pt x="157" y="969"/>
                  </a:lnTo>
                  <a:lnTo>
                    <a:pt x="156" y="969"/>
                  </a:lnTo>
                  <a:lnTo>
                    <a:pt x="156" y="968"/>
                  </a:lnTo>
                  <a:lnTo>
                    <a:pt x="154" y="968"/>
                  </a:lnTo>
                  <a:lnTo>
                    <a:pt x="156" y="966"/>
                  </a:lnTo>
                  <a:lnTo>
                    <a:pt x="154" y="965"/>
                  </a:lnTo>
                  <a:lnTo>
                    <a:pt x="154" y="963"/>
                  </a:lnTo>
                  <a:lnTo>
                    <a:pt x="156" y="961"/>
                  </a:lnTo>
                  <a:lnTo>
                    <a:pt x="154" y="961"/>
                  </a:lnTo>
                  <a:lnTo>
                    <a:pt x="156" y="961"/>
                  </a:lnTo>
                  <a:lnTo>
                    <a:pt x="157" y="961"/>
                  </a:lnTo>
                  <a:lnTo>
                    <a:pt x="157" y="960"/>
                  </a:lnTo>
                  <a:lnTo>
                    <a:pt x="157" y="961"/>
                  </a:lnTo>
                  <a:lnTo>
                    <a:pt x="157" y="960"/>
                  </a:lnTo>
                  <a:lnTo>
                    <a:pt x="159" y="961"/>
                  </a:lnTo>
                  <a:lnTo>
                    <a:pt x="159" y="960"/>
                  </a:lnTo>
                  <a:lnTo>
                    <a:pt x="161" y="960"/>
                  </a:lnTo>
                  <a:lnTo>
                    <a:pt x="161" y="958"/>
                  </a:lnTo>
                  <a:lnTo>
                    <a:pt x="162" y="958"/>
                  </a:lnTo>
                  <a:lnTo>
                    <a:pt x="162" y="956"/>
                  </a:lnTo>
                  <a:lnTo>
                    <a:pt x="164" y="956"/>
                  </a:lnTo>
                  <a:lnTo>
                    <a:pt x="166" y="956"/>
                  </a:lnTo>
                  <a:lnTo>
                    <a:pt x="166" y="958"/>
                  </a:lnTo>
                  <a:lnTo>
                    <a:pt x="167" y="956"/>
                  </a:lnTo>
                  <a:lnTo>
                    <a:pt x="169" y="956"/>
                  </a:lnTo>
                  <a:lnTo>
                    <a:pt x="169" y="958"/>
                  </a:lnTo>
                  <a:lnTo>
                    <a:pt x="170" y="958"/>
                  </a:lnTo>
                  <a:lnTo>
                    <a:pt x="172" y="958"/>
                  </a:lnTo>
                  <a:lnTo>
                    <a:pt x="172" y="956"/>
                  </a:lnTo>
                  <a:lnTo>
                    <a:pt x="172" y="955"/>
                  </a:lnTo>
                  <a:lnTo>
                    <a:pt x="172" y="953"/>
                  </a:lnTo>
                  <a:lnTo>
                    <a:pt x="174" y="953"/>
                  </a:lnTo>
                  <a:lnTo>
                    <a:pt x="175" y="953"/>
                  </a:lnTo>
                  <a:lnTo>
                    <a:pt x="175" y="952"/>
                  </a:lnTo>
                  <a:lnTo>
                    <a:pt x="175" y="950"/>
                  </a:lnTo>
                  <a:lnTo>
                    <a:pt x="174" y="950"/>
                  </a:lnTo>
                  <a:lnTo>
                    <a:pt x="174" y="952"/>
                  </a:lnTo>
                  <a:lnTo>
                    <a:pt x="174" y="950"/>
                  </a:lnTo>
                  <a:lnTo>
                    <a:pt x="172" y="950"/>
                  </a:lnTo>
                  <a:lnTo>
                    <a:pt x="172" y="948"/>
                  </a:lnTo>
                  <a:lnTo>
                    <a:pt x="170" y="947"/>
                  </a:lnTo>
                  <a:lnTo>
                    <a:pt x="169" y="947"/>
                  </a:lnTo>
                  <a:lnTo>
                    <a:pt x="169" y="945"/>
                  </a:lnTo>
                  <a:lnTo>
                    <a:pt x="170" y="945"/>
                  </a:lnTo>
                  <a:lnTo>
                    <a:pt x="172" y="945"/>
                  </a:lnTo>
                  <a:lnTo>
                    <a:pt x="172" y="943"/>
                  </a:lnTo>
                  <a:lnTo>
                    <a:pt x="174" y="943"/>
                  </a:lnTo>
                  <a:lnTo>
                    <a:pt x="175" y="942"/>
                  </a:lnTo>
                  <a:lnTo>
                    <a:pt x="175" y="943"/>
                  </a:lnTo>
                  <a:lnTo>
                    <a:pt x="175" y="945"/>
                  </a:lnTo>
                  <a:lnTo>
                    <a:pt x="175" y="947"/>
                  </a:lnTo>
                  <a:lnTo>
                    <a:pt x="177" y="947"/>
                  </a:lnTo>
                  <a:lnTo>
                    <a:pt x="179" y="947"/>
                  </a:lnTo>
                  <a:lnTo>
                    <a:pt x="179" y="945"/>
                  </a:lnTo>
                  <a:lnTo>
                    <a:pt x="179" y="943"/>
                  </a:lnTo>
                  <a:lnTo>
                    <a:pt x="179" y="942"/>
                  </a:lnTo>
                  <a:lnTo>
                    <a:pt x="177" y="943"/>
                  </a:lnTo>
                  <a:lnTo>
                    <a:pt x="177" y="942"/>
                  </a:lnTo>
                  <a:lnTo>
                    <a:pt x="177" y="940"/>
                  </a:lnTo>
                  <a:lnTo>
                    <a:pt x="179" y="940"/>
                  </a:lnTo>
                  <a:lnTo>
                    <a:pt x="179" y="938"/>
                  </a:lnTo>
                  <a:lnTo>
                    <a:pt x="180" y="938"/>
                  </a:lnTo>
                  <a:lnTo>
                    <a:pt x="180" y="937"/>
                  </a:lnTo>
                  <a:lnTo>
                    <a:pt x="182" y="937"/>
                  </a:lnTo>
                  <a:lnTo>
                    <a:pt x="182" y="935"/>
                  </a:lnTo>
                  <a:lnTo>
                    <a:pt x="182" y="937"/>
                  </a:lnTo>
                  <a:lnTo>
                    <a:pt x="183" y="937"/>
                  </a:lnTo>
                  <a:lnTo>
                    <a:pt x="185" y="935"/>
                  </a:lnTo>
                  <a:lnTo>
                    <a:pt x="187" y="935"/>
                  </a:lnTo>
                  <a:lnTo>
                    <a:pt x="187" y="934"/>
                  </a:lnTo>
                  <a:lnTo>
                    <a:pt x="185" y="932"/>
                  </a:lnTo>
                  <a:lnTo>
                    <a:pt x="185" y="930"/>
                  </a:lnTo>
                  <a:lnTo>
                    <a:pt x="185" y="932"/>
                  </a:lnTo>
                  <a:lnTo>
                    <a:pt x="183" y="932"/>
                  </a:lnTo>
                  <a:lnTo>
                    <a:pt x="183" y="930"/>
                  </a:lnTo>
                  <a:lnTo>
                    <a:pt x="185" y="929"/>
                  </a:lnTo>
                  <a:lnTo>
                    <a:pt x="183" y="927"/>
                  </a:lnTo>
                  <a:lnTo>
                    <a:pt x="183" y="925"/>
                  </a:lnTo>
                  <a:lnTo>
                    <a:pt x="182" y="925"/>
                  </a:lnTo>
                  <a:lnTo>
                    <a:pt x="180" y="927"/>
                  </a:lnTo>
                  <a:lnTo>
                    <a:pt x="180" y="929"/>
                  </a:lnTo>
                  <a:lnTo>
                    <a:pt x="179" y="929"/>
                  </a:lnTo>
                  <a:lnTo>
                    <a:pt x="180" y="929"/>
                  </a:lnTo>
                  <a:lnTo>
                    <a:pt x="179" y="929"/>
                  </a:lnTo>
                  <a:lnTo>
                    <a:pt x="179" y="930"/>
                  </a:lnTo>
                  <a:lnTo>
                    <a:pt x="180" y="929"/>
                  </a:lnTo>
                  <a:lnTo>
                    <a:pt x="180" y="930"/>
                  </a:lnTo>
                  <a:lnTo>
                    <a:pt x="179" y="930"/>
                  </a:lnTo>
                  <a:lnTo>
                    <a:pt x="177" y="930"/>
                  </a:lnTo>
                  <a:lnTo>
                    <a:pt x="179" y="930"/>
                  </a:lnTo>
                  <a:lnTo>
                    <a:pt x="177" y="929"/>
                  </a:lnTo>
                  <a:lnTo>
                    <a:pt x="177" y="930"/>
                  </a:lnTo>
                  <a:lnTo>
                    <a:pt x="177" y="929"/>
                  </a:lnTo>
                  <a:lnTo>
                    <a:pt x="175" y="929"/>
                  </a:lnTo>
                  <a:lnTo>
                    <a:pt x="174" y="929"/>
                  </a:lnTo>
                  <a:lnTo>
                    <a:pt x="174" y="927"/>
                  </a:lnTo>
                  <a:lnTo>
                    <a:pt x="172" y="927"/>
                  </a:lnTo>
                  <a:lnTo>
                    <a:pt x="174" y="927"/>
                  </a:lnTo>
                  <a:lnTo>
                    <a:pt x="172" y="927"/>
                  </a:lnTo>
                  <a:lnTo>
                    <a:pt x="172" y="929"/>
                  </a:lnTo>
                  <a:lnTo>
                    <a:pt x="170" y="929"/>
                  </a:lnTo>
                  <a:lnTo>
                    <a:pt x="172" y="929"/>
                  </a:lnTo>
                  <a:lnTo>
                    <a:pt x="172" y="930"/>
                  </a:lnTo>
                  <a:lnTo>
                    <a:pt x="170" y="930"/>
                  </a:lnTo>
                  <a:lnTo>
                    <a:pt x="170" y="929"/>
                  </a:lnTo>
                  <a:lnTo>
                    <a:pt x="169" y="929"/>
                  </a:lnTo>
                  <a:lnTo>
                    <a:pt x="166" y="930"/>
                  </a:lnTo>
                  <a:lnTo>
                    <a:pt x="166" y="932"/>
                  </a:lnTo>
                  <a:lnTo>
                    <a:pt x="166" y="934"/>
                  </a:lnTo>
                  <a:lnTo>
                    <a:pt x="164" y="932"/>
                  </a:lnTo>
                  <a:lnTo>
                    <a:pt x="164" y="934"/>
                  </a:lnTo>
                  <a:lnTo>
                    <a:pt x="162" y="934"/>
                  </a:lnTo>
                  <a:lnTo>
                    <a:pt x="162" y="932"/>
                  </a:lnTo>
                  <a:lnTo>
                    <a:pt x="162" y="930"/>
                  </a:lnTo>
                  <a:lnTo>
                    <a:pt x="161" y="930"/>
                  </a:lnTo>
                  <a:lnTo>
                    <a:pt x="159" y="932"/>
                  </a:lnTo>
                  <a:lnTo>
                    <a:pt x="157" y="932"/>
                  </a:lnTo>
                  <a:lnTo>
                    <a:pt x="157" y="930"/>
                  </a:lnTo>
                  <a:lnTo>
                    <a:pt x="157" y="929"/>
                  </a:lnTo>
                  <a:lnTo>
                    <a:pt x="156" y="929"/>
                  </a:lnTo>
                  <a:lnTo>
                    <a:pt x="156" y="930"/>
                  </a:lnTo>
                  <a:lnTo>
                    <a:pt x="156" y="929"/>
                  </a:lnTo>
                  <a:lnTo>
                    <a:pt x="154" y="929"/>
                  </a:lnTo>
                  <a:lnTo>
                    <a:pt x="156" y="929"/>
                  </a:lnTo>
                  <a:lnTo>
                    <a:pt x="156" y="927"/>
                  </a:lnTo>
                  <a:lnTo>
                    <a:pt x="154" y="927"/>
                  </a:lnTo>
                  <a:lnTo>
                    <a:pt x="154" y="925"/>
                  </a:lnTo>
                  <a:lnTo>
                    <a:pt x="154" y="924"/>
                  </a:lnTo>
                  <a:lnTo>
                    <a:pt x="154" y="922"/>
                  </a:lnTo>
                  <a:lnTo>
                    <a:pt x="154" y="921"/>
                  </a:lnTo>
                  <a:lnTo>
                    <a:pt x="156" y="921"/>
                  </a:lnTo>
                  <a:lnTo>
                    <a:pt x="156" y="919"/>
                  </a:lnTo>
                  <a:lnTo>
                    <a:pt x="154" y="919"/>
                  </a:lnTo>
                  <a:lnTo>
                    <a:pt x="154" y="921"/>
                  </a:lnTo>
                  <a:lnTo>
                    <a:pt x="153" y="921"/>
                  </a:lnTo>
                  <a:lnTo>
                    <a:pt x="153" y="919"/>
                  </a:lnTo>
                  <a:lnTo>
                    <a:pt x="154" y="917"/>
                  </a:lnTo>
                  <a:lnTo>
                    <a:pt x="156" y="917"/>
                  </a:lnTo>
                  <a:lnTo>
                    <a:pt x="156" y="916"/>
                  </a:lnTo>
                  <a:lnTo>
                    <a:pt x="157" y="916"/>
                  </a:lnTo>
                  <a:lnTo>
                    <a:pt x="157" y="914"/>
                  </a:lnTo>
                  <a:lnTo>
                    <a:pt x="159" y="914"/>
                  </a:lnTo>
                  <a:lnTo>
                    <a:pt x="159" y="912"/>
                  </a:lnTo>
                  <a:lnTo>
                    <a:pt x="161" y="912"/>
                  </a:lnTo>
                  <a:lnTo>
                    <a:pt x="162" y="911"/>
                  </a:lnTo>
                  <a:lnTo>
                    <a:pt x="161" y="909"/>
                  </a:lnTo>
                  <a:lnTo>
                    <a:pt x="159" y="908"/>
                  </a:lnTo>
                  <a:lnTo>
                    <a:pt x="159" y="906"/>
                  </a:lnTo>
                  <a:lnTo>
                    <a:pt x="157" y="906"/>
                  </a:lnTo>
                  <a:lnTo>
                    <a:pt x="157" y="904"/>
                  </a:lnTo>
                  <a:lnTo>
                    <a:pt x="156" y="904"/>
                  </a:lnTo>
                  <a:lnTo>
                    <a:pt x="154" y="903"/>
                  </a:lnTo>
                  <a:lnTo>
                    <a:pt x="153" y="901"/>
                  </a:lnTo>
                  <a:lnTo>
                    <a:pt x="151" y="901"/>
                  </a:lnTo>
                  <a:lnTo>
                    <a:pt x="149" y="901"/>
                  </a:lnTo>
                  <a:lnTo>
                    <a:pt x="146" y="901"/>
                  </a:lnTo>
                  <a:lnTo>
                    <a:pt x="144" y="899"/>
                  </a:lnTo>
                  <a:lnTo>
                    <a:pt x="144" y="898"/>
                  </a:lnTo>
                  <a:lnTo>
                    <a:pt x="143" y="896"/>
                  </a:lnTo>
                  <a:lnTo>
                    <a:pt x="141" y="896"/>
                  </a:lnTo>
                  <a:lnTo>
                    <a:pt x="141" y="895"/>
                  </a:lnTo>
                  <a:lnTo>
                    <a:pt x="141" y="893"/>
                  </a:lnTo>
                  <a:lnTo>
                    <a:pt x="140" y="891"/>
                  </a:lnTo>
                  <a:lnTo>
                    <a:pt x="140" y="890"/>
                  </a:lnTo>
                  <a:lnTo>
                    <a:pt x="138" y="890"/>
                  </a:lnTo>
                  <a:lnTo>
                    <a:pt x="138" y="888"/>
                  </a:lnTo>
                  <a:lnTo>
                    <a:pt x="135" y="888"/>
                  </a:lnTo>
                  <a:lnTo>
                    <a:pt x="133" y="888"/>
                  </a:lnTo>
                  <a:lnTo>
                    <a:pt x="131" y="890"/>
                  </a:lnTo>
                  <a:lnTo>
                    <a:pt x="130" y="890"/>
                  </a:lnTo>
                  <a:lnTo>
                    <a:pt x="128" y="890"/>
                  </a:lnTo>
                  <a:lnTo>
                    <a:pt x="127" y="890"/>
                  </a:lnTo>
                  <a:lnTo>
                    <a:pt x="125" y="890"/>
                  </a:lnTo>
                  <a:lnTo>
                    <a:pt x="127" y="888"/>
                  </a:lnTo>
                  <a:lnTo>
                    <a:pt x="125" y="888"/>
                  </a:lnTo>
                  <a:lnTo>
                    <a:pt x="127" y="888"/>
                  </a:lnTo>
                  <a:lnTo>
                    <a:pt x="127" y="886"/>
                  </a:lnTo>
                  <a:lnTo>
                    <a:pt x="127" y="885"/>
                  </a:lnTo>
                  <a:lnTo>
                    <a:pt x="127" y="883"/>
                  </a:lnTo>
                  <a:lnTo>
                    <a:pt x="128" y="883"/>
                  </a:lnTo>
                  <a:lnTo>
                    <a:pt x="128" y="882"/>
                  </a:lnTo>
                  <a:lnTo>
                    <a:pt x="130" y="882"/>
                  </a:lnTo>
                  <a:lnTo>
                    <a:pt x="130" y="883"/>
                  </a:lnTo>
                  <a:lnTo>
                    <a:pt x="130" y="885"/>
                  </a:lnTo>
                  <a:lnTo>
                    <a:pt x="128" y="885"/>
                  </a:lnTo>
                  <a:lnTo>
                    <a:pt x="128" y="883"/>
                  </a:lnTo>
                  <a:lnTo>
                    <a:pt x="128" y="885"/>
                  </a:lnTo>
                  <a:lnTo>
                    <a:pt x="127" y="885"/>
                  </a:lnTo>
                  <a:lnTo>
                    <a:pt x="128" y="886"/>
                  </a:lnTo>
                  <a:lnTo>
                    <a:pt x="130" y="885"/>
                  </a:lnTo>
                  <a:lnTo>
                    <a:pt x="130" y="886"/>
                  </a:lnTo>
                  <a:lnTo>
                    <a:pt x="131" y="886"/>
                  </a:lnTo>
                  <a:lnTo>
                    <a:pt x="133" y="886"/>
                  </a:lnTo>
                  <a:lnTo>
                    <a:pt x="131" y="885"/>
                  </a:lnTo>
                  <a:lnTo>
                    <a:pt x="130" y="885"/>
                  </a:lnTo>
                  <a:lnTo>
                    <a:pt x="131" y="885"/>
                  </a:lnTo>
                  <a:lnTo>
                    <a:pt x="131" y="883"/>
                  </a:lnTo>
                  <a:lnTo>
                    <a:pt x="131" y="882"/>
                  </a:lnTo>
                  <a:lnTo>
                    <a:pt x="133" y="882"/>
                  </a:lnTo>
                  <a:lnTo>
                    <a:pt x="133" y="880"/>
                  </a:lnTo>
                  <a:lnTo>
                    <a:pt x="135" y="878"/>
                  </a:lnTo>
                  <a:lnTo>
                    <a:pt x="133" y="878"/>
                  </a:lnTo>
                  <a:lnTo>
                    <a:pt x="135" y="877"/>
                  </a:lnTo>
                  <a:lnTo>
                    <a:pt x="136" y="877"/>
                  </a:lnTo>
                  <a:lnTo>
                    <a:pt x="136" y="875"/>
                  </a:lnTo>
                  <a:lnTo>
                    <a:pt x="138" y="875"/>
                  </a:lnTo>
                  <a:lnTo>
                    <a:pt x="136" y="875"/>
                  </a:lnTo>
                  <a:lnTo>
                    <a:pt x="138" y="875"/>
                  </a:lnTo>
                  <a:lnTo>
                    <a:pt x="140" y="873"/>
                  </a:lnTo>
                  <a:lnTo>
                    <a:pt x="140" y="872"/>
                  </a:lnTo>
                  <a:lnTo>
                    <a:pt x="141" y="872"/>
                  </a:lnTo>
                  <a:lnTo>
                    <a:pt x="141" y="870"/>
                  </a:lnTo>
                  <a:lnTo>
                    <a:pt x="143" y="870"/>
                  </a:lnTo>
                  <a:lnTo>
                    <a:pt x="143" y="869"/>
                  </a:lnTo>
                  <a:lnTo>
                    <a:pt x="144" y="869"/>
                  </a:lnTo>
                  <a:lnTo>
                    <a:pt x="144" y="867"/>
                  </a:lnTo>
                  <a:lnTo>
                    <a:pt x="143" y="865"/>
                  </a:lnTo>
                  <a:lnTo>
                    <a:pt x="143" y="867"/>
                  </a:lnTo>
                  <a:lnTo>
                    <a:pt x="143" y="865"/>
                  </a:lnTo>
                  <a:lnTo>
                    <a:pt x="143" y="864"/>
                  </a:lnTo>
                  <a:lnTo>
                    <a:pt x="141" y="864"/>
                  </a:lnTo>
                  <a:lnTo>
                    <a:pt x="141" y="862"/>
                  </a:lnTo>
                  <a:lnTo>
                    <a:pt x="143" y="862"/>
                  </a:lnTo>
                  <a:lnTo>
                    <a:pt x="144" y="862"/>
                  </a:lnTo>
                  <a:lnTo>
                    <a:pt x="146" y="862"/>
                  </a:lnTo>
                  <a:lnTo>
                    <a:pt x="146" y="860"/>
                  </a:lnTo>
                  <a:lnTo>
                    <a:pt x="148" y="860"/>
                  </a:lnTo>
                  <a:lnTo>
                    <a:pt x="148" y="859"/>
                  </a:lnTo>
                  <a:lnTo>
                    <a:pt x="148" y="857"/>
                  </a:lnTo>
                  <a:lnTo>
                    <a:pt x="146" y="856"/>
                  </a:lnTo>
                  <a:lnTo>
                    <a:pt x="148" y="856"/>
                  </a:lnTo>
                  <a:lnTo>
                    <a:pt x="148" y="854"/>
                  </a:lnTo>
                  <a:lnTo>
                    <a:pt x="148" y="856"/>
                  </a:lnTo>
                  <a:lnTo>
                    <a:pt x="149" y="856"/>
                  </a:lnTo>
                  <a:lnTo>
                    <a:pt x="151" y="854"/>
                  </a:lnTo>
                  <a:lnTo>
                    <a:pt x="153" y="852"/>
                  </a:lnTo>
                  <a:lnTo>
                    <a:pt x="154" y="852"/>
                  </a:lnTo>
                  <a:lnTo>
                    <a:pt x="154" y="851"/>
                  </a:lnTo>
                  <a:lnTo>
                    <a:pt x="154" y="849"/>
                  </a:lnTo>
                  <a:lnTo>
                    <a:pt x="154" y="847"/>
                  </a:lnTo>
                  <a:lnTo>
                    <a:pt x="154" y="846"/>
                  </a:lnTo>
                  <a:lnTo>
                    <a:pt x="154" y="844"/>
                  </a:lnTo>
                  <a:lnTo>
                    <a:pt x="156" y="843"/>
                  </a:lnTo>
                  <a:lnTo>
                    <a:pt x="154" y="841"/>
                  </a:lnTo>
                  <a:lnTo>
                    <a:pt x="153" y="839"/>
                  </a:lnTo>
                  <a:lnTo>
                    <a:pt x="151" y="839"/>
                  </a:lnTo>
                  <a:lnTo>
                    <a:pt x="151" y="838"/>
                  </a:lnTo>
                  <a:lnTo>
                    <a:pt x="149" y="839"/>
                  </a:lnTo>
                  <a:lnTo>
                    <a:pt x="148" y="839"/>
                  </a:lnTo>
                  <a:lnTo>
                    <a:pt x="146" y="839"/>
                  </a:lnTo>
                  <a:lnTo>
                    <a:pt x="144" y="841"/>
                  </a:lnTo>
                  <a:lnTo>
                    <a:pt x="146" y="843"/>
                  </a:lnTo>
                  <a:lnTo>
                    <a:pt x="144" y="843"/>
                  </a:lnTo>
                  <a:lnTo>
                    <a:pt x="143" y="844"/>
                  </a:lnTo>
                  <a:lnTo>
                    <a:pt x="141" y="843"/>
                  </a:lnTo>
                  <a:lnTo>
                    <a:pt x="140" y="843"/>
                  </a:lnTo>
                  <a:lnTo>
                    <a:pt x="138" y="844"/>
                  </a:lnTo>
                  <a:lnTo>
                    <a:pt x="136" y="844"/>
                  </a:lnTo>
                  <a:lnTo>
                    <a:pt x="135" y="844"/>
                  </a:lnTo>
                  <a:lnTo>
                    <a:pt x="133" y="846"/>
                  </a:lnTo>
                  <a:lnTo>
                    <a:pt x="131" y="846"/>
                  </a:lnTo>
                  <a:lnTo>
                    <a:pt x="130" y="846"/>
                  </a:lnTo>
                  <a:lnTo>
                    <a:pt x="128" y="847"/>
                  </a:lnTo>
                  <a:lnTo>
                    <a:pt x="127" y="847"/>
                  </a:lnTo>
                  <a:lnTo>
                    <a:pt x="125" y="847"/>
                  </a:lnTo>
                  <a:lnTo>
                    <a:pt x="123" y="849"/>
                  </a:lnTo>
                  <a:lnTo>
                    <a:pt x="122" y="849"/>
                  </a:lnTo>
                  <a:lnTo>
                    <a:pt x="120" y="849"/>
                  </a:lnTo>
                  <a:lnTo>
                    <a:pt x="120" y="851"/>
                  </a:lnTo>
                  <a:lnTo>
                    <a:pt x="118" y="851"/>
                  </a:lnTo>
                  <a:lnTo>
                    <a:pt x="118" y="852"/>
                  </a:lnTo>
                  <a:lnTo>
                    <a:pt x="117" y="852"/>
                  </a:lnTo>
                  <a:lnTo>
                    <a:pt x="115" y="852"/>
                  </a:lnTo>
                  <a:lnTo>
                    <a:pt x="113" y="854"/>
                  </a:lnTo>
                  <a:lnTo>
                    <a:pt x="112" y="854"/>
                  </a:lnTo>
                  <a:lnTo>
                    <a:pt x="112" y="856"/>
                  </a:lnTo>
                  <a:lnTo>
                    <a:pt x="110" y="856"/>
                  </a:lnTo>
                  <a:lnTo>
                    <a:pt x="109" y="856"/>
                  </a:lnTo>
                  <a:lnTo>
                    <a:pt x="107" y="856"/>
                  </a:lnTo>
                  <a:lnTo>
                    <a:pt x="107" y="857"/>
                  </a:lnTo>
                  <a:lnTo>
                    <a:pt x="105" y="857"/>
                  </a:lnTo>
                  <a:lnTo>
                    <a:pt x="104" y="857"/>
                  </a:lnTo>
                  <a:lnTo>
                    <a:pt x="104" y="859"/>
                  </a:lnTo>
                  <a:lnTo>
                    <a:pt x="102" y="859"/>
                  </a:lnTo>
                  <a:lnTo>
                    <a:pt x="100" y="859"/>
                  </a:lnTo>
                  <a:lnTo>
                    <a:pt x="100" y="860"/>
                  </a:lnTo>
                  <a:lnTo>
                    <a:pt x="99" y="860"/>
                  </a:lnTo>
                  <a:lnTo>
                    <a:pt x="99" y="862"/>
                  </a:lnTo>
                  <a:lnTo>
                    <a:pt x="97" y="862"/>
                  </a:lnTo>
                  <a:lnTo>
                    <a:pt x="96" y="864"/>
                  </a:lnTo>
                  <a:lnTo>
                    <a:pt x="94" y="864"/>
                  </a:lnTo>
                  <a:lnTo>
                    <a:pt x="94" y="865"/>
                  </a:lnTo>
                  <a:lnTo>
                    <a:pt x="94" y="867"/>
                  </a:lnTo>
                  <a:lnTo>
                    <a:pt x="92" y="865"/>
                  </a:lnTo>
                  <a:lnTo>
                    <a:pt x="91" y="865"/>
                  </a:lnTo>
                  <a:lnTo>
                    <a:pt x="91" y="867"/>
                  </a:lnTo>
                  <a:lnTo>
                    <a:pt x="89" y="867"/>
                  </a:lnTo>
                  <a:lnTo>
                    <a:pt x="87" y="867"/>
                  </a:lnTo>
                  <a:lnTo>
                    <a:pt x="86" y="867"/>
                  </a:lnTo>
                  <a:lnTo>
                    <a:pt x="84" y="867"/>
                  </a:lnTo>
                  <a:lnTo>
                    <a:pt x="83" y="869"/>
                  </a:lnTo>
                  <a:lnTo>
                    <a:pt x="81" y="869"/>
                  </a:lnTo>
                  <a:lnTo>
                    <a:pt x="81" y="870"/>
                  </a:lnTo>
                  <a:lnTo>
                    <a:pt x="81" y="872"/>
                  </a:lnTo>
                  <a:lnTo>
                    <a:pt x="79" y="872"/>
                  </a:lnTo>
                  <a:lnTo>
                    <a:pt x="79" y="870"/>
                  </a:lnTo>
                  <a:lnTo>
                    <a:pt x="78" y="870"/>
                  </a:lnTo>
                  <a:lnTo>
                    <a:pt x="78" y="872"/>
                  </a:lnTo>
                  <a:lnTo>
                    <a:pt x="76" y="872"/>
                  </a:lnTo>
                  <a:lnTo>
                    <a:pt x="76" y="873"/>
                  </a:lnTo>
                  <a:lnTo>
                    <a:pt x="74" y="873"/>
                  </a:lnTo>
                  <a:lnTo>
                    <a:pt x="73" y="873"/>
                  </a:lnTo>
                  <a:lnTo>
                    <a:pt x="71" y="875"/>
                  </a:lnTo>
                  <a:lnTo>
                    <a:pt x="70" y="875"/>
                  </a:lnTo>
                  <a:lnTo>
                    <a:pt x="68" y="875"/>
                  </a:lnTo>
                  <a:lnTo>
                    <a:pt x="66" y="875"/>
                  </a:lnTo>
                  <a:lnTo>
                    <a:pt x="65" y="875"/>
                  </a:lnTo>
                  <a:lnTo>
                    <a:pt x="63" y="875"/>
                  </a:lnTo>
                  <a:lnTo>
                    <a:pt x="61" y="875"/>
                  </a:lnTo>
                  <a:lnTo>
                    <a:pt x="60" y="873"/>
                  </a:lnTo>
                  <a:lnTo>
                    <a:pt x="60" y="872"/>
                  </a:lnTo>
                  <a:lnTo>
                    <a:pt x="61" y="870"/>
                  </a:lnTo>
                  <a:lnTo>
                    <a:pt x="60" y="870"/>
                  </a:lnTo>
                  <a:lnTo>
                    <a:pt x="61" y="869"/>
                  </a:lnTo>
                  <a:lnTo>
                    <a:pt x="61" y="867"/>
                  </a:lnTo>
                  <a:lnTo>
                    <a:pt x="61" y="865"/>
                  </a:lnTo>
                  <a:lnTo>
                    <a:pt x="61" y="864"/>
                  </a:lnTo>
                  <a:lnTo>
                    <a:pt x="61" y="862"/>
                  </a:lnTo>
                  <a:lnTo>
                    <a:pt x="61" y="860"/>
                  </a:lnTo>
                  <a:lnTo>
                    <a:pt x="61" y="857"/>
                  </a:lnTo>
                  <a:lnTo>
                    <a:pt x="63" y="856"/>
                  </a:lnTo>
                  <a:lnTo>
                    <a:pt x="65" y="856"/>
                  </a:lnTo>
                  <a:lnTo>
                    <a:pt x="65" y="852"/>
                  </a:lnTo>
                  <a:lnTo>
                    <a:pt x="66" y="852"/>
                  </a:lnTo>
                  <a:lnTo>
                    <a:pt x="66" y="851"/>
                  </a:lnTo>
                  <a:lnTo>
                    <a:pt x="66" y="847"/>
                  </a:lnTo>
                  <a:lnTo>
                    <a:pt x="66" y="846"/>
                  </a:lnTo>
                  <a:lnTo>
                    <a:pt x="66" y="844"/>
                  </a:lnTo>
                  <a:lnTo>
                    <a:pt x="66" y="843"/>
                  </a:lnTo>
                  <a:lnTo>
                    <a:pt x="65" y="843"/>
                  </a:lnTo>
                  <a:lnTo>
                    <a:pt x="65" y="841"/>
                  </a:lnTo>
                  <a:lnTo>
                    <a:pt x="65" y="839"/>
                  </a:lnTo>
                  <a:lnTo>
                    <a:pt x="65" y="838"/>
                  </a:lnTo>
                  <a:lnTo>
                    <a:pt x="63" y="838"/>
                  </a:lnTo>
                  <a:lnTo>
                    <a:pt x="63" y="836"/>
                  </a:lnTo>
                  <a:lnTo>
                    <a:pt x="61" y="834"/>
                  </a:lnTo>
                  <a:lnTo>
                    <a:pt x="61" y="833"/>
                  </a:lnTo>
                  <a:lnTo>
                    <a:pt x="61" y="831"/>
                  </a:lnTo>
                  <a:lnTo>
                    <a:pt x="63" y="831"/>
                  </a:lnTo>
                  <a:lnTo>
                    <a:pt x="63" y="830"/>
                  </a:lnTo>
                  <a:lnTo>
                    <a:pt x="61" y="828"/>
                  </a:lnTo>
                  <a:lnTo>
                    <a:pt x="61" y="826"/>
                  </a:lnTo>
                  <a:lnTo>
                    <a:pt x="61" y="825"/>
                  </a:lnTo>
                  <a:lnTo>
                    <a:pt x="61" y="823"/>
                  </a:lnTo>
                  <a:lnTo>
                    <a:pt x="58" y="821"/>
                  </a:lnTo>
                  <a:lnTo>
                    <a:pt x="60" y="821"/>
                  </a:lnTo>
                  <a:lnTo>
                    <a:pt x="60" y="820"/>
                  </a:lnTo>
                  <a:lnTo>
                    <a:pt x="58" y="820"/>
                  </a:lnTo>
                  <a:lnTo>
                    <a:pt x="60" y="818"/>
                  </a:lnTo>
                  <a:lnTo>
                    <a:pt x="58" y="818"/>
                  </a:lnTo>
                  <a:lnTo>
                    <a:pt x="58" y="817"/>
                  </a:lnTo>
                  <a:lnTo>
                    <a:pt x="60" y="817"/>
                  </a:lnTo>
                  <a:lnTo>
                    <a:pt x="60" y="815"/>
                  </a:lnTo>
                  <a:lnTo>
                    <a:pt x="60" y="813"/>
                  </a:lnTo>
                  <a:lnTo>
                    <a:pt x="58" y="812"/>
                  </a:lnTo>
                  <a:lnTo>
                    <a:pt x="58" y="810"/>
                  </a:lnTo>
                  <a:lnTo>
                    <a:pt x="58" y="808"/>
                  </a:lnTo>
                  <a:lnTo>
                    <a:pt x="58" y="807"/>
                  </a:lnTo>
                  <a:lnTo>
                    <a:pt x="58" y="805"/>
                  </a:lnTo>
                  <a:lnTo>
                    <a:pt x="58" y="803"/>
                  </a:lnTo>
                  <a:lnTo>
                    <a:pt x="58" y="802"/>
                  </a:lnTo>
                  <a:lnTo>
                    <a:pt x="58" y="799"/>
                  </a:lnTo>
                  <a:lnTo>
                    <a:pt x="60" y="799"/>
                  </a:lnTo>
                  <a:lnTo>
                    <a:pt x="60" y="797"/>
                  </a:lnTo>
                  <a:lnTo>
                    <a:pt x="60" y="795"/>
                  </a:lnTo>
                  <a:lnTo>
                    <a:pt x="61" y="797"/>
                  </a:lnTo>
                  <a:lnTo>
                    <a:pt x="63" y="797"/>
                  </a:lnTo>
                  <a:lnTo>
                    <a:pt x="65" y="797"/>
                  </a:lnTo>
                  <a:lnTo>
                    <a:pt x="66" y="797"/>
                  </a:lnTo>
                  <a:lnTo>
                    <a:pt x="68" y="795"/>
                  </a:lnTo>
                  <a:lnTo>
                    <a:pt x="70" y="795"/>
                  </a:lnTo>
                  <a:lnTo>
                    <a:pt x="71" y="794"/>
                  </a:lnTo>
                  <a:lnTo>
                    <a:pt x="73" y="792"/>
                  </a:lnTo>
                  <a:lnTo>
                    <a:pt x="74" y="792"/>
                  </a:lnTo>
                  <a:lnTo>
                    <a:pt x="74" y="790"/>
                  </a:lnTo>
                  <a:lnTo>
                    <a:pt x="74" y="789"/>
                  </a:lnTo>
                  <a:lnTo>
                    <a:pt x="76" y="787"/>
                  </a:lnTo>
                  <a:lnTo>
                    <a:pt x="76" y="786"/>
                  </a:lnTo>
                  <a:lnTo>
                    <a:pt x="76" y="784"/>
                  </a:lnTo>
                  <a:lnTo>
                    <a:pt x="76" y="782"/>
                  </a:lnTo>
                  <a:lnTo>
                    <a:pt x="76" y="781"/>
                  </a:lnTo>
                  <a:lnTo>
                    <a:pt x="76" y="779"/>
                  </a:lnTo>
                  <a:lnTo>
                    <a:pt x="78" y="779"/>
                  </a:lnTo>
                  <a:lnTo>
                    <a:pt x="79" y="777"/>
                  </a:lnTo>
                  <a:lnTo>
                    <a:pt x="79" y="776"/>
                  </a:lnTo>
                  <a:lnTo>
                    <a:pt x="81" y="776"/>
                  </a:lnTo>
                  <a:lnTo>
                    <a:pt x="79" y="774"/>
                  </a:lnTo>
                  <a:lnTo>
                    <a:pt x="79" y="773"/>
                  </a:lnTo>
                  <a:lnTo>
                    <a:pt x="78" y="773"/>
                  </a:lnTo>
                  <a:lnTo>
                    <a:pt x="78" y="771"/>
                  </a:lnTo>
                  <a:lnTo>
                    <a:pt x="79" y="771"/>
                  </a:lnTo>
                  <a:lnTo>
                    <a:pt x="78" y="769"/>
                  </a:lnTo>
                  <a:lnTo>
                    <a:pt x="78" y="768"/>
                  </a:lnTo>
                  <a:lnTo>
                    <a:pt x="78" y="766"/>
                  </a:lnTo>
                  <a:lnTo>
                    <a:pt x="78" y="764"/>
                  </a:lnTo>
                  <a:lnTo>
                    <a:pt x="79" y="764"/>
                  </a:lnTo>
                  <a:lnTo>
                    <a:pt x="81" y="764"/>
                  </a:lnTo>
                  <a:lnTo>
                    <a:pt x="83" y="764"/>
                  </a:lnTo>
                  <a:lnTo>
                    <a:pt x="83" y="763"/>
                  </a:lnTo>
                  <a:lnTo>
                    <a:pt x="84" y="763"/>
                  </a:lnTo>
                  <a:lnTo>
                    <a:pt x="86" y="763"/>
                  </a:lnTo>
                  <a:lnTo>
                    <a:pt x="87" y="761"/>
                  </a:lnTo>
                  <a:lnTo>
                    <a:pt x="89" y="760"/>
                  </a:lnTo>
                  <a:lnTo>
                    <a:pt x="91" y="758"/>
                  </a:lnTo>
                  <a:lnTo>
                    <a:pt x="91" y="756"/>
                  </a:lnTo>
                  <a:lnTo>
                    <a:pt x="91" y="755"/>
                  </a:lnTo>
                  <a:lnTo>
                    <a:pt x="92" y="753"/>
                  </a:lnTo>
                  <a:lnTo>
                    <a:pt x="92" y="751"/>
                  </a:lnTo>
                  <a:lnTo>
                    <a:pt x="94" y="751"/>
                  </a:lnTo>
                  <a:lnTo>
                    <a:pt x="92" y="751"/>
                  </a:lnTo>
                  <a:lnTo>
                    <a:pt x="92" y="750"/>
                  </a:lnTo>
                  <a:lnTo>
                    <a:pt x="94" y="750"/>
                  </a:lnTo>
                  <a:lnTo>
                    <a:pt x="94" y="748"/>
                  </a:lnTo>
                  <a:lnTo>
                    <a:pt x="97" y="748"/>
                  </a:lnTo>
                  <a:lnTo>
                    <a:pt x="97" y="747"/>
                  </a:lnTo>
                  <a:lnTo>
                    <a:pt x="99" y="747"/>
                  </a:lnTo>
                  <a:lnTo>
                    <a:pt x="99" y="745"/>
                  </a:lnTo>
                  <a:lnTo>
                    <a:pt x="99" y="743"/>
                  </a:lnTo>
                  <a:lnTo>
                    <a:pt x="100" y="742"/>
                  </a:lnTo>
                  <a:lnTo>
                    <a:pt x="100" y="740"/>
                  </a:lnTo>
                  <a:lnTo>
                    <a:pt x="102" y="738"/>
                  </a:lnTo>
                  <a:lnTo>
                    <a:pt x="104" y="737"/>
                  </a:lnTo>
                  <a:lnTo>
                    <a:pt x="104" y="735"/>
                  </a:lnTo>
                  <a:lnTo>
                    <a:pt x="105" y="734"/>
                  </a:lnTo>
                  <a:lnTo>
                    <a:pt x="105" y="732"/>
                  </a:lnTo>
                  <a:lnTo>
                    <a:pt x="107" y="730"/>
                  </a:lnTo>
                  <a:lnTo>
                    <a:pt x="107" y="729"/>
                  </a:lnTo>
                  <a:lnTo>
                    <a:pt x="107" y="730"/>
                  </a:lnTo>
                  <a:lnTo>
                    <a:pt x="109" y="729"/>
                  </a:lnTo>
                  <a:lnTo>
                    <a:pt x="107" y="729"/>
                  </a:lnTo>
                  <a:lnTo>
                    <a:pt x="109" y="729"/>
                  </a:lnTo>
                  <a:lnTo>
                    <a:pt x="109" y="727"/>
                  </a:lnTo>
                  <a:lnTo>
                    <a:pt x="110" y="727"/>
                  </a:lnTo>
                  <a:lnTo>
                    <a:pt x="112" y="727"/>
                  </a:lnTo>
                  <a:lnTo>
                    <a:pt x="113" y="727"/>
                  </a:lnTo>
                  <a:lnTo>
                    <a:pt x="115" y="727"/>
                  </a:lnTo>
                  <a:lnTo>
                    <a:pt x="117" y="727"/>
                  </a:lnTo>
                  <a:lnTo>
                    <a:pt x="118" y="727"/>
                  </a:lnTo>
                  <a:lnTo>
                    <a:pt x="118" y="725"/>
                  </a:lnTo>
                  <a:lnTo>
                    <a:pt x="120" y="725"/>
                  </a:lnTo>
                  <a:lnTo>
                    <a:pt x="122" y="725"/>
                  </a:lnTo>
                  <a:lnTo>
                    <a:pt x="123" y="725"/>
                  </a:lnTo>
                  <a:lnTo>
                    <a:pt x="125" y="725"/>
                  </a:lnTo>
                  <a:lnTo>
                    <a:pt x="125" y="724"/>
                  </a:lnTo>
                  <a:lnTo>
                    <a:pt x="127" y="724"/>
                  </a:lnTo>
                  <a:lnTo>
                    <a:pt x="128" y="725"/>
                  </a:lnTo>
                  <a:lnTo>
                    <a:pt x="130" y="725"/>
                  </a:lnTo>
                  <a:lnTo>
                    <a:pt x="131" y="725"/>
                  </a:lnTo>
                  <a:lnTo>
                    <a:pt x="133" y="725"/>
                  </a:lnTo>
                  <a:lnTo>
                    <a:pt x="135" y="724"/>
                  </a:lnTo>
                  <a:lnTo>
                    <a:pt x="135" y="725"/>
                  </a:lnTo>
                  <a:lnTo>
                    <a:pt x="135" y="724"/>
                  </a:lnTo>
                  <a:lnTo>
                    <a:pt x="136" y="724"/>
                  </a:lnTo>
                  <a:lnTo>
                    <a:pt x="138" y="724"/>
                  </a:lnTo>
                  <a:lnTo>
                    <a:pt x="138" y="722"/>
                  </a:lnTo>
                  <a:lnTo>
                    <a:pt x="138" y="724"/>
                  </a:lnTo>
                  <a:lnTo>
                    <a:pt x="140" y="722"/>
                  </a:lnTo>
                  <a:lnTo>
                    <a:pt x="140" y="721"/>
                  </a:lnTo>
                  <a:lnTo>
                    <a:pt x="141" y="721"/>
                  </a:lnTo>
                  <a:lnTo>
                    <a:pt x="141" y="719"/>
                  </a:lnTo>
                  <a:lnTo>
                    <a:pt x="141" y="717"/>
                  </a:lnTo>
                  <a:lnTo>
                    <a:pt x="143" y="717"/>
                  </a:lnTo>
                  <a:lnTo>
                    <a:pt x="141" y="717"/>
                  </a:lnTo>
                  <a:lnTo>
                    <a:pt x="143" y="717"/>
                  </a:lnTo>
                  <a:lnTo>
                    <a:pt x="143" y="716"/>
                  </a:lnTo>
                  <a:lnTo>
                    <a:pt x="144" y="714"/>
                  </a:lnTo>
                  <a:lnTo>
                    <a:pt x="146" y="714"/>
                  </a:lnTo>
                  <a:lnTo>
                    <a:pt x="146" y="712"/>
                  </a:lnTo>
                  <a:lnTo>
                    <a:pt x="148" y="712"/>
                  </a:lnTo>
                  <a:lnTo>
                    <a:pt x="149" y="712"/>
                  </a:lnTo>
                  <a:lnTo>
                    <a:pt x="151" y="711"/>
                  </a:lnTo>
                  <a:lnTo>
                    <a:pt x="153" y="712"/>
                  </a:lnTo>
                  <a:lnTo>
                    <a:pt x="154" y="712"/>
                  </a:lnTo>
                  <a:lnTo>
                    <a:pt x="156" y="712"/>
                  </a:lnTo>
                  <a:lnTo>
                    <a:pt x="157" y="712"/>
                  </a:lnTo>
                  <a:lnTo>
                    <a:pt x="156" y="711"/>
                  </a:lnTo>
                  <a:lnTo>
                    <a:pt x="157" y="711"/>
                  </a:lnTo>
                  <a:lnTo>
                    <a:pt x="159" y="709"/>
                  </a:lnTo>
                  <a:lnTo>
                    <a:pt x="161" y="709"/>
                  </a:lnTo>
                  <a:lnTo>
                    <a:pt x="161" y="708"/>
                  </a:lnTo>
                  <a:lnTo>
                    <a:pt x="162" y="708"/>
                  </a:lnTo>
                  <a:lnTo>
                    <a:pt x="162" y="706"/>
                  </a:lnTo>
                  <a:lnTo>
                    <a:pt x="164" y="704"/>
                  </a:lnTo>
                  <a:lnTo>
                    <a:pt x="164" y="706"/>
                  </a:lnTo>
                  <a:lnTo>
                    <a:pt x="166" y="706"/>
                  </a:lnTo>
                  <a:lnTo>
                    <a:pt x="166" y="708"/>
                  </a:lnTo>
                  <a:lnTo>
                    <a:pt x="166" y="706"/>
                  </a:lnTo>
                  <a:lnTo>
                    <a:pt x="166" y="708"/>
                  </a:lnTo>
                  <a:lnTo>
                    <a:pt x="167" y="708"/>
                  </a:lnTo>
                  <a:lnTo>
                    <a:pt x="169" y="709"/>
                  </a:lnTo>
                  <a:lnTo>
                    <a:pt x="169" y="711"/>
                  </a:lnTo>
                  <a:lnTo>
                    <a:pt x="170" y="711"/>
                  </a:lnTo>
                  <a:lnTo>
                    <a:pt x="170" y="712"/>
                  </a:lnTo>
                  <a:lnTo>
                    <a:pt x="169" y="712"/>
                  </a:lnTo>
                  <a:lnTo>
                    <a:pt x="169" y="714"/>
                  </a:lnTo>
                  <a:lnTo>
                    <a:pt x="169" y="716"/>
                  </a:lnTo>
                  <a:lnTo>
                    <a:pt x="169" y="717"/>
                  </a:lnTo>
                  <a:lnTo>
                    <a:pt x="170" y="717"/>
                  </a:lnTo>
                  <a:lnTo>
                    <a:pt x="169" y="719"/>
                  </a:lnTo>
                  <a:lnTo>
                    <a:pt x="170" y="717"/>
                  </a:lnTo>
                  <a:lnTo>
                    <a:pt x="172" y="719"/>
                  </a:lnTo>
                  <a:lnTo>
                    <a:pt x="175" y="719"/>
                  </a:lnTo>
                  <a:lnTo>
                    <a:pt x="175" y="721"/>
                  </a:lnTo>
                  <a:lnTo>
                    <a:pt x="175" y="719"/>
                  </a:lnTo>
                  <a:lnTo>
                    <a:pt x="175" y="721"/>
                  </a:lnTo>
                  <a:lnTo>
                    <a:pt x="177" y="721"/>
                  </a:lnTo>
                  <a:lnTo>
                    <a:pt x="183" y="722"/>
                  </a:lnTo>
                  <a:lnTo>
                    <a:pt x="187" y="722"/>
                  </a:lnTo>
                  <a:lnTo>
                    <a:pt x="190" y="722"/>
                  </a:lnTo>
                  <a:lnTo>
                    <a:pt x="193" y="722"/>
                  </a:lnTo>
                  <a:lnTo>
                    <a:pt x="195" y="722"/>
                  </a:lnTo>
                  <a:lnTo>
                    <a:pt x="196" y="722"/>
                  </a:lnTo>
                  <a:lnTo>
                    <a:pt x="198" y="722"/>
                  </a:lnTo>
                  <a:lnTo>
                    <a:pt x="200" y="721"/>
                  </a:lnTo>
                  <a:lnTo>
                    <a:pt x="201" y="719"/>
                  </a:lnTo>
                  <a:lnTo>
                    <a:pt x="203" y="717"/>
                  </a:lnTo>
                  <a:lnTo>
                    <a:pt x="205" y="717"/>
                  </a:lnTo>
                  <a:lnTo>
                    <a:pt x="206" y="717"/>
                  </a:lnTo>
                  <a:lnTo>
                    <a:pt x="208" y="717"/>
                  </a:lnTo>
                  <a:lnTo>
                    <a:pt x="206" y="717"/>
                  </a:lnTo>
                  <a:lnTo>
                    <a:pt x="208" y="717"/>
                  </a:lnTo>
                  <a:lnTo>
                    <a:pt x="208" y="719"/>
                  </a:lnTo>
                  <a:lnTo>
                    <a:pt x="209" y="719"/>
                  </a:lnTo>
                  <a:lnTo>
                    <a:pt x="208" y="717"/>
                  </a:lnTo>
                  <a:lnTo>
                    <a:pt x="209" y="719"/>
                  </a:lnTo>
                  <a:lnTo>
                    <a:pt x="209" y="717"/>
                  </a:lnTo>
                  <a:lnTo>
                    <a:pt x="211" y="719"/>
                  </a:lnTo>
                  <a:lnTo>
                    <a:pt x="211" y="717"/>
                  </a:lnTo>
                  <a:lnTo>
                    <a:pt x="213" y="717"/>
                  </a:lnTo>
                  <a:lnTo>
                    <a:pt x="214" y="716"/>
                  </a:lnTo>
                  <a:lnTo>
                    <a:pt x="216" y="717"/>
                  </a:lnTo>
                  <a:lnTo>
                    <a:pt x="218" y="716"/>
                  </a:lnTo>
                  <a:lnTo>
                    <a:pt x="219" y="717"/>
                  </a:lnTo>
                  <a:lnTo>
                    <a:pt x="219" y="716"/>
                  </a:lnTo>
                  <a:lnTo>
                    <a:pt x="221" y="716"/>
                  </a:lnTo>
                  <a:lnTo>
                    <a:pt x="221" y="714"/>
                  </a:lnTo>
                  <a:lnTo>
                    <a:pt x="222" y="714"/>
                  </a:lnTo>
                  <a:lnTo>
                    <a:pt x="222" y="712"/>
                  </a:lnTo>
                  <a:lnTo>
                    <a:pt x="224" y="711"/>
                  </a:lnTo>
                  <a:lnTo>
                    <a:pt x="226" y="709"/>
                  </a:lnTo>
                  <a:lnTo>
                    <a:pt x="227" y="708"/>
                  </a:lnTo>
                  <a:lnTo>
                    <a:pt x="227" y="706"/>
                  </a:lnTo>
                  <a:lnTo>
                    <a:pt x="229" y="706"/>
                  </a:lnTo>
                  <a:lnTo>
                    <a:pt x="229" y="704"/>
                  </a:lnTo>
                  <a:lnTo>
                    <a:pt x="231" y="704"/>
                  </a:lnTo>
                  <a:lnTo>
                    <a:pt x="231" y="703"/>
                  </a:lnTo>
                  <a:lnTo>
                    <a:pt x="229" y="703"/>
                  </a:lnTo>
                  <a:lnTo>
                    <a:pt x="227" y="703"/>
                  </a:lnTo>
                  <a:lnTo>
                    <a:pt x="226" y="703"/>
                  </a:lnTo>
                  <a:lnTo>
                    <a:pt x="224" y="703"/>
                  </a:lnTo>
                  <a:lnTo>
                    <a:pt x="224" y="701"/>
                  </a:lnTo>
                  <a:lnTo>
                    <a:pt x="222" y="701"/>
                  </a:lnTo>
                  <a:lnTo>
                    <a:pt x="222" y="703"/>
                  </a:lnTo>
                  <a:lnTo>
                    <a:pt x="221" y="704"/>
                  </a:lnTo>
                  <a:lnTo>
                    <a:pt x="221" y="703"/>
                  </a:lnTo>
                  <a:lnTo>
                    <a:pt x="219" y="703"/>
                  </a:lnTo>
                  <a:lnTo>
                    <a:pt x="219" y="701"/>
                  </a:lnTo>
                  <a:lnTo>
                    <a:pt x="218" y="701"/>
                  </a:lnTo>
                  <a:lnTo>
                    <a:pt x="216" y="699"/>
                  </a:lnTo>
                  <a:lnTo>
                    <a:pt x="214" y="699"/>
                  </a:lnTo>
                  <a:lnTo>
                    <a:pt x="214" y="698"/>
                  </a:lnTo>
                  <a:lnTo>
                    <a:pt x="214" y="696"/>
                  </a:lnTo>
                  <a:lnTo>
                    <a:pt x="213" y="696"/>
                  </a:lnTo>
                  <a:lnTo>
                    <a:pt x="211" y="696"/>
                  </a:lnTo>
                  <a:lnTo>
                    <a:pt x="209" y="696"/>
                  </a:lnTo>
                  <a:lnTo>
                    <a:pt x="209" y="695"/>
                  </a:lnTo>
                  <a:lnTo>
                    <a:pt x="208" y="695"/>
                  </a:lnTo>
                  <a:lnTo>
                    <a:pt x="206" y="695"/>
                  </a:lnTo>
                  <a:lnTo>
                    <a:pt x="206" y="693"/>
                  </a:lnTo>
                  <a:lnTo>
                    <a:pt x="206" y="691"/>
                  </a:lnTo>
                  <a:lnTo>
                    <a:pt x="206" y="690"/>
                  </a:lnTo>
                  <a:lnTo>
                    <a:pt x="206" y="688"/>
                  </a:lnTo>
                  <a:lnTo>
                    <a:pt x="208" y="688"/>
                  </a:lnTo>
                  <a:lnTo>
                    <a:pt x="208" y="686"/>
                  </a:lnTo>
                  <a:lnTo>
                    <a:pt x="209" y="686"/>
                  </a:lnTo>
                  <a:lnTo>
                    <a:pt x="209" y="688"/>
                  </a:lnTo>
                  <a:lnTo>
                    <a:pt x="209" y="686"/>
                  </a:lnTo>
                  <a:lnTo>
                    <a:pt x="209" y="688"/>
                  </a:lnTo>
                  <a:lnTo>
                    <a:pt x="209" y="686"/>
                  </a:lnTo>
                  <a:lnTo>
                    <a:pt x="211" y="686"/>
                  </a:lnTo>
                  <a:lnTo>
                    <a:pt x="211" y="688"/>
                  </a:lnTo>
                  <a:lnTo>
                    <a:pt x="211" y="686"/>
                  </a:lnTo>
                  <a:lnTo>
                    <a:pt x="213" y="685"/>
                  </a:lnTo>
                  <a:lnTo>
                    <a:pt x="213" y="686"/>
                  </a:lnTo>
                  <a:lnTo>
                    <a:pt x="214" y="686"/>
                  </a:lnTo>
                  <a:lnTo>
                    <a:pt x="214" y="685"/>
                  </a:lnTo>
                  <a:lnTo>
                    <a:pt x="214" y="686"/>
                  </a:lnTo>
                  <a:lnTo>
                    <a:pt x="216" y="688"/>
                  </a:lnTo>
                  <a:lnTo>
                    <a:pt x="216" y="686"/>
                  </a:lnTo>
                  <a:lnTo>
                    <a:pt x="218" y="686"/>
                  </a:lnTo>
                  <a:lnTo>
                    <a:pt x="219" y="685"/>
                  </a:lnTo>
                  <a:lnTo>
                    <a:pt x="219" y="686"/>
                  </a:lnTo>
                  <a:lnTo>
                    <a:pt x="219" y="685"/>
                  </a:lnTo>
                  <a:lnTo>
                    <a:pt x="221" y="686"/>
                  </a:lnTo>
                  <a:lnTo>
                    <a:pt x="221" y="685"/>
                  </a:lnTo>
                  <a:lnTo>
                    <a:pt x="221" y="686"/>
                  </a:lnTo>
                  <a:lnTo>
                    <a:pt x="222" y="686"/>
                  </a:lnTo>
                  <a:lnTo>
                    <a:pt x="222" y="685"/>
                  </a:lnTo>
                  <a:lnTo>
                    <a:pt x="224" y="685"/>
                  </a:lnTo>
                  <a:lnTo>
                    <a:pt x="226" y="685"/>
                  </a:lnTo>
                  <a:lnTo>
                    <a:pt x="227" y="685"/>
                  </a:lnTo>
                  <a:lnTo>
                    <a:pt x="229" y="685"/>
                  </a:lnTo>
                  <a:lnTo>
                    <a:pt x="231" y="685"/>
                  </a:lnTo>
                  <a:lnTo>
                    <a:pt x="232" y="685"/>
                  </a:lnTo>
                  <a:lnTo>
                    <a:pt x="234" y="685"/>
                  </a:lnTo>
                  <a:lnTo>
                    <a:pt x="235" y="685"/>
                  </a:lnTo>
                  <a:lnTo>
                    <a:pt x="237" y="685"/>
                  </a:lnTo>
                  <a:lnTo>
                    <a:pt x="239" y="685"/>
                  </a:lnTo>
                  <a:lnTo>
                    <a:pt x="240" y="685"/>
                  </a:lnTo>
                  <a:lnTo>
                    <a:pt x="242" y="685"/>
                  </a:lnTo>
                  <a:lnTo>
                    <a:pt x="244" y="685"/>
                  </a:lnTo>
                  <a:lnTo>
                    <a:pt x="244" y="686"/>
                  </a:lnTo>
                  <a:lnTo>
                    <a:pt x="244" y="688"/>
                  </a:lnTo>
                  <a:lnTo>
                    <a:pt x="244" y="690"/>
                  </a:lnTo>
                  <a:lnTo>
                    <a:pt x="242" y="690"/>
                  </a:lnTo>
                  <a:lnTo>
                    <a:pt x="242" y="691"/>
                  </a:lnTo>
                  <a:lnTo>
                    <a:pt x="240" y="691"/>
                  </a:lnTo>
                  <a:lnTo>
                    <a:pt x="240" y="693"/>
                  </a:lnTo>
                  <a:lnTo>
                    <a:pt x="239" y="693"/>
                  </a:lnTo>
                  <a:lnTo>
                    <a:pt x="239" y="695"/>
                  </a:lnTo>
                  <a:lnTo>
                    <a:pt x="237" y="695"/>
                  </a:lnTo>
                  <a:lnTo>
                    <a:pt x="235" y="696"/>
                  </a:lnTo>
                  <a:lnTo>
                    <a:pt x="235" y="698"/>
                  </a:lnTo>
                  <a:lnTo>
                    <a:pt x="234" y="698"/>
                  </a:lnTo>
                  <a:lnTo>
                    <a:pt x="234" y="699"/>
                  </a:lnTo>
                  <a:lnTo>
                    <a:pt x="232" y="699"/>
                  </a:lnTo>
                  <a:lnTo>
                    <a:pt x="232" y="701"/>
                  </a:lnTo>
                  <a:lnTo>
                    <a:pt x="232" y="703"/>
                  </a:lnTo>
                  <a:lnTo>
                    <a:pt x="234" y="703"/>
                  </a:lnTo>
                  <a:lnTo>
                    <a:pt x="232" y="703"/>
                  </a:lnTo>
                  <a:lnTo>
                    <a:pt x="234" y="701"/>
                  </a:lnTo>
                  <a:lnTo>
                    <a:pt x="234" y="703"/>
                  </a:lnTo>
                  <a:lnTo>
                    <a:pt x="235" y="704"/>
                  </a:lnTo>
                  <a:lnTo>
                    <a:pt x="237" y="704"/>
                  </a:lnTo>
                  <a:lnTo>
                    <a:pt x="239" y="704"/>
                  </a:lnTo>
                  <a:lnTo>
                    <a:pt x="240" y="704"/>
                  </a:lnTo>
                  <a:lnTo>
                    <a:pt x="240" y="703"/>
                  </a:lnTo>
                  <a:lnTo>
                    <a:pt x="242" y="703"/>
                  </a:lnTo>
                  <a:lnTo>
                    <a:pt x="242" y="701"/>
                  </a:lnTo>
                  <a:lnTo>
                    <a:pt x="244" y="701"/>
                  </a:lnTo>
                  <a:lnTo>
                    <a:pt x="245" y="701"/>
                  </a:lnTo>
                  <a:lnTo>
                    <a:pt x="245" y="699"/>
                  </a:lnTo>
                  <a:lnTo>
                    <a:pt x="247" y="701"/>
                  </a:lnTo>
                  <a:lnTo>
                    <a:pt x="247" y="699"/>
                  </a:lnTo>
                  <a:lnTo>
                    <a:pt x="248" y="699"/>
                  </a:lnTo>
                  <a:lnTo>
                    <a:pt x="248" y="698"/>
                  </a:lnTo>
                  <a:lnTo>
                    <a:pt x="250" y="698"/>
                  </a:lnTo>
                  <a:lnTo>
                    <a:pt x="252" y="698"/>
                  </a:lnTo>
                  <a:lnTo>
                    <a:pt x="252" y="696"/>
                  </a:lnTo>
                  <a:lnTo>
                    <a:pt x="253" y="696"/>
                  </a:lnTo>
                  <a:lnTo>
                    <a:pt x="255" y="696"/>
                  </a:lnTo>
                  <a:lnTo>
                    <a:pt x="255" y="695"/>
                  </a:lnTo>
                  <a:lnTo>
                    <a:pt x="257" y="695"/>
                  </a:lnTo>
                  <a:lnTo>
                    <a:pt x="258" y="695"/>
                  </a:lnTo>
                  <a:lnTo>
                    <a:pt x="260" y="693"/>
                  </a:lnTo>
                  <a:lnTo>
                    <a:pt x="261" y="693"/>
                  </a:lnTo>
                  <a:lnTo>
                    <a:pt x="263" y="693"/>
                  </a:lnTo>
                  <a:lnTo>
                    <a:pt x="265" y="691"/>
                  </a:lnTo>
                  <a:lnTo>
                    <a:pt x="266" y="691"/>
                  </a:lnTo>
                  <a:lnTo>
                    <a:pt x="268" y="691"/>
                  </a:lnTo>
                  <a:lnTo>
                    <a:pt x="270" y="690"/>
                  </a:lnTo>
                  <a:lnTo>
                    <a:pt x="271" y="690"/>
                  </a:lnTo>
                  <a:lnTo>
                    <a:pt x="273" y="690"/>
                  </a:lnTo>
                  <a:lnTo>
                    <a:pt x="275" y="690"/>
                  </a:lnTo>
                  <a:lnTo>
                    <a:pt x="276" y="688"/>
                  </a:lnTo>
                  <a:lnTo>
                    <a:pt x="278" y="688"/>
                  </a:lnTo>
                  <a:lnTo>
                    <a:pt x="279" y="688"/>
                  </a:lnTo>
                  <a:lnTo>
                    <a:pt x="281" y="688"/>
                  </a:lnTo>
                  <a:lnTo>
                    <a:pt x="284" y="688"/>
                  </a:lnTo>
                  <a:lnTo>
                    <a:pt x="286" y="686"/>
                  </a:lnTo>
                  <a:lnTo>
                    <a:pt x="291" y="686"/>
                  </a:lnTo>
                  <a:lnTo>
                    <a:pt x="292" y="685"/>
                  </a:lnTo>
                  <a:lnTo>
                    <a:pt x="296" y="685"/>
                  </a:lnTo>
                  <a:lnTo>
                    <a:pt x="297" y="685"/>
                  </a:lnTo>
                  <a:lnTo>
                    <a:pt x="296" y="686"/>
                  </a:lnTo>
                  <a:lnTo>
                    <a:pt x="294" y="688"/>
                  </a:lnTo>
                  <a:lnTo>
                    <a:pt x="294" y="690"/>
                  </a:lnTo>
                  <a:lnTo>
                    <a:pt x="296" y="688"/>
                  </a:lnTo>
                  <a:lnTo>
                    <a:pt x="296" y="686"/>
                  </a:lnTo>
                  <a:lnTo>
                    <a:pt x="297" y="685"/>
                  </a:lnTo>
                  <a:lnTo>
                    <a:pt x="299" y="685"/>
                  </a:lnTo>
                  <a:lnTo>
                    <a:pt x="302" y="685"/>
                  </a:lnTo>
                  <a:lnTo>
                    <a:pt x="307" y="686"/>
                  </a:lnTo>
                  <a:lnTo>
                    <a:pt x="310" y="685"/>
                  </a:lnTo>
                  <a:lnTo>
                    <a:pt x="312" y="685"/>
                  </a:lnTo>
                  <a:lnTo>
                    <a:pt x="314" y="685"/>
                  </a:lnTo>
                  <a:lnTo>
                    <a:pt x="315" y="685"/>
                  </a:lnTo>
                  <a:lnTo>
                    <a:pt x="315" y="683"/>
                  </a:lnTo>
                  <a:lnTo>
                    <a:pt x="317" y="682"/>
                  </a:lnTo>
                  <a:lnTo>
                    <a:pt x="318" y="682"/>
                  </a:lnTo>
                  <a:lnTo>
                    <a:pt x="320" y="682"/>
                  </a:lnTo>
                  <a:lnTo>
                    <a:pt x="320" y="680"/>
                  </a:lnTo>
                  <a:lnTo>
                    <a:pt x="322" y="680"/>
                  </a:lnTo>
                  <a:lnTo>
                    <a:pt x="322" y="678"/>
                  </a:lnTo>
                  <a:lnTo>
                    <a:pt x="323" y="678"/>
                  </a:lnTo>
                  <a:lnTo>
                    <a:pt x="325" y="677"/>
                  </a:lnTo>
                  <a:lnTo>
                    <a:pt x="327" y="677"/>
                  </a:lnTo>
                  <a:lnTo>
                    <a:pt x="328" y="677"/>
                  </a:lnTo>
                  <a:lnTo>
                    <a:pt x="331" y="677"/>
                  </a:lnTo>
                  <a:lnTo>
                    <a:pt x="333" y="677"/>
                  </a:lnTo>
                  <a:lnTo>
                    <a:pt x="335" y="677"/>
                  </a:lnTo>
                  <a:lnTo>
                    <a:pt x="336" y="677"/>
                  </a:lnTo>
                  <a:lnTo>
                    <a:pt x="338" y="677"/>
                  </a:lnTo>
                  <a:lnTo>
                    <a:pt x="340" y="678"/>
                  </a:lnTo>
                  <a:lnTo>
                    <a:pt x="341" y="678"/>
                  </a:lnTo>
                  <a:lnTo>
                    <a:pt x="343" y="678"/>
                  </a:lnTo>
                  <a:lnTo>
                    <a:pt x="344" y="678"/>
                  </a:lnTo>
                  <a:lnTo>
                    <a:pt x="344" y="677"/>
                  </a:lnTo>
                  <a:lnTo>
                    <a:pt x="346" y="677"/>
                  </a:lnTo>
                  <a:lnTo>
                    <a:pt x="348" y="677"/>
                  </a:lnTo>
                  <a:lnTo>
                    <a:pt x="349" y="677"/>
                  </a:lnTo>
                  <a:lnTo>
                    <a:pt x="351" y="677"/>
                  </a:lnTo>
                  <a:lnTo>
                    <a:pt x="351" y="675"/>
                  </a:lnTo>
                  <a:lnTo>
                    <a:pt x="353" y="675"/>
                  </a:lnTo>
                  <a:lnTo>
                    <a:pt x="356" y="673"/>
                  </a:lnTo>
                  <a:lnTo>
                    <a:pt x="356" y="672"/>
                  </a:lnTo>
                  <a:lnTo>
                    <a:pt x="356" y="670"/>
                  </a:lnTo>
                  <a:lnTo>
                    <a:pt x="356" y="669"/>
                  </a:lnTo>
                  <a:lnTo>
                    <a:pt x="356" y="667"/>
                  </a:lnTo>
                  <a:lnTo>
                    <a:pt x="357" y="667"/>
                  </a:lnTo>
                  <a:lnTo>
                    <a:pt x="357" y="665"/>
                  </a:lnTo>
                  <a:lnTo>
                    <a:pt x="359" y="665"/>
                  </a:lnTo>
                  <a:lnTo>
                    <a:pt x="361" y="665"/>
                  </a:lnTo>
                  <a:lnTo>
                    <a:pt x="361" y="664"/>
                  </a:lnTo>
                  <a:lnTo>
                    <a:pt x="362" y="664"/>
                  </a:lnTo>
                  <a:lnTo>
                    <a:pt x="364" y="664"/>
                  </a:lnTo>
                  <a:lnTo>
                    <a:pt x="364" y="662"/>
                  </a:lnTo>
                  <a:lnTo>
                    <a:pt x="361" y="660"/>
                  </a:lnTo>
                  <a:lnTo>
                    <a:pt x="359" y="659"/>
                  </a:lnTo>
                  <a:lnTo>
                    <a:pt x="357" y="659"/>
                  </a:lnTo>
                  <a:lnTo>
                    <a:pt x="356" y="657"/>
                  </a:lnTo>
                  <a:lnTo>
                    <a:pt x="354" y="657"/>
                  </a:lnTo>
                  <a:lnTo>
                    <a:pt x="353" y="657"/>
                  </a:lnTo>
                  <a:lnTo>
                    <a:pt x="353" y="659"/>
                  </a:lnTo>
                  <a:lnTo>
                    <a:pt x="351" y="659"/>
                  </a:lnTo>
                  <a:lnTo>
                    <a:pt x="349" y="659"/>
                  </a:lnTo>
                  <a:lnTo>
                    <a:pt x="348" y="659"/>
                  </a:lnTo>
                  <a:lnTo>
                    <a:pt x="348" y="660"/>
                  </a:lnTo>
                  <a:lnTo>
                    <a:pt x="346" y="660"/>
                  </a:lnTo>
                  <a:lnTo>
                    <a:pt x="344" y="662"/>
                  </a:lnTo>
                  <a:lnTo>
                    <a:pt x="344" y="664"/>
                  </a:lnTo>
                  <a:lnTo>
                    <a:pt x="343" y="662"/>
                  </a:lnTo>
                  <a:lnTo>
                    <a:pt x="341" y="664"/>
                  </a:lnTo>
                  <a:lnTo>
                    <a:pt x="340" y="664"/>
                  </a:lnTo>
                  <a:lnTo>
                    <a:pt x="338" y="664"/>
                  </a:lnTo>
                  <a:lnTo>
                    <a:pt x="336" y="664"/>
                  </a:lnTo>
                  <a:lnTo>
                    <a:pt x="336" y="662"/>
                  </a:lnTo>
                  <a:lnTo>
                    <a:pt x="335" y="664"/>
                  </a:lnTo>
                  <a:lnTo>
                    <a:pt x="335" y="662"/>
                  </a:lnTo>
                  <a:lnTo>
                    <a:pt x="333" y="662"/>
                  </a:lnTo>
                  <a:lnTo>
                    <a:pt x="331" y="662"/>
                  </a:lnTo>
                  <a:lnTo>
                    <a:pt x="331" y="660"/>
                  </a:lnTo>
                  <a:lnTo>
                    <a:pt x="330" y="660"/>
                  </a:lnTo>
                  <a:lnTo>
                    <a:pt x="328" y="660"/>
                  </a:lnTo>
                  <a:lnTo>
                    <a:pt x="328" y="659"/>
                  </a:lnTo>
                  <a:lnTo>
                    <a:pt x="328" y="660"/>
                  </a:lnTo>
                  <a:lnTo>
                    <a:pt x="327" y="660"/>
                  </a:lnTo>
                  <a:lnTo>
                    <a:pt x="325" y="660"/>
                  </a:lnTo>
                  <a:lnTo>
                    <a:pt x="323" y="660"/>
                  </a:lnTo>
                  <a:lnTo>
                    <a:pt x="322" y="660"/>
                  </a:lnTo>
                  <a:lnTo>
                    <a:pt x="320" y="659"/>
                  </a:lnTo>
                  <a:lnTo>
                    <a:pt x="320" y="657"/>
                  </a:lnTo>
                  <a:lnTo>
                    <a:pt x="322" y="657"/>
                  </a:lnTo>
                  <a:lnTo>
                    <a:pt x="322" y="655"/>
                  </a:lnTo>
                  <a:lnTo>
                    <a:pt x="322" y="654"/>
                  </a:lnTo>
                  <a:lnTo>
                    <a:pt x="323" y="654"/>
                  </a:lnTo>
                  <a:lnTo>
                    <a:pt x="323" y="652"/>
                  </a:lnTo>
                  <a:lnTo>
                    <a:pt x="325" y="652"/>
                  </a:lnTo>
                  <a:lnTo>
                    <a:pt x="327" y="651"/>
                  </a:lnTo>
                  <a:lnTo>
                    <a:pt x="331" y="647"/>
                  </a:lnTo>
                  <a:lnTo>
                    <a:pt x="331" y="646"/>
                  </a:lnTo>
                  <a:lnTo>
                    <a:pt x="333" y="646"/>
                  </a:lnTo>
                  <a:lnTo>
                    <a:pt x="335" y="644"/>
                  </a:lnTo>
                  <a:lnTo>
                    <a:pt x="336" y="642"/>
                  </a:lnTo>
                  <a:lnTo>
                    <a:pt x="336" y="641"/>
                  </a:lnTo>
                  <a:lnTo>
                    <a:pt x="338" y="639"/>
                  </a:lnTo>
                  <a:lnTo>
                    <a:pt x="340" y="636"/>
                  </a:lnTo>
                  <a:lnTo>
                    <a:pt x="341" y="636"/>
                  </a:lnTo>
                  <a:lnTo>
                    <a:pt x="343" y="636"/>
                  </a:lnTo>
                  <a:lnTo>
                    <a:pt x="344" y="634"/>
                  </a:lnTo>
                  <a:lnTo>
                    <a:pt x="346" y="634"/>
                  </a:lnTo>
                  <a:lnTo>
                    <a:pt x="348" y="634"/>
                  </a:lnTo>
                  <a:lnTo>
                    <a:pt x="349" y="634"/>
                  </a:lnTo>
                  <a:lnTo>
                    <a:pt x="351" y="634"/>
                  </a:lnTo>
                  <a:lnTo>
                    <a:pt x="353" y="633"/>
                  </a:lnTo>
                  <a:lnTo>
                    <a:pt x="354" y="633"/>
                  </a:lnTo>
                  <a:lnTo>
                    <a:pt x="354" y="631"/>
                  </a:lnTo>
                  <a:lnTo>
                    <a:pt x="356" y="631"/>
                  </a:lnTo>
                  <a:lnTo>
                    <a:pt x="356" y="629"/>
                  </a:lnTo>
                  <a:lnTo>
                    <a:pt x="356" y="631"/>
                  </a:lnTo>
                  <a:lnTo>
                    <a:pt x="357" y="631"/>
                  </a:lnTo>
                  <a:lnTo>
                    <a:pt x="357" y="629"/>
                  </a:lnTo>
                  <a:lnTo>
                    <a:pt x="359" y="629"/>
                  </a:lnTo>
                  <a:lnTo>
                    <a:pt x="361" y="629"/>
                  </a:lnTo>
                  <a:lnTo>
                    <a:pt x="364" y="628"/>
                  </a:lnTo>
                  <a:lnTo>
                    <a:pt x="366" y="628"/>
                  </a:lnTo>
                  <a:lnTo>
                    <a:pt x="367" y="628"/>
                  </a:lnTo>
                  <a:lnTo>
                    <a:pt x="369" y="626"/>
                  </a:lnTo>
                  <a:lnTo>
                    <a:pt x="370" y="626"/>
                  </a:lnTo>
                  <a:lnTo>
                    <a:pt x="372" y="625"/>
                  </a:lnTo>
                  <a:lnTo>
                    <a:pt x="375" y="623"/>
                  </a:lnTo>
                  <a:lnTo>
                    <a:pt x="377" y="621"/>
                  </a:lnTo>
                  <a:lnTo>
                    <a:pt x="377" y="620"/>
                  </a:lnTo>
                  <a:lnTo>
                    <a:pt x="379" y="618"/>
                  </a:lnTo>
                  <a:lnTo>
                    <a:pt x="380" y="618"/>
                  </a:lnTo>
                  <a:lnTo>
                    <a:pt x="382" y="618"/>
                  </a:lnTo>
                  <a:lnTo>
                    <a:pt x="383" y="618"/>
                  </a:lnTo>
                  <a:lnTo>
                    <a:pt x="385" y="618"/>
                  </a:lnTo>
                  <a:lnTo>
                    <a:pt x="387" y="616"/>
                  </a:lnTo>
                  <a:lnTo>
                    <a:pt x="388" y="616"/>
                  </a:lnTo>
                  <a:lnTo>
                    <a:pt x="388" y="615"/>
                  </a:lnTo>
                  <a:lnTo>
                    <a:pt x="388" y="613"/>
                  </a:lnTo>
                  <a:lnTo>
                    <a:pt x="390" y="612"/>
                  </a:lnTo>
                  <a:lnTo>
                    <a:pt x="392" y="610"/>
                  </a:lnTo>
                  <a:lnTo>
                    <a:pt x="392" y="608"/>
                  </a:lnTo>
                  <a:lnTo>
                    <a:pt x="392" y="610"/>
                  </a:lnTo>
                  <a:lnTo>
                    <a:pt x="393" y="612"/>
                  </a:lnTo>
                  <a:lnTo>
                    <a:pt x="392" y="612"/>
                  </a:lnTo>
                  <a:lnTo>
                    <a:pt x="393" y="613"/>
                  </a:lnTo>
                  <a:lnTo>
                    <a:pt x="393" y="612"/>
                  </a:lnTo>
                  <a:lnTo>
                    <a:pt x="395" y="612"/>
                  </a:lnTo>
                  <a:lnTo>
                    <a:pt x="395" y="613"/>
                  </a:lnTo>
                  <a:lnTo>
                    <a:pt x="396" y="613"/>
                  </a:lnTo>
                  <a:lnTo>
                    <a:pt x="396" y="615"/>
                  </a:lnTo>
                  <a:lnTo>
                    <a:pt x="398" y="615"/>
                  </a:lnTo>
                  <a:lnTo>
                    <a:pt x="400" y="615"/>
                  </a:lnTo>
                  <a:lnTo>
                    <a:pt x="401" y="615"/>
                  </a:lnTo>
                  <a:lnTo>
                    <a:pt x="401" y="613"/>
                  </a:lnTo>
                  <a:lnTo>
                    <a:pt x="403" y="613"/>
                  </a:lnTo>
                  <a:lnTo>
                    <a:pt x="405" y="612"/>
                  </a:lnTo>
                  <a:lnTo>
                    <a:pt x="406" y="612"/>
                  </a:lnTo>
                  <a:lnTo>
                    <a:pt x="408" y="610"/>
                  </a:lnTo>
                  <a:lnTo>
                    <a:pt x="409" y="610"/>
                  </a:lnTo>
                  <a:lnTo>
                    <a:pt x="411" y="608"/>
                  </a:lnTo>
                  <a:lnTo>
                    <a:pt x="413" y="608"/>
                  </a:lnTo>
                  <a:lnTo>
                    <a:pt x="413" y="607"/>
                  </a:lnTo>
                  <a:lnTo>
                    <a:pt x="414" y="607"/>
                  </a:lnTo>
                  <a:lnTo>
                    <a:pt x="416" y="607"/>
                  </a:lnTo>
                  <a:lnTo>
                    <a:pt x="418" y="605"/>
                  </a:lnTo>
                  <a:lnTo>
                    <a:pt x="419" y="605"/>
                  </a:lnTo>
                  <a:lnTo>
                    <a:pt x="419" y="603"/>
                  </a:lnTo>
                  <a:lnTo>
                    <a:pt x="421" y="603"/>
                  </a:lnTo>
                  <a:lnTo>
                    <a:pt x="423" y="602"/>
                  </a:lnTo>
                  <a:lnTo>
                    <a:pt x="424" y="602"/>
                  </a:lnTo>
                  <a:lnTo>
                    <a:pt x="423" y="602"/>
                  </a:lnTo>
                  <a:lnTo>
                    <a:pt x="424" y="602"/>
                  </a:lnTo>
                  <a:lnTo>
                    <a:pt x="426" y="602"/>
                  </a:lnTo>
                  <a:lnTo>
                    <a:pt x="427" y="602"/>
                  </a:lnTo>
                  <a:lnTo>
                    <a:pt x="429" y="600"/>
                  </a:lnTo>
                  <a:lnTo>
                    <a:pt x="431" y="602"/>
                  </a:lnTo>
                  <a:lnTo>
                    <a:pt x="432" y="602"/>
                  </a:lnTo>
                  <a:lnTo>
                    <a:pt x="434" y="602"/>
                  </a:lnTo>
                  <a:lnTo>
                    <a:pt x="434" y="600"/>
                  </a:lnTo>
                  <a:lnTo>
                    <a:pt x="436" y="602"/>
                  </a:lnTo>
                  <a:lnTo>
                    <a:pt x="436" y="600"/>
                  </a:lnTo>
                  <a:lnTo>
                    <a:pt x="437" y="600"/>
                  </a:lnTo>
                  <a:lnTo>
                    <a:pt x="437" y="599"/>
                  </a:lnTo>
                  <a:lnTo>
                    <a:pt x="437" y="597"/>
                  </a:lnTo>
                  <a:lnTo>
                    <a:pt x="436" y="595"/>
                  </a:lnTo>
                  <a:lnTo>
                    <a:pt x="434" y="594"/>
                  </a:lnTo>
                  <a:lnTo>
                    <a:pt x="434" y="595"/>
                  </a:lnTo>
                  <a:lnTo>
                    <a:pt x="432" y="595"/>
                  </a:lnTo>
                  <a:lnTo>
                    <a:pt x="431" y="595"/>
                  </a:lnTo>
                  <a:lnTo>
                    <a:pt x="429" y="595"/>
                  </a:lnTo>
                  <a:lnTo>
                    <a:pt x="429" y="597"/>
                  </a:lnTo>
                  <a:lnTo>
                    <a:pt x="427" y="597"/>
                  </a:lnTo>
                  <a:lnTo>
                    <a:pt x="427" y="599"/>
                  </a:lnTo>
                  <a:lnTo>
                    <a:pt x="426" y="599"/>
                  </a:lnTo>
                  <a:lnTo>
                    <a:pt x="424" y="599"/>
                  </a:lnTo>
                  <a:lnTo>
                    <a:pt x="421" y="600"/>
                  </a:lnTo>
                  <a:lnTo>
                    <a:pt x="419" y="602"/>
                  </a:lnTo>
                  <a:lnTo>
                    <a:pt x="419" y="600"/>
                  </a:lnTo>
                  <a:lnTo>
                    <a:pt x="419" y="602"/>
                  </a:lnTo>
                  <a:lnTo>
                    <a:pt x="418" y="602"/>
                  </a:lnTo>
                  <a:lnTo>
                    <a:pt x="418" y="600"/>
                  </a:lnTo>
                  <a:lnTo>
                    <a:pt x="416" y="600"/>
                  </a:lnTo>
                  <a:lnTo>
                    <a:pt x="416" y="599"/>
                  </a:lnTo>
                  <a:lnTo>
                    <a:pt x="414" y="599"/>
                  </a:lnTo>
                  <a:lnTo>
                    <a:pt x="413" y="599"/>
                  </a:lnTo>
                  <a:lnTo>
                    <a:pt x="411" y="599"/>
                  </a:lnTo>
                  <a:lnTo>
                    <a:pt x="409" y="599"/>
                  </a:lnTo>
                  <a:lnTo>
                    <a:pt x="408" y="599"/>
                  </a:lnTo>
                  <a:lnTo>
                    <a:pt x="406" y="599"/>
                  </a:lnTo>
                  <a:lnTo>
                    <a:pt x="405" y="600"/>
                  </a:lnTo>
                  <a:lnTo>
                    <a:pt x="403" y="600"/>
                  </a:lnTo>
                  <a:lnTo>
                    <a:pt x="401" y="600"/>
                  </a:lnTo>
                  <a:lnTo>
                    <a:pt x="400" y="600"/>
                  </a:lnTo>
                  <a:lnTo>
                    <a:pt x="398" y="602"/>
                  </a:lnTo>
                  <a:lnTo>
                    <a:pt x="396" y="603"/>
                  </a:lnTo>
                  <a:lnTo>
                    <a:pt x="395" y="603"/>
                  </a:lnTo>
                  <a:lnTo>
                    <a:pt x="393" y="603"/>
                  </a:lnTo>
                  <a:lnTo>
                    <a:pt x="393" y="605"/>
                  </a:lnTo>
                  <a:lnTo>
                    <a:pt x="392" y="605"/>
                  </a:lnTo>
                  <a:lnTo>
                    <a:pt x="388" y="603"/>
                  </a:lnTo>
                  <a:lnTo>
                    <a:pt x="387" y="605"/>
                  </a:lnTo>
                  <a:lnTo>
                    <a:pt x="385" y="605"/>
                  </a:lnTo>
                  <a:lnTo>
                    <a:pt x="385" y="607"/>
                  </a:lnTo>
                  <a:lnTo>
                    <a:pt x="383" y="607"/>
                  </a:lnTo>
                  <a:lnTo>
                    <a:pt x="382" y="607"/>
                  </a:lnTo>
                  <a:lnTo>
                    <a:pt x="382" y="608"/>
                  </a:lnTo>
                  <a:lnTo>
                    <a:pt x="380" y="608"/>
                  </a:lnTo>
                  <a:lnTo>
                    <a:pt x="379" y="610"/>
                  </a:lnTo>
                  <a:lnTo>
                    <a:pt x="377" y="610"/>
                  </a:lnTo>
                  <a:lnTo>
                    <a:pt x="375" y="610"/>
                  </a:lnTo>
                  <a:lnTo>
                    <a:pt x="374" y="612"/>
                  </a:lnTo>
                  <a:lnTo>
                    <a:pt x="374" y="610"/>
                  </a:lnTo>
                  <a:lnTo>
                    <a:pt x="374" y="608"/>
                  </a:lnTo>
                  <a:lnTo>
                    <a:pt x="372" y="608"/>
                  </a:lnTo>
                  <a:lnTo>
                    <a:pt x="372" y="607"/>
                  </a:lnTo>
                  <a:lnTo>
                    <a:pt x="370" y="607"/>
                  </a:lnTo>
                  <a:lnTo>
                    <a:pt x="372" y="607"/>
                  </a:lnTo>
                  <a:lnTo>
                    <a:pt x="372" y="605"/>
                  </a:lnTo>
                  <a:lnTo>
                    <a:pt x="370" y="603"/>
                  </a:lnTo>
                  <a:lnTo>
                    <a:pt x="369" y="603"/>
                  </a:lnTo>
                  <a:lnTo>
                    <a:pt x="367" y="603"/>
                  </a:lnTo>
                  <a:lnTo>
                    <a:pt x="369" y="603"/>
                  </a:lnTo>
                  <a:lnTo>
                    <a:pt x="367" y="605"/>
                  </a:lnTo>
                  <a:lnTo>
                    <a:pt x="367" y="603"/>
                  </a:lnTo>
                  <a:lnTo>
                    <a:pt x="366" y="603"/>
                  </a:lnTo>
                  <a:lnTo>
                    <a:pt x="366" y="605"/>
                  </a:lnTo>
                  <a:lnTo>
                    <a:pt x="364" y="605"/>
                  </a:lnTo>
                  <a:lnTo>
                    <a:pt x="362" y="607"/>
                  </a:lnTo>
                  <a:lnTo>
                    <a:pt x="362" y="605"/>
                  </a:lnTo>
                  <a:lnTo>
                    <a:pt x="364" y="605"/>
                  </a:lnTo>
                  <a:lnTo>
                    <a:pt x="362" y="605"/>
                  </a:lnTo>
                  <a:lnTo>
                    <a:pt x="364" y="603"/>
                  </a:lnTo>
                  <a:lnTo>
                    <a:pt x="366" y="603"/>
                  </a:lnTo>
                  <a:lnTo>
                    <a:pt x="366" y="602"/>
                  </a:lnTo>
                  <a:lnTo>
                    <a:pt x="364" y="602"/>
                  </a:lnTo>
                  <a:lnTo>
                    <a:pt x="364" y="603"/>
                  </a:lnTo>
                  <a:lnTo>
                    <a:pt x="362" y="603"/>
                  </a:lnTo>
                  <a:lnTo>
                    <a:pt x="362" y="602"/>
                  </a:lnTo>
                  <a:lnTo>
                    <a:pt x="362" y="600"/>
                  </a:lnTo>
                  <a:lnTo>
                    <a:pt x="362" y="602"/>
                  </a:lnTo>
                  <a:lnTo>
                    <a:pt x="364" y="602"/>
                  </a:lnTo>
                  <a:lnTo>
                    <a:pt x="364" y="600"/>
                  </a:lnTo>
                  <a:lnTo>
                    <a:pt x="364" y="599"/>
                  </a:lnTo>
                  <a:lnTo>
                    <a:pt x="362" y="600"/>
                  </a:lnTo>
                  <a:lnTo>
                    <a:pt x="362" y="599"/>
                  </a:lnTo>
                  <a:lnTo>
                    <a:pt x="362" y="600"/>
                  </a:lnTo>
                  <a:lnTo>
                    <a:pt x="361" y="600"/>
                  </a:lnTo>
                  <a:lnTo>
                    <a:pt x="361" y="599"/>
                  </a:lnTo>
                  <a:lnTo>
                    <a:pt x="359" y="599"/>
                  </a:lnTo>
                  <a:lnTo>
                    <a:pt x="357" y="599"/>
                  </a:lnTo>
                  <a:lnTo>
                    <a:pt x="356" y="599"/>
                  </a:lnTo>
                  <a:lnTo>
                    <a:pt x="354" y="597"/>
                  </a:lnTo>
                  <a:lnTo>
                    <a:pt x="353" y="597"/>
                  </a:lnTo>
                  <a:lnTo>
                    <a:pt x="353" y="599"/>
                  </a:lnTo>
                  <a:lnTo>
                    <a:pt x="351" y="599"/>
                  </a:lnTo>
                  <a:lnTo>
                    <a:pt x="351" y="597"/>
                  </a:lnTo>
                  <a:lnTo>
                    <a:pt x="349" y="597"/>
                  </a:lnTo>
                  <a:lnTo>
                    <a:pt x="348" y="597"/>
                  </a:lnTo>
                  <a:lnTo>
                    <a:pt x="346" y="597"/>
                  </a:lnTo>
                  <a:lnTo>
                    <a:pt x="346" y="595"/>
                  </a:lnTo>
                  <a:lnTo>
                    <a:pt x="344" y="594"/>
                  </a:lnTo>
                  <a:lnTo>
                    <a:pt x="343" y="592"/>
                  </a:lnTo>
                  <a:lnTo>
                    <a:pt x="341" y="592"/>
                  </a:lnTo>
                  <a:lnTo>
                    <a:pt x="341" y="590"/>
                  </a:lnTo>
                  <a:lnTo>
                    <a:pt x="340" y="590"/>
                  </a:lnTo>
                  <a:lnTo>
                    <a:pt x="338" y="590"/>
                  </a:lnTo>
                  <a:lnTo>
                    <a:pt x="336" y="590"/>
                  </a:lnTo>
                  <a:lnTo>
                    <a:pt x="335" y="590"/>
                  </a:lnTo>
                  <a:lnTo>
                    <a:pt x="333" y="590"/>
                  </a:lnTo>
                  <a:lnTo>
                    <a:pt x="333" y="589"/>
                  </a:lnTo>
                  <a:lnTo>
                    <a:pt x="331" y="589"/>
                  </a:lnTo>
                  <a:lnTo>
                    <a:pt x="331" y="587"/>
                  </a:lnTo>
                  <a:lnTo>
                    <a:pt x="330" y="586"/>
                  </a:lnTo>
                  <a:lnTo>
                    <a:pt x="330" y="584"/>
                  </a:lnTo>
                  <a:lnTo>
                    <a:pt x="328" y="584"/>
                  </a:lnTo>
                  <a:lnTo>
                    <a:pt x="328" y="582"/>
                  </a:lnTo>
                  <a:lnTo>
                    <a:pt x="330" y="582"/>
                  </a:lnTo>
                  <a:lnTo>
                    <a:pt x="331" y="581"/>
                  </a:lnTo>
                  <a:lnTo>
                    <a:pt x="333" y="579"/>
                  </a:lnTo>
                  <a:lnTo>
                    <a:pt x="333" y="577"/>
                  </a:lnTo>
                  <a:lnTo>
                    <a:pt x="333" y="576"/>
                  </a:lnTo>
                  <a:lnTo>
                    <a:pt x="331" y="576"/>
                  </a:lnTo>
                  <a:lnTo>
                    <a:pt x="333" y="574"/>
                  </a:lnTo>
                  <a:lnTo>
                    <a:pt x="333" y="573"/>
                  </a:lnTo>
                  <a:lnTo>
                    <a:pt x="333" y="571"/>
                  </a:lnTo>
                  <a:lnTo>
                    <a:pt x="333" y="569"/>
                  </a:lnTo>
                  <a:lnTo>
                    <a:pt x="335" y="568"/>
                  </a:lnTo>
                  <a:lnTo>
                    <a:pt x="335" y="566"/>
                  </a:lnTo>
                  <a:lnTo>
                    <a:pt x="333" y="566"/>
                  </a:lnTo>
                  <a:lnTo>
                    <a:pt x="333" y="564"/>
                  </a:lnTo>
                  <a:lnTo>
                    <a:pt x="331" y="564"/>
                  </a:lnTo>
                  <a:lnTo>
                    <a:pt x="331" y="563"/>
                  </a:lnTo>
                  <a:lnTo>
                    <a:pt x="331" y="561"/>
                  </a:lnTo>
                  <a:lnTo>
                    <a:pt x="333" y="561"/>
                  </a:lnTo>
                  <a:lnTo>
                    <a:pt x="331" y="560"/>
                  </a:lnTo>
                  <a:lnTo>
                    <a:pt x="333" y="558"/>
                  </a:lnTo>
                  <a:lnTo>
                    <a:pt x="335" y="558"/>
                  </a:lnTo>
                  <a:lnTo>
                    <a:pt x="335" y="556"/>
                  </a:lnTo>
                  <a:lnTo>
                    <a:pt x="335" y="555"/>
                  </a:lnTo>
                  <a:lnTo>
                    <a:pt x="336" y="555"/>
                  </a:lnTo>
                  <a:lnTo>
                    <a:pt x="335" y="555"/>
                  </a:lnTo>
                  <a:lnTo>
                    <a:pt x="336" y="555"/>
                  </a:lnTo>
                  <a:lnTo>
                    <a:pt x="336" y="553"/>
                  </a:lnTo>
                  <a:lnTo>
                    <a:pt x="338" y="553"/>
                  </a:lnTo>
                  <a:lnTo>
                    <a:pt x="338" y="551"/>
                  </a:lnTo>
                  <a:lnTo>
                    <a:pt x="340" y="551"/>
                  </a:lnTo>
                  <a:lnTo>
                    <a:pt x="341" y="551"/>
                  </a:lnTo>
                  <a:lnTo>
                    <a:pt x="343" y="551"/>
                  </a:lnTo>
                  <a:lnTo>
                    <a:pt x="343" y="550"/>
                  </a:lnTo>
                  <a:lnTo>
                    <a:pt x="344" y="550"/>
                  </a:lnTo>
                  <a:lnTo>
                    <a:pt x="344" y="548"/>
                  </a:lnTo>
                  <a:lnTo>
                    <a:pt x="346" y="548"/>
                  </a:lnTo>
                  <a:lnTo>
                    <a:pt x="348" y="548"/>
                  </a:lnTo>
                  <a:lnTo>
                    <a:pt x="348" y="547"/>
                  </a:lnTo>
                  <a:lnTo>
                    <a:pt x="348" y="548"/>
                  </a:lnTo>
                  <a:lnTo>
                    <a:pt x="349" y="548"/>
                  </a:lnTo>
                  <a:lnTo>
                    <a:pt x="351" y="548"/>
                  </a:lnTo>
                  <a:lnTo>
                    <a:pt x="353" y="548"/>
                  </a:lnTo>
                  <a:lnTo>
                    <a:pt x="354" y="548"/>
                  </a:lnTo>
                  <a:lnTo>
                    <a:pt x="356" y="548"/>
                  </a:lnTo>
                  <a:lnTo>
                    <a:pt x="357" y="548"/>
                  </a:lnTo>
                  <a:lnTo>
                    <a:pt x="359" y="548"/>
                  </a:lnTo>
                  <a:lnTo>
                    <a:pt x="361" y="548"/>
                  </a:lnTo>
                  <a:lnTo>
                    <a:pt x="361" y="547"/>
                  </a:lnTo>
                  <a:lnTo>
                    <a:pt x="362" y="547"/>
                  </a:lnTo>
                  <a:lnTo>
                    <a:pt x="364" y="547"/>
                  </a:lnTo>
                  <a:lnTo>
                    <a:pt x="366" y="547"/>
                  </a:lnTo>
                  <a:lnTo>
                    <a:pt x="367" y="547"/>
                  </a:lnTo>
                  <a:lnTo>
                    <a:pt x="369" y="547"/>
                  </a:lnTo>
                  <a:lnTo>
                    <a:pt x="370" y="547"/>
                  </a:lnTo>
                  <a:lnTo>
                    <a:pt x="372" y="547"/>
                  </a:lnTo>
                  <a:lnTo>
                    <a:pt x="374" y="547"/>
                  </a:lnTo>
                  <a:lnTo>
                    <a:pt x="375" y="547"/>
                  </a:lnTo>
                  <a:lnTo>
                    <a:pt x="377" y="547"/>
                  </a:lnTo>
                  <a:lnTo>
                    <a:pt x="379" y="547"/>
                  </a:lnTo>
                  <a:lnTo>
                    <a:pt x="380" y="547"/>
                  </a:lnTo>
                  <a:lnTo>
                    <a:pt x="382" y="547"/>
                  </a:lnTo>
                  <a:lnTo>
                    <a:pt x="385" y="547"/>
                  </a:lnTo>
                  <a:lnTo>
                    <a:pt x="387" y="547"/>
                  </a:lnTo>
                  <a:lnTo>
                    <a:pt x="387" y="545"/>
                  </a:lnTo>
                  <a:lnTo>
                    <a:pt x="385" y="545"/>
                  </a:lnTo>
                  <a:lnTo>
                    <a:pt x="387" y="545"/>
                  </a:lnTo>
                  <a:lnTo>
                    <a:pt x="388" y="545"/>
                  </a:lnTo>
                  <a:lnTo>
                    <a:pt x="390" y="545"/>
                  </a:lnTo>
                  <a:lnTo>
                    <a:pt x="393" y="545"/>
                  </a:lnTo>
                  <a:lnTo>
                    <a:pt x="395" y="545"/>
                  </a:lnTo>
                  <a:lnTo>
                    <a:pt x="396" y="545"/>
                  </a:lnTo>
                  <a:lnTo>
                    <a:pt x="398" y="545"/>
                  </a:lnTo>
                  <a:lnTo>
                    <a:pt x="400" y="545"/>
                  </a:lnTo>
                  <a:lnTo>
                    <a:pt x="401" y="545"/>
                  </a:lnTo>
                  <a:lnTo>
                    <a:pt x="401" y="543"/>
                  </a:lnTo>
                  <a:lnTo>
                    <a:pt x="403" y="543"/>
                  </a:lnTo>
                  <a:lnTo>
                    <a:pt x="401" y="543"/>
                  </a:lnTo>
                  <a:lnTo>
                    <a:pt x="403" y="543"/>
                  </a:lnTo>
                  <a:lnTo>
                    <a:pt x="405" y="543"/>
                  </a:lnTo>
                  <a:lnTo>
                    <a:pt x="406" y="543"/>
                  </a:lnTo>
                  <a:lnTo>
                    <a:pt x="408" y="543"/>
                  </a:lnTo>
                  <a:lnTo>
                    <a:pt x="409" y="543"/>
                  </a:lnTo>
                  <a:lnTo>
                    <a:pt x="409" y="545"/>
                  </a:lnTo>
                  <a:lnTo>
                    <a:pt x="413" y="545"/>
                  </a:lnTo>
                  <a:lnTo>
                    <a:pt x="413" y="543"/>
                  </a:lnTo>
                  <a:lnTo>
                    <a:pt x="414" y="543"/>
                  </a:lnTo>
                  <a:lnTo>
                    <a:pt x="416" y="543"/>
                  </a:lnTo>
                  <a:lnTo>
                    <a:pt x="418" y="542"/>
                  </a:lnTo>
                  <a:lnTo>
                    <a:pt x="419" y="542"/>
                  </a:lnTo>
                  <a:lnTo>
                    <a:pt x="421" y="542"/>
                  </a:lnTo>
                  <a:lnTo>
                    <a:pt x="423" y="542"/>
                  </a:lnTo>
                  <a:lnTo>
                    <a:pt x="424" y="542"/>
                  </a:lnTo>
                  <a:lnTo>
                    <a:pt x="424" y="540"/>
                  </a:lnTo>
                  <a:lnTo>
                    <a:pt x="426" y="540"/>
                  </a:lnTo>
                  <a:lnTo>
                    <a:pt x="427" y="540"/>
                  </a:lnTo>
                  <a:lnTo>
                    <a:pt x="429" y="540"/>
                  </a:lnTo>
                  <a:lnTo>
                    <a:pt x="431" y="538"/>
                  </a:lnTo>
                  <a:lnTo>
                    <a:pt x="431" y="540"/>
                  </a:lnTo>
                  <a:lnTo>
                    <a:pt x="431" y="538"/>
                  </a:lnTo>
                  <a:lnTo>
                    <a:pt x="432" y="538"/>
                  </a:lnTo>
                  <a:lnTo>
                    <a:pt x="434" y="538"/>
                  </a:lnTo>
                  <a:lnTo>
                    <a:pt x="436" y="538"/>
                  </a:lnTo>
                  <a:lnTo>
                    <a:pt x="437" y="538"/>
                  </a:lnTo>
                  <a:lnTo>
                    <a:pt x="437" y="537"/>
                  </a:lnTo>
                  <a:lnTo>
                    <a:pt x="439" y="537"/>
                  </a:lnTo>
                  <a:lnTo>
                    <a:pt x="440" y="537"/>
                  </a:lnTo>
                  <a:lnTo>
                    <a:pt x="439" y="537"/>
                  </a:lnTo>
                  <a:lnTo>
                    <a:pt x="440" y="537"/>
                  </a:lnTo>
                  <a:lnTo>
                    <a:pt x="440" y="535"/>
                  </a:lnTo>
                  <a:lnTo>
                    <a:pt x="442" y="535"/>
                  </a:lnTo>
                  <a:lnTo>
                    <a:pt x="444" y="535"/>
                  </a:lnTo>
                  <a:lnTo>
                    <a:pt x="445" y="535"/>
                  </a:lnTo>
                  <a:lnTo>
                    <a:pt x="445" y="534"/>
                  </a:lnTo>
                  <a:lnTo>
                    <a:pt x="447" y="534"/>
                  </a:lnTo>
                  <a:lnTo>
                    <a:pt x="447" y="532"/>
                  </a:lnTo>
                  <a:lnTo>
                    <a:pt x="447" y="534"/>
                  </a:lnTo>
                  <a:lnTo>
                    <a:pt x="449" y="534"/>
                  </a:lnTo>
                  <a:lnTo>
                    <a:pt x="449" y="532"/>
                  </a:lnTo>
                  <a:lnTo>
                    <a:pt x="449" y="530"/>
                  </a:lnTo>
                  <a:lnTo>
                    <a:pt x="450" y="530"/>
                  </a:lnTo>
                  <a:lnTo>
                    <a:pt x="452" y="530"/>
                  </a:lnTo>
                  <a:lnTo>
                    <a:pt x="452" y="529"/>
                  </a:lnTo>
                  <a:lnTo>
                    <a:pt x="450" y="529"/>
                  </a:lnTo>
                  <a:lnTo>
                    <a:pt x="450" y="527"/>
                  </a:lnTo>
                  <a:lnTo>
                    <a:pt x="452" y="527"/>
                  </a:lnTo>
                  <a:lnTo>
                    <a:pt x="452" y="529"/>
                  </a:lnTo>
                  <a:lnTo>
                    <a:pt x="452" y="527"/>
                  </a:lnTo>
                  <a:lnTo>
                    <a:pt x="450" y="527"/>
                  </a:lnTo>
                  <a:lnTo>
                    <a:pt x="452" y="527"/>
                  </a:lnTo>
                  <a:lnTo>
                    <a:pt x="452" y="525"/>
                  </a:lnTo>
                  <a:lnTo>
                    <a:pt x="453" y="527"/>
                  </a:lnTo>
                  <a:lnTo>
                    <a:pt x="453" y="525"/>
                  </a:lnTo>
                  <a:lnTo>
                    <a:pt x="453" y="524"/>
                  </a:lnTo>
                  <a:lnTo>
                    <a:pt x="453" y="522"/>
                  </a:lnTo>
                  <a:lnTo>
                    <a:pt x="455" y="522"/>
                  </a:lnTo>
                  <a:lnTo>
                    <a:pt x="458" y="522"/>
                  </a:lnTo>
                  <a:lnTo>
                    <a:pt x="460" y="522"/>
                  </a:lnTo>
                  <a:lnTo>
                    <a:pt x="462" y="522"/>
                  </a:lnTo>
                  <a:lnTo>
                    <a:pt x="463" y="522"/>
                  </a:lnTo>
                  <a:lnTo>
                    <a:pt x="463" y="524"/>
                  </a:lnTo>
                  <a:lnTo>
                    <a:pt x="468" y="524"/>
                  </a:lnTo>
                  <a:lnTo>
                    <a:pt x="471" y="524"/>
                  </a:lnTo>
                  <a:lnTo>
                    <a:pt x="476" y="524"/>
                  </a:lnTo>
                  <a:lnTo>
                    <a:pt x="479" y="524"/>
                  </a:lnTo>
                  <a:lnTo>
                    <a:pt x="484" y="524"/>
                  </a:lnTo>
                  <a:lnTo>
                    <a:pt x="491" y="524"/>
                  </a:lnTo>
                  <a:lnTo>
                    <a:pt x="492" y="524"/>
                  </a:lnTo>
                  <a:lnTo>
                    <a:pt x="496" y="522"/>
                  </a:lnTo>
                  <a:lnTo>
                    <a:pt x="497" y="522"/>
                  </a:lnTo>
                  <a:lnTo>
                    <a:pt x="499" y="522"/>
                  </a:lnTo>
                  <a:lnTo>
                    <a:pt x="501" y="522"/>
                  </a:lnTo>
                  <a:lnTo>
                    <a:pt x="501" y="524"/>
                  </a:lnTo>
                  <a:lnTo>
                    <a:pt x="501" y="522"/>
                  </a:lnTo>
                  <a:lnTo>
                    <a:pt x="502" y="524"/>
                  </a:lnTo>
                  <a:lnTo>
                    <a:pt x="504" y="524"/>
                  </a:lnTo>
                  <a:lnTo>
                    <a:pt x="510" y="525"/>
                  </a:lnTo>
                  <a:lnTo>
                    <a:pt x="512" y="524"/>
                  </a:lnTo>
                  <a:lnTo>
                    <a:pt x="514" y="524"/>
                  </a:lnTo>
                  <a:lnTo>
                    <a:pt x="515" y="524"/>
                  </a:lnTo>
                  <a:lnTo>
                    <a:pt x="518" y="524"/>
                  </a:lnTo>
                  <a:lnTo>
                    <a:pt x="520" y="524"/>
                  </a:lnTo>
                  <a:lnTo>
                    <a:pt x="522" y="524"/>
                  </a:lnTo>
                  <a:lnTo>
                    <a:pt x="527" y="522"/>
                  </a:lnTo>
                  <a:lnTo>
                    <a:pt x="528" y="522"/>
                  </a:lnTo>
                  <a:lnTo>
                    <a:pt x="530" y="520"/>
                  </a:lnTo>
                  <a:lnTo>
                    <a:pt x="533" y="520"/>
                  </a:lnTo>
                  <a:lnTo>
                    <a:pt x="536" y="519"/>
                  </a:lnTo>
                  <a:lnTo>
                    <a:pt x="538" y="519"/>
                  </a:lnTo>
                  <a:lnTo>
                    <a:pt x="538" y="517"/>
                  </a:lnTo>
                  <a:lnTo>
                    <a:pt x="540" y="517"/>
                  </a:lnTo>
                  <a:lnTo>
                    <a:pt x="541" y="517"/>
                  </a:lnTo>
                  <a:lnTo>
                    <a:pt x="543" y="517"/>
                  </a:lnTo>
                  <a:lnTo>
                    <a:pt x="543" y="516"/>
                  </a:lnTo>
                  <a:lnTo>
                    <a:pt x="544" y="516"/>
                  </a:lnTo>
                  <a:lnTo>
                    <a:pt x="544" y="514"/>
                  </a:lnTo>
                  <a:lnTo>
                    <a:pt x="546" y="514"/>
                  </a:lnTo>
                  <a:lnTo>
                    <a:pt x="548" y="514"/>
                  </a:lnTo>
                  <a:lnTo>
                    <a:pt x="549" y="512"/>
                  </a:lnTo>
                  <a:lnTo>
                    <a:pt x="557" y="509"/>
                  </a:lnTo>
                  <a:lnTo>
                    <a:pt x="559" y="507"/>
                  </a:lnTo>
                  <a:lnTo>
                    <a:pt x="561" y="507"/>
                  </a:lnTo>
                  <a:lnTo>
                    <a:pt x="562" y="506"/>
                  </a:lnTo>
                  <a:lnTo>
                    <a:pt x="564" y="504"/>
                  </a:lnTo>
                  <a:lnTo>
                    <a:pt x="566" y="504"/>
                  </a:lnTo>
                  <a:lnTo>
                    <a:pt x="567" y="501"/>
                  </a:lnTo>
                  <a:lnTo>
                    <a:pt x="569" y="499"/>
                  </a:lnTo>
                  <a:lnTo>
                    <a:pt x="569" y="498"/>
                  </a:lnTo>
                  <a:lnTo>
                    <a:pt x="569" y="496"/>
                  </a:lnTo>
                  <a:lnTo>
                    <a:pt x="571" y="496"/>
                  </a:lnTo>
                  <a:lnTo>
                    <a:pt x="571" y="494"/>
                  </a:lnTo>
                  <a:lnTo>
                    <a:pt x="572" y="493"/>
                  </a:lnTo>
                  <a:lnTo>
                    <a:pt x="571" y="493"/>
                  </a:lnTo>
                  <a:lnTo>
                    <a:pt x="571" y="491"/>
                  </a:lnTo>
                  <a:lnTo>
                    <a:pt x="572" y="490"/>
                  </a:lnTo>
                  <a:lnTo>
                    <a:pt x="572" y="488"/>
                  </a:lnTo>
                  <a:lnTo>
                    <a:pt x="572" y="486"/>
                  </a:lnTo>
                  <a:lnTo>
                    <a:pt x="572" y="485"/>
                  </a:lnTo>
                  <a:lnTo>
                    <a:pt x="571" y="483"/>
                  </a:lnTo>
                  <a:lnTo>
                    <a:pt x="571" y="481"/>
                  </a:lnTo>
                  <a:lnTo>
                    <a:pt x="571" y="480"/>
                  </a:lnTo>
                  <a:lnTo>
                    <a:pt x="572" y="480"/>
                  </a:lnTo>
                  <a:lnTo>
                    <a:pt x="572" y="478"/>
                  </a:lnTo>
                  <a:lnTo>
                    <a:pt x="571" y="478"/>
                  </a:lnTo>
                  <a:lnTo>
                    <a:pt x="569" y="478"/>
                  </a:lnTo>
                  <a:lnTo>
                    <a:pt x="567" y="477"/>
                  </a:lnTo>
                  <a:lnTo>
                    <a:pt x="567" y="475"/>
                  </a:lnTo>
                  <a:lnTo>
                    <a:pt x="569" y="473"/>
                  </a:lnTo>
                  <a:lnTo>
                    <a:pt x="571" y="473"/>
                  </a:lnTo>
                  <a:lnTo>
                    <a:pt x="571" y="472"/>
                  </a:lnTo>
                  <a:lnTo>
                    <a:pt x="572" y="472"/>
                  </a:lnTo>
                  <a:lnTo>
                    <a:pt x="574" y="470"/>
                  </a:lnTo>
                  <a:lnTo>
                    <a:pt x="574" y="468"/>
                  </a:lnTo>
                  <a:lnTo>
                    <a:pt x="575" y="468"/>
                  </a:lnTo>
                  <a:lnTo>
                    <a:pt x="575" y="467"/>
                  </a:lnTo>
                  <a:lnTo>
                    <a:pt x="577" y="467"/>
                  </a:lnTo>
                  <a:lnTo>
                    <a:pt x="577" y="465"/>
                  </a:lnTo>
                  <a:lnTo>
                    <a:pt x="579" y="465"/>
                  </a:lnTo>
                  <a:lnTo>
                    <a:pt x="579" y="464"/>
                  </a:lnTo>
                  <a:lnTo>
                    <a:pt x="580" y="464"/>
                  </a:lnTo>
                  <a:lnTo>
                    <a:pt x="582" y="462"/>
                  </a:lnTo>
                  <a:lnTo>
                    <a:pt x="584" y="460"/>
                  </a:lnTo>
                  <a:lnTo>
                    <a:pt x="585" y="460"/>
                  </a:lnTo>
                  <a:lnTo>
                    <a:pt x="585" y="459"/>
                  </a:lnTo>
                  <a:lnTo>
                    <a:pt x="587" y="459"/>
                  </a:lnTo>
                  <a:lnTo>
                    <a:pt x="588" y="459"/>
                  </a:lnTo>
                  <a:lnTo>
                    <a:pt x="588" y="457"/>
                  </a:lnTo>
                  <a:lnTo>
                    <a:pt x="590" y="455"/>
                  </a:lnTo>
                  <a:lnTo>
                    <a:pt x="592" y="454"/>
                  </a:lnTo>
                  <a:lnTo>
                    <a:pt x="593" y="452"/>
                  </a:lnTo>
                  <a:lnTo>
                    <a:pt x="595" y="451"/>
                  </a:lnTo>
                  <a:lnTo>
                    <a:pt x="595" y="449"/>
                  </a:lnTo>
                  <a:lnTo>
                    <a:pt x="597" y="449"/>
                  </a:lnTo>
                  <a:lnTo>
                    <a:pt x="597" y="447"/>
                  </a:lnTo>
                  <a:lnTo>
                    <a:pt x="598" y="447"/>
                  </a:lnTo>
                  <a:lnTo>
                    <a:pt x="598" y="446"/>
                  </a:lnTo>
                  <a:lnTo>
                    <a:pt x="600" y="446"/>
                  </a:lnTo>
                  <a:lnTo>
                    <a:pt x="600" y="444"/>
                  </a:lnTo>
                  <a:lnTo>
                    <a:pt x="600" y="442"/>
                  </a:lnTo>
                  <a:lnTo>
                    <a:pt x="601" y="442"/>
                  </a:lnTo>
                  <a:lnTo>
                    <a:pt x="603" y="442"/>
                  </a:lnTo>
                  <a:lnTo>
                    <a:pt x="601" y="442"/>
                  </a:lnTo>
                  <a:lnTo>
                    <a:pt x="603" y="442"/>
                  </a:lnTo>
                  <a:lnTo>
                    <a:pt x="603" y="441"/>
                  </a:lnTo>
                  <a:lnTo>
                    <a:pt x="603" y="439"/>
                  </a:lnTo>
                  <a:lnTo>
                    <a:pt x="605" y="439"/>
                  </a:lnTo>
                  <a:lnTo>
                    <a:pt x="606" y="438"/>
                  </a:lnTo>
                  <a:lnTo>
                    <a:pt x="606" y="436"/>
                  </a:lnTo>
                  <a:lnTo>
                    <a:pt x="608" y="434"/>
                  </a:lnTo>
                  <a:lnTo>
                    <a:pt x="606" y="434"/>
                  </a:lnTo>
                  <a:lnTo>
                    <a:pt x="608" y="434"/>
                  </a:lnTo>
                  <a:lnTo>
                    <a:pt x="608" y="433"/>
                  </a:lnTo>
                  <a:lnTo>
                    <a:pt x="610" y="433"/>
                  </a:lnTo>
                  <a:lnTo>
                    <a:pt x="611" y="431"/>
                  </a:lnTo>
                  <a:lnTo>
                    <a:pt x="611" y="429"/>
                  </a:lnTo>
                  <a:lnTo>
                    <a:pt x="611" y="431"/>
                  </a:lnTo>
                  <a:lnTo>
                    <a:pt x="611" y="429"/>
                  </a:lnTo>
                  <a:lnTo>
                    <a:pt x="613" y="429"/>
                  </a:lnTo>
                  <a:lnTo>
                    <a:pt x="614" y="428"/>
                  </a:lnTo>
                  <a:lnTo>
                    <a:pt x="616" y="428"/>
                  </a:lnTo>
                  <a:lnTo>
                    <a:pt x="616" y="426"/>
                  </a:lnTo>
                  <a:lnTo>
                    <a:pt x="618" y="426"/>
                  </a:lnTo>
                  <a:lnTo>
                    <a:pt x="618" y="425"/>
                  </a:lnTo>
                  <a:lnTo>
                    <a:pt x="621" y="423"/>
                  </a:lnTo>
                  <a:lnTo>
                    <a:pt x="623" y="421"/>
                  </a:lnTo>
                  <a:lnTo>
                    <a:pt x="623" y="420"/>
                  </a:lnTo>
                  <a:lnTo>
                    <a:pt x="623" y="418"/>
                  </a:lnTo>
                  <a:lnTo>
                    <a:pt x="624" y="418"/>
                  </a:lnTo>
                  <a:lnTo>
                    <a:pt x="626" y="418"/>
                  </a:lnTo>
                  <a:lnTo>
                    <a:pt x="627" y="418"/>
                  </a:lnTo>
                  <a:lnTo>
                    <a:pt x="626" y="418"/>
                  </a:lnTo>
                  <a:lnTo>
                    <a:pt x="626" y="416"/>
                  </a:lnTo>
                  <a:lnTo>
                    <a:pt x="627" y="416"/>
                  </a:lnTo>
                  <a:lnTo>
                    <a:pt x="629" y="415"/>
                  </a:lnTo>
                  <a:lnTo>
                    <a:pt x="631" y="413"/>
                  </a:lnTo>
                  <a:lnTo>
                    <a:pt x="632" y="413"/>
                  </a:lnTo>
                  <a:lnTo>
                    <a:pt x="634" y="412"/>
                  </a:lnTo>
                  <a:lnTo>
                    <a:pt x="634" y="410"/>
                  </a:lnTo>
                  <a:lnTo>
                    <a:pt x="636" y="410"/>
                  </a:lnTo>
                  <a:lnTo>
                    <a:pt x="636" y="408"/>
                  </a:lnTo>
                  <a:lnTo>
                    <a:pt x="636" y="407"/>
                  </a:lnTo>
                  <a:lnTo>
                    <a:pt x="637" y="407"/>
                  </a:lnTo>
                  <a:lnTo>
                    <a:pt x="637" y="405"/>
                  </a:lnTo>
                  <a:lnTo>
                    <a:pt x="636" y="405"/>
                  </a:lnTo>
                  <a:lnTo>
                    <a:pt x="637" y="403"/>
                  </a:lnTo>
                  <a:lnTo>
                    <a:pt x="637" y="402"/>
                  </a:lnTo>
                  <a:lnTo>
                    <a:pt x="639" y="402"/>
                  </a:lnTo>
                  <a:lnTo>
                    <a:pt x="639" y="400"/>
                  </a:lnTo>
                  <a:lnTo>
                    <a:pt x="640" y="399"/>
                  </a:lnTo>
                  <a:lnTo>
                    <a:pt x="639" y="399"/>
                  </a:lnTo>
                  <a:lnTo>
                    <a:pt x="639" y="397"/>
                  </a:lnTo>
                  <a:lnTo>
                    <a:pt x="640" y="397"/>
                  </a:lnTo>
                  <a:lnTo>
                    <a:pt x="639" y="397"/>
                  </a:lnTo>
                  <a:lnTo>
                    <a:pt x="640" y="395"/>
                  </a:lnTo>
                  <a:lnTo>
                    <a:pt x="642" y="394"/>
                  </a:lnTo>
                  <a:lnTo>
                    <a:pt x="642" y="392"/>
                  </a:lnTo>
                  <a:lnTo>
                    <a:pt x="644" y="390"/>
                  </a:lnTo>
                  <a:lnTo>
                    <a:pt x="645" y="390"/>
                  </a:lnTo>
                  <a:lnTo>
                    <a:pt x="645" y="389"/>
                  </a:lnTo>
                  <a:lnTo>
                    <a:pt x="647" y="389"/>
                  </a:lnTo>
                  <a:lnTo>
                    <a:pt x="649" y="389"/>
                  </a:lnTo>
                  <a:lnTo>
                    <a:pt x="650" y="389"/>
                  </a:lnTo>
                  <a:lnTo>
                    <a:pt x="649" y="387"/>
                  </a:lnTo>
                  <a:lnTo>
                    <a:pt x="650" y="387"/>
                  </a:lnTo>
                  <a:lnTo>
                    <a:pt x="650" y="386"/>
                  </a:lnTo>
                  <a:lnTo>
                    <a:pt x="650" y="387"/>
                  </a:lnTo>
                  <a:lnTo>
                    <a:pt x="652" y="386"/>
                  </a:lnTo>
                  <a:lnTo>
                    <a:pt x="652" y="384"/>
                  </a:lnTo>
                  <a:lnTo>
                    <a:pt x="653" y="384"/>
                  </a:lnTo>
                  <a:lnTo>
                    <a:pt x="652" y="384"/>
                  </a:lnTo>
                  <a:lnTo>
                    <a:pt x="652" y="382"/>
                  </a:lnTo>
                  <a:lnTo>
                    <a:pt x="653" y="382"/>
                  </a:lnTo>
                  <a:lnTo>
                    <a:pt x="653" y="384"/>
                  </a:lnTo>
                  <a:lnTo>
                    <a:pt x="655" y="384"/>
                  </a:lnTo>
                  <a:lnTo>
                    <a:pt x="657" y="384"/>
                  </a:lnTo>
                  <a:lnTo>
                    <a:pt x="657" y="382"/>
                  </a:lnTo>
                  <a:lnTo>
                    <a:pt x="657" y="381"/>
                  </a:lnTo>
                  <a:lnTo>
                    <a:pt x="658" y="377"/>
                  </a:lnTo>
                  <a:lnTo>
                    <a:pt x="660" y="377"/>
                  </a:lnTo>
                  <a:lnTo>
                    <a:pt x="662" y="376"/>
                  </a:lnTo>
                  <a:lnTo>
                    <a:pt x="662" y="374"/>
                  </a:lnTo>
                  <a:lnTo>
                    <a:pt x="663" y="374"/>
                  </a:lnTo>
                  <a:lnTo>
                    <a:pt x="663" y="372"/>
                  </a:lnTo>
                  <a:lnTo>
                    <a:pt x="663" y="371"/>
                  </a:lnTo>
                  <a:lnTo>
                    <a:pt x="665" y="371"/>
                  </a:lnTo>
                  <a:lnTo>
                    <a:pt x="666" y="369"/>
                  </a:lnTo>
                  <a:lnTo>
                    <a:pt x="666" y="371"/>
                  </a:lnTo>
                  <a:lnTo>
                    <a:pt x="666" y="369"/>
                  </a:lnTo>
                  <a:lnTo>
                    <a:pt x="668" y="369"/>
                  </a:lnTo>
                  <a:lnTo>
                    <a:pt x="670" y="369"/>
                  </a:lnTo>
                  <a:lnTo>
                    <a:pt x="670" y="368"/>
                  </a:lnTo>
                  <a:lnTo>
                    <a:pt x="670" y="366"/>
                  </a:lnTo>
                  <a:lnTo>
                    <a:pt x="671" y="366"/>
                  </a:lnTo>
                  <a:lnTo>
                    <a:pt x="673" y="364"/>
                  </a:lnTo>
                  <a:lnTo>
                    <a:pt x="675" y="364"/>
                  </a:lnTo>
                  <a:lnTo>
                    <a:pt x="676" y="364"/>
                  </a:lnTo>
                  <a:lnTo>
                    <a:pt x="678" y="363"/>
                  </a:lnTo>
                  <a:lnTo>
                    <a:pt x="679" y="363"/>
                  </a:lnTo>
                  <a:lnTo>
                    <a:pt x="679" y="361"/>
                  </a:lnTo>
                  <a:lnTo>
                    <a:pt x="681" y="361"/>
                  </a:lnTo>
                  <a:lnTo>
                    <a:pt x="683" y="361"/>
                  </a:lnTo>
                  <a:lnTo>
                    <a:pt x="683" y="359"/>
                  </a:lnTo>
                  <a:lnTo>
                    <a:pt x="684" y="359"/>
                  </a:lnTo>
                  <a:lnTo>
                    <a:pt x="684" y="358"/>
                  </a:lnTo>
                  <a:lnTo>
                    <a:pt x="686" y="358"/>
                  </a:lnTo>
                  <a:lnTo>
                    <a:pt x="688" y="358"/>
                  </a:lnTo>
                  <a:lnTo>
                    <a:pt x="688" y="356"/>
                  </a:lnTo>
                  <a:lnTo>
                    <a:pt x="689" y="356"/>
                  </a:lnTo>
                  <a:lnTo>
                    <a:pt x="689" y="355"/>
                  </a:lnTo>
                  <a:lnTo>
                    <a:pt x="692" y="355"/>
                  </a:lnTo>
                  <a:lnTo>
                    <a:pt x="694" y="355"/>
                  </a:lnTo>
                  <a:lnTo>
                    <a:pt x="694" y="353"/>
                  </a:lnTo>
                  <a:lnTo>
                    <a:pt x="696" y="353"/>
                  </a:lnTo>
                  <a:lnTo>
                    <a:pt x="697" y="353"/>
                  </a:lnTo>
                  <a:lnTo>
                    <a:pt x="697" y="351"/>
                  </a:lnTo>
                  <a:lnTo>
                    <a:pt x="699" y="351"/>
                  </a:lnTo>
                  <a:lnTo>
                    <a:pt x="701" y="350"/>
                  </a:lnTo>
                  <a:lnTo>
                    <a:pt x="702" y="350"/>
                  </a:lnTo>
                  <a:lnTo>
                    <a:pt x="704" y="348"/>
                  </a:lnTo>
                  <a:lnTo>
                    <a:pt x="705" y="346"/>
                  </a:lnTo>
                  <a:lnTo>
                    <a:pt x="707" y="345"/>
                  </a:lnTo>
                  <a:lnTo>
                    <a:pt x="709" y="343"/>
                  </a:lnTo>
                  <a:lnTo>
                    <a:pt x="707" y="343"/>
                  </a:lnTo>
                  <a:lnTo>
                    <a:pt x="709" y="343"/>
                  </a:lnTo>
                  <a:lnTo>
                    <a:pt x="707" y="343"/>
                  </a:lnTo>
                  <a:lnTo>
                    <a:pt x="709" y="342"/>
                  </a:lnTo>
                  <a:lnTo>
                    <a:pt x="710" y="342"/>
                  </a:lnTo>
                  <a:lnTo>
                    <a:pt x="710" y="340"/>
                  </a:lnTo>
                  <a:lnTo>
                    <a:pt x="712" y="338"/>
                  </a:lnTo>
                  <a:lnTo>
                    <a:pt x="714" y="337"/>
                  </a:lnTo>
                  <a:lnTo>
                    <a:pt x="715" y="337"/>
                  </a:lnTo>
                  <a:lnTo>
                    <a:pt x="715" y="335"/>
                  </a:lnTo>
                  <a:lnTo>
                    <a:pt x="717" y="335"/>
                  </a:lnTo>
                  <a:lnTo>
                    <a:pt x="719" y="333"/>
                  </a:lnTo>
                  <a:lnTo>
                    <a:pt x="720" y="332"/>
                  </a:lnTo>
                  <a:lnTo>
                    <a:pt x="722" y="332"/>
                  </a:lnTo>
                  <a:lnTo>
                    <a:pt x="722" y="330"/>
                  </a:lnTo>
                  <a:lnTo>
                    <a:pt x="723" y="330"/>
                  </a:lnTo>
                  <a:lnTo>
                    <a:pt x="725" y="330"/>
                  </a:lnTo>
                  <a:lnTo>
                    <a:pt x="725" y="329"/>
                  </a:lnTo>
                  <a:lnTo>
                    <a:pt x="727" y="327"/>
                  </a:lnTo>
                  <a:lnTo>
                    <a:pt x="727" y="325"/>
                  </a:lnTo>
                  <a:lnTo>
                    <a:pt x="728" y="325"/>
                  </a:lnTo>
                  <a:lnTo>
                    <a:pt x="730" y="324"/>
                  </a:lnTo>
                  <a:lnTo>
                    <a:pt x="732" y="324"/>
                  </a:lnTo>
                  <a:lnTo>
                    <a:pt x="733" y="322"/>
                  </a:lnTo>
                  <a:lnTo>
                    <a:pt x="733" y="320"/>
                  </a:lnTo>
                  <a:lnTo>
                    <a:pt x="735" y="320"/>
                  </a:lnTo>
                  <a:lnTo>
                    <a:pt x="735" y="319"/>
                  </a:lnTo>
                  <a:lnTo>
                    <a:pt x="736" y="317"/>
                  </a:lnTo>
                  <a:lnTo>
                    <a:pt x="738" y="317"/>
                  </a:lnTo>
                  <a:lnTo>
                    <a:pt x="738" y="316"/>
                  </a:lnTo>
                  <a:lnTo>
                    <a:pt x="740" y="316"/>
                  </a:lnTo>
                  <a:lnTo>
                    <a:pt x="741" y="316"/>
                  </a:lnTo>
                  <a:lnTo>
                    <a:pt x="741" y="314"/>
                  </a:lnTo>
                  <a:lnTo>
                    <a:pt x="741" y="316"/>
                  </a:lnTo>
                  <a:lnTo>
                    <a:pt x="743" y="314"/>
                  </a:lnTo>
                  <a:lnTo>
                    <a:pt x="745" y="314"/>
                  </a:lnTo>
                  <a:lnTo>
                    <a:pt x="746" y="314"/>
                  </a:lnTo>
                  <a:lnTo>
                    <a:pt x="749" y="314"/>
                  </a:lnTo>
                  <a:lnTo>
                    <a:pt x="749" y="312"/>
                  </a:lnTo>
                  <a:lnTo>
                    <a:pt x="751" y="312"/>
                  </a:lnTo>
                  <a:lnTo>
                    <a:pt x="753" y="312"/>
                  </a:lnTo>
                  <a:lnTo>
                    <a:pt x="754" y="312"/>
                  </a:lnTo>
                  <a:lnTo>
                    <a:pt x="756" y="312"/>
                  </a:lnTo>
                  <a:lnTo>
                    <a:pt x="758" y="312"/>
                  </a:lnTo>
                  <a:lnTo>
                    <a:pt x="759" y="312"/>
                  </a:lnTo>
                  <a:lnTo>
                    <a:pt x="761" y="312"/>
                  </a:lnTo>
                  <a:lnTo>
                    <a:pt x="762" y="311"/>
                  </a:lnTo>
                  <a:lnTo>
                    <a:pt x="762" y="312"/>
                  </a:lnTo>
                  <a:lnTo>
                    <a:pt x="764" y="311"/>
                  </a:lnTo>
                  <a:lnTo>
                    <a:pt x="764" y="312"/>
                  </a:lnTo>
                  <a:lnTo>
                    <a:pt x="764" y="311"/>
                  </a:lnTo>
                  <a:lnTo>
                    <a:pt x="766" y="311"/>
                  </a:lnTo>
                  <a:lnTo>
                    <a:pt x="769" y="311"/>
                  </a:lnTo>
                  <a:lnTo>
                    <a:pt x="771" y="311"/>
                  </a:lnTo>
                  <a:lnTo>
                    <a:pt x="774" y="309"/>
                  </a:lnTo>
                  <a:lnTo>
                    <a:pt x="775" y="309"/>
                  </a:lnTo>
                  <a:lnTo>
                    <a:pt x="779" y="309"/>
                  </a:lnTo>
                  <a:lnTo>
                    <a:pt x="779" y="307"/>
                  </a:lnTo>
                  <a:lnTo>
                    <a:pt x="780" y="307"/>
                  </a:lnTo>
                  <a:lnTo>
                    <a:pt x="782" y="307"/>
                  </a:lnTo>
                  <a:lnTo>
                    <a:pt x="784" y="307"/>
                  </a:lnTo>
                  <a:lnTo>
                    <a:pt x="784" y="306"/>
                  </a:lnTo>
                  <a:lnTo>
                    <a:pt x="785" y="306"/>
                  </a:lnTo>
                  <a:lnTo>
                    <a:pt x="784" y="306"/>
                  </a:lnTo>
                  <a:lnTo>
                    <a:pt x="784" y="307"/>
                  </a:lnTo>
                  <a:lnTo>
                    <a:pt x="785" y="306"/>
                  </a:lnTo>
                  <a:lnTo>
                    <a:pt x="785" y="307"/>
                  </a:lnTo>
                  <a:lnTo>
                    <a:pt x="787" y="306"/>
                  </a:lnTo>
                  <a:lnTo>
                    <a:pt x="788" y="306"/>
                  </a:lnTo>
                  <a:lnTo>
                    <a:pt x="790" y="306"/>
                  </a:lnTo>
                  <a:lnTo>
                    <a:pt x="792" y="306"/>
                  </a:lnTo>
                  <a:lnTo>
                    <a:pt x="793" y="304"/>
                  </a:lnTo>
                  <a:lnTo>
                    <a:pt x="797" y="304"/>
                  </a:lnTo>
                  <a:lnTo>
                    <a:pt x="797" y="303"/>
                  </a:lnTo>
                  <a:lnTo>
                    <a:pt x="798" y="304"/>
                  </a:lnTo>
                  <a:lnTo>
                    <a:pt x="798" y="303"/>
                  </a:lnTo>
                  <a:lnTo>
                    <a:pt x="800" y="303"/>
                  </a:lnTo>
                  <a:lnTo>
                    <a:pt x="801" y="303"/>
                  </a:lnTo>
                  <a:lnTo>
                    <a:pt x="803" y="301"/>
                  </a:lnTo>
                  <a:lnTo>
                    <a:pt x="805" y="301"/>
                  </a:lnTo>
                  <a:lnTo>
                    <a:pt x="805" y="299"/>
                  </a:lnTo>
                  <a:lnTo>
                    <a:pt x="806" y="299"/>
                  </a:lnTo>
                  <a:lnTo>
                    <a:pt x="808" y="299"/>
                  </a:lnTo>
                  <a:lnTo>
                    <a:pt x="810" y="298"/>
                  </a:lnTo>
                  <a:lnTo>
                    <a:pt x="811" y="298"/>
                  </a:lnTo>
                  <a:lnTo>
                    <a:pt x="813" y="298"/>
                  </a:lnTo>
                  <a:lnTo>
                    <a:pt x="813" y="296"/>
                  </a:lnTo>
                  <a:lnTo>
                    <a:pt x="814" y="296"/>
                  </a:lnTo>
                  <a:lnTo>
                    <a:pt x="816" y="296"/>
                  </a:lnTo>
                  <a:lnTo>
                    <a:pt x="818" y="296"/>
                  </a:lnTo>
                  <a:lnTo>
                    <a:pt x="823" y="296"/>
                  </a:lnTo>
                  <a:lnTo>
                    <a:pt x="824" y="294"/>
                  </a:lnTo>
                  <a:lnTo>
                    <a:pt x="826" y="294"/>
                  </a:lnTo>
                  <a:lnTo>
                    <a:pt x="826" y="296"/>
                  </a:lnTo>
                  <a:lnTo>
                    <a:pt x="826" y="294"/>
                  </a:lnTo>
                  <a:lnTo>
                    <a:pt x="826" y="296"/>
                  </a:lnTo>
                  <a:lnTo>
                    <a:pt x="829" y="294"/>
                  </a:lnTo>
                  <a:lnTo>
                    <a:pt x="831" y="294"/>
                  </a:lnTo>
                  <a:lnTo>
                    <a:pt x="832" y="294"/>
                  </a:lnTo>
                  <a:lnTo>
                    <a:pt x="834" y="294"/>
                  </a:lnTo>
                  <a:lnTo>
                    <a:pt x="837" y="294"/>
                  </a:lnTo>
                  <a:lnTo>
                    <a:pt x="839" y="294"/>
                  </a:lnTo>
                  <a:lnTo>
                    <a:pt x="840" y="293"/>
                  </a:lnTo>
                  <a:lnTo>
                    <a:pt x="842" y="293"/>
                  </a:lnTo>
                  <a:lnTo>
                    <a:pt x="842" y="291"/>
                  </a:lnTo>
                  <a:lnTo>
                    <a:pt x="844" y="291"/>
                  </a:lnTo>
                  <a:lnTo>
                    <a:pt x="845" y="291"/>
                  </a:lnTo>
                  <a:lnTo>
                    <a:pt x="847" y="291"/>
                  </a:lnTo>
                  <a:lnTo>
                    <a:pt x="847" y="290"/>
                  </a:lnTo>
                  <a:lnTo>
                    <a:pt x="849" y="290"/>
                  </a:lnTo>
                  <a:lnTo>
                    <a:pt x="849" y="288"/>
                  </a:lnTo>
                  <a:lnTo>
                    <a:pt x="850" y="288"/>
                  </a:lnTo>
                  <a:lnTo>
                    <a:pt x="850" y="286"/>
                  </a:lnTo>
                  <a:lnTo>
                    <a:pt x="852" y="286"/>
                  </a:lnTo>
                  <a:lnTo>
                    <a:pt x="853" y="286"/>
                  </a:lnTo>
                  <a:lnTo>
                    <a:pt x="853" y="285"/>
                  </a:lnTo>
                  <a:lnTo>
                    <a:pt x="855" y="285"/>
                  </a:lnTo>
                  <a:lnTo>
                    <a:pt x="857" y="285"/>
                  </a:lnTo>
                  <a:lnTo>
                    <a:pt x="857" y="283"/>
                  </a:lnTo>
                  <a:lnTo>
                    <a:pt x="858" y="283"/>
                  </a:lnTo>
                  <a:lnTo>
                    <a:pt x="858" y="285"/>
                  </a:lnTo>
                  <a:lnTo>
                    <a:pt x="860" y="285"/>
                  </a:lnTo>
                  <a:lnTo>
                    <a:pt x="862" y="285"/>
                  </a:lnTo>
                  <a:lnTo>
                    <a:pt x="863" y="285"/>
                  </a:lnTo>
                  <a:lnTo>
                    <a:pt x="865" y="285"/>
                  </a:lnTo>
                  <a:lnTo>
                    <a:pt x="867" y="285"/>
                  </a:lnTo>
                  <a:lnTo>
                    <a:pt x="867" y="283"/>
                  </a:lnTo>
                  <a:lnTo>
                    <a:pt x="868" y="283"/>
                  </a:lnTo>
                  <a:lnTo>
                    <a:pt x="870" y="283"/>
                  </a:lnTo>
                  <a:lnTo>
                    <a:pt x="871" y="283"/>
                  </a:lnTo>
                  <a:lnTo>
                    <a:pt x="873" y="283"/>
                  </a:lnTo>
                  <a:lnTo>
                    <a:pt x="875" y="281"/>
                  </a:lnTo>
                  <a:lnTo>
                    <a:pt x="876" y="281"/>
                  </a:lnTo>
                  <a:lnTo>
                    <a:pt x="878" y="280"/>
                  </a:lnTo>
                  <a:lnTo>
                    <a:pt x="880" y="280"/>
                  </a:lnTo>
                  <a:lnTo>
                    <a:pt x="881" y="280"/>
                  </a:lnTo>
                  <a:lnTo>
                    <a:pt x="883" y="278"/>
                  </a:lnTo>
                  <a:lnTo>
                    <a:pt x="884" y="277"/>
                  </a:lnTo>
                  <a:lnTo>
                    <a:pt x="886" y="277"/>
                  </a:lnTo>
                  <a:lnTo>
                    <a:pt x="888" y="277"/>
                  </a:lnTo>
                  <a:lnTo>
                    <a:pt x="888" y="275"/>
                  </a:lnTo>
                  <a:lnTo>
                    <a:pt x="889" y="275"/>
                  </a:lnTo>
                  <a:lnTo>
                    <a:pt x="893" y="272"/>
                  </a:lnTo>
                  <a:lnTo>
                    <a:pt x="896" y="267"/>
                  </a:lnTo>
                  <a:lnTo>
                    <a:pt x="896" y="264"/>
                  </a:lnTo>
                  <a:lnTo>
                    <a:pt x="897" y="262"/>
                  </a:lnTo>
                  <a:lnTo>
                    <a:pt x="897" y="259"/>
                  </a:lnTo>
                  <a:lnTo>
                    <a:pt x="897" y="257"/>
                  </a:lnTo>
                  <a:lnTo>
                    <a:pt x="899" y="255"/>
                  </a:lnTo>
                  <a:lnTo>
                    <a:pt x="899" y="254"/>
                  </a:lnTo>
                  <a:lnTo>
                    <a:pt x="899" y="252"/>
                  </a:lnTo>
                  <a:lnTo>
                    <a:pt x="899" y="251"/>
                  </a:lnTo>
                  <a:lnTo>
                    <a:pt x="897" y="251"/>
                  </a:lnTo>
                  <a:lnTo>
                    <a:pt x="899" y="251"/>
                  </a:lnTo>
                  <a:lnTo>
                    <a:pt x="901" y="249"/>
                  </a:lnTo>
                  <a:lnTo>
                    <a:pt x="902" y="249"/>
                  </a:lnTo>
                  <a:lnTo>
                    <a:pt x="904" y="249"/>
                  </a:lnTo>
                  <a:lnTo>
                    <a:pt x="906" y="249"/>
                  </a:lnTo>
                  <a:lnTo>
                    <a:pt x="907" y="249"/>
                  </a:lnTo>
                  <a:lnTo>
                    <a:pt x="907" y="251"/>
                  </a:lnTo>
                  <a:lnTo>
                    <a:pt x="909" y="251"/>
                  </a:lnTo>
                  <a:lnTo>
                    <a:pt x="909" y="252"/>
                  </a:lnTo>
                  <a:lnTo>
                    <a:pt x="910" y="252"/>
                  </a:lnTo>
                  <a:lnTo>
                    <a:pt x="909" y="252"/>
                  </a:lnTo>
                  <a:lnTo>
                    <a:pt x="910" y="254"/>
                  </a:lnTo>
                  <a:lnTo>
                    <a:pt x="912" y="255"/>
                  </a:lnTo>
                  <a:lnTo>
                    <a:pt x="914" y="255"/>
                  </a:lnTo>
                  <a:lnTo>
                    <a:pt x="915" y="255"/>
                  </a:lnTo>
                  <a:lnTo>
                    <a:pt x="917" y="255"/>
                  </a:lnTo>
                  <a:lnTo>
                    <a:pt x="919" y="254"/>
                  </a:lnTo>
                  <a:lnTo>
                    <a:pt x="920" y="254"/>
                  </a:lnTo>
                  <a:lnTo>
                    <a:pt x="920" y="252"/>
                  </a:lnTo>
                  <a:lnTo>
                    <a:pt x="922" y="252"/>
                  </a:lnTo>
                  <a:lnTo>
                    <a:pt x="922" y="251"/>
                  </a:lnTo>
                  <a:lnTo>
                    <a:pt x="923" y="251"/>
                  </a:lnTo>
                  <a:lnTo>
                    <a:pt x="923" y="249"/>
                  </a:lnTo>
                  <a:lnTo>
                    <a:pt x="925" y="249"/>
                  </a:lnTo>
                  <a:lnTo>
                    <a:pt x="925" y="251"/>
                  </a:lnTo>
                  <a:lnTo>
                    <a:pt x="927" y="251"/>
                  </a:lnTo>
                  <a:lnTo>
                    <a:pt x="928" y="252"/>
                  </a:lnTo>
                  <a:lnTo>
                    <a:pt x="927" y="252"/>
                  </a:lnTo>
                  <a:lnTo>
                    <a:pt x="925" y="252"/>
                  </a:lnTo>
                  <a:lnTo>
                    <a:pt x="925" y="254"/>
                  </a:lnTo>
                  <a:lnTo>
                    <a:pt x="923" y="254"/>
                  </a:lnTo>
                  <a:lnTo>
                    <a:pt x="922" y="254"/>
                  </a:lnTo>
                  <a:lnTo>
                    <a:pt x="920" y="254"/>
                  </a:lnTo>
                  <a:lnTo>
                    <a:pt x="920" y="255"/>
                  </a:lnTo>
                  <a:lnTo>
                    <a:pt x="919" y="255"/>
                  </a:lnTo>
                  <a:lnTo>
                    <a:pt x="919" y="257"/>
                  </a:lnTo>
                  <a:lnTo>
                    <a:pt x="919" y="259"/>
                  </a:lnTo>
                  <a:lnTo>
                    <a:pt x="920" y="262"/>
                  </a:lnTo>
                  <a:lnTo>
                    <a:pt x="919" y="262"/>
                  </a:lnTo>
                  <a:lnTo>
                    <a:pt x="919" y="264"/>
                  </a:lnTo>
                  <a:lnTo>
                    <a:pt x="920" y="265"/>
                  </a:lnTo>
                  <a:lnTo>
                    <a:pt x="920" y="267"/>
                  </a:lnTo>
                  <a:lnTo>
                    <a:pt x="920" y="268"/>
                  </a:lnTo>
                  <a:lnTo>
                    <a:pt x="922" y="272"/>
                  </a:lnTo>
                  <a:lnTo>
                    <a:pt x="923" y="272"/>
                  </a:lnTo>
                  <a:lnTo>
                    <a:pt x="923" y="273"/>
                  </a:lnTo>
                  <a:lnTo>
                    <a:pt x="925" y="273"/>
                  </a:lnTo>
                  <a:lnTo>
                    <a:pt x="927" y="275"/>
                  </a:lnTo>
                  <a:lnTo>
                    <a:pt x="927" y="277"/>
                  </a:lnTo>
                  <a:lnTo>
                    <a:pt x="928" y="277"/>
                  </a:lnTo>
                  <a:lnTo>
                    <a:pt x="930" y="278"/>
                  </a:lnTo>
                  <a:lnTo>
                    <a:pt x="932" y="278"/>
                  </a:lnTo>
                  <a:lnTo>
                    <a:pt x="933" y="280"/>
                  </a:lnTo>
                  <a:lnTo>
                    <a:pt x="935" y="280"/>
                  </a:lnTo>
                  <a:lnTo>
                    <a:pt x="936" y="280"/>
                  </a:lnTo>
                  <a:lnTo>
                    <a:pt x="936" y="281"/>
                  </a:lnTo>
                  <a:lnTo>
                    <a:pt x="938" y="281"/>
                  </a:lnTo>
                  <a:lnTo>
                    <a:pt x="936" y="281"/>
                  </a:lnTo>
                  <a:lnTo>
                    <a:pt x="936" y="283"/>
                  </a:lnTo>
                  <a:lnTo>
                    <a:pt x="936" y="285"/>
                  </a:lnTo>
                  <a:lnTo>
                    <a:pt x="938" y="285"/>
                  </a:lnTo>
                  <a:lnTo>
                    <a:pt x="938" y="286"/>
                  </a:lnTo>
                  <a:lnTo>
                    <a:pt x="940" y="286"/>
                  </a:lnTo>
                  <a:lnTo>
                    <a:pt x="941" y="288"/>
                  </a:lnTo>
                  <a:lnTo>
                    <a:pt x="943" y="288"/>
                  </a:lnTo>
                  <a:lnTo>
                    <a:pt x="946" y="288"/>
                  </a:lnTo>
                  <a:lnTo>
                    <a:pt x="946" y="290"/>
                  </a:lnTo>
                  <a:lnTo>
                    <a:pt x="948" y="290"/>
                  </a:lnTo>
                  <a:lnTo>
                    <a:pt x="948" y="291"/>
                  </a:lnTo>
                  <a:lnTo>
                    <a:pt x="949" y="291"/>
                  </a:lnTo>
                  <a:lnTo>
                    <a:pt x="951" y="291"/>
                  </a:lnTo>
                  <a:lnTo>
                    <a:pt x="953" y="291"/>
                  </a:lnTo>
                  <a:lnTo>
                    <a:pt x="954" y="291"/>
                  </a:lnTo>
                  <a:lnTo>
                    <a:pt x="956" y="291"/>
                  </a:lnTo>
                  <a:lnTo>
                    <a:pt x="961" y="291"/>
                  </a:lnTo>
                  <a:lnTo>
                    <a:pt x="964" y="290"/>
                  </a:lnTo>
                  <a:lnTo>
                    <a:pt x="964" y="291"/>
                  </a:lnTo>
                  <a:lnTo>
                    <a:pt x="966" y="291"/>
                  </a:lnTo>
                  <a:lnTo>
                    <a:pt x="967" y="291"/>
                  </a:lnTo>
                  <a:lnTo>
                    <a:pt x="967" y="293"/>
                  </a:lnTo>
                  <a:lnTo>
                    <a:pt x="969" y="293"/>
                  </a:lnTo>
                  <a:lnTo>
                    <a:pt x="971" y="293"/>
                  </a:lnTo>
                  <a:lnTo>
                    <a:pt x="972" y="293"/>
                  </a:lnTo>
                  <a:lnTo>
                    <a:pt x="974" y="293"/>
                  </a:lnTo>
                  <a:lnTo>
                    <a:pt x="975" y="293"/>
                  </a:lnTo>
                  <a:lnTo>
                    <a:pt x="980" y="291"/>
                  </a:lnTo>
                  <a:lnTo>
                    <a:pt x="982" y="291"/>
                  </a:lnTo>
                  <a:lnTo>
                    <a:pt x="984" y="291"/>
                  </a:lnTo>
                  <a:lnTo>
                    <a:pt x="985" y="290"/>
                  </a:lnTo>
                  <a:lnTo>
                    <a:pt x="987" y="288"/>
                  </a:lnTo>
                  <a:lnTo>
                    <a:pt x="988" y="288"/>
                  </a:lnTo>
                  <a:lnTo>
                    <a:pt x="990" y="286"/>
                  </a:lnTo>
                  <a:lnTo>
                    <a:pt x="992" y="286"/>
                  </a:lnTo>
                  <a:lnTo>
                    <a:pt x="992" y="285"/>
                  </a:lnTo>
                  <a:lnTo>
                    <a:pt x="997" y="281"/>
                  </a:lnTo>
                  <a:lnTo>
                    <a:pt x="998" y="280"/>
                  </a:lnTo>
                  <a:lnTo>
                    <a:pt x="1000" y="280"/>
                  </a:lnTo>
                  <a:lnTo>
                    <a:pt x="1000" y="278"/>
                  </a:lnTo>
                  <a:lnTo>
                    <a:pt x="1006" y="273"/>
                  </a:lnTo>
                  <a:lnTo>
                    <a:pt x="1008" y="272"/>
                  </a:lnTo>
                  <a:lnTo>
                    <a:pt x="1008" y="270"/>
                  </a:lnTo>
                  <a:lnTo>
                    <a:pt x="1008" y="272"/>
                  </a:lnTo>
                  <a:lnTo>
                    <a:pt x="1011" y="268"/>
                  </a:lnTo>
                  <a:lnTo>
                    <a:pt x="1013" y="267"/>
                  </a:lnTo>
                  <a:lnTo>
                    <a:pt x="1013" y="265"/>
                  </a:lnTo>
                  <a:lnTo>
                    <a:pt x="1015" y="265"/>
                  </a:lnTo>
                  <a:lnTo>
                    <a:pt x="1016" y="264"/>
                  </a:lnTo>
                  <a:lnTo>
                    <a:pt x="1018" y="264"/>
                  </a:lnTo>
                  <a:lnTo>
                    <a:pt x="1019" y="264"/>
                  </a:lnTo>
                  <a:lnTo>
                    <a:pt x="1021" y="265"/>
                  </a:lnTo>
                  <a:lnTo>
                    <a:pt x="1024" y="265"/>
                  </a:lnTo>
                  <a:lnTo>
                    <a:pt x="1028" y="267"/>
                  </a:lnTo>
                  <a:lnTo>
                    <a:pt x="1031" y="268"/>
                  </a:lnTo>
                  <a:lnTo>
                    <a:pt x="1032" y="268"/>
                  </a:lnTo>
                  <a:lnTo>
                    <a:pt x="1032" y="270"/>
                  </a:lnTo>
                  <a:lnTo>
                    <a:pt x="1036" y="273"/>
                  </a:lnTo>
                  <a:lnTo>
                    <a:pt x="1039" y="278"/>
                  </a:lnTo>
                  <a:lnTo>
                    <a:pt x="1041" y="281"/>
                  </a:lnTo>
                  <a:lnTo>
                    <a:pt x="1042" y="283"/>
                  </a:lnTo>
                  <a:lnTo>
                    <a:pt x="1042" y="285"/>
                  </a:lnTo>
                  <a:lnTo>
                    <a:pt x="1042" y="286"/>
                  </a:lnTo>
                  <a:lnTo>
                    <a:pt x="1042" y="288"/>
                  </a:lnTo>
                  <a:lnTo>
                    <a:pt x="1042" y="290"/>
                  </a:lnTo>
                  <a:lnTo>
                    <a:pt x="1044" y="291"/>
                  </a:lnTo>
                  <a:lnTo>
                    <a:pt x="1044" y="293"/>
                  </a:lnTo>
                  <a:lnTo>
                    <a:pt x="1045" y="294"/>
                  </a:lnTo>
                  <a:lnTo>
                    <a:pt x="1050" y="298"/>
                  </a:lnTo>
                  <a:lnTo>
                    <a:pt x="1055" y="301"/>
                  </a:lnTo>
                  <a:lnTo>
                    <a:pt x="1057" y="301"/>
                  </a:lnTo>
                  <a:lnTo>
                    <a:pt x="1058" y="303"/>
                  </a:lnTo>
                  <a:lnTo>
                    <a:pt x="1060" y="303"/>
                  </a:lnTo>
                  <a:lnTo>
                    <a:pt x="1060" y="304"/>
                  </a:lnTo>
                  <a:lnTo>
                    <a:pt x="1062" y="304"/>
                  </a:lnTo>
                  <a:lnTo>
                    <a:pt x="1063" y="306"/>
                  </a:lnTo>
                  <a:lnTo>
                    <a:pt x="1065" y="306"/>
                  </a:lnTo>
                  <a:lnTo>
                    <a:pt x="1068" y="306"/>
                  </a:lnTo>
                  <a:lnTo>
                    <a:pt x="1070" y="306"/>
                  </a:lnTo>
                  <a:lnTo>
                    <a:pt x="1071" y="306"/>
                  </a:lnTo>
                  <a:lnTo>
                    <a:pt x="1073" y="306"/>
                  </a:lnTo>
                  <a:lnTo>
                    <a:pt x="1073" y="307"/>
                  </a:lnTo>
                  <a:lnTo>
                    <a:pt x="1075" y="307"/>
                  </a:lnTo>
                  <a:lnTo>
                    <a:pt x="1073" y="307"/>
                  </a:lnTo>
                  <a:lnTo>
                    <a:pt x="1073" y="309"/>
                  </a:lnTo>
                  <a:lnTo>
                    <a:pt x="1075" y="309"/>
                  </a:lnTo>
                  <a:lnTo>
                    <a:pt x="1075" y="311"/>
                  </a:lnTo>
                  <a:lnTo>
                    <a:pt x="1075" y="309"/>
                  </a:lnTo>
                  <a:lnTo>
                    <a:pt x="1075" y="311"/>
                  </a:lnTo>
                  <a:lnTo>
                    <a:pt x="1076" y="311"/>
                  </a:lnTo>
                  <a:lnTo>
                    <a:pt x="1078" y="311"/>
                  </a:lnTo>
                  <a:lnTo>
                    <a:pt x="1080" y="311"/>
                  </a:lnTo>
                  <a:lnTo>
                    <a:pt x="1080" y="312"/>
                  </a:lnTo>
                  <a:lnTo>
                    <a:pt x="1081" y="312"/>
                  </a:lnTo>
                  <a:lnTo>
                    <a:pt x="1081" y="314"/>
                  </a:lnTo>
                  <a:lnTo>
                    <a:pt x="1084" y="312"/>
                  </a:lnTo>
                  <a:lnTo>
                    <a:pt x="1086" y="312"/>
                  </a:lnTo>
                  <a:lnTo>
                    <a:pt x="1088" y="312"/>
                  </a:lnTo>
                  <a:lnTo>
                    <a:pt x="1088" y="311"/>
                  </a:lnTo>
                  <a:lnTo>
                    <a:pt x="1088" y="312"/>
                  </a:lnTo>
                  <a:lnTo>
                    <a:pt x="1089" y="311"/>
                  </a:lnTo>
                  <a:lnTo>
                    <a:pt x="1091" y="311"/>
                  </a:lnTo>
                  <a:lnTo>
                    <a:pt x="1093" y="309"/>
                  </a:lnTo>
                  <a:lnTo>
                    <a:pt x="1094" y="306"/>
                  </a:lnTo>
                  <a:lnTo>
                    <a:pt x="1097" y="303"/>
                  </a:lnTo>
                  <a:lnTo>
                    <a:pt x="1097" y="301"/>
                  </a:lnTo>
                  <a:lnTo>
                    <a:pt x="1097" y="299"/>
                  </a:lnTo>
                  <a:lnTo>
                    <a:pt x="1097" y="298"/>
                  </a:lnTo>
                  <a:lnTo>
                    <a:pt x="1099" y="296"/>
                  </a:lnTo>
                  <a:lnTo>
                    <a:pt x="1099" y="294"/>
                  </a:lnTo>
                  <a:lnTo>
                    <a:pt x="1099" y="293"/>
                  </a:lnTo>
                  <a:lnTo>
                    <a:pt x="1099" y="291"/>
                  </a:lnTo>
                  <a:lnTo>
                    <a:pt x="1099" y="290"/>
                  </a:lnTo>
                  <a:lnTo>
                    <a:pt x="1101" y="286"/>
                  </a:lnTo>
                  <a:lnTo>
                    <a:pt x="1102" y="286"/>
                  </a:lnTo>
                  <a:lnTo>
                    <a:pt x="1102" y="288"/>
                  </a:lnTo>
                  <a:lnTo>
                    <a:pt x="1104" y="288"/>
                  </a:lnTo>
                  <a:lnTo>
                    <a:pt x="1102" y="286"/>
                  </a:lnTo>
                  <a:lnTo>
                    <a:pt x="1104" y="286"/>
                  </a:lnTo>
                  <a:lnTo>
                    <a:pt x="1107" y="286"/>
                  </a:lnTo>
                  <a:lnTo>
                    <a:pt x="1110" y="285"/>
                  </a:lnTo>
                  <a:lnTo>
                    <a:pt x="1112" y="285"/>
                  </a:lnTo>
                  <a:lnTo>
                    <a:pt x="1115" y="285"/>
                  </a:lnTo>
                  <a:lnTo>
                    <a:pt x="1117" y="285"/>
                  </a:lnTo>
                  <a:lnTo>
                    <a:pt x="1119" y="283"/>
                  </a:lnTo>
                  <a:lnTo>
                    <a:pt x="1125" y="283"/>
                  </a:lnTo>
                  <a:lnTo>
                    <a:pt x="1127" y="283"/>
                  </a:lnTo>
                  <a:lnTo>
                    <a:pt x="1128" y="285"/>
                  </a:lnTo>
                  <a:lnTo>
                    <a:pt x="1132" y="285"/>
                  </a:lnTo>
                  <a:lnTo>
                    <a:pt x="1133" y="285"/>
                  </a:lnTo>
                  <a:lnTo>
                    <a:pt x="1135" y="285"/>
                  </a:lnTo>
                  <a:lnTo>
                    <a:pt x="1140" y="286"/>
                  </a:lnTo>
                  <a:lnTo>
                    <a:pt x="1141" y="286"/>
                  </a:lnTo>
                  <a:lnTo>
                    <a:pt x="1143" y="288"/>
                  </a:lnTo>
                  <a:lnTo>
                    <a:pt x="1145" y="288"/>
                  </a:lnTo>
                  <a:lnTo>
                    <a:pt x="1145" y="290"/>
                  </a:lnTo>
                  <a:lnTo>
                    <a:pt x="1146" y="293"/>
                  </a:lnTo>
                  <a:lnTo>
                    <a:pt x="1146" y="294"/>
                  </a:lnTo>
                  <a:lnTo>
                    <a:pt x="1148" y="294"/>
                  </a:lnTo>
                  <a:lnTo>
                    <a:pt x="1148" y="296"/>
                  </a:lnTo>
                  <a:lnTo>
                    <a:pt x="1149" y="298"/>
                  </a:lnTo>
                  <a:lnTo>
                    <a:pt x="1151" y="299"/>
                  </a:lnTo>
                  <a:lnTo>
                    <a:pt x="1153" y="299"/>
                  </a:lnTo>
                  <a:lnTo>
                    <a:pt x="1156" y="299"/>
                  </a:lnTo>
                  <a:lnTo>
                    <a:pt x="1161" y="299"/>
                  </a:lnTo>
                  <a:lnTo>
                    <a:pt x="1163" y="299"/>
                  </a:lnTo>
                  <a:lnTo>
                    <a:pt x="1164" y="298"/>
                  </a:lnTo>
                  <a:lnTo>
                    <a:pt x="1166" y="298"/>
                  </a:lnTo>
                  <a:lnTo>
                    <a:pt x="1169" y="298"/>
                  </a:lnTo>
                  <a:lnTo>
                    <a:pt x="1171" y="296"/>
                  </a:lnTo>
                  <a:lnTo>
                    <a:pt x="1174" y="294"/>
                  </a:lnTo>
                  <a:lnTo>
                    <a:pt x="1176" y="294"/>
                  </a:lnTo>
                  <a:lnTo>
                    <a:pt x="1177" y="294"/>
                  </a:lnTo>
                  <a:lnTo>
                    <a:pt x="1177" y="293"/>
                  </a:lnTo>
                  <a:lnTo>
                    <a:pt x="1177" y="294"/>
                  </a:lnTo>
                  <a:lnTo>
                    <a:pt x="1177" y="296"/>
                  </a:lnTo>
                  <a:lnTo>
                    <a:pt x="1179" y="296"/>
                  </a:lnTo>
                  <a:lnTo>
                    <a:pt x="1180" y="296"/>
                  </a:lnTo>
                  <a:lnTo>
                    <a:pt x="1182" y="296"/>
                  </a:lnTo>
                  <a:lnTo>
                    <a:pt x="1184" y="296"/>
                  </a:lnTo>
                  <a:lnTo>
                    <a:pt x="1184" y="294"/>
                  </a:lnTo>
                  <a:lnTo>
                    <a:pt x="1184" y="296"/>
                  </a:lnTo>
                  <a:lnTo>
                    <a:pt x="1185" y="296"/>
                  </a:lnTo>
                  <a:lnTo>
                    <a:pt x="1187" y="296"/>
                  </a:lnTo>
                  <a:lnTo>
                    <a:pt x="1189" y="294"/>
                  </a:lnTo>
                  <a:lnTo>
                    <a:pt x="1189" y="296"/>
                  </a:lnTo>
                  <a:lnTo>
                    <a:pt x="1190" y="294"/>
                  </a:lnTo>
                  <a:lnTo>
                    <a:pt x="1190" y="296"/>
                  </a:lnTo>
                  <a:lnTo>
                    <a:pt x="1192" y="296"/>
                  </a:lnTo>
                  <a:lnTo>
                    <a:pt x="1193" y="298"/>
                  </a:lnTo>
                  <a:lnTo>
                    <a:pt x="1195" y="298"/>
                  </a:lnTo>
                  <a:lnTo>
                    <a:pt x="1197" y="298"/>
                  </a:lnTo>
                  <a:lnTo>
                    <a:pt x="1198" y="298"/>
                  </a:lnTo>
                  <a:lnTo>
                    <a:pt x="1200" y="298"/>
                  </a:lnTo>
                  <a:lnTo>
                    <a:pt x="1200" y="299"/>
                  </a:lnTo>
                  <a:lnTo>
                    <a:pt x="1202" y="299"/>
                  </a:lnTo>
                  <a:lnTo>
                    <a:pt x="1202" y="301"/>
                  </a:lnTo>
                  <a:lnTo>
                    <a:pt x="1203" y="301"/>
                  </a:lnTo>
                  <a:lnTo>
                    <a:pt x="1208" y="301"/>
                  </a:lnTo>
                  <a:lnTo>
                    <a:pt x="1211" y="298"/>
                  </a:lnTo>
                  <a:lnTo>
                    <a:pt x="1211" y="296"/>
                  </a:lnTo>
                  <a:lnTo>
                    <a:pt x="1213" y="296"/>
                  </a:lnTo>
                  <a:lnTo>
                    <a:pt x="1213" y="294"/>
                  </a:lnTo>
                  <a:lnTo>
                    <a:pt x="1213" y="293"/>
                  </a:lnTo>
                  <a:lnTo>
                    <a:pt x="1213" y="291"/>
                  </a:lnTo>
                  <a:lnTo>
                    <a:pt x="1213" y="290"/>
                  </a:lnTo>
                  <a:lnTo>
                    <a:pt x="1215" y="288"/>
                  </a:lnTo>
                  <a:lnTo>
                    <a:pt x="1215" y="286"/>
                  </a:lnTo>
                  <a:lnTo>
                    <a:pt x="1215" y="285"/>
                  </a:lnTo>
                  <a:lnTo>
                    <a:pt x="1215" y="283"/>
                  </a:lnTo>
                  <a:lnTo>
                    <a:pt x="1216" y="281"/>
                  </a:lnTo>
                  <a:lnTo>
                    <a:pt x="1216" y="280"/>
                  </a:lnTo>
                  <a:lnTo>
                    <a:pt x="1218" y="280"/>
                  </a:lnTo>
                  <a:lnTo>
                    <a:pt x="1219" y="281"/>
                  </a:lnTo>
                  <a:lnTo>
                    <a:pt x="1221" y="281"/>
                  </a:lnTo>
                  <a:lnTo>
                    <a:pt x="1223" y="280"/>
                  </a:lnTo>
                  <a:lnTo>
                    <a:pt x="1224" y="280"/>
                  </a:lnTo>
                  <a:lnTo>
                    <a:pt x="1226" y="278"/>
                  </a:lnTo>
                  <a:lnTo>
                    <a:pt x="1226" y="280"/>
                  </a:lnTo>
                  <a:lnTo>
                    <a:pt x="1228" y="280"/>
                  </a:lnTo>
                  <a:lnTo>
                    <a:pt x="1228" y="278"/>
                  </a:lnTo>
                  <a:lnTo>
                    <a:pt x="1229" y="278"/>
                  </a:lnTo>
                  <a:lnTo>
                    <a:pt x="1229" y="280"/>
                  </a:lnTo>
                  <a:lnTo>
                    <a:pt x="1229" y="281"/>
                  </a:lnTo>
                  <a:lnTo>
                    <a:pt x="1229" y="283"/>
                  </a:lnTo>
                  <a:lnTo>
                    <a:pt x="1229" y="285"/>
                  </a:lnTo>
                  <a:lnTo>
                    <a:pt x="1229" y="286"/>
                  </a:lnTo>
                  <a:lnTo>
                    <a:pt x="1231" y="286"/>
                  </a:lnTo>
                  <a:lnTo>
                    <a:pt x="1232" y="288"/>
                  </a:lnTo>
                  <a:lnTo>
                    <a:pt x="1234" y="288"/>
                  </a:lnTo>
                  <a:lnTo>
                    <a:pt x="1234" y="290"/>
                  </a:lnTo>
                  <a:lnTo>
                    <a:pt x="1236" y="290"/>
                  </a:lnTo>
                  <a:lnTo>
                    <a:pt x="1237" y="290"/>
                  </a:lnTo>
                  <a:lnTo>
                    <a:pt x="1239" y="290"/>
                  </a:lnTo>
                  <a:lnTo>
                    <a:pt x="1239" y="288"/>
                  </a:lnTo>
                  <a:lnTo>
                    <a:pt x="1241" y="288"/>
                  </a:lnTo>
                  <a:lnTo>
                    <a:pt x="1239" y="288"/>
                  </a:lnTo>
                  <a:lnTo>
                    <a:pt x="1239" y="290"/>
                  </a:lnTo>
                  <a:lnTo>
                    <a:pt x="1241" y="288"/>
                  </a:lnTo>
                  <a:lnTo>
                    <a:pt x="1241" y="290"/>
                  </a:lnTo>
                  <a:lnTo>
                    <a:pt x="1242" y="290"/>
                  </a:lnTo>
                  <a:lnTo>
                    <a:pt x="1242" y="291"/>
                  </a:lnTo>
                  <a:lnTo>
                    <a:pt x="1244" y="291"/>
                  </a:lnTo>
                  <a:lnTo>
                    <a:pt x="1244" y="293"/>
                  </a:lnTo>
                  <a:lnTo>
                    <a:pt x="1247" y="291"/>
                  </a:lnTo>
                  <a:lnTo>
                    <a:pt x="1249" y="290"/>
                  </a:lnTo>
                  <a:lnTo>
                    <a:pt x="1250" y="291"/>
                  </a:lnTo>
                  <a:lnTo>
                    <a:pt x="1249" y="290"/>
                  </a:lnTo>
                  <a:lnTo>
                    <a:pt x="1250" y="290"/>
                  </a:lnTo>
                  <a:lnTo>
                    <a:pt x="1254" y="290"/>
                  </a:lnTo>
                  <a:lnTo>
                    <a:pt x="1257" y="288"/>
                  </a:lnTo>
                  <a:lnTo>
                    <a:pt x="1258" y="288"/>
                  </a:lnTo>
                  <a:lnTo>
                    <a:pt x="1260" y="288"/>
                  </a:lnTo>
                  <a:lnTo>
                    <a:pt x="1262" y="288"/>
                  </a:lnTo>
                  <a:lnTo>
                    <a:pt x="1263" y="288"/>
                  </a:lnTo>
                  <a:lnTo>
                    <a:pt x="1263" y="286"/>
                  </a:lnTo>
                  <a:lnTo>
                    <a:pt x="1263" y="288"/>
                  </a:lnTo>
                  <a:lnTo>
                    <a:pt x="1265" y="288"/>
                  </a:lnTo>
                  <a:lnTo>
                    <a:pt x="1267" y="286"/>
                  </a:lnTo>
                  <a:lnTo>
                    <a:pt x="1268" y="286"/>
                  </a:lnTo>
                  <a:lnTo>
                    <a:pt x="1270" y="286"/>
                  </a:lnTo>
                  <a:lnTo>
                    <a:pt x="1271" y="286"/>
                  </a:lnTo>
                  <a:lnTo>
                    <a:pt x="1273" y="286"/>
                  </a:lnTo>
                  <a:lnTo>
                    <a:pt x="1275" y="286"/>
                  </a:lnTo>
                  <a:lnTo>
                    <a:pt x="1276" y="286"/>
                  </a:lnTo>
                  <a:lnTo>
                    <a:pt x="1278" y="286"/>
                  </a:lnTo>
                  <a:lnTo>
                    <a:pt x="1280" y="285"/>
                  </a:lnTo>
                  <a:lnTo>
                    <a:pt x="1281" y="285"/>
                  </a:lnTo>
                  <a:lnTo>
                    <a:pt x="1284" y="283"/>
                  </a:lnTo>
                  <a:lnTo>
                    <a:pt x="1286" y="281"/>
                  </a:lnTo>
                  <a:lnTo>
                    <a:pt x="1288" y="283"/>
                  </a:lnTo>
                  <a:lnTo>
                    <a:pt x="1288" y="281"/>
                  </a:lnTo>
                  <a:lnTo>
                    <a:pt x="1288" y="283"/>
                  </a:lnTo>
                  <a:lnTo>
                    <a:pt x="1289" y="281"/>
                  </a:lnTo>
                  <a:lnTo>
                    <a:pt x="1289" y="283"/>
                  </a:lnTo>
                  <a:lnTo>
                    <a:pt x="1291" y="283"/>
                  </a:lnTo>
                  <a:lnTo>
                    <a:pt x="1293" y="283"/>
                  </a:lnTo>
                  <a:lnTo>
                    <a:pt x="1294" y="283"/>
                  </a:lnTo>
                  <a:lnTo>
                    <a:pt x="1296" y="283"/>
                  </a:lnTo>
                  <a:lnTo>
                    <a:pt x="1297" y="281"/>
                  </a:lnTo>
                  <a:lnTo>
                    <a:pt x="1297" y="280"/>
                  </a:lnTo>
                  <a:lnTo>
                    <a:pt x="1299" y="280"/>
                  </a:lnTo>
                  <a:lnTo>
                    <a:pt x="1299" y="281"/>
                  </a:lnTo>
                  <a:lnTo>
                    <a:pt x="1301" y="281"/>
                  </a:lnTo>
                  <a:lnTo>
                    <a:pt x="1301" y="280"/>
                  </a:lnTo>
                  <a:lnTo>
                    <a:pt x="1302" y="280"/>
                  </a:lnTo>
                  <a:lnTo>
                    <a:pt x="1304" y="280"/>
                  </a:lnTo>
                  <a:lnTo>
                    <a:pt x="1304" y="278"/>
                  </a:lnTo>
                  <a:lnTo>
                    <a:pt x="1306" y="278"/>
                  </a:lnTo>
                  <a:lnTo>
                    <a:pt x="1307" y="278"/>
                  </a:lnTo>
                  <a:lnTo>
                    <a:pt x="1309" y="277"/>
                  </a:lnTo>
                  <a:lnTo>
                    <a:pt x="1311" y="277"/>
                  </a:lnTo>
                  <a:lnTo>
                    <a:pt x="1312" y="275"/>
                  </a:lnTo>
                  <a:lnTo>
                    <a:pt x="1314" y="275"/>
                  </a:lnTo>
                  <a:lnTo>
                    <a:pt x="1314" y="273"/>
                  </a:lnTo>
                  <a:lnTo>
                    <a:pt x="1315" y="272"/>
                  </a:lnTo>
                  <a:lnTo>
                    <a:pt x="1315" y="270"/>
                  </a:lnTo>
                  <a:lnTo>
                    <a:pt x="1317" y="270"/>
                  </a:lnTo>
                  <a:lnTo>
                    <a:pt x="1317" y="268"/>
                  </a:lnTo>
                  <a:lnTo>
                    <a:pt x="1317" y="267"/>
                  </a:lnTo>
                  <a:lnTo>
                    <a:pt x="1319" y="265"/>
                  </a:lnTo>
                  <a:lnTo>
                    <a:pt x="1319" y="264"/>
                  </a:lnTo>
                  <a:lnTo>
                    <a:pt x="1320" y="264"/>
                  </a:lnTo>
                  <a:lnTo>
                    <a:pt x="1322" y="264"/>
                  </a:lnTo>
                  <a:lnTo>
                    <a:pt x="1324" y="265"/>
                  </a:lnTo>
                  <a:lnTo>
                    <a:pt x="1325" y="265"/>
                  </a:lnTo>
                  <a:lnTo>
                    <a:pt x="1327" y="265"/>
                  </a:lnTo>
                  <a:lnTo>
                    <a:pt x="1328" y="264"/>
                  </a:lnTo>
                  <a:lnTo>
                    <a:pt x="1330" y="262"/>
                  </a:lnTo>
                  <a:lnTo>
                    <a:pt x="1332" y="259"/>
                  </a:lnTo>
                  <a:lnTo>
                    <a:pt x="1333" y="255"/>
                  </a:lnTo>
                  <a:lnTo>
                    <a:pt x="1335" y="254"/>
                  </a:lnTo>
                  <a:lnTo>
                    <a:pt x="1335" y="252"/>
                  </a:lnTo>
                  <a:lnTo>
                    <a:pt x="1337" y="252"/>
                  </a:lnTo>
                  <a:lnTo>
                    <a:pt x="1337" y="251"/>
                  </a:lnTo>
                  <a:lnTo>
                    <a:pt x="1337" y="252"/>
                  </a:lnTo>
                  <a:lnTo>
                    <a:pt x="1337" y="251"/>
                  </a:lnTo>
                  <a:lnTo>
                    <a:pt x="1338" y="252"/>
                  </a:lnTo>
                  <a:lnTo>
                    <a:pt x="1338" y="251"/>
                  </a:lnTo>
                  <a:lnTo>
                    <a:pt x="1340" y="251"/>
                  </a:lnTo>
                  <a:lnTo>
                    <a:pt x="1340" y="249"/>
                  </a:lnTo>
                  <a:lnTo>
                    <a:pt x="1341" y="249"/>
                  </a:lnTo>
                  <a:lnTo>
                    <a:pt x="1343" y="247"/>
                  </a:lnTo>
                  <a:lnTo>
                    <a:pt x="1345" y="242"/>
                  </a:lnTo>
                  <a:lnTo>
                    <a:pt x="1346" y="242"/>
                  </a:lnTo>
                  <a:lnTo>
                    <a:pt x="1348" y="242"/>
                  </a:lnTo>
                  <a:lnTo>
                    <a:pt x="1350" y="241"/>
                  </a:lnTo>
                  <a:lnTo>
                    <a:pt x="1351" y="241"/>
                  </a:lnTo>
                  <a:lnTo>
                    <a:pt x="1353" y="241"/>
                  </a:lnTo>
                  <a:lnTo>
                    <a:pt x="1354" y="239"/>
                  </a:lnTo>
                  <a:lnTo>
                    <a:pt x="1354" y="241"/>
                  </a:lnTo>
                  <a:lnTo>
                    <a:pt x="1356" y="239"/>
                  </a:lnTo>
                  <a:lnTo>
                    <a:pt x="1359" y="238"/>
                  </a:lnTo>
                  <a:lnTo>
                    <a:pt x="1359" y="236"/>
                  </a:lnTo>
                  <a:lnTo>
                    <a:pt x="1361" y="236"/>
                  </a:lnTo>
                  <a:lnTo>
                    <a:pt x="1364" y="233"/>
                  </a:lnTo>
                  <a:lnTo>
                    <a:pt x="1366" y="231"/>
                  </a:lnTo>
                  <a:lnTo>
                    <a:pt x="1367" y="228"/>
                  </a:lnTo>
                  <a:lnTo>
                    <a:pt x="1369" y="228"/>
                  </a:lnTo>
                  <a:lnTo>
                    <a:pt x="1371" y="228"/>
                  </a:lnTo>
                  <a:lnTo>
                    <a:pt x="1372" y="226"/>
                  </a:lnTo>
                  <a:lnTo>
                    <a:pt x="1374" y="226"/>
                  </a:lnTo>
                  <a:lnTo>
                    <a:pt x="1374" y="228"/>
                  </a:lnTo>
                  <a:lnTo>
                    <a:pt x="1376" y="228"/>
                  </a:lnTo>
                  <a:lnTo>
                    <a:pt x="1377" y="228"/>
                  </a:lnTo>
                  <a:lnTo>
                    <a:pt x="1379" y="228"/>
                  </a:lnTo>
                  <a:lnTo>
                    <a:pt x="1380" y="228"/>
                  </a:lnTo>
                  <a:lnTo>
                    <a:pt x="1380" y="226"/>
                  </a:lnTo>
                  <a:lnTo>
                    <a:pt x="1382" y="226"/>
                  </a:lnTo>
                  <a:lnTo>
                    <a:pt x="1384" y="223"/>
                  </a:lnTo>
                  <a:lnTo>
                    <a:pt x="1385" y="223"/>
                  </a:lnTo>
                  <a:lnTo>
                    <a:pt x="1387" y="221"/>
                  </a:lnTo>
                  <a:lnTo>
                    <a:pt x="1387" y="220"/>
                  </a:lnTo>
                  <a:lnTo>
                    <a:pt x="1389" y="218"/>
                  </a:lnTo>
                  <a:lnTo>
                    <a:pt x="1389" y="220"/>
                  </a:lnTo>
                  <a:lnTo>
                    <a:pt x="1389" y="218"/>
                  </a:lnTo>
                  <a:lnTo>
                    <a:pt x="1390" y="215"/>
                  </a:lnTo>
                  <a:lnTo>
                    <a:pt x="1392" y="213"/>
                  </a:lnTo>
                  <a:lnTo>
                    <a:pt x="1393" y="213"/>
                  </a:lnTo>
                  <a:lnTo>
                    <a:pt x="1395" y="213"/>
                  </a:lnTo>
                  <a:lnTo>
                    <a:pt x="1397" y="213"/>
                  </a:lnTo>
                  <a:lnTo>
                    <a:pt x="1398" y="213"/>
                  </a:lnTo>
                  <a:lnTo>
                    <a:pt x="1400" y="213"/>
                  </a:lnTo>
                  <a:lnTo>
                    <a:pt x="1402" y="213"/>
                  </a:lnTo>
                  <a:lnTo>
                    <a:pt x="1402" y="215"/>
                  </a:lnTo>
                  <a:lnTo>
                    <a:pt x="1403" y="215"/>
                  </a:lnTo>
                  <a:lnTo>
                    <a:pt x="1406" y="216"/>
                  </a:lnTo>
                  <a:lnTo>
                    <a:pt x="1408" y="216"/>
                  </a:lnTo>
                  <a:lnTo>
                    <a:pt x="1410" y="218"/>
                  </a:lnTo>
                  <a:lnTo>
                    <a:pt x="1411" y="218"/>
                  </a:lnTo>
                  <a:lnTo>
                    <a:pt x="1413" y="218"/>
                  </a:lnTo>
                  <a:lnTo>
                    <a:pt x="1415" y="218"/>
                  </a:lnTo>
                  <a:lnTo>
                    <a:pt x="1416" y="218"/>
                  </a:lnTo>
                  <a:lnTo>
                    <a:pt x="1418" y="218"/>
                  </a:lnTo>
                  <a:lnTo>
                    <a:pt x="1419" y="218"/>
                  </a:lnTo>
                  <a:lnTo>
                    <a:pt x="1421" y="218"/>
                  </a:lnTo>
                  <a:lnTo>
                    <a:pt x="1423" y="218"/>
                  </a:lnTo>
                  <a:lnTo>
                    <a:pt x="1423" y="216"/>
                  </a:lnTo>
                  <a:lnTo>
                    <a:pt x="1424" y="215"/>
                  </a:lnTo>
                  <a:lnTo>
                    <a:pt x="1426" y="215"/>
                  </a:lnTo>
                  <a:lnTo>
                    <a:pt x="1426" y="213"/>
                  </a:lnTo>
                  <a:lnTo>
                    <a:pt x="1428" y="213"/>
                  </a:lnTo>
                  <a:lnTo>
                    <a:pt x="1429" y="213"/>
                  </a:lnTo>
                  <a:lnTo>
                    <a:pt x="1431" y="213"/>
                  </a:lnTo>
                  <a:lnTo>
                    <a:pt x="1432" y="213"/>
                  </a:lnTo>
                  <a:lnTo>
                    <a:pt x="1432" y="211"/>
                  </a:lnTo>
                  <a:lnTo>
                    <a:pt x="1434" y="211"/>
                  </a:lnTo>
                  <a:lnTo>
                    <a:pt x="1434" y="213"/>
                  </a:lnTo>
                  <a:lnTo>
                    <a:pt x="1436" y="213"/>
                  </a:lnTo>
                  <a:lnTo>
                    <a:pt x="1437" y="213"/>
                  </a:lnTo>
                  <a:lnTo>
                    <a:pt x="1439" y="213"/>
                  </a:lnTo>
                  <a:lnTo>
                    <a:pt x="1441" y="213"/>
                  </a:lnTo>
                  <a:lnTo>
                    <a:pt x="1441" y="215"/>
                  </a:lnTo>
                  <a:lnTo>
                    <a:pt x="1442" y="215"/>
                  </a:lnTo>
                  <a:lnTo>
                    <a:pt x="1444" y="215"/>
                  </a:lnTo>
                  <a:lnTo>
                    <a:pt x="1445" y="215"/>
                  </a:lnTo>
                  <a:lnTo>
                    <a:pt x="1447" y="213"/>
                  </a:lnTo>
                  <a:lnTo>
                    <a:pt x="1450" y="211"/>
                  </a:lnTo>
                  <a:lnTo>
                    <a:pt x="1452" y="211"/>
                  </a:lnTo>
                  <a:lnTo>
                    <a:pt x="1452" y="210"/>
                  </a:lnTo>
                  <a:lnTo>
                    <a:pt x="1454" y="210"/>
                  </a:lnTo>
                  <a:lnTo>
                    <a:pt x="1455" y="210"/>
                  </a:lnTo>
                  <a:lnTo>
                    <a:pt x="1455" y="208"/>
                  </a:lnTo>
                  <a:lnTo>
                    <a:pt x="1457" y="208"/>
                  </a:lnTo>
                  <a:lnTo>
                    <a:pt x="1459" y="208"/>
                  </a:lnTo>
                  <a:lnTo>
                    <a:pt x="1460" y="208"/>
                  </a:lnTo>
                  <a:lnTo>
                    <a:pt x="1460" y="207"/>
                  </a:lnTo>
                  <a:lnTo>
                    <a:pt x="1462" y="207"/>
                  </a:lnTo>
                  <a:lnTo>
                    <a:pt x="1463" y="208"/>
                  </a:lnTo>
                  <a:lnTo>
                    <a:pt x="1465" y="208"/>
                  </a:lnTo>
                  <a:lnTo>
                    <a:pt x="1465" y="210"/>
                  </a:lnTo>
                  <a:lnTo>
                    <a:pt x="1467" y="210"/>
                  </a:lnTo>
                  <a:lnTo>
                    <a:pt x="1468" y="210"/>
                  </a:lnTo>
                  <a:lnTo>
                    <a:pt x="1470" y="210"/>
                  </a:lnTo>
                  <a:lnTo>
                    <a:pt x="1472" y="210"/>
                  </a:lnTo>
                  <a:lnTo>
                    <a:pt x="1473" y="210"/>
                  </a:lnTo>
                  <a:lnTo>
                    <a:pt x="1475" y="208"/>
                  </a:lnTo>
                  <a:lnTo>
                    <a:pt x="1476" y="208"/>
                  </a:lnTo>
                  <a:lnTo>
                    <a:pt x="1476" y="207"/>
                  </a:lnTo>
                  <a:lnTo>
                    <a:pt x="1478" y="207"/>
                  </a:lnTo>
                  <a:lnTo>
                    <a:pt x="1478" y="205"/>
                  </a:lnTo>
                  <a:lnTo>
                    <a:pt x="1480" y="205"/>
                  </a:lnTo>
                  <a:lnTo>
                    <a:pt x="1481" y="203"/>
                  </a:lnTo>
                  <a:lnTo>
                    <a:pt x="1481" y="202"/>
                  </a:lnTo>
                  <a:lnTo>
                    <a:pt x="1483" y="202"/>
                  </a:lnTo>
                  <a:lnTo>
                    <a:pt x="1483" y="200"/>
                  </a:lnTo>
                  <a:lnTo>
                    <a:pt x="1485" y="198"/>
                  </a:lnTo>
                  <a:lnTo>
                    <a:pt x="1485" y="197"/>
                  </a:lnTo>
                  <a:lnTo>
                    <a:pt x="1486" y="197"/>
                  </a:lnTo>
                  <a:lnTo>
                    <a:pt x="1486" y="195"/>
                  </a:lnTo>
                  <a:lnTo>
                    <a:pt x="1486" y="194"/>
                  </a:lnTo>
                  <a:lnTo>
                    <a:pt x="1488" y="194"/>
                  </a:lnTo>
                  <a:lnTo>
                    <a:pt x="1488" y="192"/>
                  </a:lnTo>
                  <a:lnTo>
                    <a:pt x="1488" y="190"/>
                  </a:lnTo>
                  <a:lnTo>
                    <a:pt x="1489" y="187"/>
                  </a:lnTo>
                  <a:lnTo>
                    <a:pt x="1489" y="185"/>
                  </a:lnTo>
                  <a:lnTo>
                    <a:pt x="1491" y="184"/>
                  </a:lnTo>
                  <a:lnTo>
                    <a:pt x="1493" y="182"/>
                  </a:lnTo>
                  <a:lnTo>
                    <a:pt x="1494" y="182"/>
                  </a:lnTo>
                  <a:lnTo>
                    <a:pt x="1496" y="182"/>
                  </a:lnTo>
                  <a:lnTo>
                    <a:pt x="1496" y="181"/>
                  </a:lnTo>
                  <a:lnTo>
                    <a:pt x="1498" y="181"/>
                  </a:lnTo>
                  <a:lnTo>
                    <a:pt x="1498" y="179"/>
                  </a:lnTo>
                  <a:lnTo>
                    <a:pt x="1499" y="179"/>
                  </a:lnTo>
                  <a:lnTo>
                    <a:pt x="1501" y="177"/>
                  </a:lnTo>
                  <a:lnTo>
                    <a:pt x="1502" y="176"/>
                  </a:lnTo>
                  <a:lnTo>
                    <a:pt x="1504" y="176"/>
                  </a:lnTo>
                  <a:lnTo>
                    <a:pt x="1502" y="176"/>
                  </a:lnTo>
                  <a:lnTo>
                    <a:pt x="1504" y="176"/>
                  </a:lnTo>
                  <a:lnTo>
                    <a:pt x="1504" y="177"/>
                  </a:lnTo>
                  <a:lnTo>
                    <a:pt x="1506" y="177"/>
                  </a:lnTo>
                  <a:lnTo>
                    <a:pt x="1507" y="176"/>
                  </a:lnTo>
                  <a:lnTo>
                    <a:pt x="1509" y="174"/>
                  </a:lnTo>
                  <a:lnTo>
                    <a:pt x="1509" y="172"/>
                  </a:lnTo>
                  <a:lnTo>
                    <a:pt x="1511" y="172"/>
                  </a:lnTo>
                  <a:lnTo>
                    <a:pt x="1512" y="171"/>
                  </a:lnTo>
                  <a:lnTo>
                    <a:pt x="1514" y="169"/>
                  </a:lnTo>
                  <a:lnTo>
                    <a:pt x="1514" y="168"/>
                  </a:lnTo>
                  <a:lnTo>
                    <a:pt x="1515" y="166"/>
                  </a:lnTo>
                  <a:lnTo>
                    <a:pt x="1517" y="164"/>
                  </a:lnTo>
                  <a:lnTo>
                    <a:pt x="1519" y="163"/>
                  </a:lnTo>
                  <a:lnTo>
                    <a:pt x="1520" y="163"/>
                  </a:lnTo>
                  <a:lnTo>
                    <a:pt x="1522" y="161"/>
                  </a:lnTo>
                  <a:lnTo>
                    <a:pt x="1522" y="159"/>
                  </a:lnTo>
                  <a:lnTo>
                    <a:pt x="1522" y="158"/>
                  </a:lnTo>
                  <a:lnTo>
                    <a:pt x="1522" y="156"/>
                  </a:lnTo>
                  <a:lnTo>
                    <a:pt x="1524" y="155"/>
                  </a:lnTo>
                  <a:lnTo>
                    <a:pt x="1524" y="153"/>
                  </a:lnTo>
                  <a:lnTo>
                    <a:pt x="1524" y="151"/>
                  </a:lnTo>
                  <a:lnTo>
                    <a:pt x="1524" y="150"/>
                  </a:lnTo>
                  <a:lnTo>
                    <a:pt x="1525" y="150"/>
                  </a:lnTo>
                  <a:lnTo>
                    <a:pt x="1525" y="146"/>
                  </a:lnTo>
                  <a:lnTo>
                    <a:pt x="1527" y="146"/>
                  </a:lnTo>
                  <a:lnTo>
                    <a:pt x="1527" y="145"/>
                  </a:lnTo>
                  <a:lnTo>
                    <a:pt x="1528" y="145"/>
                  </a:lnTo>
                  <a:lnTo>
                    <a:pt x="1528" y="143"/>
                  </a:lnTo>
                  <a:lnTo>
                    <a:pt x="1530" y="143"/>
                  </a:lnTo>
                  <a:lnTo>
                    <a:pt x="1532" y="142"/>
                  </a:lnTo>
                  <a:lnTo>
                    <a:pt x="1533" y="142"/>
                  </a:lnTo>
                  <a:lnTo>
                    <a:pt x="1533" y="140"/>
                  </a:lnTo>
                  <a:lnTo>
                    <a:pt x="1535" y="140"/>
                  </a:lnTo>
                  <a:lnTo>
                    <a:pt x="1537" y="140"/>
                  </a:lnTo>
                  <a:lnTo>
                    <a:pt x="1538" y="138"/>
                  </a:lnTo>
                  <a:lnTo>
                    <a:pt x="1540" y="137"/>
                  </a:lnTo>
                  <a:lnTo>
                    <a:pt x="1540" y="135"/>
                  </a:lnTo>
                  <a:lnTo>
                    <a:pt x="1541" y="135"/>
                  </a:lnTo>
                  <a:lnTo>
                    <a:pt x="1541" y="133"/>
                  </a:lnTo>
                  <a:lnTo>
                    <a:pt x="1541" y="135"/>
                  </a:lnTo>
                  <a:lnTo>
                    <a:pt x="1543" y="135"/>
                  </a:lnTo>
                  <a:lnTo>
                    <a:pt x="1543" y="133"/>
                  </a:lnTo>
                  <a:lnTo>
                    <a:pt x="1545" y="132"/>
                  </a:lnTo>
                  <a:lnTo>
                    <a:pt x="1546" y="130"/>
                  </a:lnTo>
                  <a:lnTo>
                    <a:pt x="1548" y="127"/>
                  </a:lnTo>
                  <a:lnTo>
                    <a:pt x="1550" y="127"/>
                  </a:lnTo>
                  <a:lnTo>
                    <a:pt x="1550" y="125"/>
                  </a:lnTo>
                  <a:lnTo>
                    <a:pt x="1550" y="124"/>
                  </a:lnTo>
                  <a:lnTo>
                    <a:pt x="1551" y="120"/>
                  </a:lnTo>
                  <a:lnTo>
                    <a:pt x="1553" y="120"/>
                  </a:lnTo>
                  <a:lnTo>
                    <a:pt x="1553" y="119"/>
                  </a:lnTo>
                  <a:lnTo>
                    <a:pt x="1553" y="117"/>
                  </a:lnTo>
                  <a:lnTo>
                    <a:pt x="1554" y="116"/>
                  </a:lnTo>
                  <a:lnTo>
                    <a:pt x="1556" y="114"/>
                  </a:lnTo>
                  <a:lnTo>
                    <a:pt x="1558" y="111"/>
                  </a:lnTo>
                  <a:lnTo>
                    <a:pt x="1559" y="109"/>
                  </a:lnTo>
                  <a:lnTo>
                    <a:pt x="1559" y="107"/>
                  </a:lnTo>
                  <a:lnTo>
                    <a:pt x="1561" y="107"/>
                  </a:lnTo>
                  <a:lnTo>
                    <a:pt x="1561" y="106"/>
                  </a:lnTo>
                  <a:lnTo>
                    <a:pt x="1561" y="104"/>
                  </a:lnTo>
                  <a:lnTo>
                    <a:pt x="1561" y="103"/>
                  </a:lnTo>
                  <a:lnTo>
                    <a:pt x="1563" y="101"/>
                  </a:lnTo>
                  <a:lnTo>
                    <a:pt x="1564" y="101"/>
                  </a:lnTo>
                  <a:lnTo>
                    <a:pt x="1564" y="99"/>
                  </a:lnTo>
                  <a:lnTo>
                    <a:pt x="1566" y="99"/>
                  </a:lnTo>
                  <a:lnTo>
                    <a:pt x="1566" y="98"/>
                  </a:lnTo>
                  <a:lnTo>
                    <a:pt x="1567" y="96"/>
                  </a:lnTo>
                  <a:lnTo>
                    <a:pt x="1567" y="94"/>
                  </a:lnTo>
                  <a:lnTo>
                    <a:pt x="1569" y="94"/>
                  </a:lnTo>
                  <a:lnTo>
                    <a:pt x="1571" y="93"/>
                  </a:lnTo>
                  <a:lnTo>
                    <a:pt x="1572" y="91"/>
                  </a:lnTo>
                  <a:lnTo>
                    <a:pt x="1574" y="89"/>
                  </a:lnTo>
                  <a:lnTo>
                    <a:pt x="1574" y="88"/>
                  </a:lnTo>
                  <a:lnTo>
                    <a:pt x="1574" y="86"/>
                  </a:lnTo>
                  <a:lnTo>
                    <a:pt x="1574" y="85"/>
                  </a:lnTo>
                  <a:lnTo>
                    <a:pt x="1574" y="83"/>
                  </a:lnTo>
                  <a:lnTo>
                    <a:pt x="1574" y="81"/>
                  </a:lnTo>
                  <a:lnTo>
                    <a:pt x="1576" y="80"/>
                  </a:lnTo>
                  <a:lnTo>
                    <a:pt x="1576" y="78"/>
                  </a:lnTo>
                  <a:lnTo>
                    <a:pt x="1576" y="76"/>
                  </a:lnTo>
                  <a:lnTo>
                    <a:pt x="1577" y="75"/>
                  </a:lnTo>
                  <a:lnTo>
                    <a:pt x="1579" y="73"/>
                  </a:lnTo>
                  <a:lnTo>
                    <a:pt x="1579" y="72"/>
                  </a:lnTo>
                  <a:lnTo>
                    <a:pt x="1579" y="68"/>
                  </a:lnTo>
                  <a:lnTo>
                    <a:pt x="1579" y="67"/>
                  </a:lnTo>
                  <a:lnTo>
                    <a:pt x="1579" y="65"/>
                  </a:lnTo>
                  <a:lnTo>
                    <a:pt x="1580" y="65"/>
                  </a:lnTo>
                  <a:lnTo>
                    <a:pt x="1582" y="65"/>
                  </a:lnTo>
                  <a:lnTo>
                    <a:pt x="1584" y="65"/>
                  </a:lnTo>
                  <a:lnTo>
                    <a:pt x="1587" y="65"/>
                  </a:lnTo>
                  <a:lnTo>
                    <a:pt x="1589" y="67"/>
                  </a:lnTo>
                  <a:lnTo>
                    <a:pt x="1590" y="65"/>
                  </a:lnTo>
                  <a:lnTo>
                    <a:pt x="1590" y="67"/>
                  </a:lnTo>
                  <a:lnTo>
                    <a:pt x="1592" y="67"/>
                  </a:lnTo>
                  <a:lnTo>
                    <a:pt x="1593" y="65"/>
                  </a:lnTo>
                  <a:lnTo>
                    <a:pt x="1595" y="63"/>
                  </a:lnTo>
                  <a:lnTo>
                    <a:pt x="1597" y="62"/>
                  </a:lnTo>
                  <a:lnTo>
                    <a:pt x="1598" y="63"/>
                  </a:lnTo>
                  <a:lnTo>
                    <a:pt x="1598" y="65"/>
                  </a:lnTo>
                  <a:lnTo>
                    <a:pt x="1600" y="63"/>
                  </a:lnTo>
                  <a:lnTo>
                    <a:pt x="1602" y="63"/>
                  </a:lnTo>
                  <a:lnTo>
                    <a:pt x="1603" y="63"/>
                  </a:lnTo>
                  <a:lnTo>
                    <a:pt x="1605" y="63"/>
                  </a:lnTo>
                  <a:lnTo>
                    <a:pt x="1607" y="63"/>
                  </a:lnTo>
                  <a:lnTo>
                    <a:pt x="1607" y="65"/>
                  </a:lnTo>
                  <a:lnTo>
                    <a:pt x="1608" y="65"/>
                  </a:lnTo>
                  <a:lnTo>
                    <a:pt x="1610" y="65"/>
                  </a:lnTo>
                  <a:lnTo>
                    <a:pt x="1611" y="65"/>
                  </a:lnTo>
                  <a:lnTo>
                    <a:pt x="1613" y="63"/>
                  </a:lnTo>
                  <a:lnTo>
                    <a:pt x="1613" y="62"/>
                  </a:lnTo>
                  <a:lnTo>
                    <a:pt x="1615" y="60"/>
                  </a:lnTo>
                  <a:lnTo>
                    <a:pt x="1615" y="59"/>
                  </a:lnTo>
                  <a:lnTo>
                    <a:pt x="1615" y="55"/>
                  </a:lnTo>
                  <a:lnTo>
                    <a:pt x="1616" y="54"/>
                  </a:lnTo>
                  <a:lnTo>
                    <a:pt x="1616" y="52"/>
                  </a:lnTo>
                  <a:lnTo>
                    <a:pt x="1618" y="50"/>
                  </a:lnTo>
                  <a:lnTo>
                    <a:pt x="1618" y="49"/>
                  </a:lnTo>
                  <a:lnTo>
                    <a:pt x="1620" y="47"/>
                  </a:lnTo>
                  <a:lnTo>
                    <a:pt x="1621" y="47"/>
                  </a:lnTo>
                  <a:lnTo>
                    <a:pt x="1623" y="47"/>
                  </a:lnTo>
                  <a:lnTo>
                    <a:pt x="1624" y="49"/>
                  </a:lnTo>
                  <a:lnTo>
                    <a:pt x="1626" y="47"/>
                  </a:lnTo>
                  <a:lnTo>
                    <a:pt x="1629" y="47"/>
                  </a:lnTo>
                  <a:lnTo>
                    <a:pt x="1631" y="46"/>
                  </a:lnTo>
                  <a:lnTo>
                    <a:pt x="1631" y="44"/>
                  </a:lnTo>
                  <a:lnTo>
                    <a:pt x="1633" y="44"/>
                  </a:lnTo>
                  <a:lnTo>
                    <a:pt x="1634" y="42"/>
                  </a:lnTo>
                  <a:lnTo>
                    <a:pt x="1634" y="44"/>
                  </a:lnTo>
                  <a:lnTo>
                    <a:pt x="1634" y="42"/>
                  </a:lnTo>
                  <a:lnTo>
                    <a:pt x="1636" y="42"/>
                  </a:lnTo>
                  <a:lnTo>
                    <a:pt x="1637" y="42"/>
                  </a:lnTo>
                  <a:lnTo>
                    <a:pt x="1639" y="41"/>
                  </a:lnTo>
                  <a:lnTo>
                    <a:pt x="1641" y="39"/>
                  </a:lnTo>
                  <a:lnTo>
                    <a:pt x="1642" y="39"/>
                  </a:lnTo>
                  <a:lnTo>
                    <a:pt x="1644" y="39"/>
                  </a:lnTo>
                  <a:lnTo>
                    <a:pt x="1644" y="41"/>
                  </a:lnTo>
                  <a:lnTo>
                    <a:pt x="1646" y="41"/>
                  </a:lnTo>
                  <a:lnTo>
                    <a:pt x="1646" y="39"/>
                  </a:lnTo>
                  <a:lnTo>
                    <a:pt x="1647" y="39"/>
                  </a:lnTo>
                  <a:lnTo>
                    <a:pt x="1650" y="37"/>
                  </a:lnTo>
                  <a:lnTo>
                    <a:pt x="1652" y="37"/>
                  </a:lnTo>
                  <a:lnTo>
                    <a:pt x="1654" y="37"/>
                  </a:lnTo>
                  <a:lnTo>
                    <a:pt x="1655" y="37"/>
                  </a:lnTo>
                  <a:lnTo>
                    <a:pt x="1657" y="37"/>
                  </a:lnTo>
                  <a:lnTo>
                    <a:pt x="1659" y="37"/>
                  </a:lnTo>
                  <a:lnTo>
                    <a:pt x="1660" y="37"/>
                  </a:lnTo>
                  <a:lnTo>
                    <a:pt x="1662" y="37"/>
                  </a:lnTo>
                  <a:lnTo>
                    <a:pt x="1663" y="36"/>
                  </a:lnTo>
                  <a:lnTo>
                    <a:pt x="1665" y="36"/>
                  </a:lnTo>
                  <a:lnTo>
                    <a:pt x="1668" y="36"/>
                  </a:lnTo>
                  <a:lnTo>
                    <a:pt x="1670" y="36"/>
                  </a:lnTo>
                  <a:lnTo>
                    <a:pt x="1672" y="36"/>
                  </a:lnTo>
                  <a:lnTo>
                    <a:pt x="1673" y="36"/>
                  </a:lnTo>
                  <a:lnTo>
                    <a:pt x="1675" y="36"/>
                  </a:lnTo>
                  <a:lnTo>
                    <a:pt x="1675" y="34"/>
                  </a:lnTo>
                  <a:lnTo>
                    <a:pt x="1678" y="33"/>
                  </a:lnTo>
                  <a:lnTo>
                    <a:pt x="1676" y="29"/>
                  </a:lnTo>
                  <a:lnTo>
                    <a:pt x="1676" y="28"/>
                  </a:lnTo>
                  <a:lnTo>
                    <a:pt x="1676" y="26"/>
                  </a:lnTo>
                  <a:lnTo>
                    <a:pt x="1678" y="24"/>
                  </a:lnTo>
                  <a:lnTo>
                    <a:pt x="1678" y="23"/>
                  </a:lnTo>
                  <a:lnTo>
                    <a:pt x="1680" y="21"/>
                  </a:lnTo>
                  <a:lnTo>
                    <a:pt x="1678" y="20"/>
                  </a:lnTo>
                  <a:lnTo>
                    <a:pt x="1678" y="18"/>
                  </a:lnTo>
                  <a:lnTo>
                    <a:pt x="1678" y="16"/>
                  </a:lnTo>
                  <a:lnTo>
                    <a:pt x="1676" y="15"/>
                  </a:lnTo>
                  <a:lnTo>
                    <a:pt x="1676" y="13"/>
                  </a:lnTo>
                  <a:lnTo>
                    <a:pt x="1678" y="11"/>
                  </a:lnTo>
                  <a:lnTo>
                    <a:pt x="1678" y="10"/>
                  </a:lnTo>
                  <a:lnTo>
                    <a:pt x="1683" y="7"/>
                  </a:lnTo>
                  <a:lnTo>
                    <a:pt x="1685" y="5"/>
                  </a:lnTo>
                  <a:lnTo>
                    <a:pt x="1686" y="3"/>
                  </a:lnTo>
                  <a:lnTo>
                    <a:pt x="1688" y="3"/>
                  </a:lnTo>
                  <a:lnTo>
                    <a:pt x="1689" y="3"/>
                  </a:lnTo>
                  <a:lnTo>
                    <a:pt x="1691" y="2"/>
                  </a:lnTo>
                  <a:lnTo>
                    <a:pt x="1691" y="3"/>
                  </a:lnTo>
                  <a:lnTo>
                    <a:pt x="1693" y="3"/>
                  </a:lnTo>
                  <a:lnTo>
                    <a:pt x="1694" y="2"/>
                  </a:lnTo>
                  <a:lnTo>
                    <a:pt x="1694" y="3"/>
                  </a:lnTo>
                  <a:lnTo>
                    <a:pt x="1696" y="3"/>
                  </a:lnTo>
                  <a:lnTo>
                    <a:pt x="1696" y="2"/>
                  </a:lnTo>
                  <a:lnTo>
                    <a:pt x="1698" y="0"/>
                  </a:lnTo>
                  <a:lnTo>
                    <a:pt x="1699" y="0"/>
                  </a:lnTo>
                  <a:lnTo>
                    <a:pt x="1701" y="0"/>
                  </a:lnTo>
                  <a:lnTo>
                    <a:pt x="1701" y="2"/>
                  </a:lnTo>
                  <a:lnTo>
                    <a:pt x="1701" y="3"/>
                  </a:lnTo>
                  <a:lnTo>
                    <a:pt x="1701" y="7"/>
                  </a:lnTo>
                  <a:lnTo>
                    <a:pt x="1701" y="8"/>
                  </a:lnTo>
                  <a:lnTo>
                    <a:pt x="1701" y="10"/>
                  </a:lnTo>
                  <a:lnTo>
                    <a:pt x="1701" y="11"/>
                  </a:lnTo>
                  <a:lnTo>
                    <a:pt x="1702" y="13"/>
                  </a:lnTo>
                  <a:lnTo>
                    <a:pt x="1706" y="13"/>
                  </a:lnTo>
                  <a:lnTo>
                    <a:pt x="1709" y="13"/>
                  </a:lnTo>
                  <a:lnTo>
                    <a:pt x="1709" y="10"/>
                  </a:lnTo>
                  <a:lnTo>
                    <a:pt x="1709" y="8"/>
                  </a:lnTo>
                  <a:lnTo>
                    <a:pt x="1711" y="8"/>
                  </a:lnTo>
                  <a:lnTo>
                    <a:pt x="1712" y="8"/>
                  </a:lnTo>
                  <a:lnTo>
                    <a:pt x="1712" y="10"/>
                  </a:lnTo>
                  <a:lnTo>
                    <a:pt x="1715" y="10"/>
                  </a:lnTo>
                  <a:lnTo>
                    <a:pt x="1719" y="11"/>
                  </a:lnTo>
                  <a:lnTo>
                    <a:pt x="1720" y="11"/>
                  </a:lnTo>
                  <a:lnTo>
                    <a:pt x="1722" y="11"/>
                  </a:lnTo>
                  <a:lnTo>
                    <a:pt x="1722" y="13"/>
                  </a:lnTo>
                  <a:lnTo>
                    <a:pt x="1725" y="13"/>
                  </a:lnTo>
                  <a:lnTo>
                    <a:pt x="1725" y="15"/>
                  </a:lnTo>
                  <a:lnTo>
                    <a:pt x="1727" y="16"/>
                  </a:lnTo>
                  <a:lnTo>
                    <a:pt x="1728" y="16"/>
                  </a:lnTo>
                  <a:lnTo>
                    <a:pt x="1730" y="18"/>
                  </a:lnTo>
                  <a:lnTo>
                    <a:pt x="1733" y="16"/>
                  </a:lnTo>
                  <a:lnTo>
                    <a:pt x="1735" y="16"/>
                  </a:lnTo>
                  <a:lnTo>
                    <a:pt x="1735" y="18"/>
                  </a:lnTo>
                  <a:lnTo>
                    <a:pt x="1737" y="18"/>
                  </a:lnTo>
                  <a:lnTo>
                    <a:pt x="1738" y="18"/>
                  </a:lnTo>
                  <a:lnTo>
                    <a:pt x="1740" y="18"/>
                  </a:lnTo>
                  <a:lnTo>
                    <a:pt x="1743" y="20"/>
                  </a:lnTo>
                  <a:lnTo>
                    <a:pt x="1745" y="21"/>
                  </a:lnTo>
                  <a:lnTo>
                    <a:pt x="1746" y="21"/>
                  </a:lnTo>
                  <a:lnTo>
                    <a:pt x="1746" y="20"/>
                  </a:lnTo>
                  <a:lnTo>
                    <a:pt x="1748" y="21"/>
                  </a:lnTo>
                  <a:lnTo>
                    <a:pt x="1750" y="21"/>
                  </a:lnTo>
                  <a:lnTo>
                    <a:pt x="1751" y="20"/>
                  </a:lnTo>
                  <a:lnTo>
                    <a:pt x="1753" y="20"/>
                  </a:lnTo>
                  <a:lnTo>
                    <a:pt x="1755" y="21"/>
                  </a:lnTo>
                  <a:lnTo>
                    <a:pt x="1753" y="21"/>
                  </a:lnTo>
                  <a:lnTo>
                    <a:pt x="1753" y="23"/>
                  </a:lnTo>
                  <a:lnTo>
                    <a:pt x="1751" y="23"/>
                  </a:lnTo>
                  <a:lnTo>
                    <a:pt x="1751" y="24"/>
                  </a:lnTo>
                  <a:lnTo>
                    <a:pt x="1751" y="26"/>
                  </a:lnTo>
                  <a:lnTo>
                    <a:pt x="1750" y="26"/>
                  </a:lnTo>
                  <a:lnTo>
                    <a:pt x="1750" y="28"/>
                  </a:lnTo>
                  <a:lnTo>
                    <a:pt x="1748" y="28"/>
                  </a:lnTo>
                  <a:lnTo>
                    <a:pt x="1748" y="29"/>
                  </a:lnTo>
                  <a:lnTo>
                    <a:pt x="1750" y="29"/>
                  </a:lnTo>
                  <a:lnTo>
                    <a:pt x="1751" y="29"/>
                  </a:lnTo>
                  <a:lnTo>
                    <a:pt x="1753" y="28"/>
                  </a:lnTo>
                  <a:lnTo>
                    <a:pt x="1755" y="26"/>
                  </a:lnTo>
                  <a:lnTo>
                    <a:pt x="1758" y="31"/>
                  </a:lnTo>
                  <a:lnTo>
                    <a:pt x="1761" y="33"/>
                  </a:lnTo>
                  <a:lnTo>
                    <a:pt x="1761" y="34"/>
                  </a:lnTo>
                  <a:lnTo>
                    <a:pt x="1763" y="34"/>
                  </a:lnTo>
                  <a:lnTo>
                    <a:pt x="1761" y="36"/>
                  </a:lnTo>
                  <a:lnTo>
                    <a:pt x="1763" y="36"/>
                  </a:lnTo>
                  <a:lnTo>
                    <a:pt x="1764" y="33"/>
                  </a:lnTo>
                  <a:lnTo>
                    <a:pt x="1766" y="31"/>
                  </a:lnTo>
                  <a:lnTo>
                    <a:pt x="1769" y="29"/>
                  </a:lnTo>
                  <a:lnTo>
                    <a:pt x="1771" y="28"/>
                  </a:lnTo>
                  <a:lnTo>
                    <a:pt x="1774" y="24"/>
                  </a:lnTo>
                  <a:lnTo>
                    <a:pt x="1776" y="24"/>
                  </a:lnTo>
                  <a:lnTo>
                    <a:pt x="1779" y="26"/>
                  </a:lnTo>
                  <a:lnTo>
                    <a:pt x="1781" y="26"/>
                  </a:lnTo>
                  <a:lnTo>
                    <a:pt x="1784" y="24"/>
                  </a:lnTo>
                  <a:lnTo>
                    <a:pt x="1784" y="26"/>
                  </a:lnTo>
                  <a:lnTo>
                    <a:pt x="1789" y="31"/>
                  </a:lnTo>
                  <a:lnTo>
                    <a:pt x="1787" y="33"/>
                  </a:lnTo>
                  <a:lnTo>
                    <a:pt x="1787" y="36"/>
                  </a:lnTo>
                  <a:lnTo>
                    <a:pt x="1790" y="37"/>
                  </a:lnTo>
                  <a:lnTo>
                    <a:pt x="1792" y="37"/>
                  </a:lnTo>
                  <a:lnTo>
                    <a:pt x="1792" y="39"/>
                  </a:lnTo>
                  <a:lnTo>
                    <a:pt x="1792" y="41"/>
                  </a:lnTo>
                  <a:lnTo>
                    <a:pt x="1794" y="42"/>
                  </a:lnTo>
                  <a:lnTo>
                    <a:pt x="1794" y="44"/>
                  </a:lnTo>
                  <a:lnTo>
                    <a:pt x="1795" y="44"/>
                  </a:lnTo>
                  <a:lnTo>
                    <a:pt x="1797" y="44"/>
                  </a:lnTo>
                  <a:lnTo>
                    <a:pt x="1798" y="44"/>
                  </a:lnTo>
                  <a:lnTo>
                    <a:pt x="1803" y="44"/>
                  </a:lnTo>
                  <a:lnTo>
                    <a:pt x="1805" y="44"/>
                  </a:lnTo>
                  <a:lnTo>
                    <a:pt x="1810" y="44"/>
                  </a:lnTo>
                  <a:lnTo>
                    <a:pt x="1816" y="46"/>
                  </a:lnTo>
                  <a:lnTo>
                    <a:pt x="1818" y="46"/>
                  </a:lnTo>
                  <a:lnTo>
                    <a:pt x="1820" y="46"/>
                  </a:lnTo>
                  <a:lnTo>
                    <a:pt x="1820" y="47"/>
                  </a:lnTo>
                  <a:lnTo>
                    <a:pt x="1820" y="49"/>
                  </a:lnTo>
                  <a:lnTo>
                    <a:pt x="1821" y="50"/>
                  </a:lnTo>
                  <a:lnTo>
                    <a:pt x="1821" y="52"/>
                  </a:lnTo>
                  <a:lnTo>
                    <a:pt x="1823" y="54"/>
                  </a:lnTo>
                  <a:lnTo>
                    <a:pt x="1823" y="55"/>
                  </a:lnTo>
                  <a:lnTo>
                    <a:pt x="1824" y="57"/>
                  </a:lnTo>
                  <a:lnTo>
                    <a:pt x="1824" y="59"/>
                  </a:lnTo>
                  <a:lnTo>
                    <a:pt x="1826" y="59"/>
                  </a:lnTo>
                  <a:lnTo>
                    <a:pt x="1828" y="59"/>
                  </a:lnTo>
                  <a:lnTo>
                    <a:pt x="1828" y="60"/>
                  </a:lnTo>
                  <a:lnTo>
                    <a:pt x="1829" y="62"/>
                  </a:lnTo>
                  <a:lnTo>
                    <a:pt x="1831" y="62"/>
                  </a:lnTo>
                  <a:lnTo>
                    <a:pt x="1831" y="63"/>
                  </a:lnTo>
                  <a:lnTo>
                    <a:pt x="1833" y="63"/>
                  </a:lnTo>
                  <a:lnTo>
                    <a:pt x="1833" y="65"/>
                  </a:lnTo>
                  <a:lnTo>
                    <a:pt x="1834" y="65"/>
                  </a:lnTo>
                  <a:lnTo>
                    <a:pt x="1834" y="67"/>
                  </a:lnTo>
                  <a:lnTo>
                    <a:pt x="1836" y="68"/>
                  </a:lnTo>
                  <a:lnTo>
                    <a:pt x="1837" y="70"/>
                  </a:lnTo>
                  <a:lnTo>
                    <a:pt x="1837" y="72"/>
                  </a:lnTo>
                  <a:lnTo>
                    <a:pt x="1837" y="73"/>
                  </a:lnTo>
                  <a:lnTo>
                    <a:pt x="1839" y="73"/>
                  </a:lnTo>
                  <a:lnTo>
                    <a:pt x="1839" y="75"/>
                  </a:lnTo>
                  <a:lnTo>
                    <a:pt x="1839" y="76"/>
                  </a:lnTo>
                  <a:lnTo>
                    <a:pt x="1841" y="76"/>
                  </a:lnTo>
                  <a:lnTo>
                    <a:pt x="1839" y="78"/>
                  </a:lnTo>
                  <a:lnTo>
                    <a:pt x="1841" y="78"/>
                  </a:lnTo>
                  <a:lnTo>
                    <a:pt x="1841" y="80"/>
                  </a:lnTo>
                  <a:lnTo>
                    <a:pt x="1839" y="80"/>
                  </a:lnTo>
                  <a:lnTo>
                    <a:pt x="1839" y="81"/>
                  </a:lnTo>
                  <a:lnTo>
                    <a:pt x="1839" y="83"/>
                  </a:lnTo>
                  <a:lnTo>
                    <a:pt x="1841" y="83"/>
                  </a:lnTo>
                  <a:lnTo>
                    <a:pt x="1839" y="85"/>
                  </a:lnTo>
                  <a:lnTo>
                    <a:pt x="1839" y="86"/>
                  </a:lnTo>
                  <a:lnTo>
                    <a:pt x="1839" y="88"/>
                  </a:lnTo>
                  <a:lnTo>
                    <a:pt x="1839" y="93"/>
                  </a:lnTo>
                  <a:lnTo>
                    <a:pt x="1839" y="94"/>
                  </a:lnTo>
                  <a:lnTo>
                    <a:pt x="1839" y="96"/>
                  </a:lnTo>
                  <a:lnTo>
                    <a:pt x="1837" y="96"/>
                  </a:lnTo>
                  <a:lnTo>
                    <a:pt x="1837" y="98"/>
                  </a:lnTo>
                  <a:lnTo>
                    <a:pt x="1837" y="99"/>
                  </a:lnTo>
                  <a:lnTo>
                    <a:pt x="1839" y="99"/>
                  </a:lnTo>
                  <a:lnTo>
                    <a:pt x="1839" y="101"/>
                  </a:lnTo>
                  <a:lnTo>
                    <a:pt x="1837" y="101"/>
                  </a:lnTo>
                  <a:lnTo>
                    <a:pt x="1837" y="103"/>
                  </a:lnTo>
                  <a:lnTo>
                    <a:pt x="1839" y="103"/>
                  </a:lnTo>
                  <a:lnTo>
                    <a:pt x="1839" y="104"/>
                  </a:lnTo>
                  <a:lnTo>
                    <a:pt x="1837" y="104"/>
                  </a:lnTo>
                  <a:lnTo>
                    <a:pt x="1837" y="103"/>
                  </a:lnTo>
                  <a:lnTo>
                    <a:pt x="1837" y="104"/>
                  </a:lnTo>
                  <a:lnTo>
                    <a:pt x="1836" y="106"/>
                  </a:lnTo>
                  <a:lnTo>
                    <a:pt x="1834" y="107"/>
                  </a:lnTo>
                  <a:lnTo>
                    <a:pt x="1833" y="109"/>
                  </a:lnTo>
                  <a:lnTo>
                    <a:pt x="1834" y="109"/>
                  </a:lnTo>
                  <a:lnTo>
                    <a:pt x="1833" y="109"/>
                  </a:lnTo>
                  <a:lnTo>
                    <a:pt x="1833" y="111"/>
                  </a:lnTo>
                  <a:lnTo>
                    <a:pt x="1833" y="112"/>
                  </a:lnTo>
                  <a:lnTo>
                    <a:pt x="1833" y="114"/>
                  </a:lnTo>
                  <a:lnTo>
                    <a:pt x="1834" y="114"/>
                  </a:lnTo>
                  <a:lnTo>
                    <a:pt x="1834" y="116"/>
                  </a:lnTo>
                  <a:lnTo>
                    <a:pt x="1836" y="114"/>
                  </a:lnTo>
                  <a:lnTo>
                    <a:pt x="1837" y="114"/>
                  </a:lnTo>
                  <a:lnTo>
                    <a:pt x="1837" y="116"/>
                  </a:lnTo>
                  <a:lnTo>
                    <a:pt x="1839" y="116"/>
                  </a:lnTo>
                  <a:lnTo>
                    <a:pt x="1841" y="116"/>
                  </a:lnTo>
                  <a:lnTo>
                    <a:pt x="1842" y="117"/>
                  </a:lnTo>
                  <a:lnTo>
                    <a:pt x="1842" y="119"/>
                  </a:lnTo>
                  <a:lnTo>
                    <a:pt x="1844" y="119"/>
                  </a:lnTo>
                  <a:lnTo>
                    <a:pt x="1844" y="120"/>
                  </a:lnTo>
                  <a:lnTo>
                    <a:pt x="1844" y="122"/>
                  </a:lnTo>
                  <a:lnTo>
                    <a:pt x="1844" y="124"/>
                  </a:lnTo>
                  <a:lnTo>
                    <a:pt x="1844" y="125"/>
                  </a:lnTo>
                  <a:lnTo>
                    <a:pt x="1844" y="127"/>
                  </a:lnTo>
                  <a:lnTo>
                    <a:pt x="1844" y="129"/>
                  </a:lnTo>
                  <a:lnTo>
                    <a:pt x="1846" y="129"/>
                  </a:lnTo>
                  <a:lnTo>
                    <a:pt x="1846" y="130"/>
                  </a:lnTo>
                  <a:lnTo>
                    <a:pt x="1847" y="130"/>
                  </a:lnTo>
                  <a:lnTo>
                    <a:pt x="1849" y="132"/>
                  </a:lnTo>
                  <a:lnTo>
                    <a:pt x="1850" y="132"/>
                  </a:lnTo>
                  <a:lnTo>
                    <a:pt x="1850" y="133"/>
                  </a:lnTo>
                  <a:lnTo>
                    <a:pt x="1852" y="133"/>
                  </a:lnTo>
                  <a:lnTo>
                    <a:pt x="1852" y="135"/>
                  </a:lnTo>
                  <a:lnTo>
                    <a:pt x="1854" y="135"/>
                  </a:lnTo>
                  <a:lnTo>
                    <a:pt x="1855" y="135"/>
                  </a:lnTo>
                  <a:lnTo>
                    <a:pt x="1857" y="135"/>
                  </a:lnTo>
                  <a:lnTo>
                    <a:pt x="1859" y="135"/>
                  </a:lnTo>
                  <a:lnTo>
                    <a:pt x="1859" y="137"/>
                  </a:lnTo>
                  <a:lnTo>
                    <a:pt x="1859" y="138"/>
                  </a:lnTo>
                  <a:lnTo>
                    <a:pt x="1859" y="140"/>
                  </a:lnTo>
                  <a:lnTo>
                    <a:pt x="1860" y="140"/>
                  </a:lnTo>
                  <a:lnTo>
                    <a:pt x="1859" y="140"/>
                  </a:lnTo>
                  <a:lnTo>
                    <a:pt x="1857" y="142"/>
                  </a:lnTo>
                  <a:lnTo>
                    <a:pt x="1859" y="142"/>
                  </a:lnTo>
                  <a:lnTo>
                    <a:pt x="1860" y="143"/>
                  </a:lnTo>
                  <a:lnTo>
                    <a:pt x="1862" y="143"/>
                  </a:lnTo>
                  <a:lnTo>
                    <a:pt x="1863" y="143"/>
                  </a:lnTo>
                  <a:lnTo>
                    <a:pt x="1863" y="145"/>
                  </a:lnTo>
                  <a:lnTo>
                    <a:pt x="1865" y="145"/>
                  </a:lnTo>
                  <a:lnTo>
                    <a:pt x="1867" y="146"/>
                  </a:lnTo>
                  <a:lnTo>
                    <a:pt x="1865" y="148"/>
                  </a:lnTo>
                  <a:lnTo>
                    <a:pt x="1863" y="148"/>
                  </a:lnTo>
                  <a:lnTo>
                    <a:pt x="1862" y="150"/>
                  </a:lnTo>
                  <a:lnTo>
                    <a:pt x="1862" y="151"/>
                  </a:lnTo>
                  <a:lnTo>
                    <a:pt x="1862" y="153"/>
                  </a:lnTo>
                  <a:lnTo>
                    <a:pt x="1862" y="155"/>
                  </a:lnTo>
                  <a:lnTo>
                    <a:pt x="1863" y="155"/>
                  </a:lnTo>
                  <a:lnTo>
                    <a:pt x="1863" y="156"/>
                  </a:lnTo>
                  <a:lnTo>
                    <a:pt x="1865" y="156"/>
                  </a:lnTo>
                  <a:lnTo>
                    <a:pt x="1867" y="156"/>
                  </a:lnTo>
                  <a:lnTo>
                    <a:pt x="1867" y="158"/>
                  </a:lnTo>
                  <a:lnTo>
                    <a:pt x="1868" y="156"/>
                  </a:lnTo>
                  <a:lnTo>
                    <a:pt x="1870" y="156"/>
                  </a:lnTo>
                  <a:lnTo>
                    <a:pt x="1870" y="158"/>
                  </a:lnTo>
                  <a:lnTo>
                    <a:pt x="1872" y="158"/>
                  </a:lnTo>
                  <a:lnTo>
                    <a:pt x="1872" y="156"/>
                  </a:lnTo>
                  <a:lnTo>
                    <a:pt x="1873" y="158"/>
                  </a:lnTo>
                  <a:lnTo>
                    <a:pt x="1873" y="156"/>
                  </a:lnTo>
                  <a:lnTo>
                    <a:pt x="1875" y="156"/>
                  </a:lnTo>
                  <a:lnTo>
                    <a:pt x="1876" y="155"/>
                  </a:lnTo>
                  <a:lnTo>
                    <a:pt x="1878" y="155"/>
                  </a:lnTo>
                  <a:lnTo>
                    <a:pt x="1880" y="156"/>
                  </a:lnTo>
                  <a:lnTo>
                    <a:pt x="1880" y="155"/>
                  </a:lnTo>
                  <a:lnTo>
                    <a:pt x="1881" y="156"/>
                  </a:lnTo>
                  <a:lnTo>
                    <a:pt x="1883" y="155"/>
                  </a:lnTo>
                  <a:lnTo>
                    <a:pt x="1883" y="156"/>
                  </a:lnTo>
                  <a:lnTo>
                    <a:pt x="1885" y="156"/>
                  </a:lnTo>
                  <a:lnTo>
                    <a:pt x="1886" y="156"/>
                  </a:lnTo>
                  <a:lnTo>
                    <a:pt x="1888" y="156"/>
                  </a:lnTo>
                  <a:lnTo>
                    <a:pt x="1889" y="156"/>
                  </a:lnTo>
                  <a:lnTo>
                    <a:pt x="1891" y="156"/>
                  </a:lnTo>
                  <a:lnTo>
                    <a:pt x="1893" y="156"/>
                  </a:lnTo>
                  <a:lnTo>
                    <a:pt x="1894" y="156"/>
                  </a:lnTo>
                  <a:lnTo>
                    <a:pt x="1896" y="155"/>
                  </a:lnTo>
                  <a:lnTo>
                    <a:pt x="1898" y="155"/>
                  </a:lnTo>
                  <a:lnTo>
                    <a:pt x="1899" y="153"/>
                  </a:lnTo>
                  <a:lnTo>
                    <a:pt x="1901" y="153"/>
                  </a:lnTo>
                  <a:lnTo>
                    <a:pt x="1901" y="151"/>
                  </a:lnTo>
                  <a:lnTo>
                    <a:pt x="1903" y="150"/>
                  </a:lnTo>
                  <a:lnTo>
                    <a:pt x="1903" y="151"/>
                  </a:lnTo>
                  <a:lnTo>
                    <a:pt x="1904" y="151"/>
                  </a:lnTo>
                  <a:lnTo>
                    <a:pt x="1904" y="150"/>
                  </a:lnTo>
                  <a:lnTo>
                    <a:pt x="1906" y="150"/>
                  </a:lnTo>
                  <a:lnTo>
                    <a:pt x="1906" y="148"/>
                  </a:lnTo>
                  <a:lnTo>
                    <a:pt x="1907" y="148"/>
                  </a:lnTo>
                  <a:lnTo>
                    <a:pt x="1909" y="148"/>
                  </a:lnTo>
                  <a:lnTo>
                    <a:pt x="1909" y="146"/>
                  </a:lnTo>
                  <a:lnTo>
                    <a:pt x="1911" y="146"/>
                  </a:lnTo>
                  <a:lnTo>
                    <a:pt x="1912" y="145"/>
                  </a:lnTo>
                  <a:lnTo>
                    <a:pt x="1914" y="145"/>
                  </a:lnTo>
                  <a:lnTo>
                    <a:pt x="1914" y="143"/>
                  </a:lnTo>
                  <a:lnTo>
                    <a:pt x="1916" y="145"/>
                  </a:lnTo>
                  <a:lnTo>
                    <a:pt x="1916" y="143"/>
                  </a:lnTo>
                  <a:lnTo>
                    <a:pt x="1917" y="143"/>
                  </a:lnTo>
                  <a:lnTo>
                    <a:pt x="1919" y="142"/>
                  </a:lnTo>
                  <a:lnTo>
                    <a:pt x="1919" y="143"/>
                  </a:lnTo>
                  <a:lnTo>
                    <a:pt x="1920" y="142"/>
                  </a:lnTo>
                  <a:lnTo>
                    <a:pt x="1920" y="140"/>
                  </a:lnTo>
                  <a:lnTo>
                    <a:pt x="1922" y="140"/>
                  </a:lnTo>
                  <a:lnTo>
                    <a:pt x="1924" y="140"/>
                  </a:lnTo>
                  <a:lnTo>
                    <a:pt x="1924" y="138"/>
                  </a:lnTo>
                  <a:lnTo>
                    <a:pt x="1924" y="137"/>
                  </a:lnTo>
                  <a:lnTo>
                    <a:pt x="1925" y="137"/>
                  </a:lnTo>
                  <a:lnTo>
                    <a:pt x="1925" y="135"/>
                  </a:lnTo>
                  <a:lnTo>
                    <a:pt x="1927" y="135"/>
                  </a:lnTo>
                  <a:lnTo>
                    <a:pt x="1929" y="135"/>
                  </a:lnTo>
                  <a:lnTo>
                    <a:pt x="1930" y="135"/>
                  </a:lnTo>
                  <a:lnTo>
                    <a:pt x="1932" y="135"/>
                  </a:lnTo>
                  <a:lnTo>
                    <a:pt x="1932" y="133"/>
                  </a:lnTo>
                  <a:lnTo>
                    <a:pt x="1933" y="133"/>
                  </a:lnTo>
                  <a:lnTo>
                    <a:pt x="1933" y="135"/>
                  </a:lnTo>
                  <a:lnTo>
                    <a:pt x="1935" y="133"/>
                  </a:lnTo>
                  <a:lnTo>
                    <a:pt x="1937" y="133"/>
                  </a:lnTo>
                  <a:lnTo>
                    <a:pt x="1938" y="135"/>
                  </a:lnTo>
                  <a:lnTo>
                    <a:pt x="1940" y="135"/>
                  </a:lnTo>
                  <a:lnTo>
                    <a:pt x="1942" y="135"/>
                  </a:lnTo>
                  <a:lnTo>
                    <a:pt x="1943" y="135"/>
                  </a:lnTo>
                  <a:lnTo>
                    <a:pt x="1943" y="133"/>
                  </a:lnTo>
                  <a:lnTo>
                    <a:pt x="1945" y="133"/>
                  </a:lnTo>
                  <a:lnTo>
                    <a:pt x="1946" y="135"/>
                  </a:lnTo>
                  <a:lnTo>
                    <a:pt x="1950" y="135"/>
                  </a:lnTo>
                  <a:lnTo>
                    <a:pt x="1950" y="137"/>
                  </a:lnTo>
                  <a:lnTo>
                    <a:pt x="1951" y="135"/>
                  </a:lnTo>
                  <a:lnTo>
                    <a:pt x="1953" y="135"/>
                  </a:lnTo>
                  <a:lnTo>
                    <a:pt x="1955" y="135"/>
                  </a:lnTo>
                  <a:lnTo>
                    <a:pt x="1955" y="137"/>
                  </a:lnTo>
                  <a:lnTo>
                    <a:pt x="1956" y="137"/>
                  </a:lnTo>
                  <a:lnTo>
                    <a:pt x="1958" y="138"/>
                  </a:lnTo>
                  <a:lnTo>
                    <a:pt x="1959" y="138"/>
                  </a:lnTo>
                  <a:lnTo>
                    <a:pt x="1959" y="140"/>
                  </a:lnTo>
                  <a:lnTo>
                    <a:pt x="1961" y="138"/>
                  </a:lnTo>
                  <a:lnTo>
                    <a:pt x="1963" y="140"/>
                  </a:lnTo>
                  <a:lnTo>
                    <a:pt x="1964" y="140"/>
                  </a:lnTo>
                  <a:lnTo>
                    <a:pt x="1964" y="142"/>
                  </a:lnTo>
                  <a:lnTo>
                    <a:pt x="1964" y="143"/>
                  </a:lnTo>
                  <a:lnTo>
                    <a:pt x="1966" y="143"/>
                  </a:lnTo>
                  <a:lnTo>
                    <a:pt x="1968" y="143"/>
                  </a:lnTo>
                  <a:lnTo>
                    <a:pt x="1969" y="145"/>
                  </a:lnTo>
                  <a:lnTo>
                    <a:pt x="1969" y="143"/>
                  </a:lnTo>
                  <a:lnTo>
                    <a:pt x="1971" y="143"/>
                  </a:lnTo>
                  <a:lnTo>
                    <a:pt x="1971" y="145"/>
                  </a:lnTo>
                  <a:lnTo>
                    <a:pt x="1971" y="146"/>
                  </a:lnTo>
                  <a:lnTo>
                    <a:pt x="1971" y="148"/>
                  </a:lnTo>
                  <a:lnTo>
                    <a:pt x="1972" y="148"/>
                  </a:lnTo>
                  <a:lnTo>
                    <a:pt x="1974" y="148"/>
                  </a:lnTo>
                  <a:lnTo>
                    <a:pt x="1974" y="146"/>
                  </a:lnTo>
                  <a:lnTo>
                    <a:pt x="1976" y="146"/>
                  </a:lnTo>
                  <a:lnTo>
                    <a:pt x="1976" y="148"/>
                  </a:lnTo>
                  <a:lnTo>
                    <a:pt x="1974" y="148"/>
                  </a:lnTo>
                  <a:lnTo>
                    <a:pt x="1974" y="150"/>
                  </a:lnTo>
                  <a:lnTo>
                    <a:pt x="1976" y="148"/>
                  </a:lnTo>
                  <a:lnTo>
                    <a:pt x="1977" y="148"/>
                  </a:lnTo>
                  <a:lnTo>
                    <a:pt x="1979" y="148"/>
                  </a:lnTo>
                  <a:lnTo>
                    <a:pt x="1981" y="150"/>
                  </a:lnTo>
                  <a:lnTo>
                    <a:pt x="1982" y="150"/>
                  </a:lnTo>
                  <a:lnTo>
                    <a:pt x="1982" y="148"/>
                  </a:lnTo>
                  <a:lnTo>
                    <a:pt x="1984" y="148"/>
                  </a:lnTo>
                  <a:lnTo>
                    <a:pt x="1984" y="150"/>
                  </a:lnTo>
                  <a:lnTo>
                    <a:pt x="1984" y="151"/>
                  </a:lnTo>
                  <a:lnTo>
                    <a:pt x="1985" y="151"/>
                  </a:lnTo>
                  <a:lnTo>
                    <a:pt x="1985" y="150"/>
                  </a:lnTo>
                  <a:lnTo>
                    <a:pt x="1987" y="150"/>
                  </a:lnTo>
                  <a:lnTo>
                    <a:pt x="1989" y="151"/>
                  </a:lnTo>
                  <a:lnTo>
                    <a:pt x="1990" y="153"/>
                  </a:lnTo>
                  <a:lnTo>
                    <a:pt x="1990" y="151"/>
                  </a:lnTo>
                  <a:lnTo>
                    <a:pt x="1992" y="151"/>
                  </a:lnTo>
                  <a:lnTo>
                    <a:pt x="1992" y="153"/>
                  </a:lnTo>
                  <a:lnTo>
                    <a:pt x="1994" y="155"/>
                  </a:lnTo>
                  <a:lnTo>
                    <a:pt x="1995" y="155"/>
                  </a:lnTo>
                  <a:lnTo>
                    <a:pt x="1997" y="155"/>
                  </a:lnTo>
                  <a:lnTo>
                    <a:pt x="1995" y="156"/>
                  </a:lnTo>
                  <a:lnTo>
                    <a:pt x="1997" y="156"/>
                  </a:lnTo>
                  <a:lnTo>
                    <a:pt x="1998" y="156"/>
                  </a:lnTo>
                  <a:lnTo>
                    <a:pt x="1998" y="158"/>
                  </a:lnTo>
                  <a:lnTo>
                    <a:pt x="2000" y="158"/>
                  </a:lnTo>
                  <a:lnTo>
                    <a:pt x="2000" y="156"/>
                  </a:lnTo>
                  <a:lnTo>
                    <a:pt x="2002" y="156"/>
                  </a:lnTo>
                  <a:lnTo>
                    <a:pt x="2002" y="158"/>
                  </a:lnTo>
                  <a:lnTo>
                    <a:pt x="2002" y="159"/>
                  </a:lnTo>
                  <a:lnTo>
                    <a:pt x="2002" y="158"/>
                  </a:lnTo>
                  <a:lnTo>
                    <a:pt x="2002" y="159"/>
                  </a:lnTo>
                  <a:lnTo>
                    <a:pt x="2003" y="161"/>
                  </a:lnTo>
                  <a:lnTo>
                    <a:pt x="2003" y="159"/>
                  </a:lnTo>
                  <a:lnTo>
                    <a:pt x="2005" y="159"/>
                  </a:lnTo>
                  <a:lnTo>
                    <a:pt x="2005" y="161"/>
                  </a:lnTo>
                  <a:lnTo>
                    <a:pt x="2005" y="163"/>
                  </a:lnTo>
                  <a:lnTo>
                    <a:pt x="2003" y="163"/>
                  </a:lnTo>
                  <a:lnTo>
                    <a:pt x="2005" y="164"/>
                  </a:lnTo>
                  <a:lnTo>
                    <a:pt x="2003" y="163"/>
                  </a:lnTo>
                  <a:lnTo>
                    <a:pt x="2003" y="161"/>
                  </a:lnTo>
                  <a:lnTo>
                    <a:pt x="2002" y="161"/>
                  </a:lnTo>
                  <a:lnTo>
                    <a:pt x="2000" y="161"/>
                  </a:lnTo>
                  <a:lnTo>
                    <a:pt x="1998" y="161"/>
                  </a:lnTo>
                  <a:lnTo>
                    <a:pt x="1997" y="161"/>
                  </a:lnTo>
                  <a:lnTo>
                    <a:pt x="1997" y="159"/>
                  </a:lnTo>
                  <a:lnTo>
                    <a:pt x="1995" y="158"/>
                  </a:lnTo>
                  <a:lnTo>
                    <a:pt x="1994" y="158"/>
                  </a:lnTo>
                  <a:lnTo>
                    <a:pt x="1992" y="158"/>
                  </a:lnTo>
                  <a:lnTo>
                    <a:pt x="1990" y="158"/>
                  </a:lnTo>
                  <a:lnTo>
                    <a:pt x="1990" y="156"/>
                  </a:lnTo>
                  <a:lnTo>
                    <a:pt x="1990" y="158"/>
                  </a:lnTo>
                  <a:lnTo>
                    <a:pt x="1989" y="158"/>
                  </a:lnTo>
                  <a:lnTo>
                    <a:pt x="1987" y="159"/>
                  </a:lnTo>
                  <a:lnTo>
                    <a:pt x="1985" y="159"/>
                  </a:lnTo>
                  <a:lnTo>
                    <a:pt x="1984" y="158"/>
                  </a:lnTo>
                  <a:lnTo>
                    <a:pt x="1982" y="158"/>
                  </a:lnTo>
                  <a:lnTo>
                    <a:pt x="1981" y="156"/>
                  </a:lnTo>
                  <a:lnTo>
                    <a:pt x="1979" y="155"/>
                  </a:lnTo>
                  <a:lnTo>
                    <a:pt x="1979" y="156"/>
                  </a:lnTo>
                  <a:lnTo>
                    <a:pt x="1979" y="155"/>
                  </a:lnTo>
                  <a:lnTo>
                    <a:pt x="1977" y="153"/>
                  </a:lnTo>
                  <a:lnTo>
                    <a:pt x="1976" y="156"/>
                  </a:lnTo>
                  <a:lnTo>
                    <a:pt x="1971" y="166"/>
                  </a:lnTo>
                  <a:lnTo>
                    <a:pt x="1971" y="168"/>
                  </a:lnTo>
                  <a:lnTo>
                    <a:pt x="1969" y="172"/>
                  </a:lnTo>
                  <a:lnTo>
                    <a:pt x="1969" y="174"/>
                  </a:lnTo>
                  <a:lnTo>
                    <a:pt x="1971" y="174"/>
                  </a:lnTo>
                  <a:lnTo>
                    <a:pt x="1972" y="177"/>
                  </a:lnTo>
                  <a:lnTo>
                    <a:pt x="1974" y="182"/>
                  </a:lnTo>
                  <a:lnTo>
                    <a:pt x="1972" y="185"/>
                  </a:lnTo>
                  <a:lnTo>
                    <a:pt x="1972" y="189"/>
                  </a:lnTo>
                  <a:lnTo>
                    <a:pt x="1971" y="190"/>
                  </a:lnTo>
                  <a:lnTo>
                    <a:pt x="1971" y="192"/>
                  </a:lnTo>
                  <a:lnTo>
                    <a:pt x="1972" y="194"/>
                  </a:lnTo>
                  <a:lnTo>
                    <a:pt x="1972" y="195"/>
                  </a:lnTo>
                  <a:lnTo>
                    <a:pt x="1974" y="197"/>
                  </a:lnTo>
                  <a:lnTo>
                    <a:pt x="1976" y="198"/>
                  </a:lnTo>
                  <a:lnTo>
                    <a:pt x="1976" y="200"/>
                  </a:lnTo>
                  <a:lnTo>
                    <a:pt x="1974" y="200"/>
                  </a:lnTo>
                  <a:lnTo>
                    <a:pt x="1974" y="202"/>
                  </a:lnTo>
                  <a:lnTo>
                    <a:pt x="1974" y="203"/>
                  </a:lnTo>
                  <a:lnTo>
                    <a:pt x="1976" y="205"/>
                  </a:lnTo>
                  <a:lnTo>
                    <a:pt x="1977" y="207"/>
                  </a:lnTo>
                  <a:lnTo>
                    <a:pt x="1979" y="207"/>
                  </a:lnTo>
                  <a:lnTo>
                    <a:pt x="1979" y="208"/>
                  </a:lnTo>
                  <a:lnTo>
                    <a:pt x="1979" y="210"/>
                  </a:lnTo>
                  <a:lnTo>
                    <a:pt x="1979" y="211"/>
                  </a:lnTo>
                  <a:lnTo>
                    <a:pt x="1977" y="213"/>
                  </a:lnTo>
                  <a:lnTo>
                    <a:pt x="1976" y="213"/>
                  </a:lnTo>
                  <a:lnTo>
                    <a:pt x="1974" y="213"/>
                  </a:lnTo>
                  <a:lnTo>
                    <a:pt x="1974" y="216"/>
                  </a:lnTo>
                  <a:lnTo>
                    <a:pt x="1972" y="218"/>
                  </a:lnTo>
                  <a:lnTo>
                    <a:pt x="1972" y="220"/>
                  </a:lnTo>
                  <a:lnTo>
                    <a:pt x="1969" y="220"/>
                  </a:lnTo>
                  <a:lnTo>
                    <a:pt x="1969" y="221"/>
                  </a:lnTo>
                  <a:lnTo>
                    <a:pt x="1969" y="223"/>
                  </a:lnTo>
                  <a:lnTo>
                    <a:pt x="1968" y="221"/>
                  </a:lnTo>
                  <a:lnTo>
                    <a:pt x="1966" y="221"/>
                  </a:lnTo>
                  <a:lnTo>
                    <a:pt x="1964" y="221"/>
                  </a:lnTo>
                  <a:lnTo>
                    <a:pt x="1963" y="221"/>
                  </a:lnTo>
                  <a:lnTo>
                    <a:pt x="1961" y="221"/>
                  </a:lnTo>
                  <a:lnTo>
                    <a:pt x="1961" y="220"/>
                  </a:lnTo>
                  <a:lnTo>
                    <a:pt x="1959" y="220"/>
                  </a:lnTo>
                  <a:lnTo>
                    <a:pt x="1958" y="221"/>
                  </a:lnTo>
                  <a:lnTo>
                    <a:pt x="1956" y="223"/>
                  </a:lnTo>
                  <a:lnTo>
                    <a:pt x="1958" y="224"/>
                  </a:lnTo>
                  <a:lnTo>
                    <a:pt x="1956" y="224"/>
                  </a:lnTo>
                  <a:lnTo>
                    <a:pt x="1955" y="224"/>
                  </a:lnTo>
                  <a:lnTo>
                    <a:pt x="1953" y="226"/>
                  </a:lnTo>
                  <a:lnTo>
                    <a:pt x="1953" y="228"/>
                  </a:lnTo>
                  <a:lnTo>
                    <a:pt x="1951" y="226"/>
                  </a:lnTo>
                  <a:lnTo>
                    <a:pt x="1950" y="228"/>
                  </a:lnTo>
                  <a:lnTo>
                    <a:pt x="1948" y="228"/>
                  </a:lnTo>
                  <a:lnTo>
                    <a:pt x="1946" y="228"/>
                  </a:lnTo>
                  <a:lnTo>
                    <a:pt x="1945" y="228"/>
                  </a:lnTo>
                  <a:lnTo>
                    <a:pt x="1943" y="229"/>
                  </a:lnTo>
                  <a:lnTo>
                    <a:pt x="1943" y="231"/>
                  </a:lnTo>
                  <a:lnTo>
                    <a:pt x="1945" y="231"/>
                  </a:lnTo>
                  <a:lnTo>
                    <a:pt x="1945" y="233"/>
                  </a:lnTo>
                  <a:lnTo>
                    <a:pt x="1943" y="234"/>
                  </a:lnTo>
                  <a:lnTo>
                    <a:pt x="1943" y="236"/>
                  </a:lnTo>
                  <a:lnTo>
                    <a:pt x="1945" y="238"/>
                  </a:lnTo>
                  <a:lnTo>
                    <a:pt x="1946" y="236"/>
                  </a:lnTo>
                  <a:lnTo>
                    <a:pt x="1946" y="238"/>
                  </a:lnTo>
                  <a:lnTo>
                    <a:pt x="1946" y="239"/>
                  </a:lnTo>
                  <a:lnTo>
                    <a:pt x="1950" y="239"/>
                  </a:lnTo>
                  <a:lnTo>
                    <a:pt x="1951" y="241"/>
                  </a:lnTo>
                  <a:lnTo>
                    <a:pt x="1951" y="244"/>
                  </a:lnTo>
                  <a:lnTo>
                    <a:pt x="1953" y="244"/>
                  </a:lnTo>
                  <a:lnTo>
                    <a:pt x="1955" y="244"/>
                  </a:lnTo>
                  <a:lnTo>
                    <a:pt x="1955" y="246"/>
                  </a:lnTo>
                  <a:lnTo>
                    <a:pt x="1955" y="247"/>
                  </a:lnTo>
                  <a:lnTo>
                    <a:pt x="1955" y="249"/>
                  </a:lnTo>
                  <a:lnTo>
                    <a:pt x="1956" y="249"/>
                  </a:lnTo>
                  <a:lnTo>
                    <a:pt x="1958" y="251"/>
                  </a:lnTo>
                  <a:lnTo>
                    <a:pt x="1959" y="254"/>
                  </a:lnTo>
                  <a:lnTo>
                    <a:pt x="1961" y="255"/>
                  </a:lnTo>
                  <a:lnTo>
                    <a:pt x="1963" y="255"/>
                  </a:lnTo>
                  <a:lnTo>
                    <a:pt x="1964" y="255"/>
                  </a:lnTo>
                  <a:lnTo>
                    <a:pt x="1966" y="255"/>
                  </a:lnTo>
                  <a:lnTo>
                    <a:pt x="1968" y="255"/>
                  </a:lnTo>
                  <a:lnTo>
                    <a:pt x="1969" y="255"/>
                  </a:lnTo>
                  <a:lnTo>
                    <a:pt x="1971" y="257"/>
                  </a:lnTo>
                  <a:lnTo>
                    <a:pt x="1972" y="257"/>
                  </a:lnTo>
                  <a:lnTo>
                    <a:pt x="1974" y="259"/>
                  </a:lnTo>
                  <a:lnTo>
                    <a:pt x="1976" y="260"/>
                  </a:lnTo>
                  <a:lnTo>
                    <a:pt x="1977" y="262"/>
                  </a:lnTo>
                  <a:lnTo>
                    <a:pt x="1977" y="264"/>
                  </a:lnTo>
                  <a:lnTo>
                    <a:pt x="1976" y="265"/>
                  </a:lnTo>
                  <a:lnTo>
                    <a:pt x="1976" y="267"/>
                  </a:lnTo>
                  <a:lnTo>
                    <a:pt x="1976" y="268"/>
                  </a:lnTo>
                  <a:lnTo>
                    <a:pt x="1977" y="268"/>
                  </a:lnTo>
                  <a:lnTo>
                    <a:pt x="1979" y="270"/>
                  </a:lnTo>
                  <a:lnTo>
                    <a:pt x="1977" y="270"/>
                  </a:lnTo>
                  <a:lnTo>
                    <a:pt x="1977" y="272"/>
                  </a:lnTo>
                  <a:lnTo>
                    <a:pt x="1979" y="272"/>
                  </a:lnTo>
                  <a:lnTo>
                    <a:pt x="1981" y="273"/>
                  </a:lnTo>
                  <a:lnTo>
                    <a:pt x="1979" y="275"/>
                  </a:lnTo>
                  <a:lnTo>
                    <a:pt x="1979" y="277"/>
                  </a:lnTo>
                  <a:lnTo>
                    <a:pt x="1977" y="278"/>
                  </a:lnTo>
                  <a:lnTo>
                    <a:pt x="1977" y="280"/>
                  </a:lnTo>
                  <a:lnTo>
                    <a:pt x="1979" y="280"/>
                  </a:lnTo>
                  <a:lnTo>
                    <a:pt x="1981" y="280"/>
                  </a:lnTo>
                  <a:lnTo>
                    <a:pt x="1982" y="283"/>
                  </a:lnTo>
                  <a:lnTo>
                    <a:pt x="1984" y="283"/>
                  </a:lnTo>
                  <a:lnTo>
                    <a:pt x="1984" y="285"/>
                  </a:lnTo>
                  <a:lnTo>
                    <a:pt x="1984" y="286"/>
                  </a:lnTo>
                  <a:lnTo>
                    <a:pt x="1985" y="286"/>
                  </a:lnTo>
                  <a:lnTo>
                    <a:pt x="1987" y="286"/>
                  </a:lnTo>
                  <a:lnTo>
                    <a:pt x="1989" y="288"/>
                  </a:lnTo>
                  <a:lnTo>
                    <a:pt x="1987" y="290"/>
                  </a:lnTo>
                  <a:lnTo>
                    <a:pt x="1989" y="291"/>
                  </a:lnTo>
                  <a:lnTo>
                    <a:pt x="1990" y="291"/>
                  </a:lnTo>
                  <a:lnTo>
                    <a:pt x="1992" y="291"/>
                  </a:lnTo>
                  <a:lnTo>
                    <a:pt x="1994" y="291"/>
                  </a:lnTo>
                  <a:lnTo>
                    <a:pt x="1994" y="293"/>
                  </a:lnTo>
                  <a:lnTo>
                    <a:pt x="1994" y="294"/>
                  </a:lnTo>
                  <a:lnTo>
                    <a:pt x="1995" y="294"/>
                  </a:lnTo>
                  <a:lnTo>
                    <a:pt x="1997" y="291"/>
                  </a:lnTo>
                  <a:lnTo>
                    <a:pt x="1998" y="293"/>
                  </a:lnTo>
                  <a:lnTo>
                    <a:pt x="1998" y="291"/>
                  </a:lnTo>
                  <a:lnTo>
                    <a:pt x="2000" y="291"/>
                  </a:lnTo>
                  <a:lnTo>
                    <a:pt x="2000" y="293"/>
                  </a:lnTo>
                  <a:lnTo>
                    <a:pt x="2000" y="294"/>
                  </a:lnTo>
                  <a:lnTo>
                    <a:pt x="2002" y="294"/>
                  </a:lnTo>
                  <a:lnTo>
                    <a:pt x="2003" y="296"/>
                  </a:lnTo>
                  <a:lnTo>
                    <a:pt x="2003" y="298"/>
                  </a:lnTo>
                  <a:lnTo>
                    <a:pt x="2002" y="298"/>
                  </a:lnTo>
                  <a:lnTo>
                    <a:pt x="2003" y="299"/>
                  </a:lnTo>
                  <a:lnTo>
                    <a:pt x="2002" y="301"/>
                  </a:lnTo>
                  <a:lnTo>
                    <a:pt x="2003" y="303"/>
                  </a:lnTo>
                  <a:lnTo>
                    <a:pt x="2003" y="306"/>
                  </a:lnTo>
                  <a:lnTo>
                    <a:pt x="2003" y="307"/>
                  </a:lnTo>
                  <a:lnTo>
                    <a:pt x="2003" y="309"/>
                  </a:lnTo>
                  <a:lnTo>
                    <a:pt x="2002" y="311"/>
                  </a:lnTo>
                  <a:lnTo>
                    <a:pt x="2002" y="312"/>
                  </a:lnTo>
                  <a:lnTo>
                    <a:pt x="2003" y="312"/>
                  </a:lnTo>
                  <a:lnTo>
                    <a:pt x="2005" y="312"/>
                  </a:lnTo>
                  <a:lnTo>
                    <a:pt x="2005" y="314"/>
                  </a:lnTo>
                  <a:lnTo>
                    <a:pt x="2007" y="316"/>
                  </a:lnTo>
                  <a:lnTo>
                    <a:pt x="2008" y="316"/>
                  </a:lnTo>
                  <a:lnTo>
                    <a:pt x="2008" y="317"/>
                  </a:lnTo>
                  <a:lnTo>
                    <a:pt x="2008" y="319"/>
                  </a:lnTo>
                  <a:lnTo>
                    <a:pt x="2008" y="320"/>
                  </a:lnTo>
                  <a:lnTo>
                    <a:pt x="2010" y="320"/>
                  </a:lnTo>
                  <a:lnTo>
                    <a:pt x="2011" y="320"/>
                  </a:lnTo>
                  <a:lnTo>
                    <a:pt x="2013" y="320"/>
                  </a:lnTo>
                  <a:lnTo>
                    <a:pt x="2015" y="320"/>
                  </a:lnTo>
                  <a:lnTo>
                    <a:pt x="2015" y="322"/>
                  </a:lnTo>
                  <a:lnTo>
                    <a:pt x="2015" y="324"/>
                  </a:lnTo>
                  <a:lnTo>
                    <a:pt x="2016" y="324"/>
                  </a:lnTo>
                  <a:lnTo>
                    <a:pt x="2016" y="325"/>
                  </a:lnTo>
                  <a:lnTo>
                    <a:pt x="2016" y="329"/>
                  </a:lnTo>
                  <a:lnTo>
                    <a:pt x="2018" y="330"/>
                  </a:lnTo>
                  <a:lnTo>
                    <a:pt x="2018" y="333"/>
                  </a:lnTo>
                  <a:lnTo>
                    <a:pt x="2020" y="333"/>
                  </a:lnTo>
                  <a:lnTo>
                    <a:pt x="2020" y="335"/>
                  </a:lnTo>
                  <a:lnTo>
                    <a:pt x="2021" y="335"/>
                  </a:lnTo>
                  <a:lnTo>
                    <a:pt x="2023" y="340"/>
                  </a:lnTo>
                  <a:lnTo>
                    <a:pt x="2023" y="342"/>
                  </a:lnTo>
                  <a:lnTo>
                    <a:pt x="2023" y="345"/>
                  </a:lnTo>
                  <a:lnTo>
                    <a:pt x="2024" y="345"/>
                  </a:lnTo>
                  <a:lnTo>
                    <a:pt x="2024" y="346"/>
                  </a:lnTo>
                  <a:lnTo>
                    <a:pt x="2026" y="348"/>
                  </a:lnTo>
                  <a:lnTo>
                    <a:pt x="2026" y="350"/>
                  </a:lnTo>
                  <a:lnTo>
                    <a:pt x="2026" y="351"/>
                  </a:lnTo>
                  <a:lnTo>
                    <a:pt x="2026" y="353"/>
                  </a:lnTo>
                  <a:lnTo>
                    <a:pt x="2028" y="353"/>
                  </a:lnTo>
                  <a:lnTo>
                    <a:pt x="2029" y="355"/>
                  </a:lnTo>
                  <a:lnTo>
                    <a:pt x="2031" y="353"/>
                  </a:lnTo>
                  <a:lnTo>
                    <a:pt x="2033" y="351"/>
                  </a:lnTo>
                  <a:lnTo>
                    <a:pt x="2034" y="353"/>
                  </a:lnTo>
                  <a:lnTo>
                    <a:pt x="2036" y="353"/>
                  </a:lnTo>
                  <a:lnTo>
                    <a:pt x="2036" y="351"/>
                  </a:lnTo>
                  <a:lnTo>
                    <a:pt x="2037" y="350"/>
                  </a:lnTo>
                  <a:lnTo>
                    <a:pt x="2041" y="346"/>
                  </a:lnTo>
                  <a:lnTo>
                    <a:pt x="2041" y="345"/>
                  </a:lnTo>
                  <a:lnTo>
                    <a:pt x="2042" y="346"/>
                  </a:lnTo>
                  <a:lnTo>
                    <a:pt x="2042" y="348"/>
                  </a:lnTo>
                  <a:lnTo>
                    <a:pt x="2044" y="348"/>
                  </a:lnTo>
                  <a:lnTo>
                    <a:pt x="2046" y="346"/>
                  </a:lnTo>
                  <a:lnTo>
                    <a:pt x="2047" y="346"/>
                  </a:lnTo>
                  <a:lnTo>
                    <a:pt x="2047" y="348"/>
                  </a:lnTo>
                  <a:lnTo>
                    <a:pt x="2049" y="348"/>
                  </a:lnTo>
                  <a:lnTo>
                    <a:pt x="2049" y="350"/>
                  </a:lnTo>
                  <a:lnTo>
                    <a:pt x="2049" y="351"/>
                  </a:lnTo>
                  <a:lnTo>
                    <a:pt x="2051" y="353"/>
                  </a:lnTo>
                  <a:lnTo>
                    <a:pt x="2049" y="355"/>
                  </a:lnTo>
                  <a:lnTo>
                    <a:pt x="2047" y="355"/>
                  </a:lnTo>
                  <a:lnTo>
                    <a:pt x="2047" y="356"/>
                  </a:lnTo>
                  <a:lnTo>
                    <a:pt x="2047" y="358"/>
                  </a:lnTo>
                  <a:lnTo>
                    <a:pt x="2046" y="359"/>
                  </a:lnTo>
                  <a:lnTo>
                    <a:pt x="2046" y="361"/>
                  </a:lnTo>
                  <a:lnTo>
                    <a:pt x="2044" y="363"/>
                  </a:lnTo>
                  <a:lnTo>
                    <a:pt x="2044" y="364"/>
                  </a:lnTo>
                  <a:lnTo>
                    <a:pt x="2044" y="366"/>
                  </a:lnTo>
                  <a:lnTo>
                    <a:pt x="2044" y="368"/>
                  </a:lnTo>
                  <a:lnTo>
                    <a:pt x="2046" y="368"/>
                  </a:lnTo>
                  <a:lnTo>
                    <a:pt x="2046" y="369"/>
                  </a:lnTo>
                  <a:lnTo>
                    <a:pt x="2046" y="371"/>
                  </a:lnTo>
                  <a:lnTo>
                    <a:pt x="2046" y="372"/>
                  </a:lnTo>
                  <a:lnTo>
                    <a:pt x="2047" y="376"/>
                  </a:lnTo>
                  <a:lnTo>
                    <a:pt x="2047" y="377"/>
                  </a:lnTo>
                  <a:lnTo>
                    <a:pt x="2049" y="379"/>
                  </a:lnTo>
                  <a:lnTo>
                    <a:pt x="2047" y="381"/>
                  </a:lnTo>
                  <a:lnTo>
                    <a:pt x="2047" y="382"/>
                  </a:lnTo>
                  <a:lnTo>
                    <a:pt x="2047" y="384"/>
                  </a:lnTo>
                  <a:lnTo>
                    <a:pt x="2046" y="384"/>
                  </a:lnTo>
                  <a:lnTo>
                    <a:pt x="2047" y="386"/>
                  </a:lnTo>
                  <a:lnTo>
                    <a:pt x="2047" y="387"/>
                  </a:lnTo>
                  <a:lnTo>
                    <a:pt x="2047" y="389"/>
                  </a:lnTo>
                  <a:lnTo>
                    <a:pt x="2047" y="390"/>
                  </a:lnTo>
                  <a:lnTo>
                    <a:pt x="2046" y="390"/>
                  </a:lnTo>
                  <a:lnTo>
                    <a:pt x="2046" y="392"/>
                  </a:lnTo>
                  <a:lnTo>
                    <a:pt x="2046" y="394"/>
                  </a:lnTo>
                  <a:lnTo>
                    <a:pt x="2047" y="394"/>
                  </a:lnTo>
                  <a:lnTo>
                    <a:pt x="2046" y="394"/>
                  </a:lnTo>
                  <a:lnTo>
                    <a:pt x="2046" y="395"/>
                  </a:lnTo>
                  <a:lnTo>
                    <a:pt x="2046" y="397"/>
                  </a:lnTo>
                  <a:lnTo>
                    <a:pt x="2046" y="399"/>
                  </a:lnTo>
                  <a:lnTo>
                    <a:pt x="2046" y="400"/>
                  </a:lnTo>
                  <a:lnTo>
                    <a:pt x="2044" y="402"/>
                  </a:lnTo>
                  <a:lnTo>
                    <a:pt x="2044" y="403"/>
                  </a:lnTo>
                  <a:lnTo>
                    <a:pt x="2044" y="405"/>
                  </a:lnTo>
                  <a:lnTo>
                    <a:pt x="2044" y="407"/>
                  </a:lnTo>
                  <a:lnTo>
                    <a:pt x="2044" y="408"/>
                  </a:lnTo>
                  <a:lnTo>
                    <a:pt x="2044" y="412"/>
                  </a:lnTo>
                  <a:lnTo>
                    <a:pt x="2044" y="413"/>
                  </a:lnTo>
                  <a:lnTo>
                    <a:pt x="2046" y="413"/>
                  </a:lnTo>
                  <a:lnTo>
                    <a:pt x="2046" y="415"/>
                  </a:lnTo>
                  <a:lnTo>
                    <a:pt x="2046" y="416"/>
                  </a:lnTo>
                  <a:lnTo>
                    <a:pt x="2046" y="420"/>
                  </a:lnTo>
                  <a:lnTo>
                    <a:pt x="2047" y="421"/>
                  </a:lnTo>
                  <a:lnTo>
                    <a:pt x="2046" y="421"/>
                  </a:lnTo>
                  <a:lnTo>
                    <a:pt x="2046" y="423"/>
                  </a:lnTo>
                  <a:lnTo>
                    <a:pt x="2047" y="423"/>
                  </a:lnTo>
                  <a:lnTo>
                    <a:pt x="2049" y="423"/>
                  </a:lnTo>
                  <a:lnTo>
                    <a:pt x="2051" y="423"/>
                  </a:lnTo>
                  <a:lnTo>
                    <a:pt x="2052" y="423"/>
                  </a:lnTo>
                  <a:lnTo>
                    <a:pt x="2052" y="421"/>
                  </a:lnTo>
                  <a:lnTo>
                    <a:pt x="2054" y="421"/>
                  </a:lnTo>
                  <a:lnTo>
                    <a:pt x="2055" y="421"/>
                  </a:lnTo>
                  <a:lnTo>
                    <a:pt x="2055" y="420"/>
                  </a:lnTo>
                  <a:lnTo>
                    <a:pt x="2057" y="420"/>
                  </a:lnTo>
                  <a:lnTo>
                    <a:pt x="2059" y="420"/>
                  </a:lnTo>
                  <a:lnTo>
                    <a:pt x="2060" y="420"/>
                  </a:lnTo>
                  <a:lnTo>
                    <a:pt x="2062" y="418"/>
                  </a:lnTo>
                  <a:lnTo>
                    <a:pt x="2064" y="416"/>
                  </a:lnTo>
                  <a:lnTo>
                    <a:pt x="2065" y="416"/>
                  </a:lnTo>
                  <a:lnTo>
                    <a:pt x="2067" y="418"/>
                  </a:lnTo>
                  <a:lnTo>
                    <a:pt x="2067" y="420"/>
                  </a:lnTo>
                  <a:lnTo>
                    <a:pt x="2067" y="421"/>
                  </a:lnTo>
                  <a:lnTo>
                    <a:pt x="2067" y="423"/>
                  </a:lnTo>
                  <a:lnTo>
                    <a:pt x="2068" y="423"/>
                  </a:lnTo>
                  <a:lnTo>
                    <a:pt x="2070" y="423"/>
                  </a:lnTo>
                  <a:lnTo>
                    <a:pt x="2072" y="425"/>
                  </a:lnTo>
                  <a:lnTo>
                    <a:pt x="2073" y="423"/>
                  </a:lnTo>
                  <a:lnTo>
                    <a:pt x="2075" y="425"/>
                  </a:lnTo>
                  <a:lnTo>
                    <a:pt x="2075" y="426"/>
                  </a:lnTo>
                  <a:lnTo>
                    <a:pt x="2077" y="426"/>
                  </a:lnTo>
                  <a:lnTo>
                    <a:pt x="2078" y="426"/>
                  </a:lnTo>
                  <a:lnTo>
                    <a:pt x="2078" y="425"/>
                  </a:lnTo>
                  <a:lnTo>
                    <a:pt x="2080" y="425"/>
                  </a:lnTo>
                  <a:lnTo>
                    <a:pt x="2081" y="423"/>
                  </a:lnTo>
                  <a:lnTo>
                    <a:pt x="2083" y="421"/>
                  </a:lnTo>
                  <a:lnTo>
                    <a:pt x="2085" y="421"/>
                  </a:lnTo>
                  <a:lnTo>
                    <a:pt x="2086" y="420"/>
                  </a:lnTo>
                  <a:lnTo>
                    <a:pt x="2088" y="421"/>
                  </a:lnTo>
                  <a:lnTo>
                    <a:pt x="2090" y="421"/>
                  </a:lnTo>
                  <a:lnTo>
                    <a:pt x="2091" y="421"/>
                  </a:lnTo>
                  <a:lnTo>
                    <a:pt x="2093" y="423"/>
                  </a:lnTo>
                  <a:lnTo>
                    <a:pt x="2094" y="423"/>
                  </a:lnTo>
                  <a:lnTo>
                    <a:pt x="2096" y="425"/>
                  </a:lnTo>
                  <a:lnTo>
                    <a:pt x="2096" y="426"/>
                  </a:lnTo>
                  <a:lnTo>
                    <a:pt x="2098" y="426"/>
                  </a:lnTo>
                  <a:lnTo>
                    <a:pt x="2098" y="428"/>
                  </a:lnTo>
                  <a:lnTo>
                    <a:pt x="2096" y="429"/>
                  </a:lnTo>
                  <a:lnTo>
                    <a:pt x="2094" y="434"/>
                  </a:lnTo>
                  <a:lnTo>
                    <a:pt x="2094" y="438"/>
                  </a:lnTo>
                  <a:lnTo>
                    <a:pt x="2096" y="438"/>
                  </a:lnTo>
                  <a:lnTo>
                    <a:pt x="2098" y="439"/>
                  </a:lnTo>
                  <a:lnTo>
                    <a:pt x="2101" y="441"/>
                  </a:lnTo>
                  <a:lnTo>
                    <a:pt x="2103" y="441"/>
                  </a:lnTo>
                  <a:lnTo>
                    <a:pt x="2103" y="442"/>
                  </a:lnTo>
                  <a:lnTo>
                    <a:pt x="2104" y="446"/>
                  </a:lnTo>
                  <a:lnTo>
                    <a:pt x="2103" y="447"/>
                  </a:lnTo>
                  <a:lnTo>
                    <a:pt x="2104" y="447"/>
                  </a:lnTo>
                  <a:lnTo>
                    <a:pt x="2104" y="449"/>
                  </a:lnTo>
                  <a:lnTo>
                    <a:pt x="2104" y="452"/>
                  </a:lnTo>
                  <a:lnTo>
                    <a:pt x="2106" y="452"/>
                  </a:lnTo>
                  <a:lnTo>
                    <a:pt x="2104" y="454"/>
                  </a:lnTo>
                  <a:lnTo>
                    <a:pt x="2106" y="454"/>
                  </a:lnTo>
                  <a:lnTo>
                    <a:pt x="2106" y="455"/>
                  </a:lnTo>
                  <a:lnTo>
                    <a:pt x="2107" y="455"/>
                  </a:lnTo>
                  <a:lnTo>
                    <a:pt x="2107" y="457"/>
                  </a:lnTo>
                  <a:lnTo>
                    <a:pt x="2107" y="459"/>
                  </a:lnTo>
                  <a:lnTo>
                    <a:pt x="2106" y="459"/>
                  </a:lnTo>
                  <a:lnTo>
                    <a:pt x="2107" y="462"/>
                  </a:lnTo>
                  <a:lnTo>
                    <a:pt x="2107" y="464"/>
                  </a:lnTo>
                  <a:lnTo>
                    <a:pt x="2109" y="464"/>
                  </a:lnTo>
                  <a:lnTo>
                    <a:pt x="2111" y="464"/>
                  </a:lnTo>
                  <a:lnTo>
                    <a:pt x="2112" y="462"/>
                  </a:lnTo>
                  <a:lnTo>
                    <a:pt x="2114" y="462"/>
                  </a:lnTo>
                  <a:lnTo>
                    <a:pt x="2114" y="464"/>
                  </a:lnTo>
                  <a:lnTo>
                    <a:pt x="2116" y="464"/>
                  </a:lnTo>
                  <a:lnTo>
                    <a:pt x="2117" y="465"/>
                  </a:lnTo>
                  <a:lnTo>
                    <a:pt x="2119" y="467"/>
                  </a:lnTo>
                  <a:lnTo>
                    <a:pt x="2122" y="465"/>
                  </a:lnTo>
                  <a:lnTo>
                    <a:pt x="2124" y="465"/>
                  </a:lnTo>
                  <a:lnTo>
                    <a:pt x="2125" y="465"/>
                  </a:lnTo>
                  <a:lnTo>
                    <a:pt x="2127" y="465"/>
                  </a:lnTo>
                  <a:lnTo>
                    <a:pt x="2127" y="467"/>
                  </a:lnTo>
                  <a:lnTo>
                    <a:pt x="2129" y="467"/>
                  </a:lnTo>
                  <a:lnTo>
                    <a:pt x="2129" y="468"/>
                  </a:lnTo>
                  <a:lnTo>
                    <a:pt x="2130" y="468"/>
                  </a:lnTo>
                  <a:lnTo>
                    <a:pt x="2132" y="468"/>
                  </a:lnTo>
                  <a:lnTo>
                    <a:pt x="2133" y="468"/>
                  </a:lnTo>
                  <a:lnTo>
                    <a:pt x="2135" y="470"/>
                  </a:lnTo>
                  <a:lnTo>
                    <a:pt x="2137" y="470"/>
                  </a:lnTo>
                  <a:lnTo>
                    <a:pt x="2140" y="472"/>
                  </a:lnTo>
                  <a:lnTo>
                    <a:pt x="2140" y="473"/>
                  </a:lnTo>
                  <a:lnTo>
                    <a:pt x="2140" y="475"/>
                  </a:lnTo>
                  <a:lnTo>
                    <a:pt x="2140" y="478"/>
                  </a:lnTo>
                  <a:lnTo>
                    <a:pt x="2138" y="480"/>
                  </a:lnTo>
                  <a:lnTo>
                    <a:pt x="2138" y="481"/>
                  </a:lnTo>
                  <a:lnTo>
                    <a:pt x="2140" y="485"/>
                  </a:lnTo>
                  <a:lnTo>
                    <a:pt x="2140" y="486"/>
                  </a:lnTo>
                  <a:lnTo>
                    <a:pt x="2142" y="488"/>
                  </a:lnTo>
                  <a:lnTo>
                    <a:pt x="2143" y="490"/>
                  </a:lnTo>
                  <a:lnTo>
                    <a:pt x="2145" y="493"/>
                  </a:lnTo>
                  <a:lnTo>
                    <a:pt x="2143" y="491"/>
                  </a:lnTo>
                  <a:lnTo>
                    <a:pt x="2142" y="490"/>
                  </a:lnTo>
                  <a:lnTo>
                    <a:pt x="2142" y="491"/>
                  </a:lnTo>
                  <a:lnTo>
                    <a:pt x="2140" y="491"/>
                  </a:lnTo>
                  <a:lnTo>
                    <a:pt x="2137" y="491"/>
                  </a:lnTo>
                  <a:lnTo>
                    <a:pt x="2137" y="493"/>
                  </a:lnTo>
                  <a:lnTo>
                    <a:pt x="2135" y="493"/>
                  </a:lnTo>
                  <a:lnTo>
                    <a:pt x="2133" y="493"/>
                  </a:lnTo>
                  <a:lnTo>
                    <a:pt x="2133" y="494"/>
                  </a:lnTo>
                  <a:lnTo>
                    <a:pt x="2132" y="494"/>
                  </a:lnTo>
                  <a:lnTo>
                    <a:pt x="2130" y="494"/>
                  </a:lnTo>
                  <a:lnTo>
                    <a:pt x="2129" y="494"/>
                  </a:lnTo>
                  <a:lnTo>
                    <a:pt x="2129" y="493"/>
                  </a:lnTo>
                  <a:lnTo>
                    <a:pt x="2129" y="494"/>
                  </a:lnTo>
                  <a:lnTo>
                    <a:pt x="2127" y="494"/>
                  </a:lnTo>
                  <a:lnTo>
                    <a:pt x="2127" y="496"/>
                  </a:lnTo>
                  <a:lnTo>
                    <a:pt x="2125" y="496"/>
                  </a:lnTo>
                  <a:lnTo>
                    <a:pt x="2125" y="498"/>
                  </a:lnTo>
                  <a:lnTo>
                    <a:pt x="2125" y="499"/>
                  </a:lnTo>
                  <a:lnTo>
                    <a:pt x="2124" y="499"/>
                  </a:lnTo>
                  <a:lnTo>
                    <a:pt x="2124" y="501"/>
                  </a:lnTo>
                  <a:lnTo>
                    <a:pt x="2122" y="501"/>
                  </a:lnTo>
                  <a:lnTo>
                    <a:pt x="2122" y="503"/>
                  </a:lnTo>
                  <a:lnTo>
                    <a:pt x="2122" y="504"/>
                  </a:lnTo>
                  <a:lnTo>
                    <a:pt x="2122" y="506"/>
                  </a:lnTo>
                  <a:lnTo>
                    <a:pt x="2122" y="507"/>
                  </a:lnTo>
                  <a:lnTo>
                    <a:pt x="2120" y="507"/>
                  </a:lnTo>
                  <a:lnTo>
                    <a:pt x="2120" y="509"/>
                  </a:lnTo>
                  <a:lnTo>
                    <a:pt x="2119" y="511"/>
                  </a:lnTo>
                  <a:lnTo>
                    <a:pt x="2120" y="511"/>
                  </a:lnTo>
                  <a:lnTo>
                    <a:pt x="2120" y="512"/>
                  </a:lnTo>
                  <a:lnTo>
                    <a:pt x="2119" y="514"/>
                  </a:lnTo>
                  <a:lnTo>
                    <a:pt x="2119" y="516"/>
                  </a:lnTo>
                  <a:lnTo>
                    <a:pt x="2117" y="516"/>
                  </a:lnTo>
                  <a:lnTo>
                    <a:pt x="2117" y="517"/>
                  </a:lnTo>
                  <a:lnTo>
                    <a:pt x="2117" y="519"/>
                  </a:lnTo>
                  <a:lnTo>
                    <a:pt x="2116" y="519"/>
                  </a:lnTo>
                  <a:lnTo>
                    <a:pt x="2114" y="520"/>
                  </a:lnTo>
                  <a:lnTo>
                    <a:pt x="2112" y="522"/>
                  </a:lnTo>
                  <a:lnTo>
                    <a:pt x="2112" y="524"/>
                  </a:lnTo>
                  <a:lnTo>
                    <a:pt x="2111" y="524"/>
                  </a:lnTo>
                  <a:lnTo>
                    <a:pt x="2111" y="525"/>
                  </a:lnTo>
                  <a:lnTo>
                    <a:pt x="2111" y="524"/>
                  </a:lnTo>
                  <a:lnTo>
                    <a:pt x="2109" y="524"/>
                  </a:lnTo>
                  <a:lnTo>
                    <a:pt x="2107" y="525"/>
                  </a:lnTo>
                  <a:lnTo>
                    <a:pt x="2107" y="527"/>
                  </a:lnTo>
                  <a:lnTo>
                    <a:pt x="2106" y="529"/>
                  </a:lnTo>
                  <a:lnTo>
                    <a:pt x="2107" y="529"/>
                  </a:lnTo>
                  <a:lnTo>
                    <a:pt x="2109" y="529"/>
                  </a:lnTo>
                  <a:lnTo>
                    <a:pt x="2109" y="530"/>
                  </a:lnTo>
                  <a:lnTo>
                    <a:pt x="2107" y="532"/>
                  </a:lnTo>
                  <a:lnTo>
                    <a:pt x="2107" y="534"/>
                  </a:lnTo>
                  <a:lnTo>
                    <a:pt x="2107" y="535"/>
                  </a:lnTo>
                  <a:lnTo>
                    <a:pt x="2107" y="537"/>
                  </a:lnTo>
                  <a:lnTo>
                    <a:pt x="2106" y="537"/>
                  </a:lnTo>
                  <a:lnTo>
                    <a:pt x="2106" y="538"/>
                  </a:lnTo>
                  <a:lnTo>
                    <a:pt x="2106" y="540"/>
                  </a:lnTo>
                  <a:lnTo>
                    <a:pt x="2104" y="540"/>
                  </a:lnTo>
                  <a:lnTo>
                    <a:pt x="2103" y="540"/>
                  </a:lnTo>
                  <a:lnTo>
                    <a:pt x="2101" y="540"/>
                  </a:lnTo>
                  <a:lnTo>
                    <a:pt x="2101" y="542"/>
                  </a:lnTo>
                  <a:lnTo>
                    <a:pt x="2099" y="540"/>
                  </a:lnTo>
                  <a:lnTo>
                    <a:pt x="2094" y="535"/>
                  </a:lnTo>
                  <a:lnTo>
                    <a:pt x="2093" y="534"/>
                  </a:lnTo>
                  <a:lnTo>
                    <a:pt x="2090" y="532"/>
                  </a:lnTo>
                  <a:lnTo>
                    <a:pt x="2088" y="530"/>
                  </a:lnTo>
                  <a:lnTo>
                    <a:pt x="2086" y="529"/>
                  </a:lnTo>
                  <a:lnTo>
                    <a:pt x="2086" y="525"/>
                  </a:lnTo>
                  <a:lnTo>
                    <a:pt x="2086" y="524"/>
                  </a:lnTo>
                  <a:lnTo>
                    <a:pt x="2088" y="522"/>
                  </a:lnTo>
                  <a:lnTo>
                    <a:pt x="2086" y="519"/>
                  </a:lnTo>
                  <a:lnTo>
                    <a:pt x="2088" y="519"/>
                  </a:lnTo>
                  <a:lnTo>
                    <a:pt x="2090" y="519"/>
                  </a:lnTo>
                  <a:lnTo>
                    <a:pt x="2090" y="517"/>
                  </a:lnTo>
                  <a:lnTo>
                    <a:pt x="2091" y="517"/>
                  </a:lnTo>
                  <a:lnTo>
                    <a:pt x="2091" y="516"/>
                  </a:lnTo>
                  <a:lnTo>
                    <a:pt x="2091" y="514"/>
                  </a:lnTo>
                  <a:lnTo>
                    <a:pt x="2091" y="512"/>
                  </a:lnTo>
                  <a:lnTo>
                    <a:pt x="2090" y="512"/>
                  </a:lnTo>
                  <a:lnTo>
                    <a:pt x="2090" y="511"/>
                  </a:lnTo>
                  <a:lnTo>
                    <a:pt x="2088" y="511"/>
                  </a:lnTo>
                  <a:lnTo>
                    <a:pt x="2088" y="509"/>
                  </a:lnTo>
                  <a:lnTo>
                    <a:pt x="2088" y="507"/>
                  </a:lnTo>
                  <a:lnTo>
                    <a:pt x="2088" y="506"/>
                  </a:lnTo>
                  <a:lnTo>
                    <a:pt x="2086" y="506"/>
                  </a:lnTo>
                  <a:lnTo>
                    <a:pt x="2085" y="506"/>
                  </a:lnTo>
                  <a:lnTo>
                    <a:pt x="2081" y="503"/>
                  </a:lnTo>
                  <a:lnTo>
                    <a:pt x="2080" y="503"/>
                  </a:lnTo>
                  <a:lnTo>
                    <a:pt x="2080" y="504"/>
                  </a:lnTo>
                  <a:lnTo>
                    <a:pt x="2078" y="503"/>
                  </a:lnTo>
                  <a:lnTo>
                    <a:pt x="2075" y="503"/>
                  </a:lnTo>
                  <a:lnTo>
                    <a:pt x="2073" y="503"/>
                  </a:lnTo>
                  <a:lnTo>
                    <a:pt x="2072" y="504"/>
                  </a:lnTo>
                  <a:lnTo>
                    <a:pt x="2070" y="503"/>
                  </a:lnTo>
                  <a:lnTo>
                    <a:pt x="2068" y="503"/>
                  </a:lnTo>
                  <a:lnTo>
                    <a:pt x="2067" y="503"/>
                  </a:lnTo>
                  <a:lnTo>
                    <a:pt x="2067" y="504"/>
                  </a:lnTo>
                  <a:lnTo>
                    <a:pt x="2065" y="504"/>
                  </a:lnTo>
                  <a:lnTo>
                    <a:pt x="2064" y="506"/>
                  </a:lnTo>
                  <a:lnTo>
                    <a:pt x="2062" y="506"/>
                  </a:lnTo>
                  <a:lnTo>
                    <a:pt x="2060" y="506"/>
                  </a:lnTo>
                  <a:lnTo>
                    <a:pt x="2059" y="507"/>
                  </a:lnTo>
                  <a:lnTo>
                    <a:pt x="2059" y="506"/>
                  </a:lnTo>
                  <a:lnTo>
                    <a:pt x="2059" y="507"/>
                  </a:lnTo>
                  <a:lnTo>
                    <a:pt x="2059" y="506"/>
                  </a:lnTo>
                  <a:lnTo>
                    <a:pt x="2059" y="507"/>
                  </a:lnTo>
                  <a:lnTo>
                    <a:pt x="2057" y="507"/>
                  </a:lnTo>
                  <a:lnTo>
                    <a:pt x="2057" y="511"/>
                  </a:lnTo>
                  <a:lnTo>
                    <a:pt x="2055" y="512"/>
                  </a:lnTo>
                  <a:lnTo>
                    <a:pt x="2054" y="512"/>
                  </a:lnTo>
                  <a:lnTo>
                    <a:pt x="2052" y="516"/>
                  </a:lnTo>
                  <a:lnTo>
                    <a:pt x="2054" y="517"/>
                  </a:lnTo>
                  <a:lnTo>
                    <a:pt x="2052" y="519"/>
                  </a:lnTo>
                  <a:lnTo>
                    <a:pt x="2054" y="520"/>
                  </a:lnTo>
                  <a:lnTo>
                    <a:pt x="2052" y="525"/>
                  </a:lnTo>
                  <a:lnTo>
                    <a:pt x="2052" y="527"/>
                  </a:lnTo>
                  <a:lnTo>
                    <a:pt x="2051" y="527"/>
                  </a:lnTo>
                  <a:lnTo>
                    <a:pt x="2047" y="527"/>
                  </a:lnTo>
                  <a:lnTo>
                    <a:pt x="2047" y="529"/>
                  </a:lnTo>
                  <a:lnTo>
                    <a:pt x="2046" y="530"/>
                  </a:lnTo>
                  <a:lnTo>
                    <a:pt x="2046" y="532"/>
                  </a:lnTo>
                  <a:lnTo>
                    <a:pt x="2046" y="534"/>
                  </a:lnTo>
                  <a:lnTo>
                    <a:pt x="2044" y="534"/>
                  </a:lnTo>
                  <a:lnTo>
                    <a:pt x="2042" y="532"/>
                  </a:lnTo>
                  <a:lnTo>
                    <a:pt x="2042" y="534"/>
                  </a:lnTo>
                  <a:lnTo>
                    <a:pt x="2041" y="532"/>
                  </a:lnTo>
                  <a:lnTo>
                    <a:pt x="2039" y="532"/>
                  </a:lnTo>
                  <a:lnTo>
                    <a:pt x="2037" y="532"/>
                  </a:lnTo>
                  <a:lnTo>
                    <a:pt x="2036" y="532"/>
                  </a:lnTo>
                  <a:lnTo>
                    <a:pt x="2036" y="534"/>
                  </a:lnTo>
                  <a:lnTo>
                    <a:pt x="2034" y="534"/>
                  </a:lnTo>
                  <a:lnTo>
                    <a:pt x="2033" y="534"/>
                  </a:lnTo>
                  <a:lnTo>
                    <a:pt x="2031" y="534"/>
                  </a:lnTo>
                  <a:lnTo>
                    <a:pt x="2029" y="535"/>
                  </a:lnTo>
                  <a:lnTo>
                    <a:pt x="2028" y="535"/>
                  </a:lnTo>
                  <a:lnTo>
                    <a:pt x="2028" y="537"/>
                  </a:lnTo>
                  <a:lnTo>
                    <a:pt x="2026" y="538"/>
                  </a:lnTo>
                  <a:lnTo>
                    <a:pt x="2024" y="538"/>
                  </a:lnTo>
                  <a:lnTo>
                    <a:pt x="2023" y="540"/>
                  </a:lnTo>
                  <a:lnTo>
                    <a:pt x="2021" y="540"/>
                  </a:lnTo>
                  <a:lnTo>
                    <a:pt x="2020" y="540"/>
                  </a:lnTo>
                  <a:lnTo>
                    <a:pt x="2018" y="540"/>
                  </a:lnTo>
                  <a:lnTo>
                    <a:pt x="2015" y="538"/>
                  </a:lnTo>
                  <a:lnTo>
                    <a:pt x="2010" y="542"/>
                  </a:lnTo>
                  <a:lnTo>
                    <a:pt x="2008" y="543"/>
                  </a:lnTo>
                  <a:lnTo>
                    <a:pt x="2008" y="545"/>
                  </a:lnTo>
                  <a:lnTo>
                    <a:pt x="2007" y="543"/>
                  </a:lnTo>
                  <a:lnTo>
                    <a:pt x="2005" y="543"/>
                  </a:lnTo>
                  <a:lnTo>
                    <a:pt x="2002" y="543"/>
                  </a:lnTo>
                  <a:lnTo>
                    <a:pt x="2000" y="543"/>
                  </a:lnTo>
                  <a:lnTo>
                    <a:pt x="1998" y="543"/>
                  </a:lnTo>
                  <a:lnTo>
                    <a:pt x="1997" y="543"/>
                  </a:lnTo>
                  <a:lnTo>
                    <a:pt x="1995" y="542"/>
                  </a:lnTo>
                  <a:lnTo>
                    <a:pt x="1995" y="543"/>
                  </a:lnTo>
                  <a:lnTo>
                    <a:pt x="1994" y="542"/>
                  </a:lnTo>
                  <a:lnTo>
                    <a:pt x="1992" y="542"/>
                  </a:lnTo>
                  <a:lnTo>
                    <a:pt x="1990" y="542"/>
                  </a:lnTo>
                  <a:lnTo>
                    <a:pt x="1990" y="540"/>
                  </a:lnTo>
                  <a:lnTo>
                    <a:pt x="1989" y="540"/>
                  </a:lnTo>
                  <a:lnTo>
                    <a:pt x="1985" y="542"/>
                  </a:lnTo>
                  <a:lnTo>
                    <a:pt x="1985" y="543"/>
                  </a:lnTo>
                  <a:lnTo>
                    <a:pt x="1985" y="545"/>
                  </a:lnTo>
                  <a:lnTo>
                    <a:pt x="1984" y="547"/>
                  </a:lnTo>
                  <a:lnTo>
                    <a:pt x="1982" y="545"/>
                  </a:lnTo>
                  <a:lnTo>
                    <a:pt x="1981" y="547"/>
                  </a:lnTo>
                  <a:lnTo>
                    <a:pt x="1981" y="545"/>
                  </a:lnTo>
                  <a:lnTo>
                    <a:pt x="1977" y="545"/>
                  </a:lnTo>
                  <a:lnTo>
                    <a:pt x="1976" y="543"/>
                  </a:lnTo>
                  <a:lnTo>
                    <a:pt x="1974" y="543"/>
                  </a:lnTo>
                  <a:lnTo>
                    <a:pt x="1972" y="545"/>
                  </a:lnTo>
                  <a:lnTo>
                    <a:pt x="1971" y="545"/>
                  </a:lnTo>
                  <a:lnTo>
                    <a:pt x="1971" y="543"/>
                  </a:lnTo>
                  <a:lnTo>
                    <a:pt x="1969" y="545"/>
                  </a:lnTo>
                  <a:lnTo>
                    <a:pt x="1968" y="545"/>
                  </a:lnTo>
                  <a:lnTo>
                    <a:pt x="1966" y="545"/>
                  </a:lnTo>
                  <a:lnTo>
                    <a:pt x="1964" y="545"/>
                  </a:lnTo>
                  <a:lnTo>
                    <a:pt x="1963" y="545"/>
                  </a:lnTo>
                  <a:lnTo>
                    <a:pt x="1963" y="547"/>
                  </a:lnTo>
                  <a:lnTo>
                    <a:pt x="1961" y="547"/>
                  </a:lnTo>
                  <a:lnTo>
                    <a:pt x="1958" y="548"/>
                  </a:lnTo>
                  <a:lnTo>
                    <a:pt x="1956" y="550"/>
                  </a:lnTo>
                  <a:lnTo>
                    <a:pt x="1956" y="551"/>
                  </a:lnTo>
                  <a:lnTo>
                    <a:pt x="1953" y="553"/>
                  </a:lnTo>
                  <a:lnTo>
                    <a:pt x="1953" y="555"/>
                  </a:lnTo>
                  <a:lnTo>
                    <a:pt x="1953" y="556"/>
                  </a:lnTo>
                  <a:lnTo>
                    <a:pt x="1951" y="558"/>
                  </a:lnTo>
                  <a:lnTo>
                    <a:pt x="1950" y="560"/>
                  </a:lnTo>
                  <a:lnTo>
                    <a:pt x="1948" y="561"/>
                  </a:lnTo>
                  <a:lnTo>
                    <a:pt x="1946" y="561"/>
                  </a:lnTo>
                  <a:lnTo>
                    <a:pt x="1945" y="561"/>
                  </a:lnTo>
                  <a:lnTo>
                    <a:pt x="1943" y="561"/>
                  </a:lnTo>
                  <a:lnTo>
                    <a:pt x="1942" y="563"/>
                  </a:lnTo>
                  <a:lnTo>
                    <a:pt x="1938" y="561"/>
                  </a:lnTo>
                  <a:lnTo>
                    <a:pt x="1938" y="563"/>
                  </a:lnTo>
                  <a:lnTo>
                    <a:pt x="1937" y="561"/>
                  </a:lnTo>
                  <a:lnTo>
                    <a:pt x="1935" y="561"/>
                  </a:lnTo>
                  <a:lnTo>
                    <a:pt x="1935" y="563"/>
                  </a:lnTo>
                  <a:lnTo>
                    <a:pt x="1933" y="563"/>
                  </a:lnTo>
                  <a:lnTo>
                    <a:pt x="1932" y="563"/>
                  </a:lnTo>
                  <a:lnTo>
                    <a:pt x="1932" y="561"/>
                  </a:lnTo>
                  <a:lnTo>
                    <a:pt x="1932" y="560"/>
                  </a:lnTo>
                  <a:lnTo>
                    <a:pt x="1929" y="561"/>
                  </a:lnTo>
                  <a:lnTo>
                    <a:pt x="1927" y="561"/>
                  </a:lnTo>
                  <a:lnTo>
                    <a:pt x="1927" y="563"/>
                  </a:lnTo>
                  <a:lnTo>
                    <a:pt x="1927" y="564"/>
                  </a:lnTo>
                  <a:lnTo>
                    <a:pt x="1925" y="564"/>
                  </a:lnTo>
                  <a:lnTo>
                    <a:pt x="1925" y="566"/>
                  </a:lnTo>
                  <a:lnTo>
                    <a:pt x="1925" y="568"/>
                  </a:lnTo>
                  <a:lnTo>
                    <a:pt x="1924" y="569"/>
                  </a:lnTo>
                  <a:lnTo>
                    <a:pt x="1925" y="569"/>
                  </a:lnTo>
                  <a:lnTo>
                    <a:pt x="1925" y="571"/>
                  </a:lnTo>
                  <a:lnTo>
                    <a:pt x="1925" y="573"/>
                  </a:lnTo>
                  <a:lnTo>
                    <a:pt x="1924" y="571"/>
                  </a:lnTo>
                  <a:lnTo>
                    <a:pt x="1924" y="573"/>
                  </a:lnTo>
                  <a:lnTo>
                    <a:pt x="1924" y="574"/>
                  </a:lnTo>
                  <a:lnTo>
                    <a:pt x="1922" y="574"/>
                  </a:lnTo>
                  <a:lnTo>
                    <a:pt x="1920" y="574"/>
                  </a:lnTo>
                  <a:lnTo>
                    <a:pt x="1920" y="576"/>
                  </a:lnTo>
                  <a:lnTo>
                    <a:pt x="1922" y="576"/>
                  </a:lnTo>
                  <a:lnTo>
                    <a:pt x="1922" y="577"/>
                  </a:lnTo>
                  <a:lnTo>
                    <a:pt x="1922" y="576"/>
                  </a:lnTo>
                  <a:lnTo>
                    <a:pt x="1922" y="577"/>
                  </a:lnTo>
                  <a:lnTo>
                    <a:pt x="1922" y="579"/>
                  </a:lnTo>
                  <a:lnTo>
                    <a:pt x="1922" y="581"/>
                  </a:lnTo>
                  <a:lnTo>
                    <a:pt x="1920" y="581"/>
                  </a:lnTo>
                  <a:lnTo>
                    <a:pt x="1920" y="582"/>
                  </a:lnTo>
                  <a:lnTo>
                    <a:pt x="1919" y="582"/>
                  </a:lnTo>
                  <a:lnTo>
                    <a:pt x="1920" y="582"/>
                  </a:lnTo>
                  <a:lnTo>
                    <a:pt x="1919" y="584"/>
                  </a:lnTo>
                  <a:lnTo>
                    <a:pt x="1920" y="584"/>
                  </a:lnTo>
                  <a:lnTo>
                    <a:pt x="1920" y="586"/>
                  </a:lnTo>
                  <a:lnTo>
                    <a:pt x="1920" y="587"/>
                  </a:lnTo>
                  <a:lnTo>
                    <a:pt x="1919" y="587"/>
                  </a:lnTo>
                  <a:lnTo>
                    <a:pt x="1919" y="589"/>
                  </a:lnTo>
                  <a:lnTo>
                    <a:pt x="1919" y="590"/>
                  </a:lnTo>
                  <a:lnTo>
                    <a:pt x="1917" y="592"/>
                  </a:lnTo>
                  <a:lnTo>
                    <a:pt x="1919" y="592"/>
                  </a:lnTo>
                  <a:lnTo>
                    <a:pt x="1919" y="594"/>
                  </a:lnTo>
                  <a:lnTo>
                    <a:pt x="1919" y="595"/>
                  </a:lnTo>
                  <a:lnTo>
                    <a:pt x="1917" y="595"/>
                  </a:lnTo>
                  <a:lnTo>
                    <a:pt x="1919" y="597"/>
                  </a:lnTo>
                  <a:lnTo>
                    <a:pt x="1917" y="597"/>
                  </a:lnTo>
                  <a:lnTo>
                    <a:pt x="1917" y="599"/>
                  </a:lnTo>
                  <a:lnTo>
                    <a:pt x="1917" y="600"/>
                  </a:lnTo>
                  <a:lnTo>
                    <a:pt x="1917" y="602"/>
                  </a:lnTo>
                  <a:lnTo>
                    <a:pt x="1917" y="603"/>
                  </a:lnTo>
                  <a:lnTo>
                    <a:pt x="1916" y="602"/>
                  </a:lnTo>
                  <a:lnTo>
                    <a:pt x="1916" y="603"/>
                  </a:lnTo>
                  <a:lnTo>
                    <a:pt x="1914" y="603"/>
                  </a:lnTo>
                  <a:lnTo>
                    <a:pt x="1914" y="605"/>
                  </a:lnTo>
                  <a:lnTo>
                    <a:pt x="1912" y="605"/>
                  </a:lnTo>
                  <a:lnTo>
                    <a:pt x="1911" y="607"/>
                  </a:lnTo>
                  <a:lnTo>
                    <a:pt x="1909" y="607"/>
                  </a:lnTo>
                  <a:lnTo>
                    <a:pt x="1909" y="608"/>
                  </a:lnTo>
                  <a:lnTo>
                    <a:pt x="1907" y="608"/>
                  </a:lnTo>
                  <a:lnTo>
                    <a:pt x="1906" y="608"/>
                  </a:lnTo>
                  <a:lnTo>
                    <a:pt x="1906" y="610"/>
                  </a:lnTo>
                  <a:lnTo>
                    <a:pt x="1904" y="610"/>
                  </a:lnTo>
                  <a:lnTo>
                    <a:pt x="1904" y="612"/>
                  </a:lnTo>
                  <a:lnTo>
                    <a:pt x="1903" y="612"/>
                  </a:lnTo>
                  <a:lnTo>
                    <a:pt x="1903" y="613"/>
                  </a:lnTo>
                  <a:lnTo>
                    <a:pt x="1901" y="615"/>
                  </a:lnTo>
                  <a:lnTo>
                    <a:pt x="1903" y="615"/>
                  </a:lnTo>
                  <a:lnTo>
                    <a:pt x="1901" y="615"/>
                  </a:lnTo>
                  <a:lnTo>
                    <a:pt x="1899" y="616"/>
                  </a:lnTo>
                  <a:lnTo>
                    <a:pt x="1898" y="616"/>
                  </a:lnTo>
                  <a:lnTo>
                    <a:pt x="1898" y="618"/>
                  </a:lnTo>
                  <a:lnTo>
                    <a:pt x="1898" y="620"/>
                  </a:lnTo>
                  <a:lnTo>
                    <a:pt x="1896" y="618"/>
                  </a:lnTo>
                  <a:lnTo>
                    <a:pt x="1896" y="616"/>
                  </a:lnTo>
                  <a:lnTo>
                    <a:pt x="1896" y="615"/>
                  </a:lnTo>
                  <a:lnTo>
                    <a:pt x="1894" y="615"/>
                  </a:lnTo>
                  <a:lnTo>
                    <a:pt x="1891" y="613"/>
                  </a:lnTo>
                  <a:lnTo>
                    <a:pt x="1891" y="612"/>
                  </a:lnTo>
                  <a:lnTo>
                    <a:pt x="1889" y="610"/>
                  </a:lnTo>
                  <a:lnTo>
                    <a:pt x="1889" y="608"/>
                  </a:lnTo>
                  <a:lnTo>
                    <a:pt x="1889" y="607"/>
                  </a:lnTo>
                  <a:lnTo>
                    <a:pt x="1889" y="605"/>
                  </a:lnTo>
                  <a:lnTo>
                    <a:pt x="1891" y="603"/>
                  </a:lnTo>
                  <a:lnTo>
                    <a:pt x="1889" y="603"/>
                  </a:lnTo>
                  <a:lnTo>
                    <a:pt x="1889" y="602"/>
                  </a:lnTo>
                  <a:lnTo>
                    <a:pt x="1888" y="602"/>
                  </a:lnTo>
                  <a:lnTo>
                    <a:pt x="1886" y="602"/>
                  </a:lnTo>
                  <a:lnTo>
                    <a:pt x="1885" y="600"/>
                  </a:lnTo>
                  <a:lnTo>
                    <a:pt x="1883" y="600"/>
                  </a:lnTo>
                  <a:lnTo>
                    <a:pt x="1881" y="600"/>
                  </a:lnTo>
                  <a:lnTo>
                    <a:pt x="1881" y="599"/>
                  </a:lnTo>
                  <a:lnTo>
                    <a:pt x="1880" y="599"/>
                  </a:lnTo>
                  <a:lnTo>
                    <a:pt x="1880" y="600"/>
                  </a:lnTo>
                  <a:lnTo>
                    <a:pt x="1878" y="600"/>
                  </a:lnTo>
                  <a:lnTo>
                    <a:pt x="1876" y="600"/>
                  </a:lnTo>
                  <a:lnTo>
                    <a:pt x="1875" y="600"/>
                  </a:lnTo>
                  <a:lnTo>
                    <a:pt x="1873" y="602"/>
                  </a:lnTo>
                  <a:lnTo>
                    <a:pt x="1872" y="602"/>
                  </a:lnTo>
                  <a:lnTo>
                    <a:pt x="1872" y="600"/>
                  </a:lnTo>
                  <a:lnTo>
                    <a:pt x="1873" y="597"/>
                  </a:lnTo>
                  <a:lnTo>
                    <a:pt x="1872" y="597"/>
                  </a:lnTo>
                  <a:lnTo>
                    <a:pt x="1870" y="597"/>
                  </a:lnTo>
                  <a:lnTo>
                    <a:pt x="1870" y="600"/>
                  </a:lnTo>
                  <a:lnTo>
                    <a:pt x="1870" y="602"/>
                  </a:lnTo>
                  <a:lnTo>
                    <a:pt x="1868" y="603"/>
                  </a:lnTo>
                  <a:lnTo>
                    <a:pt x="1868" y="605"/>
                  </a:lnTo>
                  <a:lnTo>
                    <a:pt x="1867" y="610"/>
                  </a:lnTo>
                  <a:lnTo>
                    <a:pt x="1865" y="612"/>
                  </a:lnTo>
                  <a:lnTo>
                    <a:pt x="1863" y="613"/>
                  </a:lnTo>
                  <a:lnTo>
                    <a:pt x="1863" y="615"/>
                  </a:lnTo>
                  <a:lnTo>
                    <a:pt x="1863" y="616"/>
                  </a:lnTo>
                  <a:lnTo>
                    <a:pt x="1862" y="618"/>
                  </a:lnTo>
                  <a:lnTo>
                    <a:pt x="1862" y="620"/>
                  </a:lnTo>
                  <a:lnTo>
                    <a:pt x="1860" y="621"/>
                  </a:lnTo>
                  <a:lnTo>
                    <a:pt x="1860" y="623"/>
                  </a:lnTo>
                  <a:lnTo>
                    <a:pt x="1859" y="623"/>
                  </a:lnTo>
                  <a:lnTo>
                    <a:pt x="1859" y="625"/>
                  </a:lnTo>
                  <a:lnTo>
                    <a:pt x="1857" y="625"/>
                  </a:lnTo>
                  <a:lnTo>
                    <a:pt x="1855" y="626"/>
                  </a:lnTo>
                  <a:lnTo>
                    <a:pt x="1854" y="628"/>
                  </a:lnTo>
                  <a:lnTo>
                    <a:pt x="1854" y="629"/>
                  </a:lnTo>
                  <a:lnTo>
                    <a:pt x="1852" y="631"/>
                  </a:lnTo>
                  <a:lnTo>
                    <a:pt x="1850" y="631"/>
                  </a:lnTo>
                  <a:lnTo>
                    <a:pt x="1849" y="631"/>
                  </a:lnTo>
                  <a:lnTo>
                    <a:pt x="1846" y="636"/>
                  </a:lnTo>
                  <a:lnTo>
                    <a:pt x="1841" y="639"/>
                  </a:lnTo>
                  <a:lnTo>
                    <a:pt x="1839" y="639"/>
                  </a:lnTo>
                  <a:lnTo>
                    <a:pt x="1839" y="641"/>
                  </a:lnTo>
                  <a:lnTo>
                    <a:pt x="1836" y="642"/>
                  </a:lnTo>
                  <a:lnTo>
                    <a:pt x="1829" y="647"/>
                  </a:lnTo>
                  <a:lnTo>
                    <a:pt x="1828" y="649"/>
                  </a:lnTo>
                  <a:lnTo>
                    <a:pt x="1824" y="649"/>
                  </a:lnTo>
                  <a:lnTo>
                    <a:pt x="1820" y="654"/>
                  </a:lnTo>
                  <a:lnTo>
                    <a:pt x="1818" y="655"/>
                  </a:lnTo>
                  <a:lnTo>
                    <a:pt x="1815" y="659"/>
                  </a:lnTo>
                  <a:lnTo>
                    <a:pt x="1811" y="660"/>
                  </a:lnTo>
                  <a:lnTo>
                    <a:pt x="1811" y="662"/>
                  </a:lnTo>
                  <a:lnTo>
                    <a:pt x="1810" y="662"/>
                  </a:lnTo>
                  <a:lnTo>
                    <a:pt x="1807" y="664"/>
                  </a:lnTo>
                  <a:lnTo>
                    <a:pt x="1800" y="665"/>
                  </a:lnTo>
                  <a:lnTo>
                    <a:pt x="1797" y="669"/>
                  </a:lnTo>
                  <a:lnTo>
                    <a:pt x="1794" y="669"/>
                  </a:lnTo>
                  <a:lnTo>
                    <a:pt x="1787" y="672"/>
                  </a:lnTo>
                  <a:lnTo>
                    <a:pt x="1785" y="673"/>
                  </a:lnTo>
                  <a:lnTo>
                    <a:pt x="1781" y="675"/>
                  </a:lnTo>
                  <a:lnTo>
                    <a:pt x="1781" y="678"/>
                  </a:lnTo>
                  <a:lnTo>
                    <a:pt x="1779" y="678"/>
                  </a:lnTo>
                  <a:lnTo>
                    <a:pt x="1777" y="677"/>
                  </a:lnTo>
                  <a:lnTo>
                    <a:pt x="1776" y="677"/>
                  </a:lnTo>
                  <a:lnTo>
                    <a:pt x="1774" y="675"/>
                  </a:lnTo>
                  <a:lnTo>
                    <a:pt x="1771" y="677"/>
                  </a:lnTo>
                  <a:lnTo>
                    <a:pt x="1769" y="677"/>
                  </a:lnTo>
                  <a:lnTo>
                    <a:pt x="1769" y="678"/>
                  </a:lnTo>
                  <a:lnTo>
                    <a:pt x="1766" y="678"/>
                  </a:lnTo>
                  <a:lnTo>
                    <a:pt x="1756" y="680"/>
                  </a:lnTo>
                  <a:lnTo>
                    <a:pt x="1753" y="682"/>
                  </a:lnTo>
                  <a:lnTo>
                    <a:pt x="1745" y="683"/>
                  </a:lnTo>
                  <a:lnTo>
                    <a:pt x="1743" y="685"/>
                  </a:lnTo>
                  <a:lnTo>
                    <a:pt x="1741" y="685"/>
                  </a:lnTo>
                  <a:lnTo>
                    <a:pt x="1738" y="686"/>
                  </a:lnTo>
                  <a:lnTo>
                    <a:pt x="1738" y="688"/>
                  </a:lnTo>
                  <a:lnTo>
                    <a:pt x="1738" y="690"/>
                  </a:lnTo>
                  <a:lnTo>
                    <a:pt x="1737" y="690"/>
                  </a:lnTo>
                  <a:lnTo>
                    <a:pt x="1735" y="688"/>
                  </a:lnTo>
                  <a:lnTo>
                    <a:pt x="1733" y="690"/>
                  </a:lnTo>
                  <a:lnTo>
                    <a:pt x="1732" y="690"/>
                  </a:lnTo>
                  <a:lnTo>
                    <a:pt x="1730" y="690"/>
                  </a:lnTo>
                  <a:lnTo>
                    <a:pt x="1730" y="693"/>
                  </a:lnTo>
                  <a:lnTo>
                    <a:pt x="1728" y="693"/>
                  </a:lnTo>
                  <a:lnTo>
                    <a:pt x="1727" y="695"/>
                  </a:lnTo>
                  <a:lnTo>
                    <a:pt x="1725" y="695"/>
                  </a:lnTo>
                  <a:lnTo>
                    <a:pt x="1725" y="696"/>
                  </a:lnTo>
                  <a:lnTo>
                    <a:pt x="1724" y="696"/>
                  </a:lnTo>
                  <a:lnTo>
                    <a:pt x="1722" y="699"/>
                  </a:lnTo>
                  <a:lnTo>
                    <a:pt x="1719" y="703"/>
                  </a:lnTo>
                  <a:lnTo>
                    <a:pt x="1717" y="704"/>
                  </a:lnTo>
                  <a:lnTo>
                    <a:pt x="1714" y="706"/>
                  </a:lnTo>
                  <a:lnTo>
                    <a:pt x="1714" y="709"/>
                  </a:lnTo>
                  <a:lnTo>
                    <a:pt x="1711" y="714"/>
                  </a:lnTo>
                  <a:lnTo>
                    <a:pt x="1698" y="721"/>
                  </a:lnTo>
                  <a:lnTo>
                    <a:pt x="1698" y="722"/>
                  </a:lnTo>
                  <a:lnTo>
                    <a:pt x="1696" y="725"/>
                  </a:lnTo>
                  <a:lnTo>
                    <a:pt x="1696" y="727"/>
                  </a:lnTo>
                  <a:lnTo>
                    <a:pt x="1694" y="730"/>
                  </a:lnTo>
                  <a:lnTo>
                    <a:pt x="1693" y="732"/>
                  </a:lnTo>
                  <a:lnTo>
                    <a:pt x="1691" y="735"/>
                  </a:lnTo>
                  <a:lnTo>
                    <a:pt x="1688" y="740"/>
                  </a:lnTo>
                  <a:lnTo>
                    <a:pt x="1685" y="742"/>
                  </a:lnTo>
                  <a:lnTo>
                    <a:pt x="1685" y="743"/>
                  </a:lnTo>
                  <a:lnTo>
                    <a:pt x="1681" y="748"/>
                  </a:lnTo>
                  <a:lnTo>
                    <a:pt x="1681" y="750"/>
                  </a:lnTo>
                  <a:lnTo>
                    <a:pt x="1676" y="753"/>
                  </a:lnTo>
                  <a:lnTo>
                    <a:pt x="1673" y="755"/>
                  </a:lnTo>
                  <a:lnTo>
                    <a:pt x="1672" y="756"/>
                  </a:lnTo>
                  <a:lnTo>
                    <a:pt x="1668" y="758"/>
                  </a:lnTo>
                  <a:lnTo>
                    <a:pt x="1668" y="760"/>
                  </a:lnTo>
                  <a:lnTo>
                    <a:pt x="1667" y="763"/>
                  </a:lnTo>
                  <a:lnTo>
                    <a:pt x="1663" y="764"/>
                  </a:lnTo>
                  <a:lnTo>
                    <a:pt x="1657" y="773"/>
                  </a:lnTo>
                  <a:lnTo>
                    <a:pt x="1652" y="776"/>
                  </a:lnTo>
                  <a:lnTo>
                    <a:pt x="1650" y="777"/>
                  </a:lnTo>
                  <a:lnTo>
                    <a:pt x="1650" y="781"/>
                  </a:lnTo>
                  <a:lnTo>
                    <a:pt x="1649" y="782"/>
                  </a:lnTo>
                  <a:lnTo>
                    <a:pt x="1647" y="782"/>
                  </a:lnTo>
                  <a:lnTo>
                    <a:pt x="1637" y="787"/>
                  </a:lnTo>
                  <a:lnTo>
                    <a:pt x="1636" y="789"/>
                  </a:lnTo>
                  <a:lnTo>
                    <a:pt x="1636" y="790"/>
                  </a:lnTo>
                  <a:lnTo>
                    <a:pt x="1631" y="794"/>
                  </a:lnTo>
                  <a:lnTo>
                    <a:pt x="1626" y="797"/>
                  </a:lnTo>
                  <a:lnTo>
                    <a:pt x="1621" y="800"/>
                  </a:lnTo>
                  <a:lnTo>
                    <a:pt x="1616" y="805"/>
                  </a:lnTo>
                  <a:lnTo>
                    <a:pt x="1615" y="805"/>
                  </a:lnTo>
                  <a:lnTo>
                    <a:pt x="1603" y="810"/>
                  </a:lnTo>
                  <a:lnTo>
                    <a:pt x="1602" y="812"/>
                  </a:lnTo>
                  <a:lnTo>
                    <a:pt x="1593" y="818"/>
                  </a:lnTo>
                  <a:lnTo>
                    <a:pt x="1587" y="821"/>
                  </a:lnTo>
                  <a:lnTo>
                    <a:pt x="1580" y="821"/>
                  </a:lnTo>
                  <a:lnTo>
                    <a:pt x="1579" y="821"/>
                  </a:lnTo>
                  <a:lnTo>
                    <a:pt x="1569" y="823"/>
                  </a:lnTo>
                  <a:lnTo>
                    <a:pt x="1566" y="823"/>
                  </a:lnTo>
                  <a:lnTo>
                    <a:pt x="1559" y="826"/>
                  </a:lnTo>
                  <a:lnTo>
                    <a:pt x="1556" y="828"/>
                  </a:lnTo>
                  <a:lnTo>
                    <a:pt x="1551" y="831"/>
                  </a:lnTo>
                  <a:lnTo>
                    <a:pt x="1537" y="836"/>
                  </a:lnTo>
                  <a:lnTo>
                    <a:pt x="1535" y="836"/>
                  </a:lnTo>
                  <a:lnTo>
                    <a:pt x="1533" y="836"/>
                  </a:lnTo>
                  <a:lnTo>
                    <a:pt x="1528" y="834"/>
                  </a:lnTo>
                  <a:lnTo>
                    <a:pt x="1524" y="833"/>
                  </a:lnTo>
                  <a:lnTo>
                    <a:pt x="1520" y="831"/>
                  </a:lnTo>
                  <a:lnTo>
                    <a:pt x="1517" y="830"/>
                  </a:lnTo>
                  <a:lnTo>
                    <a:pt x="1515" y="830"/>
                  </a:lnTo>
                  <a:lnTo>
                    <a:pt x="1514" y="828"/>
                  </a:lnTo>
                  <a:lnTo>
                    <a:pt x="1514" y="826"/>
                  </a:lnTo>
                  <a:lnTo>
                    <a:pt x="1512" y="828"/>
                  </a:lnTo>
                  <a:lnTo>
                    <a:pt x="1511" y="828"/>
                  </a:lnTo>
                  <a:lnTo>
                    <a:pt x="1509" y="826"/>
                  </a:lnTo>
                  <a:lnTo>
                    <a:pt x="1509" y="825"/>
                  </a:lnTo>
                  <a:lnTo>
                    <a:pt x="1489" y="825"/>
                  </a:lnTo>
                  <a:lnTo>
                    <a:pt x="1483" y="826"/>
                  </a:lnTo>
                  <a:lnTo>
                    <a:pt x="1476" y="828"/>
                  </a:lnTo>
                  <a:lnTo>
                    <a:pt x="1475" y="828"/>
                  </a:lnTo>
                  <a:lnTo>
                    <a:pt x="1473" y="828"/>
                  </a:lnTo>
                  <a:lnTo>
                    <a:pt x="1472" y="828"/>
                  </a:lnTo>
                  <a:lnTo>
                    <a:pt x="1470" y="831"/>
                  </a:lnTo>
                  <a:lnTo>
                    <a:pt x="1467" y="831"/>
                  </a:lnTo>
                  <a:lnTo>
                    <a:pt x="1467" y="833"/>
                  </a:lnTo>
                  <a:lnTo>
                    <a:pt x="1465" y="833"/>
                  </a:lnTo>
                  <a:lnTo>
                    <a:pt x="1465" y="834"/>
                  </a:lnTo>
                  <a:lnTo>
                    <a:pt x="1463" y="836"/>
                  </a:lnTo>
                  <a:lnTo>
                    <a:pt x="1462" y="836"/>
                  </a:lnTo>
                  <a:lnTo>
                    <a:pt x="1460" y="838"/>
                  </a:lnTo>
                  <a:lnTo>
                    <a:pt x="1460" y="839"/>
                  </a:lnTo>
                  <a:lnTo>
                    <a:pt x="1459" y="839"/>
                  </a:lnTo>
                  <a:lnTo>
                    <a:pt x="1459" y="841"/>
                  </a:lnTo>
                  <a:lnTo>
                    <a:pt x="1457" y="841"/>
                  </a:lnTo>
                  <a:lnTo>
                    <a:pt x="1457" y="843"/>
                  </a:lnTo>
                  <a:lnTo>
                    <a:pt x="1455" y="844"/>
                  </a:lnTo>
                  <a:lnTo>
                    <a:pt x="1454" y="844"/>
                  </a:lnTo>
                  <a:lnTo>
                    <a:pt x="1454" y="846"/>
                  </a:lnTo>
                  <a:lnTo>
                    <a:pt x="1452" y="846"/>
                  </a:lnTo>
                  <a:lnTo>
                    <a:pt x="1452" y="847"/>
                  </a:lnTo>
                  <a:lnTo>
                    <a:pt x="1454" y="849"/>
                  </a:lnTo>
                  <a:lnTo>
                    <a:pt x="1452" y="851"/>
                  </a:lnTo>
                  <a:lnTo>
                    <a:pt x="1450" y="851"/>
                  </a:lnTo>
                  <a:lnTo>
                    <a:pt x="1447" y="854"/>
                  </a:lnTo>
                  <a:lnTo>
                    <a:pt x="1444" y="854"/>
                  </a:lnTo>
                  <a:lnTo>
                    <a:pt x="1444" y="856"/>
                  </a:lnTo>
                  <a:lnTo>
                    <a:pt x="1442" y="860"/>
                  </a:lnTo>
                  <a:lnTo>
                    <a:pt x="1439" y="862"/>
                  </a:lnTo>
                  <a:lnTo>
                    <a:pt x="1434" y="865"/>
                  </a:lnTo>
                  <a:lnTo>
                    <a:pt x="1432" y="869"/>
                  </a:lnTo>
                  <a:lnTo>
                    <a:pt x="1431" y="870"/>
                  </a:lnTo>
                  <a:lnTo>
                    <a:pt x="1424" y="873"/>
                  </a:lnTo>
                  <a:lnTo>
                    <a:pt x="1421" y="873"/>
                  </a:lnTo>
                  <a:lnTo>
                    <a:pt x="1419" y="875"/>
                  </a:lnTo>
                  <a:lnTo>
                    <a:pt x="1419" y="877"/>
                  </a:lnTo>
                  <a:lnTo>
                    <a:pt x="1418" y="875"/>
                  </a:lnTo>
                  <a:lnTo>
                    <a:pt x="1416" y="877"/>
                  </a:lnTo>
                  <a:lnTo>
                    <a:pt x="1415" y="882"/>
                  </a:lnTo>
                  <a:lnTo>
                    <a:pt x="1406" y="890"/>
                  </a:lnTo>
                  <a:lnTo>
                    <a:pt x="1403" y="893"/>
                  </a:lnTo>
                  <a:lnTo>
                    <a:pt x="1403" y="895"/>
                  </a:lnTo>
                  <a:lnTo>
                    <a:pt x="1403" y="896"/>
                  </a:lnTo>
                  <a:lnTo>
                    <a:pt x="1403" y="899"/>
                  </a:lnTo>
                  <a:lnTo>
                    <a:pt x="1400" y="899"/>
                  </a:lnTo>
                  <a:lnTo>
                    <a:pt x="1398" y="899"/>
                  </a:lnTo>
                  <a:lnTo>
                    <a:pt x="1397" y="899"/>
                  </a:lnTo>
                  <a:lnTo>
                    <a:pt x="1395" y="901"/>
                  </a:lnTo>
                  <a:lnTo>
                    <a:pt x="1392" y="899"/>
                  </a:lnTo>
                  <a:lnTo>
                    <a:pt x="1382" y="901"/>
                  </a:lnTo>
                  <a:lnTo>
                    <a:pt x="1380" y="903"/>
                  </a:lnTo>
                  <a:lnTo>
                    <a:pt x="1379" y="903"/>
                  </a:lnTo>
                  <a:lnTo>
                    <a:pt x="1372" y="904"/>
                  </a:lnTo>
                  <a:lnTo>
                    <a:pt x="1367" y="909"/>
                  </a:lnTo>
                  <a:lnTo>
                    <a:pt x="1364" y="908"/>
                  </a:lnTo>
                  <a:lnTo>
                    <a:pt x="1364" y="909"/>
                  </a:lnTo>
                  <a:lnTo>
                    <a:pt x="1361" y="909"/>
                  </a:lnTo>
                  <a:lnTo>
                    <a:pt x="1361" y="912"/>
                  </a:lnTo>
                  <a:lnTo>
                    <a:pt x="1361" y="914"/>
                  </a:lnTo>
                  <a:lnTo>
                    <a:pt x="1358" y="914"/>
                  </a:lnTo>
                  <a:lnTo>
                    <a:pt x="1356" y="914"/>
                  </a:lnTo>
                  <a:lnTo>
                    <a:pt x="1356" y="912"/>
                  </a:lnTo>
                  <a:lnTo>
                    <a:pt x="1354" y="912"/>
                  </a:lnTo>
                  <a:lnTo>
                    <a:pt x="1353" y="912"/>
                  </a:lnTo>
                  <a:lnTo>
                    <a:pt x="1351" y="911"/>
                  </a:lnTo>
                  <a:lnTo>
                    <a:pt x="1353" y="909"/>
                  </a:lnTo>
                  <a:lnTo>
                    <a:pt x="1353" y="908"/>
                  </a:lnTo>
                  <a:lnTo>
                    <a:pt x="1353" y="906"/>
                  </a:lnTo>
                  <a:lnTo>
                    <a:pt x="1353" y="904"/>
                  </a:lnTo>
                  <a:lnTo>
                    <a:pt x="1351" y="903"/>
                  </a:lnTo>
                  <a:lnTo>
                    <a:pt x="1350" y="903"/>
                  </a:lnTo>
                  <a:lnTo>
                    <a:pt x="1348" y="904"/>
                  </a:lnTo>
                  <a:lnTo>
                    <a:pt x="1346" y="904"/>
                  </a:lnTo>
                  <a:lnTo>
                    <a:pt x="1346" y="903"/>
                  </a:lnTo>
                  <a:lnTo>
                    <a:pt x="1338" y="901"/>
                  </a:lnTo>
                  <a:lnTo>
                    <a:pt x="1337" y="901"/>
                  </a:lnTo>
                  <a:lnTo>
                    <a:pt x="1335" y="903"/>
                  </a:lnTo>
                  <a:lnTo>
                    <a:pt x="1333" y="903"/>
                  </a:lnTo>
                  <a:lnTo>
                    <a:pt x="1332" y="903"/>
                  </a:lnTo>
                  <a:lnTo>
                    <a:pt x="1325" y="904"/>
                  </a:lnTo>
                  <a:lnTo>
                    <a:pt x="1322" y="904"/>
                  </a:lnTo>
                  <a:lnTo>
                    <a:pt x="1315" y="903"/>
                  </a:lnTo>
                  <a:lnTo>
                    <a:pt x="1314" y="903"/>
                  </a:lnTo>
                  <a:lnTo>
                    <a:pt x="1309" y="904"/>
                  </a:lnTo>
                  <a:lnTo>
                    <a:pt x="1307" y="904"/>
                  </a:lnTo>
                  <a:lnTo>
                    <a:pt x="1307" y="906"/>
                  </a:lnTo>
                  <a:lnTo>
                    <a:pt x="1307" y="908"/>
                  </a:lnTo>
                  <a:lnTo>
                    <a:pt x="1309" y="909"/>
                  </a:lnTo>
                  <a:lnTo>
                    <a:pt x="1307" y="909"/>
                  </a:lnTo>
                  <a:lnTo>
                    <a:pt x="1309" y="909"/>
                  </a:lnTo>
                  <a:lnTo>
                    <a:pt x="1307" y="909"/>
                  </a:lnTo>
                  <a:lnTo>
                    <a:pt x="1307" y="911"/>
                  </a:lnTo>
                  <a:lnTo>
                    <a:pt x="1306" y="912"/>
                  </a:lnTo>
                  <a:lnTo>
                    <a:pt x="1306" y="914"/>
                  </a:lnTo>
                  <a:lnTo>
                    <a:pt x="1307" y="914"/>
                  </a:lnTo>
                  <a:lnTo>
                    <a:pt x="1306" y="914"/>
                  </a:lnTo>
                  <a:lnTo>
                    <a:pt x="1306" y="916"/>
                  </a:lnTo>
                  <a:lnTo>
                    <a:pt x="1306" y="917"/>
                  </a:lnTo>
                  <a:lnTo>
                    <a:pt x="1304" y="919"/>
                  </a:lnTo>
                  <a:lnTo>
                    <a:pt x="1306" y="919"/>
                  </a:lnTo>
                  <a:lnTo>
                    <a:pt x="1306" y="921"/>
                  </a:lnTo>
                  <a:lnTo>
                    <a:pt x="1307" y="921"/>
                  </a:lnTo>
                  <a:lnTo>
                    <a:pt x="1307" y="922"/>
                  </a:lnTo>
                  <a:lnTo>
                    <a:pt x="1307" y="924"/>
                  </a:lnTo>
                  <a:lnTo>
                    <a:pt x="1307" y="925"/>
                  </a:lnTo>
                  <a:lnTo>
                    <a:pt x="1307" y="927"/>
                  </a:lnTo>
                  <a:lnTo>
                    <a:pt x="1307" y="929"/>
                  </a:lnTo>
                  <a:lnTo>
                    <a:pt x="1306" y="929"/>
                  </a:lnTo>
                  <a:lnTo>
                    <a:pt x="1306" y="930"/>
                  </a:lnTo>
                  <a:lnTo>
                    <a:pt x="1306" y="932"/>
                  </a:lnTo>
                  <a:lnTo>
                    <a:pt x="1304" y="932"/>
                  </a:lnTo>
                  <a:lnTo>
                    <a:pt x="1306" y="938"/>
                  </a:lnTo>
                  <a:lnTo>
                    <a:pt x="1307" y="938"/>
                  </a:lnTo>
                  <a:lnTo>
                    <a:pt x="1307" y="940"/>
                  </a:lnTo>
                  <a:lnTo>
                    <a:pt x="1309" y="942"/>
                  </a:lnTo>
                  <a:lnTo>
                    <a:pt x="1309" y="950"/>
                  </a:lnTo>
                  <a:lnTo>
                    <a:pt x="1309" y="952"/>
                  </a:lnTo>
                  <a:lnTo>
                    <a:pt x="1307" y="955"/>
                  </a:lnTo>
                  <a:lnTo>
                    <a:pt x="1309" y="955"/>
                  </a:lnTo>
                  <a:lnTo>
                    <a:pt x="1309" y="958"/>
                  </a:lnTo>
                  <a:lnTo>
                    <a:pt x="1311" y="958"/>
                  </a:lnTo>
                  <a:lnTo>
                    <a:pt x="1311" y="960"/>
                  </a:lnTo>
                  <a:lnTo>
                    <a:pt x="1312" y="961"/>
                  </a:lnTo>
                  <a:lnTo>
                    <a:pt x="1312" y="963"/>
                  </a:lnTo>
                  <a:lnTo>
                    <a:pt x="1314" y="965"/>
                  </a:lnTo>
                  <a:lnTo>
                    <a:pt x="1315" y="966"/>
                  </a:lnTo>
                  <a:lnTo>
                    <a:pt x="1317" y="968"/>
                  </a:lnTo>
                  <a:lnTo>
                    <a:pt x="1319" y="968"/>
                  </a:lnTo>
                  <a:lnTo>
                    <a:pt x="1319" y="969"/>
                  </a:lnTo>
                  <a:lnTo>
                    <a:pt x="1320" y="971"/>
                  </a:lnTo>
                  <a:lnTo>
                    <a:pt x="1322" y="971"/>
                  </a:lnTo>
                  <a:lnTo>
                    <a:pt x="1322" y="973"/>
                  </a:lnTo>
                  <a:lnTo>
                    <a:pt x="1320" y="973"/>
                  </a:lnTo>
                  <a:lnTo>
                    <a:pt x="1322" y="976"/>
                  </a:lnTo>
                  <a:lnTo>
                    <a:pt x="1322" y="974"/>
                  </a:lnTo>
                  <a:lnTo>
                    <a:pt x="1324" y="974"/>
                  </a:lnTo>
                  <a:lnTo>
                    <a:pt x="1324" y="973"/>
                  </a:lnTo>
                  <a:lnTo>
                    <a:pt x="1325" y="973"/>
                  </a:lnTo>
                  <a:lnTo>
                    <a:pt x="1327" y="973"/>
                  </a:lnTo>
                  <a:lnTo>
                    <a:pt x="1328" y="973"/>
                  </a:lnTo>
                  <a:lnTo>
                    <a:pt x="1328" y="974"/>
                  </a:lnTo>
                  <a:lnTo>
                    <a:pt x="1328" y="976"/>
                  </a:lnTo>
                  <a:lnTo>
                    <a:pt x="1328" y="978"/>
                  </a:lnTo>
                  <a:lnTo>
                    <a:pt x="1330" y="978"/>
                  </a:lnTo>
                  <a:lnTo>
                    <a:pt x="1333" y="978"/>
                  </a:lnTo>
                  <a:lnTo>
                    <a:pt x="1332" y="979"/>
                  </a:lnTo>
                  <a:lnTo>
                    <a:pt x="1332" y="981"/>
                  </a:lnTo>
                  <a:lnTo>
                    <a:pt x="1335" y="982"/>
                  </a:lnTo>
                  <a:lnTo>
                    <a:pt x="1335" y="984"/>
                  </a:lnTo>
                  <a:lnTo>
                    <a:pt x="1333" y="986"/>
                  </a:lnTo>
                  <a:lnTo>
                    <a:pt x="1332" y="987"/>
                  </a:lnTo>
                  <a:lnTo>
                    <a:pt x="1328" y="987"/>
                  </a:lnTo>
                  <a:lnTo>
                    <a:pt x="1327" y="987"/>
                  </a:lnTo>
                  <a:lnTo>
                    <a:pt x="1328" y="991"/>
                  </a:lnTo>
                  <a:lnTo>
                    <a:pt x="1327" y="991"/>
                  </a:lnTo>
                  <a:lnTo>
                    <a:pt x="1324" y="991"/>
                  </a:lnTo>
                  <a:lnTo>
                    <a:pt x="1322" y="991"/>
                  </a:lnTo>
                  <a:lnTo>
                    <a:pt x="1320" y="991"/>
                  </a:lnTo>
                  <a:lnTo>
                    <a:pt x="1320" y="992"/>
                  </a:lnTo>
                  <a:lnTo>
                    <a:pt x="1317" y="991"/>
                  </a:lnTo>
                  <a:lnTo>
                    <a:pt x="1315" y="991"/>
                  </a:lnTo>
                  <a:lnTo>
                    <a:pt x="1315" y="992"/>
                  </a:lnTo>
                  <a:lnTo>
                    <a:pt x="1314" y="992"/>
                  </a:lnTo>
                  <a:lnTo>
                    <a:pt x="1314" y="994"/>
                  </a:lnTo>
                  <a:lnTo>
                    <a:pt x="1315" y="994"/>
                  </a:lnTo>
                  <a:lnTo>
                    <a:pt x="1314" y="994"/>
                  </a:lnTo>
                  <a:lnTo>
                    <a:pt x="1314" y="992"/>
                  </a:lnTo>
                  <a:lnTo>
                    <a:pt x="1312" y="994"/>
                  </a:lnTo>
                  <a:lnTo>
                    <a:pt x="1314" y="995"/>
                  </a:lnTo>
                  <a:lnTo>
                    <a:pt x="1312" y="997"/>
                  </a:lnTo>
                  <a:lnTo>
                    <a:pt x="1311" y="995"/>
                  </a:lnTo>
                  <a:lnTo>
                    <a:pt x="1309" y="997"/>
                  </a:lnTo>
                  <a:lnTo>
                    <a:pt x="1307" y="997"/>
                  </a:lnTo>
                  <a:lnTo>
                    <a:pt x="1306" y="999"/>
                  </a:lnTo>
                  <a:lnTo>
                    <a:pt x="1304" y="997"/>
                  </a:lnTo>
                  <a:lnTo>
                    <a:pt x="1302" y="999"/>
                  </a:lnTo>
                  <a:lnTo>
                    <a:pt x="1302" y="1000"/>
                  </a:lnTo>
                  <a:lnTo>
                    <a:pt x="1304" y="1000"/>
                  </a:lnTo>
                  <a:lnTo>
                    <a:pt x="1302" y="1000"/>
                  </a:lnTo>
                  <a:lnTo>
                    <a:pt x="1304" y="1000"/>
                  </a:lnTo>
                  <a:lnTo>
                    <a:pt x="1304" y="1002"/>
                  </a:lnTo>
                  <a:lnTo>
                    <a:pt x="1304" y="1000"/>
                  </a:lnTo>
                  <a:lnTo>
                    <a:pt x="1304" y="1002"/>
                  </a:lnTo>
                  <a:lnTo>
                    <a:pt x="1306" y="1002"/>
                  </a:lnTo>
                  <a:lnTo>
                    <a:pt x="1306" y="1004"/>
                  </a:lnTo>
                  <a:lnTo>
                    <a:pt x="1304" y="1002"/>
                  </a:lnTo>
                  <a:lnTo>
                    <a:pt x="1304" y="1004"/>
                  </a:lnTo>
                  <a:lnTo>
                    <a:pt x="1306" y="1004"/>
                  </a:lnTo>
                  <a:lnTo>
                    <a:pt x="1304" y="1004"/>
                  </a:lnTo>
                  <a:lnTo>
                    <a:pt x="1302" y="1004"/>
                  </a:lnTo>
                  <a:lnTo>
                    <a:pt x="1304" y="1005"/>
                  </a:lnTo>
                  <a:lnTo>
                    <a:pt x="1302" y="1005"/>
                  </a:lnTo>
                  <a:lnTo>
                    <a:pt x="1304" y="1007"/>
                  </a:lnTo>
                  <a:lnTo>
                    <a:pt x="1302" y="1007"/>
                  </a:lnTo>
                  <a:lnTo>
                    <a:pt x="1302" y="1008"/>
                  </a:lnTo>
                  <a:lnTo>
                    <a:pt x="1304" y="1008"/>
                  </a:lnTo>
                  <a:lnTo>
                    <a:pt x="1306" y="1010"/>
                  </a:lnTo>
                  <a:lnTo>
                    <a:pt x="1306" y="1008"/>
                  </a:lnTo>
                  <a:lnTo>
                    <a:pt x="1306" y="1010"/>
                  </a:lnTo>
                  <a:lnTo>
                    <a:pt x="1306" y="1012"/>
                  </a:lnTo>
                  <a:lnTo>
                    <a:pt x="1306" y="1013"/>
                  </a:lnTo>
                  <a:lnTo>
                    <a:pt x="1306" y="1015"/>
                  </a:lnTo>
                  <a:lnTo>
                    <a:pt x="1307" y="1015"/>
                  </a:lnTo>
                  <a:lnTo>
                    <a:pt x="1306" y="1015"/>
                  </a:lnTo>
                  <a:lnTo>
                    <a:pt x="1307" y="1015"/>
                  </a:lnTo>
                  <a:lnTo>
                    <a:pt x="1307" y="1017"/>
                  </a:lnTo>
                  <a:lnTo>
                    <a:pt x="1309" y="1018"/>
                  </a:lnTo>
                  <a:lnTo>
                    <a:pt x="1309" y="1020"/>
                  </a:lnTo>
                  <a:lnTo>
                    <a:pt x="1307" y="1020"/>
                  </a:lnTo>
                  <a:lnTo>
                    <a:pt x="1309" y="1020"/>
                  </a:lnTo>
                  <a:lnTo>
                    <a:pt x="1309" y="1021"/>
                  </a:lnTo>
                  <a:lnTo>
                    <a:pt x="1311" y="1023"/>
                  </a:lnTo>
                  <a:lnTo>
                    <a:pt x="1309" y="1023"/>
                  </a:lnTo>
                  <a:lnTo>
                    <a:pt x="1311" y="1023"/>
                  </a:lnTo>
                  <a:lnTo>
                    <a:pt x="1309" y="1025"/>
                  </a:lnTo>
                  <a:lnTo>
                    <a:pt x="1311" y="1025"/>
                  </a:lnTo>
                  <a:lnTo>
                    <a:pt x="1309" y="1025"/>
                  </a:lnTo>
                  <a:lnTo>
                    <a:pt x="1311" y="1026"/>
                  </a:lnTo>
                  <a:lnTo>
                    <a:pt x="1309" y="1026"/>
                  </a:lnTo>
                  <a:lnTo>
                    <a:pt x="1309" y="1028"/>
                  </a:lnTo>
                  <a:lnTo>
                    <a:pt x="1311" y="1026"/>
                  </a:lnTo>
                  <a:lnTo>
                    <a:pt x="1311" y="1028"/>
                  </a:lnTo>
                  <a:lnTo>
                    <a:pt x="1311" y="1030"/>
                  </a:lnTo>
                  <a:lnTo>
                    <a:pt x="1307" y="1033"/>
                  </a:lnTo>
                  <a:lnTo>
                    <a:pt x="1306" y="1033"/>
                  </a:lnTo>
                  <a:lnTo>
                    <a:pt x="1304" y="1031"/>
                  </a:lnTo>
                  <a:lnTo>
                    <a:pt x="1302" y="1031"/>
                  </a:lnTo>
                  <a:lnTo>
                    <a:pt x="1301" y="1031"/>
                  </a:lnTo>
                  <a:lnTo>
                    <a:pt x="1301" y="1033"/>
                  </a:lnTo>
                  <a:lnTo>
                    <a:pt x="1301" y="1034"/>
                  </a:lnTo>
                  <a:lnTo>
                    <a:pt x="1301" y="1036"/>
                  </a:lnTo>
                  <a:lnTo>
                    <a:pt x="1302" y="1036"/>
                  </a:lnTo>
                  <a:lnTo>
                    <a:pt x="1304" y="1038"/>
                  </a:lnTo>
                  <a:lnTo>
                    <a:pt x="1304" y="1039"/>
                  </a:lnTo>
                  <a:lnTo>
                    <a:pt x="1302" y="1039"/>
                  </a:lnTo>
                  <a:lnTo>
                    <a:pt x="1302" y="1041"/>
                  </a:lnTo>
                  <a:lnTo>
                    <a:pt x="1301" y="1041"/>
                  </a:lnTo>
                  <a:lnTo>
                    <a:pt x="1299" y="1039"/>
                  </a:lnTo>
                  <a:lnTo>
                    <a:pt x="1297" y="1041"/>
                  </a:lnTo>
                  <a:lnTo>
                    <a:pt x="1294" y="1043"/>
                  </a:lnTo>
                  <a:lnTo>
                    <a:pt x="1293" y="1044"/>
                  </a:lnTo>
                  <a:lnTo>
                    <a:pt x="1293" y="1047"/>
                  </a:lnTo>
                  <a:lnTo>
                    <a:pt x="1293" y="1049"/>
                  </a:lnTo>
                  <a:lnTo>
                    <a:pt x="1293" y="1052"/>
                  </a:lnTo>
                  <a:lnTo>
                    <a:pt x="1293" y="1054"/>
                  </a:lnTo>
                  <a:lnTo>
                    <a:pt x="1294" y="1056"/>
                  </a:lnTo>
                  <a:lnTo>
                    <a:pt x="1294" y="1059"/>
                  </a:lnTo>
                  <a:lnTo>
                    <a:pt x="1294" y="1060"/>
                  </a:lnTo>
                  <a:lnTo>
                    <a:pt x="1296" y="1062"/>
                  </a:lnTo>
                  <a:lnTo>
                    <a:pt x="1294" y="1064"/>
                  </a:lnTo>
                  <a:lnTo>
                    <a:pt x="1289" y="1059"/>
                  </a:lnTo>
                  <a:lnTo>
                    <a:pt x="1288" y="1059"/>
                  </a:lnTo>
                  <a:lnTo>
                    <a:pt x="1286" y="1059"/>
                  </a:lnTo>
                  <a:lnTo>
                    <a:pt x="1284" y="1059"/>
                  </a:lnTo>
                  <a:lnTo>
                    <a:pt x="1283" y="1059"/>
                  </a:lnTo>
                  <a:lnTo>
                    <a:pt x="1280" y="1059"/>
                  </a:lnTo>
                  <a:lnTo>
                    <a:pt x="1278" y="1060"/>
                  </a:lnTo>
                  <a:lnTo>
                    <a:pt x="1278" y="1059"/>
                  </a:lnTo>
                  <a:lnTo>
                    <a:pt x="1276" y="1059"/>
                  </a:lnTo>
                  <a:lnTo>
                    <a:pt x="1276" y="1060"/>
                  </a:lnTo>
                  <a:lnTo>
                    <a:pt x="1275" y="1060"/>
                  </a:lnTo>
                  <a:lnTo>
                    <a:pt x="1275" y="1059"/>
                  </a:lnTo>
                  <a:lnTo>
                    <a:pt x="1275" y="1057"/>
                  </a:lnTo>
                  <a:lnTo>
                    <a:pt x="1275" y="1054"/>
                  </a:lnTo>
                  <a:lnTo>
                    <a:pt x="1273" y="1052"/>
                  </a:lnTo>
                  <a:lnTo>
                    <a:pt x="1270" y="1052"/>
                  </a:lnTo>
                  <a:lnTo>
                    <a:pt x="1270" y="1054"/>
                  </a:lnTo>
                  <a:lnTo>
                    <a:pt x="1268" y="1054"/>
                  </a:lnTo>
                  <a:lnTo>
                    <a:pt x="1268" y="1056"/>
                  </a:lnTo>
                  <a:lnTo>
                    <a:pt x="1267" y="1056"/>
                  </a:lnTo>
                  <a:lnTo>
                    <a:pt x="1265" y="1057"/>
                  </a:lnTo>
                  <a:lnTo>
                    <a:pt x="1263" y="1057"/>
                  </a:lnTo>
                  <a:lnTo>
                    <a:pt x="1263" y="1056"/>
                  </a:lnTo>
                  <a:lnTo>
                    <a:pt x="1263" y="1054"/>
                  </a:lnTo>
                  <a:lnTo>
                    <a:pt x="1263" y="1052"/>
                  </a:lnTo>
                  <a:lnTo>
                    <a:pt x="1263" y="1051"/>
                  </a:lnTo>
                  <a:lnTo>
                    <a:pt x="1265" y="1051"/>
                  </a:lnTo>
                  <a:lnTo>
                    <a:pt x="1265" y="1049"/>
                  </a:lnTo>
                  <a:lnTo>
                    <a:pt x="1265" y="1047"/>
                  </a:lnTo>
                  <a:lnTo>
                    <a:pt x="1267" y="1046"/>
                  </a:lnTo>
                  <a:lnTo>
                    <a:pt x="1267" y="1044"/>
                  </a:lnTo>
                  <a:lnTo>
                    <a:pt x="1267" y="1043"/>
                  </a:lnTo>
                  <a:lnTo>
                    <a:pt x="1265" y="1041"/>
                  </a:lnTo>
                  <a:lnTo>
                    <a:pt x="1262" y="1038"/>
                  </a:lnTo>
                  <a:lnTo>
                    <a:pt x="1262" y="1036"/>
                  </a:lnTo>
                  <a:lnTo>
                    <a:pt x="1257" y="1033"/>
                  </a:lnTo>
                  <a:lnTo>
                    <a:pt x="1255" y="1031"/>
                  </a:lnTo>
                  <a:lnTo>
                    <a:pt x="1254" y="1031"/>
                  </a:lnTo>
                  <a:lnTo>
                    <a:pt x="1255" y="1031"/>
                  </a:lnTo>
                  <a:lnTo>
                    <a:pt x="1255" y="1030"/>
                  </a:lnTo>
                  <a:lnTo>
                    <a:pt x="1254" y="1030"/>
                  </a:lnTo>
                  <a:lnTo>
                    <a:pt x="1254" y="1028"/>
                  </a:lnTo>
                  <a:lnTo>
                    <a:pt x="1252" y="1026"/>
                  </a:lnTo>
                  <a:lnTo>
                    <a:pt x="1250" y="1026"/>
                  </a:lnTo>
                  <a:lnTo>
                    <a:pt x="1249" y="1026"/>
                  </a:lnTo>
                  <a:lnTo>
                    <a:pt x="1249" y="1025"/>
                  </a:lnTo>
                  <a:lnTo>
                    <a:pt x="1247" y="1025"/>
                  </a:lnTo>
                  <a:lnTo>
                    <a:pt x="1247" y="1023"/>
                  </a:lnTo>
                  <a:lnTo>
                    <a:pt x="1245" y="1023"/>
                  </a:lnTo>
                  <a:lnTo>
                    <a:pt x="1245" y="1021"/>
                  </a:lnTo>
                  <a:lnTo>
                    <a:pt x="1244" y="1021"/>
                  </a:lnTo>
                  <a:lnTo>
                    <a:pt x="1242" y="1020"/>
                  </a:lnTo>
                  <a:lnTo>
                    <a:pt x="1242" y="1018"/>
                  </a:lnTo>
                  <a:lnTo>
                    <a:pt x="1241" y="1018"/>
                  </a:lnTo>
                  <a:lnTo>
                    <a:pt x="1239" y="1017"/>
                  </a:lnTo>
                  <a:lnTo>
                    <a:pt x="1237" y="1017"/>
                  </a:lnTo>
                  <a:lnTo>
                    <a:pt x="1236" y="1015"/>
                  </a:lnTo>
                  <a:lnTo>
                    <a:pt x="1234" y="1015"/>
                  </a:lnTo>
                  <a:lnTo>
                    <a:pt x="1234" y="1013"/>
                  </a:lnTo>
                  <a:lnTo>
                    <a:pt x="1232" y="1012"/>
                  </a:lnTo>
                  <a:lnTo>
                    <a:pt x="1232" y="1010"/>
                  </a:lnTo>
                  <a:lnTo>
                    <a:pt x="1232" y="1008"/>
                  </a:lnTo>
                  <a:lnTo>
                    <a:pt x="1232" y="1007"/>
                  </a:lnTo>
                  <a:lnTo>
                    <a:pt x="1234" y="1007"/>
                  </a:lnTo>
                  <a:lnTo>
                    <a:pt x="1234" y="1005"/>
                  </a:lnTo>
                  <a:lnTo>
                    <a:pt x="1234" y="1004"/>
                  </a:lnTo>
                  <a:lnTo>
                    <a:pt x="1234" y="1002"/>
                  </a:lnTo>
                  <a:lnTo>
                    <a:pt x="1236" y="1002"/>
                  </a:lnTo>
                  <a:lnTo>
                    <a:pt x="1236" y="1000"/>
                  </a:lnTo>
                  <a:lnTo>
                    <a:pt x="1237" y="1000"/>
                  </a:lnTo>
                  <a:lnTo>
                    <a:pt x="1237" y="999"/>
                  </a:lnTo>
                  <a:lnTo>
                    <a:pt x="1237" y="997"/>
                  </a:lnTo>
                  <a:lnTo>
                    <a:pt x="1237" y="995"/>
                  </a:lnTo>
                  <a:lnTo>
                    <a:pt x="1239" y="995"/>
                  </a:lnTo>
                  <a:lnTo>
                    <a:pt x="1239" y="992"/>
                  </a:lnTo>
                  <a:lnTo>
                    <a:pt x="1241" y="992"/>
                  </a:lnTo>
                  <a:lnTo>
                    <a:pt x="1241" y="991"/>
                  </a:lnTo>
                  <a:lnTo>
                    <a:pt x="1241" y="989"/>
                  </a:lnTo>
                  <a:lnTo>
                    <a:pt x="1241" y="987"/>
                  </a:lnTo>
                  <a:lnTo>
                    <a:pt x="1242" y="987"/>
                  </a:lnTo>
                  <a:lnTo>
                    <a:pt x="1242" y="986"/>
                  </a:lnTo>
                  <a:lnTo>
                    <a:pt x="1242" y="984"/>
                  </a:lnTo>
                  <a:lnTo>
                    <a:pt x="1244" y="984"/>
                  </a:lnTo>
                  <a:lnTo>
                    <a:pt x="1245" y="982"/>
                  </a:lnTo>
                  <a:lnTo>
                    <a:pt x="1247" y="981"/>
                  </a:lnTo>
                  <a:lnTo>
                    <a:pt x="1249" y="979"/>
                  </a:lnTo>
                  <a:lnTo>
                    <a:pt x="1249" y="978"/>
                  </a:lnTo>
                  <a:lnTo>
                    <a:pt x="1249" y="976"/>
                  </a:lnTo>
                  <a:lnTo>
                    <a:pt x="1250" y="976"/>
                  </a:lnTo>
                  <a:lnTo>
                    <a:pt x="1250" y="974"/>
                  </a:lnTo>
                  <a:lnTo>
                    <a:pt x="1250" y="973"/>
                  </a:lnTo>
                  <a:lnTo>
                    <a:pt x="1250" y="971"/>
                  </a:lnTo>
                  <a:lnTo>
                    <a:pt x="1252" y="969"/>
                  </a:lnTo>
                  <a:lnTo>
                    <a:pt x="1254" y="968"/>
                  </a:lnTo>
                  <a:lnTo>
                    <a:pt x="1255" y="966"/>
                  </a:lnTo>
                  <a:lnTo>
                    <a:pt x="1257" y="965"/>
                  </a:lnTo>
                  <a:lnTo>
                    <a:pt x="1257" y="963"/>
                  </a:lnTo>
                  <a:lnTo>
                    <a:pt x="1258" y="963"/>
                  </a:lnTo>
                  <a:lnTo>
                    <a:pt x="1258" y="961"/>
                  </a:lnTo>
                  <a:lnTo>
                    <a:pt x="1260" y="960"/>
                  </a:lnTo>
                  <a:lnTo>
                    <a:pt x="1260" y="958"/>
                  </a:lnTo>
                  <a:lnTo>
                    <a:pt x="1262" y="958"/>
                  </a:lnTo>
                  <a:lnTo>
                    <a:pt x="1262" y="956"/>
                  </a:lnTo>
                  <a:lnTo>
                    <a:pt x="1263" y="956"/>
                  </a:lnTo>
                  <a:lnTo>
                    <a:pt x="1265" y="956"/>
                  </a:lnTo>
                  <a:lnTo>
                    <a:pt x="1265" y="955"/>
                  </a:lnTo>
                  <a:lnTo>
                    <a:pt x="1265" y="953"/>
                  </a:lnTo>
                  <a:lnTo>
                    <a:pt x="1265" y="952"/>
                  </a:lnTo>
                  <a:lnTo>
                    <a:pt x="1265" y="950"/>
                  </a:lnTo>
                  <a:lnTo>
                    <a:pt x="1265" y="948"/>
                  </a:lnTo>
                  <a:lnTo>
                    <a:pt x="1265" y="947"/>
                  </a:lnTo>
                  <a:lnTo>
                    <a:pt x="1265" y="945"/>
                  </a:lnTo>
                  <a:lnTo>
                    <a:pt x="1263" y="947"/>
                  </a:lnTo>
                  <a:lnTo>
                    <a:pt x="1263" y="945"/>
                  </a:lnTo>
                  <a:lnTo>
                    <a:pt x="1265" y="945"/>
                  </a:lnTo>
                  <a:lnTo>
                    <a:pt x="1263" y="945"/>
                  </a:lnTo>
                  <a:lnTo>
                    <a:pt x="1265" y="945"/>
                  </a:lnTo>
                  <a:lnTo>
                    <a:pt x="1263" y="945"/>
                  </a:lnTo>
                  <a:lnTo>
                    <a:pt x="1263" y="943"/>
                  </a:lnTo>
                  <a:lnTo>
                    <a:pt x="1262" y="942"/>
                  </a:lnTo>
                  <a:lnTo>
                    <a:pt x="1260" y="940"/>
                  </a:lnTo>
                  <a:lnTo>
                    <a:pt x="1260" y="938"/>
                  </a:lnTo>
                  <a:lnTo>
                    <a:pt x="1262" y="938"/>
                  </a:lnTo>
                  <a:lnTo>
                    <a:pt x="1260" y="938"/>
                  </a:lnTo>
                  <a:lnTo>
                    <a:pt x="1260" y="937"/>
                  </a:lnTo>
                  <a:lnTo>
                    <a:pt x="1258" y="938"/>
                  </a:lnTo>
                  <a:lnTo>
                    <a:pt x="1260" y="937"/>
                  </a:lnTo>
                  <a:lnTo>
                    <a:pt x="1258" y="937"/>
                  </a:lnTo>
                  <a:lnTo>
                    <a:pt x="1258" y="935"/>
                  </a:lnTo>
                  <a:lnTo>
                    <a:pt x="1258" y="934"/>
                  </a:lnTo>
                  <a:lnTo>
                    <a:pt x="1260" y="932"/>
                  </a:lnTo>
                  <a:lnTo>
                    <a:pt x="1258" y="930"/>
                  </a:lnTo>
                  <a:lnTo>
                    <a:pt x="1257" y="929"/>
                  </a:lnTo>
                  <a:lnTo>
                    <a:pt x="1255" y="927"/>
                  </a:lnTo>
                  <a:lnTo>
                    <a:pt x="1254" y="925"/>
                  </a:lnTo>
                  <a:lnTo>
                    <a:pt x="1252" y="925"/>
                  </a:lnTo>
                  <a:lnTo>
                    <a:pt x="1252" y="924"/>
                  </a:lnTo>
                  <a:lnTo>
                    <a:pt x="1249" y="922"/>
                  </a:lnTo>
                  <a:lnTo>
                    <a:pt x="1247" y="924"/>
                  </a:lnTo>
                  <a:lnTo>
                    <a:pt x="1247" y="922"/>
                  </a:lnTo>
                  <a:lnTo>
                    <a:pt x="1249" y="922"/>
                  </a:lnTo>
                  <a:lnTo>
                    <a:pt x="1247" y="921"/>
                  </a:lnTo>
                  <a:lnTo>
                    <a:pt x="1245" y="921"/>
                  </a:lnTo>
                  <a:lnTo>
                    <a:pt x="1245" y="919"/>
                  </a:lnTo>
                  <a:lnTo>
                    <a:pt x="1244" y="919"/>
                  </a:lnTo>
                  <a:lnTo>
                    <a:pt x="1241" y="919"/>
                  </a:lnTo>
                  <a:lnTo>
                    <a:pt x="1241" y="917"/>
                  </a:lnTo>
                  <a:lnTo>
                    <a:pt x="1241" y="919"/>
                  </a:lnTo>
                  <a:lnTo>
                    <a:pt x="1241" y="917"/>
                  </a:lnTo>
                  <a:lnTo>
                    <a:pt x="1241" y="919"/>
                  </a:lnTo>
                  <a:lnTo>
                    <a:pt x="1237" y="917"/>
                  </a:lnTo>
                  <a:lnTo>
                    <a:pt x="1236" y="917"/>
                  </a:lnTo>
                  <a:lnTo>
                    <a:pt x="1234" y="917"/>
                  </a:lnTo>
                  <a:lnTo>
                    <a:pt x="1232" y="917"/>
                  </a:lnTo>
                  <a:lnTo>
                    <a:pt x="1231" y="917"/>
                  </a:lnTo>
                  <a:lnTo>
                    <a:pt x="1229" y="919"/>
                  </a:lnTo>
                  <a:lnTo>
                    <a:pt x="1231" y="921"/>
                  </a:lnTo>
                  <a:lnTo>
                    <a:pt x="1229" y="921"/>
                  </a:lnTo>
                  <a:lnTo>
                    <a:pt x="1229" y="919"/>
                  </a:lnTo>
                  <a:lnTo>
                    <a:pt x="1229" y="921"/>
                  </a:lnTo>
                  <a:lnTo>
                    <a:pt x="1229" y="922"/>
                  </a:lnTo>
                  <a:lnTo>
                    <a:pt x="1229" y="921"/>
                  </a:lnTo>
                  <a:lnTo>
                    <a:pt x="1229" y="922"/>
                  </a:lnTo>
                  <a:lnTo>
                    <a:pt x="1228" y="922"/>
                  </a:lnTo>
                  <a:lnTo>
                    <a:pt x="1228" y="924"/>
                  </a:lnTo>
                  <a:lnTo>
                    <a:pt x="1228" y="925"/>
                  </a:lnTo>
                  <a:lnTo>
                    <a:pt x="1226" y="925"/>
                  </a:lnTo>
                  <a:lnTo>
                    <a:pt x="1226" y="927"/>
                  </a:lnTo>
                  <a:lnTo>
                    <a:pt x="1228" y="929"/>
                  </a:lnTo>
                  <a:lnTo>
                    <a:pt x="1226" y="929"/>
                  </a:lnTo>
                  <a:lnTo>
                    <a:pt x="1226" y="927"/>
                  </a:lnTo>
                  <a:lnTo>
                    <a:pt x="1224" y="927"/>
                  </a:lnTo>
                  <a:lnTo>
                    <a:pt x="1224" y="929"/>
                  </a:lnTo>
                  <a:lnTo>
                    <a:pt x="1224" y="930"/>
                  </a:lnTo>
                  <a:lnTo>
                    <a:pt x="1223" y="932"/>
                  </a:lnTo>
                  <a:lnTo>
                    <a:pt x="1223" y="934"/>
                  </a:lnTo>
                  <a:lnTo>
                    <a:pt x="1221" y="935"/>
                  </a:lnTo>
                  <a:lnTo>
                    <a:pt x="1221" y="937"/>
                  </a:lnTo>
                  <a:lnTo>
                    <a:pt x="1221" y="938"/>
                  </a:lnTo>
                  <a:lnTo>
                    <a:pt x="1219" y="938"/>
                  </a:lnTo>
                  <a:lnTo>
                    <a:pt x="1219" y="940"/>
                  </a:lnTo>
                  <a:lnTo>
                    <a:pt x="1219" y="942"/>
                  </a:lnTo>
                  <a:lnTo>
                    <a:pt x="1218" y="943"/>
                  </a:lnTo>
                  <a:lnTo>
                    <a:pt x="1216" y="943"/>
                  </a:lnTo>
                  <a:lnTo>
                    <a:pt x="1216" y="945"/>
                  </a:lnTo>
                  <a:lnTo>
                    <a:pt x="1215" y="947"/>
                  </a:lnTo>
                  <a:lnTo>
                    <a:pt x="1215" y="948"/>
                  </a:lnTo>
                  <a:lnTo>
                    <a:pt x="1213" y="948"/>
                  </a:lnTo>
                  <a:lnTo>
                    <a:pt x="1211" y="948"/>
                  </a:lnTo>
                  <a:lnTo>
                    <a:pt x="1208" y="950"/>
                  </a:lnTo>
                  <a:lnTo>
                    <a:pt x="1208" y="952"/>
                  </a:lnTo>
                  <a:lnTo>
                    <a:pt x="1206" y="952"/>
                  </a:lnTo>
                  <a:lnTo>
                    <a:pt x="1205" y="952"/>
                  </a:lnTo>
                  <a:lnTo>
                    <a:pt x="1203" y="952"/>
                  </a:lnTo>
                  <a:lnTo>
                    <a:pt x="1203" y="953"/>
                  </a:lnTo>
                  <a:lnTo>
                    <a:pt x="1202" y="953"/>
                  </a:lnTo>
                  <a:lnTo>
                    <a:pt x="1200" y="953"/>
                  </a:lnTo>
                  <a:lnTo>
                    <a:pt x="1200" y="955"/>
                  </a:lnTo>
                  <a:lnTo>
                    <a:pt x="1198" y="955"/>
                  </a:lnTo>
                  <a:lnTo>
                    <a:pt x="1198" y="956"/>
                  </a:lnTo>
                  <a:lnTo>
                    <a:pt x="1198" y="958"/>
                  </a:lnTo>
                  <a:lnTo>
                    <a:pt x="1197" y="958"/>
                  </a:lnTo>
                  <a:lnTo>
                    <a:pt x="1197" y="961"/>
                  </a:lnTo>
                  <a:lnTo>
                    <a:pt x="1197" y="963"/>
                  </a:lnTo>
                  <a:lnTo>
                    <a:pt x="1197" y="961"/>
                  </a:lnTo>
                  <a:lnTo>
                    <a:pt x="1197" y="960"/>
                  </a:lnTo>
                  <a:lnTo>
                    <a:pt x="1197" y="961"/>
                  </a:lnTo>
                  <a:lnTo>
                    <a:pt x="1195" y="961"/>
                  </a:lnTo>
                  <a:lnTo>
                    <a:pt x="1195" y="963"/>
                  </a:lnTo>
                  <a:lnTo>
                    <a:pt x="1197" y="963"/>
                  </a:lnTo>
                  <a:lnTo>
                    <a:pt x="1197" y="965"/>
                  </a:lnTo>
                  <a:lnTo>
                    <a:pt x="1197" y="963"/>
                  </a:lnTo>
                  <a:lnTo>
                    <a:pt x="1195" y="963"/>
                  </a:lnTo>
                  <a:lnTo>
                    <a:pt x="1193" y="963"/>
                  </a:lnTo>
                  <a:lnTo>
                    <a:pt x="1193" y="965"/>
                  </a:lnTo>
                  <a:lnTo>
                    <a:pt x="1192" y="965"/>
                  </a:lnTo>
                  <a:lnTo>
                    <a:pt x="1192" y="966"/>
                  </a:lnTo>
                  <a:lnTo>
                    <a:pt x="1193" y="965"/>
                  </a:lnTo>
                  <a:lnTo>
                    <a:pt x="1193" y="966"/>
                  </a:lnTo>
                  <a:lnTo>
                    <a:pt x="1193" y="968"/>
                  </a:lnTo>
                  <a:lnTo>
                    <a:pt x="1195" y="968"/>
                  </a:lnTo>
                  <a:lnTo>
                    <a:pt x="1197" y="968"/>
                  </a:lnTo>
                  <a:lnTo>
                    <a:pt x="1197" y="966"/>
                  </a:lnTo>
                  <a:lnTo>
                    <a:pt x="1197" y="965"/>
                  </a:lnTo>
                  <a:lnTo>
                    <a:pt x="1197" y="963"/>
                  </a:lnTo>
                  <a:lnTo>
                    <a:pt x="1197" y="961"/>
                  </a:lnTo>
                  <a:lnTo>
                    <a:pt x="1198" y="963"/>
                  </a:lnTo>
                  <a:lnTo>
                    <a:pt x="1198" y="961"/>
                  </a:lnTo>
                  <a:lnTo>
                    <a:pt x="1198" y="960"/>
                  </a:lnTo>
                  <a:lnTo>
                    <a:pt x="1198" y="958"/>
                  </a:lnTo>
                  <a:lnTo>
                    <a:pt x="1200" y="958"/>
                  </a:lnTo>
                  <a:lnTo>
                    <a:pt x="1200" y="956"/>
                  </a:lnTo>
                  <a:lnTo>
                    <a:pt x="1202" y="956"/>
                  </a:lnTo>
                  <a:lnTo>
                    <a:pt x="1202" y="958"/>
                  </a:lnTo>
                  <a:lnTo>
                    <a:pt x="1200" y="960"/>
                  </a:lnTo>
                  <a:lnTo>
                    <a:pt x="1200" y="961"/>
                  </a:lnTo>
                  <a:lnTo>
                    <a:pt x="1202" y="961"/>
                  </a:lnTo>
                  <a:lnTo>
                    <a:pt x="1202" y="960"/>
                  </a:lnTo>
                  <a:lnTo>
                    <a:pt x="1202" y="958"/>
                  </a:lnTo>
                  <a:lnTo>
                    <a:pt x="1202" y="960"/>
                  </a:lnTo>
                  <a:lnTo>
                    <a:pt x="1202" y="961"/>
                  </a:lnTo>
                  <a:lnTo>
                    <a:pt x="1203" y="961"/>
                  </a:lnTo>
                  <a:lnTo>
                    <a:pt x="1203" y="960"/>
                  </a:lnTo>
                  <a:lnTo>
                    <a:pt x="1205" y="960"/>
                  </a:lnTo>
                  <a:lnTo>
                    <a:pt x="1206" y="958"/>
                  </a:lnTo>
                  <a:lnTo>
                    <a:pt x="1208" y="958"/>
                  </a:lnTo>
                  <a:lnTo>
                    <a:pt x="1206" y="958"/>
                  </a:lnTo>
                  <a:lnTo>
                    <a:pt x="1208" y="958"/>
                  </a:lnTo>
                  <a:lnTo>
                    <a:pt x="1210" y="958"/>
                  </a:lnTo>
                  <a:lnTo>
                    <a:pt x="1208" y="958"/>
                  </a:lnTo>
                  <a:lnTo>
                    <a:pt x="1210" y="958"/>
                  </a:lnTo>
                  <a:lnTo>
                    <a:pt x="1208" y="960"/>
                  </a:lnTo>
                  <a:lnTo>
                    <a:pt x="1208" y="961"/>
                  </a:lnTo>
                  <a:lnTo>
                    <a:pt x="1206" y="963"/>
                  </a:lnTo>
                  <a:lnTo>
                    <a:pt x="1203" y="965"/>
                  </a:lnTo>
                  <a:lnTo>
                    <a:pt x="1203" y="966"/>
                  </a:lnTo>
                  <a:lnTo>
                    <a:pt x="1202" y="969"/>
                  </a:lnTo>
                  <a:lnTo>
                    <a:pt x="1203" y="971"/>
                  </a:lnTo>
                  <a:lnTo>
                    <a:pt x="1203" y="973"/>
                  </a:lnTo>
                  <a:lnTo>
                    <a:pt x="1203" y="976"/>
                  </a:lnTo>
                  <a:lnTo>
                    <a:pt x="1203" y="978"/>
                  </a:lnTo>
                  <a:lnTo>
                    <a:pt x="1202" y="978"/>
                  </a:lnTo>
                  <a:lnTo>
                    <a:pt x="1202" y="979"/>
                  </a:lnTo>
                  <a:lnTo>
                    <a:pt x="1198" y="981"/>
                  </a:lnTo>
                  <a:lnTo>
                    <a:pt x="1198" y="982"/>
                  </a:lnTo>
                  <a:lnTo>
                    <a:pt x="1198" y="984"/>
                  </a:lnTo>
                  <a:lnTo>
                    <a:pt x="1197" y="982"/>
                  </a:lnTo>
                  <a:lnTo>
                    <a:pt x="1198" y="981"/>
                  </a:lnTo>
                  <a:lnTo>
                    <a:pt x="1198" y="979"/>
                  </a:lnTo>
                  <a:lnTo>
                    <a:pt x="1200" y="978"/>
                  </a:lnTo>
                  <a:lnTo>
                    <a:pt x="1200" y="976"/>
                  </a:lnTo>
                  <a:lnTo>
                    <a:pt x="1198" y="976"/>
                  </a:lnTo>
                  <a:lnTo>
                    <a:pt x="1197" y="974"/>
                  </a:lnTo>
                  <a:lnTo>
                    <a:pt x="1195" y="973"/>
                  </a:lnTo>
                  <a:lnTo>
                    <a:pt x="1195" y="971"/>
                  </a:lnTo>
                  <a:lnTo>
                    <a:pt x="1193" y="971"/>
                  </a:lnTo>
                  <a:lnTo>
                    <a:pt x="1192" y="973"/>
                  </a:lnTo>
                  <a:lnTo>
                    <a:pt x="1192" y="971"/>
                  </a:lnTo>
                  <a:lnTo>
                    <a:pt x="1190" y="971"/>
                  </a:lnTo>
                  <a:lnTo>
                    <a:pt x="1189" y="971"/>
                  </a:lnTo>
                  <a:lnTo>
                    <a:pt x="1190" y="974"/>
                  </a:lnTo>
                  <a:lnTo>
                    <a:pt x="1190" y="973"/>
                  </a:lnTo>
                  <a:lnTo>
                    <a:pt x="1190" y="971"/>
                  </a:lnTo>
                  <a:lnTo>
                    <a:pt x="1192" y="973"/>
                  </a:lnTo>
                  <a:lnTo>
                    <a:pt x="1193" y="971"/>
                  </a:lnTo>
                  <a:lnTo>
                    <a:pt x="1195" y="973"/>
                  </a:lnTo>
                  <a:lnTo>
                    <a:pt x="1197" y="974"/>
                  </a:lnTo>
                  <a:lnTo>
                    <a:pt x="1198" y="976"/>
                  </a:lnTo>
                  <a:lnTo>
                    <a:pt x="1200" y="976"/>
                  </a:lnTo>
                  <a:lnTo>
                    <a:pt x="1200" y="978"/>
                  </a:lnTo>
                  <a:lnTo>
                    <a:pt x="1198" y="979"/>
                  </a:lnTo>
                  <a:lnTo>
                    <a:pt x="1198" y="981"/>
                  </a:lnTo>
                  <a:lnTo>
                    <a:pt x="1197" y="981"/>
                  </a:lnTo>
                  <a:lnTo>
                    <a:pt x="1197" y="982"/>
                  </a:lnTo>
                  <a:lnTo>
                    <a:pt x="1198" y="984"/>
                  </a:lnTo>
                  <a:lnTo>
                    <a:pt x="1197" y="984"/>
                  </a:lnTo>
                  <a:lnTo>
                    <a:pt x="1193" y="984"/>
                  </a:lnTo>
                  <a:lnTo>
                    <a:pt x="1192" y="984"/>
                  </a:lnTo>
                  <a:lnTo>
                    <a:pt x="1190" y="984"/>
                  </a:lnTo>
                  <a:lnTo>
                    <a:pt x="1189" y="984"/>
                  </a:lnTo>
                  <a:lnTo>
                    <a:pt x="1187" y="984"/>
                  </a:lnTo>
                  <a:lnTo>
                    <a:pt x="1185" y="986"/>
                  </a:lnTo>
                  <a:lnTo>
                    <a:pt x="1184" y="986"/>
                  </a:lnTo>
                  <a:lnTo>
                    <a:pt x="1182" y="986"/>
                  </a:lnTo>
                  <a:lnTo>
                    <a:pt x="1180" y="987"/>
                  </a:lnTo>
                  <a:lnTo>
                    <a:pt x="1180" y="989"/>
                  </a:lnTo>
                  <a:lnTo>
                    <a:pt x="1179" y="991"/>
                  </a:lnTo>
                  <a:lnTo>
                    <a:pt x="1179" y="992"/>
                  </a:lnTo>
                  <a:lnTo>
                    <a:pt x="1177" y="994"/>
                  </a:lnTo>
                  <a:lnTo>
                    <a:pt x="1176" y="995"/>
                  </a:lnTo>
                  <a:lnTo>
                    <a:pt x="1174" y="997"/>
                  </a:lnTo>
                  <a:lnTo>
                    <a:pt x="1174" y="995"/>
                  </a:lnTo>
                  <a:lnTo>
                    <a:pt x="1172" y="995"/>
                  </a:lnTo>
                  <a:lnTo>
                    <a:pt x="1172" y="994"/>
                  </a:lnTo>
                  <a:lnTo>
                    <a:pt x="1172" y="992"/>
                  </a:lnTo>
                  <a:lnTo>
                    <a:pt x="1171" y="992"/>
                  </a:lnTo>
                  <a:lnTo>
                    <a:pt x="1172" y="992"/>
                  </a:lnTo>
                  <a:lnTo>
                    <a:pt x="1172" y="991"/>
                  </a:lnTo>
                  <a:lnTo>
                    <a:pt x="1171" y="991"/>
                  </a:lnTo>
                  <a:lnTo>
                    <a:pt x="1172" y="991"/>
                  </a:lnTo>
                  <a:lnTo>
                    <a:pt x="1172" y="989"/>
                  </a:lnTo>
                  <a:lnTo>
                    <a:pt x="1172" y="987"/>
                  </a:lnTo>
                  <a:lnTo>
                    <a:pt x="1171" y="987"/>
                  </a:lnTo>
                  <a:lnTo>
                    <a:pt x="1169" y="986"/>
                  </a:lnTo>
                  <a:lnTo>
                    <a:pt x="1167" y="986"/>
                  </a:lnTo>
                  <a:lnTo>
                    <a:pt x="1166" y="986"/>
                  </a:lnTo>
                  <a:lnTo>
                    <a:pt x="1164" y="986"/>
                  </a:lnTo>
                  <a:lnTo>
                    <a:pt x="1164" y="984"/>
                  </a:lnTo>
                  <a:lnTo>
                    <a:pt x="1164" y="986"/>
                  </a:lnTo>
                  <a:lnTo>
                    <a:pt x="1164" y="984"/>
                  </a:lnTo>
                  <a:lnTo>
                    <a:pt x="1163" y="984"/>
                  </a:lnTo>
                  <a:lnTo>
                    <a:pt x="1163" y="986"/>
                  </a:lnTo>
                  <a:lnTo>
                    <a:pt x="1163" y="984"/>
                  </a:lnTo>
                  <a:lnTo>
                    <a:pt x="1161" y="984"/>
                  </a:lnTo>
                  <a:lnTo>
                    <a:pt x="1159" y="984"/>
                  </a:lnTo>
                  <a:lnTo>
                    <a:pt x="1161" y="984"/>
                  </a:lnTo>
                  <a:lnTo>
                    <a:pt x="1163" y="984"/>
                  </a:lnTo>
                  <a:lnTo>
                    <a:pt x="1163" y="982"/>
                  </a:lnTo>
                  <a:lnTo>
                    <a:pt x="1161" y="982"/>
                  </a:lnTo>
                  <a:lnTo>
                    <a:pt x="1159" y="981"/>
                  </a:lnTo>
                  <a:lnTo>
                    <a:pt x="1158" y="981"/>
                  </a:lnTo>
                  <a:lnTo>
                    <a:pt x="1158" y="982"/>
                  </a:lnTo>
                  <a:lnTo>
                    <a:pt x="1156" y="981"/>
                  </a:lnTo>
                  <a:lnTo>
                    <a:pt x="1156" y="982"/>
                  </a:lnTo>
                  <a:lnTo>
                    <a:pt x="1156" y="981"/>
                  </a:lnTo>
                  <a:lnTo>
                    <a:pt x="1154" y="981"/>
                  </a:lnTo>
                  <a:lnTo>
                    <a:pt x="1154" y="982"/>
                  </a:lnTo>
                  <a:lnTo>
                    <a:pt x="1154" y="981"/>
                  </a:lnTo>
                  <a:lnTo>
                    <a:pt x="1153" y="981"/>
                  </a:lnTo>
                  <a:lnTo>
                    <a:pt x="1151" y="981"/>
                  </a:lnTo>
                  <a:lnTo>
                    <a:pt x="1151" y="982"/>
                  </a:lnTo>
                  <a:lnTo>
                    <a:pt x="1151" y="981"/>
                  </a:lnTo>
                  <a:lnTo>
                    <a:pt x="1151" y="982"/>
                  </a:lnTo>
                  <a:lnTo>
                    <a:pt x="1149" y="982"/>
                  </a:lnTo>
                  <a:lnTo>
                    <a:pt x="1149" y="984"/>
                  </a:lnTo>
                  <a:lnTo>
                    <a:pt x="1151" y="984"/>
                  </a:lnTo>
                  <a:lnTo>
                    <a:pt x="1149" y="984"/>
                  </a:lnTo>
                  <a:lnTo>
                    <a:pt x="1149" y="986"/>
                  </a:lnTo>
                  <a:lnTo>
                    <a:pt x="1151" y="984"/>
                  </a:lnTo>
                  <a:lnTo>
                    <a:pt x="1151" y="986"/>
                  </a:lnTo>
                  <a:lnTo>
                    <a:pt x="1153" y="986"/>
                  </a:lnTo>
                  <a:lnTo>
                    <a:pt x="1154" y="986"/>
                  </a:lnTo>
                  <a:lnTo>
                    <a:pt x="1154" y="987"/>
                  </a:lnTo>
                  <a:lnTo>
                    <a:pt x="1156" y="987"/>
                  </a:lnTo>
                  <a:lnTo>
                    <a:pt x="1156" y="986"/>
                  </a:lnTo>
                  <a:lnTo>
                    <a:pt x="1158" y="986"/>
                  </a:lnTo>
                  <a:lnTo>
                    <a:pt x="1158" y="987"/>
                  </a:lnTo>
                  <a:lnTo>
                    <a:pt x="1159" y="987"/>
                  </a:lnTo>
                  <a:lnTo>
                    <a:pt x="1163" y="989"/>
                  </a:lnTo>
                  <a:lnTo>
                    <a:pt x="1164" y="989"/>
                  </a:lnTo>
                  <a:lnTo>
                    <a:pt x="1164" y="991"/>
                  </a:lnTo>
                  <a:lnTo>
                    <a:pt x="1166" y="991"/>
                  </a:lnTo>
                  <a:lnTo>
                    <a:pt x="1167" y="992"/>
                  </a:lnTo>
                  <a:lnTo>
                    <a:pt x="1169" y="992"/>
                  </a:lnTo>
                  <a:close/>
                  <a:moveTo>
                    <a:pt x="107" y="481"/>
                  </a:moveTo>
                  <a:lnTo>
                    <a:pt x="109" y="481"/>
                  </a:lnTo>
                  <a:lnTo>
                    <a:pt x="109" y="480"/>
                  </a:lnTo>
                  <a:lnTo>
                    <a:pt x="110" y="478"/>
                  </a:lnTo>
                  <a:lnTo>
                    <a:pt x="112" y="478"/>
                  </a:lnTo>
                  <a:lnTo>
                    <a:pt x="113" y="478"/>
                  </a:lnTo>
                  <a:lnTo>
                    <a:pt x="115" y="478"/>
                  </a:lnTo>
                  <a:lnTo>
                    <a:pt x="117" y="478"/>
                  </a:lnTo>
                  <a:lnTo>
                    <a:pt x="118" y="478"/>
                  </a:lnTo>
                  <a:lnTo>
                    <a:pt x="118" y="480"/>
                  </a:lnTo>
                  <a:lnTo>
                    <a:pt x="120" y="480"/>
                  </a:lnTo>
                  <a:lnTo>
                    <a:pt x="122" y="481"/>
                  </a:lnTo>
                  <a:lnTo>
                    <a:pt x="125" y="481"/>
                  </a:lnTo>
                  <a:lnTo>
                    <a:pt x="127" y="481"/>
                  </a:lnTo>
                  <a:lnTo>
                    <a:pt x="127" y="483"/>
                  </a:lnTo>
                  <a:lnTo>
                    <a:pt x="127" y="485"/>
                  </a:lnTo>
                  <a:lnTo>
                    <a:pt x="128" y="485"/>
                  </a:lnTo>
                  <a:lnTo>
                    <a:pt x="128" y="486"/>
                  </a:lnTo>
                  <a:lnTo>
                    <a:pt x="130" y="488"/>
                  </a:lnTo>
                  <a:lnTo>
                    <a:pt x="131" y="488"/>
                  </a:lnTo>
                  <a:lnTo>
                    <a:pt x="131" y="490"/>
                  </a:lnTo>
                  <a:lnTo>
                    <a:pt x="133" y="490"/>
                  </a:lnTo>
                  <a:lnTo>
                    <a:pt x="135" y="491"/>
                  </a:lnTo>
                  <a:lnTo>
                    <a:pt x="136" y="491"/>
                  </a:lnTo>
                  <a:lnTo>
                    <a:pt x="140" y="493"/>
                  </a:lnTo>
                  <a:lnTo>
                    <a:pt x="141" y="493"/>
                  </a:lnTo>
                  <a:lnTo>
                    <a:pt x="143" y="493"/>
                  </a:lnTo>
                  <a:lnTo>
                    <a:pt x="143" y="491"/>
                  </a:lnTo>
                  <a:lnTo>
                    <a:pt x="143" y="493"/>
                  </a:lnTo>
                  <a:lnTo>
                    <a:pt x="144" y="493"/>
                  </a:lnTo>
                  <a:lnTo>
                    <a:pt x="146" y="494"/>
                  </a:lnTo>
                  <a:lnTo>
                    <a:pt x="146" y="496"/>
                  </a:lnTo>
                  <a:lnTo>
                    <a:pt x="148" y="496"/>
                  </a:lnTo>
                  <a:lnTo>
                    <a:pt x="149" y="498"/>
                  </a:lnTo>
                  <a:lnTo>
                    <a:pt x="151" y="498"/>
                  </a:lnTo>
                  <a:lnTo>
                    <a:pt x="151" y="496"/>
                  </a:lnTo>
                  <a:lnTo>
                    <a:pt x="149" y="496"/>
                  </a:lnTo>
                  <a:lnTo>
                    <a:pt x="151" y="496"/>
                  </a:lnTo>
                  <a:lnTo>
                    <a:pt x="151" y="494"/>
                  </a:lnTo>
                  <a:lnTo>
                    <a:pt x="149" y="494"/>
                  </a:lnTo>
                  <a:lnTo>
                    <a:pt x="151" y="494"/>
                  </a:lnTo>
                  <a:lnTo>
                    <a:pt x="149" y="493"/>
                  </a:lnTo>
                  <a:lnTo>
                    <a:pt x="151" y="493"/>
                  </a:lnTo>
                  <a:lnTo>
                    <a:pt x="153" y="493"/>
                  </a:lnTo>
                  <a:lnTo>
                    <a:pt x="153" y="491"/>
                  </a:lnTo>
                  <a:lnTo>
                    <a:pt x="154" y="491"/>
                  </a:lnTo>
                  <a:lnTo>
                    <a:pt x="156" y="490"/>
                  </a:lnTo>
                  <a:lnTo>
                    <a:pt x="154" y="490"/>
                  </a:lnTo>
                  <a:lnTo>
                    <a:pt x="156" y="490"/>
                  </a:lnTo>
                  <a:lnTo>
                    <a:pt x="156" y="488"/>
                  </a:lnTo>
                  <a:lnTo>
                    <a:pt x="156" y="490"/>
                  </a:lnTo>
                  <a:lnTo>
                    <a:pt x="157" y="490"/>
                  </a:lnTo>
                  <a:lnTo>
                    <a:pt x="157" y="488"/>
                  </a:lnTo>
                  <a:lnTo>
                    <a:pt x="159" y="488"/>
                  </a:lnTo>
                  <a:lnTo>
                    <a:pt x="159" y="486"/>
                  </a:lnTo>
                  <a:lnTo>
                    <a:pt x="161" y="486"/>
                  </a:lnTo>
                  <a:lnTo>
                    <a:pt x="161" y="485"/>
                  </a:lnTo>
                  <a:lnTo>
                    <a:pt x="162" y="485"/>
                  </a:lnTo>
                  <a:lnTo>
                    <a:pt x="161" y="485"/>
                  </a:lnTo>
                  <a:lnTo>
                    <a:pt x="162" y="485"/>
                  </a:lnTo>
                  <a:lnTo>
                    <a:pt x="164" y="485"/>
                  </a:lnTo>
                  <a:lnTo>
                    <a:pt x="166" y="485"/>
                  </a:lnTo>
                  <a:lnTo>
                    <a:pt x="166" y="483"/>
                  </a:lnTo>
                  <a:lnTo>
                    <a:pt x="167" y="483"/>
                  </a:lnTo>
                  <a:lnTo>
                    <a:pt x="167" y="485"/>
                  </a:lnTo>
                  <a:lnTo>
                    <a:pt x="169" y="485"/>
                  </a:lnTo>
                  <a:lnTo>
                    <a:pt x="170" y="485"/>
                  </a:lnTo>
                  <a:lnTo>
                    <a:pt x="172" y="485"/>
                  </a:lnTo>
                  <a:lnTo>
                    <a:pt x="170" y="485"/>
                  </a:lnTo>
                  <a:lnTo>
                    <a:pt x="170" y="486"/>
                  </a:lnTo>
                  <a:lnTo>
                    <a:pt x="172" y="485"/>
                  </a:lnTo>
                  <a:lnTo>
                    <a:pt x="172" y="486"/>
                  </a:lnTo>
                  <a:lnTo>
                    <a:pt x="174" y="486"/>
                  </a:lnTo>
                  <a:lnTo>
                    <a:pt x="174" y="485"/>
                  </a:lnTo>
                  <a:lnTo>
                    <a:pt x="174" y="486"/>
                  </a:lnTo>
                  <a:lnTo>
                    <a:pt x="175" y="486"/>
                  </a:lnTo>
                  <a:lnTo>
                    <a:pt x="174" y="485"/>
                  </a:lnTo>
                  <a:lnTo>
                    <a:pt x="175" y="485"/>
                  </a:lnTo>
                  <a:lnTo>
                    <a:pt x="177" y="485"/>
                  </a:lnTo>
                  <a:lnTo>
                    <a:pt x="177" y="483"/>
                  </a:lnTo>
                  <a:lnTo>
                    <a:pt x="175" y="483"/>
                  </a:lnTo>
                  <a:lnTo>
                    <a:pt x="175" y="481"/>
                  </a:lnTo>
                  <a:lnTo>
                    <a:pt x="174" y="481"/>
                  </a:lnTo>
                  <a:lnTo>
                    <a:pt x="174" y="480"/>
                  </a:lnTo>
                  <a:lnTo>
                    <a:pt x="175" y="478"/>
                  </a:lnTo>
                  <a:lnTo>
                    <a:pt x="177" y="478"/>
                  </a:lnTo>
                  <a:lnTo>
                    <a:pt x="177" y="477"/>
                  </a:lnTo>
                  <a:lnTo>
                    <a:pt x="177" y="478"/>
                  </a:lnTo>
                  <a:lnTo>
                    <a:pt x="179" y="478"/>
                  </a:lnTo>
                  <a:lnTo>
                    <a:pt x="177" y="477"/>
                  </a:lnTo>
                  <a:lnTo>
                    <a:pt x="179" y="477"/>
                  </a:lnTo>
                  <a:lnTo>
                    <a:pt x="180" y="477"/>
                  </a:lnTo>
                  <a:lnTo>
                    <a:pt x="182" y="477"/>
                  </a:lnTo>
                  <a:lnTo>
                    <a:pt x="182" y="478"/>
                  </a:lnTo>
                  <a:lnTo>
                    <a:pt x="183" y="478"/>
                  </a:lnTo>
                  <a:lnTo>
                    <a:pt x="183" y="480"/>
                  </a:lnTo>
                  <a:lnTo>
                    <a:pt x="185" y="480"/>
                  </a:lnTo>
                  <a:lnTo>
                    <a:pt x="185" y="478"/>
                  </a:lnTo>
                  <a:lnTo>
                    <a:pt x="187" y="478"/>
                  </a:lnTo>
                  <a:lnTo>
                    <a:pt x="188" y="478"/>
                  </a:lnTo>
                  <a:lnTo>
                    <a:pt x="188" y="477"/>
                  </a:lnTo>
                  <a:lnTo>
                    <a:pt x="188" y="478"/>
                  </a:lnTo>
                  <a:lnTo>
                    <a:pt x="188" y="477"/>
                  </a:lnTo>
                  <a:lnTo>
                    <a:pt x="190" y="477"/>
                  </a:lnTo>
                  <a:lnTo>
                    <a:pt x="190" y="475"/>
                  </a:lnTo>
                  <a:lnTo>
                    <a:pt x="192" y="477"/>
                  </a:lnTo>
                  <a:lnTo>
                    <a:pt x="193" y="477"/>
                  </a:lnTo>
                  <a:lnTo>
                    <a:pt x="195" y="477"/>
                  </a:lnTo>
                  <a:lnTo>
                    <a:pt x="195" y="475"/>
                  </a:lnTo>
                  <a:lnTo>
                    <a:pt x="196" y="475"/>
                  </a:lnTo>
                  <a:lnTo>
                    <a:pt x="196" y="477"/>
                  </a:lnTo>
                  <a:lnTo>
                    <a:pt x="196" y="478"/>
                  </a:lnTo>
                  <a:lnTo>
                    <a:pt x="196" y="477"/>
                  </a:lnTo>
                  <a:lnTo>
                    <a:pt x="198" y="478"/>
                  </a:lnTo>
                  <a:lnTo>
                    <a:pt x="200" y="480"/>
                  </a:lnTo>
                  <a:lnTo>
                    <a:pt x="200" y="481"/>
                  </a:lnTo>
                  <a:lnTo>
                    <a:pt x="198" y="481"/>
                  </a:lnTo>
                  <a:lnTo>
                    <a:pt x="200" y="483"/>
                  </a:lnTo>
                  <a:lnTo>
                    <a:pt x="200" y="485"/>
                  </a:lnTo>
                  <a:lnTo>
                    <a:pt x="201" y="486"/>
                  </a:lnTo>
                  <a:lnTo>
                    <a:pt x="201" y="488"/>
                  </a:lnTo>
                  <a:lnTo>
                    <a:pt x="201" y="490"/>
                  </a:lnTo>
                  <a:lnTo>
                    <a:pt x="201" y="488"/>
                  </a:lnTo>
                  <a:lnTo>
                    <a:pt x="201" y="490"/>
                  </a:lnTo>
                  <a:lnTo>
                    <a:pt x="200" y="490"/>
                  </a:lnTo>
                  <a:lnTo>
                    <a:pt x="198" y="488"/>
                  </a:lnTo>
                  <a:lnTo>
                    <a:pt x="196" y="488"/>
                  </a:lnTo>
                  <a:lnTo>
                    <a:pt x="195" y="490"/>
                  </a:lnTo>
                  <a:lnTo>
                    <a:pt x="195" y="491"/>
                  </a:lnTo>
                  <a:lnTo>
                    <a:pt x="195" y="493"/>
                  </a:lnTo>
                  <a:lnTo>
                    <a:pt x="193" y="493"/>
                  </a:lnTo>
                  <a:lnTo>
                    <a:pt x="195" y="493"/>
                  </a:lnTo>
                  <a:lnTo>
                    <a:pt x="195" y="496"/>
                  </a:lnTo>
                  <a:lnTo>
                    <a:pt x="195" y="498"/>
                  </a:lnTo>
                  <a:lnTo>
                    <a:pt x="196" y="499"/>
                  </a:lnTo>
                  <a:lnTo>
                    <a:pt x="198" y="503"/>
                  </a:lnTo>
                  <a:lnTo>
                    <a:pt x="200" y="503"/>
                  </a:lnTo>
                  <a:lnTo>
                    <a:pt x="201" y="504"/>
                  </a:lnTo>
                  <a:lnTo>
                    <a:pt x="201" y="506"/>
                  </a:lnTo>
                  <a:lnTo>
                    <a:pt x="203" y="506"/>
                  </a:lnTo>
                  <a:lnTo>
                    <a:pt x="205" y="507"/>
                  </a:lnTo>
                  <a:lnTo>
                    <a:pt x="205" y="509"/>
                  </a:lnTo>
                  <a:lnTo>
                    <a:pt x="205" y="511"/>
                  </a:lnTo>
                  <a:lnTo>
                    <a:pt x="206" y="511"/>
                  </a:lnTo>
                  <a:lnTo>
                    <a:pt x="208" y="512"/>
                  </a:lnTo>
                  <a:lnTo>
                    <a:pt x="208" y="514"/>
                  </a:lnTo>
                  <a:lnTo>
                    <a:pt x="209" y="514"/>
                  </a:lnTo>
                  <a:lnTo>
                    <a:pt x="211" y="514"/>
                  </a:lnTo>
                  <a:lnTo>
                    <a:pt x="211" y="516"/>
                  </a:lnTo>
                  <a:lnTo>
                    <a:pt x="213" y="516"/>
                  </a:lnTo>
                  <a:lnTo>
                    <a:pt x="213" y="517"/>
                  </a:lnTo>
                  <a:lnTo>
                    <a:pt x="214" y="517"/>
                  </a:lnTo>
                  <a:lnTo>
                    <a:pt x="213" y="519"/>
                  </a:lnTo>
                  <a:lnTo>
                    <a:pt x="213" y="520"/>
                  </a:lnTo>
                  <a:lnTo>
                    <a:pt x="213" y="522"/>
                  </a:lnTo>
                  <a:lnTo>
                    <a:pt x="214" y="522"/>
                  </a:lnTo>
                  <a:lnTo>
                    <a:pt x="214" y="524"/>
                  </a:lnTo>
                  <a:lnTo>
                    <a:pt x="216" y="524"/>
                  </a:lnTo>
                  <a:lnTo>
                    <a:pt x="218" y="525"/>
                  </a:lnTo>
                  <a:lnTo>
                    <a:pt x="219" y="525"/>
                  </a:lnTo>
                  <a:lnTo>
                    <a:pt x="219" y="527"/>
                  </a:lnTo>
                  <a:lnTo>
                    <a:pt x="221" y="527"/>
                  </a:lnTo>
                  <a:lnTo>
                    <a:pt x="219" y="527"/>
                  </a:lnTo>
                  <a:lnTo>
                    <a:pt x="221" y="529"/>
                  </a:lnTo>
                  <a:lnTo>
                    <a:pt x="222" y="529"/>
                  </a:lnTo>
                  <a:lnTo>
                    <a:pt x="224" y="529"/>
                  </a:lnTo>
                  <a:lnTo>
                    <a:pt x="226" y="529"/>
                  </a:lnTo>
                  <a:lnTo>
                    <a:pt x="226" y="530"/>
                  </a:lnTo>
                  <a:lnTo>
                    <a:pt x="226" y="532"/>
                  </a:lnTo>
                  <a:lnTo>
                    <a:pt x="227" y="532"/>
                  </a:lnTo>
                  <a:lnTo>
                    <a:pt x="229" y="534"/>
                  </a:lnTo>
                  <a:lnTo>
                    <a:pt x="231" y="534"/>
                  </a:lnTo>
                  <a:lnTo>
                    <a:pt x="229" y="534"/>
                  </a:lnTo>
                  <a:lnTo>
                    <a:pt x="231" y="535"/>
                  </a:lnTo>
                  <a:lnTo>
                    <a:pt x="231" y="534"/>
                  </a:lnTo>
                  <a:lnTo>
                    <a:pt x="232" y="534"/>
                  </a:lnTo>
                  <a:lnTo>
                    <a:pt x="232" y="535"/>
                  </a:lnTo>
                  <a:lnTo>
                    <a:pt x="234" y="535"/>
                  </a:lnTo>
                  <a:lnTo>
                    <a:pt x="235" y="535"/>
                  </a:lnTo>
                  <a:lnTo>
                    <a:pt x="235" y="537"/>
                  </a:lnTo>
                  <a:lnTo>
                    <a:pt x="237" y="537"/>
                  </a:lnTo>
                  <a:lnTo>
                    <a:pt x="239" y="537"/>
                  </a:lnTo>
                  <a:lnTo>
                    <a:pt x="240" y="538"/>
                  </a:lnTo>
                  <a:lnTo>
                    <a:pt x="244" y="538"/>
                  </a:lnTo>
                  <a:lnTo>
                    <a:pt x="245" y="538"/>
                  </a:lnTo>
                  <a:lnTo>
                    <a:pt x="245" y="540"/>
                  </a:lnTo>
                  <a:lnTo>
                    <a:pt x="252" y="542"/>
                  </a:lnTo>
                  <a:lnTo>
                    <a:pt x="253" y="542"/>
                  </a:lnTo>
                  <a:lnTo>
                    <a:pt x="255" y="542"/>
                  </a:lnTo>
                  <a:lnTo>
                    <a:pt x="257" y="542"/>
                  </a:lnTo>
                  <a:lnTo>
                    <a:pt x="258" y="543"/>
                  </a:lnTo>
                  <a:lnTo>
                    <a:pt x="260" y="543"/>
                  </a:lnTo>
                  <a:lnTo>
                    <a:pt x="265" y="545"/>
                  </a:lnTo>
                  <a:lnTo>
                    <a:pt x="268" y="545"/>
                  </a:lnTo>
                  <a:lnTo>
                    <a:pt x="271" y="545"/>
                  </a:lnTo>
                  <a:lnTo>
                    <a:pt x="273" y="547"/>
                  </a:lnTo>
                  <a:lnTo>
                    <a:pt x="275" y="547"/>
                  </a:lnTo>
                  <a:lnTo>
                    <a:pt x="276" y="548"/>
                  </a:lnTo>
                  <a:lnTo>
                    <a:pt x="279" y="548"/>
                  </a:lnTo>
                  <a:lnTo>
                    <a:pt x="281" y="548"/>
                  </a:lnTo>
                  <a:lnTo>
                    <a:pt x="283" y="548"/>
                  </a:lnTo>
                  <a:lnTo>
                    <a:pt x="284" y="548"/>
                  </a:lnTo>
                  <a:lnTo>
                    <a:pt x="284" y="547"/>
                  </a:lnTo>
                  <a:lnTo>
                    <a:pt x="284" y="548"/>
                  </a:lnTo>
                  <a:lnTo>
                    <a:pt x="284" y="547"/>
                  </a:lnTo>
                  <a:lnTo>
                    <a:pt x="284" y="548"/>
                  </a:lnTo>
                  <a:lnTo>
                    <a:pt x="286" y="548"/>
                  </a:lnTo>
                  <a:lnTo>
                    <a:pt x="289" y="548"/>
                  </a:lnTo>
                  <a:lnTo>
                    <a:pt x="289" y="550"/>
                  </a:lnTo>
                  <a:lnTo>
                    <a:pt x="291" y="548"/>
                  </a:lnTo>
                  <a:lnTo>
                    <a:pt x="292" y="548"/>
                  </a:lnTo>
                  <a:lnTo>
                    <a:pt x="294" y="548"/>
                  </a:lnTo>
                  <a:lnTo>
                    <a:pt x="294" y="550"/>
                  </a:lnTo>
                  <a:lnTo>
                    <a:pt x="296" y="548"/>
                  </a:lnTo>
                  <a:lnTo>
                    <a:pt x="296" y="550"/>
                  </a:lnTo>
                  <a:lnTo>
                    <a:pt x="297" y="550"/>
                  </a:lnTo>
                  <a:lnTo>
                    <a:pt x="296" y="550"/>
                  </a:lnTo>
                  <a:lnTo>
                    <a:pt x="297" y="550"/>
                  </a:lnTo>
                  <a:lnTo>
                    <a:pt x="299" y="550"/>
                  </a:lnTo>
                  <a:lnTo>
                    <a:pt x="301" y="550"/>
                  </a:lnTo>
                  <a:lnTo>
                    <a:pt x="301" y="551"/>
                  </a:lnTo>
                  <a:lnTo>
                    <a:pt x="301" y="550"/>
                  </a:lnTo>
                  <a:lnTo>
                    <a:pt x="302" y="551"/>
                  </a:lnTo>
                  <a:lnTo>
                    <a:pt x="304" y="551"/>
                  </a:lnTo>
                  <a:lnTo>
                    <a:pt x="305" y="551"/>
                  </a:lnTo>
                  <a:lnTo>
                    <a:pt x="307" y="551"/>
                  </a:lnTo>
                  <a:lnTo>
                    <a:pt x="309" y="551"/>
                  </a:lnTo>
                  <a:lnTo>
                    <a:pt x="310" y="551"/>
                  </a:lnTo>
                  <a:lnTo>
                    <a:pt x="312" y="551"/>
                  </a:lnTo>
                  <a:lnTo>
                    <a:pt x="314" y="551"/>
                  </a:lnTo>
                  <a:lnTo>
                    <a:pt x="315" y="551"/>
                  </a:lnTo>
                  <a:lnTo>
                    <a:pt x="317" y="551"/>
                  </a:lnTo>
                  <a:lnTo>
                    <a:pt x="317" y="553"/>
                  </a:lnTo>
                  <a:lnTo>
                    <a:pt x="318" y="551"/>
                  </a:lnTo>
                  <a:lnTo>
                    <a:pt x="320" y="553"/>
                  </a:lnTo>
                  <a:lnTo>
                    <a:pt x="322" y="553"/>
                  </a:lnTo>
                  <a:lnTo>
                    <a:pt x="323" y="551"/>
                  </a:lnTo>
                  <a:lnTo>
                    <a:pt x="325" y="551"/>
                  </a:lnTo>
                  <a:lnTo>
                    <a:pt x="325" y="550"/>
                  </a:lnTo>
                  <a:lnTo>
                    <a:pt x="327" y="550"/>
                  </a:lnTo>
                  <a:lnTo>
                    <a:pt x="328" y="550"/>
                  </a:lnTo>
                  <a:lnTo>
                    <a:pt x="330" y="550"/>
                  </a:lnTo>
                  <a:lnTo>
                    <a:pt x="331" y="550"/>
                  </a:lnTo>
                  <a:lnTo>
                    <a:pt x="331" y="551"/>
                  </a:lnTo>
                  <a:lnTo>
                    <a:pt x="331" y="550"/>
                  </a:lnTo>
                  <a:lnTo>
                    <a:pt x="331" y="551"/>
                  </a:lnTo>
                  <a:lnTo>
                    <a:pt x="333" y="551"/>
                  </a:lnTo>
                  <a:lnTo>
                    <a:pt x="333" y="553"/>
                  </a:lnTo>
                  <a:lnTo>
                    <a:pt x="333" y="555"/>
                  </a:lnTo>
                  <a:lnTo>
                    <a:pt x="333" y="556"/>
                  </a:lnTo>
                  <a:lnTo>
                    <a:pt x="331" y="556"/>
                  </a:lnTo>
                  <a:lnTo>
                    <a:pt x="331" y="558"/>
                  </a:lnTo>
                  <a:lnTo>
                    <a:pt x="331" y="560"/>
                  </a:lnTo>
                  <a:lnTo>
                    <a:pt x="330" y="561"/>
                  </a:lnTo>
                  <a:lnTo>
                    <a:pt x="330" y="563"/>
                  </a:lnTo>
                  <a:lnTo>
                    <a:pt x="328" y="563"/>
                  </a:lnTo>
                  <a:lnTo>
                    <a:pt x="328" y="564"/>
                  </a:lnTo>
                  <a:lnTo>
                    <a:pt x="330" y="564"/>
                  </a:lnTo>
                  <a:lnTo>
                    <a:pt x="330" y="566"/>
                  </a:lnTo>
                  <a:lnTo>
                    <a:pt x="331" y="566"/>
                  </a:lnTo>
                  <a:lnTo>
                    <a:pt x="331" y="568"/>
                  </a:lnTo>
                  <a:lnTo>
                    <a:pt x="333" y="568"/>
                  </a:lnTo>
                  <a:lnTo>
                    <a:pt x="331" y="568"/>
                  </a:lnTo>
                  <a:lnTo>
                    <a:pt x="331" y="569"/>
                  </a:lnTo>
                  <a:lnTo>
                    <a:pt x="331" y="571"/>
                  </a:lnTo>
                  <a:lnTo>
                    <a:pt x="331" y="573"/>
                  </a:lnTo>
                  <a:lnTo>
                    <a:pt x="331" y="574"/>
                  </a:lnTo>
                  <a:lnTo>
                    <a:pt x="331" y="576"/>
                  </a:lnTo>
                  <a:lnTo>
                    <a:pt x="331" y="577"/>
                  </a:lnTo>
                  <a:lnTo>
                    <a:pt x="331" y="579"/>
                  </a:lnTo>
                  <a:lnTo>
                    <a:pt x="330" y="579"/>
                  </a:lnTo>
                  <a:lnTo>
                    <a:pt x="330" y="581"/>
                  </a:lnTo>
                  <a:lnTo>
                    <a:pt x="328" y="581"/>
                  </a:lnTo>
                  <a:lnTo>
                    <a:pt x="328" y="582"/>
                  </a:lnTo>
                  <a:lnTo>
                    <a:pt x="327" y="582"/>
                  </a:lnTo>
                  <a:lnTo>
                    <a:pt x="327" y="584"/>
                  </a:lnTo>
                  <a:lnTo>
                    <a:pt x="325" y="584"/>
                  </a:lnTo>
                  <a:lnTo>
                    <a:pt x="323" y="584"/>
                  </a:lnTo>
                  <a:lnTo>
                    <a:pt x="322" y="582"/>
                  </a:lnTo>
                  <a:lnTo>
                    <a:pt x="322" y="581"/>
                  </a:lnTo>
                  <a:lnTo>
                    <a:pt x="322" y="579"/>
                  </a:lnTo>
                  <a:lnTo>
                    <a:pt x="320" y="579"/>
                  </a:lnTo>
                  <a:lnTo>
                    <a:pt x="322" y="581"/>
                  </a:lnTo>
                  <a:lnTo>
                    <a:pt x="320" y="581"/>
                  </a:lnTo>
                  <a:lnTo>
                    <a:pt x="320" y="582"/>
                  </a:lnTo>
                  <a:lnTo>
                    <a:pt x="322" y="582"/>
                  </a:lnTo>
                  <a:lnTo>
                    <a:pt x="323" y="584"/>
                  </a:lnTo>
                  <a:lnTo>
                    <a:pt x="325" y="586"/>
                  </a:lnTo>
                  <a:lnTo>
                    <a:pt x="327" y="586"/>
                  </a:lnTo>
                  <a:lnTo>
                    <a:pt x="327" y="587"/>
                  </a:lnTo>
                  <a:lnTo>
                    <a:pt x="325" y="587"/>
                  </a:lnTo>
                  <a:lnTo>
                    <a:pt x="323" y="589"/>
                  </a:lnTo>
                  <a:lnTo>
                    <a:pt x="322" y="589"/>
                  </a:lnTo>
                  <a:lnTo>
                    <a:pt x="322" y="590"/>
                  </a:lnTo>
                  <a:lnTo>
                    <a:pt x="320" y="590"/>
                  </a:lnTo>
                  <a:lnTo>
                    <a:pt x="320" y="592"/>
                  </a:lnTo>
                  <a:lnTo>
                    <a:pt x="318" y="592"/>
                  </a:lnTo>
                  <a:lnTo>
                    <a:pt x="317" y="594"/>
                  </a:lnTo>
                  <a:lnTo>
                    <a:pt x="317" y="595"/>
                  </a:lnTo>
                  <a:lnTo>
                    <a:pt x="317" y="594"/>
                  </a:lnTo>
                  <a:lnTo>
                    <a:pt x="315" y="594"/>
                  </a:lnTo>
                  <a:lnTo>
                    <a:pt x="314" y="594"/>
                  </a:lnTo>
                  <a:lnTo>
                    <a:pt x="314" y="595"/>
                  </a:lnTo>
                  <a:lnTo>
                    <a:pt x="314" y="597"/>
                  </a:lnTo>
                  <a:lnTo>
                    <a:pt x="312" y="597"/>
                  </a:lnTo>
                  <a:lnTo>
                    <a:pt x="312" y="599"/>
                  </a:lnTo>
                  <a:lnTo>
                    <a:pt x="310" y="599"/>
                  </a:lnTo>
                  <a:lnTo>
                    <a:pt x="310" y="597"/>
                  </a:lnTo>
                  <a:lnTo>
                    <a:pt x="309" y="597"/>
                  </a:lnTo>
                  <a:lnTo>
                    <a:pt x="307" y="597"/>
                  </a:lnTo>
                  <a:lnTo>
                    <a:pt x="305" y="595"/>
                  </a:lnTo>
                  <a:lnTo>
                    <a:pt x="304" y="595"/>
                  </a:lnTo>
                  <a:lnTo>
                    <a:pt x="304" y="597"/>
                  </a:lnTo>
                  <a:lnTo>
                    <a:pt x="302" y="597"/>
                  </a:lnTo>
                  <a:lnTo>
                    <a:pt x="302" y="599"/>
                  </a:lnTo>
                  <a:lnTo>
                    <a:pt x="301" y="599"/>
                  </a:lnTo>
                  <a:lnTo>
                    <a:pt x="299" y="599"/>
                  </a:lnTo>
                  <a:lnTo>
                    <a:pt x="297" y="599"/>
                  </a:lnTo>
                  <a:lnTo>
                    <a:pt x="297" y="600"/>
                  </a:lnTo>
                  <a:lnTo>
                    <a:pt x="296" y="600"/>
                  </a:lnTo>
                  <a:lnTo>
                    <a:pt x="296" y="602"/>
                  </a:lnTo>
                  <a:lnTo>
                    <a:pt x="296" y="600"/>
                  </a:lnTo>
                  <a:lnTo>
                    <a:pt x="294" y="600"/>
                  </a:lnTo>
                  <a:lnTo>
                    <a:pt x="294" y="602"/>
                  </a:lnTo>
                  <a:lnTo>
                    <a:pt x="291" y="602"/>
                  </a:lnTo>
                  <a:lnTo>
                    <a:pt x="288" y="602"/>
                  </a:lnTo>
                  <a:lnTo>
                    <a:pt x="288" y="600"/>
                  </a:lnTo>
                  <a:lnTo>
                    <a:pt x="286" y="599"/>
                  </a:lnTo>
                  <a:lnTo>
                    <a:pt x="286" y="597"/>
                  </a:lnTo>
                  <a:lnTo>
                    <a:pt x="286" y="595"/>
                  </a:lnTo>
                  <a:lnTo>
                    <a:pt x="283" y="595"/>
                  </a:lnTo>
                  <a:lnTo>
                    <a:pt x="283" y="597"/>
                  </a:lnTo>
                  <a:lnTo>
                    <a:pt x="281" y="599"/>
                  </a:lnTo>
                  <a:lnTo>
                    <a:pt x="281" y="600"/>
                  </a:lnTo>
                  <a:lnTo>
                    <a:pt x="281" y="602"/>
                  </a:lnTo>
                  <a:lnTo>
                    <a:pt x="279" y="600"/>
                  </a:lnTo>
                  <a:lnTo>
                    <a:pt x="278" y="600"/>
                  </a:lnTo>
                  <a:lnTo>
                    <a:pt x="276" y="600"/>
                  </a:lnTo>
                  <a:lnTo>
                    <a:pt x="275" y="599"/>
                  </a:lnTo>
                  <a:lnTo>
                    <a:pt x="273" y="599"/>
                  </a:lnTo>
                  <a:lnTo>
                    <a:pt x="271" y="597"/>
                  </a:lnTo>
                  <a:lnTo>
                    <a:pt x="268" y="597"/>
                  </a:lnTo>
                  <a:lnTo>
                    <a:pt x="265" y="597"/>
                  </a:lnTo>
                  <a:lnTo>
                    <a:pt x="263" y="597"/>
                  </a:lnTo>
                  <a:lnTo>
                    <a:pt x="261" y="597"/>
                  </a:lnTo>
                  <a:lnTo>
                    <a:pt x="260" y="597"/>
                  </a:lnTo>
                  <a:lnTo>
                    <a:pt x="258" y="597"/>
                  </a:lnTo>
                  <a:lnTo>
                    <a:pt x="257" y="597"/>
                  </a:lnTo>
                  <a:lnTo>
                    <a:pt x="255" y="597"/>
                  </a:lnTo>
                  <a:lnTo>
                    <a:pt x="253" y="597"/>
                  </a:lnTo>
                  <a:lnTo>
                    <a:pt x="252" y="597"/>
                  </a:lnTo>
                  <a:lnTo>
                    <a:pt x="250" y="597"/>
                  </a:lnTo>
                  <a:lnTo>
                    <a:pt x="248" y="599"/>
                  </a:lnTo>
                  <a:lnTo>
                    <a:pt x="248" y="597"/>
                  </a:lnTo>
                  <a:lnTo>
                    <a:pt x="247" y="597"/>
                  </a:lnTo>
                  <a:lnTo>
                    <a:pt x="245" y="597"/>
                  </a:lnTo>
                  <a:lnTo>
                    <a:pt x="244" y="597"/>
                  </a:lnTo>
                  <a:lnTo>
                    <a:pt x="244" y="599"/>
                  </a:lnTo>
                  <a:lnTo>
                    <a:pt x="242" y="599"/>
                  </a:lnTo>
                  <a:lnTo>
                    <a:pt x="240" y="599"/>
                  </a:lnTo>
                  <a:lnTo>
                    <a:pt x="239" y="599"/>
                  </a:lnTo>
                  <a:lnTo>
                    <a:pt x="237" y="600"/>
                  </a:lnTo>
                  <a:lnTo>
                    <a:pt x="235" y="600"/>
                  </a:lnTo>
                  <a:lnTo>
                    <a:pt x="235" y="602"/>
                  </a:lnTo>
                  <a:lnTo>
                    <a:pt x="234" y="602"/>
                  </a:lnTo>
                  <a:lnTo>
                    <a:pt x="232" y="602"/>
                  </a:lnTo>
                  <a:lnTo>
                    <a:pt x="229" y="603"/>
                  </a:lnTo>
                  <a:lnTo>
                    <a:pt x="229" y="605"/>
                  </a:lnTo>
                  <a:lnTo>
                    <a:pt x="227" y="607"/>
                  </a:lnTo>
                  <a:lnTo>
                    <a:pt x="226" y="607"/>
                  </a:lnTo>
                  <a:lnTo>
                    <a:pt x="224" y="608"/>
                  </a:lnTo>
                  <a:lnTo>
                    <a:pt x="222" y="610"/>
                  </a:lnTo>
                  <a:lnTo>
                    <a:pt x="222" y="612"/>
                  </a:lnTo>
                  <a:lnTo>
                    <a:pt x="221" y="613"/>
                  </a:lnTo>
                  <a:lnTo>
                    <a:pt x="222" y="615"/>
                  </a:lnTo>
                  <a:lnTo>
                    <a:pt x="221" y="616"/>
                  </a:lnTo>
                  <a:lnTo>
                    <a:pt x="219" y="616"/>
                  </a:lnTo>
                  <a:lnTo>
                    <a:pt x="219" y="618"/>
                  </a:lnTo>
                  <a:lnTo>
                    <a:pt x="221" y="618"/>
                  </a:lnTo>
                  <a:lnTo>
                    <a:pt x="221" y="620"/>
                  </a:lnTo>
                  <a:lnTo>
                    <a:pt x="219" y="620"/>
                  </a:lnTo>
                  <a:lnTo>
                    <a:pt x="218" y="620"/>
                  </a:lnTo>
                  <a:lnTo>
                    <a:pt x="216" y="620"/>
                  </a:lnTo>
                  <a:lnTo>
                    <a:pt x="214" y="620"/>
                  </a:lnTo>
                  <a:lnTo>
                    <a:pt x="213" y="621"/>
                  </a:lnTo>
                  <a:lnTo>
                    <a:pt x="211" y="621"/>
                  </a:lnTo>
                  <a:lnTo>
                    <a:pt x="209" y="620"/>
                  </a:lnTo>
                  <a:lnTo>
                    <a:pt x="208" y="618"/>
                  </a:lnTo>
                  <a:lnTo>
                    <a:pt x="205" y="618"/>
                  </a:lnTo>
                  <a:lnTo>
                    <a:pt x="203" y="618"/>
                  </a:lnTo>
                  <a:lnTo>
                    <a:pt x="201" y="618"/>
                  </a:lnTo>
                  <a:lnTo>
                    <a:pt x="200" y="618"/>
                  </a:lnTo>
                  <a:lnTo>
                    <a:pt x="198" y="618"/>
                  </a:lnTo>
                  <a:lnTo>
                    <a:pt x="196" y="618"/>
                  </a:lnTo>
                  <a:lnTo>
                    <a:pt x="195" y="618"/>
                  </a:lnTo>
                  <a:lnTo>
                    <a:pt x="193" y="620"/>
                  </a:lnTo>
                  <a:lnTo>
                    <a:pt x="192" y="620"/>
                  </a:lnTo>
                  <a:lnTo>
                    <a:pt x="190" y="621"/>
                  </a:lnTo>
                  <a:lnTo>
                    <a:pt x="188" y="621"/>
                  </a:lnTo>
                  <a:lnTo>
                    <a:pt x="187" y="623"/>
                  </a:lnTo>
                  <a:lnTo>
                    <a:pt x="183" y="625"/>
                  </a:lnTo>
                  <a:lnTo>
                    <a:pt x="182" y="625"/>
                  </a:lnTo>
                  <a:lnTo>
                    <a:pt x="182" y="626"/>
                  </a:lnTo>
                  <a:lnTo>
                    <a:pt x="180" y="626"/>
                  </a:lnTo>
                  <a:lnTo>
                    <a:pt x="179" y="626"/>
                  </a:lnTo>
                  <a:lnTo>
                    <a:pt x="179" y="628"/>
                  </a:lnTo>
                  <a:lnTo>
                    <a:pt x="177" y="628"/>
                  </a:lnTo>
                  <a:lnTo>
                    <a:pt x="174" y="628"/>
                  </a:lnTo>
                  <a:lnTo>
                    <a:pt x="174" y="629"/>
                  </a:lnTo>
                  <a:lnTo>
                    <a:pt x="172" y="629"/>
                  </a:lnTo>
                  <a:lnTo>
                    <a:pt x="172" y="631"/>
                  </a:lnTo>
                  <a:lnTo>
                    <a:pt x="172" y="633"/>
                  </a:lnTo>
                  <a:lnTo>
                    <a:pt x="170" y="638"/>
                  </a:lnTo>
                  <a:lnTo>
                    <a:pt x="170" y="641"/>
                  </a:lnTo>
                  <a:lnTo>
                    <a:pt x="170" y="644"/>
                  </a:lnTo>
                  <a:lnTo>
                    <a:pt x="170" y="646"/>
                  </a:lnTo>
                  <a:lnTo>
                    <a:pt x="170" y="647"/>
                  </a:lnTo>
                  <a:lnTo>
                    <a:pt x="170" y="649"/>
                  </a:lnTo>
                  <a:lnTo>
                    <a:pt x="170" y="651"/>
                  </a:lnTo>
                  <a:lnTo>
                    <a:pt x="169" y="651"/>
                  </a:lnTo>
                  <a:lnTo>
                    <a:pt x="167" y="652"/>
                  </a:lnTo>
                  <a:lnTo>
                    <a:pt x="167" y="654"/>
                  </a:lnTo>
                  <a:lnTo>
                    <a:pt x="166" y="655"/>
                  </a:lnTo>
                  <a:lnTo>
                    <a:pt x="164" y="657"/>
                  </a:lnTo>
                  <a:lnTo>
                    <a:pt x="164" y="659"/>
                  </a:lnTo>
                  <a:lnTo>
                    <a:pt x="162" y="660"/>
                  </a:lnTo>
                  <a:lnTo>
                    <a:pt x="162" y="662"/>
                  </a:lnTo>
                  <a:lnTo>
                    <a:pt x="161" y="662"/>
                  </a:lnTo>
                  <a:lnTo>
                    <a:pt x="161" y="664"/>
                  </a:lnTo>
                  <a:lnTo>
                    <a:pt x="161" y="665"/>
                  </a:lnTo>
                  <a:lnTo>
                    <a:pt x="161" y="667"/>
                  </a:lnTo>
                  <a:lnTo>
                    <a:pt x="161" y="669"/>
                  </a:lnTo>
                  <a:lnTo>
                    <a:pt x="161" y="670"/>
                  </a:lnTo>
                  <a:lnTo>
                    <a:pt x="161" y="672"/>
                  </a:lnTo>
                  <a:lnTo>
                    <a:pt x="159" y="672"/>
                  </a:lnTo>
                  <a:lnTo>
                    <a:pt x="159" y="673"/>
                  </a:lnTo>
                  <a:lnTo>
                    <a:pt x="157" y="673"/>
                  </a:lnTo>
                  <a:lnTo>
                    <a:pt x="157" y="675"/>
                  </a:lnTo>
                  <a:lnTo>
                    <a:pt x="156" y="677"/>
                  </a:lnTo>
                  <a:lnTo>
                    <a:pt x="154" y="678"/>
                  </a:lnTo>
                  <a:lnTo>
                    <a:pt x="154" y="680"/>
                  </a:lnTo>
                  <a:lnTo>
                    <a:pt x="153" y="680"/>
                  </a:lnTo>
                  <a:lnTo>
                    <a:pt x="153" y="682"/>
                  </a:lnTo>
                  <a:lnTo>
                    <a:pt x="151" y="682"/>
                  </a:lnTo>
                  <a:lnTo>
                    <a:pt x="149" y="683"/>
                  </a:lnTo>
                  <a:lnTo>
                    <a:pt x="149" y="685"/>
                  </a:lnTo>
                  <a:lnTo>
                    <a:pt x="148" y="686"/>
                  </a:lnTo>
                  <a:lnTo>
                    <a:pt x="146" y="686"/>
                  </a:lnTo>
                  <a:lnTo>
                    <a:pt x="144" y="688"/>
                  </a:lnTo>
                  <a:lnTo>
                    <a:pt x="143" y="690"/>
                  </a:lnTo>
                  <a:lnTo>
                    <a:pt x="141" y="690"/>
                  </a:lnTo>
                  <a:lnTo>
                    <a:pt x="141" y="691"/>
                  </a:lnTo>
                  <a:lnTo>
                    <a:pt x="141" y="690"/>
                  </a:lnTo>
                  <a:lnTo>
                    <a:pt x="140" y="691"/>
                  </a:lnTo>
                  <a:lnTo>
                    <a:pt x="138" y="691"/>
                  </a:lnTo>
                  <a:lnTo>
                    <a:pt x="136" y="691"/>
                  </a:lnTo>
                  <a:lnTo>
                    <a:pt x="136" y="693"/>
                  </a:lnTo>
                  <a:lnTo>
                    <a:pt x="135" y="693"/>
                  </a:lnTo>
                  <a:lnTo>
                    <a:pt x="135" y="695"/>
                  </a:lnTo>
                  <a:lnTo>
                    <a:pt x="133" y="695"/>
                  </a:lnTo>
                  <a:lnTo>
                    <a:pt x="133" y="696"/>
                  </a:lnTo>
                  <a:lnTo>
                    <a:pt x="131" y="698"/>
                  </a:lnTo>
                  <a:lnTo>
                    <a:pt x="131" y="699"/>
                  </a:lnTo>
                  <a:lnTo>
                    <a:pt x="130" y="701"/>
                  </a:lnTo>
                  <a:lnTo>
                    <a:pt x="128" y="701"/>
                  </a:lnTo>
                  <a:lnTo>
                    <a:pt x="127" y="703"/>
                  </a:lnTo>
                  <a:lnTo>
                    <a:pt x="123" y="704"/>
                  </a:lnTo>
                  <a:lnTo>
                    <a:pt x="122" y="704"/>
                  </a:lnTo>
                  <a:lnTo>
                    <a:pt x="122" y="706"/>
                  </a:lnTo>
                  <a:lnTo>
                    <a:pt x="120" y="706"/>
                  </a:lnTo>
                  <a:lnTo>
                    <a:pt x="118" y="709"/>
                  </a:lnTo>
                  <a:lnTo>
                    <a:pt x="117" y="711"/>
                  </a:lnTo>
                  <a:lnTo>
                    <a:pt x="115" y="712"/>
                  </a:lnTo>
                  <a:lnTo>
                    <a:pt x="113" y="712"/>
                  </a:lnTo>
                  <a:lnTo>
                    <a:pt x="112" y="714"/>
                  </a:lnTo>
                  <a:lnTo>
                    <a:pt x="110" y="714"/>
                  </a:lnTo>
                  <a:lnTo>
                    <a:pt x="109" y="716"/>
                  </a:lnTo>
                  <a:lnTo>
                    <a:pt x="105" y="717"/>
                  </a:lnTo>
                  <a:lnTo>
                    <a:pt x="105" y="719"/>
                  </a:lnTo>
                  <a:lnTo>
                    <a:pt x="104" y="721"/>
                  </a:lnTo>
                  <a:lnTo>
                    <a:pt x="104" y="722"/>
                  </a:lnTo>
                  <a:lnTo>
                    <a:pt x="102" y="722"/>
                  </a:lnTo>
                  <a:lnTo>
                    <a:pt x="102" y="724"/>
                  </a:lnTo>
                  <a:lnTo>
                    <a:pt x="102" y="725"/>
                  </a:lnTo>
                  <a:lnTo>
                    <a:pt x="102" y="727"/>
                  </a:lnTo>
                  <a:lnTo>
                    <a:pt x="100" y="727"/>
                  </a:lnTo>
                  <a:lnTo>
                    <a:pt x="100" y="729"/>
                  </a:lnTo>
                  <a:lnTo>
                    <a:pt x="102" y="729"/>
                  </a:lnTo>
                  <a:lnTo>
                    <a:pt x="100" y="730"/>
                  </a:lnTo>
                  <a:lnTo>
                    <a:pt x="100" y="729"/>
                  </a:lnTo>
                  <a:lnTo>
                    <a:pt x="99" y="730"/>
                  </a:lnTo>
                  <a:lnTo>
                    <a:pt x="97" y="730"/>
                  </a:lnTo>
                  <a:lnTo>
                    <a:pt x="97" y="732"/>
                  </a:lnTo>
                  <a:lnTo>
                    <a:pt x="96" y="734"/>
                  </a:lnTo>
                  <a:lnTo>
                    <a:pt x="97" y="735"/>
                  </a:lnTo>
                  <a:lnTo>
                    <a:pt x="97" y="737"/>
                  </a:lnTo>
                  <a:lnTo>
                    <a:pt x="97" y="738"/>
                  </a:lnTo>
                  <a:lnTo>
                    <a:pt x="96" y="738"/>
                  </a:lnTo>
                  <a:lnTo>
                    <a:pt x="96" y="740"/>
                  </a:lnTo>
                  <a:lnTo>
                    <a:pt x="96" y="742"/>
                  </a:lnTo>
                  <a:lnTo>
                    <a:pt x="94" y="742"/>
                  </a:lnTo>
                  <a:lnTo>
                    <a:pt x="94" y="743"/>
                  </a:lnTo>
                  <a:lnTo>
                    <a:pt x="92" y="743"/>
                  </a:lnTo>
                  <a:lnTo>
                    <a:pt x="92" y="745"/>
                  </a:lnTo>
                  <a:lnTo>
                    <a:pt x="91" y="747"/>
                  </a:lnTo>
                  <a:lnTo>
                    <a:pt x="89" y="747"/>
                  </a:lnTo>
                  <a:lnTo>
                    <a:pt x="89" y="748"/>
                  </a:lnTo>
                  <a:lnTo>
                    <a:pt x="87" y="748"/>
                  </a:lnTo>
                  <a:lnTo>
                    <a:pt x="86" y="750"/>
                  </a:lnTo>
                  <a:lnTo>
                    <a:pt x="84" y="751"/>
                  </a:lnTo>
                  <a:lnTo>
                    <a:pt x="86" y="753"/>
                  </a:lnTo>
                  <a:lnTo>
                    <a:pt x="84" y="753"/>
                  </a:lnTo>
                  <a:lnTo>
                    <a:pt x="84" y="755"/>
                  </a:lnTo>
                  <a:lnTo>
                    <a:pt x="84" y="756"/>
                  </a:lnTo>
                  <a:lnTo>
                    <a:pt x="83" y="756"/>
                  </a:lnTo>
                  <a:lnTo>
                    <a:pt x="81" y="758"/>
                  </a:lnTo>
                  <a:lnTo>
                    <a:pt x="79" y="760"/>
                  </a:lnTo>
                  <a:lnTo>
                    <a:pt x="79" y="761"/>
                  </a:lnTo>
                  <a:lnTo>
                    <a:pt x="78" y="763"/>
                  </a:lnTo>
                  <a:lnTo>
                    <a:pt x="76" y="763"/>
                  </a:lnTo>
                  <a:lnTo>
                    <a:pt x="74" y="764"/>
                  </a:lnTo>
                  <a:lnTo>
                    <a:pt x="73" y="764"/>
                  </a:lnTo>
                  <a:lnTo>
                    <a:pt x="73" y="766"/>
                  </a:lnTo>
                  <a:lnTo>
                    <a:pt x="73" y="768"/>
                  </a:lnTo>
                  <a:lnTo>
                    <a:pt x="74" y="769"/>
                  </a:lnTo>
                  <a:lnTo>
                    <a:pt x="74" y="771"/>
                  </a:lnTo>
                  <a:lnTo>
                    <a:pt x="76" y="771"/>
                  </a:lnTo>
                  <a:lnTo>
                    <a:pt x="76" y="773"/>
                  </a:lnTo>
                  <a:lnTo>
                    <a:pt x="76" y="774"/>
                  </a:lnTo>
                  <a:lnTo>
                    <a:pt x="74" y="774"/>
                  </a:lnTo>
                  <a:lnTo>
                    <a:pt x="74" y="776"/>
                  </a:lnTo>
                  <a:lnTo>
                    <a:pt x="73" y="776"/>
                  </a:lnTo>
                  <a:lnTo>
                    <a:pt x="73" y="777"/>
                  </a:lnTo>
                  <a:lnTo>
                    <a:pt x="73" y="779"/>
                  </a:lnTo>
                  <a:lnTo>
                    <a:pt x="71" y="779"/>
                  </a:lnTo>
                  <a:lnTo>
                    <a:pt x="70" y="781"/>
                  </a:lnTo>
                  <a:lnTo>
                    <a:pt x="70" y="782"/>
                  </a:lnTo>
                  <a:lnTo>
                    <a:pt x="70" y="784"/>
                  </a:lnTo>
                  <a:lnTo>
                    <a:pt x="68" y="784"/>
                  </a:lnTo>
                  <a:lnTo>
                    <a:pt x="66" y="784"/>
                  </a:lnTo>
                  <a:lnTo>
                    <a:pt x="66" y="786"/>
                  </a:lnTo>
                  <a:lnTo>
                    <a:pt x="65" y="787"/>
                  </a:lnTo>
                  <a:lnTo>
                    <a:pt x="63" y="789"/>
                  </a:lnTo>
                  <a:lnTo>
                    <a:pt x="63" y="790"/>
                  </a:lnTo>
                  <a:lnTo>
                    <a:pt x="61" y="790"/>
                  </a:lnTo>
                  <a:lnTo>
                    <a:pt x="60" y="790"/>
                  </a:lnTo>
                  <a:lnTo>
                    <a:pt x="60" y="792"/>
                  </a:lnTo>
                  <a:lnTo>
                    <a:pt x="58" y="792"/>
                  </a:lnTo>
                  <a:lnTo>
                    <a:pt x="57" y="792"/>
                  </a:lnTo>
                  <a:lnTo>
                    <a:pt x="57" y="790"/>
                  </a:lnTo>
                  <a:lnTo>
                    <a:pt x="57" y="789"/>
                  </a:lnTo>
                  <a:lnTo>
                    <a:pt x="57" y="787"/>
                  </a:lnTo>
                  <a:lnTo>
                    <a:pt x="58" y="786"/>
                  </a:lnTo>
                  <a:lnTo>
                    <a:pt x="58" y="784"/>
                  </a:lnTo>
                  <a:lnTo>
                    <a:pt x="60" y="782"/>
                  </a:lnTo>
                  <a:lnTo>
                    <a:pt x="60" y="781"/>
                  </a:lnTo>
                  <a:lnTo>
                    <a:pt x="60" y="779"/>
                  </a:lnTo>
                  <a:lnTo>
                    <a:pt x="60" y="777"/>
                  </a:lnTo>
                  <a:lnTo>
                    <a:pt x="60" y="776"/>
                  </a:lnTo>
                  <a:lnTo>
                    <a:pt x="60" y="774"/>
                  </a:lnTo>
                  <a:lnTo>
                    <a:pt x="61" y="774"/>
                  </a:lnTo>
                  <a:lnTo>
                    <a:pt x="61" y="773"/>
                  </a:lnTo>
                  <a:lnTo>
                    <a:pt x="63" y="771"/>
                  </a:lnTo>
                  <a:lnTo>
                    <a:pt x="63" y="769"/>
                  </a:lnTo>
                  <a:lnTo>
                    <a:pt x="63" y="768"/>
                  </a:lnTo>
                  <a:lnTo>
                    <a:pt x="63" y="766"/>
                  </a:lnTo>
                  <a:lnTo>
                    <a:pt x="63" y="764"/>
                  </a:lnTo>
                  <a:lnTo>
                    <a:pt x="63" y="763"/>
                  </a:lnTo>
                  <a:lnTo>
                    <a:pt x="63" y="761"/>
                  </a:lnTo>
                  <a:lnTo>
                    <a:pt x="63" y="760"/>
                  </a:lnTo>
                  <a:lnTo>
                    <a:pt x="61" y="760"/>
                  </a:lnTo>
                  <a:lnTo>
                    <a:pt x="61" y="758"/>
                  </a:lnTo>
                  <a:lnTo>
                    <a:pt x="58" y="758"/>
                  </a:lnTo>
                  <a:lnTo>
                    <a:pt x="58" y="756"/>
                  </a:lnTo>
                  <a:lnTo>
                    <a:pt x="57" y="756"/>
                  </a:lnTo>
                  <a:lnTo>
                    <a:pt x="57" y="755"/>
                  </a:lnTo>
                  <a:lnTo>
                    <a:pt x="58" y="755"/>
                  </a:lnTo>
                  <a:lnTo>
                    <a:pt x="58" y="753"/>
                  </a:lnTo>
                  <a:lnTo>
                    <a:pt x="57" y="753"/>
                  </a:lnTo>
                  <a:lnTo>
                    <a:pt x="55" y="753"/>
                  </a:lnTo>
                  <a:lnTo>
                    <a:pt x="53" y="753"/>
                  </a:lnTo>
                  <a:lnTo>
                    <a:pt x="55" y="751"/>
                  </a:lnTo>
                  <a:lnTo>
                    <a:pt x="57" y="750"/>
                  </a:lnTo>
                  <a:lnTo>
                    <a:pt x="57" y="748"/>
                  </a:lnTo>
                  <a:lnTo>
                    <a:pt x="58" y="748"/>
                  </a:lnTo>
                  <a:lnTo>
                    <a:pt x="58" y="747"/>
                  </a:lnTo>
                  <a:lnTo>
                    <a:pt x="60" y="747"/>
                  </a:lnTo>
                  <a:lnTo>
                    <a:pt x="61" y="747"/>
                  </a:lnTo>
                  <a:lnTo>
                    <a:pt x="61" y="745"/>
                  </a:lnTo>
                  <a:lnTo>
                    <a:pt x="63" y="743"/>
                  </a:lnTo>
                  <a:lnTo>
                    <a:pt x="65" y="743"/>
                  </a:lnTo>
                  <a:lnTo>
                    <a:pt x="65" y="742"/>
                  </a:lnTo>
                  <a:lnTo>
                    <a:pt x="66" y="742"/>
                  </a:lnTo>
                  <a:lnTo>
                    <a:pt x="66" y="740"/>
                  </a:lnTo>
                  <a:lnTo>
                    <a:pt x="68" y="740"/>
                  </a:lnTo>
                  <a:lnTo>
                    <a:pt x="68" y="738"/>
                  </a:lnTo>
                  <a:lnTo>
                    <a:pt x="70" y="738"/>
                  </a:lnTo>
                  <a:lnTo>
                    <a:pt x="70" y="737"/>
                  </a:lnTo>
                  <a:lnTo>
                    <a:pt x="71" y="735"/>
                  </a:lnTo>
                  <a:lnTo>
                    <a:pt x="73" y="735"/>
                  </a:lnTo>
                  <a:lnTo>
                    <a:pt x="73" y="734"/>
                  </a:lnTo>
                  <a:lnTo>
                    <a:pt x="74" y="734"/>
                  </a:lnTo>
                  <a:lnTo>
                    <a:pt x="74" y="732"/>
                  </a:lnTo>
                  <a:lnTo>
                    <a:pt x="76" y="730"/>
                  </a:lnTo>
                  <a:lnTo>
                    <a:pt x="78" y="729"/>
                  </a:lnTo>
                  <a:lnTo>
                    <a:pt x="79" y="729"/>
                  </a:lnTo>
                  <a:lnTo>
                    <a:pt x="79" y="727"/>
                  </a:lnTo>
                  <a:lnTo>
                    <a:pt x="81" y="727"/>
                  </a:lnTo>
                  <a:lnTo>
                    <a:pt x="81" y="725"/>
                  </a:lnTo>
                  <a:lnTo>
                    <a:pt x="83" y="725"/>
                  </a:lnTo>
                  <a:lnTo>
                    <a:pt x="84" y="724"/>
                  </a:lnTo>
                  <a:lnTo>
                    <a:pt x="84" y="722"/>
                  </a:lnTo>
                  <a:lnTo>
                    <a:pt x="86" y="722"/>
                  </a:lnTo>
                  <a:lnTo>
                    <a:pt x="87" y="721"/>
                  </a:lnTo>
                  <a:lnTo>
                    <a:pt x="89" y="719"/>
                  </a:lnTo>
                  <a:lnTo>
                    <a:pt x="91" y="717"/>
                  </a:lnTo>
                  <a:lnTo>
                    <a:pt x="92" y="717"/>
                  </a:lnTo>
                  <a:lnTo>
                    <a:pt x="92" y="716"/>
                  </a:lnTo>
                  <a:lnTo>
                    <a:pt x="94" y="716"/>
                  </a:lnTo>
                  <a:lnTo>
                    <a:pt x="96" y="716"/>
                  </a:lnTo>
                  <a:lnTo>
                    <a:pt x="97" y="716"/>
                  </a:lnTo>
                  <a:lnTo>
                    <a:pt x="99" y="714"/>
                  </a:lnTo>
                  <a:lnTo>
                    <a:pt x="99" y="716"/>
                  </a:lnTo>
                  <a:lnTo>
                    <a:pt x="99" y="714"/>
                  </a:lnTo>
                  <a:lnTo>
                    <a:pt x="100" y="714"/>
                  </a:lnTo>
                  <a:lnTo>
                    <a:pt x="100" y="712"/>
                  </a:lnTo>
                  <a:lnTo>
                    <a:pt x="100" y="711"/>
                  </a:lnTo>
                  <a:lnTo>
                    <a:pt x="102" y="709"/>
                  </a:lnTo>
                  <a:lnTo>
                    <a:pt x="104" y="708"/>
                  </a:lnTo>
                  <a:lnTo>
                    <a:pt x="104" y="706"/>
                  </a:lnTo>
                  <a:lnTo>
                    <a:pt x="104" y="708"/>
                  </a:lnTo>
                  <a:lnTo>
                    <a:pt x="105" y="708"/>
                  </a:lnTo>
                  <a:lnTo>
                    <a:pt x="107" y="708"/>
                  </a:lnTo>
                  <a:lnTo>
                    <a:pt x="110" y="706"/>
                  </a:lnTo>
                  <a:lnTo>
                    <a:pt x="110" y="703"/>
                  </a:lnTo>
                  <a:lnTo>
                    <a:pt x="112" y="701"/>
                  </a:lnTo>
                  <a:lnTo>
                    <a:pt x="113" y="701"/>
                  </a:lnTo>
                  <a:lnTo>
                    <a:pt x="113" y="699"/>
                  </a:lnTo>
                  <a:lnTo>
                    <a:pt x="112" y="699"/>
                  </a:lnTo>
                  <a:lnTo>
                    <a:pt x="112" y="698"/>
                  </a:lnTo>
                  <a:lnTo>
                    <a:pt x="110" y="695"/>
                  </a:lnTo>
                  <a:lnTo>
                    <a:pt x="110" y="693"/>
                  </a:lnTo>
                  <a:lnTo>
                    <a:pt x="109" y="693"/>
                  </a:lnTo>
                  <a:lnTo>
                    <a:pt x="109" y="691"/>
                  </a:lnTo>
                  <a:lnTo>
                    <a:pt x="109" y="693"/>
                  </a:lnTo>
                  <a:lnTo>
                    <a:pt x="107" y="691"/>
                  </a:lnTo>
                  <a:lnTo>
                    <a:pt x="105" y="691"/>
                  </a:lnTo>
                  <a:lnTo>
                    <a:pt x="104" y="691"/>
                  </a:lnTo>
                  <a:lnTo>
                    <a:pt x="102" y="693"/>
                  </a:lnTo>
                  <a:lnTo>
                    <a:pt x="100" y="695"/>
                  </a:lnTo>
                  <a:lnTo>
                    <a:pt x="99" y="695"/>
                  </a:lnTo>
                  <a:lnTo>
                    <a:pt x="97" y="695"/>
                  </a:lnTo>
                  <a:lnTo>
                    <a:pt x="97" y="696"/>
                  </a:lnTo>
                  <a:lnTo>
                    <a:pt x="96" y="696"/>
                  </a:lnTo>
                  <a:lnTo>
                    <a:pt x="94" y="696"/>
                  </a:lnTo>
                  <a:lnTo>
                    <a:pt x="94" y="698"/>
                  </a:lnTo>
                  <a:lnTo>
                    <a:pt x="94" y="696"/>
                  </a:lnTo>
                  <a:lnTo>
                    <a:pt x="92" y="698"/>
                  </a:lnTo>
                  <a:lnTo>
                    <a:pt x="91" y="698"/>
                  </a:lnTo>
                  <a:lnTo>
                    <a:pt x="89" y="698"/>
                  </a:lnTo>
                  <a:lnTo>
                    <a:pt x="89" y="699"/>
                  </a:lnTo>
                  <a:lnTo>
                    <a:pt x="87" y="698"/>
                  </a:lnTo>
                  <a:lnTo>
                    <a:pt x="87" y="699"/>
                  </a:lnTo>
                  <a:lnTo>
                    <a:pt x="86" y="699"/>
                  </a:lnTo>
                  <a:lnTo>
                    <a:pt x="84" y="701"/>
                  </a:lnTo>
                  <a:lnTo>
                    <a:pt x="83" y="703"/>
                  </a:lnTo>
                  <a:lnTo>
                    <a:pt x="81" y="704"/>
                  </a:lnTo>
                  <a:lnTo>
                    <a:pt x="81" y="706"/>
                  </a:lnTo>
                  <a:lnTo>
                    <a:pt x="81" y="708"/>
                  </a:lnTo>
                  <a:lnTo>
                    <a:pt x="79" y="706"/>
                  </a:lnTo>
                  <a:lnTo>
                    <a:pt x="78" y="706"/>
                  </a:lnTo>
                  <a:lnTo>
                    <a:pt x="76" y="706"/>
                  </a:lnTo>
                  <a:lnTo>
                    <a:pt x="74" y="706"/>
                  </a:lnTo>
                  <a:lnTo>
                    <a:pt x="73" y="706"/>
                  </a:lnTo>
                  <a:lnTo>
                    <a:pt x="73" y="704"/>
                  </a:lnTo>
                  <a:lnTo>
                    <a:pt x="71" y="704"/>
                  </a:lnTo>
                  <a:lnTo>
                    <a:pt x="70" y="706"/>
                  </a:lnTo>
                  <a:lnTo>
                    <a:pt x="70" y="708"/>
                  </a:lnTo>
                  <a:lnTo>
                    <a:pt x="68" y="708"/>
                  </a:lnTo>
                  <a:lnTo>
                    <a:pt x="68" y="709"/>
                  </a:lnTo>
                  <a:lnTo>
                    <a:pt x="66" y="708"/>
                  </a:lnTo>
                  <a:lnTo>
                    <a:pt x="66" y="709"/>
                  </a:lnTo>
                  <a:lnTo>
                    <a:pt x="65" y="708"/>
                  </a:lnTo>
                  <a:lnTo>
                    <a:pt x="63" y="708"/>
                  </a:lnTo>
                  <a:lnTo>
                    <a:pt x="63" y="709"/>
                  </a:lnTo>
                  <a:lnTo>
                    <a:pt x="61" y="709"/>
                  </a:lnTo>
                  <a:lnTo>
                    <a:pt x="60" y="709"/>
                  </a:lnTo>
                  <a:lnTo>
                    <a:pt x="60" y="711"/>
                  </a:lnTo>
                  <a:lnTo>
                    <a:pt x="58" y="711"/>
                  </a:lnTo>
                  <a:lnTo>
                    <a:pt x="55" y="712"/>
                  </a:lnTo>
                  <a:lnTo>
                    <a:pt x="53" y="712"/>
                  </a:lnTo>
                  <a:lnTo>
                    <a:pt x="52" y="712"/>
                  </a:lnTo>
                  <a:lnTo>
                    <a:pt x="48" y="712"/>
                  </a:lnTo>
                  <a:lnTo>
                    <a:pt x="45" y="714"/>
                  </a:lnTo>
                  <a:lnTo>
                    <a:pt x="44" y="714"/>
                  </a:lnTo>
                  <a:lnTo>
                    <a:pt x="42" y="716"/>
                  </a:lnTo>
                  <a:lnTo>
                    <a:pt x="40" y="716"/>
                  </a:lnTo>
                  <a:lnTo>
                    <a:pt x="39" y="716"/>
                  </a:lnTo>
                  <a:lnTo>
                    <a:pt x="37" y="716"/>
                  </a:lnTo>
                  <a:lnTo>
                    <a:pt x="35" y="716"/>
                  </a:lnTo>
                  <a:lnTo>
                    <a:pt x="34" y="716"/>
                  </a:lnTo>
                  <a:lnTo>
                    <a:pt x="32" y="716"/>
                  </a:lnTo>
                  <a:lnTo>
                    <a:pt x="31" y="714"/>
                  </a:lnTo>
                  <a:lnTo>
                    <a:pt x="29" y="712"/>
                  </a:lnTo>
                  <a:lnTo>
                    <a:pt x="29" y="711"/>
                  </a:lnTo>
                  <a:lnTo>
                    <a:pt x="29" y="709"/>
                  </a:lnTo>
                  <a:lnTo>
                    <a:pt x="27" y="708"/>
                  </a:lnTo>
                  <a:lnTo>
                    <a:pt x="27" y="706"/>
                  </a:lnTo>
                  <a:lnTo>
                    <a:pt x="27" y="704"/>
                  </a:lnTo>
                  <a:lnTo>
                    <a:pt x="26" y="704"/>
                  </a:lnTo>
                  <a:lnTo>
                    <a:pt x="26" y="703"/>
                  </a:lnTo>
                  <a:lnTo>
                    <a:pt x="26" y="701"/>
                  </a:lnTo>
                  <a:lnTo>
                    <a:pt x="24" y="699"/>
                  </a:lnTo>
                  <a:lnTo>
                    <a:pt x="26" y="698"/>
                  </a:lnTo>
                  <a:lnTo>
                    <a:pt x="27" y="698"/>
                  </a:lnTo>
                  <a:lnTo>
                    <a:pt x="29" y="698"/>
                  </a:lnTo>
                  <a:lnTo>
                    <a:pt x="29" y="696"/>
                  </a:lnTo>
                  <a:lnTo>
                    <a:pt x="31" y="696"/>
                  </a:lnTo>
                  <a:lnTo>
                    <a:pt x="32" y="696"/>
                  </a:lnTo>
                  <a:lnTo>
                    <a:pt x="32" y="695"/>
                  </a:lnTo>
                  <a:lnTo>
                    <a:pt x="32" y="693"/>
                  </a:lnTo>
                  <a:lnTo>
                    <a:pt x="32" y="691"/>
                  </a:lnTo>
                  <a:lnTo>
                    <a:pt x="32" y="690"/>
                  </a:lnTo>
                  <a:lnTo>
                    <a:pt x="32" y="688"/>
                  </a:lnTo>
                  <a:lnTo>
                    <a:pt x="34" y="686"/>
                  </a:lnTo>
                  <a:lnTo>
                    <a:pt x="34" y="685"/>
                  </a:lnTo>
                  <a:lnTo>
                    <a:pt x="35" y="685"/>
                  </a:lnTo>
                  <a:lnTo>
                    <a:pt x="35" y="683"/>
                  </a:lnTo>
                  <a:lnTo>
                    <a:pt x="37" y="683"/>
                  </a:lnTo>
                  <a:lnTo>
                    <a:pt x="37" y="682"/>
                  </a:lnTo>
                  <a:lnTo>
                    <a:pt x="39" y="682"/>
                  </a:lnTo>
                  <a:lnTo>
                    <a:pt x="39" y="683"/>
                  </a:lnTo>
                  <a:lnTo>
                    <a:pt x="39" y="682"/>
                  </a:lnTo>
                  <a:lnTo>
                    <a:pt x="39" y="680"/>
                  </a:lnTo>
                  <a:lnTo>
                    <a:pt x="40" y="678"/>
                  </a:lnTo>
                  <a:lnTo>
                    <a:pt x="39" y="678"/>
                  </a:lnTo>
                  <a:lnTo>
                    <a:pt x="37" y="678"/>
                  </a:lnTo>
                  <a:lnTo>
                    <a:pt x="39" y="678"/>
                  </a:lnTo>
                  <a:lnTo>
                    <a:pt x="39" y="677"/>
                  </a:lnTo>
                  <a:lnTo>
                    <a:pt x="37" y="677"/>
                  </a:lnTo>
                  <a:lnTo>
                    <a:pt x="39" y="675"/>
                  </a:lnTo>
                  <a:lnTo>
                    <a:pt x="39" y="673"/>
                  </a:lnTo>
                  <a:lnTo>
                    <a:pt x="39" y="672"/>
                  </a:lnTo>
                  <a:lnTo>
                    <a:pt x="40" y="672"/>
                  </a:lnTo>
                  <a:lnTo>
                    <a:pt x="39" y="672"/>
                  </a:lnTo>
                  <a:lnTo>
                    <a:pt x="39" y="673"/>
                  </a:lnTo>
                  <a:lnTo>
                    <a:pt x="40" y="672"/>
                  </a:lnTo>
                  <a:lnTo>
                    <a:pt x="42" y="673"/>
                  </a:lnTo>
                  <a:lnTo>
                    <a:pt x="42" y="672"/>
                  </a:lnTo>
                  <a:lnTo>
                    <a:pt x="42" y="670"/>
                  </a:lnTo>
                  <a:lnTo>
                    <a:pt x="42" y="669"/>
                  </a:lnTo>
                  <a:lnTo>
                    <a:pt x="44" y="670"/>
                  </a:lnTo>
                  <a:lnTo>
                    <a:pt x="45" y="670"/>
                  </a:lnTo>
                  <a:lnTo>
                    <a:pt x="47" y="670"/>
                  </a:lnTo>
                  <a:lnTo>
                    <a:pt x="47" y="669"/>
                  </a:lnTo>
                  <a:lnTo>
                    <a:pt x="45" y="667"/>
                  </a:lnTo>
                  <a:lnTo>
                    <a:pt x="45" y="665"/>
                  </a:lnTo>
                  <a:lnTo>
                    <a:pt x="44" y="665"/>
                  </a:lnTo>
                  <a:lnTo>
                    <a:pt x="45" y="665"/>
                  </a:lnTo>
                  <a:lnTo>
                    <a:pt x="47" y="665"/>
                  </a:lnTo>
                  <a:lnTo>
                    <a:pt x="47" y="664"/>
                  </a:lnTo>
                  <a:lnTo>
                    <a:pt x="48" y="662"/>
                  </a:lnTo>
                  <a:lnTo>
                    <a:pt x="52" y="662"/>
                  </a:lnTo>
                  <a:lnTo>
                    <a:pt x="52" y="660"/>
                  </a:lnTo>
                  <a:lnTo>
                    <a:pt x="50" y="659"/>
                  </a:lnTo>
                  <a:lnTo>
                    <a:pt x="48" y="659"/>
                  </a:lnTo>
                  <a:lnTo>
                    <a:pt x="47" y="657"/>
                  </a:lnTo>
                  <a:lnTo>
                    <a:pt x="47" y="655"/>
                  </a:lnTo>
                  <a:lnTo>
                    <a:pt x="48" y="655"/>
                  </a:lnTo>
                  <a:lnTo>
                    <a:pt x="48" y="654"/>
                  </a:lnTo>
                  <a:lnTo>
                    <a:pt x="50" y="654"/>
                  </a:lnTo>
                  <a:lnTo>
                    <a:pt x="50" y="652"/>
                  </a:lnTo>
                  <a:lnTo>
                    <a:pt x="50" y="651"/>
                  </a:lnTo>
                  <a:lnTo>
                    <a:pt x="48" y="649"/>
                  </a:lnTo>
                  <a:lnTo>
                    <a:pt x="47" y="649"/>
                  </a:lnTo>
                  <a:lnTo>
                    <a:pt x="45" y="649"/>
                  </a:lnTo>
                  <a:lnTo>
                    <a:pt x="45" y="647"/>
                  </a:lnTo>
                  <a:lnTo>
                    <a:pt x="44" y="644"/>
                  </a:lnTo>
                  <a:lnTo>
                    <a:pt x="42" y="642"/>
                  </a:lnTo>
                  <a:lnTo>
                    <a:pt x="44" y="642"/>
                  </a:lnTo>
                  <a:lnTo>
                    <a:pt x="44" y="641"/>
                  </a:lnTo>
                  <a:lnTo>
                    <a:pt x="45" y="641"/>
                  </a:lnTo>
                  <a:lnTo>
                    <a:pt x="45" y="639"/>
                  </a:lnTo>
                  <a:lnTo>
                    <a:pt x="44" y="639"/>
                  </a:lnTo>
                  <a:lnTo>
                    <a:pt x="42" y="639"/>
                  </a:lnTo>
                  <a:lnTo>
                    <a:pt x="40" y="639"/>
                  </a:lnTo>
                  <a:lnTo>
                    <a:pt x="42" y="638"/>
                  </a:lnTo>
                  <a:lnTo>
                    <a:pt x="42" y="636"/>
                  </a:lnTo>
                  <a:lnTo>
                    <a:pt x="44" y="634"/>
                  </a:lnTo>
                  <a:lnTo>
                    <a:pt x="42" y="633"/>
                  </a:lnTo>
                  <a:lnTo>
                    <a:pt x="40" y="633"/>
                  </a:lnTo>
                  <a:lnTo>
                    <a:pt x="40" y="631"/>
                  </a:lnTo>
                  <a:lnTo>
                    <a:pt x="39" y="629"/>
                  </a:lnTo>
                  <a:lnTo>
                    <a:pt x="40" y="629"/>
                  </a:lnTo>
                  <a:lnTo>
                    <a:pt x="40" y="628"/>
                  </a:lnTo>
                  <a:lnTo>
                    <a:pt x="40" y="626"/>
                  </a:lnTo>
                  <a:lnTo>
                    <a:pt x="40" y="625"/>
                  </a:lnTo>
                  <a:lnTo>
                    <a:pt x="40" y="623"/>
                  </a:lnTo>
                  <a:lnTo>
                    <a:pt x="39" y="621"/>
                  </a:lnTo>
                  <a:lnTo>
                    <a:pt x="39" y="620"/>
                  </a:lnTo>
                  <a:lnTo>
                    <a:pt x="39" y="618"/>
                  </a:lnTo>
                  <a:lnTo>
                    <a:pt x="40" y="618"/>
                  </a:lnTo>
                  <a:lnTo>
                    <a:pt x="42" y="618"/>
                  </a:lnTo>
                  <a:lnTo>
                    <a:pt x="44" y="618"/>
                  </a:lnTo>
                  <a:lnTo>
                    <a:pt x="45" y="618"/>
                  </a:lnTo>
                  <a:lnTo>
                    <a:pt x="47" y="618"/>
                  </a:lnTo>
                  <a:lnTo>
                    <a:pt x="47" y="616"/>
                  </a:lnTo>
                  <a:lnTo>
                    <a:pt x="48" y="616"/>
                  </a:lnTo>
                  <a:lnTo>
                    <a:pt x="50" y="613"/>
                  </a:lnTo>
                  <a:lnTo>
                    <a:pt x="52" y="613"/>
                  </a:lnTo>
                  <a:lnTo>
                    <a:pt x="52" y="612"/>
                  </a:lnTo>
                  <a:lnTo>
                    <a:pt x="53" y="612"/>
                  </a:lnTo>
                  <a:lnTo>
                    <a:pt x="53" y="610"/>
                  </a:lnTo>
                  <a:lnTo>
                    <a:pt x="53" y="608"/>
                  </a:lnTo>
                  <a:lnTo>
                    <a:pt x="55" y="608"/>
                  </a:lnTo>
                  <a:lnTo>
                    <a:pt x="55" y="607"/>
                  </a:lnTo>
                  <a:lnTo>
                    <a:pt x="55" y="605"/>
                  </a:lnTo>
                  <a:lnTo>
                    <a:pt x="57" y="605"/>
                  </a:lnTo>
                  <a:lnTo>
                    <a:pt x="57" y="603"/>
                  </a:lnTo>
                  <a:lnTo>
                    <a:pt x="57" y="602"/>
                  </a:lnTo>
                  <a:lnTo>
                    <a:pt x="58" y="602"/>
                  </a:lnTo>
                  <a:lnTo>
                    <a:pt x="60" y="602"/>
                  </a:lnTo>
                  <a:lnTo>
                    <a:pt x="61" y="602"/>
                  </a:lnTo>
                  <a:lnTo>
                    <a:pt x="63" y="603"/>
                  </a:lnTo>
                  <a:lnTo>
                    <a:pt x="65" y="603"/>
                  </a:lnTo>
                  <a:lnTo>
                    <a:pt x="66" y="602"/>
                  </a:lnTo>
                  <a:lnTo>
                    <a:pt x="66" y="600"/>
                  </a:lnTo>
                  <a:lnTo>
                    <a:pt x="68" y="600"/>
                  </a:lnTo>
                  <a:lnTo>
                    <a:pt x="68" y="599"/>
                  </a:lnTo>
                  <a:lnTo>
                    <a:pt x="68" y="597"/>
                  </a:lnTo>
                  <a:lnTo>
                    <a:pt x="68" y="595"/>
                  </a:lnTo>
                  <a:lnTo>
                    <a:pt x="68" y="594"/>
                  </a:lnTo>
                  <a:lnTo>
                    <a:pt x="68" y="590"/>
                  </a:lnTo>
                  <a:lnTo>
                    <a:pt x="66" y="589"/>
                  </a:lnTo>
                  <a:lnTo>
                    <a:pt x="65" y="589"/>
                  </a:lnTo>
                  <a:lnTo>
                    <a:pt x="65" y="587"/>
                  </a:lnTo>
                  <a:lnTo>
                    <a:pt x="65" y="586"/>
                  </a:lnTo>
                  <a:lnTo>
                    <a:pt x="63" y="584"/>
                  </a:lnTo>
                  <a:lnTo>
                    <a:pt x="63" y="582"/>
                  </a:lnTo>
                  <a:lnTo>
                    <a:pt x="61" y="582"/>
                  </a:lnTo>
                  <a:lnTo>
                    <a:pt x="61" y="581"/>
                  </a:lnTo>
                  <a:lnTo>
                    <a:pt x="61" y="579"/>
                  </a:lnTo>
                  <a:lnTo>
                    <a:pt x="61" y="577"/>
                  </a:lnTo>
                  <a:lnTo>
                    <a:pt x="61" y="576"/>
                  </a:lnTo>
                  <a:lnTo>
                    <a:pt x="60" y="576"/>
                  </a:lnTo>
                  <a:lnTo>
                    <a:pt x="60" y="574"/>
                  </a:lnTo>
                  <a:lnTo>
                    <a:pt x="60" y="573"/>
                  </a:lnTo>
                  <a:lnTo>
                    <a:pt x="60" y="571"/>
                  </a:lnTo>
                  <a:lnTo>
                    <a:pt x="58" y="571"/>
                  </a:lnTo>
                  <a:lnTo>
                    <a:pt x="58" y="569"/>
                  </a:lnTo>
                  <a:lnTo>
                    <a:pt x="58" y="568"/>
                  </a:lnTo>
                  <a:lnTo>
                    <a:pt x="58" y="566"/>
                  </a:lnTo>
                  <a:lnTo>
                    <a:pt x="58" y="564"/>
                  </a:lnTo>
                  <a:lnTo>
                    <a:pt x="58" y="563"/>
                  </a:lnTo>
                  <a:lnTo>
                    <a:pt x="55" y="563"/>
                  </a:lnTo>
                  <a:lnTo>
                    <a:pt x="50" y="563"/>
                  </a:lnTo>
                  <a:lnTo>
                    <a:pt x="45" y="558"/>
                  </a:lnTo>
                  <a:lnTo>
                    <a:pt x="45" y="556"/>
                  </a:lnTo>
                  <a:lnTo>
                    <a:pt x="44" y="556"/>
                  </a:lnTo>
                  <a:lnTo>
                    <a:pt x="44" y="558"/>
                  </a:lnTo>
                  <a:lnTo>
                    <a:pt x="42" y="556"/>
                  </a:lnTo>
                  <a:lnTo>
                    <a:pt x="40" y="556"/>
                  </a:lnTo>
                  <a:lnTo>
                    <a:pt x="39" y="555"/>
                  </a:lnTo>
                  <a:lnTo>
                    <a:pt x="39" y="556"/>
                  </a:lnTo>
                  <a:lnTo>
                    <a:pt x="37" y="556"/>
                  </a:lnTo>
                  <a:lnTo>
                    <a:pt x="35" y="556"/>
                  </a:lnTo>
                  <a:lnTo>
                    <a:pt x="32" y="556"/>
                  </a:lnTo>
                  <a:lnTo>
                    <a:pt x="32" y="555"/>
                  </a:lnTo>
                  <a:lnTo>
                    <a:pt x="31" y="555"/>
                  </a:lnTo>
                  <a:lnTo>
                    <a:pt x="31" y="553"/>
                  </a:lnTo>
                  <a:lnTo>
                    <a:pt x="29" y="553"/>
                  </a:lnTo>
                  <a:lnTo>
                    <a:pt x="26" y="551"/>
                  </a:lnTo>
                  <a:lnTo>
                    <a:pt x="26" y="550"/>
                  </a:lnTo>
                  <a:lnTo>
                    <a:pt x="26" y="545"/>
                  </a:lnTo>
                  <a:lnTo>
                    <a:pt x="27" y="538"/>
                  </a:lnTo>
                  <a:lnTo>
                    <a:pt x="29" y="538"/>
                  </a:lnTo>
                  <a:lnTo>
                    <a:pt x="45" y="534"/>
                  </a:lnTo>
                  <a:lnTo>
                    <a:pt x="45" y="532"/>
                  </a:lnTo>
                  <a:lnTo>
                    <a:pt x="47" y="529"/>
                  </a:lnTo>
                  <a:lnTo>
                    <a:pt x="47" y="527"/>
                  </a:lnTo>
                  <a:lnTo>
                    <a:pt x="48" y="527"/>
                  </a:lnTo>
                  <a:lnTo>
                    <a:pt x="48" y="525"/>
                  </a:lnTo>
                  <a:lnTo>
                    <a:pt x="47" y="525"/>
                  </a:lnTo>
                  <a:lnTo>
                    <a:pt x="47" y="524"/>
                  </a:lnTo>
                  <a:lnTo>
                    <a:pt x="47" y="522"/>
                  </a:lnTo>
                  <a:lnTo>
                    <a:pt x="48" y="522"/>
                  </a:lnTo>
                  <a:lnTo>
                    <a:pt x="47" y="522"/>
                  </a:lnTo>
                  <a:lnTo>
                    <a:pt x="47" y="520"/>
                  </a:lnTo>
                  <a:lnTo>
                    <a:pt x="45" y="520"/>
                  </a:lnTo>
                  <a:lnTo>
                    <a:pt x="45" y="519"/>
                  </a:lnTo>
                  <a:lnTo>
                    <a:pt x="47" y="516"/>
                  </a:lnTo>
                  <a:lnTo>
                    <a:pt x="50" y="512"/>
                  </a:lnTo>
                  <a:lnTo>
                    <a:pt x="50" y="511"/>
                  </a:lnTo>
                  <a:lnTo>
                    <a:pt x="55" y="511"/>
                  </a:lnTo>
                  <a:lnTo>
                    <a:pt x="57" y="511"/>
                  </a:lnTo>
                  <a:lnTo>
                    <a:pt x="58" y="511"/>
                  </a:lnTo>
                  <a:lnTo>
                    <a:pt x="60" y="509"/>
                  </a:lnTo>
                  <a:lnTo>
                    <a:pt x="61" y="511"/>
                  </a:lnTo>
                  <a:lnTo>
                    <a:pt x="63" y="509"/>
                  </a:lnTo>
                  <a:lnTo>
                    <a:pt x="65" y="509"/>
                  </a:lnTo>
                  <a:lnTo>
                    <a:pt x="65" y="507"/>
                  </a:lnTo>
                  <a:lnTo>
                    <a:pt x="65" y="506"/>
                  </a:lnTo>
                  <a:lnTo>
                    <a:pt x="66" y="506"/>
                  </a:lnTo>
                  <a:lnTo>
                    <a:pt x="66" y="504"/>
                  </a:lnTo>
                  <a:lnTo>
                    <a:pt x="68" y="504"/>
                  </a:lnTo>
                  <a:lnTo>
                    <a:pt x="68" y="506"/>
                  </a:lnTo>
                  <a:lnTo>
                    <a:pt x="70" y="506"/>
                  </a:lnTo>
                  <a:lnTo>
                    <a:pt x="71" y="506"/>
                  </a:lnTo>
                  <a:lnTo>
                    <a:pt x="73" y="506"/>
                  </a:lnTo>
                  <a:lnTo>
                    <a:pt x="73" y="504"/>
                  </a:lnTo>
                  <a:lnTo>
                    <a:pt x="74" y="504"/>
                  </a:lnTo>
                  <a:lnTo>
                    <a:pt x="76" y="503"/>
                  </a:lnTo>
                  <a:lnTo>
                    <a:pt x="79" y="503"/>
                  </a:lnTo>
                  <a:lnTo>
                    <a:pt x="81" y="501"/>
                  </a:lnTo>
                  <a:lnTo>
                    <a:pt x="81" y="499"/>
                  </a:lnTo>
                  <a:lnTo>
                    <a:pt x="83" y="499"/>
                  </a:lnTo>
                  <a:lnTo>
                    <a:pt x="84" y="499"/>
                  </a:lnTo>
                  <a:lnTo>
                    <a:pt x="84" y="498"/>
                  </a:lnTo>
                  <a:lnTo>
                    <a:pt x="86" y="498"/>
                  </a:lnTo>
                  <a:lnTo>
                    <a:pt x="86" y="496"/>
                  </a:lnTo>
                  <a:lnTo>
                    <a:pt x="86" y="494"/>
                  </a:lnTo>
                  <a:lnTo>
                    <a:pt x="86" y="493"/>
                  </a:lnTo>
                  <a:lnTo>
                    <a:pt x="87" y="493"/>
                  </a:lnTo>
                  <a:lnTo>
                    <a:pt x="89" y="490"/>
                  </a:lnTo>
                  <a:lnTo>
                    <a:pt x="89" y="488"/>
                  </a:lnTo>
                  <a:lnTo>
                    <a:pt x="89" y="486"/>
                  </a:lnTo>
                  <a:lnTo>
                    <a:pt x="91" y="486"/>
                  </a:lnTo>
                  <a:lnTo>
                    <a:pt x="91" y="485"/>
                  </a:lnTo>
                  <a:lnTo>
                    <a:pt x="92" y="485"/>
                  </a:lnTo>
                  <a:lnTo>
                    <a:pt x="94" y="485"/>
                  </a:lnTo>
                  <a:lnTo>
                    <a:pt x="97" y="483"/>
                  </a:lnTo>
                  <a:lnTo>
                    <a:pt x="97" y="485"/>
                  </a:lnTo>
                  <a:lnTo>
                    <a:pt x="99" y="485"/>
                  </a:lnTo>
                  <a:lnTo>
                    <a:pt x="100" y="486"/>
                  </a:lnTo>
                  <a:lnTo>
                    <a:pt x="102" y="485"/>
                  </a:lnTo>
                  <a:lnTo>
                    <a:pt x="104" y="485"/>
                  </a:lnTo>
                  <a:lnTo>
                    <a:pt x="105" y="485"/>
                  </a:lnTo>
                  <a:lnTo>
                    <a:pt x="107" y="485"/>
                  </a:lnTo>
                  <a:lnTo>
                    <a:pt x="107" y="483"/>
                  </a:lnTo>
                  <a:lnTo>
                    <a:pt x="107" y="481"/>
                  </a:lnTo>
                  <a:close/>
                  <a:moveTo>
                    <a:pt x="26" y="769"/>
                  </a:moveTo>
                  <a:lnTo>
                    <a:pt x="26" y="771"/>
                  </a:lnTo>
                  <a:lnTo>
                    <a:pt x="27" y="769"/>
                  </a:lnTo>
                  <a:lnTo>
                    <a:pt x="27" y="771"/>
                  </a:lnTo>
                  <a:lnTo>
                    <a:pt x="27" y="773"/>
                  </a:lnTo>
                  <a:lnTo>
                    <a:pt x="29" y="773"/>
                  </a:lnTo>
                  <a:lnTo>
                    <a:pt x="29" y="771"/>
                  </a:lnTo>
                  <a:lnTo>
                    <a:pt x="29" y="773"/>
                  </a:lnTo>
                  <a:lnTo>
                    <a:pt x="31" y="771"/>
                  </a:lnTo>
                  <a:lnTo>
                    <a:pt x="31" y="773"/>
                  </a:lnTo>
                  <a:lnTo>
                    <a:pt x="31" y="774"/>
                  </a:lnTo>
                  <a:lnTo>
                    <a:pt x="32" y="776"/>
                  </a:lnTo>
                  <a:lnTo>
                    <a:pt x="32" y="777"/>
                  </a:lnTo>
                  <a:lnTo>
                    <a:pt x="31" y="777"/>
                  </a:lnTo>
                  <a:lnTo>
                    <a:pt x="32" y="777"/>
                  </a:lnTo>
                  <a:lnTo>
                    <a:pt x="32" y="779"/>
                  </a:lnTo>
                  <a:lnTo>
                    <a:pt x="31" y="779"/>
                  </a:lnTo>
                  <a:lnTo>
                    <a:pt x="32" y="781"/>
                  </a:lnTo>
                  <a:lnTo>
                    <a:pt x="32" y="782"/>
                  </a:lnTo>
                  <a:lnTo>
                    <a:pt x="34" y="782"/>
                  </a:lnTo>
                  <a:lnTo>
                    <a:pt x="34" y="781"/>
                  </a:lnTo>
                  <a:lnTo>
                    <a:pt x="35" y="781"/>
                  </a:lnTo>
                  <a:lnTo>
                    <a:pt x="35" y="779"/>
                  </a:lnTo>
                  <a:lnTo>
                    <a:pt x="37" y="779"/>
                  </a:lnTo>
                  <a:lnTo>
                    <a:pt x="37" y="781"/>
                  </a:lnTo>
                  <a:lnTo>
                    <a:pt x="37" y="782"/>
                  </a:lnTo>
                  <a:lnTo>
                    <a:pt x="35" y="782"/>
                  </a:lnTo>
                  <a:lnTo>
                    <a:pt x="35" y="784"/>
                  </a:lnTo>
                  <a:lnTo>
                    <a:pt x="34" y="784"/>
                  </a:lnTo>
                  <a:lnTo>
                    <a:pt x="34" y="786"/>
                  </a:lnTo>
                  <a:lnTo>
                    <a:pt x="32" y="786"/>
                  </a:lnTo>
                  <a:lnTo>
                    <a:pt x="31" y="786"/>
                  </a:lnTo>
                  <a:lnTo>
                    <a:pt x="29" y="786"/>
                  </a:lnTo>
                  <a:lnTo>
                    <a:pt x="27" y="787"/>
                  </a:lnTo>
                  <a:lnTo>
                    <a:pt x="26" y="787"/>
                  </a:lnTo>
                  <a:lnTo>
                    <a:pt x="24" y="789"/>
                  </a:lnTo>
                  <a:lnTo>
                    <a:pt x="22" y="789"/>
                  </a:lnTo>
                  <a:lnTo>
                    <a:pt x="22" y="790"/>
                  </a:lnTo>
                  <a:lnTo>
                    <a:pt x="21" y="790"/>
                  </a:lnTo>
                  <a:lnTo>
                    <a:pt x="19" y="792"/>
                  </a:lnTo>
                  <a:lnTo>
                    <a:pt x="18" y="792"/>
                  </a:lnTo>
                  <a:lnTo>
                    <a:pt x="16" y="792"/>
                  </a:lnTo>
                  <a:lnTo>
                    <a:pt x="14" y="792"/>
                  </a:lnTo>
                  <a:lnTo>
                    <a:pt x="14" y="794"/>
                  </a:lnTo>
                  <a:lnTo>
                    <a:pt x="13" y="794"/>
                  </a:lnTo>
                  <a:lnTo>
                    <a:pt x="11" y="794"/>
                  </a:lnTo>
                  <a:lnTo>
                    <a:pt x="9" y="794"/>
                  </a:lnTo>
                  <a:lnTo>
                    <a:pt x="9" y="795"/>
                  </a:lnTo>
                  <a:lnTo>
                    <a:pt x="8" y="795"/>
                  </a:lnTo>
                  <a:lnTo>
                    <a:pt x="8" y="794"/>
                  </a:lnTo>
                  <a:lnTo>
                    <a:pt x="6" y="794"/>
                  </a:lnTo>
                  <a:lnTo>
                    <a:pt x="5" y="794"/>
                  </a:lnTo>
                  <a:lnTo>
                    <a:pt x="5" y="792"/>
                  </a:lnTo>
                  <a:lnTo>
                    <a:pt x="1" y="792"/>
                  </a:lnTo>
                  <a:lnTo>
                    <a:pt x="0" y="792"/>
                  </a:lnTo>
                  <a:lnTo>
                    <a:pt x="0" y="790"/>
                  </a:lnTo>
                  <a:lnTo>
                    <a:pt x="0" y="789"/>
                  </a:lnTo>
                  <a:lnTo>
                    <a:pt x="0" y="787"/>
                  </a:lnTo>
                  <a:lnTo>
                    <a:pt x="1" y="787"/>
                  </a:lnTo>
                  <a:lnTo>
                    <a:pt x="3" y="786"/>
                  </a:lnTo>
                  <a:lnTo>
                    <a:pt x="3" y="784"/>
                  </a:lnTo>
                  <a:lnTo>
                    <a:pt x="5" y="784"/>
                  </a:lnTo>
                  <a:lnTo>
                    <a:pt x="5" y="782"/>
                  </a:lnTo>
                  <a:lnTo>
                    <a:pt x="6" y="782"/>
                  </a:lnTo>
                  <a:lnTo>
                    <a:pt x="8" y="781"/>
                  </a:lnTo>
                  <a:lnTo>
                    <a:pt x="9" y="779"/>
                  </a:lnTo>
                  <a:lnTo>
                    <a:pt x="11" y="777"/>
                  </a:lnTo>
                  <a:lnTo>
                    <a:pt x="13" y="777"/>
                  </a:lnTo>
                  <a:lnTo>
                    <a:pt x="13" y="776"/>
                  </a:lnTo>
                  <a:lnTo>
                    <a:pt x="13" y="777"/>
                  </a:lnTo>
                  <a:lnTo>
                    <a:pt x="14" y="776"/>
                  </a:lnTo>
                  <a:lnTo>
                    <a:pt x="16" y="776"/>
                  </a:lnTo>
                  <a:lnTo>
                    <a:pt x="18" y="776"/>
                  </a:lnTo>
                  <a:lnTo>
                    <a:pt x="18" y="774"/>
                  </a:lnTo>
                  <a:lnTo>
                    <a:pt x="19" y="774"/>
                  </a:lnTo>
                  <a:lnTo>
                    <a:pt x="19" y="773"/>
                  </a:lnTo>
                  <a:lnTo>
                    <a:pt x="21" y="773"/>
                  </a:lnTo>
                  <a:lnTo>
                    <a:pt x="22" y="773"/>
                  </a:lnTo>
                  <a:lnTo>
                    <a:pt x="21" y="773"/>
                  </a:lnTo>
                  <a:lnTo>
                    <a:pt x="22" y="771"/>
                  </a:lnTo>
                  <a:lnTo>
                    <a:pt x="24" y="771"/>
                  </a:lnTo>
                  <a:lnTo>
                    <a:pt x="26" y="769"/>
                  </a:lnTo>
                  <a:close/>
                  <a:moveTo>
                    <a:pt x="195" y="670"/>
                  </a:moveTo>
                  <a:lnTo>
                    <a:pt x="195" y="669"/>
                  </a:lnTo>
                  <a:lnTo>
                    <a:pt x="196" y="670"/>
                  </a:lnTo>
                  <a:lnTo>
                    <a:pt x="198" y="669"/>
                  </a:lnTo>
                  <a:lnTo>
                    <a:pt x="198" y="670"/>
                  </a:lnTo>
                  <a:lnTo>
                    <a:pt x="200" y="670"/>
                  </a:lnTo>
                  <a:lnTo>
                    <a:pt x="200" y="669"/>
                  </a:lnTo>
                  <a:lnTo>
                    <a:pt x="200" y="670"/>
                  </a:lnTo>
                  <a:lnTo>
                    <a:pt x="201" y="670"/>
                  </a:lnTo>
                  <a:lnTo>
                    <a:pt x="203" y="670"/>
                  </a:lnTo>
                  <a:lnTo>
                    <a:pt x="205" y="670"/>
                  </a:lnTo>
                  <a:lnTo>
                    <a:pt x="206" y="670"/>
                  </a:lnTo>
                  <a:lnTo>
                    <a:pt x="208" y="670"/>
                  </a:lnTo>
                  <a:lnTo>
                    <a:pt x="206" y="672"/>
                  </a:lnTo>
                  <a:lnTo>
                    <a:pt x="208" y="672"/>
                  </a:lnTo>
                  <a:lnTo>
                    <a:pt x="206" y="673"/>
                  </a:lnTo>
                  <a:lnTo>
                    <a:pt x="205" y="675"/>
                  </a:lnTo>
                  <a:lnTo>
                    <a:pt x="203" y="675"/>
                  </a:lnTo>
                  <a:lnTo>
                    <a:pt x="203" y="677"/>
                  </a:lnTo>
                  <a:lnTo>
                    <a:pt x="201" y="677"/>
                  </a:lnTo>
                  <a:lnTo>
                    <a:pt x="200" y="677"/>
                  </a:lnTo>
                  <a:lnTo>
                    <a:pt x="200" y="678"/>
                  </a:lnTo>
                  <a:lnTo>
                    <a:pt x="201" y="678"/>
                  </a:lnTo>
                  <a:lnTo>
                    <a:pt x="200" y="680"/>
                  </a:lnTo>
                  <a:lnTo>
                    <a:pt x="198" y="680"/>
                  </a:lnTo>
                  <a:lnTo>
                    <a:pt x="198" y="682"/>
                  </a:lnTo>
                  <a:lnTo>
                    <a:pt x="196" y="682"/>
                  </a:lnTo>
                  <a:lnTo>
                    <a:pt x="195" y="682"/>
                  </a:lnTo>
                  <a:lnTo>
                    <a:pt x="195" y="683"/>
                  </a:lnTo>
                  <a:lnTo>
                    <a:pt x="193" y="682"/>
                  </a:lnTo>
                  <a:lnTo>
                    <a:pt x="193" y="683"/>
                  </a:lnTo>
                  <a:lnTo>
                    <a:pt x="193" y="682"/>
                  </a:lnTo>
                  <a:lnTo>
                    <a:pt x="193" y="683"/>
                  </a:lnTo>
                  <a:lnTo>
                    <a:pt x="192" y="683"/>
                  </a:lnTo>
                  <a:lnTo>
                    <a:pt x="190" y="683"/>
                  </a:lnTo>
                  <a:lnTo>
                    <a:pt x="188" y="683"/>
                  </a:lnTo>
                  <a:lnTo>
                    <a:pt x="188" y="682"/>
                  </a:lnTo>
                  <a:lnTo>
                    <a:pt x="187" y="682"/>
                  </a:lnTo>
                  <a:lnTo>
                    <a:pt x="185" y="680"/>
                  </a:lnTo>
                  <a:lnTo>
                    <a:pt x="187" y="680"/>
                  </a:lnTo>
                  <a:lnTo>
                    <a:pt x="187" y="678"/>
                  </a:lnTo>
                  <a:lnTo>
                    <a:pt x="185" y="678"/>
                  </a:lnTo>
                  <a:lnTo>
                    <a:pt x="185" y="677"/>
                  </a:lnTo>
                  <a:lnTo>
                    <a:pt x="185" y="675"/>
                  </a:lnTo>
                  <a:lnTo>
                    <a:pt x="187" y="673"/>
                  </a:lnTo>
                  <a:lnTo>
                    <a:pt x="187" y="675"/>
                  </a:lnTo>
                  <a:lnTo>
                    <a:pt x="188" y="675"/>
                  </a:lnTo>
                  <a:lnTo>
                    <a:pt x="188" y="673"/>
                  </a:lnTo>
                  <a:lnTo>
                    <a:pt x="190" y="673"/>
                  </a:lnTo>
                  <a:lnTo>
                    <a:pt x="188" y="673"/>
                  </a:lnTo>
                  <a:lnTo>
                    <a:pt x="190" y="672"/>
                  </a:lnTo>
                  <a:lnTo>
                    <a:pt x="192" y="672"/>
                  </a:lnTo>
                  <a:lnTo>
                    <a:pt x="192" y="670"/>
                  </a:lnTo>
                  <a:lnTo>
                    <a:pt x="192" y="672"/>
                  </a:lnTo>
                  <a:lnTo>
                    <a:pt x="193" y="672"/>
                  </a:lnTo>
                  <a:lnTo>
                    <a:pt x="193" y="670"/>
                  </a:lnTo>
                  <a:lnTo>
                    <a:pt x="195" y="670"/>
                  </a:lnTo>
                  <a:close/>
                  <a:moveTo>
                    <a:pt x="48" y="823"/>
                  </a:moveTo>
                  <a:lnTo>
                    <a:pt x="50" y="823"/>
                  </a:lnTo>
                  <a:lnTo>
                    <a:pt x="52" y="823"/>
                  </a:lnTo>
                  <a:lnTo>
                    <a:pt x="52" y="825"/>
                  </a:lnTo>
                  <a:lnTo>
                    <a:pt x="53" y="825"/>
                  </a:lnTo>
                  <a:lnTo>
                    <a:pt x="52" y="825"/>
                  </a:lnTo>
                  <a:lnTo>
                    <a:pt x="52" y="826"/>
                  </a:lnTo>
                  <a:lnTo>
                    <a:pt x="53" y="826"/>
                  </a:lnTo>
                  <a:lnTo>
                    <a:pt x="53" y="828"/>
                  </a:lnTo>
                  <a:lnTo>
                    <a:pt x="53" y="830"/>
                  </a:lnTo>
                  <a:lnTo>
                    <a:pt x="52" y="830"/>
                  </a:lnTo>
                  <a:lnTo>
                    <a:pt x="52" y="831"/>
                  </a:lnTo>
                  <a:lnTo>
                    <a:pt x="52" y="830"/>
                  </a:lnTo>
                  <a:lnTo>
                    <a:pt x="52" y="831"/>
                  </a:lnTo>
                  <a:lnTo>
                    <a:pt x="50" y="831"/>
                  </a:lnTo>
                  <a:lnTo>
                    <a:pt x="50" y="830"/>
                  </a:lnTo>
                  <a:lnTo>
                    <a:pt x="48" y="830"/>
                  </a:lnTo>
                  <a:lnTo>
                    <a:pt x="47" y="830"/>
                  </a:lnTo>
                  <a:lnTo>
                    <a:pt x="47" y="828"/>
                  </a:lnTo>
                  <a:lnTo>
                    <a:pt x="45" y="828"/>
                  </a:lnTo>
                  <a:lnTo>
                    <a:pt x="44" y="828"/>
                  </a:lnTo>
                  <a:lnTo>
                    <a:pt x="42" y="828"/>
                  </a:lnTo>
                  <a:lnTo>
                    <a:pt x="40" y="828"/>
                  </a:lnTo>
                  <a:lnTo>
                    <a:pt x="40" y="826"/>
                  </a:lnTo>
                  <a:lnTo>
                    <a:pt x="40" y="825"/>
                  </a:lnTo>
                  <a:lnTo>
                    <a:pt x="42" y="825"/>
                  </a:lnTo>
                  <a:lnTo>
                    <a:pt x="44" y="825"/>
                  </a:lnTo>
                  <a:lnTo>
                    <a:pt x="45" y="823"/>
                  </a:lnTo>
                  <a:lnTo>
                    <a:pt x="48" y="823"/>
                  </a:lnTo>
                  <a:close/>
                  <a:moveTo>
                    <a:pt x="156" y="989"/>
                  </a:moveTo>
                  <a:lnTo>
                    <a:pt x="157" y="989"/>
                  </a:lnTo>
                  <a:lnTo>
                    <a:pt x="159" y="991"/>
                  </a:lnTo>
                  <a:lnTo>
                    <a:pt x="159" y="992"/>
                  </a:lnTo>
                  <a:lnTo>
                    <a:pt x="161" y="992"/>
                  </a:lnTo>
                  <a:lnTo>
                    <a:pt x="161" y="994"/>
                  </a:lnTo>
                  <a:lnTo>
                    <a:pt x="161" y="995"/>
                  </a:lnTo>
                  <a:lnTo>
                    <a:pt x="162" y="995"/>
                  </a:lnTo>
                  <a:lnTo>
                    <a:pt x="164" y="997"/>
                  </a:lnTo>
                  <a:lnTo>
                    <a:pt x="164" y="999"/>
                  </a:lnTo>
                  <a:lnTo>
                    <a:pt x="162" y="999"/>
                  </a:lnTo>
                  <a:lnTo>
                    <a:pt x="162" y="1000"/>
                  </a:lnTo>
                  <a:lnTo>
                    <a:pt x="161" y="1000"/>
                  </a:lnTo>
                  <a:lnTo>
                    <a:pt x="161" y="999"/>
                  </a:lnTo>
                  <a:lnTo>
                    <a:pt x="159" y="999"/>
                  </a:lnTo>
                  <a:lnTo>
                    <a:pt x="157" y="999"/>
                  </a:lnTo>
                  <a:lnTo>
                    <a:pt x="157" y="997"/>
                  </a:lnTo>
                  <a:lnTo>
                    <a:pt x="156" y="995"/>
                  </a:lnTo>
                  <a:lnTo>
                    <a:pt x="156" y="994"/>
                  </a:lnTo>
                  <a:lnTo>
                    <a:pt x="156" y="992"/>
                  </a:lnTo>
                  <a:lnTo>
                    <a:pt x="157" y="992"/>
                  </a:lnTo>
                  <a:lnTo>
                    <a:pt x="156" y="991"/>
                  </a:lnTo>
                  <a:lnTo>
                    <a:pt x="157" y="991"/>
                  </a:lnTo>
                  <a:lnTo>
                    <a:pt x="156" y="989"/>
                  </a:lnTo>
                  <a:lnTo>
                    <a:pt x="156" y="991"/>
                  </a:lnTo>
                  <a:lnTo>
                    <a:pt x="156" y="989"/>
                  </a:lnTo>
                  <a:close/>
                  <a:moveTo>
                    <a:pt x="122" y="873"/>
                  </a:moveTo>
                  <a:lnTo>
                    <a:pt x="123" y="872"/>
                  </a:lnTo>
                  <a:lnTo>
                    <a:pt x="125" y="872"/>
                  </a:lnTo>
                  <a:lnTo>
                    <a:pt x="125" y="873"/>
                  </a:lnTo>
                  <a:lnTo>
                    <a:pt x="125" y="872"/>
                  </a:lnTo>
                  <a:lnTo>
                    <a:pt x="127" y="872"/>
                  </a:lnTo>
                  <a:lnTo>
                    <a:pt x="127" y="873"/>
                  </a:lnTo>
                  <a:lnTo>
                    <a:pt x="128" y="872"/>
                  </a:lnTo>
                  <a:lnTo>
                    <a:pt x="130" y="872"/>
                  </a:lnTo>
                  <a:lnTo>
                    <a:pt x="128" y="872"/>
                  </a:lnTo>
                  <a:lnTo>
                    <a:pt x="130" y="872"/>
                  </a:lnTo>
                  <a:lnTo>
                    <a:pt x="128" y="873"/>
                  </a:lnTo>
                  <a:lnTo>
                    <a:pt x="127" y="873"/>
                  </a:lnTo>
                  <a:lnTo>
                    <a:pt x="125" y="873"/>
                  </a:lnTo>
                  <a:lnTo>
                    <a:pt x="123" y="873"/>
                  </a:lnTo>
                  <a:lnTo>
                    <a:pt x="123" y="875"/>
                  </a:lnTo>
                  <a:lnTo>
                    <a:pt x="125" y="875"/>
                  </a:lnTo>
                  <a:lnTo>
                    <a:pt x="125" y="877"/>
                  </a:lnTo>
                  <a:lnTo>
                    <a:pt x="127" y="877"/>
                  </a:lnTo>
                  <a:lnTo>
                    <a:pt x="128" y="875"/>
                  </a:lnTo>
                  <a:lnTo>
                    <a:pt x="128" y="877"/>
                  </a:lnTo>
                  <a:lnTo>
                    <a:pt x="128" y="878"/>
                  </a:lnTo>
                  <a:lnTo>
                    <a:pt x="130" y="878"/>
                  </a:lnTo>
                  <a:lnTo>
                    <a:pt x="131" y="878"/>
                  </a:lnTo>
                  <a:lnTo>
                    <a:pt x="133" y="878"/>
                  </a:lnTo>
                  <a:lnTo>
                    <a:pt x="133" y="880"/>
                  </a:lnTo>
                  <a:lnTo>
                    <a:pt x="131" y="880"/>
                  </a:lnTo>
                  <a:lnTo>
                    <a:pt x="130" y="880"/>
                  </a:lnTo>
                  <a:lnTo>
                    <a:pt x="128" y="880"/>
                  </a:lnTo>
                  <a:lnTo>
                    <a:pt x="130" y="880"/>
                  </a:lnTo>
                  <a:lnTo>
                    <a:pt x="128" y="882"/>
                  </a:lnTo>
                  <a:lnTo>
                    <a:pt x="127" y="882"/>
                  </a:lnTo>
                  <a:lnTo>
                    <a:pt x="125" y="882"/>
                  </a:lnTo>
                  <a:lnTo>
                    <a:pt x="125" y="880"/>
                  </a:lnTo>
                  <a:lnTo>
                    <a:pt x="123" y="880"/>
                  </a:lnTo>
                  <a:lnTo>
                    <a:pt x="125" y="878"/>
                  </a:lnTo>
                  <a:lnTo>
                    <a:pt x="123" y="878"/>
                  </a:lnTo>
                  <a:lnTo>
                    <a:pt x="123" y="877"/>
                  </a:lnTo>
                  <a:lnTo>
                    <a:pt x="125" y="878"/>
                  </a:lnTo>
                  <a:lnTo>
                    <a:pt x="125" y="877"/>
                  </a:lnTo>
                  <a:lnTo>
                    <a:pt x="123" y="877"/>
                  </a:lnTo>
                  <a:lnTo>
                    <a:pt x="123" y="875"/>
                  </a:lnTo>
                  <a:lnTo>
                    <a:pt x="123" y="873"/>
                  </a:lnTo>
                  <a:lnTo>
                    <a:pt x="122" y="873"/>
                  </a:lnTo>
                  <a:close/>
                  <a:moveTo>
                    <a:pt x="187" y="690"/>
                  </a:moveTo>
                  <a:lnTo>
                    <a:pt x="188" y="691"/>
                  </a:lnTo>
                  <a:lnTo>
                    <a:pt x="190" y="691"/>
                  </a:lnTo>
                  <a:lnTo>
                    <a:pt x="192" y="691"/>
                  </a:lnTo>
                  <a:lnTo>
                    <a:pt x="190" y="691"/>
                  </a:lnTo>
                  <a:lnTo>
                    <a:pt x="190" y="693"/>
                  </a:lnTo>
                  <a:lnTo>
                    <a:pt x="188" y="693"/>
                  </a:lnTo>
                  <a:lnTo>
                    <a:pt x="188" y="695"/>
                  </a:lnTo>
                  <a:lnTo>
                    <a:pt x="188" y="696"/>
                  </a:lnTo>
                  <a:lnTo>
                    <a:pt x="190" y="696"/>
                  </a:lnTo>
                  <a:lnTo>
                    <a:pt x="190" y="698"/>
                  </a:lnTo>
                  <a:lnTo>
                    <a:pt x="188" y="698"/>
                  </a:lnTo>
                  <a:lnTo>
                    <a:pt x="187" y="699"/>
                  </a:lnTo>
                  <a:lnTo>
                    <a:pt x="185" y="701"/>
                  </a:lnTo>
                  <a:lnTo>
                    <a:pt x="185" y="699"/>
                  </a:lnTo>
                  <a:lnTo>
                    <a:pt x="185" y="698"/>
                  </a:lnTo>
                  <a:lnTo>
                    <a:pt x="183" y="698"/>
                  </a:lnTo>
                  <a:lnTo>
                    <a:pt x="183" y="696"/>
                  </a:lnTo>
                  <a:lnTo>
                    <a:pt x="185" y="696"/>
                  </a:lnTo>
                  <a:lnTo>
                    <a:pt x="185" y="695"/>
                  </a:lnTo>
                  <a:lnTo>
                    <a:pt x="185" y="693"/>
                  </a:lnTo>
                  <a:lnTo>
                    <a:pt x="185" y="691"/>
                  </a:lnTo>
                  <a:lnTo>
                    <a:pt x="187" y="691"/>
                  </a:lnTo>
                  <a:lnTo>
                    <a:pt x="187" y="690"/>
                  </a:lnTo>
                  <a:close/>
                  <a:moveTo>
                    <a:pt x="196" y="691"/>
                  </a:moveTo>
                  <a:lnTo>
                    <a:pt x="198" y="691"/>
                  </a:lnTo>
                  <a:lnTo>
                    <a:pt x="198" y="693"/>
                  </a:lnTo>
                  <a:lnTo>
                    <a:pt x="200" y="693"/>
                  </a:lnTo>
                  <a:lnTo>
                    <a:pt x="198" y="693"/>
                  </a:lnTo>
                  <a:lnTo>
                    <a:pt x="200" y="693"/>
                  </a:lnTo>
                  <a:lnTo>
                    <a:pt x="201" y="693"/>
                  </a:lnTo>
                  <a:lnTo>
                    <a:pt x="203" y="693"/>
                  </a:lnTo>
                  <a:lnTo>
                    <a:pt x="203" y="695"/>
                  </a:lnTo>
                  <a:lnTo>
                    <a:pt x="201" y="695"/>
                  </a:lnTo>
                  <a:lnTo>
                    <a:pt x="201" y="696"/>
                  </a:lnTo>
                  <a:lnTo>
                    <a:pt x="201" y="698"/>
                  </a:lnTo>
                  <a:lnTo>
                    <a:pt x="203" y="698"/>
                  </a:lnTo>
                  <a:lnTo>
                    <a:pt x="203" y="699"/>
                  </a:lnTo>
                  <a:lnTo>
                    <a:pt x="203" y="698"/>
                  </a:lnTo>
                  <a:lnTo>
                    <a:pt x="201" y="699"/>
                  </a:lnTo>
                  <a:lnTo>
                    <a:pt x="201" y="698"/>
                  </a:lnTo>
                  <a:lnTo>
                    <a:pt x="200" y="698"/>
                  </a:lnTo>
                  <a:lnTo>
                    <a:pt x="200" y="699"/>
                  </a:lnTo>
                  <a:lnTo>
                    <a:pt x="198" y="699"/>
                  </a:lnTo>
                  <a:lnTo>
                    <a:pt x="196" y="699"/>
                  </a:lnTo>
                  <a:lnTo>
                    <a:pt x="195" y="699"/>
                  </a:lnTo>
                  <a:lnTo>
                    <a:pt x="195" y="698"/>
                  </a:lnTo>
                  <a:lnTo>
                    <a:pt x="195" y="696"/>
                  </a:lnTo>
                  <a:lnTo>
                    <a:pt x="196" y="696"/>
                  </a:lnTo>
                  <a:lnTo>
                    <a:pt x="198" y="696"/>
                  </a:lnTo>
                  <a:lnTo>
                    <a:pt x="198" y="695"/>
                  </a:lnTo>
                  <a:lnTo>
                    <a:pt x="196" y="695"/>
                  </a:lnTo>
                  <a:lnTo>
                    <a:pt x="196" y="693"/>
                  </a:lnTo>
                  <a:lnTo>
                    <a:pt x="196" y="691"/>
                  </a:lnTo>
                  <a:lnTo>
                    <a:pt x="196" y="693"/>
                  </a:lnTo>
                  <a:lnTo>
                    <a:pt x="196" y="691"/>
                  </a:lnTo>
                  <a:close/>
                  <a:moveTo>
                    <a:pt x="292" y="660"/>
                  </a:moveTo>
                  <a:lnTo>
                    <a:pt x="294" y="660"/>
                  </a:lnTo>
                  <a:lnTo>
                    <a:pt x="296" y="659"/>
                  </a:lnTo>
                  <a:lnTo>
                    <a:pt x="296" y="660"/>
                  </a:lnTo>
                  <a:lnTo>
                    <a:pt x="296" y="662"/>
                  </a:lnTo>
                  <a:lnTo>
                    <a:pt x="294" y="662"/>
                  </a:lnTo>
                  <a:lnTo>
                    <a:pt x="296" y="664"/>
                  </a:lnTo>
                  <a:lnTo>
                    <a:pt x="296" y="665"/>
                  </a:lnTo>
                  <a:lnTo>
                    <a:pt x="296" y="667"/>
                  </a:lnTo>
                  <a:lnTo>
                    <a:pt x="294" y="669"/>
                  </a:lnTo>
                  <a:lnTo>
                    <a:pt x="294" y="667"/>
                  </a:lnTo>
                  <a:lnTo>
                    <a:pt x="292" y="667"/>
                  </a:lnTo>
                  <a:lnTo>
                    <a:pt x="294" y="665"/>
                  </a:lnTo>
                  <a:lnTo>
                    <a:pt x="294" y="662"/>
                  </a:lnTo>
                  <a:lnTo>
                    <a:pt x="292" y="662"/>
                  </a:lnTo>
                  <a:lnTo>
                    <a:pt x="294" y="662"/>
                  </a:lnTo>
                  <a:lnTo>
                    <a:pt x="292" y="660"/>
                  </a:lnTo>
                  <a:close/>
                  <a:moveTo>
                    <a:pt x="281" y="1187"/>
                  </a:moveTo>
                  <a:lnTo>
                    <a:pt x="283" y="1187"/>
                  </a:lnTo>
                  <a:lnTo>
                    <a:pt x="284" y="1187"/>
                  </a:lnTo>
                  <a:lnTo>
                    <a:pt x="286" y="1187"/>
                  </a:lnTo>
                  <a:lnTo>
                    <a:pt x="288" y="1187"/>
                  </a:lnTo>
                  <a:lnTo>
                    <a:pt x="289" y="1189"/>
                  </a:lnTo>
                  <a:lnTo>
                    <a:pt x="289" y="1191"/>
                  </a:lnTo>
                  <a:lnTo>
                    <a:pt x="288" y="1191"/>
                  </a:lnTo>
                  <a:lnTo>
                    <a:pt x="286" y="1191"/>
                  </a:lnTo>
                  <a:lnTo>
                    <a:pt x="284" y="1191"/>
                  </a:lnTo>
                  <a:lnTo>
                    <a:pt x="283" y="1189"/>
                  </a:lnTo>
                  <a:lnTo>
                    <a:pt x="283" y="1187"/>
                  </a:lnTo>
                  <a:lnTo>
                    <a:pt x="281" y="1187"/>
                  </a:lnTo>
                  <a:close/>
                  <a:moveTo>
                    <a:pt x="120" y="1012"/>
                  </a:moveTo>
                  <a:lnTo>
                    <a:pt x="120" y="1010"/>
                  </a:lnTo>
                  <a:lnTo>
                    <a:pt x="122" y="1010"/>
                  </a:lnTo>
                  <a:lnTo>
                    <a:pt x="122" y="1012"/>
                  </a:lnTo>
                  <a:lnTo>
                    <a:pt x="122" y="1013"/>
                  </a:lnTo>
                  <a:lnTo>
                    <a:pt x="122" y="1015"/>
                  </a:lnTo>
                  <a:lnTo>
                    <a:pt x="120" y="1015"/>
                  </a:lnTo>
                  <a:lnTo>
                    <a:pt x="120" y="1013"/>
                  </a:lnTo>
                  <a:lnTo>
                    <a:pt x="120" y="1015"/>
                  </a:lnTo>
                  <a:lnTo>
                    <a:pt x="120" y="1013"/>
                  </a:lnTo>
                  <a:lnTo>
                    <a:pt x="120" y="1015"/>
                  </a:lnTo>
                  <a:lnTo>
                    <a:pt x="118" y="1015"/>
                  </a:lnTo>
                  <a:lnTo>
                    <a:pt x="118" y="1013"/>
                  </a:lnTo>
                  <a:lnTo>
                    <a:pt x="117" y="1013"/>
                  </a:lnTo>
                  <a:lnTo>
                    <a:pt x="118" y="1013"/>
                  </a:lnTo>
                  <a:lnTo>
                    <a:pt x="118" y="1012"/>
                  </a:lnTo>
                  <a:lnTo>
                    <a:pt x="120" y="1012"/>
                  </a:lnTo>
                  <a:close/>
                  <a:moveTo>
                    <a:pt x="348" y="605"/>
                  </a:moveTo>
                  <a:lnTo>
                    <a:pt x="348" y="607"/>
                  </a:lnTo>
                  <a:lnTo>
                    <a:pt x="346" y="607"/>
                  </a:lnTo>
                  <a:lnTo>
                    <a:pt x="346" y="605"/>
                  </a:lnTo>
                  <a:lnTo>
                    <a:pt x="344" y="603"/>
                  </a:lnTo>
                  <a:lnTo>
                    <a:pt x="346" y="603"/>
                  </a:lnTo>
                  <a:lnTo>
                    <a:pt x="344" y="603"/>
                  </a:lnTo>
                  <a:lnTo>
                    <a:pt x="346" y="603"/>
                  </a:lnTo>
                  <a:lnTo>
                    <a:pt x="344" y="602"/>
                  </a:lnTo>
                  <a:lnTo>
                    <a:pt x="346" y="602"/>
                  </a:lnTo>
                  <a:lnTo>
                    <a:pt x="346" y="600"/>
                  </a:lnTo>
                  <a:lnTo>
                    <a:pt x="348" y="600"/>
                  </a:lnTo>
                  <a:lnTo>
                    <a:pt x="348" y="602"/>
                  </a:lnTo>
                  <a:lnTo>
                    <a:pt x="346" y="603"/>
                  </a:lnTo>
                  <a:lnTo>
                    <a:pt x="348" y="605"/>
                  </a:lnTo>
                  <a:close/>
                  <a:moveTo>
                    <a:pt x="585" y="1228"/>
                  </a:moveTo>
                  <a:lnTo>
                    <a:pt x="584" y="1230"/>
                  </a:lnTo>
                  <a:lnTo>
                    <a:pt x="584" y="1231"/>
                  </a:lnTo>
                  <a:lnTo>
                    <a:pt x="582" y="1231"/>
                  </a:lnTo>
                  <a:lnTo>
                    <a:pt x="584" y="1231"/>
                  </a:lnTo>
                  <a:lnTo>
                    <a:pt x="582" y="1233"/>
                  </a:lnTo>
                  <a:lnTo>
                    <a:pt x="582" y="1231"/>
                  </a:lnTo>
                  <a:lnTo>
                    <a:pt x="582" y="1233"/>
                  </a:lnTo>
                  <a:lnTo>
                    <a:pt x="580" y="1233"/>
                  </a:lnTo>
                  <a:lnTo>
                    <a:pt x="580" y="1234"/>
                  </a:lnTo>
                  <a:lnTo>
                    <a:pt x="580" y="1233"/>
                  </a:lnTo>
                  <a:lnTo>
                    <a:pt x="579" y="1234"/>
                  </a:lnTo>
                  <a:lnTo>
                    <a:pt x="577" y="1234"/>
                  </a:lnTo>
                  <a:lnTo>
                    <a:pt x="577" y="1233"/>
                  </a:lnTo>
                  <a:lnTo>
                    <a:pt x="579" y="1233"/>
                  </a:lnTo>
                  <a:lnTo>
                    <a:pt x="580" y="1231"/>
                  </a:lnTo>
                  <a:lnTo>
                    <a:pt x="582" y="1230"/>
                  </a:lnTo>
                  <a:lnTo>
                    <a:pt x="584" y="1230"/>
                  </a:lnTo>
                  <a:lnTo>
                    <a:pt x="584" y="1228"/>
                  </a:lnTo>
                  <a:lnTo>
                    <a:pt x="585" y="1228"/>
                  </a:lnTo>
                  <a:close/>
                  <a:moveTo>
                    <a:pt x="288" y="1161"/>
                  </a:moveTo>
                  <a:lnTo>
                    <a:pt x="289" y="1163"/>
                  </a:lnTo>
                  <a:lnTo>
                    <a:pt x="288" y="1163"/>
                  </a:lnTo>
                  <a:lnTo>
                    <a:pt x="288" y="1165"/>
                  </a:lnTo>
                  <a:lnTo>
                    <a:pt x="286" y="1165"/>
                  </a:lnTo>
                  <a:lnTo>
                    <a:pt x="286" y="1163"/>
                  </a:lnTo>
                  <a:lnTo>
                    <a:pt x="284" y="1165"/>
                  </a:lnTo>
                  <a:lnTo>
                    <a:pt x="284" y="1163"/>
                  </a:lnTo>
                  <a:lnTo>
                    <a:pt x="286" y="1161"/>
                  </a:lnTo>
                  <a:lnTo>
                    <a:pt x="288" y="1161"/>
                  </a:lnTo>
                  <a:close/>
                  <a:moveTo>
                    <a:pt x="457" y="1191"/>
                  </a:moveTo>
                  <a:lnTo>
                    <a:pt x="458" y="1191"/>
                  </a:lnTo>
                  <a:lnTo>
                    <a:pt x="460" y="1191"/>
                  </a:lnTo>
                  <a:lnTo>
                    <a:pt x="458" y="1191"/>
                  </a:lnTo>
                  <a:lnTo>
                    <a:pt x="458" y="1192"/>
                  </a:lnTo>
                  <a:lnTo>
                    <a:pt x="458" y="1194"/>
                  </a:lnTo>
                  <a:lnTo>
                    <a:pt x="457" y="1192"/>
                  </a:lnTo>
                  <a:lnTo>
                    <a:pt x="457" y="1191"/>
                  </a:lnTo>
                  <a:close/>
                  <a:moveTo>
                    <a:pt x="122" y="873"/>
                  </a:moveTo>
                  <a:lnTo>
                    <a:pt x="122" y="875"/>
                  </a:lnTo>
                  <a:lnTo>
                    <a:pt x="122" y="877"/>
                  </a:lnTo>
                  <a:lnTo>
                    <a:pt x="120" y="877"/>
                  </a:lnTo>
                  <a:lnTo>
                    <a:pt x="120" y="875"/>
                  </a:lnTo>
                  <a:lnTo>
                    <a:pt x="118" y="875"/>
                  </a:lnTo>
                  <a:lnTo>
                    <a:pt x="118" y="873"/>
                  </a:lnTo>
                  <a:lnTo>
                    <a:pt x="120" y="873"/>
                  </a:lnTo>
                  <a:lnTo>
                    <a:pt x="120" y="872"/>
                  </a:lnTo>
                  <a:lnTo>
                    <a:pt x="122" y="872"/>
                  </a:lnTo>
                  <a:lnTo>
                    <a:pt x="122" y="873"/>
                  </a:lnTo>
                  <a:close/>
                  <a:moveTo>
                    <a:pt x="343" y="600"/>
                  </a:moveTo>
                  <a:lnTo>
                    <a:pt x="344" y="602"/>
                  </a:lnTo>
                  <a:lnTo>
                    <a:pt x="343" y="602"/>
                  </a:lnTo>
                  <a:lnTo>
                    <a:pt x="343" y="603"/>
                  </a:lnTo>
                  <a:lnTo>
                    <a:pt x="343" y="602"/>
                  </a:lnTo>
                  <a:lnTo>
                    <a:pt x="341" y="602"/>
                  </a:lnTo>
                  <a:lnTo>
                    <a:pt x="343" y="603"/>
                  </a:lnTo>
                  <a:lnTo>
                    <a:pt x="341" y="603"/>
                  </a:lnTo>
                  <a:lnTo>
                    <a:pt x="341" y="602"/>
                  </a:lnTo>
                  <a:lnTo>
                    <a:pt x="343" y="602"/>
                  </a:lnTo>
                  <a:lnTo>
                    <a:pt x="343" y="600"/>
                  </a:lnTo>
                  <a:close/>
                  <a:moveTo>
                    <a:pt x="1016" y="1103"/>
                  </a:moveTo>
                  <a:lnTo>
                    <a:pt x="1015" y="1104"/>
                  </a:lnTo>
                  <a:lnTo>
                    <a:pt x="1015" y="1103"/>
                  </a:lnTo>
                  <a:lnTo>
                    <a:pt x="1016" y="1101"/>
                  </a:lnTo>
                  <a:lnTo>
                    <a:pt x="1016" y="1100"/>
                  </a:lnTo>
                  <a:lnTo>
                    <a:pt x="1018" y="1101"/>
                  </a:lnTo>
                  <a:lnTo>
                    <a:pt x="1016" y="1101"/>
                  </a:lnTo>
                  <a:lnTo>
                    <a:pt x="1016" y="1103"/>
                  </a:lnTo>
                  <a:close/>
                  <a:moveTo>
                    <a:pt x="123" y="886"/>
                  </a:moveTo>
                  <a:lnTo>
                    <a:pt x="123" y="888"/>
                  </a:lnTo>
                  <a:lnTo>
                    <a:pt x="125" y="888"/>
                  </a:lnTo>
                  <a:lnTo>
                    <a:pt x="123" y="888"/>
                  </a:lnTo>
                  <a:lnTo>
                    <a:pt x="123" y="890"/>
                  </a:lnTo>
                  <a:lnTo>
                    <a:pt x="122" y="890"/>
                  </a:lnTo>
                  <a:lnTo>
                    <a:pt x="122" y="888"/>
                  </a:lnTo>
                  <a:lnTo>
                    <a:pt x="123" y="888"/>
                  </a:lnTo>
                  <a:lnTo>
                    <a:pt x="123" y="886"/>
                  </a:lnTo>
                  <a:lnTo>
                    <a:pt x="123" y="885"/>
                  </a:lnTo>
                  <a:lnTo>
                    <a:pt x="123" y="886"/>
                  </a:lnTo>
                  <a:close/>
                  <a:moveTo>
                    <a:pt x="183" y="690"/>
                  </a:moveTo>
                  <a:lnTo>
                    <a:pt x="183" y="688"/>
                  </a:lnTo>
                  <a:lnTo>
                    <a:pt x="185" y="688"/>
                  </a:lnTo>
                  <a:lnTo>
                    <a:pt x="185" y="690"/>
                  </a:lnTo>
                  <a:lnTo>
                    <a:pt x="183" y="690"/>
                  </a:lnTo>
                  <a:lnTo>
                    <a:pt x="182" y="691"/>
                  </a:lnTo>
                  <a:lnTo>
                    <a:pt x="180" y="691"/>
                  </a:lnTo>
                  <a:lnTo>
                    <a:pt x="180" y="690"/>
                  </a:lnTo>
                  <a:lnTo>
                    <a:pt x="182" y="690"/>
                  </a:lnTo>
                  <a:lnTo>
                    <a:pt x="183" y="690"/>
                  </a:lnTo>
                  <a:close/>
                  <a:moveTo>
                    <a:pt x="166" y="1004"/>
                  </a:moveTo>
                  <a:lnTo>
                    <a:pt x="166" y="1002"/>
                  </a:lnTo>
                  <a:lnTo>
                    <a:pt x="166" y="1000"/>
                  </a:lnTo>
                  <a:lnTo>
                    <a:pt x="167" y="1000"/>
                  </a:lnTo>
                  <a:lnTo>
                    <a:pt x="167" y="1002"/>
                  </a:lnTo>
                  <a:lnTo>
                    <a:pt x="166" y="1004"/>
                  </a:lnTo>
                  <a:close/>
                  <a:moveTo>
                    <a:pt x="195" y="693"/>
                  </a:moveTo>
                  <a:lnTo>
                    <a:pt x="195" y="695"/>
                  </a:lnTo>
                  <a:lnTo>
                    <a:pt x="193" y="695"/>
                  </a:lnTo>
                  <a:lnTo>
                    <a:pt x="193" y="693"/>
                  </a:lnTo>
                  <a:lnTo>
                    <a:pt x="193" y="691"/>
                  </a:lnTo>
                  <a:lnTo>
                    <a:pt x="195" y="691"/>
                  </a:lnTo>
                  <a:lnTo>
                    <a:pt x="193" y="690"/>
                  </a:lnTo>
                  <a:lnTo>
                    <a:pt x="195" y="690"/>
                  </a:lnTo>
                  <a:lnTo>
                    <a:pt x="195" y="691"/>
                  </a:lnTo>
                  <a:lnTo>
                    <a:pt x="195" y="693"/>
                  </a:lnTo>
                  <a:close/>
                  <a:moveTo>
                    <a:pt x="455" y="1192"/>
                  </a:moveTo>
                  <a:lnTo>
                    <a:pt x="457" y="1192"/>
                  </a:lnTo>
                  <a:lnTo>
                    <a:pt x="457" y="1194"/>
                  </a:lnTo>
                  <a:lnTo>
                    <a:pt x="455" y="1194"/>
                  </a:lnTo>
                  <a:lnTo>
                    <a:pt x="455" y="1192"/>
                  </a:lnTo>
                  <a:close/>
                  <a:moveTo>
                    <a:pt x="205" y="698"/>
                  </a:moveTo>
                  <a:lnTo>
                    <a:pt x="205" y="699"/>
                  </a:lnTo>
                  <a:lnTo>
                    <a:pt x="203" y="699"/>
                  </a:lnTo>
                  <a:lnTo>
                    <a:pt x="203" y="698"/>
                  </a:lnTo>
                  <a:lnTo>
                    <a:pt x="205" y="698"/>
                  </a:lnTo>
                  <a:lnTo>
                    <a:pt x="205" y="696"/>
                  </a:lnTo>
                  <a:lnTo>
                    <a:pt x="205" y="698"/>
                  </a:lnTo>
                  <a:close/>
                  <a:moveTo>
                    <a:pt x="157" y="934"/>
                  </a:moveTo>
                  <a:lnTo>
                    <a:pt x="159" y="934"/>
                  </a:lnTo>
                  <a:lnTo>
                    <a:pt x="159" y="935"/>
                  </a:lnTo>
                  <a:lnTo>
                    <a:pt x="157" y="935"/>
                  </a:lnTo>
                  <a:lnTo>
                    <a:pt x="157" y="934"/>
                  </a:lnTo>
                  <a:close/>
                  <a:moveTo>
                    <a:pt x="340" y="602"/>
                  </a:moveTo>
                  <a:lnTo>
                    <a:pt x="340" y="603"/>
                  </a:lnTo>
                  <a:lnTo>
                    <a:pt x="340" y="602"/>
                  </a:lnTo>
                  <a:lnTo>
                    <a:pt x="340" y="603"/>
                  </a:lnTo>
                  <a:lnTo>
                    <a:pt x="338" y="602"/>
                  </a:lnTo>
                  <a:lnTo>
                    <a:pt x="340" y="600"/>
                  </a:lnTo>
                  <a:lnTo>
                    <a:pt x="340" y="602"/>
                  </a:lnTo>
                  <a:lnTo>
                    <a:pt x="340" y="600"/>
                  </a:lnTo>
                  <a:lnTo>
                    <a:pt x="340" y="602"/>
                  </a:lnTo>
                  <a:lnTo>
                    <a:pt x="341" y="602"/>
                  </a:lnTo>
                  <a:lnTo>
                    <a:pt x="340" y="602"/>
                  </a:lnTo>
                  <a:close/>
                  <a:moveTo>
                    <a:pt x="357" y="1217"/>
                  </a:moveTo>
                  <a:lnTo>
                    <a:pt x="359" y="1217"/>
                  </a:lnTo>
                  <a:lnTo>
                    <a:pt x="359" y="1218"/>
                  </a:lnTo>
                  <a:lnTo>
                    <a:pt x="361" y="1218"/>
                  </a:lnTo>
                  <a:lnTo>
                    <a:pt x="359" y="1218"/>
                  </a:lnTo>
                  <a:lnTo>
                    <a:pt x="357" y="1218"/>
                  </a:lnTo>
                  <a:lnTo>
                    <a:pt x="357" y="1217"/>
                  </a:lnTo>
                  <a:close/>
                  <a:moveTo>
                    <a:pt x="569" y="1241"/>
                  </a:moveTo>
                  <a:lnTo>
                    <a:pt x="571" y="1241"/>
                  </a:lnTo>
                  <a:lnTo>
                    <a:pt x="571" y="1243"/>
                  </a:lnTo>
                  <a:lnTo>
                    <a:pt x="569" y="1243"/>
                  </a:lnTo>
                  <a:lnTo>
                    <a:pt x="567" y="1243"/>
                  </a:lnTo>
                  <a:lnTo>
                    <a:pt x="567" y="1244"/>
                  </a:lnTo>
                  <a:lnTo>
                    <a:pt x="567" y="1243"/>
                  </a:lnTo>
                  <a:lnTo>
                    <a:pt x="569" y="1241"/>
                  </a:lnTo>
                  <a:close/>
                  <a:moveTo>
                    <a:pt x="356" y="1208"/>
                  </a:moveTo>
                  <a:lnTo>
                    <a:pt x="357" y="1208"/>
                  </a:lnTo>
                  <a:lnTo>
                    <a:pt x="356" y="1210"/>
                  </a:lnTo>
                  <a:lnTo>
                    <a:pt x="357" y="1210"/>
                  </a:lnTo>
                  <a:lnTo>
                    <a:pt x="356" y="1210"/>
                  </a:lnTo>
                  <a:lnTo>
                    <a:pt x="354" y="1210"/>
                  </a:lnTo>
                  <a:lnTo>
                    <a:pt x="356" y="1208"/>
                  </a:lnTo>
                  <a:close/>
                  <a:moveTo>
                    <a:pt x="458" y="1182"/>
                  </a:moveTo>
                  <a:lnTo>
                    <a:pt x="460" y="1182"/>
                  </a:lnTo>
                  <a:lnTo>
                    <a:pt x="460" y="1184"/>
                  </a:lnTo>
                  <a:lnTo>
                    <a:pt x="458" y="1184"/>
                  </a:lnTo>
                  <a:lnTo>
                    <a:pt x="458" y="1182"/>
                  </a:lnTo>
                  <a:close/>
                  <a:moveTo>
                    <a:pt x="338" y="599"/>
                  </a:moveTo>
                  <a:lnTo>
                    <a:pt x="336" y="599"/>
                  </a:lnTo>
                  <a:lnTo>
                    <a:pt x="336" y="597"/>
                  </a:lnTo>
                  <a:lnTo>
                    <a:pt x="338" y="597"/>
                  </a:lnTo>
                  <a:lnTo>
                    <a:pt x="338" y="599"/>
                  </a:lnTo>
                  <a:close/>
                  <a:moveTo>
                    <a:pt x="125" y="1013"/>
                  </a:moveTo>
                  <a:lnTo>
                    <a:pt x="123" y="1013"/>
                  </a:lnTo>
                  <a:lnTo>
                    <a:pt x="123" y="1012"/>
                  </a:lnTo>
                  <a:lnTo>
                    <a:pt x="125" y="1012"/>
                  </a:lnTo>
                  <a:lnTo>
                    <a:pt x="125" y="1013"/>
                  </a:lnTo>
                  <a:close/>
                  <a:moveTo>
                    <a:pt x="357" y="1207"/>
                  </a:moveTo>
                  <a:lnTo>
                    <a:pt x="359" y="1207"/>
                  </a:lnTo>
                  <a:lnTo>
                    <a:pt x="361" y="1207"/>
                  </a:lnTo>
                  <a:lnTo>
                    <a:pt x="359" y="1207"/>
                  </a:lnTo>
                  <a:lnTo>
                    <a:pt x="359" y="1208"/>
                  </a:lnTo>
                  <a:lnTo>
                    <a:pt x="357" y="1208"/>
                  </a:lnTo>
                  <a:lnTo>
                    <a:pt x="359" y="1207"/>
                  </a:lnTo>
                  <a:lnTo>
                    <a:pt x="357" y="1207"/>
                  </a:lnTo>
                  <a:close/>
                  <a:moveTo>
                    <a:pt x="125" y="882"/>
                  </a:moveTo>
                  <a:lnTo>
                    <a:pt x="123" y="882"/>
                  </a:lnTo>
                  <a:lnTo>
                    <a:pt x="122" y="882"/>
                  </a:lnTo>
                  <a:lnTo>
                    <a:pt x="123" y="880"/>
                  </a:lnTo>
                  <a:lnTo>
                    <a:pt x="125" y="880"/>
                  </a:lnTo>
                  <a:lnTo>
                    <a:pt x="125" y="882"/>
                  </a:lnTo>
                  <a:close/>
                  <a:moveTo>
                    <a:pt x="47" y="810"/>
                  </a:moveTo>
                  <a:lnTo>
                    <a:pt x="47" y="808"/>
                  </a:lnTo>
                  <a:lnTo>
                    <a:pt x="48" y="808"/>
                  </a:lnTo>
                  <a:lnTo>
                    <a:pt x="48" y="810"/>
                  </a:lnTo>
                  <a:lnTo>
                    <a:pt x="50" y="808"/>
                  </a:lnTo>
                  <a:lnTo>
                    <a:pt x="48" y="810"/>
                  </a:lnTo>
                  <a:lnTo>
                    <a:pt x="47" y="810"/>
                  </a:lnTo>
                  <a:close/>
                  <a:moveTo>
                    <a:pt x="268" y="1163"/>
                  </a:moveTo>
                  <a:lnTo>
                    <a:pt x="270" y="1163"/>
                  </a:lnTo>
                  <a:lnTo>
                    <a:pt x="270" y="1165"/>
                  </a:lnTo>
                  <a:lnTo>
                    <a:pt x="271" y="1165"/>
                  </a:lnTo>
                  <a:lnTo>
                    <a:pt x="270" y="1165"/>
                  </a:lnTo>
                  <a:lnTo>
                    <a:pt x="268" y="1165"/>
                  </a:lnTo>
                  <a:lnTo>
                    <a:pt x="268" y="1163"/>
                  </a:lnTo>
                  <a:close/>
                  <a:moveTo>
                    <a:pt x="153" y="968"/>
                  </a:moveTo>
                  <a:lnTo>
                    <a:pt x="153" y="966"/>
                  </a:lnTo>
                  <a:lnTo>
                    <a:pt x="153" y="968"/>
                  </a:lnTo>
                  <a:lnTo>
                    <a:pt x="154" y="968"/>
                  </a:lnTo>
                  <a:lnTo>
                    <a:pt x="154" y="969"/>
                  </a:lnTo>
                  <a:lnTo>
                    <a:pt x="153" y="968"/>
                  </a:lnTo>
                  <a:close/>
                  <a:moveTo>
                    <a:pt x="257" y="1192"/>
                  </a:moveTo>
                  <a:lnTo>
                    <a:pt x="255" y="1192"/>
                  </a:lnTo>
                  <a:lnTo>
                    <a:pt x="257" y="1192"/>
                  </a:lnTo>
                  <a:lnTo>
                    <a:pt x="257" y="1191"/>
                  </a:lnTo>
                  <a:lnTo>
                    <a:pt x="258" y="1191"/>
                  </a:lnTo>
                  <a:lnTo>
                    <a:pt x="257" y="1191"/>
                  </a:lnTo>
                  <a:lnTo>
                    <a:pt x="257" y="1192"/>
                  </a:lnTo>
                  <a:close/>
                  <a:moveTo>
                    <a:pt x="115" y="885"/>
                  </a:moveTo>
                  <a:lnTo>
                    <a:pt x="115" y="883"/>
                  </a:lnTo>
                  <a:lnTo>
                    <a:pt x="117" y="883"/>
                  </a:lnTo>
                  <a:lnTo>
                    <a:pt x="117" y="885"/>
                  </a:lnTo>
                  <a:lnTo>
                    <a:pt x="115" y="885"/>
                  </a:lnTo>
                  <a:close/>
                  <a:moveTo>
                    <a:pt x="299" y="1186"/>
                  </a:moveTo>
                  <a:lnTo>
                    <a:pt x="299" y="1184"/>
                  </a:lnTo>
                  <a:lnTo>
                    <a:pt x="299" y="1186"/>
                  </a:lnTo>
                  <a:lnTo>
                    <a:pt x="301" y="1186"/>
                  </a:lnTo>
                  <a:lnTo>
                    <a:pt x="299" y="1186"/>
                  </a:lnTo>
                  <a:close/>
                  <a:moveTo>
                    <a:pt x="379" y="1191"/>
                  </a:moveTo>
                  <a:lnTo>
                    <a:pt x="380" y="1191"/>
                  </a:lnTo>
                  <a:lnTo>
                    <a:pt x="380" y="1192"/>
                  </a:lnTo>
                  <a:lnTo>
                    <a:pt x="379" y="1192"/>
                  </a:lnTo>
                  <a:lnTo>
                    <a:pt x="379" y="1191"/>
                  </a:lnTo>
                  <a:close/>
                  <a:moveTo>
                    <a:pt x="169" y="942"/>
                  </a:moveTo>
                  <a:lnTo>
                    <a:pt x="167" y="942"/>
                  </a:lnTo>
                  <a:lnTo>
                    <a:pt x="169" y="942"/>
                  </a:lnTo>
                  <a:close/>
                  <a:moveTo>
                    <a:pt x="473" y="1189"/>
                  </a:moveTo>
                  <a:lnTo>
                    <a:pt x="473" y="1191"/>
                  </a:lnTo>
                  <a:lnTo>
                    <a:pt x="471" y="1189"/>
                  </a:lnTo>
                  <a:lnTo>
                    <a:pt x="473" y="1189"/>
                  </a:lnTo>
                  <a:close/>
                  <a:moveTo>
                    <a:pt x="122" y="880"/>
                  </a:moveTo>
                  <a:lnTo>
                    <a:pt x="122" y="878"/>
                  </a:lnTo>
                  <a:lnTo>
                    <a:pt x="123" y="878"/>
                  </a:lnTo>
                  <a:lnTo>
                    <a:pt x="123" y="880"/>
                  </a:lnTo>
                  <a:lnTo>
                    <a:pt x="122" y="880"/>
                  </a:lnTo>
                  <a:close/>
                  <a:moveTo>
                    <a:pt x="522" y="1243"/>
                  </a:moveTo>
                  <a:lnTo>
                    <a:pt x="520" y="1243"/>
                  </a:lnTo>
                  <a:lnTo>
                    <a:pt x="522" y="1243"/>
                  </a:lnTo>
                  <a:lnTo>
                    <a:pt x="522" y="1241"/>
                  </a:lnTo>
                  <a:lnTo>
                    <a:pt x="522" y="1243"/>
                  </a:lnTo>
                  <a:close/>
                  <a:moveTo>
                    <a:pt x="247" y="688"/>
                  </a:moveTo>
                  <a:lnTo>
                    <a:pt x="247" y="686"/>
                  </a:lnTo>
                  <a:lnTo>
                    <a:pt x="248" y="686"/>
                  </a:lnTo>
                  <a:lnTo>
                    <a:pt x="248" y="688"/>
                  </a:lnTo>
                  <a:lnTo>
                    <a:pt x="247" y="688"/>
                  </a:lnTo>
                  <a:close/>
                  <a:moveTo>
                    <a:pt x="169" y="986"/>
                  </a:moveTo>
                  <a:lnTo>
                    <a:pt x="169" y="987"/>
                  </a:lnTo>
                  <a:lnTo>
                    <a:pt x="170" y="987"/>
                  </a:lnTo>
                  <a:lnTo>
                    <a:pt x="169" y="987"/>
                  </a:lnTo>
                  <a:lnTo>
                    <a:pt x="169" y="986"/>
                  </a:lnTo>
                  <a:close/>
                  <a:moveTo>
                    <a:pt x="133" y="1020"/>
                  </a:moveTo>
                  <a:lnTo>
                    <a:pt x="135" y="1020"/>
                  </a:lnTo>
                  <a:lnTo>
                    <a:pt x="135" y="1021"/>
                  </a:lnTo>
                  <a:lnTo>
                    <a:pt x="133" y="1021"/>
                  </a:lnTo>
                  <a:lnTo>
                    <a:pt x="133" y="1020"/>
                  </a:lnTo>
                  <a:close/>
                  <a:moveTo>
                    <a:pt x="133" y="877"/>
                  </a:moveTo>
                  <a:lnTo>
                    <a:pt x="133" y="878"/>
                  </a:lnTo>
                  <a:lnTo>
                    <a:pt x="131" y="878"/>
                  </a:lnTo>
                  <a:lnTo>
                    <a:pt x="131" y="877"/>
                  </a:lnTo>
                  <a:lnTo>
                    <a:pt x="133" y="877"/>
                  </a:lnTo>
                  <a:close/>
                  <a:moveTo>
                    <a:pt x="135" y="1017"/>
                  </a:moveTo>
                  <a:lnTo>
                    <a:pt x="133" y="1015"/>
                  </a:lnTo>
                  <a:lnTo>
                    <a:pt x="135" y="1015"/>
                  </a:lnTo>
                  <a:lnTo>
                    <a:pt x="135" y="1017"/>
                  </a:lnTo>
                  <a:close/>
                  <a:moveTo>
                    <a:pt x="234" y="1111"/>
                  </a:moveTo>
                  <a:lnTo>
                    <a:pt x="232" y="1109"/>
                  </a:lnTo>
                  <a:lnTo>
                    <a:pt x="231" y="1109"/>
                  </a:lnTo>
                  <a:lnTo>
                    <a:pt x="231" y="1108"/>
                  </a:lnTo>
                  <a:lnTo>
                    <a:pt x="231" y="1109"/>
                  </a:lnTo>
                  <a:lnTo>
                    <a:pt x="232" y="1109"/>
                  </a:lnTo>
                  <a:lnTo>
                    <a:pt x="232" y="1111"/>
                  </a:lnTo>
                  <a:lnTo>
                    <a:pt x="234" y="1111"/>
                  </a:lnTo>
                  <a:close/>
                  <a:moveTo>
                    <a:pt x="154" y="922"/>
                  </a:moveTo>
                  <a:lnTo>
                    <a:pt x="154" y="924"/>
                  </a:lnTo>
                  <a:lnTo>
                    <a:pt x="153" y="924"/>
                  </a:lnTo>
                  <a:lnTo>
                    <a:pt x="153" y="922"/>
                  </a:lnTo>
                  <a:lnTo>
                    <a:pt x="154" y="922"/>
                  </a:lnTo>
                  <a:close/>
                  <a:moveTo>
                    <a:pt x="253" y="1181"/>
                  </a:moveTo>
                  <a:lnTo>
                    <a:pt x="253" y="1179"/>
                  </a:lnTo>
                  <a:lnTo>
                    <a:pt x="253" y="1181"/>
                  </a:lnTo>
                  <a:close/>
                  <a:moveTo>
                    <a:pt x="640" y="1217"/>
                  </a:moveTo>
                  <a:lnTo>
                    <a:pt x="640" y="1215"/>
                  </a:lnTo>
                  <a:lnTo>
                    <a:pt x="640" y="1213"/>
                  </a:lnTo>
                  <a:lnTo>
                    <a:pt x="640" y="1215"/>
                  </a:lnTo>
                  <a:lnTo>
                    <a:pt x="640" y="1217"/>
                  </a:lnTo>
                  <a:close/>
                  <a:moveTo>
                    <a:pt x="261" y="1143"/>
                  </a:moveTo>
                  <a:lnTo>
                    <a:pt x="260" y="1143"/>
                  </a:lnTo>
                  <a:lnTo>
                    <a:pt x="261" y="1143"/>
                  </a:lnTo>
                  <a:close/>
                  <a:moveTo>
                    <a:pt x="180" y="677"/>
                  </a:moveTo>
                  <a:lnTo>
                    <a:pt x="180" y="675"/>
                  </a:lnTo>
                  <a:lnTo>
                    <a:pt x="180" y="677"/>
                  </a:lnTo>
                  <a:close/>
                  <a:moveTo>
                    <a:pt x="401" y="1191"/>
                  </a:moveTo>
                  <a:lnTo>
                    <a:pt x="400" y="1191"/>
                  </a:lnTo>
                  <a:lnTo>
                    <a:pt x="401" y="1191"/>
                  </a:lnTo>
                  <a:lnTo>
                    <a:pt x="400" y="1191"/>
                  </a:lnTo>
                  <a:lnTo>
                    <a:pt x="401" y="1191"/>
                  </a:lnTo>
                  <a:close/>
                  <a:moveTo>
                    <a:pt x="133" y="873"/>
                  </a:moveTo>
                  <a:lnTo>
                    <a:pt x="133" y="872"/>
                  </a:lnTo>
                  <a:lnTo>
                    <a:pt x="133" y="873"/>
                  </a:lnTo>
                  <a:close/>
                  <a:moveTo>
                    <a:pt x="153" y="924"/>
                  </a:moveTo>
                  <a:lnTo>
                    <a:pt x="153" y="922"/>
                  </a:lnTo>
                  <a:lnTo>
                    <a:pt x="153" y="924"/>
                  </a:lnTo>
                  <a:close/>
                  <a:moveTo>
                    <a:pt x="100" y="698"/>
                  </a:moveTo>
                  <a:lnTo>
                    <a:pt x="102" y="698"/>
                  </a:lnTo>
                  <a:lnTo>
                    <a:pt x="102" y="699"/>
                  </a:lnTo>
                  <a:lnTo>
                    <a:pt x="100" y="699"/>
                  </a:lnTo>
                  <a:lnTo>
                    <a:pt x="100" y="698"/>
                  </a:lnTo>
                  <a:close/>
                  <a:moveTo>
                    <a:pt x="276" y="1189"/>
                  </a:moveTo>
                  <a:lnTo>
                    <a:pt x="276" y="1187"/>
                  </a:lnTo>
                  <a:lnTo>
                    <a:pt x="276" y="1189"/>
                  </a:lnTo>
                  <a:close/>
                  <a:moveTo>
                    <a:pt x="170" y="1012"/>
                  </a:moveTo>
                  <a:lnTo>
                    <a:pt x="170" y="1010"/>
                  </a:lnTo>
                  <a:lnTo>
                    <a:pt x="170" y="1012"/>
                  </a:lnTo>
                  <a:close/>
                  <a:moveTo>
                    <a:pt x="288" y="1148"/>
                  </a:moveTo>
                  <a:lnTo>
                    <a:pt x="289" y="1148"/>
                  </a:lnTo>
                  <a:lnTo>
                    <a:pt x="288" y="1148"/>
                  </a:lnTo>
                  <a:close/>
                  <a:moveTo>
                    <a:pt x="367" y="1171"/>
                  </a:moveTo>
                  <a:lnTo>
                    <a:pt x="369" y="1171"/>
                  </a:lnTo>
                  <a:lnTo>
                    <a:pt x="367" y="1171"/>
                  </a:lnTo>
                  <a:close/>
                  <a:moveTo>
                    <a:pt x="123" y="1013"/>
                  </a:moveTo>
                  <a:lnTo>
                    <a:pt x="122" y="1013"/>
                  </a:lnTo>
                  <a:lnTo>
                    <a:pt x="122" y="1012"/>
                  </a:lnTo>
                  <a:lnTo>
                    <a:pt x="123" y="1013"/>
                  </a:lnTo>
                  <a:close/>
                  <a:moveTo>
                    <a:pt x="584" y="1226"/>
                  </a:moveTo>
                  <a:lnTo>
                    <a:pt x="582" y="1226"/>
                  </a:lnTo>
                  <a:lnTo>
                    <a:pt x="584" y="1226"/>
                  </a:lnTo>
                  <a:close/>
                  <a:moveTo>
                    <a:pt x="645" y="1205"/>
                  </a:moveTo>
                  <a:lnTo>
                    <a:pt x="647" y="1205"/>
                  </a:lnTo>
                  <a:lnTo>
                    <a:pt x="647" y="1207"/>
                  </a:lnTo>
                  <a:lnTo>
                    <a:pt x="647" y="1205"/>
                  </a:lnTo>
                  <a:lnTo>
                    <a:pt x="645" y="1205"/>
                  </a:lnTo>
                  <a:close/>
                  <a:moveTo>
                    <a:pt x="468" y="1186"/>
                  </a:moveTo>
                  <a:lnTo>
                    <a:pt x="466" y="1186"/>
                  </a:lnTo>
                  <a:lnTo>
                    <a:pt x="468" y="1186"/>
                  </a:lnTo>
                  <a:close/>
                  <a:moveTo>
                    <a:pt x="133" y="978"/>
                  </a:moveTo>
                  <a:lnTo>
                    <a:pt x="131" y="978"/>
                  </a:lnTo>
                  <a:lnTo>
                    <a:pt x="133" y="978"/>
                  </a:lnTo>
                  <a:close/>
                  <a:moveTo>
                    <a:pt x="170" y="1005"/>
                  </a:moveTo>
                  <a:lnTo>
                    <a:pt x="170" y="1007"/>
                  </a:lnTo>
                  <a:lnTo>
                    <a:pt x="170" y="1005"/>
                  </a:lnTo>
                  <a:close/>
                  <a:moveTo>
                    <a:pt x="120" y="882"/>
                  </a:moveTo>
                  <a:lnTo>
                    <a:pt x="120" y="880"/>
                  </a:lnTo>
                  <a:lnTo>
                    <a:pt x="120" y="882"/>
                  </a:lnTo>
                  <a:close/>
                  <a:moveTo>
                    <a:pt x="458" y="1187"/>
                  </a:moveTo>
                  <a:lnTo>
                    <a:pt x="458" y="1189"/>
                  </a:lnTo>
                  <a:lnTo>
                    <a:pt x="458" y="1187"/>
                  </a:lnTo>
                  <a:close/>
                  <a:moveTo>
                    <a:pt x="105" y="732"/>
                  </a:moveTo>
                  <a:lnTo>
                    <a:pt x="104" y="732"/>
                  </a:lnTo>
                  <a:lnTo>
                    <a:pt x="105" y="732"/>
                  </a:lnTo>
                  <a:lnTo>
                    <a:pt x="105" y="730"/>
                  </a:lnTo>
                  <a:lnTo>
                    <a:pt x="105" y="732"/>
                  </a:lnTo>
                  <a:close/>
                  <a:moveTo>
                    <a:pt x="221" y="706"/>
                  </a:moveTo>
                  <a:lnTo>
                    <a:pt x="219" y="706"/>
                  </a:lnTo>
                  <a:lnTo>
                    <a:pt x="221" y="706"/>
                  </a:lnTo>
                  <a:close/>
                  <a:moveTo>
                    <a:pt x="557" y="1244"/>
                  </a:moveTo>
                  <a:lnTo>
                    <a:pt x="559" y="1244"/>
                  </a:lnTo>
                  <a:lnTo>
                    <a:pt x="557" y="1244"/>
                  </a:lnTo>
                  <a:close/>
                  <a:moveTo>
                    <a:pt x="169" y="1008"/>
                  </a:moveTo>
                  <a:lnTo>
                    <a:pt x="169" y="1007"/>
                  </a:lnTo>
                  <a:lnTo>
                    <a:pt x="170" y="1007"/>
                  </a:lnTo>
                  <a:lnTo>
                    <a:pt x="170" y="1008"/>
                  </a:lnTo>
                  <a:lnTo>
                    <a:pt x="169" y="1008"/>
                  </a:lnTo>
                  <a:close/>
                  <a:moveTo>
                    <a:pt x="140" y="872"/>
                  </a:moveTo>
                  <a:lnTo>
                    <a:pt x="140" y="870"/>
                  </a:lnTo>
                  <a:lnTo>
                    <a:pt x="140" y="872"/>
                  </a:lnTo>
                  <a:close/>
                  <a:moveTo>
                    <a:pt x="478" y="1204"/>
                  </a:moveTo>
                  <a:lnTo>
                    <a:pt x="479" y="1204"/>
                  </a:lnTo>
                  <a:lnTo>
                    <a:pt x="478" y="1204"/>
                  </a:lnTo>
                  <a:close/>
                  <a:moveTo>
                    <a:pt x="992" y="1121"/>
                  </a:moveTo>
                  <a:lnTo>
                    <a:pt x="992" y="1119"/>
                  </a:lnTo>
                  <a:lnTo>
                    <a:pt x="992" y="1121"/>
                  </a:lnTo>
                  <a:close/>
                  <a:moveTo>
                    <a:pt x="138" y="1044"/>
                  </a:moveTo>
                  <a:lnTo>
                    <a:pt x="138" y="1043"/>
                  </a:lnTo>
                  <a:lnTo>
                    <a:pt x="138" y="1044"/>
                  </a:lnTo>
                  <a:close/>
                  <a:moveTo>
                    <a:pt x="522" y="1241"/>
                  </a:moveTo>
                  <a:lnTo>
                    <a:pt x="523" y="1241"/>
                  </a:lnTo>
                  <a:lnTo>
                    <a:pt x="522" y="1241"/>
                  </a:lnTo>
                  <a:close/>
                  <a:moveTo>
                    <a:pt x="640" y="1213"/>
                  </a:moveTo>
                  <a:lnTo>
                    <a:pt x="639" y="1213"/>
                  </a:lnTo>
                  <a:lnTo>
                    <a:pt x="640" y="1212"/>
                  </a:lnTo>
                  <a:lnTo>
                    <a:pt x="640" y="1213"/>
                  </a:lnTo>
                  <a:close/>
                  <a:moveTo>
                    <a:pt x="156" y="971"/>
                  </a:moveTo>
                  <a:lnTo>
                    <a:pt x="154" y="971"/>
                  </a:lnTo>
                  <a:lnTo>
                    <a:pt x="156" y="969"/>
                  </a:lnTo>
                  <a:lnTo>
                    <a:pt x="156" y="971"/>
                  </a:lnTo>
                  <a:close/>
                  <a:moveTo>
                    <a:pt x="273" y="1168"/>
                  </a:moveTo>
                  <a:lnTo>
                    <a:pt x="271" y="1168"/>
                  </a:lnTo>
                  <a:lnTo>
                    <a:pt x="273" y="1168"/>
                  </a:lnTo>
                  <a:close/>
                  <a:moveTo>
                    <a:pt x="369" y="1166"/>
                  </a:moveTo>
                  <a:lnTo>
                    <a:pt x="367" y="1166"/>
                  </a:lnTo>
                  <a:lnTo>
                    <a:pt x="369" y="1166"/>
                  </a:lnTo>
                  <a:close/>
                  <a:moveTo>
                    <a:pt x="370" y="1223"/>
                  </a:moveTo>
                  <a:lnTo>
                    <a:pt x="370" y="1225"/>
                  </a:lnTo>
                  <a:lnTo>
                    <a:pt x="370" y="1223"/>
                  </a:lnTo>
                  <a:close/>
                  <a:moveTo>
                    <a:pt x="117" y="1017"/>
                  </a:moveTo>
                  <a:lnTo>
                    <a:pt x="117" y="1015"/>
                  </a:lnTo>
                  <a:lnTo>
                    <a:pt x="117" y="1017"/>
                  </a:lnTo>
                  <a:close/>
                  <a:moveTo>
                    <a:pt x="479" y="1191"/>
                  </a:moveTo>
                  <a:lnTo>
                    <a:pt x="478" y="1189"/>
                  </a:lnTo>
                  <a:lnTo>
                    <a:pt x="479" y="1189"/>
                  </a:lnTo>
                  <a:lnTo>
                    <a:pt x="479" y="1191"/>
                  </a:lnTo>
                  <a:close/>
                  <a:moveTo>
                    <a:pt x="361" y="1218"/>
                  </a:moveTo>
                  <a:lnTo>
                    <a:pt x="362" y="1218"/>
                  </a:lnTo>
                  <a:lnTo>
                    <a:pt x="361" y="1218"/>
                  </a:lnTo>
                  <a:close/>
                  <a:moveTo>
                    <a:pt x="250" y="688"/>
                  </a:moveTo>
                  <a:lnTo>
                    <a:pt x="250" y="686"/>
                  </a:lnTo>
                  <a:lnTo>
                    <a:pt x="250" y="688"/>
                  </a:lnTo>
                  <a:close/>
                  <a:moveTo>
                    <a:pt x="190" y="997"/>
                  </a:moveTo>
                  <a:lnTo>
                    <a:pt x="188" y="997"/>
                  </a:lnTo>
                  <a:lnTo>
                    <a:pt x="190" y="997"/>
                  </a:lnTo>
                  <a:close/>
                  <a:moveTo>
                    <a:pt x="266" y="1148"/>
                  </a:moveTo>
                  <a:lnTo>
                    <a:pt x="265" y="1148"/>
                  </a:lnTo>
                  <a:lnTo>
                    <a:pt x="266" y="1148"/>
                  </a:lnTo>
                  <a:close/>
                  <a:moveTo>
                    <a:pt x="250" y="685"/>
                  </a:moveTo>
                  <a:lnTo>
                    <a:pt x="252" y="685"/>
                  </a:lnTo>
                  <a:lnTo>
                    <a:pt x="250" y="685"/>
                  </a:lnTo>
                  <a:close/>
                  <a:moveTo>
                    <a:pt x="453" y="522"/>
                  </a:moveTo>
                  <a:lnTo>
                    <a:pt x="453" y="520"/>
                  </a:lnTo>
                  <a:lnTo>
                    <a:pt x="453" y="522"/>
                  </a:lnTo>
                  <a:close/>
                  <a:moveTo>
                    <a:pt x="351" y="1189"/>
                  </a:moveTo>
                  <a:lnTo>
                    <a:pt x="353" y="1189"/>
                  </a:lnTo>
                  <a:lnTo>
                    <a:pt x="351" y="1189"/>
                  </a:lnTo>
                  <a:close/>
                  <a:moveTo>
                    <a:pt x="301" y="1231"/>
                  </a:moveTo>
                  <a:lnTo>
                    <a:pt x="299" y="1233"/>
                  </a:lnTo>
                  <a:lnTo>
                    <a:pt x="299" y="1231"/>
                  </a:lnTo>
                  <a:lnTo>
                    <a:pt x="301" y="1231"/>
                  </a:lnTo>
                  <a:close/>
                  <a:moveTo>
                    <a:pt x="283" y="1168"/>
                  </a:moveTo>
                  <a:lnTo>
                    <a:pt x="283" y="1166"/>
                  </a:lnTo>
                  <a:lnTo>
                    <a:pt x="283" y="1168"/>
                  </a:lnTo>
                  <a:close/>
                  <a:moveTo>
                    <a:pt x="647" y="1173"/>
                  </a:moveTo>
                  <a:lnTo>
                    <a:pt x="649" y="1173"/>
                  </a:lnTo>
                  <a:lnTo>
                    <a:pt x="647" y="1173"/>
                  </a:lnTo>
                  <a:close/>
                  <a:moveTo>
                    <a:pt x="283" y="1169"/>
                  </a:moveTo>
                  <a:lnTo>
                    <a:pt x="283" y="1168"/>
                  </a:lnTo>
                  <a:lnTo>
                    <a:pt x="283" y="1169"/>
                  </a:lnTo>
                  <a:close/>
                  <a:moveTo>
                    <a:pt x="470" y="1189"/>
                  </a:moveTo>
                  <a:lnTo>
                    <a:pt x="471" y="1189"/>
                  </a:lnTo>
                  <a:lnTo>
                    <a:pt x="470" y="1189"/>
                  </a:lnTo>
                  <a:close/>
                  <a:moveTo>
                    <a:pt x="154" y="971"/>
                  </a:moveTo>
                  <a:lnTo>
                    <a:pt x="154" y="969"/>
                  </a:lnTo>
                  <a:lnTo>
                    <a:pt x="154" y="971"/>
                  </a:lnTo>
                  <a:close/>
                  <a:moveTo>
                    <a:pt x="268" y="1165"/>
                  </a:moveTo>
                  <a:lnTo>
                    <a:pt x="268" y="1163"/>
                  </a:lnTo>
                  <a:lnTo>
                    <a:pt x="268" y="1165"/>
                  </a:lnTo>
                  <a:close/>
                  <a:moveTo>
                    <a:pt x="353" y="1210"/>
                  </a:moveTo>
                  <a:lnTo>
                    <a:pt x="354" y="1210"/>
                  </a:lnTo>
                  <a:lnTo>
                    <a:pt x="354" y="1212"/>
                  </a:lnTo>
                  <a:lnTo>
                    <a:pt x="353" y="1210"/>
                  </a:lnTo>
                  <a:close/>
                  <a:moveTo>
                    <a:pt x="138" y="1046"/>
                  </a:moveTo>
                  <a:lnTo>
                    <a:pt x="136" y="1046"/>
                  </a:lnTo>
                  <a:lnTo>
                    <a:pt x="138" y="1046"/>
                  </a:lnTo>
                  <a:close/>
                  <a:moveTo>
                    <a:pt x="333" y="607"/>
                  </a:moveTo>
                  <a:lnTo>
                    <a:pt x="333" y="605"/>
                  </a:lnTo>
                  <a:lnTo>
                    <a:pt x="333" y="607"/>
                  </a:lnTo>
                  <a:close/>
                  <a:moveTo>
                    <a:pt x="131" y="873"/>
                  </a:moveTo>
                  <a:lnTo>
                    <a:pt x="133" y="873"/>
                  </a:lnTo>
                  <a:lnTo>
                    <a:pt x="131" y="873"/>
                  </a:lnTo>
                  <a:close/>
                  <a:moveTo>
                    <a:pt x="531" y="1241"/>
                  </a:moveTo>
                  <a:lnTo>
                    <a:pt x="531" y="1243"/>
                  </a:lnTo>
                  <a:lnTo>
                    <a:pt x="530" y="1243"/>
                  </a:lnTo>
                  <a:lnTo>
                    <a:pt x="530" y="1241"/>
                  </a:lnTo>
                  <a:lnTo>
                    <a:pt x="531" y="1241"/>
                  </a:lnTo>
                  <a:close/>
                  <a:moveTo>
                    <a:pt x="1197" y="965"/>
                  </a:moveTo>
                  <a:lnTo>
                    <a:pt x="1197" y="963"/>
                  </a:lnTo>
                  <a:lnTo>
                    <a:pt x="1197" y="965"/>
                  </a:lnTo>
                  <a:close/>
                  <a:moveTo>
                    <a:pt x="432" y="1195"/>
                  </a:moveTo>
                  <a:lnTo>
                    <a:pt x="432" y="1194"/>
                  </a:lnTo>
                  <a:lnTo>
                    <a:pt x="432" y="1195"/>
                  </a:lnTo>
                  <a:close/>
                  <a:moveTo>
                    <a:pt x="458" y="1187"/>
                  </a:moveTo>
                  <a:lnTo>
                    <a:pt x="458" y="1186"/>
                  </a:lnTo>
                  <a:lnTo>
                    <a:pt x="458" y="1187"/>
                  </a:lnTo>
                  <a:close/>
                  <a:moveTo>
                    <a:pt x="258" y="1194"/>
                  </a:moveTo>
                  <a:lnTo>
                    <a:pt x="260" y="1194"/>
                  </a:lnTo>
                  <a:lnTo>
                    <a:pt x="258" y="1194"/>
                  </a:lnTo>
                  <a:close/>
                  <a:moveTo>
                    <a:pt x="380" y="1205"/>
                  </a:moveTo>
                  <a:lnTo>
                    <a:pt x="380" y="1204"/>
                  </a:lnTo>
                  <a:lnTo>
                    <a:pt x="382" y="1204"/>
                  </a:lnTo>
                  <a:lnTo>
                    <a:pt x="382" y="1205"/>
                  </a:lnTo>
                  <a:lnTo>
                    <a:pt x="380" y="1205"/>
                  </a:lnTo>
                  <a:close/>
                  <a:moveTo>
                    <a:pt x="179" y="1041"/>
                  </a:moveTo>
                  <a:lnTo>
                    <a:pt x="179" y="1039"/>
                  </a:lnTo>
                  <a:lnTo>
                    <a:pt x="179" y="1041"/>
                  </a:lnTo>
                  <a:close/>
                  <a:moveTo>
                    <a:pt x="52" y="812"/>
                  </a:moveTo>
                  <a:lnTo>
                    <a:pt x="50" y="812"/>
                  </a:lnTo>
                  <a:lnTo>
                    <a:pt x="52" y="812"/>
                  </a:lnTo>
                  <a:close/>
                  <a:moveTo>
                    <a:pt x="553" y="1243"/>
                  </a:moveTo>
                  <a:lnTo>
                    <a:pt x="554" y="1243"/>
                  </a:lnTo>
                  <a:lnTo>
                    <a:pt x="553" y="1243"/>
                  </a:lnTo>
                  <a:close/>
                  <a:moveTo>
                    <a:pt x="193" y="699"/>
                  </a:moveTo>
                  <a:lnTo>
                    <a:pt x="193" y="698"/>
                  </a:lnTo>
                  <a:lnTo>
                    <a:pt x="193" y="699"/>
                  </a:lnTo>
                  <a:close/>
                  <a:moveTo>
                    <a:pt x="102" y="698"/>
                  </a:moveTo>
                  <a:lnTo>
                    <a:pt x="104" y="698"/>
                  </a:lnTo>
                  <a:lnTo>
                    <a:pt x="102" y="698"/>
                  </a:lnTo>
                  <a:close/>
                  <a:moveTo>
                    <a:pt x="133" y="1017"/>
                  </a:moveTo>
                  <a:lnTo>
                    <a:pt x="133" y="1018"/>
                  </a:lnTo>
                  <a:lnTo>
                    <a:pt x="133" y="1017"/>
                  </a:lnTo>
                  <a:close/>
                  <a:moveTo>
                    <a:pt x="341" y="600"/>
                  </a:moveTo>
                  <a:lnTo>
                    <a:pt x="341" y="602"/>
                  </a:lnTo>
                  <a:lnTo>
                    <a:pt x="341" y="600"/>
                  </a:lnTo>
                  <a:close/>
                  <a:moveTo>
                    <a:pt x="1206" y="956"/>
                  </a:moveTo>
                  <a:lnTo>
                    <a:pt x="1206" y="958"/>
                  </a:lnTo>
                  <a:lnTo>
                    <a:pt x="1206" y="956"/>
                  </a:lnTo>
                  <a:close/>
                  <a:moveTo>
                    <a:pt x="367" y="1166"/>
                  </a:moveTo>
                  <a:lnTo>
                    <a:pt x="369" y="1166"/>
                  </a:lnTo>
                  <a:lnTo>
                    <a:pt x="367" y="1166"/>
                  </a:lnTo>
                  <a:close/>
                  <a:moveTo>
                    <a:pt x="1008" y="1109"/>
                  </a:moveTo>
                  <a:lnTo>
                    <a:pt x="1010" y="1109"/>
                  </a:lnTo>
                  <a:lnTo>
                    <a:pt x="1008" y="1109"/>
                  </a:lnTo>
                  <a:close/>
                  <a:moveTo>
                    <a:pt x="266" y="1130"/>
                  </a:moveTo>
                  <a:lnTo>
                    <a:pt x="266" y="1129"/>
                  </a:lnTo>
                  <a:lnTo>
                    <a:pt x="266" y="1130"/>
                  </a:lnTo>
                  <a:close/>
                  <a:moveTo>
                    <a:pt x="353" y="1187"/>
                  </a:moveTo>
                  <a:lnTo>
                    <a:pt x="354" y="1187"/>
                  </a:lnTo>
                  <a:lnTo>
                    <a:pt x="353" y="1187"/>
                  </a:lnTo>
                  <a:close/>
                  <a:moveTo>
                    <a:pt x="174" y="987"/>
                  </a:moveTo>
                  <a:lnTo>
                    <a:pt x="174" y="986"/>
                  </a:lnTo>
                  <a:lnTo>
                    <a:pt x="174" y="987"/>
                  </a:lnTo>
                  <a:close/>
                  <a:moveTo>
                    <a:pt x="359" y="1217"/>
                  </a:moveTo>
                  <a:lnTo>
                    <a:pt x="359" y="1215"/>
                  </a:lnTo>
                  <a:lnTo>
                    <a:pt x="359" y="1217"/>
                  </a:lnTo>
                  <a:close/>
                  <a:moveTo>
                    <a:pt x="136" y="872"/>
                  </a:moveTo>
                  <a:lnTo>
                    <a:pt x="135" y="872"/>
                  </a:lnTo>
                  <a:lnTo>
                    <a:pt x="136" y="872"/>
                  </a:lnTo>
                  <a:close/>
                  <a:moveTo>
                    <a:pt x="133" y="978"/>
                  </a:moveTo>
                  <a:lnTo>
                    <a:pt x="135" y="979"/>
                  </a:lnTo>
                  <a:lnTo>
                    <a:pt x="133" y="979"/>
                  </a:lnTo>
                  <a:lnTo>
                    <a:pt x="133" y="978"/>
                  </a:lnTo>
                  <a:close/>
                  <a:moveTo>
                    <a:pt x="557" y="1244"/>
                  </a:moveTo>
                  <a:lnTo>
                    <a:pt x="557" y="1243"/>
                  </a:lnTo>
                  <a:lnTo>
                    <a:pt x="557" y="1244"/>
                  </a:lnTo>
                  <a:close/>
                  <a:moveTo>
                    <a:pt x="357" y="1204"/>
                  </a:moveTo>
                  <a:lnTo>
                    <a:pt x="359" y="1204"/>
                  </a:lnTo>
                  <a:lnTo>
                    <a:pt x="357" y="1204"/>
                  </a:lnTo>
                  <a:close/>
                  <a:moveTo>
                    <a:pt x="156" y="932"/>
                  </a:moveTo>
                  <a:lnTo>
                    <a:pt x="157" y="932"/>
                  </a:lnTo>
                  <a:lnTo>
                    <a:pt x="156" y="932"/>
                  </a:lnTo>
                  <a:close/>
                  <a:moveTo>
                    <a:pt x="353" y="1189"/>
                  </a:moveTo>
                  <a:lnTo>
                    <a:pt x="353" y="1187"/>
                  </a:lnTo>
                  <a:lnTo>
                    <a:pt x="353" y="1189"/>
                  </a:lnTo>
                  <a:close/>
                  <a:moveTo>
                    <a:pt x="554" y="1241"/>
                  </a:moveTo>
                  <a:lnTo>
                    <a:pt x="553" y="1243"/>
                  </a:lnTo>
                  <a:lnTo>
                    <a:pt x="553" y="1241"/>
                  </a:lnTo>
                  <a:lnTo>
                    <a:pt x="554" y="1241"/>
                  </a:lnTo>
                  <a:close/>
                  <a:moveTo>
                    <a:pt x="268" y="1197"/>
                  </a:moveTo>
                  <a:lnTo>
                    <a:pt x="268" y="1195"/>
                  </a:lnTo>
                  <a:lnTo>
                    <a:pt x="268" y="1197"/>
                  </a:lnTo>
                  <a:close/>
                  <a:moveTo>
                    <a:pt x="1302" y="278"/>
                  </a:moveTo>
                  <a:lnTo>
                    <a:pt x="1302" y="277"/>
                  </a:lnTo>
                  <a:lnTo>
                    <a:pt x="1302" y="278"/>
                  </a:lnTo>
                  <a:close/>
                  <a:moveTo>
                    <a:pt x="362" y="1231"/>
                  </a:moveTo>
                  <a:lnTo>
                    <a:pt x="362" y="1233"/>
                  </a:lnTo>
                  <a:lnTo>
                    <a:pt x="362" y="1231"/>
                  </a:lnTo>
                  <a:close/>
                  <a:moveTo>
                    <a:pt x="153" y="966"/>
                  </a:moveTo>
                  <a:lnTo>
                    <a:pt x="153" y="965"/>
                  </a:lnTo>
                  <a:lnTo>
                    <a:pt x="153" y="966"/>
                  </a:lnTo>
                  <a:close/>
                  <a:moveTo>
                    <a:pt x="214" y="1101"/>
                  </a:moveTo>
                  <a:lnTo>
                    <a:pt x="214" y="1100"/>
                  </a:lnTo>
                  <a:lnTo>
                    <a:pt x="216" y="1101"/>
                  </a:lnTo>
                  <a:lnTo>
                    <a:pt x="214" y="1101"/>
                  </a:lnTo>
                  <a:close/>
                  <a:moveTo>
                    <a:pt x="1258" y="938"/>
                  </a:moveTo>
                  <a:lnTo>
                    <a:pt x="1260" y="938"/>
                  </a:lnTo>
                  <a:lnTo>
                    <a:pt x="1258" y="938"/>
                  </a:lnTo>
                  <a:close/>
                  <a:moveTo>
                    <a:pt x="208" y="686"/>
                  </a:moveTo>
                  <a:lnTo>
                    <a:pt x="208" y="688"/>
                  </a:lnTo>
                  <a:lnTo>
                    <a:pt x="208" y="686"/>
                  </a:lnTo>
                  <a:close/>
                  <a:moveTo>
                    <a:pt x="1164" y="984"/>
                  </a:moveTo>
                  <a:lnTo>
                    <a:pt x="1164" y="986"/>
                  </a:lnTo>
                  <a:lnTo>
                    <a:pt x="1164" y="984"/>
                  </a:lnTo>
                  <a:close/>
                  <a:moveTo>
                    <a:pt x="172" y="987"/>
                  </a:moveTo>
                  <a:lnTo>
                    <a:pt x="174" y="987"/>
                  </a:lnTo>
                  <a:lnTo>
                    <a:pt x="172" y="987"/>
                  </a:lnTo>
                  <a:close/>
                  <a:moveTo>
                    <a:pt x="154" y="961"/>
                  </a:moveTo>
                  <a:lnTo>
                    <a:pt x="154" y="963"/>
                  </a:lnTo>
                  <a:lnTo>
                    <a:pt x="154" y="961"/>
                  </a:lnTo>
                  <a:close/>
                  <a:moveTo>
                    <a:pt x="292" y="1217"/>
                  </a:moveTo>
                  <a:lnTo>
                    <a:pt x="292" y="1218"/>
                  </a:lnTo>
                  <a:lnTo>
                    <a:pt x="292" y="1217"/>
                  </a:lnTo>
                  <a:close/>
                  <a:moveTo>
                    <a:pt x="353" y="1186"/>
                  </a:moveTo>
                  <a:lnTo>
                    <a:pt x="353" y="1187"/>
                  </a:lnTo>
                  <a:lnTo>
                    <a:pt x="353" y="1186"/>
                  </a:lnTo>
                  <a:close/>
                  <a:moveTo>
                    <a:pt x="179" y="1043"/>
                  </a:moveTo>
                  <a:lnTo>
                    <a:pt x="179" y="1041"/>
                  </a:lnTo>
                  <a:lnTo>
                    <a:pt x="179" y="1043"/>
                  </a:lnTo>
                  <a:close/>
                  <a:moveTo>
                    <a:pt x="580" y="1233"/>
                  </a:moveTo>
                  <a:lnTo>
                    <a:pt x="582" y="1233"/>
                  </a:lnTo>
                  <a:lnTo>
                    <a:pt x="580" y="1233"/>
                  </a:lnTo>
                  <a:close/>
                  <a:moveTo>
                    <a:pt x="288" y="1147"/>
                  </a:moveTo>
                  <a:lnTo>
                    <a:pt x="288" y="1148"/>
                  </a:lnTo>
                  <a:lnTo>
                    <a:pt x="288" y="1147"/>
                  </a:lnTo>
                  <a:close/>
                  <a:moveTo>
                    <a:pt x="418" y="1182"/>
                  </a:moveTo>
                  <a:lnTo>
                    <a:pt x="418" y="1184"/>
                  </a:lnTo>
                  <a:lnTo>
                    <a:pt x="418" y="1182"/>
                  </a:lnTo>
                  <a:close/>
                  <a:moveTo>
                    <a:pt x="359" y="1215"/>
                  </a:moveTo>
                  <a:lnTo>
                    <a:pt x="359" y="1213"/>
                  </a:lnTo>
                  <a:lnTo>
                    <a:pt x="359" y="1215"/>
                  </a:lnTo>
                  <a:close/>
                  <a:moveTo>
                    <a:pt x="307" y="1182"/>
                  </a:moveTo>
                  <a:lnTo>
                    <a:pt x="307" y="1184"/>
                  </a:lnTo>
                  <a:lnTo>
                    <a:pt x="307" y="1182"/>
                  </a:lnTo>
                  <a:close/>
                </a:path>
              </a:pathLst>
            </a:custGeom>
            <a:solidFill>
              <a:srgbClr val="E5E5E5"/>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1218" name="Freeform 64">
              <a:extLst>
                <a:ext uri="{FF2B5EF4-FFF2-40B4-BE49-F238E27FC236}">
                  <a16:creationId xmlns:a16="http://schemas.microsoft.com/office/drawing/2014/main" id="{F8B969BE-81B7-C454-03AB-4D5CC4AFC25D}"/>
                </a:ext>
              </a:extLst>
            </p:cNvPr>
            <p:cNvSpPr>
              <a:spLocks noEditPoints="1"/>
            </p:cNvSpPr>
            <p:nvPr/>
          </p:nvSpPr>
          <p:spPr bwMode="auto">
            <a:xfrm>
              <a:off x="5357" y="3071"/>
              <a:ext cx="1635" cy="1126"/>
            </a:xfrm>
            <a:custGeom>
              <a:avLst/>
              <a:gdLst>
                <a:gd name="T0" fmla="*/ 765 w 1635"/>
                <a:gd name="T1" fmla="*/ 1085 h 1126"/>
                <a:gd name="T2" fmla="*/ 1275 w 1635"/>
                <a:gd name="T3" fmla="*/ 869 h 1126"/>
                <a:gd name="T4" fmla="*/ 1111 w 1635"/>
                <a:gd name="T5" fmla="*/ 897 h 1126"/>
                <a:gd name="T6" fmla="*/ 961 w 1635"/>
                <a:gd name="T7" fmla="*/ 905 h 1126"/>
                <a:gd name="T8" fmla="*/ 1381 w 1635"/>
                <a:gd name="T9" fmla="*/ 718 h 1126"/>
                <a:gd name="T10" fmla="*/ 1469 w 1635"/>
                <a:gd name="T11" fmla="*/ 622 h 1126"/>
                <a:gd name="T12" fmla="*/ 1363 w 1635"/>
                <a:gd name="T13" fmla="*/ 708 h 1126"/>
                <a:gd name="T14" fmla="*/ 1300 w 1635"/>
                <a:gd name="T15" fmla="*/ 771 h 1126"/>
                <a:gd name="T16" fmla="*/ 1394 w 1635"/>
                <a:gd name="T17" fmla="*/ 890 h 1126"/>
                <a:gd name="T18" fmla="*/ 1471 w 1635"/>
                <a:gd name="T19" fmla="*/ 906 h 1126"/>
                <a:gd name="T20" fmla="*/ 1349 w 1635"/>
                <a:gd name="T21" fmla="*/ 994 h 1126"/>
                <a:gd name="T22" fmla="*/ 1233 w 1635"/>
                <a:gd name="T23" fmla="*/ 1092 h 1126"/>
                <a:gd name="T24" fmla="*/ 1181 w 1635"/>
                <a:gd name="T25" fmla="*/ 997 h 1126"/>
                <a:gd name="T26" fmla="*/ 1119 w 1635"/>
                <a:gd name="T27" fmla="*/ 991 h 1126"/>
                <a:gd name="T28" fmla="*/ 1147 w 1635"/>
                <a:gd name="T29" fmla="*/ 921 h 1126"/>
                <a:gd name="T30" fmla="*/ 1132 w 1635"/>
                <a:gd name="T31" fmla="*/ 872 h 1126"/>
                <a:gd name="T32" fmla="*/ 1023 w 1635"/>
                <a:gd name="T33" fmla="*/ 903 h 1126"/>
                <a:gd name="T34" fmla="*/ 1002 w 1635"/>
                <a:gd name="T35" fmla="*/ 872 h 1126"/>
                <a:gd name="T36" fmla="*/ 1030 w 1635"/>
                <a:gd name="T37" fmla="*/ 851 h 1126"/>
                <a:gd name="T38" fmla="*/ 1090 w 1635"/>
                <a:gd name="T39" fmla="*/ 784 h 1126"/>
                <a:gd name="T40" fmla="*/ 976 w 1635"/>
                <a:gd name="T41" fmla="*/ 825 h 1126"/>
                <a:gd name="T42" fmla="*/ 944 w 1635"/>
                <a:gd name="T43" fmla="*/ 770 h 1126"/>
                <a:gd name="T44" fmla="*/ 939 w 1635"/>
                <a:gd name="T45" fmla="*/ 838 h 1126"/>
                <a:gd name="T46" fmla="*/ 870 w 1635"/>
                <a:gd name="T47" fmla="*/ 892 h 1126"/>
                <a:gd name="T48" fmla="*/ 826 w 1635"/>
                <a:gd name="T49" fmla="*/ 924 h 1126"/>
                <a:gd name="T50" fmla="*/ 833 w 1635"/>
                <a:gd name="T51" fmla="*/ 1009 h 1126"/>
                <a:gd name="T52" fmla="*/ 809 w 1635"/>
                <a:gd name="T53" fmla="*/ 1045 h 1126"/>
                <a:gd name="T54" fmla="*/ 731 w 1635"/>
                <a:gd name="T55" fmla="*/ 1123 h 1126"/>
                <a:gd name="T56" fmla="*/ 739 w 1635"/>
                <a:gd name="T57" fmla="*/ 934 h 1126"/>
                <a:gd name="T58" fmla="*/ 765 w 1635"/>
                <a:gd name="T59" fmla="*/ 872 h 1126"/>
                <a:gd name="T60" fmla="*/ 649 w 1635"/>
                <a:gd name="T61" fmla="*/ 739 h 1126"/>
                <a:gd name="T62" fmla="*/ 532 w 1635"/>
                <a:gd name="T63" fmla="*/ 701 h 1126"/>
                <a:gd name="T64" fmla="*/ 425 w 1635"/>
                <a:gd name="T65" fmla="*/ 753 h 1126"/>
                <a:gd name="T66" fmla="*/ 252 w 1635"/>
                <a:gd name="T67" fmla="*/ 843 h 1126"/>
                <a:gd name="T68" fmla="*/ 101 w 1635"/>
                <a:gd name="T69" fmla="*/ 848 h 1126"/>
                <a:gd name="T70" fmla="*/ 0 w 1635"/>
                <a:gd name="T71" fmla="*/ 804 h 1126"/>
                <a:gd name="T72" fmla="*/ 25 w 1635"/>
                <a:gd name="T73" fmla="*/ 643 h 1126"/>
                <a:gd name="T74" fmla="*/ 116 w 1635"/>
                <a:gd name="T75" fmla="*/ 438 h 1126"/>
                <a:gd name="T76" fmla="*/ 69 w 1635"/>
                <a:gd name="T77" fmla="*/ 368 h 1126"/>
                <a:gd name="T78" fmla="*/ 184 w 1635"/>
                <a:gd name="T79" fmla="*/ 257 h 1126"/>
                <a:gd name="T80" fmla="*/ 397 w 1635"/>
                <a:gd name="T81" fmla="*/ 262 h 1126"/>
                <a:gd name="T82" fmla="*/ 509 w 1635"/>
                <a:gd name="T83" fmla="*/ 243 h 1126"/>
                <a:gd name="T84" fmla="*/ 625 w 1635"/>
                <a:gd name="T85" fmla="*/ 217 h 1126"/>
                <a:gd name="T86" fmla="*/ 659 w 1635"/>
                <a:gd name="T87" fmla="*/ 165 h 1126"/>
                <a:gd name="T88" fmla="*/ 765 w 1635"/>
                <a:gd name="T89" fmla="*/ 93 h 1126"/>
                <a:gd name="T90" fmla="*/ 864 w 1635"/>
                <a:gd name="T91" fmla="*/ 13 h 1126"/>
                <a:gd name="T92" fmla="*/ 961 w 1635"/>
                <a:gd name="T93" fmla="*/ 80 h 1126"/>
                <a:gd name="T94" fmla="*/ 1054 w 1635"/>
                <a:gd name="T95" fmla="*/ 119 h 1126"/>
                <a:gd name="T96" fmla="*/ 1147 w 1635"/>
                <a:gd name="T97" fmla="*/ 220 h 1126"/>
                <a:gd name="T98" fmla="*/ 1310 w 1635"/>
                <a:gd name="T99" fmla="*/ 161 h 1126"/>
                <a:gd name="T100" fmla="*/ 1471 w 1635"/>
                <a:gd name="T101" fmla="*/ 165 h 1126"/>
                <a:gd name="T102" fmla="*/ 1586 w 1635"/>
                <a:gd name="T103" fmla="*/ 267 h 1126"/>
                <a:gd name="T104" fmla="*/ 1628 w 1635"/>
                <a:gd name="T105" fmla="*/ 345 h 1126"/>
                <a:gd name="T106" fmla="*/ 1536 w 1635"/>
                <a:gd name="T107" fmla="*/ 544 h 1126"/>
                <a:gd name="T108" fmla="*/ 1197 w 1635"/>
                <a:gd name="T109" fmla="*/ 854 h 1126"/>
                <a:gd name="T110" fmla="*/ 1225 w 1635"/>
                <a:gd name="T111" fmla="*/ 851 h 1126"/>
                <a:gd name="T112" fmla="*/ 1240 w 1635"/>
                <a:gd name="T113" fmla="*/ 836 h 1126"/>
                <a:gd name="T114" fmla="*/ 1264 w 1635"/>
                <a:gd name="T115" fmla="*/ 872 h 1126"/>
                <a:gd name="T116" fmla="*/ 1323 w 1635"/>
                <a:gd name="T117" fmla="*/ 911 h 1126"/>
                <a:gd name="T118" fmla="*/ 1306 w 1635"/>
                <a:gd name="T119" fmla="*/ 875 h 1126"/>
                <a:gd name="T120" fmla="*/ 1270 w 1635"/>
                <a:gd name="T121" fmla="*/ 823 h 1126"/>
                <a:gd name="T122" fmla="*/ 1223 w 1635"/>
                <a:gd name="T123" fmla="*/ 833 h 1126"/>
                <a:gd name="T124" fmla="*/ 1207 w 1635"/>
                <a:gd name="T125" fmla="*/ 841 h 1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635" h="1126">
                  <a:moveTo>
                    <a:pt x="1420" y="942"/>
                  </a:moveTo>
                  <a:lnTo>
                    <a:pt x="1420" y="944"/>
                  </a:lnTo>
                  <a:lnTo>
                    <a:pt x="1418" y="944"/>
                  </a:lnTo>
                  <a:lnTo>
                    <a:pt x="1420" y="942"/>
                  </a:lnTo>
                  <a:close/>
                  <a:moveTo>
                    <a:pt x="869" y="1084"/>
                  </a:moveTo>
                  <a:lnTo>
                    <a:pt x="867" y="1084"/>
                  </a:lnTo>
                  <a:lnTo>
                    <a:pt x="867" y="1082"/>
                  </a:lnTo>
                  <a:lnTo>
                    <a:pt x="869" y="1082"/>
                  </a:lnTo>
                  <a:lnTo>
                    <a:pt x="869" y="1084"/>
                  </a:lnTo>
                  <a:close/>
                  <a:moveTo>
                    <a:pt x="823" y="1100"/>
                  </a:moveTo>
                  <a:lnTo>
                    <a:pt x="823" y="1102"/>
                  </a:lnTo>
                  <a:lnTo>
                    <a:pt x="822" y="1102"/>
                  </a:lnTo>
                  <a:lnTo>
                    <a:pt x="820" y="1102"/>
                  </a:lnTo>
                  <a:lnTo>
                    <a:pt x="820" y="1103"/>
                  </a:lnTo>
                  <a:lnTo>
                    <a:pt x="818" y="1103"/>
                  </a:lnTo>
                  <a:lnTo>
                    <a:pt x="817" y="1102"/>
                  </a:lnTo>
                  <a:lnTo>
                    <a:pt x="817" y="1100"/>
                  </a:lnTo>
                  <a:lnTo>
                    <a:pt x="815" y="1100"/>
                  </a:lnTo>
                  <a:lnTo>
                    <a:pt x="815" y="1098"/>
                  </a:lnTo>
                  <a:lnTo>
                    <a:pt x="815" y="1097"/>
                  </a:lnTo>
                  <a:lnTo>
                    <a:pt x="815" y="1095"/>
                  </a:lnTo>
                  <a:lnTo>
                    <a:pt x="817" y="1095"/>
                  </a:lnTo>
                  <a:lnTo>
                    <a:pt x="817" y="1097"/>
                  </a:lnTo>
                  <a:lnTo>
                    <a:pt x="818" y="1098"/>
                  </a:lnTo>
                  <a:lnTo>
                    <a:pt x="820" y="1098"/>
                  </a:lnTo>
                  <a:lnTo>
                    <a:pt x="822" y="1100"/>
                  </a:lnTo>
                  <a:lnTo>
                    <a:pt x="823" y="1100"/>
                  </a:lnTo>
                  <a:close/>
                  <a:moveTo>
                    <a:pt x="1474" y="882"/>
                  </a:moveTo>
                  <a:lnTo>
                    <a:pt x="1475" y="882"/>
                  </a:lnTo>
                  <a:lnTo>
                    <a:pt x="1477" y="884"/>
                  </a:lnTo>
                  <a:lnTo>
                    <a:pt x="1479" y="884"/>
                  </a:lnTo>
                  <a:lnTo>
                    <a:pt x="1475" y="884"/>
                  </a:lnTo>
                  <a:lnTo>
                    <a:pt x="1474" y="882"/>
                  </a:lnTo>
                  <a:lnTo>
                    <a:pt x="1472" y="880"/>
                  </a:lnTo>
                  <a:lnTo>
                    <a:pt x="1471" y="880"/>
                  </a:lnTo>
                  <a:lnTo>
                    <a:pt x="1472" y="880"/>
                  </a:lnTo>
                  <a:lnTo>
                    <a:pt x="1474" y="880"/>
                  </a:lnTo>
                  <a:lnTo>
                    <a:pt x="1474" y="882"/>
                  </a:lnTo>
                  <a:close/>
                  <a:moveTo>
                    <a:pt x="1368" y="916"/>
                  </a:moveTo>
                  <a:lnTo>
                    <a:pt x="1366" y="916"/>
                  </a:lnTo>
                  <a:lnTo>
                    <a:pt x="1366" y="914"/>
                  </a:lnTo>
                  <a:lnTo>
                    <a:pt x="1366" y="916"/>
                  </a:lnTo>
                  <a:lnTo>
                    <a:pt x="1368" y="916"/>
                  </a:lnTo>
                  <a:close/>
                  <a:moveTo>
                    <a:pt x="1366" y="914"/>
                  </a:moveTo>
                  <a:lnTo>
                    <a:pt x="1366" y="916"/>
                  </a:lnTo>
                  <a:lnTo>
                    <a:pt x="1366" y="914"/>
                  </a:lnTo>
                  <a:close/>
                  <a:moveTo>
                    <a:pt x="1360" y="914"/>
                  </a:moveTo>
                  <a:lnTo>
                    <a:pt x="1360" y="913"/>
                  </a:lnTo>
                  <a:lnTo>
                    <a:pt x="1360" y="914"/>
                  </a:lnTo>
                  <a:close/>
                  <a:moveTo>
                    <a:pt x="818" y="1084"/>
                  </a:moveTo>
                  <a:lnTo>
                    <a:pt x="820" y="1084"/>
                  </a:lnTo>
                  <a:lnTo>
                    <a:pt x="822" y="1084"/>
                  </a:lnTo>
                  <a:lnTo>
                    <a:pt x="823" y="1085"/>
                  </a:lnTo>
                  <a:lnTo>
                    <a:pt x="823" y="1087"/>
                  </a:lnTo>
                  <a:lnTo>
                    <a:pt x="822" y="1089"/>
                  </a:lnTo>
                  <a:lnTo>
                    <a:pt x="822" y="1090"/>
                  </a:lnTo>
                  <a:lnTo>
                    <a:pt x="822" y="1092"/>
                  </a:lnTo>
                  <a:lnTo>
                    <a:pt x="823" y="1097"/>
                  </a:lnTo>
                  <a:lnTo>
                    <a:pt x="822" y="1097"/>
                  </a:lnTo>
                  <a:lnTo>
                    <a:pt x="823" y="1097"/>
                  </a:lnTo>
                  <a:lnTo>
                    <a:pt x="825" y="1098"/>
                  </a:lnTo>
                  <a:lnTo>
                    <a:pt x="825" y="1100"/>
                  </a:lnTo>
                  <a:lnTo>
                    <a:pt x="823" y="1100"/>
                  </a:lnTo>
                  <a:lnTo>
                    <a:pt x="822" y="1098"/>
                  </a:lnTo>
                  <a:lnTo>
                    <a:pt x="820" y="1098"/>
                  </a:lnTo>
                  <a:lnTo>
                    <a:pt x="818" y="1097"/>
                  </a:lnTo>
                  <a:lnTo>
                    <a:pt x="817" y="1097"/>
                  </a:lnTo>
                  <a:lnTo>
                    <a:pt x="817" y="1095"/>
                  </a:lnTo>
                  <a:lnTo>
                    <a:pt x="815" y="1093"/>
                  </a:lnTo>
                  <a:lnTo>
                    <a:pt x="815" y="1092"/>
                  </a:lnTo>
                  <a:lnTo>
                    <a:pt x="813" y="1090"/>
                  </a:lnTo>
                  <a:lnTo>
                    <a:pt x="813" y="1089"/>
                  </a:lnTo>
                  <a:lnTo>
                    <a:pt x="812" y="1087"/>
                  </a:lnTo>
                  <a:lnTo>
                    <a:pt x="812" y="1085"/>
                  </a:lnTo>
                  <a:lnTo>
                    <a:pt x="813" y="1085"/>
                  </a:lnTo>
                  <a:lnTo>
                    <a:pt x="815" y="1084"/>
                  </a:lnTo>
                  <a:lnTo>
                    <a:pt x="817" y="1084"/>
                  </a:lnTo>
                  <a:lnTo>
                    <a:pt x="818" y="1084"/>
                  </a:lnTo>
                  <a:close/>
                  <a:moveTo>
                    <a:pt x="1358" y="913"/>
                  </a:moveTo>
                  <a:lnTo>
                    <a:pt x="1360" y="913"/>
                  </a:lnTo>
                  <a:lnTo>
                    <a:pt x="1358" y="913"/>
                  </a:lnTo>
                  <a:lnTo>
                    <a:pt x="1358" y="911"/>
                  </a:lnTo>
                  <a:lnTo>
                    <a:pt x="1358" y="913"/>
                  </a:lnTo>
                  <a:lnTo>
                    <a:pt x="1358" y="911"/>
                  </a:lnTo>
                  <a:lnTo>
                    <a:pt x="1358" y="913"/>
                  </a:lnTo>
                  <a:close/>
                  <a:moveTo>
                    <a:pt x="747" y="1103"/>
                  </a:moveTo>
                  <a:lnTo>
                    <a:pt x="747" y="1105"/>
                  </a:lnTo>
                  <a:lnTo>
                    <a:pt x="745" y="1105"/>
                  </a:lnTo>
                  <a:lnTo>
                    <a:pt x="745" y="1103"/>
                  </a:lnTo>
                  <a:lnTo>
                    <a:pt x="745" y="1102"/>
                  </a:lnTo>
                  <a:lnTo>
                    <a:pt x="747" y="1102"/>
                  </a:lnTo>
                  <a:lnTo>
                    <a:pt x="747" y="1100"/>
                  </a:lnTo>
                  <a:lnTo>
                    <a:pt x="748" y="1100"/>
                  </a:lnTo>
                  <a:lnTo>
                    <a:pt x="750" y="1100"/>
                  </a:lnTo>
                  <a:lnTo>
                    <a:pt x="750" y="1098"/>
                  </a:lnTo>
                  <a:lnTo>
                    <a:pt x="750" y="1100"/>
                  </a:lnTo>
                  <a:lnTo>
                    <a:pt x="748" y="1102"/>
                  </a:lnTo>
                  <a:lnTo>
                    <a:pt x="747" y="1103"/>
                  </a:lnTo>
                  <a:close/>
                  <a:moveTo>
                    <a:pt x="753" y="1098"/>
                  </a:moveTo>
                  <a:lnTo>
                    <a:pt x="752" y="1098"/>
                  </a:lnTo>
                  <a:lnTo>
                    <a:pt x="752" y="1097"/>
                  </a:lnTo>
                  <a:lnTo>
                    <a:pt x="753" y="1095"/>
                  </a:lnTo>
                  <a:lnTo>
                    <a:pt x="755" y="1093"/>
                  </a:lnTo>
                  <a:lnTo>
                    <a:pt x="757" y="1093"/>
                  </a:lnTo>
                  <a:lnTo>
                    <a:pt x="758" y="1093"/>
                  </a:lnTo>
                  <a:lnTo>
                    <a:pt x="757" y="1095"/>
                  </a:lnTo>
                  <a:lnTo>
                    <a:pt x="755" y="1095"/>
                  </a:lnTo>
                  <a:lnTo>
                    <a:pt x="755" y="1097"/>
                  </a:lnTo>
                  <a:lnTo>
                    <a:pt x="753" y="1097"/>
                  </a:lnTo>
                  <a:lnTo>
                    <a:pt x="753" y="1098"/>
                  </a:lnTo>
                  <a:close/>
                  <a:moveTo>
                    <a:pt x="820" y="1071"/>
                  </a:moveTo>
                  <a:lnTo>
                    <a:pt x="818" y="1071"/>
                  </a:lnTo>
                  <a:lnTo>
                    <a:pt x="820" y="1071"/>
                  </a:lnTo>
                  <a:close/>
                  <a:moveTo>
                    <a:pt x="766" y="1084"/>
                  </a:moveTo>
                  <a:lnTo>
                    <a:pt x="768" y="1084"/>
                  </a:lnTo>
                  <a:lnTo>
                    <a:pt x="766" y="1085"/>
                  </a:lnTo>
                  <a:lnTo>
                    <a:pt x="766" y="1087"/>
                  </a:lnTo>
                  <a:lnTo>
                    <a:pt x="765" y="1087"/>
                  </a:lnTo>
                  <a:lnTo>
                    <a:pt x="765" y="1085"/>
                  </a:lnTo>
                  <a:lnTo>
                    <a:pt x="765" y="1084"/>
                  </a:lnTo>
                  <a:lnTo>
                    <a:pt x="766" y="1084"/>
                  </a:lnTo>
                  <a:close/>
                  <a:moveTo>
                    <a:pt x="768" y="1084"/>
                  </a:moveTo>
                  <a:lnTo>
                    <a:pt x="766" y="1084"/>
                  </a:lnTo>
                  <a:lnTo>
                    <a:pt x="765" y="1084"/>
                  </a:lnTo>
                  <a:lnTo>
                    <a:pt x="766" y="1082"/>
                  </a:lnTo>
                  <a:lnTo>
                    <a:pt x="768" y="1082"/>
                  </a:lnTo>
                  <a:lnTo>
                    <a:pt x="768" y="1084"/>
                  </a:lnTo>
                  <a:close/>
                  <a:moveTo>
                    <a:pt x="799" y="1079"/>
                  </a:moveTo>
                  <a:lnTo>
                    <a:pt x="797" y="1079"/>
                  </a:lnTo>
                  <a:lnTo>
                    <a:pt x="794" y="1079"/>
                  </a:lnTo>
                  <a:lnTo>
                    <a:pt x="792" y="1079"/>
                  </a:lnTo>
                  <a:lnTo>
                    <a:pt x="791" y="1079"/>
                  </a:lnTo>
                  <a:lnTo>
                    <a:pt x="789" y="1079"/>
                  </a:lnTo>
                  <a:lnTo>
                    <a:pt x="787" y="1079"/>
                  </a:lnTo>
                  <a:lnTo>
                    <a:pt x="786" y="1077"/>
                  </a:lnTo>
                  <a:lnTo>
                    <a:pt x="787" y="1077"/>
                  </a:lnTo>
                  <a:lnTo>
                    <a:pt x="789" y="1076"/>
                  </a:lnTo>
                  <a:lnTo>
                    <a:pt x="791" y="1074"/>
                  </a:lnTo>
                  <a:lnTo>
                    <a:pt x="794" y="1074"/>
                  </a:lnTo>
                  <a:lnTo>
                    <a:pt x="796" y="1076"/>
                  </a:lnTo>
                  <a:lnTo>
                    <a:pt x="797" y="1077"/>
                  </a:lnTo>
                  <a:lnTo>
                    <a:pt x="799" y="1079"/>
                  </a:lnTo>
                  <a:close/>
                  <a:moveTo>
                    <a:pt x="820" y="1066"/>
                  </a:moveTo>
                  <a:lnTo>
                    <a:pt x="820" y="1069"/>
                  </a:lnTo>
                  <a:lnTo>
                    <a:pt x="820" y="1067"/>
                  </a:lnTo>
                  <a:lnTo>
                    <a:pt x="818" y="1067"/>
                  </a:lnTo>
                  <a:lnTo>
                    <a:pt x="818" y="1069"/>
                  </a:lnTo>
                  <a:lnTo>
                    <a:pt x="817" y="1069"/>
                  </a:lnTo>
                  <a:lnTo>
                    <a:pt x="818" y="1069"/>
                  </a:lnTo>
                  <a:lnTo>
                    <a:pt x="818" y="1071"/>
                  </a:lnTo>
                  <a:lnTo>
                    <a:pt x="818" y="1072"/>
                  </a:lnTo>
                  <a:lnTo>
                    <a:pt x="820" y="1072"/>
                  </a:lnTo>
                  <a:lnTo>
                    <a:pt x="818" y="1072"/>
                  </a:lnTo>
                  <a:lnTo>
                    <a:pt x="818" y="1074"/>
                  </a:lnTo>
                  <a:lnTo>
                    <a:pt x="818" y="1076"/>
                  </a:lnTo>
                  <a:lnTo>
                    <a:pt x="818" y="1074"/>
                  </a:lnTo>
                  <a:lnTo>
                    <a:pt x="820" y="1074"/>
                  </a:lnTo>
                  <a:lnTo>
                    <a:pt x="820" y="1077"/>
                  </a:lnTo>
                  <a:lnTo>
                    <a:pt x="820" y="1079"/>
                  </a:lnTo>
                  <a:lnTo>
                    <a:pt x="820" y="1080"/>
                  </a:lnTo>
                  <a:lnTo>
                    <a:pt x="822" y="1082"/>
                  </a:lnTo>
                  <a:lnTo>
                    <a:pt x="822" y="1084"/>
                  </a:lnTo>
                  <a:lnTo>
                    <a:pt x="818" y="1084"/>
                  </a:lnTo>
                  <a:lnTo>
                    <a:pt x="817" y="1084"/>
                  </a:lnTo>
                  <a:lnTo>
                    <a:pt x="815" y="1084"/>
                  </a:lnTo>
                  <a:lnTo>
                    <a:pt x="813" y="1084"/>
                  </a:lnTo>
                  <a:lnTo>
                    <a:pt x="812" y="1085"/>
                  </a:lnTo>
                  <a:lnTo>
                    <a:pt x="810" y="1085"/>
                  </a:lnTo>
                  <a:lnTo>
                    <a:pt x="809" y="1085"/>
                  </a:lnTo>
                  <a:lnTo>
                    <a:pt x="805" y="1082"/>
                  </a:lnTo>
                  <a:lnTo>
                    <a:pt x="804" y="1080"/>
                  </a:lnTo>
                  <a:lnTo>
                    <a:pt x="805" y="1080"/>
                  </a:lnTo>
                  <a:lnTo>
                    <a:pt x="805" y="1079"/>
                  </a:lnTo>
                  <a:lnTo>
                    <a:pt x="805" y="1077"/>
                  </a:lnTo>
                  <a:lnTo>
                    <a:pt x="807" y="1076"/>
                  </a:lnTo>
                  <a:lnTo>
                    <a:pt x="809" y="1074"/>
                  </a:lnTo>
                  <a:lnTo>
                    <a:pt x="810" y="1072"/>
                  </a:lnTo>
                  <a:lnTo>
                    <a:pt x="812" y="1072"/>
                  </a:lnTo>
                  <a:lnTo>
                    <a:pt x="812" y="1071"/>
                  </a:lnTo>
                  <a:lnTo>
                    <a:pt x="813" y="1069"/>
                  </a:lnTo>
                  <a:lnTo>
                    <a:pt x="815" y="1069"/>
                  </a:lnTo>
                  <a:lnTo>
                    <a:pt x="815" y="1067"/>
                  </a:lnTo>
                  <a:lnTo>
                    <a:pt x="817" y="1067"/>
                  </a:lnTo>
                  <a:lnTo>
                    <a:pt x="818" y="1066"/>
                  </a:lnTo>
                  <a:lnTo>
                    <a:pt x="820" y="1066"/>
                  </a:lnTo>
                  <a:close/>
                  <a:moveTo>
                    <a:pt x="805" y="1067"/>
                  </a:moveTo>
                  <a:lnTo>
                    <a:pt x="804" y="1067"/>
                  </a:lnTo>
                  <a:lnTo>
                    <a:pt x="805" y="1067"/>
                  </a:lnTo>
                  <a:close/>
                  <a:moveTo>
                    <a:pt x="818" y="1062"/>
                  </a:moveTo>
                  <a:lnTo>
                    <a:pt x="818" y="1064"/>
                  </a:lnTo>
                  <a:lnTo>
                    <a:pt x="817" y="1062"/>
                  </a:lnTo>
                  <a:lnTo>
                    <a:pt x="818" y="1062"/>
                  </a:lnTo>
                  <a:close/>
                  <a:moveTo>
                    <a:pt x="815" y="1066"/>
                  </a:moveTo>
                  <a:lnTo>
                    <a:pt x="817" y="1066"/>
                  </a:lnTo>
                  <a:lnTo>
                    <a:pt x="817" y="1064"/>
                  </a:lnTo>
                  <a:lnTo>
                    <a:pt x="817" y="1066"/>
                  </a:lnTo>
                  <a:lnTo>
                    <a:pt x="817" y="1064"/>
                  </a:lnTo>
                  <a:lnTo>
                    <a:pt x="817" y="1066"/>
                  </a:lnTo>
                  <a:lnTo>
                    <a:pt x="817" y="1064"/>
                  </a:lnTo>
                  <a:lnTo>
                    <a:pt x="818" y="1064"/>
                  </a:lnTo>
                  <a:lnTo>
                    <a:pt x="820" y="1064"/>
                  </a:lnTo>
                  <a:lnTo>
                    <a:pt x="820" y="1066"/>
                  </a:lnTo>
                  <a:lnTo>
                    <a:pt x="817" y="1067"/>
                  </a:lnTo>
                  <a:lnTo>
                    <a:pt x="815" y="1067"/>
                  </a:lnTo>
                  <a:lnTo>
                    <a:pt x="815" y="1069"/>
                  </a:lnTo>
                  <a:lnTo>
                    <a:pt x="813" y="1069"/>
                  </a:lnTo>
                  <a:lnTo>
                    <a:pt x="813" y="1067"/>
                  </a:lnTo>
                  <a:lnTo>
                    <a:pt x="813" y="1066"/>
                  </a:lnTo>
                  <a:lnTo>
                    <a:pt x="815" y="1062"/>
                  </a:lnTo>
                  <a:lnTo>
                    <a:pt x="815" y="1064"/>
                  </a:lnTo>
                  <a:lnTo>
                    <a:pt x="815" y="1066"/>
                  </a:lnTo>
                  <a:close/>
                  <a:moveTo>
                    <a:pt x="813" y="1066"/>
                  </a:moveTo>
                  <a:lnTo>
                    <a:pt x="812" y="1066"/>
                  </a:lnTo>
                  <a:lnTo>
                    <a:pt x="813" y="1064"/>
                  </a:lnTo>
                  <a:lnTo>
                    <a:pt x="813" y="1062"/>
                  </a:lnTo>
                  <a:lnTo>
                    <a:pt x="815" y="1062"/>
                  </a:lnTo>
                  <a:lnTo>
                    <a:pt x="813" y="1066"/>
                  </a:lnTo>
                  <a:close/>
                  <a:moveTo>
                    <a:pt x="812" y="1045"/>
                  </a:moveTo>
                  <a:lnTo>
                    <a:pt x="812" y="1046"/>
                  </a:lnTo>
                  <a:lnTo>
                    <a:pt x="812" y="1045"/>
                  </a:lnTo>
                  <a:close/>
                  <a:moveTo>
                    <a:pt x="1132" y="919"/>
                  </a:moveTo>
                  <a:lnTo>
                    <a:pt x="1132" y="921"/>
                  </a:lnTo>
                  <a:lnTo>
                    <a:pt x="1131" y="921"/>
                  </a:lnTo>
                  <a:lnTo>
                    <a:pt x="1131" y="919"/>
                  </a:lnTo>
                  <a:lnTo>
                    <a:pt x="1132" y="919"/>
                  </a:lnTo>
                  <a:close/>
                  <a:moveTo>
                    <a:pt x="1287" y="866"/>
                  </a:moveTo>
                  <a:lnTo>
                    <a:pt x="1287" y="867"/>
                  </a:lnTo>
                  <a:lnTo>
                    <a:pt x="1287" y="866"/>
                  </a:lnTo>
                  <a:close/>
                  <a:moveTo>
                    <a:pt x="1262" y="874"/>
                  </a:moveTo>
                  <a:lnTo>
                    <a:pt x="1262" y="875"/>
                  </a:lnTo>
                  <a:lnTo>
                    <a:pt x="1262" y="874"/>
                  </a:lnTo>
                  <a:lnTo>
                    <a:pt x="1262" y="875"/>
                  </a:lnTo>
                  <a:lnTo>
                    <a:pt x="1262" y="874"/>
                  </a:lnTo>
                  <a:close/>
                  <a:moveTo>
                    <a:pt x="1287" y="866"/>
                  </a:moveTo>
                  <a:lnTo>
                    <a:pt x="1285" y="866"/>
                  </a:lnTo>
                  <a:lnTo>
                    <a:pt x="1287" y="866"/>
                  </a:lnTo>
                  <a:close/>
                  <a:moveTo>
                    <a:pt x="1277" y="869"/>
                  </a:moveTo>
                  <a:lnTo>
                    <a:pt x="1275" y="869"/>
                  </a:lnTo>
                  <a:lnTo>
                    <a:pt x="1277" y="869"/>
                  </a:lnTo>
                  <a:close/>
                  <a:moveTo>
                    <a:pt x="1277" y="864"/>
                  </a:moveTo>
                  <a:lnTo>
                    <a:pt x="1277" y="866"/>
                  </a:lnTo>
                  <a:lnTo>
                    <a:pt x="1277" y="864"/>
                  </a:lnTo>
                  <a:lnTo>
                    <a:pt x="1277" y="862"/>
                  </a:lnTo>
                  <a:lnTo>
                    <a:pt x="1277" y="864"/>
                  </a:lnTo>
                  <a:close/>
                  <a:moveTo>
                    <a:pt x="1162" y="903"/>
                  </a:moveTo>
                  <a:lnTo>
                    <a:pt x="1160" y="903"/>
                  </a:lnTo>
                  <a:lnTo>
                    <a:pt x="1162" y="903"/>
                  </a:lnTo>
                  <a:close/>
                  <a:moveTo>
                    <a:pt x="1163" y="898"/>
                  </a:moveTo>
                  <a:lnTo>
                    <a:pt x="1162" y="900"/>
                  </a:lnTo>
                  <a:lnTo>
                    <a:pt x="1162" y="898"/>
                  </a:lnTo>
                  <a:lnTo>
                    <a:pt x="1163" y="898"/>
                  </a:lnTo>
                  <a:close/>
                  <a:moveTo>
                    <a:pt x="1279" y="854"/>
                  </a:moveTo>
                  <a:lnTo>
                    <a:pt x="1277" y="853"/>
                  </a:lnTo>
                  <a:lnTo>
                    <a:pt x="1279" y="853"/>
                  </a:lnTo>
                  <a:lnTo>
                    <a:pt x="1279" y="854"/>
                  </a:lnTo>
                  <a:close/>
                  <a:moveTo>
                    <a:pt x="1280" y="849"/>
                  </a:moveTo>
                  <a:lnTo>
                    <a:pt x="1280" y="848"/>
                  </a:lnTo>
                  <a:lnTo>
                    <a:pt x="1280" y="849"/>
                  </a:lnTo>
                  <a:close/>
                  <a:moveTo>
                    <a:pt x="1272" y="849"/>
                  </a:moveTo>
                  <a:lnTo>
                    <a:pt x="1274" y="849"/>
                  </a:lnTo>
                  <a:lnTo>
                    <a:pt x="1274" y="851"/>
                  </a:lnTo>
                  <a:lnTo>
                    <a:pt x="1275" y="851"/>
                  </a:lnTo>
                  <a:lnTo>
                    <a:pt x="1275" y="853"/>
                  </a:lnTo>
                  <a:lnTo>
                    <a:pt x="1277" y="854"/>
                  </a:lnTo>
                  <a:lnTo>
                    <a:pt x="1279" y="854"/>
                  </a:lnTo>
                  <a:lnTo>
                    <a:pt x="1277" y="854"/>
                  </a:lnTo>
                  <a:lnTo>
                    <a:pt x="1275" y="854"/>
                  </a:lnTo>
                  <a:lnTo>
                    <a:pt x="1274" y="853"/>
                  </a:lnTo>
                  <a:lnTo>
                    <a:pt x="1275" y="854"/>
                  </a:lnTo>
                  <a:lnTo>
                    <a:pt x="1277" y="854"/>
                  </a:lnTo>
                  <a:lnTo>
                    <a:pt x="1275" y="854"/>
                  </a:lnTo>
                  <a:lnTo>
                    <a:pt x="1275" y="853"/>
                  </a:lnTo>
                  <a:lnTo>
                    <a:pt x="1275" y="851"/>
                  </a:lnTo>
                  <a:lnTo>
                    <a:pt x="1274" y="851"/>
                  </a:lnTo>
                  <a:lnTo>
                    <a:pt x="1274" y="853"/>
                  </a:lnTo>
                  <a:lnTo>
                    <a:pt x="1274" y="851"/>
                  </a:lnTo>
                  <a:lnTo>
                    <a:pt x="1272" y="849"/>
                  </a:lnTo>
                  <a:close/>
                  <a:moveTo>
                    <a:pt x="1279" y="845"/>
                  </a:moveTo>
                  <a:lnTo>
                    <a:pt x="1279" y="846"/>
                  </a:lnTo>
                  <a:lnTo>
                    <a:pt x="1279" y="845"/>
                  </a:lnTo>
                  <a:lnTo>
                    <a:pt x="1279" y="846"/>
                  </a:lnTo>
                  <a:lnTo>
                    <a:pt x="1279" y="845"/>
                  </a:lnTo>
                  <a:close/>
                  <a:moveTo>
                    <a:pt x="1279" y="845"/>
                  </a:moveTo>
                  <a:lnTo>
                    <a:pt x="1279" y="843"/>
                  </a:lnTo>
                  <a:lnTo>
                    <a:pt x="1279" y="845"/>
                  </a:lnTo>
                  <a:close/>
                  <a:moveTo>
                    <a:pt x="1269" y="845"/>
                  </a:moveTo>
                  <a:lnTo>
                    <a:pt x="1270" y="845"/>
                  </a:lnTo>
                  <a:lnTo>
                    <a:pt x="1270" y="843"/>
                  </a:lnTo>
                  <a:lnTo>
                    <a:pt x="1272" y="843"/>
                  </a:lnTo>
                  <a:lnTo>
                    <a:pt x="1272" y="845"/>
                  </a:lnTo>
                  <a:lnTo>
                    <a:pt x="1274" y="848"/>
                  </a:lnTo>
                  <a:lnTo>
                    <a:pt x="1272" y="848"/>
                  </a:lnTo>
                  <a:lnTo>
                    <a:pt x="1272" y="846"/>
                  </a:lnTo>
                  <a:lnTo>
                    <a:pt x="1270" y="846"/>
                  </a:lnTo>
                  <a:lnTo>
                    <a:pt x="1270" y="848"/>
                  </a:lnTo>
                  <a:lnTo>
                    <a:pt x="1272" y="848"/>
                  </a:lnTo>
                  <a:lnTo>
                    <a:pt x="1270" y="848"/>
                  </a:lnTo>
                  <a:lnTo>
                    <a:pt x="1269" y="846"/>
                  </a:lnTo>
                  <a:lnTo>
                    <a:pt x="1267" y="846"/>
                  </a:lnTo>
                  <a:lnTo>
                    <a:pt x="1266" y="845"/>
                  </a:lnTo>
                  <a:lnTo>
                    <a:pt x="1264" y="845"/>
                  </a:lnTo>
                  <a:lnTo>
                    <a:pt x="1266" y="843"/>
                  </a:lnTo>
                  <a:lnTo>
                    <a:pt x="1267" y="843"/>
                  </a:lnTo>
                  <a:lnTo>
                    <a:pt x="1267" y="845"/>
                  </a:lnTo>
                  <a:lnTo>
                    <a:pt x="1269" y="845"/>
                  </a:lnTo>
                  <a:close/>
                  <a:moveTo>
                    <a:pt x="1223" y="856"/>
                  </a:moveTo>
                  <a:lnTo>
                    <a:pt x="1223" y="854"/>
                  </a:lnTo>
                  <a:lnTo>
                    <a:pt x="1223" y="856"/>
                  </a:lnTo>
                  <a:close/>
                  <a:moveTo>
                    <a:pt x="1062" y="903"/>
                  </a:moveTo>
                  <a:lnTo>
                    <a:pt x="1064" y="903"/>
                  </a:lnTo>
                  <a:lnTo>
                    <a:pt x="1066" y="903"/>
                  </a:lnTo>
                  <a:lnTo>
                    <a:pt x="1069" y="901"/>
                  </a:lnTo>
                  <a:lnTo>
                    <a:pt x="1070" y="901"/>
                  </a:lnTo>
                  <a:lnTo>
                    <a:pt x="1072" y="901"/>
                  </a:lnTo>
                  <a:lnTo>
                    <a:pt x="1070" y="901"/>
                  </a:lnTo>
                  <a:lnTo>
                    <a:pt x="1074" y="901"/>
                  </a:lnTo>
                  <a:lnTo>
                    <a:pt x="1075" y="901"/>
                  </a:lnTo>
                  <a:lnTo>
                    <a:pt x="1077" y="901"/>
                  </a:lnTo>
                  <a:lnTo>
                    <a:pt x="1079" y="901"/>
                  </a:lnTo>
                  <a:lnTo>
                    <a:pt x="1080" y="901"/>
                  </a:lnTo>
                  <a:lnTo>
                    <a:pt x="1082" y="901"/>
                  </a:lnTo>
                  <a:lnTo>
                    <a:pt x="1083" y="901"/>
                  </a:lnTo>
                  <a:lnTo>
                    <a:pt x="1085" y="901"/>
                  </a:lnTo>
                  <a:lnTo>
                    <a:pt x="1087" y="900"/>
                  </a:lnTo>
                  <a:lnTo>
                    <a:pt x="1087" y="898"/>
                  </a:lnTo>
                  <a:lnTo>
                    <a:pt x="1088" y="898"/>
                  </a:lnTo>
                  <a:lnTo>
                    <a:pt x="1088" y="897"/>
                  </a:lnTo>
                  <a:lnTo>
                    <a:pt x="1090" y="897"/>
                  </a:lnTo>
                  <a:lnTo>
                    <a:pt x="1090" y="895"/>
                  </a:lnTo>
                  <a:lnTo>
                    <a:pt x="1092" y="895"/>
                  </a:lnTo>
                  <a:lnTo>
                    <a:pt x="1093" y="895"/>
                  </a:lnTo>
                  <a:lnTo>
                    <a:pt x="1093" y="897"/>
                  </a:lnTo>
                  <a:lnTo>
                    <a:pt x="1093" y="895"/>
                  </a:lnTo>
                  <a:lnTo>
                    <a:pt x="1092" y="897"/>
                  </a:lnTo>
                  <a:lnTo>
                    <a:pt x="1093" y="897"/>
                  </a:lnTo>
                  <a:lnTo>
                    <a:pt x="1092" y="897"/>
                  </a:lnTo>
                  <a:lnTo>
                    <a:pt x="1093" y="897"/>
                  </a:lnTo>
                  <a:lnTo>
                    <a:pt x="1093" y="898"/>
                  </a:lnTo>
                  <a:lnTo>
                    <a:pt x="1093" y="897"/>
                  </a:lnTo>
                  <a:lnTo>
                    <a:pt x="1093" y="895"/>
                  </a:lnTo>
                  <a:lnTo>
                    <a:pt x="1095" y="897"/>
                  </a:lnTo>
                  <a:lnTo>
                    <a:pt x="1096" y="897"/>
                  </a:lnTo>
                  <a:lnTo>
                    <a:pt x="1098" y="897"/>
                  </a:lnTo>
                  <a:lnTo>
                    <a:pt x="1098" y="895"/>
                  </a:lnTo>
                  <a:lnTo>
                    <a:pt x="1100" y="895"/>
                  </a:lnTo>
                  <a:lnTo>
                    <a:pt x="1103" y="895"/>
                  </a:lnTo>
                  <a:lnTo>
                    <a:pt x="1105" y="895"/>
                  </a:lnTo>
                  <a:lnTo>
                    <a:pt x="1106" y="895"/>
                  </a:lnTo>
                  <a:lnTo>
                    <a:pt x="1108" y="895"/>
                  </a:lnTo>
                  <a:lnTo>
                    <a:pt x="1108" y="893"/>
                  </a:lnTo>
                  <a:lnTo>
                    <a:pt x="1108" y="895"/>
                  </a:lnTo>
                  <a:lnTo>
                    <a:pt x="1108" y="893"/>
                  </a:lnTo>
                  <a:lnTo>
                    <a:pt x="1109" y="895"/>
                  </a:lnTo>
                  <a:lnTo>
                    <a:pt x="1111" y="895"/>
                  </a:lnTo>
                  <a:lnTo>
                    <a:pt x="1113" y="895"/>
                  </a:lnTo>
                  <a:lnTo>
                    <a:pt x="1111" y="895"/>
                  </a:lnTo>
                  <a:lnTo>
                    <a:pt x="1111" y="897"/>
                  </a:lnTo>
                  <a:lnTo>
                    <a:pt x="1109" y="897"/>
                  </a:lnTo>
                  <a:lnTo>
                    <a:pt x="1108" y="897"/>
                  </a:lnTo>
                  <a:lnTo>
                    <a:pt x="1106" y="898"/>
                  </a:lnTo>
                  <a:lnTo>
                    <a:pt x="1103" y="898"/>
                  </a:lnTo>
                  <a:lnTo>
                    <a:pt x="1101" y="898"/>
                  </a:lnTo>
                  <a:lnTo>
                    <a:pt x="1098" y="900"/>
                  </a:lnTo>
                  <a:lnTo>
                    <a:pt x="1096" y="900"/>
                  </a:lnTo>
                  <a:lnTo>
                    <a:pt x="1095" y="900"/>
                  </a:lnTo>
                  <a:lnTo>
                    <a:pt x="1088" y="901"/>
                  </a:lnTo>
                  <a:lnTo>
                    <a:pt x="1087" y="901"/>
                  </a:lnTo>
                  <a:lnTo>
                    <a:pt x="1085" y="901"/>
                  </a:lnTo>
                  <a:lnTo>
                    <a:pt x="1080" y="901"/>
                  </a:lnTo>
                  <a:lnTo>
                    <a:pt x="1075" y="901"/>
                  </a:lnTo>
                  <a:lnTo>
                    <a:pt x="1069" y="903"/>
                  </a:lnTo>
                  <a:lnTo>
                    <a:pt x="1064" y="903"/>
                  </a:lnTo>
                  <a:lnTo>
                    <a:pt x="1061" y="903"/>
                  </a:lnTo>
                  <a:lnTo>
                    <a:pt x="1062" y="903"/>
                  </a:lnTo>
                  <a:close/>
                  <a:moveTo>
                    <a:pt x="1122" y="882"/>
                  </a:moveTo>
                  <a:lnTo>
                    <a:pt x="1121" y="882"/>
                  </a:lnTo>
                  <a:lnTo>
                    <a:pt x="1121" y="880"/>
                  </a:lnTo>
                  <a:lnTo>
                    <a:pt x="1121" y="882"/>
                  </a:lnTo>
                  <a:lnTo>
                    <a:pt x="1122" y="882"/>
                  </a:lnTo>
                  <a:close/>
                  <a:moveTo>
                    <a:pt x="1106" y="882"/>
                  </a:moveTo>
                  <a:lnTo>
                    <a:pt x="1105" y="882"/>
                  </a:lnTo>
                  <a:lnTo>
                    <a:pt x="1106" y="882"/>
                  </a:lnTo>
                  <a:close/>
                  <a:moveTo>
                    <a:pt x="1153" y="864"/>
                  </a:moveTo>
                  <a:lnTo>
                    <a:pt x="1152" y="864"/>
                  </a:lnTo>
                  <a:lnTo>
                    <a:pt x="1153" y="864"/>
                  </a:lnTo>
                  <a:close/>
                  <a:moveTo>
                    <a:pt x="1269" y="823"/>
                  </a:moveTo>
                  <a:lnTo>
                    <a:pt x="1269" y="825"/>
                  </a:lnTo>
                  <a:lnTo>
                    <a:pt x="1267" y="825"/>
                  </a:lnTo>
                  <a:lnTo>
                    <a:pt x="1269" y="825"/>
                  </a:lnTo>
                  <a:lnTo>
                    <a:pt x="1269" y="823"/>
                  </a:lnTo>
                  <a:close/>
                  <a:moveTo>
                    <a:pt x="1267" y="825"/>
                  </a:moveTo>
                  <a:lnTo>
                    <a:pt x="1267" y="823"/>
                  </a:lnTo>
                  <a:lnTo>
                    <a:pt x="1267" y="825"/>
                  </a:lnTo>
                  <a:close/>
                  <a:moveTo>
                    <a:pt x="1269" y="823"/>
                  </a:moveTo>
                  <a:lnTo>
                    <a:pt x="1269" y="822"/>
                  </a:lnTo>
                  <a:lnTo>
                    <a:pt x="1269" y="823"/>
                  </a:lnTo>
                  <a:close/>
                  <a:moveTo>
                    <a:pt x="1292" y="814"/>
                  </a:moveTo>
                  <a:lnTo>
                    <a:pt x="1293" y="812"/>
                  </a:lnTo>
                  <a:lnTo>
                    <a:pt x="1293" y="814"/>
                  </a:lnTo>
                  <a:lnTo>
                    <a:pt x="1292" y="814"/>
                  </a:lnTo>
                  <a:close/>
                  <a:moveTo>
                    <a:pt x="1009" y="903"/>
                  </a:moveTo>
                  <a:lnTo>
                    <a:pt x="1007" y="903"/>
                  </a:lnTo>
                  <a:lnTo>
                    <a:pt x="1009" y="903"/>
                  </a:lnTo>
                  <a:close/>
                  <a:moveTo>
                    <a:pt x="1010" y="893"/>
                  </a:moveTo>
                  <a:lnTo>
                    <a:pt x="1009" y="893"/>
                  </a:lnTo>
                  <a:lnTo>
                    <a:pt x="1010" y="893"/>
                  </a:lnTo>
                  <a:close/>
                  <a:moveTo>
                    <a:pt x="976" y="898"/>
                  </a:moveTo>
                  <a:lnTo>
                    <a:pt x="976" y="900"/>
                  </a:lnTo>
                  <a:lnTo>
                    <a:pt x="974" y="898"/>
                  </a:lnTo>
                  <a:lnTo>
                    <a:pt x="976" y="898"/>
                  </a:lnTo>
                  <a:close/>
                  <a:moveTo>
                    <a:pt x="991" y="892"/>
                  </a:moveTo>
                  <a:lnTo>
                    <a:pt x="991" y="893"/>
                  </a:lnTo>
                  <a:lnTo>
                    <a:pt x="991" y="892"/>
                  </a:lnTo>
                  <a:close/>
                  <a:moveTo>
                    <a:pt x="989" y="890"/>
                  </a:moveTo>
                  <a:lnTo>
                    <a:pt x="988" y="890"/>
                  </a:lnTo>
                  <a:lnTo>
                    <a:pt x="989" y="888"/>
                  </a:lnTo>
                  <a:lnTo>
                    <a:pt x="989" y="890"/>
                  </a:lnTo>
                  <a:close/>
                  <a:moveTo>
                    <a:pt x="978" y="892"/>
                  </a:moveTo>
                  <a:lnTo>
                    <a:pt x="976" y="892"/>
                  </a:lnTo>
                  <a:lnTo>
                    <a:pt x="978" y="892"/>
                  </a:lnTo>
                  <a:close/>
                  <a:moveTo>
                    <a:pt x="965" y="906"/>
                  </a:moveTo>
                  <a:lnTo>
                    <a:pt x="966" y="906"/>
                  </a:lnTo>
                  <a:lnTo>
                    <a:pt x="968" y="905"/>
                  </a:lnTo>
                  <a:lnTo>
                    <a:pt x="970" y="905"/>
                  </a:lnTo>
                  <a:lnTo>
                    <a:pt x="971" y="903"/>
                  </a:lnTo>
                  <a:lnTo>
                    <a:pt x="971" y="905"/>
                  </a:lnTo>
                  <a:lnTo>
                    <a:pt x="970" y="906"/>
                  </a:lnTo>
                  <a:lnTo>
                    <a:pt x="968" y="906"/>
                  </a:lnTo>
                  <a:lnTo>
                    <a:pt x="970" y="906"/>
                  </a:lnTo>
                  <a:lnTo>
                    <a:pt x="971" y="906"/>
                  </a:lnTo>
                  <a:lnTo>
                    <a:pt x="973" y="906"/>
                  </a:lnTo>
                  <a:lnTo>
                    <a:pt x="976" y="906"/>
                  </a:lnTo>
                  <a:lnTo>
                    <a:pt x="978" y="906"/>
                  </a:lnTo>
                  <a:lnTo>
                    <a:pt x="979" y="906"/>
                  </a:lnTo>
                  <a:lnTo>
                    <a:pt x="981" y="906"/>
                  </a:lnTo>
                  <a:lnTo>
                    <a:pt x="983" y="906"/>
                  </a:lnTo>
                  <a:lnTo>
                    <a:pt x="986" y="906"/>
                  </a:lnTo>
                  <a:lnTo>
                    <a:pt x="988" y="906"/>
                  </a:lnTo>
                  <a:lnTo>
                    <a:pt x="989" y="906"/>
                  </a:lnTo>
                  <a:lnTo>
                    <a:pt x="991" y="906"/>
                  </a:lnTo>
                  <a:lnTo>
                    <a:pt x="991" y="905"/>
                  </a:lnTo>
                  <a:lnTo>
                    <a:pt x="992" y="905"/>
                  </a:lnTo>
                  <a:lnTo>
                    <a:pt x="994" y="905"/>
                  </a:lnTo>
                  <a:lnTo>
                    <a:pt x="997" y="905"/>
                  </a:lnTo>
                  <a:lnTo>
                    <a:pt x="999" y="905"/>
                  </a:lnTo>
                  <a:lnTo>
                    <a:pt x="1001" y="905"/>
                  </a:lnTo>
                  <a:lnTo>
                    <a:pt x="1002" y="905"/>
                  </a:lnTo>
                  <a:lnTo>
                    <a:pt x="1004" y="905"/>
                  </a:lnTo>
                  <a:lnTo>
                    <a:pt x="1005" y="905"/>
                  </a:lnTo>
                  <a:lnTo>
                    <a:pt x="1007" y="903"/>
                  </a:lnTo>
                  <a:lnTo>
                    <a:pt x="1007" y="905"/>
                  </a:lnTo>
                  <a:lnTo>
                    <a:pt x="1004" y="905"/>
                  </a:lnTo>
                  <a:lnTo>
                    <a:pt x="988" y="906"/>
                  </a:lnTo>
                  <a:lnTo>
                    <a:pt x="976" y="906"/>
                  </a:lnTo>
                  <a:lnTo>
                    <a:pt x="970" y="906"/>
                  </a:lnTo>
                  <a:lnTo>
                    <a:pt x="968" y="906"/>
                  </a:lnTo>
                  <a:lnTo>
                    <a:pt x="965" y="906"/>
                  </a:lnTo>
                  <a:lnTo>
                    <a:pt x="961" y="905"/>
                  </a:lnTo>
                  <a:lnTo>
                    <a:pt x="960" y="905"/>
                  </a:lnTo>
                  <a:lnTo>
                    <a:pt x="957" y="903"/>
                  </a:lnTo>
                  <a:lnTo>
                    <a:pt x="955" y="901"/>
                  </a:lnTo>
                  <a:lnTo>
                    <a:pt x="953" y="900"/>
                  </a:lnTo>
                  <a:lnTo>
                    <a:pt x="953" y="898"/>
                  </a:lnTo>
                  <a:lnTo>
                    <a:pt x="952" y="897"/>
                  </a:lnTo>
                  <a:lnTo>
                    <a:pt x="952" y="895"/>
                  </a:lnTo>
                  <a:lnTo>
                    <a:pt x="952" y="893"/>
                  </a:lnTo>
                  <a:lnTo>
                    <a:pt x="952" y="892"/>
                  </a:lnTo>
                  <a:lnTo>
                    <a:pt x="953" y="892"/>
                  </a:lnTo>
                  <a:lnTo>
                    <a:pt x="953" y="893"/>
                  </a:lnTo>
                  <a:lnTo>
                    <a:pt x="955" y="895"/>
                  </a:lnTo>
                  <a:lnTo>
                    <a:pt x="955" y="898"/>
                  </a:lnTo>
                  <a:lnTo>
                    <a:pt x="955" y="900"/>
                  </a:lnTo>
                  <a:lnTo>
                    <a:pt x="957" y="901"/>
                  </a:lnTo>
                  <a:lnTo>
                    <a:pt x="958" y="903"/>
                  </a:lnTo>
                  <a:lnTo>
                    <a:pt x="960" y="905"/>
                  </a:lnTo>
                  <a:lnTo>
                    <a:pt x="961" y="905"/>
                  </a:lnTo>
                  <a:lnTo>
                    <a:pt x="963" y="906"/>
                  </a:lnTo>
                  <a:lnTo>
                    <a:pt x="965" y="906"/>
                  </a:lnTo>
                  <a:close/>
                  <a:moveTo>
                    <a:pt x="999" y="874"/>
                  </a:moveTo>
                  <a:lnTo>
                    <a:pt x="999" y="875"/>
                  </a:lnTo>
                  <a:lnTo>
                    <a:pt x="999" y="874"/>
                  </a:lnTo>
                  <a:close/>
                  <a:moveTo>
                    <a:pt x="1001" y="872"/>
                  </a:moveTo>
                  <a:lnTo>
                    <a:pt x="999" y="872"/>
                  </a:lnTo>
                  <a:lnTo>
                    <a:pt x="1001" y="872"/>
                  </a:lnTo>
                  <a:close/>
                  <a:moveTo>
                    <a:pt x="970" y="879"/>
                  </a:moveTo>
                  <a:lnTo>
                    <a:pt x="971" y="880"/>
                  </a:lnTo>
                  <a:lnTo>
                    <a:pt x="973" y="880"/>
                  </a:lnTo>
                  <a:lnTo>
                    <a:pt x="974" y="882"/>
                  </a:lnTo>
                  <a:lnTo>
                    <a:pt x="973" y="882"/>
                  </a:lnTo>
                  <a:lnTo>
                    <a:pt x="974" y="882"/>
                  </a:lnTo>
                  <a:lnTo>
                    <a:pt x="974" y="884"/>
                  </a:lnTo>
                  <a:lnTo>
                    <a:pt x="976" y="884"/>
                  </a:lnTo>
                  <a:lnTo>
                    <a:pt x="974" y="884"/>
                  </a:lnTo>
                  <a:lnTo>
                    <a:pt x="973" y="884"/>
                  </a:lnTo>
                  <a:lnTo>
                    <a:pt x="971" y="882"/>
                  </a:lnTo>
                  <a:lnTo>
                    <a:pt x="971" y="880"/>
                  </a:lnTo>
                  <a:lnTo>
                    <a:pt x="970" y="879"/>
                  </a:lnTo>
                  <a:close/>
                  <a:moveTo>
                    <a:pt x="968" y="877"/>
                  </a:moveTo>
                  <a:lnTo>
                    <a:pt x="968" y="879"/>
                  </a:lnTo>
                  <a:lnTo>
                    <a:pt x="968" y="877"/>
                  </a:lnTo>
                  <a:close/>
                  <a:moveTo>
                    <a:pt x="1017" y="853"/>
                  </a:moveTo>
                  <a:lnTo>
                    <a:pt x="1017" y="854"/>
                  </a:lnTo>
                  <a:lnTo>
                    <a:pt x="1018" y="853"/>
                  </a:lnTo>
                  <a:lnTo>
                    <a:pt x="1018" y="854"/>
                  </a:lnTo>
                  <a:lnTo>
                    <a:pt x="1017" y="854"/>
                  </a:lnTo>
                  <a:lnTo>
                    <a:pt x="1017" y="853"/>
                  </a:lnTo>
                  <a:lnTo>
                    <a:pt x="1015" y="853"/>
                  </a:lnTo>
                  <a:lnTo>
                    <a:pt x="1017" y="853"/>
                  </a:lnTo>
                  <a:close/>
                  <a:moveTo>
                    <a:pt x="994" y="861"/>
                  </a:moveTo>
                  <a:lnTo>
                    <a:pt x="992" y="861"/>
                  </a:lnTo>
                  <a:lnTo>
                    <a:pt x="994" y="859"/>
                  </a:lnTo>
                  <a:lnTo>
                    <a:pt x="994" y="861"/>
                  </a:lnTo>
                  <a:close/>
                  <a:moveTo>
                    <a:pt x="1017" y="853"/>
                  </a:moveTo>
                  <a:lnTo>
                    <a:pt x="1018" y="853"/>
                  </a:lnTo>
                  <a:lnTo>
                    <a:pt x="1017" y="853"/>
                  </a:lnTo>
                  <a:lnTo>
                    <a:pt x="1015" y="853"/>
                  </a:lnTo>
                  <a:lnTo>
                    <a:pt x="1017" y="853"/>
                  </a:lnTo>
                  <a:close/>
                  <a:moveTo>
                    <a:pt x="1376" y="729"/>
                  </a:moveTo>
                  <a:lnTo>
                    <a:pt x="1375" y="731"/>
                  </a:lnTo>
                  <a:lnTo>
                    <a:pt x="1373" y="731"/>
                  </a:lnTo>
                  <a:lnTo>
                    <a:pt x="1375" y="731"/>
                  </a:lnTo>
                  <a:lnTo>
                    <a:pt x="1375" y="729"/>
                  </a:lnTo>
                  <a:lnTo>
                    <a:pt x="1376" y="729"/>
                  </a:lnTo>
                  <a:close/>
                  <a:moveTo>
                    <a:pt x="991" y="859"/>
                  </a:moveTo>
                  <a:lnTo>
                    <a:pt x="991" y="861"/>
                  </a:lnTo>
                  <a:lnTo>
                    <a:pt x="991" y="859"/>
                  </a:lnTo>
                  <a:close/>
                  <a:moveTo>
                    <a:pt x="989" y="859"/>
                  </a:moveTo>
                  <a:lnTo>
                    <a:pt x="989" y="861"/>
                  </a:lnTo>
                  <a:lnTo>
                    <a:pt x="989" y="859"/>
                  </a:lnTo>
                  <a:close/>
                  <a:moveTo>
                    <a:pt x="988" y="859"/>
                  </a:moveTo>
                  <a:lnTo>
                    <a:pt x="988" y="861"/>
                  </a:lnTo>
                  <a:lnTo>
                    <a:pt x="986" y="861"/>
                  </a:lnTo>
                  <a:lnTo>
                    <a:pt x="988" y="861"/>
                  </a:lnTo>
                  <a:lnTo>
                    <a:pt x="986" y="861"/>
                  </a:lnTo>
                  <a:lnTo>
                    <a:pt x="988" y="861"/>
                  </a:lnTo>
                  <a:lnTo>
                    <a:pt x="988" y="859"/>
                  </a:lnTo>
                  <a:close/>
                  <a:moveTo>
                    <a:pt x="1020" y="849"/>
                  </a:moveTo>
                  <a:lnTo>
                    <a:pt x="1018" y="849"/>
                  </a:lnTo>
                  <a:lnTo>
                    <a:pt x="1020" y="849"/>
                  </a:lnTo>
                  <a:close/>
                  <a:moveTo>
                    <a:pt x="1018" y="851"/>
                  </a:moveTo>
                  <a:lnTo>
                    <a:pt x="1020" y="849"/>
                  </a:lnTo>
                  <a:lnTo>
                    <a:pt x="1018" y="849"/>
                  </a:lnTo>
                  <a:lnTo>
                    <a:pt x="1020" y="849"/>
                  </a:lnTo>
                  <a:lnTo>
                    <a:pt x="1020" y="848"/>
                  </a:lnTo>
                  <a:lnTo>
                    <a:pt x="1022" y="848"/>
                  </a:lnTo>
                  <a:lnTo>
                    <a:pt x="1022" y="849"/>
                  </a:lnTo>
                  <a:lnTo>
                    <a:pt x="1020" y="851"/>
                  </a:lnTo>
                  <a:lnTo>
                    <a:pt x="1018" y="851"/>
                  </a:lnTo>
                  <a:close/>
                  <a:moveTo>
                    <a:pt x="999" y="858"/>
                  </a:moveTo>
                  <a:lnTo>
                    <a:pt x="999" y="856"/>
                  </a:lnTo>
                  <a:lnTo>
                    <a:pt x="1001" y="856"/>
                  </a:lnTo>
                  <a:lnTo>
                    <a:pt x="1001" y="854"/>
                  </a:lnTo>
                  <a:lnTo>
                    <a:pt x="1002" y="854"/>
                  </a:lnTo>
                  <a:lnTo>
                    <a:pt x="1002" y="856"/>
                  </a:lnTo>
                  <a:lnTo>
                    <a:pt x="1001" y="856"/>
                  </a:lnTo>
                  <a:lnTo>
                    <a:pt x="1001" y="858"/>
                  </a:lnTo>
                  <a:lnTo>
                    <a:pt x="999" y="858"/>
                  </a:lnTo>
                  <a:close/>
                  <a:moveTo>
                    <a:pt x="1376" y="724"/>
                  </a:moveTo>
                  <a:lnTo>
                    <a:pt x="1376" y="723"/>
                  </a:lnTo>
                  <a:lnTo>
                    <a:pt x="1378" y="723"/>
                  </a:lnTo>
                  <a:lnTo>
                    <a:pt x="1378" y="724"/>
                  </a:lnTo>
                  <a:lnTo>
                    <a:pt x="1376" y="723"/>
                  </a:lnTo>
                  <a:lnTo>
                    <a:pt x="1376" y="724"/>
                  </a:lnTo>
                  <a:close/>
                  <a:moveTo>
                    <a:pt x="1028" y="841"/>
                  </a:moveTo>
                  <a:lnTo>
                    <a:pt x="1028" y="843"/>
                  </a:lnTo>
                  <a:lnTo>
                    <a:pt x="1027" y="843"/>
                  </a:lnTo>
                  <a:lnTo>
                    <a:pt x="1027" y="845"/>
                  </a:lnTo>
                  <a:lnTo>
                    <a:pt x="1025" y="845"/>
                  </a:lnTo>
                  <a:lnTo>
                    <a:pt x="1023" y="846"/>
                  </a:lnTo>
                  <a:lnTo>
                    <a:pt x="1023" y="848"/>
                  </a:lnTo>
                  <a:lnTo>
                    <a:pt x="1022" y="848"/>
                  </a:lnTo>
                  <a:lnTo>
                    <a:pt x="1020" y="849"/>
                  </a:lnTo>
                  <a:lnTo>
                    <a:pt x="1018" y="849"/>
                  </a:lnTo>
                  <a:lnTo>
                    <a:pt x="1020" y="849"/>
                  </a:lnTo>
                  <a:lnTo>
                    <a:pt x="1020" y="848"/>
                  </a:lnTo>
                  <a:lnTo>
                    <a:pt x="1018" y="849"/>
                  </a:lnTo>
                  <a:lnTo>
                    <a:pt x="1018" y="848"/>
                  </a:lnTo>
                  <a:lnTo>
                    <a:pt x="1017" y="848"/>
                  </a:lnTo>
                  <a:lnTo>
                    <a:pt x="1017" y="846"/>
                  </a:lnTo>
                  <a:lnTo>
                    <a:pt x="1018" y="846"/>
                  </a:lnTo>
                  <a:lnTo>
                    <a:pt x="1020" y="846"/>
                  </a:lnTo>
                  <a:lnTo>
                    <a:pt x="1018" y="846"/>
                  </a:lnTo>
                  <a:lnTo>
                    <a:pt x="1017" y="845"/>
                  </a:lnTo>
                  <a:lnTo>
                    <a:pt x="1018" y="845"/>
                  </a:lnTo>
                  <a:lnTo>
                    <a:pt x="1018" y="843"/>
                  </a:lnTo>
                  <a:lnTo>
                    <a:pt x="1020" y="843"/>
                  </a:lnTo>
                  <a:lnTo>
                    <a:pt x="1022" y="843"/>
                  </a:lnTo>
                  <a:lnTo>
                    <a:pt x="1023" y="843"/>
                  </a:lnTo>
                  <a:lnTo>
                    <a:pt x="1025" y="843"/>
                  </a:lnTo>
                  <a:lnTo>
                    <a:pt x="1027" y="841"/>
                  </a:lnTo>
                  <a:lnTo>
                    <a:pt x="1028" y="840"/>
                  </a:lnTo>
                  <a:lnTo>
                    <a:pt x="1030" y="840"/>
                  </a:lnTo>
                  <a:lnTo>
                    <a:pt x="1028" y="841"/>
                  </a:lnTo>
                  <a:close/>
                  <a:moveTo>
                    <a:pt x="1381" y="716"/>
                  </a:moveTo>
                  <a:lnTo>
                    <a:pt x="1381" y="718"/>
                  </a:lnTo>
                  <a:lnTo>
                    <a:pt x="1381" y="716"/>
                  </a:lnTo>
                  <a:close/>
                  <a:moveTo>
                    <a:pt x="1038" y="838"/>
                  </a:moveTo>
                  <a:lnTo>
                    <a:pt x="1040" y="836"/>
                  </a:lnTo>
                  <a:lnTo>
                    <a:pt x="1041" y="836"/>
                  </a:lnTo>
                  <a:lnTo>
                    <a:pt x="1040" y="838"/>
                  </a:lnTo>
                  <a:lnTo>
                    <a:pt x="1038" y="838"/>
                  </a:lnTo>
                  <a:lnTo>
                    <a:pt x="1038" y="840"/>
                  </a:lnTo>
                  <a:lnTo>
                    <a:pt x="1036" y="841"/>
                  </a:lnTo>
                  <a:lnTo>
                    <a:pt x="1035" y="843"/>
                  </a:lnTo>
                  <a:lnTo>
                    <a:pt x="1035" y="845"/>
                  </a:lnTo>
                  <a:lnTo>
                    <a:pt x="1035" y="846"/>
                  </a:lnTo>
                  <a:lnTo>
                    <a:pt x="1033" y="846"/>
                  </a:lnTo>
                  <a:lnTo>
                    <a:pt x="1030" y="846"/>
                  </a:lnTo>
                  <a:lnTo>
                    <a:pt x="1028" y="848"/>
                  </a:lnTo>
                  <a:lnTo>
                    <a:pt x="1028" y="846"/>
                  </a:lnTo>
                  <a:lnTo>
                    <a:pt x="1030" y="845"/>
                  </a:lnTo>
                  <a:lnTo>
                    <a:pt x="1028" y="846"/>
                  </a:lnTo>
                  <a:lnTo>
                    <a:pt x="1028" y="848"/>
                  </a:lnTo>
                  <a:lnTo>
                    <a:pt x="1027" y="849"/>
                  </a:lnTo>
                  <a:lnTo>
                    <a:pt x="1025" y="851"/>
                  </a:lnTo>
                  <a:lnTo>
                    <a:pt x="1023" y="851"/>
                  </a:lnTo>
                  <a:lnTo>
                    <a:pt x="1022" y="851"/>
                  </a:lnTo>
                  <a:lnTo>
                    <a:pt x="1023" y="849"/>
                  </a:lnTo>
                  <a:lnTo>
                    <a:pt x="1023" y="848"/>
                  </a:lnTo>
                  <a:lnTo>
                    <a:pt x="1025" y="848"/>
                  </a:lnTo>
                  <a:lnTo>
                    <a:pt x="1025" y="846"/>
                  </a:lnTo>
                  <a:lnTo>
                    <a:pt x="1027" y="845"/>
                  </a:lnTo>
                  <a:lnTo>
                    <a:pt x="1027" y="843"/>
                  </a:lnTo>
                  <a:lnTo>
                    <a:pt x="1030" y="841"/>
                  </a:lnTo>
                  <a:lnTo>
                    <a:pt x="1030" y="840"/>
                  </a:lnTo>
                  <a:lnTo>
                    <a:pt x="1031" y="840"/>
                  </a:lnTo>
                  <a:lnTo>
                    <a:pt x="1033" y="836"/>
                  </a:lnTo>
                  <a:lnTo>
                    <a:pt x="1035" y="836"/>
                  </a:lnTo>
                  <a:lnTo>
                    <a:pt x="1036" y="836"/>
                  </a:lnTo>
                  <a:lnTo>
                    <a:pt x="1038" y="838"/>
                  </a:lnTo>
                  <a:close/>
                  <a:moveTo>
                    <a:pt x="1007" y="845"/>
                  </a:moveTo>
                  <a:lnTo>
                    <a:pt x="1005" y="845"/>
                  </a:lnTo>
                  <a:lnTo>
                    <a:pt x="1007" y="845"/>
                  </a:lnTo>
                  <a:close/>
                  <a:moveTo>
                    <a:pt x="1376" y="729"/>
                  </a:moveTo>
                  <a:lnTo>
                    <a:pt x="1378" y="727"/>
                  </a:lnTo>
                  <a:lnTo>
                    <a:pt x="1378" y="726"/>
                  </a:lnTo>
                  <a:lnTo>
                    <a:pt x="1376" y="724"/>
                  </a:lnTo>
                  <a:lnTo>
                    <a:pt x="1378" y="724"/>
                  </a:lnTo>
                  <a:lnTo>
                    <a:pt x="1379" y="723"/>
                  </a:lnTo>
                  <a:lnTo>
                    <a:pt x="1381" y="721"/>
                  </a:lnTo>
                  <a:lnTo>
                    <a:pt x="1381" y="719"/>
                  </a:lnTo>
                  <a:lnTo>
                    <a:pt x="1381" y="721"/>
                  </a:lnTo>
                  <a:lnTo>
                    <a:pt x="1381" y="719"/>
                  </a:lnTo>
                  <a:lnTo>
                    <a:pt x="1383" y="718"/>
                  </a:lnTo>
                  <a:lnTo>
                    <a:pt x="1383" y="716"/>
                  </a:lnTo>
                  <a:lnTo>
                    <a:pt x="1383" y="714"/>
                  </a:lnTo>
                  <a:lnTo>
                    <a:pt x="1383" y="713"/>
                  </a:lnTo>
                  <a:lnTo>
                    <a:pt x="1383" y="718"/>
                  </a:lnTo>
                  <a:lnTo>
                    <a:pt x="1383" y="719"/>
                  </a:lnTo>
                  <a:lnTo>
                    <a:pt x="1381" y="721"/>
                  </a:lnTo>
                  <a:lnTo>
                    <a:pt x="1381" y="726"/>
                  </a:lnTo>
                  <a:lnTo>
                    <a:pt x="1379" y="727"/>
                  </a:lnTo>
                  <a:lnTo>
                    <a:pt x="1378" y="727"/>
                  </a:lnTo>
                  <a:lnTo>
                    <a:pt x="1376" y="729"/>
                  </a:lnTo>
                  <a:close/>
                  <a:moveTo>
                    <a:pt x="1033" y="835"/>
                  </a:moveTo>
                  <a:lnTo>
                    <a:pt x="1033" y="833"/>
                  </a:lnTo>
                  <a:lnTo>
                    <a:pt x="1033" y="835"/>
                  </a:lnTo>
                  <a:close/>
                  <a:moveTo>
                    <a:pt x="1040" y="836"/>
                  </a:moveTo>
                  <a:lnTo>
                    <a:pt x="1038" y="836"/>
                  </a:lnTo>
                  <a:lnTo>
                    <a:pt x="1036" y="836"/>
                  </a:lnTo>
                  <a:lnTo>
                    <a:pt x="1035" y="835"/>
                  </a:lnTo>
                  <a:lnTo>
                    <a:pt x="1033" y="835"/>
                  </a:lnTo>
                  <a:lnTo>
                    <a:pt x="1035" y="835"/>
                  </a:lnTo>
                  <a:lnTo>
                    <a:pt x="1035" y="833"/>
                  </a:lnTo>
                  <a:lnTo>
                    <a:pt x="1036" y="832"/>
                  </a:lnTo>
                  <a:lnTo>
                    <a:pt x="1040" y="832"/>
                  </a:lnTo>
                  <a:lnTo>
                    <a:pt x="1040" y="830"/>
                  </a:lnTo>
                  <a:lnTo>
                    <a:pt x="1041" y="830"/>
                  </a:lnTo>
                  <a:lnTo>
                    <a:pt x="1043" y="830"/>
                  </a:lnTo>
                  <a:lnTo>
                    <a:pt x="1043" y="832"/>
                  </a:lnTo>
                  <a:lnTo>
                    <a:pt x="1043" y="833"/>
                  </a:lnTo>
                  <a:lnTo>
                    <a:pt x="1041" y="833"/>
                  </a:lnTo>
                  <a:lnTo>
                    <a:pt x="1041" y="835"/>
                  </a:lnTo>
                  <a:lnTo>
                    <a:pt x="1040" y="836"/>
                  </a:lnTo>
                  <a:close/>
                  <a:moveTo>
                    <a:pt x="1041" y="830"/>
                  </a:moveTo>
                  <a:lnTo>
                    <a:pt x="1041" y="828"/>
                  </a:lnTo>
                  <a:lnTo>
                    <a:pt x="1041" y="830"/>
                  </a:lnTo>
                  <a:close/>
                  <a:moveTo>
                    <a:pt x="932" y="864"/>
                  </a:moveTo>
                  <a:lnTo>
                    <a:pt x="932" y="862"/>
                  </a:lnTo>
                  <a:lnTo>
                    <a:pt x="932" y="864"/>
                  </a:lnTo>
                  <a:close/>
                  <a:moveTo>
                    <a:pt x="1428" y="685"/>
                  </a:moveTo>
                  <a:lnTo>
                    <a:pt x="1427" y="687"/>
                  </a:lnTo>
                  <a:lnTo>
                    <a:pt x="1427" y="685"/>
                  </a:lnTo>
                  <a:lnTo>
                    <a:pt x="1428" y="685"/>
                  </a:lnTo>
                  <a:close/>
                  <a:moveTo>
                    <a:pt x="1098" y="786"/>
                  </a:moveTo>
                  <a:lnTo>
                    <a:pt x="1100" y="786"/>
                  </a:lnTo>
                  <a:lnTo>
                    <a:pt x="1098" y="786"/>
                  </a:lnTo>
                  <a:close/>
                  <a:moveTo>
                    <a:pt x="1092" y="786"/>
                  </a:moveTo>
                  <a:lnTo>
                    <a:pt x="1088" y="786"/>
                  </a:lnTo>
                  <a:lnTo>
                    <a:pt x="1090" y="786"/>
                  </a:lnTo>
                  <a:lnTo>
                    <a:pt x="1092" y="786"/>
                  </a:lnTo>
                  <a:close/>
                  <a:moveTo>
                    <a:pt x="1482" y="597"/>
                  </a:moveTo>
                  <a:lnTo>
                    <a:pt x="1482" y="596"/>
                  </a:lnTo>
                  <a:lnTo>
                    <a:pt x="1482" y="597"/>
                  </a:lnTo>
                  <a:lnTo>
                    <a:pt x="1480" y="597"/>
                  </a:lnTo>
                  <a:lnTo>
                    <a:pt x="1480" y="599"/>
                  </a:lnTo>
                  <a:lnTo>
                    <a:pt x="1479" y="599"/>
                  </a:lnTo>
                  <a:lnTo>
                    <a:pt x="1479" y="597"/>
                  </a:lnTo>
                  <a:lnTo>
                    <a:pt x="1479" y="599"/>
                  </a:lnTo>
                  <a:lnTo>
                    <a:pt x="1477" y="599"/>
                  </a:lnTo>
                  <a:lnTo>
                    <a:pt x="1477" y="601"/>
                  </a:lnTo>
                  <a:lnTo>
                    <a:pt x="1475" y="601"/>
                  </a:lnTo>
                  <a:lnTo>
                    <a:pt x="1475" y="602"/>
                  </a:lnTo>
                  <a:lnTo>
                    <a:pt x="1474" y="602"/>
                  </a:lnTo>
                  <a:lnTo>
                    <a:pt x="1475" y="604"/>
                  </a:lnTo>
                  <a:lnTo>
                    <a:pt x="1474" y="604"/>
                  </a:lnTo>
                  <a:lnTo>
                    <a:pt x="1474" y="605"/>
                  </a:lnTo>
                  <a:lnTo>
                    <a:pt x="1474" y="607"/>
                  </a:lnTo>
                  <a:lnTo>
                    <a:pt x="1472" y="609"/>
                  </a:lnTo>
                  <a:lnTo>
                    <a:pt x="1472" y="610"/>
                  </a:lnTo>
                  <a:lnTo>
                    <a:pt x="1472" y="612"/>
                  </a:lnTo>
                  <a:lnTo>
                    <a:pt x="1472" y="617"/>
                  </a:lnTo>
                  <a:lnTo>
                    <a:pt x="1471" y="618"/>
                  </a:lnTo>
                  <a:lnTo>
                    <a:pt x="1469" y="622"/>
                  </a:lnTo>
                  <a:lnTo>
                    <a:pt x="1469" y="625"/>
                  </a:lnTo>
                  <a:lnTo>
                    <a:pt x="1469" y="627"/>
                  </a:lnTo>
                  <a:lnTo>
                    <a:pt x="1467" y="633"/>
                  </a:lnTo>
                  <a:lnTo>
                    <a:pt x="1466" y="635"/>
                  </a:lnTo>
                  <a:lnTo>
                    <a:pt x="1466" y="636"/>
                  </a:lnTo>
                  <a:lnTo>
                    <a:pt x="1464" y="638"/>
                  </a:lnTo>
                  <a:lnTo>
                    <a:pt x="1466" y="635"/>
                  </a:lnTo>
                  <a:lnTo>
                    <a:pt x="1466" y="636"/>
                  </a:lnTo>
                  <a:lnTo>
                    <a:pt x="1466" y="635"/>
                  </a:lnTo>
                  <a:lnTo>
                    <a:pt x="1466" y="633"/>
                  </a:lnTo>
                  <a:lnTo>
                    <a:pt x="1464" y="631"/>
                  </a:lnTo>
                  <a:lnTo>
                    <a:pt x="1462" y="630"/>
                  </a:lnTo>
                  <a:lnTo>
                    <a:pt x="1461" y="630"/>
                  </a:lnTo>
                  <a:lnTo>
                    <a:pt x="1458" y="628"/>
                  </a:lnTo>
                  <a:lnTo>
                    <a:pt x="1456" y="628"/>
                  </a:lnTo>
                  <a:lnTo>
                    <a:pt x="1454" y="628"/>
                  </a:lnTo>
                  <a:lnTo>
                    <a:pt x="1454" y="630"/>
                  </a:lnTo>
                  <a:lnTo>
                    <a:pt x="1454" y="631"/>
                  </a:lnTo>
                  <a:lnTo>
                    <a:pt x="1453" y="631"/>
                  </a:lnTo>
                  <a:lnTo>
                    <a:pt x="1451" y="633"/>
                  </a:lnTo>
                  <a:lnTo>
                    <a:pt x="1451" y="635"/>
                  </a:lnTo>
                  <a:lnTo>
                    <a:pt x="1449" y="636"/>
                  </a:lnTo>
                  <a:lnTo>
                    <a:pt x="1448" y="638"/>
                  </a:lnTo>
                  <a:lnTo>
                    <a:pt x="1446" y="638"/>
                  </a:lnTo>
                  <a:lnTo>
                    <a:pt x="1446" y="640"/>
                  </a:lnTo>
                  <a:lnTo>
                    <a:pt x="1445" y="641"/>
                  </a:lnTo>
                  <a:lnTo>
                    <a:pt x="1443" y="643"/>
                  </a:lnTo>
                  <a:lnTo>
                    <a:pt x="1441" y="645"/>
                  </a:lnTo>
                  <a:lnTo>
                    <a:pt x="1441" y="646"/>
                  </a:lnTo>
                  <a:lnTo>
                    <a:pt x="1438" y="648"/>
                  </a:lnTo>
                  <a:lnTo>
                    <a:pt x="1436" y="649"/>
                  </a:lnTo>
                  <a:lnTo>
                    <a:pt x="1436" y="651"/>
                  </a:lnTo>
                  <a:lnTo>
                    <a:pt x="1433" y="656"/>
                  </a:lnTo>
                  <a:lnTo>
                    <a:pt x="1432" y="658"/>
                  </a:lnTo>
                  <a:lnTo>
                    <a:pt x="1432" y="659"/>
                  </a:lnTo>
                  <a:lnTo>
                    <a:pt x="1432" y="661"/>
                  </a:lnTo>
                  <a:lnTo>
                    <a:pt x="1430" y="662"/>
                  </a:lnTo>
                  <a:lnTo>
                    <a:pt x="1430" y="666"/>
                  </a:lnTo>
                  <a:lnTo>
                    <a:pt x="1430" y="667"/>
                  </a:lnTo>
                  <a:lnTo>
                    <a:pt x="1430" y="669"/>
                  </a:lnTo>
                  <a:lnTo>
                    <a:pt x="1430" y="672"/>
                  </a:lnTo>
                  <a:lnTo>
                    <a:pt x="1430" y="675"/>
                  </a:lnTo>
                  <a:lnTo>
                    <a:pt x="1430" y="680"/>
                  </a:lnTo>
                  <a:lnTo>
                    <a:pt x="1430" y="684"/>
                  </a:lnTo>
                  <a:lnTo>
                    <a:pt x="1428" y="687"/>
                  </a:lnTo>
                  <a:lnTo>
                    <a:pt x="1428" y="688"/>
                  </a:lnTo>
                  <a:lnTo>
                    <a:pt x="1427" y="688"/>
                  </a:lnTo>
                  <a:lnTo>
                    <a:pt x="1427" y="687"/>
                  </a:lnTo>
                  <a:lnTo>
                    <a:pt x="1428" y="687"/>
                  </a:lnTo>
                  <a:lnTo>
                    <a:pt x="1427" y="685"/>
                  </a:lnTo>
                  <a:lnTo>
                    <a:pt x="1428" y="687"/>
                  </a:lnTo>
                  <a:lnTo>
                    <a:pt x="1428" y="685"/>
                  </a:lnTo>
                  <a:lnTo>
                    <a:pt x="1428" y="684"/>
                  </a:lnTo>
                  <a:lnTo>
                    <a:pt x="1430" y="684"/>
                  </a:lnTo>
                  <a:lnTo>
                    <a:pt x="1428" y="684"/>
                  </a:lnTo>
                  <a:lnTo>
                    <a:pt x="1428" y="682"/>
                  </a:lnTo>
                  <a:lnTo>
                    <a:pt x="1430" y="682"/>
                  </a:lnTo>
                  <a:lnTo>
                    <a:pt x="1430" y="680"/>
                  </a:lnTo>
                  <a:lnTo>
                    <a:pt x="1430" y="679"/>
                  </a:lnTo>
                  <a:lnTo>
                    <a:pt x="1430" y="677"/>
                  </a:lnTo>
                  <a:lnTo>
                    <a:pt x="1430" y="675"/>
                  </a:lnTo>
                  <a:lnTo>
                    <a:pt x="1428" y="675"/>
                  </a:lnTo>
                  <a:lnTo>
                    <a:pt x="1428" y="674"/>
                  </a:lnTo>
                  <a:lnTo>
                    <a:pt x="1425" y="672"/>
                  </a:lnTo>
                  <a:lnTo>
                    <a:pt x="1423" y="672"/>
                  </a:lnTo>
                  <a:lnTo>
                    <a:pt x="1422" y="671"/>
                  </a:lnTo>
                  <a:lnTo>
                    <a:pt x="1418" y="671"/>
                  </a:lnTo>
                  <a:lnTo>
                    <a:pt x="1417" y="671"/>
                  </a:lnTo>
                  <a:lnTo>
                    <a:pt x="1415" y="671"/>
                  </a:lnTo>
                  <a:lnTo>
                    <a:pt x="1412" y="672"/>
                  </a:lnTo>
                  <a:lnTo>
                    <a:pt x="1410" y="672"/>
                  </a:lnTo>
                  <a:lnTo>
                    <a:pt x="1409" y="672"/>
                  </a:lnTo>
                  <a:lnTo>
                    <a:pt x="1409" y="674"/>
                  </a:lnTo>
                  <a:lnTo>
                    <a:pt x="1407" y="674"/>
                  </a:lnTo>
                  <a:lnTo>
                    <a:pt x="1405" y="677"/>
                  </a:lnTo>
                  <a:lnTo>
                    <a:pt x="1404" y="679"/>
                  </a:lnTo>
                  <a:lnTo>
                    <a:pt x="1402" y="679"/>
                  </a:lnTo>
                  <a:lnTo>
                    <a:pt x="1401" y="679"/>
                  </a:lnTo>
                  <a:lnTo>
                    <a:pt x="1401" y="680"/>
                  </a:lnTo>
                  <a:lnTo>
                    <a:pt x="1396" y="684"/>
                  </a:lnTo>
                  <a:lnTo>
                    <a:pt x="1391" y="688"/>
                  </a:lnTo>
                  <a:lnTo>
                    <a:pt x="1389" y="690"/>
                  </a:lnTo>
                  <a:lnTo>
                    <a:pt x="1388" y="693"/>
                  </a:lnTo>
                  <a:lnTo>
                    <a:pt x="1386" y="697"/>
                  </a:lnTo>
                  <a:lnTo>
                    <a:pt x="1384" y="701"/>
                  </a:lnTo>
                  <a:lnTo>
                    <a:pt x="1384" y="703"/>
                  </a:lnTo>
                  <a:lnTo>
                    <a:pt x="1384" y="710"/>
                  </a:lnTo>
                  <a:lnTo>
                    <a:pt x="1383" y="713"/>
                  </a:lnTo>
                  <a:lnTo>
                    <a:pt x="1384" y="710"/>
                  </a:lnTo>
                  <a:lnTo>
                    <a:pt x="1384" y="708"/>
                  </a:lnTo>
                  <a:lnTo>
                    <a:pt x="1384" y="706"/>
                  </a:lnTo>
                  <a:lnTo>
                    <a:pt x="1384" y="705"/>
                  </a:lnTo>
                  <a:lnTo>
                    <a:pt x="1383" y="705"/>
                  </a:lnTo>
                  <a:lnTo>
                    <a:pt x="1384" y="705"/>
                  </a:lnTo>
                  <a:lnTo>
                    <a:pt x="1383" y="705"/>
                  </a:lnTo>
                  <a:lnTo>
                    <a:pt x="1383" y="706"/>
                  </a:lnTo>
                  <a:lnTo>
                    <a:pt x="1383" y="705"/>
                  </a:lnTo>
                  <a:lnTo>
                    <a:pt x="1383" y="706"/>
                  </a:lnTo>
                  <a:lnTo>
                    <a:pt x="1383" y="705"/>
                  </a:lnTo>
                  <a:lnTo>
                    <a:pt x="1381" y="705"/>
                  </a:lnTo>
                  <a:lnTo>
                    <a:pt x="1383" y="706"/>
                  </a:lnTo>
                  <a:lnTo>
                    <a:pt x="1384" y="706"/>
                  </a:lnTo>
                  <a:lnTo>
                    <a:pt x="1383" y="706"/>
                  </a:lnTo>
                  <a:lnTo>
                    <a:pt x="1384" y="708"/>
                  </a:lnTo>
                  <a:lnTo>
                    <a:pt x="1383" y="706"/>
                  </a:lnTo>
                  <a:lnTo>
                    <a:pt x="1383" y="708"/>
                  </a:lnTo>
                  <a:lnTo>
                    <a:pt x="1383" y="710"/>
                  </a:lnTo>
                  <a:lnTo>
                    <a:pt x="1383" y="711"/>
                  </a:lnTo>
                  <a:lnTo>
                    <a:pt x="1383" y="710"/>
                  </a:lnTo>
                  <a:lnTo>
                    <a:pt x="1383" y="708"/>
                  </a:lnTo>
                  <a:lnTo>
                    <a:pt x="1381" y="706"/>
                  </a:lnTo>
                  <a:lnTo>
                    <a:pt x="1379" y="705"/>
                  </a:lnTo>
                  <a:lnTo>
                    <a:pt x="1378" y="705"/>
                  </a:lnTo>
                  <a:lnTo>
                    <a:pt x="1376" y="703"/>
                  </a:lnTo>
                  <a:lnTo>
                    <a:pt x="1375" y="703"/>
                  </a:lnTo>
                  <a:lnTo>
                    <a:pt x="1373" y="703"/>
                  </a:lnTo>
                  <a:lnTo>
                    <a:pt x="1370" y="705"/>
                  </a:lnTo>
                  <a:lnTo>
                    <a:pt x="1366" y="708"/>
                  </a:lnTo>
                  <a:lnTo>
                    <a:pt x="1363" y="708"/>
                  </a:lnTo>
                  <a:lnTo>
                    <a:pt x="1360" y="708"/>
                  </a:lnTo>
                  <a:lnTo>
                    <a:pt x="1358" y="710"/>
                  </a:lnTo>
                  <a:lnTo>
                    <a:pt x="1357" y="711"/>
                  </a:lnTo>
                  <a:lnTo>
                    <a:pt x="1350" y="713"/>
                  </a:lnTo>
                  <a:lnTo>
                    <a:pt x="1349" y="714"/>
                  </a:lnTo>
                  <a:lnTo>
                    <a:pt x="1347" y="716"/>
                  </a:lnTo>
                  <a:lnTo>
                    <a:pt x="1345" y="718"/>
                  </a:lnTo>
                  <a:lnTo>
                    <a:pt x="1344" y="719"/>
                  </a:lnTo>
                  <a:lnTo>
                    <a:pt x="1344" y="721"/>
                  </a:lnTo>
                  <a:lnTo>
                    <a:pt x="1342" y="721"/>
                  </a:lnTo>
                  <a:lnTo>
                    <a:pt x="1342" y="723"/>
                  </a:lnTo>
                  <a:lnTo>
                    <a:pt x="1340" y="724"/>
                  </a:lnTo>
                  <a:lnTo>
                    <a:pt x="1337" y="727"/>
                  </a:lnTo>
                  <a:lnTo>
                    <a:pt x="1334" y="731"/>
                  </a:lnTo>
                  <a:lnTo>
                    <a:pt x="1332" y="729"/>
                  </a:lnTo>
                  <a:lnTo>
                    <a:pt x="1332" y="731"/>
                  </a:lnTo>
                  <a:lnTo>
                    <a:pt x="1334" y="731"/>
                  </a:lnTo>
                  <a:lnTo>
                    <a:pt x="1332" y="731"/>
                  </a:lnTo>
                  <a:lnTo>
                    <a:pt x="1334" y="731"/>
                  </a:lnTo>
                  <a:lnTo>
                    <a:pt x="1334" y="732"/>
                  </a:lnTo>
                  <a:lnTo>
                    <a:pt x="1334" y="734"/>
                  </a:lnTo>
                  <a:lnTo>
                    <a:pt x="1331" y="742"/>
                  </a:lnTo>
                  <a:lnTo>
                    <a:pt x="1327" y="747"/>
                  </a:lnTo>
                  <a:lnTo>
                    <a:pt x="1326" y="750"/>
                  </a:lnTo>
                  <a:lnTo>
                    <a:pt x="1324" y="752"/>
                  </a:lnTo>
                  <a:lnTo>
                    <a:pt x="1323" y="753"/>
                  </a:lnTo>
                  <a:lnTo>
                    <a:pt x="1321" y="755"/>
                  </a:lnTo>
                  <a:lnTo>
                    <a:pt x="1318" y="758"/>
                  </a:lnTo>
                  <a:lnTo>
                    <a:pt x="1316" y="758"/>
                  </a:lnTo>
                  <a:lnTo>
                    <a:pt x="1316" y="760"/>
                  </a:lnTo>
                  <a:lnTo>
                    <a:pt x="1314" y="763"/>
                  </a:lnTo>
                  <a:lnTo>
                    <a:pt x="1314" y="766"/>
                  </a:lnTo>
                  <a:lnTo>
                    <a:pt x="1313" y="771"/>
                  </a:lnTo>
                  <a:lnTo>
                    <a:pt x="1311" y="773"/>
                  </a:lnTo>
                  <a:lnTo>
                    <a:pt x="1311" y="776"/>
                  </a:lnTo>
                  <a:lnTo>
                    <a:pt x="1311" y="778"/>
                  </a:lnTo>
                  <a:lnTo>
                    <a:pt x="1310" y="781"/>
                  </a:lnTo>
                  <a:lnTo>
                    <a:pt x="1310" y="783"/>
                  </a:lnTo>
                  <a:lnTo>
                    <a:pt x="1310" y="784"/>
                  </a:lnTo>
                  <a:lnTo>
                    <a:pt x="1308" y="789"/>
                  </a:lnTo>
                  <a:lnTo>
                    <a:pt x="1308" y="793"/>
                  </a:lnTo>
                  <a:lnTo>
                    <a:pt x="1306" y="794"/>
                  </a:lnTo>
                  <a:lnTo>
                    <a:pt x="1306" y="796"/>
                  </a:lnTo>
                  <a:lnTo>
                    <a:pt x="1306" y="797"/>
                  </a:lnTo>
                  <a:lnTo>
                    <a:pt x="1306" y="802"/>
                  </a:lnTo>
                  <a:lnTo>
                    <a:pt x="1305" y="806"/>
                  </a:lnTo>
                  <a:lnTo>
                    <a:pt x="1305" y="809"/>
                  </a:lnTo>
                  <a:lnTo>
                    <a:pt x="1305" y="810"/>
                  </a:lnTo>
                  <a:lnTo>
                    <a:pt x="1303" y="812"/>
                  </a:lnTo>
                  <a:lnTo>
                    <a:pt x="1301" y="814"/>
                  </a:lnTo>
                  <a:lnTo>
                    <a:pt x="1300" y="815"/>
                  </a:lnTo>
                  <a:lnTo>
                    <a:pt x="1298" y="817"/>
                  </a:lnTo>
                  <a:lnTo>
                    <a:pt x="1297" y="819"/>
                  </a:lnTo>
                  <a:lnTo>
                    <a:pt x="1293" y="822"/>
                  </a:lnTo>
                  <a:lnTo>
                    <a:pt x="1292" y="823"/>
                  </a:lnTo>
                  <a:lnTo>
                    <a:pt x="1290" y="825"/>
                  </a:lnTo>
                  <a:lnTo>
                    <a:pt x="1290" y="823"/>
                  </a:lnTo>
                  <a:lnTo>
                    <a:pt x="1288" y="823"/>
                  </a:lnTo>
                  <a:lnTo>
                    <a:pt x="1290" y="822"/>
                  </a:lnTo>
                  <a:lnTo>
                    <a:pt x="1288" y="822"/>
                  </a:lnTo>
                  <a:lnTo>
                    <a:pt x="1290" y="820"/>
                  </a:lnTo>
                  <a:lnTo>
                    <a:pt x="1290" y="819"/>
                  </a:lnTo>
                  <a:lnTo>
                    <a:pt x="1292" y="817"/>
                  </a:lnTo>
                  <a:lnTo>
                    <a:pt x="1292" y="815"/>
                  </a:lnTo>
                  <a:lnTo>
                    <a:pt x="1293" y="815"/>
                  </a:lnTo>
                  <a:lnTo>
                    <a:pt x="1295" y="814"/>
                  </a:lnTo>
                  <a:lnTo>
                    <a:pt x="1293" y="814"/>
                  </a:lnTo>
                  <a:lnTo>
                    <a:pt x="1293" y="812"/>
                  </a:lnTo>
                  <a:lnTo>
                    <a:pt x="1295" y="812"/>
                  </a:lnTo>
                  <a:lnTo>
                    <a:pt x="1293" y="812"/>
                  </a:lnTo>
                  <a:lnTo>
                    <a:pt x="1293" y="814"/>
                  </a:lnTo>
                  <a:lnTo>
                    <a:pt x="1295" y="814"/>
                  </a:lnTo>
                  <a:lnTo>
                    <a:pt x="1295" y="812"/>
                  </a:lnTo>
                  <a:lnTo>
                    <a:pt x="1295" y="814"/>
                  </a:lnTo>
                  <a:lnTo>
                    <a:pt x="1295" y="812"/>
                  </a:lnTo>
                  <a:lnTo>
                    <a:pt x="1297" y="812"/>
                  </a:lnTo>
                  <a:lnTo>
                    <a:pt x="1295" y="812"/>
                  </a:lnTo>
                  <a:lnTo>
                    <a:pt x="1297" y="810"/>
                  </a:lnTo>
                  <a:lnTo>
                    <a:pt x="1300" y="809"/>
                  </a:lnTo>
                  <a:lnTo>
                    <a:pt x="1301" y="807"/>
                  </a:lnTo>
                  <a:lnTo>
                    <a:pt x="1303" y="804"/>
                  </a:lnTo>
                  <a:lnTo>
                    <a:pt x="1305" y="804"/>
                  </a:lnTo>
                  <a:lnTo>
                    <a:pt x="1306" y="802"/>
                  </a:lnTo>
                  <a:lnTo>
                    <a:pt x="1306" y="801"/>
                  </a:lnTo>
                  <a:lnTo>
                    <a:pt x="1306" y="799"/>
                  </a:lnTo>
                  <a:lnTo>
                    <a:pt x="1305" y="799"/>
                  </a:lnTo>
                  <a:lnTo>
                    <a:pt x="1305" y="797"/>
                  </a:lnTo>
                  <a:lnTo>
                    <a:pt x="1306" y="797"/>
                  </a:lnTo>
                  <a:lnTo>
                    <a:pt x="1305" y="797"/>
                  </a:lnTo>
                  <a:lnTo>
                    <a:pt x="1306" y="796"/>
                  </a:lnTo>
                  <a:lnTo>
                    <a:pt x="1306" y="794"/>
                  </a:lnTo>
                  <a:lnTo>
                    <a:pt x="1306" y="793"/>
                  </a:lnTo>
                  <a:lnTo>
                    <a:pt x="1308" y="793"/>
                  </a:lnTo>
                  <a:lnTo>
                    <a:pt x="1308" y="791"/>
                  </a:lnTo>
                  <a:lnTo>
                    <a:pt x="1308" y="789"/>
                  </a:lnTo>
                  <a:lnTo>
                    <a:pt x="1308" y="788"/>
                  </a:lnTo>
                  <a:lnTo>
                    <a:pt x="1308" y="786"/>
                  </a:lnTo>
                  <a:lnTo>
                    <a:pt x="1308" y="784"/>
                  </a:lnTo>
                  <a:lnTo>
                    <a:pt x="1310" y="784"/>
                  </a:lnTo>
                  <a:lnTo>
                    <a:pt x="1308" y="784"/>
                  </a:lnTo>
                  <a:lnTo>
                    <a:pt x="1308" y="783"/>
                  </a:lnTo>
                  <a:lnTo>
                    <a:pt x="1310" y="781"/>
                  </a:lnTo>
                  <a:lnTo>
                    <a:pt x="1310" y="779"/>
                  </a:lnTo>
                  <a:lnTo>
                    <a:pt x="1310" y="778"/>
                  </a:lnTo>
                  <a:lnTo>
                    <a:pt x="1311" y="776"/>
                  </a:lnTo>
                  <a:lnTo>
                    <a:pt x="1311" y="775"/>
                  </a:lnTo>
                  <a:lnTo>
                    <a:pt x="1311" y="773"/>
                  </a:lnTo>
                  <a:lnTo>
                    <a:pt x="1310" y="773"/>
                  </a:lnTo>
                  <a:lnTo>
                    <a:pt x="1310" y="775"/>
                  </a:lnTo>
                  <a:lnTo>
                    <a:pt x="1310" y="776"/>
                  </a:lnTo>
                  <a:lnTo>
                    <a:pt x="1310" y="778"/>
                  </a:lnTo>
                  <a:lnTo>
                    <a:pt x="1310" y="779"/>
                  </a:lnTo>
                  <a:lnTo>
                    <a:pt x="1308" y="778"/>
                  </a:lnTo>
                  <a:lnTo>
                    <a:pt x="1306" y="778"/>
                  </a:lnTo>
                  <a:lnTo>
                    <a:pt x="1306" y="776"/>
                  </a:lnTo>
                  <a:lnTo>
                    <a:pt x="1305" y="776"/>
                  </a:lnTo>
                  <a:lnTo>
                    <a:pt x="1303" y="778"/>
                  </a:lnTo>
                  <a:lnTo>
                    <a:pt x="1301" y="775"/>
                  </a:lnTo>
                  <a:lnTo>
                    <a:pt x="1300" y="771"/>
                  </a:lnTo>
                  <a:lnTo>
                    <a:pt x="1300" y="770"/>
                  </a:lnTo>
                  <a:lnTo>
                    <a:pt x="1300" y="768"/>
                  </a:lnTo>
                  <a:lnTo>
                    <a:pt x="1300" y="766"/>
                  </a:lnTo>
                  <a:lnTo>
                    <a:pt x="1298" y="766"/>
                  </a:lnTo>
                  <a:lnTo>
                    <a:pt x="1298" y="765"/>
                  </a:lnTo>
                  <a:lnTo>
                    <a:pt x="1295" y="765"/>
                  </a:lnTo>
                  <a:lnTo>
                    <a:pt x="1293" y="765"/>
                  </a:lnTo>
                  <a:lnTo>
                    <a:pt x="1292" y="765"/>
                  </a:lnTo>
                  <a:lnTo>
                    <a:pt x="1293" y="765"/>
                  </a:lnTo>
                  <a:lnTo>
                    <a:pt x="1292" y="765"/>
                  </a:lnTo>
                  <a:lnTo>
                    <a:pt x="1292" y="763"/>
                  </a:lnTo>
                  <a:lnTo>
                    <a:pt x="1290" y="763"/>
                  </a:lnTo>
                  <a:lnTo>
                    <a:pt x="1288" y="763"/>
                  </a:lnTo>
                  <a:lnTo>
                    <a:pt x="1290" y="763"/>
                  </a:lnTo>
                  <a:lnTo>
                    <a:pt x="1288" y="765"/>
                  </a:lnTo>
                  <a:lnTo>
                    <a:pt x="1290" y="765"/>
                  </a:lnTo>
                  <a:lnTo>
                    <a:pt x="1290" y="766"/>
                  </a:lnTo>
                  <a:lnTo>
                    <a:pt x="1292" y="768"/>
                  </a:lnTo>
                  <a:lnTo>
                    <a:pt x="1293" y="768"/>
                  </a:lnTo>
                  <a:lnTo>
                    <a:pt x="1295" y="770"/>
                  </a:lnTo>
                  <a:lnTo>
                    <a:pt x="1295" y="773"/>
                  </a:lnTo>
                  <a:lnTo>
                    <a:pt x="1295" y="775"/>
                  </a:lnTo>
                  <a:lnTo>
                    <a:pt x="1295" y="776"/>
                  </a:lnTo>
                  <a:lnTo>
                    <a:pt x="1295" y="778"/>
                  </a:lnTo>
                  <a:lnTo>
                    <a:pt x="1295" y="779"/>
                  </a:lnTo>
                  <a:lnTo>
                    <a:pt x="1293" y="779"/>
                  </a:lnTo>
                  <a:lnTo>
                    <a:pt x="1293" y="781"/>
                  </a:lnTo>
                  <a:lnTo>
                    <a:pt x="1292" y="783"/>
                  </a:lnTo>
                  <a:lnTo>
                    <a:pt x="1290" y="783"/>
                  </a:lnTo>
                  <a:lnTo>
                    <a:pt x="1290" y="784"/>
                  </a:lnTo>
                  <a:lnTo>
                    <a:pt x="1290" y="788"/>
                  </a:lnTo>
                  <a:lnTo>
                    <a:pt x="1290" y="789"/>
                  </a:lnTo>
                  <a:lnTo>
                    <a:pt x="1290" y="791"/>
                  </a:lnTo>
                  <a:lnTo>
                    <a:pt x="1290" y="793"/>
                  </a:lnTo>
                  <a:lnTo>
                    <a:pt x="1288" y="794"/>
                  </a:lnTo>
                  <a:lnTo>
                    <a:pt x="1288" y="796"/>
                  </a:lnTo>
                  <a:lnTo>
                    <a:pt x="1287" y="797"/>
                  </a:lnTo>
                  <a:lnTo>
                    <a:pt x="1285" y="799"/>
                  </a:lnTo>
                  <a:lnTo>
                    <a:pt x="1284" y="799"/>
                  </a:lnTo>
                  <a:lnTo>
                    <a:pt x="1279" y="802"/>
                  </a:lnTo>
                  <a:lnTo>
                    <a:pt x="1277" y="804"/>
                  </a:lnTo>
                  <a:lnTo>
                    <a:pt x="1275" y="806"/>
                  </a:lnTo>
                  <a:lnTo>
                    <a:pt x="1274" y="806"/>
                  </a:lnTo>
                  <a:lnTo>
                    <a:pt x="1272" y="807"/>
                  </a:lnTo>
                  <a:lnTo>
                    <a:pt x="1270" y="810"/>
                  </a:lnTo>
                  <a:lnTo>
                    <a:pt x="1269" y="812"/>
                  </a:lnTo>
                  <a:lnTo>
                    <a:pt x="1269" y="815"/>
                  </a:lnTo>
                  <a:lnTo>
                    <a:pt x="1270" y="819"/>
                  </a:lnTo>
                  <a:lnTo>
                    <a:pt x="1269" y="819"/>
                  </a:lnTo>
                  <a:lnTo>
                    <a:pt x="1269" y="820"/>
                  </a:lnTo>
                  <a:lnTo>
                    <a:pt x="1270" y="820"/>
                  </a:lnTo>
                  <a:lnTo>
                    <a:pt x="1270" y="822"/>
                  </a:lnTo>
                  <a:lnTo>
                    <a:pt x="1270" y="820"/>
                  </a:lnTo>
                  <a:lnTo>
                    <a:pt x="1272" y="822"/>
                  </a:lnTo>
                  <a:lnTo>
                    <a:pt x="1274" y="825"/>
                  </a:lnTo>
                  <a:lnTo>
                    <a:pt x="1274" y="827"/>
                  </a:lnTo>
                  <a:lnTo>
                    <a:pt x="1275" y="830"/>
                  </a:lnTo>
                  <a:lnTo>
                    <a:pt x="1275" y="832"/>
                  </a:lnTo>
                  <a:lnTo>
                    <a:pt x="1277" y="833"/>
                  </a:lnTo>
                  <a:lnTo>
                    <a:pt x="1277" y="835"/>
                  </a:lnTo>
                  <a:lnTo>
                    <a:pt x="1279" y="836"/>
                  </a:lnTo>
                  <a:lnTo>
                    <a:pt x="1279" y="838"/>
                  </a:lnTo>
                  <a:lnTo>
                    <a:pt x="1280" y="840"/>
                  </a:lnTo>
                  <a:lnTo>
                    <a:pt x="1284" y="845"/>
                  </a:lnTo>
                  <a:lnTo>
                    <a:pt x="1287" y="849"/>
                  </a:lnTo>
                  <a:lnTo>
                    <a:pt x="1292" y="854"/>
                  </a:lnTo>
                  <a:lnTo>
                    <a:pt x="1292" y="856"/>
                  </a:lnTo>
                  <a:lnTo>
                    <a:pt x="1295" y="859"/>
                  </a:lnTo>
                  <a:lnTo>
                    <a:pt x="1295" y="861"/>
                  </a:lnTo>
                  <a:lnTo>
                    <a:pt x="1297" y="861"/>
                  </a:lnTo>
                  <a:lnTo>
                    <a:pt x="1297" y="862"/>
                  </a:lnTo>
                  <a:lnTo>
                    <a:pt x="1298" y="862"/>
                  </a:lnTo>
                  <a:lnTo>
                    <a:pt x="1300" y="864"/>
                  </a:lnTo>
                  <a:lnTo>
                    <a:pt x="1300" y="866"/>
                  </a:lnTo>
                  <a:lnTo>
                    <a:pt x="1303" y="867"/>
                  </a:lnTo>
                  <a:lnTo>
                    <a:pt x="1306" y="872"/>
                  </a:lnTo>
                  <a:lnTo>
                    <a:pt x="1308" y="872"/>
                  </a:lnTo>
                  <a:lnTo>
                    <a:pt x="1310" y="875"/>
                  </a:lnTo>
                  <a:lnTo>
                    <a:pt x="1313" y="877"/>
                  </a:lnTo>
                  <a:lnTo>
                    <a:pt x="1316" y="880"/>
                  </a:lnTo>
                  <a:lnTo>
                    <a:pt x="1321" y="885"/>
                  </a:lnTo>
                  <a:lnTo>
                    <a:pt x="1324" y="888"/>
                  </a:lnTo>
                  <a:lnTo>
                    <a:pt x="1329" y="890"/>
                  </a:lnTo>
                  <a:lnTo>
                    <a:pt x="1331" y="892"/>
                  </a:lnTo>
                  <a:lnTo>
                    <a:pt x="1334" y="893"/>
                  </a:lnTo>
                  <a:lnTo>
                    <a:pt x="1336" y="895"/>
                  </a:lnTo>
                  <a:lnTo>
                    <a:pt x="1339" y="898"/>
                  </a:lnTo>
                  <a:lnTo>
                    <a:pt x="1340" y="898"/>
                  </a:lnTo>
                  <a:lnTo>
                    <a:pt x="1342" y="900"/>
                  </a:lnTo>
                  <a:lnTo>
                    <a:pt x="1347" y="903"/>
                  </a:lnTo>
                  <a:lnTo>
                    <a:pt x="1352" y="906"/>
                  </a:lnTo>
                  <a:lnTo>
                    <a:pt x="1353" y="908"/>
                  </a:lnTo>
                  <a:lnTo>
                    <a:pt x="1357" y="910"/>
                  </a:lnTo>
                  <a:lnTo>
                    <a:pt x="1360" y="911"/>
                  </a:lnTo>
                  <a:lnTo>
                    <a:pt x="1363" y="913"/>
                  </a:lnTo>
                  <a:lnTo>
                    <a:pt x="1368" y="914"/>
                  </a:lnTo>
                  <a:lnTo>
                    <a:pt x="1371" y="914"/>
                  </a:lnTo>
                  <a:lnTo>
                    <a:pt x="1375" y="916"/>
                  </a:lnTo>
                  <a:lnTo>
                    <a:pt x="1376" y="916"/>
                  </a:lnTo>
                  <a:lnTo>
                    <a:pt x="1376" y="914"/>
                  </a:lnTo>
                  <a:lnTo>
                    <a:pt x="1378" y="913"/>
                  </a:lnTo>
                  <a:lnTo>
                    <a:pt x="1381" y="911"/>
                  </a:lnTo>
                  <a:lnTo>
                    <a:pt x="1383" y="910"/>
                  </a:lnTo>
                  <a:lnTo>
                    <a:pt x="1383" y="908"/>
                  </a:lnTo>
                  <a:lnTo>
                    <a:pt x="1386" y="906"/>
                  </a:lnTo>
                  <a:lnTo>
                    <a:pt x="1388" y="905"/>
                  </a:lnTo>
                  <a:lnTo>
                    <a:pt x="1389" y="903"/>
                  </a:lnTo>
                  <a:lnTo>
                    <a:pt x="1391" y="903"/>
                  </a:lnTo>
                  <a:lnTo>
                    <a:pt x="1392" y="901"/>
                  </a:lnTo>
                  <a:lnTo>
                    <a:pt x="1392" y="900"/>
                  </a:lnTo>
                  <a:lnTo>
                    <a:pt x="1392" y="898"/>
                  </a:lnTo>
                  <a:lnTo>
                    <a:pt x="1394" y="898"/>
                  </a:lnTo>
                  <a:lnTo>
                    <a:pt x="1394" y="897"/>
                  </a:lnTo>
                  <a:lnTo>
                    <a:pt x="1394" y="895"/>
                  </a:lnTo>
                  <a:lnTo>
                    <a:pt x="1394" y="893"/>
                  </a:lnTo>
                  <a:lnTo>
                    <a:pt x="1392" y="893"/>
                  </a:lnTo>
                  <a:lnTo>
                    <a:pt x="1392" y="892"/>
                  </a:lnTo>
                  <a:lnTo>
                    <a:pt x="1394" y="892"/>
                  </a:lnTo>
                  <a:lnTo>
                    <a:pt x="1394" y="890"/>
                  </a:lnTo>
                  <a:lnTo>
                    <a:pt x="1396" y="888"/>
                  </a:lnTo>
                  <a:lnTo>
                    <a:pt x="1396" y="887"/>
                  </a:lnTo>
                  <a:lnTo>
                    <a:pt x="1397" y="887"/>
                  </a:lnTo>
                  <a:lnTo>
                    <a:pt x="1397" y="885"/>
                  </a:lnTo>
                  <a:lnTo>
                    <a:pt x="1397" y="884"/>
                  </a:lnTo>
                  <a:lnTo>
                    <a:pt x="1397" y="882"/>
                  </a:lnTo>
                  <a:lnTo>
                    <a:pt x="1396" y="882"/>
                  </a:lnTo>
                  <a:lnTo>
                    <a:pt x="1396" y="880"/>
                  </a:lnTo>
                  <a:lnTo>
                    <a:pt x="1397" y="879"/>
                  </a:lnTo>
                  <a:lnTo>
                    <a:pt x="1399" y="879"/>
                  </a:lnTo>
                  <a:lnTo>
                    <a:pt x="1401" y="877"/>
                  </a:lnTo>
                  <a:lnTo>
                    <a:pt x="1401" y="879"/>
                  </a:lnTo>
                  <a:lnTo>
                    <a:pt x="1401" y="880"/>
                  </a:lnTo>
                  <a:lnTo>
                    <a:pt x="1399" y="882"/>
                  </a:lnTo>
                  <a:lnTo>
                    <a:pt x="1401" y="884"/>
                  </a:lnTo>
                  <a:lnTo>
                    <a:pt x="1402" y="884"/>
                  </a:lnTo>
                  <a:lnTo>
                    <a:pt x="1404" y="885"/>
                  </a:lnTo>
                  <a:lnTo>
                    <a:pt x="1409" y="887"/>
                  </a:lnTo>
                  <a:lnTo>
                    <a:pt x="1410" y="888"/>
                  </a:lnTo>
                  <a:lnTo>
                    <a:pt x="1412" y="888"/>
                  </a:lnTo>
                  <a:lnTo>
                    <a:pt x="1415" y="888"/>
                  </a:lnTo>
                  <a:lnTo>
                    <a:pt x="1417" y="887"/>
                  </a:lnTo>
                  <a:lnTo>
                    <a:pt x="1418" y="887"/>
                  </a:lnTo>
                  <a:lnTo>
                    <a:pt x="1420" y="885"/>
                  </a:lnTo>
                  <a:lnTo>
                    <a:pt x="1422" y="882"/>
                  </a:lnTo>
                  <a:lnTo>
                    <a:pt x="1422" y="880"/>
                  </a:lnTo>
                  <a:lnTo>
                    <a:pt x="1422" y="879"/>
                  </a:lnTo>
                  <a:lnTo>
                    <a:pt x="1422" y="877"/>
                  </a:lnTo>
                  <a:lnTo>
                    <a:pt x="1420" y="875"/>
                  </a:lnTo>
                  <a:lnTo>
                    <a:pt x="1422" y="875"/>
                  </a:lnTo>
                  <a:lnTo>
                    <a:pt x="1420" y="875"/>
                  </a:lnTo>
                  <a:lnTo>
                    <a:pt x="1422" y="874"/>
                  </a:lnTo>
                  <a:lnTo>
                    <a:pt x="1423" y="872"/>
                  </a:lnTo>
                  <a:lnTo>
                    <a:pt x="1425" y="871"/>
                  </a:lnTo>
                  <a:lnTo>
                    <a:pt x="1427" y="869"/>
                  </a:lnTo>
                  <a:lnTo>
                    <a:pt x="1430" y="867"/>
                  </a:lnTo>
                  <a:lnTo>
                    <a:pt x="1430" y="866"/>
                  </a:lnTo>
                  <a:lnTo>
                    <a:pt x="1432" y="866"/>
                  </a:lnTo>
                  <a:lnTo>
                    <a:pt x="1433" y="866"/>
                  </a:lnTo>
                  <a:lnTo>
                    <a:pt x="1435" y="864"/>
                  </a:lnTo>
                  <a:lnTo>
                    <a:pt x="1436" y="864"/>
                  </a:lnTo>
                  <a:lnTo>
                    <a:pt x="1436" y="862"/>
                  </a:lnTo>
                  <a:lnTo>
                    <a:pt x="1438" y="862"/>
                  </a:lnTo>
                  <a:lnTo>
                    <a:pt x="1440" y="862"/>
                  </a:lnTo>
                  <a:lnTo>
                    <a:pt x="1440" y="861"/>
                  </a:lnTo>
                  <a:lnTo>
                    <a:pt x="1441" y="862"/>
                  </a:lnTo>
                  <a:lnTo>
                    <a:pt x="1443" y="862"/>
                  </a:lnTo>
                  <a:lnTo>
                    <a:pt x="1445" y="861"/>
                  </a:lnTo>
                  <a:lnTo>
                    <a:pt x="1445" y="859"/>
                  </a:lnTo>
                  <a:lnTo>
                    <a:pt x="1445" y="861"/>
                  </a:lnTo>
                  <a:lnTo>
                    <a:pt x="1446" y="861"/>
                  </a:lnTo>
                  <a:lnTo>
                    <a:pt x="1448" y="861"/>
                  </a:lnTo>
                  <a:lnTo>
                    <a:pt x="1449" y="861"/>
                  </a:lnTo>
                  <a:lnTo>
                    <a:pt x="1451" y="862"/>
                  </a:lnTo>
                  <a:lnTo>
                    <a:pt x="1453" y="862"/>
                  </a:lnTo>
                  <a:lnTo>
                    <a:pt x="1454" y="862"/>
                  </a:lnTo>
                  <a:lnTo>
                    <a:pt x="1454" y="861"/>
                  </a:lnTo>
                  <a:lnTo>
                    <a:pt x="1454" y="859"/>
                  </a:lnTo>
                  <a:lnTo>
                    <a:pt x="1456" y="859"/>
                  </a:lnTo>
                  <a:lnTo>
                    <a:pt x="1458" y="859"/>
                  </a:lnTo>
                  <a:lnTo>
                    <a:pt x="1459" y="859"/>
                  </a:lnTo>
                  <a:lnTo>
                    <a:pt x="1461" y="859"/>
                  </a:lnTo>
                  <a:lnTo>
                    <a:pt x="1462" y="859"/>
                  </a:lnTo>
                  <a:lnTo>
                    <a:pt x="1462" y="861"/>
                  </a:lnTo>
                  <a:lnTo>
                    <a:pt x="1464" y="861"/>
                  </a:lnTo>
                  <a:lnTo>
                    <a:pt x="1467" y="861"/>
                  </a:lnTo>
                  <a:lnTo>
                    <a:pt x="1467" y="859"/>
                  </a:lnTo>
                  <a:lnTo>
                    <a:pt x="1467" y="858"/>
                  </a:lnTo>
                  <a:lnTo>
                    <a:pt x="1469" y="858"/>
                  </a:lnTo>
                  <a:lnTo>
                    <a:pt x="1471" y="858"/>
                  </a:lnTo>
                  <a:lnTo>
                    <a:pt x="1472" y="858"/>
                  </a:lnTo>
                  <a:lnTo>
                    <a:pt x="1472" y="859"/>
                  </a:lnTo>
                  <a:lnTo>
                    <a:pt x="1474" y="861"/>
                  </a:lnTo>
                  <a:lnTo>
                    <a:pt x="1475" y="862"/>
                  </a:lnTo>
                  <a:lnTo>
                    <a:pt x="1477" y="862"/>
                  </a:lnTo>
                  <a:lnTo>
                    <a:pt x="1477" y="864"/>
                  </a:lnTo>
                  <a:lnTo>
                    <a:pt x="1477" y="866"/>
                  </a:lnTo>
                  <a:lnTo>
                    <a:pt x="1475" y="867"/>
                  </a:lnTo>
                  <a:lnTo>
                    <a:pt x="1475" y="869"/>
                  </a:lnTo>
                  <a:lnTo>
                    <a:pt x="1474" y="869"/>
                  </a:lnTo>
                  <a:lnTo>
                    <a:pt x="1472" y="871"/>
                  </a:lnTo>
                  <a:lnTo>
                    <a:pt x="1471" y="871"/>
                  </a:lnTo>
                  <a:lnTo>
                    <a:pt x="1469" y="871"/>
                  </a:lnTo>
                  <a:lnTo>
                    <a:pt x="1469" y="872"/>
                  </a:lnTo>
                  <a:lnTo>
                    <a:pt x="1469" y="871"/>
                  </a:lnTo>
                  <a:lnTo>
                    <a:pt x="1467" y="871"/>
                  </a:lnTo>
                  <a:lnTo>
                    <a:pt x="1466" y="871"/>
                  </a:lnTo>
                  <a:lnTo>
                    <a:pt x="1464" y="871"/>
                  </a:lnTo>
                  <a:lnTo>
                    <a:pt x="1464" y="872"/>
                  </a:lnTo>
                  <a:lnTo>
                    <a:pt x="1462" y="872"/>
                  </a:lnTo>
                  <a:lnTo>
                    <a:pt x="1464" y="872"/>
                  </a:lnTo>
                  <a:lnTo>
                    <a:pt x="1462" y="874"/>
                  </a:lnTo>
                  <a:lnTo>
                    <a:pt x="1462" y="875"/>
                  </a:lnTo>
                  <a:lnTo>
                    <a:pt x="1464" y="875"/>
                  </a:lnTo>
                  <a:lnTo>
                    <a:pt x="1464" y="877"/>
                  </a:lnTo>
                  <a:lnTo>
                    <a:pt x="1466" y="877"/>
                  </a:lnTo>
                  <a:lnTo>
                    <a:pt x="1466" y="879"/>
                  </a:lnTo>
                  <a:lnTo>
                    <a:pt x="1462" y="882"/>
                  </a:lnTo>
                  <a:lnTo>
                    <a:pt x="1461" y="884"/>
                  </a:lnTo>
                  <a:lnTo>
                    <a:pt x="1461" y="885"/>
                  </a:lnTo>
                  <a:lnTo>
                    <a:pt x="1462" y="887"/>
                  </a:lnTo>
                  <a:lnTo>
                    <a:pt x="1464" y="887"/>
                  </a:lnTo>
                  <a:lnTo>
                    <a:pt x="1462" y="885"/>
                  </a:lnTo>
                  <a:lnTo>
                    <a:pt x="1464" y="885"/>
                  </a:lnTo>
                  <a:lnTo>
                    <a:pt x="1464" y="887"/>
                  </a:lnTo>
                  <a:lnTo>
                    <a:pt x="1462" y="890"/>
                  </a:lnTo>
                  <a:lnTo>
                    <a:pt x="1464" y="890"/>
                  </a:lnTo>
                  <a:lnTo>
                    <a:pt x="1462" y="892"/>
                  </a:lnTo>
                  <a:lnTo>
                    <a:pt x="1462" y="895"/>
                  </a:lnTo>
                  <a:lnTo>
                    <a:pt x="1464" y="897"/>
                  </a:lnTo>
                  <a:lnTo>
                    <a:pt x="1464" y="898"/>
                  </a:lnTo>
                  <a:lnTo>
                    <a:pt x="1466" y="900"/>
                  </a:lnTo>
                  <a:lnTo>
                    <a:pt x="1467" y="901"/>
                  </a:lnTo>
                  <a:lnTo>
                    <a:pt x="1467" y="903"/>
                  </a:lnTo>
                  <a:lnTo>
                    <a:pt x="1469" y="905"/>
                  </a:lnTo>
                  <a:lnTo>
                    <a:pt x="1467" y="905"/>
                  </a:lnTo>
                  <a:lnTo>
                    <a:pt x="1469" y="905"/>
                  </a:lnTo>
                  <a:lnTo>
                    <a:pt x="1469" y="906"/>
                  </a:lnTo>
                  <a:lnTo>
                    <a:pt x="1471" y="906"/>
                  </a:lnTo>
                  <a:lnTo>
                    <a:pt x="1472" y="906"/>
                  </a:lnTo>
                  <a:lnTo>
                    <a:pt x="1472" y="908"/>
                  </a:lnTo>
                  <a:lnTo>
                    <a:pt x="1474" y="908"/>
                  </a:lnTo>
                  <a:lnTo>
                    <a:pt x="1472" y="910"/>
                  </a:lnTo>
                  <a:lnTo>
                    <a:pt x="1472" y="911"/>
                  </a:lnTo>
                  <a:lnTo>
                    <a:pt x="1471" y="911"/>
                  </a:lnTo>
                  <a:lnTo>
                    <a:pt x="1471" y="913"/>
                  </a:lnTo>
                  <a:lnTo>
                    <a:pt x="1469" y="914"/>
                  </a:lnTo>
                  <a:lnTo>
                    <a:pt x="1467" y="916"/>
                  </a:lnTo>
                  <a:lnTo>
                    <a:pt x="1466" y="916"/>
                  </a:lnTo>
                  <a:lnTo>
                    <a:pt x="1466" y="918"/>
                  </a:lnTo>
                  <a:lnTo>
                    <a:pt x="1464" y="918"/>
                  </a:lnTo>
                  <a:lnTo>
                    <a:pt x="1461" y="918"/>
                  </a:lnTo>
                  <a:lnTo>
                    <a:pt x="1458" y="921"/>
                  </a:lnTo>
                  <a:lnTo>
                    <a:pt x="1456" y="923"/>
                  </a:lnTo>
                  <a:lnTo>
                    <a:pt x="1456" y="924"/>
                  </a:lnTo>
                  <a:lnTo>
                    <a:pt x="1454" y="926"/>
                  </a:lnTo>
                  <a:lnTo>
                    <a:pt x="1453" y="926"/>
                  </a:lnTo>
                  <a:lnTo>
                    <a:pt x="1449" y="926"/>
                  </a:lnTo>
                  <a:lnTo>
                    <a:pt x="1441" y="928"/>
                  </a:lnTo>
                  <a:lnTo>
                    <a:pt x="1438" y="929"/>
                  </a:lnTo>
                  <a:lnTo>
                    <a:pt x="1435" y="929"/>
                  </a:lnTo>
                  <a:lnTo>
                    <a:pt x="1433" y="932"/>
                  </a:lnTo>
                  <a:lnTo>
                    <a:pt x="1432" y="934"/>
                  </a:lnTo>
                  <a:lnTo>
                    <a:pt x="1432" y="936"/>
                  </a:lnTo>
                  <a:lnTo>
                    <a:pt x="1430" y="936"/>
                  </a:lnTo>
                  <a:lnTo>
                    <a:pt x="1430" y="937"/>
                  </a:lnTo>
                  <a:lnTo>
                    <a:pt x="1428" y="937"/>
                  </a:lnTo>
                  <a:lnTo>
                    <a:pt x="1427" y="937"/>
                  </a:lnTo>
                  <a:lnTo>
                    <a:pt x="1425" y="937"/>
                  </a:lnTo>
                  <a:lnTo>
                    <a:pt x="1425" y="939"/>
                  </a:lnTo>
                  <a:lnTo>
                    <a:pt x="1423" y="939"/>
                  </a:lnTo>
                  <a:lnTo>
                    <a:pt x="1423" y="941"/>
                  </a:lnTo>
                  <a:lnTo>
                    <a:pt x="1422" y="942"/>
                  </a:lnTo>
                  <a:lnTo>
                    <a:pt x="1420" y="942"/>
                  </a:lnTo>
                  <a:lnTo>
                    <a:pt x="1418" y="944"/>
                  </a:lnTo>
                  <a:lnTo>
                    <a:pt x="1418" y="942"/>
                  </a:lnTo>
                  <a:lnTo>
                    <a:pt x="1417" y="941"/>
                  </a:lnTo>
                  <a:lnTo>
                    <a:pt x="1415" y="941"/>
                  </a:lnTo>
                  <a:lnTo>
                    <a:pt x="1415" y="939"/>
                  </a:lnTo>
                  <a:lnTo>
                    <a:pt x="1414" y="937"/>
                  </a:lnTo>
                  <a:lnTo>
                    <a:pt x="1412" y="937"/>
                  </a:lnTo>
                  <a:lnTo>
                    <a:pt x="1410" y="936"/>
                  </a:lnTo>
                  <a:lnTo>
                    <a:pt x="1407" y="936"/>
                  </a:lnTo>
                  <a:lnTo>
                    <a:pt x="1405" y="934"/>
                  </a:lnTo>
                  <a:lnTo>
                    <a:pt x="1399" y="934"/>
                  </a:lnTo>
                  <a:lnTo>
                    <a:pt x="1396" y="934"/>
                  </a:lnTo>
                  <a:lnTo>
                    <a:pt x="1391" y="934"/>
                  </a:lnTo>
                  <a:lnTo>
                    <a:pt x="1388" y="934"/>
                  </a:lnTo>
                  <a:lnTo>
                    <a:pt x="1384" y="936"/>
                  </a:lnTo>
                  <a:lnTo>
                    <a:pt x="1384" y="937"/>
                  </a:lnTo>
                  <a:lnTo>
                    <a:pt x="1383" y="939"/>
                  </a:lnTo>
                  <a:lnTo>
                    <a:pt x="1379" y="941"/>
                  </a:lnTo>
                  <a:lnTo>
                    <a:pt x="1378" y="942"/>
                  </a:lnTo>
                  <a:lnTo>
                    <a:pt x="1378" y="944"/>
                  </a:lnTo>
                  <a:lnTo>
                    <a:pt x="1376" y="947"/>
                  </a:lnTo>
                  <a:lnTo>
                    <a:pt x="1375" y="949"/>
                  </a:lnTo>
                  <a:lnTo>
                    <a:pt x="1375" y="950"/>
                  </a:lnTo>
                  <a:lnTo>
                    <a:pt x="1375" y="952"/>
                  </a:lnTo>
                  <a:lnTo>
                    <a:pt x="1375" y="954"/>
                  </a:lnTo>
                  <a:lnTo>
                    <a:pt x="1375" y="955"/>
                  </a:lnTo>
                  <a:lnTo>
                    <a:pt x="1376" y="955"/>
                  </a:lnTo>
                  <a:lnTo>
                    <a:pt x="1376" y="954"/>
                  </a:lnTo>
                  <a:lnTo>
                    <a:pt x="1376" y="955"/>
                  </a:lnTo>
                  <a:lnTo>
                    <a:pt x="1378" y="955"/>
                  </a:lnTo>
                  <a:lnTo>
                    <a:pt x="1379" y="955"/>
                  </a:lnTo>
                  <a:lnTo>
                    <a:pt x="1379" y="957"/>
                  </a:lnTo>
                  <a:lnTo>
                    <a:pt x="1378" y="957"/>
                  </a:lnTo>
                  <a:lnTo>
                    <a:pt x="1378" y="958"/>
                  </a:lnTo>
                  <a:lnTo>
                    <a:pt x="1376" y="958"/>
                  </a:lnTo>
                  <a:lnTo>
                    <a:pt x="1376" y="960"/>
                  </a:lnTo>
                  <a:lnTo>
                    <a:pt x="1375" y="960"/>
                  </a:lnTo>
                  <a:lnTo>
                    <a:pt x="1375" y="962"/>
                  </a:lnTo>
                  <a:lnTo>
                    <a:pt x="1375" y="963"/>
                  </a:lnTo>
                  <a:lnTo>
                    <a:pt x="1376" y="963"/>
                  </a:lnTo>
                  <a:lnTo>
                    <a:pt x="1376" y="965"/>
                  </a:lnTo>
                  <a:lnTo>
                    <a:pt x="1378" y="965"/>
                  </a:lnTo>
                  <a:lnTo>
                    <a:pt x="1379" y="965"/>
                  </a:lnTo>
                  <a:lnTo>
                    <a:pt x="1379" y="967"/>
                  </a:lnTo>
                  <a:lnTo>
                    <a:pt x="1378" y="967"/>
                  </a:lnTo>
                  <a:lnTo>
                    <a:pt x="1376" y="967"/>
                  </a:lnTo>
                  <a:lnTo>
                    <a:pt x="1376" y="965"/>
                  </a:lnTo>
                  <a:lnTo>
                    <a:pt x="1375" y="967"/>
                  </a:lnTo>
                  <a:lnTo>
                    <a:pt x="1375" y="965"/>
                  </a:lnTo>
                  <a:lnTo>
                    <a:pt x="1373" y="965"/>
                  </a:lnTo>
                  <a:lnTo>
                    <a:pt x="1371" y="965"/>
                  </a:lnTo>
                  <a:lnTo>
                    <a:pt x="1370" y="967"/>
                  </a:lnTo>
                  <a:lnTo>
                    <a:pt x="1368" y="967"/>
                  </a:lnTo>
                  <a:lnTo>
                    <a:pt x="1366" y="967"/>
                  </a:lnTo>
                  <a:lnTo>
                    <a:pt x="1366" y="968"/>
                  </a:lnTo>
                  <a:lnTo>
                    <a:pt x="1365" y="970"/>
                  </a:lnTo>
                  <a:lnTo>
                    <a:pt x="1366" y="971"/>
                  </a:lnTo>
                  <a:lnTo>
                    <a:pt x="1366" y="975"/>
                  </a:lnTo>
                  <a:lnTo>
                    <a:pt x="1366" y="976"/>
                  </a:lnTo>
                  <a:lnTo>
                    <a:pt x="1365" y="976"/>
                  </a:lnTo>
                  <a:lnTo>
                    <a:pt x="1363" y="976"/>
                  </a:lnTo>
                  <a:lnTo>
                    <a:pt x="1363" y="978"/>
                  </a:lnTo>
                  <a:lnTo>
                    <a:pt x="1362" y="978"/>
                  </a:lnTo>
                  <a:lnTo>
                    <a:pt x="1362" y="980"/>
                  </a:lnTo>
                  <a:lnTo>
                    <a:pt x="1360" y="980"/>
                  </a:lnTo>
                  <a:lnTo>
                    <a:pt x="1360" y="981"/>
                  </a:lnTo>
                  <a:lnTo>
                    <a:pt x="1360" y="983"/>
                  </a:lnTo>
                  <a:lnTo>
                    <a:pt x="1360" y="984"/>
                  </a:lnTo>
                  <a:lnTo>
                    <a:pt x="1360" y="986"/>
                  </a:lnTo>
                  <a:lnTo>
                    <a:pt x="1360" y="988"/>
                  </a:lnTo>
                  <a:lnTo>
                    <a:pt x="1360" y="989"/>
                  </a:lnTo>
                  <a:lnTo>
                    <a:pt x="1360" y="991"/>
                  </a:lnTo>
                  <a:lnTo>
                    <a:pt x="1360" y="993"/>
                  </a:lnTo>
                  <a:lnTo>
                    <a:pt x="1358" y="994"/>
                  </a:lnTo>
                  <a:lnTo>
                    <a:pt x="1358" y="996"/>
                  </a:lnTo>
                  <a:lnTo>
                    <a:pt x="1357" y="996"/>
                  </a:lnTo>
                  <a:lnTo>
                    <a:pt x="1357" y="997"/>
                  </a:lnTo>
                  <a:lnTo>
                    <a:pt x="1355" y="997"/>
                  </a:lnTo>
                  <a:lnTo>
                    <a:pt x="1353" y="997"/>
                  </a:lnTo>
                  <a:lnTo>
                    <a:pt x="1353" y="996"/>
                  </a:lnTo>
                  <a:lnTo>
                    <a:pt x="1352" y="996"/>
                  </a:lnTo>
                  <a:lnTo>
                    <a:pt x="1352" y="994"/>
                  </a:lnTo>
                  <a:lnTo>
                    <a:pt x="1350" y="994"/>
                  </a:lnTo>
                  <a:lnTo>
                    <a:pt x="1349" y="994"/>
                  </a:lnTo>
                  <a:lnTo>
                    <a:pt x="1347" y="994"/>
                  </a:lnTo>
                  <a:lnTo>
                    <a:pt x="1347" y="996"/>
                  </a:lnTo>
                  <a:lnTo>
                    <a:pt x="1345" y="994"/>
                  </a:lnTo>
                  <a:lnTo>
                    <a:pt x="1344" y="994"/>
                  </a:lnTo>
                  <a:lnTo>
                    <a:pt x="1344" y="996"/>
                  </a:lnTo>
                  <a:lnTo>
                    <a:pt x="1342" y="996"/>
                  </a:lnTo>
                  <a:lnTo>
                    <a:pt x="1340" y="997"/>
                  </a:lnTo>
                  <a:lnTo>
                    <a:pt x="1339" y="997"/>
                  </a:lnTo>
                  <a:lnTo>
                    <a:pt x="1339" y="999"/>
                  </a:lnTo>
                  <a:lnTo>
                    <a:pt x="1340" y="999"/>
                  </a:lnTo>
                  <a:lnTo>
                    <a:pt x="1339" y="999"/>
                  </a:lnTo>
                  <a:lnTo>
                    <a:pt x="1339" y="1001"/>
                  </a:lnTo>
                  <a:lnTo>
                    <a:pt x="1339" y="999"/>
                  </a:lnTo>
                  <a:lnTo>
                    <a:pt x="1339" y="1001"/>
                  </a:lnTo>
                  <a:lnTo>
                    <a:pt x="1337" y="1001"/>
                  </a:lnTo>
                  <a:lnTo>
                    <a:pt x="1336" y="1001"/>
                  </a:lnTo>
                  <a:lnTo>
                    <a:pt x="1334" y="1002"/>
                  </a:lnTo>
                  <a:lnTo>
                    <a:pt x="1332" y="1002"/>
                  </a:lnTo>
                  <a:lnTo>
                    <a:pt x="1329" y="1002"/>
                  </a:lnTo>
                  <a:lnTo>
                    <a:pt x="1329" y="1004"/>
                  </a:lnTo>
                  <a:lnTo>
                    <a:pt x="1327" y="1004"/>
                  </a:lnTo>
                  <a:lnTo>
                    <a:pt x="1326" y="1006"/>
                  </a:lnTo>
                  <a:lnTo>
                    <a:pt x="1324" y="1006"/>
                  </a:lnTo>
                  <a:lnTo>
                    <a:pt x="1324" y="1007"/>
                  </a:lnTo>
                  <a:lnTo>
                    <a:pt x="1323" y="1007"/>
                  </a:lnTo>
                  <a:lnTo>
                    <a:pt x="1321" y="1009"/>
                  </a:lnTo>
                  <a:lnTo>
                    <a:pt x="1319" y="1009"/>
                  </a:lnTo>
                  <a:lnTo>
                    <a:pt x="1319" y="1010"/>
                  </a:lnTo>
                  <a:lnTo>
                    <a:pt x="1318" y="1012"/>
                  </a:lnTo>
                  <a:lnTo>
                    <a:pt x="1316" y="1012"/>
                  </a:lnTo>
                  <a:lnTo>
                    <a:pt x="1314" y="1015"/>
                  </a:lnTo>
                  <a:lnTo>
                    <a:pt x="1313" y="1015"/>
                  </a:lnTo>
                  <a:lnTo>
                    <a:pt x="1313" y="1017"/>
                  </a:lnTo>
                  <a:lnTo>
                    <a:pt x="1311" y="1019"/>
                  </a:lnTo>
                  <a:lnTo>
                    <a:pt x="1310" y="1020"/>
                  </a:lnTo>
                  <a:lnTo>
                    <a:pt x="1308" y="1020"/>
                  </a:lnTo>
                  <a:lnTo>
                    <a:pt x="1308" y="1022"/>
                  </a:lnTo>
                  <a:lnTo>
                    <a:pt x="1306" y="1023"/>
                  </a:lnTo>
                  <a:lnTo>
                    <a:pt x="1305" y="1023"/>
                  </a:lnTo>
                  <a:lnTo>
                    <a:pt x="1305" y="1025"/>
                  </a:lnTo>
                  <a:lnTo>
                    <a:pt x="1303" y="1025"/>
                  </a:lnTo>
                  <a:lnTo>
                    <a:pt x="1303" y="1027"/>
                  </a:lnTo>
                  <a:lnTo>
                    <a:pt x="1301" y="1030"/>
                  </a:lnTo>
                  <a:lnTo>
                    <a:pt x="1300" y="1030"/>
                  </a:lnTo>
                  <a:lnTo>
                    <a:pt x="1300" y="1033"/>
                  </a:lnTo>
                  <a:lnTo>
                    <a:pt x="1298" y="1036"/>
                  </a:lnTo>
                  <a:lnTo>
                    <a:pt x="1298" y="1038"/>
                  </a:lnTo>
                  <a:lnTo>
                    <a:pt x="1298" y="1040"/>
                  </a:lnTo>
                  <a:lnTo>
                    <a:pt x="1298" y="1041"/>
                  </a:lnTo>
                  <a:lnTo>
                    <a:pt x="1298" y="1043"/>
                  </a:lnTo>
                  <a:lnTo>
                    <a:pt x="1298" y="1045"/>
                  </a:lnTo>
                  <a:lnTo>
                    <a:pt x="1297" y="1046"/>
                  </a:lnTo>
                  <a:lnTo>
                    <a:pt x="1298" y="1046"/>
                  </a:lnTo>
                  <a:lnTo>
                    <a:pt x="1297" y="1046"/>
                  </a:lnTo>
                  <a:lnTo>
                    <a:pt x="1298" y="1048"/>
                  </a:lnTo>
                  <a:lnTo>
                    <a:pt x="1298" y="1049"/>
                  </a:lnTo>
                  <a:lnTo>
                    <a:pt x="1297" y="1049"/>
                  </a:lnTo>
                  <a:lnTo>
                    <a:pt x="1297" y="1051"/>
                  </a:lnTo>
                  <a:lnTo>
                    <a:pt x="1297" y="1053"/>
                  </a:lnTo>
                  <a:lnTo>
                    <a:pt x="1297" y="1056"/>
                  </a:lnTo>
                  <a:lnTo>
                    <a:pt x="1295" y="1056"/>
                  </a:lnTo>
                  <a:lnTo>
                    <a:pt x="1293" y="1056"/>
                  </a:lnTo>
                  <a:lnTo>
                    <a:pt x="1292" y="1058"/>
                  </a:lnTo>
                  <a:lnTo>
                    <a:pt x="1292" y="1059"/>
                  </a:lnTo>
                  <a:lnTo>
                    <a:pt x="1292" y="1061"/>
                  </a:lnTo>
                  <a:lnTo>
                    <a:pt x="1290" y="1062"/>
                  </a:lnTo>
                  <a:lnTo>
                    <a:pt x="1290" y="1064"/>
                  </a:lnTo>
                  <a:lnTo>
                    <a:pt x="1288" y="1066"/>
                  </a:lnTo>
                  <a:lnTo>
                    <a:pt x="1287" y="1066"/>
                  </a:lnTo>
                  <a:lnTo>
                    <a:pt x="1285" y="1067"/>
                  </a:lnTo>
                  <a:lnTo>
                    <a:pt x="1284" y="1067"/>
                  </a:lnTo>
                  <a:lnTo>
                    <a:pt x="1284" y="1069"/>
                  </a:lnTo>
                  <a:lnTo>
                    <a:pt x="1282" y="1069"/>
                  </a:lnTo>
                  <a:lnTo>
                    <a:pt x="1282" y="1071"/>
                  </a:lnTo>
                  <a:lnTo>
                    <a:pt x="1282" y="1072"/>
                  </a:lnTo>
                  <a:lnTo>
                    <a:pt x="1282" y="1074"/>
                  </a:lnTo>
                  <a:lnTo>
                    <a:pt x="1282" y="1076"/>
                  </a:lnTo>
                  <a:lnTo>
                    <a:pt x="1282" y="1077"/>
                  </a:lnTo>
                  <a:lnTo>
                    <a:pt x="1282" y="1079"/>
                  </a:lnTo>
                  <a:lnTo>
                    <a:pt x="1280" y="1080"/>
                  </a:lnTo>
                  <a:lnTo>
                    <a:pt x="1279" y="1080"/>
                  </a:lnTo>
                  <a:lnTo>
                    <a:pt x="1277" y="1082"/>
                  </a:lnTo>
                  <a:lnTo>
                    <a:pt x="1275" y="1082"/>
                  </a:lnTo>
                  <a:lnTo>
                    <a:pt x="1275" y="1084"/>
                  </a:lnTo>
                  <a:lnTo>
                    <a:pt x="1274" y="1084"/>
                  </a:lnTo>
                  <a:lnTo>
                    <a:pt x="1274" y="1085"/>
                  </a:lnTo>
                  <a:lnTo>
                    <a:pt x="1272" y="1085"/>
                  </a:lnTo>
                  <a:lnTo>
                    <a:pt x="1270" y="1087"/>
                  </a:lnTo>
                  <a:lnTo>
                    <a:pt x="1269" y="1087"/>
                  </a:lnTo>
                  <a:lnTo>
                    <a:pt x="1269" y="1089"/>
                  </a:lnTo>
                  <a:lnTo>
                    <a:pt x="1267" y="1090"/>
                  </a:lnTo>
                  <a:lnTo>
                    <a:pt x="1266" y="1090"/>
                  </a:lnTo>
                  <a:lnTo>
                    <a:pt x="1264" y="1090"/>
                  </a:lnTo>
                  <a:lnTo>
                    <a:pt x="1262" y="1090"/>
                  </a:lnTo>
                  <a:lnTo>
                    <a:pt x="1261" y="1090"/>
                  </a:lnTo>
                  <a:lnTo>
                    <a:pt x="1259" y="1090"/>
                  </a:lnTo>
                  <a:lnTo>
                    <a:pt x="1257" y="1092"/>
                  </a:lnTo>
                  <a:lnTo>
                    <a:pt x="1256" y="1090"/>
                  </a:lnTo>
                  <a:lnTo>
                    <a:pt x="1256" y="1092"/>
                  </a:lnTo>
                  <a:lnTo>
                    <a:pt x="1254" y="1092"/>
                  </a:lnTo>
                  <a:lnTo>
                    <a:pt x="1254" y="1093"/>
                  </a:lnTo>
                  <a:lnTo>
                    <a:pt x="1253" y="1093"/>
                  </a:lnTo>
                  <a:lnTo>
                    <a:pt x="1251" y="1093"/>
                  </a:lnTo>
                  <a:lnTo>
                    <a:pt x="1251" y="1095"/>
                  </a:lnTo>
                  <a:lnTo>
                    <a:pt x="1249" y="1097"/>
                  </a:lnTo>
                  <a:lnTo>
                    <a:pt x="1248" y="1097"/>
                  </a:lnTo>
                  <a:lnTo>
                    <a:pt x="1246" y="1097"/>
                  </a:lnTo>
                  <a:lnTo>
                    <a:pt x="1244" y="1098"/>
                  </a:lnTo>
                  <a:lnTo>
                    <a:pt x="1244" y="1097"/>
                  </a:lnTo>
                  <a:lnTo>
                    <a:pt x="1243" y="1095"/>
                  </a:lnTo>
                  <a:lnTo>
                    <a:pt x="1241" y="1095"/>
                  </a:lnTo>
                  <a:lnTo>
                    <a:pt x="1241" y="1093"/>
                  </a:lnTo>
                  <a:lnTo>
                    <a:pt x="1240" y="1095"/>
                  </a:lnTo>
                  <a:lnTo>
                    <a:pt x="1238" y="1095"/>
                  </a:lnTo>
                  <a:lnTo>
                    <a:pt x="1236" y="1095"/>
                  </a:lnTo>
                  <a:lnTo>
                    <a:pt x="1235" y="1095"/>
                  </a:lnTo>
                  <a:lnTo>
                    <a:pt x="1235" y="1093"/>
                  </a:lnTo>
                  <a:lnTo>
                    <a:pt x="1233" y="1093"/>
                  </a:lnTo>
                  <a:lnTo>
                    <a:pt x="1233" y="1092"/>
                  </a:lnTo>
                  <a:lnTo>
                    <a:pt x="1233" y="1090"/>
                  </a:lnTo>
                  <a:lnTo>
                    <a:pt x="1231" y="1090"/>
                  </a:lnTo>
                  <a:lnTo>
                    <a:pt x="1231" y="1089"/>
                  </a:lnTo>
                  <a:lnTo>
                    <a:pt x="1230" y="1089"/>
                  </a:lnTo>
                  <a:lnTo>
                    <a:pt x="1230" y="1087"/>
                  </a:lnTo>
                  <a:lnTo>
                    <a:pt x="1227" y="1087"/>
                  </a:lnTo>
                  <a:lnTo>
                    <a:pt x="1227" y="1089"/>
                  </a:lnTo>
                  <a:lnTo>
                    <a:pt x="1225" y="1089"/>
                  </a:lnTo>
                  <a:lnTo>
                    <a:pt x="1223" y="1090"/>
                  </a:lnTo>
                  <a:lnTo>
                    <a:pt x="1222" y="1090"/>
                  </a:lnTo>
                  <a:lnTo>
                    <a:pt x="1220" y="1089"/>
                  </a:lnTo>
                  <a:lnTo>
                    <a:pt x="1218" y="1089"/>
                  </a:lnTo>
                  <a:lnTo>
                    <a:pt x="1217" y="1089"/>
                  </a:lnTo>
                  <a:lnTo>
                    <a:pt x="1217" y="1090"/>
                  </a:lnTo>
                  <a:lnTo>
                    <a:pt x="1215" y="1090"/>
                  </a:lnTo>
                  <a:lnTo>
                    <a:pt x="1215" y="1089"/>
                  </a:lnTo>
                  <a:lnTo>
                    <a:pt x="1214" y="1089"/>
                  </a:lnTo>
                  <a:lnTo>
                    <a:pt x="1214" y="1087"/>
                  </a:lnTo>
                  <a:lnTo>
                    <a:pt x="1214" y="1089"/>
                  </a:lnTo>
                  <a:lnTo>
                    <a:pt x="1212" y="1087"/>
                  </a:lnTo>
                  <a:lnTo>
                    <a:pt x="1210" y="1087"/>
                  </a:lnTo>
                  <a:lnTo>
                    <a:pt x="1209" y="1085"/>
                  </a:lnTo>
                  <a:lnTo>
                    <a:pt x="1209" y="1087"/>
                  </a:lnTo>
                  <a:lnTo>
                    <a:pt x="1209" y="1085"/>
                  </a:lnTo>
                  <a:lnTo>
                    <a:pt x="1207" y="1085"/>
                  </a:lnTo>
                  <a:lnTo>
                    <a:pt x="1205" y="1085"/>
                  </a:lnTo>
                  <a:lnTo>
                    <a:pt x="1205" y="1084"/>
                  </a:lnTo>
                  <a:lnTo>
                    <a:pt x="1204" y="1084"/>
                  </a:lnTo>
                  <a:lnTo>
                    <a:pt x="1202" y="1082"/>
                  </a:lnTo>
                  <a:lnTo>
                    <a:pt x="1204" y="1082"/>
                  </a:lnTo>
                  <a:lnTo>
                    <a:pt x="1204" y="1080"/>
                  </a:lnTo>
                  <a:lnTo>
                    <a:pt x="1204" y="1082"/>
                  </a:lnTo>
                  <a:lnTo>
                    <a:pt x="1205" y="1084"/>
                  </a:lnTo>
                  <a:lnTo>
                    <a:pt x="1205" y="1082"/>
                  </a:lnTo>
                  <a:lnTo>
                    <a:pt x="1205" y="1084"/>
                  </a:lnTo>
                  <a:lnTo>
                    <a:pt x="1205" y="1082"/>
                  </a:lnTo>
                  <a:lnTo>
                    <a:pt x="1205" y="1080"/>
                  </a:lnTo>
                  <a:lnTo>
                    <a:pt x="1207" y="1080"/>
                  </a:lnTo>
                  <a:lnTo>
                    <a:pt x="1207" y="1082"/>
                  </a:lnTo>
                  <a:lnTo>
                    <a:pt x="1209" y="1082"/>
                  </a:lnTo>
                  <a:lnTo>
                    <a:pt x="1207" y="1082"/>
                  </a:lnTo>
                  <a:lnTo>
                    <a:pt x="1207" y="1080"/>
                  </a:lnTo>
                  <a:lnTo>
                    <a:pt x="1207" y="1079"/>
                  </a:lnTo>
                  <a:lnTo>
                    <a:pt x="1205" y="1079"/>
                  </a:lnTo>
                  <a:lnTo>
                    <a:pt x="1207" y="1079"/>
                  </a:lnTo>
                  <a:lnTo>
                    <a:pt x="1207" y="1077"/>
                  </a:lnTo>
                  <a:lnTo>
                    <a:pt x="1207" y="1079"/>
                  </a:lnTo>
                  <a:lnTo>
                    <a:pt x="1209" y="1079"/>
                  </a:lnTo>
                  <a:lnTo>
                    <a:pt x="1209" y="1077"/>
                  </a:lnTo>
                  <a:lnTo>
                    <a:pt x="1207" y="1077"/>
                  </a:lnTo>
                  <a:lnTo>
                    <a:pt x="1209" y="1076"/>
                  </a:lnTo>
                  <a:lnTo>
                    <a:pt x="1210" y="1076"/>
                  </a:lnTo>
                  <a:lnTo>
                    <a:pt x="1210" y="1077"/>
                  </a:lnTo>
                  <a:lnTo>
                    <a:pt x="1210" y="1076"/>
                  </a:lnTo>
                  <a:lnTo>
                    <a:pt x="1212" y="1076"/>
                  </a:lnTo>
                  <a:lnTo>
                    <a:pt x="1212" y="1074"/>
                  </a:lnTo>
                  <a:lnTo>
                    <a:pt x="1214" y="1074"/>
                  </a:lnTo>
                  <a:lnTo>
                    <a:pt x="1214" y="1072"/>
                  </a:lnTo>
                  <a:lnTo>
                    <a:pt x="1214" y="1074"/>
                  </a:lnTo>
                  <a:lnTo>
                    <a:pt x="1215" y="1074"/>
                  </a:lnTo>
                  <a:lnTo>
                    <a:pt x="1215" y="1072"/>
                  </a:lnTo>
                  <a:lnTo>
                    <a:pt x="1215" y="1074"/>
                  </a:lnTo>
                  <a:lnTo>
                    <a:pt x="1217" y="1074"/>
                  </a:lnTo>
                  <a:lnTo>
                    <a:pt x="1215" y="1076"/>
                  </a:lnTo>
                  <a:lnTo>
                    <a:pt x="1217" y="1074"/>
                  </a:lnTo>
                  <a:lnTo>
                    <a:pt x="1215" y="1074"/>
                  </a:lnTo>
                  <a:lnTo>
                    <a:pt x="1215" y="1072"/>
                  </a:lnTo>
                  <a:lnTo>
                    <a:pt x="1217" y="1072"/>
                  </a:lnTo>
                  <a:lnTo>
                    <a:pt x="1218" y="1072"/>
                  </a:lnTo>
                  <a:lnTo>
                    <a:pt x="1220" y="1072"/>
                  </a:lnTo>
                  <a:lnTo>
                    <a:pt x="1222" y="1072"/>
                  </a:lnTo>
                  <a:lnTo>
                    <a:pt x="1222" y="1071"/>
                  </a:lnTo>
                  <a:lnTo>
                    <a:pt x="1220" y="1071"/>
                  </a:lnTo>
                  <a:lnTo>
                    <a:pt x="1218" y="1071"/>
                  </a:lnTo>
                  <a:lnTo>
                    <a:pt x="1217" y="1071"/>
                  </a:lnTo>
                  <a:lnTo>
                    <a:pt x="1217" y="1072"/>
                  </a:lnTo>
                  <a:lnTo>
                    <a:pt x="1215" y="1072"/>
                  </a:lnTo>
                  <a:lnTo>
                    <a:pt x="1215" y="1071"/>
                  </a:lnTo>
                  <a:lnTo>
                    <a:pt x="1214" y="1071"/>
                  </a:lnTo>
                  <a:lnTo>
                    <a:pt x="1214" y="1072"/>
                  </a:lnTo>
                  <a:lnTo>
                    <a:pt x="1214" y="1071"/>
                  </a:lnTo>
                  <a:lnTo>
                    <a:pt x="1215" y="1069"/>
                  </a:lnTo>
                  <a:lnTo>
                    <a:pt x="1215" y="1067"/>
                  </a:lnTo>
                  <a:lnTo>
                    <a:pt x="1215" y="1064"/>
                  </a:lnTo>
                  <a:lnTo>
                    <a:pt x="1214" y="1061"/>
                  </a:lnTo>
                  <a:lnTo>
                    <a:pt x="1214" y="1059"/>
                  </a:lnTo>
                  <a:lnTo>
                    <a:pt x="1212" y="1058"/>
                  </a:lnTo>
                  <a:lnTo>
                    <a:pt x="1212" y="1056"/>
                  </a:lnTo>
                  <a:lnTo>
                    <a:pt x="1210" y="1051"/>
                  </a:lnTo>
                  <a:lnTo>
                    <a:pt x="1209" y="1048"/>
                  </a:lnTo>
                  <a:lnTo>
                    <a:pt x="1209" y="1046"/>
                  </a:lnTo>
                  <a:lnTo>
                    <a:pt x="1209" y="1045"/>
                  </a:lnTo>
                  <a:lnTo>
                    <a:pt x="1209" y="1043"/>
                  </a:lnTo>
                  <a:lnTo>
                    <a:pt x="1209" y="1041"/>
                  </a:lnTo>
                  <a:lnTo>
                    <a:pt x="1210" y="1041"/>
                  </a:lnTo>
                  <a:lnTo>
                    <a:pt x="1210" y="1040"/>
                  </a:lnTo>
                  <a:lnTo>
                    <a:pt x="1212" y="1040"/>
                  </a:lnTo>
                  <a:lnTo>
                    <a:pt x="1212" y="1038"/>
                  </a:lnTo>
                  <a:lnTo>
                    <a:pt x="1212" y="1036"/>
                  </a:lnTo>
                  <a:lnTo>
                    <a:pt x="1212" y="1035"/>
                  </a:lnTo>
                  <a:lnTo>
                    <a:pt x="1212" y="1032"/>
                  </a:lnTo>
                  <a:lnTo>
                    <a:pt x="1210" y="1030"/>
                  </a:lnTo>
                  <a:lnTo>
                    <a:pt x="1210" y="1028"/>
                  </a:lnTo>
                  <a:lnTo>
                    <a:pt x="1209" y="1025"/>
                  </a:lnTo>
                  <a:lnTo>
                    <a:pt x="1207" y="1022"/>
                  </a:lnTo>
                  <a:lnTo>
                    <a:pt x="1207" y="1020"/>
                  </a:lnTo>
                  <a:lnTo>
                    <a:pt x="1205" y="1017"/>
                  </a:lnTo>
                  <a:lnTo>
                    <a:pt x="1204" y="1014"/>
                  </a:lnTo>
                  <a:lnTo>
                    <a:pt x="1202" y="1012"/>
                  </a:lnTo>
                  <a:lnTo>
                    <a:pt x="1201" y="1009"/>
                  </a:lnTo>
                  <a:lnTo>
                    <a:pt x="1199" y="1009"/>
                  </a:lnTo>
                  <a:lnTo>
                    <a:pt x="1199" y="1007"/>
                  </a:lnTo>
                  <a:lnTo>
                    <a:pt x="1196" y="1006"/>
                  </a:lnTo>
                  <a:lnTo>
                    <a:pt x="1192" y="1002"/>
                  </a:lnTo>
                  <a:lnTo>
                    <a:pt x="1191" y="1001"/>
                  </a:lnTo>
                  <a:lnTo>
                    <a:pt x="1188" y="999"/>
                  </a:lnTo>
                  <a:lnTo>
                    <a:pt x="1186" y="999"/>
                  </a:lnTo>
                  <a:lnTo>
                    <a:pt x="1184" y="999"/>
                  </a:lnTo>
                  <a:lnTo>
                    <a:pt x="1181" y="997"/>
                  </a:lnTo>
                  <a:lnTo>
                    <a:pt x="1179" y="997"/>
                  </a:lnTo>
                  <a:lnTo>
                    <a:pt x="1178" y="997"/>
                  </a:lnTo>
                  <a:lnTo>
                    <a:pt x="1176" y="997"/>
                  </a:lnTo>
                  <a:lnTo>
                    <a:pt x="1176" y="999"/>
                  </a:lnTo>
                  <a:lnTo>
                    <a:pt x="1175" y="1001"/>
                  </a:lnTo>
                  <a:lnTo>
                    <a:pt x="1175" y="1002"/>
                  </a:lnTo>
                  <a:lnTo>
                    <a:pt x="1173" y="1002"/>
                  </a:lnTo>
                  <a:lnTo>
                    <a:pt x="1171" y="1002"/>
                  </a:lnTo>
                  <a:lnTo>
                    <a:pt x="1170" y="1002"/>
                  </a:lnTo>
                  <a:lnTo>
                    <a:pt x="1170" y="1004"/>
                  </a:lnTo>
                  <a:lnTo>
                    <a:pt x="1170" y="1006"/>
                  </a:lnTo>
                  <a:lnTo>
                    <a:pt x="1170" y="1007"/>
                  </a:lnTo>
                  <a:lnTo>
                    <a:pt x="1168" y="1007"/>
                  </a:lnTo>
                  <a:lnTo>
                    <a:pt x="1168" y="1009"/>
                  </a:lnTo>
                  <a:lnTo>
                    <a:pt x="1166" y="1009"/>
                  </a:lnTo>
                  <a:lnTo>
                    <a:pt x="1166" y="1007"/>
                  </a:lnTo>
                  <a:lnTo>
                    <a:pt x="1165" y="1007"/>
                  </a:lnTo>
                  <a:lnTo>
                    <a:pt x="1163" y="1006"/>
                  </a:lnTo>
                  <a:lnTo>
                    <a:pt x="1160" y="1006"/>
                  </a:lnTo>
                  <a:lnTo>
                    <a:pt x="1158" y="1006"/>
                  </a:lnTo>
                  <a:lnTo>
                    <a:pt x="1157" y="1004"/>
                  </a:lnTo>
                  <a:lnTo>
                    <a:pt x="1157" y="1006"/>
                  </a:lnTo>
                  <a:lnTo>
                    <a:pt x="1157" y="1004"/>
                  </a:lnTo>
                  <a:lnTo>
                    <a:pt x="1155" y="1004"/>
                  </a:lnTo>
                  <a:lnTo>
                    <a:pt x="1153" y="1004"/>
                  </a:lnTo>
                  <a:lnTo>
                    <a:pt x="1152" y="1002"/>
                  </a:lnTo>
                  <a:lnTo>
                    <a:pt x="1149" y="1001"/>
                  </a:lnTo>
                  <a:lnTo>
                    <a:pt x="1147" y="999"/>
                  </a:lnTo>
                  <a:lnTo>
                    <a:pt x="1145" y="997"/>
                  </a:lnTo>
                  <a:lnTo>
                    <a:pt x="1144" y="997"/>
                  </a:lnTo>
                  <a:lnTo>
                    <a:pt x="1142" y="996"/>
                  </a:lnTo>
                  <a:lnTo>
                    <a:pt x="1140" y="996"/>
                  </a:lnTo>
                  <a:lnTo>
                    <a:pt x="1140" y="994"/>
                  </a:lnTo>
                  <a:lnTo>
                    <a:pt x="1139" y="996"/>
                  </a:lnTo>
                  <a:lnTo>
                    <a:pt x="1139" y="994"/>
                  </a:lnTo>
                  <a:lnTo>
                    <a:pt x="1136" y="993"/>
                  </a:lnTo>
                  <a:lnTo>
                    <a:pt x="1134" y="993"/>
                  </a:lnTo>
                  <a:lnTo>
                    <a:pt x="1137" y="994"/>
                  </a:lnTo>
                  <a:lnTo>
                    <a:pt x="1137" y="993"/>
                  </a:lnTo>
                  <a:lnTo>
                    <a:pt x="1137" y="991"/>
                  </a:lnTo>
                  <a:lnTo>
                    <a:pt x="1139" y="991"/>
                  </a:lnTo>
                  <a:lnTo>
                    <a:pt x="1139" y="989"/>
                  </a:lnTo>
                  <a:lnTo>
                    <a:pt x="1137" y="989"/>
                  </a:lnTo>
                  <a:lnTo>
                    <a:pt x="1139" y="988"/>
                  </a:lnTo>
                  <a:lnTo>
                    <a:pt x="1140" y="988"/>
                  </a:lnTo>
                  <a:lnTo>
                    <a:pt x="1140" y="986"/>
                  </a:lnTo>
                  <a:lnTo>
                    <a:pt x="1139" y="986"/>
                  </a:lnTo>
                  <a:lnTo>
                    <a:pt x="1139" y="988"/>
                  </a:lnTo>
                  <a:lnTo>
                    <a:pt x="1139" y="986"/>
                  </a:lnTo>
                  <a:lnTo>
                    <a:pt x="1139" y="984"/>
                  </a:lnTo>
                  <a:lnTo>
                    <a:pt x="1139" y="983"/>
                  </a:lnTo>
                  <a:lnTo>
                    <a:pt x="1140" y="983"/>
                  </a:lnTo>
                  <a:lnTo>
                    <a:pt x="1142" y="983"/>
                  </a:lnTo>
                  <a:lnTo>
                    <a:pt x="1142" y="981"/>
                  </a:lnTo>
                  <a:lnTo>
                    <a:pt x="1142" y="980"/>
                  </a:lnTo>
                  <a:lnTo>
                    <a:pt x="1142" y="981"/>
                  </a:lnTo>
                  <a:lnTo>
                    <a:pt x="1144" y="980"/>
                  </a:lnTo>
                  <a:lnTo>
                    <a:pt x="1142" y="980"/>
                  </a:lnTo>
                  <a:lnTo>
                    <a:pt x="1144" y="980"/>
                  </a:lnTo>
                  <a:lnTo>
                    <a:pt x="1145" y="980"/>
                  </a:lnTo>
                  <a:lnTo>
                    <a:pt x="1145" y="978"/>
                  </a:lnTo>
                  <a:lnTo>
                    <a:pt x="1144" y="980"/>
                  </a:lnTo>
                  <a:lnTo>
                    <a:pt x="1144" y="978"/>
                  </a:lnTo>
                  <a:lnTo>
                    <a:pt x="1144" y="980"/>
                  </a:lnTo>
                  <a:lnTo>
                    <a:pt x="1144" y="978"/>
                  </a:lnTo>
                  <a:lnTo>
                    <a:pt x="1145" y="976"/>
                  </a:lnTo>
                  <a:lnTo>
                    <a:pt x="1145" y="975"/>
                  </a:lnTo>
                  <a:lnTo>
                    <a:pt x="1147" y="971"/>
                  </a:lnTo>
                  <a:lnTo>
                    <a:pt x="1147" y="973"/>
                  </a:lnTo>
                  <a:lnTo>
                    <a:pt x="1147" y="971"/>
                  </a:lnTo>
                  <a:lnTo>
                    <a:pt x="1149" y="971"/>
                  </a:lnTo>
                  <a:lnTo>
                    <a:pt x="1149" y="970"/>
                  </a:lnTo>
                  <a:lnTo>
                    <a:pt x="1149" y="968"/>
                  </a:lnTo>
                  <a:lnTo>
                    <a:pt x="1147" y="968"/>
                  </a:lnTo>
                  <a:lnTo>
                    <a:pt x="1147" y="970"/>
                  </a:lnTo>
                  <a:lnTo>
                    <a:pt x="1147" y="971"/>
                  </a:lnTo>
                  <a:lnTo>
                    <a:pt x="1145" y="971"/>
                  </a:lnTo>
                  <a:lnTo>
                    <a:pt x="1145" y="973"/>
                  </a:lnTo>
                  <a:lnTo>
                    <a:pt x="1145" y="975"/>
                  </a:lnTo>
                  <a:lnTo>
                    <a:pt x="1144" y="975"/>
                  </a:lnTo>
                  <a:lnTo>
                    <a:pt x="1144" y="976"/>
                  </a:lnTo>
                  <a:lnTo>
                    <a:pt x="1142" y="978"/>
                  </a:lnTo>
                  <a:lnTo>
                    <a:pt x="1142" y="980"/>
                  </a:lnTo>
                  <a:lnTo>
                    <a:pt x="1140" y="980"/>
                  </a:lnTo>
                  <a:lnTo>
                    <a:pt x="1142" y="981"/>
                  </a:lnTo>
                  <a:lnTo>
                    <a:pt x="1140" y="981"/>
                  </a:lnTo>
                  <a:lnTo>
                    <a:pt x="1140" y="980"/>
                  </a:lnTo>
                  <a:lnTo>
                    <a:pt x="1140" y="981"/>
                  </a:lnTo>
                  <a:lnTo>
                    <a:pt x="1139" y="980"/>
                  </a:lnTo>
                  <a:lnTo>
                    <a:pt x="1139" y="981"/>
                  </a:lnTo>
                  <a:lnTo>
                    <a:pt x="1137" y="981"/>
                  </a:lnTo>
                  <a:lnTo>
                    <a:pt x="1137" y="983"/>
                  </a:lnTo>
                  <a:lnTo>
                    <a:pt x="1137" y="984"/>
                  </a:lnTo>
                  <a:lnTo>
                    <a:pt x="1136" y="984"/>
                  </a:lnTo>
                  <a:lnTo>
                    <a:pt x="1134" y="984"/>
                  </a:lnTo>
                  <a:lnTo>
                    <a:pt x="1136" y="986"/>
                  </a:lnTo>
                  <a:lnTo>
                    <a:pt x="1134" y="986"/>
                  </a:lnTo>
                  <a:lnTo>
                    <a:pt x="1134" y="988"/>
                  </a:lnTo>
                  <a:lnTo>
                    <a:pt x="1132" y="988"/>
                  </a:lnTo>
                  <a:lnTo>
                    <a:pt x="1132" y="989"/>
                  </a:lnTo>
                  <a:lnTo>
                    <a:pt x="1132" y="988"/>
                  </a:lnTo>
                  <a:lnTo>
                    <a:pt x="1131" y="988"/>
                  </a:lnTo>
                  <a:lnTo>
                    <a:pt x="1131" y="989"/>
                  </a:lnTo>
                  <a:lnTo>
                    <a:pt x="1129" y="989"/>
                  </a:lnTo>
                  <a:lnTo>
                    <a:pt x="1127" y="989"/>
                  </a:lnTo>
                  <a:lnTo>
                    <a:pt x="1126" y="989"/>
                  </a:lnTo>
                  <a:lnTo>
                    <a:pt x="1127" y="989"/>
                  </a:lnTo>
                  <a:lnTo>
                    <a:pt x="1131" y="991"/>
                  </a:lnTo>
                  <a:lnTo>
                    <a:pt x="1132" y="991"/>
                  </a:lnTo>
                  <a:lnTo>
                    <a:pt x="1134" y="991"/>
                  </a:lnTo>
                  <a:lnTo>
                    <a:pt x="1132" y="993"/>
                  </a:lnTo>
                  <a:lnTo>
                    <a:pt x="1132" y="991"/>
                  </a:lnTo>
                  <a:lnTo>
                    <a:pt x="1129" y="991"/>
                  </a:lnTo>
                  <a:lnTo>
                    <a:pt x="1127" y="989"/>
                  </a:lnTo>
                  <a:lnTo>
                    <a:pt x="1126" y="989"/>
                  </a:lnTo>
                  <a:lnTo>
                    <a:pt x="1124" y="989"/>
                  </a:lnTo>
                  <a:lnTo>
                    <a:pt x="1122" y="989"/>
                  </a:lnTo>
                  <a:lnTo>
                    <a:pt x="1121" y="991"/>
                  </a:lnTo>
                  <a:lnTo>
                    <a:pt x="1119" y="991"/>
                  </a:lnTo>
                  <a:lnTo>
                    <a:pt x="1118" y="991"/>
                  </a:lnTo>
                  <a:lnTo>
                    <a:pt x="1116" y="991"/>
                  </a:lnTo>
                  <a:lnTo>
                    <a:pt x="1113" y="993"/>
                  </a:lnTo>
                  <a:lnTo>
                    <a:pt x="1111" y="993"/>
                  </a:lnTo>
                  <a:lnTo>
                    <a:pt x="1109" y="994"/>
                  </a:lnTo>
                  <a:lnTo>
                    <a:pt x="1108" y="996"/>
                  </a:lnTo>
                  <a:lnTo>
                    <a:pt x="1106" y="997"/>
                  </a:lnTo>
                  <a:lnTo>
                    <a:pt x="1106" y="999"/>
                  </a:lnTo>
                  <a:lnTo>
                    <a:pt x="1105" y="999"/>
                  </a:lnTo>
                  <a:lnTo>
                    <a:pt x="1105" y="1001"/>
                  </a:lnTo>
                  <a:lnTo>
                    <a:pt x="1103" y="1001"/>
                  </a:lnTo>
                  <a:lnTo>
                    <a:pt x="1105" y="1002"/>
                  </a:lnTo>
                  <a:lnTo>
                    <a:pt x="1103" y="1002"/>
                  </a:lnTo>
                  <a:lnTo>
                    <a:pt x="1101" y="1004"/>
                  </a:lnTo>
                  <a:lnTo>
                    <a:pt x="1100" y="1004"/>
                  </a:lnTo>
                  <a:lnTo>
                    <a:pt x="1098" y="1004"/>
                  </a:lnTo>
                  <a:lnTo>
                    <a:pt x="1096" y="1004"/>
                  </a:lnTo>
                  <a:lnTo>
                    <a:pt x="1095" y="1004"/>
                  </a:lnTo>
                  <a:lnTo>
                    <a:pt x="1093" y="1004"/>
                  </a:lnTo>
                  <a:lnTo>
                    <a:pt x="1092" y="1004"/>
                  </a:lnTo>
                  <a:lnTo>
                    <a:pt x="1090" y="1004"/>
                  </a:lnTo>
                  <a:lnTo>
                    <a:pt x="1088" y="1004"/>
                  </a:lnTo>
                  <a:lnTo>
                    <a:pt x="1087" y="1004"/>
                  </a:lnTo>
                  <a:lnTo>
                    <a:pt x="1085" y="1004"/>
                  </a:lnTo>
                  <a:lnTo>
                    <a:pt x="1087" y="1002"/>
                  </a:lnTo>
                  <a:lnTo>
                    <a:pt x="1087" y="1001"/>
                  </a:lnTo>
                  <a:lnTo>
                    <a:pt x="1087" y="999"/>
                  </a:lnTo>
                  <a:lnTo>
                    <a:pt x="1085" y="999"/>
                  </a:lnTo>
                  <a:lnTo>
                    <a:pt x="1083" y="999"/>
                  </a:lnTo>
                  <a:lnTo>
                    <a:pt x="1082" y="999"/>
                  </a:lnTo>
                  <a:lnTo>
                    <a:pt x="1082" y="997"/>
                  </a:lnTo>
                  <a:lnTo>
                    <a:pt x="1082" y="996"/>
                  </a:lnTo>
                  <a:lnTo>
                    <a:pt x="1083" y="994"/>
                  </a:lnTo>
                  <a:lnTo>
                    <a:pt x="1085" y="991"/>
                  </a:lnTo>
                  <a:lnTo>
                    <a:pt x="1085" y="989"/>
                  </a:lnTo>
                  <a:lnTo>
                    <a:pt x="1085" y="988"/>
                  </a:lnTo>
                  <a:lnTo>
                    <a:pt x="1087" y="986"/>
                  </a:lnTo>
                  <a:lnTo>
                    <a:pt x="1087" y="984"/>
                  </a:lnTo>
                  <a:lnTo>
                    <a:pt x="1088" y="984"/>
                  </a:lnTo>
                  <a:lnTo>
                    <a:pt x="1088" y="983"/>
                  </a:lnTo>
                  <a:lnTo>
                    <a:pt x="1090" y="983"/>
                  </a:lnTo>
                  <a:lnTo>
                    <a:pt x="1092" y="981"/>
                  </a:lnTo>
                  <a:lnTo>
                    <a:pt x="1092" y="980"/>
                  </a:lnTo>
                  <a:lnTo>
                    <a:pt x="1093" y="978"/>
                  </a:lnTo>
                  <a:lnTo>
                    <a:pt x="1095" y="976"/>
                  </a:lnTo>
                  <a:lnTo>
                    <a:pt x="1096" y="975"/>
                  </a:lnTo>
                  <a:lnTo>
                    <a:pt x="1098" y="975"/>
                  </a:lnTo>
                  <a:lnTo>
                    <a:pt x="1098" y="976"/>
                  </a:lnTo>
                  <a:lnTo>
                    <a:pt x="1098" y="975"/>
                  </a:lnTo>
                  <a:lnTo>
                    <a:pt x="1100" y="975"/>
                  </a:lnTo>
                  <a:lnTo>
                    <a:pt x="1100" y="973"/>
                  </a:lnTo>
                  <a:lnTo>
                    <a:pt x="1098" y="973"/>
                  </a:lnTo>
                  <a:lnTo>
                    <a:pt x="1100" y="973"/>
                  </a:lnTo>
                  <a:lnTo>
                    <a:pt x="1098" y="973"/>
                  </a:lnTo>
                  <a:lnTo>
                    <a:pt x="1100" y="971"/>
                  </a:lnTo>
                  <a:lnTo>
                    <a:pt x="1101" y="970"/>
                  </a:lnTo>
                  <a:lnTo>
                    <a:pt x="1101" y="968"/>
                  </a:lnTo>
                  <a:lnTo>
                    <a:pt x="1103" y="968"/>
                  </a:lnTo>
                  <a:lnTo>
                    <a:pt x="1103" y="967"/>
                  </a:lnTo>
                  <a:lnTo>
                    <a:pt x="1105" y="967"/>
                  </a:lnTo>
                  <a:lnTo>
                    <a:pt x="1105" y="965"/>
                  </a:lnTo>
                  <a:lnTo>
                    <a:pt x="1106" y="965"/>
                  </a:lnTo>
                  <a:lnTo>
                    <a:pt x="1106" y="967"/>
                  </a:lnTo>
                  <a:lnTo>
                    <a:pt x="1106" y="968"/>
                  </a:lnTo>
                  <a:lnTo>
                    <a:pt x="1105" y="968"/>
                  </a:lnTo>
                  <a:lnTo>
                    <a:pt x="1105" y="970"/>
                  </a:lnTo>
                  <a:lnTo>
                    <a:pt x="1103" y="970"/>
                  </a:lnTo>
                  <a:lnTo>
                    <a:pt x="1103" y="971"/>
                  </a:lnTo>
                  <a:lnTo>
                    <a:pt x="1105" y="970"/>
                  </a:lnTo>
                  <a:lnTo>
                    <a:pt x="1106" y="970"/>
                  </a:lnTo>
                  <a:lnTo>
                    <a:pt x="1108" y="968"/>
                  </a:lnTo>
                  <a:lnTo>
                    <a:pt x="1108" y="967"/>
                  </a:lnTo>
                  <a:lnTo>
                    <a:pt x="1106" y="967"/>
                  </a:lnTo>
                  <a:lnTo>
                    <a:pt x="1108" y="965"/>
                  </a:lnTo>
                  <a:lnTo>
                    <a:pt x="1108" y="967"/>
                  </a:lnTo>
                  <a:lnTo>
                    <a:pt x="1109" y="967"/>
                  </a:lnTo>
                  <a:lnTo>
                    <a:pt x="1109" y="965"/>
                  </a:lnTo>
                  <a:lnTo>
                    <a:pt x="1108" y="965"/>
                  </a:lnTo>
                  <a:lnTo>
                    <a:pt x="1109" y="965"/>
                  </a:lnTo>
                  <a:lnTo>
                    <a:pt x="1109" y="963"/>
                  </a:lnTo>
                  <a:lnTo>
                    <a:pt x="1109" y="962"/>
                  </a:lnTo>
                  <a:lnTo>
                    <a:pt x="1108" y="962"/>
                  </a:lnTo>
                  <a:lnTo>
                    <a:pt x="1106" y="962"/>
                  </a:lnTo>
                  <a:lnTo>
                    <a:pt x="1106" y="960"/>
                  </a:lnTo>
                  <a:lnTo>
                    <a:pt x="1109" y="957"/>
                  </a:lnTo>
                  <a:lnTo>
                    <a:pt x="1111" y="954"/>
                  </a:lnTo>
                  <a:lnTo>
                    <a:pt x="1113" y="952"/>
                  </a:lnTo>
                  <a:lnTo>
                    <a:pt x="1114" y="950"/>
                  </a:lnTo>
                  <a:lnTo>
                    <a:pt x="1114" y="949"/>
                  </a:lnTo>
                  <a:lnTo>
                    <a:pt x="1116" y="949"/>
                  </a:lnTo>
                  <a:lnTo>
                    <a:pt x="1116" y="947"/>
                  </a:lnTo>
                  <a:lnTo>
                    <a:pt x="1118" y="947"/>
                  </a:lnTo>
                  <a:lnTo>
                    <a:pt x="1118" y="945"/>
                  </a:lnTo>
                  <a:lnTo>
                    <a:pt x="1118" y="944"/>
                  </a:lnTo>
                  <a:lnTo>
                    <a:pt x="1119" y="944"/>
                  </a:lnTo>
                  <a:lnTo>
                    <a:pt x="1121" y="944"/>
                  </a:lnTo>
                  <a:lnTo>
                    <a:pt x="1121" y="942"/>
                  </a:lnTo>
                  <a:lnTo>
                    <a:pt x="1122" y="941"/>
                  </a:lnTo>
                  <a:lnTo>
                    <a:pt x="1124" y="941"/>
                  </a:lnTo>
                  <a:lnTo>
                    <a:pt x="1124" y="939"/>
                  </a:lnTo>
                  <a:lnTo>
                    <a:pt x="1126" y="937"/>
                  </a:lnTo>
                  <a:lnTo>
                    <a:pt x="1127" y="936"/>
                  </a:lnTo>
                  <a:lnTo>
                    <a:pt x="1129" y="936"/>
                  </a:lnTo>
                  <a:lnTo>
                    <a:pt x="1131" y="934"/>
                  </a:lnTo>
                  <a:lnTo>
                    <a:pt x="1132" y="932"/>
                  </a:lnTo>
                  <a:lnTo>
                    <a:pt x="1132" y="931"/>
                  </a:lnTo>
                  <a:lnTo>
                    <a:pt x="1132" y="929"/>
                  </a:lnTo>
                  <a:lnTo>
                    <a:pt x="1132" y="926"/>
                  </a:lnTo>
                  <a:lnTo>
                    <a:pt x="1131" y="923"/>
                  </a:lnTo>
                  <a:lnTo>
                    <a:pt x="1132" y="924"/>
                  </a:lnTo>
                  <a:lnTo>
                    <a:pt x="1134" y="924"/>
                  </a:lnTo>
                  <a:lnTo>
                    <a:pt x="1136" y="926"/>
                  </a:lnTo>
                  <a:lnTo>
                    <a:pt x="1137" y="926"/>
                  </a:lnTo>
                  <a:lnTo>
                    <a:pt x="1139" y="926"/>
                  </a:lnTo>
                  <a:lnTo>
                    <a:pt x="1140" y="926"/>
                  </a:lnTo>
                  <a:lnTo>
                    <a:pt x="1142" y="924"/>
                  </a:lnTo>
                  <a:lnTo>
                    <a:pt x="1144" y="923"/>
                  </a:lnTo>
                  <a:lnTo>
                    <a:pt x="1145" y="923"/>
                  </a:lnTo>
                  <a:lnTo>
                    <a:pt x="1147" y="921"/>
                  </a:lnTo>
                  <a:lnTo>
                    <a:pt x="1150" y="918"/>
                  </a:lnTo>
                  <a:lnTo>
                    <a:pt x="1150" y="916"/>
                  </a:lnTo>
                  <a:lnTo>
                    <a:pt x="1150" y="914"/>
                  </a:lnTo>
                  <a:lnTo>
                    <a:pt x="1152" y="914"/>
                  </a:lnTo>
                  <a:lnTo>
                    <a:pt x="1152" y="913"/>
                  </a:lnTo>
                  <a:lnTo>
                    <a:pt x="1152" y="911"/>
                  </a:lnTo>
                  <a:lnTo>
                    <a:pt x="1153" y="911"/>
                  </a:lnTo>
                  <a:lnTo>
                    <a:pt x="1153" y="910"/>
                  </a:lnTo>
                  <a:lnTo>
                    <a:pt x="1153" y="908"/>
                  </a:lnTo>
                  <a:lnTo>
                    <a:pt x="1155" y="906"/>
                  </a:lnTo>
                  <a:lnTo>
                    <a:pt x="1158" y="905"/>
                  </a:lnTo>
                  <a:lnTo>
                    <a:pt x="1160" y="903"/>
                  </a:lnTo>
                  <a:lnTo>
                    <a:pt x="1160" y="905"/>
                  </a:lnTo>
                  <a:lnTo>
                    <a:pt x="1162" y="905"/>
                  </a:lnTo>
                  <a:lnTo>
                    <a:pt x="1163" y="903"/>
                  </a:lnTo>
                  <a:lnTo>
                    <a:pt x="1163" y="905"/>
                  </a:lnTo>
                  <a:lnTo>
                    <a:pt x="1165" y="905"/>
                  </a:lnTo>
                  <a:lnTo>
                    <a:pt x="1165" y="903"/>
                  </a:lnTo>
                  <a:lnTo>
                    <a:pt x="1165" y="901"/>
                  </a:lnTo>
                  <a:lnTo>
                    <a:pt x="1165" y="900"/>
                  </a:lnTo>
                  <a:lnTo>
                    <a:pt x="1166" y="900"/>
                  </a:lnTo>
                  <a:lnTo>
                    <a:pt x="1166" y="898"/>
                  </a:lnTo>
                  <a:lnTo>
                    <a:pt x="1166" y="900"/>
                  </a:lnTo>
                  <a:lnTo>
                    <a:pt x="1166" y="898"/>
                  </a:lnTo>
                  <a:lnTo>
                    <a:pt x="1168" y="897"/>
                  </a:lnTo>
                  <a:lnTo>
                    <a:pt x="1170" y="895"/>
                  </a:lnTo>
                  <a:lnTo>
                    <a:pt x="1171" y="895"/>
                  </a:lnTo>
                  <a:lnTo>
                    <a:pt x="1173" y="897"/>
                  </a:lnTo>
                  <a:lnTo>
                    <a:pt x="1175" y="897"/>
                  </a:lnTo>
                  <a:lnTo>
                    <a:pt x="1176" y="898"/>
                  </a:lnTo>
                  <a:lnTo>
                    <a:pt x="1178" y="898"/>
                  </a:lnTo>
                  <a:lnTo>
                    <a:pt x="1178" y="900"/>
                  </a:lnTo>
                  <a:lnTo>
                    <a:pt x="1178" y="898"/>
                  </a:lnTo>
                  <a:lnTo>
                    <a:pt x="1178" y="897"/>
                  </a:lnTo>
                  <a:lnTo>
                    <a:pt x="1176" y="897"/>
                  </a:lnTo>
                  <a:lnTo>
                    <a:pt x="1176" y="895"/>
                  </a:lnTo>
                  <a:lnTo>
                    <a:pt x="1175" y="892"/>
                  </a:lnTo>
                  <a:lnTo>
                    <a:pt x="1175" y="890"/>
                  </a:lnTo>
                  <a:lnTo>
                    <a:pt x="1176" y="890"/>
                  </a:lnTo>
                  <a:lnTo>
                    <a:pt x="1175" y="890"/>
                  </a:lnTo>
                  <a:lnTo>
                    <a:pt x="1176" y="890"/>
                  </a:lnTo>
                  <a:lnTo>
                    <a:pt x="1176" y="888"/>
                  </a:lnTo>
                  <a:lnTo>
                    <a:pt x="1178" y="887"/>
                  </a:lnTo>
                  <a:lnTo>
                    <a:pt x="1178" y="885"/>
                  </a:lnTo>
                  <a:lnTo>
                    <a:pt x="1179" y="885"/>
                  </a:lnTo>
                  <a:lnTo>
                    <a:pt x="1181" y="885"/>
                  </a:lnTo>
                  <a:lnTo>
                    <a:pt x="1181" y="884"/>
                  </a:lnTo>
                  <a:lnTo>
                    <a:pt x="1179" y="882"/>
                  </a:lnTo>
                  <a:lnTo>
                    <a:pt x="1178" y="882"/>
                  </a:lnTo>
                  <a:lnTo>
                    <a:pt x="1178" y="884"/>
                  </a:lnTo>
                  <a:lnTo>
                    <a:pt x="1173" y="884"/>
                  </a:lnTo>
                  <a:lnTo>
                    <a:pt x="1171" y="884"/>
                  </a:lnTo>
                  <a:lnTo>
                    <a:pt x="1170" y="885"/>
                  </a:lnTo>
                  <a:lnTo>
                    <a:pt x="1170" y="887"/>
                  </a:lnTo>
                  <a:lnTo>
                    <a:pt x="1168" y="887"/>
                  </a:lnTo>
                  <a:lnTo>
                    <a:pt x="1166" y="887"/>
                  </a:lnTo>
                  <a:lnTo>
                    <a:pt x="1168" y="885"/>
                  </a:lnTo>
                  <a:lnTo>
                    <a:pt x="1168" y="884"/>
                  </a:lnTo>
                  <a:lnTo>
                    <a:pt x="1166" y="882"/>
                  </a:lnTo>
                  <a:lnTo>
                    <a:pt x="1165" y="880"/>
                  </a:lnTo>
                  <a:lnTo>
                    <a:pt x="1163" y="875"/>
                  </a:lnTo>
                  <a:lnTo>
                    <a:pt x="1163" y="874"/>
                  </a:lnTo>
                  <a:lnTo>
                    <a:pt x="1162" y="874"/>
                  </a:lnTo>
                  <a:lnTo>
                    <a:pt x="1162" y="872"/>
                  </a:lnTo>
                  <a:lnTo>
                    <a:pt x="1163" y="869"/>
                  </a:lnTo>
                  <a:lnTo>
                    <a:pt x="1163" y="867"/>
                  </a:lnTo>
                  <a:lnTo>
                    <a:pt x="1162" y="866"/>
                  </a:lnTo>
                  <a:lnTo>
                    <a:pt x="1160" y="864"/>
                  </a:lnTo>
                  <a:lnTo>
                    <a:pt x="1160" y="862"/>
                  </a:lnTo>
                  <a:lnTo>
                    <a:pt x="1158" y="862"/>
                  </a:lnTo>
                  <a:lnTo>
                    <a:pt x="1158" y="861"/>
                  </a:lnTo>
                  <a:lnTo>
                    <a:pt x="1157" y="859"/>
                  </a:lnTo>
                  <a:lnTo>
                    <a:pt x="1155" y="859"/>
                  </a:lnTo>
                  <a:lnTo>
                    <a:pt x="1153" y="859"/>
                  </a:lnTo>
                  <a:lnTo>
                    <a:pt x="1153" y="861"/>
                  </a:lnTo>
                  <a:lnTo>
                    <a:pt x="1153" y="862"/>
                  </a:lnTo>
                  <a:lnTo>
                    <a:pt x="1155" y="861"/>
                  </a:lnTo>
                  <a:lnTo>
                    <a:pt x="1153" y="862"/>
                  </a:lnTo>
                  <a:lnTo>
                    <a:pt x="1152" y="862"/>
                  </a:lnTo>
                  <a:lnTo>
                    <a:pt x="1152" y="864"/>
                  </a:lnTo>
                  <a:lnTo>
                    <a:pt x="1152" y="866"/>
                  </a:lnTo>
                  <a:lnTo>
                    <a:pt x="1150" y="867"/>
                  </a:lnTo>
                  <a:lnTo>
                    <a:pt x="1150" y="866"/>
                  </a:lnTo>
                  <a:lnTo>
                    <a:pt x="1150" y="867"/>
                  </a:lnTo>
                  <a:lnTo>
                    <a:pt x="1150" y="869"/>
                  </a:lnTo>
                  <a:lnTo>
                    <a:pt x="1153" y="871"/>
                  </a:lnTo>
                  <a:lnTo>
                    <a:pt x="1155" y="871"/>
                  </a:lnTo>
                  <a:lnTo>
                    <a:pt x="1157" y="871"/>
                  </a:lnTo>
                  <a:lnTo>
                    <a:pt x="1155" y="872"/>
                  </a:lnTo>
                  <a:lnTo>
                    <a:pt x="1152" y="872"/>
                  </a:lnTo>
                  <a:lnTo>
                    <a:pt x="1150" y="872"/>
                  </a:lnTo>
                  <a:lnTo>
                    <a:pt x="1150" y="874"/>
                  </a:lnTo>
                  <a:lnTo>
                    <a:pt x="1150" y="875"/>
                  </a:lnTo>
                  <a:lnTo>
                    <a:pt x="1150" y="877"/>
                  </a:lnTo>
                  <a:lnTo>
                    <a:pt x="1152" y="877"/>
                  </a:lnTo>
                  <a:lnTo>
                    <a:pt x="1153" y="879"/>
                  </a:lnTo>
                  <a:lnTo>
                    <a:pt x="1152" y="879"/>
                  </a:lnTo>
                  <a:lnTo>
                    <a:pt x="1150" y="879"/>
                  </a:lnTo>
                  <a:lnTo>
                    <a:pt x="1149" y="879"/>
                  </a:lnTo>
                  <a:lnTo>
                    <a:pt x="1149" y="877"/>
                  </a:lnTo>
                  <a:lnTo>
                    <a:pt x="1149" y="879"/>
                  </a:lnTo>
                  <a:lnTo>
                    <a:pt x="1147" y="879"/>
                  </a:lnTo>
                  <a:lnTo>
                    <a:pt x="1147" y="880"/>
                  </a:lnTo>
                  <a:lnTo>
                    <a:pt x="1145" y="880"/>
                  </a:lnTo>
                  <a:lnTo>
                    <a:pt x="1145" y="882"/>
                  </a:lnTo>
                  <a:lnTo>
                    <a:pt x="1145" y="880"/>
                  </a:lnTo>
                  <a:lnTo>
                    <a:pt x="1145" y="882"/>
                  </a:lnTo>
                  <a:lnTo>
                    <a:pt x="1144" y="882"/>
                  </a:lnTo>
                  <a:lnTo>
                    <a:pt x="1144" y="880"/>
                  </a:lnTo>
                  <a:lnTo>
                    <a:pt x="1142" y="880"/>
                  </a:lnTo>
                  <a:lnTo>
                    <a:pt x="1142" y="879"/>
                  </a:lnTo>
                  <a:lnTo>
                    <a:pt x="1140" y="879"/>
                  </a:lnTo>
                  <a:lnTo>
                    <a:pt x="1139" y="877"/>
                  </a:lnTo>
                  <a:lnTo>
                    <a:pt x="1137" y="877"/>
                  </a:lnTo>
                  <a:lnTo>
                    <a:pt x="1137" y="875"/>
                  </a:lnTo>
                  <a:lnTo>
                    <a:pt x="1136" y="875"/>
                  </a:lnTo>
                  <a:lnTo>
                    <a:pt x="1134" y="875"/>
                  </a:lnTo>
                  <a:lnTo>
                    <a:pt x="1134" y="874"/>
                  </a:lnTo>
                  <a:lnTo>
                    <a:pt x="1132" y="872"/>
                  </a:lnTo>
                  <a:lnTo>
                    <a:pt x="1132" y="874"/>
                  </a:lnTo>
                  <a:lnTo>
                    <a:pt x="1132" y="875"/>
                  </a:lnTo>
                  <a:lnTo>
                    <a:pt x="1132" y="877"/>
                  </a:lnTo>
                  <a:lnTo>
                    <a:pt x="1132" y="879"/>
                  </a:lnTo>
                  <a:lnTo>
                    <a:pt x="1131" y="879"/>
                  </a:lnTo>
                  <a:lnTo>
                    <a:pt x="1131" y="880"/>
                  </a:lnTo>
                  <a:lnTo>
                    <a:pt x="1131" y="879"/>
                  </a:lnTo>
                  <a:lnTo>
                    <a:pt x="1129" y="879"/>
                  </a:lnTo>
                  <a:lnTo>
                    <a:pt x="1129" y="877"/>
                  </a:lnTo>
                  <a:lnTo>
                    <a:pt x="1131" y="877"/>
                  </a:lnTo>
                  <a:lnTo>
                    <a:pt x="1132" y="875"/>
                  </a:lnTo>
                  <a:lnTo>
                    <a:pt x="1131" y="874"/>
                  </a:lnTo>
                  <a:lnTo>
                    <a:pt x="1131" y="872"/>
                  </a:lnTo>
                  <a:lnTo>
                    <a:pt x="1129" y="872"/>
                  </a:lnTo>
                  <a:lnTo>
                    <a:pt x="1127" y="872"/>
                  </a:lnTo>
                  <a:lnTo>
                    <a:pt x="1126" y="872"/>
                  </a:lnTo>
                  <a:lnTo>
                    <a:pt x="1124" y="872"/>
                  </a:lnTo>
                  <a:lnTo>
                    <a:pt x="1121" y="874"/>
                  </a:lnTo>
                  <a:lnTo>
                    <a:pt x="1121" y="875"/>
                  </a:lnTo>
                  <a:lnTo>
                    <a:pt x="1122" y="877"/>
                  </a:lnTo>
                  <a:lnTo>
                    <a:pt x="1121" y="877"/>
                  </a:lnTo>
                  <a:lnTo>
                    <a:pt x="1121" y="875"/>
                  </a:lnTo>
                  <a:lnTo>
                    <a:pt x="1121" y="874"/>
                  </a:lnTo>
                  <a:lnTo>
                    <a:pt x="1119" y="874"/>
                  </a:lnTo>
                  <a:lnTo>
                    <a:pt x="1119" y="872"/>
                  </a:lnTo>
                  <a:lnTo>
                    <a:pt x="1121" y="872"/>
                  </a:lnTo>
                  <a:lnTo>
                    <a:pt x="1121" y="871"/>
                  </a:lnTo>
                  <a:lnTo>
                    <a:pt x="1121" y="869"/>
                  </a:lnTo>
                  <a:lnTo>
                    <a:pt x="1119" y="869"/>
                  </a:lnTo>
                  <a:lnTo>
                    <a:pt x="1118" y="869"/>
                  </a:lnTo>
                  <a:lnTo>
                    <a:pt x="1119" y="867"/>
                  </a:lnTo>
                  <a:lnTo>
                    <a:pt x="1118" y="867"/>
                  </a:lnTo>
                  <a:lnTo>
                    <a:pt x="1118" y="866"/>
                  </a:lnTo>
                  <a:lnTo>
                    <a:pt x="1118" y="864"/>
                  </a:lnTo>
                  <a:lnTo>
                    <a:pt x="1119" y="864"/>
                  </a:lnTo>
                  <a:lnTo>
                    <a:pt x="1118" y="862"/>
                  </a:lnTo>
                  <a:lnTo>
                    <a:pt x="1118" y="864"/>
                  </a:lnTo>
                  <a:lnTo>
                    <a:pt x="1118" y="866"/>
                  </a:lnTo>
                  <a:lnTo>
                    <a:pt x="1118" y="867"/>
                  </a:lnTo>
                  <a:lnTo>
                    <a:pt x="1116" y="866"/>
                  </a:lnTo>
                  <a:lnTo>
                    <a:pt x="1116" y="867"/>
                  </a:lnTo>
                  <a:lnTo>
                    <a:pt x="1118" y="867"/>
                  </a:lnTo>
                  <a:lnTo>
                    <a:pt x="1118" y="869"/>
                  </a:lnTo>
                  <a:lnTo>
                    <a:pt x="1118" y="871"/>
                  </a:lnTo>
                  <a:lnTo>
                    <a:pt x="1118" y="872"/>
                  </a:lnTo>
                  <a:lnTo>
                    <a:pt x="1116" y="872"/>
                  </a:lnTo>
                  <a:lnTo>
                    <a:pt x="1116" y="874"/>
                  </a:lnTo>
                  <a:lnTo>
                    <a:pt x="1114" y="875"/>
                  </a:lnTo>
                  <a:lnTo>
                    <a:pt x="1114" y="877"/>
                  </a:lnTo>
                  <a:lnTo>
                    <a:pt x="1113" y="877"/>
                  </a:lnTo>
                  <a:lnTo>
                    <a:pt x="1111" y="877"/>
                  </a:lnTo>
                  <a:lnTo>
                    <a:pt x="1109" y="877"/>
                  </a:lnTo>
                  <a:lnTo>
                    <a:pt x="1108" y="877"/>
                  </a:lnTo>
                  <a:lnTo>
                    <a:pt x="1106" y="875"/>
                  </a:lnTo>
                  <a:lnTo>
                    <a:pt x="1105" y="875"/>
                  </a:lnTo>
                  <a:lnTo>
                    <a:pt x="1103" y="875"/>
                  </a:lnTo>
                  <a:lnTo>
                    <a:pt x="1103" y="877"/>
                  </a:lnTo>
                  <a:lnTo>
                    <a:pt x="1101" y="877"/>
                  </a:lnTo>
                  <a:lnTo>
                    <a:pt x="1103" y="879"/>
                  </a:lnTo>
                  <a:lnTo>
                    <a:pt x="1103" y="880"/>
                  </a:lnTo>
                  <a:lnTo>
                    <a:pt x="1103" y="882"/>
                  </a:lnTo>
                  <a:lnTo>
                    <a:pt x="1105" y="882"/>
                  </a:lnTo>
                  <a:lnTo>
                    <a:pt x="1103" y="884"/>
                  </a:lnTo>
                  <a:lnTo>
                    <a:pt x="1100" y="884"/>
                  </a:lnTo>
                  <a:lnTo>
                    <a:pt x="1098" y="885"/>
                  </a:lnTo>
                  <a:lnTo>
                    <a:pt x="1096" y="885"/>
                  </a:lnTo>
                  <a:lnTo>
                    <a:pt x="1095" y="887"/>
                  </a:lnTo>
                  <a:lnTo>
                    <a:pt x="1093" y="887"/>
                  </a:lnTo>
                  <a:lnTo>
                    <a:pt x="1092" y="887"/>
                  </a:lnTo>
                  <a:lnTo>
                    <a:pt x="1090" y="887"/>
                  </a:lnTo>
                  <a:lnTo>
                    <a:pt x="1088" y="887"/>
                  </a:lnTo>
                  <a:lnTo>
                    <a:pt x="1087" y="888"/>
                  </a:lnTo>
                  <a:lnTo>
                    <a:pt x="1085" y="888"/>
                  </a:lnTo>
                  <a:lnTo>
                    <a:pt x="1083" y="888"/>
                  </a:lnTo>
                  <a:lnTo>
                    <a:pt x="1082" y="888"/>
                  </a:lnTo>
                  <a:lnTo>
                    <a:pt x="1082" y="890"/>
                  </a:lnTo>
                  <a:lnTo>
                    <a:pt x="1082" y="888"/>
                  </a:lnTo>
                  <a:lnTo>
                    <a:pt x="1082" y="890"/>
                  </a:lnTo>
                  <a:lnTo>
                    <a:pt x="1080" y="888"/>
                  </a:lnTo>
                  <a:lnTo>
                    <a:pt x="1077" y="890"/>
                  </a:lnTo>
                  <a:lnTo>
                    <a:pt x="1077" y="892"/>
                  </a:lnTo>
                  <a:lnTo>
                    <a:pt x="1074" y="893"/>
                  </a:lnTo>
                  <a:lnTo>
                    <a:pt x="1072" y="893"/>
                  </a:lnTo>
                  <a:lnTo>
                    <a:pt x="1072" y="895"/>
                  </a:lnTo>
                  <a:lnTo>
                    <a:pt x="1070" y="895"/>
                  </a:lnTo>
                  <a:lnTo>
                    <a:pt x="1069" y="895"/>
                  </a:lnTo>
                  <a:lnTo>
                    <a:pt x="1067" y="897"/>
                  </a:lnTo>
                  <a:lnTo>
                    <a:pt x="1066" y="897"/>
                  </a:lnTo>
                  <a:lnTo>
                    <a:pt x="1064" y="897"/>
                  </a:lnTo>
                  <a:lnTo>
                    <a:pt x="1064" y="898"/>
                  </a:lnTo>
                  <a:lnTo>
                    <a:pt x="1062" y="898"/>
                  </a:lnTo>
                  <a:lnTo>
                    <a:pt x="1062" y="900"/>
                  </a:lnTo>
                  <a:lnTo>
                    <a:pt x="1061" y="901"/>
                  </a:lnTo>
                  <a:lnTo>
                    <a:pt x="1059" y="903"/>
                  </a:lnTo>
                  <a:lnTo>
                    <a:pt x="1061" y="903"/>
                  </a:lnTo>
                  <a:lnTo>
                    <a:pt x="1059" y="903"/>
                  </a:lnTo>
                  <a:lnTo>
                    <a:pt x="1057" y="903"/>
                  </a:lnTo>
                  <a:lnTo>
                    <a:pt x="1051" y="905"/>
                  </a:lnTo>
                  <a:lnTo>
                    <a:pt x="1046" y="905"/>
                  </a:lnTo>
                  <a:lnTo>
                    <a:pt x="1040" y="905"/>
                  </a:lnTo>
                  <a:lnTo>
                    <a:pt x="1038" y="905"/>
                  </a:lnTo>
                  <a:lnTo>
                    <a:pt x="1036" y="905"/>
                  </a:lnTo>
                  <a:lnTo>
                    <a:pt x="1035" y="905"/>
                  </a:lnTo>
                  <a:lnTo>
                    <a:pt x="1033" y="905"/>
                  </a:lnTo>
                  <a:lnTo>
                    <a:pt x="1030" y="903"/>
                  </a:lnTo>
                  <a:lnTo>
                    <a:pt x="1027" y="905"/>
                  </a:lnTo>
                  <a:lnTo>
                    <a:pt x="1022" y="903"/>
                  </a:lnTo>
                  <a:lnTo>
                    <a:pt x="1015" y="903"/>
                  </a:lnTo>
                  <a:lnTo>
                    <a:pt x="1014" y="903"/>
                  </a:lnTo>
                  <a:lnTo>
                    <a:pt x="1010" y="903"/>
                  </a:lnTo>
                  <a:lnTo>
                    <a:pt x="1009" y="903"/>
                  </a:lnTo>
                  <a:lnTo>
                    <a:pt x="1010" y="903"/>
                  </a:lnTo>
                  <a:lnTo>
                    <a:pt x="1012" y="903"/>
                  </a:lnTo>
                  <a:lnTo>
                    <a:pt x="1014" y="903"/>
                  </a:lnTo>
                  <a:lnTo>
                    <a:pt x="1015" y="903"/>
                  </a:lnTo>
                  <a:lnTo>
                    <a:pt x="1017" y="903"/>
                  </a:lnTo>
                  <a:lnTo>
                    <a:pt x="1020" y="903"/>
                  </a:lnTo>
                  <a:lnTo>
                    <a:pt x="1022" y="903"/>
                  </a:lnTo>
                  <a:lnTo>
                    <a:pt x="1023" y="903"/>
                  </a:lnTo>
                  <a:lnTo>
                    <a:pt x="1025" y="903"/>
                  </a:lnTo>
                  <a:lnTo>
                    <a:pt x="1028" y="903"/>
                  </a:lnTo>
                  <a:lnTo>
                    <a:pt x="1028" y="901"/>
                  </a:lnTo>
                  <a:lnTo>
                    <a:pt x="1028" y="900"/>
                  </a:lnTo>
                  <a:lnTo>
                    <a:pt x="1027" y="900"/>
                  </a:lnTo>
                  <a:lnTo>
                    <a:pt x="1027" y="898"/>
                  </a:lnTo>
                  <a:lnTo>
                    <a:pt x="1028" y="898"/>
                  </a:lnTo>
                  <a:lnTo>
                    <a:pt x="1027" y="897"/>
                  </a:lnTo>
                  <a:lnTo>
                    <a:pt x="1025" y="897"/>
                  </a:lnTo>
                  <a:lnTo>
                    <a:pt x="1023" y="897"/>
                  </a:lnTo>
                  <a:lnTo>
                    <a:pt x="1023" y="898"/>
                  </a:lnTo>
                  <a:lnTo>
                    <a:pt x="1022" y="898"/>
                  </a:lnTo>
                  <a:lnTo>
                    <a:pt x="1020" y="897"/>
                  </a:lnTo>
                  <a:lnTo>
                    <a:pt x="1018" y="897"/>
                  </a:lnTo>
                  <a:lnTo>
                    <a:pt x="1017" y="897"/>
                  </a:lnTo>
                  <a:lnTo>
                    <a:pt x="1015" y="897"/>
                  </a:lnTo>
                  <a:lnTo>
                    <a:pt x="1014" y="897"/>
                  </a:lnTo>
                  <a:lnTo>
                    <a:pt x="1012" y="895"/>
                  </a:lnTo>
                  <a:lnTo>
                    <a:pt x="1010" y="895"/>
                  </a:lnTo>
                  <a:lnTo>
                    <a:pt x="1010" y="893"/>
                  </a:lnTo>
                  <a:lnTo>
                    <a:pt x="1009" y="892"/>
                  </a:lnTo>
                  <a:lnTo>
                    <a:pt x="1009" y="893"/>
                  </a:lnTo>
                  <a:lnTo>
                    <a:pt x="1007" y="892"/>
                  </a:lnTo>
                  <a:lnTo>
                    <a:pt x="1005" y="892"/>
                  </a:lnTo>
                  <a:lnTo>
                    <a:pt x="1005" y="893"/>
                  </a:lnTo>
                  <a:lnTo>
                    <a:pt x="1004" y="893"/>
                  </a:lnTo>
                  <a:lnTo>
                    <a:pt x="1004" y="892"/>
                  </a:lnTo>
                  <a:lnTo>
                    <a:pt x="1002" y="893"/>
                  </a:lnTo>
                  <a:lnTo>
                    <a:pt x="1004" y="893"/>
                  </a:lnTo>
                  <a:lnTo>
                    <a:pt x="1002" y="893"/>
                  </a:lnTo>
                  <a:lnTo>
                    <a:pt x="1001" y="893"/>
                  </a:lnTo>
                  <a:lnTo>
                    <a:pt x="1002" y="893"/>
                  </a:lnTo>
                  <a:lnTo>
                    <a:pt x="1002" y="892"/>
                  </a:lnTo>
                  <a:lnTo>
                    <a:pt x="1001" y="892"/>
                  </a:lnTo>
                  <a:lnTo>
                    <a:pt x="1001" y="893"/>
                  </a:lnTo>
                  <a:lnTo>
                    <a:pt x="999" y="893"/>
                  </a:lnTo>
                  <a:lnTo>
                    <a:pt x="997" y="893"/>
                  </a:lnTo>
                  <a:lnTo>
                    <a:pt x="997" y="892"/>
                  </a:lnTo>
                  <a:lnTo>
                    <a:pt x="997" y="893"/>
                  </a:lnTo>
                  <a:lnTo>
                    <a:pt x="996" y="893"/>
                  </a:lnTo>
                  <a:lnTo>
                    <a:pt x="996" y="892"/>
                  </a:lnTo>
                  <a:lnTo>
                    <a:pt x="997" y="892"/>
                  </a:lnTo>
                  <a:lnTo>
                    <a:pt x="996" y="892"/>
                  </a:lnTo>
                  <a:lnTo>
                    <a:pt x="996" y="890"/>
                  </a:lnTo>
                  <a:lnTo>
                    <a:pt x="994" y="890"/>
                  </a:lnTo>
                  <a:lnTo>
                    <a:pt x="992" y="890"/>
                  </a:lnTo>
                  <a:lnTo>
                    <a:pt x="994" y="890"/>
                  </a:lnTo>
                  <a:lnTo>
                    <a:pt x="992" y="890"/>
                  </a:lnTo>
                  <a:lnTo>
                    <a:pt x="991" y="890"/>
                  </a:lnTo>
                  <a:lnTo>
                    <a:pt x="989" y="890"/>
                  </a:lnTo>
                  <a:lnTo>
                    <a:pt x="989" y="888"/>
                  </a:lnTo>
                  <a:lnTo>
                    <a:pt x="989" y="890"/>
                  </a:lnTo>
                  <a:lnTo>
                    <a:pt x="989" y="888"/>
                  </a:lnTo>
                  <a:lnTo>
                    <a:pt x="988" y="888"/>
                  </a:lnTo>
                  <a:lnTo>
                    <a:pt x="988" y="890"/>
                  </a:lnTo>
                  <a:lnTo>
                    <a:pt x="988" y="888"/>
                  </a:lnTo>
                  <a:lnTo>
                    <a:pt x="988" y="890"/>
                  </a:lnTo>
                  <a:lnTo>
                    <a:pt x="988" y="892"/>
                  </a:lnTo>
                  <a:lnTo>
                    <a:pt x="989" y="892"/>
                  </a:lnTo>
                  <a:lnTo>
                    <a:pt x="989" y="890"/>
                  </a:lnTo>
                  <a:lnTo>
                    <a:pt x="989" y="892"/>
                  </a:lnTo>
                  <a:lnTo>
                    <a:pt x="991" y="892"/>
                  </a:lnTo>
                  <a:lnTo>
                    <a:pt x="989" y="892"/>
                  </a:lnTo>
                  <a:lnTo>
                    <a:pt x="991" y="892"/>
                  </a:lnTo>
                  <a:lnTo>
                    <a:pt x="989" y="893"/>
                  </a:lnTo>
                  <a:lnTo>
                    <a:pt x="991" y="893"/>
                  </a:lnTo>
                  <a:lnTo>
                    <a:pt x="989" y="893"/>
                  </a:lnTo>
                  <a:lnTo>
                    <a:pt x="989" y="895"/>
                  </a:lnTo>
                  <a:lnTo>
                    <a:pt x="989" y="897"/>
                  </a:lnTo>
                  <a:lnTo>
                    <a:pt x="989" y="895"/>
                  </a:lnTo>
                  <a:lnTo>
                    <a:pt x="988" y="895"/>
                  </a:lnTo>
                  <a:lnTo>
                    <a:pt x="986" y="897"/>
                  </a:lnTo>
                  <a:lnTo>
                    <a:pt x="986" y="895"/>
                  </a:lnTo>
                  <a:lnTo>
                    <a:pt x="986" y="897"/>
                  </a:lnTo>
                  <a:lnTo>
                    <a:pt x="984" y="897"/>
                  </a:lnTo>
                  <a:lnTo>
                    <a:pt x="984" y="895"/>
                  </a:lnTo>
                  <a:lnTo>
                    <a:pt x="984" y="897"/>
                  </a:lnTo>
                  <a:lnTo>
                    <a:pt x="983" y="898"/>
                  </a:lnTo>
                  <a:lnTo>
                    <a:pt x="983" y="897"/>
                  </a:lnTo>
                  <a:lnTo>
                    <a:pt x="981" y="897"/>
                  </a:lnTo>
                  <a:lnTo>
                    <a:pt x="981" y="898"/>
                  </a:lnTo>
                  <a:lnTo>
                    <a:pt x="979" y="898"/>
                  </a:lnTo>
                  <a:lnTo>
                    <a:pt x="981" y="897"/>
                  </a:lnTo>
                  <a:lnTo>
                    <a:pt x="979" y="897"/>
                  </a:lnTo>
                  <a:lnTo>
                    <a:pt x="978" y="895"/>
                  </a:lnTo>
                  <a:lnTo>
                    <a:pt x="976" y="895"/>
                  </a:lnTo>
                  <a:lnTo>
                    <a:pt x="978" y="893"/>
                  </a:lnTo>
                  <a:lnTo>
                    <a:pt x="976" y="893"/>
                  </a:lnTo>
                  <a:lnTo>
                    <a:pt x="978" y="893"/>
                  </a:lnTo>
                  <a:lnTo>
                    <a:pt x="978" y="892"/>
                  </a:lnTo>
                  <a:lnTo>
                    <a:pt x="978" y="890"/>
                  </a:lnTo>
                  <a:lnTo>
                    <a:pt x="979" y="890"/>
                  </a:lnTo>
                  <a:lnTo>
                    <a:pt x="978" y="890"/>
                  </a:lnTo>
                  <a:lnTo>
                    <a:pt x="979" y="890"/>
                  </a:lnTo>
                  <a:lnTo>
                    <a:pt x="979" y="888"/>
                  </a:lnTo>
                  <a:lnTo>
                    <a:pt x="981" y="888"/>
                  </a:lnTo>
                  <a:lnTo>
                    <a:pt x="983" y="887"/>
                  </a:lnTo>
                  <a:lnTo>
                    <a:pt x="984" y="887"/>
                  </a:lnTo>
                  <a:lnTo>
                    <a:pt x="988" y="887"/>
                  </a:lnTo>
                  <a:lnTo>
                    <a:pt x="988" y="885"/>
                  </a:lnTo>
                  <a:lnTo>
                    <a:pt x="989" y="885"/>
                  </a:lnTo>
                  <a:lnTo>
                    <a:pt x="991" y="885"/>
                  </a:lnTo>
                  <a:lnTo>
                    <a:pt x="989" y="885"/>
                  </a:lnTo>
                  <a:lnTo>
                    <a:pt x="988" y="885"/>
                  </a:lnTo>
                  <a:lnTo>
                    <a:pt x="989" y="885"/>
                  </a:lnTo>
                  <a:lnTo>
                    <a:pt x="991" y="885"/>
                  </a:lnTo>
                  <a:lnTo>
                    <a:pt x="991" y="884"/>
                  </a:lnTo>
                  <a:lnTo>
                    <a:pt x="992" y="884"/>
                  </a:lnTo>
                  <a:lnTo>
                    <a:pt x="994" y="882"/>
                  </a:lnTo>
                  <a:lnTo>
                    <a:pt x="996" y="882"/>
                  </a:lnTo>
                  <a:lnTo>
                    <a:pt x="997" y="880"/>
                  </a:lnTo>
                  <a:lnTo>
                    <a:pt x="997" y="879"/>
                  </a:lnTo>
                  <a:lnTo>
                    <a:pt x="999" y="877"/>
                  </a:lnTo>
                  <a:lnTo>
                    <a:pt x="997" y="875"/>
                  </a:lnTo>
                  <a:lnTo>
                    <a:pt x="999" y="875"/>
                  </a:lnTo>
                  <a:lnTo>
                    <a:pt x="1001" y="875"/>
                  </a:lnTo>
                  <a:lnTo>
                    <a:pt x="1001" y="874"/>
                  </a:lnTo>
                  <a:lnTo>
                    <a:pt x="1002" y="874"/>
                  </a:lnTo>
                  <a:lnTo>
                    <a:pt x="1002" y="872"/>
                  </a:lnTo>
                  <a:lnTo>
                    <a:pt x="1001" y="872"/>
                  </a:lnTo>
                  <a:lnTo>
                    <a:pt x="1001" y="871"/>
                  </a:lnTo>
                  <a:lnTo>
                    <a:pt x="999" y="871"/>
                  </a:lnTo>
                  <a:lnTo>
                    <a:pt x="997" y="869"/>
                  </a:lnTo>
                  <a:lnTo>
                    <a:pt x="996" y="867"/>
                  </a:lnTo>
                  <a:lnTo>
                    <a:pt x="996" y="866"/>
                  </a:lnTo>
                  <a:lnTo>
                    <a:pt x="994" y="866"/>
                  </a:lnTo>
                  <a:lnTo>
                    <a:pt x="992" y="866"/>
                  </a:lnTo>
                  <a:lnTo>
                    <a:pt x="992" y="867"/>
                  </a:lnTo>
                  <a:lnTo>
                    <a:pt x="992" y="869"/>
                  </a:lnTo>
                  <a:lnTo>
                    <a:pt x="991" y="867"/>
                  </a:lnTo>
                  <a:lnTo>
                    <a:pt x="991" y="869"/>
                  </a:lnTo>
                  <a:lnTo>
                    <a:pt x="992" y="869"/>
                  </a:lnTo>
                  <a:lnTo>
                    <a:pt x="991" y="869"/>
                  </a:lnTo>
                  <a:lnTo>
                    <a:pt x="989" y="869"/>
                  </a:lnTo>
                  <a:lnTo>
                    <a:pt x="991" y="869"/>
                  </a:lnTo>
                  <a:lnTo>
                    <a:pt x="991" y="867"/>
                  </a:lnTo>
                  <a:lnTo>
                    <a:pt x="989" y="867"/>
                  </a:lnTo>
                  <a:lnTo>
                    <a:pt x="988" y="867"/>
                  </a:lnTo>
                  <a:lnTo>
                    <a:pt x="989" y="867"/>
                  </a:lnTo>
                  <a:lnTo>
                    <a:pt x="991" y="869"/>
                  </a:lnTo>
                  <a:lnTo>
                    <a:pt x="989" y="869"/>
                  </a:lnTo>
                  <a:lnTo>
                    <a:pt x="988" y="869"/>
                  </a:lnTo>
                  <a:lnTo>
                    <a:pt x="986" y="869"/>
                  </a:lnTo>
                  <a:lnTo>
                    <a:pt x="988" y="869"/>
                  </a:lnTo>
                  <a:lnTo>
                    <a:pt x="989" y="869"/>
                  </a:lnTo>
                  <a:lnTo>
                    <a:pt x="983" y="869"/>
                  </a:lnTo>
                  <a:lnTo>
                    <a:pt x="973" y="869"/>
                  </a:lnTo>
                  <a:lnTo>
                    <a:pt x="970" y="869"/>
                  </a:lnTo>
                  <a:lnTo>
                    <a:pt x="968" y="869"/>
                  </a:lnTo>
                  <a:lnTo>
                    <a:pt x="966" y="869"/>
                  </a:lnTo>
                  <a:lnTo>
                    <a:pt x="965" y="871"/>
                  </a:lnTo>
                  <a:lnTo>
                    <a:pt x="965" y="872"/>
                  </a:lnTo>
                  <a:lnTo>
                    <a:pt x="965" y="874"/>
                  </a:lnTo>
                  <a:lnTo>
                    <a:pt x="965" y="875"/>
                  </a:lnTo>
                  <a:lnTo>
                    <a:pt x="966" y="877"/>
                  </a:lnTo>
                  <a:lnTo>
                    <a:pt x="965" y="877"/>
                  </a:lnTo>
                  <a:lnTo>
                    <a:pt x="966" y="877"/>
                  </a:lnTo>
                  <a:lnTo>
                    <a:pt x="963" y="875"/>
                  </a:lnTo>
                  <a:lnTo>
                    <a:pt x="958" y="872"/>
                  </a:lnTo>
                  <a:lnTo>
                    <a:pt x="955" y="871"/>
                  </a:lnTo>
                  <a:lnTo>
                    <a:pt x="953" y="869"/>
                  </a:lnTo>
                  <a:lnTo>
                    <a:pt x="952" y="869"/>
                  </a:lnTo>
                  <a:lnTo>
                    <a:pt x="950" y="869"/>
                  </a:lnTo>
                  <a:lnTo>
                    <a:pt x="947" y="867"/>
                  </a:lnTo>
                  <a:lnTo>
                    <a:pt x="944" y="866"/>
                  </a:lnTo>
                  <a:lnTo>
                    <a:pt x="942" y="862"/>
                  </a:lnTo>
                  <a:lnTo>
                    <a:pt x="944" y="864"/>
                  </a:lnTo>
                  <a:lnTo>
                    <a:pt x="945" y="866"/>
                  </a:lnTo>
                  <a:lnTo>
                    <a:pt x="948" y="866"/>
                  </a:lnTo>
                  <a:lnTo>
                    <a:pt x="948" y="867"/>
                  </a:lnTo>
                  <a:lnTo>
                    <a:pt x="950" y="867"/>
                  </a:lnTo>
                  <a:lnTo>
                    <a:pt x="952" y="866"/>
                  </a:lnTo>
                  <a:lnTo>
                    <a:pt x="953" y="866"/>
                  </a:lnTo>
                  <a:lnTo>
                    <a:pt x="955" y="864"/>
                  </a:lnTo>
                  <a:lnTo>
                    <a:pt x="957" y="864"/>
                  </a:lnTo>
                  <a:lnTo>
                    <a:pt x="958" y="864"/>
                  </a:lnTo>
                  <a:lnTo>
                    <a:pt x="960" y="862"/>
                  </a:lnTo>
                  <a:lnTo>
                    <a:pt x="961" y="862"/>
                  </a:lnTo>
                  <a:lnTo>
                    <a:pt x="963" y="862"/>
                  </a:lnTo>
                  <a:lnTo>
                    <a:pt x="965" y="861"/>
                  </a:lnTo>
                  <a:lnTo>
                    <a:pt x="966" y="861"/>
                  </a:lnTo>
                  <a:lnTo>
                    <a:pt x="968" y="861"/>
                  </a:lnTo>
                  <a:lnTo>
                    <a:pt x="970" y="861"/>
                  </a:lnTo>
                  <a:lnTo>
                    <a:pt x="971" y="861"/>
                  </a:lnTo>
                  <a:lnTo>
                    <a:pt x="973" y="861"/>
                  </a:lnTo>
                  <a:lnTo>
                    <a:pt x="974" y="861"/>
                  </a:lnTo>
                  <a:lnTo>
                    <a:pt x="974" y="862"/>
                  </a:lnTo>
                  <a:lnTo>
                    <a:pt x="974" y="861"/>
                  </a:lnTo>
                  <a:lnTo>
                    <a:pt x="976" y="861"/>
                  </a:lnTo>
                  <a:lnTo>
                    <a:pt x="978" y="861"/>
                  </a:lnTo>
                  <a:lnTo>
                    <a:pt x="979" y="861"/>
                  </a:lnTo>
                  <a:lnTo>
                    <a:pt x="981" y="861"/>
                  </a:lnTo>
                  <a:lnTo>
                    <a:pt x="981" y="859"/>
                  </a:lnTo>
                  <a:lnTo>
                    <a:pt x="979" y="859"/>
                  </a:lnTo>
                  <a:lnTo>
                    <a:pt x="981" y="859"/>
                  </a:lnTo>
                  <a:lnTo>
                    <a:pt x="983" y="859"/>
                  </a:lnTo>
                  <a:lnTo>
                    <a:pt x="981" y="859"/>
                  </a:lnTo>
                  <a:lnTo>
                    <a:pt x="981" y="861"/>
                  </a:lnTo>
                  <a:lnTo>
                    <a:pt x="983" y="861"/>
                  </a:lnTo>
                  <a:lnTo>
                    <a:pt x="984" y="861"/>
                  </a:lnTo>
                  <a:lnTo>
                    <a:pt x="986" y="861"/>
                  </a:lnTo>
                  <a:lnTo>
                    <a:pt x="988" y="861"/>
                  </a:lnTo>
                  <a:lnTo>
                    <a:pt x="989" y="861"/>
                  </a:lnTo>
                  <a:lnTo>
                    <a:pt x="991" y="861"/>
                  </a:lnTo>
                  <a:lnTo>
                    <a:pt x="992" y="861"/>
                  </a:lnTo>
                  <a:lnTo>
                    <a:pt x="994" y="861"/>
                  </a:lnTo>
                  <a:lnTo>
                    <a:pt x="996" y="859"/>
                  </a:lnTo>
                  <a:lnTo>
                    <a:pt x="997" y="859"/>
                  </a:lnTo>
                  <a:lnTo>
                    <a:pt x="999" y="858"/>
                  </a:lnTo>
                  <a:lnTo>
                    <a:pt x="1001" y="858"/>
                  </a:lnTo>
                  <a:lnTo>
                    <a:pt x="1002" y="858"/>
                  </a:lnTo>
                  <a:lnTo>
                    <a:pt x="1002" y="856"/>
                  </a:lnTo>
                  <a:lnTo>
                    <a:pt x="1004" y="856"/>
                  </a:lnTo>
                  <a:lnTo>
                    <a:pt x="1005" y="856"/>
                  </a:lnTo>
                  <a:lnTo>
                    <a:pt x="1007" y="856"/>
                  </a:lnTo>
                  <a:lnTo>
                    <a:pt x="1005" y="856"/>
                  </a:lnTo>
                  <a:lnTo>
                    <a:pt x="1005" y="854"/>
                  </a:lnTo>
                  <a:lnTo>
                    <a:pt x="1009" y="856"/>
                  </a:lnTo>
                  <a:lnTo>
                    <a:pt x="1010" y="856"/>
                  </a:lnTo>
                  <a:lnTo>
                    <a:pt x="1009" y="856"/>
                  </a:lnTo>
                  <a:lnTo>
                    <a:pt x="1007" y="856"/>
                  </a:lnTo>
                  <a:lnTo>
                    <a:pt x="1009" y="856"/>
                  </a:lnTo>
                  <a:lnTo>
                    <a:pt x="1010" y="856"/>
                  </a:lnTo>
                  <a:lnTo>
                    <a:pt x="1012" y="856"/>
                  </a:lnTo>
                  <a:lnTo>
                    <a:pt x="1014" y="856"/>
                  </a:lnTo>
                  <a:lnTo>
                    <a:pt x="1015" y="856"/>
                  </a:lnTo>
                  <a:lnTo>
                    <a:pt x="1017" y="856"/>
                  </a:lnTo>
                  <a:lnTo>
                    <a:pt x="1017" y="854"/>
                  </a:lnTo>
                  <a:lnTo>
                    <a:pt x="1018" y="856"/>
                  </a:lnTo>
                  <a:lnTo>
                    <a:pt x="1020" y="856"/>
                  </a:lnTo>
                  <a:lnTo>
                    <a:pt x="1022" y="856"/>
                  </a:lnTo>
                  <a:lnTo>
                    <a:pt x="1025" y="854"/>
                  </a:lnTo>
                  <a:lnTo>
                    <a:pt x="1027" y="854"/>
                  </a:lnTo>
                  <a:lnTo>
                    <a:pt x="1028" y="853"/>
                  </a:lnTo>
                  <a:lnTo>
                    <a:pt x="1030" y="853"/>
                  </a:lnTo>
                  <a:lnTo>
                    <a:pt x="1030" y="851"/>
                  </a:lnTo>
                  <a:lnTo>
                    <a:pt x="1031" y="851"/>
                  </a:lnTo>
                  <a:lnTo>
                    <a:pt x="1030" y="851"/>
                  </a:lnTo>
                  <a:lnTo>
                    <a:pt x="1031" y="851"/>
                  </a:lnTo>
                  <a:lnTo>
                    <a:pt x="1031" y="849"/>
                  </a:lnTo>
                  <a:lnTo>
                    <a:pt x="1031" y="848"/>
                  </a:lnTo>
                  <a:lnTo>
                    <a:pt x="1030" y="848"/>
                  </a:lnTo>
                  <a:lnTo>
                    <a:pt x="1030" y="849"/>
                  </a:lnTo>
                  <a:lnTo>
                    <a:pt x="1028" y="849"/>
                  </a:lnTo>
                  <a:lnTo>
                    <a:pt x="1028" y="851"/>
                  </a:lnTo>
                  <a:lnTo>
                    <a:pt x="1027" y="849"/>
                  </a:lnTo>
                  <a:lnTo>
                    <a:pt x="1027" y="851"/>
                  </a:lnTo>
                  <a:lnTo>
                    <a:pt x="1025" y="853"/>
                  </a:lnTo>
                  <a:lnTo>
                    <a:pt x="1025" y="854"/>
                  </a:lnTo>
                  <a:lnTo>
                    <a:pt x="1023" y="853"/>
                  </a:lnTo>
                  <a:lnTo>
                    <a:pt x="1023" y="854"/>
                  </a:lnTo>
                  <a:lnTo>
                    <a:pt x="1022" y="854"/>
                  </a:lnTo>
                  <a:lnTo>
                    <a:pt x="1023" y="854"/>
                  </a:lnTo>
                  <a:lnTo>
                    <a:pt x="1022" y="854"/>
                  </a:lnTo>
                  <a:lnTo>
                    <a:pt x="1023" y="853"/>
                  </a:lnTo>
                  <a:lnTo>
                    <a:pt x="1020" y="853"/>
                  </a:lnTo>
                  <a:lnTo>
                    <a:pt x="1018" y="853"/>
                  </a:lnTo>
                  <a:lnTo>
                    <a:pt x="1020" y="853"/>
                  </a:lnTo>
                  <a:lnTo>
                    <a:pt x="1022" y="851"/>
                  </a:lnTo>
                  <a:lnTo>
                    <a:pt x="1022" y="853"/>
                  </a:lnTo>
                  <a:lnTo>
                    <a:pt x="1023" y="853"/>
                  </a:lnTo>
                  <a:lnTo>
                    <a:pt x="1025" y="851"/>
                  </a:lnTo>
                  <a:lnTo>
                    <a:pt x="1027" y="849"/>
                  </a:lnTo>
                  <a:lnTo>
                    <a:pt x="1028" y="849"/>
                  </a:lnTo>
                  <a:lnTo>
                    <a:pt x="1030" y="848"/>
                  </a:lnTo>
                  <a:lnTo>
                    <a:pt x="1030" y="846"/>
                  </a:lnTo>
                  <a:lnTo>
                    <a:pt x="1033" y="846"/>
                  </a:lnTo>
                  <a:lnTo>
                    <a:pt x="1035" y="846"/>
                  </a:lnTo>
                  <a:lnTo>
                    <a:pt x="1036" y="845"/>
                  </a:lnTo>
                  <a:lnTo>
                    <a:pt x="1036" y="841"/>
                  </a:lnTo>
                  <a:lnTo>
                    <a:pt x="1038" y="840"/>
                  </a:lnTo>
                  <a:lnTo>
                    <a:pt x="1040" y="840"/>
                  </a:lnTo>
                  <a:lnTo>
                    <a:pt x="1041" y="838"/>
                  </a:lnTo>
                  <a:lnTo>
                    <a:pt x="1041" y="836"/>
                  </a:lnTo>
                  <a:lnTo>
                    <a:pt x="1041" y="835"/>
                  </a:lnTo>
                  <a:lnTo>
                    <a:pt x="1043" y="833"/>
                  </a:lnTo>
                  <a:lnTo>
                    <a:pt x="1043" y="832"/>
                  </a:lnTo>
                  <a:lnTo>
                    <a:pt x="1043" y="830"/>
                  </a:lnTo>
                  <a:lnTo>
                    <a:pt x="1043" y="828"/>
                  </a:lnTo>
                  <a:lnTo>
                    <a:pt x="1044" y="828"/>
                  </a:lnTo>
                  <a:lnTo>
                    <a:pt x="1044" y="827"/>
                  </a:lnTo>
                  <a:lnTo>
                    <a:pt x="1044" y="825"/>
                  </a:lnTo>
                  <a:lnTo>
                    <a:pt x="1044" y="823"/>
                  </a:lnTo>
                  <a:lnTo>
                    <a:pt x="1046" y="823"/>
                  </a:lnTo>
                  <a:lnTo>
                    <a:pt x="1046" y="822"/>
                  </a:lnTo>
                  <a:lnTo>
                    <a:pt x="1048" y="819"/>
                  </a:lnTo>
                  <a:lnTo>
                    <a:pt x="1049" y="817"/>
                  </a:lnTo>
                  <a:lnTo>
                    <a:pt x="1053" y="815"/>
                  </a:lnTo>
                  <a:lnTo>
                    <a:pt x="1056" y="815"/>
                  </a:lnTo>
                  <a:lnTo>
                    <a:pt x="1057" y="814"/>
                  </a:lnTo>
                  <a:lnTo>
                    <a:pt x="1059" y="812"/>
                  </a:lnTo>
                  <a:lnTo>
                    <a:pt x="1061" y="810"/>
                  </a:lnTo>
                  <a:lnTo>
                    <a:pt x="1062" y="809"/>
                  </a:lnTo>
                  <a:lnTo>
                    <a:pt x="1064" y="807"/>
                  </a:lnTo>
                  <a:lnTo>
                    <a:pt x="1066" y="806"/>
                  </a:lnTo>
                  <a:lnTo>
                    <a:pt x="1066" y="804"/>
                  </a:lnTo>
                  <a:lnTo>
                    <a:pt x="1067" y="802"/>
                  </a:lnTo>
                  <a:lnTo>
                    <a:pt x="1069" y="801"/>
                  </a:lnTo>
                  <a:lnTo>
                    <a:pt x="1074" y="797"/>
                  </a:lnTo>
                  <a:lnTo>
                    <a:pt x="1077" y="797"/>
                  </a:lnTo>
                  <a:lnTo>
                    <a:pt x="1079" y="796"/>
                  </a:lnTo>
                  <a:lnTo>
                    <a:pt x="1080" y="796"/>
                  </a:lnTo>
                  <a:lnTo>
                    <a:pt x="1082" y="794"/>
                  </a:lnTo>
                  <a:lnTo>
                    <a:pt x="1082" y="793"/>
                  </a:lnTo>
                  <a:lnTo>
                    <a:pt x="1083" y="791"/>
                  </a:lnTo>
                  <a:lnTo>
                    <a:pt x="1085" y="788"/>
                  </a:lnTo>
                  <a:lnTo>
                    <a:pt x="1087" y="788"/>
                  </a:lnTo>
                  <a:lnTo>
                    <a:pt x="1087" y="786"/>
                  </a:lnTo>
                  <a:lnTo>
                    <a:pt x="1088" y="786"/>
                  </a:lnTo>
                  <a:lnTo>
                    <a:pt x="1090" y="788"/>
                  </a:lnTo>
                  <a:lnTo>
                    <a:pt x="1092" y="788"/>
                  </a:lnTo>
                  <a:lnTo>
                    <a:pt x="1096" y="786"/>
                  </a:lnTo>
                  <a:lnTo>
                    <a:pt x="1098" y="788"/>
                  </a:lnTo>
                  <a:lnTo>
                    <a:pt x="1101" y="788"/>
                  </a:lnTo>
                  <a:lnTo>
                    <a:pt x="1103" y="786"/>
                  </a:lnTo>
                  <a:lnTo>
                    <a:pt x="1106" y="784"/>
                  </a:lnTo>
                  <a:lnTo>
                    <a:pt x="1108" y="783"/>
                  </a:lnTo>
                  <a:lnTo>
                    <a:pt x="1108" y="781"/>
                  </a:lnTo>
                  <a:lnTo>
                    <a:pt x="1108" y="783"/>
                  </a:lnTo>
                  <a:lnTo>
                    <a:pt x="1108" y="781"/>
                  </a:lnTo>
                  <a:lnTo>
                    <a:pt x="1108" y="779"/>
                  </a:lnTo>
                  <a:lnTo>
                    <a:pt x="1108" y="781"/>
                  </a:lnTo>
                  <a:lnTo>
                    <a:pt x="1106" y="779"/>
                  </a:lnTo>
                  <a:lnTo>
                    <a:pt x="1106" y="781"/>
                  </a:lnTo>
                  <a:lnTo>
                    <a:pt x="1106" y="779"/>
                  </a:lnTo>
                  <a:lnTo>
                    <a:pt x="1105" y="781"/>
                  </a:lnTo>
                  <a:lnTo>
                    <a:pt x="1103" y="783"/>
                  </a:lnTo>
                  <a:lnTo>
                    <a:pt x="1101" y="783"/>
                  </a:lnTo>
                  <a:lnTo>
                    <a:pt x="1100" y="783"/>
                  </a:lnTo>
                  <a:lnTo>
                    <a:pt x="1098" y="783"/>
                  </a:lnTo>
                  <a:lnTo>
                    <a:pt x="1096" y="783"/>
                  </a:lnTo>
                  <a:lnTo>
                    <a:pt x="1098" y="783"/>
                  </a:lnTo>
                  <a:lnTo>
                    <a:pt x="1100" y="783"/>
                  </a:lnTo>
                  <a:lnTo>
                    <a:pt x="1101" y="783"/>
                  </a:lnTo>
                  <a:lnTo>
                    <a:pt x="1103" y="783"/>
                  </a:lnTo>
                  <a:lnTo>
                    <a:pt x="1105" y="783"/>
                  </a:lnTo>
                  <a:lnTo>
                    <a:pt x="1105" y="781"/>
                  </a:lnTo>
                  <a:lnTo>
                    <a:pt x="1106" y="781"/>
                  </a:lnTo>
                  <a:lnTo>
                    <a:pt x="1106" y="783"/>
                  </a:lnTo>
                  <a:lnTo>
                    <a:pt x="1105" y="784"/>
                  </a:lnTo>
                  <a:lnTo>
                    <a:pt x="1103" y="786"/>
                  </a:lnTo>
                  <a:lnTo>
                    <a:pt x="1101" y="786"/>
                  </a:lnTo>
                  <a:lnTo>
                    <a:pt x="1100" y="786"/>
                  </a:lnTo>
                  <a:lnTo>
                    <a:pt x="1098" y="786"/>
                  </a:lnTo>
                  <a:lnTo>
                    <a:pt x="1096" y="786"/>
                  </a:lnTo>
                  <a:lnTo>
                    <a:pt x="1095" y="786"/>
                  </a:lnTo>
                  <a:lnTo>
                    <a:pt x="1093" y="786"/>
                  </a:lnTo>
                  <a:lnTo>
                    <a:pt x="1092" y="786"/>
                  </a:lnTo>
                  <a:lnTo>
                    <a:pt x="1088" y="786"/>
                  </a:lnTo>
                  <a:lnTo>
                    <a:pt x="1090" y="784"/>
                  </a:lnTo>
                  <a:lnTo>
                    <a:pt x="1092" y="784"/>
                  </a:lnTo>
                  <a:lnTo>
                    <a:pt x="1093" y="784"/>
                  </a:lnTo>
                  <a:lnTo>
                    <a:pt x="1095" y="784"/>
                  </a:lnTo>
                  <a:lnTo>
                    <a:pt x="1095" y="783"/>
                  </a:lnTo>
                  <a:lnTo>
                    <a:pt x="1093" y="784"/>
                  </a:lnTo>
                  <a:lnTo>
                    <a:pt x="1092" y="784"/>
                  </a:lnTo>
                  <a:lnTo>
                    <a:pt x="1090" y="784"/>
                  </a:lnTo>
                  <a:lnTo>
                    <a:pt x="1088" y="786"/>
                  </a:lnTo>
                  <a:lnTo>
                    <a:pt x="1087" y="786"/>
                  </a:lnTo>
                  <a:lnTo>
                    <a:pt x="1085" y="788"/>
                  </a:lnTo>
                  <a:lnTo>
                    <a:pt x="1085" y="789"/>
                  </a:lnTo>
                  <a:lnTo>
                    <a:pt x="1083" y="789"/>
                  </a:lnTo>
                  <a:lnTo>
                    <a:pt x="1082" y="791"/>
                  </a:lnTo>
                  <a:lnTo>
                    <a:pt x="1080" y="793"/>
                  </a:lnTo>
                  <a:lnTo>
                    <a:pt x="1080" y="794"/>
                  </a:lnTo>
                  <a:lnTo>
                    <a:pt x="1079" y="794"/>
                  </a:lnTo>
                  <a:lnTo>
                    <a:pt x="1079" y="796"/>
                  </a:lnTo>
                  <a:lnTo>
                    <a:pt x="1077" y="796"/>
                  </a:lnTo>
                  <a:lnTo>
                    <a:pt x="1075" y="796"/>
                  </a:lnTo>
                  <a:lnTo>
                    <a:pt x="1075" y="797"/>
                  </a:lnTo>
                  <a:lnTo>
                    <a:pt x="1072" y="797"/>
                  </a:lnTo>
                  <a:lnTo>
                    <a:pt x="1070" y="797"/>
                  </a:lnTo>
                  <a:lnTo>
                    <a:pt x="1070" y="799"/>
                  </a:lnTo>
                  <a:lnTo>
                    <a:pt x="1069" y="801"/>
                  </a:lnTo>
                  <a:lnTo>
                    <a:pt x="1067" y="801"/>
                  </a:lnTo>
                  <a:lnTo>
                    <a:pt x="1066" y="802"/>
                  </a:lnTo>
                  <a:lnTo>
                    <a:pt x="1066" y="804"/>
                  </a:lnTo>
                  <a:lnTo>
                    <a:pt x="1064" y="806"/>
                  </a:lnTo>
                  <a:lnTo>
                    <a:pt x="1062" y="807"/>
                  </a:lnTo>
                  <a:lnTo>
                    <a:pt x="1062" y="809"/>
                  </a:lnTo>
                  <a:lnTo>
                    <a:pt x="1061" y="809"/>
                  </a:lnTo>
                  <a:lnTo>
                    <a:pt x="1061" y="810"/>
                  </a:lnTo>
                  <a:lnTo>
                    <a:pt x="1059" y="812"/>
                  </a:lnTo>
                  <a:lnTo>
                    <a:pt x="1057" y="812"/>
                  </a:lnTo>
                  <a:lnTo>
                    <a:pt x="1056" y="814"/>
                  </a:lnTo>
                  <a:lnTo>
                    <a:pt x="1054" y="814"/>
                  </a:lnTo>
                  <a:lnTo>
                    <a:pt x="1053" y="814"/>
                  </a:lnTo>
                  <a:lnTo>
                    <a:pt x="1051" y="814"/>
                  </a:lnTo>
                  <a:lnTo>
                    <a:pt x="1051" y="815"/>
                  </a:lnTo>
                  <a:lnTo>
                    <a:pt x="1049" y="817"/>
                  </a:lnTo>
                  <a:lnTo>
                    <a:pt x="1048" y="819"/>
                  </a:lnTo>
                  <a:lnTo>
                    <a:pt x="1046" y="819"/>
                  </a:lnTo>
                  <a:lnTo>
                    <a:pt x="1046" y="823"/>
                  </a:lnTo>
                  <a:lnTo>
                    <a:pt x="1044" y="825"/>
                  </a:lnTo>
                  <a:lnTo>
                    <a:pt x="1043" y="825"/>
                  </a:lnTo>
                  <a:lnTo>
                    <a:pt x="1044" y="827"/>
                  </a:lnTo>
                  <a:lnTo>
                    <a:pt x="1043" y="827"/>
                  </a:lnTo>
                  <a:lnTo>
                    <a:pt x="1043" y="828"/>
                  </a:lnTo>
                  <a:lnTo>
                    <a:pt x="1043" y="827"/>
                  </a:lnTo>
                  <a:lnTo>
                    <a:pt x="1043" y="828"/>
                  </a:lnTo>
                  <a:lnTo>
                    <a:pt x="1041" y="828"/>
                  </a:lnTo>
                  <a:lnTo>
                    <a:pt x="1040" y="830"/>
                  </a:lnTo>
                  <a:lnTo>
                    <a:pt x="1038" y="830"/>
                  </a:lnTo>
                  <a:lnTo>
                    <a:pt x="1038" y="828"/>
                  </a:lnTo>
                  <a:lnTo>
                    <a:pt x="1040" y="830"/>
                  </a:lnTo>
                  <a:lnTo>
                    <a:pt x="1040" y="828"/>
                  </a:lnTo>
                  <a:lnTo>
                    <a:pt x="1041" y="828"/>
                  </a:lnTo>
                  <a:lnTo>
                    <a:pt x="1041" y="827"/>
                  </a:lnTo>
                  <a:lnTo>
                    <a:pt x="1040" y="827"/>
                  </a:lnTo>
                  <a:lnTo>
                    <a:pt x="1038" y="827"/>
                  </a:lnTo>
                  <a:lnTo>
                    <a:pt x="1038" y="828"/>
                  </a:lnTo>
                  <a:lnTo>
                    <a:pt x="1036" y="828"/>
                  </a:lnTo>
                  <a:lnTo>
                    <a:pt x="1036" y="830"/>
                  </a:lnTo>
                  <a:lnTo>
                    <a:pt x="1038" y="830"/>
                  </a:lnTo>
                  <a:lnTo>
                    <a:pt x="1036" y="832"/>
                  </a:lnTo>
                  <a:lnTo>
                    <a:pt x="1035" y="832"/>
                  </a:lnTo>
                  <a:lnTo>
                    <a:pt x="1035" y="833"/>
                  </a:lnTo>
                  <a:lnTo>
                    <a:pt x="1033" y="835"/>
                  </a:lnTo>
                  <a:lnTo>
                    <a:pt x="1033" y="836"/>
                  </a:lnTo>
                  <a:lnTo>
                    <a:pt x="1033" y="835"/>
                  </a:lnTo>
                  <a:lnTo>
                    <a:pt x="1033" y="833"/>
                  </a:lnTo>
                  <a:lnTo>
                    <a:pt x="1031" y="833"/>
                  </a:lnTo>
                  <a:lnTo>
                    <a:pt x="1033" y="833"/>
                  </a:lnTo>
                  <a:lnTo>
                    <a:pt x="1033" y="835"/>
                  </a:lnTo>
                  <a:lnTo>
                    <a:pt x="1033" y="836"/>
                  </a:lnTo>
                  <a:lnTo>
                    <a:pt x="1031" y="838"/>
                  </a:lnTo>
                  <a:lnTo>
                    <a:pt x="1030" y="838"/>
                  </a:lnTo>
                  <a:lnTo>
                    <a:pt x="1030" y="840"/>
                  </a:lnTo>
                  <a:lnTo>
                    <a:pt x="1028" y="840"/>
                  </a:lnTo>
                  <a:lnTo>
                    <a:pt x="1027" y="841"/>
                  </a:lnTo>
                  <a:lnTo>
                    <a:pt x="1023" y="843"/>
                  </a:lnTo>
                  <a:lnTo>
                    <a:pt x="1022" y="843"/>
                  </a:lnTo>
                  <a:lnTo>
                    <a:pt x="1020" y="843"/>
                  </a:lnTo>
                  <a:lnTo>
                    <a:pt x="1018" y="843"/>
                  </a:lnTo>
                  <a:lnTo>
                    <a:pt x="1017" y="843"/>
                  </a:lnTo>
                  <a:lnTo>
                    <a:pt x="1018" y="843"/>
                  </a:lnTo>
                  <a:lnTo>
                    <a:pt x="1017" y="841"/>
                  </a:lnTo>
                  <a:lnTo>
                    <a:pt x="1015" y="841"/>
                  </a:lnTo>
                  <a:lnTo>
                    <a:pt x="1015" y="840"/>
                  </a:lnTo>
                  <a:lnTo>
                    <a:pt x="1015" y="841"/>
                  </a:lnTo>
                  <a:lnTo>
                    <a:pt x="1015" y="840"/>
                  </a:lnTo>
                  <a:lnTo>
                    <a:pt x="1014" y="840"/>
                  </a:lnTo>
                  <a:lnTo>
                    <a:pt x="1012" y="840"/>
                  </a:lnTo>
                  <a:lnTo>
                    <a:pt x="1010" y="840"/>
                  </a:lnTo>
                  <a:lnTo>
                    <a:pt x="1010" y="841"/>
                  </a:lnTo>
                  <a:lnTo>
                    <a:pt x="1009" y="841"/>
                  </a:lnTo>
                  <a:lnTo>
                    <a:pt x="1009" y="843"/>
                  </a:lnTo>
                  <a:lnTo>
                    <a:pt x="1007" y="843"/>
                  </a:lnTo>
                  <a:lnTo>
                    <a:pt x="1005" y="845"/>
                  </a:lnTo>
                  <a:lnTo>
                    <a:pt x="1002" y="848"/>
                  </a:lnTo>
                  <a:lnTo>
                    <a:pt x="1002" y="846"/>
                  </a:lnTo>
                  <a:lnTo>
                    <a:pt x="1001" y="845"/>
                  </a:lnTo>
                  <a:lnTo>
                    <a:pt x="999" y="843"/>
                  </a:lnTo>
                  <a:lnTo>
                    <a:pt x="997" y="841"/>
                  </a:lnTo>
                  <a:lnTo>
                    <a:pt x="996" y="841"/>
                  </a:lnTo>
                  <a:lnTo>
                    <a:pt x="994" y="841"/>
                  </a:lnTo>
                  <a:lnTo>
                    <a:pt x="992" y="841"/>
                  </a:lnTo>
                  <a:lnTo>
                    <a:pt x="992" y="843"/>
                  </a:lnTo>
                  <a:lnTo>
                    <a:pt x="991" y="843"/>
                  </a:lnTo>
                  <a:lnTo>
                    <a:pt x="991" y="841"/>
                  </a:lnTo>
                  <a:lnTo>
                    <a:pt x="989" y="841"/>
                  </a:lnTo>
                  <a:lnTo>
                    <a:pt x="988" y="841"/>
                  </a:lnTo>
                  <a:lnTo>
                    <a:pt x="986" y="840"/>
                  </a:lnTo>
                  <a:lnTo>
                    <a:pt x="984" y="840"/>
                  </a:lnTo>
                  <a:lnTo>
                    <a:pt x="983" y="838"/>
                  </a:lnTo>
                  <a:lnTo>
                    <a:pt x="981" y="836"/>
                  </a:lnTo>
                  <a:lnTo>
                    <a:pt x="981" y="833"/>
                  </a:lnTo>
                  <a:lnTo>
                    <a:pt x="981" y="832"/>
                  </a:lnTo>
                  <a:lnTo>
                    <a:pt x="979" y="830"/>
                  </a:lnTo>
                  <a:lnTo>
                    <a:pt x="978" y="828"/>
                  </a:lnTo>
                  <a:lnTo>
                    <a:pt x="976" y="827"/>
                  </a:lnTo>
                  <a:lnTo>
                    <a:pt x="974" y="827"/>
                  </a:lnTo>
                  <a:lnTo>
                    <a:pt x="976" y="827"/>
                  </a:lnTo>
                  <a:lnTo>
                    <a:pt x="976" y="825"/>
                  </a:lnTo>
                  <a:lnTo>
                    <a:pt x="974" y="825"/>
                  </a:lnTo>
                  <a:lnTo>
                    <a:pt x="976" y="825"/>
                  </a:lnTo>
                  <a:lnTo>
                    <a:pt x="974" y="823"/>
                  </a:lnTo>
                  <a:lnTo>
                    <a:pt x="974" y="825"/>
                  </a:lnTo>
                  <a:lnTo>
                    <a:pt x="973" y="825"/>
                  </a:lnTo>
                  <a:lnTo>
                    <a:pt x="974" y="823"/>
                  </a:lnTo>
                  <a:lnTo>
                    <a:pt x="974" y="822"/>
                  </a:lnTo>
                  <a:lnTo>
                    <a:pt x="973" y="822"/>
                  </a:lnTo>
                  <a:lnTo>
                    <a:pt x="973" y="823"/>
                  </a:lnTo>
                  <a:lnTo>
                    <a:pt x="973" y="822"/>
                  </a:lnTo>
                  <a:lnTo>
                    <a:pt x="974" y="820"/>
                  </a:lnTo>
                  <a:lnTo>
                    <a:pt x="974" y="819"/>
                  </a:lnTo>
                  <a:lnTo>
                    <a:pt x="974" y="817"/>
                  </a:lnTo>
                  <a:lnTo>
                    <a:pt x="973" y="817"/>
                  </a:lnTo>
                  <a:lnTo>
                    <a:pt x="973" y="815"/>
                  </a:lnTo>
                  <a:lnTo>
                    <a:pt x="973" y="814"/>
                  </a:lnTo>
                  <a:lnTo>
                    <a:pt x="974" y="814"/>
                  </a:lnTo>
                  <a:lnTo>
                    <a:pt x="974" y="812"/>
                  </a:lnTo>
                  <a:lnTo>
                    <a:pt x="976" y="812"/>
                  </a:lnTo>
                  <a:lnTo>
                    <a:pt x="974" y="812"/>
                  </a:lnTo>
                  <a:lnTo>
                    <a:pt x="976" y="810"/>
                  </a:lnTo>
                  <a:lnTo>
                    <a:pt x="976" y="809"/>
                  </a:lnTo>
                  <a:lnTo>
                    <a:pt x="978" y="807"/>
                  </a:lnTo>
                  <a:lnTo>
                    <a:pt x="978" y="806"/>
                  </a:lnTo>
                  <a:lnTo>
                    <a:pt x="976" y="806"/>
                  </a:lnTo>
                  <a:lnTo>
                    <a:pt x="976" y="804"/>
                  </a:lnTo>
                  <a:lnTo>
                    <a:pt x="976" y="802"/>
                  </a:lnTo>
                  <a:lnTo>
                    <a:pt x="976" y="801"/>
                  </a:lnTo>
                  <a:lnTo>
                    <a:pt x="976" y="799"/>
                  </a:lnTo>
                  <a:lnTo>
                    <a:pt x="974" y="797"/>
                  </a:lnTo>
                  <a:lnTo>
                    <a:pt x="973" y="797"/>
                  </a:lnTo>
                  <a:lnTo>
                    <a:pt x="973" y="799"/>
                  </a:lnTo>
                  <a:lnTo>
                    <a:pt x="971" y="799"/>
                  </a:lnTo>
                  <a:lnTo>
                    <a:pt x="971" y="801"/>
                  </a:lnTo>
                  <a:lnTo>
                    <a:pt x="970" y="801"/>
                  </a:lnTo>
                  <a:lnTo>
                    <a:pt x="968" y="801"/>
                  </a:lnTo>
                  <a:lnTo>
                    <a:pt x="966" y="801"/>
                  </a:lnTo>
                  <a:lnTo>
                    <a:pt x="966" y="799"/>
                  </a:lnTo>
                  <a:lnTo>
                    <a:pt x="968" y="797"/>
                  </a:lnTo>
                  <a:lnTo>
                    <a:pt x="966" y="797"/>
                  </a:lnTo>
                  <a:lnTo>
                    <a:pt x="968" y="797"/>
                  </a:lnTo>
                  <a:lnTo>
                    <a:pt x="968" y="796"/>
                  </a:lnTo>
                  <a:lnTo>
                    <a:pt x="968" y="794"/>
                  </a:lnTo>
                  <a:lnTo>
                    <a:pt x="970" y="794"/>
                  </a:lnTo>
                  <a:lnTo>
                    <a:pt x="970" y="793"/>
                  </a:lnTo>
                  <a:lnTo>
                    <a:pt x="971" y="794"/>
                  </a:lnTo>
                  <a:lnTo>
                    <a:pt x="971" y="793"/>
                  </a:lnTo>
                  <a:lnTo>
                    <a:pt x="971" y="791"/>
                  </a:lnTo>
                  <a:lnTo>
                    <a:pt x="970" y="791"/>
                  </a:lnTo>
                  <a:lnTo>
                    <a:pt x="970" y="789"/>
                  </a:lnTo>
                  <a:lnTo>
                    <a:pt x="968" y="789"/>
                  </a:lnTo>
                  <a:lnTo>
                    <a:pt x="968" y="788"/>
                  </a:lnTo>
                  <a:lnTo>
                    <a:pt x="966" y="788"/>
                  </a:lnTo>
                  <a:lnTo>
                    <a:pt x="966" y="789"/>
                  </a:lnTo>
                  <a:lnTo>
                    <a:pt x="965" y="789"/>
                  </a:lnTo>
                  <a:lnTo>
                    <a:pt x="963" y="791"/>
                  </a:lnTo>
                  <a:lnTo>
                    <a:pt x="963" y="793"/>
                  </a:lnTo>
                  <a:lnTo>
                    <a:pt x="961" y="793"/>
                  </a:lnTo>
                  <a:lnTo>
                    <a:pt x="963" y="793"/>
                  </a:lnTo>
                  <a:lnTo>
                    <a:pt x="961" y="793"/>
                  </a:lnTo>
                  <a:lnTo>
                    <a:pt x="961" y="794"/>
                  </a:lnTo>
                  <a:lnTo>
                    <a:pt x="960" y="793"/>
                  </a:lnTo>
                  <a:lnTo>
                    <a:pt x="958" y="793"/>
                  </a:lnTo>
                  <a:lnTo>
                    <a:pt x="958" y="791"/>
                  </a:lnTo>
                  <a:lnTo>
                    <a:pt x="957" y="791"/>
                  </a:lnTo>
                  <a:lnTo>
                    <a:pt x="957" y="789"/>
                  </a:lnTo>
                  <a:lnTo>
                    <a:pt x="958" y="788"/>
                  </a:lnTo>
                  <a:lnTo>
                    <a:pt x="957" y="788"/>
                  </a:lnTo>
                  <a:lnTo>
                    <a:pt x="958" y="786"/>
                  </a:lnTo>
                  <a:lnTo>
                    <a:pt x="958" y="784"/>
                  </a:lnTo>
                  <a:lnTo>
                    <a:pt x="960" y="784"/>
                  </a:lnTo>
                  <a:lnTo>
                    <a:pt x="960" y="783"/>
                  </a:lnTo>
                  <a:lnTo>
                    <a:pt x="960" y="781"/>
                  </a:lnTo>
                  <a:lnTo>
                    <a:pt x="960" y="779"/>
                  </a:lnTo>
                  <a:lnTo>
                    <a:pt x="958" y="779"/>
                  </a:lnTo>
                  <a:lnTo>
                    <a:pt x="957" y="778"/>
                  </a:lnTo>
                  <a:lnTo>
                    <a:pt x="955" y="778"/>
                  </a:lnTo>
                  <a:lnTo>
                    <a:pt x="955" y="779"/>
                  </a:lnTo>
                  <a:lnTo>
                    <a:pt x="955" y="778"/>
                  </a:lnTo>
                  <a:lnTo>
                    <a:pt x="955" y="779"/>
                  </a:lnTo>
                  <a:lnTo>
                    <a:pt x="953" y="779"/>
                  </a:lnTo>
                  <a:lnTo>
                    <a:pt x="952" y="779"/>
                  </a:lnTo>
                  <a:lnTo>
                    <a:pt x="952" y="778"/>
                  </a:lnTo>
                  <a:lnTo>
                    <a:pt x="952" y="776"/>
                  </a:lnTo>
                  <a:lnTo>
                    <a:pt x="952" y="775"/>
                  </a:lnTo>
                  <a:lnTo>
                    <a:pt x="952" y="773"/>
                  </a:lnTo>
                  <a:lnTo>
                    <a:pt x="950" y="770"/>
                  </a:lnTo>
                  <a:lnTo>
                    <a:pt x="948" y="770"/>
                  </a:lnTo>
                  <a:lnTo>
                    <a:pt x="950" y="770"/>
                  </a:lnTo>
                  <a:lnTo>
                    <a:pt x="950" y="771"/>
                  </a:lnTo>
                  <a:lnTo>
                    <a:pt x="947" y="770"/>
                  </a:lnTo>
                  <a:lnTo>
                    <a:pt x="945" y="770"/>
                  </a:lnTo>
                  <a:lnTo>
                    <a:pt x="942" y="768"/>
                  </a:lnTo>
                  <a:lnTo>
                    <a:pt x="940" y="768"/>
                  </a:lnTo>
                  <a:lnTo>
                    <a:pt x="939" y="768"/>
                  </a:lnTo>
                  <a:lnTo>
                    <a:pt x="937" y="766"/>
                  </a:lnTo>
                  <a:lnTo>
                    <a:pt x="937" y="765"/>
                  </a:lnTo>
                  <a:lnTo>
                    <a:pt x="937" y="762"/>
                  </a:lnTo>
                  <a:lnTo>
                    <a:pt x="939" y="760"/>
                  </a:lnTo>
                  <a:lnTo>
                    <a:pt x="939" y="758"/>
                  </a:lnTo>
                  <a:lnTo>
                    <a:pt x="939" y="757"/>
                  </a:lnTo>
                  <a:lnTo>
                    <a:pt x="937" y="757"/>
                  </a:lnTo>
                  <a:lnTo>
                    <a:pt x="935" y="757"/>
                  </a:lnTo>
                  <a:lnTo>
                    <a:pt x="934" y="757"/>
                  </a:lnTo>
                  <a:lnTo>
                    <a:pt x="934" y="755"/>
                  </a:lnTo>
                  <a:lnTo>
                    <a:pt x="934" y="757"/>
                  </a:lnTo>
                  <a:lnTo>
                    <a:pt x="935" y="757"/>
                  </a:lnTo>
                  <a:lnTo>
                    <a:pt x="935" y="758"/>
                  </a:lnTo>
                  <a:lnTo>
                    <a:pt x="935" y="757"/>
                  </a:lnTo>
                  <a:lnTo>
                    <a:pt x="937" y="757"/>
                  </a:lnTo>
                  <a:lnTo>
                    <a:pt x="939" y="757"/>
                  </a:lnTo>
                  <a:lnTo>
                    <a:pt x="939" y="758"/>
                  </a:lnTo>
                  <a:lnTo>
                    <a:pt x="939" y="760"/>
                  </a:lnTo>
                  <a:lnTo>
                    <a:pt x="937" y="760"/>
                  </a:lnTo>
                  <a:lnTo>
                    <a:pt x="937" y="763"/>
                  </a:lnTo>
                  <a:lnTo>
                    <a:pt x="937" y="765"/>
                  </a:lnTo>
                  <a:lnTo>
                    <a:pt x="937" y="766"/>
                  </a:lnTo>
                  <a:lnTo>
                    <a:pt x="939" y="768"/>
                  </a:lnTo>
                  <a:lnTo>
                    <a:pt x="940" y="768"/>
                  </a:lnTo>
                  <a:lnTo>
                    <a:pt x="940" y="770"/>
                  </a:lnTo>
                  <a:lnTo>
                    <a:pt x="944" y="770"/>
                  </a:lnTo>
                  <a:lnTo>
                    <a:pt x="945" y="770"/>
                  </a:lnTo>
                  <a:lnTo>
                    <a:pt x="947" y="770"/>
                  </a:lnTo>
                  <a:lnTo>
                    <a:pt x="948" y="770"/>
                  </a:lnTo>
                  <a:lnTo>
                    <a:pt x="950" y="771"/>
                  </a:lnTo>
                  <a:lnTo>
                    <a:pt x="950" y="773"/>
                  </a:lnTo>
                  <a:lnTo>
                    <a:pt x="950" y="775"/>
                  </a:lnTo>
                  <a:lnTo>
                    <a:pt x="950" y="776"/>
                  </a:lnTo>
                  <a:lnTo>
                    <a:pt x="948" y="776"/>
                  </a:lnTo>
                  <a:lnTo>
                    <a:pt x="950" y="778"/>
                  </a:lnTo>
                  <a:lnTo>
                    <a:pt x="950" y="779"/>
                  </a:lnTo>
                  <a:lnTo>
                    <a:pt x="952" y="779"/>
                  </a:lnTo>
                  <a:lnTo>
                    <a:pt x="953" y="779"/>
                  </a:lnTo>
                  <a:lnTo>
                    <a:pt x="955" y="779"/>
                  </a:lnTo>
                  <a:lnTo>
                    <a:pt x="957" y="779"/>
                  </a:lnTo>
                  <a:lnTo>
                    <a:pt x="957" y="781"/>
                  </a:lnTo>
                  <a:lnTo>
                    <a:pt x="958" y="779"/>
                  </a:lnTo>
                  <a:lnTo>
                    <a:pt x="958" y="781"/>
                  </a:lnTo>
                  <a:lnTo>
                    <a:pt x="957" y="781"/>
                  </a:lnTo>
                  <a:lnTo>
                    <a:pt x="958" y="781"/>
                  </a:lnTo>
                  <a:lnTo>
                    <a:pt x="958" y="783"/>
                  </a:lnTo>
                  <a:lnTo>
                    <a:pt x="957" y="786"/>
                  </a:lnTo>
                  <a:lnTo>
                    <a:pt x="957" y="784"/>
                  </a:lnTo>
                  <a:lnTo>
                    <a:pt x="957" y="786"/>
                  </a:lnTo>
                  <a:lnTo>
                    <a:pt x="955" y="786"/>
                  </a:lnTo>
                  <a:lnTo>
                    <a:pt x="955" y="789"/>
                  </a:lnTo>
                  <a:lnTo>
                    <a:pt x="955" y="791"/>
                  </a:lnTo>
                  <a:lnTo>
                    <a:pt x="957" y="793"/>
                  </a:lnTo>
                  <a:lnTo>
                    <a:pt x="958" y="794"/>
                  </a:lnTo>
                  <a:lnTo>
                    <a:pt x="960" y="796"/>
                  </a:lnTo>
                  <a:lnTo>
                    <a:pt x="961" y="796"/>
                  </a:lnTo>
                  <a:lnTo>
                    <a:pt x="963" y="794"/>
                  </a:lnTo>
                  <a:lnTo>
                    <a:pt x="965" y="793"/>
                  </a:lnTo>
                  <a:lnTo>
                    <a:pt x="966" y="791"/>
                  </a:lnTo>
                  <a:lnTo>
                    <a:pt x="968" y="793"/>
                  </a:lnTo>
                  <a:lnTo>
                    <a:pt x="968" y="794"/>
                  </a:lnTo>
                  <a:lnTo>
                    <a:pt x="966" y="794"/>
                  </a:lnTo>
                  <a:lnTo>
                    <a:pt x="966" y="796"/>
                  </a:lnTo>
                  <a:lnTo>
                    <a:pt x="965" y="797"/>
                  </a:lnTo>
                  <a:lnTo>
                    <a:pt x="965" y="801"/>
                  </a:lnTo>
                  <a:lnTo>
                    <a:pt x="965" y="802"/>
                  </a:lnTo>
                  <a:lnTo>
                    <a:pt x="966" y="802"/>
                  </a:lnTo>
                  <a:lnTo>
                    <a:pt x="968" y="802"/>
                  </a:lnTo>
                  <a:lnTo>
                    <a:pt x="971" y="802"/>
                  </a:lnTo>
                  <a:lnTo>
                    <a:pt x="971" y="801"/>
                  </a:lnTo>
                  <a:lnTo>
                    <a:pt x="973" y="801"/>
                  </a:lnTo>
                  <a:lnTo>
                    <a:pt x="973" y="802"/>
                  </a:lnTo>
                  <a:lnTo>
                    <a:pt x="974" y="802"/>
                  </a:lnTo>
                  <a:lnTo>
                    <a:pt x="974" y="804"/>
                  </a:lnTo>
                  <a:lnTo>
                    <a:pt x="974" y="806"/>
                  </a:lnTo>
                  <a:lnTo>
                    <a:pt x="973" y="809"/>
                  </a:lnTo>
                  <a:lnTo>
                    <a:pt x="973" y="810"/>
                  </a:lnTo>
                  <a:lnTo>
                    <a:pt x="973" y="812"/>
                  </a:lnTo>
                  <a:lnTo>
                    <a:pt x="971" y="812"/>
                  </a:lnTo>
                  <a:lnTo>
                    <a:pt x="971" y="814"/>
                  </a:lnTo>
                  <a:lnTo>
                    <a:pt x="970" y="815"/>
                  </a:lnTo>
                  <a:lnTo>
                    <a:pt x="970" y="817"/>
                  </a:lnTo>
                  <a:lnTo>
                    <a:pt x="968" y="819"/>
                  </a:lnTo>
                  <a:lnTo>
                    <a:pt x="968" y="820"/>
                  </a:lnTo>
                  <a:lnTo>
                    <a:pt x="968" y="822"/>
                  </a:lnTo>
                  <a:lnTo>
                    <a:pt x="968" y="823"/>
                  </a:lnTo>
                  <a:lnTo>
                    <a:pt x="968" y="827"/>
                  </a:lnTo>
                  <a:lnTo>
                    <a:pt x="970" y="828"/>
                  </a:lnTo>
                  <a:lnTo>
                    <a:pt x="971" y="828"/>
                  </a:lnTo>
                  <a:lnTo>
                    <a:pt x="973" y="830"/>
                  </a:lnTo>
                  <a:lnTo>
                    <a:pt x="974" y="830"/>
                  </a:lnTo>
                  <a:lnTo>
                    <a:pt x="974" y="832"/>
                  </a:lnTo>
                  <a:lnTo>
                    <a:pt x="974" y="833"/>
                  </a:lnTo>
                  <a:lnTo>
                    <a:pt x="974" y="836"/>
                  </a:lnTo>
                  <a:lnTo>
                    <a:pt x="974" y="838"/>
                  </a:lnTo>
                  <a:lnTo>
                    <a:pt x="976" y="840"/>
                  </a:lnTo>
                  <a:lnTo>
                    <a:pt x="976" y="841"/>
                  </a:lnTo>
                  <a:lnTo>
                    <a:pt x="976" y="843"/>
                  </a:lnTo>
                  <a:lnTo>
                    <a:pt x="976" y="845"/>
                  </a:lnTo>
                  <a:lnTo>
                    <a:pt x="974" y="845"/>
                  </a:lnTo>
                  <a:lnTo>
                    <a:pt x="973" y="846"/>
                  </a:lnTo>
                  <a:lnTo>
                    <a:pt x="971" y="848"/>
                  </a:lnTo>
                  <a:lnTo>
                    <a:pt x="970" y="848"/>
                  </a:lnTo>
                  <a:lnTo>
                    <a:pt x="970" y="849"/>
                  </a:lnTo>
                  <a:lnTo>
                    <a:pt x="968" y="849"/>
                  </a:lnTo>
                  <a:lnTo>
                    <a:pt x="968" y="851"/>
                  </a:lnTo>
                  <a:lnTo>
                    <a:pt x="966" y="849"/>
                  </a:lnTo>
                  <a:lnTo>
                    <a:pt x="965" y="849"/>
                  </a:lnTo>
                  <a:lnTo>
                    <a:pt x="963" y="849"/>
                  </a:lnTo>
                  <a:lnTo>
                    <a:pt x="961" y="849"/>
                  </a:lnTo>
                  <a:lnTo>
                    <a:pt x="957" y="849"/>
                  </a:lnTo>
                  <a:lnTo>
                    <a:pt x="953" y="849"/>
                  </a:lnTo>
                  <a:lnTo>
                    <a:pt x="952" y="849"/>
                  </a:lnTo>
                  <a:lnTo>
                    <a:pt x="950" y="849"/>
                  </a:lnTo>
                  <a:lnTo>
                    <a:pt x="948" y="851"/>
                  </a:lnTo>
                  <a:lnTo>
                    <a:pt x="948" y="853"/>
                  </a:lnTo>
                  <a:lnTo>
                    <a:pt x="947" y="853"/>
                  </a:lnTo>
                  <a:lnTo>
                    <a:pt x="947" y="854"/>
                  </a:lnTo>
                  <a:lnTo>
                    <a:pt x="945" y="856"/>
                  </a:lnTo>
                  <a:lnTo>
                    <a:pt x="947" y="856"/>
                  </a:lnTo>
                  <a:lnTo>
                    <a:pt x="945" y="856"/>
                  </a:lnTo>
                  <a:lnTo>
                    <a:pt x="945" y="858"/>
                  </a:lnTo>
                  <a:lnTo>
                    <a:pt x="945" y="859"/>
                  </a:lnTo>
                  <a:lnTo>
                    <a:pt x="944" y="858"/>
                  </a:lnTo>
                  <a:lnTo>
                    <a:pt x="942" y="858"/>
                  </a:lnTo>
                  <a:lnTo>
                    <a:pt x="940" y="858"/>
                  </a:lnTo>
                  <a:lnTo>
                    <a:pt x="939" y="858"/>
                  </a:lnTo>
                  <a:lnTo>
                    <a:pt x="937" y="858"/>
                  </a:lnTo>
                  <a:lnTo>
                    <a:pt x="935" y="858"/>
                  </a:lnTo>
                  <a:lnTo>
                    <a:pt x="932" y="859"/>
                  </a:lnTo>
                  <a:lnTo>
                    <a:pt x="932" y="858"/>
                  </a:lnTo>
                  <a:lnTo>
                    <a:pt x="934" y="858"/>
                  </a:lnTo>
                  <a:lnTo>
                    <a:pt x="934" y="856"/>
                  </a:lnTo>
                  <a:lnTo>
                    <a:pt x="935" y="856"/>
                  </a:lnTo>
                  <a:lnTo>
                    <a:pt x="937" y="854"/>
                  </a:lnTo>
                  <a:lnTo>
                    <a:pt x="939" y="853"/>
                  </a:lnTo>
                  <a:lnTo>
                    <a:pt x="939" y="851"/>
                  </a:lnTo>
                  <a:lnTo>
                    <a:pt x="939" y="849"/>
                  </a:lnTo>
                  <a:lnTo>
                    <a:pt x="937" y="848"/>
                  </a:lnTo>
                  <a:lnTo>
                    <a:pt x="939" y="846"/>
                  </a:lnTo>
                  <a:lnTo>
                    <a:pt x="939" y="845"/>
                  </a:lnTo>
                  <a:lnTo>
                    <a:pt x="939" y="843"/>
                  </a:lnTo>
                  <a:lnTo>
                    <a:pt x="939" y="841"/>
                  </a:lnTo>
                  <a:lnTo>
                    <a:pt x="939" y="840"/>
                  </a:lnTo>
                  <a:lnTo>
                    <a:pt x="939" y="838"/>
                  </a:lnTo>
                  <a:lnTo>
                    <a:pt x="939" y="836"/>
                  </a:lnTo>
                  <a:lnTo>
                    <a:pt x="937" y="836"/>
                  </a:lnTo>
                  <a:lnTo>
                    <a:pt x="939" y="835"/>
                  </a:lnTo>
                  <a:lnTo>
                    <a:pt x="939" y="833"/>
                  </a:lnTo>
                  <a:lnTo>
                    <a:pt x="940" y="832"/>
                  </a:lnTo>
                  <a:lnTo>
                    <a:pt x="942" y="830"/>
                  </a:lnTo>
                  <a:lnTo>
                    <a:pt x="942" y="828"/>
                  </a:lnTo>
                  <a:lnTo>
                    <a:pt x="942" y="827"/>
                  </a:lnTo>
                  <a:lnTo>
                    <a:pt x="940" y="827"/>
                  </a:lnTo>
                  <a:lnTo>
                    <a:pt x="940" y="825"/>
                  </a:lnTo>
                  <a:lnTo>
                    <a:pt x="939" y="825"/>
                  </a:lnTo>
                  <a:lnTo>
                    <a:pt x="940" y="827"/>
                  </a:lnTo>
                  <a:lnTo>
                    <a:pt x="940" y="828"/>
                  </a:lnTo>
                  <a:lnTo>
                    <a:pt x="940" y="830"/>
                  </a:lnTo>
                  <a:lnTo>
                    <a:pt x="939" y="832"/>
                  </a:lnTo>
                  <a:lnTo>
                    <a:pt x="939" y="833"/>
                  </a:lnTo>
                  <a:lnTo>
                    <a:pt x="937" y="835"/>
                  </a:lnTo>
                  <a:lnTo>
                    <a:pt x="935" y="835"/>
                  </a:lnTo>
                  <a:lnTo>
                    <a:pt x="937" y="836"/>
                  </a:lnTo>
                  <a:lnTo>
                    <a:pt x="935" y="836"/>
                  </a:lnTo>
                  <a:lnTo>
                    <a:pt x="935" y="838"/>
                  </a:lnTo>
                  <a:lnTo>
                    <a:pt x="937" y="838"/>
                  </a:lnTo>
                  <a:lnTo>
                    <a:pt x="937" y="840"/>
                  </a:lnTo>
                  <a:lnTo>
                    <a:pt x="937" y="841"/>
                  </a:lnTo>
                  <a:lnTo>
                    <a:pt x="935" y="841"/>
                  </a:lnTo>
                  <a:lnTo>
                    <a:pt x="935" y="843"/>
                  </a:lnTo>
                  <a:lnTo>
                    <a:pt x="935" y="841"/>
                  </a:lnTo>
                  <a:lnTo>
                    <a:pt x="934" y="840"/>
                  </a:lnTo>
                  <a:lnTo>
                    <a:pt x="932" y="840"/>
                  </a:lnTo>
                  <a:lnTo>
                    <a:pt x="931" y="840"/>
                  </a:lnTo>
                  <a:lnTo>
                    <a:pt x="929" y="840"/>
                  </a:lnTo>
                  <a:lnTo>
                    <a:pt x="929" y="841"/>
                  </a:lnTo>
                  <a:lnTo>
                    <a:pt x="929" y="840"/>
                  </a:lnTo>
                  <a:lnTo>
                    <a:pt x="927" y="840"/>
                  </a:lnTo>
                  <a:lnTo>
                    <a:pt x="927" y="838"/>
                  </a:lnTo>
                  <a:lnTo>
                    <a:pt x="927" y="836"/>
                  </a:lnTo>
                  <a:lnTo>
                    <a:pt x="926" y="835"/>
                  </a:lnTo>
                  <a:lnTo>
                    <a:pt x="927" y="835"/>
                  </a:lnTo>
                  <a:lnTo>
                    <a:pt x="926" y="835"/>
                  </a:lnTo>
                  <a:lnTo>
                    <a:pt x="926" y="836"/>
                  </a:lnTo>
                  <a:lnTo>
                    <a:pt x="927" y="836"/>
                  </a:lnTo>
                  <a:lnTo>
                    <a:pt x="927" y="838"/>
                  </a:lnTo>
                  <a:lnTo>
                    <a:pt x="927" y="840"/>
                  </a:lnTo>
                  <a:lnTo>
                    <a:pt x="929" y="841"/>
                  </a:lnTo>
                  <a:lnTo>
                    <a:pt x="929" y="840"/>
                  </a:lnTo>
                  <a:lnTo>
                    <a:pt x="929" y="841"/>
                  </a:lnTo>
                  <a:lnTo>
                    <a:pt x="931" y="841"/>
                  </a:lnTo>
                  <a:lnTo>
                    <a:pt x="932" y="841"/>
                  </a:lnTo>
                  <a:lnTo>
                    <a:pt x="932" y="843"/>
                  </a:lnTo>
                  <a:lnTo>
                    <a:pt x="934" y="843"/>
                  </a:lnTo>
                  <a:lnTo>
                    <a:pt x="934" y="845"/>
                  </a:lnTo>
                  <a:lnTo>
                    <a:pt x="935" y="846"/>
                  </a:lnTo>
                  <a:lnTo>
                    <a:pt x="935" y="848"/>
                  </a:lnTo>
                  <a:lnTo>
                    <a:pt x="934" y="849"/>
                  </a:lnTo>
                  <a:lnTo>
                    <a:pt x="934" y="851"/>
                  </a:lnTo>
                  <a:lnTo>
                    <a:pt x="934" y="853"/>
                  </a:lnTo>
                  <a:lnTo>
                    <a:pt x="932" y="854"/>
                  </a:lnTo>
                  <a:lnTo>
                    <a:pt x="931" y="856"/>
                  </a:lnTo>
                  <a:lnTo>
                    <a:pt x="931" y="858"/>
                  </a:lnTo>
                  <a:lnTo>
                    <a:pt x="932" y="858"/>
                  </a:lnTo>
                  <a:lnTo>
                    <a:pt x="932" y="859"/>
                  </a:lnTo>
                  <a:lnTo>
                    <a:pt x="931" y="859"/>
                  </a:lnTo>
                  <a:lnTo>
                    <a:pt x="931" y="861"/>
                  </a:lnTo>
                  <a:lnTo>
                    <a:pt x="929" y="861"/>
                  </a:lnTo>
                  <a:lnTo>
                    <a:pt x="927" y="861"/>
                  </a:lnTo>
                  <a:lnTo>
                    <a:pt x="926" y="861"/>
                  </a:lnTo>
                  <a:lnTo>
                    <a:pt x="926" y="862"/>
                  </a:lnTo>
                  <a:lnTo>
                    <a:pt x="926" y="864"/>
                  </a:lnTo>
                  <a:lnTo>
                    <a:pt x="924" y="864"/>
                  </a:lnTo>
                  <a:lnTo>
                    <a:pt x="922" y="864"/>
                  </a:lnTo>
                  <a:lnTo>
                    <a:pt x="921" y="864"/>
                  </a:lnTo>
                  <a:lnTo>
                    <a:pt x="919" y="864"/>
                  </a:lnTo>
                  <a:lnTo>
                    <a:pt x="919" y="866"/>
                  </a:lnTo>
                  <a:lnTo>
                    <a:pt x="918" y="866"/>
                  </a:lnTo>
                  <a:lnTo>
                    <a:pt x="916" y="866"/>
                  </a:lnTo>
                  <a:lnTo>
                    <a:pt x="913" y="866"/>
                  </a:lnTo>
                  <a:lnTo>
                    <a:pt x="911" y="866"/>
                  </a:lnTo>
                  <a:lnTo>
                    <a:pt x="909" y="866"/>
                  </a:lnTo>
                  <a:lnTo>
                    <a:pt x="908" y="866"/>
                  </a:lnTo>
                  <a:lnTo>
                    <a:pt x="906" y="867"/>
                  </a:lnTo>
                  <a:lnTo>
                    <a:pt x="905" y="869"/>
                  </a:lnTo>
                  <a:lnTo>
                    <a:pt x="903" y="869"/>
                  </a:lnTo>
                  <a:lnTo>
                    <a:pt x="901" y="871"/>
                  </a:lnTo>
                  <a:lnTo>
                    <a:pt x="900" y="871"/>
                  </a:lnTo>
                  <a:lnTo>
                    <a:pt x="898" y="872"/>
                  </a:lnTo>
                  <a:lnTo>
                    <a:pt x="895" y="874"/>
                  </a:lnTo>
                  <a:lnTo>
                    <a:pt x="896" y="872"/>
                  </a:lnTo>
                  <a:lnTo>
                    <a:pt x="895" y="872"/>
                  </a:lnTo>
                  <a:lnTo>
                    <a:pt x="895" y="871"/>
                  </a:lnTo>
                  <a:lnTo>
                    <a:pt x="895" y="869"/>
                  </a:lnTo>
                  <a:lnTo>
                    <a:pt x="893" y="869"/>
                  </a:lnTo>
                  <a:lnTo>
                    <a:pt x="893" y="867"/>
                  </a:lnTo>
                  <a:lnTo>
                    <a:pt x="893" y="866"/>
                  </a:lnTo>
                  <a:lnTo>
                    <a:pt x="892" y="866"/>
                  </a:lnTo>
                  <a:lnTo>
                    <a:pt x="890" y="867"/>
                  </a:lnTo>
                  <a:lnTo>
                    <a:pt x="892" y="867"/>
                  </a:lnTo>
                  <a:lnTo>
                    <a:pt x="893" y="869"/>
                  </a:lnTo>
                  <a:lnTo>
                    <a:pt x="893" y="871"/>
                  </a:lnTo>
                  <a:lnTo>
                    <a:pt x="895" y="872"/>
                  </a:lnTo>
                  <a:lnTo>
                    <a:pt x="895" y="874"/>
                  </a:lnTo>
                  <a:lnTo>
                    <a:pt x="893" y="875"/>
                  </a:lnTo>
                  <a:lnTo>
                    <a:pt x="892" y="877"/>
                  </a:lnTo>
                  <a:lnTo>
                    <a:pt x="890" y="877"/>
                  </a:lnTo>
                  <a:lnTo>
                    <a:pt x="890" y="879"/>
                  </a:lnTo>
                  <a:lnTo>
                    <a:pt x="888" y="879"/>
                  </a:lnTo>
                  <a:lnTo>
                    <a:pt x="887" y="879"/>
                  </a:lnTo>
                  <a:lnTo>
                    <a:pt x="887" y="880"/>
                  </a:lnTo>
                  <a:lnTo>
                    <a:pt x="885" y="880"/>
                  </a:lnTo>
                  <a:lnTo>
                    <a:pt x="883" y="882"/>
                  </a:lnTo>
                  <a:lnTo>
                    <a:pt x="882" y="884"/>
                  </a:lnTo>
                  <a:lnTo>
                    <a:pt x="880" y="885"/>
                  </a:lnTo>
                  <a:lnTo>
                    <a:pt x="879" y="885"/>
                  </a:lnTo>
                  <a:lnTo>
                    <a:pt x="879" y="887"/>
                  </a:lnTo>
                  <a:lnTo>
                    <a:pt x="879" y="885"/>
                  </a:lnTo>
                  <a:lnTo>
                    <a:pt x="877" y="885"/>
                  </a:lnTo>
                  <a:lnTo>
                    <a:pt x="875" y="885"/>
                  </a:lnTo>
                  <a:lnTo>
                    <a:pt x="874" y="887"/>
                  </a:lnTo>
                  <a:lnTo>
                    <a:pt x="872" y="888"/>
                  </a:lnTo>
                  <a:lnTo>
                    <a:pt x="870" y="892"/>
                  </a:lnTo>
                  <a:lnTo>
                    <a:pt x="872" y="892"/>
                  </a:lnTo>
                  <a:lnTo>
                    <a:pt x="872" y="893"/>
                  </a:lnTo>
                  <a:lnTo>
                    <a:pt x="870" y="893"/>
                  </a:lnTo>
                  <a:lnTo>
                    <a:pt x="872" y="895"/>
                  </a:lnTo>
                  <a:lnTo>
                    <a:pt x="874" y="897"/>
                  </a:lnTo>
                  <a:lnTo>
                    <a:pt x="875" y="897"/>
                  </a:lnTo>
                  <a:lnTo>
                    <a:pt x="874" y="897"/>
                  </a:lnTo>
                  <a:lnTo>
                    <a:pt x="875" y="897"/>
                  </a:lnTo>
                  <a:lnTo>
                    <a:pt x="875" y="898"/>
                  </a:lnTo>
                  <a:lnTo>
                    <a:pt x="875" y="900"/>
                  </a:lnTo>
                  <a:lnTo>
                    <a:pt x="877" y="900"/>
                  </a:lnTo>
                  <a:lnTo>
                    <a:pt x="877" y="901"/>
                  </a:lnTo>
                  <a:lnTo>
                    <a:pt x="879" y="901"/>
                  </a:lnTo>
                  <a:lnTo>
                    <a:pt x="879" y="903"/>
                  </a:lnTo>
                  <a:lnTo>
                    <a:pt x="879" y="905"/>
                  </a:lnTo>
                  <a:lnTo>
                    <a:pt x="879" y="906"/>
                  </a:lnTo>
                  <a:lnTo>
                    <a:pt x="879" y="908"/>
                  </a:lnTo>
                  <a:lnTo>
                    <a:pt x="879" y="910"/>
                  </a:lnTo>
                  <a:lnTo>
                    <a:pt x="879" y="911"/>
                  </a:lnTo>
                  <a:lnTo>
                    <a:pt x="879" y="913"/>
                  </a:lnTo>
                  <a:lnTo>
                    <a:pt x="877" y="913"/>
                  </a:lnTo>
                  <a:lnTo>
                    <a:pt x="875" y="916"/>
                  </a:lnTo>
                  <a:lnTo>
                    <a:pt x="874" y="921"/>
                  </a:lnTo>
                  <a:lnTo>
                    <a:pt x="874" y="923"/>
                  </a:lnTo>
                  <a:lnTo>
                    <a:pt x="874" y="921"/>
                  </a:lnTo>
                  <a:lnTo>
                    <a:pt x="872" y="921"/>
                  </a:lnTo>
                  <a:lnTo>
                    <a:pt x="872" y="919"/>
                  </a:lnTo>
                  <a:lnTo>
                    <a:pt x="870" y="919"/>
                  </a:lnTo>
                  <a:lnTo>
                    <a:pt x="869" y="919"/>
                  </a:lnTo>
                  <a:lnTo>
                    <a:pt x="869" y="918"/>
                  </a:lnTo>
                  <a:lnTo>
                    <a:pt x="869" y="916"/>
                  </a:lnTo>
                  <a:lnTo>
                    <a:pt x="869" y="914"/>
                  </a:lnTo>
                  <a:lnTo>
                    <a:pt x="867" y="914"/>
                  </a:lnTo>
                  <a:lnTo>
                    <a:pt x="867" y="916"/>
                  </a:lnTo>
                  <a:lnTo>
                    <a:pt x="869" y="916"/>
                  </a:lnTo>
                  <a:lnTo>
                    <a:pt x="869" y="918"/>
                  </a:lnTo>
                  <a:lnTo>
                    <a:pt x="869" y="919"/>
                  </a:lnTo>
                  <a:lnTo>
                    <a:pt x="869" y="921"/>
                  </a:lnTo>
                  <a:lnTo>
                    <a:pt x="870" y="919"/>
                  </a:lnTo>
                  <a:lnTo>
                    <a:pt x="870" y="921"/>
                  </a:lnTo>
                  <a:lnTo>
                    <a:pt x="872" y="923"/>
                  </a:lnTo>
                  <a:lnTo>
                    <a:pt x="874" y="923"/>
                  </a:lnTo>
                  <a:lnTo>
                    <a:pt x="874" y="924"/>
                  </a:lnTo>
                  <a:lnTo>
                    <a:pt x="874" y="926"/>
                  </a:lnTo>
                  <a:lnTo>
                    <a:pt x="872" y="928"/>
                  </a:lnTo>
                  <a:lnTo>
                    <a:pt x="872" y="934"/>
                  </a:lnTo>
                  <a:lnTo>
                    <a:pt x="870" y="936"/>
                  </a:lnTo>
                  <a:lnTo>
                    <a:pt x="870" y="939"/>
                  </a:lnTo>
                  <a:lnTo>
                    <a:pt x="869" y="941"/>
                  </a:lnTo>
                  <a:lnTo>
                    <a:pt x="869" y="942"/>
                  </a:lnTo>
                  <a:lnTo>
                    <a:pt x="869" y="944"/>
                  </a:lnTo>
                  <a:lnTo>
                    <a:pt x="869" y="947"/>
                  </a:lnTo>
                  <a:lnTo>
                    <a:pt x="869" y="949"/>
                  </a:lnTo>
                  <a:lnTo>
                    <a:pt x="867" y="949"/>
                  </a:lnTo>
                  <a:lnTo>
                    <a:pt x="867" y="950"/>
                  </a:lnTo>
                  <a:lnTo>
                    <a:pt x="866" y="952"/>
                  </a:lnTo>
                  <a:lnTo>
                    <a:pt x="866" y="954"/>
                  </a:lnTo>
                  <a:lnTo>
                    <a:pt x="866" y="955"/>
                  </a:lnTo>
                  <a:lnTo>
                    <a:pt x="866" y="957"/>
                  </a:lnTo>
                  <a:lnTo>
                    <a:pt x="864" y="958"/>
                  </a:lnTo>
                  <a:lnTo>
                    <a:pt x="864" y="960"/>
                  </a:lnTo>
                  <a:lnTo>
                    <a:pt x="864" y="962"/>
                  </a:lnTo>
                  <a:lnTo>
                    <a:pt x="862" y="962"/>
                  </a:lnTo>
                  <a:lnTo>
                    <a:pt x="862" y="960"/>
                  </a:lnTo>
                  <a:lnTo>
                    <a:pt x="864" y="955"/>
                  </a:lnTo>
                  <a:lnTo>
                    <a:pt x="864" y="952"/>
                  </a:lnTo>
                  <a:lnTo>
                    <a:pt x="864" y="950"/>
                  </a:lnTo>
                  <a:lnTo>
                    <a:pt x="862" y="950"/>
                  </a:lnTo>
                  <a:lnTo>
                    <a:pt x="861" y="950"/>
                  </a:lnTo>
                  <a:lnTo>
                    <a:pt x="859" y="949"/>
                  </a:lnTo>
                  <a:lnTo>
                    <a:pt x="857" y="949"/>
                  </a:lnTo>
                  <a:lnTo>
                    <a:pt x="856" y="947"/>
                  </a:lnTo>
                  <a:lnTo>
                    <a:pt x="854" y="947"/>
                  </a:lnTo>
                  <a:lnTo>
                    <a:pt x="854" y="945"/>
                  </a:lnTo>
                  <a:lnTo>
                    <a:pt x="853" y="945"/>
                  </a:lnTo>
                  <a:lnTo>
                    <a:pt x="854" y="942"/>
                  </a:lnTo>
                  <a:lnTo>
                    <a:pt x="854" y="941"/>
                  </a:lnTo>
                  <a:lnTo>
                    <a:pt x="854" y="939"/>
                  </a:lnTo>
                  <a:lnTo>
                    <a:pt x="853" y="939"/>
                  </a:lnTo>
                  <a:lnTo>
                    <a:pt x="851" y="939"/>
                  </a:lnTo>
                  <a:lnTo>
                    <a:pt x="851" y="937"/>
                  </a:lnTo>
                  <a:lnTo>
                    <a:pt x="848" y="936"/>
                  </a:lnTo>
                  <a:lnTo>
                    <a:pt x="846" y="937"/>
                  </a:lnTo>
                  <a:lnTo>
                    <a:pt x="844" y="937"/>
                  </a:lnTo>
                  <a:lnTo>
                    <a:pt x="844" y="936"/>
                  </a:lnTo>
                  <a:lnTo>
                    <a:pt x="843" y="936"/>
                  </a:lnTo>
                  <a:lnTo>
                    <a:pt x="841" y="934"/>
                  </a:lnTo>
                  <a:lnTo>
                    <a:pt x="841" y="932"/>
                  </a:lnTo>
                  <a:lnTo>
                    <a:pt x="840" y="932"/>
                  </a:lnTo>
                  <a:lnTo>
                    <a:pt x="840" y="931"/>
                  </a:lnTo>
                  <a:lnTo>
                    <a:pt x="840" y="929"/>
                  </a:lnTo>
                  <a:lnTo>
                    <a:pt x="840" y="928"/>
                  </a:lnTo>
                  <a:lnTo>
                    <a:pt x="838" y="926"/>
                  </a:lnTo>
                  <a:lnTo>
                    <a:pt x="838" y="924"/>
                  </a:lnTo>
                  <a:lnTo>
                    <a:pt x="836" y="924"/>
                  </a:lnTo>
                  <a:lnTo>
                    <a:pt x="836" y="926"/>
                  </a:lnTo>
                  <a:lnTo>
                    <a:pt x="838" y="928"/>
                  </a:lnTo>
                  <a:lnTo>
                    <a:pt x="838" y="929"/>
                  </a:lnTo>
                  <a:lnTo>
                    <a:pt x="838" y="931"/>
                  </a:lnTo>
                  <a:lnTo>
                    <a:pt x="838" y="932"/>
                  </a:lnTo>
                  <a:lnTo>
                    <a:pt x="836" y="934"/>
                  </a:lnTo>
                  <a:lnTo>
                    <a:pt x="836" y="936"/>
                  </a:lnTo>
                  <a:lnTo>
                    <a:pt x="835" y="936"/>
                  </a:lnTo>
                  <a:lnTo>
                    <a:pt x="836" y="936"/>
                  </a:lnTo>
                  <a:lnTo>
                    <a:pt x="835" y="936"/>
                  </a:lnTo>
                  <a:lnTo>
                    <a:pt x="835" y="934"/>
                  </a:lnTo>
                  <a:lnTo>
                    <a:pt x="835" y="932"/>
                  </a:lnTo>
                  <a:lnTo>
                    <a:pt x="833" y="932"/>
                  </a:lnTo>
                  <a:lnTo>
                    <a:pt x="831" y="931"/>
                  </a:lnTo>
                  <a:lnTo>
                    <a:pt x="831" y="929"/>
                  </a:lnTo>
                  <a:lnTo>
                    <a:pt x="830" y="929"/>
                  </a:lnTo>
                  <a:lnTo>
                    <a:pt x="830" y="931"/>
                  </a:lnTo>
                  <a:lnTo>
                    <a:pt x="830" y="929"/>
                  </a:lnTo>
                  <a:lnTo>
                    <a:pt x="828" y="929"/>
                  </a:lnTo>
                  <a:lnTo>
                    <a:pt x="830" y="928"/>
                  </a:lnTo>
                  <a:lnTo>
                    <a:pt x="830" y="926"/>
                  </a:lnTo>
                  <a:lnTo>
                    <a:pt x="830" y="924"/>
                  </a:lnTo>
                  <a:lnTo>
                    <a:pt x="828" y="924"/>
                  </a:lnTo>
                  <a:lnTo>
                    <a:pt x="826" y="924"/>
                  </a:lnTo>
                  <a:lnTo>
                    <a:pt x="825" y="924"/>
                  </a:lnTo>
                  <a:lnTo>
                    <a:pt x="823" y="924"/>
                  </a:lnTo>
                  <a:lnTo>
                    <a:pt x="822" y="926"/>
                  </a:lnTo>
                  <a:lnTo>
                    <a:pt x="820" y="928"/>
                  </a:lnTo>
                  <a:lnTo>
                    <a:pt x="820" y="929"/>
                  </a:lnTo>
                  <a:lnTo>
                    <a:pt x="818" y="931"/>
                  </a:lnTo>
                  <a:lnTo>
                    <a:pt x="818" y="934"/>
                  </a:lnTo>
                  <a:lnTo>
                    <a:pt x="818" y="936"/>
                  </a:lnTo>
                  <a:lnTo>
                    <a:pt x="820" y="937"/>
                  </a:lnTo>
                  <a:lnTo>
                    <a:pt x="820" y="939"/>
                  </a:lnTo>
                  <a:lnTo>
                    <a:pt x="822" y="939"/>
                  </a:lnTo>
                  <a:lnTo>
                    <a:pt x="823" y="941"/>
                  </a:lnTo>
                  <a:lnTo>
                    <a:pt x="825" y="942"/>
                  </a:lnTo>
                  <a:lnTo>
                    <a:pt x="826" y="942"/>
                  </a:lnTo>
                  <a:lnTo>
                    <a:pt x="830" y="944"/>
                  </a:lnTo>
                  <a:lnTo>
                    <a:pt x="830" y="945"/>
                  </a:lnTo>
                  <a:lnTo>
                    <a:pt x="831" y="945"/>
                  </a:lnTo>
                  <a:lnTo>
                    <a:pt x="835" y="945"/>
                  </a:lnTo>
                  <a:lnTo>
                    <a:pt x="835" y="947"/>
                  </a:lnTo>
                  <a:lnTo>
                    <a:pt x="835" y="945"/>
                  </a:lnTo>
                  <a:lnTo>
                    <a:pt x="836" y="945"/>
                  </a:lnTo>
                  <a:lnTo>
                    <a:pt x="838" y="945"/>
                  </a:lnTo>
                  <a:lnTo>
                    <a:pt x="840" y="945"/>
                  </a:lnTo>
                  <a:lnTo>
                    <a:pt x="840" y="947"/>
                  </a:lnTo>
                  <a:lnTo>
                    <a:pt x="843" y="947"/>
                  </a:lnTo>
                  <a:lnTo>
                    <a:pt x="843" y="949"/>
                  </a:lnTo>
                  <a:lnTo>
                    <a:pt x="844" y="949"/>
                  </a:lnTo>
                  <a:lnTo>
                    <a:pt x="846" y="949"/>
                  </a:lnTo>
                  <a:lnTo>
                    <a:pt x="846" y="947"/>
                  </a:lnTo>
                  <a:lnTo>
                    <a:pt x="848" y="947"/>
                  </a:lnTo>
                  <a:lnTo>
                    <a:pt x="849" y="949"/>
                  </a:lnTo>
                  <a:lnTo>
                    <a:pt x="851" y="949"/>
                  </a:lnTo>
                  <a:lnTo>
                    <a:pt x="849" y="949"/>
                  </a:lnTo>
                  <a:lnTo>
                    <a:pt x="849" y="950"/>
                  </a:lnTo>
                  <a:lnTo>
                    <a:pt x="851" y="950"/>
                  </a:lnTo>
                  <a:lnTo>
                    <a:pt x="851" y="952"/>
                  </a:lnTo>
                  <a:lnTo>
                    <a:pt x="851" y="954"/>
                  </a:lnTo>
                  <a:lnTo>
                    <a:pt x="851" y="955"/>
                  </a:lnTo>
                  <a:lnTo>
                    <a:pt x="853" y="955"/>
                  </a:lnTo>
                  <a:lnTo>
                    <a:pt x="854" y="955"/>
                  </a:lnTo>
                  <a:lnTo>
                    <a:pt x="854" y="957"/>
                  </a:lnTo>
                  <a:lnTo>
                    <a:pt x="856" y="958"/>
                  </a:lnTo>
                  <a:lnTo>
                    <a:pt x="857" y="960"/>
                  </a:lnTo>
                  <a:lnTo>
                    <a:pt x="859" y="962"/>
                  </a:lnTo>
                  <a:lnTo>
                    <a:pt x="859" y="963"/>
                  </a:lnTo>
                  <a:lnTo>
                    <a:pt x="861" y="963"/>
                  </a:lnTo>
                  <a:lnTo>
                    <a:pt x="862" y="962"/>
                  </a:lnTo>
                  <a:lnTo>
                    <a:pt x="864" y="962"/>
                  </a:lnTo>
                  <a:lnTo>
                    <a:pt x="862" y="962"/>
                  </a:lnTo>
                  <a:lnTo>
                    <a:pt x="862" y="963"/>
                  </a:lnTo>
                  <a:lnTo>
                    <a:pt x="861" y="965"/>
                  </a:lnTo>
                  <a:lnTo>
                    <a:pt x="861" y="967"/>
                  </a:lnTo>
                  <a:lnTo>
                    <a:pt x="859" y="971"/>
                  </a:lnTo>
                  <a:lnTo>
                    <a:pt x="856" y="976"/>
                  </a:lnTo>
                  <a:lnTo>
                    <a:pt x="856" y="978"/>
                  </a:lnTo>
                  <a:lnTo>
                    <a:pt x="853" y="981"/>
                  </a:lnTo>
                  <a:lnTo>
                    <a:pt x="854" y="978"/>
                  </a:lnTo>
                  <a:lnTo>
                    <a:pt x="856" y="978"/>
                  </a:lnTo>
                  <a:lnTo>
                    <a:pt x="856" y="976"/>
                  </a:lnTo>
                  <a:lnTo>
                    <a:pt x="856" y="975"/>
                  </a:lnTo>
                  <a:lnTo>
                    <a:pt x="859" y="970"/>
                  </a:lnTo>
                  <a:lnTo>
                    <a:pt x="859" y="968"/>
                  </a:lnTo>
                  <a:lnTo>
                    <a:pt x="859" y="967"/>
                  </a:lnTo>
                  <a:lnTo>
                    <a:pt x="857" y="967"/>
                  </a:lnTo>
                  <a:lnTo>
                    <a:pt x="859" y="967"/>
                  </a:lnTo>
                  <a:lnTo>
                    <a:pt x="857" y="967"/>
                  </a:lnTo>
                  <a:lnTo>
                    <a:pt x="857" y="968"/>
                  </a:lnTo>
                  <a:lnTo>
                    <a:pt x="857" y="970"/>
                  </a:lnTo>
                  <a:lnTo>
                    <a:pt x="856" y="970"/>
                  </a:lnTo>
                  <a:lnTo>
                    <a:pt x="856" y="968"/>
                  </a:lnTo>
                  <a:lnTo>
                    <a:pt x="854" y="968"/>
                  </a:lnTo>
                  <a:lnTo>
                    <a:pt x="856" y="968"/>
                  </a:lnTo>
                  <a:lnTo>
                    <a:pt x="856" y="970"/>
                  </a:lnTo>
                  <a:lnTo>
                    <a:pt x="857" y="971"/>
                  </a:lnTo>
                  <a:lnTo>
                    <a:pt x="856" y="973"/>
                  </a:lnTo>
                  <a:lnTo>
                    <a:pt x="854" y="973"/>
                  </a:lnTo>
                  <a:lnTo>
                    <a:pt x="854" y="975"/>
                  </a:lnTo>
                  <a:lnTo>
                    <a:pt x="853" y="975"/>
                  </a:lnTo>
                  <a:lnTo>
                    <a:pt x="853" y="976"/>
                  </a:lnTo>
                  <a:lnTo>
                    <a:pt x="851" y="978"/>
                  </a:lnTo>
                  <a:lnTo>
                    <a:pt x="851" y="980"/>
                  </a:lnTo>
                  <a:lnTo>
                    <a:pt x="851" y="981"/>
                  </a:lnTo>
                  <a:lnTo>
                    <a:pt x="849" y="981"/>
                  </a:lnTo>
                  <a:lnTo>
                    <a:pt x="851" y="983"/>
                  </a:lnTo>
                  <a:lnTo>
                    <a:pt x="853" y="984"/>
                  </a:lnTo>
                  <a:lnTo>
                    <a:pt x="853" y="983"/>
                  </a:lnTo>
                  <a:lnTo>
                    <a:pt x="853" y="981"/>
                  </a:lnTo>
                  <a:lnTo>
                    <a:pt x="853" y="983"/>
                  </a:lnTo>
                  <a:lnTo>
                    <a:pt x="853" y="984"/>
                  </a:lnTo>
                  <a:lnTo>
                    <a:pt x="853" y="986"/>
                  </a:lnTo>
                  <a:lnTo>
                    <a:pt x="849" y="993"/>
                  </a:lnTo>
                  <a:lnTo>
                    <a:pt x="848" y="996"/>
                  </a:lnTo>
                  <a:lnTo>
                    <a:pt x="846" y="997"/>
                  </a:lnTo>
                  <a:lnTo>
                    <a:pt x="846" y="999"/>
                  </a:lnTo>
                  <a:lnTo>
                    <a:pt x="843" y="1004"/>
                  </a:lnTo>
                  <a:lnTo>
                    <a:pt x="841" y="1006"/>
                  </a:lnTo>
                  <a:lnTo>
                    <a:pt x="840" y="1002"/>
                  </a:lnTo>
                  <a:lnTo>
                    <a:pt x="840" y="1001"/>
                  </a:lnTo>
                  <a:lnTo>
                    <a:pt x="840" y="999"/>
                  </a:lnTo>
                  <a:lnTo>
                    <a:pt x="838" y="997"/>
                  </a:lnTo>
                  <a:lnTo>
                    <a:pt x="836" y="996"/>
                  </a:lnTo>
                  <a:lnTo>
                    <a:pt x="836" y="994"/>
                  </a:lnTo>
                  <a:lnTo>
                    <a:pt x="835" y="994"/>
                  </a:lnTo>
                  <a:lnTo>
                    <a:pt x="835" y="996"/>
                  </a:lnTo>
                  <a:lnTo>
                    <a:pt x="836" y="996"/>
                  </a:lnTo>
                  <a:lnTo>
                    <a:pt x="835" y="996"/>
                  </a:lnTo>
                  <a:lnTo>
                    <a:pt x="836" y="997"/>
                  </a:lnTo>
                  <a:lnTo>
                    <a:pt x="836" y="999"/>
                  </a:lnTo>
                  <a:lnTo>
                    <a:pt x="835" y="1002"/>
                  </a:lnTo>
                  <a:lnTo>
                    <a:pt x="835" y="1004"/>
                  </a:lnTo>
                  <a:lnTo>
                    <a:pt x="836" y="1004"/>
                  </a:lnTo>
                  <a:lnTo>
                    <a:pt x="836" y="1007"/>
                  </a:lnTo>
                  <a:lnTo>
                    <a:pt x="836" y="1009"/>
                  </a:lnTo>
                  <a:lnTo>
                    <a:pt x="835" y="1009"/>
                  </a:lnTo>
                  <a:lnTo>
                    <a:pt x="835" y="1007"/>
                  </a:lnTo>
                  <a:lnTo>
                    <a:pt x="835" y="1009"/>
                  </a:lnTo>
                  <a:lnTo>
                    <a:pt x="835" y="1010"/>
                  </a:lnTo>
                  <a:lnTo>
                    <a:pt x="833" y="1010"/>
                  </a:lnTo>
                  <a:lnTo>
                    <a:pt x="833" y="1009"/>
                  </a:lnTo>
                  <a:lnTo>
                    <a:pt x="830" y="1007"/>
                  </a:lnTo>
                  <a:lnTo>
                    <a:pt x="828" y="1006"/>
                  </a:lnTo>
                  <a:lnTo>
                    <a:pt x="826" y="1006"/>
                  </a:lnTo>
                  <a:lnTo>
                    <a:pt x="826" y="1002"/>
                  </a:lnTo>
                  <a:lnTo>
                    <a:pt x="825" y="1002"/>
                  </a:lnTo>
                  <a:lnTo>
                    <a:pt x="825" y="1001"/>
                  </a:lnTo>
                  <a:lnTo>
                    <a:pt x="825" y="999"/>
                  </a:lnTo>
                  <a:lnTo>
                    <a:pt x="823" y="999"/>
                  </a:lnTo>
                  <a:lnTo>
                    <a:pt x="822" y="999"/>
                  </a:lnTo>
                  <a:lnTo>
                    <a:pt x="822" y="1001"/>
                  </a:lnTo>
                  <a:lnTo>
                    <a:pt x="822" y="1002"/>
                  </a:lnTo>
                  <a:lnTo>
                    <a:pt x="822" y="1004"/>
                  </a:lnTo>
                  <a:lnTo>
                    <a:pt x="823" y="1006"/>
                  </a:lnTo>
                  <a:lnTo>
                    <a:pt x="823" y="1007"/>
                  </a:lnTo>
                  <a:lnTo>
                    <a:pt x="823" y="1009"/>
                  </a:lnTo>
                  <a:lnTo>
                    <a:pt x="825" y="1010"/>
                  </a:lnTo>
                  <a:lnTo>
                    <a:pt x="825" y="1012"/>
                  </a:lnTo>
                  <a:lnTo>
                    <a:pt x="825" y="1017"/>
                  </a:lnTo>
                  <a:lnTo>
                    <a:pt x="825" y="1019"/>
                  </a:lnTo>
                  <a:lnTo>
                    <a:pt x="825" y="1017"/>
                  </a:lnTo>
                  <a:lnTo>
                    <a:pt x="823" y="1017"/>
                  </a:lnTo>
                  <a:lnTo>
                    <a:pt x="822" y="1015"/>
                  </a:lnTo>
                  <a:lnTo>
                    <a:pt x="822" y="1014"/>
                  </a:lnTo>
                  <a:lnTo>
                    <a:pt x="820" y="1010"/>
                  </a:lnTo>
                  <a:lnTo>
                    <a:pt x="820" y="1009"/>
                  </a:lnTo>
                  <a:lnTo>
                    <a:pt x="820" y="1010"/>
                  </a:lnTo>
                  <a:lnTo>
                    <a:pt x="820" y="1015"/>
                  </a:lnTo>
                  <a:lnTo>
                    <a:pt x="822" y="1017"/>
                  </a:lnTo>
                  <a:lnTo>
                    <a:pt x="820" y="1019"/>
                  </a:lnTo>
                  <a:lnTo>
                    <a:pt x="822" y="1019"/>
                  </a:lnTo>
                  <a:lnTo>
                    <a:pt x="823" y="1022"/>
                  </a:lnTo>
                  <a:lnTo>
                    <a:pt x="825" y="1023"/>
                  </a:lnTo>
                  <a:lnTo>
                    <a:pt x="823" y="1022"/>
                  </a:lnTo>
                  <a:lnTo>
                    <a:pt x="822" y="1022"/>
                  </a:lnTo>
                  <a:lnTo>
                    <a:pt x="822" y="1020"/>
                  </a:lnTo>
                  <a:lnTo>
                    <a:pt x="820" y="1020"/>
                  </a:lnTo>
                  <a:lnTo>
                    <a:pt x="820" y="1022"/>
                  </a:lnTo>
                  <a:lnTo>
                    <a:pt x="820" y="1020"/>
                  </a:lnTo>
                  <a:lnTo>
                    <a:pt x="820" y="1019"/>
                  </a:lnTo>
                  <a:lnTo>
                    <a:pt x="818" y="1019"/>
                  </a:lnTo>
                  <a:lnTo>
                    <a:pt x="818" y="1017"/>
                  </a:lnTo>
                  <a:lnTo>
                    <a:pt x="818" y="1019"/>
                  </a:lnTo>
                  <a:lnTo>
                    <a:pt x="817" y="1017"/>
                  </a:lnTo>
                  <a:lnTo>
                    <a:pt x="818" y="1019"/>
                  </a:lnTo>
                  <a:lnTo>
                    <a:pt x="818" y="1020"/>
                  </a:lnTo>
                  <a:lnTo>
                    <a:pt x="818" y="1022"/>
                  </a:lnTo>
                  <a:lnTo>
                    <a:pt x="817" y="1023"/>
                  </a:lnTo>
                  <a:lnTo>
                    <a:pt x="813" y="1023"/>
                  </a:lnTo>
                  <a:lnTo>
                    <a:pt x="813" y="1025"/>
                  </a:lnTo>
                  <a:lnTo>
                    <a:pt x="813" y="1023"/>
                  </a:lnTo>
                  <a:lnTo>
                    <a:pt x="812" y="1025"/>
                  </a:lnTo>
                  <a:lnTo>
                    <a:pt x="812" y="1027"/>
                  </a:lnTo>
                  <a:lnTo>
                    <a:pt x="812" y="1028"/>
                  </a:lnTo>
                  <a:lnTo>
                    <a:pt x="810" y="1028"/>
                  </a:lnTo>
                  <a:lnTo>
                    <a:pt x="810" y="1027"/>
                  </a:lnTo>
                  <a:lnTo>
                    <a:pt x="810" y="1028"/>
                  </a:lnTo>
                  <a:lnTo>
                    <a:pt x="812" y="1030"/>
                  </a:lnTo>
                  <a:lnTo>
                    <a:pt x="812" y="1028"/>
                  </a:lnTo>
                  <a:lnTo>
                    <a:pt x="812" y="1030"/>
                  </a:lnTo>
                  <a:lnTo>
                    <a:pt x="813" y="1032"/>
                  </a:lnTo>
                  <a:lnTo>
                    <a:pt x="815" y="1033"/>
                  </a:lnTo>
                  <a:lnTo>
                    <a:pt x="817" y="1033"/>
                  </a:lnTo>
                  <a:lnTo>
                    <a:pt x="820" y="1033"/>
                  </a:lnTo>
                  <a:lnTo>
                    <a:pt x="822" y="1033"/>
                  </a:lnTo>
                  <a:lnTo>
                    <a:pt x="822" y="1032"/>
                  </a:lnTo>
                  <a:lnTo>
                    <a:pt x="823" y="1032"/>
                  </a:lnTo>
                  <a:lnTo>
                    <a:pt x="822" y="1032"/>
                  </a:lnTo>
                  <a:lnTo>
                    <a:pt x="823" y="1032"/>
                  </a:lnTo>
                  <a:lnTo>
                    <a:pt x="825" y="1028"/>
                  </a:lnTo>
                  <a:lnTo>
                    <a:pt x="826" y="1027"/>
                  </a:lnTo>
                  <a:lnTo>
                    <a:pt x="828" y="1025"/>
                  </a:lnTo>
                  <a:lnTo>
                    <a:pt x="828" y="1023"/>
                  </a:lnTo>
                  <a:lnTo>
                    <a:pt x="830" y="1022"/>
                  </a:lnTo>
                  <a:lnTo>
                    <a:pt x="830" y="1020"/>
                  </a:lnTo>
                  <a:lnTo>
                    <a:pt x="831" y="1020"/>
                  </a:lnTo>
                  <a:lnTo>
                    <a:pt x="831" y="1019"/>
                  </a:lnTo>
                  <a:lnTo>
                    <a:pt x="833" y="1017"/>
                  </a:lnTo>
                  <a:lnTo>
                    <a:pt x="835" y="1015"/>
                  </a:lnTo>
                  <a:lnTo>
                    <a:pt x="835" y="1014"/>
                  </a:lnTo>
                  <a:lnTo>
                    <a:pt x="835" y="1012"/>
                  </a:lnTo>
                  <a:lnTo>
                    <a:pt x="836" y="1010"/>
                  </a:lnTo>
                  <a:lnTo>
                    <a:pt x="838" y="1010"/>
                  </a:lnTo>
                  <a:lnTo>
                    <a:pt x="838" y="1009"/>
                  </a:lnTo>
                  <a:lnTo>
                    <a:pt x="840" y="1007"/>
                  </a:lnTo>
                  <a:lnTo>
                    <a:pt x="840" y="1006"/>
                  </a:lnTo>
                  <a:lnTo>
                    <a:pt x="840" y="1007"/>
                  </a:lnTo>
                  <a:lnTo>
                    <a:pt x="838" y="1009"/>
                  </a:lnTo>
                  <a:lnTo>
                    <a:pt x="836" y="1010"/>
                  </a:lnTo>
                  <a:lnTo>
                    <a:pt x="836" y="1012"/>
                  </a:lnTo>
                  <a:lnTo>
                    <a:pt x="835" y="1014"/>
                  </a:lnTo>
                  <a:lnTo>
                    <a:pt x="833" y="1019"/>
                  </a:lnTo>
                  <a:lnTo>
                    <a:pt x="831" y="1020"/>
                  </a:lnTo>
                  <a:lnTo>
                    <a:pt x="830" y="1022"/>
                  </a:lnTo>
                  <a:lnTo>
                    <a:pt x="828" y="1025"/>
                  </a:lnTo>
                  <a:lnTo>
                    <a:pt x="825" y="1028"/>
                  </a:lnTo>
                  <a:lnTo>
                    <a:pt x="823" y="1030"/>
                  </a:lnTo>
                  <a:lnTo>
                    <a:pt x="823" y="1032"/>
                  </a:lnTo>
                  <a:lnTo>
                    <a:pt x="822" y="1033"/>
                  </a:lnTo>
                  <a:lnTo>
                    <a:pt x="820" y="1035"/>
                  </a:lnTo>
                  <a:lnTo>
                    <a:pt x="818" y="1038"/>
                  </a:lnTo>
                  <a:lnTo>
                    <a:pt x="817" y="1040"/>
                  </a:lnTo>
                  <a:lnTo>
                    <a:pt x="813" y="1043"/>
                  </a:lnTo>
                  <a:lnTo>
                    <a:pt x="813" y="1045"/>
                  </a:lnTo>
                  <a:lnTo>
                    <a:pt x="812" y="1045"/>
                  </a:lnTo>
                  <a:lnTo>
                    <a:pt x="813" y="1045"/>
                  </a:lnTo>
                  <a:lnTo>
                    <a:pt x="813" y="1043"/>
                  </a:lnTo>
                  <a:lnTo>
                    <a:pt x="818" y="1038"/>
                  </a:lnTo>
                  <a:lnTo>
                    <a:pt x="817" y="1038"/>
                  </a:lnTo>
                  <a:lnTo>
                    <a:pt x="815" y="1038"/>
                  </a:lnTo>
                  <a:lnTo>
                    <a:pt x="815" y="1040"/>
                  </a:lnTo>
                  <a:lnTo>
                    <a:pt x="813" y="1038"/>
                  </a:lnTo>
                  <a:lnTo>
                    <a:pt x="813" y="1040"/>
                  </a:lnTo>
                  <a:lnTo>
                    <a:pt x="813" y="1041"/>
                  </a:lnTo>
                  <a:lnTo>
                    <a:pt x="813" y="1043"/>
                  </a:lnTo>
                  <a:lnTo>
                    <a:pt x="812" y="1045"/>
                  </a:lnTo>
                  <a:lnTo>
                    <a:pt x="810" y="1045"/>
                  </a:lnTo>
                  <a:lnTo>
                    <a:pt x="812" y="1045"/>
                  </a:lnTo>
                  <a:lnTo>
                    <a:pt x="810" y="1045"/>
                  </a:lnTo>
                  <a:lnTo>
                    <a:pt x="809" y="1045"/>
                  </a:lnTo>
                  <a:lnTo>
                    <a:pt x="810" y="1045"/>
                  </a:lnTo>
                  <a:lnTo>
                    <a:pt x="809" y="1045"/>
                  </a:lnTo>
                  <a:lnTo>
                    <a:pt x="810" y="1045"/>
                  </a:lnTo>
                  <a:lnTo>
                    <a:pt x="810" y="1046"/>
                  </a:lnTo>
                  <a:lnTo>
                    <a:pt x="810" y="1045"/>
                  </a:lnTo>
                  <a:lnTo>
                    <a:pt x="810" y="1046"/>
                  </a:lnTo>
                  <a:lnTo>
                    <a:pt x="810" y="1048"/>
                  </a:lnTo>
                  <a:lnTo>
                    <a:pt x="812" y="1046"/>
                  </a:lnTo>
                  <a:lnTo>
                    <a:pt x="810" y="1048"/>
                  </a:lnTo>
                  <a:lnTo>
                    <a:pt x="810" y="1049"/>
                  </a:lnTo>
                  <a:lnTo>
                    <a:pt x="809" y="1049"/>
                  </a:lnTo>
                  <a:lnTo>
                    <a:pt x="809" y="1051"/>
                  </a:lnTo>
                  <a:lnTo>
                    <a:pt x="807" y="1053"/>
                  </a:lnTo>
                  <a:lnTo>
                    <a:pt x="807" y="1054"/>
                  </a:lnTo>
                  <a:lnTo>
                    <a:pt x="804" y="1059"/>
                  </a:lnTo>
                  <a:lnTo>
                    <a:pt x="804" y="1061"/>
                  </a:lnTo>
                  <a:lnTo>
                    <a:pt x="802" y="1064"/>
                  </a:lnTo>
                  <a:lnTo>
                    <a:pt x="802" y="1066"/>
                  </a:lnTo>
                  <a:lnTo>
                    <a:pt x="804" y="1066"/>
                  </a:lnTo>
                  <a:lnTo>
                    <a:pt x="804" y="1067"/>
                  </a:lnTo>
                  <a:lnTo>
                    <a:pt x="802" y="1066"/>
                  </a:lnTo>
                  <a:lnTo>
                    <a:pt x="802" y="1067"/>
                  </a:lnTo>
                  <a:lnTo>
                    <a:pt x="802" y="1066"/>
                  </a:lnTo>
                  <a:lnTo>
                    <a:pt x="802" y="1067"/>
                  </a:lnTo>
                  <a:lnTo>
                    <a:pt x="802" y="1069"/>
                  </a:lnTo>
                  <a:lnTo>
                    <a:pt x="804" y="1069"/>
                  </a:lnTo>
                  <a:lnTo>
                    <a:pt x="804" y="1067"/>
                  </a:lnTo>
                  <a:lnTo>
                    <a:pt x="804" y="1069"/>
                  </a:lnTo>
                  <a:lnTo>
                    <a:pt x="805" y="1069"/>
                  </a:lnTo>
                  <a:lnTo>
                    <a:pt x="807" y="1071"/>
                  </a:lnTo>
                  <a:lnTo>
                    <a:pt x="807" y="1069"/>
                  </a:lnTo>
                  <a:lnTo>
                    <a:pt x="807" y="1067"/>
                  </a:lnTo>
                  <a:lnTo>
                    <a:pt x="807" y="1069"/>
                  </a:lnTo>
                  <a:lnTo>
                    <a:pt x="807" y="1067"/>
                  </a:lnTo>
                  <a:lnTo>
                    <a:pt x="807" y="1066"/>
                  </a:lnTo>
                  <a:lnTo>
                    <a:pt x="809" y="1067"/>
                  </a:lnTo>
                  <a:lnTo>
                    <a:pt x="809" y="1069"/>
                  </a:lnTo>
                  <a:lnTo>
                    <a:pt x="810" y="1069"/>
                  </a:lnTo>
                  <a:lnTo>
                    <a:pt x="810" y="1067"/>
                  </a:lnTo>
                  <a:lnTo>
                    <a:pt x="812" y="1067"/>
                  </a:lnTo>
                  <a:lnTo>
                    <a:pt x="813" y="1066"/>
                  </a:lnTo>
                  <a:lnTo>
                    <a:pt x="813" y="1067"/>
                  </a:lnTo>
                  <a:lnTo>
                    <a:pt x="813" y="1069"/>
                  </a:lnTo>
                  <a:lnTo>
                    <a:pt x="812" y="1071"/>
                  </a:lnTo>
                  <a:lnTo>
                    <a:pt x="810" y="1072"/>
                  </a:lnTo>
                  <a:lnTo>
                    <a:pt x="809" y="1072"/>
                  </a:lnTo>
                  <a:lnTo>
                    <a:pt x="805" y="1077"/>
                  </a:lnTo>
                  <a:lnTo>
                    <a:pt x="805" y="1079"/>
                  </a:lnTo>
                  <a:lnTo>
                    <a:pt x="805" y="1080"/>
                  </a:lnTo>
                  <a:lnTo>
                    <a:pt x="804" y="1080"/>
                  </a:lnTo>
                  <a:lnTo>
                    <a:pt x="799" y="1079"/>
                  </a:lnTo>
                  <a:lnTo>
                    <a:pt x="799" y="1077"/>
                  </a:lnTo>
                  <a:lnTo>
                    <a:pt x="797" y="1076"/>
                  </a:lnTo>
                  <a:lnTo>
                    <a:pt x="796" y="1074"/>
                  </a:lnTo>
                  <a:lnTo>
                    <a:pt x="794" y="1074"/>
                  </a:lnTo>
                  <a:lnTo>
                    <a:pt x="792" y="1074"/>
                  </a:lnTo>
                  <a:lnTo>
                    <a:pt x="791" y="1074"/>
                  </a:lnTo>
                  <a:lnTo>
                    <a:pt x="789" y="1074"/>
                  </a:lnTo>
                  <a:lnTo>
                    <a:pt x="786" y="1077"/>
                  </a:lnTo>
                  <a:lnTo>
                    <a:pt x="784" y="1077"/>
                  </a:lnTo>
                  <a:lnTo>
                    <a:pt x="783" y="1079"/>
                  </a:lnTo>
                  <a:lnTo>
                    <a:pt x="779" y="1079"/>
                  </a:lnTo>
                  <a:lnTo>
                    <a:pt x="779" y="1080"/>
                  </a:lnTo>
                  <a:lnTo>
                    <a:pt x="778" y="1080"/>
                  </a:lnTo>
                  <a:lnTo>
                    <a:pt x="776" y="1079"/>
                  </a:lnTo>
                  <a:lnTo>
                    <a:pt x="774" y="1080"/>
                  </a:lnTo>
                  <a:lnTo>
                    <a:pt x="773" y="1082"/>
                  </a:lnTo>
                  <a:lnTo>
                    <a:pt x="773" y="1084"/>
                  </a:lnTo>
                  <a:lnTo>
                    <a:pt x="771" y="1084"/>
                  </a:lnTo>
                  <a:lnTo>
                    <a:pt x="770" y="1082"/>
                  </a:lnTo>
                  <a:lnTo>
                    <a:pt x="768" y="1082"/>
                  </a:lnTo>
                  <a:lnTo>
                    <a:pt x="766" y="1082"/>
                  </a:lnTo>
                  <a:lnTo>
                    <a:pt x="765" y="1084"/>
                  </a:lnTo>
                  <a:lnTo>
                    <a:pt x="765" y="1085"/>
                  </a:lnTo>
                  <a:lnTo>
                    <a:pt x="765" y="1087"/>
                  </a:lnTo>
                  <a:lnTo>
                    <a:pt x="763" y="1089"/>
                  </a:lnTo>
                  <a:lnTo>
                    <a:pt x="763" y="1090"/>
                  </a:lnTo>
                  <a:lnTo>
                    <a:pt x="761" y="1090"/>
                  </a:lnTo>
                  <a:lnTo>
                    <a:pt x="760" y="1093"/>
                  </a:lnTo>
                  <a:lnTo>
                    <a:pt x="758" y="1093"/>
                  </a:lnTo>
                  <a:lnTo>
                    <a:pt x="757" y="1093"/>
                  </a:lnTo>
                  <a:lnTo>
                    <a:pt x="753" y="1095"/>
                  </a:lnTo>
                  <a:lnTo>
                    <a:pt x="752" y="1097"/>
                  </a:lnTo>
                  <a:lnTo>
                    <a:pt x="750" y="1098"/>
                  </a:lnTo>
                  <a:lnTo>
                    <a:pt x="748" y="1098"/>
                  </a:lnTo>
                  <a:lnTo>
                    <a:pt x="748" y="1100"/>
                  </a:lnTo>
                  <a:lnTo>
                    <a:pt x="747" y="1100"/>
                  </a:lnTo>
                  <a:lnTo>
                    <a:pt x="745" y="1102"/>
                  </a:lnTo>
                  <a:lnTo>
                    <a:pt x="745" y="1103"/>
                  </a:lnTo>
                  <a:lnTo>
                    <a:pt x="744" y="1105"/>
                  </a:lnTo>
                  <a:lnTo>
                    <a:pt x="744" y="1106"/>
                  </a:lnTo>
                  <a:lnTo>
                    <a:pt x="744" y="1108"/>
                  </a:lnTo>
                  <a:lnTo>
                    <a:pt x="744" y="1110"/>
                  </a:lnTo>
                  <a:lnTo>
                    <a:pt x="745" y="1110"/>
                  </a:lnTo>
                  <a:lnTo>
                    <a:pt x="745" y="1111"/>
                  </a:lnTo>
                  <a:lnTo>
                    <a:pt x="744" y="1113"/>
                  </a:lnTo>
                  <a:lnTo>
                    <a:pt x="742" y="1113"/>
                  </a:lnTo>
                  <a:lnTo>
                    <a:pt x="740" y="1111"/>
                  </a:lnTo>
                  <a:lnTo>
                    <a:pt x="739" y="1111"/>
                  </a:lnTo>
                  <a:lnTo>
                    <a:pt x="737" y="1110"/>
                  </a:lnTo>
                  <a:lnTo>
                    <a:pt x="735" y="1110"/>
                  </a:lnTo>
                  <a:lnTo>
                    <a:pt x="734" y="1110"/>
                  </a:lnTo>
                  <a:lnTo>
                    <a:pt x="732" y="1110"/>
                  </a:lnTo>
                  <a:lnTo>
                    <a:pt x="731" y="1108"/>
                  </a:lnTo>
                  <a:lnTo>
                    <a:pt x="729" y="1108"/>
                  </a:lnTo>
                  <a:lnTo>
                    <a:pt x="727" y="1108"/>
                  </a:lnTo>
                  <a:lnTo>
                    <a:pt x="727" y="1110"/>
                  </a:lnTo>
                  <a:lnTo>
                    <a:pt x="727" y="1111"/>
                  </a:lnTo>
                  <a:lnTo>
                    <a:pt x="729" y="1111"/>
                  </a:lnTo>
                  <a:lnTo>
                    <a:pt x="729" y="1113"/>
                  </a:lnTo>
                  <a:lnTo>
                    <a:pt x="729" y="1115"/>
                  </a:lnTo>
                  <a:lnTo>
                    <a:pt x="726" y="1116"/>
                  </a:lnTo>
                  <a:lnTo>
                    <a:pt x="726" y="1118"/>
                  </a:lnTo>
                  <a:lnTo>
                    <a:pt x="726" y="1119"/>
                  </a:lnTo>
                  <a:lnTo>
                    <a:pt x="727" y="1119"/>
                  </a:lnTo>
                  <a:lnTo>
                    <a:pt x="729" y="1119"/>
                  </a:lnTo>
                  <a:lnTo>
                    <a:pt x="731" y="1119"/>
                  </a:lnTo>
                  <a:lnTo>
                    <a:pt x="731" y="1121"/>
                  </a:lnTo>
                  <a:lnTo>
                    <a:pt x="731" y="1123"/>
                  </a:lnTo>
                  <a:lnTo>
                    <a:pt x="729" y="1123"/>
                  </a:lnTo>
                  <a:lnTo>
                    <a:pt x="727" y="1123"/>
                  </a:lnTo>
                  <a:lnTo>
                    <a:pt x="726" y="1124"/>
                  </a:lnTo>
                  <a:lnTo>
                    <a:pt x="724" y="1126"/>
                  </a:lnTo>
                  <a:lnTo>
                    <a:pt x="722" y="1126"/>
                  </a:lnTo>
                  <a:lnTo>
                    <a:pt x="718" y="1124"/>
                  </a:lnTo>
                  <a:lnTo>
                    <a:pt x="716" y="1124"/>
                  </a:lnTo>
                  <a:lnTo>
                    <a:pt x="714" y="1126"/>
                  </a:lnTo>
                  <a:lnTo>
                    <a:pt x="711" y="1126"/>
                  </a:lnTo>
                  <a:lnTo>
                    <a:pt x="709" y="1126"/>
                  </a:lnTo>
                  <a:lnTo>
                    <a:pt x="708" y="1126"/>
                  </a:lnTo>
                  <a:lnTo>
                    <a:pt x="706" y="1126"/>
                  </a:lnTo>
                  <a:lnTo>
                    <a:pt x="703" y="1124"/>
                  </a:lnTo>
                  <a:lnTo>
                    <a:pt x="701" y="1124"/>
                  </a:lnTo>
                  <a:lnTo>
                    <a:pt x="698" y="1124"/>
                  </a:lnTo>
                  <a:lnTo>
                    <a:pt x="696" y="1123"/>
                  </a:lnTo>
                  <a:lnTo>
                    <a:pt x="688" y="1123"/>
                  </a:lnTo>
                  <a:lnTo>
                    <a:pt x="685" y="1121"/>
                  </a:lnTo>
                  <a:lnTo>
                    <a:pt x="683" y="1121"/>
                  </a:lnTo>
                  <a:lnTo>
                    <a:pt x="683" y="1119"/>
                  </a:lnTo>
                  <a:lnTo>
                    <a:pt x="682" y="1118"/>
                  </a:lnTo>
                  <a:lnTo>
                    <a:pt x="680" y="1116"/>
                  </a:lnTo>
                  <a:lnTo>
                    <a:pt x="678" y="1116"/>
                  </a:lnTo>
                  <a:lnTo>
                    <a:pt x="678" y="1115"/>
                  </a:lnTo>
                  <a:lnTo>
                    <a:pt x="677" y="1113"/>
                  </a:lnTo>
                  <a:lnTo>
                    <a:pt x="675" y="1111"/>
                  </a:lnTo>
                  <a:lnTo>
                    <a:pt x="677" y="1110"/>
                  </a:lnTo>
                  <a:lnTo>
                    <a:pt x="675" y="1110"/>
                  </a:lnTo>
                  <a:lnTo>
                    <a:pt x="675" y="1111"/>
                  </a:lnTo>
                  <a:lnTo>
                    <a:pt x="675" y="1110"/>
                  </a:lnTo>
                  <a:lnTo>
                    <a:pt x="675" y="1108"/>
                  </a:lnTo>
                  <a:lnTo>
                    <a:pt x="675" y="1106"/>
                  </a:lnTo>
                  <a:lnTo>
                    <a:pt x="674" y="1106"/>
                  </a:lnTo>
                  <a:lnTo>
                    <a:pt x="674" y="1105"/>
                  </a:lnTo>
                  <a:lnTo>
                    <a:pt x="672" y="1105"/>
                  </a:lnTo>
                  <a:lnTo>
                    <a:pt x="669" y="1105"/>
                  </a:lnTo>
                  <a:lnTo>
                    <a:pt x="667" y="1105"/>
                  </a:lnTo>
                  <a:lnTo>
                    <a:pt x="669" y="1097"/>
                  </a:lnTo>
                  <a:lnTo>
                    <a:pt x="672" y="1092"/>
                  </a:lnTo>
                  <a:lnTo>
                    <a:pt x="674" y="1092"/>
                  </a:lnTo>
                  <a:lnTo>
                    <a:pt x="685" y="1093"/>
                  </a:lnTo>
                  <a:lnTo>
                    <a:pt x="687" y="1097"/>
                  </a:lnTo>
                  <a:lnTo>
                    <a:pt x="688" y="1097"/>
                  </a:lnTo>
                  <a:lnTo>
                    <a:pt x="695" y="1093"/>
                  </a:lnTo>
                  <a:lnTo>
                    <a:pt x="690" y="1084"/>
                  </a:lnTo>
                  <a:lnTo>
                    <a:pt x="695" y="1080"/>
                  </a:lnTo>
                  <a:lnTo>
                    <a:pt x="690" y="1069"/>
                  </a:lnTo>
                  <a:lnTo>
                    <a:pt x="687" y="1071"/>
                  </a:lnTo>
                  <a:lnTo>
                    <a:pt x="685" y="1069"/>
                  </a:lnTo>
                  <a:lnTo>
                    <a:pt x="685" y="1067"/>
                  </a:lnTo>
                  <a:lnTo>
                    <a:pt x="687" y="1066"/>
                  </a:lnTo>
                  <a:lnTo>
                    <a:pt x="687" y="1064"/>
                  </a:lnTo>
                  <a:lnTo>
                    <a:pt x="687" y="1059"/>
                  </a:lnTo>
                  <a:lnTo>
                    <a:pt x="688" y="1059"/>
                  </a:lnTo>
                  <a:lnTo>
                    <a:pt x="690" y="1059"/>
                  </a:lnTo>
                  <a:lnTo>
                    <a:pt x="692" y="1061"/>
                  </a:lnTo>
                  <a:lnTo>
                    <a:pt x="695" y="1059"/>
                  </a:lnTo>
                  <a:lnTo>
                    <a:pt x="695" y="1058"/>
                  </a:lnTo>
                  <a:lnTo>
                    <a:pt x="693" y="1054"/>
                  </a:lnTo>
                  <a:lnTo>
                    <a:pt x="692" y="1054"/>
                  </a:lnTo>
                  <a:lnTo>
                    <a:pt x="692" y="1053"/>
                  </a:lnTo>
                  <a:lnTo>
                    <a:pt x="693" y="1053"/>
                  </a:lnTo>
                  <a:lnTo>
                    <a:pt x="695" y="1053"/>
                  </a:lnTo>
                  <a:lnTo>
                    <a:pt x="696" y="1053"/>
                  </a:lnTo>
                  <a:lnTo>
                    <a:pt x="705" y="1049"/>
                  </a:lnTo>
                  <a:lnTo>
                    <a:pt x="701" y="1045"/>
                  </a:lnTo>
                  <a:lnTo>
                    <a:pt x="709" y="1040"/>
                  </a:lnTo>
                  <a:lnTo>
                    <a:pt x="705" y="1027"/>
                  </a:lnTo>
                  <a:lnTo>
                    <a:pt x="703" y="1023"/>
                  </a:lnTo>
                  <a:lnTo>
                    <a:pt x="705" y="1022"/>
                  </a:lnTo>
                  <a:lnTo>
                    <a:pt x="705" y="1020"/>
                  </a:lnTo>
                  <a:lnTo>
                    <a:pt x="711" y="1017"/>
                  </a:lnTo>
                  <a:lnTo>
                    <a:pt x="722" y="1010"/>
                  </a:lnTo>
                  <a:lnTo>
                    <a:pt x="724" y="1004"/>
                  </a:lnTo>
                  <a:lnTo>
                    <a:pt x="716" y="999"/>
                  </a:lnTo>
                  <a:lnTo>
                    <a:pt x="724" y="981"/>
                  </a:lnTo>
                  <a:lnTo>
                    <a:pt x="713" y="976"/>
                  </a:lnTo>
                  <a:lnTo>
                    <a:pt x="711" y="975"/>
                  </a:lnTo>
                  <a:lnTo>
                    <a:pt x="711" y="973"/>
                  </a:lnTo>
                  <a:lnTo>
                    <a:pt x="711" y="970"/>
                  </a:lnTo>
                  <a:lnTo>
                    <a:pt x="713" y="968"/>
                  </a:lnTo>
                  <a:lnTo>
                    <a:pt x="713" y="967"/>
                  </a:lnTo>
                  <a:lnTo>
                    <a:pt x="713" y="965"/>
                  </a:lnTo>
                  <a:lnTo>
                    <a:pt x="713" y="963"/>
                  </a:lnTo>
                  <a:lnTo>
                    <a:pt x="711" y="963"/>
                  </a:lnTo>
                  <a:lnTo>
                    <a:pt x="708" y="958"/>
                  </a:lnTo>
                  <a:lnTo>
                    <a:pt x="705" y="952"/>
                  </a:lnTo>
                  <a:lnTo>
                    <a:pt x="703" y="949"/>
                  </a:lnTo>
                  <a:lnTo>
                    <a:pt x="708" y="947"/>
                  </a:lnTo>
                  <a:lnTo>
                    <a:pt x="711" y="945"/>
                  </a:lnTo>
                  <a:lnTo>
                    <a:pt x="709" y="944"/>
                  </a:lnTo>
                  <a:lnTo>
                    <a:pt x="706" y="944"/>
                  </a:lnTo>
                  <a:lnTo>
                    <a:pt x="706" y="942"/>
                  </a:lnTo>
                  <a:lnTo>
                    <a:pt x="711" y="941"/>
                  </a:lnTo>
                  <a:lnTo>
                    <a:pt x="711" y="939"/>
                  </a:lnTo>
                  <a:lnTo>
                    <a:pt x="713" y="939"/>
                  </a:lnTo>
                  <a:lnTo>
                    <a:pt x="713" y="937"/>
                  </a:lnTo>
                  <a:lnTo>
                    <a:pt x="714" y="937"/>
                  </a:lnTo>
                  <a:lnTo>
                    <a:pt x="722" y="934"/>
                  </a:lnTo>
                  <a:lnTo>
                    <a:pt x="721" y="931"/>
                  </a:lnTo>
                  <a:lnTo>
                    <a:pt x="727" y="928"/>
                  </a:lnTo>
                  <a:lnTo>
                    <a:pt x="731" y="936"/>
                  </a:lnTo>
                  <a:lnTo>
                    <a:pt x="731" y="934"/>
                  </a:lnTo>
                  <a:lnTo>
                    <a:pt x="732" y="937"/>
                  </a:lnTo>
                  <a:lnTo>
                    <a:pt x="729" y="941"/>
                  </a:lnTo>
                  <a:lnTo>
                    <a:pt x="731" y="941"/>
                  </a:lnTo>
                  <a:lnTo>
                    <a:pt x="732" y="945"/>
                  </a:lnTo>
                  <a:lnTo>
                    <a:pt x="734" y="945"/>
                  </a:lnTo>
                  <a:lnTo>
                    <a:pt x="731" y="952"/>
                  </a:lnTo>
                  <a:lnTo>
                    <a:pt x="735" y="952"/>
                  </a:lnTo>
                  <a:lnTo>
                    <a:pt x="735" y="950"/>
                  </a:lnTo>
                  <a:lnTo>
                    <a:pt x="735" y="949"/>
                  </a:lnTo>
                  <a:lnTo>
                    <a:pt x="735" y="947"/>
                  </a:lnTo>
                  <a:lnTo>
                    <a:pt x="739" y="945"/>
                  </a:lnTo>
                  <a:lnTo>
                    <a:pt x="740" y="945"/>
                  </a:lnTo>
                  <a:lnTo>
                    <a:pt x="739" y="941"/>
                  </a:lnTo>
                  <a:lnTo>
                    <a:pt x="739" y="937"/>
                  </a:lnTo>
                  <a:lnTo>
                    <a:pt x="740" y="936"/>
                  </a:lnTo>
                  <a:lnTo>
                    <a:pt x="739" y="934"/>
                  </a:lnTo>
                  <a:lnTo>
                    <a:pt x="739" y="932"/>
                  </a:lnTo>
                  <a:lnTo>
                    <a:pt x="740" y="932"/>
                  </a:lnTo>
                  <a:lnTo>
                    <a:pt x="742" y="932"/>
                  </a:lnTo>
                  <a:lnTo>
                    <a:pt x="744" y="936"/>
                  </a:lnTo>
                  <a:lnTo>
                    <a:pt x="745" y="939"/>
                  </a:lnTo>
                  <a:lnTo>
                    <a:pt x="747" y="941"/>
                  </a:lnTo>
                  <a:lnTo>
                    <a:pt x="747" y="939"/>
                  </a:lnTo>
                  <a:lnTo>
                    <a:pt x="750" y="931"/>
                  </a:lnTo>
                  <a:lnTo>
                    <a:pt x="750" y="929"/>
                  </a:lnTo>
                  <a:lnTo>
                    <a:pt x="750" y="931"/>
                  </a:lnTo>
                  <a:lnTo>
                    <a:pt x="757" y="934"/>
                  </a:lnTo>
                  <a:lnTo>
                    <a:pt x="755" y="937"/>
                  </a:lnTo>
                  <a:lnTo>
                    <a:pt x="758" y="939"/>
                  </a:lnTo>
                  <a:lnTo>
                    <a:pt x="765" y="939"/>
                  </a:lnTo>
                  <a:lnTo>
                    <a:pt x="768" y="945"/>
                  </a:lnTo>
                  <a:lnTo>
                    <a:pt x="770" y="945"/>
                  </a:lnTo>
                  <a:lnTo>
                    <a:pt x="776" y="944"/>
                  </a:lnTo>
                  <a:lnTo>
                    <a:pt x="776" y="942"/>
                  </a:lnTo>
                  <a:lnTo>
                    <a:pt x="773" y="932"/>
                  </a:lnTo>
                  <a:lnTo>
                    <a:pt x="774" y="932"/>
                  </a:lnTo>
                  <a:lnTo>
                    <a:pt x="776" y="934"/>
                  </a:lnTo>
                  <a:lnTo>
                    <a:pt x="779" y="931"/>
                  </a:lnTo>
                  <a:lnTo>
                    <a:pt x="779" y="929"/>
                  </a:lnTo>
                  <a:lnTo>
                    <a:pt x="778" y="928"/>
                  </a:lnTo>
                  <a:lnTo>
                    <a:pt x="779" y="926"/>
                  </a:lnTo>
                  <a:lnTo>
                    <a:pt x="783" y="928"/>
                  </a:lnTo>
                  <a:lnTo>
                    <a:pt x="786" y="932"/>
                  </a:lnTo>
                  <a:lnTo>
                    <a:pt x="789" y="934"/>
                  </a:lnTo>
                  <a:lnTo>
                    <a:pt x="787" y="936"/>
                  </a:lnTo>
                  <a:lnTo>
                    <a:pt x="797" y="939"/>
                  </a:lnTo>
                  <a:lnTo>
                    <a:pt x="796" y="936"/>
                  </a:lnTo>
                  <a:lnTo>
                    <a:pt x="800" y="931"/>
                  </a:lnTo>
                  <a:lnTo>
                    <a:pt x="805" y="932"/>
                  </a:lnTo>
                  <a:lnTo>
                    <a:pt x="805" y="931"/>
                  </a:lnTo>
                  <a:lnTo>
                    <a:pt x="807" y="931"/>
                  </a:lnTo>
                  <a:lnTo>
                    <a:pt x="809" y="931"/>
                  </a:lnTo>
                  <a:lnTo>
                    <a:pt x="812" y="928"/>
                  </a:lnTo>
                  <a:lnTo>
                    <a:pt x="813" y="928"/>
                  </a:lnTo>
                  <a:lnTo>
                    <a:pt x="815" y="929"/>
                  </a:lnTo>
                  <a:lnTo>
                    <a:pt x="822" y="923"/>
                  </a:lnTo>
                  <a:lnTo>
                    <a:pt x="820" y="921"/>
                  </a:lnTo>
                  <a:lnTo>
                    <a:pt x="820" y="923"/>
                  </a:lnTo>
                  <a:lnTo>
                    <a:pt x="818" y="924"/>
                  </a:lnTo>
                  <a:lnTo>
                    <a:pt x="818" y="923"/>
                  </a:lnTo>
                  <a:lnTo>
                    <a:pt x="817" y="923"/>
                  </a:lnTo>
                  <a:lnTo>
                    <a:pt x="815" y="923"/>
                  </a:lnTo>
                  <a:lnTo>
                    <a:pt x="815" y="921"/>
                  </a:lnTo>
                  <a:lnTo>
                    <a:pt x="813" y="921"/>
                  </a:lnTo>
                  <a:lnTo>
                    <a:pt x="813" y="923"/>
                  </a:lnTo>
                  <a:lnTo>
                    <a:pt x="815" y="923"/>
                  </a:lnTo>
                  <a:lnTo>
                    <a:pt x="813" y="923"/>
                  </a:lnTo>
                  <a:lnTo>
                    <a:pt x="812" y="923"/>
                  </a:lnTo>
                  <a:lnTo>
                    <a:pt x="813" y="924"/>
                  </a:lnTo>
                  <a:lnTo>
                    <a:pt x="812" y="924"/>
                  </a:lnTo>
                  <a:lnTo>
                    <a:pt x="810" y="924"/>
                  </a:lnTo>
                  <a:lnTo>
                    <a:pt x="810" y="923"/>
                  </a:lnTo>
                  <a:lnTo>
                    <a:pt x="810" y="921"/>
                  </a:lnTo>
                  <a:lnTo>
                    <a:pt x="809" y="921"/>
                  </a:lnTo>
                  <a:lnTo>
                    <a:pt x="807" y="923"/>
                  </a:lnTo>
                  <a:lnTo>
                    <a:pt x="807" y="921"/>
                  </a:lnTo>
                  <a:lnTo>
                    <a:pt x="805" y="921"/>
                  </a:lnTo>
                  <a:lnTo>
                    <a:pt x="804" y="921"/>
                  </a:lnTo>
                  <a:lnTo>
                    <a:pt x="804" y="919"/>
                  </a:lnTo>
                  <a:lnTo>
                    <a:pt x="805" y="919"/>
                  </a:lnTo>
                  <a:lnTo>
                    <a:pt x="804" y="919"/>
                  </a:lnTo>
                  <a:lnTo>
                    <a:pt x="802" y="918"/>
                  </a:lnTo>
                  <a:lnTo>
                    <a:pt x="802" y="916"/>
                  </a:lnTo>
                  <a:lnTo>
                    <a:pt x="800" y="914"/>
                  </a:lnTo>
                  <a:lnTo>
                    <a:pt x="800" y="916"/>
                  </a:lnTo>
                  <a:lnTo>
                    <a:pt x="799" y="916"/>
                  </a:lnTo>
                  <a:lnTo>
                    <a:pt x="799" y="918"/>
                  </a:lnTo>
                  <a:lnTo>
                    <a:pt x="799" y="916"/>
                  </a:lnTo>
                  <a:lnTo>
                    <a:pt x="799" y="914"/>
                  </a:lnTo>
                  <a:lnTo>
                    <a:pt x="797" y="914"/>
                  </a:lnTo>
                  <a:lnTo>
                    <a:pt x="799" y="916"/>
                  </a:lnTo>
                  <a:lnTo>
                    <a:pt x="797" y="918"/>
                  </a:lnTo>
                  <a:lnTo>
                    <a:pt x="796" y="918"/>
                  </a:lnTo>
                  <a:lnTo>
                    <a:pt x="797" y="916"/>
                  </a:lnTo>
                  <a:lnTo>
                    <a:pt x="796" y="916"/>
                  </a:lnTo>
                  <a:lnTo>
                    <a:pt x="796" y="914"/>
                  </a:lnTo>
                  <a:lnTo>
                    <a:pt x="794" y="916"/>
                  </a:lnTo>
                  <a:lnTo>
                    <a:pt x="792" y="916"/>
                  </a:lnTo>
                  <a:lnTo>
                    <a:pt x="794" y="914"/>
                  </a:lnTo>
                  <a:lnTo>
                    <a:pt x="792" y="914"/>
                  </a:lnTo>
                  <a:lnTo>
                    <a:pt x="791" y="914"/>
                  </a:lnTo>
                  <a:lnTo>
                    <a:pt x="791" y="913"/>
                  </a:lnTo>
                  <a:lnTo>
                    <a:pt x="792" y="913"/>
                  </a:lnTo>
                  <a:lnTo>
                    <a:pt x="791" y="913"/>
                  </a:lnTo>
                  <a:lnTo>
                    <a:pt x="791" y="911"/>
                  </a:lnTo>
                  <a:lnTo>
                    <a:pt x="794" y="910"/>
                  </a:lnTo>
                  <a:lnTo>
                    <a:pt x="796" y="908"/>
                  </a:lnTo>
                  <a:lnTo>
                    <a:pt x="794" y="906"/>
                  </a:lnTo>
                  <a:lnTo>
                    <a:pt x="794" y="905"/>
                  </a:lnTo>
                  <a:lnTo>
                    <a:pt x="794" y="903"/>
                  </a:lnTo>
                  <a:lnTo>
                    <a:pt x="794" y="901"/>
                  </a:lnTo>
                  <a:lnTo>
                    <a:pt x="794" y="900"/>
                  </a:lnTo>
                  <a:lnTo>
                    <a:pt x="792" y="897"/>
                  </a:lnTo>
                  <a:lnTo>
                    <a:pt x="792" y="895"/>
                  </a:lnTo>
                  <a:lnTo>
                    <a:pt x="792" y="892"/>
                  </a:lnTo>
                  <a:lnTo>
                    <a:pt x="792" y="890"/>
                  </a:lnTo>
                  <a:lnTo>
                    <a:pt x="792" y="888"/>
                  </a:lnTo>
                  <a:lnTo>
                    <a:pt x="791" y="884"/>
                  </a:lnTo>
                  <a:lnTo>
                    <a:pt x="791" y="882"/>
                  </a:lnTo>
                  <a:lnTo>
                    <a:pt x="791" y="880"/>
                  </a:lnTo>
                  <a:lnTo>
                    <a:pt x="789" y="877"/>
                  </a:lnTo>
                  <a:lnTo>
                    <a:pt x="784" y="875"/>
                  </a:lnTo>
                  <a:lnTo>
                    <a:pt x="784" y="874"/>
                  </a:lnTo>
                  <a:lnTo>
                    <a:pt x="787" y="872"/>
                  </a:lnTo>
                  <a:lnTo>
                    <a:pt x="787" y="871"/>
                  </a:lnTo>
                  <a:lnTo>
                    <a:pt x="786" y="869"/>
                  </a:lnTo>
                  <a:lnTo>
                    <a:pt x="784" y="871"/>
                  </a:lnTo>
                  <a:lnTo>
                    <a:pt x="784" y="872"/>
                  </a:lnTo>
                  <a:lnTo>
                    <a:pt x="781" y="874"/>
                  </a:lnTo>
                  <a:lnTo>
                    <a:pt x="779" y="871"/>
                  </a:lnTo>
                  <a:lnTo>
                    <a:pt x="779" y="869"/>
                  </a:lnTo>
                  <a:lnTo>
                    <a:pt x="778" y="864"/>
                  </a:lnTo>
                  <a:lnTo>
                    <a:pt x="774" y="866"/>
                  </a:lnTo>
                  <a:lnTo>
                    <a:pt x="774" y="867"/>
                  </a:lnTo>
                  <a:lnTo>
                    <a:pt x="765" y="872"/>
                  </a:lnTo>
                  <a:lnTo>
                    <a:pt x="761" y="864"/>
                  </a:lnTo>
                  <a:lnTo>
                    <a:pt x="760" y="862"/>
                  </a:lnTo>
                  <a:lnTo>
                    <a:pt x="760" y="864"/>
                  </a:lnTo>
                  <a:lnTo>
                    <a:pt x="753" y="866"/>
                  </a:lnTo>
                  <a:lnTo>
                    <a:pt x="752" y="861"/>
                  </a:lnTo>
                  <a:lnTo>
                    <a:pt x="745" y="866"/>
                  </a:lnTo>
                  <a:lnTo>
                    <a:pt x="744" y="864"/>
                  </a:lnTo>
                  <a:lnTo>
                    <a:pt x="744" y="862"/>
                  </a:lnTo>
                  <a:lnTo>
                    <a:pt x="747" y="861"/>
                  </a:lnTo>
                  <a:lnTo>
                    <a:pt x="745" y="853"/>
                  </a:lnTo>
                  <a:lnTo>
                    <a:pt x="745" y="849"/>
                  </a:lnTo>
                  <a:lnTo>
                    <a:pt x="747" y="849"/>
                  </a:lnTo>
                  <a:lnTo>
                    <a:pt x="745" y="846"/>
                  </a:lnTo>
                  <a:lnTo>
                    <a:pt x="744" y="841"/>
                  </a:lnTo>
                  <a:lnTo>
                    <a:pt x="740" y="843"/>
                  </a:lnTo>
                  <a:lnTo>
                    <a:pt x="739" y="845"/>
                  </a:lnTo>
                  <a:lnTo>
                    <a:pt x="739" y="846"/>
                  </a:lnTo>
                  <a:lnTo>
                    <a:pt x="737" y="846"/>
                  </a:lnTo>
                  <a:lnTo>
                    <a:pt x="734" y="843"/>
                  </a:lnTo>
                  <a:lnTo>
                    <a:pt x="732" y="843"/>
                  </a:lnTo>
                  <a:lnTo>
                    <a:pt x="732" y="841"/>
                  </a:lnTo>
                  <a:lnTo>
                    <a:pt x="739" y="838"/>
                  </a:lnTo>
                  <a:lnTo>
                    <a:pt x="732" y="822"/>
                  </a:lnTo>
                  <a:lnTo>
                    <a:pt x="737" y="820"/>
                  </a:lnTo>
                  <a:lnTo>
                    <a:pt x="732" y="809"/>
                  </a:lnTo>
                  <a:lnTo>
                    <a:pt x="731" y="806"/>
                  </a:lnTo>
                  <a:lnTo>
                    <a:pt x="726" y="807"/>
                  </a:lnTo>
                  <a:lnTo>
                    <a:pt x="724" y="809"/>
                  </a:lnTo>
                  <a:lnTo>
                    <a:pt x="724" y="810"/>
                  </a:lnTo>
                  <a:lnTo>
                    <a:pt x="724" y="814"/>
                  </a:lnTo>
                  <a:lnTo>
                    <a:pt x="724" y="817"/>
                  </a:lnTo>
                  <a:lnTo>
                    <a:pt x="719" y="819"/>
                  </a:lnTo>
                  <a:lnTo>
                    <a:pt x="718" y="819"/>
                  </a:lnTo>
                  <a:lnTo>
                    <a:pt x="716" y="819"/>
                  </a:lnTo>
                  <a:lnTo>
                    <a:pt x="714" y="814"/>
                  </a:lnTo>
                  <a:lnTo>
                    <a:pt x="714" y="812"/>
                  </a:lnTo>
                  <a:lnTo>
                    <a:pt x="713" y="809"/>
                  </a:lnTo>
                  <a:lnTo>
                    <a:pt x="709" y="810"/>
                  </a:lnTo>
                  <a:lnTo>
                    <a:pt x="708" y="810"/>
                  </a:lnTo>
                  <a:lnTo>
                    <a:pt x="703" y="801"/>
                  </a:lnTo>
                  <a:lnTo>
                    <a:pt x="701" y="802"/>
                  </a:lnTo>
                  <a:lnTo>
                    <a:pt x="701" y="804"/>
                  </a:lnTo>
                  <a:lnTo>
                    <a:pt x="700" y="804"/>
                  </a:lnTo>
                  <a:lnTo>
                    <a:pt x="698" y="806"/>
                  </a:lnTo>
                  <a:lnTo>
                    <a:pt x="698" y="807"/>
                  </a:lnTo>
                  <a:lnTo>
                    <a:pt x="696" y="801"/>
                  </a:lnTo>
                  <a:lnTo>
                    <a:pt x="695" y="804"/>
                  </a:lnTo>
                  <a:lnTo>
                    <a:pt x="693" y="807"/>
                  </a:lnTo>
                  <a:lnTo>
                    <a:pt x="692" y="807"/>
                  </a:lnTo>
                  <a:lnTo>
                    <a:pt x="692" y="806"/>
                  </a:lnTo>
                  <a:lnTo>
                    <a:pt x="692" y="804"/>
                  </a:lnTo>
                  <a:lnTo>
                    <a:pt x="690" y="802"/>
                  </a:lnTo>
                  <a:lnTo>
                    <a:pt x="690" y="804"/>
                  </a:lnTo>
                  <a:lnTo>
                    <a:pt x="688" y="804"/>
                  </a:lnTo>
                  <a:lnTo>
                    <a:pt x="688" y="802"/>
                  </a:lnTo>
                  <a:lnTo>
                    <a:pt x="690" y="801"/>
                  </a:lnTo>
                  <a:lnTo>
                    <a:pt x="690" y="799"/>
                  </a:lnTo>
                  <a:lnTo>
                    <a:pt x="690" y="797"/>
                  </a:lnTo>
                  <a:lnTo>
                    <a:pt x="688" y="796"/>
                  </a:lnTo>
                  <a:lnTo>
                    <a:pt x="690" y="796"/>
                  </a:lnTo>
                  <a:lnTo>
                    <a:pt x="690" y="794"/>
                  </a:lnTo>
                  <a:lnTo>
                    <a:pt x="688" y="794"/>
                  </a:lnTo>
                  <a:lnTo>
                    <a:pt x="687" y="797"/>
                  </a:lnTo>
                  <a:lnTo>
                    <a:pt x="685" y="796"/>
                  </a:lnTo>
                  <a:lnTo>
                    <a:pt x="682" y="791"/>
                  </a:lnTo>
                  <a:lnTo>
                    <a:pt x="685" y="788"/>
                  </a:lnTo>
                  <a:lnTo>
                    <a:pt x="687" y="788"/>
                  </a:lnTo>
                  <a:lnTo>
                    <a:pt x="687" y="786"/>
                  </a:lnTo>
                  <a:lnTo>
                    <a:pt x="687" y="784"/>
                  </a:lnTo>
                  <a:lnTo>
                    <a:pt x="688" y="781"/>
                  </a:lnTo>
                  <a:lnTo>
                    <a:pt x="688" y="779"/>
                  </a:lnTo>
                  <a:lnTo>
                    <a:pt x="687" y="779"/>
                  </a:lnTo>
                  <a:lnTo>
                    <a:pt x="688" y="778"/>
                  </a:lnTo>
                  <a:lnTo>
                    <a:pt x="688" y="776"/>
                  </a:lnTo>
                  <a:lnTo>
                    <a:pt x="687" y="776"/>
                  </a:lnTo>
                  <a:lnTo>
                    <a:pt x="687" y="775"/>
                  </a:lnTo>
                  <a:lnTo>
                    <a:pt x="687" y="771"/>
                  </a:lnTo>
                  <a:lnTo>
                    <a:pt x="687" y="770"/>
                  </a:lnTo>
                  <a:lnTo>
                    <a:pt x="685" y="768"/>
                  </a:lnTo>
                  <a:lnTo>
                    <a:pt x="683" y="766"/>
                  </a:lnTo>
                  <a:lnTo>
                    <a:pt x="683" y="763"/>
                  </a:lnTo>
                  <a:lnTo>
                    <a:pt x="687" y="760"/>
                  </a:lnTo>
                  <a:lnTo>
                    <a:pt x="687" y="755"/>
                  </a:lnTo>
                  <a:lnTo>
                    <a:pt x="687" y="752"/>
                  </a:lnTo>
                  <a:lnTo>
                    <a:pt x="685" y="752"/>
                  </a:lnTo>
                  <a:lnTo>
                    <a:pt x="683" y="752"/>
                  </a:lnTo>
                  <a:lnTo>
                    <a:pt x="683" y="755"/>
                  </a:lnTo>
                  <a:lnTo>
                    <a:pt x="682" y="755"/>
                  </a:lnTo>
                  <a:lnTo>
                    <a:pt x="680" y="753"/>
                  </a:lnTo>
                  <a:lnTo>
                    <a:pt x="680" y="752"/>
                  </a:lnTo>
                  <a:lnTo>
                    <a:pt x="678" y="752"/>
                  </a:lnTo>
                  <a:lnTo>
                    <a:pt x="680" y="749"/>
                  </a:lnTo>
                  <a:lnTo>
                    <a:pt x="680" y="747"/>
                  </a:lnTo>
                  <a:lnTo>
                    <a:pt x="680" y="745"/>
                  </a:lnTo>
                  <a:lnTo>
                    <a:pt x="682" y="745"/>
                  </a:lnTo>
                  <a:lnTo>
                    <a:pt x="682" y="744"/>
                  </a:lnTo>
                  <a:lnTo>
                    <a:pt x="683" y="742"/>
                  </a:lnTo>
                  <a:lnTo>
                    <a:pt x="683" y="740"/>
                  </a:lnTo>
                  <a:lnTo>
                    <a:pt x="682" y="740"/>
                  </a:lnTo>
                  <a:lnTo>
                    <a:pt x="677" y="744"/>
                  </a:lnTo>
                  <a:lnTo>
                    <a:pt x="677" y="742"/>
                  </a:lnTo>
                  <a:lnTo>
                    <a:pt x="674" y="734"/>
                  </a:lnTo>
                  <a:lnTo>
                    <a:pt x="672" y="732"/>
                  </a:lnTo>
                  <a:lnTo>
                    <a:pt x="672" y="731"/>
                  </a:lnTo>
                  <a:lnTo>
                    <a:pt x="670" y="729"/>
                  </a:lnTo>
                  <a:lnTo>
                    <a:pt x="667" y="729"/>
                  </a:lnTo>
                  <a:lnTo>
                    <a:pt x="667" y="731"/>
                  </a:lnTo>
                  <a:lnTo>
                    <a:pt x="664" y="732"/>
                  </a:lnTo>
                  <a:lnTo>
                    <a:pt x="664" y="734"/>
                  </a:lnTo>
                  <a:lnTo>
                    <a:pt x="664" y="736"/>
                  </a:lnTo>
                  <a:lnTo>
                    <a:pt x="664" y="734"/>
                  </a:lnTo>
                  <a:lnTo>
                    <a:pt x="664" y="737"/>
                  </a:lnTo>
                  <a:lnTo>
                    <a:pt x="662" y="739"/>
                  </a:lnTo>
                  <a:lnTo>
                    <a:pt x="659" y="739"/>
                  </a:lnTo>
                  <a:lnTo>
                    <a:pt x="656" y="737"/>
                  </a:lnTo>
                  <a:lnTo>
                    <a:pt x="654" y="736"/>
                  </a:lnTo>
                  <a:lnTo>
                    <a:pt x="654" y="737"/>
                  </a:lnTo>
                  <a:lnTo>
                    <a:pt x="652" y="736"/>
                  </a:lnTo>
                  <a:lnTo>
                    <a:pt x="649" y="739"/>
                  </a:lnTo>
                  <a:lnTo>
                    <a:pt x="644" y="736"/>
                  </a:lnTo>
                  <a:lnTo>
                    <a:pt x="644" y="734"/>
                  </a:lnTo>
                  <a:lnTo>
                    <a:pt x="643" y="734"/>
                  </a:lnTo>
                  <a:lnTo>
                    <a:pt x="639" y="731"/>
                  </a:lnTo>
                  <a:lnTo>
                    <a:pt x="638" y="731"/>
                  </a:lnTo>
                  <a:lnTo>
                    <a:pt x="638" y="729"/>
                  </a:lnTo>
                  <a:lnTo>
                    <a:pt x="638" y="727"/>
                  </a:lnTo>
                  <a:lnTo>
                    <a:pt x="638" y="726"/>
                  </a:lnTo>
                  <a:lnTo>
                    <a:pt x="636" y="724"/>
                  </a:lnTo>
                  <a:lnTo>
                    <a:pt x="636" y="726"/>
                  </a:lnTo>
                  <a:lnTo>
                    <a:pt x="636" y="724"/>
                  </a:lnTo>
                  <a:lnTo>
                    <a:pt x="638" y="724"/>
                  </a:lnTo>
                  <a:lnTo>
                    <a:pt x="638" y="723"/>
                  </a:lnTo>
                  <a:lnTo>
                    <a:pt x="638" y="721"/>
                  </a:lnTo>
                  <a:lnTo>
                    <a:pt x="636" y="719"/>
                  </a:lnTo>
                  <a:lnTo>
                    <a:pt x="635" y="718"/>
                  </a:lnTo>
                  <a:lnTo>
                    <a:pt x="633" y="718"/>
                  </a:lnTo>
                  <a:lnTo>
                    <a:pt x="631" y="718"/>
                  </a:lnTo>
                  <a:lnTo>
                    <a:pt x="630" y="719"/>
                  </a:lnTo>
                  <a:lnTo>
                    <a:pt x="628" y="719"/>
                  </a:lnTo>
                  <a:lnTo>
                    <a:pt x="626" y="719"/>
                  </a:lnTo>
                  <a:lnTo>
                    <a:pt x="623" y="721"/>
                  </a:lnTo>
                  <a:lnTo>
                    <a:pt x="622" y="721"/>
                  </a:lnTo>
                  <a:lnTo>
                    <a:pt x="620" y="721"/>
                  </a:lnTo>
                  <a:lnTo>
                    <a:pt x="620" y="719"/>
                  </a:lnTo>
                  <a:lnTo>
                    <a:pt x="617" y="721"/>
                  </a:lnTo>
                  <a:lnTo>
                    <a:pt x="617" y="719"/>
                  </a:lnTo>
                  <a:lnTo>
                    <a:pt x="612" y="719"/>
                  </a:lnTo>
                  <a:lnTo>
                    <a:pt x="610" y="718"/>
                  </a:lnTo>
                  <a:lnTo>
                    <a:pt x="609" y="719"/>
                  </a:lnTo>
                  <a:lnTo>
                    <a:pt x="609" y="718"/>
                  </a:lnTo>
                  <a:lnTo>
                    <a:pt x="607" y="719"/>
                  </a:lnTo>
                  <a:lnTo>
                    <a:pt x="605" y="721"/>
                  </a:lnTo>
                  <a:lnTo>
                    <a:pt x="605" y="723"/>
                  </a:lnTo>
                  <a:lnTo>
                    <a:pt x="604" y="723"/>
                  </a:lnTo>
                  <a:lnTo>
                    <a:pt x="604" y="724"/>
                  </a:lnTo>
                  <a:lnTo>
                    <a:pt x="604" y="726"/>
                  </a:lnTo>
                  <a:lnTo>
                    <a:pt x="604" y="727"/>
                  </a:lnTo>
                  <a:lnTo>
                    <a:pt x="604" y="729"/>
                  </a:lnTo>
                  <a:lnTo>
                    <a:pt x="604" y="731"/>
                  </a:lnTo>
                  <a:lnTo>
                    <a:pt x="605" y="731"/>
                  </a:lnTo>
                  <a:lnTo>
                    <a:pt x="605" y="732"/>
                  </a:lnTo>
                  <a:lnTo>
                    <a:pt x="605" y="734"/>
                  </a:lnTo>
                  <a:lnTo>
                    <a:pt x="605" y="736"/>
                  </a:lnTo>
                  <a:lnTo>
                    <a:pt x="604" y="734"/>
                  </a:lnTo>
                  <a:lnTo>
                    <a:pt x="600" y="734"/>
                  </a:lnTo>
                  <a:lnTo>
                    <a:pt x="599" y="732"/>
                  </a:lnTo>
                  <a:lnTo>
                    <a:pt x="599" y="731"/>
                  </a:lnTo>
                  <a:lnTo>
                    <a:pt x="597" y="729"/>
                  </a:lnTo>
                  <a:lnTo>
                    <a:pt x="596" y="727"/>
                  </a:lnTo>
                  <a:lnTo>
                    <a:pt x="597" y="727"/>
                  </a:lnTo>
                  <a:lnTo>
                    <a:pt x="597" y="726"/>
                  </a:lnTo>
                  <a:lnTo>
                    <a:pt x="597" y="724"/>
                  </a:lnTo>
                  <a:lnTo>
                    <a:pt x="597" y="723"/>
                  </a:lnTo>
                  <a:lnTo>
                    <a:pt x="596" y="723"/>
                  </a:lnTo>
                  <a:lnTo>
                    <a:pt x="594" y="721"/>
                  </a:lnTo>
                  <a:lnTo>
                    <a:pt x="592" y="723"/>
                  </a:lnTo>
                  <a:lnTo>
                    <a:pt x="591" y="723"/>
                  </a:lnTo>
                  <a:lnTo>
                    <a:pt x="591" y="724"/>
                  </a:lnTo>
                  <a:lnTo>
                    <a:pt x="591" y="726"/>
                  </a:lnTo>
                  <a:lnTo>
                    <a:pt x="591" y="727"/>
                  </a:lnTo>
                  <a:lnTo>
                    <a:pt x="589" y="729"/>
                  </a:lnTo>
                  <a:lnTo>
                    <a:pt x="587" y="729"/>
                  </a:lnTo>
                  <a:lnTo>
                    <a:pt x="586" y="729"/>
                  </a:lnTo>
                  <a:lnTo>
                    <a:pt x="584" y="729"/>
                  </a:lnTo>
                  <a:lnTo>
                    <a:pt x="584" y="727"/>
                  </a:lnTo>
                  <a:lnTo>
                    <a:pt x="584" y="726"/>
                  </a:lnTo>
                  <a:lnTo>
                    <a:pt x="587" y="723"/>
                  </a:lnTo>
                  <a:lnTo>
                    <a:pt x="589" y="721"/>
                  </a:lnTo>
                  <a:lnTo>
                    <a:pt x="589" y="719"/>
                  </a:lnTo>
                  <a:lnTo>
                    <a:pt x="589" y="718"/>
                  </a:lnTo>
                  <a:lnTo>
                    <a:pt x="587" y="716"/>
                  </a:lnTo>
                  <a:lnTo>
                    <a:pt x="587" y="714"/>
                  </a:lnTo>
                  <a:lnTo>
                    <a:pt x="586" y="713"/>
                  </a:lnTo>
                  <a:lnTo>
                    <a:pt x="584" y="714"/>
                  </a:lnTo>
                  <a:lnTo>
                    <a:pt x="584" y="716"/>
                  </a:lnTo>
                  <a:lnTo>
                    <a:pt x="583" y="716"/>
                  </a:lnTo>
                  <a:lnTo>
                    <a:pt x="583" y="714"/>
                  </a:lnTo>
                  <a:lnTo>
                    <a:pt x="581" y="714"/>
                  </a:lnTo>
                  <a:lnTo>
                    <a:pt x="581" y="716"/>
                  </a:lnTo>
                  <a:lnTo>
                    <a:pt x="579" y="718"/>
                  </a:lnTo>
                  <a:lnTo>
                    <a:pt x="578" y="719"/>
                  </a:lnTo>
                  <a:lnTo>
                    <a:pt x="574" y="721"/>
                  </a:lnTo>
                  <a:lnTo>
                    <a:pt x="574" y="723"/>
                  </a:lnTo>
                  <a:lnTo>
                    <a:pt x="573" y="723"/>
                  </a:lnTo>
                  <a:lnTo>
                    <a:pt x="571" y="723"/>
                  </a:lnTo>
                  <a:lnTo>
                    <a:pt x="571" y="721"/>
                  </a:lnTo>
                  <a:lnTo>
                    <a:pt x="570" y="718"/>
                  </a:lnTo>
                  <a:lnTo>
                    <a:pt x="570" y="716"/>
                  </a:lnTo>
                  <a:lnTo>
                    <a:pt x="568" y="716"/>
                  </a:lnTo>
                  <a:lnTo>
                    <a:pt x="566" y="716"/>
                  </a:lnTo>
                  <a:lnTo>
                    <a:pt x="566" y="718"/>
                  </a:lnTo>
                  <a:lnTo>
                    <a:pt x="565" y="719"/>
                  </a:lnTo>
                  <a:lnTo>
                    <a:pt x="565" y="721"/>
                  </a:lnTo>
                  <a:lnTo>
                    <a:pt x="563" y="721"/>
                  </a:lnTo>
                  <a:lnTo>
                    <a:pt x="561" y="721"/>
                  </a:lnTo>
                  <a:lnTo>
                    <a:pt x="561" y="719"/>
                  </a:lnTo>
                  <a:lnTo>
                    <a:pt x="560" y="719"/>
                  </a:lnTo>
                  <a:lnTo>
                    <a:pt x="560" y="718"/>
                  </a:lnTo>
                  <a:lnTo>
                    <a:pt x="560" y="716"/>
                  </a:lnTo>
                  <a:lnTo>
                    <a:pt x="560" y="713"/>
                  </a:lnTo>
                  <a:lnTo>
                    <a:pt x="560" y="711"/>
                  </a:lnTo>
                  <a:lnTo>
                    <a:pt x="558" y="710"/>
                  </a:lnTo>
                  <a:lnTo>
                    <a:pt x="557" y="710"/>
                  </a:lnTo>
                  <a:lnTo>
                    <a:pt x="555" y="710"/>
                  </a:lnTo>
                  <a:lnTo>
                    <a:pt x="552" y="710"/>
                  </a:lnTo>
                  <a:lnTo>
                    <a:pt x="550" y="710"/>
                  </a:lnTo>
                  <a:lnTo>
                    <a:pt x="547" y="711"/>
                  </a:lnTo>
                  <a:lnTo>
                    <a:pt x="545" y="711"/>
                  </a:lnTo>
                  <a:lnTo>
                    <a:pt x="545" y="710"/>
                  </a:lnTo>
                  <a:lnTo>
                    <a:pt x="544" y="710"/>
                  </a:lnTo>
                  <a:lnTo>
                    <a:pt x="542" y="708"/>
                  </a:lnTo>
                  <a:lnTo>
                    <a:pt x="540" y="708"/>
                  </a:lnTo>
                  <a:lnTo>
                    <a:pt x="539" y="706"/>
                  </a:lnTo>
                  <a:lnTo>
                    <a:pt x="537" y="705"/>
                  </a:lnTo>
                  <a:lnTo>
                    <a:pt x="537" y="703"/>
                  </a:lnTo>
                  <a:lnTo>
                    <a:pt x="535" y="701"/>
                  </a:lnTo>
                  <a:lnTo>
                    <a:pt x="534" y="701"/>
                  </a:lnTo>
                  <a:lnTo>
                    <a:pt x="532" y="701"/>
                  </a:lnTo>
                  <a:lnTo>
                    <a:pt x="530" y="701"/>
                  </a:lnTo>
                  <a:lnTo>
                    <a:pt x="530" y="700"/>
                  </a:lnTo>
                  <a:lnTo>
                    <a:pt x="529" y="700"/>
                  </a:lnTo>
                  <a:lnTo>
                    <a:pt x="527" y="698"/>
                  </a:lnTo>
                  <a:lnTo>
                    <a:pt x="524" y="698"/>
                  </a:lnTo>
                  <a:lnTo>
                    <a:pt x="522" y="698"/>
                  </a:lnTo>
                  <a:lnTo>
                    <a:pt x="521" y="698"/>
                  </a:lnTo>
                  <a:lnTo>
                    <a:pt x="519" y="700"/>
                  </a:lnTo>
                  <a:lnTo>
                    <a:pt x="517" y="701"/>
                  </a:lnTo>
                  <a:lnTo>
                    <a:pt x="516" y="701"/>
                  </a:lnTo>
                  <a:lnTo>
                    <a:pt x="514" y="701"/>
                  </a:lnTo>
                  <a:lnTo>
                    <a:pt x="513" y="701"/>
                  </a:lnTo>
                  <a:lnTo>
                    <a:pt x="511" y="701"/>
                  </a:lnTo>
                  <a:lnTo>
                    <a:pt x="509" y="701"/>
                  </a:lnTo>
                  <a:lnTo>
                    <a:pt x="508" y="701"/>
                  </a:lnTo>
                  <a:lnTo>
                    <a:pt x="508" y="700"/>
                  </a:lnTo>
                  <a:lnTo>
                    <a:pt x="508" y="698"/>
                  </a:lnTo>
                  <a:lnTo>
                    <a:pt x="509" y="697"/>
                  </a:lnTo>
                  <a:lnTo>
                    <a:pt x="508" y="697"/>
                  </a:lnTo>
                  <a:lnTo>
                    <a:pt x="506" y="697"/>
                  </a:lnTo>
                  <a:lnTo>
                    <a:pt x="504" y="698"/>
                  </a:lnTo>
                  <a:lnTo>
                    <a:pt x="503" y="700"/>
                  </a:lnTo>
                  <a:lnTo>
                    <a:pt x="503" y="701"/>
                  </a:lnTo>
                  <a:lnTo>
                    <a:pt x="500" y="703"/>
                  </a:lnTo>
                  <a:lnTo>
                    <a:pt x="498" y="703"/>
                  </a:lnTo>
                  <a:lnTo>
                    <a:pt x="496" y="706"/>
                  </a:lnTo>
                  <a:lnTo>
                    <a:pt x="496" y="708"/>
                  </a:lnTo>
                  <a:lnTo>
                    <a:pt x="496" y="711"/>
                  </a:lnTo>
                  <a:lnTo>
                    <a:pt x="495" y="711"/>
                  </a:lnTo>
                  <a:lnTo>
                    <a:pt x="493" y="711"/>
                  </a:lnTo>
                  <a:lnTo>
                    <a:pt x="491" y="711"/>
                  </a:lnTo>
                  <a:lnTo>
                    <a:pt x="491" y="713"/>
                  </a:lnTo>
                  <a:lnTo>
                    <a:pt x="490" y="713"/>
                  </a:lnTo>
                  <a:lnTo>
                    <a:pt x="490" y="711"/>
                  </a:lnTo>
                  <a:lnTo>
                    <a:pt x="490" y="710"/>
                  </a:lnTo>
                  <a:lnTo>
                    <a:pt x="488" y="708"/>
                  </a:lnTo>
                  <a:lnTo>
                    <a:pt x="487" y="708"/>
                  </a:lnTo>
                  <a:lnTo>
                    <a:pt x="485" y="708"/>
                  </a:lnTo>
                  <a:lnTo>
                    <a:pt x="485" y="710"/>
                  </a:lnTo>
                  <a:lnTo>
                    <a:pt x="483" y="710"/>
                  </a:lnTo>
                  <a:lnTo>
                    <a:pt x="483" y="711"/>
                  </a:lnTo>
                  <a:lnTo>
                    <a:pt x="483" y="713"/>
                  </a:lnTo>
                  <a:lnTo>
                    <a:pt x="483" y="714"/>
                  </a:lnTo>
                  <a:lnTo>
                    <a:pt x="483" y="719"/>
                  </a:lnTo>
                  <a:lnTo>
                    <a:pt x="480" y="719"/>
                  </a:lnTo>
                  <a:lnTo>
                    <a:pt x="478" y="721"/>
                  </a:lnTo>
                  <a:lnTo>
                    <a:pt x="477" y="719"/>
                  </a:lnTo>
                  <a:lnTo>
                    <a:pt x="475" y="719"/>
                  </a:lnTo>
                  <a:lnTo>
                    <a:pt x="474" y="719"/>
                  </a:lnTo>
                  <a:lnTo>
                    <a:pt x="470" y="721"/>
                  </a:lnTo>
                  <a:lnTo>
                    <a:pt x="469" y="723"/>
                  </a:lnTo>
                  <a:lnTo>
                    <a:pt x="467" y="723"/>
                  </a:lnTo>
                  <a:lnTo>
                    <a:pt x="465" y="721"/>
                  </a:lnTo>
                  <a:lnTo>
                    <a:pt x="464" y="719"/>
                  </a:lnTo>
                  <a:lnTo>
                    <a:pt x="462" y="716"/>
                  </a:lnTo>
                  <a:lnTo>
                    <a:pt x="462" y="714"/>
                  </a:lnTo>
                  <a:lnTo>
                    <a:pt x="461" y="716"/>
                  </a:lnTo>
                  <a:lnTo>
                    <a:pt x="461" y="718"/>
                  </a:lnTo>
                  <a:lnTo>
                    <a:pt x="459" y="718"/>
                  </a:lnTo>
                  <a:lnTo>
                    <a:pt x="456" y="719"/>
                  </a:lnTo>
                  <a:lnTo>
                    <a:pt x="457" y="721"/>
                  </a:lnTo>
                  <a:lnTo>
                    <a:pt x="459" y="721"/>
                  </a:lnTo>
                  <a:lnTo>
                    <a:pt x="459" y="723"/>
                  </a:lnTo>
                  <a:lnTo>
                    <a:pt x="461" y="723"/>
                  </a:lnTo>
                  <a:lnTo>
                    <a:pt x="461" y="724"/>
                  </a:lnTo>
                  <a:lnTo>
                    <a:pt x="459" y="724"/>
                  </a:lnTo>
                  <a:lnTo>
                    <a:pt x="457" y="724"/>
                  </a:lnTo>
                  <a:lnTo>
                    <a:pt x="456" y="726"/>
                  </a:lnTo>
                  <a:lnTo>
                    <a:pt x="457" y="727"/>
                  </a:lnTo>
                  <a:lnTo>
                    <a:pt x="451" y="727"/>
                  </a:lnTo>
                  <a:lnTo>
                    <a:pt x="449" y="727"/>
                  </a:lnTo>
                  <a:lnTo>
                    <a:pt x="449" y="729"/>
                  </a:lnTo>
                  <a:lnTo>
                    <a:pt x="446" y="727"/>
                  </a:lnTo>
                  <a:lnTo>
                    <a:pt x="446" y="726"/>
                  </a:lnTo>
                  <a:lnTo>
                    <a:pt x="448" y="724"/>
                  </a:lnTo>
                  <a:lnTo>
                    <a:pt x="446" y="724"/>
                  </a:lnTo>
                  <a:lnTo>
                    <a:pt x="444" y="723"/>
                  </a:lnTo>
                  <a:lnTo>
                    <a:pt x="443" y="723"/>
                  </a:lnTo>
                  <a:lnTo>
                    <a:pt x="441" y="724"/>
                  </a:lnTo>
                  <a:lnTo>
                    <a:pt x="438" y="724"/>
                  </a:lnTo>
                  <a:lnTo>
                    <a:pt x="435" y="724"/>
                  </a:lnTo>
                  <a:lnTo>
                    <a:pt x="433" y="727"/>
                  </a:lnTo>
                  <a:lnTo>
                    <a:pt x="430" y="727"/>
                  </a:lnTo>
                  <a:lnTo>
                    <a:pt x="428" y="727"/>
                  </a:lnTo>
                  <a:lnTo>
                    <a:pt x="433" y="731"/>
                  </a:lnTo>
                  <a:lnTo>
                    <a:pt x="435" y="732"/>
                  </a:lnTo>
                  <a:lnTo>
                    <a:pt x="435" y="734"/>
                  </a:lnTo>
                  <a:lnTo>
                    <a:pt x="436" y="734"/>
                  </a:lnTo>
                  <a:lnTo>
                    <a:pt x="438" y="734"/>
                  </a:lnTo>
                  <a:lnTo>
                    <a:pt x="439" y="734"/>
                  </a:lnTo>
                  <a:lnTo>
                    <a:pt x="441" y="734"/>
                  </a:lnTo>
                  <a:lnTo>
                    <a:pt x="441" y="736"/>
                  </a:lnTo>
                  <a:lnTo>
                    <a:pt x="443" y="737"/>
                  </a:lnTo>
                  <a:lnTo>
                    <a:pt x="441" y="737"/>
                  </a:lnTo>
                  <a:lnTo>
                    <a:pt x="443" y="739"/>
                  </a:lnTo>
                  <a:lnTo>
                    <a:pt x="441" y="740"/>
                  </a:lnTo>
                  <a:lnTo>
                    <a:pt x="441" y="742"/>
                  </a:lnTo>
                  <a:lnTo>
                    <a:pt x="439" y="742"/>
                  </a:lnTo>
                  <a:lnTo>
                    <a:pt x="438" y="740"/>
                  </a:lnTo>
                  <a:lnTo>
                    <a:pt x="436" y="740"/>
                  </a:lnTo>
                  <a:lnTo>
                    <a:pt x="436" y="739"/>
                  </a:lnTo>
                  <a:lnTo>
                    <a:pt x="435" y="740"/>
                  </a:lnTo>
                  <a:lnTo>
                    <a:pt x="433" y="740"/>
                  </a:lnTo>
                  <a:lnTo>
                    <a:pt x="433" y="739"/>
                  </a:lnTo>
                  <a:lnTo>
                    <a:pt x="431" y="737"/>
                  </a:lnTo>
                  <a:lnTo>
                    <a:pt x="430" y="737"/>
                  </a:lnTo>
                  <a:lnTo>
                    <a:pt x="430" y="736"/>
                  </a:lnTo>
                  <a:lnTo>
                    <a:pt x="428" y="736"/>
                  </a:lnTo>
                  <a:lnTo>
                    <a:pt x="430" y="737"/>
                  </a:lnTo>
                  <a:lnTo>
                    <a:pt x="430" y="739"/>
                  </a:lnTo>
                  <a:lnTo>
                    <a:pt x="428" y="740"/>
                  </a:lnTo>
                  <a:lnTo>
                    <a:pt x="426" y="744"/>
                  </a:lnTo>
                  <a:lnTo>
                    <a:pt x="426" y="745"/>
                  </a:lnTo>
                  <a:lnTo>
                    <a:pt x="425" y="749"/>
                  </a:lnTo>
                  <a:lnTo>
                    <a:pt x="426" y="750"/>
                  </a:lnTo>
                  <a:lnTo>
                    <a:pt x="426" y="752"/>
                  </a:lnTo>
                  <a:lnTo>
                    <a:pt x="425" y="752"/>
                  </a:lnTo>
                  <a:lnTo>
                    <a:pt x="426" y="753"/>
                  </a:lnTo>
                  <a:lnTo>
                    <a:pt x="425" y="753"/>
                  </a:lnTo>
                  <a:lnTo>
                    <a:pt x="423" y="753"/>
                  </a:lnTo>
                  <a:lnTo>
                    <a:pt x="422" y="753"/>
                  </a:lnTo>
                  <a:lnTo>
                    <a:pt x="422" y="755"/>
                  </a:lnTo>
                  <a:lnTo>
                    <a:pt x="422" y="757"/>
                  </a:lnTo>
                  <a:lnTo>
                    <a:pt x="420" y="757"/>
                  </a:lnTo>
                  <a:lnTo>
                    <a:pt x="420" y="758"/>
                  </a:lnTo>
                  <a:lnTo>
                    <a:pt x="418" y="758"/>
                  </a:lnTo>
                  <a:lnTo>
                    <a:pt x="417" y="758"/>
                  </a:lnTo>
                  <a:lnTo>
                    <a:pt x="417" y="760"/>
                  </a:lnTo>
                  <a:lnTo>
                    <a:pt x="417" y="758"/>
                  </a:lnTo>
                  <a:lnTo>
                    <a:pt x="415" y="758"/>
                  </a:lnTo>
                  <a:lnTo>
                    <a:pt x="413" y="758"/>
                  </a:lnTo>
                  <a:lnTo>
                    <a:pt x="413" y="760"/>
                  </a:lnTo>
                  <a:lnTo>
                    <a:pt x="412" y="758"/>
                  </a:lnTo>
                  <a:lnTo>
                    <a:pt x="412" y="760"/>
                  </a:lnTo>
                  <a:lnTo>
                    <a:pt x="412" y="762"/>
                  </a:lnTo>
                  <a:lnTo>
                    <a:pt x="410" y="762"/>
                  </a:lnTo>
                  <a:lnTo>
                    <a:pt x="409" y="762"/>
                  </a:lnTo>
                  <a:lnTo>
                    <a:pt x="409" y="763"/>
                  </a:lnTo>
                  <a:lnTo>
                    <a:pt x="407" y="765"/>
                  </a:lnTo>
                  <a:lnTo>
                    <a:pt x="405" y="765"/>
                  </a:lnTo>
                  <a:lnTo>
                    <a:pt x="404" y="763"/>
                  </a:lnTo>
                  <a:lnTo>
                    <a:pt x="404" y="765"/>
                  </a:lnTo>
                  <a:lnTo>
                    <a:pt x="404" y="766"/>
                  </a:lnTo>
                  <a:lnTo>
                    <a:pt x="402" y="766"/>
                  </a:lnTo>
                  <a:lnTo>
                    <a:pt x="402" y="765"/>
                  </a:lnTo>
                  <a:lnTo>
                    <a:pt x="402" y="766"/>
                  </a:lnTo>
                  <a:lnTo>
                    <a:pt x="400" y="766"/>
                  </a:lnTo>
                  <a:lnTo>
                    <a:pt x="400" y="768"/>
                  </a:lnTo>
                  <a:lnTo>
                    <a:pt x="402" y="770"/>
                  </a:lnTo>
                  <a:lnTo>
                    <a:pt x="400" y="771"/>
                  </a:lnTo>
                  <a:lnTo>
                    <a:pt x="399" y="775"/>
                  </a:lnTo>
                  <a:lnTo>
                    <a:pt x="399" y="776"/>
                  </a:lnTo>
                  <a:lnTo>
                    <a:pt x="397" y="781"/>
                  </a:lnTo>
                  <a:lnTo>
                    <a:pt x="397" y="783"/>
                  </a:lnTo>
                  <a:lnTo>
                    <a:pt x="397" y="784"/>
                  </a:lnTo>
                  <a:lnTo>
                    <a:pt x="394" y="788"/>
                  </a:lnTo>
                  <a:lnTo>
                    <a:pt x="394" y="791"/>
                  </a:lnTo>
                  <a:lnTo>
                    <a:pt x="394" y="794"/>
                  </a:lnTo>
                  <a:lnTo>
                    <a:pt x="392" y="796"/>
                  </a:lnTo>
                  <a:lnTo>
                    <a:pt x="391" y="797"/>
                  </a:lnTo>
                  <a:lnTo>
                    <a:pt x="389" y="799"/>
                  </a:lnTo>
                  <a:lnTo>
                    <a:pt x="387" y="799"/>
                  </a:lnTo>
                  <a:lnTo>
                    <a:pt x="386" y="801"/>
                  </a:lnTo>
                  <a:lnTo>
                    <a:pt x="384" y="801"/>
                  </a:lnTo>
                  <a:lnTo>
                    <a:pt x="381" y="801"/>
                  </a:lnTo>
                  <a:lnTo>
                    <a:pt x="379" y="801"/>
                  </a:lnTo>
                  <a:lnTo>
                    <a:pt x="378" y="802"/>
                  </a:lnTo>
                  <a:lnTo>
                    <a:pt x="376" y="802"/>
                  </a:lnTo>
                  <a:lnTo>
                    <a:pt x="371" y="806"/>
                  </a:lnTo>
                  <a:lnTo>
                    <a:pt x="369" y="804"/>
                  </a:lnTo>
                  <a:lnTo>
                    <a:pt x="368" y="804"/>
                  </a:lnTo>
                  <a:lnTo>
                    <a:pt x="368" y="806"/>
                  </a:lnTo>
                  <a:lnTo>
                    <a:pt x="368" y="807"/>
                  </a:lnTo>
                  <a:lnTo>
                    <a:pt x="366" y="807"/>
                  </a:lnTo>
                  <a:lnTo>
                    <a:pt x="365" y="807"/>
                  </a:lnTo>
                  <a:lnTo>
                    <a:pt x="363" y="807"/>
                  </a:lnTo>
                  <a:lnTo>
                    <a:pt x="361" y="807"/>
                  </a:lnTo>
                  <a:lnTo>
                    <a:pt x="360" y="809"/>
                  </a:lnTo>
                  <a:lnTo>
                    <a:pt x="360" y="810"/>
                  </a:lnTo>
                  <a:lnTo>
                    <a:pt x="356" y="812"/>
                  </a:lnTo>
                  <a:lnTo>
                    <a:pt x="355" y="812"/>
                  </a:lnTo>
                  <a:lnTo>
                    <a:pt x="355" y="814"/>
                  </a:lnTo>
                  <a:lnTo>
                    <a:pt x="352" y="814"/>
                  </a:lnTo>
                  <a:lnTo>
                    <a:pt x="350" y="814"/>
                  </a:lnTo>
                  <a:lnTo>
                    <a:pt x="347" y="815"/>
                  </a:lnTo>
                  <a:lnTo>
                    <a:pt x="343" y="814"/>
                  </a:lnTo>
                  <a:lnTo>
                    <a:pt x="342" y="815"/>
                  </a:lnTo>
                  <a:lnTo>
                    <a:pt x="339" y="817"/>
                  </a:lnTo>
                  <a:lnTo>
                    <a:pt x="334" y="819"/>
                  </a:lnTo>
                  <a:lnTo>
                    <a:pt x="316" y="825"/>
                  </a:lnTo>
                  <a:lnTo>
                    <a:pt x="313" y="827"/>
                  </a:lnTo>
                  <a:lnTo>
                    <a:pt x="311" y="828"/>
                  </a:lnTo>
                  <a:lnTo>
                    <a:pt x="309" y="830"/>
                  </a:lnTo>
                  <a:lnTo>
                    <a:pt x="308" y="830"/>
                  </a:lnTo>
                  <a:lnTo>
                    <a:pt x="306" y="830"/>
                  </a:lnTo>
                  <a:lnTo>
                    <a:pt x="306" y="832"/>
                  </a:lnTo>
                  <a:lnTo>
                    <a:pt x="306" y="833"/>
                  </a:lnTo>
                  <a:lnTo>
                    <a:pt x="306" y="835"/>
                  </a:lnTo>
                  <a:lnTo>
                    <a:pt x="304" y="836"/>
                  </a:lnTo>
                  <a:lnTo>
                    <a:pt x="304" y="840"/>
                  </a:lnTo>
                  <a:lnTo>
                    <a:pt x="303" y="841"/>
                  </a:lnTo>
                  <a:lnTo>
                    <a:pt x="303" y="843"/>
                  </a:lnTo>
                  <a:lnTo>
                    <a:pt x="303" y="846"/>
                  </a:lnTo>
                  <a:lnTo>
                    <a:pt x="301" y="846"/>
                  </a:lnTo>
                  <a:lnTo>
                    <a:pt x="300" y="848"/>
                  </a:lnTo>
                  <a:lnTo>
                    <a:pt x="300" y="849"/>
                  </a:lnTo>
                  <a:lnTo>
                    <a:pt x="300" y="853"/>
                  </a:lnTo>
                  <a:lnTo>
                    <a:pt x="298" y="853"/>
                  </a:lnTo>
                  <a:lnTo>
                    <a:pt x="295" y="854"/>
                  </a:lnTo>
                  <a:lnTo>
                    <a:pt x="293" y="856"/>
                  </a:lnTo>
                  <a:lnTo>
                    <a:pt x="293" y="858"/>
                  </a:lnTo>
                  <a:lnTo>
                    <a:pt x="291" y="858"/>
                  </a:lnTo>
                  <a:lnTo>
                    <a:pt x="290" y="858"/>
                  </a:lnTo>
                  <a:lnTo>
                    <a:pt x="288" y="858"/>
                  </a:lnTo>
                  <a:lnTo>
                    <a:pt x="288" y="859"/>
                  </a:lnTo>
                  <a:lnTo>
                    <a:pt x="285" y="859"/>
                  </a:lnTo>
                  <a:lnTo>
                    <a:pt x="278" y="861"/>
                  </a:lnTo>
                  <a:lnTo>
                    <a:pt x="277" y="858"/>
                  </a:lnTo>
                  <a:lnTo>
                    <a:pt x="275" y="856"/>
                  </a:lnTo>
                  <a:lnTo>
                    <a:pt x="274" y="856"/>
                  </a:lnTo>
                  <a:lnTo>
                    <a:pt x="274" y="854"/>
                  </a:lnTo>
                  <a:lnTo>
                    <a:pt x="272" y="854"/>
                  </a:lnTo>
                  <a:lnTo>
                    <a:pt x="272" y="853"/>
                  </a:lnTo>
                  <a:lnTo>
                    <a:pt x="272" y="851"/>
                  </a:lnTo>
                  <a:lnTo>
                    <a:pt x="270" y="851"/>
                  </a:lnTo>
                  <a:lnTo>
                    <a:pt x="270" y="849"/>
                  </a:lnTo>
                  <a:lnTo>
                    <a:pt x="270" y="848"/>
                  </a:lnTo>
                  <a:lnTo>
                    <a:pt x="265" y="849"/>
                  </a:lnTo>
                  <a:lnTo>
                    <a:pt x="265" y="848"/>
                  </a:lnTo>
                  <a:lnTo>
                    <a:pt x="264" y="848"/>
                  </a:lnTo>
                  <a:lnTo>
                    <a:pt x="262" y="848"/>
                  </a:lnTo>
                  <a:lnTo>
                    <a:pt x="261" y="848"/>
                  </a:lnTo>
                  <a:lnTo>
                    <a:pt x="259" y="848"/>
                  </a:lnTo>
                  <a:lnTo>
                    <a:pt x="257" y="848"/>
                  </a:lnTo>
                  <a:lnTo>
                    <a:pt x="257" y="846"/>
                  </a:lnTo>
                  <a:lnTo>
                    <a:pt x="256" y="846"/>
                  </a:lnTo>
                  <a:lnTo>
                    <a:pt x="254" y="845"/>
                  </a:lnTo>
                  <a:lnTo>
                    <a:pt x="252" y="843"/>
                  </a:lnTo>
                  <a:lnTo>
                    <a:pt x="254" y="841"/>
                  </a:lnTo>
                  <a:lnTo>
                    <a:pt x="252" y="841"/>
                  </a:lnTo>
                  <a:lnTo>
                    <a:pt x="252" y="840"/>
                  </a:lnTo>
                  <a:lnTo>
                    <a:pt x="251" y="840"/>
                  </a:lnTo>
                  <a:lnTo>
                    <a:pt x="251" y="838"/>
                  </a:lnTo>
                  <a:lnTo>
                    <a:pt x="249" y="838"/>
                  </a:lnTo>
                  <a:lnTo>
                    <a:pt x="248" y="835"/>
                  </a:lnTo>
                  <a:lnTo>
                    <a:pt x="246" y="835"/>
                  </a:lnTo>
                  <a:lnTo>
                    <a:pt x="244" y="835"/>
                  </a:lnTo>
                  <a:lnTo>
                    <a:pt x="243" y="833"/>
                  </a:lnTo>
                  <a:lnTo>
                    <a:pt x="241" y="833"/>
                  </a:lnTo>
                  <a:lnTo>
                    <a:pt x="239" y="835"/>
                  </a:lnTo>
                  <a:lnTo>
                    <a:pt x="238" y="835"/>
                  </a:lnTo>
                  <a:lnTo>
                    <a:pt x="236" y="836"/>
                  </a:lnTo>
                  <a:lnTo>
                    <a:pt x="234" y="836"/>
                  </a:lnTo>
                  <a:lnTo>
                    <a:pt x="233" y="835"/>
                  </a:lnTo>
                  <a:lnTo>
                    <a:pt x="231" y="835"/>
                  </a:lnTo>
                  <a:lnTo>
                    <a:pt x="230" y="835"/>
                  </a:lnTo>
                  <a:lnTo>
                    <a:pt x="228" y="835"/>
                  </a:lnTo>
                  <a:lnTo>
                    <a:pt x="228" y="836"/>
                  </a:lnTo>
                  <a:lnTo>
                    <a:pt x="225" y="838"/>
                  </a:lnTo>
                  <a:lnTo>
                    <a:pt x="225" y="840"/>
                  </a:lnTo>
                  <a:lnTo>
                    <a:pt x="225" y="841"/>
                  </a:lnTo>
                  <a:lnTo>
                    <a:pt x="225" y="843"/>
                  </a:lnTo>
                  <a:lnTo>
                    <a:pt x="221" y="845"/>
                  </a:lnTo>
                  <a:lnTo>
                    <a:pt x="220" y="843"/>
                  </a:lnTo>
                  <a:lnTo>
                    <a:pt x="217" y="846"/>
                  </a:lnTo>
                  <a:lnTo>
                    <a:pt x="215" y="846"/>
                  </a:lnTo>
                  <a:lnTo>
                    <a:pt x="213" y="848"/>
                  </a:lnTo>
                  <a:lnTo>
                    <a:pt x="212" y="848"/>
                  </a:lnTo>
                  <a:lnTo>
                    <a:pt x="212" y="849"/>
                  </a:lnTo>
                  <a:lnTo>
                    <a:pt x="210" y="849"/>
                  </a:lnTo>
                  <a:lnTo>
                    <a:pt x="210" y="848"/>
                  </a:lnTo>
                  <a:lnTo>
                    <a:pt x="208" y="848"/>
                  </a:lnTo>
                  <a:lnTo>
                    <a:pt x="207" y="848"/>
                  </a:lnTo>
                  <a:lnTo>
                    <a:pt x="202" y="848"/>
                  </a:lnTo>
                  <a:lnTo>
                    <a:pt x="200" y="849"/>
                  </a:lnTo>
                  <a:lnTo>
                    <a:pt x="199" y="848"/>
                  </a:lnTo>
                  <a:lnTo>
                    <a:pt x="199" y="846"/>
                  </a:lnTo>
                  <a:lnTo>
                    <a:pt x="197" y="846"/>
                  </a:lnTo>
                  <a:lnTo>
                    <a:pt x="195" y="845"/>
                  </a:lnTo>
                  <a:lnTo>
                    <a:pt x="194" y="845"/>
                  </a:lnTo>
                  <a:lnTo>
                    <a:pt x="192" y="845"/>
                  </a:lnTo>
                  <a:lnTo>
                    <a:pt x="191" y="845"/>
                  </a:lnTo>
                  <a:lnTo>
                    <a:pt x="189" y="843"/>
                  </a:lnTo>
                  <a:lnTo>
                    <a:pt x="187" y="845"/>
                  </a:lnTo>
                  <a:lnTo>
                    <a:pt x="186" y="845"/>
                  </a:lnTo>
                  <a:lnTo>
                    <a:pt x="186" y="843"/>
                  </a:lnTo>
                  <a:lnTo>
                    <a:pt x="186" y="845"/>
                  </a:lnTo>
                  <a:lnTo>
                    <a:pt x="184" y="845"/>
                  </a:lnTo>
                  <a:lnTo>
                    <a:pt x="182" y="845"/>
                  </a:lnTo>
                  <a:lnTo>
                    <a:pt x="182" y="846"/>
                  </a:lnTo>
                  <a:lnTo>
                    <a:pt x="182" y="848"/>
                  </a:lnTo>
                  <a:lnTo>
                    <a:pt x="181" y="848"/>
                  </a:lnTo>
                  <a:lnTo>
                    <a:pt x="179" y="848"/>
                  </a:lnTo>
                  <a:lnTo>
                    <a:pt x="178" y="849"/>
                  </a:lnTo>
                  <a:lnTo>
                    <a:pt x="176" y="851"/>
                  </a:lnTo>
                  <a:lnTo>
                    <a:pt x="174" y="849"/>
                  </a:lnTo>
                  <a:lnTo>
                    <a:pt x="173" y="849"/>
                  </a:lnTo>
                  <a:lnTo>
                    <a:pt x="173" y="848"/>
                  </a:lnTo>
                  <a:lnTo>
                    <a:pt x="173" y="846"/>
                  </a:lnTo>
                  <a:lnTo>
                    <a:pt x="171" y="846"/>
                  </a:lnTo>
                  <a:lnTo>
                    <a:pt x="169" y="845"/>
                  </a:lnTo>
                  <a:lnTo>
                    <a:pt x="171" y="845"/>
                  </a:lnTo>
                  <a:lnTo>
                    <a:pt x="169" y="845"/>
                  </a:lnTo>
                  <a:lnTo>
                    <a:pt x="168" y="845"/>
                  </a:lnTo>
                  <a:lnTo>
                    <a:pt x="166" y="843"/>
                  </a:lnTo>
                  <a:lnTo>
                    <a:pt x="165" y="843"/>
                  </a:lnTo>
                  <a:lnTo>
                    <a:pt x="165" y="845"/>
                  </a:lnTo>
                  <a:lnTo>
                    <a:pt x="163" y="843"/>
                  </a:lnTo>
                  <a:lnTo>
                    <a:pt x="163" y="845"/>
                  </a:lnTo>
                  <a:lnTo>
                    <a:pt x="161" y="845"/>
                  </a:lnTo>
                  <a:lnTo>
                    <a:pt x="160" y="845"/>
                  </a:lnTo>
                  <a:lnTo>
                    <a:pt x="158" y="846"/>
                  </a:lnTo>
                  <a:lnTo>
                    <a:pt x="156" y="846"/>
                  </a:lnTo>
                  <a:lnTo>
                    <a:pt x="156" y="848"/>
                  </a:lnTo>
                  <a:lnTo>
                    <a:pt x="155" y="846"/>
                  </a:lnTo>
                  <a:lnTo>
                    <a:pt x="153" y="846"/>
                  </a:lnTo>
                  <a:lnTo>
                    <a:pt x="153" y="845"/>
                  </a:lnTo>
                  <a:lnTo>
                    <a:pt x="152" y="845"/>
                  </a:lnTo>
                  <a:lnTo>
                    <a:pt x="150" y="845"/>
                  </a:lnTo>
                  <a:lnTo>
                    <a:pt x="148" y="845"/>
                  </a:lnTo>
                  <a:lnTo>
                    <a:pt x="148" y="846"/>
                  </a:lnTo>
                  <a:lnTo>
                    <a:pt x="147" y="846"/>
                  </a:lnTo>
                  <a:lnTo>
                    <a:pt x="145" y="846"/>
                  </a:lnTo>
                  <a:lnTo>
                    <a:pt x="143" y="845"/>
                  </a:lnTo>
                  <a:lnTo>
                    <a:pt x="143" y="846"/>
                  </a:lnTo>
                  <a:lnTo>
                    <a:pt x="142" y="845"/>
                  </a:lnTo>
                  <a:lnTo>
                    <a:pt x="140" y="851"/>
                  </a:lnTo>
                  <a:lnTo>
                    <a:pt x="140" y="853"/>
                  </a:lnTo>
                  <a:lnTo>
                    <a:pt x="135" y="851"/>
                  </a:lnTo>
                  <a:lnTo>
                    <a:pt x="134" y="851"/>
                  </a:lnTo>
                  <a:lnTo>
                    <a:pt x="134" y="849"/>
                  </a:lnTo>
                  <a:lnTo>
                    <a:pt x="132" y="851"/>
                  </a:lnTo>
                  <a:lnTo>
                    <a:pt x="130" y="849"/>
                  </a:lnTo>
                  <a:lnTo>
                    <a:pt x="124" y="848"/>
                  </a:lnTo>
                  <a:lnTo>
                    <a:pt x="124" y="846"/>
                  </a:lnTo>
                  <a:lnTo>
                    <a:pt x="122" y="845"/>
                  </a:lnTo>
                  <a:lnTo>
                    <a:pt x="121" y="845"/>
                  </a:lnTo>
                  <a:lnTo>
                    <a:pt x="119" y="845"/>
                  </a:lnTo>
                  <a:lnTo>
                    <a:pt x="117" y="843"/>
                  </a:lnTo>
                  <a:lnTo>
                    <a:pt x="117" y="840"/>
                  </a:lnTo>
                  <a:lnTo>
                    <a:pt x="116" y="840"/>
                  </a:lnTo>
                  <a:lnTo>
                    <a:pt x="116" y="838"/>
                  </a:lnTo>
                  <a:lnTo>
                    <a:pt x="114" y="838"/>
                  </a:lnTo>
                  <a:lnTo>
                    <a:pt x="113" y="840"/>
                  </a:lnTo>
                  <a:lnTo>
                    <a:pt x="109" y="840"/>
                  </a:lnTo>
                  <a:lnTo>
                    <a:pt x="108" y="838"/>
                  </a:lnTo>
                  <a:lnTo>
                    <a:pt x="108" y="836"/>
                  </a:lnTo>
                  <a:lnTo>
                    <a:pt x="106" y="836"/>
                  </a:lnTo>
                  <a:lnTo>
                    <a:pt x="104" y="836"/>
                  </a:lnTo>
                  <a:lnTo>
                    <a:pt x="104" y="838"/>
                  </a:lnTo>
                  <a:lnTo>
                    <a:pt x="104" y="840"/>
                  </a:lnTo>
                  <a:lnTo>
                    <a:pt x="103" y="840"/>
                  </a:lnTo>
                  <a:lnTo>
                    <a:pt x="103" y="841"/>
                  </a:lnTo>
                  <a:lnTo>
                    <a:pt x="101" y="841"/>
                  </a:lnTo>
                  <a:lnTo>
                    <a:pt x="103" y="843"/>
                  </a:lnTo>
                  <a:lnTo>
                    <a:pt x="101" y="845"/>
                  </a:lnTo>
                  <a:lnTo>
                    <a:pt x="101" y="848"/>
                  </a:lnTo>
                  <a:lnTo>
                    <a:pt x="101" y="849"/>
                  </a:lnTo>
                  <a:lnTo>
                    <a:pt x="101" y="851"/>
                  </a:lnTo>
                  <a:lnTo>
                    <a:pt x="101" y="853"/>
                  </a:lnTo>
                  <a:lnTo>
                    <a:pt x="101" y="854"/>
                  </a:lnTo>
                  <a:lnTo>
                    <a:pt x="100" y="854"/>
                  </a:lnTo>
                  <a:lnTo>
                    <a:pt x="98" y="854"/>
                  </a:lnTo>
                  <a:lnTo>
                    <a:pt x="96" y="856"/>
                  </a:lnTo>
                  <a:lnTo>
                    <a:pt x="95" y="856"/>
                  </a:lnTo>
                  <a:lnTo>
                    <a:pt x="95" y="858"/>
                  </a:lnTo>
                  <a:lnTo>
                    <a:pt x="95" y="859"/>
                  </a:lnTo>
                  <a:lnTo>
                    <a:pt x="91" y="859"/>
                  </a:lnTo>
                  <a:lnTo>
                    <a:pt x="91" y="858"/>
                  </a:lnTo>
                  <a:lnTo>
                    <a:pt x="93" y="858"/>
                  </a:lnTo>
                  <a:lnTo>
                    <a:pt x="93" y="856"/>
                  </a:lnTo>
                  <a:lnTo>
                    <a:pt x="91" y="856"/>
                  </a:lnTo>
                  <a:lnTo>
                    <a:pt x="90" y="856"/>
                  </a:lnTo>
                  <a:lnTo>
                    <a:pt x="88" y="856"/>
                  </a:lnTo>
                  <a:lnTo>
                    <a:pt x="86" y="854"/>
                  </a:lnTo>
                  <a:lnTo>
                    <a:pt x="85" y="854"/>
                  </a:lnTo>
                  <a:lnTo>
                    <a:pt x="85" y="856"/>
                  </a:lnTo>
                  <a:lnTo>
                    <a:pt x="85" y="858"/>
                  </a:lnTo>
                  <a:lnTo>
                    <a:pt x="86" y="858"/>
                  </a:lnTo>
                  <a:lnTo>
                    <a:pt x="88" y="861"/>
                  </a:lnTo>
                  <a:lnTo>
                    <a:pt x="88" y="862"/>
                  </a:lnTo>
                  <a:lnTo>
                    <a:pt x="86" y="862"/>
                  </a:lnTo>
                  <a:lnTo>
                    <a:pt x="85" y="864"/>
                  </a:lnTo>
                  <a:lnTo>
                    <a:pt x="83" y="864"/>
                  </a:lnTo>
                  <a:lnTo>
                    <a:pt x="83" y="862"/>
                  </a:lnTo>
                  <a:lnTo>
                    <a:pt x="82" y="862"/>
                  </a:lnTo>
                  <a:lnTo>
                    <a:pt x="80" y="862"/>
                  </a:lnTo>
                  <a:lnTo>
                    <a:pt x="80" y="861"/>
                  </a:lnTo>
                  <a:lnTo>
                    <a:pt x="78" y="861"/>
                  </a:lnTo>
                  <a:lnTo>
                    <a:pt x="77" y="861"/>
                  </a:lnTo>
                  <a:lnTo>
                    <a:pt x="78" y="858"/>
                  </a:lnTo>
                  <a:lnTo>
                    <a:pt x="80" y="858"/>
                  </a:lnTo>
                  <a:lnTo>
                    <a:pt x="80" y="856"/>
                  </a:lnTo>
                  <a:lnTo>
                    <a:pt x="80" y="854"/>
                  </a:lnTo>
                  <a:lnTo>
                    <a:pt x="80" y="853"/>
                  </a:lnTo>
                  <a:lnTo>
                    <a:pt x="80" y="851"/>
                  </a:lnTo>
                  <a:lnTo>
                    <a:pt x="80" y="849"/>
                  </a:lnTo>
                  <a:lnTo>
                    <a:pt x="78" y="851"/>
                  </a:lnTo>
                  <a:lnTo>
                    <a:pt x="78" y="849"/>
                  </a:lnTo>
                  <a:lnTo>
                    <a:pt x="78" y="848"/>
                  </a:lnTo>
                  <a:lnTo>
                    <a:pt x="77" y="848"/>
                  </a:lnTo>
                  <a:lnTo>
                    <a:pt x="77" y="846"/>
                  </a:lnTo>
                  <a:lnTo>
                    <a:pt x="75" y="846"/>
                  </a:lnTo>
                  <a:lnTo>
                    <a:pt x="73" y="846"/>
                  </a:lnTo>
                  <a:lnTo>
                    <a:pt x="73" y="845"/>
                  </a:lnTo>
                  <a:lnTo>
                    <a:pt x="73" y="843"/>
                  </a:lnTo>
                  <a:lnTo>
                    <a:pt x="72" y="843"/>
                  </a:lnTo>
                  <a:lnTo>
                    <a:pt x="72" y="845"/>
                  </a:lnTo>
                  <a:lnTo>
                    <a:pt x="72" y="843"/>
                  </a:lnTo>
                  <a:lnTo>
                    <a:pt x="70" y="843"/>
                  </a:lnTo>
                  <a:lnTo>
                    <a:pt x="69" y="843"/>
                  </a:lnTo>
                  <a:lnTo>
                    <a:pt x="69" y="845"/>
                  </a:lnTo>
                  <a:lnTo>
                    <a:pt x="67" y="845"/>
                  </a:lnTo>
                  <a:lnTo>
                    <a:pt x="67" y="843"/>
                  </a:lnTo>
                  <a:lnTo>
                    <a:pt x="65" y="845"/>
                  </a:lnTo>
                  <a:lnTo>
                    <a:pt x="65" y="843"/>
                  </a:lnTo>
                  <a:lnTo>
                    <a:pt x="64" y="845"/>
                  </a:lnTo>
                  <a:lnTo>
                    <a:pt x="62" y="846"/>
                  </a:lnTo>
                  <a:lnTo>
                    <a:pt x="60" y="848"/>
                  </a:lnTo>
                  <a:lnTo>
                    <a:pt x="59" y="849"/>
                  </a:lnTo>
                  <a:lnTo>
                    <a:pt x="57" y="848"/>
                  </a:lnTo>
                  <a:lnTo>
                    <a:pt x="56" y="849"/>
                  </a:lnTo>
                  <a:lnTo>
                    <a:pt x="54" y="848"/>
                  </a:lnTo>
                  <a:lnTo>
                    <a:pt x="52" y="848"/>
                  </a:lnTo>
                  <a:lnTo>
                    <a:pt x="51" y="848"/>
                  </a:lnTo>
                  <a:lnTo>
                    <a:pt x="51" y="846"/>
                  </a:lnTo>
                  <a:lnTo>
                    <a:pt x="52" y="846"/>
                  </a:lnTo>
                  <a:lnTo>
                    <a:pt x="51" y="845"/>
                  </a:lnTo>
                  <a:lnTo>
                    <a:pt x="51" y="843"/>
                  </a:lnTo>
                  <a:lnTo>
                    <a:pt x="51" y="841"/>
                  </a:lnTo>
                  <a:lnTo>
                    <a:pt x="49" y="841"/>
                  </a:lnTo>
                  <a:lnTo>
                    <a:pt x="47" y="840"/>
                  </a:lnTo>
                  <a:lnTo>
                    <a:pt x="47" y="838"/>
                  </a:lnTo>
                  <a:lnTo>
                    <a:pt x="47" y="836"/>
                  </a:lnTo>
                  <a:lnTo>
                    <a:pt x="43" y="833"/>
                  </a:lnTo>
                  <a:lnTo>
                    <a:pt x="41" y="833"/>
                  </a:lnTo>
                  <a:lnTo>
                    <a:pt x="41" y="832"/>
                  </a:lnTo>
                  <a:lnTo>
                    <a:pt x="39" y="830"/>
                  </a:lnTo>
                  <a:lnTo>
                    <a:pt x="39" y="828"/>
                  </a:lnTo>
                  <a:lnTo>
                    <a:pt x="38" y="828"/>
                  </a:lnTo>
                  <a:lnTo>
                    <a:pt x="38" y="830"/>
                  </a:lnTo>
                  <a:lnTo>
                    <a:pt x="36" y="830"/>
                  </a:lnTo>
                  <a:lnTo>
                    <a:pt x="34" y="830"/>
                  </a:lnTo>
                  <a:lnTo>
                    <a:pt x="33" y="830"/>
                  </a:lnTo>
                  <a:lnTo>
                    <a:pt x="30" y="832"/>
                  </a:lnTo>
                  <a:lnTo>
                    <a:pt x="28" y="833"/>
                  </a:lnTo>
                  <a:lnTo>
                    <a:pt x="28" y="832"/>
                  </a:lnTo>
                  <a:lnTo>
                    <a:pt x="26" y="830"/>
                  </a:lnTo>
                  <a:lnTo>
                    <a:pt x="25" y="828"/>
                  </a:lnTo>
                  <a:lnTo>
                    <a:pt x="23" y="825"/>
                  </a:lnTo>
                  <a:lnTo>
                    <a:pt x="23" y="823"/>
                  </a:lnTo>
                  <a:lnTo>
                    <a:pt x="21" y="823"/>
                  </a:lnTo>
                  <a:lnTo>
                    <a:pt x="21" y="822"/>
                  </a:lnTo>
                  <a:lnTo>
                    <a:pt x="20" y="822"/>
                  </a:lnTo>
                  <a:lnTo>
                    <a:pt x="20" y="820"/>
                  </a:lnTo>
                  <a:lnTo>
                    <a:pt x="20" y="819"/>
                  </a:lnTo>
                  <a:lnTo>
                    <a:pt x="18" y="817"/>
                  </a:lnTo>
                  <a:lnTo>
                    <a:pt x="15" y="817"/>
                  </a:lnTo>
                  <a:lnTo>
                    <a:pt x="13" y="815"/>
                  </a:lnTo>
                  <a:lnTo>
                    <a:pt x="12" y="814"/>
                  </a:lnTo>
                  <a:lnTo>
                    <a:pt x="13" y="814"/>
                  </a:lnTo>
                  <a:lnTo>
                    <a:pt x="13" y="812"/>
                  </a:lnTo>
                  <a:lnTo>
                    <a:pt x="13" y="810"/>
                  </a:lnTo>
                  <a:lnTo>
                    <a:pt x="12" y="810"/>
                  </a:lnTo>
                  <a:lnTo>
                    <a:pt x="10" y="810"/>
                  </a:lnTo>
                  <a:lnTo>
                    <a:pt x="8" y="809"/>
                  </a:lnTo>
                  <a:lnTo>
                    <a:pt x="7" y="809"/>
                  </a:lnTo>
                  <a:lnTo>
                    <a:pt x="7" y="810"/>
                  </a:lnTo>
                  <a:lnTo>
                    <a:pt x="5" y="810"/>
                  </a:lnTo>
                  <a:lnTo>
                    <a:pt x="4" y="810"/>
                  </a:lnTo>
                  <a:lnTo>
                    <a:pt x="4" y="812"/>
                  </a:lnTo>
                  <a:lnTo>
                    <a:pt x="4" y="814"/>
                  </a:lnTo>
                  <a:lnTo>
                    <a:pt x="2" y="815"/>
                  </a:lnTo>
                  <a:lnTo>
                    <a:pt x="2" y="812"/>
                  </a:lnTo>
                  <a:lnTo>
                    <a:pt x="0" y="809"/>
                  </a:lnTo>
                  <a:lnTo>
                    <a:pt x="0" y="804"/>
                  </a:lnTo>
                  <a:lnTo>
                    <a:pt x="0" y="796"/>
                  </a:lnTo>
                  <a:lnTo>
                    <a:pt x="0" y="789"/>
                  </a:lnTo>
                  <a:lnTo>
                    <a:pt x="0" y="786"/>
                  </a:lnTo>
                  <a:lnTo>
                    <a:pt x="2" y="783"/>
                  </a:lnTo>
                  <a:lnTo>
                    <a:pt x="4" y="783"/>
                  </a:lnTo>
                  <a:lnTo>
                    <a:pt x="4" y="781"/>
                  </a:lnTo>
                  <a:lnTo>
                    <a:pt x="5" y="781"/>
                  </a:lnTo>
                  <a:lnTo>
                    <a:pt x="7" y="781"/>
                  </a:lnTo>
                  <a:lnTo>
                    <a:pt x="7" y="778"/>
                  </a:lnTo>
                  <a:lnTo>
                    <a:pt x="7" y="776"/>
                  </a:lnTo>
                  <a:lnTo>
                    <a:pt x="8" y="775"/>
                  </a:lnTo>
                  <a:lnTo>
                    <a:pt x="10" y="773"/>
                  </a:lnTo>
                  <a:lnTo>
                    <a:pt x="12" y="771"/>
                  </a:lnTo>
                  <a:lnTo>
                    <a:pt x="13" y="770"/>
                  </a:lnTo>
                  <a:lnTo>
                    <a:pt x="13" y="768"/>
                  </a:lnTo>
                  <a:lnTo>
                    <a:pt x="15" y="766"/>
                  </a:lnTo>
                  <a:lnTo>
                    <a:pt x="15" y="765"/>
                  </a:lnTo>
                  <a:lnTo>
                    <a:pt x="15" y="763"/>
                  </a:lnTo>
                  <a:lnTo>
                    <a:pt x="15" y="762"/>
                  </a:lnTo>
                  <a:lnTo>
                    <a:pt x="13" y="762"/>
                  </a:lnTo>
                  <a:lnTo>
                    <a:pt x="13" y="760"/>
                  </a:lnTo>
                  <a:lnTo>
                    <a:pt x="12" y="760"/>
                  </a:lnTo>
                  <a:lnTo>
                    <a:pt x="13" y="758"/>
                  </a:lnTo>
                  <a:lnTo>
                    <a:pt x="15" y="755"/>
                  </a:lnTo>
                  <a:lnTo>
                    <a:pt x="15" y="753"/>
                  </a:lnTo>
                  <a:lnTo>
                    <a:pt x="15" y="750"/>
                  </a:lnTo>
                  <a:lnTo>
                    <a:pt x="13" y="749"/>
                  </a:lnTo>
                  <a:lnTo>
                    <a:pt x="13" y="744"/>
                  </a:lnTo>
                  <a:lnTo>
                    <a:pt x="15" y="742"/>
                  </a:lnTo>
                  <a:lnTo>
                    <a:pt x="17" y="740"/>
                  </a:lnTo>
                  <a:lnTo>
                    <a:pt x="17" y="734"/>
                  </a:lnTo>
                  <a:lnTo>
                    <a:pt x="17" y="732"/>
                  </a:lnTo>
                  <a:lnTo>
                    <a:pt x="18" y="727"/>
                  </a:lnTo>
                  <a:lnTo>
                    <a:pt x="20" y="726"/>
                  </a:lnTo>
                  <a:lnTo>
                    <a:pt x="20" y="724"/>
                  </a:lnTo>
                  <a:lnTo>
                    <a:pt x="23" y="724"/>
                  </a:lnTo>
                  <a:lnTo>
                    <a:pt x="25" y="721"/>
                  </a:lnTo>
                  <a:lnTo>
                    <a:pt x="25" y="719"/>
                  </a:lnTo>
                  <a:lnTo>
                    <a:pt x="25" y="718"/>
                  </a:lnTo>
                  <a:lnTo>
                    <a:pt x="25" y="713"/>
                  </a:lnTo>
                  <a:lnTo>
                    <a:pt x="25" y="711"/>
                  </a:lnTo>
                  <a:lnTo>
                    <a:pt x="26" y="710"/>
                  </a:lnTo>
                  <a:lnTo>
                    <a:pt x="26" y="708"/>
                  </a:lnTo>
                  <a:lnTo>
                    <a:pt x="28" y="708"/>
                  </a:lnTo>
                  <a:lnTo>
                    <a:pt x="30" y="710"/>
                  </a:lnTo>
                  <a:lnTo>
                    <a:pt x="31" y="710"/>
                  </a:lnTo>
                  <a:lnTo>
                    <a:pt x="33" y="711"/>
                  </a:lnTo>
                  <a:lnTo>
                    <a:pt x="33" y="713"/>
                  </a:lnTo>
                  <a:lnTo>
                    <a:pt x="34" y="713"/>
                  </a:lnTo>
                  <a:lnTo>
                    <a:pt x="38" y="714"/>
                  </a:lnTo>
                  <a:lnTo>
                    <a:pt x="39" y="713"/>
                  </a:lnTo>
                  <a:lnTo>
                    <a:pt x="41" y="713"/>
                  </a:lnTo>
                  <a:lnTo>
                    <a:pt x="43" y="713"/>
                  </a:lnTo>
                  <a:lnTo>
                    <a:pt x="44" y="713"/>
                  </a:lnTo>
                  <a:lnTo>
                    <a:pt x="44" y="711"/>
                  </a:lnTo>
                  <a:lnTo>
                    <a:pt x="49" y="713"/>
                  </a:lnTo>
                  <a:lnTo>
                    <a:pt x="49" y="714"/>
                  </a:lnTo>
                  <a:lnTo>
                    <a:pt x="51" y="714"/>
                  </a:lnTo>
                  <a:lnTo>
                    <a:pt x="52" y="714"/>
                  </a:lnTo>
                  <a:lnTo>
                    <a:pt x="52" y="716"/>
                  </a:lnTo>
                  <a:lnTo>
                    <a:pt x="54" y="716"/>
                  </a:lnTo>
                  <a:lnTo>
                    <a:pt x="56" y="716"/>
                  </a:lnTo>
                  <a:lnTo>
                    <a:pt x="57" y="716"/>
                  </a:lnTo>
                  <a:lnTo>
                    <a:pt x="57" y="714"/>
                  </a:lnTo>
                  <a:lnTo>
                    <a:pt x="57" y="713"/>
                  </a:lnTo>
                  <a:lnTo>
                    <a:pt x="56" y="713"/>
                  </a:lnTo>
                  <a:lnTo>
                    <a:pt x="56" y="711"/>
                  </a:lnTo>
                  <a:lnTo>
                    <a:pt x="56" y="710"/>
                  </a:lnTo>
                  <a:lnTo>
                    <a:pt x="54" y="708"/>
                  </a:lnTo>
                  <a:lnTo>
                    <a:pt x="54" y="706"/>
                  </a:lnTo>
                  <a:lnTo>
                    <a:pt x="56" y="705"/>
                  </a:lnTo>
                  <a:lnTo>
                    <a:pt x="56" y="703"/>
                  </a:lnTo>
                  <a:lnTo>
                    <a:pt x="54" y="703"/>
                  </a:lnTo>
                  <a:lnTo>
                    <a:pt x="52" y="703"/>
                  </a:lnTo>
                  <a:lnTo>
                    <a:pt x="52" y="701"/>
                  </a:lnTo>
                  <a:lnTo>
                    <a:pt x="51" y="701"/>
                  </a:lnTo>
                  <a:lnTo>
                    <a:pt x="49" y="701"/>
                  </a:lnTo>
                  <a:lnTo>
                    <a:pt x="47" y="700"/>
                  </a:lnTo>
                  <a:lnTo>
                    <a:pt x="46" y="700"/>
                  </a:lnTo>
                  <a:lnTo>
                    <a:pt x="46" y="698"/>
                  </a:lnTo>
                  <a:lnTo>
                    <a:pt x="44" y="697"/>
                  </a:lnTo>
                  <a:lnTo>
                    <a:pt x="43" y="697"/>
                  </a:lnTo>
                  <a:lnTo>
                    <a:pt x="41" y="697"/>
                  </a:lnTo>
                  <a:lnTo>
                    <a:pt x="39" y="697"/>
                  </a:lnTo>
                  <a:lnTo>
                    <a:pt x="39" y="695"/>
                  </a:lnTo>
                  <a:lnTo>
                    <a:pt x="41" y="695"/>
                  </a:lnTo>
                  <a:lnTo>
                    <a:pt x="41" y="693"/>
                  </a:lnTo>
                  <a:lnTo>
                    <a:pt x="39" y="693"/>
                  </a:lnTo>
                  <a:lnTo>
                    <a:pt x="39" y="695"/>
                  </a:lnTo>
                  <a:lnTo>
                    <a:pt x="38" y="695"/>
                  </a:lnTo>
                  <a:lnTo>
                    <a:pt x="38" y="697"/>
                  </a:lnTo>
                  <a:lnTo>
                    <a:pt x="38" y="695"/>
                  </a:lnTo>
                  <a:lnTo>
                    <a:pt x="36" y="695"/>
                  </a:lnTo>
                  <a:lnTo>
                    <a:pt x="36" y="693"/>
                  </a:lnTo>
                  <a:lnTo>
                    <a:pt x="38" y="693"/>
                  </a:lnTo>
                  <a:lnTo>
                    <a:pt x="38" y="692"/>
                  </a:lnTo>
                  <a:lnTo>
                    <a:pt x="38" y="690"/>
                  </a:lnTo>
                  <a:lnTo>
                    <a:pt x="38" y="688"/>
                  </a:lnTo>
                  <a:lnTo>
                    <a:pt x="39" y="688"/>
                  </a:lnTo>
                  <a:lnTo>
                    <a:pt x="38" y="688"/>
                  </a:lnTo>
                  <a:lnTo>
                    <a:pt x="36" y="688"/>
                  </a:lnTo>
                  <a:lnTo>
                    <a:pt x="36" y="687"/>
                  </a:lnTo>
                  <a:lnTo>
                    <a:pt x="36" y="685"/>
                  </a:lnTo>
                  <a:lnTo>
                    <a:pt x="38" y="685"/>
                  </a:lnTo>
                  <a:lnTo>
                    <a:pt x="38" y="684"/>
                  </a:lnTo>
                  <a:lnTo>
                    <a:pt x="36" y="677"/>
                  </a:lnTo>
                  <a:lnTo>
                    <a:pt x="38" y="675"/>
                  </a:lnTo>
                  <a:lnTo>
                    <a:pt x="36" y="674"/>
                  </a:lnTo>
                  <a:lnTo>
                    <a:pt x="36" y="671"/>
                  </a:lnTo>
                  <a:lnTo>
                    <a:pt x="36" y="667"/>
                  </a:lnTo>
                  <a:lnTo>
                    <a:pt x="34" y="666"/>
                  </a:lnTo>
                  <a:lnTo>
                    <a:pt x="31" y="659"/>
                  </a:lnTo>
                  <a:lnTo>
                    <a:pt x="28" y="649"/>
                  </a:lnTo>
                  <a:lnTo>
                    <a:pt x="26" y="649"/>
                  </a:lnTo>
                  <a:lnTo>
                    <a:pt x="23" y="649"/>
                  </a:lnTo>
                  <a:lnTo>
                    <a:pt x="23" y="648"/>
                  </a:lnTo>
                  <a:lnTo>
                    <a:pt x="23" y="646"/>
                  </a:lnTo>
                  <a:lnTo>
                    <a:pt x="21" y="646"/>
                  </a:lnTo>
                  <a:lnTo>
                    <a:pt x="25" y="643"/>
                  </a:lnTo>
                  <a:lnTo>
                    <a:pt x="25" y="640"/>
                  </a:lnTo>
                  <a:lnTo>
                    <a:pt x="25" y="638"/>
                  </a:lnTo>
                  <a:lnTo>
                    <a:pt x="30" y="628"/>
                  </a:lnTo>
                  <a:lnTo>
                    <a:pt x="31" y="625"/>
                  </a:lnTo>
                  <a:lnTo>
                    <a:pt x="31" y="622"/>
                  </a:lnTo>
                  <a:lnTo>
                    <a:pt x="33" y="620"/>
                  </a:lnTo>
                  <a:lnTo>
                    <a:pt x="34" y="618"/>
                  </a:lnTo>
                  <a:lnTo>
                    <a:pt x="36" y="617"/>
                  </a:lnTo>
                  <a:lnTo>
                    <a:pt x="36" y="615"/>
                  </a:lnTo>
                  <a:lnTo>
                    <a:pt x="38" y="612"/>
                  </a:lnTo>
                  <a:lnTo>
                    <a:pt x="39" y="610"/>
                  </a:lnTo>
                  <a:lnTo>
                    <a:pt x="39" y="609"/>
                  </a:lnTo>
                  <a:lnTo>
                    <a:pt x="41" y="607"/>
                  </a:lnTo>
                  <a:lnTo>
                    <a:pt x="43" y="604"/>
                  </a:lnTo>
                  <a:lnTo>
                    <a:pt x="44" y="602"/>
                  </a:lnTo>
                  <a:lnTo>
                    <a:pt x="44" y="601"/>
                  </a:lnTo>
                  <a:lnTo>
                    <a:pt x="44" y="597"/>
                  </a:lnTo>
                  <a:lnTo>
                    <a:pt x="46" y="596"/>
                  </a:lnTo>
                  <a:lnTo>
                    <a:pt x="49" y="589"/>
                  </a:lnTo>
                  <a:lnTo>
                    <a:pt x="51" y="586"/>
                  </a:lnTo>
                  <a:lnTo>
                    <a:pt x="54" y="581"/>
                  </a:lnTo>
                  <a:lnTo>
                    <a:pt x="54" y="579"/>
                  </a:lnTo>
                  <a:lnTo>
                    <a:pt x="54" y="578"/>
                  </a:lnTo>
                  <a:lnTo>
                    <a:pt x="57" y="575"/>
                  </a:lnTo>
                  <a:lnTo>
                    <a:pt x="62" y="566"/>
                  </a:lnTo>
                  <a:lnTo>
                    <a:pt x="62" y="565"/>
                  </a:lnTo>
                  <a:lnTo>
                    <a:pt x="62" y="563"/>
                  </a:lnTo>
                  <a:lnTo>
                    <a:pt x="64" y="562"/>
                  </a:lnTo>
                  <a:lnTo>
                    <a:pt x="65" y="558"/>
                  </a:lnTo>
                  <a:lnTo>
                    <a:pt x="67" y="557"/>
                  </a:lnTo>
                  <a:lnTo>
                    <a:pt x="65" y="555"/>
                  </a:lnTo>
                  <a:lnTo>
                    <a:pt x="67" y="555"/>
                  </a:lnTo>
                  <a:lnTo>
                    <a:pt x="67" y="553"/>
                  </a:lnTo>
                  <a:lnTo>
                    <a:pt x="69" y="552"/>
                  </a:lnTo>
                  <a:lnTo>
                    <a:pt x="70" y="550"/>
                  </a:lnTo>
                  <a:lnTo>
                    <a:pt x="73" y="545"/>
                  </a:lnTo>
                  <a:lnTo>
                    <a:pt x="77" y="540"/>
                  </a:lnTo>
                  <a:lnTo>
                    <a:pt x="78" y="537"/>
                  </a:lnTo>
                  <a:lnTo>
                    <a:pt x="80" y="534"/>
                  </a:lnTo>
                  <a:lnTo>
                    <a:pt x="83" y="532"/>
                  </a:lnTo>
                  <a:lnTo>
                    <a:pt x="85" y="529"/>
                  </a:lnTo>
                  <a:lnTo>
                    <a:pt x="86" y="527"/>
                  </a:lnTo>
                  <a:lnTo>
                    <a:pt x="88" y="526"/>
                  </a:lnTo>
                  <a:lnTo>
                    <a:pt x="91" y="521"/>
                  </a:lnTo>
                  <a:lnTo>
                    <a:pt x="93" y="519"/>
                  </a:lnTo>
                  <a:lnTo>
                    <a:pt x="93" y="518"/>
                  </a:lnTo>
                  <a:lnTo>
                    <a:pt x="96" y="514"/>
                  </a:lnTo>
                  <a:lnTo>
                    <a:pt x="96" y="511"/>
                  </a:lnTo>
                  <a:lnTo>
                    <a:pt x="96" y="510"/>
                  </a:lnTo>
                  <a:lnTo>
                    <a:pt x="98" y="506"/>
                  </a:lnTo>
                  <a:lnTo>
                    <a:pt x="103" y="505"/>
                  </a:lnTo>
                  <a:lnTo>
                    <a:pt x="104" y="503"/>
                  </a:lnTo>
                  <a:lnTo>
                    <a:pt x="114" y="500"/>
                  </a:lnTo>
                  <a:lnTo>
                    <a:pt x="117" y="498"/>
                  </a:lnTo>
                  <a:lnTo>
                    <a:pt x="122" y="498"/>
                  </a:lnTo>
                  <a:lnTo>
                    <a:pt x="122" y="495"/>
                  </a:lnTo>
                  <a:lnTo>
                    <a:pt x="126" y="493"/>
                  </a:lnTo>
                  <a:lnTo>
                    <a:pt x="126" y="488"/>
                  </a:lnTo>
                  <a:lnTo>
                    <a:pt x="126" y="483"/>
                  </a:lnTo>
                  <a:lnTo>
                    <a:pt x="127" y="475"/>
                  </a:lnTo>
                  <a:lnTo>
                    <a:pt x="126" y="474"/>
                  </a:lnTo>
                  <a:lnTo>
                    <a:pt x="126" y="470"/>
                  </a:lnTo>
                  <a:lnTo>
                    <a:pt x="126" y="469"/>
                  </a:lnTo>
                  <a:lnTo>
                    <a:pt x="126" y="467"/>
                  </a:lnTo>
                  <a:lnTo>
                    <a:pt x="126" y="466"/>
                  </a:lnTo>
                  <a:lnTo>
                    <a:pt x="126" y="464"/>
                  </a:lnTo>
                  <a:lnTo>
                    <a:pt x="124" y="462"/>
                  </a:lnTo>
                  <a:lnTo>
                    <a:pt x="124" y="461"/>
                  </a:lnTo>
                  <a:lnTo>
                    <a:pt x="122" y="461"/>
                  </a:lnTo>
                  <a:lnTo>
                    <a:pt x="124" y="461"/>
                  </a:lnTo>
                  <a:lnTo>
                    <a:pt x="122" y="461"/>
                  </a:lnTo>
                  <a:lnTo>
                    <a:pt x="122" y="459"/>
                  </a:lnTo>
                  <a:lnTo>
                    <a:pt x="121" y="459"/>
                  </a:lnTo>
                  <a:lnTo>
                    <a:pt x="121" y="457"/>
                  </a:lnTo>
                  <a:lnTo>
                    <a:pt x="121" y="456"/>
                  </a:lnTo>
                  <a:lnTo>
                    <a:pt x="121" y="454"/>
                  </a:lnTo>
                  <a:lnTo>
                    <a:pt x="121" y="453"/>
                  </a:lnTo>
                  <a:lnTo>
                    <a:pt x="121" y="454"/>
                  </a:lnTo>
                  <a:lnTo>
                    <a:pt x="119" y="454"/>
                  </a:lnTo>
                  <a:lnTo>
                    <a:pt x="117" y="454"/>
                  </a:lnTo>
                  <a:lnTo>
                    <a:pt x="116" y="454"/>
                  </a:lnTo>
                  <a:lnTo>
                    <a:pt x="116" y="453"/>
                  </a:lnTo>
                  <a:lnTo>
                    <a:pt x="116" y="451"/>
                  </a:lnTo>
                  <a:lnTo>
                    <a:pt x="114" y="451"/>
                  </a:lnTo>
                  <a:lnTo>
                    <a:pt x="116" y="449"/>
                  </a:lnTo>
                  <a:lnTo>
                    <a:pt x="114" y="449"/>
                  </a:lnTo>
                  <a:lnTo>
                    <a:pt x="114" y="448"/>
                  </a:lnTo>
                  <a:lnTo>
                    <a:pt x="116" y="449"/>
                  </a:lnTo>
                  <a:lnTo>
                    <a:pt x="116" y="448"/>
                  </a:lnTo>
                  <a:lnTo>
                    <a:pt x="114" y="448"/>
                  </a:lnTo>
                  <a:lnTo>
                    <a:pt x="113" y="448"/>
                  </a:lnTo>
                  <a:lnTo>
                    <a:pt x="111" y="448"/>
                  </a:lnTo>
                  <a:lnTo>
                    <a:pt x="109" y="448"/>
                  </a:lnTo>
                  <a:lnTo>
                    <a:pt x="109" y="446"/>
                  </a:lnTo>
                  <a:lnTo>
                    <a:pt x="109" y="448"/>
                  </a:lnTo>
                  <a:lnTo>
                    <a:pt x="109" y="446"/>
                  </a:lnTo>
                  <a:lnTo>
                    <a:pt x="109" y="444"/>
                  </a:lnTo>
                  <a:lnTo>
                    <a:pt x="108" y="444"/>
                  </a:lnTo>
                  <a:lnTo>
                    <a:pt x="109" y="444"/>
                  </a:lnTo>
                  <a:lnTo>
                    <a:pt x="109" y="443"/>
                  </a:lnTo>
                  <a:lnTo>
                    <a:pt x="109" y="441"/>
                  </a:lnTo>
                  <a:lnTo>
                    <a:pt x="108" y="443"/>
                  </a:lnTo>
                  <a:lnTo>
                    <a:pt x="108" y="441"/>
                  </a:lnTo>
                  <a:lnTo>
                    <a:pt x="109" y="441"/>
                  </a:lnTo>
                  <a:lnTo>
                    <a:pt x="109" y="440"/>
                  </a:lnTo>
                  <a:lnTo>
                    <a:pt x="109" y="438"/>
                  </a:lnTo>
                  <a:lnTo>
                    <a:pt x="111" y="438"/>
                  </a:lnTo>
                  <a:lnTo>
                    <a:pt x="113" y="438"/>
                  </a:lnTo>
                  <a:lnTo>
                    <a:pt x="113" y="436"/>
                  </a:lnTo>
                  <a:lnTo>
                    <a:pt x="113" y="438"/>
                  </a:lnTo>
                  <a:lnTo>
                    <a:pt x="114" y="438"/>
                  </a:lnTo>
                  <a:lnTo>
                    <a:pt x="113" y="436"/>
                  </a:lnTo>
                  <a:lnTo>
                    <a:pt x="114" y="436"/>
                  </a:lnTo>
                  <a:lnTo>
                    <a:pt x="114" y="438"/>
                  </a:lnTo>
                  <a:lnTo>
                    <a:pt x="114" y="436"/>
                  </a:lnTo>
                  <a:lnTo>
                    <a:pt x="116" y="436"/>
                  </a:lnTo>
                  <a:lnTo>
                    <a:pt x="116" y="438"/>
                  </a:lnTo>
                  <a:lnTo>
                    <a:pt x="114" y="438"/>
                  </a:lnTo>
                  <a:lnTo>
                    <a:pt x="116" y="438"/>
                  </a:lnTo>
                  <a:lnTo>
                    <a:pt x="117" y="438"/>
                  </a:lnTo>
                  <a:lnTo>
                    <a:pt x="117" y="436"/>
                  </a:lnTo>
                  <a:lnTo>
                    <a:pt x="117" y="438"/>
                  </a:lnTo>
                  <a:lnTo>
                    <a:pt x="117" y="436"/>
                  </a:lnTo>
                  <a:lnTo>
                    <a:pt x="119" y="436"/>
                  </a:lnTo>
                  <a:lnTo>
                    <a:pt x="117" y="436"/>
                  </a:lnTo>
                  <a:lnTo>
                    <a:pt x="119" y="436"/>
                  </a:lnTo>
                  <a:lnTo>
                    <a:pt x="121" y="436"/>
                  </a:lnTo>
                  <a:lnTo>
                    <a:pt x="121" y="435"/>
                  </a:lnTo>
                  <a:lnTo>
                    <a:pt x="122" y="435"/>
                  </a:lnTo>
                  <a:lnTo>
                    <a:pt x="122" y="433"/>
                  </a:lnTo>
                  <a:lnTo>
                    <a:pt x="124" y="433"/>
                  </a:lnTo>
                  <a:lnTo>
                    <a:pt x="122" y="433"/>
                  </a:lnTo>
                  <a:lnTo>
                    <a:pt x="124" y="431"/>
                  </a:lnTo>
                  <a:lnTo>
                    <a:pt x="122" y="431"/>
                  </a:lnTo>
                  <a:lnTo>
                    <a:pt x="121" y="431"/>
                  </a:lnTo>
                  <a:lnTo>
                    <a:pt x="119" y="431"/>
                  </a:lnTo>
                  <a:lnTo>
                    <a:pt x="117" y="430"/>
                  </a:lnTo>
                  <a:lnTo>
                    <a:pt x="116" y="430"/>
                  </a:lnTo>
                  <a:lnTo>
                    <a:pt x="114" y="430"/>
                  </a:lnTo>
                  <a:lnTo>
                    <a:pt x="114" y="428"/>
                  </a:lnTo>
                  <a:lnTo>
                    <a:pt x="113" y="428"/>
                  </a:lnTo>
                  <a:lnTo>
                    <a:pt x="113" y="427"/>
                  </a:lnTo>
                  <a:lnTo>
                    <a:pt x="111" y="427"/>
                  </a:lnTo>
                  <a:lnTo>
                    <a:pt x="109" y="427"/>
                  </a:lnTo>
                  <a:lnTo>
                    <a:pt x="109" y="425"/>
                  </a:lnTo>
                  <a:lnTo>
                    <a:pt x="108" y="425"/>
                  </a:lnTo>
                  <a:lnTo>
                    <a:pt x="108" y="423"/>
                  </a:lnTo>
                  <a:lnTo>
                    <a:pt x="106" y="423"/>
                  </a:lnTo>
                  <a:lnTo>
                    <a:pt x="104" y="422"/>
                  </a:lnTo>
                  <a:lnTo>
                    <a:pt x="104" y="420"/>
                  </a:lnTo>
                  <a:lnTo>
                    <a:pt x="104" y="418"/>
                  </a:lnTo>
                  <a:lnTo>
                    <a:pt x="103" y="417"/>
                  </a:lnTo>
                  <a:lnTo>
                    <a:pt x="101" y="415"/>
                  </a:lnTo>
                  <a:lnTo>
                    <a:pt x="100" y="415"/>
                  </a:lnTo>
                  <a:lnTo>
                    <a:pt x="100" y="414"/>
                  </a:lnTo>
                  <a:lnTo>
                    <a:pt x="101" y="415"/>
                  </a:lnTo>
                  <a:lnTo>
                    <a:pt x="101" y="414"/>
                  </a:lnTo>
                  <a:lnTo>
                    <a:pt x="100" y="414"/>
                  </a:lnTo>
                  <a:lnTo>
                    <a:pt x="98" y="414"/>
                  </a:lnTo>
                  <a:lnTo>
                    <a:pt x="100" y="412"/>
                  </a:lnTo>
                  <a:lnTo>
                    <a:pt x="98" y="412"/>
                  </a:lnTo>
                  <a:lnTo>
                    <a:pt x="100" y="412"/>
                  </a:lnTo>
                  <a:lnTo>
                    <a:pt x="100" y="410"/>
                  </a:lnTo>
                  <a:lnTo>
                    <a:pt x="98" y="412"/>
                  </a:lnTo>
                  <a:lnTo>
                    <a:pt x="98" y="410"/>
                  </a:lnTo>
                  <a:lnTo>
                    <a:pt x="98" y="407"/>
                  </a:lnTo>
                  <a:lnTo>
                    <a:pt x="96" y="407"/>
                  </a:lnTo>
                  <a:lnTo>
                    <a:pt x="96" y="405"/>
                  </a:lnTo>
                  <a:lnTo>
                    <a:pt x="96" y="407"/>
                  </a:lnTo>
                  <a:lnTo>
                    <a:pt x="95" y="405"/>
                  </a:lnTo>
                  <a:lnTo>
                    <a:pt x="95" y="407"/>
                  </a:lnTo>
                  <a:lnTo>
                    <a:pt x="95" y="405"/>
                  </a:lnTo>
                  <a:lnTo>
                    <a:pt x="93" y="405"/>
                  </a:lnTo>
                  <a:lnTo>
                    <a:pt x="95" y="405"/>
                  </a:lnTo>
                  <a:lnTo>
                    <a:pt x="93" y="407"/>
                  </a:lnTo>
                  <a:lnTo>
                    <a:pt x="93" y="405"/>
                  </a:lnTo>
                  <a:lnTo>
                    <a:pt x="93" y="404"/>
                  </a:lnTo>
                  <a:lnTo>
                    <a:pt x="91" y="404"/>
                  </a:lnTo>
                  <a:lnTo>
                    <a:pt x="91" y="402"/>
                  </a:lnTo>
                  <a:lnTo>
                    <a:pt x="91" y="401"/>
                  </a:lnTo>
                  <a:lnTo>
                    <a:pt x="90" y="401"/>
                  </a:lnTo>
                  <a:lnTo>
                    <a:pt x="90" y="399"/>
                  </a:lnTo>
                  <a:lnTo>
                    <a:pt x="91" y="399"/>
                  </a:lnTo>
                  <a:lnTo>
                    <a:pt x="91" y="397"/>
                  </a:lnTo>
                  <a:lnTo>
                    <a:pt x="91" y="396"/>
                  </a:lnTo>
                  <a:lnTo>
                    <a:pt x="90" y="396"/>
                  </a:lnTo>
                  <a:lnTo>
                    <a:pt x="88" y="396"/>
                  </a:lnTo>
                  <a:lnTo>
                    <a:pt x="88" y="394"/>
                  </a:lnTo>
                  <a:lnTo>
                    <a:pt x="88" y="396"/>
                  </a:lnTo>
                  <a:lnTo>
                    <a:pt x="88" y="394"/>
                  </a:lnTo>
                  <a:lnTo>
                    <a:pt x="88" y="396"/>
                  </a:lnTo>
                  <a:lnTo>
                    <a:pt x="86" y="396"/>
                  </a:lnTo>
                  <a:lnTo>
                    <a:pt x="86" y="394"/>
                  </a:lnTo>
                  <a:lnTo>
                    <a:pt x="85" y="394"/>
                  </a:lnTo>
                  <a:lnTo>
                    <a:pt x="85" y="392"/>
                  </a:lnTo>
                  <a:lnTo>
                    <a:pt x="83" y="392"/>
                  </a:lnTo>
                  <a:lnTo>
                    <a:pt x="82" y="392"/>
                  </a:lnTo>
                  <a:lnTo>
                    <a:pt x="82" y="391"/>
                  </a:lnTo>
                  <a:lnTo>
                    <a:pt x="80" y="391"/>
                  </a:lnTo>
                  <a:lnTo>
                    <a:pt x="80" y="389"/>
                  </a:lnTo>
                  <a:lnTo>
                    <a:pt x="78" y="389"/>
                  </a:lnTo>
                  <a:lnTo>
                    <a:pt x="77" y="389"/>
                  </a:lnTo>
                  <a:lnTo>
                    <a:pt x="78" y="388"/>
                  </a:lnTo>
                  <a:lnTo>
                    <a:pt x="77" y="388"/>
                  </a:lnTo>
                  <a:lnTo>
                    <a:pt x="77" y="386"/>
                  </a:lnTo>
                  <a:lnTo>
                    <a:pt x="75" y="386"/>
                  </a:lnTo>
                  <a:lnTo>
                    <a:pt x="77" y="386"/>
                  </a:lnTo>
                  <a:lnTo>
                    <a:pt x="77" y="384"/>
                  </a:lnTo>
                  <a:lnTo>
                    <a:pt x="75" y="386"/>
                  </a:lnTo>
                  <a:lnTo>
                    <a:pt x="75" y="384"/>
                  </a:lnTo>
                  <a:lnTo>
                    <a:pt x="75" y="383"/>
                  </a:lnTo>
                  <a:lnTo>
                    <a:pt x="75" y="381"/>
                  </a:lnTo>
                  <a:lnTo>
                    <a:pt x="73" y="381"/>
                  </a:lnTo>
                  <a:lnTo>
                    <a:pt x="73" y="383"/>
                  </a:lnTo>
                  <a:lnTo>
                    <a:pt x="73" y="381"/>
                  </a:lnTo>
                  <a:lnTo>
                    <a:pt x="72" y="381"/>
                  </a:lnTo>
                  <a:lnTo>
                    <a:pt x="72" y="379"/>
                  </a:lnTo>
                  <a:lnTo>
                    <a:pt x="70" y="379"/>
                  </a:lnTo>
                  <a:lnTo>
                    <a:pt x="69" y="379"/>
                  </a:lnTo>
                  <a:lnTo>
                    <a:pt x="69" y="381"/>
                  </a:lnTo>
                  <a:lnTo>
                    <a:pt x="69" y="379"/>
                  </a:lnTo>
                  <a:lnTo>
                    <a:pt x="67" y="381"/>
                  </a:lnTo>
                  <a:lnTo>
                    <a:pt x="69" y="379"/>
                  </a:lnTo>
                  <a:lnTo>
                    <a:pt x="67" y="379"/>
                  </a:lnTo>
                  <a:lnTo>
                    <a:pt x="69" y="378"/>
                  </a:lnTo>
                  <a:lnTo>
                    <a:pt x="67" y="378"/>
                  </a:lnTo>
                  <a:lnTo>
                    <a:pt x="67" y="376"/>
                  </a:lnTo>
                  <a:lnTo>
                    <a:pt x="65" y="376"/>
                  </a:lnTo>
                  <a:lnTo>
                    <a:pt x="67" y="375"/>
                  </a:lnTo>
                  <a:lnTo>
                    <a:pt x="65" y="375"/>
                  </a:lnTo>
                  <a:lnTo>
                    <a:pt x="67" y="373"/>
                  </a:lnTo>
                  <a:lnTo>
                    <a:pt x="67" y="371"/>
                  </a:lnTo>
                  <a:lnTo>
                    <a:pt x="67" y="370"/>
                  </a:lnTo>
                  <a:lnTo>
                    <a:pt x="67" y="368"/>
                  </a:lnTo>
                  <a:lnTo>
                    <a:pt x="69" y="370"/>
                  </a:lnTo>
                  <a:lnTo>
                    <a:pt x="69" y="368"/>
                  </a:lnTo>
                  <a:lnTo>
                    <a:pt x="69" y="366"/>
                  </a:lnTo>
                  <a:lnTo>
                    <a:pt x="69" y="368"/>
                  </a:lnTo>
                  <a:lnTo>
                    <a:pt x="69" y="366"/>
                  </a:lnTo>
                  <a:lnTo>
                    <a:pt x="69" y="365"/>
                  </a:lnTo>
                  <a:lnTo>
                    <a:pt x="67" y="365"/>
                  </a:lnTo>
                  <a:lnTo>
                    <a:pt x="69" y="365"/>
                  </a:lnTo>
                  <a:lnTo>
                    <a:pt x="69" y="363"/>
                  </a:lnTo>
                  <a:lnTo>
                    <a:pt x="69" y="365"/>
                  </a:lnTo>
                  <a:lnTo>
                    <a:pt x="69" y="363"/>
                  </a:lnTo>
                  <a:lnTo>
                    <a:pt x="70" y="363"/>
                  </a:lnTo>
                  <a:lnTo>
                    <a:pt x="69" y="363"/>
                  </a:lnTo>
                  <a:lnTo>
                    <a:pt x="69" y="362"/>
                  </a:lnTo>
                  <a:lnTo>
                    <a:pt x="69" y="360"/>
                  </a:lnTo>
                  <a:lnTo>
                    <a:pt x="69" y="362"/>
                  </a:lnTo>
                  <a:lnTo>
                    <a:pt x="67" y="360"/>
                  </a:lnTo>
                  <a:lnTo>
                    <a:pt x="67" y="358"/>
                  </a:lnTo>
                  <a:lnTo>
                    <a:pt x="65" y="358"/>
                  </a:lnTo>
                  <a:lnTo>
                    <a:pt x="64" y="358"/>
                  </a:lnTo>
                  <a:lnTo>
                    <a:pt x="64" y="357"/>
                  </a:lnTo>
                  <a:lnTo>
                    <a:pt x="64" y="355"/>
                  </a:lnTo>
                  <a:lnTo>
                    <a:pt x="65" y="353"/>
                  </a:lnTo>
                  <a:lnTo>
                    <a:pt x="65" y="355"/>
                  </a:lnTo>
                  <a:lnTo>
                    <a:pt x="65" y="353"/>
                  </a:lnTo>
                  <a:lnTo>
                    <a:pt x="64" y="352"/>
                  </a:lnTo>
                  <a:lnTo>
                    <a:pt x="62" y="352"/>
                  </a:lnTo>
                  <a:lnTo>
                    <a:pt x="62" y="353"/>
                  </a:lnTo>
                  <a:lnTo>
                    <a:pt x="62" y="352"/>
                  </a:lnTo>
                  <a:lnTo>
                    <a:pt x="60" y="352"/>
                  </a:lnTo>
                  <a:lnTo>
                    <a:pt x="60" y="350"/>
                  </a:lnTo>
                  <a:lnTo>
                    <a:pt x="64" y="350"/>
                  </a:lnTo>
                  <a:lnTo>
                    <a:pt x="64" y="348"/>
                  </a:lnTo>
                  <a:lnTo>
                    <a:pt x="64" y="347"/>
                  </a:lnTo>
                  <a:lnTo>
                    <a:pt x="60" y="344"/>
                  </a:lnTo>
                  <a:lnTo>
                    <a:pt x="60" y="342"/>
                  </a:lnTo>
                  <a:lnTo>
                    <a:pt x="60" y="340"/>
                  </a:lnTo>
                  <a:lnTo>
                    <a:pt x="62" y="340"/>
                  </a:lnTo>
                  <a:lnTo>
                    <a:pt x="60" y="339"/>
                  </a:lnTo>
                  <a:lnTo>
                    <a:pt x="60" y="337"/>
                  </a:lnTo>
                  <a:lnTo>
                    <a:pt x="57" y="337"/>
                  </a:lnTo>
                  <a:lnTo>
                    <a:pt x="57" y="335"/>
                  </a:lnTo>
                  <a:lnTo>
                    <a:pt x="56" y="335"/>
                  </a:lnTo>
                  <a:lnTo>
                    <a:pt x="56" y="334"/>
                  </a:lnTo>
                  <a:lnTo>
                    <a:pt x="60" y="331"/>
                  </a:lnTo>
                  <a:lnTo>
                    <a:pt x="60" y="329"/>
                  </a:lnTo>
                  <a:lnTo>
                    <a:pt x="64" y="329"/>
                  </a:lnTo>
                  <a:lnTo>
                    <a:pt x="65" y="326"/>
                  </a:lnTo>
                  <a:lnTo>
                    <a:pt x="67" y="326"/>
                  </a:lnTo>
                  <a:lnTo>
                    <a:pt x="69" y="324"/>
                  </a:lnTo>
                  <a:lnTo>
                    <a:pt x="70" y="324"/>
                  </a:lnTo>
                  <a:lnTo>
                    <a:pt x="70" y="326"/>
                  </a:lnTo>
                  <a:lnTo>
                    <a:pt x="70" y="327"/>
                  </a:lnTo>
                  <a:lnTo>
                    <a:pt x="72" y="327"/>
                  </a:lnTo>
                  <a:lnTo>
                    <a:pt x="73" y="327"/>
                  </a:lnTo>
                  <a:lnTo>
                    <a:pt x="75" y="327"/>
                  </a:lnTo>
                  <a:lnTo>
                    <a:pt x="78" y="326"/>
                  </a:lnTo>
                  <a:lnTo>
                    <a:pt x="82" y="327"/>
                  </a:lnTo>
                  <a:lnTo>
                    <a:pt x="80" y="332"/>
                  </a:lnTo>
                  <a:lnTo>
                    <a:pt x="82" y="332"/>
                  </a:lnTo>
                  <a:lnTo>
                    <a:pt x="83" y="332"/>
                  </a:lnTo>
                  <a:lnTo>
                    <a:pt x="85" y="332"/>
                  </a:lnTo>
                  <a:lnTo>
                    <a:pt x="86" y="332"/>
                  </a:lnTo>
                  <a:lnTo>
                    <a:pt x="88" y="334"/>
                  </a:lnTo>
                  <a:lnTo>
                    <a:pt x="91" y="334"/>
                  </a:lnTo>
                  <a:lnTo>
                    <a:pt x="91" y="332"/>
                  </a:lnTo>
                  <a:lnTo>
                    <a:pt x="91" y="331"/>
                  </a:lnTo>
                  <a:lnTo>
                    <a:pt x="93" y="329"/>
                  </a:lnTo>
                  <a:lnTo>
                    <a:pt x="96" y="327"/>
                  </a:lnTo>
                  <a:lnTo>
                    <a:pt x="96" y="326"/>
                  </a:lnTo>
                  <a:lnTo>
                    <a:pt x="98" y="324"/>
                  </a:lnTo>
                  <a:lnTo>
                    <a:pt x="98" y="322"/>
                  </a:lnTo>
                  <a:lnTo>
                    <a:pt x="100" y="319"/>
                  </a:lnTo>
                  <a:lnTo>
                    <a:pt x="111" y="309"/>
                  </a:lnTo>
                  <a:lnTo>
                    <a:pt x="114" y="305"/>
                  </a:lnTo>
                  <a:lnTo>
                    <a:pt x="114" y="303"/>
                  </a:lnTo>
                  <a:lnTo>
                    <a:pt x="111" y="298"/>
                  </a:lnTo>
                  <a:lnTo>
                    <a:pt x="111" y="296"/>
                  </a:lnTo>
                  <a:lnTo>
                    <a:pt x="111" y="295"/>
                  </a:lnTo>
                  <a:lnTo>
                    <a:pt x="113" y="290"/>
                  </a:lnTo>
                  <a:lnTo>
                    <a:pt x="113" y="288"/>
                  </a:lnTo>
                  <a:lnTo>
                    <a:pt x="113" y="287"/>
                  </a:lnTo>
                  <a:lnTo>
                    <a:pt x="114" y="285"/>
                  </a:lnTo>
                  <a:lnTo>
                    <a:pt x="116" y="285"/>
                  </a:lnTo>
                  <a:lnTo>
                    <a:pt x="116" y="283"/>
                  </a:lnTo>
                  <a:lnTo>
                    <a:pt x="124" y="282"/>
                  </a:lnTo>
                  <a:lnTo>
                    <a:pt x="127" y="280"/>
                  </a:lnTo>
                  <a:lnTo>
                    <a:pt x="129" y="280"/>
                  </a:lnTo>
                  <a:lnTo>
                    <a:pt x="130" y="280"/>
                  </a:lnTo>
                  <a:lnTo>
                    <a:pt x="132" y="280"/>
                  </a:lnTo>
                  <a:lnTo>
                    <a:pt x="132" y="279"/>
                  </a:lnTo>
                  <a:lnTo>
                    <a:pt x="134" y="277"/>
                  </a:lnTo>
                  <a:lnTo>
                    <a:pt x="137" y="277"/>
                  </a:lnTo>
                  <a:lnTo>
                    <a:pt x="139" y="277"/>
                  </a:lnTo>
                  <a:lnTo>
                    <a:pt x="140" y="277"/>
                  </a:lnTo>
                  <a:lnTo>
                    <a:pt x="142" y="277"/>
                  </a:lnTo>
                  <a:lnTo>
                    <a:pt x="145" y="277"/>
                  </a:lnTo>
                  <a:lnTo>
                    <a:pt x="148" y="277"/>
                  </a:lnTo>
                  <a:lnTo>
                    <a:pt x="150" y="277"/>
                  </a:lnTo>
                  <a:lnTo>
                    <a:pt x="152" y="275"/>
                  </a:lnTo>
                  <a:lnTo>
                    <a:pt x="152" y="274"/>
                  </a:lnTo>
                  <a:lnTo>
                    <a:pt x="153" y="272"/>
                  </a:lnTo>
                  <a:lnTo>
                    <a:pt x="155" y="272"/>
                  </a:lnTo>
                  <a:lnTo>
                    <a:pt x="156" y="274"/>
                  </a:lnTo>
                  <a:lnTo>
                    <a:pt x="161" y="270"/>
                  </a:lnTo>
                  <a:lnTo>
                    <a:pt x="163" y="272"/>
                  </a:lnTo>
                  <a:lnTo>
                    <a:pt x="165" y="272"/>
                  </a:lnTo>
                  <a:lnTo>
                    <a:pt x="166" y="272"/>
                  </a:lnTo>
                  <a:lnTo>
                    <a:pt x="166" y="270"/>
                  </a:lnTo>
                  <a:lnTo>
                    <a:pt x="166" y="269"/>
                  </a:lnTo>
                  <a:lnTo>
                    <a:pt x="166" y="267"/>
                  </a:lnTo>
                  <a:lnTo>
                    <a:pt x="166" y="269"/>
                  </a:lnTo>
                  <a:lnTo>
                    <a:pt x="168" y="269"/>
                  </a:lnTo>
                  <a:lnTo>
                    <a:pt x="169" y="267"/>
                  </a:lnTo>
                  <a:lnTo>
                    <a:pt x="173" y="264"/>
                  </a:lnTo>
                  <a:lnTo>
                    <a:pt x="174" y="264"/>
                  </a:lnTo>
                  <a:lnTo>
                    <a:pt x="174" y="262"/>
                  </a:lnTo>
                  <a:lnTo>
                    <a:pt x="176" y="261"/>
                  </a:lnTo>
                  <a:lnTo>
                    <a:pt x="178" y="261"/>
                  </a:lnTo>
                  <a:lnTo>
                    <a:pt x="179" y="261"/>
                  </a:lnTo>
                  <a:lnTo>
                    <a:pt x="179" y="259"/>
                  </a:lnTo>
                  <a:lnTo>
                    <a:pt x="182" y="257"/>
                  </a:lnTo>
                  <a:lnTo>
                    <a:pt x="184" y="257"/>
                  </a:lnTo>
                  <a:lnTo>
                    <a:pt x="186" y="257"/>
                  </a:lnTo>
                  <a:lnTo>
                    <a:pt x="187" y="257"/>
                  </a:lnTo>
                  <a:lnTo>
                    <a:pt x="189" y="257"/>
                  </a:lnTo>
                  <a:lnTo>
                    <a:pt x="189" y="256"/>
                  </a:lnTo>
                  <a:lnTo>
                    <a:pt x="191" y="256"/>
                  </a:lnTo>
                  <a:lnTo>
                    <a:pt x="192" y="257"/>
                  </a:lnTo>
                  <a:lnTo>
                    <a:pt x="194" y="257"/>
                  </a:lnTo>
                  <a:lnTo>
                    <a:pt x="195" y="259"/>
                  </a:lnTo>
                  <a:lnTo>
                    <a:pt x="197" y="259"/>
                  </a:lnTo>
                  <a:lnTo>
                    <a:pt x="199" y="259"/>
                  </a:lnTo>
                  <a:lnTo>
                    <a:pt x="200" y="259"/>
                  </a:lnTo>
                  <a:lnTo>
                    <a:pt x="202" y="261"/>
                  </a:lnTo>
                  <a:lnTo>
                    <a:pt x="208" y="259"/>
                  </a:lnTo>
                  <a:lnTo>
                    <a:pt x="210" y="259"/>
                  </a:lnTo>
                  <a:lnTo>
                    <a:pt x="210" y="257"/>
                  </a:lnTo>
                  <a:lnTo>
                    <a:pt x="213" y="257"/>
                  </a:lnTo>
                  <a:lnTo>
                    <a:pt x="213" y="256"/>
                  </a:lnTo>
                  <a:lnTo>
                    <a:pt x="215" y="256"/>
                  </a:lnTo>
                  <a:lnTo>
                    <a:pt x="218" y="256"/>
                  </a:lnTo>
                  <a:lnTo>
                    <a:pt x="220" y="256"/>
                  </a:lnTo>
                  <a:lnTo>
                    <a:pt x="226" y="256"/>
                  </a:lnTo>
                  <a:lnTo>
                    <a:pt x="230" y="256"/>
                  </a:lnTo>
                  <a:lnTo>
                    <a:pt x="233" y="253"/>
                  </a:lnTo>
                  <a:lnTo>
                    <a:pt x="236" y="253"/>
                  </a:lnTo>
                  <a:lnTo>
                    <a:pt x="234" y="249"/>
                  </a:lnTo>
                  <a:lnTo>
                    <a:pt x="238" y="249"/>
                  </a:lnTo>
                  <a:lnTo>
                    <a:pt x="239" y="249"/>
                  </a:lnTo>
                  <a:lnTo>
                    <a:pt x="239" y="251"/>
                  </a:lnTo>
                  <a:lnTo>
                    <a:pt x="243" y="251"/>
                  </a:lnTo>
                  <a:lnTo>
                    <a:pt x="244" y="251"/>
                  </a:lnTo>
                  <a:lnTo>
                    <a:pt x="246" y="251"/>
                  </a:lnTo>
                  <a:lnTo>
                    <a:pt x="248" y="251"/>
                  </a:lnTo>
                  <a:lnTo>
                    <a:pt x="249" y="251"/>
                  </a:lnTo>
                  <a:lnTo>
                    <a:pt x="249" y="249"/>
                  </a:lnTo>
                  <a:lnTo>
                    <a:pt x="251" y="249"/>
                  </a:lnTo>
                  <a:lnTo>
                    <a:pt x="252" y="249"/>
                  </a:lnTo>
                  <a:lnTo>
                    <a:pt x="251" y="249"/>
                  </a:lnTo>
                  <a:lnTo>
                    <a:pt x="252" y="248"/>
                  </a:lnTo>
                  <a:lnTo>
                    <a:pt x="252" y="249"/>
                  </a:lnTo>
                  <a:lnTo>
                    <a:pt x="252" y="248"/>
                  </a:lnTo>
                  <a:lnTo>
                    <a:pt x="254" y="248"/>
                  </a:lnTo>
                  <a:lnTo>
                    <a:pt x="257" y="248"/>
                  </a:lnTo>
                  <a:lnTo>
                    <a:pt x="259" y="249"/>
                  </a:lnTo>
                  <a:lnTo>
                    <a:pt x="262" y="248"/>
                  </a:lnTo>
                  <a:lnTo>
                    <a:pt x="262" y="249"/>
                  </a:lnTo>
                  <a:lnTo>
                    <a:pt x="264" y="249"/>
                  </a:lnTo>
                  <a:lnTo>
                    <a:pt x="265" y="251"/>
                  </a:lnTo>
                  <a:lnTo>
                    <a:pt x="267" y="251"/>
                  </a:lnTo>
                  <a:lnTo>
                    <a:pt x="267" y="253"/>
                  </a:lnTo>
                  <a:lnTo>
                    <a:pt x="269" y="253"/>
                  </a:lnTo>
                  <a:lnTo>
                    <a:pt x="270" y="254"/>
                  </a:lnTo>
                  <a:lnTo>
                    <a:pt x="272" y="253"/>
                  </a:lnTo>
                  <a:lnTo>
                    <a:pt x="274" y="253"/>
                  </a:lnTo>
                  <a:lnTo>
                    <a:pt x="275" y="253"/>
                  </a:lnTo>
                  <a:lnTo>
                    <a:pt x="278" y="251"/>
                  </a:lnTo>
                  <a:lnTo>
                    <a:pt x="280" y="251"/>
                  </a:lnTo>
                  <a:lnTo>
                    <a:pt x="282" y="251"/>
                  </a:lnTo>
                  <a:lnTo>
                    <a:pt x="283" y="251"/>
                  </a:lnTo>
                  <a:lnTo>
                    <a:pt x="285" y="251"/>
                  </a:lnTo>
                  <a:lnTo>
                    <a:pt x="288" y="249"/>
                  </a:lnTo>
                  <a:lnTo>
                    <a:pt x="290" y="248"/>
                  </a:lnTo>
                  <a:lnTo>
                    <a:pt x="291" y="254"/>
                  </a:lnTo>
                  <a:lnTo>
                    <a:pt x="295" y="253"/>
                  </a:lnTo>
                  <a:lnTo>
                    <a:pt x="296" y="254"/>
                  </a:lnTo>
                  <a:lnTo>
                    <a:pt x="298" y="254"/>
                  </a:lnTo>
                  <a:lnTo>
                    <a:pt x="300" y="256"/>
                  </a:lnTo>
                  <a:lnTo>
                    <a:pt x="303" y="256"/>
                  </a:lnTo>
                  <a:lnTo>
                    <a:pt x="306" y="256"/>
                  </a:lnTo>
                  <a:lnTo>
                    <a:pt x="306" y="254"/>
                  </a:lnTo>
                  <a:lnTo>
                    <a:pt x="306" y="253"/>
                  </a:lnTo>
                  <a:lnTo>
                    <a:pt x="309" y="251"/>
                  </a:lnTo>
                  <a:lnTo>
                    <a:pt x="309" y="249"/>
                  </a:lnTo>
                  <a:lnTo>
                    <a:pt x="311" y="251"/>
                  </a:lnTo>
                  <a:lnTo>
                    <a:pt x="317" y="249"/>
                  </a:lnTo>
                  <a:lnTo>
                    <a:pt x="319" y="249"/>
                  </a:lnTo>
                  <a:lnTo>
                    <a:pt x="321" y="249"/>
                  </a:lnTo>
                  <a:lnTo>
                    <a:pt x="322" y="249"/>
                  </a:lnTo>
                  <a:lnTo>
                    <a:pt x="324" y="251"/>
                  </a:lnTo>
                  <a:lnTo>
                    <a:pt x="324" y="253"/>
                  </a:lnTo>
                  <a:lnTo>
                    <a:pt x="324" y="254"/>
                  </a:lnTo>
                  <a:lnTo>
                    <a:pt x="327" y="254"/>
                  </a:lnTo>
                  <a:lnTo>
                    <a:pt x="327" y="256"/>
                  </a:lnTo>
                  <a:lnTo>
                    <a:pt x="329" y="256"/>
                  </a:lnTo>
                  <a:lnTo>
                    <a:pt x="332" y="254"/>
                  </a:lnTo>
                  <a:lnTo>
                    <a:pt x="334" y="254"/>
                  </a:lnTo>
                  <a:lnTo>
                    <a:pt x="337" y="256"/>
                  </a:lnTo>
                  <a:lnTo>
                    <a:pt x="339" y="254"/>
                  </a:lnTo>
                  <a:lnTo>
                    <a:pt x="342" y="256"/>
                  </a:lnTo>
                  <a:lnTo>
                    <a:pt x="345" y="251"/>
                  </a:lnTo>
                  <a:lnTo>
                    <a:pt x="353" y="248"/>
                  </a:lnTo>
                  <a:lnTo>
                    <a:pt x="363" y="246"/>
                  </a:lnTo>
                  <a:lnTo>
                    <a:pt x="365" y="254"/>
                  </a:lnTo>
                  <a:lnTo>
                    <a:pt x="366" y="259"/>
                  </a:lnTo>
                  <a:lnTo>
                    <a:pt x="368" y="261"/>
                  </a:lnTo>
                  <a:lnTo>
                    <a:pt x="369" y="259"/>
                  </a:lnTo>
                  <a:lnTo>
                    <a:pt x="371" y="259"/>
                  </a:lnTo>
                  <a:lnTo>
                    <a:pt x="373" y="261"/>
                  </a:lnTo>
                  <a:lnTo>
                    <a:pt x="373" y="262"/>
                  </a:lnTo>
                  <a:lnTo>
                    <a:pt x="373" y="264"/>
                  </a:lnTo>
                  <a:lnTo>
                    <a:pt x="371" y="266"/>
                  </a:lnTo>
                  <a:lnTo>
                    <a:pt x="373" y="266"/>
                  </a:lnTo>
                  <a:lnTo>
                    <a:pt x="373" y="267"/>
                  </a:lnTo>
                  <a:lnTo>
                    <a:pt x="373" y="269"/>
                  </a:lnTo>
                  <a:lnTo>
                    <a:pt x="374" y="267"/>
                  </a:lnTo>
                  <a:lnTo>
                    <a:pt x="379" y="266"/>
                  </a:lnTo>
                  <a:lnTo>
                    <a:pt x="381" y="266"/>
                  </a:lnTo>
                  <a:lnTo>
                    <a:pt x="382" y="264"/>
                  </a:lnTo>
                  <a:lnTo>
                    <a:pt x="386" y="266"/>
                  </a:lnTo>
                  <a:lnTo>
                    <a:pt x="387" y="264"/>
                  </a:lnTo>
                  <a:lnTo>
                    <a:pt x="387" y="262"/>
                  </a:lnTo>
                  <a:lnTo>
                    <a:pt x="389" y="262"/>
                  </a:lnTo>
                  <a:lnTo>
                    <a:pt x="391" y="261"/>
                  </a:lnTo>
                  <a:lnTo>
                    <a:pt x="391" y="262"/>
                  </a:lnTo>
                  <a:lnTo>
                    <a:pt x="392" y="262"/>
                  </a:lnTo>
                  <a:lnTo>
                    <a:pt x="392" y="264"/>
                  </a:lnTo>
                  <a:lnTo>
                    <a:pt x="396" y="266"/>
                  </a:lnTo>
                  <a:lnTo>
                    <a:pt x="396" y="264"/>
                  </a:lnTo>
                  <a:lnTo>
                    <a:pt x="397" y="264"/>
                  </a:lnTo>
                  <a:lnTo>
                    <a:pt x="397" y="262"/>
                  </a:lnTo>
                  <a:lnTo>
                    <a:pt x="396" y="262"/>
                  </a:lnTo>
                  <a:lnTo>
                    <a:pt x="394" y="259"/>
                  </a:lnTo>
                  <a:lnTo>
                    <a:pt x="396" y="257"/>
                  </a:lnTo>
                  <a:lnTo>
                    <a:pt x="397" y="259"/>
                  </a:lnTo>
                  <a:lnTo>
                    <a:pt x="397" y="257"/>
                  </a:lnTo>
                  <a:lnTo>
                    <a:pt x="400" y="257"/>
                  </a:lnTo>
                  <a:lnTo>
                    <a:pt x="404" y="261"/>
                  </a:lnTo>
                  <a:lnTo>
                    <a:pt x="405" y="261"/>
                  </a:lnTo>
                  <a:lnTo>
                    <a:pt x="407" y="259"/>
                  </a:lnTo>
                  <a:lnTo>
                    <a:pt x="409" y="259"/>
                  </a:lnTo>
                  <a:lnTo>
                    <a:pt x="410" y="257"/>
                  </a:lnTo>
                  <a:lnTo>
                    <a:pt x="410" y="259"/>
                  </a:lnTo>
                  <a:lnTo>
                    <a:pt x="412" y="259"/>
                  </a:lnTo>
                  <a:lnTo>
                    <a:pt x="413" y="257"/>
                  </a:lnTo>
                  <a:lnTo>
                    <a:pt x="413" y="259"/>
                  </a:lnTo>
                  <a:lnTo>
                    <a:pt x="415" y="259"/>
                  </a:lnTo>
                  <a:lnTo>
                    <a:pt x="415" y="262"/>
                  </a:lnTo>
                  <a:lnTo>
                    <a:pt x="415" y="264"/>
                  </a:lnTo>
                  <a:lnTo>
                    <a:pt x="412" y="267"/>
                  </a:lnTo>
                  <a:lnTo>
                    <a:pt x="412" y="269"/>
                  </a:lnTo>
                  <a:lnTo>
                    <a:pt x="412" y="270"/>
                  </a:lnTo>
                  <a:lnTo>
                    <a:pt x="412" y="272"/>
                  </a:lnTo>
                  <a:lnTo>
                    <a:pt x="413" y="272"/>
                  </a:lnTo>
                  <a:lnTo>
                    <a:pt x="415" y="274"/>
                  </a:lnTo>
                  <a:lnTo>
                    <a:pt x="417" y="274"/>
                  </a:lnTo>
                  <a:lnTo>
                    <a:pt x="420" y="275"/>
                  </a:lnTo>
                  <a:lnTo>
                    <a:pt x="422" y="275"/>
                  </a:lnTo>
                  <a:lnTo>
                    <a:pt x="422" y="272"/>
                  </a:lnTo>
                  <a:lnTo>
                    <a:pt x="422" y="270"/>
                  </a:lnTo>
                  <a:lnTo>
                    <a:pt x="422" y="269"/>
                  </a:lnTo>
                  <a:lnTo>
                    <a:pt x="423" y="266"/>
                  </a:lnTo>
                  <a:lnTo>
                    <a:pt x="426" y="266"/>
                  </a:lnTo>
                  <a:lnTo>
                    <a:pt x="426" y="264"/>
                  </a:lnTo>
                  <a:lnTo>
                    <a:pt x="426" y="262"/>
                  </a:lnTo>
                  <a:lnTo>
                    <a:pt x="425" y="262"/>
                  </a:lnTo>
                  <a:lnTo>
                    <a:pt x="423" y="261"/>
                  </a:lnTo>
                  <a:lnTo>
                    <a:pt x="425" y="259"/>
                  </a:lnTo>
                  <a:lnTo>
                    <a:pt x="423" y="259"/>
                  </a:lnTo>
                  <a:lnTo>
                    <a:pt x="423" y="257"/>
                  </a:lnTo>
                  <a:lnTo>
                    <a:pt x="423" y="254"/>
                  </a:lnTo>
                  <a:lnTo>
                    <a:pt x="422" y="254"/>
                  </a:lnTo>
                  <a:lnTo>
                    <a:pt x="423" y="253"/>
                  </a:lnTo>
                  <a:lnTo>
                    <a:pt x="423" y="251"/>
                  </a:lnTo>
                  <a:lnTo>
                    <a:pt x="425" y="251"/>
                  </a:lnTo>
                  <a:lnTo>
                    <a:pt x="426" y="251"/>
                  </a:lnTo>
                  <a:lnTo>
                    <a:pt x="428" y="253"/>
                  </a:lnTo>
                  <a:lnTo>
                    <a:pt x="430" y="253"/>
                  </a:lnTo>
                  <a:lnTo>
                    <a:pt x="431" y="253"/>
                  </a:lnTo>
                  <a:lnTo>
                    <a:pt x="431" y="254"/>
                  </a:lnTo>
                  <a:lnTo>
                    <a:pt x="431" y="256"/>
                  </a:lnTo>
                  <a:lnTo>
                    <a:pt x="431" y="257"/>
                  </a:lnTo>
                  <a:lnTo>
                    <a:pt x="433" y="257"/>
                  </a:lnTo>
                  <a:lnTo>
                    <a:pt x="433" y="256"/>
                  </a:lnTo>
                  <a:lnTo>
                    <a:pt x="435" y="254"/>
                  </a:lnTo>
                  <a:lnTo>
                    <a:pt x="436" y="254"/>
                  </a:lnTo>
                  <a:lnTo>
                    <a:pt x="435" y="257"/>
                  </a:lnTo>
                  <a:lnTo>
                    <a:pt x="433" y="259"/>
                  </a:lnTo>
                  <a:lnTo>
                    <a:pt x="435" y="259"/>
                  </a:lnTo>
                  <a:lnTo>
                    <a:pt x="443" y="256"/>
                  </a:lnTo>
                  <a:lnTo>
                    <a:pt x="444" y="256"/>
                  </a:lnTo>
                  <a:lnTo>
                    <a:pt x="444" y="254"/>
                  </a:lnTo>
                  <a:lnTo>
                    <a:pt x="446" y="254"/>
                  </a:lnTo>
                  <a:lnTo>
                    <a:pt x="448" y="253"/>
                  </a:lnTo>
                  <a:lnTo>
                    <a:pt x="448" y="251"/>
                  </a:lnTo>
                  <a:lnTo>
                    <a:pt x="449" y="249"/>
                  </a:lnTo>
                  <a:lnTo>
                    <a:pt x="449" y="248"/>
                  </a:lnTo>
                  <a:lnTo>
                    <a:pt x="451" y="248"/>
                  </a:lnTo>
                  <a:lnTo>
                    <a:pt x="451" y="244"/>
                  </a:lnTo>
                  <a:lnTo>
                    <a:pt x="451" y="243"/>
                  </a:lnTo>
                  <a:lnTo>
                    <a:pt x="454" y="240"/>
                  </a:lnTo>
                  <a:lnTo>
                    <a:pt x="456" y="238"/>
                  </a:lnTo>
                  <a:lnTo>
                    <a:pt x="456" y="236"/>
                  </a:lnTo>
                  <a:lnTo>
                    <a:pt x="457" y="235"/>
                  </a:lnTo>
                  <a:lnTo>
                    <a:pt x="459" y="236"/>
                  </a:lnTo>
                  <a:lnTo>
                    <a:pt x="459" y="241"/>
                  </a:lnTo>
                  <a:lnTo>
                    <a:pt x="459" y="243"/>
                  </a:lnTo>
                  <a:lnTo>
                    <a:pt x="459" y="244"/>
                  </a:lnTo>
                  <a:lnTo>
                    <a:pt x="461" y="243"/>
                  </a:lnTo>
                  <a:lnTo>
                    <a:pt x="464" y="244"/>
                  </a:lnTo>
                  <a:lnTo>
                    <a:pt x="465" y="246"/>
                  </a:lnTo>
                  <a:lnTo>
                    <a:pt x="467" y="248"/>
                  </a:lnTo>
                  <a:lnTo>
                    <a:pt x="469" y="251"/>
                  </a:lnTo>
                  <a:lnTo>
                    <a:pt x="470" y="251"/>
                  </a:lnTo>
                  <a:lnTo>
                    <a:pt x="470" y="253"/>
                  </a:lnTo>
                  <a:lnTo>
                    <a:pt x="472" y="253"/>
                  </a:lnTo>
                  <a:lnTo>
                    <a:pt x="474" y="251"/>
                  </a:lnTo>
                  <a:lnTo>
                    <a:pt x="475" y="248"/>
                  </a:lnTo>
                  <a:lnTo>
                    <a:pt x="478" y="243"/>
                  </a:lnTo>
                  <a:lnTo>
                    <a:pt x="482" y="243"/>
                  </a:lnTo>
                  <a:lnTo>
                    <a:pt x="483" y="243"/>
                  </a:lnTo>
                  <a:lnTo>
                    <a:pt x="485" y="243"/>
                  </a:lnTo>
                  <a:lnTo>
                    <a:pt x="487" y="243"/>
                  </a:lnTo>
                  <a:lnTo>
                    <a:pt x="487" y="244"/>
                  </a:lnTo>
                  <a:lnTo>
                    <a:pt x="495" y="241"/>
                  </a:lnTo>
                  <a:lnTo>
                    <a:pt x="495" y="243"/>
                  </a:lnTo>
                  <a:lnTo>
                    <a:pt x="493" y="243"/>
                  </a:lnTo>
                  <a:lnTo>
                    <a:pt x="493" y="244"/>
                  </a:lnTo>
                  <a:lnTo>
                    <a:pt x="495" y="244"/>
                  </a:lnTo>
                  <a:lnTo>
                    <a:pt x="495" y="243"/>
                  </a:lnTo>
                  <a:lnTo>
                    <a:pt x="495" y="244"/>
                  </a:lnTo>
                  <a:lnTo>
                    <a:pt x="496" y="246"/>
                  </a:lnTo>
                  <a:lnTo>
                    <a:pt x="496" y="248"/>
                  </a:lnTo>
                  <a:lnTo>
                    <a:pt x="498" y="251"/>
                  </a:lnTo>
                  <a:lnTo>
                    <a:pt x="501" y="257"/>
                  </a:lnTo>
                  <a:lnTo>
                    <a:pt x="501" y="259"/>
                  </a:lnTo>
                  <a:lnTo>
                    <a:pt x="503" y="259"/>
                  </a:lnTo>
                  <a:lnTo>
                    <a:pt x="504" y="257"/>
                  </a:lnTo>
                  <a:lnTo>
                    <a:pt x="504" y="256"/>
                  </a:lnTo>
                  <a:lnTo>
                    <a:pt x="506" y="254"/>
                  </a:lnTo>
                  <a:lnTo>
                    <a:pt x="506" y="256"/>
                  </a:lnTo>
                  <a:lnTo>
                    <a:pt x="506" y="259"/>
                  </a:lnTo>
                  <a:lnTo>
                    <a:pt x="508" y="261"/>
                  </a:lnTo>
                  <a:lnTo>
                    <a:pt x="509" y="261"/>
                  </a:lnTo>
                  <a:lnTo>
                    <a:pt x="509" y="259"/>
                  </a:lnTo>
                  <a:lnTo>
                    <a:pt x="509" y="254"/>
                  </a:lnTo>
                  <a:lnTo>
                    <a:pt x="508" y="251"/>
                  </a:lnTo>
                  <a:lnTo>
                    <a:pt x="508" y="249"/>
                  </a:lnTo>
                  <a:lnTo>
                    <a:pt x="509" y="244"/>
                  </a:lnTo>
                  <a:lnTo>
                    <a:pt x="509" y="243"/>
                  </a:lnTo>
                  <a:lnTo>
                    <a:pt x="509" y="241"/>
                  </a:lnTo>
                  <a:lnTo>
                    <a:pt x="509" y="240"/>
                  </a:lnTo>
                  <a:lnTo>
                    <a:pt x="511" y="240"/>
                  </a:lnTo>
                  <a:lnTo>
                    <a:pt x="513" y="238"/>
                  </a:lnTo>
                  <a:lnTo>
                    <a:pt x="513" y="236"/>
                  </a:lnTo>
                  <a:lnTo>
                    <a:pt x="514" y="236"/>
                  </a:lnTo>
                  <a:lnTo>
                    <a:pt x="514" y="235"/>
                  </a:lnTo>
                  <a:lnTo>
                    <a:pt x="516" y="233"/>
                  </a:lnTo>
                  <a:lnTo>
                    <a:pt x="517" y="233"/>
                  </a:lnTo>
                  <a:lnTo>
                    <a:pt x="519" y="233"/>
                  </a:lnTo>
                  <a:lnTo>
                    <a:pt x="521" y="233"/>
                  </a:lnTo>
                  <a:lnTo>
                    <a:pt x="521" y="231"/>
                  </a:lnTo>
                  <a:lnTo>
                    <a:pt x="522" y="233"/>
                  </a:lnTo>
                  <a:lnTo>
                    <a:pt x="522" y="235"/>
                  </a:lnTo>
                  <a:lnTo>
                    <a:pt x="524" y="233"/>
                  </a:lnTo>
                  <a:lnTo>
                    <a:pt x="526" y="233"/>
                  </a:lnTo>
                  <a:lnTo>
                    <a:pt x="527" y="231"/>
                  </a:lnTo>
                  <a:lnTo>
                    <a:pt x="527" y="230"/>
                  </a:lnTo>
                  <a:lnTo>
                    <a:pt x="529" y="227"/>
                  </a:lnTo>
                  <a:lnTo>
                    <a:pt x="527" y="225"/>
                  </a:lnTo>
                  <a:lnTo>
                    <a:pt x="529" y="223"/>
                  </a:lnTo>
                  <a:lnTo>
                    <a:pt x="530" y="222"/>
                  </a:lnTo>
                  <a:lnTo>
                    <a:pt x="530" y="220"/>
                  </a:lnTo>
                  <a:lnTo>
                    <a:pt x="532" y="220"/>
                  </a:lnTo>
                  <a:lnTo>
                    <a:pt x="534" y="220"/>
                  </a:lnTo>
                  <a:lnTo>
                    <a:pt x="535" y="220"/>
                  </a:lnTo>
                  <a:lnTo>
                    <a:pt x="535" y="218"/>
                  </a:lnTo>
                  <a:lnTo>
                    <a:pt x="535" y="220"/>
                  </a:lnTo>
                  <a:lnTo>
                    <a:pt x="535" y="218"/>
                  </a:lnTo>
                  <a:lnTo>
                    <a:pt x="537" y="220"/>
                  </a:lnTo>
                  <a:lnTo>
                    <a:pt x="535" y="222"/>
                  </a:lnTo>
                  <a:lnTo>
                    <a:pt x="537" y="223"/>
                  </a:lnTo>
                  <a:lnTo>
                    <a:pt x="539" y="223"/>
                  </a:lnTo>
                  <a:lnTo>
                    <a:pt x="540" y="225"/>
                  </a:lnTo>
                  <a:lnTo>
                    <a:pt x="542" y="227"/>
                  </a:lnTo>
                  <a:lnTo>
                    <a:pt x="542" y="228"/>
                  </a:lnTo>
                  <a:lnTo>
                    <a:pt x="544" y="230"/>
                  </a:lnTo>
                  <a:lnTo>
                    <a:pt x="545" y="228"/>
                  </a:lnTo>
                  <a:lnTo>
                    <a:pt x="547" y="228"/>
                  </a:lnTo>
                  <a:lnTo>
                    <a:pt x="547" y="230"/>
                  </a:lnTo>
                  <a:lnTo>
                    <a:pt x="548" y="233"/>
                  </a:lnTo>
                  <a:lnTo>
                    <a:pt x="548" y="236"/>
                  </a:lnTo>
                  <a:lnTo>
                    <a:pt x="548" y="238"/>
                  </a:lnTo>
                  <a:lnTo>
                    <a:pt x="550" y="240"/>
                  </a:lnTo>
                  <a:lnTo>
                    <a:pt x="550" y="241"/>
                  </a:lnTo>
                  <a:lnTo>
                    <a:pt x="552" y="243"/>
                  </a:lnTo>
                  <a:lnTo>
                    <a:pt x="553" y="243"/>
                  </a:lnTo>
                  <a:lnTo>
                    <a:pt x="555" y="243"/>
                  </a:lnTo>
                  <a:lnTo>
                    <a:pt x="557" y="246"/>
                  </a:lnTo>
                  <a:lnTo>
                    <a:pt x="557" y="248"/>
                  </a:lnTo>
                  <a:lnTo>
                    <a:pt x="558" y="248"/>
                  </a:lnTo>
                  <a:lnTo>
                    <a:pt x="558" y="249"/>
                  </a:lnTo>
                  <a:lnTo>
                    <a:pt x="558" y="251"/>
                  </a:lnTo>
                  <a:lnTo>
                    <a:pt x="558" y="253"/>
                  </a:lnTo>
                  <a:lnTo>
                    <a:pt x="560" y="253"/>
                  </a:lnTo>
                  <a:lnTo>
                    <a:pt x="561" y="253"/>
                  </a:lnTo>
                  <a:lnTo>
                    <a:pt x="563" y="251"/>
                  </a:lnTo>
                  <a:lnTo>
                    <a:pt x="563" y="249"/>
                  </a:lnTo>
                  <a:lnTo>
                    <a:pt x="563" y="248"/>
                  </a:lnTo>
                  <a:lnTo>
                    <a:pt x="565" y="246"/>
                  </a:lnTo>
                  <a:lnTo>
                    <a:pt x="566" y="246"/>
                  </a:lnTo>
                  <a:lnTo>
                    <a:pt x="568" y="246"/>
                  </a:lnTo>
                  <a:lnTo>
                    <a:pt x="570" y="246"/>
                  </a:lnTo>
                  <a:lnTo>
                    <a:pt x="573" y="246"/>
                  </a:lnTo>
                  <a:lnTo>
                    <a:pt x="574" y="246"/>
                  </a:lnTo>
                  <a:lnTo>
                    <a:pt x="574" y="244"/>
                  </a:lnTo>
                  <a:lnTo>
                    <a:pt x="574" y="243"/>
                  </a:lnTo>
                  <a:lnTo>
                    <a:pt x="574" y="241"/>
                  </a:lnTo>
                  <a:lnTo>
                    <a:pt x="573" y="240"/>
                  </a:lnTo>
                  <a:lnTo>
                    <a:pt x="573" y="238"/>
                  </a:lnTo>
                  <a:lnTo>
                    <a:pt x="574" y="236"/>
                  </a:lnTo>
                  <a:lnTo>
                    <a:pt x="574" y="235"/>
                  </a:lnTo>
                  <a:lnTo>
                    <a:pt x="578" y="235"/>
                  </a:lnTo>
                  <a:lnTo>
                    <a:pt x="579" y="235"/>
                  </a:lnTo>
                  <a:lnTo>
                    <a:pt x="579" y="233"/>
                  </a:lnTo>
                  <a:lnTo>
                    <a:pt x="579" y="230"/>
                  </a:lnTo>
                  <a:lnTo>
                    <a:pt x="581" y="230"/>
                  </a:lnTo>
                  <a:lnTo>
                    <a:pt x="581" y="228"/>
                  </a:lnTo>
                  <a:lnTo>
                    <a:pt x="583" y="228"/>
                  </a:lnTo>
                  <a:lnTo>
                    <a:pt x="584" y="228"/>
                  </a:lnTo>
                  <a:lnTo>
                    <a:pt x="584" y="227"/>
                  </a:lnTo>
                  <a:lnTo>
                    <a:pt x="587" y="225"/>
                  </a:lnTo>
                  <a:lnTo>
                    <a:pt x="587" y="223"/>
                  </a:lnTo>
                  <a:lnTo>
                    <a:pt x="589" y="222"/>
                  </a:lnTo>
                  <a:lnTo>
                    <a:pt x="589" y="223"/>
                  </a:lnTo>
                  <a:lnTo>
                    <a:pt x="591" y="223"/>
                  </a:lnTo>
                  <a:lnTo>
                    <a:pt x="591" y="225"/>
                  </a:lnTo>
                  <a:lnTo>
                    <a:pt x="591" y="227"/>
                  </a:lnTo>
                  <a:lnTo>
                    <a:pt x="591" y="228"/>
                  </a:lnTo>
                  <a:lnTo>
                    <a:pt x="592" y="231"/>
                  </a:lnTo>
                  <a:lnTo>
                    <a:pt x="592" y="233"/>
                  </a:lnTo>
                  <a:lnTo>
                    <a:pt x="596" y="233"/>
                  </a:lnTo>
                  <a:lnTo>
                    <a:pt x="597" y="233"/>
                  </a:lnTo>
                  <a:lnTo>
                    <a:pt x="597" y="231"/>
                  </a:lnTo>
                  <a:lnTo>
                    <a:pt x="597" y="230"/>
                  </a:lnTo>
                  <a:lnTo>
                    <a:pt x="599" y="230"/>
                  </a:lnTo>
                  <a:lnTo>
                    <a:pt x="599" y="231"/>
                  </a:lnTo>
                  <a:lnTo>
                    <a:pt x="600" y="230"/>
                  </a:lnTo>
                  <a:lnTo>
                    <a:pt x="602" y="230"/>
                  </a:lnTo>
                  <a:lnTo>
                    <a:pt x="604" y="230"/>
                  </a:lnTo>
                  <a:lnTo>
                    <a:pt x="604" y="228"/>
                  </a:lnTo>
                  <a:lnTo>
                    <a:pt x="605" y="227"/>
                  </a:lnTo>
                  <a:lnTo>
                    <a:pt x="604" y="227"/>
                  </a:lnTo>
                  <a:lnTo>
                    <a:pt x="604" y="225"/>
                  </a:lnTo>
                  <a:lnTo>
                    <a:pt x="605" y="225"/>
                  </a:lnTo>
                  <a:lnTo>
                    <a:pt x="607" y="223"/>
                  </a:lnTo>
                  <a:lnTo>
                    <a:pt x="609" y="223"/>
                  </a:lnTo>
                  <a:lnTo>
                    <a:pt x="610" y="225"/>
                  </a:lnTo>
                  <a:lnTo>
                    <a:pt x="612" y="225"/>
                  </a:lnTo>
                  <a:lnTo>
                    <a:pt x="612" y="223"/>
                  </a:lnTo>
                  <a:lnTo>
                    <a:pt x="613" y="222"/>
                  </a:lnTo>
                  <a:lnTo>
                    <a:pt x="615" y="222"/>
                  </a:lnTo>
                  <a:lnTo>
                    <a:pt x="615" y="220"/>
                  </a:lnTo>
                  <a:lnTo>
                    <a:pt x="615" y="218"/>
                  </a:lnTo>
                  <a:lnTo>
                    <a:pt x="617" y="218"/>
                  </a:lnTo>
                  <a:lnTo>
                    <a:pt x="620" y="218"/>
                  </a:lnTo>
                  <a:lnTo>
                    <a:pt x="625" y="218"/>
                  </a:lnTo>
                  <a:lnTo>
                    <a:pt x="623" y="217"/>
                  </a:lnTo>
                  <a:lnTo>
                    <a:pt x="625" y="217"/>
                  </a:lnTo>
                  <a:lnTo>
                    <a:pt x="626" y="217"/>
                  </a:lnTo>
                  <a:lnTo>
                    <a:pt x="628" y="217"/>
                  </a:lnTo>
                  <a:lnTo>
                    <a:pt x="626" y="215"/>
                  </a:lnTo>
                  <a:lnTo>
                    <a:pt x="628" y="215"/>
                  </a:lnTo>
                  <a:lnTo>
                    <a:pt x="628" y="214"/>
                  </a:lnTo>
                  <a:lnTo>
                    <a:pt x="631" y="217"/>
                  </a:lnTo>
                  <a:lnTo>
                    <a:pt x="633" y="215"/>
                  </a:lnTo>
                  <a:lnTo>
                    <a:pt x="635" y="217"/>
                  </a:lnTo>
                  <a:lnTo>
                    <a:pt x="638" y="218"/>
                  </a:lnTo>
                  <a:lnTo>
                    <a:pt x="639" y="218"/>
                  </a:lnTo>
                  <a:lnTo>
                    <a:pt x="641" y="220"/>
                  </a:lnTo>
                  <a:lnTo>
                    <a:pt x="643" y="222"/>
                  </a:lnTo>
                  <a:lnTo>
                    <a:pt x="644" y="222"/>
                  </a:lnTo>
                  <a:lnTo>
                    <a:pt x="646" y="223"/>
                  </a:lnTo>
                  <a:lnTo>
                    <a:pt x="648" y="227"/>
                  </a:lnTo>
                  <a:lnTo>
                    <a:pt x="649" y="228"/>
                  </a:lnTo>
                  <a:lnTo>
                    <a:pt x="648" y="231"/>
                  </a:lnTo>
                  <a:lnTo>
                    <a:pt x="649" y="233"/>
                  </a:lnTo>
                  <a:lnTo>
                    <a:pt x="652" y="235"/>
                  </a:lnTo>
                  <a:lnTo>
                    <a:pt x="656" y="236"/>
                  </a:lnTo>
                  <a:lnTo>
                    <a:pt x="657" y="236"/>
                  </a:lnTo>
                  <a:lnTo>
                    <a:pt x="659" y="236"/>
                  </a:lnTo>
                  <a:lnTo>
                    <a:pt x="661" y="236"/>
                  </a:lnTo>
                  <a:lnTo>
                    <a:pt x="661" y="238"/>
                  </a:lnTo>
                  <a:lnTo>
                    <a:pt x="661" y="240"/>
                  </a:lnTo>
                  <a:lnTo>
                    <a:pt x="662" y="240"/>
                  </a:lnTo>
                  <a:lnTo>
                    <a:pt x="664" y="238"/>
                  </a:lnTo>
                  <a:lnTo>
                    <a:pt x="665" y="238"/>
                  </a:lnTo>
                  <a:lnTo>
                    <a:pt x="667" y="240"/>
                  </a:lnTo>
                  <a:lnTo>
                    <a:pt x="669" y="240"/>
                  </a:lnTo>
                  <a:lnTo>
                    <a:pt x="670" y="240"/>
                  </a:lnTo>
                  <a:lnTo>
                    <a:pt x="670" y="238"/>
                  </a:lnTo>
                  <a:lnTo>
                    <a:pt x="672" y="238"/>
                  </a:lnTo>
                  <a:lnTo>
                    <a:pt x="672" y="236"/>
                  </a:lnTo>
                  <a:lnTo>
                    <a:pt x="674" y="236"/>
                  </a:lnTo>
                  <a:lnTo>
                    <a:pt x="674" y="235"/>
                  </a:lnTo>
                  <a:lnTo>
                    <a:pt x="674" y="233"/>
                  </a:lnTo>
                  <a:lnTo>
                    <a:pt x="675" y="231"/>
                  </a:lnTo>
                  <a:lnTo>
                    <a:pt x="672" y="230"/>
                  </a:lnTo>
                  <a:lnTo>
                    <a:pt x="672" y="228"/>
                  </a:lnTo>
                  <a:lnTo>
                    <a:pt x="674" y="228"/>
                  </a:lnTo>
                  <a:lnTo>
                    <a:pt x="675" y="228"/>
                  </a:lnTo>
                  <a:lnTo>
                    <a:pt x="675" y="227"/>
                  </a:lnTo>
                  <a:lnTo>
                    <a:pt x="675" y="225"/>
                  </a:lnTo>
                  <a:lnTo>
                    <a:pt x="674" y="225"/>
                  </a:lnTo>
                  <a:lnTo>
                    <a:pt x="674" y="223"/>
                  </a:lnTo>
                  <a:lnTo>
                    <a:pt x="672" y="223"/>
                  </a:lnTo>
                  <a:lnTo>
                    <a:pt x="674" y="223"/>
                  </a:lnTo>
                  <a:lnTo>
                    <a:pt x="674" y="222"/>
                  </a:lnTo>
                  <a:lnTo>
                    <a:pt x="672" y="220"/>
                  </a:lnTo>
                  <a:lnTo>
                    <a:pt x="670" y="217"/>
                  </a:lnTo>
                  <a:lnTo>
                    <a:pt x="669" y="215"/>
                  </a:lnTo>
                  <a:lnTo>
                    <a:pt x="667" y="217"/>
                  </a:lnTo>
                  <a:lnTo>
                    <a:pt x="665" y="217"/>
                  </a:lnTo>
                  <a:lnTo>
                    <a:pt x="665" y="215"/>
                  </a:lnTo>
                  <a:lnTo>
                    <a:pt x="665" y="214"/>
                  </a:lnTo>
                  <a:lnTo>
                    <a:pt x="664" y="214"/>
                  </a:lnTo>
                  <a:lnTo>
                    <a:pt x="665" y="212"/>
                  </a:lnTo>
                  <a:lnTo>
                    <a:pt x="665" y="210"/>
                  </a:lnTo>
                  <a:lnTo>
                    <a:pt x="667" y="210"/>
                  </a:lnTo>
                  <a:lnTo>
                    <a:pt x="665" y="209"/>
                  </a:lnTo>
                  <a:lnTo>
                    <a:pt x="664" y="209"/>
                  </a:lnTo>
                  <a:lnTo>
                    <a:pt x="664" y="207"/>
                  </a:lnTo>
                  <a:lnTo>
                    <a:pt x="664" y="205"/>
                  </a:lnTo>
                  <a:lnTo>
                    <a:pt x="662" y="205"/>
                  </a:lnTo>
                  <a:lnTo>
                    <a:pt x="661" y="204"/>
                  </a:lnTo>
                  <a:lnTo>
                    <a:pt x="661" y="200"/>
                  </a:lnTo>
                  <a:lnTo>
                    <a:pt x="662" y="200"/>
                  </a:lnTo>
                  <a:lnTo>
                    <a:pt x="661" y="200"/>
                  </a:lnTo>
                  <a:lnTo>
                    <a:pt x="661" y="199"/>
                  </a:lnTo>
                  <a:lnTo>
                    <a:pt x="659" y="199"/>
                  </a:lnTo>
                  <a:lnTo>
                    <a:pt x="659" y="200"/>
                  </a:lnTo>
                  <a:lnTo>
                    <a:pt x="657" y="200"/>
                  </a:lnTo>
                  <a:lnTo>
                    <a:pt x="656" y="199"/>
                  </a:lnTo>
                  <a:lnTo>
                    <a:pt x="656" y="197"/>
                  </a:lnTo>
                  <a:lnTo>
                    <a:pt x="657" y="197"/>
                  </a:lnTo>
                  <a:lnTo>
                    <a:pt x="657" y="196"/>
                  </a:lnTo>
                  <a:lnTo>
                    <a:pt x="656" y="196"/>
                  </a:lnTo>
                  <a:lnTo>
                    <a:pt x="654" y="196"/>
                  </a:lnTo>
                  <a:lnTo>
                    <a:pt x="654" y="194"/>
                  </a:lnTo>
                  <a:lnTo>
                    <a:pt x="652" y="194"/>
                  </a:lnTo>
                  <a:lnTo>
                    <a:pt x="652" y="192"/>
                  </a:lnTo>
                  <a:lnTo>
                    <a:pt x="654" y="192"/>
                  </a:lnTo>
                  <a:lnTo>
                    <a:pt x="656" y="192"/>
                  </a:lnTo>
                  <a:lnTo>
                    <a:pt x="656" y="191"/>
                  </a:lnTo>
                  <a:lnTo>
                    <a:pt x="654" y="191"/>
                  </a:lnTo>
                  <a:lnTo>
                    <a:pt x="652" y="191"/>
                  </a:lnTo>
                  <a:lnTo>
                    <a:pt x="651" y="191"/>
                  </a:lnTo>
                  <a:lnTo>
                    <a:pt x="651" y="189"/>
                  </a:lnTo>
                  <a:lnTo>
                    <a:pt x="651" y="187"/>
                  </a:lnTo>
                  <a:lnTo>
                    <a:pt x="652" y="187"/>
                  </a:lnTo>
                  <a:lnTo>
                    <a:pt x="652" y="186"/>
                  </a:lnTo>
                  <a:lnTo>
                    <a:pt x="651" y="186"/>
                  </a:lnTo>
                  <a:lnTo>
                    <a:pt x="651" y="184"/>
                  </a:lnTo>
                  <a:lnTo>
                    <a:pt x="651" y="183"/>
                  </a:lnTo>
                  <a:lnTo>
                    <a:pt x="652" y="183"/>
                  </a:lnTo>
                  <a:lnTo>
                    <a:pt x="654" y="184"/>
                  </a:lnTo>
                  <a:lnTo>
                    <a:pt x="656" y="183"/>
                  </a:lnTo>
                  <a:lnTo>
                    <a:pt x="656" y="181"/>
                  </a:lnTo>
                  <a:lnTo>
                    <a:pt x="652" y="179"/>
                  </a:lnTo>
                  <a:lnTo>
                    <a:pt x="652" y="178"/>
                  </a:lnTo>
                  <a:lnTo>
                    <a:pt x="654" y="178"/>
                  </a:lnTo>
                  <a:lnTo>
                    <a:pt x="654" y="176"/>
                  </a:lnTo>
                  <a:lnTo>
                    <a:pt x="656" y="176"/>
                  </a:lnTo>
                  <a:lnTo>
                    <a:pt x="657" y="176"/>
                  </a:lnTo>
                  <a:lnTo>
                    <a:pt x="657" y="174"/>
                  </a:lnTo>
                  <a:lnTo>
                    <a:pt x="657" y="173"/>
                  </a:lnTo>
                  <a:lnTo>
                    <a:pt x="657" y="171"/>
                  </a:lnTo>
                  <a:lnTo>
                    <a:pt x="659" y="170"/>
                  </a:lnTo>
                  <a:lnTo>
                    <a:pt x="659" y="168"/>
                  </a:lnTo>
                  <a:lnTo>
                    <a:pt x="657" y="168"/>
                  </a:lnTo>
                  <a:lnTo>
                    <a:pt x="656" y="168"/>
                  </a:lnTo>
                  <a:lnTo>
                    <a:pt x="656" y="170"/>
                  </a:lnTo>
                  <a:lnTo>
                    <a:pt x="654" y="168"/>
                  </a:lnTo>
                  <a:lnTo>
                    <a:pt x="656" y="168"/>
                  </a:lnTo>
                  <a:lnTo>
                    <a:pt x="656" y="166"/>
                  </a:lnTo>
                  <a:lnTo>
                    <a:pt x="656" y="165"/>
                  </a:lnTo>
                  <a:lnTo>
                    <a:pt x="657" y="165"/>
                  </a:lnTo>
                  <a:lnTo>
                    <a:pt x="659" y="165"/>
                  </a:lnTo>
                  <a:lnTo>
                    <a:pt x="659" y="163"/>
                  </a:lnTo>
                  <a:lnTo>
                    <a:pt x="657" y="160"/>
                  </a:lnTo>
                  <a:lnTo>
                    <a:pt x="659" y="158"/>
                  </a:lnTo>
                  <a:lnTo>
                    <a:pt x="659" y="157"/>
                  </a:lnTo>
                  <a:lnTo>
                    <a:pt x="659" y="153"/>
                  </a:lnTo>
                  <a:lnTo>
                    <a:pt x="659" y="152"/>
                  </a:lnTo>
                  <a:lnTo>
                    <a:pt x="659" y="150"/>
                  </a:lnTo>
                  <a:lnTo>
                    <a:pt x="661" y="150"/>
                  </a:lnTo>
                  <a:lnTo>
                    <a:pt x="659" y="148"/>
                  </a:lnTo>
                  <a:lnTo>
                    <a:pt x="661" y="148"/>
                  </a:lnTo>
                  <a:lnTo>
                    <a:pt x="661" y="147"/>
                  </a:lnTo>
                  <a:lnTo>
                    <a:pt x="661" y="145"/>
                  </a:lnTo>
                  <a:lnTo>
                    <a:pt x="662" y="145"/>
                  </a:lnTo>
                  <a:lnTo>
                    <a:pt x="664" y="145"/>
                  </a:lnTo>
                  <a:lnTo>
                    <a:pt x="665" y="144"/>
                  </a:lnTo>
                  <a:lnTo>
                    <a:pt x="667" y="142"/>
                  </a:lnTo>
                  <a:lnTo>
                    <a:pt x="665" y="140"/>
                  </a:lnTo>
                  <a:lnTo>
                    <a:pt x="664" y="139"/>
                  </a:lnTo>
                  <a:lnTo>
                    <a:pt x="664" y="137"/>
                  </a:lnTo>
                  <a:lnTo>
                    <a:pt x="665" y="137"/>
                  </a:lnTo>
                  <a:lnTo>
                    <a:pt x="665" y="135"/>
                  </a:lnTo>
                  <a:lnTo>
                    <a:pt x="667" y="135"/>
                  </a:lnTo>
                  <a:lnTo>
                    <a:pt x="667" y="134"/>
                  </a:lnTo>
                  <a:lnTo>
                    <a:pt x="669" y="134"/>
                  </a:lnTo>
                  <a:lnTo>
                    <a:pt x="670" y="134"/>
                  </a:lnTo>
                  <a:lnTo>
                    <a:pt x="670" y="132"/>
                  </a:lnTo>
                  <a:lnTo>
                    <a:pt x="669" y="132"/>
                  </a:lnTo>
                  <a:lnTo>
                    <a:pt x="669" y="131"/>
                  </a:lnTo>
                  <a:lnTo>
                    <a:pt x="670" y="131"/>
                  </a:lnTo>
                  <a:lnTo>
                    <a:pt x="670" y="129"/>
                  </a:lnTo>
                  <a:lnTo>
                    <a:pt x="669" y="129"/>
                  </a:lnTo>
                  <a:lnTo>
                    <a:pt x="670" y="127"/>
                  </a:lnTo>
                  <a:lnTo>
                    <a:pt x="670" y="126"/>
                  </a:lnTo>
                  <a:lnTo>
                    <a:pt x="672" y="126"/>
                  </a:lnTo>
                  <a:lnTo>
                    <a:pt x="672" y="124"/>
                  </a:lnTo>
                  <a:lnTo>
                    <a:pt x="672" y="122"/>
                  </a:lnTo>
                  <a:lnTo>
                    <a:pt x="670" y="122"/>
                  </a:lnTo>
                  <a:lnTo>
                    <a:pt x="670" y="121"/>
                  </a:lnTo>
                  <a:lnTo>
                    <a:pt x="672" y="121"/>
                  </a:lnTo>
                  <a:lnTo>
                    <a:pt x="672" y="119"/>
                  </a:lnTo>
                  <a:lnTo>
                    <a:pt x="670" y="119"/>
                  </a:lnTo>
                  <a:lnTo>
                    <a:pt x="669" y="118"/>
                  </a:lnTo>
                  <a:lnTo>
                    <a:pt x="670" y="118"/>
                  </a:lnTo>
                  <a:lnTo>
                    <a:pt x="670" y="116"/>
                  </a:lnTo>
                  <a:lnTo>
                    <a:pt x="672" y="116"/>
                  </a:lnTo>
                  <a:lnTo>
                    <a:pt x="674" y="116"/>
                  </a:lnTo>
                  <a:lnTo>
                    <a:pt x="677" y="114"/>
                  </a:lnTo>
                  <a:lnTo>
                    <a:pt x="677" y="113"/>
                  </a:lnTo>
                  <a:lnTo>
                    <a:pt x="678" y="113"/>
                  </a:lnTo>
                  <a:lnTo>
                    <a:pt x="680" y="111"/>
                  </a:lnTo>
                  <a:lnTo>
                    <a:pt x="683" y="111"/>
                  </a:lnTo>
                  <a:lnTo>
                    <a:pt x="683" y="109"/>
                  </a:lnTo>
                  <a:lnTo>
                    <a:pt x="685" y="108"/>
                  </a:lnTo>
                  <a:lnTo>
                    <a:pt x="687" y="108"/>
                  </a:lnTo>
                  <a:lnTo>
                    <a:pt x="687" y="109"/>
                  </a:lnTo>
                  <a:lnTo>
                    <a:pt x="687" y="111"/>
                  </a:lnTo>
                  <a:lnTo>
                    <a:pt x="688" y="111"/>
                  </a:lnTo>
                  <a:lnTo>
                    <a:pt x="690" y="111"/>
                  </a:lnTo>
                  <a:lnTo>
                    <a:pt x="692" y="111"/>
                  </a:lnTo>
                  <a:lnTo>
                    <a:pt x="693" y="111"/>
                  </a:lnTo>
                  <a:lnTo>
                    <a:pt x="695" y="113"/>
                  </a:lnTo>
                  <a:lnTo>
                    <a:pt x="698" y="114"/>
                  </a:lnTo>
                  <a:lnTo>
                    <a:pt x="701" y="111"/>
                  </a:lnTo>
                  <a:lnTo>
                    <a:pt x="701" y="108"/>
                  </a:lnTo>
                  <a:lnTo>
                    <a:pt x="701" y="106"/>
                  </a:lnTo>
                  <a:lnTo>
                    <a:pt x="701" y="105"/>
                  </a:lnTo>
                  <a:lnTo>
                    <a:pt x="701" y="103"/>
                  </a:lnTo>
                  <a:lnTo>
                    <a:pt x="705" y="101"/>
                  </a:lnTo>
                  <a:lnTo>
                    <a:pt x="706" y="100"/>
                  </a:lnTo>
                  <a:lnTo>
                    <a:pt x="705" y="98"/>
                  </a:lnTo>
                  <a:lnTo>
                    <a:pt x="706" y="96"/>
                  </a:lnTo>
                  <a:lnTo>
                    <a:pt x="708" y="96"/>
                  </a:lnTo>
                  <a:lnTo>
                    <a:pt x="708" y="95"/>
                  </a:lnTo>
                  <a:lnTo>
                    <a:pt x="709" y="95"/>
                  </a:lnTo>
                  <a:lnTo>
                    <a:pt x="711" y="95"/>
                  </a:lnTo>
                  <a:lnTo>
                    <a:pt x="711" y="96"/>
                  </a:lnTo>
                  <a:lnTo>
                    <a:pt x="713" y="98"/>
                  </a:lnTo>
                  <a:lnTo>
                    <a:pt x="714" y="98"/>
                  </a:lnTo>
                  <a:lnTo>
                    <a:pt x="716" y="96"/>
                  </a:lnTo>
                  <a:lnTo>
                    <a:pt x="718" y="95"/>
                  </a:lnTo>
                  <a:lnTo>
                    <a:pt x="719" y="95"/>
                  </a:lnTo>
                  <a:lnTo>
                    <a:pt x="721" y="95"/>
                  </a:lnTo>
                  <a:lnTo>
                    <a:pt x="726" y="95"/>
                  </a:lnTo>
                  <a:lnTo>
                    <a:pt x="729" y="93"/>
                  </a:lnTo>
                  <a:lnTo>
                    <a:pt x="731" y="93"/>
                  </a:lnTo>
                  <a:lnTo>
                    <a:pt x="732" y="93"/>
                  </a:lnTo>
                  <a:lnTo>
                    <a:pt x="734" y="93"/>
                  </a:lnTo>
                  <a:lnTo>
                    <a:pt x="735" y="93"/>
                  </a:lnTo>
                  <a:lnTo>
                    <a:pt x="737" y="93"/>
                  </a:lnTo>
                  <a:lnTo>
                    <a:pt x="737" y="92"/>
                  </a:lnTo>
                  <a:lnTo>
                    <a:pt x="739" y="92"/>
                  </a:lnTo>
                  <a:lnTo>
                    <a:pt x="739" y="90"/>
                  </a:lnTo>
                  <a:lnTo>
                    <a:pt x="740" y="90"/>
                  </a:lnTo>
                  <a:lnTo>
                    <a:pt x="740" y="92"/>
                  </a:lnTo>
                  <a:lnTo>
                    <a:pt x="742" y="92"/>
                  </a:lnTo>
                  <a:lnTo>
                    <a:pt x="744" y="92"/>
                  </a:lnTo>
                  <a:lnTo>
                    <a:pt x="744" y="90"/>
                  </a:lnTo>
                  <a:lnTo>
                    <a:pt x="745" y="90"/>
                  </a:lnTo>
                  <a:lnTo>
                    <a:pt x="747" y="88"/>
                  </a:lnTo>
                  <a:lnTo>
                    <a:pt x="748" y="88"/>
                  </a:lnTo>
                  <a:lnTo>
                    <a:pt x="750" y="88"/>
                  </a:lnTo>
                  <a:lnTo>
                    <a:pt x="752" y="90"/>
                  </a:lnTo>
                  <a:lnTo>
                    <a:pt x="753" y="90"/>
                  </a:lnTo>
                  <a:lnTo>
                    <a:pt x="755" y="90"/>
                  </a:lnTo>
                  <a:lnTo>
                    <a:pt x="757" y="92"/>
                  </a:lnTo>
                  <a:lnTo>
                    <a:pt x="755" y="92"/>
                  </a:lnTo>
                  <a:lnTo>
                    <a:pt x="755" y="93"/>
                  </a:lnTo>
                  <a:lnTo>
                    <a:pt x="753" y="93"/>
                  </a:lnTo>
                  <a:lnTo>
                    <a:pt x="753" y="95"/>
                  </a:lnTo>
                  <a:lnTo>
                    <a:pt x="753" y="96"/>
                  </a:lnTo>
                  <a:lnTo>
                    <a:pt x="755" y="96"/>
                  </a:lnTo>
                  <a:lnTo>
                    <a:pt x="755" y="95"/>
                  </a:lnTo>
                  <a:lnTo>
                    <a:pt x="757" y="95"/>
                  </a:lnTo>
                  <a:lnTo>
                    <a:pt x="757" y="93"/>
                  </a:lnTo>
                  <a:lnTo>
                    <a:pt x="758" y="93"/>
                  </a:lnTo>
                  <a:lnTo>
                    <a:pt x="760" y="93"/>
                  </a:lnTo>
                  <a:lnTo>
                    <a:pt x="761" y="93"/>
                  </a:lnTo>
                  <a:lnTo>
                    <a:pt x="763" y="93"/>
                  </a:lnTo>
                  <a:lnTo>
                    <a:pt x="765" y="93"/>
                  </a:lnTo>
                  <a:lnTo>
                    <a:pt x="766" y="93"/>
                  </a:lnTo>
                  <a:lnTo>
                    <a:pt x="768" y="93"/>
                  </a:lnTo>
                  <a:lnTo>
                    <a:pt x="768" y="92"/>
                  </a:lnTo>
                  <a:lnTo>
                    <a:pt x="770" y="92"/>
                  </a:lnTo>
                  <a:lnTo>
                    <a:pt x="771" y="90"/>
                  </a:lnTo>
                  <a:lnTo>
                    <a:pt x="771" y="87"/>
                  </a:lnTo>
                  <a:lnTo>
                    <a:pt x="773" y="85"/>
                  </a:lnTo>
                  <a:lnTo>
                    <a:pt x="774" y="85"/>
                  </a:lnTo>
                  <a:lnTo>
                    <a:pt x="776" y="87"/>
                  </a:lnTo>
                  <a:lnTo>
                    <a:pt x="776" y="85"/>
                  </a:lnTo>
                  <a:lnTo>
                    <a:pt x="776" y="87"/>
                  </a:lnTo>
                  <a:lnTo>
                    <a:pt x="776" y="85"/>
                  </a:lnTo>
                  <a:lnTo>
                    <a:pt x="776" y="83"/>
                  </a:lnTo>
                  <a:lnTo>
                    <a:pt x="778" y="83"/>
                  </a:lnTo>
                  <a:lnTo>
                    <a:pt x="778" y="82"/>
                  </a:lnTo>
                  <a:lnTo>
                    <a:pt x="779" y="82"/>
                  </a:lnTo>
                  <a:lnTo>
                    <a:pt x="779" y="80"/>
                  </a:lnTo>
                  <a:lnTo>
                    <a:pt x="779" y="82"/>
                  </a:lnTo>
                  <a:lnTo>
                    <a:pt x="779" y="80"/>
                  </a:lnTo>
                  <a:lnTo>
                    <a:pt x="781" y="80"/>
                  </a:lnTo>
                  <a:lnTo>
                    <a:pt x="781" y="79"/>
                  </a:lnTo>
                  <a:lnTo>
                    <a:pt x="783" y="79"/>
                  </a:lnTo>
                  <a:lnTo>
                    <a:pt x="783" y="77"/>
                  </a:lnTo>
                  <a:lnTo>
                    <a:pt x="781" y="75"/>
                  </a:lnTo>
                  <a:lnTo>
                    <a:pt x="783" y="75"/>
                  </a:lnTo>
                  <a:lnTo>
                    <a:pt x="784" y="74"/>
                  </a:lnTo>
                  <a:lnTo>
                    <a:pt x="783" y="74"/>
                  </a:lnTo>
                  <a:lnTo>
                    <a:pt x="784" y="72"/>
                  </a:lnTo>
                  <a:lnTo>
                    <a:pt x="786" y="72"/>
                  </a:lnTo>
                  <a:lnTo>
                    <a:pt x="786" y="70"/>
                  </a:lnTo>
                  <a:lnTo>
                    <a:pt x="786" y="69"/>
                  </a:lnTo>
                  <a:lnTo>
                    <a:pt x="783" y="70"/>
                  </a:lnTo>
                  <a:lnTo>
                    <a:pt x="783" y="69"/>
                  </a:lnTo>
                  <a:lnTo>
                    <a:pt x="783" y="70"/>
                  </a:lnTo>
                  <a:lnTo>
                    <a:pt x="783" y="69"/>
                  </a:lnTo>
                  <a:lnTo>
                    <a:pt x="783" y="67"/>
                  </a:lnTo>
                  <a:lnTo>
                    <a:pt x="783" y="65"/>
                  </a:lnTo>
                  <a:lnTo>
                    <a:pt x="783" y="64"/>
                  </a:lnTo>
                  <a:lnTo>
                    <a:pt x="779" y="62"/>
                  </a:lnTo>
                  <a:lnTo>
                    <a:pt x="779" y="61"/>
                  </a:lnTo>
                  <a:lnTo>
                    <a:pt x="781" y="57"/>
                  </a:lnTo>
                  <a:lnTo>
                    <a:pt x="783" y="57"/>
                  </a:lnTo>
                  <a:lnTo>
                    <a:pt x="784" y="57"/>
                  </a:lnTo>
                  <a:lnTo>
                    <a:pt x="784" y="56"/>
                  </a:lnTo>
                  <a:lnTo>
                    <a:pt x="783" y="54"/>
                  </a:lnTo>
                  <a:lnTo>
                    <a:pt x="783" y="52"/>
                  </a:lnTo>
                  <a:lnTo>
                    <a:pt x="783" y="51"/>
                  </a:lnTo>
                  <a:lnTo>
                    <a:pt x="781" y="52"/>
                  </a:lnTo>
                  <a:lnTo>
                    <a:pt x="779" y="49"/>
                  </a:lnTo>
                  <a:lnTo>
                    <a:pt x="778" y="48"/>
                  </a:lnTo>
                  <a:lnTo>
                    <a:pt x="778" y="46"/>
                  </a:lnTo>
                  <a:lnTo>
                    <a:pt x="779" y="44"/>
                  </a:lnTo>
                  <a:lnTo>
                    <a:pt x="779" y="43"/>
                  </a:lnTo>
                  <a:lnTo>
                    <a:pt x="781" y="43"/>
                  </a:lnTo>
                  <a:lnTo>
                    <a:pt x="783" y="44"/>
                  </a:lnTo>
                  <a:lnTo>
                    <a:pt x="784" y="44"/>
                  </a:lnTo>
                  <a:lnTo>
                    <a:pt x="786" y="43"/>
                  </a:lnTo>
                  <a:lnTo>
                    <a:pt x="787" y="43"/>
                  </a:lnTo>
                  <a:lnTo>
                    <a:pt x="789" y="43"/>
                  </a:lnTo>
                  <a:lnTo>
                    <a:pt x="791" y="41"/>
                  </a:lnTo>
                  <a:lnTo>
                    <a:pt x="792" y="41"/>
                  </a:lnTo>
                  <a:lnTo>
                    <a:pt x="794" y="41"/>
                  </a:lnTo>
                  <a:lnTo>
                    <a:pt x="797" y="43"/>
                  </a:lnTo>
                  <a:lnTo>
                    <a:pt x="799" y="43"/>
                  </a:lnTo>
                  <a:lnTo>
                    <a:pt x="800" y="43"/>
                  </a:lnTo>
                  <a:lnTo>
                    <a:pt x="802" y="43"/>
                  </a:lnTo>
                  <a:lnTo>
                    <a:pt x="805" y="44"/>
                  </a:lnTo>
                  <a:lnTo>
                    <a:pt x="807" y="44"/>
                  </a:lnTo>
                  <a:lnTo>
                    <a:pt x="807" y="46"/>
                  </a:lnTo>
                  <a:lnTo>
                    <a:pt x="809" y="46"/>
                  </a:lnTo>
                  <a:lnTo>
                    <a:pt x="810" y="46"/>
                  </a:lnTo>
                  <a:lnTo>
                    <a:pt x="812" y="46"/>
                  </a:lnTo>
                  <a:lnTo>
                    <a:pt x="813" y="43"/>
                  </a:lnTo>
                  <a:lnTo>
                    <a:pt x="815" y="44"/>
                  </a:lnTo>
                  <a:lnTo>
                    <a:pt x="817" y="43"/>
                  </a:lnTo>
                  <a:lnTo>
                    <a:pt x="818" y="43"/>
                  </a:lnTo>
                  <a:lnTo>
                    <a:pt x="818" y="41"/>
                  </a:lnTo>
                  <a:lnTo>
                    <a:pt x="820" y="41"/>
                  </a:lnTo>
                  <a:lnTo>
                    <a:pt x="820" y="39"/>
                  </a:lnTo>
                  <a:lnTo>
                    <a:pt x="823" y="39"/>
                  </a:lnTo>
                  <a:lnTo>
                    <a:pt x="825" y="41"/>
                  </a:lnTo>
                  <a:lnTo>
                    <a:pt x="825" y="43"/>
                  </a:lnTo>
                  <a:lnTo>
                    <a:pt x="826" y="43"/>
                  </a:lnTo>
                  <a:lnTo>
                    <a:pt x="826" y="41"/>
                  </a:lnTo>
                  <a:lnTo>
                    <a:pt x="830" y="38"/>
                  </a:lnTo>
                  <a:lnTo>
                    <a:pt x="831" y="36"/>
                  </a:lnTo>
                  <a:lnTo>
                    <a:pt x="833" y="36"/>
                  </a:lnTo>
                  <a:lnTo>
                    <a:pt x="833" y="35"/>
                  </a:lnTo>
                  <a:lnTo>
                    <a:pt x="833" y="33"/>
                  </a:lnTo>
                  <a:lnTo>
                    <a:pt x="836" y="30"/>
                  </a:lnTo>
                  <a:lnTo>
                    <a:pt x="836" y="28"/>
                  </a:lnTo>
                  <a:lnTo>
                    <a:pt x="836" y="26"/>
                  </a:lnTo>
                  <a:lnTo>
                    <a:pt x="838" y="26"/>
                  </a:lnTo>
                  <a:lnTo>
                    <a:pt x="838" y="28"/>
                  </a:lnTo>
                  <a:lnTo>
                    <a:pt x="836" y="28"/>
                  </a:lnTo>
                  <a:lnTo>
                    <a:pt x="838" y="28"/>
                  </a:lnTo>
                  <a:lnTo>
                    <a:pt x="838" y="30"/>
                  </a:lnTo>
                  <a:lnTo>
                    <a:pt x="840" y="26"/>
                  </a:lnTo>
                  <a:lnTo>
                    <a:pt x="841" y="25"/>
                  </a:lnTo>
                  <a:lnTo>
                    <a:pt x="841" y="22"/>
                  </a:lnTo>
                  <a:lnTo>
                    <a:pt x="843" y="22"/>
                  </a:lnTo>
                  <a:lnTo>
                    <a:pt x="844" y="22"/>
                  </a:lnTo>
                  <a:lnTo>
                    <a:pt x="844" y="18"/>
                  </a:lnTo>
                  <a:lnTo>
                    <a:pt x="843" y="17"/>
                  </a:lnTo>
                  <a:lnTo>
                    <a:pt x="844" y="17"/>
                  </a:lnTo>
                  <a:lnTo>
                    <a:pt x="844" y="15"/>
                  </a:lnTo>
                  <a:lnTo>
                    <a:pt x="849" y="15"/>
                  </a:lnTo>
                  <a:lnTo>
                    <a:pt x="853" y="15"/>
                  </a:lnTo>
                  <a:lnTo>
                    <a:pt x="854" y="17"/>
                  </a:lnTo>
                  <a:lnTo>
                    <a:pt x="856" y="15"/>
                  </a:lnTo>
                  <a:lnTo>
                    <a:pt x="857" y="15"/>
                  </a:lnTo>
                  <a:lnTo>
                    <a:pt x="859" y="13"/>
                  </a:lnTo>
                  <a:lnTo>
                    <a:pt x="861" y="13"/>
                  </a:lnTo>
                  <a:lnTo>
                    <a:pt x="861" y="12"/>
                  </a:lnTo>
                  <a:lnTo>
                    <a:pt x="861" y="10"/>
                  </a:lnTo>
                  <a:lnTo>
                    <a:pt x="862" y="10"/>
                  </a:lnTo>
                  <a:lnTo>
                    <a:pt x="862" y="12"/>
                  </a:lnTo>
                  <a:lnTo>
                    <a:pt x="864" y="12"/>
                  </a:lnTo>
                  <a:lnTo>
                    <a:pt x="864" y="13"/>
                  </a:lnTo>
                  <a:lnTo>
                    <a:pt x="866" y="13"/>
                  </a:lnTo>
                  <a:lnTo>
                    <a:pt x="867" y="13"/>
                  </a:lnTo>
                  <a:lnTo>
                    <a:pt x="867" y="12"/>
                  </a:lnTo>
                  <a:lnTo>
                    <a:pt x="867" y="10"/>
                  </a:lnTo>
                  <a:lnTo>
                    <a:pt x="872" y="10"/>
                  </a:lnTo>
                  <a:lnTo>
                    <a:pt x="874" y="12"/>
                  </a:lnTo>
                  <a:lnTo>
                    <a:pt x="874" y="13"/>
                  </a:lnTo>
                  <a:lnTo>
                    <a:pt x="872" y="13"/>
                  </a:lnTo>
                  <a:lnTo>
                    <a:pt x="872" y="15"/>
                  </a:lnTo>
                  <a:lnTo>
                    <a:pt x="870" y="15"/>
                  </a:lnTo>
                  <a:lnTo>
                    <a:pt x="870" y="17"/>
                  </a:lnTo>
                  <a:lnTo>
                    <a:pt x="872" y="17"/>
                  </a:lnTo>
                  <a:lnTo>
                    <a:pt x="874" y="17"/>
                  </a:lnTo>
                  <a:lnTo>
                    <a:pt x="875" y="17"/>
                  </a:lnTo>
                  <a:lnTo>
                    <a:pt x="877" y="17"/>
                  </a:lnTo>
                  <a:lnTo>
                    <a:pt x="879" y="17"/>
                  </a:lnTo>
                  <a:lnTo>
                    <a:pt x="879" y="15"/>
                  </a:lnTo>
                  <a:lnTo>
                    <a:pt x="877" y="13"/>
                  </a:lnTo>
                  <a:lnTo>
                    <a:pt x="879" y="13"/>
                  </a:lnTo>
                  <a:lnTo>
                    <a:pt x="880" y="13"/>
                  </a:lnTo>
                  <a:lnTo>
                    <a:pt x="880" y="12"/>
                  </a:lnTo>
                  <a:lnTo>
                    <a:pt x="880" y="10"/>
                  </a:lnTo>
                  <a:lnTo>
                    <a:pt x="882" y="9"/>
                  </a:lnTo>
                  <a:lnTo>
                    <a:pt x="883" y="9"/>
                  </a:lnTo>
                  <a:lnTo>
                    <a:pt x="885" y="7"/>
                  </a:lnTo>
                  <a:lnTo>
                    <a:pt x="887" y="7"/>
                  </a:lnTo>
                  <a:lnTo>
                    <a:pt x="887" y="5"/>
                  </a:lnTo>
                  <a:lnTo>
                    <a:pt x="888" y="4"/>
                  </a:lnTo>
                  <a:lnTo>
                    <a:pt x="890" y="4"/>
                  </a:lnTo>
                  <a:lnTo>
                    <a:pt x="892" y="2"/>
                  </a:lnTo>
                  <a:lnTo>
                    <a:pt x="893" y="2"/>
                  </a:lnTo>
                  <a:lnTo>
                    <a:pt x="895" y="0"/>
                  </a:lnTo>
                  <a:lnTo>
                    <a:pt x="898" y="0"/>
                  </a:lnTo>
                  <a:lnTo>
                    <a:pt x="900" y="2"/>
                  </a:lnTo>
                  <a:lnTo>
                    <a:pt x="901" y="4"/>
                  </a:lnTo>
                  <a:lnTo>
                    <a:pt x="901" y="5"/>
                  </a:lnTo>
                  <a:lnTo>
                    <a:pt x="905" y="7"/>
                  </a:lnTo>
                  <a:lnTo>
                    <a:pt x="906" y="5"/>
                  </a:lnTo>
                  <a:lnTo>
                    <a:pt x="906" y="7"/>
                  </a:lnTo>
                  <a:lnTo>
                    <a:pt x="908" y="7"/>
                  </a:lnTo>
                  <a:lnTo>
                    <a:pt x="908" y="5"/>
                  </a:lnTo>
                  <a:lnTo>
                    <a:pt x="909" y="7"/>
                  </a:lnTo>
                  <a:lnTo>
                    <a:pt x="911" y="7"/>
                  </a:lnTo>
                  <a:lnTo>
                    <a:pt x="911" y="10"/>
                  </a:lnTo>
                  <a:lnTo>
                    <a:pt x="913" y="12"/>
                  </a:lnTo>
                  <a:lnTo>
                    <a:pt x="913" y="13"/>
                  </a:lnTo>
                  <a:lnTo>
                    <a:pt x="914" y="13"/>
                  </a:lnTo>
                  <a:lnTo>
                    <a:pt x="916" y="13"/>
                  </a:lnTo>
                  <a:lnTo>
                    <a:pt x="918" y="13"/>
                  </a:lnTo>
                  <a:lnTo>
                    <a:pt x="919" y="15"/>
                  </a:lnTo>
                  <a:lnTo>
                    <a:pt x="921" y="17"/>
                  </a:lnTo>
                  <a:lnTo>
                    <a:pt x="922" y="15"/>
                  </a:lnTo>
                  <a:lnTo>
                    <a:pt x="924" y="15"/>
                  </a:lnTo>
                  <a:lnTo>
                    <a:pt x="924" y="17"/>
                  </a:lnTo>
                  <a:lnTo>
                    <a:pt x="926" y="18"/>
                  </a:lnTo>
                  <a:lnTo>
                    <a:pt x="926" y="20"/>
                  </a:lnTo>
                  <a:lnTo>
                    <a:pt x="927" y="22"/>
                  </a:lnTo>
                  <a:lnTo>
                    <a:pt x="929" y="22"/>
                  </a:lnTo>
                  <a:lnTo>
                    <a:pt x="932" y="22"/>
                  </a:lnTo>
                  <a:lnTo>
                    <a:pt x="932" y="25"/>
                  </a:lnTo>
                  <a:lnTo>
                    <a:pt x="932" y="26"/>
                  </a:lnTo>
                  <a:lnTo>
                    <a:pt x="932" y="28"/>
                  </a:lnTo>
                  <a:lnTo>
                    <a:pt x="932" y="30"/>
                  </a:lnTo>
                  <a:lnTo>
                    <a:pt x="931" y="33"/>
                  </a:lnTo>
                  <a:lnTo>
                    <a:pt x="932" y="33"/>
                  </a:lnTo>
                  <a:lnTo>
                    <a:pt x="934" y="35"/>
                  </a:lnTo>
                  <a:lnTo>
                    <a:pt x="935" y="36"/>
                  </a:lnTo>
                  <a:lnTo>
                    <a:pt x="935" y="38"/>
                  </a:lnTo>
                  <a:lnTo>
                    <a:pt x="935" y="41"/>
                  </a:lnTo>
                  <a:lnTo>
                    <a:pt x="939" y="39"/>
                  </a:lnTo>
                  <a:lnTo>
                    <a:pt x="940" y="41"/>
                  </a:lnTo>
                  <a:lnTo>
                    <a:pt x="940" y="43"/>
                  </a:lnTo>
                  <a:lnTo>
                    <a:pt x="940" y="44"/>
                  </a:lnTo>
                  <a:lnTo>
                    <a:pt x="942" y="44"/>
                  </a:lnTo>
                  <a:lnTo>
                    <a:pt x="942" y="46"/>
                  </a:lnTo>
                  <a:lnTo>
                    <a:pt x="945" y="44"/>
                  </a:lnTo>
                  <a:lnTo>
                    <a:pt x="947" y="44"/>
                  </a:lnTo>
                  <a:lnTo>
                    <a:pt x="948" y="48"/>
                  </a:lnTo>
                  <a:lnTo>
                    <a:pt x="950" y="49"/>
                  </a:lnTo>
                  <a:lnTo>
                    <a:pt x="952" y="49"/>
                  </a:lnTo>
                  <a:lnTo>
                    <a:pt x="953" y="51"/>
                  </a:lnTo>
                  <a:lnTo>
                    <a:pt x="953" y="49"/>
                  </a:lnTo>
                  <a:lnTo>
                    <a:pt x="955" y="49"/>
                  </a:lnTo>
                  <a:lnTo>
                    <a:pt x="955" y="52"/>
                  </a:lnTo>
                  <a:lnTo>
                    <a:pt x="957" y="54"/>
                  </a:lnTo>
                  <a:lnTo>
                    <a:pt x="957" y="52"/>
                  </a:lnTo>
                  <a:lnTo>
                    <a:pt x="958" y="52"/>
                  </a:lnTo>
                  <a:lnTo>
                    <a:pt x="960" y="51"/>
                  </a:lnTo>
                  <a:lnTo>
                    <a:pt x="960" y="52"/>
                  </a:lnTo>
                  <a:lnTo>
                    <a:pt x="961" y="52"/>
                  </a:lnTo>
                  <a:lnTo>
                    <a:pt x="963" y="52"/>
                  </a:lnTo>
                  <a:lnTo>
                    <a:pt x="966" y="54"/>
                  </a:lnTo>
                  <a:lnTo>
                    <a:pt x="966" y="56"/>
                  </a:lnTo>
                  <a:lnTo>
                    <a:pt x="968" y="56"/>
                  </a:lnTo>
                  <a:lnTo>
                    <a:pt x="970" y="56"/>
                  </a:lnTo>
                  <a:lnTo>
                    <a:pt x="971" y="56"/>
                  </a:lnTo>
                  <a:lnTo>
                    <a:pt x="971" y="57"/>
                  </a:lnTo>
                  <a:lnTo>
                    <a:pt x="973" y="59"/>
                  </a:lnTo>
                  <a:lnTo>
                    <a:pt x="973" y="61"/>
                  </a:lnTo>
                  <a:lnTo>
                    <a:pt x="973" y="62"/>
                  </a:lnTo>
                  <a:lnTo>
                    <a:pt x="974" y="64"/>
                  </a:lnTo>
                  <a:lnTo>
                    <a:pt x="976" y="64"/>
                  </a:lnTo>
                  <a:lnTo>
                    <a:pt x="976" y="65"/>
                  </a:lnTo>
                  <a:lnTo>
                    <a:pt x="978" y="67"/>
                  </a:lnTo>
                  <a:lnTo>
                    <a:pt x="978" y="69"/>
                  </a:lnTo>
                  <a:lnTo>
                    <a:pt x="978" y="70"/>
                  </a:lnTo>
                  <a:lnTo>
                    <a:pt x="976" y="72"/>
                  </a:lnTo>
                  <a:lnTo>
                    <a:pt x="974" y="72"/>
                  </a:lnTo>
                  <a:lnTo>
                    <a:pt x="973" y="74"/>
                  </a:lnTo>
                  <a:lnTo>
                    <a:pt x="971" y="74"/>
                  </a:lnTo>
                  <a:lnTo>
                    <a:pt x="970" y="75"/>
                  </a:lnTo>
                  <a:lnTo>
                    <a:pt x="968" y="74"/>
                  </a:lnTo>
                  <a:lnTo>
                    <a:pt x="968" y="75"/>
                  </a:lnTo>
                  <a:lnTo>
                    <a:pt x="968" y="77"/>
                  </a:lnTo>
                  <a:lnTo>
                    <a:pt x="966" y="77"/>
                  </a:lnTo>
                  <a:lnTo>
                    <a:pt x="965" y="79"/>
                  </a:lnTo>
                  <a:lnTo>
                    <a:pt x="963" y="79"/>
                  </a:lnTo>
                  <a:lnTo>
                    <a:pt x="963" y="80"/>
                  </a:lnTo>
                  <a:lnTo>
                    <a:pt x="961" y="80"/>
                  </a:lnTo>
                  <a:lnTo>
                    <a:pt x="961" y="79"/>
                  </a:lnTo>
                  <a:lnTo>
                    <a:pt x="960" y="80"/>
                  </a:lnTo>
                  <a:lnTo>
                    <a:pt x="960" y="82"/>
                  </a:lnTo>
                  <a:lnTo>
                    <a:pt x="960" y="80"/>
                  </a:lnTo>
                  <a:lnTo>
                    <a:pt x="960" y="82"/>
                  </a:lnTo>
                  <a:lnTo>
                    <a:pt x="958" y="80"/>
                  </a:lnTo>
                  <a:lnTo>
                    <a:pt x="960" y="82"/>
                  </a:lnTo>
                  <a:lnTo>
                    <a:pt x="958" y="82"/>
                  </a:lnTo>
                  <a:lnTo>
                    <a:pt x="958" y="83"/>
                  </a:lnTo>
                  <a:lnTo>
                    <a:pt x="957" y="83"/>
                  </a:lnTo>
                  <a:lnTo>
                    <a:pt x="955" y="83"/>
                  </a:lnTo>
                  <a:lnTo>
                    <a:pt x="955" y="85"/>
                  </a:lnTo>
                  <a:lnTo>
                    <a:pt x="953" y="85"/>
                  </a:lnTo>
                  <a:lnTo>
                    <a:pt x="953" y="87"/>
                  </a:lnTo>
                  <a:lnTo>
                    <a:pt x="952" y="87"/>
                  </a:lnTo>
                  <a:lnTo>
                    <a:pt x="952" y="88"/>
                  </a:lnTo>
                  <a:lnTo>
                    <a:pt x="953" y="88"/>
                  </a:lnTo>
                  <a:lnTo>
                    <a:pt x="955" y="90"/>
                  </a:lnTo>
                  <a:lnTo>
                    <a:pt x="957" y="90"/>
                  </a:lnTo>
                  <a:lnTo>
                    <a:pt x="960" y="88"/>
                  </a:lnTo>
                  <a:lnTo>
                    <a:pt x="960" y="90"/>
                  </a:lnTo>
                  <a:lnTo>
                    <a:pt x="961" y="92"/>
                  </a:lnTo>
                  <a:lnTo>
                    <a:pt x="963" y="95"/>
                  </a:lnTo>
                  <a:lnTo>
                    <a:pt x="965" y="93"/>
                  </a:lnTo>
                  <a:lnTo>
                    <a:pt x="965" y="95"/>
                  </a:lnTo>
                  <a:lnTo>
                    <a:pt x="966" y="96"/>
                  </a:lnTo>
                  <a:lnTo>
                    <a:pt x="968" y="96"/>
                  </a:lnTo>
                  <a:lnTo>
                    <a:pt x="968" y="95"/>
                  </a:lnTo>
                  <a:lnTo>
                    <a:pt x="970" y="96"/>
                  </a:lnTo>
                  <a:lnTo>
                    <a:pt x="971" y="98"/>
                  </a:lnTo>
                  <a:lnTo>
                    <a:pt x="971" y="100"/>
                  </a:lnTo>
                  <a:lnTo>
                    <a:pt x="971" y="101"/>
                  </a:lnTo>
                  <a:lnTo>
                    <a:pt x="973" y="101"/>
                  </a:lnTo>
                  <a:lnTo>
                    <a:pt x="976" y="100"/>
                  </a:lnTo>
                  <a:lnTo>
                    <a:pt x="976" y="101"/>
                  </a:lnTo>
                  <a:lnTo>
                    <a:pt x="978" y="101"/>
                  </a:lnTo>
                  <a:lnTo>
                    <a:pt x="978" y="103"/>
                  </a:lnTo>
                  <a:lnTo>
                    <a:pt x="976" y="103"/>
                  </a:lnTo>
                  <a:lnTo>
                    <a:pt x="976" y="105"/>
                  </a:lnTo>
                  <a:lnTo>
                    <a:pt x="978" y="106"/>
                  </a:lnTo>
                  <a:lnTo>
                    <a:pt x="978" y="108"/>
                  </a:lnTo>
                  <a:lnTo>
                    <a:pt x="976" y="109"/>
                  </a:lnTo>
                  <a:lnTo>
                    <a:pt x="976" y="111"/>
                  </a:lnTo>
                  <a:lnTo>
                    <a:pt x="974" y="111"/>
                  </a:lnTo>
                  <a:lnTo>
                    <a:pt x="974" y="113"/>
                  </a:lnTo>
                  <a:lnTo>
                    <a:pt x="976" y="113"/>
                  </a:lnTo>
                  <a:lnTo>
                    <a:pt x="976" y="114"/>
                  </a:lnTo>
                  <a:lnTo>
                    <a:pt x="976" y="116"/>
                  </a:lnTo>
                  <a:lnTo>
                    <a:pt x="974" y="116"/>
                  </a:lnTo>
                  <a:lnTo>
                    <a:pt x="974" y="118"/>
                  </a:lnTo>
                  <a:lnTo>
                    <a:pt x="974" y="119"/>
                  </a:lnTo>
                  <a:lnTo>
                    <a:pt x="976" y="119"/>
                  </a:lnTo>
                  <a:lnTo>
                    <a:pt x="976" y="121"/>
                  </a:lnTo>
                  <a:lnTo>
                    <a:pt x="978" y="121"/>
                  </a:lnTo>
                  <a:lnTo>
                    <a:pt x="979" y="121"/>
                  </a:lnTo>
                  <a:lnTo>
                    <a:pt x="981" y="121"/>
                  </a:lnTo>
                  <a:lnTo>
                    <a:pt x="981" y="122"/>
                  </a:lnTo>
                  <a:lnTo>
                    <a:pt x="983" y="122"/>
                  </a:lnTo>
                  <a:lnTo>
                    <a:pt x="984" y="122"/>
                  </a:lnTo>
                  <a:lnTo>
                    <a:pt x="986" y="122"/>
                  </a:lnTo>
                  <a:lnTo>
                    <a:pt x="988" y="122"/>
                  </a:lnTo>
                  <a:lnTo>
                    <a:pt x="986" y="122"/>
                  </a:lnTo>
                  <a:lnTo>
                    <a:pt x="988" y="122"/>
                  </a:lnTo>
                  <a:lnTo>
                    <a:pt x="988" y="124"/>
                  </a:lnTo>
                  <a:lnTo>
                    <a:pt x="986" y="126"/>
                  </a:lnTo>
                  <a:lnTo>
                    <a:pt x="988" y="126"/>
                  </a:lnTo>
                  <a:lnTo>
                    <a:pt x="986" y="127"/>
                  </a:lnTo>
                  <a:lnTo>
                    <a:pt x="984" y="127"/>
                  </a:lnTo>
                  <a:lnTo>
                    <a:pt x="984" y="129"/>
                  </a:lnTo>
                  <a:lnTo>
                    <a:pt x="984" y="131"/>
                  </a:lnTo>
                  <a:lnTo>
                    <a:pt x="984" y="132"/>
                  </a:lnTo>
                  <a:lnTo>
                    <a:pt x="984" y="134"/>
                  </a:lnTo>
                  <a:lnTo>
                    <a:pt x="983" y="134"/>
                  </a:lnTo>
                  <a:lnTo>
                    <a:pt x="983" y="135"/>
                  </a:lnTo>
                  <a:lnTo>
                    <a:pt x="983" y="137"/>
                  </a:lnTo>
                  <a:lnTo>
                    <a:pt x="983" y="139"/>
                  </a:lnTo>
                  <a:lnTo>
                    <a:pt x="986" y="140"/>
                  </a:lnTo>
                  <a:lnTo>
                    <a:pt x="991" y="140"/>
                  </a:lnTo>
                  <a:lnTo>
                    <a:pt x="992" y="139"/>
                  </a:lnTo>
                  <a:lnTo>
                    <a:pt x="996" y="134"/>
                  </a:lnTo>
                  <a:lnTo>
                    <a:pt x="997" y="134"/>
                  </a:lnTo>
                  <a:lnTo>
                    <a:pt x="999" y="134"/>
                  </a:lnTo>
                  <a:lnTo>
                    <a:pt x="1001" y="134"/>
                  </a:lnTo>
                  <a:lnTo>
                    <a:pt x="1002" y="134"/>
                  </a:lnTo>
                  <a:lnTo>
                    <a:pt x="1005" y="134"/>
                  </a:lnTo>
                  <a:lnTo>
                    <a:pt x="1007" y="134"/>
                  </a:lnTo>
                  <a:lnTo>
                    <a:pt x="1009" y="132"/>
                  </a:lnTo>
                  <a:lnTo>
                    <a:pt x="1014" y="132"/>
                  </a:lnTo>
                  <a:lnTo>
                    <a:pt x="1015" y="129"/>
                  </a:lnTo>
                  <a:lnTo>
                    <a:pt x="1020" y="129"/>
                  </a:lnTo>
                  <a:lnTo>
                    <a:pt x="1023" y="135"/>
                  </a:lnTo>
                  <a:lnTo>
                    <a:pt x="1025" y="137"/>
                  </a:lnTo>
                  <a:lnTo>
                    <a:pt x="1027" y="137"/>
                  </a:lnTo>
                  <a:lnTo>
                    <a:pt x="1028" y="135"/>
                  </a:lnTo>
                  <a:lnTo>
                    <a:pt x="1030" y="135"/>
                  </a:lnTo>
                  <a:lnTo>
                    <a:pt x="1031" y="135"/>
                  </a:lnTo>
                  <a:lnTo>
                    <a:pt x="1033" y="135"/>
                  </a:lnTo>
                  <a:lnTo>
                    <a:pt x="1033" y="134"/>
                  </a:lnTo>
                  <a:lnTo>
                    <a:pt x="1035" y="134"/>
                  </a:lnTo>
                  <a:lnTo>
                    <a:pt x="1036" y="134"/>
                  </a:lnTo>
                  <a:lnTo>
                    <a:pt x="1038" y="134"/>
                  </a:lnTo>
                  <a:lnTo>
                    <a:pt x="1038" y="132"/>
                  </a:lnTo>
                  <a:lnTo>
                    <a:pt x="1038" y="131"/>
                  </a:lnTo>
                  <a:lnTo>
                    <a:pt x="1040" y="129"/>
                  </a:lnTo>
                  <a:lnTo>
                    <a:pt x="1041" y="129"/>
                  </a:lnTo>
                  <a:lnTo>
                    <a:pt x="1043" y="129"/>
                  </a:lnTo>
                  <a:lnTo>
                    <a:pt x="1043" y="127"/>
                  </a:lnTo>
                  <a:lnTo>
                    <a:pt x="1044" y="126"/>
                  </a:lnTo>
                  <a:lnTo>
                    <a:pt x="1044" y="124"/>
                  </a:lnTo>
                  <a:lnTo>
                    <a:pt x="1046" y="124"/>
                  </a:lnTo>
                  <a:lnTo>
                    <a:pt x="1044" y="122"/>
                  </a:lnTo>
                  <a:lnTo>
                    <a:pt x="1046" y="121"/>
                  </a:lnTo>
                  <a:lnTo>
                    <a:pt x="1048" y="121"/>
                  </a:lnTo>
                  <a:lnTo>
                    <a:pt x="1049" y="121"/>
                  </a:lnTo>
                  <a:lnTo>
                    <a:pt x="1051" y="121"/>
                  </a:lnTo>
                  <a:lnTo>
                    <a:pt x="1053" y="121"/>
                  </a:lnTo>
                  <a:lnTo>
                    <a:pt x="1054" y="122"/>
                  </a:lnTo>
                  <a:lnTo>
                    <a:pt x="1054" y="121"/>
                  </a:lnTo>
                  <a:lnTo>
                    <a:pt x="1054" y="119"/>
                  </a:lnTo>
                  <a:lnTo>
                    <a:pt x="1056" y="118"/>
                  </a:lnTo>
                  <a:lnTo>
                    <a:pt x="1057" y="118"/>
                  </a:lnTo>
                  <a:lnTo>
                    <a:pt x="1059" y="116"/>
                  </a:lnTo>
                  <a:lnTo>
                    <a:pt x="1061" y="118"/>
                  </a:lnTo>
                  <a:lnTo>
                    <a:pt x="1062" y="118"/>
                  </a:lnTo>
                  <a:lnTo>
                    <a:pt x="1061" y="118"/>
                  </a:lnTo>
                  <a:lnTo>
                    <a:pt x="1061" y="119"/>
                  </a:lnTo>
                  <a:lnTo>
                    <a:pt x="1062" y="119"/>
                  </a:lnTo>
                  <a:lnTo>
                    <a:pt x="1062" y="121"/>
                  </a:lnTo>
                  <a:lnTo>
                    <a:pt x="1062" y="122"/>
                  </a:lnTo>
                  <a:lnTo>
                    <a:pt x="1064" y="126"/>
                  </a:lnTo>
                  <a:lnTo>
                    <a:pt x="1064" y="127"/>
                  </a:lnTo>
                  <a:lnTo>
                    <a:pt x="1066" y="129"/>
                  </a:lnTo>
                  <a:lnTo>
                    <a:pt x="1067" y="129"/>
                  </a:lnTo>
                  <a:lnTo>
                    <a:pt x="1069" y="131"/>
                  </a:lnTo>
                  <a:lnTo>
                    <a:pt x="1069" y="132"/>
                  </a:lnTo>
                  <a:lnTo>
                    <a:pt x="1069" y="134"/>
                  </a:lnTo>
                  <a:lnTo>
                    <a:pt x="1070" y="134"/>
                  </a:lnTo>
                  <a:lnTo>
                    <a:pt x="1069" y="135"/>
                  </a:lnTo>
                  <a:lnTo>
                    <a:pt x="1070" y="137"/>
                  </a:lnTo>
                  <a:lnTo>
                    <a:pt x="1074" y="139"/>
                  </a:lnTo>
                  <a:lnTo>
                    <a:pt x="1075" y="139"/>
                  </a:lnTo>
                  <a:lnTo>
                    <a:pt x="1077" y="139"/>
                  </a:lnTo>
                  <a:lnTo>
                    <a:pt x="1077" y="137"/>
                  </a:lnTo>
                  <a:lnTo>
                    <a:pt x="1077" y="135"/>
                  </a:lnTo>
                  <a:lnTo>
                    <a:pt x="1079" y="135"/>
                  </a:lnTo>
                  <a:lnTo>
                    <a:pt x="1080" y="135"/>
                  </a:lnTo>
                  <a:lnTo>
                    <a:pt x="1080" y="134"/>
                  </a:lnTo>
                  <a:lnTo>
                    <a:pt x="1082" y="132"/>
                  </a:lnTo>
                  <a:lnTo>
                    <a:pt x="1083" y="132"/>
                  </a:lnTo>
                  <a:lnTo>
                    <a:pt x="1085" y="132"/>
                  </a:lnTo>
                  <a:lnTo>
                    <a:pt x="1087" y="132"/>
                  </a:lnTo>
                  <a:lnTo>
                    <a:pt x="1088" y="132"/>
                  </a:lnTo>
                  <a:lnTo>
                    <a:pt x="1090" y="132"/>
                  </a:lnTo>
                  <a:lnTo>
                    <a:pt x="1092" y="132"/>
                  </a:lnTo>
                  <a:lnTo>
                    <a:pt x="1092" y="134"/>
                  </a:lnTo>
                  <a:lnTo>
                    <a:pt x="1093" y="137"/>
                  </a:lnTo>
                  <a:lnTo>
                    <a:pt x="1092" y="137"/>
                  </a:lnTo>
                  <a:lnTo>
                    <a:pt x="1092" y="139"/>
                  </a:lnTo>
                  <a:lnTo>
                    <a:pt x="1090" y="139"/>
                  </a:lnTo>
                  <a:lnTo>
                    <a:pt x="1088" y="140"/>
                  </a:lnTo>
                  <a:lnTo>
                    <a:pt x="1087" y="140"/>
                  </a:lnTo>
                  <a:lnTo>
                    <a:pt x="1088" y="144"/>
                  </a:lnTo>
                  <a:lnTo>
                    <a:pt x="1090" y="144"/>
                  </a:lnTo>
                  <a:lnTo>
                    <a:pt x="1092" y="145"/>
                  </a:lnTo>
                  <a:lnTo>
                    <a:pt x="1090" y="147"/>
                  </a:lnTo>
                  <a:lnTo>
                    <a:pt x="1090" y="148"/>
                  </a:lnTo>
                  <a:lnTo>
                    <a:pt x="1092" y="148"/>
                  </a:lnTo>
                  <a:lnTo>
                    <a:pt x="1092" y="150"/>
                  </a:lnTo>
                  <a:lnTo>
                    <a:pt x="1093" y="150"/>
                  </a:lnTo>
                  <a:lnTo>
                    <a:pt x="1095" y="150"/>
                  </a:lnTo>
                  <a:lnTo>
                    <a:pt x="1095" y="152"/>
                  </a:lnTo>
                  <a:lnTo>
                    <a:pt x="1096" y="150"/>
                  </a:lnTo>
                  <a:lnTo>
                    <a:pt x="1098" y="152"/>
                  </a:lnTo>
                  <a:lnTo>
                    <a:pt x="1098" y="153"/>
                  </a:lnTo>
                  <a:lnTo>
                    <a:pt x="1096" y="155"/>
                  </a:lnTo>
                  <a:lnTo>
                    <a:pt x="1098" y="157"/>
                  </a:lnTo>
                  <a:lnTo>
                    <a:pt x="1098" y="158"/>
                  </a:lnTo>
                  <a:lnTo>
                    <a:pt x="1100" y="158"/>
                  </a:lnTo>
                  <a:lnTo>
                    <a:pt x="1101" y="158"/>
                  </a:lnTo>
                  <a:lnTo>
                    <a:pt x="1101" y="160"/>
                  </a:lnTo>
                  <a:lnTo>
                    <a:pt x="1103" y="161"/>
                  </a:lnTo>
                  <a:lnTo>
                    <a:pt x="1103" y="163"/>
                  </a:lnTo>
                  <a:lnTo>
                    <a:pt x="1105" y="163"/>
                  </a:lnTo>
                  <a:lnTo>
                    <a:pt x="1105" y="165"/>
                  </a:lnTo>
                  <a:lnTo>
                    <a:pt x="1103" y="166"/>
                  </a:lnTo>
                  <a:lnTo>
                    <a:pt x="1105" y="166"/>
                  </a:lnTo>
                  <a:lnTo>
                    <a:pt x="1108" y="168"/>
                  </a:lnTo>
                  <a:lnTo>
                    <a:pt x="1109" y="168"/>
                  </a:lnTo>
                  <a:lnTo>
                    <a:pt x="1111" y="166"/>
                  </a:lnTo>
                  <a:lnTo>
                    <a:pt x="1111" y="168"/>
                  </a:lnTo>
                  <a:lnTo>
                    <a:pt x="1113" y="168"/>
                  </a:lnTo>
                  <a:lnTo>
                    <a:pt x="1113" y="171"/>
                  </a:lnTo>
                  <a:lnTo>
                    <a:pt x="1111" y="171"/>
                  </a:lnTo>
                  <a:lnTo>
                    <a:pt x="1111" y="173"/>
                  </a:lnTo>
                  <a:lnTo>
                    <a:pt x="1111" y="174"/>
                  </a:lnTo>
                  <a:lnTo>
                    <a:pt x="1113" y="176"/>
                  </a:lnTo>
                  <a:lnTo>
                    <a:pt x="1113" y="178"/>
                  </a:lnTo>
                  <a:lnTo>
                    <a:pt x="1114" y="178"/>
                  </a:lnTo>
                  <a:lnTo>
                    <a:pt x="1114" y="179"/>
                  </a:lnTo>
                  <a:lnTo>
                    <a:pt x="1114" y="181"/>
                  </a:lnTo>
                  <a:lnTo>
                    <a:pt x="1116" y="181"/>
                  </a:lnTo>
                  <a:lnTo>
                    <a:pt x="1118" y="181"/>
                  </a:lnTo>
                  <a:lnTo>
                    <a:pt x="1118" y="183"/>
                  </a:lnTo>
                  <a:lnTo>
                    <a:pt x="1118" y="184"/>
                  </a:lnTo>
                  <a:lnTo>
                    <a:pt x="1116" y="184"/>
                  </a:lnTo>
                  <a:lnTo>
                    <a:pt x="1114" y="184"/>
                  </a:lnTo>
                  <a:lnTo>
                    <a:pt x="1113" y="186"/>
                  </a:lnTo>
                  <a:lnTo>
                    <a:pt x="1111" y="186"/>
                  </a:lnTo>
                  <a:lnTo>
                    <a:pt x="1111" y="187"/>
                  </a:lnTo>
                  <a:lnTo>
                    <a:pt x="1111" y="189"/>
                  </a:lnTo>
                  <a:lnTo>
                    <a:pt x="1113" y="191"/>
                  </a:lnTo>
                  <a:lnTo>
                    <a:pt x="1113" y="192"/>
                  </a:lnTo>
                  <a:lnTo>
                    <a:pt x="1114" y="192"/>
                  </a:lnTo>
                  <a:lnTo>
                    <a:pt x="1114" y="194"/>
                  </a:lnTo>
                  <a:lnTo>
                    <a:pt x="1114" y="196"/>
                  </a:lnTo>
                  <a:lnTo>
                    <a:pt x="1113" y="197"/>
                  </a:lnTo>
                  <a:lnTo>
                    <a:pt x="1114" y="197"/>
                  </a:lnTo>
                  <a:lnTo>
                    <a:pt x="1116" y="197"/>
                  </a:lnTo>
                  <a:lnTo>
                    <a:pt x="1118" y="199"/>
                  </a:lnTo>
                  <a:lnTo>
                    <a:pt x="1119" y="200"/>
                  </a:lnTo>
                  <a:lnTo>
                    <a:pt x="1119" y="202"/>
                  </a:lnTo>
                  <a:lnTo>
                    <a:pt x="1121" y="202"/>
                  </a:lnTo>
                  <a:lnTo>
                    <a:pt x="1121" y="204"/>
                  </a:lnTo>
                  <a:lnTo>
                    <a:pt x="1122" y="204"/>
                  </a:lnTo>
                  <a:lnTo>
                    <a:pt x="1124" y="205"/>
                  </a:lnTo>
                  <a:lnTo>
                    <a:pt x="1126" y="207"/>
                  </a:lnTo>
                  <a:lnTo>
                    <a:pt x="1127" y="207"/>
                  </a:lnTo>
                  <a:lnTo>
                    <a:pt x="1129" y="209"/>
                  </a:lnTo>
                  <a:lnTo>
                    <a:pt x="1132" y="209"/>
                  </a:lnTo>
                  <a:lnTo>
                    <a:pt x="1134" y="209"/>
                  </a:lnTo>
                  <a:lnTo>
                    <a:pt x="1134" y="207"/>
                  </a:lnTo>
                  <a:lnTo>
                    <a:pt x="1136" y="209"/>
                  </a:lnTo>
                  <a:lnTo>
                    <a:pt x="1137" y="210"/>
                  </a:lnTo>
                  <a:lnTo>
                    <a:pt x="1139" y="217"/>
                  </a:lnTo>
                  <a:lnTo>
                    <a:pt x="1140" y="218"/>
                  </a:lnTo>
                  <a:lnTo>
                    <a:pt x="1142" y="220"/>
                  </a:lnTo>
                  <a:lnTo>
                    <a:pt x="1144" y="220"/>
                  </a:lnTo>
                  <a:lnTo>
                    <a:pt x="1147" y="220"/>
                  </a:lnTo>
                  <a:lnTo>
                    <a:pt x="1149" y="220"/>
                  </a:lnTo>
                  <a:lnTo>
                    <a:pt x="1149" y="218"/>
                  </a:lnTo>
                  <a:lnTo>
                    <a:pt x="1153" y="217"/>
                  </a:lnTo>
                  <a:lnTo>
                    <a:pt x="1155" y="214"/>
                  </a:lnTo>
                  <a:lnTo>
                    <a:pt x="1157" y="210"/>
                  </a:lnTo>
                  <a:lnTo>
                    <a:pt x="1157" y="209"/>
                  </a:lnTo>
                  <a:lnTo>
                    <a:pt x="1157" y="207"/>
                  </a:lnTo>
                  <a:lnTo>
                    <a:pt x="1157" y="205"/>
                  </a:lnTo>
                  <a:lnTo>
                    <a:pt x="1158" y="204"/>
                  </a:lnTo>
                  <a:lnTo>
                    <a:pt x="1160" y="204"/>
                  </a:lnTo>
                  <a:lnTo>
                    <a:pt x="1162" y="204"/>
                  </a:lnTo>
                  <a:lnTo>
                    <a:pt x="1163" y="200"/>
                  </a:lnTo>
                  <a:lnTo>
                    <a:pt x="1165" y="200"/>
                  </a:lnTo>
                  <a:lnTo>
                    <a:pt x="1166" y="200"/>
                  </a:lnTo>
                  <a:lnTo>
                    <a:pt x="1168" y="199"/>
                  </a:lnTo>
                  <a:lnTo>
                    <a:pt x="1170" y="199"/>
                  </a:lnTo>
                  <a:lnTo>
                    <a:pt x="1170" y="197"/>
                  </a:lnTo>
                  <a:lnTo>
                    <a:pt x="1171" y="197"/>
                  </a:lnTo>
                  <a:lnTo>
                    <a:pt x="1173" y="196"/>
                  </a:lnTo>
                  <a:lnTo>
                    <a:pt x="1175" y="194"/>
                  </a:lnTo>
                  <a:lnTo>
                    <a:pt x="1176" y="194"/>
                  </a:lnTo>
                  <a:lnTo>
                    <a:pt x="1178" y="194"/>
                  </a:lnTo>
                  <a:lnTo>
                    <a:pt x="1179" y="192"/>
                  </a:lnTo>
                  <a:lnTo>
                    <a:pt x="1179" y="194"/>
                  </a:lnTo>
                  <a:lnTo>
                    <a:pt x="1183" y="194"/>
                  </a:lnTo>
                  <a:lnTo>
                    <a:pt x="1184" y="192"/>
                  </a:lnTo>
                  <a:lnTo>
                    <a:pt x="1186" y="192"/>
                  </a:lnTo>
                  <a:lnTo>
                    <a:pt x="1188" y="196"/>
                  </a:lnTo>
                  <a:lnTo>
                    <a:pt x="1189" y="197"/>
                  </a:lnTo>
                  <a:lnTo>
                    <a:pt x="1189" y="196"/>
                  </a:lnTo>
                  <a:lnTo>
                    <a:pt x="1191" y="196"/>
                  </a:lnTo>
                  <a:lnTo>
                    <a:pt x="1192" y="197"/>
                  </a:lnTo>
                  <a:lnTo>
                    <a:pt x="1194" y="199"/>
                  </a:lnTo>
                  <a:lnTo>
                    <a:pt x="1196" y="199"/>
                  </a:lnTo>
                  <a:lnTo>
                    <a:pt x="1197" y="199"/>
                  </a:lnTo>
                  <a:lnTo>
                    <a:pt x="1197" y="200"/>
                  </a:lnTo>
                  <a:lnTo>
                    <a:pt x="1199" y="200"/>
                  </a:lnTo>
                  <a:lnTo>
                    <a:pt x="1201" y="200"/>
                  </a:lnTo>
                  <a:lnTo>
                    <a:pt x="1202" y="200"/>
                  </a:lnTo>
                  <a:lnTo>
                    <a:pt x="1201" y="204"/>
                  </a:lnTo>
                  <a:lnTo>
                    <a:pt x="1202" y="204"/>
                  </a:lnTo>
                  <a:lnTo>
                    <a:pt x="1202" y="205"/>
                  </a:lnTo>
                  <a:lnTo>
                    <a:pt x="1204" y="205"/>
                  </a:lnTo>
                  <a:lnTo>
                    <a:pt x="1205" y="207"/>
                  </a:lnTo>
                  <a:lnTo>
                    <a:pt x="1207" y="207"/>
                  </a:lnTo>
                  <a:lnTo>
                    <a:pt x="1209" y="207"/>
                  </a:lnTo>
                  <a:lnTo>
                    <a:pt x="1210" y="205"/>
                  </a:lnTo>
                  <a:lnTo>
                    <a:pt x="1212" y="204"/>
                  </a:lnTo>
                  <a:lnTo>
                    <a:pt x="1214" y="202"/>
                  </a:lnTo>
                  <a:lnTo>
                    <a:pt x="1214" y="199"/>
                  </a:lnTo>
                  <a:lnTo>
                    <a:pt x="1214" y="197"/>
                  </a:lnTo>
                  <a:lnTo>
                    <a:pt x="1215" y="199"/>
                  </a:lnTo>
                  <a:lnTo>
                    <a:pt x="1217" y="200"/>
                  </a:lnTo>
                  <a:lnTo>
                    <a:pt x="1218" y="199"/>
                  </a:lnTo>
                  <a:lnTo>
                    <a:pt x="1220" y="199"/>
                  </a:lnTo>
                  <a:lnTo>
                    <a:pt x="1222" y="199"/>
                  </a:lnTo>
                  <a:lnTo>
                    <a:pt x="1222" y="200"/>
                  </a:lnTo>
                  <a:lnTo>
                    <a:pt x="1223" y="200"/>
                  </a:lnTo>
                  <a:lnTo>
                    <a:pt x="1225" y="200"/>
                  </a:lnTo>
                  <a:lnTo>
                    <a:pt x="1227" y="200"/>
                  </a:lnTo>
                  <a:lnTo>
                    <a:pt x="1228" y="199"/>
                  </a:lnTo>
                  <a:lnTo>
                    <a:pt x="1230" y="199"/>
                  </a:lnTo>
                  <a:lnTo>
                    <a:pt x="1230" y="200"/>
                  </a:lnTo>
                  <a:lnTo>
                    <a:pt x="1228" y="200"/>
                  </a:lnTo>
                  <a:lnTo>
                    <a:pt x="1230" y="200"/>
                  </a:lnTo>
                  <a:lnTo>
                    <a:pt x="1230" y="202"/>
                  </a:lnTo>
                  <a:lnTo>
                    <a:pt x="1230" y="204"/>
                  </a:lnTo>
                  <a:lnTo>
                    <a:pt x="1230" y="205"/>
                  </a:lnTo>
                  <a:lnTo>
                    <a:pt x="1235" y="205"/>
                  </a:lnTo>
                  <a:lnTo>
                    <a:pt x="1236" y="205"/>
                  </a:lnTo>
                  <a:lnTo>
                    <a:pt x="1238" y="205"/>
                  </a:lnTo>
                  <a:lnTo>
                    <a:pt x="1240" y="205"/>
                  </a:lnTo>
                  <a:lnTo>
                    <a:pt x="1240" y="202"/>
                  </a:lnTo>
                  <a:lnTo>
                    <a:pt x="1240" y="200"/>
                  </a:lnTo>
                  <a:lnTo>
                    <a:pt x="1240" y="199"/>
                  </a:lnTo>
                  <a:lnTo>
                    <a:pt x="1240" y="197"/>
                  </a:lnTo>
                  <a:lnTo>
                    <a:pt x="1241" y="197"/>
                  </a:lnTo>
                  <a:lnTo>
                    <a:pt x="1241" y="196"/>
                  </a:lnTo>
                  <a:lnTo>
                    <a:pt x="1243" y="196"/>
                  </a:lnTo>
                  <a:lnTo>
                    <a:pt x="1243" y="194"/>
                  </a:lnTo>
                  <a:lnTo>
                    <a:pt x="1243" y="192"/>
                  </a:lnTo>
                  <a:lnTo>
                    <a:pt x="1244" y="192"/>
                  </a:lnTo>
                  <a:lnTo>
                    <a:pt x="1244" y="191"/>
                  </a:lnTo>
                  <a:lnTo>
                    <a:pt x="1246" y="189"/>
                  </a:lnTo>
                  <a:lnTo>
                    <a:pt x="1249" y="186"/>
                  </a:lnTo>
                  <a:lnTo>
                    <a:pt x="1251" y="184"/>
                  </a:lnTo>
                  <a:lnTo>
                    <a:pt x="1251" y="183"/>
                  </a:lnTo>
                  <a:lnTo>
                    <a:pt x="1253" y="183"/>
                  </a:lnTo>
                  <a:lnTo>
                    <a:pt x="1254" y="179"/>
                  </a:lnTo>
                  <a:lnTo>
                    <a:pt x="1256" y="179"/>
                  </a:lnTo>
                  <a:lnTo>
                    <a:pt x="1264" y="176"/>
                  </a:lnTo>
                  <a:lnTo>
                    <a:pt x="1266" y="176"/>
                  </a:lnTo>
                  <a:lnTo>
                    <a:pt x="1267" y="174"/>
                  </a:lnTo>
                  <a:lnTo>
                    <a:pt x="1270" y="173"/>
                  </a:lnTo>
                  <a:lnTo>
                    <a:pt x="1270" y="171"/>
                  </a:lnTo>
                  <a:lnTo>
                    <a:pt x="1272" y="171"/>
                  </a:lnTo>
                  <a:lnTo>
                    <a:pt x="1274" y="171"/>
                  </a:lnTo>
                  <a:lnTo>
                    <a:pt x="1275" y="168"/>
                  </a:lnTo>
                  <a:lnTo>
                    <a:pt x="1282" y="161"/>
                  </a:lnTo>
                  <a:lnTo>
                    <a:pt x="1284" y="160"/>
                  </a:lnTo>
                  <a:lnTo>
                    <a:pt x="1284" y="158"/>
                  </a:lnTo>
                  <a:lnTo>
                    <a:pt x="1284" y="157"/>
                  </a:lnTo>
                  <a:lnTo>
                    <a:pt x="1284" y="155"/>
                  </a:lnTo>
                  <a:lnTo>
                    <a:pt x="1285" y="155"/>
                  </a:lnTo>
                  <a:lnTo>
                    <a:pt x="1285" y="153"/>
                  </a:lnTo>
                  <a:lnTo>
                    <a:pt x="1290" y="152"/>
                  </a:lnTo>
                  <a:lnTo>
                    <a:pt x="1293" y="152"/>
                  </a:lnTo>
                  <a:lnTo>
                    <a:pt x="1293" y="150"/>
                  </a:lnTo>
                  <a:lnTo>
                    <a:pt x="1297" y="147"/>
                  </a:lnTo>
                  <a:lnTo>
                    <a:pt x="1297" y="145"/>
                  </a:lnTo>
                  <a:lnTo>
                    <a:pt x="1298" y="147"/>
                  </a:lnTo>
                  <a:lnTo>
                    <a:pt x="1298" y="148"/>
                  </a:lnTo>
                  <a:lnTo>
                    <a:pt x="1297" y="150"/>
                  </a:lnTo>
                  <a:lnTo>
                    <a:pt x="1300" y="157"/>
                  </a:lnTo>
                  <a:lnTo>
                    <a:pt x="1301" y="158"/>
                  </a:lnTo>
                  <a:lnTo>
                    <a:pt x="1301" y="160"/>
                  </a:lnTo>
                  <a:lnTo>
                    <a:pt x="1305" y="160"/>
                  </a:lnTo>
                  <a:lnTo>
                    <a:pt x="1306" y="161"/>
                  </a:lnTo>
                  <a:lnTo>
                    <a:pt x="1310" y="161"/>
                  </a:lnTo>
                  <a:lnTo>
                    <a:pt x="1313" y="163"/>
                  </a:lnTo>
                  <a:lnTo>
                    <a:pt x="1313" y="161"/>
                  </a:lnTo>
                  <a:lnTo>
                    <a:pt x="1316" y="160"/>
                  </a:lnTo>
                  <a:lnTo>
                    <a:pt x="1318" y="160"/>
                  </a:lnTo>
                  <a:lnTo>
                    <a:pt x="1318" y="161"/>
                  </a:lnTo>
                  <a:lnTo>
                    <a:pt x="1318" y="163"/>
                  </a:lnTo>
                  <a:lnTo>
                    <a:pt x="1318" y="165"/>
                  </a:lnTo>
                  <a:lnTo>
                    <a:pt x="1319" y="168"/>
                  </a:lnTo>
                  <a:lnTo>
                    <a:pt x="1319" y="170"/>
                  </a:lnTo>
                  <a:lnTo>
                    <a:pt x="1319" y="171"/>
                  </a:lnTo>
                  <a:lnTo>
                    <a:pt x="1321" y="174"/>
                  </a:lnTo>
                  <a:lnTo>
                    <a:pt x="1323" y="174"/>
                  </a:lnTo>
                  <a:lnTo>
                    <a:pt x="1323" y="176"/>
                  </a:lnTo>
                  <a:lnTo>
                    <a:pt x="1324" y="178"/>
                  </a:lnTo>
                  <a:lnTo>
                    <a:pt x="1329" y="181"/>
                  </a:lnTo>
                  <a:lnTo>
                    <a:pt x="1331" y="181"/>
                  </a:lnTo>
                  <a:lnTo>
                    <a:pt x="1336" y="184"/>
                  </a:lnTo>
                  <a:lnTo>
                    <a:pt x="1337" y="186"/>
                  </a:lnTo>
                  <a:lnTo>
                    <a:pt x="1339" y="187"/>
                  </a:lnTo>
                  <a:lnTo>
                    <a:pt x="1340" y="187"/>
                  </a:lnTo>
                  <a:lnTo>
                    <a:pt x="1342" y="186"/>
                  </a:lnTo>
                  <a:lnTo>
                    <a:pt x="1345" y="186"/>
                  </a:lnTo>
                  <a:lnTo>
                    <a:pt x="1347" y="187"/>
                  </a:lnTo>
                  <a:lnTo>
                    <a:pt x="1350" y="187"/>
                  </a:lnTo>
                  <a:lnTo>
                    <a:pt x="1353" y="187"/>
                  </a:lnTo>
                  <a:lnTo>
                    <a:pt x="1357" y="187"/>
                  </a:lnTo>
                  <a:lnTo>
                    <a:pt x="1357" y="189"/>
                  </a:lnTo>
                  <a:lnTo>
                    <a:pt x="1358" y="189"/>
                  </a:lnTo>
                  <a:lnTo>
                    <a:pt x="1360" y="192"/>
                  </a:lnTo>
                  <a:lnTo>
                    <a:pt x="1362" y="192"/>
                  </a:lnTo>
                  <a:lnTo>
                    <a:pt x="1363" y="194"/>
                  </a:lnTo>
                  <a:lnTo>
                    <a:pt x="1365" y="194"/>
                  </a:lnTo>
                  <a:lnTo>
                    <a:pt x="1365" y="192"/>
                  </a:lnTo>
                  <a:lnTo>
                    <a:pt x="1366" y="194"/>
                  </a:lnTo>
                  <a:lnTo>
                    <a:pt x="1371" y="197"/>
                  </a:lnTo>
                  <a:lnTo>
                    <a:pt x="1371" y="199"/>
                  </a:lnTo>
                  <a:lnTo>
                    <a:pt x="1371" y="200"/>
                  </a:lnTo>
                  <a:lnTo>
                    <a:pt x="1373" y="202"/>
                  </a:lnTo>
                  <a:lnTo>
                    <a:pt x="1373" y="200"/>
                  </a:lnTo>
                  <a:lnTo>
                    <a:pt x="1373" y="199"/>
                  </a:lnTo>
                  <a:lnTo>
                    <a:pt x="1378" y="194"/>
                  </a:lnTo>
                  <a:lnTo>
                    <a:pt x="1379" y="194"/>
                  </a:lnTo>
                  <a:lnTo>
                    <a:pt x="1379" y="196"/>
                  </a:lnTo>
                  <a:lnTo>
                    <a:pt x="1383" y="192"/>
                  </a:lnTo>
                  <a:lnTo>
                    <a:pt x="1384" y="191"/>
                  </a:lnTo>
                  <a:lnTo>
                    <a:pt x="1383" y="189"/>
                  </a:lnTo>
                  <a:lnTo>
                    <a:pt x="1384" y="187"/>
                  </a:lnTo>
                  <a:lnTo>
                    <a:pt x="1384" y="186"/>
                  </a:lnTo>
                  <a:lnTo>
                    <a:pt x="1384" y="184"/>
                  </a:lnTo>
                  <a:lnTo>
                    <a:pt x="1379" y="179"/>
                  </a:lnTo>
                  <a:lnTo>
                    <a:pt x="1378" y="178"/>
                  </a:lnTo>
                  <a:lnTo>
                    <a:pt x="1378" y="176"/>
                  </a:lnTo>
                  <a:lnTo>
                    <a:pt x="1375" y="173"/>
                  </a:lnTo>
                  <a:lnTo>
                    <a:pt x="1383" y="171"/>
                  </a:lnTo>
                  <a:lnTo>
                    <a:pt x="1384" y="170"/>
                  </a:lnTo>
                  <a:lnTo>
                    <a:pt x="1384" y="168"/>
                  </a:lnTo>
                  <a:lnTo>
                    <a:pt x="1386" y="168"/>
                  </a:lnTo>
                  <a:lnTo>
                    <a:pt x="1386" y="166"/>
                  </a:lnTo>
                  <a:lnTo>
                    <a:pt x="1388" y="166"/>
                  </a:lnTo>
                  <a:lnTo>
                    <a:pt x="1389" y="170"/>
                  </a:lnTo>
                  <a:lnTo>
                    <a:pt x="1391" y="171"/>
                  </a:lnTo>
                  <a:lnTo>
                    <a:pt x="1391" y="173"/>
                  </a:lnTo>
                  <a:lnTo>
                    <a:pt x="1392" y="173"/>
                  </a:lnTo>
                  <a:lnTo>
                    <a:pt x="1392" y="174"/>
                  </a:lnTo>
                  <a:lnTo>
                    <a:pt x="1392" y="176"/>
                  </a:lnTo>
                  <a:lnTo>
                    <a:pt x="1394" y="176"/>
                  </a:lnTo>
                  <a:lnTo>
                    <a:pt x="1397" y="178"/>
                  </a:lnTo>
                  <a:lnTo>
                    <a:pt x="1401" y="178"/>
                  </a:lnTo>
                  <a:lnTo>
                    <a:pt x="1401" y="174"/>
                  </a:lnTo>
                  <a:lnTo>
                    <a:pt x="1402" y="174"/>
                  </a:lnTo>
                  <a:lnTo>
                    <a:pt x="1404" y="174"/>
                  </a:lnTo>
                  <a:lnTo>
                    <a:pt x="1404" y="176"/>
                  </a:lnTo>
                  <a:lnTo>
                    <a:pt x="1405" y="176"/>
                  </a:lnTo>
                  <a:lnTo>
                    <a:pt x="1407" y="176"/>
                  </a:lnTo>
                  <a:lnTo>
                    <a:pt x="1409" y="178"/>
                  </a:lnTo>
                  <a:lnTo>
                    <a:pt x="1412" y="176"/>
                  </a:lnTo>
                  <a:lnTo>
                    <a:pt x="1415" y="173"/>
                  </a:lnTo>
                  <a:lnTo>
                    <a:pt x="1417" y="171"/>
                  </a:lnTo>
                  <a:lnTo>
                    <a:pt x="1422" y="173"/>
                  </a:lnTo>
                  <a:lnTo>
                    <a:pt x="1422" y="170"/>
                  </a:lnTo>
                  <a:lnTo>
                    <a:pt x="1423" y="170"/>
                  </a:lnTo>
                  <a:lnTo>
                    <a:pt x="1422" y="168"/>
                  </a:lnTo>
                  <a:lnTo>
                    <a:pt x="1422" y="166"/>
                  </a:lnTo>
                  <a:lnTo>
                    <a:pt x="1422" y="165"/>
                  </a:lnTo>
                  <a:lnTo>
                    <a:pt x="1425" y="166"/>
                  </a:lnTo>
                  <a:lnTo>
                    <a:pt x="1425" y="168"/>
                  </a:lnTo>
                  <a:lnTo>
                    <a:pt x="1425" y="171"/>
                  </a:lnTo>
                  <a:lnTo>
                    <a:pt x="1427" y="174"/>
                  </a:lnTo>
                  <a:lnTo>
                    <a:pt x="1430" y="174"/>
                  </a:lnTo>
                  <a:lnTo>
                    <a:pt x="1432" y="176"/>
                  </a:lnTo>
                  <a:lnTo>
                    <a:pt x="1433" y="178"/>
                  </a:lnTo>
                  <a:lnTo>
                    <a:pt x="1435" y="176"/>
                  </a:lnTo>
                  <a:lnTo>
                    <a:pt x="1436" y="178"/>
                  </a:lnTo>
                  <a:lnTo>
                    <a:pt x="1438" y="178"/>
                  </a:lnTo>
                  <a:lnTo>
                    <a:pt x="1441" y="178"/>
                  </a:lnTo>
                  <a:lnTo>
                    <a:pt x="1443" y="178"/>
                  </a:lnTo>
                  <a:lnTo>
                    <a:pt x="1445" y="178"/>
                  </a:lnTo>
                  <a:lnTo>
                    <a:pt x="1446" y="178"/>
                  </a:lnTo>
                  <a:lnTo>
                    <a:pt x="1446" y="176"/>
                  </a:lnTo>
                  <a:lnTo>
                    <a:pt x="1448" y="176"/>
                  </a:lnTo>
                  <a:lnTo>
                    <a:pt x="1449" y="176"/>
                  </a:lnTo>
                  <a:lnTo>
                    <a:pt x="1449" y="178"/>
                  </a:lnTo>
                  <a:lnTo>
                    <a:pt x="1449" y="179"/>
                  </a:lnTo>
                  <a:lnTo>
                    <a:pt x="1449" y="178"/>
                  </a:lnTo>
                  <a:lnTo>
                    <a:pt x="1451" y="179"/>
                  </a:lnTo>
                  <a:lnTo>
                    <a:pt x="1451" y="181"/>
                  </a:lnTo>
                  <a:lnTo>
                    <a:pt x="1453" y="183"/>
                  </a:lnTo>
                  <a:lnTo>
                    <a:pt x="1453" y="184"/>
                  </a:lnTo>
                  <a:lnTo>
                    <a:pt x="1454" y="184"/>
                  </a:lnTo>
                  <a:lnTo>
                    <a:pt x="1456" y="184"/>
                  </a:lnTo>
                  <a:lnTo>
                    <a:pt x="1456" y="183"/>
                  </a:lnTo>
                  <a:lnTo>
                    <a:pt x="1458" y="181"/>
                  </a:lnTo>
                  <a:lnTo>
                    <a:pt x="1459" y="181"/>
                  </a:lnTo>
                  <a:lnTo>
                    <a:pt x="1461" y="178"/>
                  </a:lnTo>
                  <a:lnTo>
                    <a:pt x="1464" y="176"/>
                  </a:lnTo>
                  <a:lnTo>
                    <a:pt x="1467" y="173"/>
                  </a:lnTo>
                  <a:lnTo>
                    <a:pt x="1467" y="168"/>
                  </a:lnTo>
                  <a:lnTo>
                    <a:pt x="1471" y="163"/>
                  </a:lnTo>
                  <a:lnTo>
                    <a:pt x="1471" y="165"/>
                  </a:lnTo>
                  <a:lnTo>
                    <a:pt x="1472" y="165"/>
                  </a:lnTo>
                  <a:lnTo>
                    <a:pt x="1474" y="165"/>
                  </a:lnTo>
                  <a:lnTo>
                    <a:pt x="1475" y="168"/>
                  </a:lnTo>
                  <a:lnTo>
                    <a:pt x="1477" y="170"/>
                  </a:lnTo>
                  <a:lnTo>
                    <a:pt x="1479" y="173"/>
                  </a:lnTo>
                  <a:lnTo>
                    <a:pt x="1480" y="174"/>
                  </a:lnTo>
                  <a:lnTo>
                    <a:pt x="1482" y="174"/>
                  </a:lnTo>
                  <a:lnTo>
                    <a:pt x="1482" y="176"/>
                  </a:lnTo>
                  <a:lnTo>
                    <a:pt x="1484" y="176"/>
                  </a:lnTo>
                  <a:lnTo>
                    <a:pt x="1485" y="176"/>
                  </a:lnTo>
                  <a:lnTo>
                    <a:pt x="1487" y="178"/>
                  </a:lnTo>
                  <a:lnTo>
                    <a:pt x="1488" y="176"/>
                  </a:lnTo>
                  <a:lnTo>
                    <a:pt x="1495" y="176"/>
                  </a:lnTo>
                  <a:lnTo>
                    <a:pt x="1497" y="173"/>
                  </a:lnTo>
                  <a:lnTo>
                    <a:pt x="1498" y="171"/>
                  </a:lnTo>
                  <a:lnTo>
                    <a:pt x="1500" y="171"/>
                  </a:lnTo>
                  <a:lnTo>
                    <a:pt x="1501" y="170"/>
                  </a:lnTo>
                  <a:lnTo>
                    <a:pt x="1503" y="170"/>
                  </a:lnTo>
                  <a:lnTo>
                    <a:pt x="1508" y="170"/>
                  </a:lnTo>
                  <a:lnTo>
                    <a:pt x="1510" y="170"/>
                  </a:lnTo>
                  <a:lnTo>
                    <a:pt x="1514" y="168"/>
                  </a:lnTo>
                  <a:lnTo>
                    <a:pt x="1514" y="171"/>
                  </a:lnTo>
                  <a:lnTo>
                    <a:pt x="1518" y="174"/>
                  </a:lnTo>
                  <a:lnTo>
                    <a:pt x="1523" y="181"/>
                  </a:lnTo>
                  <a:lnTo>
                    <a:pt x="1526" y="183"/>
                  </a:lnTo>
                  <a:lnTo>
                    <a:pt x="1527" y="181"/>
                  </a:lnTo>
                  <a:lnTo>
                    <a:pt x="1529" y="183"/>
                  </a:lnTo>
                  <a:lnTo>
                    <a:pt x="1531" y="181"/>
                  </a:lnTo>
                  <a:lnTo>
                    <a:pt x="1534" y="181"/>
                  </a:lnTo>
                  <a:lnTo>
                    <a:pt x="1540" y="184"/>
                  </a:lnTo>
                  <a:lnTo>
                    <a:pt x="1542" y="184"/>
                  </a:lnTo>
                  <a:lnTo>
                    <a:pt x="1544" y="183"/>
                  </a:lnTo>
                  <a:lnTo>
                    <a:pt x="1545" y="183"/>
                  </a:lnTo>
                  <a:lnTo>
                    <a:pt x="1549" y="181"/>
                  </a:lnTo>
                  <a:lnTo>
                    <a:pt x="1552" y="178"/>
                  </a:lnTo>
                  <a:lnTo>
                    <a:pt x="1552" y="173"/>
                  </a:lnTo>
                  <a:lnTo>
                    <a:pt x="1560" y="168"/>
                  </a:lnTo>
                  <a:lnTo>
                    <a:pt x="1560" y="170"/>
                  </a:lnTo>
                  <a:lnTo>
                    <a:pt x="1566" y="165"/>
                  </a:lnTo>
                  <a:lnTo>
                    <a:pt x="1568" y="166"/>
                  </a:lnTo>
                  <a:lnTo>
                    <a:pt x="1571" y="170"/>
                  </a:lnTo>
                  <a:lnTo>
                    <a:pt x="1568" y="173"/>
                  </a:lnTo>
                  <a:lnTo>
                    <a:pt x="1565" y="179"/>
                  </a:lnTo>
                  <a:lnTo>
                    <a:pt x="1563" y="181"/>
                  </a:lnTo>
                  <a:lnTo>
                    <a:pt x="1563" y="183"/>
                  </a:lnTo>
                  <a:lnTo>
                    <a:pt x="1565" y="184"/>
                  </a:lnTo>
                  <a:lnTo>
                    <a:pt x="1565" y="186"/>
                  </a:lnTo>
                  <a:lnTo>
                    <a:pt x="1565" y="187"/>
                  </a:lnTo>
                  <a:lnTo>
                    <a:pt x="1566" y="189"/>
                  </a:lnTo>
                  <a:lnTo>
                    <a:pt x="1568" y="191"/>
                  </a:lnTo>
                  <a:lnTo>
                    <a:pt x="1570" y="191"/>
                  </a:lnTo>
                  <a:lnTo>
                    <a:pt x="1573" y="194"/>
                  </a:lnTo>
                  <a:lnTo>
                    <a:pt x="1576" y="196"/>
                  </a:lnTo>
                  <a:lnTo>
                    <a:pt x="1578" y="196"/>
                  </a:lnTo>
                  <a:lnTo>
                    <a:pt x="1580" y="196"/>
                  </a:lnTo>
                  <a:lnTo>
                    <a:pt x="1581" y="196"/>
                  </a:lnTo>
                  <a:lnTo>
                    <a:pt x="1583" y="196"/>
                  </a:lnTo>
                  <a:lnTo>
                    <a:pt x="1584" y="197"/>
                  </a:lnTo>
                  <a:lnTo>
                    <a:pt x="1586" y="199"/>
                  </a:lnTo>
                  <a:lnTo>
                    <a:pt x="1588" y="204"/>
                  </a:lnTo>
                  <a:lnTo>
                    <a:pt x="1588" y="205"/>
                  </a:lnTo>
                  <a:lnTo>
                    <a:pt x="1589" y="207"/>
                  </a:lnTo>
                  <a:lnTo>
                    <a:pt x="1593" y="209"/>
                  </a:lnTo>
                  <a:lnTo>
                    <a:pt x="1594" y="210"/>
                  </a:lnTo>
                  <a:lnTo>
                    <a:pt x="1593" y="212"/>
                  </a:lnTo>
                  <a:lnTo>
                    <a:pt x="1591" y="214"/>
                  </a:lnTo>
                  <a:lnTo>
                    <a:pt x="1588" y="215"/>
                  </a:lnTo>
                  <a:lnTo>
                    <a:pt x="1586" y="215"/>
                  </a:lnTo>
                  <a:lnTo>
                    <a:pt x="1586" y="217"/>
                  </a:lnTo>
                  <a:lnTo>
                    <a:pt x="1586" y="218"/>
                  </a:lnTo>
                  <a:lnTo>
                    <a:pt x="1586" y="222"/>
                  </a:lnTo>
                  <a:lnTo>
                    <a:pt x="1584" y="223"/>
                  </a:lnTo>
                  <a:lnTo>
                    <a:pt x="1581" y="227"/>
                  </a:lnTo>
                  <a:lnTo>
                    <a:pt x="1581" y="231"/>
                  </a:lnTo>
                  <a:lnTo>
                    <a:pt x="1580" y="236"/>
                  </a:lnTo>
                  <a:lnTo>
                    <a:pt x="1580" y="238"/>
                  </a:lnTo>
                  <a:lnTo>
                    <a:pt x="1580" y="243"/>
                  </a:lnTo>
                  <a:lnTo>
                    <a:pt x="1580" y="244"/>
                  </a:lnTo>
                  <a:lnTo>
                    <a:pt x="1581" y="246"/>
                  </a:lnTo>
                  <a:lnTo>
                    <a:pt x="1578" y="248"/>
                  </a:lnTo>
                  <a:lnTo>
                    <a:pt x="1575" y="248"/>
                  </a:lnTo>
                  <a:lnTo>
                    <a:pt x="1573" y="249"/>
                  </a:lnTo>
                  <a:lnTo>
                    <a:pt x="1570" y="251"/>
                  </a:lnTo>
                  <a:lnTo>
                    <a:pt x="1568" y="254"/>
                  </a:lnTo>
                  <a:lnTo>
                    <a:pt x="1566" y="254"/>
                  </a:lnTo>
                  <a:lnTo>
                    <a:pt x="1565" y="256"/>
                  </a:lnTo>
                  <a:lnTo>
                    <a:pt x="1560" y="256"/>
                  </a:lnTo>
                  <a:lnTo>
                    <a:pt x="1560" y="257"/>
                  </a:lnTo>
                  <a:lnTo>
                    <a:pt x="1560" y="259"/>
                  </a:lnTo>
                  <a:lnTo>
                    <a:pt x="1560" y="261"/>
                  </a:lnTo>
                  <a:lnTo>
                    <a:pt x="1560" y="262"/>
                  </a:lnTo>
                  <a:lnTo>
                    <a:pt x="1562" y="262"/>
                  </a:lnTo>
                  <a:lnTo>
                    <a:pt x="1562" y="264"/>
                  </a:lnTo>
                  <a:lnTo>
                    <a:pt x="1563" y="264"/>
                  </a:lnTo>
                  <a:lnTo>
                    <a:pt x="1563" y="262"/>
                  </a:lnTo>
                  <a:lnTo>
                    <a:pt x="1565" y="264"/>
                  </a:lnTo>
                  <a:lnTo>
                    <a:pt x="1566" y="264"/>
                  </a:lnTo>
                  <a:lnTo>
                    <a:pt x="1568" y="262"/>
                  </a:lnTo>
                  <a:lnTo>
                    <a:pt x="1568" y="264"/>
                  </a:lnTo>
                  <a:lnTo>
                    <a:pt x="1570" y="264"/>
                  </a:lnTo>
                  <a:lnTo>
                    <a:pt x="1570" y="266"/>
                  </a:lnTo>
                  <a:lnTo>
                    <a:pt x="1571" y="266"/>
                  </a:lnTo>
                  <a:lnTo>
                    <a:pt x="1573" y="266"/>
                  </a:lnTo>
                  <a:lnTo>
                    <a:pt x="1573" y="267"/>
                  </a:lnTo>
                  <a:lnTo>
                    <a:pt x="1575" y="267"/>
                  </a:lnTo>
                  <a:lnTo>
                    <a:pt x="1575" y="269"/>
                  </a:lnTo>
                  <a:lnTo>
                    <a:pt x="1575" y="270"/>
                  </a:lnTo>
                  <a:lnTo>
                    <a:pt x="1576" y="270"/>
                  </a:lnTo>
                  <a:lnTo>
                    <a:pt x="1576" y="272"/>
                  </a:lnTo>
                  <a:lnTo>
                    <a:pt x="1576" y="270"/>
                  </a:lnTo>
                  <a:lnTo>
                    <a:pt x="1578" y="272"/>
                  </a:lnTo>
                  <a:lnTo>
                    <a:pt x="1580" y="272"/>
                  </a:lnTo>
                  <a:lnTo>
                    <a:pt x="1581" y="274"/>
                  </a:lnTo>
                  <a:lnTo>
                    <a:pt x="1581" y="272"/>
                  </a:lnTo>
                  <a:lnTo>
                    <a:pt x="1581" y="270"/>
                  </a:lnTo>
                  <a:lnTo>
                    <a:pt x="1583" y="270"/>
                  </a:lnTo>
                  <a:lnTo>
                    <a:pt x="1584" y="270"/>
                  </a:lnTo>
                  <a:lnTo>
                    <a:pt x="1584" y="269"/>
                  </a:lnTo>
                  <a:lnTo>
                    <a:pt x="1586" y="267"/>
                  </a:lnTo>
                  <a:lnTo>
                    <a:pt x="1588" y="267"/>
                  </a:lnTo>
                  <a:lnTo>
                    <a:pt x="1589" y="269"/>
                  </a:lnTo>
                  <a:lnTo>
                    <a:pt x="1591" y="269"/>
                  </a:lnTo>
                  <a:lnTo>
                    <a:pt x="1591" y="270"/>
                  </a:lnTo>
                  <a:lnTo>
                    <a:pt x="1593" y="270"/>
                  </a:lnTo>
                  <a:lnTo>
                    <a:pt x="1594" y="269"/>
                  </a:lnTo>
                  <a:lnTo>
                    <a:pt x="1596" y="269"/>
                  </a:lnTo>
                  <a:lnTo>
                    <a:pt x="1596" y="264"/>
                  </a:lnTo>
                  <a:lnTo>
                    <a:pt x="1596" y="262"/>
                  </a:lnTo>
                  <a:lnTo>
                    <a:pt x="1599" y="262"/>
                  </a:lnTo>
                  <a:lnTo>
                    <a:pt x="1602" y="266"/>
                  </a:lnTo>
                  <a:lnTo>
                    <a:pt x="1602" y="267"/>
                  </a:lnTo>
                  <a:lnTo>
                    <a:pt x="1599" y="280"/>
                  </a:lnTo>
                  <a:lnTo>
                    <a:pt x="1597" y="280"/>
                  </a:lnTo>
                  <a:lnTo>
                    <a:pt x="1596" y="280"/>
                  </a:lnTo>
                  <a:lnTo>
                    <a:pt x="1589" y="280"/>
                  </a:lnTo>
                  <a:lnTo>
                    <a:pt x="1584" y="280"/>
                  </a:lnTo>
                  <a:lnTo>
                    <a:pt x="1583" y="280"/>
                  </a:lnTo>
                  <a:lnTo>
                    <a:pt x="1581" y="280"/>
                  </a:lnTo>
                  <a:lnTo>
                    <a:pt x="1581" y="282"/>
                  </a:lnTo>
                  <a:lnTo>
                    <a:pt x="1581" y="283"/>
                  </a:lnTo>
                  <a:lnTo>
                    <a:pt x="1581" y="285"/>
                  </a:lnTo>
                  <a:lnTo>
                    <a:pt x="1581" y="287"/>
                  </a:lnTo>
                  <a:lnTo>
                    <a:pt x="1583" y="288"/>
                  </a:lnTo>
                  <a:lnTo>
                    <a:pt x="1581" y="290"/>
                  </a:lnTo>
                  <a:lnTo>
                    <a:pt x="1581" y="292"/>
                  </a:lnTo>
                  <a:lnTo>
                    <a:pt x="1583" y="292"/>
                  </a:lnTo>
                  <a:lnTo>
                    <a:pt x="1581" y="292"/>
                  </a:lnTo>
                  <a:lnTo>
                    <a:pt x="1580" y="293"/>
                  </a:lnTo>
                  <a:lnTo>
                    <a:pt x="1581" y="296"/>
                  </a:lnTo>
                  <a:lnTo>
                    <a:pt x="1580" y="296"/>
                  </a:lnTo>
                  <a:lnTo>
                    <a:pt x="1581" y="298"/>
                  </a:lnTo>
                  <a:lnTo>
                    <a:pt x="1580" y="298"/>
                  </a:lnTo>
                  <a:lnTo>
                    <a:pt x="1580" y="300"/>
                  </a:lnTo>
                  <a:lnTo>
                    <a:pt x="1581" y="300"/>
                  </a:lnTo>
                  <a:lnTo>
                    <a:pt x="1581" y="301"/>
                  </a:lnTo>
                  <a:lnTo>
                    <a:pt x="1580" y="301"/>
                  </a:lnTo>
                  <a:lnTo>
                    <a:pt x="1581" y="303"/>
                  </a:lnTo>
                  <a:lnTo>
                    <a:pt x="1581" y="301"/>
                  </a:lnTo>
                  <a:lnTo>
                    <a:pt x="1583" y="303"/>
                  </a:lnTo>
                  <a:lnTo>
                    <a:pt x="1581" y="303"/>
                  </a:lnTo>
                  <a:lnTo>
                    <a:pt x="1583" y="303"/>
                  </a:lnTo>
                  <a:lnTo>
                    <a:pt x="1583" y="305"/>
                  </a:lnTo>
                  <a:lnTo>
                    <a:pt x="1583" y="306"/>
                  </a:lnTo>
                  <a:lnTo>
                    <a:pt x="1583" y="308"/>
                  </a:lnTo>
                  <a:lnTo>
                    <a:pt x="1583" y="306"/>
                  </a:lnTo>
                  <a:lnTo>
                    <a:pt x="1583" y="308"/>
                  </a:lnTo>
                  <a:lnTo>
                    <a:pt x="1584" y="308"/>
                  </a:lnTo>
                  <a:lnTo>
                    <a:pt x="1583" y="309"/>
                  </a:lnTo>
                  <a:lnTo>
                    <a:pt x="1583" y="308"/>
                  </a:lnTo>
                  <a:lnTo>
                    <a:pt x="1583" y="309"/>
                  </a:lnTo>
                  <a:lnTo>
                    <a:pt x="1583" y="311"/>
                  </a:lnTo>
                  <a:lnTo>
                    <a:pt x="1583" y="314"/>
                  </a:lnTo>
                  <a:lnTo>
                    <a:pt x="1581" y="314"/>
                  </a:lnTo>
                  <a:lnTo>
                    <a:pt x="1581" y="316"/>
                  </a:lnTo>
                  <a:lnTo>
                    <a:pt x="1583" y="316"/>
                  </a:lnTo>
                  <a:lnTo>
                    <a:pt x="1581" y="316"/>
                  </a:lnTo>
                  <a:lnTo>
                    <a:pt x="1583" y="316"/>
                  </a:lnTo>
                  <a:lnTo>
                    <a:pt x="1583" y="318"/>
                  </a:lnTo>
                  <a:lnTo>
                    <a:pt x="1584" y="318"/>
                  </a:lnTo>
                  <a:lnTo>
                    <a:pt x="1584" y="319"/>
                  </a:lnTo>
                  <a:lnTo>
                    <a:pt x="1584" y="318"/>
                  </a:lnTo>
                  <a:lnTo>
                    <a:pt x="1586" y="319"/>
                  </a:lnTo>
                  <a:lnTo>
                    <a:pt x="1588" y="318"/>
                  </a:lnTo>
                  <a:lnTo>
                    <a:pt x="1589" y="318"/>
                  </a:lnTo>
                  <a:lnTo>
                    <a:pt x="1591" y="316"/>
                  </a:lnTo>
                  <a:lnTo>
                    <a:pt x="1591" y="318"/>
                  </a:lnTo>
                  <a:lnTo>
                    <a:pt x="1593" y="316"/>
                  </a:lnTo>
                  <a:lnTo>
                    <a:pt x="1593" y="314"/>
                  </a:lnTo>
                  <a:lnTo>
                    <a:pt x="1594" y="314"/>
                  </a:lnTo>
                  <a:lnTo>
                    <a:pt x="1596" y="314"/>
                  </a:lnTo>
                  <a:lnTo>
                    <a:pt x="1597" y="313"/>
                  </a:lnTo>
                  <a:lnTo>
                    <a:pt x="1597" y="314"/>
                  </a:lnTo>
                  <a:lnTo>
                    <a:pt x="1601" y="314"/>
                  </a:lnTo>
                  <a:lnTo>
                    <a:pt x="1601" y="316"/>
                  </a:lnTo>
                  <a:lnTo>
                    <a:pt x="1602" y="316"/>
                  </a:lnTo>
                  <a:lnTo>
                    <a:pt x="1602" y="318"/>
                  </a:lnTo>
                  <a:lnTo>
                    <a:pt x="1602" y="319"/>
                  </a:lnTo>
                  <a:lnTo>
                    <a:pt x="1604" y="319"/>
                  </a:lnTo>
                  <a:lnTo>
                    <a:pt x="1606" y="322"/>
                  </a:lnTo>
                  <a:lnTo>
                    <a:pt x="1606" y="324"/>
                  </a:lnTo>
                  <a:lnTo>
                    <a:pt x="1604" y="324"/>
                  </a:lnTo>
                  <a:lnTo>
                    <a:pt x="1604" y="326"/>
                  </a:lnTo>
                  <a:lnTo>
                    <a:pt x="1606" y="326"/>
                  </a:lnTo>
                  <a:lnTo>
                    <a:pt x="1606" y="327"/>
                  </a:lnTo>
                  <a:lnTo>
                    <a:pt x="1606" y="329"/>
                  </a:lnTo>
                  <a:lnTo>
                    <a:pt x="1607" y="329"/>
                  </a:lnTo>
                  <a:lnTo>
                    <a:pt x="1609" y="329"/>
                  </a:lnTo>
                  <a:lnTo>
                    <a:pt x="1610" y="329"/>
                  </a:lnTo>
                  <a:lnTo>
                    <a:pt x="1612" y="329"/>
                  </a:lnTo>
                  <a:lnTo>
                    <a:pt x="1610" y="331"/>
                  </a:lnTo>
                  <a:lnTo>
                    <a:pt x="1612" y="332"/>
                  </a:lnTo>
                  <a:lnTo>
                    <a:pt x="1614" y="332"/>
                  </a:lnTo>
                  <a:lnTo>
                    <a:pt x="1614" y="335"/>
                  </a:lnTo>
                  <a:lnTo>
                    <a:pt x="1615" y="335"/>
                  </a:lnTo>
                  <a:lnTo>
                    <a:pt x="1615" y="337"/>
                  </a:lnTo>
                  <a:lnTo>
                    <a:pt x="1617" y="337"/>
                  </a:lnTo>
                  <a:lnTo>
                    <a:pt x="1617" y="339"/>
                  </a:lnTo>
                  <a:lnTo>
                    <a:pt x="1619" y="337"/>
                  </a:lnTo>
                  <a:lnTo>
                    <a:pt x="1619" y="335"/>
                  </a:lnTo>
                  <a:lnTo>
                    <a:pt x="1619" y="337"/>
                  </a:lnTo>
                  <a:lnTo>
                    <a:pt x="1619" y="339"/>
                  </a:lnTo>
                  <a:lnTo>
                    <a:pt x="1620" y="339"/>
                  </a:lnTo>
                  <a:lnTo>
                    <a:pt x="1620" y="340"/>
                  </a:lnTo>
                  <a:lnTo>
                    <a:pt x="1619" y="342"/>
                  </a:lnTo>
                  <a:lnTo>
                    <a:pt x="1615" y="345"/>
                  </a:lnTo>
                  <a:lnTo>
                    <a:pt x="1614" y="347"/>
                  </a:lnTo>
                  <a:lnTo>
                    <a:pt x="1614" y="350"/>
                  </a:lnTo>
                  <a:lnTo>
                    <a:pt x="1615" y="350"/>
                  </a:lnTo>
                  <a:lnTo>
                    <a:pt x="1617" y="348"/>
                  </a:lnTo>
                  <a:lnTo>
                    <a:pt x="1619" y="352"/>
                  </a:lnTo>
                  <a:lnTo>
                    <a:pt x="1622" y="350"/>
                  </a:lnTo>
                  <a:lnTo>
                    <a:pt x="1623" y="348"/>
                  </a:lnTo>
                  <a:lnTo>
                    <a:pt x="1623" y="347"/>
                  </a:lnTo>
                  <a:lnTo>
                    <a:pt x="1625" y="347"/>
                  </a:lnTo>
                  <a:lnTo>
                    <a:pt x="1625" y="345"/>
                  </a:lnTo>
                  <a:lnTo>
                    <a:pt x="1625" y="344"/>
                  </a:lnTo>
                  <a:lnTo>
                    <a:pt x="1627" y="344"/>
                  </a:lnTo>
                  <a:lnTo>
                    <a:pt x="1628" y="345"/>
                  </a:lnTo>
                  <a:lnTo>
                    <a:pt x="1633" y="350"/>
                  </a:lnTo>
                  <a:lnTo>
                    <a:pt x="1633" y="352"/>
                  </a:lnTo>
                  <a:lnTo>
                    <a:pt x="1633" y="353"/>
                  </a:lnTo>
                  <a:lnTo>
                    <a:pt x="1635" y="355"/>
                  </a:lnTo>
                  <a:lnTo>
                    <a:pt x="1632" y="357"/>
                  </a:lnTo>
                  <a:lnTo>
                    <a:pt x="1628" y="357"/>
                  </a:lnTo>
                  <a:lnTo>
                    <a:pt x="1627" y="357"/>
                  </a:lnTo>
                  <a:lnTo>
                    <a:pt x="1628" y="360"/>
                  </a:lnTo>
                  <a:lnTo>
                    <a:pt x="1630" y="363"/>
                  </a:lnTo>
                  <a:lnTo>
                    <a:pt x="1628" y="365"/>
                  </a:lnTo>
                  <a:lnTo>
                    <a:pt x="1628" y="366"/>
                  </a:lnTo>
                  <a:lnTo>
                    <a:pt x="1628" y="368"/>
                  </a:lnTo>
                  <a:lnTo>
                    <a:pt x="1628" y="371"/>
                  </a:lnTo>
                  <a:lnTo>
                    <a:pt x="1628" y="373"/>
                  </a:lnTo>
                  <a:lnTo>
                    <a:pt x="1628" y="375"/>
                  </a:lnTo>
                  <a:lnTo>
                    <a:pt x="1630" y="379"/>
                  </a:lnTo>
                  <a:lnTo>
                    <a:pt x="1627" y="383"/>
                  </a:lnTo>
                  <a:lnTo>
                    <a:pt x="1628" y="383"/>
                  </a:lnTo>
                  <a:lnTo>
                    <a:pt x="1632" y="383"/>
                  </a:lnTo>
                  <a:lnTo>
                    <a:pt x="1632" y="384"/>
                  </a:lnTo>
                  <a:lnTo>
                    <a:pt x="1623" y="389"/>
                  </a:lnTo>
                  <a:lnTo>
                    <a:pt x="1625" y="391"/>
                  </a:lnTo>
                  <a:lnTo>
                    <a:pt x="1627" y="391"/>
                  </a:lnTo>
                  <a:lnTo>
                    <a:pt x="1628" y="392"/>
                  </a:lnTo>
                  <a:lnTo>
                    <a:pt x="1630" y="394"/>
                  </a:lnTo>
                  <a:lnTo>
                    <a:pt x="1632" y="396"/>
                  </a:lnTo>
                  <a:lnTo>
                    <a:pt x="1632" y="397"/>
                  </a:lnTo>
                  <a:lnTo>
                    <a:pt x="1632" y="399"/>
                  </a:lnTo>
                  <a:lnTo>
                    <a:pt x="1632" y="402"/>
                  </a:lnTo>
                  <a:lnTo>
                    <a:pt x="1632" y="404"/>
                  </a:lnTo>
                  <a:lnTo>
                    <a:pt x="1633" y="405"/>
                  </a:lnTo>
                  <a:lnTo>
                    <a:pt x="1635" y="410"/>
                  </a:lnTo>
                  <a:lnTo>
                    <a:pt x="1632" y="412"/>
                  </a:lnTo>
                  <a:lnTo>
                    <a:pt x="1633" y="414"/>
                  </a:lnTo>
                  <a:lnTo>
                    <a:pt x="1632" y="418"/>
                  </a:lnTo>
                  <a:lnTo>
                    <a:pt x="1623" y="422"/>
                  </a:lnTo>
                  <a:lnTo>
                    <a:pt x="1622" y="420"/>
                  </a:lnTo>
                  <a:lnTo>
                    <a:pt x="1617" y="423"/>
                  </a:lnTo>
                  <a:lnTo>
                    <a:pt x="1615" y="425"/>
                  </a:lnTo>
                  <a:lnTo>
                    <a:pt x="1614" y="425"/>
                  </a:lnTo>
                  <a:lnTo>
                    <a:pt x="1612" y="427"/>
                  </a:lnTo>
                  <a:lnTo>
                    <a:pt x="1607" y="423"/>
                  </a:lnTo>
                  <a:lnTo>
                    <a:pt x="1606" y="425"/>
                  </a:lnTo>
                  <a:lnTo>
                    <a:pt x="1604" y="427"/>
                  </a:lnTo>
                  <a:lnTo>
                    <a:pt x="1604" y="428"/>
                  </a:lnTo>
                  <a:lnTo>
                    <a:pt x="1602" y="430"/>
                  </a:lnTo>
                  <a:lnTo>
                    <a:pt x="1599" y="427"/>
                  </a:lnTo>
                  <a:lnTo>
                    <a:pt x="1596" y="427"/>
                  </a:lnTo>
                  <a:lnTo>
                    <a:pt x="1596" y="428"/>
                  </a:lnTo>
                  <a:lnTo>
                    <a:pt x="1586" y="431"/>
                  </a:lnTo>
                  <a:lnTo>
                    <a:pt x="1586" y="433"/>
                  </a:lnTo>
                  <a:lnTo>
                    <a:pt x="1581" y="436"/>
                  </a:lnTo>
                  <a:lnTo>
                    <a:pt x="1580" y="436"/>
                  </a:lnTo>
                  <a:lnTo>
                    <a:pt x="1580" y="438"/>
                  </a:lnTo>
                  <a:lnTo>
                    <a:pt x="1578" y="438"/>
                  </a:lnTo>
                  <a:lnTo>
                    <a:pt x="1578" y="440"/>
                  </a:lnTo>
                  <a:lnTo>
                    <a:pt x="1576" y="440"/>
                  </a:lnTo>
                  <a:lnTo>
                    <a:pt x="1576" y="438"/>
                  </a:lnTo>
                  <a:lnTo>
                    <a:pt x="1573" y="440"/>
                  </a:lnTo>
                  <a:lnTo>
                    <a:pt x="1573" y="438"/>
                  </a:lnTo>
                  <a:lnTo>
                    <a:pt x="1571" y="438"/>
                  </a:lnTo>
                  <a:lnTo>
                    <a:pt x="1568" y="440"/>
                  </a:lnTo>
                  <a:lnTo>
                    <a:pt x="1563" y="441"/>
                  </a:lnTo>
                  <a:lnTo>
                    <a:pt x="1562" y="441"/>
                  </a:lnTo>
                  <a:lnTo>
                    <a:pt x="1558" y="443"/>
                  </a:lnTo>
                  <a:lnTo>
                    <a:pt x="1557" y="443"/>
                  </a:lnTo>
                  <a:lnTo>
                    <a:pt x="1553" y="444"/>
                  </a:lnTo>
                  <a:lnTo>
                    <a:pt x="1553" y="446"/>
                  </a:lnTo>
                  <a:lnTo>
                    <a:pt x="1550" y="448"/>
                  </a:lnTo>
                  <a:lnTo>
                    <a:pt x="1552" y="448"/>
                  </a:lnTo>
                  <a:lnTo>
                    <a:pt x="1552" y="449"/>
                  </a:lnTo>
                  <a:lnTo>
                    <a:pt x="1550" y="449"/>
                  </a:lnTo>
                  <a:lnTo>
                    <a:pt x="1552" y="451"/>
                  </a:lnTo>
                  <a:lnTo>
                    <a:pt x="1552" y="454"/>
                  </a:lnTo>
                  <a:lnTo>
                    <a:pt x="1550" y="456"/>
                  </a:lnTo>
                  <a:lnTo>
                    <a:pt x="1549" y="457"/>
                  </a:lnTo>
                  <a:lnTo>
                    <a:pt x="1550" y="457"/>
                  </a:lnTo>
                  <a:lnTo>
                    <a:pt x="1550" y="459"/>
                  </a:lnTo>
                  <a:lnTo>
                    <a:pt x="1550" y="461"/>
                  </a:lnTo>
                  <a:lnTo>
                    <a:pt x="1552" y="461"/>
                  </a:lnTo>
                  <a:lnTo>
                    <a:pt x="1552" y="462"/>
                  </a:lnTo>
                  <a:lnTo>
                    <a:pt x="1553" y="466"/>
                  </a:lnTo>
                  <a:lnTo>
                    <a:pt x="1552" y="467"/>
                  </a:lnTo>
                  <a:lnTo>
                    <a:pt x="1552" y="469"/>
                  </a:lnTo>
                  <a:lnTo>
                    <a:pt x="1555" y="474"/>
                  </a:lnTo>
                  <a:lnTo>
                    <a:pt x="1552" y="475"/>
                  </a:lnTo>
                  <a:lnTo>
                    <a:pt x="1550" y="474"/>
                  </a:lnTo>
                  <a:lnTo>
                    <a:pt x="1549" y="474"/>
                  </a:lnTo>
                  <a:lnTo>
                    <a:pt x="1544" y="475"/>
                  </a:lnTo>
                  <a:lnTo>
                    <a:pt x="1545" y="480"/>
                  </a:lnTo>
                  <a:lnTo>
                    <a:pt x="1544" y="480"/>
                  </a:lnTo>
                  <a:lnTo>
                    <a:pt x="1544" y="482"/>
                  </a:lnTo>
                  <a:lnTo>
                    <a:pt x="1544" y="483"/>
                  </a:lnTo>
                  <a:lnTo>
                    <a:pt x="1542" y="485"/>
                  </a:lnTo>
                  <a:lnTo>
                    <a:pt x="1529" y="490"/>
                  </a:lnTo>
                  <a:lnTo>
                    <a:pt x="1529" y="492"/>
                  </a:lnTo>
                  <a:lnTo>
                    <a:pt x="1531" y="495"/>
                  </a:lnTo>
                  <a:lnTo>
                    <a:pt x="1521" y="498"/>
                  </a:lnTo>
                  <a:lnTo>
                    <a:pt x="1523" y="505"/>
                  </a:lnTo>
                  <a:lnTo>
                    <a:pt x="1519" y="505"/>
                  </a:lnTo>
                  <a:lnTo>
                    <a:pt x="1521" y="510"/>
                  </a:lnTo>
                  <a:lnTo>
                    <a:pt x="1519" y="511"/>
                  </a:lnTo>
                  <a:lnTo>
                    <a:pt x="1521" y="516"/>
                  </a:lnTo>
                  <a:lnTo>
                    <a:pt x="1523" y="519"/>
                  </a:lnTo>
                  <a:lnTo>
                    <a:pt x="1524" y="519"/>
                  </a:lnTo>
                  <a:lnTo>
                    <a:pt x="1527" y="531"/>
                  </a:lnTo>
                  <a:lnTo>
                    <a:pt x="1527" y="532"/>
                  </a:lnTo>
                  <a:lnTo>
                    <a:pt x="1527" y="534"/>
                  </a:lnTo>
                  <a:lnTo>
                    <a:pt x="1526" y="534"/>
                  </a:lnTo>
                  <a:lnTo>
                    <a:pt x="1524" y="536"/>
                  </a:lnTo>
                  <a:lnTo>
                    <a:pt x="1526" y="537"/>
                  </a:lnTo>
                  <a:lnTo>
                    <a:pt x="1526" y="539"/>
                  </a:lnTo>
                  <a:lnTo>
                    <a:pt x="1524" y="539"/>
                  </a:lnTo>
                  <a:lnTo>
                    <a:pt x="1524" y="540"/>
                  </a:lnTo>
                  <a:lnTo>
                    <a:pt x="1524" y="542"/>
                  </a:lnTo>
                  <a:lnTo>
                    <a:pt x="1526" y="545"/>
                  </a:lnTo>
                  <a:lnTo>
                    <a:pt x="1536" y="540"/>
                  </a:lnTo>
                  <a:lnTo>
                    <a:pt x="1536" y="542"/>
                  </a:lnTo>
                  <a:lnTo>
                    <a:pt x="1536" y="544"/>
                  </a:lnTo>
                  <a:lnTo>
                    <a:pt x="1536" y="545"/>
                  </a:lnTo>
                  <a:lnTo>
                    <a:pt x="1537" y="545"/>
                  </a:lnTo>
                  <a:lnTo>
                    <a:pt x="1537" y="547"/>
                  </a:lnTo>
                  <a:lnTo>
                    <a:pt x="1537" y="549"/>
                  </a:lnTo>
                  <a:lnTo>
                    <a:pt x="1536" y="549"/>
                  </a:lnTo>
                  <a:lnTo>
                    <a:pt x="1534" y="550"/>
                  </a:lnTo>
                  <a:lnTo>
                    <a:pt x="1536" y="552"/>
                  </a:lnTo>
                  <a:lnTo>
                    <a:pt x="1532" y="553"/>
                  </a:lnTo>
                  <a:lnTo>
                    <a:pt x="1531" y="555"/>
                  </a:lnTo>
                  <a:lnTo>
                    <a:pt x="1532" y="557"/>
                  </a:lnTo>
                  <a:lnTo>
                    <a:pt x="1532" y="558"/>
                  </a:lnTo>
                  <a:lnTo>
                    <a:pt x="1536" y="566"/>
                  </a:lnTo>
                  <a:lnTo>
                    <a:pt x="1536" y="568"/>
                  </a:lnTo>
                  <a:lnTo>
                    <a:pt x="1536" y="570"/>
                  </a:lnTo>
                  <a:lnTo>
                    <a:pt x="1536" y="571"/>
                  </a:lnTo>
                  <a:lnTo>
                    <a:pt x="1534" y="573"/>
                  </a:lnTo>
                  <a:lnTo>
                    <a:pt x="1534" y="575"/>
                  </a:lnTo>
                  <a:lnTo>
                    <a:pt x="1532" y="576"/>
                  </a:lnTo>
                  <a:lnTo>
                    <a:pt x="1532" y="579"/>
                  </a:lnTo>
                  <a:lnTo>
                    <a:pt x="1532" y="581"/>
                  </a:lnTo>
                  <a:lnTo>
                    <a:pt x="1531" y="583"/>
                  </a:lnTo>
                  <a:lnTo>
                    <a:pt x="1531" y="584"/>
                  </a:lnTo>
                  <a:lnTo>
                    <a:pt x="1529" y="586"/>
                  </a:lnTo>
                  <a:lnTo>
                    <a:pt x="1529" y="584"/>
                  </a:lnTo>
                  <a:lnTo>
                    <a:pt x="1531" y="584"/>
                  </a:lnTo>
                  <a:lnTo>
                    <a:pt x="1531" y="583"/>
                  </a:lnTo>
                  <a:lnTo>
                    <a:pt x="1531" y="581"/>
                  </a:lnTo>
                  <a:lnTo>
                    <a:pt x="1529" y="579"/>
                  </a:lnTo>
                  <a:lnTo>
                    <a:pt x="1527" y="579"/>
                  </a:lnTo>
                  <a:lnTo>
                    <a:pt x="1526" y="578"/>
                  </a:lnTo>
                  <a:lnTo>
                    <a:pt x="1524" y="576"/>
                  </a:lnTo>
                  <a:lnTo>
                    <a:pt x="1523" y="578"/>
                  </a:lnTo>
                  <a:lnTo>
                    <a:pt x="1521" y="576"/>
                  </a:lnTo>
                  <a:lnTo>
                    <a:pt x="1521" y="578"/>
                  </a:lnTo>
                  <a:lnTo>
                    <a:pt x="1521" y="579"/>
                  </a:lnTo>
                  <a:lnTo>
                    <a:pt x="1519" y="581"/>
                  </a:lnTo>
                  <a:lnTo>
                    <a:pt x="1518" y="581"/>
                  </a:lnTo>
                  <a:lnTo>
                    <a:pt x="1516" y="581"/>
                  </a:lnTo>
                  <a:lnTo>
                    <a:pt x="1514" y="581"/>
                  </a:lnTo>
                  <a:lnTo>
                    <a:pt x="1514" y="583"/>
                  </a:lnTo>
                  <a:lnTo>
                    <a:pt x="1516" y="583"/>
                  </a:lnTo>
                  <a:lnTo>
                    <a:pt x="1514" y="583"/>
                  </a:lnTo>
                  <a:lnTo>
                    <a:pt x="1508" y="583"/>
                  </a:lnTo>
                  <a:lnTo>
                    <a:pt x="1505" y="584"/>
                  </a:lnTo>
                  <a:lnTo>
                    <a:pt x="1503" y="584"/>
                  </a:lnTo>
                  <a:lnTo>
                    <a:pt x="1501" y="588"/>
                  </a:lnTo>
                  <a:lnTo>
                    <a:pt x="1500" y="589"/>
                  </a:lnTo>
                  <a:lnTo>
                    <a:pt x="1498" y="591"/>
                  </a:lnTo>
                  <a:lnTo>
                    <a:pt x="1497" y="591"/>
                  </a:lnTo>
                  <a:lnTo>
                    <a:pt x="1495" y="592"/>
                  </a:lnTo>
                  <a:lnTo>
                    <a:pt x="1493" y="592"/>
                  </a:lnTo>
                  <a:lnTo>
                    <a:pt x="1490" y="594"/>
                  </a:lnTo>
                  <a:lnTo>
                    <a:pt x="1488" y="596"/>
                  </a:lnTo>
                  <a:lnTo>
                    <a:pt x="1487" y="594"/>
                  </a:lnTo>
                  <a:lnTo>
                    <a:pt x="1485" y="594"/>
                  </a:lnTo>
                  <a:lnTo>
                    <a:pt x="1484" y="596"/>
                  </a:lnTo>
                  <a:lnTo>
                    <a:pt x="1482" y="596"/>
                  </a:lnTo>
                  <a:lnTo>
                    <a:pt x="1482" y="597"/>
                  </a:lnTo>
                  <a:close/>
                  <a:moveTo>
                    <a:pt x="1199" y="853"/>
                  </a:moveTo>
                  <a:lnTo>
                    <a:pt x="1199" y="851"/>
                  </a:lnTo>
                  <a:lnTo>
                    <a:pt x="1199" y="849"/>
                  </a:lnTo>
                  <a:lnTo>
                    <a:pt x="1197" y="848"/>
                  </a:lnTo>
                  <a:lnTo>
                    <a:pt x="1196" y="846"/>
                  </a:lnTo>
                  <a:lnTo>
                    <a:pt x="1194" y="845"/>
                  </a:lnTo>
                  <a:lnTo>
                    <a:pt x="1192" y="843"/>
                  </a:lnTo>
                  <a:lnTo>
                    <a:pt x="1189" y="840"/>
                  </a:lnTo>
                  <a:lnTo>
                    <a:pt x="1188" y="840"/>
                  </a:lnTo>
                  <a:lnTo>
                    <a:pt x="1186" y="838"/>
                  </a:lnTo>
                  <a:lnTo>
                    <a:pt x="1184" y="838"/>
                  </a:lnTo>
                  <a:lnTo>
                    <a:pt x="1184" y="840"/>
                  </a:lnTo>
                  <a:lnTo>
                    <a:pt x="1183" y="840"/>
                  </a:lnTo>
                  <a:lnTo>
                    <a:pt x="1181" y="841"/>
                  </a:lnTo>
                  <a:lnTo>
                    <a:pt x="1181" y="840"/>
                  </a:lnTo>
                  <a:lnTo>
                    <a:pt x="1179" y="840"/>
                  </a:lnTo>
                  <a:lnTo>
                    <a:pt x="1178" y="841"/>
                  </a:lnTo>
                  <a:lnTo>
                    <a:pt x="1176" y="841"/>
                  </a:lnTo>
                  <a:lnTo>
                    <a:pt x="1175" y="841"/>
                  </a:lnTo>
                  <a:lnTo>
                    <a:pt x="1173" y="841"/>
                  </a:lnTo>
                  <a:lnTo>
                    <a:pt x="1171" y="841"/>
                  </a:lnTo>
                  <a:lnTo>
                    <a:pt x="1171" y="840"/>
                  </a:lnTo>
                  <a:lnTo>
                    <a:pt x="1170" y="840"/>
                  </a:lnTo>
                  <a:lnTo>
                    <a:pt x="1168" y="840"/>
                  </a:lnTo>
                  <a:lnTo>
                    <a:pt x="1168" y="841"/>
                  </a:lnTo>
                  <a:lnTo>
                    <a:pt x="1168" y="843"/>
                  </a:lnTo>
                  <a:lnTo>
                    <a:pt x="1166" y="843"/>
                  </a:lnTo>
                  <a:lnTo>
                    <a:pt x="1165" y="843"/>
                  </a:lnTo>
                  <a:lnTo>
                    <a:pt x="1165" y="845"/>
                  </a:lnTo>
                  <a:lnTo>
                    <a:pt x="1163" y="845"/>
                  </a:lnTo>
                  <a:lnTo>
                    <a:pt x="1163" y="846"/>
                  </a:lnTo>
                  <a:lnTo>
                    <a:pt x="1162" y="846"/>
                  </a:lnTo>
                  <a:lnTo>
                    <a:pt x="1162" y="848"/>
                  </a:lnTo>
                  <a:lnTo>
                    <a:pt x="1163" y="848"/>
                  </a:lnTo>
                  <a:lnTo>
                    <a:pt x="1165" y="848"/>
                  </a:lnTo>
                  <a:lnTo>
                    <a:pt x="1165" y="846"/>
                  </a:lnTo>
                  <a:lnTo>
                    <a:pt x="1165" y="845"/>
                  </a:lnTo>
                  <a:lnTo>
                    <a:pt x="1165" y="846"/>
                  </a:lnTo>
                  <a:lnTo>
                    <a:pt x="1166" y="848"/>
                  </a:lnTo>
                  <a:lnTo>
                    <a:pt x="1166" y="846"/>
                  </a:lnTo>
                  <a:lnTo>
                    <a:pt x="1168" y="848"/>
                  </a:lnTo>
                  <a:lnTo>
                    <a:pt x="1171" y="849"/>
                  </a:lnTo>
                  <a:lnTo>
                    <a:pt x="1173" y="849"/>
                  </a:lnTo>
                  <a:lnTo>
                    <a:pt x="1175" y="851"/>
                  </a:lnTo>
                  <a:lnTo>
                    <a:pt x="1175" y="849"/>
                  </a:lnTo>
                  <a:lnTo>
                    <a:pt x="1176" y="849"/>
                  </a:lnTo>
                  <a:lnTo>
                    <a:pt x="1178" y="851"/>
                  </a:lnTo>
                  <a:lnTo>
                    <a:pt x="1178" y="849"/>
                  </a:lnTo>
                  <a:lnTo>
                    <a:pt x="1179" y="851"/>
                  </a:lnTo>
                  <a:lnTo>
                    <a:pt x="1179" y="849"/>
                  </a:lnTo>
                  <a:lnTo>
                    <a:pt x="1178" y="849"/>
                  </a:lnTo>
                  <a:lnTo>
                    <a:pt x="1179" y="849"/>
                  </a:lnTo>
                  <a:lnTo>
                    <a:pt x="1181" y="849"/>
                  </a:lnTo>
                  <a:lnTo>
                    <a:pt x="1181" y="851"/>
                  </a:lnTo>
                  <a:lnTo>
                    <a:pt x="1181" y="853"/>
                  </a:lnTo>
                  <a:lnTo>
                    <a:pt x="1184" y="853"/>
                  </a:lnTo>
                  <a:lnTo>
                    <a:pt x="1189" y="856"/>
                  </a:lnTo>
                  <a:lnTo>
                    <a:pt x="1192" y="856"/>
                  </a:lnTo>
                  <a:lnTo>
                    <a:pt x="1194" y="854"/>
                  </a:lnTo>
                  <a:lnTo>
                    <a:pt x="1196" y="854"/>
                  </a:lnTo>
                  <a:lnTo>
                    <a:pt x="1197" y="854"/>
                  </a:lnTo>
                  <a:lnTo>
                    <a:pt x="1199" y="853"/>
                  </a:lnTo>
                  <a:lnTo>
                    <a:pt x="1199" y="854"/>
                  </a:lnTo>
                  <a:lnTo>
                    <a:pt x="1201" y="854"/>
                  </a:lnTo>
                  <a:lnTo>
                    <a:pt x="1202" y="854"/>
                  </a:lnTo>
                  <a:lnTo>
                    <a:pt x="1204" y="854"/>
                  </a:lnTo>
                  <a:lnTo>
                    <a:pt x="1204" y="856"/>
                  </a:lnTo>
                  <a:lnTo>
                    <a:pt x="1205" y="858"/>
                  </a:lnTo>
                  <a:lnTo>
                    <a:pt x="1205" y="856"/>
                  </a:lnTo>
                  <a:lnTo>
                    <a:pt x="1204" y="856"/>
                  </a:lnTo>
                  <a:lnTo>
                    <a:pt x="1204" y="854"/>
                  </a:lnTo>
                  <a:lnTo>
                    <a:pt x="1204" y="856"/>
                  </a:lnTo>
                  <a:lnTo>
                    <a:pt x="1204" y="854"/>
                  </a:lnTo>
                  <a:lnTo>
                    <a:pt x="1205" y="854"/>
                  </a:lnTo>
                  <a:lnTo>
                    <a:pt x="1205" y="856"/>
                  </a:lnTo>
                  <a:lnTo>
                    <a:pt x="1207" y="856"/>
                  </a:lnTo>
                  <a:lnTo>
                    <a:pt x="1207" y="858"/>
                  </a:lnTo>
                  <a:lnTo>
                    <a:pt x="1207" y="859"/>
                  </a:lnTo>
                  <a:lnTo>
                    <a:pt x="1209" y="858"/>
                  </a:lnTo>
                  <a:lnTo>
                    <a:pt x="1209" y="859"/>
                  </a:lnTo>
                  <a:lnTo>
                    <a:pt x="1209" y="858"/>
                  </a:lnTo>
                  <a:lnTo>
                    <a:pt x="1210" y="858"/>
                  </a:lnTo>
                  <a:lnTo>
                    <a:pt x="1210" y="859"/>
                  </a:lnTo>
                  <a:lnTo>
                    <a:pt x="1210" y="858"/>
                  </a:lnTo>
                  <a:lnTo>
                    <a:pt x="1212" y="859"/>
                  </a:lnTo>
                  <a:lnTo>
                    <a:pt x="1210" y="861"/>
                  </a:lnTo>
                  <a:lnTo>
                    <a:pt x="1210" y="862"/>
                  </a:lnTo>
                  <a:lnTo>
                    <a:pt x="1210" y="861"/>
                  </a:lnTo>
                  <a:lnTo>
                    <a:pt x="1212" y="861"/>
                  </a:lnTo>
                  <a:lnTo>
                    <a:pt x="1212" y="859"/>
                  </a:lnTo>
                  <a:lnTo>
                    <a:pt x="1214" y="859"/>
                  </a:lnTo>
                  <a:lnTo>
                    <a:pt x="1215" y="861"/>
                  </a:lnTo>
                  <a:lnTo>
                    <a:pt x="1217" y="861"/>
                  </a:lnTo>
                  <a:lnTo>
                    <a:pt x="1215" y="862"/>
                  </a:lnTo>
                  <a:lnTo>
                    <a:pt x="1215" y="864"/>
                  </a:lnTo>
                  <a:lnTo>
                    <a:pt x="1217" y="862"/>
                  </a:lnTo>
                  <a:lnTo>
                    <a:pt x="1217" y="861"/>
                  </a:lnTo>
                  <a:lnTo>
                    <a:pt x="1218" y="861"/>
                  </a:lnTo>
                  <a:lnTo>
                    <a:pt x="1218" y="862"/>
                  </a:lnTo>
                  <a:lnTo>
                    <a:pt x="1217" y="864"/>
                  </a:lnTo>
                  <a:lnTo>
                    <a:pt x="1217" y="866"/>
                  </a:lnTo>
                  <a:lnTo>
                    <a:pt x="1215" y="866"/>
                  </a:lnTo>
                  <a:lnTo>
                    <a:pt x="1215" y="867"/>
                  </a:lnTo>
                  <a:lnTo>
                    <a:pt x="1214" y="867"/>
                  </a:lnTo>
                  <a:lnTo>
                    <a:pt x="1214" y="866"/>
                  </a:lnTo>
                  <a:lnTo>
                    <a:pt x="1214" y="867"/>
                  </a:lnTo>
                  <a:lnTo>
                    <a:pt x="1214" y="866"/>
                  </a:lnTo>
                  <a:lnTo>
                    <a:pt x="1212" y="866"/>
                  </a:lnTo>
                  <a:lnTo>
                    <a:pt x="1210" y="867"/>
                  </a:lnTo>
                  <a:lnTo>
                    <a:pt x="1214" y="869"/>
                  </a:lnTo>
                  <a:lnTo>
                    <a:pt x="1214" y="871"/>
                  </a:lnTo>
                  <a:lnTo>
                    <a:pt x="1215" y="871"/>
                  </a:lnTo>
                  <a:lnTo>
                    <a:pt x="1215" y="869"/>
                  </a:lnTo>
                  <a:lnTo>
                    <a:pt x="1217" y="869"/>
                  </a:lnTo>
                  <a:lnTo>
                    <a:pt x="1217" y="871"/>
                  </a:lnTo>
                  <a:lnTo>
                    <a:pt x="1218" y="871"/>
                  </a:lnTo>
                  <a:lnTo>
                    <a:pt x="1220" y="871"/>
                  </a:lnTo>
                  <a:lnTo>
                    <a:pt x="1220" y="869"/>
                  </a:lnTo>
                  <a:lnTo>
                    <a:pt x="1218" y="869"/>
                  </a:lnTo>
                  <a:lnTo>
                    <a:pt x="1220" y="869"/>
                  </a:lnTo>
                  <a:lnTo>
                    <a:pt x="1222" y="869"/>
                  </a:lnTo>
                  <a:lnTo>
                    <a:pt x="1222" y="867"/>
                  </a:lnTo>
                  <a:lnTo>
                    <a:pt x="1223" y="867"/>
                  </a:lnTo>
                  <a:lnTo>
                    <a:pt x="1222" y="867"/>
                  </a:lnTo>
                  <a:lnTo>
                    <a:pt x="1222" y="866"/>
                  </a:lnTo>
                  <a:lnTo>
                    <a:pt x="1222" y="864"/>
                  </a:lnTo>
                  <a:lnTo>
                    <a:pt x="1220" y="864"/>
                  </a:lnTo>
                  <a:lnTo>
                    <a:pt x="1220" y="862"/>
                  </a:lnTo>
                  <a:lnTo>
                    <a:pt x="1220" y="861"/>
                  </a:lnTo>
                  <a:lnTo>
                    <a:pt x="1220" y="862"/>
                  </a:lnTo>
                  <a:lnTo>
                    <a:pt x="1218" y="862"/>
                  </a:lnTo>
                  <a:lnTo>
                    <a:pt x="1220" y="861"/>
                  </a:lnTo>
                  <a:lnTo>
                    <a:pt x="1218" y="861"/>
                  </a:lnTo>
                  <a:lnTo>
                    <a:pt x="1217" y="861"/>
                  </a:lnTo>
                  <a:lnTo>
                    <a:pt x="1217" y="859"/>
                  </a:lnTo>
                  <a:lnTo>
                    <a:pt x="1215" y="859"/>
                  </a:lnTo>
                  <a:lnTo>
                    <a:pt x="1217" y="859"/>
                  </a:lnTo>
                  <a:lnTo>
                    <a:pt x="1217" y="861"/>
                  </a:lnTo>
                  <a:lnTo>
                    <a:pt x="1215" y="861"/>
                  </a:lnTo>
                  <a:lnTo>
                    <a:pt x="1215" y="859"/>
                  </a:lnTo>
                  <a:lnTo>
                    <a:pt x="1214" y="859"/>
                  </a:lnTo>
                  <a:lnTo>
                    <a:pt x="1212" y="859"/>
                  </a:lnTo>
                  <a:lnTo>
                    <a:pt x="1212" y="858"/>
                  </a:lnTo>
                  <a:lnTo>
                    <a:pt x="1210" y="858"/>
                  </a:lnTo>
                  <a:lnTo>
                    <a:pt x="1210" y="856"/>
                  </a:lnTo>
                  <a:lnTo>
                    <a:pt x="1209" y="856"/>
                  </a:lnTo>
                  <a:lnTo>
                    <a:pt x="1209" y="858"/>
                  </a:lnTo>
                  <a:lnTo>
                    <a:pt x="1209" y="856"/>
                  </a:lnTo>
                  <a:lnTo>
                    <a:pt x="1207" y="856"/>
                  </a:lnTo>
                  <a:lnTo>
                    <a:pt x="1207" y="854"/>
                  </a:lnTo>
                  <a:lnTo>
                    <a:pt x="1209" y="854"/>
                  </a:lnTo>
                  <a:lnTo>
                    <a:pt x="1210" y="854"/>
                  </a:lnTo>
                  <a:lnTo>
                    <a:pt x="1210" y="856"/>
                  </a:lnTo>
                  <a:lnTo>
                    <a:pt x="1212" y="856"/>
                  </a:lnTo>
                  <a:lnTo>
                    <a:pt x="1214" y="854"/>
                  </a:lnTo>
                  <a:lnTo>
                    <a:pt x="1215" y="854"/>
                  </a:lnTo>
                  <a:lnTo>
                    <a:pt x="1215" y="856"/>
                  </a:lnTo>
                  <a:lnTo>
                    <a:pt x="1217" y="854"/>
                  </a:lnTo>
                  <a:lnTo>
                    <a:pt x="1217" y="856"/>
                  </a:lnTo>
                  <a:lnTo>
                    <a:pt x="1217" y="854"/>
                  </a:lnTo>
                  <a:lnTo>
                    <a:pt x="1218" y="854"/>
                  </a:lnTo>
                  <a:lnTo>
                    <a:pt x="1220" y="856"/>
                  </a:lnTo>
                  <a:lnTo>
                    <a:pt x="1222" y="856"/>
                  </a:lnTo>
                  <a:lnTo>
                    <a:pt x="1222" y="858"/>
                  </a:lnTo>
                  <a:lnTo>
                    <a:pt x="1220" y="858"/>
                  </a:lnTo>
                  <a:lnTo>
                    <a:pt x="1222" y="859"/>
                  </a:lnTo>
                  <a:lnTo>
                    <a:pt x="1222" y="858"/>
                  </a:lnTo>
                  <a:lnTo>
                    <a:pt x="1222" y="859"/>
                  </a:lnTo>
                  <a:lnTo>
                    <a:pt x="1223" y="859"/>
                  </a:lnTo>
                  <a:lnTo>
                    <a:pt x="1222" y="859"/>
                  </a:lnTo>
                  <a:lnTo>
                    <a:pt x="1222" y="858"/>
                  </a:lnTo>
                  <a:lnTo>
                    <a:pt x="1223" y="858"/>
                  </a:lnTo>
                  <a:lnTo>
                    <a:pt x="1223" y="856"/>
                  </a:lnTo>
                  <a:lnTo>
                    <a:pt x="1225" y="856"/>
                  </a:lnTo>
                  <a:lnTo>
                    <a:pt x="1223" y="856"/>
                  </a:lnTo>
                  <a:lnTo>
                    <a:pt x="1223" y="854"/>
                  </a:lnTo>
                  <a:lnTo>
                    <a:pt x="1223" y="853"/>
                  </a:lnTo>
                  <a:lnTo>
                    <a:pt x="1225" y="853"/>
                  </a:lnTo>
                  <a:lnTo>
                    <a:pt x="1223" y="853"/>
                  </a:lnTo>
                  <a:lnTo>
                    <a:pt x="1225" y="851"/>
                  </a:lnTo>
                  <a:lnTo>
                    <a:pt x="1225" y="853"/>
                  </a:lnTo>
                  <a:lnTo>
                    <a:pt x="1225" y="854"/>
                  </a:lnTo>
                  <a:lnTo>
                    <a:pt x="1225" y="856"/>
                  </a:lnTo>
                  <a:lnTo>
                    <a:pt x="1227" y="858"/>
                  </a:lnTo>
                  <a:lnTo>
                    <a:pt x="1228" y="858"/>
                  </a:lnTo>
                  <a:lnTo>
                    <a:pt x="1230" y="858"/>
                  </a:lnTo>
                  <a:lnTo>
                    <a:pt x="1231" y="858"/>
                  </a:lnTo>
                  <a:lnTo>
                    <a:pt x="1231" y="859"/>
                  </a:lnTo>
                  <a:lnTo>
                    <a:pt x="1231" y="858"/>
                  </a:lnTo>
                  <a:lnTo>
                    <a:pt x="1231" y="856"/>
                  </a:lnTo>
                  <a:lnTo>
                    <a:pt x="1231" y="854"/>
                  </a:lnTo>
                  <a:lnTo>
                    <a:pt x="1230" y="854"/>
                  </a:lnTo>
                  <a:lnTo>
                    <a:pt x="1231" y="854"/>
                  </a:lnTo>
                  <a:lnTo>
                    <a:pt x="1231" y="856"/>
                  </a:lnTo>
                  <a:lnTo>
                    <a:pt x="1230" y="856"/>
                  </a:lnTo>
                  <a:lnTo>
                    <a:pt x="1228" y="856"/>
                  </a:lnTo>
                  <a:lnTo>
                    <a:pt x="1230" y="854"/>
                  </a:lnTo>
                  <a:lnTo>
                    <a:pt x="1228" y="853"/>
                  </a:lnTo>
                  <a:lnTo>
                    <a:pt x="1230" y="853"/>
                  </a:lnTo>
                  <a:lnTo>
                    <a:pt x="1231" y="851"/>
                  </a:lnTo>
                  <a:lnTo>
                    <a:pt x="1231" y="853"/>
                  </a:lnTo>
                  <a:lnTo>
                    <a:pt x="1231" y="851"/>
                  </a:lnTo>
                  <a:lnTo>
                    <a:pt x="1233" y="851"/>
                  </a:lnTo>
                  <a:lnTo>
                    <a:pt x="1233" y="853"/>
                  </a:lnTo>
                  <a:lnTo>
                    <a:pt x="1235" y="853"/>
                  </a:lnTo>
                  <a:lnTo>
                    <a:pt x="1236" y="854"/>
                  </a:lnTo>
                  <a:lnTo>
                    <a:pt x="1238" y="853"/>
                  </a:lnTo>
                  <a:lnTo>
                    <a:pt x="1236" y="854"/>
                  </a:lnTo>
                  <a:lnTo>
                    <a:pt x="1238" y="854"/>
                  </a:lnTo>
                  <a:lnTo>
                    <a:pt x="1238" y="856"/>
                  </a:lnTo>
                  <a:lnTo>
                    <a:pt x="1238" y="858"/>
                  </a:lnTo>
                  <a:lnTo>
                    <a:pt x="1240" y="858"/>
                  </a:lnTo>
                  <a:lnTo>
                    <a:pt x="1240" y="859"/>
                  </a:lnTo>
                  <a:lnTo>
                    <a:pt x="1241" y="859"/>
                  </a:lnTo>
                  <a:lnTo>
                    <a:pt x="1243" y="859"/>
                  </a:lnTo>
                  <a:lnTo>
                    <a:pt x="1244" y="859"/>
                  </a:lnTo>
                  <a:lnTo>
                    <a:pt x="1244" y="861"/>
                  </a:lnTo>
                  <a:lnTo>
                    <a:pt x="1246" y="861"/>
                  </a:lnTo>
                  <a:lnTo>
                    <a:pt x="1248" y="861"/>
                  </a:lnTo>
                  <a:lnTo>
                    <a:pt x="1249" y="862"/>
                  </a:lnTo>
                  <a:lnTo>
                    <a:pt x="1251" y="862"/>
                  </a:lnTo>
                  <a:lnTo>
                    <a:pt x="1249" y="866"/>
                  </a:lnTo>
                  <a:lnTo>
                    <a:pt x="1249" y="864"/>
                  </a:lnTo>
                  <a:lnTo>
                    <a:pt x="1248" y="864"/>
                  </a:lnTo>
                  <a:lnTo>
                    <a:pt x="1249" y="864"/>
                  </a:lnTo>
                  <a:lnTo>
                    <a:pt x="1249" y="866"/>
                  </a:lnTo>
                  <a:lnTo>
                    <a:pt x="1249" y="867"/>
                  </a:lnTo>
                  <a:lnTo>
                    <a:pt x="1251" y="867"/>
                  </a:lnTo>
                  <a:lnTo>
                    <a:pt x="1253" y="869"/>
                  </a:lnTo>
                  <a:lnTo>
                    <a:pt x="1253" y="867"/>
                  </a:lnTo>
                  <a:lnTo>
                    <a:pt x="1254" y="867"/>
                  </a:lnTo>
                  <a:lnTo>
                    <a:pt x="1254" y="866"/>
                  </a:lnTo>
                  <a:lnTo>
                    <a:pt x="1254" y="864"/>
                  </a:lnTo>
                  <a:lnTo>
                    <a:pt x="1254" y="862"/>
                  </a:lnTo>
                  <a:lnTo>
                    <a:pt x="1254" y="861"/>
                  </a:lnTo>
                  <a:lnTo>
                    <a:pt x="1256" y="861"/>
                  </a:lnTo>
                  <a:lnTo>
                    <a:pt x="1257" y="862"/>
                  </a:lnTo>
                  <a:lnTo>
                    <a:pt x="1259" y="861"/>
                  </a:lnTo>
                  <a:lnTo>
                    <a:pt x="1257" y="859"/>
                  </a:lnTo>
                  <a:lnTo>
                    <a:pt x="1256" y="858"/>
                  </a:lnTo>
                  <a:lnTo>
                    <a:pt x="1256" y="856"/>
                  </a:lnTo>
                  <a:lnTo>
                    <a:pt x="1254" y="854"/>
                  </a:lnTo>
                  <a:lnTo>
                    <a:pt x="1254" y="853"/>
                  </a:lnTo>
                  <a:lnTo>
                    <a:pt x="1254" y="854"/>
                  </a:lnTo>
                  <a:lnTo>
                    <a:pt x="1254" y="853"/>
                  </a:lnTo>
                  <a:lnTo>
                    <a:pt x="1254" y="851"/>
                  </a:lnTo>
                  <a:lnTo>
                    <a:pt x="1254" y="853"/>
                  </a:lnTo>
                  <a:lnTo>
                    <a:pt x="1254" y="851"/>
                  </a:lnTo>
                  <a:lnTo>
                    <a:pt x="1254" y="853"/>
                  </a:lnTo>
                  <a:lnTo>
                    <a:pt x="1253" y="851"/>
                  </a:lnTo>
                  <a:lnTo>
                    <a:pt x="1253" y="853"/>
                  </a:lnTo>
                  <a:lnTo>
                    <a:pt x="1251" y="851"/>
                  </a:lnTo>
                  <a:lnTo>
                    <a:pt x="1249" y="851"/>
                  </a:lnTo>
                  <a:lnTo>
                    <a:pt x="1249" y="853"/>
                  </a:lnTo>
                  <a:lnTo>
                    <a:pt x="1248" y="853"/>
                  </a:lnTo>
                  <a:lnTo>
                    <a:pt x="1248" y="854"/>
                  </a:lnTo>
                  <a:lnTo>
                    <a:pt x="1248" y="856"/>
                  </a:lnTo>
                  <a:lnTo>
                    <a:pt x="1248" y="858"/>
                  </a:lnTo>
                  <a:lnTo>
                    <a:pt x="1248" y="859"/>
                  </a:lnTo>
                  <a:lnTo>
                    <a:pt x="1248" y="858"/>
                  </a:lnTo>
                  <a:lnTo>
                    <a:pt x="1246" y="856"/>
                  </a:lnTo>
                  <a:lnTo>
                    <a:pt x="1246" y="854"/>
                  </a:lnTo>
                  <a:lnTo>
                    <a:pt x="1246" y="853"/>
                  </a:lnTo>
                  <a:lnTo>
                    <a:pt x="1246" y="854"/>
                  </a:lnTo>
                  <a:lnTo>
                    <a:pt x="1246" y="853"/>
                  </a:lnTo>
                  <a:lnTo>
                    <a:pt x="1248" y="854"/>
                  </a:lnTo>
                  <a:lnTo>
                    <a:pt x="1246" y="854"/>
                  </a:lnTo>
                  <a:lnTo>
                    <a:pt x="1248" y="856"/>
                  </a:lnTo>
                  <a:lnTo>
                    <a:pt x="1248" y="854"/>
                  </a:lnTo>
                  <a:lnTo>
                    <a:pt x="1248" y="853"/>
                  </a:lnTo>
                  <a:lnTo>
                    <a:pt x="1246" y="853"/>
                  </a:lnTo>
                  <a:lnTo>
                    <a:pt x="1246" y="851"/>
                  </a:lnTo>
                  <a:lnTo>
                    <a:pt x="1244" y="851"/>
                  </a:lnTo>
                  <a:lnTo>
                    <a:pt x="1243" y="851"/>
                  </a:lnTo>
                  <a:lnTo>
                    <a:pt x="1241" y="851"/>
                  </a:lnTo>
                  <a:lnTo>
                    <a:pt x="1240" y="851"/>
                  </a:lnTo>
                  <a:lnTo>
                    <a:pt x="1240" y="853"/>
                  </a:lnTo>
                  <a:lnTo>
                    <a:pt x="1238" y="853"/>
                  </a:lnTo>
                  <a:lnTo>
                    <a:pt x="1240" y="853"/>
                  </a:lnTo>
                  <a:lnTo>
                    <a:pt x="1240" y="851"/>
                  </a:lnTo>
                  <a:lnTo>
                    <a:pt x="1240" y="849"/>
                  </a:lnTo>
                  <a:lnTo>
                    <a:pt x="1240" y="848"/>
                  </a:lnTo>
                  <a:lnTo>
                    <a:pt x="1241" y="846"/>
                  </a:lnTo>
                  <a:lnTo>
                    <a:pt x="1243" y="846"/>
                  </a:lnTo>
                  <a:lnTo>
                    <a:pt x="1243" y="848"/>
                  </a:lnTo>
                  <a:lnTo>
                    <a:pt x="1243" y="846"/>
                  </a:lnTo>
                  <a:lnTo>
                    <a:pt x="1243" y="848"/>
                  </a:lnTo>
                  <a:lnTo>
                    <a:pt x="1241" y="848"/>
                  </a:lnTo>
                  <a:lnTo>
                    <a:pt x="1243" y="848"/>
                  </a:lnTo>
                  <a:lnTo>
                    <a:pt x="1243" y="846"/>
                  </a:lnTo>
                  <a:lnTo>
                    <a:pt x="1244" y="846"/>
                  </a:lnTo>
                  <a:lnTo>
                    <a:pt x="1243" y="846"/>
                  </a:lnTo>
                  <a:lnTo>
                    <a:pt x="1241" y="846"/>
                  </a:lnTo>
                  <a:lnTo>
                    <a:pt x="1240" y="846"/>
                  </a:lnTo>
                  <a:lnTo>
                    <a:pt x="1240" y="845"/>
                  </a:lnTo>
                  <a:lnTo>
                    <a:pt x="1240" y="843"/>
                  </a:lnTo>
                  <a:lnTo>
                    <a:pt x="1238" y="841"/>
                  </a:lnTo>
                  <a:lnTo>
                    <a:pt x="1240" y="840"/>
                  </a:lnTo>
                  <a:lnTo>
                    <a:pt x="1240" y="836"/>
                  </a:lnTo>
                  <a:lnTo>
                    <a:pt x="1240" y="835"/>
                  </a:lnTo>
                  <a:lnTo>
                    <a:pt x="1240" y="836"/>
                  </a:lnTo>
                  <a:lnTo>
                    <a:pt x="1238" y="836"/>
                  </a:lnTo>
                  <a:lnTo>
                    <a:pt x="1238" y="838"/>
                  </a:lnTo>
                  <a:lnTo>
                    <a:pt x="1238" y="840"/>
                  </a:lnTo>
                  <a:lnTo>
                    <a:pt x="1236" y="840"/>
                  </a:lnTo>
                  <a:lnTo>
                    <a:pt x="1236" y="841"/>
                  </a:lnTo>
                  <a:lnTo>
                    <a:pt x="1236" y="843"/>
                  </a:lnTo>
                  <a:lnTo>
                    <a:pt x="1235" y="843"/>
                  </a:lnTo>
                  <a:lnTo>
                    <a:pt x="1236" y="843"/>
                  </a:lnTo>
                  <a:lnTo>
                    <a:pt x="1236" y="845"/>
                  </a:lnTo>
                  <a:lnTo>
                    <a:pt x="1236" y="846"/>
                  </a:lnTo>
                  <a:lnTo>
                    <a:pt x="1235" y="845"/>
                  </a:lnTo>
                  <a:lnTo>
                    <a:pt x="1235" y="843"/>
                  </a:lnTo>
                  <a:lnTo>
                    <a:pt x="1233" y="843"/>
                  </a:lnTo>
                  <a:lnTo>
                    <a:pt x="1233" y="841"/>
                  </a:lnTo>
                  <a:lnTo>
                    <a:pt x="1235" y="840"/>
                  </a:lnTo>
                  <a:lnTo>
                    <a:pt x="1236" y="836"/>
                  </a:lnTo>
                  <a:lnTo>
                    <a:pt x="1238" y="836"/>
                  </a:lnTo>
                  <a:lnTo>
                    <a:pt x="1240" y="836"/>
                  </a:lnTo>
                  <a:lnTo>
                    <a:pt x="1240" y="835"/>
                  </a:lnTo>
                  <a:lnTo>
                    <a:pt x="1241" y="836"/>
                  </a:lnTo>
                  <a:lnTo>
                    <a:pt x="1241" y="838"/>
                  </a:lnTo>
                  <a:lnTo>
                    <a:pt x="1243" y="838"/>
                  </a:lnTo>
                  <a:lnTo>
                    <a:pt x="1243" y="840"/>
                  </a:lnTo>
                  <a:lnTo>
                    <a:pt x="1243" y="838"/>
                  </a:lnTo>
                  <a:lnTo>
                    <a:pt x="1243" y="836"/>
                  </a:lnTo>
                  <a:lnTo>
                    <a:pt x="1243" y="835"/>
                  </a:lnTo>
                  <a:lnTo>
                    <a:pt x="1244" y="833"/>
                  </a:lnTo>
                  <a:lnTo>
                    <a:pt x="1246" y="833"/>
                  </a:lnTo>
                  <a:lnTo>
                    <a:pt x="1248" y="835"/>
                  </a:lnTo>
                  <a:lnTo>
                    <a:pt x="1249" y="835"/>
                  </a:lnTo>
                  <a:lnTo>
                    <a:pt x="1249" y="836"/>
                  </a:lnTo>
                  <a:lnTo>
                    <a:pt x="1248" y="836"/>
                  </a:lnTo>
                  <a:lnTo>
                    <a:pt x="1249" y="838"/>
                  </a:lnTo>
                  <a:lnTo>
                    <a:pt x="1251" y="838"/>
                  </a:lnTo>
                  <a:lnTo>
                    <a:pt x="1249" y="836"/>
                  </a:lnTo>
                  <a:lnTo>
                    <a:pt x="1251" y="836"/>
                  </a:lnTo>
                  <a:lnTo>
                    <a:pt x="1251" y="835"/>
                  </a:lnTo>
                  <a:lnTo>
                    <a:pt x="1251" y="833"/>
                  </a:lnTo>
                  <a:lnTo>
                    <a:pt x="1251" y="832"/>
                  </a:lnTo>
                  <a:lnTo>
                    <a:pt x="1249" y="832"/>
                  </a:lnTo>
                  <a:lnTo>
                    <a:pt x="1249" y="830"/>
                  </a:lnTo>
                  <a:lnTo>
                    <a:pt x="1249" y="828"/>
                  </a:lnTo>
                  <a:lnTo>
                    <a:pt x="1249" y="827"/>
                  </a:lnTo>
                  <a:lnTo>
                    <a:pt x="1251" y="827"/>
                  </a:lnTo>
                  <a:lnTo>
                    <a:pt x="1251" y="828"/>
                  </a:lnTo>
                  <a:lnTo>
                    <a:pt x="1253" y="828"/>
                  </a:lnTo>
                  <a:lnTo>
                    <a:pt x="1254" y="830"/>
                  </a:lnTo>
                  <a:lnTo>
                    <a:pt x="1256" y="832"/>
                  </a:lnTo>
                  <a:lnTo>
                    <a:pt x="1254" y="832"/>
                  </a:lnTo>
                  <a:lnTo>
                    <a:pt x="1254" y="833"/>
                  </a:lnTo>
                  <a:lnTo>
                    <a:pt x="1256" y="833"/>
                  </a:lnTo>
                  <a:lnTo>
                    <a:pt x="1256" y="835"/>
                  </a:lnTo>
                  <a:lnTo>
                    <a:pt x="1256" y="833"/>
                  </a:lnTo>
                  <a:lnTo>
                    <a:pt x="1257" y="833"/>
                  </a:lnTo>
                  <a:lnTo>
                    <a:pt x="1257" y="835"/>
                  </a:lnTo>
                  <a:lnTo>
                    <a:pt x="1256" y="835"/>
                  </a:lnTo>
                  <a:lnTo>
                    <a:pt x="1257" y="835"/>
                  </a:lnTo>
                  <a:lnTo>
                    <a:pt x="1256" y="836"/>
                  </a:lnTo>
                  <a:lnTo>
                    <a:pt x="1256" y="838"/>
                  </a:lnTo>
                  <a:lnTo>
                    <a:pt x="1256" y="840"/>
                  </a:lnTo>
                  <a:lnTo>
                    <a:pt x="1256" y="838"/>
                  </a:lnTo>
                  <a:lnTo>
                    <a:pt x="1254" y="840"/>
                  </a:lnTo>
                  <a:lnTo>
                    <a:pt x="1254" y="841"/>
                  </a:lnTo>
                  <a:lnTo>
                    <a:pt x="1256" y="841"/>
                  </a:lnTo>
                  <a:lnTo>
                    <a:pt x="1256" y="840"/>
                  </a:lnTo>
                  <a:lnTo>
                    <a:pt x="1256" y="841"/>
                  </a:lnTo>
                  <a:lnTo>
                    <a:pt x="1256" y="843"/>
                  </a:lnTo>
                  <a:lnTo>
                    <a:pt x="1256" y="846"/>
                  </a:lnTo>
                  <a:lnTo>
                    <a:pt x="1254" y="846"/>
                  </a:lnTo>
                  <a:lnTo>
                    <a:pt x="1253" y="848"/>
                  </a:lnTo>
                  <a:lnTo>
                    <a:pt x="1253" y="849"/>
                  </a:lnTo>
                  <a:lnTo>
                    <a:pt x="1253" y="851"/>
                  </a:lnTo>
                  <a:lnTo>
                    <a:pt x="1253" y="849"/>
                  </a:lnTo>
                  <a:lnTo>
                    <a:pt x="1253" y="851"/>
                  </a:lnTo>
                  <a:lnTo>
                    <a:pt x="1253" y="849"/>
                  </a:lnTo>
                  <a:lnTo>
                    <a:pt x="1254" y="849"/>
                  </a:lnTo>
                  <a:lnTo>
                    <a:pt x="1253" y="851"/>
                  </a:lnTo>
                  <a:lnTo>
                    <a:pt x="1254" y="851"/>
                  </a:lnTo>
                  <a:lnTo>
                    <a:pt x="1256" y="853"/>
                  </a:lnTo>
                  <a:lnTo>
                    <a:pt x="1257" y="853"/>
                  </a:lnTo>
                  <a:lnTo>
                    <a:pt x="1259" y="853"/>
                  </a:lnTo>
                  <a:lnTo>
                    <a:pt x="1262" y="854"/>
                  </a:lnTo>
                  <a:lnTo>
                    <a:pt x="1264" y="854"/>
                  </a:lnTo>
                  <a:lnTo>
                    <a:pt x="1264" y="856"/>
                  </a:lnTo>
                  <a:lnTo>
                    <a:pt x="1264" y="858"/>
                  </a:lnTo>
                  <a:lnTo>
                    <a:pt x="1264" y="859"/>
                  </a:lnTo>
                  <a:lnTo>
                    <a:pt x="1264" y="861"/>
                  </a:lnTo>
                  <a:lnTo>
                    <a:pt x="1264" y="862"/>
                  </a:lnTo>
                  <a:lnTo>
                    <a:pt x="1264" y="864"/>
                  </a:lnTo>
                  <a:lnTo>
                    <a:pt x="1262" y="864"/>
                  </a:lnTo>
                  <a:lnTo>
                    <a:pt x="1261" y="866"/>
                  </a:lnTo>
                  <a:lnTo>
                    <a:pt x="1259" y="866"/>
                  </a:lnTo>
                  <a:lnTo>
                    <a:pt x="1259" y="867"/>
                  </a:lnTo>
                  <a:lnTo>
                    <a:pt x="1259" y="869"/>
                  </a:lnTo>
                  <a:lnTo>
                    <a:pt x="1259" y="867"/>
                  </a:lnTo>
                  <a:lnTo>
                    <a:pt x="1261" y="867"/>
                  </a:lnTo>
                  <a:lnTo>
                    <a:pt x="1259" y="869"/>
                  </a:lnTo>
                  <a:lnTo>
                    <a:pt x="1259" y="871"/>
                  </a:lnTo>
                  <a:lnTo>
                    <a:pt x="1259" y="872"/>
                  </a:lnTo>
                  <a:lnTo>
                    <a:pt x="1259" y="874"/>
                  </a:lnTo>
                  <a:lnTo>
                    <a:pt x="1257" y="875"/>
                  </a:lnTo>
                  <a:lnTo>
                    <a:pt x="1257" y="877"/>
                  </a:lnTo>
                  <a:lnTo>
                    <a:pt x="1259" y="879"/>
                  </a:lnTo>
                  <a:lnTo>
                    <a:pt x="1259" y="880"/>
                  </a:lnTo>
                  <a:lnTo>
                    <a:pt x="1261" y="879"/>
                  </a:lnTo>
                  <a:lnTo>
                    <a:pt x="1261" y="877"/>
                  </a:lnTo>
                  <a:lnTo>
                    <a:pt x="1259" y="877"/>
                  </a:lnTo>
                  <a:lnTo>
                    <a:pt x="1261" y="877"/>
                  </a:lnTo>
                  <a:lnTo>
                    <a:pt x="1262" y="875"/>
                  </a:lnTo>
                  <a:lnTo>
                    <a:pt x="1261" y="877"/>
                  </a:lnTo>
                  <a:lnTo>
                    <a:pt x="1262" y="877"/>
                  </a:lnTo>
                  <a:lnTo>
                    <a:pt x="1262" y="875"/>
                  </a:lnTo>
                  <a:lnTo>
                    <a:pt x="1262" y="874"/>
                  </a:lnTo>
                  <a:lnTo>
                    <a:pt x="1264" y="875"/>
                  </a:lnTo>
                  <a:lnTo>
                    <a:pt x="1264" y="874"/>
                  </a:lnTo>
                  <a:lnTo>
                    <a:pt x="1262" y="874"/>
                  </a:lnTo>
                  <a:lnTo>
                    <a:pt x="1264" y="872"/>
                  </a:lnTo>
                  <a:lnTo>
                    <a:pt x="1266" y="871"/>
                  </a:lnTo>
                  <a:lnTo>
                    <a:pt x="1266" y="869"/>
                  </a:lnTo>
                  <a:lnTo>
                    <a:pt x="1266" y="871"/>
                  </a:lnTo>
                  <a:lnTo>
                    <a:pt x="1267" y="867"/>
                  </a:lnTo>
                  <a:lnTo>
                    <a:pt x="1267" y="866"/>
                  </a:lnTo>
                  <a:lnTo>
                    <a:pt x="1269" y="864"/>
                  </a:lnTo>
                  <a:lnTo>
                    <a:pt x="1269" y="866"/>
                  </a:lnTo>
                  <a:lnTo>
                    <a:pt x="1267" y="866"/>
                  </a:lnTo>
                  <a:lnTo>
                    <a:pt x="1267" y="867"/>
                  </a:lnTo>
                  <a:lnTo>
                    <a:pt x="1266" y="869"/>
                  </a:lnTo>
                  <a:lnTo>
                    <a:pt x="1267" y="867"/>
                  </a:lnTo>
                  <a:lnTo>
                    <a:pt x="1267" y="866"/>
                  </a:lnTo>
                  <a:lnTo>
                    <a:pt x="1269" y="864"/>
                  </a:lnTo>
                  <a:lnTo>
                    <a:pt x="1270" y="864"/>
                  </a:lnTo>
                  <a:lnTo>
                    <a:pt x="1270" y="862"/>
                  </a:lnTo>
                  <a:lnTo>
                    <a:pt x="1272" y="861"/>
                  </a:lnTo>
                  <a:lnTo>
                    <a:pt x="1274" y="859"/>
                  </a:lnTo>
                  <a:lnTo>
                    <a:pt x="1275" y="859"/>
                  </a:lnTo>
                  <a:lnTo>
                    <a:pt x="1275" y="858"/>
                  </a:lnTo>
                  <a:lnTo>
                    <a:pt x="1279" y="856"/>
                  </a:lnTo>
                  <a:lnTo>
                    <a:pt x="1280" y="856"/>
                  </a:lnTo>
                  <a:lnTo>
                    <a:pt x="1280" y="858"/>
                  </a:lnTo>
                  <a:lnTo>
                    <a:pt x="1279" y="859"/>
                  </a:lnTo>
                  <a:lnTo>
                    <a:pt x="1280" y="858"/>
                  </a:lnTo>
                  <a:lnTo>
                    <a:pt x="1280" y="856"/>
                  </a:lnTo>
                  <a:lnTo>
                    <a:pt x="1279" y="856"/>
                  </a:lnTo>
                  <a:lnTo>
                    <a:pt x="1277" y="856"/>
                  </a:lnTo>
                  <a:lnTo>
                    <a:pt x="1279" y="858"/>
                  </a:lnTo>
                  <a:lnTo>
                    <a:pt x="1277" y="856"/>
                  </a:lnTo>
                  <a:lnTo>
                    <a:pt x="1277" y="858"/>
                  </a:lnTo>
                  <a:lnTo>
                    <a:pt x="1279" y="859"/>
                  </a:lnTo>
                  <a:lnTo>
                    <a:pt x="1279" y="861"/>
                  </a:lnTo>
                  <a:lnTo>
                    <a:pt x="1277" y="862"/>
                  </a:lnTo>
                  <a:lnTo>
                    <a:pt x="1277" y="861"/>
                  </a:lnTo>
                  <a:lnTo>
                    <a:pt x="1275" y="861"/>
                  </a:lnTo>
                  <a:lnTo>
                    <a:pt x="1274" y="861"/>
                  </a:lnTo>
                  <a:lnTo>
                    <a:pt x="1274" y="862"/>
                  </a:lnTo>
                  <a:lnTo>
                    <a:pt x="1272" y="862"/>
                  </a:lnTo>
                  <a:lnTo>
                    <a:pt x="1274" y="862"/>
                  </a:lnTo>
                  <a:lnTo>
                    <a:pt x="1272" y="862"/>
                  </a:lnTo>
                  <a:lnTo>
                    <a:pt x="1272" y="864"/>
                  </a:lnTo>
                  <a:lnTo>
                    <a:pt x="1270" y="866"/>
                  </a:lnTo>
                  <a:lnTo>
                    <a:pt x="1270" y="869"/>
                  </a:lnTo>
                  <a:lnTo>
                    <a:pt x="1270" y="871"/>
                  </a:lnTo>
                  <a:lnTo>
                    <a:pt x="1272" y="874"/>
                  </a:lnTo>
                  <a:lnTo>
                    <a:pt x="1272" y="872"/>
                  </a:lnTo>
                  <a:lnTo>
                    <a:pt x="1274" y="872"/>
                  </a:lnTo>
                  <a:lnTo>
                    <a:pt x="1275" y="871"/>
                  </a:lnTo>
                  <a:lnTo>
                    <a:pt x="1277" y="871"/>
                  </a:lnTo>
                  <a:lnTo>
                    <a:pt x="1277" y="869"/>
                  </a:lnTo>
                  <a:lnTo>
                    <a:pt x="1279" y="867"/>
                  </a:lnTo>
                  <a:lnTo>
                    <a:pt x="1277" y="869"/>
                  </a:lnTo>
                  <a:lnTo>
                    <a:pt x="1277" y="867"/>
                  </a:lnTo>
                  <a:lnTo>
                    <a:pt x="1279" y="867"/>
                  </a:lnTo>
                  <a:lnTo>
                    <a:pt x="1280" y="869"/>
                  </a:lnTo>
                  <a:lnTo>
                    <a:pt x="1282" y="869"/>
                  </a:lnTo>
                  <a:lnTo>
                    <a:pt x="1284" y="871"/>
                  </a:lnTo>
                  <a:lnTo>
                    <a:pt x="1284" y="872"/>
                  </a:lnTo>
                  <a:lnTo>
                    <a:pt x="1284" y="874"/>
                  </a:lnTo>
                  <a:lnTo>
                    <a:pt x="1282" y="877"/>
                  </a:lnTo>
                  <a:lnTo>
                    <a:pt x="1282" y="879"/>
                  </a:lnTo>
                  <a:lnTo>
                    <a:pt x="1282" y="880"/>
                  </a:lnTo>
                  <a:lnTo>
                    <a:pt x="1280" y="880"/>
                  </a:lnTo>
                  <a:lnTo>
                    <a:pt x="1280" y="882"/>
                  </a:lnTo>
                  <a:lnTo>
                    <a:pt x="1280" y="880"/>
                  </a:lnTo>
                  <a:lnTo>
                    <a:pt x="1284" y="880"/>
                  </a:lnTo>
                  <a:lnTo>
                    <a:pt x="1285" y="879"/>
                  </a:lnTo>
                  <a:lnTo>
                    <a:pt x="1288" y="877"/>
                  </a:lnTo>
                  <a:lnTo>
                    <a:pt x="1290" y="877"/>
                  </a:lnTo>
                  <a:lnTo>
                    <a:pt x="1292" y="875"/>
                  </a:lnTo>
                  <a:lnTo>
                    <a:pt x="1293" y="874"/>
                  </a:lnTo>
                  <a:lnTo>
                    <a:pt x="1295" y="874"/>
                  </a:lnTo>
                  <a:lnTo>
                    <a:pt x="1295" y="875"/>
                  </a:lnTo>
                  <a:lnTo>
                    <a:pt x="1293" y="877"/>
                  </a:lnTo>
                  <a:lnTo>
                    <a:pt x="1293" y="875"/>
                  </a:lnTo>
                  <a:lnTo>
                    <a:pt x="1293" y="877"/>
                  </a:lnTo>
                  <a:lnTo>
                    <a:pt x="1292" y="877"/>
                  </a:lnTo>
                  <a:lnTo>
                    <a:pt x="1293" y="877"/>
                  </a:lnTo>
                  <a:lnTo>
                    <a:pt x="1293" y="879"/>
                  </a:lnTo>
                  <a:lnTo>
                    <a:pt x="1295" y="879"/>
                  </a:lnTo>
                  <a:lnTo>
                    <a:pt x="1297" y="879"/>
                  </a:lnTo>
                  <a:lnTo>
                    <a:pt x="1298" y="880"/>
                  </a:lnTo>
                  <a:lnTo>
                    <a:pt x="1300" y="882"/>
                  </a:lnTo>
                  <a:lnTo>
                    <a:pt x="1301" y="882"/>
                  </a:lnTo>
                  <a:lnTo>
                    <a:pt x="1303" y="882"/>
                  </a:lnTo>
                  <a:lnTo>
                    <a:pt x="1303" y="880"/>
                  </a:lnTo>
                  <a:lnTo>
                    <a:pt x="1305" y="880"/>
                  </a:lnTo>
                  <a:lnTo>
                    <a:pt x="1305" y="879"/>
                  </a:lnTo>
                  <a:lnTo>
                    <a:pt x="1306" y="879"/>
                  </a:lnTo>
                  <a:lnTo>
                    <a:pt x="1308" y="880"/>
                  </a:lnTo>
                  <a:lnTo>
                    <a:pt x="1308" y="879"/>
                  </a:lnTo>
                  <a:lnTo>
                    <a:pt x="1306" y="879"/>
                  </a:lnTo>
                  <a:lnTo>
                    <a:pt x="1308" y="879"/>
                  </a:lnTo>
                  <a:lnTo>
                    <a:pt x="1308" y="880"/>
                  </a:lnTo>
                  <a:lnTo>
                    <a:pt x="1308" y="882"/>
                  </a:lnTo>
                  <a:lnTo>
                    <a:pt x="1310" y="882"/>
                  </a:lnTo>
                  <a:lnTo>
                    <a:pt x="1310" y="884"/>
                  </a:lnTo>
                  <a:lnTo>
                    <a:pt x="1311" y="884"/>
                  </a:lnTo>
                  <a:lnTo>
                    <a:pt x="1313" y="884"/>
                  </a:lnTo>
                  <a:lnTo>
                    <a:pt x="1314" y="884"/>
                  </a:lnTo>
                  <a:lnTo>
                    <a:pt x="1314" y="885"/>
                  </a:lnTo>
                  <a:lnTo>
                    <a:pt x="1316" y="887"/>
                  </a:lnTo>
                  <a:lnTo>
                    <a:pt x="1318" y="887"/>
                  </a:lnTo>
                  <a:lnTo>
                    <a:pt x="1319" y="888"/>
                  </a:lnTo>
                  <a:lnTo>
                    <a:pt x="1321" y="890"/>
                  </a:lnTo>
                  <a:lnTo>
                    <a:pt x="1321" y="892"/>
                  </a:lnTo>
                  <a:lnTo>
                    <a:pt x="1323" y="893"/>
                  </a:lnTo>
                  <a:lnTo>
                    <a:pt x="1324" y="895"/>
                  </a:lnTo>
                  <a:lnTo>
                    <a:pt x="1326" y="897"/>
                  </a:lnTo>
                  <a:lnTo>
                    <a:pt x="1327" y="900"/>
                  </a:lnTo>
                  <a:lnTo>
                    <a:pt x="1327" y="901"/>
                  </a:lnTo>
                  <a:lnTo>
                    <a:pt x="1327" y="903"/>
                  </a:lnTo>
                  <a:lnTo>
                    <a:pt x="1327" y="905"/>
                  </a:lnTo>
                  <a:lnTo>
                    <a:pt x="1326" y="906"/>
                  </a:lnTo>
                  <a:lnTo>
                    <a:pt x="1324" y="906"/>
                  </a:lnTo>
                  <a:lnTo>
                    <a:pt x="1324" y="908"/>
                  </a:lnTo>
                  <a:lnTo>
                    <a:pt x="1323" y="908"/>
                  </a:lnTo>
                  <a:lnTo>
                    <a:pt x="1323" y="910"/>
                  </a:lnTo>
                  <a:lnTo>
                    <a:pt x="1323" y="911"/>
                  </a:lnTo>
                  <a:lnTo>
                    <a:pt x="1321" y="911"/>
                  </a:lnTo>
                  <a:lnTo>
                    <a:pt x="1323" y="913"/>
                  </a:lnTo>
                  <a:lnTo>
                    <a:pt x="1323" y="914"/>
                  </a:lnTo>
                  <a:lnTo>
                    <a:pt x="1323" y="913"/>
                  </a:lnTo>
                  <a:lnTo>
                    <a:pt x="1323" y="914"/>
                  </a:lnTo>
                  <a:lnTo>
                    <a:pt x="1324" y="916"/>
                  </a:lnTo>
                  <a:lnTo>
                    <a:pt x="1324" y="914"/>
                  </a:lnTo>
                  <a:lnTo>
                    <a:pt x="1324" y="916"/>
                  </a:lnTo>
                  <a:lnTo>
                    <a:pt x="1324" y="914"/>
                  </a:lnTo>
                  <a:lnTo>
                    <a:pt x="1323" y="913"/>
                  </a:lnTo>
                  <a:lnTo>
                    <a:pt x="1323" y="911"/>
                  </a:lnTo>
                  <a:lnTo>
                    <a:pt x="1327" y="916"/>
                  </a:lnTo>
                  <a:lnTo>
                    <a:pt x="1329" y="918"/>
                  </a:lnTo>
                  <a:lnTo>
                    <a:pt x="1331" y="919"/>
                  </a:lnTo>
                  <a:lnTo>
                    <a:pt x="1334" y="921"/>
                  </a:lnTo>
                  <a:lnTo>
                    <a:pt x="1336" y="921"/>
                  </a:lnTo>
                  <a:lnTo>
                    <a:pt x="1337" y="921"/>
                  </a:lnTo>
                  <a:lnTo>
                    <a:pt x="1339" y="921"/>
                  </a:lnTo>
                  <a:lnTo>
                    <a:pt x="1339" y="919"/>
                  </a:lnTo>
                  <a:lnTo>
                    <a:pt x="1340" y="919"/>
                  </a:lnTo>
                  <a:lnTo>
                    <a:pt x="1342" y="919"/>
                  </a:lnTo>
                  <a:lnTo>
                    <a:pt x="1344" y="919"/>
                  </a:lnTo>
                  <a:lnTo>
                    <a:pt x="1344" y="918"/>
                  </a:lnTo>
                  <a:lnTo>
                    <a:pt x="1345" y="919"/>
                  </a:lnTo>
                  <a:lnTo>
                    <a:pt x="1347" y="919"/>
                  </a:lnTo>
                  <a:lnTo>
                    <a:pt x="1349" y="919"/>
                  </a:lnTo>
                  <a:lnTo>
                    <a:pt x="1350" y="919"/>
                  </a:lnTo>
                  <a:lnTo>
                    <a:pt x="1350" y="921"/>
                  </a:lnTo>
                  <a:lnTo>
                    <a:pt x="1350" y="919"/>
                  </a:lnTo>
                  <a:lnTo>
                    <a:pt x="1352" y="921"/>
                  </a:lnTo>
                  <a:lnTo>
                    <a:pt x="1355" y="921"/>
                  </a:lnTo>
                  <a:lnTo>
                    <a:pt x="1357" y="921"/>
                  </a:lnTo>
                  <a:lnTo>
                    <a:pt x="1358" y="921"/>
                  </a:lnTo>
                  <a:lnTo>
                    <a:pt x="1360" y="921"/>
                  </a:lnTo>
                  <a:lnTo>
                    <a:pt x="1362" y="923"/>
                  </a:lnTo>
                  <a:lnTo>
                    <a:pt x="1363" y="923"/>
                  </a:lnTo>
                  <a:lnTo>
                    <a:pt x="1365" y="923"/>
                  </a:lnTo>
                  <a:lnTo>
                    <a:pt x="1366" y="923"/>
                  </a:lnTo>
                  <a:lnTo>
                    <a:pt x="1368" y="923"/>
                  </a:lnTo>
                  <a:lnTo>
                    <a:pt x="1370" y="921"/>
                  </a:lnTo>
                  <a:lnTo>
                    <a:pt x="1371" y="919"/>
                  </a:lnTo>
                  <a:lnTo>
                    <a:pt x="1371" y="918"/>
                  </a:lnTo>
                  <a:lnTo>
                    <a:pt x="1371" y="916"/>
                  </a:lnTo>
                  <a:lnTo>
                    <a:pt x="1370" y="916"/>
                  </a:lnTo>
                  <a:lnTo>
                    <a:pt x="1368" y="914"/>
                  </a:lnTo>
                  <a:lnTo>
                    <a:pt x="1366" y="914"/>
                  </a:lnTo>
                  <a:lnTo>
                    <a:pt x="1365" y="914"/>
                  </a:lnTo>
                  <a:lnTo>
                    <a:pt x="1366" y="914"/>
                  </a:lnTo>
                  <a:lnTo>
                    <a:pt x="1365" y="914"/>
                  </a:lnTo>
                  <a:lnTo>
                    <a:pt x="1363" y="914"/>
                  </a:lnTo>
                  <a:lnTo>
                    <a:pt x="1365" y="914"/>
                  </a:lnTo>
                  <a:lnTo>
                    <a:pt x="1363" y="914"/>
                  </a:lnTo>
                  <a:lnTo>
                    <a:pt x="1365" y="916"/>
                  </a:lnTo>
                  <a:lnTo>
                    <a:pt x="1366" y="916"/>
                  </a:lnTo>
                  <a:lnTo>
                    <a:pt x="1365" y="916"/>
                  </a:lnTo>
                  <a:lnTo>
                    <a:pt x="1366" y="916"/>
                  </a:lnTo>
                  <a:lnTo>
                    <a:pt x="1365" y="916"/>
                  </a:lnTo>
                  <a:lnTo>
                    <a:pt x="1363" y="914"/>
                  </a:lnTo>
                  <a:lnTo>
                    <a:pt x="1362" y="913"/>
                  </a:lnTo>
                  <a:lnTo>
                    <a:pt x="1360" y="911"/>
                  </a:lnTo>
                  <a:lnTo>
                    <a:pt x="1358" y="911"/>
                  </a:lnTo>
                  <a:lnTo>
                    <a:pt x="1357" y="910"/>
                  </a:lnTo>
                  <a:lnTo>
                    <a:pt x="1355" y="910"/>
                  </a:lnTo>
                  <a:lnTo>
                    <a:pt x="1357" y="910"/>
                  </a:lnTo>
                  <a:lnTo>
                    <a:pt x="1357" y="911"/>
                  </a:lnTo>
                  <a:lnTo>
                    <a:pt x="1358" y="911"/>
                  </a:lnTo>
                  <a:lnTo>
                    <a:pt x="1357" y="911"/>
                  </a:lnTo>
                  <a:lnTo>
                    <a:pt x="1353" y="908"/>
                  </a:lnTo>
                  <a:lnTo>
                    <a:pt x="1352" y="908"/>
                  </a:lnTo>
                  <a:lnTo>
                    <a:pt x="1350" y="908"/>
                  </a:lnTo>
                  <a:lnTo>
                    <a:pt x="1352" y="908"/>
                  </a:lnTo>
                  <a:lnTo>
                    <a:pt x="1350" y="908"/>
                  </a:lnTo>
                  <a:lnTo>
                    <a:pt x="1352" y="906"/>
                  </a:lnTo>
                  <a:lnTo>
                    <a:pt x="1350" y="906"/>
                  </a:lnTo>
                  <a:lnTo>
                    <a:pt x="1349" y="905"/>
                  </a:lnTo>
                  <a:lnTo>
                    <a:pt x="1349" y="906"/>
                  </a:lnTo>
                  <a:lnTo>
                    <a:pt x="1349" y="905"/>
                  </a:lnTo>
                  <a:lnTo>
                    <a:pt x="1347" y="905"/>
                  </a:lnTo>
                  <a:lnTo>
                    <a:pt x="1342" y="901"/>
                  </a:lnTo>
                  <a:lnTo>
                    <a:pt x="1339" y="898"/>
                  </a:lnTo>
                  <a:lnTo>
                    <a:pt x="1337" y="897"/>
                  </a:lnTo>
                  <a:lnTo>
                    <a:pt x="1336" y="897"/>
                  </a:lnTo>
                  <a:lnTo>
                    <a:pt x="1334" y="893"/>
                  </a:lnTo>
                  <a:lnTo>
                    <a:pt x="1332" y="893"/>
                  </a:lnTo>
                  <a:lnTo>
                    <a:pt x="1331" y="893"/>
                  </a:lnTo>
                  <a:lnTo>
                    <a:pt x="1329" y="892"/>
                  </a:lnTo>
                  <a:lnTo>
                    <a:pt x="1331" y="892"/>
                  </a:lnTo>
                  <a:lnTo>
                    <a:pt x="1329" y="892"/>
                  </a:lnTo>
                  <a:lnTo>
                    <a:pt x="1329" y="890"/>
                  </a:lnTo>
                  <a:lnTo>
                    <a:pt x="1329" y="892"/>
                  </a:lnTo>
                  <a:lnTo>
                    <a:pt x="1327" y="890"/>
                  </a:lnTo>
                  <a:lnTo>
                    <a:pt x="1326" y="890"/>
                  </a:lnTo>
                  <a:lnTo>
                    <a:pt x="1323" y="887"/>
                  </a:lnTo>
                  <a:lnTo>
                    <a:pt x="1321" y="887"/>
                  </a:lnTo>
                  <a:lnTo>
                    <a:pt x="1321" y="888"/>
                  </a:lnTo>
                  <a:lnTo>
                    <a:pt x="1319" y="885"/>
                  </a:lnTo>
                  <a:lnTo>
                    <a:pt x="1319" y="884"/>
                  </a:lnTo>
                  <a:lnTo>
                    <a:pt x="1318" y="884"/>
                  </a:lnTo>
                  <a:lnTo>
                    <a:pt x="1316" y="884"/>
                  </a:lnTo>
                  <a:lnTo>
                    <a:pt x="1316" y="882"/>
                  </a:lnTo>
                  <a:lnTo>
                    <a:pt x="1316" y="884"/>
                  </a:lnTo>
                  <a:lnTo>
                    <a:pt x="1318" y="884"/>
                  </a:lnTo>
                  <a:lnTo>
                    <a:pt x="1318" y="885"/>
                  </a:lnTo>
                  <a:lnTo>
                    <a:pt x="1316" y="884"/>
                  </a:lnTo>
                  <a:lnTo>
                    <a:pt x="1316" y="882"/>
                  </a:lnTo>
                  <a:lnTo>
                    <a:pt x="1314" y="880"/>
                  </a:lnTo>
                  <a:lnTo>
                    <a:pt x="1313" y="879"/>
                  </a:lnTo>
                  <a:lnTo>
                    <a:pt x="1311" y="879"/>
                  </a:lnTo>
                  <a:lnTo>
                    <a:pt x="1311" y="877"/>
                  </a:lnTo>
                  <a:lnTo>
                    <a:pt x="1310" y="877"/>
                  </a:lnTo>
                  <a:lnTo>
                    <a:pt x="1308" y="877"/>
                  </a:lnTo>
                  <a:lnTo>
                    <a:pt x="1308" y="875"/>
                  </a:lnTo>
                  <a:lnTo>
                    <a:pt x="1310" y="879"/>
                  </a:lnTo>
                  <a:lnTo>
                    <a:pt x="1308" y="875"/>
                  </a:lnTo>
                  <a:lnTo>
                    <a:pt x="1308" y="874"/>
                  </a:lnTo>
                  <a:lnTo>
                    <a:pt x="1306" y="874"/>
                  </a:lnTo>
                  <a:lnTo>
                    <a:pt x="1306" y="875"/>
                  </a:lnTo>
                  <a:lnTo>
                    <a:pt x="1306" y="874"/>
                  </a:lnTo>
                  <a:lnTo>
                    <a:pt x="1306" y="875"/>
                  </a:lnTo>
                  <a:lnTo>
                    <a:pt x="1306" y="874"/>
                  </a:lnTo>
                  <a:lnTo>
                    <a:pt x="1305" y="872"/>
                  </a:lnTo>
                  <a:lnTo>
                    <a:pt x="1303" y="871"/>
                  </a:lnTo>
                  <a:lnTo>
                    <a:pt x="1303" y="869"/>
                  </a:lnTo>
                  <a:lnTo>
                    <a:pt x="1301" y="869"/>
                  </a:lnTo>
                  <a:lnTo>
                    <a:pt x="1300" y="869"/>
                  </a:lnTo>
                  <a:lnTo>
                    <a:pt x="1300" y="867"/>
                  </a:lnTo>
                  <a:lnTo>
                    <a:pt x="1298" y="867"/>
                  </a:lnTo>
                  <a:lnTo>
                    <a:pt x="1298" y="866"/>
                  </a:lnTo>
                  <a:lnTo>
                    <a:pt x="1297" y="862"/>
                  </a:lnTo>
                  <a:lnTo>
                    <a:pt x="1293" y="859"/>
                  </a:lnTo>
                  <a:lnTo>
                    <a:pt x="1293" y="858"/>
                  </a:lnTo>
                  <a:lnTo>
                    <a:pt x="1292" y="858"/>
                  </a:lnTo>
                  <a:lnTo>
                    <a:pt x="1290" y="858"/>
                  </a:lnTo>
                  <a:lnTo>
                    <a:pt x="1290" y="859"/>
                  </a:lnTo>
                  <a:lnTo>
                    <a:pt x="1288" y="859"/>
                  </a:lnTo>
                  <a:lnTo>
                    <a:pt x="1290" y="862"/>
                  </a:lnTo>
                  <a:lnTo>
                    <a:pt x="1288" y="864"/>
                  </a:lnTo>
                  <a:lnTo>
                    <a:pt x="1287" y="866"/>
                  </a:lnTo>
                  <a:lnTo>
                    <a:pt x="1287" y="864"/>
                  </a:lnTo>
                  <a:lnTo>
                    <a:pt x="1288" y="866"/>
                  </a:lnTo>
                  <a:lnTo>
                    <a:pt x="1288" y="864"/>
                  </a:lnTo>
                  <a:lnTo>
                    <a:pt x="1285" y="864"/>
                  </a:lnTo>
                  <a:lnTo>
                    <a:pt x="1287" y="864"/>
                  </a:lnTo>
                  <a:lnTo>
                    <a:pt x="1287" y="866"/>
                  </a:lnTo>
                  <a:lnTo>
                    <a:pt x="1285" y="864"/>
                  </a:lnTo>
                  <a:lnTo>
                    <a:pt x="1285" y="866"/>
                  </a:lnTo>
                  <a:lnTo>
                    <a:pt x="1285" y="864"/>
                  </a:lnTo>
                  <a:lnTo>
                    <a:pt x="1285" y="862"/>
                  </a:lnTo>
                  <a:lnTo>
                    <a:pt x="1285" y="861"/>
                  </a:lnTo>
                  <a:lnTo>
                    <a:pt x="1285" y="859"/>
                  </a:lnTo>
                  <a:lnTo>
                    <a:pt x="1285" y="858"/>
                  </a:lnTo>
                  <a:lnTo>
                    <a:pt x="1284" y="854"/>
                  </a:lnTo>
                  <a:lnTo>
                    <a:pt x="1285" y="854"/>
                  </a:lnTo>
                  <a:lnTo>
                    <a:pt x="1285" y="853"/>
                  </a:lnTo>
                  <a:lnTo>
                    <a:pt x="1284" y="853"/>
                  </a:lnTo>
                  <a:lnTo>
                    <a:pt x="1284" y="854"/>
                  </a:lnTo>
                  <a:lnTo>
                    <a:pt x="1282" y="853"/>
                  </a:lnTo>
                  <a:lnTo>
                    <a:pt x="1282" y="851"/>
                  </a:lnTo>
                  <a:lnTo>
                    <a:pt x="1284" y="851"/>
                  </a:lnTo>
                  <a:lnTo>
                    <a:pt x="1284" y="853"/>
                  </a:lnTo>
                  <a:lnTo>
                    <a:pt x="1284" y="851"/>
                  </a:lnTo>
                  <a:lnTo>
                    <a:pt x="1284" y="853"/>
                  </a:lnTo>
                  <a:lnTo>
                    <a:pt x="1284" y="851"/>
                  </a:lnTo>
                  <a:lnTo>
                    <a:pt x="1284" y="853"/>
                  </a:lnTo>
                  <a:lnTo>
                    <a:pt x="1284" y="851"/>
                  </a:lnTo>
                  <a:lnTo>
                    <a:pt x="1282" y="851"/>
                  </a:lnTo>
                  <a:lnTo>
                    <a:pt x="1284" y="851"/>
                  </a:lnTo>
                  <a:lnTo>
                    <a:pt x="1282" y="849"/>
                  </a:lnTo>
                  <a:lnTo>
                    <a:pt x="1280" y="849"/>
                  </a:lnTo>
                  <a:lnTo>
                    <a:pt x="1282" y="848"/>
                  </a:lnTo>
                  <a:lnTo>
                    <a:pt x="1282" y="849"/>
                  </a:lnTo>
                  <a:lnTo>
                    <a:pt x="1282" y="848"/>
                  </a:lnTo>
                  <a:lnTo>
                    <a:pt x="1282" y="849"/>
                  </a:lnTo>
                  <a:lnTo>
                    <a:pt x="1282" y="848"/>
                  </a:lnTo>
                  <a:lnTo>
                    <a:pt x="1280" y="846"/>
                  </a:lnTo>
                  <a:lnTo>
                    <a:pt x="1282" y="846"/>
                  </a:lnTo>
                  <a:lnTo>
                    <a:pt x="1284" y="848"/>
                  </a:lnTo>
                  <a:lnTo>
                    <a:pt x="1285" y="848"/>
                  </a:lnTo>
                  <a:lnTo>
                    <a:pt x="1284" y="848"/>
                  </a:lnTo>
                  <a:lnTo>
                    <a:pt x="1284" y="846"/>
                  </a:lnTo>
                  <a:lnTo>
                    <a:pt x="1282" y="845"/>
                  </a:lnTo>
                  <a:lnTo>
                    <a:pt x="1282" y="846"/>
                  </a:lnTo>
                  <a:lnTo>
                    <a:pt x="1282" y="845"/>
                  </a:lnTo>
                  <a:lnTo>
                    <a:pt x="1280" y="845"/>
                  </a:lnTo>
                  <a:lnTo>
                    <a:pt x="1280" y="843"/>
                  </a:lnTo>
                  <a:lnTo>
                    <a:pt x="1280" y="845"/>
                  </a:lnTo>
                  <a:lnTo>
                    <a:pt x="1279" y="843"/>
                  </a:lnTo>
                  <a:lnTo>
                    <a:pt x="1279" y="845"/>
                  </a:lnTo>
                  <a:lnTo>
                    <a:pt x="1279" y="843"/>
                  </a:lnTo>
                  <a:lnTo>
                    <a:pt x="1279" y="841"/>
                  </a:lnTo>
                  <a:lnTo>
                    <a:pt x="1277" y="840"/>
                  </a:lnTo>
                  <a:lnTo>
                    <a:pt x="1275" y="838"/>
                  </a:lnTo>
                  <a:lnTo>
                    <a:pt x="1275" y="836"/>
                  </a:lnTo>
                  <a:lnTo>
                    <a:pt x="1274" y="835"/>
                  </a:lnTo>
                  <a:lnTo>
                    <a:pt x="1272" y="835"/>
                  </a:lnTo>
                  <a:lnTo>
                    <a:pt x="1270" y="835"/>
                  </a:lnTo>
                  <a:lnTo>
                    <a:pt x="1270" y="836"/>
                  </a:lnTo>
                  <a:lnTo>
                    <a:pt x="1270" y="838"/>
                  </a:lnTo>
                  <a:lnTo>
                    <a:pt x="1272" y="841"/>
                  </a:lnTo>
                  <a:lnTo>
                    <a:pt x="1270" y="841"/>
                  </a:lnTo>
                  <a:lnTo>
                    <a:pt x="1269" y="840"/>
                  </a:lnTo>
                  <a:lnTo>
                    <a:pt x="1269" y="838"/>
                  </a:lnTo>
                  <a:lnTo>
                    <a:pt x="1267" y="838"/>
                  </a:lnTo>
                  <a:lnTo>
                    <a:pt x="1266" y="838"/>
                  </a:lnTo>
                  <a:lnTo>
                    <a:pt x="1264" y="838"/>
                  </a:lnTo>
                  <a:lnTo>
                    <a:pt x="1264" y="836"/>
                  </a:lnTo>
                  <a:lnTo>
                    <a:pt x="1266" y="836"/>
                  </a:lnTo>
                  <a:lnTo>
                    <a:pt x="1266" y="835"/>
                  </a:lnTo>
                  <a:lnTo>
                    <a:pt x="1264" y="835"/>
                  </a:lnTo>
                  <a:lnTo>
                    <a:pt x="1264" y="833"/>
                  </a:lnTo>
                  <a:lnTo>
                    <a:pt x="1262" y="833"/>
                  </a:lnTo>
                  <a:lnTo>
                    <a:pt x="1261" y="833"/>
                  </a:lnTo>
                  <a:lnTo>
                    <a:pt x="1261" y="832"/>
                  </a:lnTo>
                  <a:lnTo>
                    <a:pt x="1259" y="832"/>
                  </a:lnTo>
                  <a:lnTo>
                    <a:pt x="1261" y="832"/>
                  </a:lnTo>
                  <a:lnTo>
                    <a:pt x="1262" y="832"/>
                  </a:lnTo>
                  <a:lnTo>
                    <a:pt x="1264" y="832"/>
                  </a:lnTo>
                  <a:lnTo>
                    <a:pt x="1266" y="830"/>
                  </a:lnTo>
                  <a:lnTo>
                    <a:pt x="1267" y="828"/>
                  </a:lnTo>
                  <a:lnTo>
                    <a:pt x="1267" y="830"/>
                  </a:lnTo>
                  <a:lnTo>
                    <a:pt x="1269" y="830"/>
                  </a:lnTo>
                  <a:lnTo>
                    <a:pt x="1269" y="832"/>
                  </a:lnTo>
                  <a:lnTo>
                    <a:pt x="1270" y="832"/>
                  </a:lnTo>
                  <a:lnTo>
                    <a:pt x="1270" y="833"/>
                  </a:lnTo>
                  <a:lnTo>
                    <a:pt x="1272" y="832"/>
                  </a:lnTo>
                  <a:lnTo>
                    <a:pt x="1272" y="830"/>
                  </a:lnTo>
                  <a:lnTo>
                    <a:pt x="1272" y="828"/>
                  </a:lnTo>
                  <a:lnTo>
                    <a:pt x="1272" y="827"/>
                  </a:lnTo>
                  <a:lnTo>
                    <a:pt x="1272" y="825"/>
                  </a:lnTo>
                  <a:lnTo>
                    <a:pt x="1272" y="823"/>
                  </a:lnTo>
                  <a:lnTo>
                    <a:pt x="1270" y="825"/>
                  </a:lnTo>
                  <a:lnTo>
                    <a:pt x="1272" y="825"/>
                  </a:lnTo>
                  <a:lnTo>
                    <a:pt x="1270" y="825"/>
                  </a:lnTo>
                  <a:lnTo>
                    <a:pt x="1270" y="827"/>
                  </a:lnTo>
                  <a:lnTo>
                    <a:pt x="1272" y="827"/>
                  </a:lnTo>
                  <a:lnTo>
                    <a:pt x="1270" y="827"/>
                  </a:lnTo>
                  <a:lnTo>
                    <a:pt x="1270" y="825"/>
                  </a:lnTo>
                  <a:lnTo>
                    <a:pt x="1270" y="823"/>
                  </a:lnTo>
                  <a:lnTo>
                    <a:pt x="1270" y="822"/>
                  </a:lnTo>
                  <a:lnTo>
                    <a:pt x="1270" y="823"/>
                  </a:lnTo>
                  <a:lnTo>
                    <a:pt x="1269" y="823"/>
                  </a:lnTo>
                  <a:lnTo>
                    <a:pt x="1270" y="823"/>
                  </a:lnTo>
                  <a:lnTo>
                    <a:pt x="1270" y="825"/>
                  </a:lnTo>
                  <a:lnTo>
                    <a:pt x="1269" y="823"/>
                  </a:lnTo>
                  <a:lnTo>
                    <a:pt x="1269" y="822"/>
                  </a:lnTo>
                  <a:lnTo>
                    <a:pt x="1269" y="823"/>
                  </a:lnTo>
                  <a:lnTo>
                    <a:pt x="1269" y="822"/>
                  </a:lnTo>
                  <a:lnTo>
                    <a:pt x="1269" y="820"/>
                  </a:lnTo>
                  <a:lnTo>
                    <a:pt x="1269" y="822"/>
                  </a:lnTo>
                  <a:lnTo>
                    <a:pt x="1269" y="823"/>
                  </a:lnTo>
                  <a:lnTo>
                    <a:pt x="1267" y="823"/>
                  </a:lnTo>
                  <a:lnTo>
                    <a:pt x="1267" y="822"/>
                  </a:lnTo>
                  <a:lnTo>
                    <a:pt x="1269" y="822"/>
                  </a:lnTo>
                  <a:lnTo>
                    <a:pt x="1267" y="822"/>
                  </a:lnTo>
                  <a:lnTo>
                    <a:pt x="1266" y="822"/>
                  </a:lnTo>
                  <a:lnTo>
                    <a:pt x="1267" y="823"/>
                  </a:lnTo>
                  <a:lnTo>
                    <a:pt x="1266" y="822"/>
                  </a:lnTo>
                  <a:lnTo>
                    <a:pt x="1266" y="823"/>
                  </a:lnTo>
                  <a:lnTo>
                    <a:pt x="1266" y="822"/>
                  </a:lnTo>
                  <a:lnTo>
                    <a:pt x="1267" y="822"/>
                  </a:lnTo>
                  <a:lnTo>
                    <a:pt x="1267" y="820"/>
                  </a:lnTo>
                  <a:lnTo>
                    <a:pt x="1266" y="820"/>
                  </a:lnTo>
                  <a:lnTo>
                    <a:pt x="1267" y="820"/>
                  </a:lnTo>
                  <a:lnTo>
                    <a:pt x="1269" y="820"/>
                  </a:lnTo>
                  <a:lnTo>
                    <a:pt x="1267" y="820"/>
                  </a:lnTo>
                  <a:lnTo>
                    <a:pt x="1266" y="820"/>
                  </a:lnTo>
                  <a:lnTo>
                    <a:pt x="1266" y="822"/>
                  </a:lnTo>
                  <a:lnTo>
                    <a:pt x="1266" y="820"/>
                  </a:lnTo>
                  <a:lnTo>
                    <a:pt x="1267" y="820"/>
                  </a:lnTo>
                  <a:lnTo>
                    <a:pt x="1266" y="820"/>
                  </a:lnTo>
                  <a:lnTo>
                    <a:pt x="1266" y="819"/>
                  </a:lnTo>
                  <a:lnTo>
                    <a:pt x="1266" y="820"/>
                  </a:lnTo>
                  <a:lnTo>
                    <a:pt x="1266" y="822"/>
                  </a:lnTo>
                  <a:lnTo>
                    <a:pt x="1264" y="822"/>
                  </a:lnTo>
                  <a:lnTo>
                    <a:pt x="1266" y="822"/>
                  </a:lnTo>
                  <a:lnTo>
                    <a:pt x="1266" y="823"/>
                  </a:lnTo>
                  <a:lnTo>
                    <a:pt x="1266" y="822"/>
                  </a:lnTo>
                  <a:lnTo>
                    <a:pt x="1264" y="823"/>
                  </a:lnTo>
                  <a:lnTo>
                    <a:pt x="1264" y="822"/>
                  </a:lnTo>
                  <a:lnTo>
                    <a:pt x="1266" y="822"/>
                  </a:lnTo>
                  <a:lnTo>
                    <a:pt x="1264" y="822"/>
                  </a:lnTo>
                  <a:lnTo>
                    <a:pt x="1264" y="820"/>
                  </a:lnTo>
                  <a:lnTo>
                    <a:pt x="1264" y="822"/>
                  </a:lnTo>
                  <a:lnTo>
                    <a:pt x="1264" y="820"/>
                  </a:lnTo>
                  <a:lnTo>
                    <a:pt x="1264" y="819"/>
                  </a:lnTo>
                  <a:lnTo>
                    <a:pt x="1264" y="820"/>
                  </a:lnTo>
                  <a:lnTo>
                    <a:pt x="1262" y="820"/>
                  </a:lnTo>
                  <a:lnTo>
                    <a:pt x="1259" y="820"/>
                  </a:lnTo>
                  <a:lnTo>
                    <a:pt x="1257" y="820"/>
                  </a:lnTo>
                  <a:lnTo>
                    <a:pt x="1256" y="820"/>
                  </a:lnTo>
                  <a:lnTo>
                    <a:pt x="1254" y="822"/>
                  </a:lnTo>
                  <a:lnTo>
                    <a:pt x="1253" y="823"/>
                  </a:lnTo>
                  <a:lnTo>
                    <a:pt x="1251" y="823"/>
                  </a:lnTo>
                  <a:lnTo>
                    <a:pt x="1249" y="825"/>
                  </a:lnTo>
                  <a:lnTo>
                    <a:pt x="1249" y="827"/>
                  </a:lnTo>
                  <a:lnTo>
                    <a:pt x="1249" y="825"/>
                  </a:lnTo>
                  <a:lnTo>
                    <a:pt x="1248" y="825"/>
                  </a:lnTo>
                  <a:lnTo>
                    <a:pt x="1246" y="825"/>
                  </a:lnTo>
                  <a:lnTo>
                    <a:pt x="1244" y="823"/>
                  </a:lnTo>
                  <a:lnTo>
                    <a:pt x="1243" y="823"/>
                  </a:lnTo>
                  <a:lnTo>
                    <a:pt x="1241" y="823"/>
                  </a:lnTo>
                  <a:lnTo>
                    <a:pt x="1241" y="825"/>
                  </a:lnTo>
                  <a:lnTo>
                    <a:pt x="1241" y="827"/>
                  </a:lnTo>
                  <a:lnTo>
                    <a:pt x="1243" y="828"/>
                  </a:lnTo>
                  <a:lnTo>
                    <a:pt x="1243" y="830"/>
                  </a:lnTo>
                  <a:lnTo>
                    <a:pt x="1244" y="830"/>
                  </a:lnTo>
                  <a:lnTo>
                    <a:pt x="1243" y="830"/>
                  </a:lnTo>
                  <a:lnTo>
                    <a:pt x="1243" y="832"/>
                  </a:lnTo>
                  <a:lnTo>
                    <a:pt x="1243" y="833"/>
                  </a:lnTo>
                  <a:lnTo>
                    <a:pt x="1241" y="833"/>
                  </a:lnTo>
                  <a:lnTo>
                    <a:pt x="1240" y="833"/>
                  </a:lnTo>
                  <a:lnTo>
                    <a:pt x="1238" y="833"/>
                  </a:lnTo>
                  <a:lnTo>
                    <a:pt x="1238" y="832"/>
                  </a:lnTo>
                  <a:lnTo>
                    <a:pt x="1236" y="832"/>
                  </a:lnTo>
                  <a:lnTo>
                    <a:pt x="1235" y="832"/>
                  </a:lnTo>
                  <a:lnTo>
                    <a:pt x="1233" y="830"/>
                  </a:lnTo>
                  <a:lnTo>
                    <a:pt x="1235" y="830"/>
                  </a:lnTo>
                  <a:lnTo>
                    <a:pt x="1233" y="830"/>
                  </a:lnTo>
                  <a:lnTo>
                    <a:pt x="1233" y="832"/>
                  </a:lnTo>
                  <a:lnTo>
                    <a:pt x="1231" y="832"/>
                  </a:lnTo>
                  <a:lnTo>
                    <a:pt x="1230" y="830"/>
                  </a:lnTo>
                  <a:lnTo>
                    <a:pt x="1228" y="828"/>
                  </a:lnTo>
                  <a:lnTo>
                    <a:pt x="1227" y="828"/>
                  </a:lnTo>
                  <a:lnTo>
                    <a:pt x="1225" y="830"/>
                  </a:lnTo>
                  <a:lnTo>
                    <a:pt x="1223" y="828"/>
                  </a:lnTo>
                  <a:lnTo>
                    <a:pt x="1222" y="828"/>
                  </a:lnTo>
                  <a:lnTo>
                    <a:pt x="1222" y="827"/>
                  </a:lnTo>
                  <a:lnTo>
                    <a:pt x="1223" y="827"/>
                  </a:lnTo>
                  <a:lnTo>
                    <a:pt x="1223" y="825"/>
                  </a:lnTo>
                  <a:lnTo>
                    <a:pt x="1222" y="827"/>
                  </a:lnTo>
                  <a:lnTo>
                    <a:pt x="1222" y="825"/>
                  </a:lnTo>
                  <a:lnTo>
                    <a:pt x="1220" y="825"/>
                  </a:lnTo>
                  <a:lnTo>
                    <a:pt x="1222" y="825"/>
                  </a:lnTo>
                  <a:lnTo>
                    <a:pt x="1220" y="825"/>
                  </a:lnTo>
                  <a:lnTo>
                    <a:pt x="1220" y="823"/>
                  </a:lnTo>
                  <a:lnTo>
                    <a:pt x="1220" y="822"/>
                  </a:lnTo>
                  <a:lnTo>
                    <a:pt x="1218" y="822"/>
                  </a:lnTo>
                  <a:lnTo>
                    <a:pt x="1217" y="822"/>
                  </a:lnTo>
                  <a:lnTo>
                    <a:pt x="1217" y="820"/>
                  </a:lnTo>
                  <a:lnTo>
                    <a:pt x="1217" y="822"/>
                  </a:lnTo>
                  <a:lnTo>
                    <a:pt x="1217" y="823"/>
                  </a:lnTo>
                  <a:lnTo>
                    <a:pt x="1218" y="823"/>
                  </a:lnTo>
                  <a:lnTo>
                    <a:pt x="1218" y="825"/>
                  </a:lnTo>
                  <a:lnTo>
                    <a:pt x="1220" y="825"/>
                  </a:lnTo>
                  <a:lnTo>
                    <a:pt x="1220" y="827"/>
                  </a:lnTo>
                  <a:lnTo>
                    <a:pt x="1222" y="827"/>
                  </a:lnTo>
                  <a:lnTo>
                    <a:pt x="1220" y="827"/>
                  </a:lnTo>
                  <a:lnTo>
                    <a:pt x="1222" y="827"/>
                  </a:lnTo>
                  <a:lnTo>
                    <a:pt x="1220" y="827"/>
                  </a:lnTo>
                  <a:lnTo>
                    <a:pt x="1220" y="828"/>
                  </a:lnTo>
                  <a:lnTo>
                    <a:pt x="1220" y="830"/>
                  </a:lnTo>
                  <a:lnTo>
                    <a:pt x="1220" y="832"/>
                  </a:lnTo>
                  <a:lnTo>
                    <a:pt x="1222" y="832"/>
                  </a:lnTo>
                  <a:lnTo>
                    <a:pt x="1222" y="833"/>
                  </a:lnTo>
                  <a:lnTo>
                    <a:pt x="1222" y="835"/>
                  </a:lnTo>
                  <a:lnTo>
                    <a:pt x="1223" y="835"/>
                  </a:lnTo>
                  <a:lnTo>
                    <a:pt x="1223" y="833"/>
                  </a:lnTo>
                  <a:lnTo>
                    <a:pt x="1225" y="833"/>
                  </a:lnTo>
                  <a:lnTo>
                    <a:pt x="1225" y="835"/>
                  </a:lnTo>
                  <a:lnTo>
                    <a:pt x="1225" y="836"/>
                  </a:lnTo>
                  <a:lnTo>
                    <a:pt x="1225" y="838"/>
                  </a:lnTo>
                  <a:lnTo>
                    <a:pt x="1225" y="840"/>
                  </a:lnTo>
                  <a:lnTo>
                    <a:pt x="1225" y="841"/>
                  </a:lnTo>
                  <a:lnTo>
                    <a:pt x="1227" y="843"/>
                  </a:lnTo>
                  <a:lnTo>
                    <a:pt x="1225" y="843"/>
                  </a:lnTo>
                  <a:lnTo>
                    <a:pt x="1225" y="841"/>
                  </a:lnTo>
                  <a:lnTo>
                    <a:pt x="1225" y="843"/>
                  </a:lnTo>
                  <a:lnTo>
                    <a:pt x="1223" y="843"/>
                  </a:lnTo>
                  <a:lnTo>
                    <a:pt x="1225" y="843"/>
                  </a:lnTo>
                  <a:lnTo>
                    <a:pt x="1225" y="845"/>
                  </a:lnTo>
                  <a:lnTo>
                    <a:pt x="1223" y="843"/>
                  </a:lnTo>
                  <a:lnTo>
                    <a:pt x="1223" y="841"/>
                  </a:lnTo>
                  <a:lnTo>
                    <a:pt x="1223" y="840"/>
                  </a:lnTo>
                  <a:lnTo>
                    <a:pt x="1222" y="838"/>
                  </a:lnTo>
                  <a:lnTo>
                    <a:pt x="1222" y="836"/>
                  </a:lnTo>
                  <a:lnTo>
                    <a:pt x="1222" y="835"/>
                  </a:lnTo>
                  <a:lnTo>
                    <a:pt x="1222" y="833"/>
                  </a:lnTo>
                  <a:lnTo>
                    <a:pt x="1220" y="833"/>
                  </a:lnTo>
                  <a:lnTo>
                    <a:pt x="1220" y="835"/>
                  </a:lnTo>
                  <a:lnTo>
                    <a:pt x="1222" y="836"/>
                  </a:lnTo>
                  <a:lnTo>
                    <a:pt x="1220" y="835"/>
                  </a:lnTo>
                  <a:lnTo>
                    <a:pt x="1218" y="835"/>
                  </a:lnTo>
                  <a:lnTo>
                    <a:pt x="1217" y="835"/>
                  </a:lnTo>
                  <a:lnTo>
                    <a:pt x="1217" y="833"/>
                  </a:lnTo>
                  <a:lnTo>
                    <a:pt x="1215" y="835"/>
                  </a:lnTo>
                  <a:lnTo>
                    <a:pt x="1217" y="836"/>
                  </a:lnTo>
                  <a:lnTo>
                    <a:pt x="1217" y="838"/>
                  </a:lnTo>
                  <a:lnTo>
                    <a:pt x="1215" y="838"/>
                  </a:lnTo>
                  <a:lnTo>
                    <a:pt x="1215" y="836"/>
                  </a:lnTo>
                  <a:lnTo>
                    <a:pt x="1215" y="838"/>
                  </a:lnTo>
                  <a:lnTo>
                    <a:pt x="1217" y="840"/>
                  </a:lnTo>
                  <a:lnTo>
                    <a:pt x="1217" y="841"/>
                  </a:lnTo>
                  <a:lnTo>
                    <a:pt x="1217" y="843"/>
                  </a:lnTo>
                  <a:lnTo>
                    <a:pt x="1217" y="845"/>
                  </a:lnTo>
                  <a:lnTo>
                    <a:pt x="1218" y="845"/>
                  </a:lnTo>
                  <a:lnTo>
                    <a:pt x="1218" y="846"/>
                  </a:lnTo>
                  <a:lnTo>
                    <a:pt x="1220" y="846"/>
                  </a:lnTo>
                  <a:lnTo>
                    <a:pt x="1220" y="845"/>
                  </a:lnTo>
                  <a:lnTo>
                    <a:pt x="1220" y="843"/>
                  </a:lnTo>
                  <a:lnTo>
                    <a:pt x="1220" y="841"/>
                  </a:lnTo>
                  <a:lnTo>
                    <a:pt x="1218" y="840"/>
                  </a:lnTo>
                  <a:lnTo>
                    <a:pt x="1220" y="840"/>
                  </a:lnTo>
                  <a:lnTo>
                    <a:pt x="1220" y="838"/>
                  </a:lnTo>
                  <a:lnTo>
                    <a:pt x="1220" y="840"/>
                  </a:lnTo>
                  <a:lnTo>
                    <a:pt x="1220" y="841"/>
                  </a:lnTo>
                  <a:lnTo>
                    <a:pt x="1220" y="843"/>
                  </a:lnTo>
                  <a:lnTo>
                    <a:pt x="1222" y="845"/>
                  </a:lnTo>
                  <a:lnTo>
                    <a:pt x="1220" y="845"/>
                  </a:lnTo>
                  <a:lnTo>
                    <a:pt x="1222" y="845"/>
                  </a:lnTo>
                  <a:lnTo>
                    <a:pt x="1220" y="846"/>
                  </a:lnTo>
                  <a:lnTo>
                    <a:pt x="1222" y="846"/>
                  </a:lnTo>
                  <a:lnTo>
                    <a:pt x="1220" y="846"/>
                  </a:lnTo>
                  <a:lnTo>
                    <a:pt x="1220" y="848"/>
                  </a:lnTo>
                  <a:lnTo>
                    <a:pt x="1222" y="848"/>
                  </a:lnTo>
                  <a:lnTo>
                    <a:pt x="1222" y="846"/>
                  </a:lnTo>
                  <a:lnTo>
                    <a:pt x="1222" y="845"/>
                  </a:lnTo>
                  <a:lnTo>
                    <a:pt x="1223" y="846"/>
                  </a:lnTo>
                  <a:lnTo>
                    <a:pt x="1222" y="846"/>
                  </a:lnTo>
                  <a:lnTo>
                    <a:pt x="1222" y="848"/>
                  </a:lnTo>
                  <a:lnTo>
                    <a:pt x="1220" y="849"/>
                  </a:lnTo>
                  <a:lnTo>
                    <a:pt x="1222" y="851"/>
                  </a:lnTo>
                  <a:lnTo>
                    <a:pt x="1220" y="851"/>
                  </a:lnTo>
                  <a:lnTo>
                    <a:pt x="1218" y="851"/>
                  </a:lnTo>
                  <a:lnTo>
                    <a:pt x="1218" y="849"/>
                  </a:lnTo>
                  <a:lnTo>
                    <a:pt x="1220" y="848"/>
                  </a:lnTo>
                  <a:lnTo>
                    <a:pt x="1220" y="846"/>
                  </a:lnTo>
                  <a:lnTo>
                    <a:pt x="1218" y="846"/>
                  </a:lnTo>
                  <a:lnTo>
                    <a:pt x="1217" y="846"/>
                  </a:lnTo>
                  <a:lnTo>
                    <a:pt x="1217" y="845"/>
                  </a:lnTo>
                  <a:lnTo>
                    <a:pt x="1215" y="845"/>
                  </a:lnTo>
                  <a:lnTo>
                    <a:pt x="1215" y="843"/>
                  </a:lnTo>
                  <a:lnTo>
                    <a:pt x="1215" y="845"/>
                  </a:lnTo>
                  <a:lnTo>
                    <a:pt x="1217" y="843"/>
                  </a:lnTo>
                  <a:lnTo>
                    <a:pt x="1215" y="843"/>
                  </a:lnTo>
                  <a:lnTo>
                    <a:pt x="1214" y="843"/>
                  </a:lnTo>
                  <a:lnTo>
                    <a:pt x="1214" y="841"/>
                  </a:lnTo>
                  <a:lnTo>
                    <a:pt x="1212" y="841"/>
                  </a:lnTo>
                  <a:lnTo>
                    <a:pt x="1212" y="840"/>
                  </a:lnTo>
                  <a:lnTo>
                    <a:pt x="1214" y="840"/>
                  </a:lnTo>
                  <a:lnTo>
                    <a:pt x="1215" y="840"/>
                  </a:lnTo>
                  <a:lnTo>
                    <a:pt x="1215" y="838"/>
                  </a:lnTo>
                  <a:lnTo>
                    <a:pt x="1214" y="840"/>
                  </a:lnTo>
                  <a:lnTo>
                    <a:pt x="1214" y="838"/>
                  </a:lnTo>
                  <a:lnTo>
                    <a:pt x="1214" y="836"/>
                  </a:lnTo>
                  <a:lnTo>
                    <a:pt x="1212" y="836"/>
                  </a:lnTo>
                  <a:lnTo>
                    <a:pt x="1212" y="838"/>
                  </a:lnTo>
                  <a:lnTo>
                    <a:pt x="1212" y="840"/>
                  </a:lnTo>
                  <a:lnTo>
                    <a:pt x="1210" y="840"/>
                  </a:lnTo>
                  <a:lnTo>
                    <a:pt x="1212" y="841"/>
                  </a:lnTo>
                  <a:lnTo>
                    <a:pt x="1210" y="841"/>
                  </a:lnTo>
                  <a:lnTo>
                    <a:pt x="1210" y="843"/>
                  </a:lnTo>
                  <a:lnTo>
                    <a:pt x="1209" y="843"/>
                  </a:lnTo>
                  <a:lnTo>
                    <a:pt x="1209" y="841"/>
                  </a:lnTo>
                  <a:lnTo>
                    <a:pt x="1209" y="840"/>
                  </a:lnTo>
                  <a:lnTo>
                    <a:pt x="1209" y="841"/>
                  </a:lnTo>
                  <a:lnTo>
                    <a:pt x="1207" y="840"/>
                  </a:lnTo>
                  <a:lnTo>
                    <a:pt x="1209" y="840"/>
                  </a:lnTo>
                  <a:lnTo>
                    <a:pt x="1207" y="840"/>
                  </a:lnTo>
                  <a:lnTo>
                    <a:pt x="1209" y="840"/>
                  </a:lnTo>
                  <a:lnTo>
                    <a:pt x="1209" y="838"/>
                  </a:lnTo>
                  <a:lnTo>
                    <a:pt x="1209" y="836"/>
                  </a:lnTo>
                  <a:lnTo>
                    <a:pt x="1209" y="835"/>
                  </a:lnTo>
                  <a:lnTo>
                    <a:pt x="1207" y="835"/>
                  </a:lnTo>
                  <a:lnTo>
                    <a:pt x="1205" y="833"/>
                  </a:lnTo>
                  <a:lnTo>
                    <a:pt x="1204" y="833"/>
                  </a:lnTo>
                  <a:lnTo>
                    <a:pt x="1204" y="835"/>
                  </a:lnTo>
                  <a:lnTo>
                    <a:pt x="1204" y="836"/>
                  </a:lnTo>
                  <a:lnTo>
                    <a:pt x="1204" y="838"/>
                  </a:lnTo>
                  <a:lnTo>
                    <a:pt x="1204" y="840"/>
                  </a:lnTo>
                  <a:lnTo>
                    <a:pt x="1202" y="840"/>
                  </a:lnTo>
                  <a:lnTo>
                    <a:pt x="1204" y="840"/>
                  </a:lnTo>
                  <a:lnTo>
                    <a:pt x="1205" y="840"/>
                  </a:lnTo>
                  <a:lnTo>
                    <a:pt x="1205" y="841"/>
                  </a:lnTo>
                  <a:lnTo>
                    <a:pt x="1207" y="841"/>
                  </a:lnTo>
                  <a:lnTo>
                    <a:pt x="1205" y="841"/>
                  </a:lnTo>
                  <a:lnTo>
                    <a:pt x="1207" y="841"/>
                  </a:lnTo>
                  <a:lnTo>
                    <a:pt x="1207" y="843"/>
                  </a:lnTo>
                  <a:lnTo>
                    <a:pt x="1209" y="845"/>
                  </a:lnTo>
                  <a:lnTo>
                    <a:pt x="1209" y="843"/>
                  </a:lnTo>
                  <a:lnTo>
                    <a:pt x="1209" y="845"/>
                  </a:lnTo>
                  <a:lnTo>
                    <a:pt x="1210" y="845"/>
                  </a:lnTo>
                  <a:lnTo>
                    <a:pt x="1209" y="845"/>
                  </a:lnTo>
                  <a:lnTo>
                    <a:pt x="1210" y="846"/>
                  </a:lnTo>
                  <a:lnTo>
                    <a:pt x="1210" y="848"/>
                  </a:lnTo>
                  <a:lnTo>
                    <a:pt x="1209" y="848"/>
                  </a:lnTo>
                  <a:lnTo>
                    <a:pt x="1209" y="846"/>
                  </a:lnTo>
                  <a:lnTo>
                    <a:pt x="1207" y="845"/>
                  </a:lnTo>
                  <a:lnTo>
                    <a:pt x="1205" y="845"/>
                  </a:lnTo>
                  <a:lnTo>
                    <a:pt x="1205" y="846"/>
                  </a:lnTo>
                  <a:lnTo>
                    <a:pt x="1205" y="848"/>
                  </a:lnTo>
                  <a:lnTo>
                    <a:pt x="1204" y="848"/>
                  </a:lnTo>
                  <a:lnTo>
                    <a:pt x="1204" y="846"/>
                  </a:lnTo>
                  <a:lnTo>
                    <a:pt x="1202" y="845"/>
                  </a:lnTo>
                  <a:lnTo>
                    <a:pt x="1201" y="843"/>
                  </a:lnTo>
                  <a:lnTo>
                    <a:pt x="1199" y="843"/>
                  </a:lnTo>
                  <a:lnTo>
                    <a:pt x="1199" y="845"/>
                  </a:lnTo>
                  <a:lnTo>
                    <a:pt x="1199" y="846"/>
                  </a:lnTo>
                  <a:lnTo>
                    <a:pt x="1199" y="848"/>
                  </a:lnTo>
                  <a:lnTo>
                    <a:pt x="1199" y="849"/>
                  </a:lnTo>
                  <a:lnTo>
                    <a:pt x="1199" y="851"/>
                  </a:lnTo>
                  <a:lnTo>
                    <a:pt x="1199" y="853"/>
                  </a:lnTo>
                  <a:close/>
                  <a:moveTo>
                    <a:pt x="1178" y="854"/>
                  </a:moveTo>
                  <a:lnTo>
                    <a:pt x="1178" y="853"/>
                  </a:lnTo>
                  <a:lnTo>
                    <a:pt x="1176" y="851"/>
                  </a:lnTo>
                  <a:lnTo>
                    <a:pt x="1176" y="853"/>
                  </a:lnTo>
                  <a:lnTo>
                    <a:pt x="1176" y="851"/>
                  </a:lnTo>
                  <a:lnTo>
                    <a:pt x="1171" y="849"/>
                  </a:lnTo>
                  <a:lnTo>
                    <a:pt x="1168" y="849"/>
                  </a:lnTo>
                  <a:lnTo>
                    <a:pt x="1168" y="848"/>
                  </a:lnTo>
                  <a:lnTo>
                    <a:pt x="1166" y="848"/>
                  </a:lnTo>
                  <a:lnTo>
                    <a:pt x="1166" y="849"/>
                  </a:lnTo>
                  <a:lnTo>
                    <a:pt x="1165" y="848"/>
                  </a:lnTo>
                  <a:lnTo>
                    <a:pt x="1165" y="849"/>
                  </a:lnTo>
                  <a:lnTo>
                    <a:pt x="1165" y="851"/>
                  </a:lnTo>
                  <a:lnTo>
                    <a:pt x="1166" y="853"/>
                  </a:lnTo>
                  <a:lnTo>
                    <a:pt x="1168" y="853"/>
                  </a:lnTo>
                  <a:lnTo>
                    <a:pt x="1166" y="853"/>
                  </a:lnTo>
                  <a:lnTo>
                    <a:pt x="1168" y="853"/>
                  </a:lnTo>
                  <a:lnTo>
                    <a:pt x="1168" y="854"/>
                  </a:lnTo>
                  <a:lnTo>
                    <a:pt x="1170" y="856"/>
                  </a:lnTo>
                  <a:lnTo>
                    <a:pt x="1168" y="856"/>
                  </a:lnTo>
                  <a:lnTo>
                    <a:pt x="1170" y="856"/>
                  </a:lnTo>
                  <a:lnTo>
                    <a:pt x="1171" y="858"/>
                  </a:lnTo>
                  <a:lnTo>
                    <a:pt x="1171" y="856"/>
                  </a:lnTo>
                  <a:lnTo>
                    <a:pt x="1173" y="856"/>
                  </a:lnTo>
                  <a:lnTo>
                    <a:pt x="1175" y="856"/>
                  </a:lnTo>
                  <a:lnTo>
                    <a:pt x="1175" y="858"/>
                  </a:lnTo>
                  <a:lnTo>
                    <a:pt x="1176" y="858"/>
                  </a:lnTo>
                  <a:lnTo>
                    <a:pt x="1178" y="858"/>
                  </a:lnTo>
                  <a:lnTo>
                    <a:pt x="1176" y="858"/>
                  </a:lnTo>
                  <a:lnTo>
                    <a:pt x="1178" y="858"/>
                  </a:lnTo>
                  <a:lnTo>
                    <a:pt x="1178" y="856"/>
                  </a:lnTo>
                  <a:lnTo>
                    <a:pt x="1178" y="854"/>
                  </a:lnTo>
                  <a:close/>
                </a:path>
              </a:pathLst>
            </a:custGeom>
            <a:solidFill>
              <a:srgbClr val="E5E5E5"/>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1219" name="Freeform 65">
              <a:extLst>
                <a:ext uri="{FF2B5EF4-FFF2-40B4-BE49-F238E27FC236}">
                  <a16:creationId xmlns:a16="http://schemas.microsoft.com/office/drawing/2014/main" id="{F6B96913-A82A-18E5-4228-D5DCC1C28DFA}"/>
                </a:ext>
              </a:extLst>
            </p:cNvPr>
            <p:cNvSpPr>
              <a:spLocks/>
            </p:cNvSpPr>
            <p:nvPr/>
          </p:nvSpPr>
          <p:spPr bwMode="auto">
            <a:xfrm>
              <a:off x="4468" y="4904"/>
              <a:ext cx="1" cy="0"/>
            </a:xfrm>
            <a:custGeom>
              <a:avLst/>
              <a:gdLst>
                <a:gd name="T0" fmla="*/ 1 w 1"/>
                <a:gd name="T1" fmla="*/ 1 w 1"/>
                <a:gd name="T2" fmla="*/ 0 w 1"/>
                <a:gd name="T3" fmla="*/ 1 w 1"/>
                <a:gd name="T4" fmla="*/ 1 w 1"/>
                <a:gd name="T5" fmla="*/ 1 w 1"/>
                <a:gd name="T6" fmla="*/ 1 w 1"/>
                <a:gd name="T7" fmla="*/ 1 w 1"/>
              </a:gdLst>
              <a:ahLst/>
              <a:cxnLst>
                <a:cxn ang="0">
                  <a:pos x="T0" y="0"/>
                </a:cxn>
                <a:cxn ang="0">
                  <a:pos x="T1" y="0"/>
                </a:cxn>
                <a:cxn ang="0">
                  <a:pos x="T2" y="0"/>
                </a:cxn>
                <a:cxn ang="0">
                  <a:pos x="T3" y="0"/>
                </a:cxn>
                <a:cxn ang="0">
                  <a:pos x="T4" y="0"/>
                </a:cxn>
                <a:cxn ang="0">
                  <a:pos x="T5" y="0"/>
                </a:cxn>
                <a:cxn ang="0">
                  <a:pos x="T6" y="0"/>
                </a:cxn>
                <a:cxn ang="0">
                  <a:pos x="T7" y="0"/>
                </a:cxn>
              </a:cxnLst>
              <a:rect l="0" t="0" r="r" b="b"/>
              <a:pathLst>
                <a:path w="1">
                  <a:moveTo>
                    <a:pt x="1" y="0"/>
                  </a:moveTo>
                  <a:lnTo>
                    <a:pt x="1" y="0"/>
                  </a:lnTo>
                  <a:lnTo>
                    <a:pt x="0" y="0"/>
                  </a:lnTo>
                  <a:lnTo>
                    <a:pt x="1" y="0"/>
                  </a:lnTo>
                  <a:lnTo>
                    <a:pt x="1" y="0"/>
                  </a:lnTo>
                  <a:lnTo>
                    <a:pt x="1" y="0"/>
                  </a:lnTo>
                  <a:lnTo>
                    <a:pt x="1" y="0"/>
                  </a:lnTo>
                  <a:lnTo>
                    <a:pt x="1" y="0"/>
                  </a:lnTo>
                  <a:close/>
                </a:path>
              </a:pathLst>
            </a:custGeom>
            <a:solidFill>
              <a:srgbClr val="E5E5E5"/>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1220" name="Freeform 66">
              <a:extLst>
                <a:ext uri="{FF2B5EF4-FFF2-40B4-BE49-F238E27FC236}">
                  <a16:creationId xmlns:a16="http://schemas.microsoft.com/office/drawing/2014/main" id="{8949BB82-2FA8-6BFC-CBBF-49F59BEEB64B}"/>
                </a:ext>
              </a:extLst>
            </p:cNvPr>
            <p:cNvSpPr>
              <a:spLocks noEditPoints="1"/>
            </p:cNvSpPr>
            <p:nvPr/>
          </p:nvSpPr>
          <p:spPr bwMode="auto">
            <a:xfrm>
              <a:off x="6432" y="594"/>
              <a:ext cx="228" cy="199"/>
            </a:xfrm>
            <a:custGeom>
              <a:avLst/>
              <a:gdLst>
                <a:gd name="T0" fmla="*/ 204 w 228"/>
                <a:gd name="T1" fmla="*/ 12 h 199"/>
                <a:gd name="T2" fmla="*/ 210 w 228"/>
                <a:gd name="T3" fmla="*/ 22 h 199"/>
                <a:gd name="T4" fmla="*/ 220 w 228"/>
                <a:gd name="T5" fmla="*/ 33 h 199"/>
                <a:gd name="T6" fmla="*/ 222 w 228"/>
                <a:gd name="T7" fmla="*/ 49 h 199"/>
                <a:gd name="T8" fmla="*/ 225 w 228"/>
                <a:gd name="T9" fmla="*/ 64 h 199"/>
                <a:gd name="T10" fmla="*/ 226 w 228"/>
                <a:gd name="T11" fmla="*/ 70 h 199"/>
                <a:gd name="T12" fmla="*/ 225 w 228"/>
                <a:gd name="T13" fmla="*/ 75 h 199"/>
                <a:gd name="T14" fmla="*/ 218 w 228"/>
                <a:gd name="T15" fmla="*/ 83 h 199"/>
                <a:gd name="T16" fmla="*/ 220 w 228"/>
                <a:gd name="T17" fmla="*/ 95 h 199"/>
                <a:gd name="T18" fmla="*/ 225 w 228"/>
                <a:gd name="T19" fmla="*/ 109 h 199"/>
                <a:gd name="T20" fmla="*/ 225 w 228"/>
                <a:gd name="T21" fmla="*/ 119 h 199"/>
                <a:gd name="T22" fmla="*/ 220 w 228"/>
                <a:gd name="T23" fmla="*/ 122 h 199"/>
                <a:gd name="T24" fmla="*/ 205 w 228"/>
                <a:gd name="T25" fmla="*/ 135 h 199"/>
                <a:gd name="T26" fmla="*/ 205 w 228"/>
                <a:gd name="T27" fmla="*/ 134 h 199"/>
                <a:gd name="T28" fmla="*/ 199 w 228"/>
                <a:gd name="T29" fmla="*/ 147 h 199"/>
                <a:gd name="T30" fmla="*/ 195 w 228"/>
                <a:gd name="T31" fmla="*/ 163 h 199"/>
                <a:gd name="T32" fmla="*/ 187 w 228"/>
                <a:gd name="T33" fmla="*/ 170 h 199"/>
                <a:gd name="T34" fmla="*/ 178 w 228"/>
                <a:gd name="T35" fmla="*/ 174 h 199"/>
                <a:gd name="T36" fmla="*/ 166 w 228"/>
                <a:gd name="T37" fmla="*/ 183 h 199"/>
                <a:gd name="T38" fmla="*/ 148 w 228"/>
                <a:gd name="T39" fmla="*/ 187 h 199"/>
                <a:gd name="T40" fmla="*/ 134 w 228"/>
                <a:gd name="T41" fmla="*/ 199 h 199"/>
                <a:gd name="T42" fmla="*/ 127 w 228"/>
                <a:gd name="T43" fmla="*/ 194 h 199"/>
                <a:gd name="T44" fmla="*/ 119 w 228"/>
                <a:gd name="T45" fmla="*/ 181 h 199"/>
                <a:gd name="T46" fmla="*/ 113 w 228"/>
                <a:gd name="T47" fmla="*/ 170 h 199"/>
                <a:gd name="T48" fmla="*/ 111 w 228"/>
                <a:gd name="T49" fmla="*/ 165 h 199"/>
                <a:gd name="T50" fmla="*/ 104 w 228"/>
                <a:gd name="T51" fmla="*/ 155 h 199"/>
                <a:gd name="T52" fmla="*/ 103 w 228"/>
                <a:gd name="T53" fmla="*/ 148 h 199"/>
                <a:gd name="T54" fmla="*/ 101 w 228"/>
                <a:gd name="T55" fmla="*/ 139 h 199"/>
                <a:gd name="T56" fmla="*/ 104 w 228"/>
                <a:gd name="T57" fmla="*/ 127 h 199"/>
                <a:gd name="T58" fmla="*/ 103 w 228"/>
                <a:gd name="T59" fmla="*/ 122 h 199"/>
                <a:gd name="T60" fmla="*/ 95 w 228"/>
                <a:gd name="T61" fmla="*/ 113 h 199"/>
                <a:gd name="T62" fmla="*/ 87 w 228"/>
                <a:gd name="T63" fmla="*/ 104 h 199"/>
                <a:gd name="T64" fmla="*/ 83 w 228"/>
                <a:gd name="T65" fmla="*/ 96 h 199"/>
                <a:gd name="T66" fmla="*/ 77 w 228"/>
                <a:gd name="T67" fmla="*/ 90 h 199"/>
                <a:gd name="T68" fmla="*/ 72 w 228"/>
                <a:gd name="T69" fmla="*/ 78 h 199"/>
                <a:gd name="T70" fmla="*/ 69 w 228"/>
                <a:gd name="T71" fmla="*/ 78 h 199"/>
                <a:gd name="T72" fmla="*/ 67 w 228"/>
                <a:gd name="T73" fmla="*/ 77 h 199"/>
                <a:gd name="T74" fmla="*/ 59 w 228"/>
                <a:gd name="T75" fmla="*/ 69 h 199"/>
                <a:gd name="T76" fmla="*/ 52 w 228"/>
                <a:gd name="T77" fmla="*/ 62 h 199"/>
                <a:gd name="T78" fmla="*/ 44 w 228"/>
                <a:gd name="T79" fmla="*/ 52 h 199"/>
                <a:gd name="T80" fmla="*/ 43 w 228"/>
                <a:gd name="T81" fmla="*/ 49 h 199"/>
                <a:gd name="T82" fmla="*/ 36 w 228"/>
                <a:gd name="T83" fmla="*/ 44 h 199"/>
                <a:gd name="T84" fmla="*/ 26 w 228"/>
                <a:gd name="T85" fmla="*/ 38 h 199"/>
                <a:gd name="T86" fmla="*/ 28 w 228"/>
                <a:gd name="T87" fmla="*/ 38 h 199"/>
                <a:gd name="T88" fmla="*/ 34 w 228"/>
                <a:gd name="T89" fmla="*/ 33 h 199"/>
                <a:gd name="T90" fmla="*/ 38 w 228"/>
                <a:gd name="T91" fmla="*/ 31 h 199"/>
                <a:gd name="T92" fmla="*/ 33 w 228"/>
                <a:gd name="T93" fmla="*/ 35 h 199"/>
                <a:gd name="T94" fmla="*/ 28 w 228"/>
                <a:gd name="T95" fmla="*/ 38 h 199"/>
                <a:gd name="T96" fmla="*/ 23 w 228"/>
                <a:gd name="T97" fmla="*/ 33 h 199"/>
                <a:gd name="T98" fmla="*/ 17 w 228"/>
                <a:gd name="T99" fmla="*/ 25 h 199"/>
                <a:gd name="T100" fmla="*/ 10 w 228"/>
                <a:gd name="T101" fmla="*/ 18 h 199"/>
                <a:gd name="T102" fmla="*/ 5 w 228"/>
                <a:gd name="T103" fmla="*/ 10 h 199"/>
                <a:gd name="T104" fmla="*/ 2 w 228"/>
                <a:gd name="T105" fmla="*/ 7 h 199"/>
                <a:gd name="T106" fmla="*/ 0 w 228"/>
                <a:gd name="T107" fmla="*/ 0 h 199"/>
                <a:gd name="T108" fmla="*/ 202 w 228"/>
                <a:gd name="T109" fmla="*/ 4 h 199"/>
                <a:gd name="T110" fmla="*/ 44 w 228"/>
                <a:gd name="T111" fmla="*/ 54 h 199"/>
                <a:gd name="T112" fmla="*/ 44 w 228"/>
                <a:gd name="T113" fmla="*/ 54 h 199"/>
                <a:gd name="T114" fmla="*/ 74 w 228"/>
                <a:gd name="T115" fmla="*/ 78 h 199"/>
                <a:gd name="T116" fmla="*/ 104 w 228"/>
                <a:gd name="T117" fmla="*/ 122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28" h="199">
                  <a:moveTo>
                    <a:pt x="202" y="4"/>
                  </a:moveTo>
                  <a:lnTo>
                    <a:pt x="200" y="4"/>
                  </a:lnTo>
                  <a:lnTo>
                    <a:pt x="202" y="4"/>
                  </a:lnTo>
                  <a:lnTo>
                    <a:pt x="204" y="5"/>
                  </a:lnTo>
                  <a:lnTo>
                    <a:pt x="204" y="9"/>
                  </a:lnTo>
                  <a:lnTo>
                    <a:pt x="204" y="10"/>
                  </a:lnTo>
                  <a:lnTo>
                    <a:pt x="204" y="12"/>
                  </a:lnTo>
                  <a:lnTo>
                    <a:pt x="202" y="12"/>
                  </a:lnTo>
                  <a:lnTo>
                    <a:pt x="202" y="13"/>
                  </a:lnTo>
                  <a:lnTo>
                    <a:pt x="202" y="12"/>
                  </a:lnTo>
                  <a:lnTo>
                    <a:pt x="204" y="12"/>
                  </a:lnTo>
                  <a:lnTo>
                    <a:pt x="205" y="12"/>
                  </a:lnTo>
                  <a:lnTo>
                    <a:pt x="207" y="15"/>
                  </a:lnTo>
                  <a:lnTo>
                    <a:pt x="210" y="22"/>
                  </a:lnTo>
                  <a:lnTo>
                    <a:pt x="212" y="23"/>
                  </a:lnTo>
                  <a:lnTo>
                    <a:pt x="215" y="26"/>
                  </a:lnTo>
                  <a:lnTo>
                    <a:pt x="217" y="28"/>
                  </a:lnTo>
                  <a:lnTo>
                    <a:pt x="218" y="30"/>
                  </a:lnTo>
                  <a:lnTo>
                    <a:pt x="220" y="30"/>
                  </a:lnTo>
                  <a:lnTo>
                    <a:pt x="220" y="31"/>
                  </a:lnTo>
                  <a:lnTo>
                    <a:pt x="220" y="33"/>
                  </a:lnTo>
                  <a:lnTo>
                    <a:pt x="222" y="33"/>
                  </a:lnTo>
                  <a:lnTo>
                    <a:pt x="222" y="36"/>
                  </a:lnTo>
                  <a:lnTo>
                    <a:pt x="222" y="39"/>
                  </a:lnTo>
                  <a:lnTo>
                    <a:pt x="222" y="41"/>
                  </a:lnTo>
                  <a:lnTo>
                    <a:pt x="222" y="44"/>
                  </a:lnTo>
                  <a:lnTo>
                    <a:pt x="222" y="48"/>
                  </a:lnTo>
                  <a:lnTo>
                    <a:pt x="222" y="49"/>
                  </a:lnTo>
                  <a:lnTo>
                    <a:pt x="222" y="51"/>
                  </a:lnTo>
                  <a:lnTo>
                    <a:pt x="222" y="52"/>
                  </a:lnTo>
                  <a:lnTo>
                    <a:pt x="222" y="57"/>
                  </a:lnTo>
                  <a:lnTo>
                    <a:pt x="222" y="59"/>
                  </a:lnTo>
                  <a:lnTo>
                    <a:pt x="223" y="61"/>
                  </a:lnTo>
                  <a:lnTo>
                    <a:pt x="223" y="62"/>
                  </a:lnTo>
                  <a:lnTo>
                    <a:pt x="225" y="64"/>
                  </a:lnTo>
                  <a:lnTo>
                    <a:pt x="226" y="65"/>
                  </a:lnTo>
                  <a:lnTo>
                    <a:pt x="226" y="67"/>
                  </a:lnTo>
                  <a:lnTo>
                    <a:pt x="226" y="69"/>
                  </a:lnTo>
                  <a:lnTo>
                    <a:pt x="225" y="70"/>
                  </a:lnTo>
                  <a:lnTo>
                    <a:pt x="225" y="72"/>
                  </a:lnTo>
                  <a:lnTo>
                    <a:pt x="225" y="70"/>
                  </a:lnTo>
                  <a:lnTo>
                    <a:pt x="226" y="70"/>
                  </a:lnTo>
                  <a:lnTo>
                    <a:pt x="226" y="72"/>
                  </a:lnTo>
                  <a:lnTo>
                    <a:pt x="226" y="74"/>
                  </a:lnTo>
                  <a:lnTo>
                    <a:pt x="225" y="74"/>
                  </a:lnTo>
                  <a:lnTo>
                    <a:pt x="225" y="75"/>
                  </a:lnTo>
                  <a:lnTo>
                    <a:pt x="225" y="74"/>
                  </a:lnTo>
                  <a:lnTo>
                    <a:pt x="225" y="72"/>
                  </a:lnTo>
                  <a:lnTo>
                    <a:pt x="225" y="75"/>
                  </a:lnTo>
                  <a:lnTo>
                    <a:pt x="225" y="77"/>
                  </a:lnTo>
                  <a:lnTo>
                    <a:pt x="223" y="78"/>
                  </a:lnTo>
                  <a:lnTo>
                    <a:pt x="222" y="80"/>
                  </a:lnTo>
                  <a:lnTo>
                    <a:pt x="220" y="82"/>
                  </a:lnTo>
                  <a:lnTo>
                    <a:pt x="218" y="82"/>
                  </a:lnTo>
                  <a:lnTo>
                    <a:pt x="220" y="82"/>
                  </a:lnTo>
                  <a:lnTo>
                    <a:pt x="218" y="83"/>
                  </a:lnTo>
                  <a:lnTo>
                    <a:pt x="218" y="85"/>
                  </a:lnTo>
                  <a:lnTo>
                    <a:pt x="220" y="85"/>
                  </a:lnTo>
                  <a:lnTo>
                    <a:pt x="220" y="88"/>
                  </a:lnTo>
                  <a:lnTo>
                    <a:pt x="220" y="90"/>
                  </a:lnTo>
                  <a:lnTo>
                    <a:pt x="218" y="91"/>
                  </a:lnTo>
                  <a:lnTo>
                    <a:pt x="218" y="93"/>
                  </a:lnTo>
                  <a:lnTo>
                    <a:pt x="220" y="95"/>
                  </a:lnTo>
                  <a:lnTo>
                    <a:pt x="220" y="96"/>
                  </a:lnTo>
                  <a:lnTo>
                    <a:pt x="222" y="98"/>
                  </a:lnTo>
                  <a:lnTo>
                    <a:pt x="222" y="100"/>
                  </a:lnTo>
                  <a:lnTo>
                    <a:pt x="223" y="101"/>
                  </a:lnTo>
                  <a:lnTo>
                    <a:pt x="223" y="104"/>
                  </a:lnTo>
                  <a:lnTo>
                    <a:pt x="223" y="108"/>
                  </a:lnTo>
                  <a:lnTo>
                    <a:pt x="225" y="109"/>
                  </a:lnTo>
                  <a:lnTo>
                    <a:pt x="225" y="111"/>
                  </a:lnTo>
                  <a:lnTo>
                    <a:pt x="226" y="114"/>
                  </a:lnTo>
                  <a:lnTo>
                    <a:pt x="228" y="114"/>
                  </a:lnTo>
                  <a:lnTo>
                    <a:pt x="228" y="116"/>
                  </a:lnTo>
                  <a:lnTo>
                    <a:pt x="226" y="118"/>
                  </a:lnTo>
                  <a:lnTo>
                    <a:pt x="226" y="119"/>
                  </a:lnTo>
                  <a:lnTo>
                    <a:pt x="225" y="119"/>
                  </a:lnTo>
                  <a:lnTo>
                    <a:pt x="225" y="121"/>
                  </a:lnTo>
                  <a:lnTo>
                    <a:pt x="225" y="122"/>
                  </a:lnTo>
                  <a:lnTo>
                    <a:pt x="223" y="122"/>
                  </a:lnTo>
                  <a:lnTo>
                    <a:pt x="222" y="122"/>
                  </a:lnTo>
                  <a:lnTo>
                    <a:pt x="223" y="122"/>
                  </a:lnTo>
                  <a:lnTo>
                    <a:pt x="222" y="122"/>
                  </a:lnTo>
                  <a:lnTo>
                    <a:pt x="220" y="122"/>
                  </a:lnTo>
                  <a:lnTo>
                    <a:pt x="218" y="124"/>
                  </a:lnTo>
                  <a:lnTo>
                    <a:pt x="213" y="129"/>
                  </a:lnTo>
                  <a:lnTo>
                    <a:pt x="212" y="132"/>
                  </a:lnTo>
                  <a:lnTo>
                    <a:pt x="209" y="134"/>
                  </a:lnTo>
                  <a:lnTo>
                    <a:pt x="209" y="135"/>
                  </a:lnTo>
                  <a:lnTo>
                    <a:pt x="207" y="135"/>
                  </a:lnTo>
                  <a:lnTo>
                    <a:pt x="205" y="135"/>
                  </a:lnTo>
                  <a:lnTo>
                    <a:pt x="204" y="137"/>
                  </a:lnTo>
                  <a:lnTo>
                    <a:pt x="204" y="135"/>
                  </a:lnTo>
                  <a:lnTo>
                    <a:pt x="205" y="135"/>
                  </a:lnTo>
                  <a:lnTo>
                    <a:pt x="205" y="134"/>
                  </a:lnTo>
                  <a:lnTo>
                    <a:pt x="204" y="134"/>
                  </a:lnTo>
                  <a:lnTo>
                    <a:pt x="204" y="135"/>
                  </a:lnTo>
                  <a:lnTo>
                    <a:pt x="205" y="134"/>
                  </a:lnTo>
                  <a:lnTo>
                    <a:pt x="204" y="135"/>
                  </a:lnTo>
                  <a:lnTo>
                    <a:pt x="204" y="137"/>
                  </a:lnTo>
                  <a:lnTo>
                    <a:pt x="202" y="137"/>
                  </a:lnTo>
                  <a:lnTo>
                    <a:pt x="202" y="139"/>
                  </a:lnTo>
                  <a:lnTo>
                    <a:pt x="200" y="142"/>
                  </a:lnTo>
                  <a:lnTo>
                    <a:pt x="200" y="144"/>
                  </a:lnTo>
                  <a:lnTo>
                    <a:pt x="199" y="147"/>
                  </a:lnTo>
                  <a:lnTo>
                    <a:pt x="199" y="150"/>
                  </a:lnTo>
                  <a:lnTo>
                    <a:pt x="199" y="153"/>
                  </a:lnTo>
                  <a:lnTo>
                    <a:pt x="199" y="155"/>
                  </a:lnTo>
                  <a:lnTo>
                    <a:pt x="199" y="158"/>
                  </a:lnTo>
                  <a:lnTo>
                    <a:pt x="199" y="160"/>
                  </a:lnTo>
                  <a:lnTo>
                    <a:pt x="197" y="161"/>
                  </a:lnTo>
                  <a:lnTo>
                    <a:pt x="195" y="163"/>
                  </a:lnTo>
                  <a:lnTo>
                    <a:pt x="194" y="165"/>
                  </a:lnTo>
                  <a:lnTo>
                    <a:pt x="195" y="166"/>
                  </a:lnTo>
                  <a:lnTo>
                    <a:pt x="194" y="168"/>
                  </a:lnTo>
                  <a:lnTo>
                    <a:pt x="191" y="170"/>
                  </a:lnTo>
                  <a:lnTo>
                    <a:pt x="187" y="170"/>
                  </a:lnTo>
                  <a:lnTo>
                    <a:pt x="187" y="171"/>
                  </a:lnTo>
                  <a:lnTo>
                    <a:pt x="187" y="170"/>
                  </a:lnTo>
                  <a:lnTo>
                    <a:pt x="187" y="171"/>
                  </a:lnTo>
                  <a:lnTo>
                    <a:pt x="186" y="173"/>
                  </a:lnTo>
                  <a:lnTo>
                    <a:pt x="186" y="171"/>
                  </a:lnTo>
                  <a:lnTo>
                    <a:pt x="182" y="174"/>
                  </a:lnTo>
                  <a:lnTo>
                    <a:pt x="181" y="174"/>
                  </a:lnTo>
                  <a:lnTo>
                    <a:pt x="179" y="174"/>
                  </a:lnTo>
                  <a:lnTo>
                    <a:pt x="178" y="174"/>
                  </a:lnTo>
                  <a:lnTo>
                    <a:pt x="176" y="176"/>
                  </a:lnTo>
                  <a:lnTo>
                    <a:pt x="174" y="178"/>
                  </a:lnTo>
                  <a:lnTo>
                    <a:pt x="174" y="179"/>
                  </a:lnTo>
                  <a:lnTo>
                    <a:pt x="173" y="183"/>
                  </a:lnTo>
                  <a:lnTo>
                    <a:pt x="171" y="183"/>
                  </a:lnTo>
                  <a:lnTo>
                    <a:pt x="169" y="184"/>
                  </a:lnTo>
                  <a:lnTo>
                    <a:pt x="166" y="183"/>
                  </a:lnTo>
                  <a:lnTo>
                    <a:pt x="165" y="183"/>
                  </a:lnTo>
                  <a:lnTo>
                    <a:pt x="161" y="183"/>
                  </a:lnTo>
                  <a:lnTo>
                    <a:pt x="160" y="184"/>
                  </a:lnTo>
                  <a:lnTo>
                    <a:pt x="158" y="184"/>
                  </a:lnTo>
                  <a:lnTo>
                    <a:pt x="153" y="186"/>
                  </a:lnTo>
                  <a:lnTo>
                    <a:pt x="152" y="187"/>
                  </a:lnTo>
                  <a:lnTo>
                    <a:pt x="148" y="187"/>
                  </a:lnTo>
                  <a:lnTo>
                    <a:pt x="143" y="189"/>
                  </a:lnTo>
                  <a:lnTo>
                    <a:pt x="142" y="191"/>
                  </a:lnTo>
                  <a:lnTo>
                    <a:pt x="140" y="191"/>
                  </a:lnTo>
                  <a:lnTo>
                    <a:pt x="139" y="194"/>
                  </a:lnTo>
                  <a:lnTo>
                    <a:pt x="135" y="197"/>
                  </a:lnTo>
                  <a:lnTo>
                    <a:pt x="134" y="197"/>
                  </a:lnTo>
                  <a:lnTo>
                    <a:pt x="134" y="199"/>
                  </a:lnTo>
                  <a:lnTo>
                    <a:pt x="132" y="199"/>
                  </a:lnTo>
                  <a:lnTo>
                    <a:pt x="130" y="199"/>
                  </a:lnTo>
                  <a:lnTo>
                    <a:pt x="130" y="197"/>
                  </a:lnTo>
                  <a:lnTo>
                    <a:pt x="129" y="197"/>
                  </a:lnTo>
                  <a:lnTo>
                    <a:pt x="129" y="196"/>
                  </a:lnTo>
                  <a:lnTo>
                    <a:pt x="127" y="196"/>
                  </a:lnTo>
                  <a:lnTo>
                    <a:pt x="127" y="194"/>
                  </a:lnTo>
                  <a:lnTo>
                    <a:pt x="124" y="191"/>
                  </a:lnTo>
                  <a:lnTo>
                    <a:pt x="124" y="189"/>
                  </a:lnTo>
                  <a:lnTo>
                    <a:pt x="122" y="187"/>
                  </a:lnTo>
                  <a:lnTo>
                    <a:pt x="122" y="184"/>
                  </a:lnTo>
                  <a:lnTo>
                    <a:pt x="122" y="186"/>
                  </a:lnTo>
                  <a:lnTo>
                    <a:pt x="121" y="183"/>
                  </a:lnTo>
                  <a:lnTo>
                    <a:pt x="119" y="181"/>
                  </a:lnTo>
                  <a:lnTo>
                    <a:pt x="121" y="181"/>
                  </a:lnTo>
                  <a:lnTo>
                    <a:pt x="119" y="181"/>
                  </a:lnTo>
                  <a:lnTo>
                    <a:pt x="119" y="178"/>
                  </a:lnTo>
                  <a:lnTo>
                    <a:pt x="117" y="176"/>
                  </a:lnTo>
                  <a:lnTo>
                    <a:pt x="116" y="174"/>
                  </a:lnTo>
                  <a:lnTo>
                    <a:pt x="114" y="173"/>
                  </a:lnTo>
                  <a:lnTo>
                    <a:pt x="113" y="170"/>
                  </a:lnTo>
                  <a:lnTo>
                    <a:pt x="111" y="166"/>
                  </a:lnTo>
                  <a:lnTo>
                    <a:pt x="109" y="165"/>
                  </a:lnTo>
                  <a:lnTo>
                    <a:pt x="111" y="165"/>
                  </a:lnTo>
                  <a:lnTo>
                    <a:pt x="113" y="165"/>
                  </a:lnTo>
                  <a:lnTo>
                    <a:pt x="111" y="165"/>
                  </a:lnTo>
                  <a:lnTo>
                    <a:pt x="109" y="165"/>
                  </a:lnTo>
                  <a:lnTo>
                    <a:pt x="111" y="165"/>
                  </a:lnTo>
                  <a:lnTo>
                    <a:pt x="109" y="165"/>
                  </a:lnTo>
                  <a:lnTo>
                    <a:pt x="109" y="163"/>
                  </a:lnTo>
                  <a:lnTo>
                    <a:pt x="109" y="161"/>
                  </a:lnTo>
                  <a:lnTo>
                    <a:pt x="108" y="160"/>
                  </a:lnTo>
                  <a:lnTo>
                    <a:pt x="106" y="157"/>
                  </a:lnTo>
                  <a:lnTo>
                    <a:pt x="104" y="157"/>
                  </a:lnTo>
                  <a:lnTo>
                    <a:pt x="104" y="155"/>
                  </a:lnTo>
                  <a:lnTo>
                    <a:pt x="104" y="153"/>
                  </a:lnTo>
                  <a:lnTo>
                    <a:pt x="104" y="152"/>
                  </a:lnTo>
                  <a:lnTo>
                    <a:pt x="104" y="153"/>
                  </a:lnTo>
                  <a:lnTo>
                    <a:pt x="104" y="152"/>
                  </a:lnTo>
                  <a:lnTo>
                    <a:pt x="103" y="148"/>
                  </a:lnTo>
                  <a:lnTo>
                    <a:pt x="104" y="148"/>
                  </a:lnTo>
                  <a:lnTo>
                    <a:pt x="103" y="148"/>
                  </a:lnTo>
                  <a:lnTo>
                    <a:pt x="104" y="148"/>
                  </a:lnTo>
                  <a:lnTo>
                    <a:pt x="103" y="147"/>
                  </a:lnTo>
                  <a:lnTo>
                    <a:pt x="101" y="145"/>
                  </a:lnTo>
                  <a:lnTo>
                    <a:pt x="100" y="142"/>
                  </a:lnTo>
                  <a:lnTo>
                    <a:pt x="100" y="140"/>
                  </a:lnTo>
                  <a:lnTo>
                    <a:pt x="100" y="139"/>
                  </a:lnTo>
                  <a:lnTo>
                    <a:pt x="101" y="139"/>
                  </a:lnTo>
                  <a:lnTo>
                    <a:pt x="101" y="137"/>
                  </a:lnTo>
                  <a:lnTo>
                    <a:pt x="103" y="135"/>
                  </a:lnTo>
                  <a:lnTo>
                    <a:pt x="103" y="134"/>
                  </a:lnTo>
                  <a:lnTo>
                    <a:pt x="103" y="132"/>
                  </a:lnTo>
                  <a:lnTo>
                    <a:pt x="103" y="129"/>
                  </a:lnTo>
                  <a:lnTo>
                    <a:pt x="103" y="127"/>
                  </a:lnTo>
                  <a:lnTo>
                    <a:pt x="104" y="127"/>
                  </a:lnTo>
                  <a:lnTo>
                    <a:pt x="104" y="126"/>
                  </a:lnTo>
                  <a:lnTo>
                    <a:pt x="104" y="124"/>
                  </a:lnTo>
                  <a:lnTo>
                    <a:pt x="103" y="124"/>
                  </a:lnTo>
                  <a:lnTo>
                    <a:pt x="104" y="124"/>
                  </a:lnTo>
                  <a:lnTo>
                    <a:pt x="103" y="122"/>
                  </a:lnTo>
                  <a:lnTo>
                    <a:pt x="104" y="122"/>
                  </a:lnTo>
                  <a:lnTo>
                    <a:pt x="103" y="122"/>
                  </a:lnTo>
                  <a:lnTo>
                    <a:pt x="103" y="121"/>
                  </a:lnTo>
                  <a:lnTo>
                    <a:pt x="101" y="119"/>
                  </a:lnTo>
                  <a:lnTo>
                    <a:pt x="101" y="116"/>
                  </a:lnTo>
                  <a:lnTo>
                    <a:pt x="100" y="114"/>
                  </a:lnTo>
                  <a:lnTo>
                    <a:pt x="98" y="114"/>
                  </a:lnTo>
                  <a:lnTo>
                    <a:pt x="96" y="113"/>
                  </a:lnTo>
                  <a:lnTo>
                    <a:pt x="95" y="113"/>
                  </a:lnTo>
                  <a:lnTo>
                    <a:pt x="93" y="113"/>
                  </a:lnTo>
                  <a:lnTo>
                    <a:pt x="93" y="111"/>
                  </a:lnTo>
                  <a:lnTo>
                    <a:pt x="91" y="109"/>
                  </a:lnTo>
                  <a:lnTo>
                    <a:pt x="90" y="108"/>
                  </a:lnTo>
                  <a:lnTo>
                    <a:pt x="88" y="106"/>
                  </a:lnTo>
                  <a:lnTo>
                    <a:pt x="87" y="106"/>
                  </a:lnTo>
                  <a:lnTo>
                    <a:pt x="87" y="104"/>
                  </a:lnTo>
                  <a:lnTo>
                    <a:pt x="88" y="103"/>
                  </a:lnTo>
                  <a:lnTo>
                    <a:pt x="88" y="106"/>
                  </a:lnTo>
                  <a:lnTo>
                    <a:pt x="88" y="104"/>
                  </a:lnTo>
                  <a:lnTo>
                    <a:pt x="87" y="103"/>
                  </a:lnTo>
                  <a:lnTo>
                    <a:pt x="87" y="101"/>
                  </a:lnTo>
                  <a:lnTo>
                    <a:pt x="85" y="100"/>
                  </a:lnTo>
                  <a:lnTo>
                    <a:pt x="83" y="96"/>
                  </a:lnTo>
                  <a:lnTo>
                    <a:pt x="82" y="95"/>
                  </a:lnTo>
                  <a:lnTo>
                    <a:pt x="83" y="95"/>
                  </a:lnTo>
                  <a:lnTo>
                    <a:pt x="82" y="95"/>
                  </a:lnTo>
                  <a:lnTo>
                    <a:pt x="82" y="93"/>
                  </a:lnTo>
                  <a:lnTo>
                    <a:pt x="80" y="91"/>
                  </a:lnTo>
                  <a:lnTo>
                    <a:pt x="78" y="91"/>
                  </a:lnTo>
                  <a:lnTo>
                    <a:pt x="77" y="90"/>
                  </a:lnTo>
                  <a:lnTo>
                    <a:pt x="77" y="88"/>
                  </a:lnTo>
                  <a:lnTo>
                    <a:pt x="74" y="83"/>
                  </a:lnTo>
                  <a:lnTo>
                    <a:pt x="72" y="82"/>
                  </a:lnTo>
                  <a:lnTo>
                    <a:pt x="72" y="80"/>
                  </a:lnTo>
                  <a:lnTo>
                    <a:pt x="72" y="82"/>
                  </a:lnTo>
                  <a:lnTo>
                    <a:pt x="72" y="80"/>
                  </a:lnTo>
                  <a:lnTo>
                    <a:pt x="72" y="78"/>
                  </a:lnTo>
                  <a:lnTo>
                    <a:pt x="72" y="80"/>
                  </a:lnTo>
                  <a:lnTo>
                    <a:pt x="72" y="82"/>
                  </a:lnTo>
                  <a:lnTo>
                    <a:pt x="70" y="82"/>
                  </a:lnTo>
                  <a:lnTo>
                    <a:pt x="69" y="82"/>
                  </a:lnTo>
                  <a:lnTo>
                    <a:pt x="69" y="80"/>
                  </a:lnTo>
                  <a:lnTo>
                    <a:pt x="67" y="80"/>
                  </a:lnTo>
                  <a:lnTo>
                    <a:pt x="69" y="78"/>
                  </a:lnTo>
                  <a:lnTo>
                    <a:pt x="69" y="80"/>
                  </a:lnTo>
                  <a:lnTo>
                    <a:pt x="69" y="78"/>
                  </a:lnTo>
                  <a:lnTo>
                    <a:pt x="69" y="80"/>
                  </a:lnTo>
                  <a:lnTo>
                    <a:pt x="69" y="78"/>
                  </a:lnTo>
                  <a:lnTo>
                    <a:pt x="67" y="77"/>
                  </a:lnTo>
                  <a:lnTo>
                    <a:pt x="69" y="77"/>
                  </a:lnTo>
                  <a:lnTo>
                    <a:pt x="67" y="77"/>
                  </a:lnTo>
                  <a:lnTo>
                    <a:pt x="65" y="75"/>
                  </a:lnTo>
                  <a:lnTo>
                    <a:pt x="65" y="74"/>
                  </a:lnTo>
                  <a:lnTo>
                    <a:pt x="64" y="74"/>
                  </a:lnTo>
                  <a:lnTo>
                    <a:pt x="64" y="72"/>
                  </a:lnTo>
                  <a:lnTo>
                    <a:pt x="62" y="70"/>
                  </a:lnTo>
                  <a:lnTo>
                    <a:pt x="61" y="70"/>
                  </a:lnTo>
                  <a:lnTo>
                    <a:pt x="59" y="69"/>
                  </a:lnTo>
                  <a:lnTo>
                    <a:pt x="57" y="67"/>
                  </a:lnTo>
                  <a:lnTo>
                    <a:pt x="56" y="67"/>
                  </a:lnTo>
                  <a:lnTo>
                    <a:pt x="56" y="65"/>
                  </a:lnTo>
                  <a:lnTo>
                    <a:pt x="56" y="64"/>
                  </a:lnTo>
                  <a:lnTo>
                    <a:pt x="54" y="62"/>
                  </a:lnTo>
                  <a:lnTo>
                    <a:pt x="52" y="61"/>
                  </a:lnTo>
                  <a:lnTo>
                    <a:pt x="52" y="62"/>
                  </a:lnTo>
                  <a:lnTo>
                    <a:pt x="52" y="61"/>
                  </a:lnTo>
                  <a:lnTo>
                    <a:pt x="51" y="61"/>
                  </a:lnTo>
                  <a:lnTo>
                    <a:pt x="47" y="59"/>
                  </a:lnTo>
                  <a:lnTo>
                    <a:pt x="46" y="57"/>
                  </a:lnTo>
                  <a:lnTo>
                    <a:pt x="44" y="57"/>
                  </a:lnTo>
                  <a:lnTo>
                    <a:pt x="44" y="56"/>
                  </a:lnTo>
                  <a:lnTo>
                    <a:pt x="44" y="52"/>
                  </a:lnTo>
                  <a:lnTo>
                    <a:pt x="44" y="51"/>
                  </a:lnTo>
                  <a:lnTo>
                    <a:pt x="44" y="52"/>
                  </a:lnTo>
                  <a:lnTo>
                    <a:pt x="46" y="52"/>
                  </a:lnTo>
                  <a:lnTo>
                    <a:pt x="47" y="52"/>
                  </a:lnTo>
                  <a:lnTo>
                    <a:pt x="46" y="52"/>
                  </a:lnTo>
                  <a:lnTo>
                    <a:pt x="44" y="51"/>
                  </a:lnTo>
                  <a:lnTo>
                    <a:pt x="43" y="49"/>
                  </a:lnTo>
                  <a:lnTo>
                    <a:pt x="43" y="48"/>
                  </a:lnTo>
                  <a:lnTo>
                    <a:pt x="41" y="48"/>
                  </a:lnTo>
                  <a:lnTo>
                    <a:pt x="41" y="46"/>
                  </a:lnTo>
                  <a:lnTo>
                    <a:pt x="43" y="46"/>
                  </a:lnTo>
                  <a:lnTo>
                    <a:pt x="41" y="46"/>
                  </a:lnTo>
                  <a:lnTo>
                    <a:pt x="39" y="44"/>
                  </a:lnTo>
                  <a:lnTo>
                    <a:pt x="36" y="44"/>
                  </a:lnTo>
                  <a:lnTo>
                    <a:pt x="33" y="43"/>
                  </a:lnTo>
                  <a:lnTo>
                    <a:pt x="30" y="41"/>
                  </a:lnTo>
                  <a:lnTo>
                    <a:pt x="31" y="41"/>
                  </a:lnTo>
                  <a:lnTo>
                    <a:pt x="30" y="41"/>
                  </a:lnTo>
                  <a:lnTo>
                    <a:pt x="28" y="41"/>
                  </a:lnTo>
                  <a:lnTo>
                    <a:pt x="26" y="39"/>
                  </a:lnTo>
                  <a:lnTo>
                    <a:pt x="26" y="38"/>
                  </a:lnTo>
                  <a:lnTo>
                    <a:pt x="26" y="39"/>
                  </a:lnTo>
                  <a:lnTo>
                    <a:pt x="26" y="38"/>
                  </a:lnTo>
                  <a:lnTo>
                    <a:pt x="26" y="36"/>
                  </a:lnTo>
                  <a:lnTo>
                    <a:pt x="28" y="36"/>
                  </a:lnTo>
                  <a:lnTo>
                    <a:pt x="28" y="38"/>
                  </a:lnTo>
                  <a:lnTo>
                    <a:pt x="26" y="38"/>
                  </a:lnTo>
                  <a:lnTo>
                    <a:pt x="28" y="38"/>
                  </a:lnTo>
                  <a:lnTo>
                    <a:pt x="30" y="38"/>
                  </a:lnTo>
                  <a:lnTo>
                    <a:pt x="30" y="36"/>
                  </a:lnTo>
                  <a:lnTo>
                    <a:pt x="31" y="36"/>
                  </a:lnTo>
                  <a:lnTo>
                    <a:pt x="33" y="36"/>
                  </a:lnTo>
                  <a:lnTo>
                    <a:pt x="34" y="36"/>
                  </a:lnTo>
                  <a:lnTo>
                    <a:pt x="33" y="35"/>
                  </a:lnTo>
                  <a:lnTo>
                    <a:pt x="34" y="33"/>
                  </a:lnTo>
                  <a:lnTo>
                    <a:pt x="34" y="35"/>
                  </a:lnTo>
                  <a:lnTo>
                    <a:pt x="34" y="33"/>
                  </a:lnTo>
                  <a:lnTo>
                    <a:pt x="36" y="33"/>
                  </a:lnTo>
                  <a:lnTo>
                    <a:pt x="36" y="31"/>
                  </a:lnTo>
                  <a:lnTo>
                    <a:pt x="36" y="33"/>
                  </a:lnTo>
                  <a:lnTo>
                    <a:pt x="38" y="33"/>
                  </a:lnTo>
                  <a:lnTo>
                    <a:pt x="38" y="31"/>
                  </a:lnTo>
                  <a:lnTo>
                    <a:pt x="36" y="33"/>
                  </a:lnTo>
                  <a:lnTo>
                    <a:pt x="36" y="31"/>
                  </a:lnTo>
                  <a:lnTo>
                    <a:pt x="34" y="33"/>
                  </a:lnTo>
                  <a:lnTo>
                    <a:pt x="34" y="35"/>
                  </a:lnTo>
                  <a:lnTo>
                    <a:pt x="34" y="33"/>
                  </a:lnTo>
                  <a:lnTo>
                    <a:pt x="33" y="33"/>
                  </a:lnTo>
                  <a:lnTo>
                    <a:pt x="33" y="35"/>
                  </a:lnTo>
                  <a:lnTo>
                    <a:pt x="33" y="36"/>
                  </a:lnTo>
                  <a:lnTo>
                    <a:pt x="31" y="36"/>
                  </a:lnTo>
                  <a:lnTo>
                    <a:pt x="30" y="36"/>
                  </a:lnTo>
                  <a:lnTo>
                    <a:pt x="30" y="38"/>
                  </a:lnTo>
                  <a:lnTo>
                    <a:pt x="28" y="38"/>
                  </a:lnTo>
                  <a:lnTo>
                    <a:pt x="26" y="38"/>
                  </a:lnTo>
                  <a:lnTo>
                    <a:pt x="28" y="38"/>
                  </a:lnTo>
                  <a:lnTo>
                    <a:pt x="28" y="36"/>
                  </a:lnTo>
                  <a:lnTo>
                    <a:pt x="26" y="36"/>
                  </a:lnTo>
                  <a:lnTo>
                    <a:pt x="28" y="36"/>
                  </a:lnTo>
                  <a:lnTo>
                    <a:pt x="26" y="36"/>
                  </a:lnTo>
                  <a:lnTo>
                    <a:pt x="26" y="38"/>
                  </a:lnTo>
                  <a:lnTo>
                    <a:pt x="25" y="36"/>
                  </a:lnTo>
                  <a:lnTo>
                    <a:pt x="23" y="33"/>
                  </a:lnTo>
                  <a:lnTo>
                    <a:pt x="21" y="31"/>
                  </a:lnTo>
                  <a:lnTo>
                    <a:pt x="21" y="33"/>
                  </a:lnTo>
                  <a:lnTo>
                    <a:pt x="20" y="31"/>
                  </a:lnTo>
                  <a:lnTo>
                    <a:pt x="20" y="30"/>
                  </a:lnTo>
                  <a:lnTo>
                    <a:pt x="18" y="30"/>
                  </a:lnTo>
                  <a:lnTo>
                    <a:pt x="17" y="26"/>
                  </a:lnTo>
                  <a:lnTo>
                    <a:pt x="17" y="25"/>
                  </a:lnTo>
                  <a:lnTo>
                    <a:pt x="15" y="25"/>
                  </a:lnTo>
                  <a:lnTo>
                    <a:pt x="17" y="25"/>
                  </a:lnTo>
                  <a:lnTo>
                    <a:pt x="17" y="23"/>
                  </a:lnTo>
                  <a:lnTo>
                    <a:pt x="15" y="22"/>
                  </a:lnTo>
                  <a:lnTo>
                    <a:pt x="13" y="22"/>
                  </a:lnTo>
                  <a:lnTo>
                    <a:pt x="12" y="20"/>
                  </a:lnTo>
                  <a:lnTo>
                    <a:pt x="10" y="18"/>
                  </a:lnTo>
                  <a:lnTo>
                    <a:pt x="10" y="17"/>
                  </a:lnTo>
                  <a:lnTo>
                    <a:pt x="8" y="17"/>
                  </a:lnTo>
                  <a:lnTo>
                    <a:pt x="8" y="15"/>
                  </a:lnTo>
                  <a:lnTo>
                    <a:pt x="7" y="13"/>
                  </a:lnTo>
                  <a:lnTo>
                    <a:pt x="5" y="10"/>
                  </a:lnTo>
                  <a:lnTo>
                    <a:pt x="5" y="9"/>
                  </a:lnTo>
                  <a:lnTo>
                    <a:pt x="5" y="10"/>
                  </a:lnTo>
                  <a:lnTo>
                    <a:pt x="7" y="12"/>
                  </a:lnTo>
                  <a:lnTo>
                    <a:pt x="8" y="12"/>
                  </a:lnTo>
                  <a:lnTo>
                    <a:pt x="7" y="12"/>
                  </a:lnTo>
                  <a:lnTo>
                    <a:pt x="7" y="10"/>
                  </a:lnTo>
                  <a:lnTo>
                    <a:pt x="5" y="9"/>
                  </a:lnTo>
                  <a:lnTo>
                    <a:pt x="4" y="7"/>
                  </a:lnTo>
                  <a:lnTo>
                    <a:pt x="2" y="7"/>
                  </a:lnTo>
                  <a:lnTo>
                    <a:pt x="2" y="5"/>
                  </a:lnTo>
                  <a:lnTo>
                    <a:pt x="0" y="5"/>
                  </a:lnTo>
                  <a:lnTo>
                    <a:pt x="0" y="4"/>
                  </a:lnTo>
                  <a:lnTo>
                    <a:pt x="0" y="2"/>
                  </a:lnTo>
                  <a:lnTo>
                    <a:pt x="2" y="2"/>
                  </a:lnTo>
                  <a:lnTo>
                    <a:pt x="0" y="2"/>
                  </a:lnTo>
                  <a:lnTo>
                    <a:pt x="0" y="0"/>
                  </a:lnTo>
                  <a:lnTo>
                    <a:pt x="4" y="0"/>
                  </a:lnTo>
                  <a:lnTo>
                    <a:pt x="4" y="2"/>
                  </a:lnTo>
                  <a:lnTo>
                    <a:pt x="5" y="2"/>
                  </a:lnTo>
                  <a:lnTo>
                    <a:pt x="5" y="0"/>
                  </a:lnTo>
                  <a:lnTo>
                    <a:pt x="202" y="0"/>
                  </a:lnTo>
                  <a:lnTo>
                    <a:pt x="202" y="2"/>
                  </a:lnTo>
                  <a:lnTo>
                    <a:pt x="202" y="4"/>
                  </a:lnTo>
                  <a:close/>
                  <a:moveTo>
                    <a:pt x="199" y="2"/>
                  </a:moveTo>
                  <a:lnTo>
                    <a:pt x="200" y="2"/>
                  </a:lnTo>
                  <a:lnTo>
                    <a:pt x="200" y="0"/>
                  </a:lnTo>
                  <a:lnTo>
                    <a:pt x="199" y="2"/>
                  </a:lnTo>
                  <a:close/>
                  <a:moveTo>
                    <a:pt x="44" y="52"/>
                  </a:moveTo>
                  <a:lnTo>
                    <a:pt x="46" y="52"/>
                  </a:lnTo>
                  <a:lnTo>
                    <a:pt x="44" y="54"/>
                  </a:lnTo>
                  <a:lnTo>
                    <a:pt x="46" y="54"/>
                  </a:lnTo>
                  <a:lnTo>
                    <a:pt x="46" y="52"/>
                  </a:lnTo>
                  <a:lnTo>
                    <a:pt x="44" y="52"/>
                  </a:lnTo>
                  <a:close/>
                  <a:moveTo>
                    <a:pt x="47" y="52"/>
                  </a:moveTo>
                  <a:lnTo>
                    <a:pt x="49" y="52"/>
                  </a:lnTo>
                  <a:lnTo>
                    <a:pt x="47" y="52"/>
                  </a:lnTo>
                  <a:close/>
                  <a:moveTo>
                    <a:pt x="44" y="54"/>
                  </a:moveTo>
                  <a:lnTo>
                    <a:pt x="46" y="54"/>
                  </a:lnTo>
                  <a:lnTo>
                    <a:pt x="44" y="54"/>
                  </a:lnTo>
                  <a:close/>
                  <a:moveTo>
                    <a:pt x="74" y="78"/>
                  </a:moveTo>
                  <a:lnTo>
                    <a:pt x="72" y="78"/>
                  </a:lnTo>
                  <a:lnTo>
                    <a:pt x="74" y="78"/>
                  </a:lnTo>
                  <a:lnTo>
                    <a:pt x="72" y="78"/>
                  </a:lnTo>
                  <a:lnTo>
                    <a:pt x="74" y="78"/>
                  </a:lnTo>
                  <a:close/>
                  <a:moveTo>
                    <a:pt x="218" y="83"/>
                  </a:moveTo>
                  <a:lnTo>
                    <a:pt x="218" y="82"/>
                  </a:lnTo>
                  <a:lnTo>
                    <a:pt x="217" y="83"/>
                  </a:lnTo>
                  <a:lnTo>
                    <a:pt x="218" y="83"/>
                  </a:lnTo>
                  <a:close/>
                  <a:moveTo>
                    <a:pt x="104" y="122"/>
                  </a:moveTo>
                  <a:lnTo>
                    <a:pt x="104" y="124"/>
                  </a:lnTo>
                  <a:lnTo>
                    <a:pt x="104" y="122"/>
                  </a:lnTo>
                  <a:lnTo>
                    <a:pt x="104" y="124"/>
                  </a:lnTo>
                  <a:lnTo>
                    <a:pt x="104" y="122"/>
                  </a:lnTo>
                  <a:lnTo>
                    <a:pt x="104" y="124"/>
                  </a:lnTo>
                  <a:lnTo>
                    <a:pt x="104" y="122"/>
                  </a:lnTo>
                  <a:close/>
                </a:path>
              </a:pathLst>
            </a:custGeom>
            <a:solidFill>
              <a:srgbClr val="E5E5E5"/>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1221" name="Freeform 67">
              <a:extLst>
                <a:ext uri="{FF2B5EF4-FFF2-40B4-BE49-F238E27FC236}">
                  <a16:creationId xmlns:a16="http://schemas.microsoft.com/office/drawing/2014/main" id="{4B7F3D88-5F1B-E6E5-259C-BE01A5E16FAB}"/>
                </a:ext>
              </a:extLst>
            </p:cNvPr>
            <p:cNvSpPr>
              <a:spLocks/>
            </p:cNvSpPr>
            <p:nvPr/>
          </p:nvSpPr>
          <p:spPr bwMode="auto">
            <a:xfrm>
              <a:off x="7460" y="2387"/>
              <a:ext cx="589" cy="881"/>
            </a:xfrm>
            <a:custGeom>
              <a:avLst/>
              <a:gdLst>
                <a:gd name="T0" fmla="*/ 558 w 589"/>
                <a:gd name="T1" fmla="*/ 688 h 881"/>
                <a:gd name="T2" fmla="*/ 534 w 589"/>
                <a:gd name="T3" fmla="*/ 710 h 881"/>
                <a:gd name="T4" fmla="*/ 527 w 589"/>
                <a:gd name="T5" fmla="*/ 709 h 881"/>
                <a:gd name="T6" fmla="*/ 529 w 589"/>
                <a:gd name="T7" fmla="*/ 701 h 881"/>
                <a:gd name="T8" fmla="*/ 543 w 589"/>
                <a:gd name="T9" fmla="*/ 696 h 881"/>
                <a:gd name="T10" fmla="*/ 565 w 589"/>
                <a:gd name="T11" fmla="*/ 676 h 881"/>
                <a:gd name="T12" fmla="*/ 574 w 589"/>
                <a:gd name="T13" fmla="*/ 662 h 881"/>
                <a:gd name="T14" fmla="*/ 543 w 589"/>
                <a:gd name="T15" fmla="*/ 670 h 881"/>
                <a:gd name="T16" fmla="*/ 516 w 589"/>
                <a:gd name="T17" fmla="*/ 709 h 881"/>
                <a:gd name="T18" fmla="*/ 511 w 589"/>
                <a:gd name="T19" fmla="*/ 717 h 881"/>
                <a:gd name="T20" fmla="*/ 503 w 589"/>
                <a:gd name="T21" fmla="*/ 741 h 881"/>
                <a:gd name="T22" fmla="*/ 496 w 589"/>
                <a:gd name="T23" fmla="*/ 753 h 881"/>
                <a:gd name="T24" fmla="*/ 495 w 589"/>
                <a:gd name="T25" fmla="*/ 758 h 881"/>
                <a:gd name="T26" fmla="*/ 486 w 589"/>
                <a:gd name="T27" fmla="*/ 779 h 881"/>
                <a:gd name="T28" fmla="*/ 478 w 589"/>
                <a:gd name="T29" fmla="*/ 798 h 881"/>
                <a:gd name="T30" fmla="*/ 485 w 589"/>
                <a:gd name="T31" fmla="*/ 800 h 881"/>
                <a:gd name="T32" fmla="*/ 480 w 589"/>
                <a:gd name="T33" fmla="*/ 824 h 881"/>
                <a:gd name="T34" fmla="*/ 473 w 589"/>
                <a:gd name="T35" fmla="*/ 831 h 881"/>
                <a:gd name="T36" fmla="*/ 469 w 589"/>
                <a:gd name="T37" fmla="*/ 854 h 881"/>
                <a:gd name="T38" fmla="*/ 478 w 589"/>
                <a:gd name="T39" fmla="*/ 865 h 881"/>
                <a:gd name="T40" fmla="*/ 460 w 589"/>
                <a:gd name="T41" fmla="*/ 862 h 881"/>
                <a:gd name="T42" fmla="*/ 472 w 589"/>
                <a:gd name="T43" fmla="*/ 873 h 881"/>
                <a:gd name="T44" fmla="*/ 456 w 589"/>
                <a:gd name="T45" fmla="*/ 875 h 881"/>
                <a:gd name="T46" fmla="*/ 441 w 589"/>
                <a:gd name="T47" fmla="*/ 867 h 881"/>
                <a:gd name="T48" fmla="*/ 430 w 589"/>
                <a:gd name="T49" fmla="*/ 865 h 881"/>
                <a:gd name="T50" fmla="*/ 438 w 589"/>
                <a:gd name="T51" fmla="*/ 870 h 881"/>
                <a:gd name="T52" fmla="*/ 446 w 589"/>
                <a:gd name="T53" fmla="*/ 880 h 881"/>
                <a:gd name="T54" fmla="*/ 410 w 589"/>
                <a:gd name="T55" fmla="*/ 875 h 881"/>
                <a:gd name="T56" fmla="*/ 363 w 589"/>
                <a:gd name="T57" fmla="*/ 881 h 881"/>
                <a:gd name="T58" fmla="*/ 373 w 589"/>
                <a:gd name="T59" fmla="*/ 854 h 881"/>
                <a:gd name="T60" fmla="*/ 189 w 589"/>
                <a:gd name="T61" fmla="*/ 793 h 881"/>
                <a:gd name="T62" fmla="*/ 96 w 589"/>
                <a:gd name="T63" fmla="*/ 736 h 881"/>
                <a:gd name="T64" fmla="*/ 7 w 589"/>
                <a:gd name="T65" fmla="*/ 556 h 881"/>
                <a:gd name="T66" fmla="*/ 7 w 589"/>
                <a:gd name="T67" fmla="*/ 452 h 881"/>
                <a:gd name="T68" fmla="*/ 36 w 589"/>
                <a:gd name="T69" fmla="*/ 436 h 881"/>
                <a:gd name="T70" fmla="*/ 70 w 589"/>
                <a:gd name="T71" fmla="*/ 450 h 881"/>
                <a:gd name="T72" fmla="*/ 103 w 589"/>
                <a:gd name="T73" fmla="*/ 470 h 881"/>
                <a:gd name="T74" fmla="*/ 137 w 589"/>
                <a:gd name="T75" fmla="*/ 418 h 881"/>
                <a:gd name="T76" fmla="*/ 77 w 589"/>
                <a:gd name="T77" fmla="*/ 356 h 881"/>
                <a:gd name="T78" fmla="*/ 124 w 589"/>
                <a:gd name="T79" fmla="*/ 291 h 881"/>
                <a:gd name="T80" fmla="*/ 140 w 589"/>
                <a:gd name="T81" fmla="*/ 216 h 881"/>
                <a:gd name="T82" fmla="*/ 164 w 589"/>
                <a:gd name="T83" fmla="*/ 136 h 881"/>
                <a:gd name="T84" fmla="*/ 181 w 589"/>
                <a:gd name="T85" fmla="*/ 114 h 881"/>
                <a:gd name="T86" fmla="*/ 215 w 589"/>
                <a:gd name="T87" fmla="*/ 110 h 881"/>
                <a:gd name="T88" fmla="*/ 243 w 589"/>
                <a:gd name="T89" fmla="*/ 86 h 881"/>
                <a:gd name="T90" fmla="*/ 278 w 589"/>
                <a:gd name="T91" fmla="*/ 47 h 881"/>
                <a:gd name="T92" fmla="*/ 311 w 589"/>
                <a:gd name="T93" fmla="*/ 63 h 881"/>
                <a:gd name="T94" fmla="*/ 322 w 589"/>
                <a:gd name="T95" fmla="*/ 49 h 881"/>
                <a:gd name="T96" fmla="*/ 332 w 589"/>
                <a:gd name="T97" fmla="*/ 44 h 881"/>
                <a:gd name="T98" fmla="*/ 350 w 589"/>
                <a:gd name="T99" fmla="*/ 32 h 881"/>
                <a:gd name="T100" fmla="*/ 366 w 589"/>
                <a:gd name="T101" fmla="*/ 19 h 881"/>
                <a:gd name="T102" fmla="*/ 392 w 589"/>
                <a:gd name="T103" fmla="*/ 21 h 881"/>
                <a:gd name="T104" fmla="*/ 402 w 589"/>
                <a:gd name="T105" fmla="*/ 34 h 881"/>
                <a:gd name="T106" fmla="*/ 417 w 589"/>
                <a:gd name="T107" fmla="*/ 34 h 881"/>
                <a:gd name="T108" fmla="*/ 441 w 589"/>
                <a:gd name="T109" fmla="*/ 26 h 881"/>
                <a:gd name="T110" fmla="*/ 462 w 589"/>
                <a:gd name="T111" fmla="*/ 39 h 881"/>
                <a:gd name="T112" fmla="*/ 490 w 589"/>
                <a:gd name="T113" fmla="*/ 40 h 881"/>
                <a:gd name="T114" fmla="*/ 527 w 589"/>
                <a:gd name="T115" fmla="*/ 76 h 881"/>
                <a:gd name="T116" fmla="*/ 504 w 589"/>
                <a:gd name="T117" fmla="*/ 22 h 881"/>
                <a:gd name="T118" fmla="*/ 493 w 589"/>
                <a:gd name="T119" fmla="*/ 19 h 881"/>
                <a:gd name="T120" fmla="*/ 503 w 589"/>
                <a:gd name="T121" fmla="*/ 6 h 881"/>
                <a:gd name="T122" fmla="*/ 539 w 589"/>
                <a:gd name="T123" fmla="*/ 3 h 8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89" h="881">
                  <a:moveTo>
                    <a:pt x="589" y="9"/>
                  </a:moveTo>
                  <a:lnTo>
                    <a:pt x="586" y="676"/>
                  </a:lnTo>
                  <a:lnTo>
                    <a:pt x="586" y="678"/>
                  </a:lnTo>
                  <a:lnTo>
                    <a:pt x="586" y="680"/>
                  </a:lnTo>
                  <a:lnTo>
                    <a:pt x="586" y="681"/>
                  </a:lnTo>
                  <a:lnTo>
                    <a:pt x="586" y="680"/>
                  </a:lnTo>
                  <a:lnTo>
                    <a:pt x="586" y="678"/>
                  </a:lnTo>
                  <a:lnTo>
                    <a:pt x="586" y="676"/>
                  </a:lnTo>
                  <a:lnTo>
                    <a:pt x="584" y="678"/>
                  </a:lnTo>
                  <a:lnTo>
                    <a:pt x="586" y="678"/>
                  </a:lnTo>
                  <a:lnTo>
                    <a:pt x="584" y="678"/>
                  </a:lnTo>
                  <a:lnTo>
                    <a:pt x="582" y="678"/>
                  </a:lnTo>
                  <a:lnTo>
                    <a:pt x="581" y="678"/>
                  </a:lnTo>
                  <a:lnTo>
                    <a:pt x="579" y="678"/>
                  </a:lnTo>
                  <a:lnTo>
                    <a:pt x="578" y="678"/>
                  </a:lnTo>
                  <a:lnTo>
                    <a:pt x="576" y="678"/>
                  </a:lnTo>
                  <a:lnTo>
                    <a:pt x="574" y="678"/>
                  </a:lnTo>
                  <a:lnTo>
                    <a:pt x="573" y="678"/>
                  </a:lnTo>
                  <a:lnTo>
                    <a:pt x="571" y="678"/>
                  </a:lnTo>
                  <a:lnTo>
                    <a:pt x="571" y="680"/>
                  </a:lnTo>
                  <a:lnTo>
                    <a:pt x="569" y="680"/>
                  </a:lnTo>
                  <a:lnTo>
                    <a:pt x="568" y="681"/>
                  </a:lnTo>
                  <a:lnTo>
                    <a:pt x="566" y="681"/>
                  </a:lnTo>
                  <a:lnTo>
                    <a:pt x="565" y="681"/>
                  </a:lnTo>
                  <a:lnTo>
                    <a:pt x="565" y="683"/>
                  </a:lnTo>
                  <a:lnTo>
                    <a:pt x="563" y="684"/>
                  </a:lnTo>
                  <a:lnTo>
                    <a:pt x="561" y="686"/>
                  </a:lnTo>
                  <a:lnTo>
                    <a:pt x="560" y="686"/>
                  </a:lnTo>
                  <a:lnTo>
                    <a:pt x="560" y="688"/>
                  </a:lnTo>
                  <a:lnTo>
                    <a:pt x="558" y="688"/>
                  </a:lnTo>
                  <a:lnTo>
                    <a:pt x="556" y="689"/>
                  </a:lnTo>
                  <a:lnTo>
                    <a:pt x="555" y="691"/>
                  </a:lnTo>
                  <a:lnTo>
                    <a:pt x="555" y="693"/>
                  </a:lnTo>
                  <a:lnTo>
                    <a:pt x="553" y="693"/>
                  </a:lnTo>
                  <a:lnTo>
                    <a:pt x="553" y="694"/>
                  </a:lnTo>
                  <a:lnTo>
                    <a:pt x="552" y="693"/>
                  </a:lnTo>
                  <a:lnTo>
                    <a:pt x="552" y="694"/>
                  </a:lnTo>
                  <a:lnTo>
                    <a:pt x="552" y="693"/>
                  </a:lnTo>
                  <a:lnTo>
                    <a:pt x="550" y="693"/>
                  </a:lnTo>
                  <a:lnTo>
                    <a:pt x="550" y="694"/>
                  </a:lnTo>
                  <a:lnTo>
                    <a:pt x="548" y="694"/>
                  </a:lnTo>
                  <a:lnTo>
                    <a:pt x="550" y="694"/>
                  </a:lnTo>
                  <a:lnTo>
                    <a:pt x="548" y="694"/>
                  </a:lnTo>
                  <a:lnTo>
                    <a:pt x="547" y="696"/>
                  </a:lnTo>
                  <a:lnTo>
                    <a:pt x="547" y="697"/>
                  </a:lnTo>
                  <a:lnTo>
                    <a:pt x="547" y="699"/>
                  </a:lnTo>
                  <a:lnTo>
                    <a:pt x="547" y="701"/>
                  </a:lnTo>
                  <a:lnTo>
                    <a:pt x="547" y="702"/>
                  </a:lnTo>
                  <a:lnTo>
                    <a:pt x="545" y="702"/>
                  </a:lnTo>
                  <a:lnTo>
                    <a:pt x="545" y="704"/>
                  </a:lnTo>
                  <a:lnTo>
                    <a:pt x="543" y="704"/>
                  </a:lnTo>
                  <a:lnTo>
                    <a:pt x="543" y="706"/>
                  </a:lnTo>
                  <a:lnTo>
                    <a:pt x="542" y="706"/>
                  </a:lnTo>
                  <a:lnTo>
                    <a:pt x="542" y="707"/>
                  </a:lnTo>
                  <a:lnTo>
                    <a:pt x="540" y="707"/>
                  </a:lnTo>
                  <a:lnTo>
                    <a:pt x="539" y="709"/>
                  </a:lnTo>
                  <a:lnTo>
                    <a:pt x="537" y="709"/>
                  </a:lnTo>
                  <a:lnTo>
                    <a:pt x="535" y="709"/>
                  </a:lnTo>
                  <a:lnTo>
                    <a:pt x="534" y="709"/>
                  </a:lnTo>
                  <a:lnTo>
                    <a:pt x="534" y="710"/>
                  </a:lnTo>
                  <a:lnTo>
                    <a:pt x="534" y="709"/>
                  </a:lnTo>
                  <a:lnTo>
                    <a:pt x="532" y="709"/>
                  </a:lnTo>
                  <a:lnTo>
                    <a:pt x="532" y="710"/>
                  </a:lnTo>
                  <a:lnTo>
                    <a:pt x="530" y="710"/>
                  </a:lnTo>
                  <a:lnTo>
                    <a:pt x="532" y="710"/>
                  </a:lnTo>
                  <a:lnTo>
                    <a:pt x="532" y="709"/>
                  </a:lnTo>
                  <a:lnTo>
                    <a:pt x="530" y="710"/>
                  </a:lnTo>
                  <a:lnTo>
                    <a:pt x="529" y="710"/>
                  </a:lnTo>
                  <a:lnTo>
                    <a:pt x="529" y="712"/>
                  </a:lnTo>
                  <a:lnTo>
                    <a:pt x="529" y="710"/>
                  </a:lnTo>
                  <a:lnTo>
                    <a:pt x="529" y="712"/>
                  </a:lnTo>
                  <a:lnTo>
                    <a:pt x="527" y="712"/>
                  </a:lnTo>
                  <a:lnTo>
                    <a:pt x="527" y="714"/>
                  </a:lnTo>
                  <a:lnTo>
                    <a:pt x="526" y="715"/>
                  </a:lnTo>
                  <a:lnTo>
                    <a:pt x="526" y="717"/>
                  </a:lnTo>
                  <a:lnTo>
                    <a:pt x="526" y="719"/>
                  </a:lnTo>
                  <a:lnTo>
                    <a:pt x="524" y="719"/>
                  </a:lnTo>
                  <a:lnTo>
                    <a:pt x="522" y="719"/>
                  </a:lnTo>
                  <a:lnTo>
                    <a:pt x="522" y="720"/>
                  </a:lnTo>
                  <a:lnTo>
                    <a:pt x="522" y="719"/>
                  </a:lnTo>
                  <a:lnTo>
                    <a:pt x="522" y="717"/>
                  </a:lnTo>
                  <a:lnTo>
                    <a:pt x="522" y="715"/>
                  </a:lnTo>
                  <a:lnTo>
                    <a:pt x="524" y="717"/>
                  </a:lnTo>
                  <a:lnTo>
                    <a:pt x="524" y="719"/>
                  </a:lnTo>
                  <a:lnTo>
                    <a:pt x="526" y="719"/>
                  </a:lnTo>
                  <a:lnTo>
                    <a:pt x="526" y="717"/>
                  </a:lnTo>
                  <a:lnTo>
                    <a:pt x="526" y="715"/>
                  </a:lnTo>
                  <a:lnTo>
                    <a:pt x="526" y="712"/>
                  </a:lnTo>
                  <a:lnTo>
                    <a:pt x="527" y="710"/>
                  </a:lnTo>
                  <a:lnTo>
                    <a:pt x="527" y="709"/>
                  </a:lnTo>
                  <a:lnTo>
                    <a:pt x="529" y="707"/>
                  </a:lnTo>
                  <a:lnTo>
                    <a:pt x="530" y="707"/>
                  </a:lnTo>
                  <a:lnTo>
                    <a:pt x="532" y="707"/>
                  </a:lnTo>
                  <a:lnTo>
                    <a:pt x="532" y="709"/>
                  </a:lnTo>
                  <a:lnTo>
                    <a:pt x="534" y="709"/>
                  </a:lnTo>
                  <a:lnTo>
                    <a:pt x="534" y="707"/>
                  </a:lnTo>
                  <a:lnTo>
                    <a:pt x="535" y="707"/>
                  </a:lnTo>
                  <a:lnTo>
                    <a:pt x="537" y="707"/>
                  </a:lnTo>
                  <a:lnTo>
                    <a:pt x="535" y="707"/>
                  </a:lnTo>
                  <a:lnTo>
                    <a:pt x="537" y="706"/>
                  </a:lnTo>
                  <a:lnTo>
                    <a:pt x="535" y="706"/>
                  </a:lnTo>
                  <a:lnTo>
                    <a:pt x="534" y="706"/>
                  </a:lnTo>
                  <a:lnTo>
                    <a:pt x="535" y="706"/>
                  </a:lnTo>
                  <a:lnTo>
                    <a:pt x="534" y="706"/>
                  </a:lnTo>
                  <a:lnTo>
                    <a:pt x="534" y="707"/>
                  </a:lnTo>
                  <a:lnTo>
                    <a:pt x="534" y="706"/>
                  </a:lnTo>
                  <a:lnTo>
                    <a:pt x="532" y="706"/>
                  </a:lnTo>
                  <a:lnTo>
                    <a:pt x="532" y="704"/>
                  </a:lnTo>
                  <a:lnTo>
                    <a:pt x="532" y="706"/>
                  </a:lnTo>
                  <a:lnTo>
                    <a:pt x="530" y="704"/>
                  </a:lnTo>
                  <a:lnTo>
                    <a:pt x="530" y="706"/>
                  </a:lnTo>
                  <a:lnTo>
                    <a:pt x="529" y="706"/>
                  </a:lnTo>
                  <a:lnTo>
                    <a:pt x="529" y="704"/>
                  </a:lnTo>
                  <a:lnTo>
                    <a:pt x="530" y="704"/>
                  </a:lnTo>
                  <a:lnTo>
                    <a:pt x="529" y="704"/>
                  </a:lnTo>
                  <a:lnTo>
                    <a:pt x="530" y="704"/>
                  </a:lnTo>
                  <a:lnTo>
                    <a:pt x="529" y="702"/>
                  </a:lnTo>
                  <a:lnTo>
                    <a:pt x="529" y="701"/>
                  </a:lnTo>
                  <a:lnTo>
                    <a:pt x="530" y="701"/>
                  </a:lnTo>
                  <a:lnTo>
                    <a:pt x="529" y="701"/>
                  </a:lnTo>
                  <a:lnTo>
                    <a:pt x="530" y="701"/>
                  </a:lnTo>
                  <a:lnTo>
                    <a:pt x="530" y="699"/>
                  </a:lnTo>
                  <a:lnTo>
                    <a:pt x="532" y="699"/>
                  </a:lnTo>
                  <a:lnTo>
                    <a:pt x="532" y="701"/>
                  </a:lnTo>
                  <a:lnTo>
                    <a:pt x="532" y="699"/>
                  </a:lnTo>
                  <a:lnTo>
                    <a:pt x="534" y="697"/>
                  </a:lnTo>
                  <a:lnTo>
                    <a:pt x="535" y="696"/>
                  </a:lnTo>
                  <a:lnTo>
                    <a:pt x="537" y="696"/>
                  </a:lnTo>
                  <a:lnTo>
                    <a:pt x="537" y="697"/>
                  </a:lnTo>
                  <a:lnTo>
                    <a:pt x="537" y="696"/>
                  </a:lnTo>
                  <a:lnTo>
                    <a:pt x="537" y="694"/>
                  </a:lnTo>
                  <a:lnTo>
                    <a:pt x="537" y="696"/>
                  </a:lnTo>
                  <a:lnTo>
                    <a:pt x="539" y="694"/>
                  </a:lnTo>
                  <a:lnTo>
                    <a:pt x="539" y="696"/>
                  </a:lnTo>
                  <a:lnTo>
                    <a:pt x="537" y="696"/>
                  </a:lnTo>
                  <a:lnTo>
                    <a:pt x="537" y="697"/>
                  </a:lnTo>
                  <a:lnTo>
                    <a:pt x="535" y="699"/>
                  </a:lnTo>
                  <a:lnTo>
                    <a:pt x="537" y="701"/>
                  </a:lnTo>
                  <a:lnTo>
                    <a:pt x="537" y="702"/>
                  </a:lnTo>
                  <a:lnTo>
                    <a:pt x="537" y="701"/>
                  </a:lnTo>
                  <a:lnTo>
                    <a:pt x="539" y="702"/>
                  </a:lnTo>
                  <a:lnTo>
                    <a:pt x="539" y="701"/>
                  </a:lnTo>
                  <a:lnTo>
                    <a:pt x="539" y="702"/>
                  </a:lnTo>
                  <a:lnTo>
                    <a:pt x="540" y="702"/>
                  </a:lnTo>
                  <a:lnTo>
                    <a:pt x="540" y="701"/>
                  </a:lnTo>
                  <a:lnTo>
                    <a:pt x="542" y="701"/>
                  </a:lnTo>
                  <a:lnTo>
                    <a:pt x="540" y="701"/>
                  </a:lnTo>
                  <a:lnTo>
                    <a:pt x="542" y="699"/>
                  </a:lnTo>
                  <a:lnTo>
                    <a:pt x="542" y="697"/>
                  </a:lnTo>
                  <a:lnTo>
                    <a:pt x="543" y="696"/>
                  </a:lnTo>
                  <a:lnTo>
                    <a:pt x="545" y="694"/>
                  </a:lnTo>
                  <a:lnTo>
                    <a:pt x="545" y="693"/>
                  </a:lnTo>
                  <a:lnTo>
                    <a:pt x="545" y="691"/>
                  </a:lnTo>
                  <a:lnTo>
                    <a:pt x="547" y="691"/>
                  </a:lnTo>
                  <a:lnTo>
                    <a:pt x="547" y="689"/>
                  </a:lnTo>
                  <a:lnTo>
                    <a:pt x="547" y="688"/>
                  </a:lnTo>
                  <a:lnTo>
                    <a:pt x="548" y="688"/>
                  </a:lnTo>
                  <a:lnTo>
                    <a:pt x="548" y="686"/>
                  </a:lnTo>
                  <a:lnTo>
                    <a:pt x="550" y="686"/>
                  </a:lnTo>
                  <a:lnTo>
                    <a:pt x="548" y="686"/>
                  </a:lnTo>
                  <a:lnTo>
                    <a:pt x="550" y="686"/>
                  </a:lnTo>
                  <a:lnTo>
                    <a:pt x="550" y="684"/>
                  </a:lnTo>
                  <a:lnTo>
                    <a:pt x="552" y="684"/>
                  </a:lnTo>
                  <a:lnTo>
                    <a:pt x="552" y="683"/>
                  </a:lnTo>
                  <a:lnTo>
                    <a:pt x="553" y="683"/>
                  </a:lnTo>
                  <a:lnTo>
                    <a:pt x="553" y="681"/>
                  </a:lnTo>
                  <a:lnTo>
                    <a:pt x="555" y="681"/>
                  </a:lnTo>
                  <a:lnTo>
                    <a:pt x="555" y="680"/>
                  </a:lnTo>
                  <a:lnTo>
                    <a:pt x="556" y="680"/>
                  </a:lnTo>
                  <a:lnTo>
                    <a:pt x="558" y="680"/>
                  </a:lnTo>
                  <a:lnTo>
                    <a:pt x="560" y="680"/>
                  </a:lnTo>
                  <a:lnTo>
                    <a:pt x="561" y="678"/>
                  </a:lnTo>
                  <a:lnTo>
                    <a:pt x="561" y="680"/>
                  </a:lnTo>
                  <a:lnTo>
                    <a:pt x="561" y="678"/>
                  </a:lnTo>
                  <a:lnTo>
                    <a:pt x="563" y="678"/>
                  </a:lnTo>
                  <a:lnTo>
                    <a:pt x="563" y="676"/>
                  </a:lnTo>
                  <a:lnTo>
                    <a:pt x="563" y="678"/>
                  </a:lnTo>
                  <a:lnTo>
                    <a:pt x="565" y="676"/>
                  </a:lnTo>
                  <a:lnTo>
                    <a:pt x="563" y="676"/>
                  </a:lnTo>
                  <a:lnTo>
                    <a:pt x="565" y="676"/>
                  </a:lnTo>
                  <a:lnTo>
                    <a:pt x="566" y="676"/>
                  </a:lnTo>
                  <a:lnTo>
                    <a:pt x="566" y="675"/>
                  </a:lnTo>
                  <a:lnTo>
                    <a:pt x="568" y="675"/>
                  </a:lnTo>
                  <a:lnTo>
                    <a:pt x="569" y="675"/>
                  </a:lnTo>
                  <a:lnTo>
                    <a:pt x="568" y="675"/>
                  </a:lnTo>
                  <a:lnTo>
                    <a:pt x="569" y="675"/>
                  </a:lnTo>
                  <a:lnTo>
                    <a:pt x="568" y="673"/>
                  </a:lnTo>
                  <a:lnTo>
                    <a:pt x="569" y="675"/>
                  </a:lnTo>
                  <a:lnTo>
                    <a:pt x="571" y="675"/>
                  </a:lnTo>
                  <a:lnTo>
                    <a:pt x="569" y="675"/>
                  </a:lnTo>
                  <a:lnTo>
                    <a:pt x="571" y="673"/>
                  </a:lnTo>
                  <a:lnTo>
                    <a:pt x="573" y="673"/>
                  </a:lnTo>
                  <a:lnTo>
                    <a:pt x="574" y="673"/>
                  </a:lnTo>
                  <a:lnTo>
                    <a:pt x="574" y="671"/>
                  </a:lnTo>
                  <a:lnTo>
                    <a:pt x="576" y="673"/>
                  </a:lnTo>
                  <a:lnTo>
                    <a:pt x="578" y="671"/>
                  </a:lnTo>
                  <a:lnTo>
                    <a:pt x="578" y="673"/>
                  </a:lnTo>
                  <a:lnTo>
                    <a:pt x="579" y="673"/>
                  </a:lnTo>
                  <a:lnTo>
                    <a:pt x="581" y="673"/>
                  </a:lnTo>
                  <a:lnTo>
                    <a:pt x="581" y="671"/>
                  </a:lnTo>
                  <a:lnTo>
                    <a:pt x="582" y="670"/>
                  </a:lnTo>
                  <a:lnTo>
                    <a:pt x="581" y="668"/>
                  </a:lnTo>
                  <a:lnTo>
                    <a:pt x="579" y="667"/>
                  </a:lnTo>
                  <a:lnTo>
                    <a:pt x="581" y="667"/>
                  </a:lnTo>
                  <a:lnTo>
                    <a:pt x="579" y="667"/>
                  </a:lnTo>
                  <a:lnTo>
                    <a:pt x="579" y="665"/>
                  </a:lnTo>
                  <a:lnTo>
                    <a:pt x="578" y="665"/>
                  </a:lnTo>
                  <a:lnTo>
                    <a:pt x="576" y="665"/>
                  </a:lnTo>
                  <a:lnTo>
                    <a:pt x="576" y="663"/>
                  </a:lnTo>
                  <a:lnTo>
                    <a:pt x="574" y="662"/>
                  </a:lnTo>
                  <a:lnTo>
                    <a:pt x="574" y="663"/>
                  </a:lnTo>
                  <a:lnTo>
                    <a:pt x="571" y="663"/>
                  </a:lnTo>
                  <a:lnTo>
                    <a:pt x="571" y="665"/>
                  </a:lnTo>
                  <a:lnTo>
                    <a:pt x="571" y="663"/>
                  </a:lnTo>
                  <a:lnTo>
                    <a:pt x="571" y="665"/>
                  </a:lnTo>
                  <a:lnTo>
                    <a:pt x="568" y="663"/>
                  </a:lnTo>
                  <a:lnTo>
                    <a:pt x="568" y="665"/>
                  </a:lnTo>
                  <a:lnTo>
                    <a:pt x="566" y="665"/>
                  </a:lnTo>
                  <a:lnTo>
                    <a:pt x="565" y="667"/>
                  </a:lnTo>
                  <a:lnTo>
                    <a:pt x="563" y="665"/>
                  </a:lnTo>
                  <a:lnTo>
                    <a:pt x="563" y="667"/>
                  </a:lnTo>
                  <a:lnTo>
                    <a:pt x="561" y="665"/>
                  </a:lnTo>
                  <a:lnTo>
                    <a:pt x="560" y="665"/>
                  </a:lnTo>
                  <a:lnTo>
                    <a:pt x="558" y="665"/>
                  </a:lnTo>
                  <a:lnTo>
                    <a:pt x="556" y="665"/>
                  </a:lnTo>
                  <a:lnTo>
                    <a:pt x="556" y="667"/>
                  </a:lnTo>
                  <a:lnTo>
                    <a:pt x="555" y="667"/>
                  </a:lnTo>
                  <a:lnTo>
                    <a:pt x="555" y="665"/>
                  </a:lnTo>
                  <a:lnTo>
                    <a:pt x="553" y="665"/>
                  </a:lnTo>
                  <a:lnTo>
                    <a:pt x="553" y="667"/>
                  </a:lnTo>
                  <a:lnTo>
                    <a:pt x="552" y="667"/>
                  </a:lnTo>
                  <a:lnTo>
                    <a:pt x="552" y="665"/>
                  </a:lnTo>
                  <a:lnTo>
                    <a:pt x="552" y="667"/>
                  </a:lnTo>
                  <a:lnTo>
                    <a:pt x="552" y="668"/>
                  </a:lnTo>
                  <a:lnTo>
                    <a:pt x="550" y="670"/>
                  </a:lnTo>
                  <a:lnTo>
                    <a:pt x="548" y="670"/>
                  </a:lnTo>
                  <a:lnTo>
                    <a:pt x="547" y="670"/>
                  </a:lnTo>
                  <a:lnTo>
                    <a:pt x="547" y="671"/>
                  </a:lnTo>
                  <a:lnTo>
                    <a:pt x="545" y="670"/>
                  </a:lnTo>
                  <a:lnTo>
                    <a:pt x="543" y="670"/>
                  </a:lnTo>
                  <a:lnTo>
                    <a:pt x="543" y="671"/>
                  </a:lnTo>
                  <a:lnTo>
                    <a:pt x="543" y="673"/>
                  </a:lnTo>
                  <a:lnTo>
                    <a:pt x="542" y="673"/>
                  </a:lnTo>
                  <a:lnTo>
                    <a:pt x="540" y="675"/>
                  </a:lnTo>
                  <a:lnTo>
                    <a:pt x="540" y="676"/>
                  </a:lnTo>
                  <a:lnTo>
                    <a:pt x="539" y="680"/>
                  </a:lnTo>
                  <a:lnTo>
                    <a:pt x="537" y="683"/>
                  </a:lnTo>
                  <a:lnTo>
                    <a:pt x="537" y="684"/>
                  </a:lnTo>
                  <a:lnTo>
                    <a:pt x="535" y="684"/>
                  </a:lnTo>
                  <a:lnTo>
                    <a:pt x="534" y="686"/>
                  </a:lnTo>
                  <a:lnTo>
                    <a:pt x="532" y="686"/>
                  </a:lnTo>
                  <a:lnTo>
                    <a:pt x="530" y="689"/>
                  </a:lnTo>
                  <a:lnTo>
                    <a:pt x="529" y="691"/>
                  </a:lnTo>
                  <a:lnTo>
                    <a:pt x="527" y="691"/>
                  </a:lnTo>
                  <a:lnTo>
                    <a:pt x="527" y="693"/>
                  </a:lnTo>
                  <a:lnTo>
                    <a:pt x="524" y="693"/>
                  </a:lnTo>
                  <a:lnTo>
                    <a:pt x="524" y="694"/>
                  </a:lnTo>
                  <a:lnTo>
                    <a:pt x="522" y="694"/>
                  </a:lnTo>
                  <a:lnTo>
                    <a:pt x="521" y="696"/>
                  </a:lnTo>
                  <a:lnTo>
                    <a:pt x="521" y="694"/>
                  </a:lnTo>
                  <a:lnTo>
                    <a:pt x="521" y="696"/>
                  </a:lnTo>
                  <a:lnTo>
                    <a:pt x="519" y="696"/>
                  </a:lnTo>
                  <a:lnTo>
                    <a:pt x="519" y="697"/>
                  </a:lnTo>
                  <a:lnTo>
                    <a:pt x="517" y="701"/>
                  </a:lnTo>
                  <a:lnTo>
                    <a:pt x="517" y="702"/>
                  </a:lnTo>
                  <a:lnTo>
                    <a:pt x="519" y="702"/>
                  </a:lnTo>
                  <a:lnTo>
                    <a:pt x="517" y="704"/>
                  </a:lnTo>
                  <a:lnTo>
                    <a:pt x="516" y="706"/>
                  </a:lnTo>
                  <a:lnTo>
                    <a:pt x="516" y="707"/>
                  </a:lnTo>
                  <a:lnTo>
                    <a:pt x="516" y="709"/>
                  </a:lnTo>
                  <a:lnTo>
                    <a:pt x="517" y="710"/>
                  </a:lnTo>
                  <a:lnTo>
                    <a:pt x="517" y="712"/>
                  </a:lnTo>
                  <a:lnTo>
                    <a:pt x="517" y="714"/>
                  </a:lnTo>
                  <a:lnTo>
                    <a:pt x="519" y="714"/>
                  </a:lnTo>
                  <a:lnTo>
                    <a:pt x="519" y="715"/>
                  </a:lnTo>
                  <a:lnTo>
                    <a:pt x="517" y="715"/>
                  </a:lnTo>
                  <a:lnTo>
                    <a:pt x="517" y="714"/>
                  </a:lnTo>
                  <a:lnTo>
                    <a:pt x="516" y="714"/>
                  </a:lnTo>
                  <a:lnTo>
                    <a:pt x="517" y="714"/>
                  </a:lnTo>
                  <a:lnTo>
                    <a:pt x="516" y="714"/>
                  </a:lnTo>
                  <a:lnTo>
                    <a:pt x="514" y="712"/>
                  </a:lnTo>
                  <a:lnTo>
                    <a:pt x="514" y="710"/>
                  </a:lnTo>
                  <a:lnTo>
                    <a:pt x="514" y="709"/>
                  </a:lnTo>
                  <a:lnTo>
                    <a:pt x="513" y="709"/>
                  </a:lnTo>
                  <a:lnTo>
                    <a:pt x="513" y="712"/>
                  </a:lnTo>
                  <a:lnTo>
                    <a:pt x="513" y="714"/>
                  </a:lnTo>
                  <a:lnTo>
                    <a:pt x="513" y="715"/>
                  </a:lnTo>
                  <a:lnTo>
                    <a:pt x="513" y="714"/>
                  </a:lnTo>
                  <a:lnTo>
                    <a:pt x="514" y="715"/>
                  </a:lnTo>
                  <a:lnTo>
                    <a:pt x="513" y="715"/>
                  </a:lnTo>
                  <a:lnTo>
                    <a:pt x="514" y="717"/>
                  </a:lnTo>
                  <a:lnTo>
                    <a:pt x="514" y="719"/>
                  </a:lnTo>
                  <a:lnTo>
                    <a:pt x="513" y="719"/>
                  </a:lnTo>
                  <a:lnTo>
                    <a:pt x="513" y="720"/>
                  </a:lnTo>
                  <a:lnTo>
                    <a:pt x="514" y="719"/>
                  </a:lnTo>
                  <a:lnTo>
                    <a:pt x="514" y="720"/>
                  </a:lnTo>
                  <a:lnTo>
                    <a:pt x="513" y="720"/>
                  </a:lnTo>
                  <a:lnTo>
                    <a:pt x="513" y="719"/>
                  </a:lnTo>
                  <a:lnTo>
                    <a:pt x="511" y="719"/>
                  </a:lnTo>
                  <a:lnTo>
                    <a:pt x="511" y="717"/>
                  </a:lnTo>
                  <a:lnTo>
                    <a:pt x="509" y="717"/>
                  </a:lnTo>
                  <a:lnTo>
                    <a:pt x="509" y="719"/>
                  </a:lnTo>
                  <a:lnTo>
                    <a:pt x="509" y="720"/>
                  </a:lnTo>
                  <a:lnTo>
                    <a:pt x="509" y="722"/>
                  </a:lnTo>
                  <a:lnTo>
                    <a:pt x="508" y="723"/>
                  </a:lnTo>
                  <a:lnTo>
                    <a:pt x="508" y="725"/>
                  </a:lnTo>
                  <a:lnTo>
                    <a:pt x="506" y="725"/>
                  </a:lnTo>
                  <a:lnTo>
                    <a:pt x="506" y="723"/>
                  </a:lnTo>
                  <a:lnTo>
                    <a:pt x="506" y="725"/>
                  </a:lnTo>
                  <a:lnTo>
                    <a:pt x="506" y="727"/>
                  </a:lnTo>
                  <a:lnTo>
                    <a:pt x="506" y="728"/>
                  </a:lnTo>
                  <a:lnTo>
                    <a:pt x="506" y="730"/>
                  </a:lnTo>
                  <a:lnTo>
                    <a:pt x="506" y="732"/>
                  </a:lnTo>
                  <a:lnTo>
                    <a:pt x="506" y="733"/>
                  </a:lnTo>
                  <a:lnTo>
                    <a:pt x="508" y="733"/>
                  </a:lnTo>
                  <a:lnTo>
                    <a:pt x="506" y="733"/>
                  </a:lnTo>
                  <a:lnTo>
                    <a:pt x="506" y="735"/>
                  </a:lnTo>
                  <a:lnTo>
                    <a:pt x="506" y="736"/>
                  </a:lnTo>
                  <a:lnTo>
                    <a:pt x="508" y="736"/>
                  </a:lnTo>
                  <a:lnTo>
                    <a:pt x="506" y="736"/>
                  </a:lnTo>
                  <a:lnTo>
                    <a:pt x="506" y="735"/>
                  </a:lnTo>
                  <a:lnTo>
                    <a:pt x="504" y="736"/>
                  </a:lnTo>
                  <a:lnTo>
                    <a:pt x="504" y="738"/>
                  </a:lnTo>
                  <a:lnTo>
                    <a:pt x="503" y="738"/>
                  </a:lnTo>
                  <a:lnTo>
                    <a:pt x="503" y="740"/>
                  </a:lnTo>
                  <a:lnTo>
                    <a:pt x="504" y="740"/>
                  </a:lnTo>
                  <a:lnTo>
                    <a:pt x="503" y="740"/>
                  </a:lnTo>
                  <a:lnTo>
                    <a:pt x="503" y="741"/>
                  </a:lnTo>
                  <a:lnTo>
                    <a:pt x="504" y="741"/>
                  </a:lnTo>
                  <a:lnTo>
                    <a:pt x="503" y="741"/>
                  </a:lnTo>
                  <a:lnTo>
                    <a:pt x="501" y="741"/>
                  </a:lnTo>
                  <a:lnTo>
                    <a:pt x="503" y="741"/>
                  </a:lnTo>
                  <a:lnTo>
                    <a:pt x="501" y="743"/>
                  </a:lnTo>
                  <a:lnTo>
                    <a:pt x="501" y="741"/>
                  </a:lnTo>
                  <a:lnTo>
                    <a:pt x="501" y="740"/>
                  </a:lnTo>
                  <a:lnTo>
                    <a:pt x="499" y="740"/>
                  </a:lnTo>
                  <a:lnTo>
                    <a:pt x="499" y="738"/>
                  </a:lnTo>
                  <a:lnTo>
                    <a:pt x="499" y="736"/>
                  </a:lnTo>
                  <a:lnTo>
                    <a:pt x="498" y="736"/>
                  </a:lnTo>
                  <a:lnTo>
                    <a:pt x="498" y="738"/>
                  </a:lnTo>
                  <a:lnTo>
                    <a:pt x="498" y="740"/>
                  </a:lnTo>
                  <a:lnTo>
                    <a:pt x="496" y="740"/>
                  </a:lnTo>
                  <a:lnTo>
                    <a:pt x="495" y="740"/>
                  </a:lnTo>
                  <a:lnTo>
                    <a:pt x="495" y="741"/>
                  </a:lnTo>
                  <a:lnTo>
                    <a:pt x="493" y="741"/>
                  </a:lnTo>
                  <a:lnTo>
                    <a:pt x="495" y="741"/>
                  </a:lnTo>
                  <a:lnTo>
                    <a:pt x="495" y="743"/>
                  </a:lnTo>
                  <a:lnTo>
                    <a:pt x="495" y="745"/>
                  </a:lnTo>
                  <a:lnTo>
                    <a:pt x="495" y="746"/>
                  </a:lnTo>
                  <a:lnTo>
                    <a:pt x="496" y="746"/>
                  </a:lnTo>
                  <a:lnTo>
                    <a:pt x="496" y="748"/>
                  </a:lnTo>
                  <a:lnTo>
                    <a:pt x="496" y="746"/>
                  </a:lnTo>
                  <a:lnTo>
                    <a:pt x="496" y="748"/>
                  </a:lnTo>
                  <a:lnTo>
                    <a:pt x="498" y="748"/>
                  </a:lnTo>
                  <a:lnTo>
                    <a:pt x="496" y="748"/>
                  </a:lnTo>
                  <a:lnTo>
                    <a:pt x="498" y="749"/>
                  </a:lnTo>
                  <a:lnTo>
                    <a:pt x="496" y="749"/>
                  </a:lnTo>
                  <a:lnTo>
                    <a:pt x="498" y="749"/>
                  </a:lnTo>
                  <a:lnTo>
                    <a:pt x="498" y="751"/>
                  </a:lnTo>
                  <a:lnTo>
                    <a:pt x="496" y="753"/>
                  </a:lnTo>
                  <a:lnTo>
                    <a:pt x="496" y="751"/>
                  </a:lnTo>
                  <a:lnTo>
                    <a:pt x="496" y="753"/>
                  </a:lnTo>
                  <a:lnTo>
                    <a:pt x="498" y="754"/>
                  </a:lnTo>
                  <a:lnTo>
                    <a:pt x="498" y="756"/>
                  </a:lnTo>
                  <a:lnTo>
                    <a:pt x="498" y="754"/>
                  </a:lnTo>
                  <a:lnTo>
                    <a:pt x="498" y="756"/>
                  </a:lnTo>
                  <a:lnTo>
                    <a:pt x="499" y="756"/>
                  </a:lnTo>
                  <a:lnTo>
                    <a:pt x="498" y="756"/>
                  </a:lnTo>
                  <a:lnTo>
                    <a:pt x="498" y="758"/>
                  </a:lnTo>
                  <a:lnTo>
                    <a:pt x="499" y="758"/>
                  </a:lnTo>
                  <a:lnTo>
                    <a:pt x="498" y="758"/>
                  </a:lnTo>
                  <a:lnTo>
                    <a:pt x="496" y="754"/>
                  </a:lnTo>
                  <a:lnTo>
                    <a:pt x="496" y="753"/>
                  </a:lnTo>
                  <a:lnTo>
                    <a:pt x="496" y="751"/>
                  </a:lnTo>
                  <a:lnTo>
                    <a:pt x="496" y="749"/>
                  </a:lnTo>
                  <a:lnTo>
                    <a:pt x="495" y="749"/>
                  </a:lnTo>
                  <a:lnTo>
                    <a:pt x="493" y="749"/>
                  </a:lnTo>
                  <a:lnTo>
                    <a:pt x="493" y="748"/>
                  </a:lnTo>
                  <a:lnTo>
                    <a:pt x="493" y="749"/>
                  </a:lnTo>
                  <a:lnTo>
                    <a:pt x="493" y="748"/>
                  </a:lnTo>
                  <a:lnTo>
                    <a:pt x="491" y="749"/>
                  </a:lnTo>
                  <a:lnTo>
                    <a:pt x="493" y="749"/>
                  </a:lnTo>
                  <a:lnTo>
                    <a:pt x="493" y="751"/>
                  </a:lnTo>
                  <a:lnTo>
                    <a:pt x="493" y="753"/>
                  </a:lnTo>
                  <a:lnTo>
                    <a:pt x="495" y="754"/>
                  </a:lnTo>
                  <a:lnTo>
                    <a:pt x="495" y="753"/>
                  </a:lnTo>
                  <a:lnTo>
                    <a:pt x="495" y="754"/>
                  </a:lnTo>
                  <a:lnTo>
                    <a:pt x="495" y="756"/>
                  </a:lnTo>
                  <a:lnTo>
                    <a:pt x="493" y="756"/>
                  </a:lnTo>
                  <a:lnTo>
                    <a:pt x="495" y="758"/>
                  </a:lnTo>
                  <a:lnTo>
                    <a:pt x="493" y="758"/>
                  </a:lnTo>
                  <a:lnTo>
                    <a:pt x="495" y="758"/>
                  </a:lnTo>
                  <a:lnTo>
                    <a:pt x="495" y="756"/>
                  </a:lnTo>
                  <a:lnTo>
                    <a:pt x="495" y="758"/>
                  </a:lnTo>
                  <a:lnTo>
                    <a:pt x="493" y="758"/>
                  </a:lnTo>
                  <a:lnTo>
                    <a:pt x="491" y="758"/>
                  </a:lnTo>
                  <a:lnTo>
                    <a:pt x="491" y="759"/>
                  </a:lnTo>
                  <a:lnTo>
                    <a:pt x="491" y="764"/>
                  </a:lnTo>
                  <a:lnTo>
                    <a:pt x="493" y="766"/>
                  </a:lnTo>
                  <a:lnTo>
                    <a:pt x="493" y="767"/>
                  </a:lnTo>
                  <a:lnTo>
                    <a:pt x="493" y="769"/>
                  </a:lnTo>
                  <a:lnTo>
                    <a:pt x="493" y="771"/>
                  </a:lnTo>
                  <a:lnTo>
                    <a:pt x="493" y="772"/>
                  </a:lnTo>
                  <a:lnTo>
                    <a:pt x="493" y="774"/>
                  </a:lnTo>
                  <a:lnTo>
                    <a:pt x="493" y="776"/>
                  </a:lnTo>
                  <a:lnTo>
                    <a:pt x="493" y="777"/>
                  </a:lnTo>
                  <a:lnTo>
                    <a:pt x="491" y="776"/>
                  </a:lnTo>
                  <a:lnTo>
                    <a:pt x="491" y="774"/>
                  </a:lnTo>
                  <a:lnTo>
                    <a:pt x="490" y="774"/>
                  </a:lnTo>
                  <a:lnTo>
                    <a:pt x="490" y="772"/>
                  </a:lnTo>
                  <a:lnTo>
                    <a:pt x="490" y="771"/>
                  </a:lnTo>
                  <a:lnTo>
                    <a:pt x="490" y="769"/>
                  </a:lnTo>
                  <a:lnTo>
                    <a:pt x="488" y="769"/>
                  </a:lnTo>
                  <a:lnTo>
                    <a:pt x="486" y="769"/>
                  </a:lnTo>
                  <a:lnTo>
                    <a:pt x="486" y="771"/>
                  </a:lnTo>
                  <a:lnTo>
                    <a:pt x="486" y="772"/>
                  </a:lnTo>
                  <a:lnTo>
                    <a:pt x="486" y="774"/>
                  </a:lnTo>
                  <a:lnTo>
                    <a:pt x="485" y="776"/>
                  </a:lnTo>
                  <a:lnTo>
                    <a:pt x="486" y="777"/>
                  </a:lnTo>
                  <a:lnTo>
                    <a:pt x="486" y="779"/>
                  </a:lnTo>
                  <a:lnTo>
                    <a:pt x="485" y="779"/>
                  </a:lnTo>
                  <a:lnTo>
                    <a:pt x="485" y="780"/>
                  </a:lnTo>
                  <a:lnTo>
                    <a:pt x="485" y="782"/>
                  </a:lnTo>
                  <a:lnTo>
                    <a:pt x="483" y="782"/>
                  </a:lnTo>
                  <a:lnTo>
                    <a:pt x="483" y="784"/>
                  </a:lnTo>
                  <a:lnTo>
                    <a:pt x="483" y="785"/>
                  </a:lnTo>
                  <a:lnTo>
                    <a:pt x="483" y="787"/>
                  </a:lnTo>
                  <a:lnTo>
                    <a:pt x="483" y="789"/>
                  </a:lnTo>
                  <a:lnTo>
                    <a:pt x="483" y="792"/>
                  </a:lnTo>
                  <a:lnTo>
                    <a:pt x="483" y="790"/>
                  </a:lnTo>
                  <a:lnTo>
                    <a:pt x="483" y="789"/>
                  </a:lnTo>
                  <a:lnTo>
                    <a:pt x="483" y="790"/>
                  </a:lnTo>
                  <a:lnTo>
                    <a:pt x="483" y="792"/>
                  </a:lnTo>
                  <a:lnTo>
                    <a:pt x="483" y="793"/>
                  </a:lnTo>
                  <a:lnTo>
                    <a:pt x="483" y="795"/>
                  </a:lnTo>
                  <a:lnTo>
                    <a:pt x="483" y="797"/>
                  </a:lnTo>
                  <a:lnTo>
                    <a:pt x="482" y="797"/>
                  </a:lnTo>
                  <a:lnTo>
                    <a:pt x="482" y="798"/>
                  </a:lnTo>
                  <a:lnTo>
                    <a:pt x="482" y="800"/>
                  </a:lnTo>
                  <a:lnTo>
                    <a:pt x="483" y="800"/>
                  </a:lnTo>
                  <a:lnTo>
                    <a:pt x="485" y="800"/>
                  </a:lnTo>
                  <a:lnTo>
                    <a:pt x="485" y="802"/>
                  </a:lnTo>
                  <a:lnTo>
                    <a:pt x="483" y="802"/>
                  </a:lnTo>
                  <a:lnTo>
                    <a:pt x="482" y="802"/>
                  </a:lnTo>
                  <a:lnTo>
                    <a:pt x="482" y="800"/>
                  </a:lnTo>
                  <a:lnTo>
                    <a:pt x="480" y="800"/>
                  </a:lnTo>
                  <a:lnTo>
                    <a:pt x="480" y="798"/>
                  </a:lnTo>
                  <a:lnTo>
                    <a:pt x="478" y="798"/>
                  </a:lnTo>
                  <a:lnTo>
                    <a:pt x="478" y="797"/>
                  </a:lnTo>
                  <a:lnTo>
                    <a:pt x="478" y="798"/>
                  </a:lnTo>
                  <a:lnTo>
                    <a:pt x="478" y="800"/>
                  </a:lnTo>
                  <a:lnTo>
                    <a:pt x="478" y="802"/>
                  </a:lnTo>
                  <a:lnTo>
                    <a:pt x="477" y="802"/>
                  </a:lnTo>
                  <a:lnTo>
                    <a:pt x="477" y="803"/>
                  </a:lnTo>
                  <a:lnTo>
                    <a:pt x="477" y="802"/>
                  </a:lnTo>
                  <a:lnTo>
                    <a:pt x="478" y="802"/>
                  </a:lnTo>
                  <a:lnTo>
                    <a:pt x="478" y="800"/>
                  </a:lnTo>
                  <a:lnTo>
                    <a:pt x="478" y="802"/>
                  </a:lnTo>
                  <a:lnTo>
                    <a:pt x="478" y="800"/>
                  </a:lnTo>
                  <a:lnTo>
                    <a:pt x="477" y="803"/>
                  </a:lnTo>
                  <a:lnTo>
                    <a:pt x="477" y="805"/>
                  </a:lnTo>
                  <a:lnTo>
                    <a:pt x="477" y="806"/>
                  </a:lnTo>
                  <a:lnTo>
                    <a:pt x="475" y="806"/>
                  </a:lnTo>
                  <a:lnTo>
                    <a:pt x="475" y="808"/>
                  </a:lnTo>
                  <a:lnTo>
                    <a:pt x="477" y="808"/>
                  </a:lnTo>
                  <a:lnTo>
                    <a:pt x="475" y="808"/>
                  </a:lnTo>
                  <a:lnTo>
                    <a:pt x="475" y="810"/>
                  </a:lnTo>
                  <a:lnTo>
                    <a:pt x="475" y="811"/>
                  </a:lnTo>
                  <a:lnTo>
                    <a:pt x="477" y="811"/>
                  </a:lnTo>
                  <a:lnTo>
                    <a:pt x="477" y="810"/>
                  </a:lnTo>
                  <a:lnTo>
                    <a:pt x="477" y="808"/>
                  </a:lnTo>
                  <a:lnTo>
                    <a:pt x="477" y="806"/>
                  </a:lnTo>
                  <a:lnTo>
                    <a:pt x="477" y="805"/>
                  </a:lnTo>
                  <a:lnTo>
                    <a:pt x="478" y="803"/>
                  </a:lnTo>
                  <a:lnTo>
                    <a:pt x="480" y="802"/>
                  </a:lnTo>
                  <a:lnTo>
                    <a:pt x="480" y="803"/>
                  </a:lnTo>
                  <a:lnTo>
                    <a:pt x="482" y="802"/>
                  </a:lnTo>
                  <a:lnTo>
                    <a:pt x="483" y="802"/>
                  </a:lnTo>
                  <a:lnTo>
                    <a:pt x="485" y="802"/>
                  </a:lnTo>
                  <a:lnTo>
                    <a:pt x="485" y="800"/>
                  </a:lnTo>
                  <a:lnTo>
                    <a:pt x="483" y="798"/>
                  </a:lnTo>
                  <a:lnTo>
                    <a:pt x="483" y="797"/>
                  </a:lnTo>
                  <a:lnTo>
                    <a:pt x="483" y="795"/>
                  </a:lnTo>
                  <a:lnTo>
                    <a:pt x="485" y="795"/>
                  </a:lnTo>
                  <a:lnTo>
                    <a:pt x="483" y="795"/>
                  </a:lnTo>
                  <a:lnTo>
                    <a:pt x="485" y="793"/>
                  </a:lnTo>
                  <a:lnTo>
                    <a:pt x="485" y="795"/>
                  </a:lnTo>
                  <a:lnTo>
                    <a:pt x="485" y="797"/>
                  </a:lnTo>
                  <a:lnTo>
                    <a:pt x="485" y="800"/>
                  </a:lnTo>
                  <a:lnTo>
                    <a:pt x="485" y="802"/>
                  </a:lnTo>
                  <a:lnTo>
                    <a:pt x="485" y="803"/>
                  </a:lnTo>
                  <a:lnTo>
                    <a:pt x="483" y="803"/>
                  </a:lnTo>
                  <a:lnTo>
                    <a:pt x="482" y="803"/>
                  </a:lnTo>
                  <a:lnTo>
                    <a:pt x="480" y="805"/>
                  </a:lnTo>
                  <a:lnTo>
                    <a:pt x="478" y="806"/>
                  </a:lnTo>
                  <a:lnTo>
                    <a:pt x="478" y="808"/>
                  </a:lnTo>
                  <a:lnTo>
                    <a:pt x="477" y="808"/>
                  </a:lnTo>
                  <a:lnTo>
                    <a:pt x="477" y="811"/>
                  </a:lnTo>
                  <a:lnTo>
                    <a:pt x="477" y="813"/>
                  </a:lnTo>
                  <a:lnTo>
                    <a:pt x="478" y="815"/>
                  </a:lnTo>
                  <a:lnTo>
                    <a:pt x="478" y="816"/>
                  </a:lnTo>
                  <a:lnTo>
                    <a:pt x="480" y="816"/>
                  </a:lnTo>
                  <a:lnTo>
                    <a:pt x="480" y="818"/>
                  </a:lnTo>
                  <a:lnTo>
                    <a:pt x="480" y="819"/>
                  </a:lnTo>
                  <a:lnTo>
                    <a:pt x="480" y="821"/>
                  </a:lnTo>
                  <a:lnTo>
                    <a:pt x="480" y="823"/>
                  </a:lnTo>
                  <a:lnTo>
                    <a:pt x="478" y="823"/>
                  </a:lnTo>
                  <a:lnTo>
                    <a:pt x="478" y="824"/>
                  </a:lnTo>
                  <a:lnTo>
                    <a:pt x="480" y="823"/>
                  </a:lnTo>
                  <a:lnTo>
                    <a:pt x="480" y="824"/>
                  </a:lnTo>
                  <a:lnTo>
                    <a:pt x="480" y="823"/>
                  </a:lnTo>
                  <a:lnTo>
                    <a:pt x="480" y="824"/>
                  </a:lnTo>
                  <a:lnTo>
                    <a:pt x="480" y="823"/>
                  </a:lnTo>
                  <a:lnTo>
                    <a:pt x="480" y="821"/>
                  </a:lnTo>
                  <a:lnTo>
                    <a:pt x="480" y="823"/>
                  </a:lnTo>
                  <a:lnTo>
                    <a:pt x="482" y="823"/>
                  </a:lnTo>
                  <a:lnTo>
                    <a:pt x="483" y="824"/>
                  </a:lnTo>
                  <a:lnTo>
                    <a:pt x="483" y="826"/>
                  </a:lnTo>
                  <a:lnTo>
                    <a:pt x="485" y="828"/>
                  </a:lnTo>
                  <a:lnTo>
                    <a:pt x="485" y="829"/>
                  </a:lnTo>
                  <a:lnTo>
                    <a:pt x="485" y="831"/>
                  </a:lnTo>
                  <a:lnTo>
                    <a:pt x="483" y="831"/>
                  </a:lnTo>
                  <a:lnTo>
                    <a:pt x="482" y="831"/>
                  </a:lnTo>
                  <a:lnTo>
                    <a:pt x="480" y="829"/>
                  </a:lnTo>
                  <a:lnTo>
                    <a:pt x="480" y="831"/>
                  </a:lnTo>
                  <a:lnTo>
                    <a:pt x="478" y="831"/>
                  </a:lnTo>
                  <a:lnTo>
                    <a:pt x="480" y="831"/>
                  </a:lnTo>
                  <a:lnTo>
                    <a:pt x="478" y="831"/>
                  </a:lnTo>
                  <a:lnTo>
                    <a:pt x="477" y="831"/>
                  </a:lnTo>
                  <a:lnTo>
                    <a:pt x="477" y="829"/>
                  </a:lnTo>
                  <a:lnTo>
                    <a:pt x="475" y="829"/>
                  </a:lnTo>
                  <a:lnTo>
                    <a:pt x="477" y="829"/>
                  </a:lnTo>
                  <a:lnTo>
                    <a:pt x="478" y="829"/>
                  </a:lnTo>
                  <a:lnTo>
                    <a:pt x="480" y="829"/>
                  </a:lnTo>
                  <a:lnTo>
                    <a:pt x="478" y="829"/>
                  </a:lnTo>
                  <a:lnTo>
                    <a:pt x="478" y="828"/>
                  </a:lnTo>
                  <a:lnTo>
                    <a:pt x="477" y="828"/>
                  </a:lnTo>
                  <a:lnTo>
                    <a:pt x="475" y="829"/>
                  </a:lnTo>
                  <a:lnTo>
                    <a:pt x="473" y="829"/>
                  </a:lnTo>
                  <a:lnTo>
                    <a:pt x="473" y="831"/>
                  </a:lnTo>
                  <a:lnTo>
                    <a:pt x="475" y="831"/>
                  </a:lnTo>
                  <a:lnTo>
                    <a:pt x="475" y="832"/>
                  </a:lnTo>
                  <a:lnTo>
                    <a:pt x="477" y="832"/>
                  </a:lnTo>
                  <a:lnTo>
                    <a:pt x="478" y="832"/>
                  </a:lnTo>
                  <a:lnTo>
                    <a:pt x="480" y="832"/>
                  </a:lnTo>
                  <a:lnTo>
                    <a:pt x="482" y="832"/>
                  </a:lnTo>
                  <a:lnTo>
                    <a:pt x="480" y="834"/>
                  </a:lnTo>
                  <a:lnTo>
                    <a:pt x="478" y="834"/>
                  </a:lnTo>
                  <a:lnTo>
                    <a:pt x="480" y="836"/>
                  </a:lnTo>
                  <a:lnTo>
                    <a:pt x="482" y="837"/>
                  </a:lnTo>
                  <a:lnTo>
                    <a:pt x="483" y="837"/>
                  </a:lnTo>
                  <a:lnTo>
                    <a:pt x="483" y="839"/>
                  </a:lnTo>
                  <a:lnTo>
                    <a:pt x="485" y="839"/>
                  </a:lnTo>
                  <a:lnTo>
                    <a:pt x="485" y="841"/>
                  </a:lnTo>
                  <a:lnTo>
                    <a:pt x="483" y="841"/>
                  </a:lnTo>
                  <a:lnTo>
                    <a:pt x="482" y="841"/>
                  </a:lnTo>
                  <a:lnTo>
                    <a:pt x="478" y="841"/>
                  </a:lnTo>
                  <a:lnTo>
                    <a:pt x="477" y="841"/>
                  </a:lnTo>
                  <a:lnTo>
                    <a:pt x="475" y="841"/>
                  </a:lnTo>
                  <a:lnTo>
                    <a:pt x="473" y="841"/>
                  </a:lnTo>
                  <a:lnTo>
                    <a:pt x="473" y="842"/>
                  </a:lnTo>
                  <a:lnTo>
                    <a:pt x="473" y="844"/>
                  </a:lnTo>
                  <a:lnTo>
                    <a:pt x="472" y="845"/>
                  </a:lnTo>
                  <a:lnTo>
                    <a:pt x="470" y="845"/>
                  </a:lnTo>
                  <a:lnTo>
                    <a:pt x="470" y="847"/>
                  </a:lnTo>
                  <a:lnTo>
                    <a:pt x="469" y="847"/>
                  </a:lnTo>
                  <a:lnTo>
                    <a:pt x="467" y="849"/>
                  </a:lnTo>
                  <a:lnTo>
                    <a:pt x="469" y="850"/>
                  </a:lnTo>
                  <a:lnTo>
                    <a:pt x="469" y="852"/>
                  </a:lnTo>
                  <a:lnTo>
                    <a:pt x="469" y="854"/>
                  </a:lnTo>
                  <a:lnTo>
                    <a:pt x="470" y="852"/>
                  </a:lnTo>
                  <a:lnTo>
                    <a:pt x="470" y="854"/>
                  </a:lnTo>
                  <a:lnTo>
                    <a:pt x="470" y="852"/>
                  </a:lnTo>
                  <a:lnTo>
                    <a:pt x="472" y="854"/>
                  </a:lnTo>
                  <a:lnTo>
                    <a:pt x="472" y="852"/>
                  </a:lnTo>
                  <a:lnTo>
                    <a:pt x="470" y="852"/>
                  </a:lnTo>
                  <a:lnTo>
                    <a:pt x="472" y="852"/>
                  </a:lnTo>
                  <a:lnTo>
                    <a:pt x="472" y="854"/>
                  </a:lnTo>
                  <a:lnTo>
                    <a:pt x="473" y="854"/>
                  </a:lnTo>
                  <a:lnTo>
                    <a:pt x="472" y="854"/>
                  </a:lnTo>
                  <a:lnTo>
                    <a:pt x="472" y="855"/>
                  </a:lnTo>
                  <a:lnTo>
                    <a:pt x="472" y="857"/>
                  </a:lnTo>
                  <a:lnTo>
                    <a:pt x="473" y="857"/>
                  </a:lnTo>
                  <a:lnTo>
                    <a:pt x="475" y="858"/>
                  </a:lnTo>
                  <a:lnTo>
                    <a:pt x="478" y="858"/>
                  </a:lnTo>
                  <a:lnTo>
                    <a:pt x="480" y="860"/>
                  </a:lnTo>
                  <a:lnTo>
                    <a:pt x="482" y="860"/>
                  </a:lnTo>
                  <a:lnTo>
                    <a:pt x="483" y="860"/>
                  </a:lnTo>
                  <a:lnTo>
                    <a:pt x="485" y="862"/>
                  </a:lnTo>
                  <a:lnTo>
                    <a:pt x="486" y="862"/>
                  </a:lnTo>
                  <a:lnTo>
                    <a:pt x="485" y="863"/>
                  </a:lnTo>
                  <a:lnTo>
                    <a:pt x="483" y="863"/>
                  </a:lnTo>
                  <a:lnTo>
                    <a:pt x="482" y="863"/>
                  </a:lnTo>
                  <a:lnTo>
                    <a:pt x="480" y="863"/>
                  </a:lnTo>
                  <a:lnTo>
                    <a:pt x="480" y="865"/>
                  </a:lnTo>
                  <a:lnTo>
                    <a:pt x="478" y="865"/>
                  </a:lnTo>
                  <a:lnTo>
                    <a:pt x="480" y="865"/>
                  </a:lnTo>
                  <a:lnTo>
                    <a:pt x="478" y="865"/>
                  </a:lnTo>
                  <a:lnTo>
                    <a:pt x="478" y="867"/>
                  </a:lnTo>
                  <a:lnTo>
                    <a:pt x="478" y="865"/>
                  </a:lnTo>
                  <a:lnTo>
                    <a:pt x="477" y="865"/>
                  </a:lnTo>
                  <a:lnTo>
                    <a:pt x="475" y="865"/>
                  </a:lnTo>
                  <a:lnTo>
                    <a:pt x="473" y="865"/>
                  </a:lnTo>
                  <a:lnTo>
                    <a:pt x="472" y="865"/>
                  </a:lnTo>
                  <a:lnTo>
                    <a:pt x="473" y="865"/>
                  </a:lnTo>
                  <a:lnTo>
                    <a:pt x="475" y="865"/>
                  </a:lnTo>
                  <a:lnTo>
                    <a:pt x="475" y="863"/>
                  </a:lnTo>
                  <a:lnTo>
                    <a:pt x="473" y="863"/>
                  </a:lnTo>
                  <a:lnTo>
                    <a:pt x="472" y="863"/>
                  </a:lnTo>
                  <a:lnTo>
                    <a:pt x="470" y="863"/>
                  </a:lnTo>
                  <a:lnTo>
                    <a:pt x="472" y="863"/>
                  </a:lnTo>
                  <a:lnTo>
                    <a:pt x="470" y="863"/>
                  </a:lnTo>
                  <a:lnTo>
                    <a:pt x="469" y="863"/>
                  </a:lnTo>
                  <a:lnTo>
                    <a:pt x="467" y="863"/>
                  </a:lnTo>
                  <a:lnTo>
                    <a:pt x="469" y="862"/>
                  </a:lnTo>
                  <a:lnTo>
                    <a:pt x="467" y="862"/>
                  </a:lnTo>
                  <a:lnTo>
                    <a:pt x="467" y="860"/>
                  </a:lnTo>
                  <a:lnTo>
                    <a:pt x="467" y="862"/>
                  </a:lnTo>
                  <a:lnTo>
                    <a:pt x="465" y="860"/>
                  </a:lnTo>
                  <a:lnTo>
                    <a:pt x="465" y="862"/>
                  </a:lnTo>
                  <a:lnTo>
                    <a:pt x="465" y="860"/>
                  </a:lnTo>
                  <a:lnTo>
                    <a:pt x="465" y="862"/>
                  </a:lnTo>
                  <a:lnTo>
                    <a:pt x="467" y="862"/>
                  </a:lnTo>
                  <a:lnTo>
                    <a:pt x="467" y="863"/>
                  </a:lnTo>
                  <a:lnTo>
                    <a:pt x="465" y="863"/>
                  </a:lnTo>
                  <a:lnTo>
                    <a:pt x="465" y="862"/>
                  </a:lnTo>
                  <a:lnTo>
                    <a:pt x="464" y="862"/>
                  </a:lnTo>
                  <a:lnTo>
                    <a:pt x="460" y="862"/>
                  </a:lnTo>
                  <a:lnTo>
                    <a:pt x="462" y="862"/>
                  </a:lnTo>
                  <a:lnTo>
                    <a:pt x="460" y="862"/>
                  </a:lnTo>
                  <a:lnTo>
                    <a:pt x="459" y="862"/>
                  </a:lnTo>
                  <a:lnTo>
                    <a:pt x="457" y="862"/>
                  </a:lnTo>
                  <a:lnTo>
                    <a:pt x="456" y="862"/>
                  </a:lnTo>
                  <a:lnTo>
                    <a:pt x="454" y="862"/>
                  </a:lnTo>
                  <a:lnTo>
                    <a:pt x="454" y="863"/>
                  </a:lnTo>
                  <a:lnTo>
                    <a:pt x="452" y="865"/>
                  </a:lnTo>
                  <a:lnTo>
                    <a:pt x="452" y="867"/>
                  </a:lnTo>
                  <a:lnTo>
                    <a:pt x="452" y="865"/>
                  </a:lnTo>
                  <a:lnTo>
                    <a:pt x="454" y="865"/>
                  </a:lnTo>
                  <a:lnTo>
                    <a:pt x="454" y="867"/>
                  </a:lnTo>
                  <a:lnTo>
                    <a:pt x="456" y="867"/>
                  </a:lnTo>
                  <a:lnTo>
                    <a:pt x="457" y="867"/>
                  </a:lnTo>
                  <a:lnTo>
                    <a:pt x="459" y="867"/>
                  </a:lnTo>
                  <a:lnTo>
                    <a:pt x="460" y="868"/>
                  </a:lnTo>
                  <a:lnTo>
                    <a:pt x="465" y="868"/>
                  </a:lnTo>
                  <a:lnTo>
                    <a:pt x="467" y="868"/>
                  </a:lnTo>
                  <a:lnTo>
                    <a:pt x="465" y="868"/>
                  </a:lnTo>
                  <a:lnTo>
                    <a:pt x="469" y="870"/>
                  </a:lnTo>
                  <a:lnTo>
                    <a:pt x="470" y="870"/>
                  </a:lnTo>
                  <a:lnTo>
                    <a:pt x="470" y="868"/>
                  </a:lnTo>
                  <a:lnTo>
                    <a:pt x="472" y="868"/>
                  </a:lnTo>
                  <a:lnTo>
                    <a:pt x="473" y="868"/>
                  </a:lnTo>
                  <a:lnTo>
                    <a:pt x="473" y="870"/>
                  </a:lnTo>
                  <a:lnTo>
                    <a:pt x="475" y="871"/>
                  </a:lnTo>
                  <a:lnTo>
                    <a:pt x="473" y="871"/>
                  </a:lnTo>
                  <a:lnTo>
                    <a:pt x="473" y="873"/>
                  </a:lnTo>
                  <a:lnTo>
                    <a:pt x="473" y="875"/>
                  </a:lnTo>
                  <a:lnTo>
                    <a:pt x="475" y="875"/>
                  </a:lnTo>
                  <a:lnTo>
                    <a:pt x="473" y="875"/>
                  </a:lnTo>
                  <a:lnTo>
                    <a:pt x="472" y="873"/>
                  </a:lnTo>
                  <a:lnTo>
                    <a:pt x="472" y="875"/>
                  </a:lnTo>
                  <a:lnTo>
                    <a:pt x="472" y="876"/>
                  </a:lnTo>
                  <a:lnTo>
                    <a:pt x="470" y="876"/>
                  </a:lnTo>
                  <a:lnTo>
                    <a:pt x="469" y="876"/>
                  </a:lnTo>
                  <a:lnTo>
                    <a:pt x="467" y="876"/>
                  </a:lnTo>
                  <a:lnTo>
                    <a:pt x="467" y="875"/>
                  </a:lnTo>
                  <a:lnTo>
                    <a:pt x="465" y="875"/>
                  </a:lnTo>
                  <a:lnTo>
                    <a:pt x="464" y="875"/>
                  </a:lnTo>
                  <a:lnTo>
                    <a:pt x="464" y="873"/>
                  </a:lnTo>
                  <a:lnTo>
                    <a:pt x="464" y="875"/>
                  </a:lnTo>
                  <a:lnTo>
                    <a:pt x="462" y="873"/>
                  </a:lnTo>
                  <a:lnTo>
                    <a:pt x="462" y="875"/>
                  </a:lnTo>
                  <a:lnTo>
                    <a:pt x="462" y="873"/>
                  </a:lnTo>
                  <a:lnTo>
                    <a:pt x="462" y="875"/>
                  </a:lnTo>
                  <a:lnTo>
                    <a:pt x="462" y="873"/>
                  </a:lnTo>
                  <a:lnTo>
                    <a:pt x="462" y="875"/>
                  </a:lnTo>
                  <a:lnTo>
                    <a:pt x="460" y="875"/>
                  </a:lnTo>
                  <a:lnTo>
                    <a:pt x="460" y="873"/>
                  </a:lnTo>
                  <a:lnTo>
                    <a:pt x="460" y="875"/>
                  </a:lnTo>
                  <a:lnTo>
                    <a:pt x="459" y="875"/>
                  </a:lnTo>
                  <a:lnTo>
                    <a:pt x="460" y="875"/>
                  </a:lnTo>
                  <a:lnTo>
                    <a:pt x="459" y="875"/>
                  </a:lnTo>
                  <a:lnTo>
                    <a:pt x="459" y="873"/>
                  </a:lnTo>
                  <a:lnTo>
                    <a:pt x="457" y="873"/>
                  </a:lnTo>
                  <a:lnTo>
                    <a:pt x="457" y="875"/>
                  </a:lnTo>
                  <a:lnTo>
                    <a:pt x="456" y="875"/>
                  </a:lnTo>
                  <a:lnTo>
                    <a:pt x="457" y="875"/>
                  </a:lnTo>
                  <a:lnTo>
                    <a:pt x="457" y="876"/>
                  </a:lnTo>
                  <a:lnTo>
                    <a:pt x="456" y="876"/>
                  </a:lnTo>
                  <a:lnTo>
                    <a:pt x="456" y="875"/>
                  </a:lnTo>
                  <a:lnTo>
                    <a:pt x="457" y="875"/>
                  </a:lnTo>
                  <a:lnTo>
                    <a:pt x="456" y="875"/>
                  </a:lnTo>
                  <a:lnTo>
                    <a:pt x="454" y="875"/>
                  </a:lnTo>
                  <a:lnTo>
                    <a:pt x="456" y="875"/>
                  </a:lnTo>
                  <a:lnTo>
                    <a:pt x="454" y="875"/>
                  </a:lnTo>
                  <a:lnTo>
                    <a:pt x="454" y="876"/>
                  </a:lnTo>
                  <a:lnTo>
                    <a:pt x="454" y="875"/>
                  </a:lnTo>
                  <a:lnTo>
                    <a:pt x="454" y="876"/>
                  </a:lnTo>
                  <a:lnTo>
                    <a:pt x="454" y="875"/>
                  </a:lnTo>
                  <a:lnTo>
                    <a:pt x="452" y="875"/>
                  </a:lnTo>
                  <a:lnTo>
                    <a:pt x="454" y="875"/>
                  </a:lnTo>
                  <a:lnTo>
                    <a:pt x="452" y="875"/>
                  </a:lnTo>
                  <a:lnTo>
                    <a:pt x="451" y="875"/>
                  </a:lnTo>
                  <a:lnTo>
                    <a:pt x="449" y="873"/>
                  </a:lnTo>
                  <a:lnTo>
                    <a:pt x="451" y="873"/>
                  </a:lnTo>
                  <a:lnTo>
                    <a:pt x="449" y="873"/>
                  </a:lnTo>
                  <a:lnTo>
                    <a:pt x="449" y="871"/>
                  </a:lnTo>
                  <a:lnTo>
                    <a:pt x="447" y="873"/>
                  </a:lnTo>
                  <a:lnTo>
                    <a:pt x="449" y="871"/>
                  </a:lnTo>
                  <a:lnTo>
                    <a:pt x="447" y="871"/>
                  </a:lnTo>
                  <a:lnTo>
                    <a:pt x="447" y="870"/>
                  </a:lnTo>
                  <a:lnTo>
                    <a:pt x="446" y="868"/>
                  </a:lnTo>
                  <a:lnTo>
                    <a:pt x="444" y="868"/>
                  </a:lnTo>
                  <a:lnTo>
                    <a:pt x="444" y="867"/>
                  </a:lnTo>
                  <a:lnTo>
                    <a:pt x="441" y="867"/>
                  </a:lnTo>
                  <a:lnTo>
                    <a:pt x="441" y="865"/>
                  </a:lnTo>
                  <a:lnTo>
                    <a:pt x="439" y="865"/>
                  </a:lnTo>
                  <a:lnTo>
                    <a:pt x="441" y="865"/>
                  </a:lnTo>
                  <a:lnTo>
                    <a:pt x="439" y="867"/>
                  </a:lnTo>
                  <a:lnTo>
                    <a:pt x="441" y="867"/>
                  </a:lnTo>
                  <a:lnTo>
                    <a:pt x="441" y="868"/>
                  </a:lnTo>
                  <a:lnTo>
                    <a:pt x="443" y="868"/>
                  </a:lnTo>
                  <a:lnTo>
                    <a:pt x="441" y="868"/>
                  </a:lnTo>
                  <a:lnTo>
                    <a:pt x="443" y="868"/>
                  </a:lnTo>
                  <a:lnTo>
                    <a:pt x="441" y="868"/>
                  </a:lnTo>
                  <a:lnTo>
                    <a:pt x="443" y="868"/>
                  </a:lnTo>
                  <a:lnTo>
                    <a:pt x="443" y="870"/>
                  </a:lnTo>
                  <a:lnTo>
                    <a:pt x="444" y="870"/>
                  </a:lnTo>
                  <a:lnTo>
                    <a:pt x="443" y="870"/>
                  </a:lnTo>
                  <a:lnTo>
                    <a:pt x="441" y="870"/>
                  </a:lnTo>
                  <a:lnTo>
                    <a:pt x="443" y="870"/>
                  </a:lnTo>
                  <a:lnTo>
                    <a:pt x="441" y="870"/>
                  </a:lnTo>
                  <a:lnTo>
                    <a:pt x="439" y="870"/>
                  </a:lnTo>
                  <a:lnTo>
                    <a:pt x="439" y="868"/>
                  </a:lnTo>
                  <a:lnTo>
                    <a:pt x="438" y="868"/>
                  </a:lnTo>
                  <a:lnTo>
                    <a:pt x="438" y="867"/>
                  </a:lnTo>
                  <a:lnTo>
                    <a:pt x="436" y="867"/>
                  </a:lnTo>
                  <a:lnTo>
                    <a:pt x="438" y="865"/>
                  </a:lnTo>
                  <a:lnTo>
                    <a:pt x="436" y="865"/>
                  </a:lnTo>
                  <a:lnTo>
                    <a:pt x="436" y="867"/>
                  </a:lnTo>
                  <a:lnTo>
                    <a:pt x="438" y="868"/>
                  </a:lnTo>
                  <a:lnTo>
                    <a:pt x="438" y="870"/>
                  </a:lnTo>
                  <a:lnTo>
                    <a:pt x="438" y="868"/>
                  </a:lnTo>
                  <a:lnTo>
                    <a:pt x="436" y="868"/>
                  </a:lnTo>
                  <a:lnTo>
                    <a:pt x="438" y="868"/>
                  </a:lnTo>
                  <a:lnTo>
                    <a:pt x="436" y="868"/>
                  </a:lnTo>
                  <a:lnTo>
                    <a:pt x="434" y="868"/>
                  </a:lnTo>
                  <a:lnTo>
                    <a:pt x="433" y="867"/>
                  </a:lnTo>
                  <a:lnTo>
                    <a:pt x="431" y="867"/>
                  </a:lnTo>
                  <a:lnTo>
                    <a:pt x="430" y="865"/>
                  </a:lnTo>
                  <a:lnTo>
                    <a:pt x="428" y="865"/>
                  </a:lnTo>
                  <a:lnTo>
                    <a:pt x="428" y="867"/>
                  </a:lnTo>
                  <a:lnTo>
                    <a:pt x="430" y="867"/>
                  </a:lnTo>
                  <a:lnTo>
                    <a:pt x="431" y="868"/>
                  </a:lnTo>
                  <a:lnTo>
                    <a:pt x="431" y="867"/>
                  </a:lnTo>
                  <a:lnTo>
                    <a:pt x="431" y="868"/>
                  </a:lnTo>
                  <a:lnTo>
                    <a:pt x="433" y="868"/>
                  </a:lnTo>
                  <a:lnTo>
                    <a:pt x="433" y="870"/>
                  </a:lnTo>
                  <a:lnTo>
                    <a:pt x="433" y="871"/>
                  </a:lnTo>
                  <a:lnTo>
                    <a:pt x="433" y="873"/>
                  </a:lnTo>
                  <a:lnTo>
                    <a:pt x="434" y="875"/>
                  </a:lnTo>
                  <a:lnTo>
                    <a:pt x="436" y="876"/>
                  </a:lnTo>
                  <a:lnTo>
                    <a:pt x="438" y="876"/>
                  </a:lnTo>
                  <a:lnTo>
                    <a:pt x="439" y="876"/>
                  </a:lnTo>
                  <a:lnTo>
                    <a:pt x="443" y="878"/>
                  </a:lnTo>
                  <a:lnTo>
                    <a:pt x="444" y="878"/>
                  </a:lnTo>
                  <a:lnTo>
                    <a:pt x="443" y="878"/>
                  </a:lnTo>
                  <a:lnTo>
                    <a:pt x="443" y="876"/>
                  </a:lnTo>
                  <a:lnTo>
                    <a:pt x="441" y="876"/>
                  </a:lnTo>
                  <a:lnTo>
                    <a:pt x="439" y="876"/>
                  </a:lnTo>
                  <a:lnTo>
                    <a:pt x="438" y="875"/>
                  </a:lnTo>
                  <a:lnTo>
                    <a:pt x="436" y="875"/>
                  </a:lnTo>
                  <a:lnTo>
                    <a:pt x="436" y="873"/>
                  </a:lnTo>
                  <a:lnTo>
                    <a:pt x="434" y="873"/>
                  </a:lnTo>
                  <a:lnTo>
                    <a:pt x="434" y="871"/>
                  </a:lnTo>
                  <a:lnTo>
                    <a:pt x="436" y="871"/>
                  </a:lnTo>
                  <a:lnTo>
                    <a:pt x="436" y="870"/>
                  </a:lnTo>
                  <a:lnTo>
                    <a:pt x="436" y="871"/>
                  </a:lnTo>
                  <a:lnTo>
                    <a:pt x="438" y="871"/>
                  </a:lnTo>
                  <a:lnTo>
                    <a:pt x="438" y="870"/>
                  </a:lnTo>
                  <a:lnTo>
                    <a:pt x="438" y="871"/>
                  </a:lnTo>
                  <a:lnTo>
                    <a:pt x="438" y="870"/>
                  </a:lnTo>
                  <a:lnTo>
                    <a:pt x="439" y="871"/>
                  </a:lnTo>
                  <a:lnTo>
                    <a:pt x="439" y="870"/>
                  </a:lnTo>
                  <a:lnTo>
                    <a:pt x="439" y="871"/>
                  </a:lnTo>
                  <a:lnTo>
                    <a:pt x="438" y="871"/>
                  </a:lnTo>
                  <a:lnTo>
                    <a:pt x="438" y="873"/>
                  </a:lnTo>
                  <a:lnTo>
                    <a:pt x="439" y="873"/>
                  </a:lnTo>
                  <a:lnTo>
                    <a:pt x="441" y="873"/>
                  </a:lnTo>
                  <a:lnTo>
                    <a:pt x="443" y="873"/>
                  </a:lnTo>
                  <a:lnTo>
                    <a:pt x="444" y="873"/>
                  </a:lnTo>
                  <a:lnTo>
                    <a:pt x="446" y="873"/>
                  </a:lnTo>
                  <a:lnTo>
                    <a:pt x="444" y="873"/>
                  </a:lnTo>
                  <a:lnTo>
                    <a:pt x="444" y="875"/>
                  </a:lnTo>
                  <a:lnTo>
                    <a:pt x="446" y="875"/>
                  </a:lnTo>
                  <a:lnTo>
                    <a:pt x="446" y="876"/>
                  </a:lnTo>
                  <a:lnTo>
                    <a:pt x="447" y="876"/>
                  </a:lnTo>
                  <a:lnTo>
                    <a:pt x="447" y="878"/>
                  </a:lnTo>
                  <a:lnTo>
                    <a:pt x="446" y="878"/>
                  </a:lnTo>
                  <a:lnTo>
                    <a:pt x="447" y="878"/>
                  </a:lnTo>
                  <a:lnTo>
                    <a:pt x="449" y="878"/>
                  </a:lnTo>
                  <a:lnTo>
                    <a:pt x="451" y="878"/>
                  </a:lnTo>
                  <a:lnTo>
                    <a:pt x="452" y="880"/>
                  </a:lnTo>
                  <a:lnTo>
                    <a:pt x="451" y="880"/>
                  </a:lnTo>
                  <a:lnTo>
                    <a:pt x="447" y="880"/>
                  </a:lnTo>
                  <a:lnTo>
                    <a:pt x="446" y="880"/>
                  </a:lnTo>
                  <a:lnTo>
                    <a:pt x="446" y="881"/>
                  </a:lnTo>
                  <a:lnTo>
                    <a:pt x="446" y="880"/>
                  </a:lnTo>
                  <a:lnTo>
                    <a:pt x="446" y="881"/>
                  </a:lnTo>
                  <a:lnTo>
                    <a:pt x="446" y="880"/>
                  </a:lnTo>
                  <a:lnTo>
                    <a:pt x="446" y="881"/>
                  </a:lnTo>
                  <a:lnTo>
                    <a:pt x="444" y="880"/>
                  </a:lnTo>
                  <a:lnTo>
                    <a:pt x="446" y="880"/>
                  </a:lnTo>
                  <a:lnTo>
                    <a:pt x="441" y="878"/>
                  </a:lnTo>
                  <a:lnTo>
                    <a:pt x="439" y="878"/>
                  </a:lnTo>
                  <a:lnTo>
                    <a:pt x="439" y="876"/>
                  </a:lnTo>
                  <a:lnTo>
                    <a:pt x="438" y="876"/>
                  </a:lnTo>
                  <a:lnTo>
                    <a:pt x="436" y="876"/>
                  </a:lnTo>
                  <a:lnTo>
                    <a:pt x="436" y="875"/>
                  </a:lnTo>
                  <a:lnTo>
                    <a:pt x="436" y="876"/>
                  </a:lnTo>
                  <a:lnTo>
                    <a:pt x="434" y="876"/>
                  </a:lnTo>
                  <a:lnTo>
                    <a:pt x="434" y="875"/>
                  </a:lnTo>
                  <a:lnTo>
                    <a:pt x="434" y="876"/>
                  </a:lnTo>
                  <a:lnTo>
                    <a:pt x="434" y="875"/>
                  </a:lnTo>
                  <a:lnTo>
                    <a:pt x="434" y="876"/>
                  </a:lnTo>
                  <a:lnTo>
                    <a:pt x="433" y="876"/>
                  </a:lnTo>
                  <a:lnTo>
                    <a:pt x="433" y="875"/>
                  </a:lnTo>
                  <a:lnTo>
                    <a:pt x="431" y="875"/>
                  </a:lnTo>
                  <a:lnTo>
                    <a:pt x="428" y="873"/>
                  </a:lnTo>
                  <a:lnTo>
                    <a:pt x="426" y="873"/>
                  </a:lnTo>
                  <a:lnTo>
                    <a:pt x="425" y="873"/>
                  </a:lnTo>
                  <a:lnTo>
                    <a:pt x="423" y="873"/>
                  </a:lnTo>
                  <a:lnTo>
                    <a:pt x="423" y="875"/>
                  </a:lnTo>
                  <a:lnTo>
                    <a:pt x="421" y="875"/>
                  </a:lnTo>
                  <a:lnTo>
                    <a:pt x="420" y="875"/>
                  </a:lnTo>
                  <a:lnTo>
                    <a:pt x="418" y="876"/>
                  </a:lnTo>
                  <a:lnTo>
                    <a:pt x="417" y="876"/>
                  </a:lnTo>
                  <a:lnTo>
                    <a:pt x="415" y="876"/>
                  </a:lnTo>
                  <a:lnTo>
                    <a:pt x="413" y="875"/>
                  </a:lnTo>
                  <a:lnTo>
                    <a:pt x="410" y="875"/>
                  </a:lnTo>
                  <a:lnTo>
                    <a:pt x="408" y="875"/>
                  </a:lnTo>
                  <a:lnTo>
                    <a:pt x="407" y="876"/>
                  </a:lnTo>
                  <a:lnTo>
                    <a:pt x="404" y="876"/>
                  </a:lnTo>
                  <a:lnTo>
                    <a:pt x="402" y="876"/>
                  </a:lnTo>
                  <a:lnTo>
                    <a:pt x="400" y="876"/>
                  </a:lnTo>
                  <a:lnTo>
                    <a:pt x="397" y="876"/>
                  </a:lnTo>
                  <a:lnTo>
                    <a:pt x="397" y="875"/>
                  </a:lnTo>
                  <a:lnTo>
                    <a:pt x="395" y="875"/>
                  </a:lnTo>
                  <a:lnTo>
                    <a:pt x="394" y="876"/>
                  </a:lnTo>
                  <a:lnTo>
                    <a:pt x="392" y="876"/>
                  </a:lnTo>
                  <a:lnTo>
                    <a:pt x="391" y="876"/>
                  </a:lnTo>
                  <a:lnTo>
                    <a:pt x="391" y="875"/>
                  </a:lnTo>
                  <a:lnTo>
                    <a:pt x="387" y="873"/>
                  </a:lnTo>
                  <a:lnTo>
                    <a:pt x="386" y="873"/>
                  </a:lnTo>
                  <a:lnTo>
                    <a:pt x="386" y="871"/>
                  </a:lnTo>
                  <a:lnTo>
                    <a:pt x="384" y="871"/>
                  </a:lnTo>
                  <a:lnTo>
                    <a:pt x="382" y="873"/>
                  </a:lnTo>
                  <a:lnTo>
                    <a:pt x="381" y="871"/>
                  </a:lnTo>
                  <a:lnTo>
                    <a:pt x="379" y="873"/>
                  </a:lnTo>
                  <a:lnTo>
                    <a:pt x="378" y="871"/>
                  </a:lnTo>
                  <a:lnTo>
                    <a:pt x="376" y="873"/>
                  </a:lnTo>
                  <a:lnTo>
                    <a:pt x="374" y="875"/>
                  </a:lnTo>
                  <a:lnTo>
                    <a:pt x="373" y="875"/>
                  </a:lnTo>
                  <a:lnTo>
                    <a:pt x="371" y="876"/>
                  </a:lnTo>
                  <a:lnTo>
                    <a:pt x="369" y="878"/>
                  </a:lnTo>
                  <a:lnTo>
                    <a:pt x="368" y="878"/>
                  </a:lnTo>
                  <a:lnTo>
                    <a:pt x="366" y="880"/>
                  </a:lnTo>
                  <a:lnTo>
                    <a:pt x="365" y="880"/>
                  </a:lnTo>
                  <a:lnTo>
                    <a:pt x="365" y="881"/>
                  </a:lnTo>
                  <a:lnTo>
                    <a:pt x="363" y="881"/>
                  </a:lnTo>
                  <a:lnTo>
                    <a:pt x="363" y="880"/>
                  </a:lnTo>
                  <a:lnTo>
                    <a:pt x="363" y="878"/>
                  </a:lnTo>
                  <a:lnTo>
                    <a:pt x="363" y="876"/>
                  </a:lnTo>
                  <a:lnTo>
                    <a:pt x="363" y="875"/>
                  </a:lnTo>
                  <a:lnTo>
                    <a:pt x="365" y="875"/>
                  </a:lnTo>
                  <a:lnTo>
                    <a:pt x="365" y="873"/>
                  </a:lnTo>
                  <a:lnTo>
                    <a:pt x="366" y="871"/>
                  </a:lnTo>
                  <a:lnTo>
                    <a:pt x="365" y="871"/>
                  </a:lnTo>
                  <a:lnTo>
                    <a:pt x="363" y="873"/>
                  </a:lnTo>
                  <a:lnTo>
                    <a:pt x="361" y="873"/>
                  </a:lnTo>
                  <a:lnTo>
                    <a:pt x="360" y="873"/>
                  </a:lnTo>
                  <a:lnTo>
                    <a:pt x="360" y="871"/>
                  </a:lnTo>
                  <a:lnTo>
                    <a:pt x="360" y="870"/>
                  </a:lnTo>
                  <a:lnTo>
                    <a:pt x="358" y="870"/>
                  </a:lnTo>
                  <a:lnTo>
                    <a:pt x="356" y="870"/>
                  </a:lnTo>
                  <a:lnTo>
                    <a:pt x="355" y="871"/>
                  </a:lnTo>
                  <a:lnTo>
                    <a:pt x="351" y="870"/>
                  </a:lnTo>
                  <a:lnTo>
                    <a:pt x="351" y="868"/>
                  </a:lnTo>
                  <a:lnTo>
                    <a:pt x="348" y="863"/>
                  </a:lnTo>
                  <a:lnTo>
                    <a:pt x="348" y="862"/>
                  </a:lnTo>
                  <a:lnTo>
                    <a:pt x="350" y="857"/>
                  </a:lnTo>
                  <a:lnTo>
                    <a:pt x="351" y="854"/>
                  </a:lnTo>
                  <a:lnTo>
                    <a:pt x="353" y="852"/>
                  </a:lnTo>
                  <a:lnTo>
                    <a:pt x="358" y="849"/>
                  </a:lnTo>
                  <a:lnTo>
                    <a:pt x="360" y="849"/>
                  </a:lnTo>
                  <a:lnTo>
                    <a:pt x="363" y="849"/>
                  </a:lnTo>
                  <a:lnTo>
                    <a:pt x="363" y="850"/>
                  </a:lnTo>
                  <a:lnTo>
                    <a:pt x="366" y="852"/>
                  </a:lnTo>
                  <a:lnTo>
                    <a:pt x="371" y="854"/>
                  </a:lnTo>
                  <a:lnTo>
                    <a:pt x="373" y="854"/>
                  </a:lnTo>
                  <a:lnTo>
                    <a:pt x="386" y="845"/>
                  </a:lnTo>
                  <a:lnTo>
                    <a:pt x="389" y="832"/>
                  </a:lnTo>
                  <a:lnTo>
                    <a:pt x="389" y="831"/>
                  </a:lnTo>
                  <a:lnTo>
                    <a:pt x="386" y="829"/>
                  </a:lnTo>
                  <a:lnTo>
                    <a:pt x="384" y="828"/>
                  </a:lnTo>
                  <a:lnTo>
                    <a:pt x="382" y="826"/>
                  </a:lnTo>
                  <a:lnTo>
                    <a:pt x="381" y="826"/>
                  </a:lnTo>
                  <a:lnTo>
                    <a:pt x="379" y="824"/>
                  </a:lnTo>
                  <a:lnTo>
                    <a:pt x="374" y="823"/>
                  </a:lnTo>
                  <a:lnTo>
                    <a:pt x="371" y="821"/>
                  </a:lnTo>
                  <a:lnTo>
                    <a:pt x="338" y="805"/>
                  </a:lnTo>
                  <a:lnTo>
                    <a:pt x="332" y="798"/>
                  </a:lnTo>
                  <a:lnTo>
                    <a:pt x="314" y="784"/>
                  </a:lnTo>
                  <a:lnTo>
                    <a:pt x="301" y="774"/>
                  </a:lnTo>
                  <a:lnTo>
                    <a:pt x="296" y="777"/>
                  </a:lnTo>
                  <a:lnTo>
                    <a:pt x="293" y="776"/>
                  </a:lnTo>
                  <a:lnTo>
                    <a:pt x="256" y="753"/>
                  </a:lnTo>
                  <a:lnTo>
                    <a:pt x="247" y="751"/>
                  </a:lnTo>
                  <a:lnTo>
                    <a:pt x="239" y="751"/>
                  </a:lnTo>
                  <a:lnTo>
                    <a:pt x="236" y="751"/>
                  </a:lnTo>
                  <a:lnTo>
                    <a:pt x="234" y="753"/>
                  </a:lnTo>
                  <a:lnTo>
                    <a:pt x="233" y="756"/>
                  </a:lnTo>
                  <a:lnTo>
                    <a:pt x="231" y="758"/>
                  </a:lnTo>
                  <a:lnTo>
                    <a:pt x="215" y="766"/>
                  </a:lnTo>
                  <a:lnTo>
                    <a:pt x="207" y="771"/>
                  </a:lnTo>
                  <a:lnTo>
                    <a:pt x="203" y="771"/>
                  </a:lnTo>
                  <a:lnTo>
                    <a:pt x="181" y="772"/>
                  </a:lnTo>
                  <a:lnTo>
                    <a:pt x="184" y="779"/>
                  </a:lnTo>
                  <a:lnTo>
                    <a:pt x="187" y="785"/>
                  </a:lnTo>
                  <a:lnTo>
                    <a:pt x="189" y="793"/>
                  </a:lnTo>
                  <a:lnTo>
                    <a:pt x="187" y="793"/>
                  </a:lnTo>
                  <a:lnTo>
                    <a:pt x="186" y="793"/>
                  </a:lnTo>
                  <a:lnTo>
                    <a:pt x="171" y="792"/>
                  </a:lnTo>
                  <a:lnTo>
                    <a:pt x="169" y="792"/>
                  </a:lnTo>
                  <a:lnTo>
                    <a:pt x="168" y="792"/>
                  </a:lnTo>
                  <a:lnTo>
                    <a:pt x="164" y="792"/>
                  </a:lnTo>
                  <a:lnTo>
                    <a:pt x="158" y="787"/>
                  </a:lnTo>
                  <a:lnTo>
                    <a:pt x="158" y="785"/>
                  </a:lnTo>
                  <a:lnTo>
                    <a:pt x="161" y="780"/>
                  </a:lnTo>
                  <a:lnTo>
                    <a:pt x="150" y="776"/>
                  </a:lnTo>
                  <a:lnTo>
                    <a:pt x="140" y="769"/>
                  </a:lnTo>
                  <a:lnTo>
                    <a:pt x="145" y="761"/>
                  </a:lnTo>
                  <a:lnTo>
                    <a:pt x="145" y="759"/>
                  </a:lnTo>
                  <a:lnTo>
                    <a:pt x="145" y="756"/>
                  </a:lnTo>
                  <a:lnTo>
                    <a:pt x="148" y="754"/>
                  </a:lnTo>
                  <a:lnTo>
                    <a:pt x="148" y="751"/>
                  </a:lnTo>
                  <a:lnTo>
                    <a:pt x="137" y="753"/>
                  </a:lnTo>
                  <a:lnTo>
                    <a:pt x="137" y="751"/>
                  </a:lnTo>
                  <a:lnTo>
                    <a:pt x="135" y="745"/>
                  </a:lnTo>
                  <a:lnTo>
                    <a:pt x="134" y="743"/>
                  </a:lnTo>
                  <a:lnTo>
                    <a:pt x="130" y="740"/>
                  </a:lnTo>
                  <a:lnTo>
                    <a:pt x="129" y="736"/>
                  </a:lnTo>
                  <a:lnTo>
                    <a:pt x="129" y="732"/>
                  </a:lnTo>
                  <a:lnTo>
                    <a:pt x="117" y="732"/>
                  </a:lnTo>
                  <a:lnTo>
                    <a:pt x="109" y="733"/>
                  </a:lnTo>
                  <a:lnTo>
                    <a:pt x="109" y="735"/>
                  </a:lnTo>
                  <a:lnTo>
                    <a:pt x="108" y="735"/>
                  </a:lnTo>
                  <a:lnTo>
                    <a:pt x="106" y="735"/>
                  </a:lnTo>
                  <a:lnTo>
                    <a:pt x="104" y="733"/>
                  </a:lnTo>
                  <a:lnTo>
                    <a:pt x="96" y="736"/>
                  </a:lnTo>
                  <a:lnTo>
                    <a:pt x="93" y="736"/>
                  </a:lnTo>
                  <a:lnTo>
                    <a:pt x="90" y="736"/>
                  </a:lnTo>
                  <a:lnTo>
                    <a:pt x="83" y="736"/>
                  </a:lnTo>
                  <a:lnTo>
                    <a:pt x="82" y="738"/>
                  </a:lnTo>
                  <a:lnTo>
                    <a:pt x="80" y="738"/>
                  </a:lnTo>
                  <a:lnTo>
                    <a:pt x="73" y="738"/>
                  </a:lnTo>
                  <a:lnTo>
                    <a:pt x="65" y="738"/>
                  </a:lnTo>
                  <a:lnTo>
                    <a:pt x="60" y="704"/>
                  </a:lnTo>
                  <a:lnTo>
                    <a:pt x="60" y="702"/>
                  </a:lnTo>
                  <a:lnTo>
                    <a:pt x="57" y="689"/>
                  </a:lnTo>
                  <a:lnTo>
                    <a:pt x="54" y="658"/>
                  </a:lnTo>
                  <a:lnTo>
                    <a:pt x="60" y="650"/>
                  </a:lnTo>
                  <a:lnTo>
                    <a:pt x="62" y="645"/>
                  </a:lnTo>
                  <a:lnTo>
                    <a:pt x="62" y="642"/>
                  </a:lnTo>
                  <a:lnTo>
                    <a:pt x="64" y="641"/>
                  </a:lnTo>
                  <a:lnTo>
                    <a:pt x="64" y="631"/>
                  </a:lnTo>
                  <a:lnTo>
                    <a:pt x="64" y="628"/>
                  </a:lnTo>
                  <a:lnTo>
                    <a:pt x="60" y="621"/>
                  </a:lnTo>
                  <a:lnTo>
                    <a:pt x="60" y="619"/>
                  </a:lnTo>
                  <a:lnTo>
                    <a:pt x="59" y="618"/>
                  </a:lnTo>
                  <a:lnTo>
                    <a:pt x="51" y="613"/>
                  </a:lnTo>
                  <a:lnTo>
                    <a:pt x="41" y="610"/>
                  </a:lnTo>
                  <a:lnTo>
                    <a:pt x="39" y="610"/>
                  </a:lnTo>
                  <a:lnTo>
                    <a:pt x="33" y="608"/>
                  </a:lnTo>
                  <a:lnTo>
                    <a:pt x="26" y="610"/>
                  </a:lnTo>
                  <a:lnTo>
                    <a:pt x="26" y="606"/>
                  </a:lnTo>
                  <a:lnTo>
                    <a:pt x="20" y="592"/>
                  </a:lnTo>
                  <a:lnTo>
                    <a:pt x="15" y="577"/>
                  </a:lnTo>
                  <a:lnTo>
                    <a:pt x="12" y="566"/>
                  </a:lnTo>
                  <a:lnTo>
                    <a:pt x="7" y="556"/>
                  </a:lnTo>
                  <a:lnTo>
                    <a:pt x="5" y="549"/>
                  </a:lnTo>
                  <a:lnTo>
                    <a:pt x="2" y="541"/>
                  </a:lnTo>
                  <a:lnTo>
                    <a:pt x="0" y="536"/>
                  </a:lnTo>
                  <a:lnTo>
                    <a:pt x="0" y="535"/>
                  </a:lnTo>
                  <a:lnTo>
                    <a:pt x="2" y="533"/>
                  </a:lnTo>
                  <a:lnTo>
                    <a:pt x="5" y="532"/>
                  </a:lnTo>
                  <a:lnTo>
                    <a:pt x="5" y="530"/>
                  </a:lnTo>
                  <a:lnTo>
                    <a:pt x="12" y="522"/>
                  </a:lnTo>
                  <a:lnTo>
                    <a:pt x="18" y="514"/>
                  </a:lnTo>
                  <a:lnTo>
                    <a:pt x="20" y="486"/>
                  </a:lnTo>
                  <a:lnTo>
                    <a:pt x="15" y="481"/>
                  </a:lnTo>
                  <a:lnTo>
                    <a:pt x="13" y="480"/>
                  </a:lnTo>
                  <a:lnTo>
                    <a:pt x="5" y="478"/>
                  </a:lnTo>
                  <a:lnTo>
                    <a:pt x="8" y="468"/>
                  </a:lnTo>
                  <a:lnTo>
                    <a:pt x="5" y="467"/>
                  </a:lnTo>
                  <a:lnTo>
                    <a:pt x="3" y="467"/>
                  </a:lnTo>
                  <a:lnTo>
                    <a:pt x="2" y="465"/>
                  </a:lnTo>
                  <a:lnTo>
                    <a:pt x="2" y="463"/>
                  </a:lnTo>
                  <a:lnTo>
                    <a:pt x="2" y="462"/>
                  </a:lnTo>
                  <a:lnTo>
                    <a:pt x="2" y="460"/>
                  </a:lnTo>
                  <a:lnTo>
                    <a:pt x="2" y="458"/>
                  </a:lnTo>
                  <a:lnTo>
                    <a:pt x="2" y="457"/>
                  </a:lnTo>
                  <a:lnTo>
                    <a:pt x="2" y="455"/>
                  </a:lnTo>
                  <a:lnTo>
                    <a:pt x="2" y="457"/>
                  </a:lnTo>
                  <a:lnTo>
                    <a:pt x="3" y="457"/>
                  </a:lnTo>
                  <a:lnTo>
                    <a:pt x="3" y="455"/>
                  </a:lnTo>
                  <a:lnTo>
                    <a:pt x="5" y="455"/>
                  </a:lnTo>
                  <a:lnTo>
                    <a:pt x="5" y="453"/>
                  </a:lnTo>
                  <a:lnTo>
                    <a:pt x="7" y="453"/>
                  </a:lnTo>
                  <a:lnTo>
                    <a:pt x="7" y="452"/>
                  </a:lnTo>
                  <a:lnTo>
                    <a:pt x="7" y="450"/>
                  </a:lnTo>
                  <a:lnTo>
                    <a:pt x="7" y="445"/>
                  </a:lnTo>
                  <a:lnTo>
                    <a:pt x="7" y="444"/>
                  </a:lnTo>
                  <a:lnTo>
                    <a:pt x="7" y="439"/>
                  </a:lnTo>
                  <a:lnTo>
                    <a:pt x="8" y="436"/>
                  </a:lnTo>
                  <a:lnTo>
                    <a:pt x="8" y="434"/>
                  </a:lnTo>
                  <a:lnTo>
                    <a:pt x="8" y="431"/>
                  </a:lnTo>
                  <a:lnTo>
                    <a:pt x="15" y="426"/>
                  </a:lnTo>
                  <a:lnTo>
                    <a:pt x="15" y="427"/>
                  </a:lnTo>
                  <a:lnTo>
                    <a:pt x="15" y="426"/>
                  </a:lnTo>
                  <a:lnTo>
                    <a:pt x="16" y="427"/>
                  </a:lnTo>
                  <a:lnTo>
                    <a:pt x="16" y="429"/>
                  </a:lnTo>
                  <a:lnTo>
                    <a:pt x="18" y="427"/>
                  </a:lnTo>
                  <a:lnTo>
                    <a:pt x="18" y="429"/>
                  </a:lnTo>
                  <a:lnTo>
                    <a:pt x="20" y="429"/>
                  </a:lnTo>
                  <a:lnTo>
                    <a:pt x="20" y="431"/>
                  </a:lnTo>
                  <a:lnTo>
                    <a:pt x="21" y="429"/>
                  </a:lnTo>
                  <a:lnTo>
                    <a:pt x="21" y="431"/>
                  </a:lnTo>
                  <a:lnTo>
                    <a:pt x="23" y="432"/>
                  </a:lnTo>
                  <a:lnTo>
                    <a:pt x="25" y="432"/>
                  </a:lnTo>
                  <a:lnTo>
                    <a:pt x="26" y="432"/>
                  </a:lnTo>
                  <a:lnTo>
                    <a:pt x="28" y="431"/>
                  </a:lnTo>
                  <a:lnTo>
                    <a:pt x="29" y="431"/>
                  </a:lnTo>
                  <a:lnTo>
                    <a:pt x="29" y="432"/>
                  </a:lnTo>
                  <a:lnTo>
                    <a:pt x="31" y="432"/>
                  </a:lnTo>
                  <a:lnTo>
                    <a:pt x="31" y="434"/>
                  </a:lnTo>
                  <a:lnTo>
                    <a:pt x="33" y="434"/>
                  </a:lnTo>
                  <a:lnTo>
                    <a:pt x="34" y="434"/>
                  </a:lnTo>
                  <a:lnTo>
                    <a:pt x="34" y="436"/>
                  </a:lnTo>
                  <a:lnTo>
                    <a:pt x="36" y="436"/>
                  </a:lnTo>
                  <a:lnTo>
                    <a:pt x="38" y="436"/>
                  </a:lnTo>
                  <a:lnTo>
                    <a:pt x="38" y="434"/>
                  </a:lnTo>
                  <a:lnTo>
                    <a:pt x="39" y="434"/>
                  </a:lnTo>
                  <a:lnTo>
                    <a:pt x="41" y="434"/>
                  </a:lnTo>
                  <a:lnTo>
                    <a:pt x="41" y="436"/>
                  </a:lnTo>
                  <a:lnTo>
                    <a:pt x="41" y="437"/>
                  </a:lnTo>
                  <a:lnTo>
                    <a:pt x="41" y="436"/>
                  </a:lnTo>
                  <a:lnTo>
                    <a:pt x="42" y="436"/>
                  </a:lnTo>
                  <a:lnTo>
                    <a:pt x="44" y="436"/>
                  </a:lnTo>
                  <a:lnTo>
                    <a:pt x="46" y="437"/>
                  </a:lnTo>
                  <a:lnTo>
                    <a:pt x="49" y="439"/>
                  </a:lnTo>
                  <a:lnTo>
                    <a:pt x="51" y="439"/>
                  </a:lnTo>
                  <a:lnTo>
                    <a:pt x="52" y="439"/>
                  </a:lnTo>
                  <a:lnTo>
                    <a:pt x="52" y="440"/>
                  </a:lnTo>
                  <a:lnTo>
                    <a:pt x="54" y="439"/>
                  </a:lnTo>
                  <a:lnTo>
                    <a:pt x="55" y="440"/>
                  </a:lnTo>
                  <a:lnTo>
                    <a:pt x="57" y="440"/>
                  </a:lnTo>
                  <a:lnTo>
                    <a:pt x="57" y="442"/>
                  </a:lnTo>
                  <a:lnTo>
                    <a:pt x="59" y="444"/>
                  </a:lnTo>
                  <a:lnTo>
                    <a:pt x="60" y="445"/>
                  </a:lnTo>
                  <a:lnTo>
                    <a:pt x="64" y="445"/>
                  </a:lnTo>
                  <a:lnTo>
                    <a:pt x="65" y="447"/>
                  </a:lnTo>
                  <a:lnTo>
                    <a:pt x="65" y="449"/>
                  </a:lnTo>
                  <a:lnTo>
                    <a:pt x="67" y="449"/>
                  </a:lnTo>
                  <a:lnTo>
                    <a:pt x="67" y="450"/>
                  </a:lnTo>
                  <a:lnTo>
                    <a:pt x="69" y="450"/>
                  </a:lnTo>
                  <a:lnTo>
                    <a:pt x="69" y="449"/>
                  </a:lnTo>
                  <a:lnTo>
                    <a:pt x="69" y="450"/>
                  </a:lnTo>
                  <a:lnTo>
                    <a:pt x="70" y="449"/>
                  </a:lnTo>
                  <a:lnTo>
                    <a:pt x="70" y="450"/>
                  </a:lnTo>
                  <a:lnTo>
                    <a:pt x="72" y="450"/>
                  </a:lnTo>
                  <a:lnTo>
                    <a:pt x="72" y="452"/>
                  </a:lnTo>
                  <a:lnTo>
                    <a:pt x="73" y="452"/>
                  </a:lnTo>
                  <a:lnTo>
                    <a:pt x="73" y="450"/>
                  </a:lnTo>
                  <a:lnTo>
                    <a:pt x="75" y="452"/>
                  </a:lnTo>
                  <a:lnTo>
                    <a:pt x="77" y="450"/>
                  </a:lnTo>
                  <a:lnTo>
                    <a:pt x="78" y="450"/>
                  </a:lnTo>
                  <a:lnTo>
                    <a:pt x="80" y="452"/>
                  </a:lnTo>
                  <a:lnTo>
                    <a:pt x="80" y="453"/>
                  </a:lnTo>
                  <a:lnTo>
                    <a:pt x="82" y="453"/>
                  </a:lnTo>
                  <a:lnTo>
                    <a:pt x="82" y="455"/>
                  </a:lnTo>
                  <a:lnTo>
                    <a:pt x="83" y="455"/>
                  </a:lnTo>
                  <a:lnTo>
                    <a:pt x="83" y="457"/>
                  </a:lnTo>
                  <a:lnTo>
                    <a:pt x="85" y="457"/>
                  </a:lnTo>
                  <a:lnTo>
                    <a:pt x="85" y="458"/>
                  </a:lnTo>
                  <a:lnTo>
                    <a:pt x="86" y="460"/>
                  </a:lnTo>
                  <a:lnTo>
                    <a:pt x="86" y="462"/>
                  </a:lnTo>
                  <a:lnTo>
                    <a:pt x="88" y="462"/>
                  </a:lnTo>
                  <a:lnTo>
                    <a:pt x="88" y="463"/>
                  </a:lnTo>
                  <a:lnTo>
                    <a:pt x="90" y="463"/>
                  </a:lnTo>
                  <a:lnTo>
                    <a:pt x="91" y="463"/>
                  </a:lnTo>
                  <a:lnTo>
                    <a:pt x="91" y="465"/>
                  </a:lnTo>
                  <a:lnTo>
                    <a:pt x="93" y="467"/>
                  </a:lnTo>
                  <a:lnTo>
                    <a:pt x="95" y="467"/>
                  </a:lnTo>
                  <a:lnTo>
                    <a:pt x="96" y="467"/>
                  </a:lnTo>
                  <a:lnTo>
                    <a:pt x="98" y="468"/>
                  </a:lnTo>
                  <a:lnTo>
                    <a:pt x="99" y="468"/>
                  </a:lnTo>
                  <a:lnTo>
                    <a:pt x="101" y="468"/>
                  </a:lnTo>
                  <a:lnTo>
                    <a:pt x="101" y="470"/>
                  </a:lnTo>
                  <a:lnTo>
                    <a:pt x="103" y="470"/>
                  </a:lnTo>
                  <a:lnTo>
                    <a:pt x="103" y="471"/>
                  </a:lnTo>
                  <a:lnTo>
                    <a:pt x="104" y="473"/>
                  </a:lnTo>
                  <a:lnTo>
                    <a:pt x="104" y="475"/>
                  </a:lnTo>
                  <a:lnTo>
                    <a:pt x="106" y="473"/>
                  </a:lnTo>
                  <a:lnTo>
                    <a:pt x="108" y="473"/>
                  </a:lnTo>
                  <a:lnTo>
                    <a:pt x="111" y="471"/>
                  </a:lnTo>
                  <a:lnTo>
                    <a:pt x="111" y="470"/>
                  </a:lnTo>
                  <a:lnTo>
                    <a:pt x="112" y="471"/>
                  </a:lnTo>
                  <a:lnTo>
                    <a:pt x="114" y="471"/>
                  </a:lnTo>
                  <a:lnTo>
                    <a:pt x="116" y="471"/>
                  </a:lnTo>
                  <a:lnTo>
                    <a:pt x="116" y="473"/>
                  </a:lnTo>
                  <a:lnTo>
                    <a:pt x="117" y="473"/>
                  </a:lnTo>
                  <a:lnTo>
                    <a:pt x="119" y="471"/>
                  </a:lnTo>
                  <a:lnTo>
                    <a:pt x="119" y="470"/>
                  </a:lnTo>
                  <a:lnTo>
                    <a:pt x="121" y="471"/>
                  </a:lnTo>
                  <a:lnTo>
                    <a:pt x="122" y="471"/>
                  </a:lnTo>
                  <a:lnTo>
                    <a:pt x="124" y="471"/>
                  </a:lnTo>
                  <a:lnTo>
                    <a:pt x="124" y="473"/>
                  </a:lnTo>
                  <a:lnTo>
                    <a:pt x="125" y="473"/>
                  </a:lnTo>
                  <a:lnTo>
                    <a:pt x="124" y="468"/>
                  </a:lnTo>
                  <a:lnTo>
                    <a:pt x="135" y="452"/>
                  </a:lnTo>
                  <a:lnTo>
                    <a:pt x="140" y="444"/>
                  </a:lnTo>
                  <a:lnTo>
                    <a:pt x="147" y="424"/>
                  </a:lnTo>
                  <a:lnTo>
                    <a:pt x="145" y="423"/>
                  </a:lnTo>
                  <a:lnTo>
                    <a:pt x="143" y="423"/>
                  </a:lnTo>
                  <a:lnTo>
                    <a:pt x="143" y="421"/>
                  </a:lnTo>
                  <a:lnTo>
                    <a:pt x="142" y="421"/>
                  </a:lnTo>
                  <a:lnTo>
                    <a:pt x="140" y="421"/>
                  </a:lnTo>
                  <a:lnTo>
                    <a:pt x="138" y="418"/>
                  </a:lnTo>
                  <a:lnTo>
                    <a:pt x="137" y="418"/>
                  </a:lnTo>
                  <a:lnTo>
                    <a:pt x="137" y="416"/>
                  </a:lnTo>
                  <a:lnTo>
                    <a:pt x="135" y="418"/>
                  </a:lnTo>
                  <a:lnTo>
                    <a:pt x="132" y="419"/>
                  </a:lnTo>
                  <a:lnTo>
                    <a:pt x="132" y="418"/>
                  </a:lnTo>
                  <a:lnTo>
                    <a:pt x="130" y="419"/>
                  </a:lnTo>
                  <a:lnTo>
                    <a:pt x="127" y="408"/>
                  </a:lnTo>
                  <a:lnTo>
                    <a:pt x="127" y="406"/>
                  </a:lnTo>
                  <a:lnTo>
                    <a:pt x="124" y="405"/>
                  </a:lnTo>
                  <a:lnTo>
                    <a:pt x="117" y="401"/>
                  </a:lnTo>
                  <a:lnTo>
                    <a:pt x="114" y="400"/>
                  </a:lnTo>
                  <a:lnTo>
                    <a:pt x="108" y="390"/>
                  </a:lnTo>
                  <a:lnTo>
                    <a:pt x="98" y="379"/>
                  </a:lnTo>
                  <a:lnTo>
                    <a:pt x="91" y="371"/>
                  </a:lnTo>
                  <a:lnTo>
                    <a:pt x="90" y="369"/>
                  </a:lnTo>
                  <a:lnTo>
                    <a:pt x="88" y="367"/>
                  </a:lnTo>
                  <a:lnTo>
                    <a:pt x="88" y="366"/>
                  </a:lnTo>
                  <a:lnTo>
                    <a:pt x="88" y="364"/>
                  </a:lnTo>
                  <a:lnTo>
                    <a:pt x="86" y="364"/>
                  </a:lnTo>
                  <a:lnTo>
                    <a:pt x="85" y="364"/>
                  </a:lnTo>
                  <a:lnTo>
                    <a:pt x="85" y="362"/>
                  </a:lnTo>
                  <a:lnTo>
                    <a:pt x="85" y="361"/>
                  </a:lnTo>
                  <a:lnTo>
                    <a:pt x="83" y="361"/>
                  </a:lnTo>
                  <a:lnTo>
                    <a:pt x="82" y="361"/>
                  </a:lnTo>
                  <a:lnTo>
                    <a:pt x="80" y="362"/>
                  </a:lnTo>
                  <a:lnTo>
                    <a:pt x="78" y="362"/>
                  </a:lnTo>
                  <a:lnTo>
                    <a:pt x="77" y="361"/>
                  </a:lnTo>
                  <a:lnTo>
                    <a:pt x="77" y="362"/>
                  </a:lnTo>
                  <a:lnTo>
                    <a:pt x="77" y="361"/>
                  </a:lnTo>
                  <a:lnTo>
                    <a:pt x="77" y="359"/>
                  </a:lnTo>
                  <a:lnTo>
                    <a:pt x="77" y="356"/>
                  </a:lnTo>
                  <a:lnTo>
                    <a:pt x="78" y="356"/>
                  </a:lnTo>
                  <a:lnTo>
                    <a:pt x="80" y="356"/>
                  </a:lnTo>
                  <a:lnTo>
                    <a:pt x="82" y="356"/>
                  </a:lnTo>
                  <a:lnTo>
                    <a:pt x="83" y="356"/>
                  </a:lnTo>
                  <a:lnTo>
                    <a:pt x="83" y="358"/>
                  </a:lnTo>
                  <a:lnTo>
                    <a:pt x="85" y="358"/>
                  </a:lnTo>
                  <a:lnTo>
                    <a:pt x="86" y="358"/>
                  </a:lnTo>
                  <a:lnTo>
                    <a:pt x="88" y="358"/>
                  </a:lnTo>
                  <a:lnTo>
                    <a:pt x="90" y="358"/>
                  </a:lnTo>
                  <a:lnTo>
                    <a:pt x="90" y="356"/>
                  </a:lnTo>
                  <a:lnTo>
                    <a:pt x="91" y="356"/>
                  </a:lnTo>
                  <a:lnTo>
                    <a:pt x="93" y="354"/>
                  </a:lnTo>
                  <a:lnTo>
                    <a:pt x="93" y="356"/>
                  </a:lnTo>
                  <a:lnTo>
                    <a:pt x="93" y="354"/>
                  </a:lnTo>
                  <a:lnTo>
                    <a:pt x="95" y="354"/>
                  </a:lnTo>
                  <a:lnTo>
                    <a:pt x="98" y="354"/>
                  </a:lnTo>
                  <a:lnTo>
                    <a:pt x="99" y="349"/>
                  </a:lnTo>
                  <a:lnTo>
                    <a:pt x="104" y="341"/>
                  </a:lnTo>
                  <a:lnTo>
                    <a:pt x="104" y="338"/>
                  </a:lnTo>
                  <a:lnTo>
                    <a:pt x="106" y="333"/>
                  </a:lnTo>
                  <a:lnTo>
                    <a:pt x="106" y="325"/>
                  </a:lnTo>
                  <a:lnTo>
                    <a:pt x="108" y="317"/>
                  </a:lnTo>
                  <a:lnTo>
                    <a:pt x="108" y="315"/>
                  </a:lnTo>
                  <a:lnTo>
                    <a:pt x="112" y="310"/>
                  </a:lnTo>
                  <a:lnTo>
                    <a:pt x="114" y="309"/>
                  </a:lnTo>
                  <a:lnTo>
                    <a:pt x="114" y="305"/>
                  </a:lnTo>
                  <a:lnTo>
                    <a:pt x="116" y="304"/>
                  </a:lnTo>
                  <a:lnTo>
                    <a:pt x="124" y="294"/>
                  </a:lnTo>
                  <a:lnTo>
                    <a:pt x="125" y="294"/>
                  </a:lnTo>
                  <a:lnTo>
                    <a:pt x="124" y="291"/>
                  </a:lnTo>
                  <a:lnTo>
                    <a:pt x="124" y="289"/>
                  </a:lnTo>
                  <a:lnTo>
                    <a:pt x="124" y="288"/>
                  </a:lnTo>
                  <a:lnTo>
                    <a:pt x="122" y="288"/>
                  </a:lnTo>
                  <a:lnTo>
                    <a:pt x="121" y="286"/>
                  </a:lnTo>
                  <a:lnTo>
                    <a:pt x="121" y="284"/>
                  </a:lnTo>
                  <a:lnTo>
                    <a:pt x="119" y="284"/>
                  </a:lnTo>
                  <a:lnTo>
                    <a:pt x="117" y="283"/>
                  </a:lnTo>
                  <a:lnTo>
                    <a:pt x="117" y="281"/>
                  </a:lnTo>
                  <a:lnTo>
                    <a:pt x="116" y="281"/>
                  </a:lnTo>
                  <a:lnTo>
                    <a:pt x="116" y="279"/>
                  </a:lnTo>
                  <a:lnTo>
                    <a:pt x="114" y="279"/>
                  </a:lnTo>
                  <a:lnTo>
                    <a:pt x="112" y="279"/>
                  </a:lnTo>
                  <a:lnTo>
                    <a:pt x="111" y="279"/>
                  </a:lnTo>
                  <a:lnTo>
                    <a:pt x="109" y="279"/>
                  </a:lnTo>
                  <a:lnTo>
                    <a:pt x="108" y="279"/>
                  </a:lnTo>
                  <a:lnTo>
                    <a:pt x="108" y="276"/>
                  </a:lnTo>
                  <a:lnTo>
                    <a:pt x="108" y="271"/>
                  </a:lnTo>
                  <a:lnTo>
                    <a:pt x="108" y="270"/>
                  </a:lnTo>
                  <a:lnTo>
                    <a:pt x="104" y="265"/>
                  </a:lnTo>
                  <a:lnTo>
                    <a:pt x="108" y="263"/>
                  </a:lnTo>
                  <a:lnTo>
                    <a:pt x="106" y="260"/>
                  </a:lnTo>
                  <a:lnTo>
                    <a:pt x="108" y="258"/>
                  </a:lnTo>
                  <a:lnTo>
                    <a:pt x="111" y="260"/>
                  </a:lnTo>
                  <a:lnTo>
                    <a:pt x="116" y="255"/>
                  </a:lnTo>
                  <a:lnTo>
                    <a:pt x="132" y="245"/>
                  </a:lnTo>
                  <a:lnTo>
                    <a:pt x="135" y="227"/>
                  </a:lnTo>
                  <a:lnTo>
                    <a:pt x="135" y="224"/>
                  </a:lnTo>
                  <a:lnTo>
                    <a:pt x="138" y="221"/>
                  </a:lnTo>
                  <a:lnTo>
                    <a:pt x="138" y="218"/>
                  </a:lnTo>
                  <a:lnTo>
                    <a:pt x="140" y="216"/>
                  </a:lnTo>
                  <a:lnTo>
                    <a:pt x="140" y="214"/>
                  </a:lnTo>
                  <a:lnTo>
                    <a:pt x="153" y="201"/>
                  </a:lnTo>
                  <a:lnTo>
                    <a:pt x="156" y="193"/>
                  </a:lnTo>
                  <a:lnTo>
                    <a:pt x="160" y="188"/>
                  </a:lnTo>
                  <a:lnTo>
                    <a:pt x="153" y="184"/>
                  </a:lnTo>
                  <a:lnTo>
                    <a:pt x="153" y="182"/>
                  </a:lnTo>
                  <a:lnTo>
                    <a:pt x="156" y="179"/>
                  </a:lnTo>
                  <a:lnTo>
                    <a:pt x="156" y="177"/>
                  </a:lnTo>
                  <a:lnTo>
                    <a:pt x="153" y="177"/>
                  </a:lnTo>
                  <a:lnTo>
                    <a:pt x="151" y="177"/>
                  </a:lnTo>
                  <a:lnTo>
                    <a:pt x="161" y="170"/>
                  </a:lnTo>
                  <a:lnTo>
                    <a:pt x="158" y="166"/>
                  </a:lnTo>
                  <a:lnTo>
                    <a:pt x="161" y="164"/>
                  </a:lnTo>
                  <a:lnTo>
                    <a:pt x="161" y="162"/>
                  </a:lnTo>
                  <a:lnTo>
                    <a:pt x="163" y="162"/>
                  </a:lnTo>
                  <a:lnTo>
                    <a:pt x="161" y="161"/>
                  </a:lnTo>
                  <a:lnTo>
                    <a:pt x="161" y="159"/>
                  </a:lnTo>
                  <a:lnTo>
                    <a:pt x="160" y="159"/>
                  </a:lnTo>
                  <a:lnTo>
                    <a:pt x="158" y="157"/>
                  </a:lnTo>
                  <a:lnTo>
                    <a:pt x="151" y="148"/>
                  </a:lnTo>
                  <a:lnTo>
                    <a:pt x="151" y="146"/>
                  </a:lnTo>
                  <a:lnTo>
                    <a:pt x="153" y="146"/>
                  </a:lnTo>
                  <a:lnTo>
                    <a:pt x="155" y="146"/>
                  </a:lnTo>
                  <a:lnTo>
                    <a:pt x="151" y="140"/>
                  </a:lnTo>
                  <a:lnTo>
                    <a:pt x="155" y="136"/>
                  </a:lnTo>
                  <a:lnTo>
                    <a:pt x="155" y="138"/>
                  </a:lnTo>
                  <a:lnTo>
                    <a:pt x="156" y="138"/>
                  </a:lnTo>
                  <a:lnTo>
                    <a:pt x="163" y="135"/>
                  </a:lnTo>
                  <a:lnTo>
                    <a:pt x="164" y="135"/>
                  </a:lnTo>
                  <a:lnTo>
                    <a:pt x="164" y="136"/>
                  </a:lnTo>
                  <a:lnTo>
                    <a:pt x="164" y="138"/>
                  </a:lnTo>
                  <a:lnTo>
                    <a:pt x="164" y="140"/>
                  </a:lnTo>
                  <a:lnTo>
                    <a:pt x="163" y="140"/>
                  </a:lnTo>
                  <a:lnTo>
                    <a:pt x="164" y="140"/>
                  </a:lnTo>
                  <a:lnTo>
                    <a:pt x="164" y="141"/>
                  </a:lnTo>
                  <a:lnTo>
                    <a:pt x="163" y="141"/>
                  </a:lnTo>
                  <a:lnTo>
                    <a:pt x="163" y="143"/>
                  </a:lnTo>
                  <a:lnTo>
                    <a:pt x="164" y="143"/>
                  </a:lnTo>
                  <a:lnTo>
                    <a:pt x="163" y="143"/>
                  </a:lnTo>
                  <a:lnTo>
                    <a:pt x="169" y="140"/>
                  </a:lnTo>
                  <a:lnTo>
                    <a:pt x="169" y="138"/>
                  </a:lnTo>
                  <a:lnTo>
                    <a:pt x="173" y="136"/>
                  </a:lnTo>
                  <a:lnTo>
                    <a:pt x="168" y="128"/>
                  </a:lnTo>
                  <a:lnTo>
                    <a:pt x="169" y="127"/>
                  </a:lnTo>
                  <a:lnTo>
                    <a:pt x="166" y="125"/>
                  </a:lnTo>
                  <a:lnTo>
                    <a:pt x="163" y="125"/>
                  </a:lnTo>
                  <a:lnTo>
                    <a:pt x="160" y="122"/>
                  </a:lnTo>
                  <a:lnTo>
                    <a:pt x="155" y="115"/>
                  </a:lnTo>
                  <a:lnTo>
                    <a:pt x="163" y="112"/>
                  </a:lnTo>
                  <a:lnTo>
                    <a:pt x="164" y="112"/>
                  </a:lnTo>
                  <a:lnTo>
                    <a:pt x="171" y="120"/>
                  </a:lnTo>
                  <a:lnTo>
                    <a:pt x="171" y="118"/>
                  </a:lnTo>
                  <a:lnTo>
                    <a:pt x="173" y="118"/>
                  </a:lnTo>
                  <a:lnTo>
                    <a:pt x="174" y="118"/>
                  </a:lnTo>
                  <a:lnTo>
                    <a:pt x="174" y="117"/>
                  </a:lnTo>
                  <a:lnTo>
                    <a:pt x="176" y="117"/>
                  </a:lnTo>
                  <a:lnTo>
                    <a:pt x="177" y="117"/>
                  </a:lnTo>
                  <a:lnTo>
                    <a:pt x="179" y="115"/>
                  </a:lnTo>
                  <a:lnTo>
                    <a:pt x="181" y="115"/>
                  </a:lnTo>
                  <a:lnTo>
                    <a:pt x="181" y="114"/>
                  </a:lnTo>
                  <a:lnTo>
                    <a:pt x="181" y="112"/>
                  </a:lnTo>
                  <a:lnTo>
                    <a:pt x="182" y="112"/>
                  </a:lnTo>
                  <a:lnTo>
                    <a:pt x="182" y="114"/>
                  </a:lnTo>
                  <a:lnTo>
                    <a:pt x="182" y="112"/>
                  </a:lnTo>
                  <a:lnTo>
                    <a:pt x="184" y="112"/>
                  </a:lnTo>
                  <a:lnTo>
                    <a:pt x="184" y="114"/>
                  </a:lnTo>
                  <a:lnTo>
                    <a:pt x="184" y="112"/>
                  </a:lnTo>
                  <a:lnTo>
                    <a:pt x="186" y="112"/>
                  </a:lnTo>
                  <a:lnTo>
                    <a:pt x="187" y="112"/>
                  </a:lnTo>
                  <a:lnTo>
                    <a:pt x="186" y="110"/>
                  </a:lnTo>
                  <a:lnTo>
                    <a:pt x="187" y="110"/>
                  </a:lnTo>
                  <a:lnTo>
                    <a:pt x="187" y="109"/>
                  </a:lnTo>
                  <a:lnTo>
                    <a:pt x="189" y="110"/>
                  </a:lnTo>
                  <a:lnTo>
                    <a:pt x="189" y="109"/>
                  </a:lnTo>
                  <a:lnTo>
                    <a:pt x="190" y="109"/>
                  </a:lnTo>
                  <a:lnTo>
                    <a:pt x="190" y="107"/>
                  </a:lnTo>
                  <a:lnTo>
                    <a:pt x="192" y="107"/>
                  </a:lnTo>
                  <a:lnTo>
                    <a:pt x="194" y="107"/>
                  </a:lnTo>
                  <a:lnTo>
                    <a:pt x="195" y="107"/>
                  </a:lnTo>
                  <a:lnTo>
                    <a:pt x="195" y="105"/>
                  </a:lnTo>
                  <a:lnTo>
                    <a:pt x="194" y="105"/>
                  </a:lnTo>
                  <a:lnTo>
                    <a:pt x="195" y="104"/>
                  </a:lnTo>
                  <a:lnTo>
                    <a:pt x="194" y="104"/>
                  </a:lnTo>
                  <a:lnTo>
                    <a:pt x="195" y="104"/>
                  </a:lnTo>
                  <a:lnTo>
                    <a:pt x="197" y="102"/>
                  </a:lnTo>
                  <a:lnTo>
                    <a:pt x="199" y="101"/>
                  </a:lnTo>
                  <a:lnTo>
                    <a:pt x="200" y="102"/>
                  </a:lnTo>
                  <a:lnTo>
                    <a:pt x="203" y="105"/>
                  </a:lnTo>
                  <a:lnTo>
                    <a:pt x="210" y="101"/>
                  </a:lnTo>
                  <a:lnTo>
                    <a:pt x="215" y="110"/>
                  </a:lnTo>
                  <a:lnTo>
                    <a:pt x="205" y="118"/>
                  </a:lnTo>
                  <a:lnTo>
                    <a:pt x="207" y="118"/>
                  </a:lnTo>
                  <a:lnTo>
                    <a:pt x="208" y="122"/>
                  </a:lnTo>
                  <a:lnTo>
                    <a:pt x="212" y="120"/>
                  </a:lnTo>
                  <a:lnTo>
                    <a:pt x="215" y="125"/>
                  </a:lnTo>
                  <a:lnTo>
                    <a:pt x="221" y="120"/>
                  </a:lnTo>
                  <a:lnTo>
                    <a:pt x="223" y="122"/>
                  </a:lnTo>
                  <a:lnTo>
                    <a:pt x="226" y="118"/>
                  </a:lnTo>
                  <a:lnTo>
                    <a:pt x="230" y="115"/>
                  </a:lnTo>
                  <a:lnTo>
                    <a:pt x="234" y="109"/>
                  </a:lnTo>
                  <a:lnTo>
                    <a:pt x="231" y="107"/>
                  </a:lnTo>
                  <a:lnTo>
                    <a:pt x="233" y="105"/>
                  </a:lnTo>
                  <a:lnTo>
                    <a:pt x="231" y="104"/>
                  </a:lnTo>
                  <a:lnTo>
                    <a:pt x="233" y="102"/>
                  </a:lnTo>
                  <a:lnTo>
                    <a:pt x="234" y="104"/>
                  </a:lnTo>
                  <a:lnTo>
                    <a:pt x="236" y="101"/>
                  </a:lnTo>
                  <a:lnTo>
                    <a:pt x="241" y="104"/>
                  </a:lnTo>
                  <a:lnTo>
                    <a:pt x="239" y="105"/>
                  </a:lnTo>
                  <a:lnTo>
                    <a:pt x="241" y="109"/>
                  </a:lnTo>
                  <a:lnTo>
                    <a:pt x="244" y="112"/>
                  </a:lnTo>
                  <a:lnTo>
                    <a:pt x="249" y="105"/>
                  </a:lnTo>
                  <a:lnTo>
                    <a:pt x="247" y="104"/>
                  </a:lnTo>
                  <a:lnTo>
                    <a:pt x="252" y="97"/>
                  </a:lnTo>
                  <a:lnTo>
                    <a:pt x="243" y="89"/>
                  </a:lnTo>
                  <a:lnTo>
                    <a:pt x="244" y="88"/>
                  </a:lnTo>
                  <a:lnTo>
                    <a:pt x="244" y="86"/>
                  </a:lnTo>
                  <a:lnTo>
                    <a:pt x="243" y="88"/>
                  </a:lnTo>
                  <a:lnTo>
                    <a:pt x="243" y="86"/>
                  </a:lnTo>
                  <a:lnTo>
                    <a:pt x="244" y="86"/>
                  </a:lnTo>
                  <a:lnTo>
                    <a:pt x="243" y="86"/>
                  </a:lnTo>
                  <a:lnTo>
                    <a:pt x="243" y="84"/>
                  </a:lnTo>
                  <a:lnTo>
                    <a:pt x="243" y="83"/>
                  </a:lnTo>
                  <a:lnTo>
                    <a:pt x="243" y="81"/>
                  </a:lnTo>
                  <a:lnTo>
                    <a:pt x="243" y="79"/>
                  </a:lnTo>
                  <a:lnTo>
                    <a:pt x="243" y="78"/>
                  </a:lnTo>
                  <a:lnTo>
                    <a:pt x="244" y="76"/>
                  </a:lnTo>
                  <a:lnTo>
                    <a:pt x="243" y="76"/>
                  </a:lnTo>
                  <a:lnTo>
                    <a:pt x="243" y="75"/>
                  </a:lnTo>
                  <a:lnTo>
                    <a:pt x="241" y="75"/>
                  </a:lnTo>
                  <a:lnTo>
                    <a:pt x="244" y="71"/>
                  </a:lnTo>
                  <a:lnTo>
                    <a:pt x="251" y="65"/>
                  </a:lnTo>
                  <a:lnTo>
                    <a:pt x="252" y="68"/>
                  </a:lnTo>
                  <a:lnTo>
                    <a:pt x="257" y="65"/>
                  </a:lnTo>
                  <a:lnTo>
                    <a:pt x="257" y="63"/>
                  </a:lnTo>
                  <a:lnTo>
                    <a:pt x="259" y="65"/>
                  </a:lnTo>
                  <a:lnTo>
                    <a:pt x="262" y="58"/>
                  </a:lnTo>
                  <a:lnTo>
                    <a:pt x="262" y="57"/>
                  </a:lnTo>
                  <a:lnTo>
                    <a:pt x="264" y="57"/>
                  </a:lnTo>
                  <a:lnTo>
                    <a:pt x="260" y="52"/>
                  </a:lnTo>
                  <a:lnTo>
                    <a:pt x="260" y="50"/>
                  </a:lnTo>
                  <a:lnTo>
                    <a:pt x="262" y="49"/>
                  </a:lnTo>
                  <a:lnTo>
                    <a:pt x="264" y="49"/>
                  </a:lnTo>
                  <a:lnTo>
                    <a:pt x="265" y="49"/>
                  </a:lnTo>
                  <a:lnTo>
                    <a:pt x="270" y="42"/>
                  </a:lnTo>
                  <a:lnTo>
                    <a:pt x="270" y="40"/>
                  </a:lnTo>
                  <a:lnTo>
                    <a:pt x="269" y="40"/>
                  </a:lnTo>
                  <a:lnTo>
                    <a:pt x="267" y="39"/>
                  </a:lnTo>
                  <a:lnTo>
                    <a:pt x="270" y="37"/>
                  </a:lnTo>
                  <a:lnTo>
                    <a:pt x="275" y="42"/>
                  </a:lnTo>
                  <a:lnTo>
                    <a:pt x="278" y="47"/>
                  </a:lnTo>
                  <a:lnTo>
                    <a:pt x="285" y="50"/>
                  </a:lnTo>
                  <a:lnTo>
                    <a:pt x="286" y="50"/>
                  </a:lnTo>
                  <a:lnTo>
                    <a:pt x="290" y="52"/>
                  </a:lnTo>
                  <a:lnTo>
                    <a:pt x="293" y="53"/>
                  </a:lnTo>
                  <a:lnTo>
                    <a:pt x="295" y="55"/>
                  </a:lnTo>
                  <a:lnTo>
                    <a:pt x="298" y="57"/>
                  </a:lnTo>
                  <a:lnTo>
                    <a:pt x="298" y="58"/>
                  </a:lnTo>
                  <a:lnTo>
                    <a:pt x="299" y="58"/>
                  </a:lnTo>
                  <a:lnTo>
                    <a:pt x="299" y="60"/>
                  </a:lnTo>
                  <a:lnTo>
                    <a:pt x="301" y="60"/>
                  </a:lnTo>
                  <a:lnTo>
                    <a:pt x="301" y="62"/>
                  </a:lnTo>
                  <a:lnTo>
                    <a:pt x="303" y="63"/>
                  </a:lnTo>
                  <a:lnTo>
                    <a:pt x="303" y="62"/>
                  </a:lnTo>
                  <a:lnTo>
                    <a:pt x="303" y="63"/>
                  </a:lnTo>
                  <a:lnTo>
                    <a:pt x="303" y="62"/>
                  </a:lnTo>
                  <a:lnTo>
                    <a:pt x="304" y="62"/>
                  </a:lnTo>
                  <a:lnTo>
                    <a:pt x="306" y="62"/>
                  </a:lnTo>
                  <a:lnTo>
                    <a:pt x="306" y="63"/>
                  </a:lnTo>
                  <a:lnTo>
                    <a:pt x="308" y="63"/>
                  </a:lnTo>
                  <a:lnTo>
                    <a:pt x="306" y="65"/>
                  </a:lnTo>
                  <a:lnTo>
                    <a:pt x="308" y="66"/>
                  </a:lnTo>
                  <a:lnTo>
                    <a:pt x="309" y="66"/>
                  </a:lnTo>
                  <a:lnTo>
                    <a:pt x="309" y="68"/>
                  </a:lnTo>
                  <a:lnTo>
                    <a:pt x="311" y="68"/>
                  </a:lnTo>
                  <a:lnTo>
                    <a:pt x="309" y="66"/>
                  </a:lnTo>
                  <a:lnTo>
                    <a:pt x="309" y="65"/>
                  </a:lnTo>
                  <a:lnTo>
                    <a:pt x="309" y="63"/>
                  </a:lnTo>
                  <a:lnTo>
                    <a:pt x="309" y="62"/>
                  </a:lnTo>
                  <a:lnTo>
                    <a:pt x="311" y="62"/>
                  </a:lnTo>
                  <a:lnTo>
                    <a:pt x="311" y="63"/>
                  </a:lnTo>
                  <a:lnTo>
                    <a:pt x="311" y="65"/>
                  </a:lnTo>
                  <a:lnTo>
                    <a:pt x="312" y="65"/>
                  </a:lnTo>
                  <a:lnTo>
                    <a:pt x="312" y="63"/>
                  </a:lnTo>
                  <a:lnTo>
                    <a:pt x="314" y="63"/>
                  </a:lnTo>
                  <a:lnTo>
                    <a:pt x="314" y="62"/>
                  </a:lnTo>
                  <a:lnTo>
                    <a:pt x="312" y="62"/>
                  </a:lnTo>
                  <a:lnTo>
                    <a:pt x="312" y="60"/>
                  </a:lnTo>
                  <a:lnTo>
                    <a:pt x="314" y="62"/>
                  </a:lnTo>
                  <a:lnTo>
                    <a:pt x="314" y="60"/>
                  </a:lnTo>
                  <a:lnTo>
                    <a:pt x="314" y="58"/>
                  </a:lnTo>
                  <a:lnTo>
                    <a:pt x="314" y="57"/>
                  </a:lnTo>
                  <a:lnTo>
                    <a:pt x="316" y="57"/>
                  </a:lnTo>
                  <a:lnTo>
                    <a:pt x="316" y="58"/>
                  </a:lnTo>
                  <a:lnTo>
                    <a:pt x="317" y="60"/>
                  </a:lnTo>
                  <a:lnTo>
                    <a:pt x="319" y="60"/>
                  </a:lnTo>
                  <a:lnTo>
                    <a:pt x="319" y="58"/>
                  </a:lnTo>
                  <a:lnTo>
                    <a:pt x="317" y="58"/>
                  </a:lnTo>
                  <a:lnTo>
                    <a:pt x="316" y="58"/>
                  </a:lnTo>
                  <a:lnTo>
                    <a:pt x="316" y="57"/>
                  </a:lnTo>
                  <a:lnTo>
                    <a:pt x="317" y="57"/>
                  </a:lnTo>
                  <a:lnTo>
                    <a:pt x="319" y="53"/>
                  </a:lnTo>
                  <a:lnTo>
                    <a:pt x="321" y="53"/>
                  </a:lnTo>
                  <a:lnTo>
                    <a:pt x="321" y="52"/>
                  </a:lnTo>
                  <a:lnTo>
                    <a:pt x="321" y="50"/>
                  </a:lnTo>
                  <a:lnTo>
                    <a:pt x="319" y="49"/>
                  </a:lnTo>
                  <a:lnTo>
                    <a:pt x="319" y="47"/>
                  </a:lnTo>
                  <a:lnTo>
                    <a:pt x="321" y="47"/>
                  </a:lnTo>
                  <a:lnTo>
                    <a:pt x="321" y="49"/>
                  </a:lnTo>
                  <a:lnTo>
                    <a:pt x="321" y="50"/>
                  </a:lnTo>
                  <a:lnTo>
                    <a:pt x="322" y="49"/>
                  </a:lnTo>
                  <a:lnTo>
                    <a:pt x="321" y="49"/>
                  </a:lnTo>
                  <a:lnTo>
                    <a:pt x="321" y="47"/>
                  </a:lnTo>
                  <a:lnTo>
                    <a:pt x="322" y="47"/>
                  </a:lnTo>
                  <a:lnTo>
                    <a:pt x="322" y="49"/>
                  </a:lnTo>
                  <a:lnTo>
                    <a:pt x="322" y="47"/>
                  </a:lnTo>
                  <a:lnTo>
                    <a:pt x="324" y="47"/>
                  </a:lnTo>
                  <a:lnTo>
                    <a:pt x="324" y="49"/>
                  </a:lnTo>
                  <a:lnTo>
                    <a:pt x="325" y="49"/>
                  </a:lnTo>
                  <a:lnTo>
                    <a:pt x="324" y="47"/>
                  </a:lnTo>
                  <a:lnTo>
                    <a:pt x="325" y="47"/>
                  </a:lnTo>
                  <a:lnTo>
                    <a:pt x="325" y="49"/>
                  </a:lnTo>
                  <a:lnTo>
                    <a:pt x="327" y="49"/>
                  </a:lnTo>
                  <a:lnTo>
                    <a:pt x="327" y="47"/>
                  </a:lnTo>
                  <a:lnTo>
                    <a:pt x="325" y="47"/>
                  </a:lnTo>
                  <a:lnTo>
                    <a:pt x="325" y="45"/>
                  </a:lnTo>
                  <a:lnTo>
                    <a:pt x="327" y="45"/>
                  </a:lnTo>
                  <a:lnTo>
                    <a:pt x="327" y="47"/>
                  </a:lnTo>
                  <a:lnTo>
                    <a:pt x="329" y="47"/>
                  </a:lnTo>
                  <a:lnTo>
                    <a:pt x="329" y="44"/>
                  </a:lnTo>
                  <a:lnTo>
                    <a:pt x="330" y="42"/>
                  </a:lnTo>
                  <a:lnTo>
                    <a:pt x="330" y="44"/>
                  </a:lnTo>
                  <a:lnTo>
                    <a:pt x="330" y="45"/>
                  </a:lnTo>
                  <a:lnTo>
                    <a:pt x="329" y="45"/>
                  </a:lnTo>
                  <a:lnTo>
                    <a:pt x="329" y="47"/>
                  </a:lnTo>
                  <a:lnTo>
                    <a:pt x="330" y="47"/>
                  </a:lnTo>
                  <a:lnTo>
                    <a:pt x="330" y="45"/>
                  </a:lnTo>
                  <a:lnTo>
                    <a:pt x="332" y="45"/>
                  </a:lnTo>
                  <a:lnTo>
                    <a:pt x="332" y="47"/>
                  </a:lnTo>
                  <a:lnTo>
                    <a:pt x="332" y="45"/>
                  </a:lnTo>
                  <a:lnTo>
                    <a:pt x="332" y="44"/>
                  </a:lnTo>
                  <a:lnTo>
                    <a:pt x="332" y="42"/>
                  </a:lnTo>
                  <a:lnTo>
                    <a:pt x="334" y="42"/>
                  </a:lnTo>
                  <a:lnTo>
                    <a:pt x="332" y="44"/>
                  </a:lnTo>
                  <a:lnTo>
                    <a:pt x="334" y="44"/>
                  </a:lnTo>
                  <a:lnTo>
                    <a:pt x="334" y="45"/>
                  </a:lnTo>
                  <a:lnTo>
                    <a:pt x="334" y="44"/>
                  </a:lnTo>
                  <a:lnTo>
                    <a:pt x="335" y="44"/>
                  </a:lnTo>
                  <a:lnTo>
                    <a:pt x="335" y="45"/>
                  </a:lnTo>
                  <a:lnTo>
                    <a:pt x="337" y="45"/>
                  </a:lnTo>
                  <a:lnTo>
                    <a:pt x="337" y="47"/>
                  </a:lnTo>
                  <a:lnTo>
                    <a:pt x="338" y="45"/>
                  </a:lnTo>
                  <a:lnTo>
                    <a:pt x="337" y="45"/>
                  </a:lnTo>
                  <a:lnTo>
                    <a:pt x="335" y="45"/>
                  </a:lnTo>
                  <a:lnTo>
                    <a:pt x="335" y="44"/>
                  </a:lnTo>
                  <a:lnTo>
                    <a:pt x="337" y="44"/>
                  </a:lnTo>
                  <a:lnTo>
                    <a:pt x="338" y="44"/>
                  </a:lnTo>
                  <a:lnTo>
                    <a:pt x="338" y="42"/>
                  </a:lnTo>
                  <a:lnTo>
                    <a:pt x="337" y="42"/>
                  </a:lnTo>
                  <a:lnTo>
                    <a:pt x="338" y="42"/>
                  </a:lnTo>
                  <a:lnTo>
                    <a:pt x="340" y="42"/>
                  </a:lnTo>
                  <a:lnTo>
                    <a:pt x="340" y="40"/>
                  </a:lnTo>
                  <a:lnTo>
                    <a:pt x="342" y="39"/>
                  </a:lnTo>
                  <a:lnTo>
                    <a:pt x="342" y="37"/>
                  </a:lnTo>
                  <a:lnTo>
                    <a:pt x="343" y="37"/>
                  </a:lnTo>
                  <a:lnTo>
                    <a:pt x="342" y="34"/>
                  </a:lnTo>
                  <a:lnTo>
                    <a:pt x="343" y="34"/>
                  </a:lnTo>
                  <a:lnTo>
                    <a:pt x="345" y="34"/>
                  </a:lnTo>
                  <a:lnTo>
                    <a:pt x="347" y="34"/>
                  </a:lnTo>
                  <a:lnTo>
                    <a:pt x="348" y="32"/>
                  </a:lnTo>
                  <a:lnTo>
                    <a:pt x="350" y="32"/>
                  </a:lnTo>
                  <a:lnTo>
                    <a:pt x="350" y="31"/>
                  </a:lnTo>
                  <a:lnTo>
                    <a:pt x="348" y="31"/>
                  </a:lnTo>
                  <a:lnTo>
                    <a:pt x="347" y="31"/>
                  </a:lnTo>
                  <a:lnTo>
                    <a:pt x="347" y="29"/>
                  </a:lnTo>
                  <a:lnTo>
                    <a:pt x="347" y="27"/>
                  </a:lnTo>
                  <a:lnTo>
                    <a:pt x="348" y="27"/>
                  </a:lnTo>
                  <a:lnTo>
                    <a:pt x="348" y="26"/>
                  </a:lnTo>
                  <a:lnTo>
                    <a:pt x="348" y="24"/>
                  </a:lnTo>
                  <a:lnTo>
                    <a:pt x="350" y="24"/>
                  </a:lnTo>
                  <a:lnTo>
                    <a:pt x="350" y="26"/>
                  </a:lnTo>
                  <a:lnTo>
                    <a:pt x="348" y="26"/>
                  </a:lnTo>
                  <a:lnTo>
                    <a:pt x="348" y="27"/>
                  </a:lnTo>
                  <a:lnTo>
                    <a:pt x="350" y="27"/>
                  </a:lnTo>
                  <a:lnTo>
                    <a:pt x="351" y="27"/>
                  </a:lnTo>
                  <a:lnTo>
                    <a:pt x="353" y="26"/>
                  </a:lnTo>
                  <a:lnTo>
                    <a:pt x="353" y="24"/>
                  </a:lnTo>
                  <a:lnTo>
                    <a:pt x="355" y="24"/>
                  </a:lnTo>
                  <a:lnTo>
                    <a:pt x="356" y="24"/>
                  </a:lnTo>
                  <a:lnTo>
                    <a:pt x="356" y="26"/>
                  </a:lnTo>
                  <a:lnTo>
                    <a:pt x="358" y="26"/>
                  </a:lnTo>
                  <a:lnTo>
                    <a:pt x="360" y="26"/>
                  </a:lnTo>
                  <a:lnTo>
                    <a:pt x="358" y="24"/>
                  </a:lnTo>
                  <a:lnTo>
                    <a:pt x="358" y="22"/>
                  </a:lnTo>
                  <a:lnTo>
                    <a:pt x="360" y="22"/>
                  </a:lnTo>
                  <a:lnTo>
                    <a:pt x="360" y="21"/>
                  </a:lnTo>
                  <a:lnTo>
                    <a:pt x="361" y="19"/>
                  </a:lnTo>
                  <a:lnTo>
                    <a:pt x="361" y="21"/>
                  </a:lnTo>
                  <a:lnTo>
                    <a:pt x="363" y="21"/>
                  </a:lnTo>
                  <a:lnTo>
                    <a:pt x="365" y="19"/>
                  </a:lnTo>
                  <a:lnTo>
                    <a:pt x="366" y="19"/>
                  </a:lnTo>
                  <a:lnTo>
                    <a:pt x="371" y="21"/>
                  </a:lnTo>
                  <a:lnTo>
                    <a:pt x="373" y="21"/>
                  </a:lnTo>
                  <a:lnTo>
                    <a:pt x="374" y="22"/>
                  </a:lnTo>
                  <a:lnTo>
                    <a:pt x="376" y="22"/>
                  </a:lnTo>
                  <a:lnTo>
                    <a:pt x="376" y="19"/>
                  </a:lnTo>
                  <a:lnTo>
                    <a:pt x="378" y="19"/>
                  </a:lnTo>
                  <a:lnTo>
                    <a:pt x="376" y="19"/>
                  </a:lnTo>
                  <a:lnTo>
                    <a:pt x="378" y="21"/>
                  </a:lnTo>
                  <a:lnTo>
                    <a:pt x="379" y="21"/>
                  </a:lnTo>
                  <a:lnTo>
                    <a:pt x="379" y="19"/>
                  </a:lnTo>
                  <a:lnTo>
                    <a:pt x="381" y="19"/>
                  </a:lnTo>
                  <a:lnTo>
                    <a:pt x="381" y="21"/>
                  </a:lnTo>
                  <a:lnTo>
                    <a:pt x="381" y="19"/>
                  </a:lnTo>
                  <a:lnTo>
                    <a:pt x="382" y="19"/>
                  </a:lnTo>
                  <a:lnTo>
                    <a:pt x="384" y="18"/>
                  </a:lnTo>
                  <a:lnTo>
                    <a:pt x="384" y="19"/>
                  </a:lnTo>
                  <a:lnTo>
                    <a:pt x="386" y="19"/>
                  </a:lnTo>
                  <a:lnTo>
                    <a:pt x="387" y="19"/>
                  </a:lnTo>
                  <a:lnTo>
                    <a:pt x="389" y="21"/>
                  </a:lnTo>
                  <a:lnTo>
                    <a:pt x="391" y="19"/>
                  </a:lnTo>
                  <a:lnTo>
                    <a:pt x="392" y="19"/>
                  </a:lnTo>
                  <a:lnTo>
                    <a:pt x="391" y="19"/>
                  </a:lnTo>
                  <a:lnTo>
                    <a:pt x="391" y="21"/>
                  </a:lnTo>
                  <a:lnTo>
                    <a:pt x="392" y="21"/>
                  </a:lnTo>
                  <a:lnTo>
                    <a:pt x="392" y="19"/>
                  </a:lnTo>
                  <a:lnTo>
                    <a:pt x="392" y="21"/>
                  </a:lnTo>
                  <a:lnTo>
                    <a:pt x="394" y="21"/>
                  </a:lnTo>
                  <a:lnTo>
                    <a:pt x="392" y="21"/>
                  </a:lnTo>
                  <a:lnTo>
                    <a:pt x="394" y="21"/>
                  </a:lnTo>
                  <a:lnTo>
                    <a:pt x="392" y="21"/>
                  </a:lnTo>
                  <a:lnTo>
                    <a:pt x="394" y="22"/>
                  </a:lnTo>
                  <a:lnTo>
                    <a:pt x="392" y="22"/>
                  </a:lnTo>
                  <a:lnTo>
                    <a:pt x="394" y="22"/>
                  </a:lnTo>
                  <a:lnTo>
                    <a:pt x="392" y="22"/>
                  </a:lnTo>
                  <a:lnTo>
                    <a:pt x="392" y="24"/>
                  </a:lnTo>
                  <a:lnTo>
                    <a:pt x="392" y="26"/>
                  </a:lnTo>
                  <a:lnTo>
                    <a:pt x="394" y="26"/>
                  </a:lnTo>
                  <a:lnTo>
                    <a:pt x="394" y="24"/>
                  </a:lnTo>
                  <a:lnTo>
                    <a:pt x="394" y="26"/>
                  </a:lnTo>
                  <a:lnTo>
                    <a:pt x="395" y="26"/>
                  </a:lnTo>
                  <a:lnTo>
                    <a:pt x="394" y="26"/>
                  </a:lnTo>
                  <a:lnTo>
                    <a:pt x="395" y="26"/>
                  </a:lnTo>
                  <a:lnTo>
                    <a:pt x="395" y="27"/>
                  </a:lnTo>
                  <a:lnTo>
                    <a:pt x="395" y="29"/>
                  </a:lnTo>
                  <a:lnTo>
                    <a:pt x="395" y="27"/>
                  </a:lnTo>
                  <a:lnTo>
                    <a:pt x="395" y="29"/>
                  </a:lnTo>
                  <a:lnTo>
                    <a:pt x="395" y="31"/>
                  </a:lnTo>
                  <a:lnTo>
                    <a:pt x="397" y="32"/>
                  </a:lnTo>
                  <a:lnTo>
                    <a:pt x="397" y="31"/>
                  </a:lnTo>
                  <a:lnTo>
                    <a:pt x="397" y="32"/>
                  </a:lnTo>
                  <a:lnTo>
                    <a:pt x="397" y="31"/>
                  </a:lnTo>
                  <a:lnTo>
                    <a:pt x="397" y="32"/>
                  </a:lnTo>
                  <a:lnTo>
                    <a:pt x="399" y="32"/>
                  </a:lnTo>
                  <a:lnTo>
                    <a:pt x="397" y="32"/>
                  </a:lnTo>
                  <a:lnTo>
                    <a:pt x="399" y="32"/>
                  </a:lnTo>
                  <a:lnTo>
                    <a:pt x="399" y="34"/>
                  </a:lnTo>
                  <a:lnTo>
                    <a:pt x="399" y="32"/>
                  </a:lnTo>
                  <a:lnTo>
                    <a:pt x="400" y="32"/>
                  </a:lnTo>
                  <a:lnTo>
                    <a:pt x="400" y="34"/>
                  </a:lnTo>
                  <a:lnTo>
                    <a:pt x="402" y="34"/>
                  </a:lnTo>
                  <a:lnTo>
                    <a:pt x="402" y="32"/>
                  </a:lnTo>
                  <a:lnTo>
                    <a:pt x="402" y="34"/>
                  </a:lnTo>
                  <a:lnTo>
                    <a:pt x="402" y="32"/>
                  </a:lnTo>
                  <a:lnTo>
                    <a:pt x="402" y="34"/>
                  </a:lnTo>
                  <a:lnTo>
                    <a:pt x="402" y="32"/>
                  </a:lnTo>
                  <a:lnTo>
                    <a:pt x="404" y="34"/>
                  </a:lnTo>
                  <a:lnTo>
                    <a:pt x="404" y="32"/>
                  </a:lnTo>
                  <a:lnTo>
                    <a:pt x="404" y="34"/>
                  </a:lnTo>
                  <a:lnTo>
                    <a:pt x="405" y="34"/>
                  </a:lnTo>
                  <a:lnTo>
                    <a:pt x="405" y="35"/>
                  </a:lnTo>
                  <a:lnTo>
                    <a:pt x="405" y="37"/>
                  </a:lnTo>
                  <a:lnTo>
                    <a:pt x="407" y="37"/>
                  </a:lnTo>
                  <a:lnTo>
                    <a:pt x="407" y="35"/>
                  </a:lnTo>
                  <a:lnTo>
                    <a:pt x="407" y="37"/>
                  </a:lnTo>
                  <a:lnTo>
                    <a:pt x="408" y="37"/>
                  </a:lnTo>
                  <a:lnTo>
                    <a:pt x="407" y="37"/>
                  </a:lnTo>
                  <a:lnTo>
                    <a:pt x="408" y="37"/>
                  </a:lnTo>
                  <a:lnTo>
                    <a:pt x="408" y="35"/>
                  </a:lnTo>
                  <a:lnTo>
                    <a:pt x="410" y="35"/>
                  </a:lnTo>
                  <a:lnTo>
                    <a:pt x="410" y="37"/>
                  </a:lnTo>
                  <a:lnTo>
                    <a:pt x="410" y="35"/>
                  </a:lnTo>
                  <a:lnTo>
                    <a:pt x="412" y="35"/>
                  </a:lnTo>
                  <a:lnTo>
                    <a:pt x="413" y="35"/>
                  </a:lnTo>
                  <a:lnTo>
                    <a:pt x="415" y="35"/>
                  </a:lnTo>
                  <a:lnTo>
                    <a:pt x="413" y="35"/>
                  </a:lnTo>
                  <a:lnTo>
                    <a:pt x="415" y="35"/>
                  </a:lnTo>
                  <a:lnTo>
                    <a:pt x="417" y="35"/>
                  </a:lnTo>
                  <a:lnTo>
                    <a:pt x="415" y="35"/>
                  </a:lnTo>
                  <a:lnTo>
                    <a:pt x="415" y="34"/>
                  </a:lnTo>
                  <a:lnTo>
                    <a:pt x="417" y="34"/>
                  </a:lnTo>
                  <a:lnTo>
                    <a:pt x="415" y="34"/>
                  </a:lnTo>
                  <a:lnTo>
                    <a:pt x="417" y="34"/>
                  </a:lnTo>
                  <a:lnTo>
                    <a:pt x="415" y="34"/>
                  </a:lnTo>
                  <a:lnTo>
                    <a:pt x="417" y="34"/>
                  </a:lnTo>
                  <a:lnTo>
                    <a:pt x="418" y="34"/>
                  </a:lnTo>
                  <a:lnTo>
                    <a:pt x="417" y="34"/>
                  </a:lnTo>
                  <a:lnTo>
                    <a:pt x="417" y="32"/>
                  </a:lnTo>
                  <a:lnTo>
                    <a:pt x="418" y="32"/>
                  </a:lnTo>
                  <a:lnTo>
                    <a:pt x="420" y="32"/>
                  </a:lnTo>
                  <a:lnTo>
                    <a:pt x="421" y="32"/>
                  </a:lnTo>
                  <a:lnTo>
                    <a:pt x="421" y="34"/>
                  </a:lnTo>
                  <a:lnTo>
                    <a:pt x="421" y="32"/>
                  </a:lnTo>
                  <a:lnTo>
                    <a:pt x="423" y="32"/>
                  </a:lnTo>
                  <a:lnTo>
                    <a:pt x="425" y="32"/>
                  </a:lnTo>
                  <a:lnTo>
                    <a:pt x="423" y="31"/>
                  </a:lnTo>
                  <a:lnTo>
                    <a:pt x="425" y="31"/>
                  </a:lnTo>
                  <a:lnTo>
                    <a:pt x="425" y="29"/>
                  </a:lnTo>
                  <a:lnTo>
                    <a:pt x="426" y="29"/>
                  </a:lnTo>
                  <a:lnTo>
                    <a:pt x="426" y="27"/>
                  </a:lnTo>
                  <a:lnTo>
                    <a:pt x="428" y="29"/>
                  </a:lnTo>
                  <a:lnTo>
                    <a:pt x="430" y="27"/>
                  </a:lnTo>
                  <a:lnTo>
                    <a:pt x="430" y="29"/>
                  </a:lnTo>
                  <a:lnTo>
                    <a:pt x="431" y="27"/>
                  </a:lnTo>
                  <a:lnTo>
                    <a:pt x="433" y="27"/>
                  </a:lnTo>
                  <a:lnTo>
                    <a:pt x="434" y="29"/>
                  </a:lnTo>
                  <a:lnTo>
                    <a:pt x="436" y="27"/>
                  </a:lnTo>
                  <a:lnTo>
                    <a:pt x="438" y="27"/>
                  </a:lnTo>
                  <a:lnTo>
                    <a:pt x="439" y="27"/>
                  </a:lnTo>
                  <a:lnTo>
                    <a:pt x="441" y="27"/>
                  </a:lnTo>
                  <a:lnTo>
                    <a:pt x="441" y="26"/>
                  </a:lnTo>
                  <a:lnTo>
                    <a:pt x="441" y="27"/>
                  </a:lnTo>
                  <a:lnTo>
                    <a:pt x="441" y="29"/>
                  </a:lnTo>
                  <a:lnTo>
                    <a:pt x="443" y="29"/>
                  </a:lnTo>
                  <a:lnTo>
                    <a:pt x="444" y="29"/>
                  </a:lnTo>
                  <a:lnTo>
                    <a:pt x="446" y="29"/>
                  </a:lnTo>
                  <a:lnTo>
                    <a:pt x="447" y="29"/>
                  </a:lnTo>
                  <a:lnTo>
                    <a:pt x="447" y="27"/>
                  </a:lnTo>
                  <a:lnTo>
                    <a:pt x="449" y="27"/>
                  </a:lnTo>
                  <a:lnTo>
                    <a:pt x="451" y="27"/>
                  </a:lnTo>
                  <a:lnTo>
                    <a:pt x="452" y="27"/>
                  </a:lnTo>
                  <a:lnTo>
                    <a:pt x="452" y="29"/>
                  </a:lnTo>
                  <a:lnTo>
                    <a:pt x="454" y="29"/>
                  </a:lnTo>
                  <a:lnTo>
                    <a:pt x="454" y="31"/>
                  </a:lnTo>
                  <a:lnTo>
                    <a:pt x="454" y="32"/>
                  </a:lnTo>
                  <a:lnTo>
                    <a:pt x="454" y="34"/>
                  </a:lnTo>
                  <a:lnTo>
                    <a:pt x="456" y="34"/>
                  </a:lnTo>
                  <a:lnTo>
                    <a:pt x="456" y="32"/>
                  </a:lnTo>
                  <a:lnTo>
                    <a:pt x="456" y="31"/>
                  </a:lnTo>
                  <a:lnTo>
                    <a:pt x="457" y="32"/>
                  </a:lnTo>
                  <a:lnTo>
                    <a:pt x="459" y="34"/>
                  </a:lnTo>
                  <a:lnTo>
                    <a:pt x="460" y="34"/>
                  </a:lnTo>
                  <a:lnTo>
                    <a:pt x="462" y="34"/>
                  </a:lnTo>
                  <a:lnTo>
                    <a:pt x="460" y="35"/>
                  </a:lnTo>
                  <a:lnTo>
                    <a:pt x="459" y="35"/>
                  </a:lnTo>
                  <a:lnTo>
                    <a:pt x="460" y="35"/>
                  </a:lnTo>
                  <a:lnTo>
                    <a:pt x="460" y="37"/>
                  </a:lnTo>
                  <a:lnTo>
                    <a:pt x="460" y="39"/>
                  </a:lnTo>
                  <a:lnTo>
                    <a:pt x="460" y="37"/>
                  </a:lnTo>
                  <a:lnTo>
                    <a:pt x="462" y="37"/>
                  </a:lnTo>
                  <a:lnTo>
                    <a:pt x="462" y="39"/>
                  </a:lnTo>
                  <a:lnTo>
                    <a:pt x="464" y="40"/>
                  </a:lnTo>
                  <a:lnTo>
                    <a:pt x="464" y="39"/>
                  </a:lnTo>
                  <a:lnTo>
                    <a:pt x="465" y="39"/>
                  </a:lnTo>
                  <a:lnTo>
                    <a:pt x="465" y="40"/>
                  </a:lnTo>
                  <a:lnTo>
                    <a:pt x="467" y="42"/>
                  </a:lnTo>
                  <a:lnTo>
                    <a:pt x="469" y="42"/>
                  </a:lnTo>
                  <a:lnTo>
                    <a:pt x="469" y="40"/>
                  </a:lnTo>
                  <a:lnTo>
                    <a:pt x="470" y="42"/>
                  </a:lnTo>
                  <a:lnTo>
                    <a:pt x="470" y="40"/>
                  </a:lnTo>
                  <a:lnTo>
                    <a:pt x="472" y="40"/>
                  </a:lnTo>
                  <a:lnTo>
                    <a:pt x="473" y="40"/>
                  </a:lnTo>
                  <a:lnTo>
                    <a:pt x="473" y="39"/>
                  </a:lnTo>
                  <a:lnTo>
                    <a:pt x="475" y="39"/>
                  </a:lnTo>
                  <a:lnTo>
                    <a:pt x="475" y="40"/>
                  </a:lnTo>
                  <a:lnTo>
                    <a:pt x="473" y="39"/>
                  </a:lnTo>
                  <a:lnTo>
                    <a:pt x="473" y="40"/>
                  </a:lnTo>
                  <a:lnTo>
                    <a:pt x="475" y="40"/>
                  </a:lnTo>
                  <a:lnTo>
                    <a:pt x="477" y="42"/>
                  </a:lnTo>
                  <a:lnTo>
                    <a:pt x="477" y="44"/>
                  </a:lnTo>
                  <a:lnTo>
                    <a:pt x="478" y="44"/>
                  </a:lnTo>
                  <a:lnTo>
                    <a:pt x="478" y="45"/>
                  </a:lnTo>
                  <a:lnTo>
                    <a:pt x="480" y="44"/>
                  </a:lnTo>
                  <a:lnTo>
                    <a:pt x="480" y="42"/>
                  </a:lnTo>
                  <a:lnTo>
                    <a:pt x="482" y="42"/>
                  </a:lnTo>
                  <a:lnTo>
                    <a:pt x="483" y="42"/>
                  </a:lnTo>
                  <a:lnTo>
                    <a:pt x="485" y="44"/>
                  </a:lnTo>
                  <a:lnTo>
                    <a:pt x="486" y="42"/>
                  </a:lnTo>
                  <a:lnTo>
                    <a:pt x="488" y="42"/>
                  </a:lnTo>
                  <a:lnTo>
                    <a:pt x="488" y="40"/>
                  </a:lnTo>
                  <a:lnTo>
                    <a:pt x="490" y="40"/>
                  </a:lnTo>
                  <a:lnTo>
                    <a:pt x="491" y="39"/>
                  </a:lnTo>
                  <a:lnTo>
                    <a:pt x="495" y="42"/>
                  </a:lnTo>
                  <a:lnTo>
                    <a:pt x="498" y="39"/>
                  </a:lnTo>
                  <a:lnTo>
                    <a:pt x="499" y="39"/>
                  </a:lnTo>
                  <a:lnTo>
                    <a:pt x="501" y="39"/>
                  </a:lnTo>
                  <a:lnTo>
                    <a:pt x="501" y="40"/>
                  </a:lnTo>
                  <a:lnTo>
                    <a:pt x="503" y="40"/>
                  </a:lnTo>
                  <a:lnTo>
                    <a:pt x="503" y="42"/>
                  </a:lnTo>
                  <a:lnTo>
                    <a:pt x="503" y="44"/>
                  </a:lnTo>
                  <a:lnTo>
                    <a:pt x="503" y="45"/>
                  </a:lnTo>
                  <a:lnTo>
                    <a:pt x="503" y="47"/>
                  </a:lnTo>
                  <a:lnTo>
                    <a:pt x="503" y="49"/>
                  </a:lnTo>
                  <a:lnTo>
                    <a:pt x="501" y="49"/>
                  </a:lnTo>
                  <a:lnTo>
                    <a:pt x="503" y="49"/>
                  </a:lnTo>
                  <a:lnTo>
                    <a:pt x="503" y="50"/>
                  </a:lnTo>
                  <a:lnTo>
                    <a:pt x="503" y="52"/>
                  </a:lnTo>
                  <a:lnTo>
                    <a:pt x="504" y="53"/>
                  </a:lnTo>
                  <a:lnTo>
                    <a:pt x="504" y="55"/>
                  </a:lnTo>
                  <a:lnTo>
                    <a:pt x="506" y="57"/>
                  </a:lnTo>
                  <a:lnTo>
                    <a:pt x="506" y="58"/>
                  </a:lnTo>
                  <a:lnTo>
                    <a:pt x="508" y="62"/>
                  </a:lnTo>
                  <a:lnTo>
                    <a:pt x="508" y="65"/>
                  </a:lnTo>
                  <a:lnTo>
                    <a:pt x="509" y="65"/>
                  </a:lnTo>
                  <a:lnTo>
                    <a:pt x="509" y="66"/>
                  </a:lnTo>
                  <a:lnTo>
                    <a:pt x="511" y="70"/>
                  </a:lnTo>
                  <a:lnTo>
                    <a:pt x="511" y="71"/>
                  </a:lnTo>
                  <a:lnTo>
                    <a:pt x="519" y="76"/>
                  </a:lnTo>
                  <a:lnTo>
                    <a:pt x="522" y="76"/>
                  </a:lnTo>
                  <a:lnTo>
                    <a:pt x="526" y="76"/>
                  </a:lnTo>
                  <a:lnTo>
                    <a:pt x="527" y="76"/>
                  </a:lnTo>
                  <a:lnTo>
                    <a:pt x="529" y="76"/>
                  </a:lnTo>
                  <a:lnTo>
                    <a:pt x="527" y="73"/>
                  </a:lnTo>
                  <a:lnTo>
                    <a:pt x="529" y="71"/>
                  </a:lnTo>
                  <a:lnTo>
                    <a:pt x="529" y="70"/>
                  </a:lnTo>
                  <a:lnTo>
                    <a:pt x="530" y="71"/>
                  </a:lnTo>
                  <a:lnTo>
                    <a:pt x="532" y="71"/>
                  </a:lnTo>
                  <a:lnTo>
                    <a:pt x="532" y="70"/>
                  </a:lnTo>
                  <a:lnTo>
                    <a:pt x="532" y="65"/>
                  </a:lnTo>
                  <a:lnTo>
                    <a:pt x="532" y="62"/>
                  </a:lnTo>
                  <a:lnTo>
                    <a:pt x="532" y="60"/>
                  </a:lnTo>
                  <a:lnTo>
                    <a:pt x="534" y="58"/>
                  </a:lnTo>
                  <a:lnTo>
                    <a:pt x="534" y="57"/>
                  </a:lnTo>
                  <a:lnTo>
                    <a:pt x="534" y="55"/>
                  </a:lnTo>
                  <a:lnTo>
                    <a:pt x="532" y="55"/>
                  </a:lnTo>
                  <a:lnTo>
                    <a:pt x="532" y="53"/>
                  </a:lnTo>
                  <a:lnTo>
                    <a:pt x="530" y="53"/>
                  </a:lnTo>
                  <a:lnTo>
                    <a:pt x="532" y="53"/>
                  </a:lnTo>
                  <a:lnTo>
                    <a:pt x="530" y="52"/>
                  </a:lnTo>
                  <a:lnTo>
                    <a:pt x="529" y="50"/>
                  </a:lnTo>
                  <a:lnTo>
                    <a:pt x="527" y="49"/>
                  </a:lnTo>
                  <a:lnTo>
                    <a:pt x="526" y="47"/>
                  </a:lnTo>
                  <a:lnTo>
                    <a:pt x="524" y="47"/>
                  </a:lnTo>
                  <a:lnTo>
                    <a:pt x="522" y="47"/>
                  </a:lnTo>
                  <a:lnTo>
                    <a:pt x="522" y="45"/>
                  </a:lnTo>
                  <a:lnTo>
                    <a:pt x="517" y="39"/>
                  </a:lnTo>
                  <a:lnTo>
                    <a:pt x="511" y="34"/>
                  </a:lnTo>
                  <a:lnTo>
                    <a:pt x="513" y="32"/>
                  </a:lnTo>
                  <a:lnTo>
                    <a:pt x="509" y="24"/>
                  </a:lnTo>
                  <a:lnTo>
                    <a:pt x="506" y="24"/>
                  </a:lnTo>
                  <a:lnTo>
                    <a:pt x="504" y="22"/>
                  </a:lnTo>
                  <a:lnTo>
                    <a:pt x="504" y="24"/>
                  </a:lnTo>
                  <a:lnTo>
                    <a:pt x="503" y="24"/>
                  </a:lnTo>
                  <a:lnTo>
                    <a:pt x="501" y="24"/>
                  </a:lnTo>
                  <a:lnTo>
                    <a:pt x="499" y="24"/>
                  </a:lnTo>
                  <a:lnTo>
                    <a:pt x="501" y="26"/>
                  </a:lnTo>
                  <a:lnTo>
                    <a:pt x="499" y="26"/>
                  </a:lnTo>
                  <a:lnTo>
                    <a:pt x="498" y="27"/>
                  </a:lnTo>
                  <a:lnTo>
                    <a:pt x="498" y="29"/>
                  </a:lnTo>
                  <a:lnTo>
                    <a:pt x="496" y="27"/>
                  </a:lnTo>
                  <a:lnTo>
                    <a:pt x="495" y="27"/>
                  </a:lnTo>
                  <a:lnTo>
                    <a:pt x="495" y="29"/>
                  </a:lnTo>
                  <a:lnTo>
                    <a:pt x="493" y="29"/>
                  </a:lnTo>
                  <a:lnTo>
                    <a:pt x="493" y="27"/>
                  </a:lnTo>
                  <a:lnTo>
                    <a:pt x="495" y="27"/>
                  </a:lnTo>
                  <a:lnTo>
                    <a:pt x="496" y="27"/>
                  </a:lnTo>
                  <a:lnTo>
                    <a:pt x="496" y="26"/>
                  </a:lnTo>
                  <a:lnTo>
                    <a:pt x="495" y="26"/>
                  </a:lnTo>
                  <a:lnTo>
                    <a:pt x="496" y="26"/>
                  </a:lnTo>
                  <a:lnTo>
                    <a:pt x="496" y="24"/>
                  </a:lnTo>
                  <a:lnTo>
                    <a:pt x="496" y="26"/>
                  </a:lnTo>
                  <a:lnTo>
                    <a:pt x="495" y="26"/>
                  </a:lnTo>
                  <a:lnTo>
                    <a:pt x="496" y="24"/>
                  </a:lnTo>
                  <a:lnTo>
                    <a:pt x="498" y="24"/>
                  </a:lnTo>
                  <a:lnTo>
                    <a:pt x="496" y="22"/>
                  </a:lnTo>
                  <a:lnTo>
                    <a:pt x="496" y="24"/>
                  </a:lnTo>
                  <a:lnTo>
                    <a:pt x="495" y="24"/>
                  </a:lnTo>
                  <a:lnTo>
                    <a:pt x="495" y="22"/>
                  </a:lnTo>
                  <a:lnTo>
                    <a:pt x="493" y="22"/>
                  </a:lnTo>
                  <a:lnTo>
                    <a:pt x="493" y="21"/>
                  </a:lnTo>
                  <a:lnTo>
                    <a:pt x="493" y="19"/>
                  </a:lnTo>
                  <a:lnTo>
                    <a:pt x="491" y="21"/>
                  </a:lnTo>
                  <a:lnTo>
                    <a:pt x="491" y="19"/>
                  </a:lnTo>
                  <a:lnTo>
                    <a:pt x="490" y="19"/>
                  </a:lnTo>
                  <a:lnTo>
                    <a:pt x="488" y="19"/>
                  </a:lnTo>
                  <a:lnTo>
                    <a:pt x="488" y="18"/>
                  </a:lnTo>
                  <a:lnTo>
                    <a:pt x="490" y="18"/>
                  </a:lnTo>
                  <a:lnTo>
                    <a:pt x="491" y="16"/>
                  </a:lnTo>
                  <a:lnTo>
                    <a:pt x="490" y="16"/>
                  </a:lnTo>
                  <a:lnTo>
                    <a:pt x="488" y="16"/>
                  </a:lnTo>
                  <a:lnTo>
                    <a:pt x="490" y="14"/>
                  </a:lnTo>
                  <a:lnTo>
                    <a:pt x="490" y="13"/>
                  </a:lnTo>
                  <a:lnTo>
                    <a:pt x="491" y="14"/>
                  </a:lnTo>
                  <a:lnTo>
                    <a:pt x="491" y="13"/>
                  </a:lnTo>
                  <a:lnTo>
                    <a:pt x="493" y="13"/>
                  </a:lnTo>
                  <a:lnTo>
                    <a:pt x="495" y="11"/>
                  </a:lnTo>
                  <a:lnTo>
                    <a:pt x="495" y="9"/>
                  </a:lnTo>
                  <a:lnTo>
                    <a:pt x="495" y="11"/>
                  </a:lnTo>
                  <a:lnTo>
                    <a:pt x="496" y="9"/>
                  </a:lnTo>
                  <a:lnTo>
                    <a:pt x="498" y="9"/>
                  </a:lnTo>
                  <a:lnTo>
                    <a:pt x="498" y="8"/>
                  </a:lnTo>
                  <a:lnTo>
                    <a:pt x="498" y="9"/>
                  </a:lnTo>
                  <a:lnTo>
                    <a:pt x="498" y="8"/>
                  </a:lnTo>
                  <a:lnTo>
                    <a:pt x="496" y="6"/>
                  </a:lnTo>
                  <a:lnTo>
                    <a:pt x="498" y="6"/>
                  </a:lnTo>
                  <a:lnTo>
                    <a:pt x="499" y="5"/>
                  </a:lnTo>
                  <a:lnTo>
                    <a:pt x="498" y="5"/>
                  </a:lnTo>
                  <a:lnTo>
                    <a:pt x="499" y="5"/>
                  </a:lnTo>
                  <a:lnTo>
                    <a:pt x="499" y="6"/>
                  </a:lnTo>
                  <a:lnTo>
                    <a:pt x="501" y="6"/>
                  </a:lnTo>
                  <a:lnTo>
                    <a:pt x="503" y="6"/>
                  </a:lnTo>
                  <a:lnTo>
                    <a:pt x="504" y="8"/>
                  </a:lnTo>
                  <a:lnTo>
                    <a:pt x="506" y="8"/>
                  </a:lnTo>
                  <a:lnTo>
                    <a:pt x="508" y="8"/>
                  </a:lnTo>
                  <a:lnTo>
                    <a:pt x="513" y="6"/>
                  </a:lnTo>
                  <a:lnTo>
                    <a:pt x="516" y="6"/>
                  </a:lnTo>
                  <a:lnTo>
                    <a:pt x="517" y="6"/>
                  </a:lnTo>
                  <a:lnTo>
                    <a:pt x="517" y="8"/>
                  </a:lnTo>
                  <a:lnTo>
                    <a:pt x="519" y="8"/>
                  </a:lnTo>
                  <a:lnTo>
                    <a:pt x="521" y="8"/>
                  </a:lnTo>
                  <a:lnTo>
                    <a:pt x="521" y="9"/>
                  </a:lnTo>
                  <a:lnTo>
                    <a:pt x="524" y="9"/>
                  </a:lnTo>
                  <a:lnTo>
                    <a:pt x="527" y="8"/>
                  </a:lnTo>
                  <a:lnTo>
                    <a:pt x="529" y="6"/>
                  </a:lnTo>
                  <a:lnTo>
                    <a:pt x="530" y="6"/>
                  </a:lnTo>
                  <a:lnTo>
                    <a:pt x="530" y="5"/>
                  </a:lnTo>
                  <a:lnTo>
                    <a:pt x="530" y="6"/>
                  </a:lnTo>
                  <a:lnTo>
                    <a:pt x="530" y="5"/>
                  </a:lnTo>
                  <a:lnTo>
                    <a:pt x="530" y="3"/>
                  </a:lnTo>
                  <a:lnTo>
                    <a:pt x="530" y="1"/>
                  </a:lnTo>
                  <a:lnTo>
                    <a:pt x="532" y="1"/>
                  </a:lnTo>
                  <a:lnTo>
                    <a:pt x="532" y="0"/>
                  </a:lnTo>
                  <a:lnTo>
                    <a:pt x="534" y="1"/>
                  </a:lnTo>
                  <a:lnTo>
                    <a:pt x="534" y="0"/>
                  </a:lnTo>
                  <a:lnTo>
                    <a:pt x="535" y="0"/>
                  </a:lnTo>
                  <a:lnTo>
                    <a:pt x="535" y="1"/>
                  </a:lnTo>
                  <a:lnTo>
                    <a:pt x="537" y="1"/>
                  </a:lnTo>
                  <a:lnTo>
                    <a:pt x="539" y="1"/>
                  </a:lnTo>
                  <a:lnTo>
                    <a:pt x="540" y="1"/>
                  </a:lnTo>
                  <a:lnTo>
                    <a:pt x="539" y="1"/>
                  </a:lnTo>
                  <a:lnTo>
                    <a:pt x="539" y="3"/>
                  </a:lnTo>
                  <a:lnTo>
                    <a:pt x="540" y="3"/>
                  </a:lnTo>
                  <a:lnTo>
                    <a:pt x="540" y="8"/>
                  </a:lnTo>
                  <a:lnTo>
                    <a:pt x="540" y="13"/>
                  </a:lnTo>
                  <a:lnTo>
                    <a:pt x="540" y="14"/>
                  </a:lnTo>
                  <a:lnTo>
                    <a:pt x="545" y="13"/>
                  </a:lnTo>
                  <a:lnTo>
                    <a:pt x="548" y="11"/>
                  </a:lnTo>
                  <a:lnTo>
                    <a:pt x="566" y="14"/>
                  </a:lnTo>
                  <a:lnTo>
                    <a:pt x="578" y="16"/>
                  </a:lnTo>
                  <a:lnTo>
                    <a:pt x="576" y="13"/>
                  </a:lnTo>
                  <a:lnTo>
                    <a:pt x="578" y="11"/>
                  </a:lnTo>
                  <a:lnTo>
                    <a:pt x="581" y="9"/>
                  </a:lnTo>
                  <a:lnTo>
                    <a:pt x="584" y="8"/>
                  </a:lnTo>
                  <a:lnTo>
                    <a:pt x="586" y="8"/>
                  </a:lnTo>
                  <a:lnTo>
                    <a:pt x="587" y="8"/>
                  </a:lnTo>
                  <a:lnTo>
                    <a:pt x="587" y="9"/>
                  </a:lnTo>
                  <a:lnTo>
                    <a:pt x="589" y="9"/>
                  </a:lnTo>
                  <a:close/>
                </a:path>
              </a:pathLst>
            </a:custGeom>
            <a:solidFill>
              <a:srgbClr val="E5E5E5"/>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1222" name="Freeform 68">
              <a:extLst>
                <a:ext uri="{FF2B5EF4-FFF2-40B4-BE49-F238E27FC236}">
                  <a16:creationId xmlns:a16="http://schemas.microsoft.com/office/drawing/2014/main" id="{C7940989-18E5-00B9-6762-4196A92CADDB}"/>
                </a:ext>
              </a:extLst>
            </p:cNvPr>
            <p:cNvSpPr>
              <a:spLocks/>
            </p:cNvSpPr>
            <p:nvPr/>
          </p:nvSpPr>
          <p:spPr bwMode="auto">
            <a:xfrm>
              <a:off x="7865" y="4345"/>
              <a:ext cx="174" cy="312"/>
            </a:xfrm>
            <a:custGeom>
              <a:avLst/>
              <a:gdLst>
                <a:gd name="T0" fmla="*/ 168 w 174"/>
                <a:gd name="T1" fmla="*/ 311 h 312"/>
                <a:gd name="T2" fmla="*/ 164 w 174"/>
                <a:gd name="T3" fmla="*/ 302 h 312"/>
                <a:gd name="T4" fmla="*/ 161 w 174"/>
                <a:gd name="T5" fmla="*/ 294 h 312"/>
                <a:gd name="T6" fmla="*/ 153 w 174"/>
                <a:gd name="T7" fmla="*/ 285 h 312"/>
                <a:gd name="T8" fmla="*/ 153 w 174"/>
                <a:gd name="T9" fmla="*/ 272 h 312"/>
                <a:gd name="T10" fmla="*/ 142 w 174"/>
                <a:gd name="T11" fmla="*/ 268 h 312"/>
                <a:gd name="T12" fmla="*/ 132 w 174"/>
                <a:gd name="T13" fmla="*/ 273 h 312"/>
                <a:gd name="T14" fmla="*/ 124 w 174"/>
                <a:gd name="T15" fmla="*/ 268 h 312"/>
                <a:gd name="T16" fmla="*/ 116 w 174"/>
                <a:gd name="T17" fmla="*/ 267 h 312"/>
                <a:gd name="T18" fmla="*/ 108 w 174"/>
                <a:gd name="T19" fmla="*/ 270 h 312"/>
                <a:gd name="T20" fmla="*/ 103 w 174"/>
                <a:gd name="T21" fmla="*/ 263 h 312"/>
                <a:gd name="T22" fmla="*/ 101 w 174"/>
                <a:gd name="T23" fmla="*/ 252 h 312"/>
                <a:gd name="T24" fmla="*/ 103 w 174"/>
                <a:gd name="T25" fmla="*/ 241 h 312"/>
                <a:gd name="T26" fmla="*/ 104 w 174"/>
                <a:gd name="T27" fmla="*/ 234 h 312"/>
                <a:gd name="T28" fmla="*/ 104 w 174"/>
                <a:gd name="T29" fmla="*/ 224 h 312"/>
                <a:gd name="T30" fmla="*/ 101 w 174"/>
                <a:gd name="T31" fmla="*/ 213 h 312"/>
                <a:gd name="T32" fmla="*/ 104 w 174"/>
                <a:gd name="T33" fmla="*/ 202 h 312"/>
                <a:gd name="T34" fmla="*/ 104 w 174"/>
                <a:gd name="T35" fmla="*/ 193 h 312"/>
                <a:gd name="T36" fmla="*/ 94 w 174"/>
                <a:gd name="T37" fmla="*/ 197 h 312"/>
                <a:gd name="T38" fmla="*/ 85 w 174"/>
                <a:gd name="T39" fmla="*/ 200 h 312"/>
                <a:gd name="T40" fmla="*/ 80 w 174"/>
                <a:gd name="T41" fmla="*/ 192 h 312"/>
                <a:gd name="T42" fmla="*/ 75 w 174"/>
                <a:gd name="T43" fmla="*/ 177 h 312"/>
                <a:gd name="T44" fmla="*/ 70 w 174"/>
                <a:gd name="T45" fmla="*/ 167 h 312"/>
                <a:gd name="T46" fmla="*/ 64 w 174"/>
                <a:gd name="T47" fmla="*/ 163 h 312"/>
                <a:gd name="T48" fmla="*/ 60 w 174"/>
                <a:gd name="T49" fmla="*/ 154 h 312"/>
                <a:gd name="T50" fmla="*/ 60 w 174"/>
                <a:gd name="T51" fmla="*/ 143 h 312"/>
                <a:gd name="T52" fmla="*/ 54 w 174"/>
                <a:gd name="T53" fmla="*/ 138 h 312"/>
                <a:gd name="T54" fmla="*/ 46 w 174"/>
                <a:gd name="T55" fmla="*/ 138 h 312"/>
                <a:gd name="T56" fmla="*/ 41 w 174"/>
                <a:gd name="T57" fmla="*/ 130 h 312"/>
                <a:gd name="T58" fmla="*/ 36 w 174"/>
                <a:gd name="T59" fmla="*/ 122 h 312"/>
                <a:gd name="T60" fmla="*/ 33 w 174"/>
                <a:gd name="T61" fmla="*/ 115 h 312"/>
                <a:gd name="T62" fmla="*/ 29 w 174"/>
                <a:gd name="T63" fmla="*/ 104 h 312"/>
                <a:gd name="T64" fmla="*/ 18 w 174"/>
                <a:gd name="T65" fmla="*/ 102 h 312"/>
                <a:gd name="T66" fmla="*/ 12 w 174"/>
                <a:gd name="T67" fmla="*/ 91 h 312"/>
                <a:gd name="T68" fmla="*/ 3 w 174"/>
                <a:gd name="T69" fmla="*/ 83 h 312"/>
                <a:gd name="T70" fmla="*/ 0 w 174"/>
                <a:gd name="T71" fmla="*/ 76 h 312"/>
                <a:gd name="T72" fmla="*/ 10 w 174"/>
                <a:gd name="T73" fmla="*/ 73 h 312"/>
                <a:gd name="T74" fmla="*/ 18 w 174"/>
                <a:gd name="T75" fmla="*/ 67 h 312"/>
                <a:gd name="T76" fmla="*/ 26 w 174"/>
                <a:gd name="T77" fmla="*/ 68 h 312"/>
                <a:gd name="T78" fmla="*/ 34 w 174"/>
                <a:gd name="T79" fmla="*/ 60 h 312"/>
                <a:gd name="T80" fmla="*/ 31 w 174"/>
                <a:gd name="T81" fmla="*/ 50 h 312"/>
                <a:gd name="T82" fmla="*/ 29 w 174"/>
                <a:gd name="T83" fmla="*/ 41 h 312"/>
                <a:gd name="T84" fmla="*/ 28 w 174"/>
                <a:gd name="T85" fmla="*/ 21 h 312"/>
                <a:gd name="T86" fmla="*/ 36 w 174"/>
                <a:gd name="T87" fmla="*/ 2 h 312"/>
                <a:gd name="T88" fmla="*/ 44 w 174"/>
                <a:gd name="T89" fmla="*/ 6 h 312"/>
                <a:gd name="T90" fmla="*/ 52 w 174"/>
                <a:gd name="T91" fmla="*/ 5 h 312"/>
                <a:gd name="T92" fmla="*/ 60 w 174"/>
                <a:gd name="T93" fmla="*/ 10 h 312"/>
                <a:gd name="T94" fmla="*/ 70 w 174"/>
                <a:gd name="T95" fmla="*/ 10 h 312"/>
                <a:gd name="T96" fmla="*/ 75 w 174"/>
                <a:gd name="T97" fmla="*/ 13 h 312"/>
                <a:gd name="T98" fmla="*/ 78 w 174"/>
                <a:gd name="T99" fmla="*/ 19 h 312"/>
                <a:gd name="T100" fmla="*/ 85 w 174"/>
                <a:gd name="T101" fmla="*/ 23 h 312"/>
                <a:gd name="T102" fmla="*/ 88 w 174"/>
                <a:gd name="T103" fmla="*/ 26 h 312"/>
                <a:gd name="T104" fmla="*/ 93 w 174"/>
                <a:gd name="T105" fmla="*/ 29 h 312"/>
                <a:gd name="T106" fmla="*/ 103 w 174"/>
                <a:gd name="T107" fmla="*/ 32 h 312"/>
                <a:gd name="T108" fmla="*/ 109 w 174"/>
                <a:gd name="T109" fmla="*/ 36 h 312"/>
                <a:gd name="T110" fmla="*/ 116 w 174"/>
                <a:gd name="T111" fmla="*/ 41 h 312"/>
                <a:gd name="T112" fmla="*/ 119 w 174"/>
                <a:gd name="T113" fmla="*/ 47 h 312"/>
                <a:gd name="T114" fmla="*/ 125 w 174"/>
                <a:gd name="T115" fmla="*/ 47 h 312"/>
                <a:gd name="T116" fmla="*/ 150 w 174"/>
                <a:gd name="T117" fmla="*/ 49 h 312"/>
                <a:gd name="T118" fmla="*/ 158 w 174"/>
                <a:gd name="T119" fmla="*/ 54 h 312"/>
                <a:gd name="T120" fmla="*/ 164 w 174"/>
                <a:gd name="T121" fmla="*/ 62 h 3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74" h="312">
                  <a:moveTo>
                    <a:pt x="173" y="60"/>
                  </a:moveTo>
                  <a:lnTo>
                    <a:pt x="174" y="312"/>
                  </a:lnTo>
                  <a:lnTo>
                    <a:pt x="173" y="311"/>
                  </a:lnTo>
                  <a:lnTo>
                    <a:pt x="171" y="311"/>
                  </a:lnTo>
                  <a:lnTo>
                    <a:pt x="171" y="309"/>
                  </a:lnTo>
                  <a:lnTo>
                    <a:pt x="169" y="309"/>
                  </a:lnTo>
                  <a:lnTo>
                    <a:pt x="168" y="311"/>
                  </a:lnTo>
                  <a:lnTo>
                    <a:pt x="166" y="311"/>
                  </a:lnTo>
                  <a:lnTo>
                    <a:pt x="164" y="311"/>
                  </a:lnTo>
                  <a:lnTo>
                    <a:pt x="164" y="309"/>
                  </a:lnTo>
                  <a:lnTo>
                    <a:pt x="163" y="306"/>
                  </a:lnTo>
                  <a:lnTo>
                    <a:pt x="164" y="306"/>
                  </a:lnTo>
                  <a:lnTo>
                    <a:pt x="164" y="304"/>
                  </a:lnTo>
                  <a:lnTo>
                    <a:pt x="164" y="302"/>
                  </a:lnTo>
                  <a:lnTo>
                    <a:pt x="163" y="302"/>
                  </a:lnTo>
                  <a:lnTo>
                    <a:pt x="163" y="301"/>
                  </a:lnTo>
                  <a:lnTo>
                    <a:pt x="161" y="301"/>
                  </a:lnTo>
                  <a:lnTo>
                    <a:pt x="163" y="299"/>
                  </a:lnTo>
                  <a:lnTo>
                    <a:pt x="161" y="299"/>
                  </a:lnTo>
                  <a:lnTo>
                    <a:pt x="161" y="296"/>
                  </a:lnTo>
                  <a:lnTo>
                    <a:pt x="161" y="294"/>
                  </a:lnTo>
                  <a:lnTo>
                    <a:pt x="160" y="294"/>
                  </a:lnTo>
                  <a:lnTo>
                    <a:pt x="161" y="293"/>
                  </a:lnTo>
                  <a:lnTo>
                    <a:pt x="160" y="289"/>
                  </a:lnTo>
                  <a:lnTo>
                    <a:pt x="160" y="288"/>
                  </a:lnTo>
                  <a:lnTo>
                    <a:pt x="158" y="288"/>
                  </a:lnTo>
                  <a:lnTo>
                    <a:pt x="155" y="286"/>
                  </a:lnTo>
                  <a:lnTo>
                    <a:pt x="153" y="285"/>
                  </a:lnTo>
                  <a:lnTo>
                    <a:pt x="151" y="285"/>
                  </a:lnTo>
                  <a:lnTo>
                    <a:pt x="151" y="281"/>
                  </a:lnTo>
                  <a:lnTo>
                    <a:pt x="153" y="276"/>
                  </a:lnTo>
                  <a:lnTo>
                    <a:pt x="155" y="275"/>
                  </a:lnTo>
                  <a:lnTo>
                    <a:pt x="155" y="273"/>
                  </a:lnTo>
                  <a:lnTo>
                    <a:pt x="153" y="273"/>
                  </a:lnTo>
                  <a:lnTo>
                    <a:pt x="153" y="272"/>
                  </a:lnTo>
                  <a:lnTo>
                    <a:pt x="151" y="270"/>
                  </a:lnTo>
                  <a:lnTo>
                    <a:pt x="150" y="270"/>
                  </a:lnTo>
                  <a:lnTo>
                    <a:pt x="148" y="268"/>
                  </a:lnTo>
                  <a:lnTo>
                    <a:pt x="147" y="268"/>
                  </a:lnTo>
                  <a:lnTo>
                    <a:pt x="145" y="268"/>
                  </a:lnTo>
                  <a:lnTo>
                    <a:pt x="143" y="267"/>
                  </a:lnTo>
                  <a:lnTo>
                    <a:pt x="142" y="268"/>
                  </a:lnTo>
                  <a:lnTo>
                    <a:pt x="140" y="268"/>
                  </a:lnTo>
                  <a:lnTo>
                    <a:pt x="138" y="270"/>
                  </a:lnTo>
                  <a:lnTo>
                    <a:pt x="137" y="272"/>
                  </a:lnTo>
                  <a:lnTo>
                    <a:pt x="135" y="272"/>
                  </a:lnTo>
                  <a:lnTo>
                    <a:pt x="135" y="273"/>
                  </a:lnTo>
                  <a:lnTo>
                    <a:pt x="134" y="273"/>
                  </a:lnTo>
                  <a:lnTo>
                    <a:pt x="132" y="273"/>
                  </a:lnTo>
                  <a:lnTo>
                    <a:pt x="132" y="272"/>
                  </a:lnTo>
                  <a:lnTo>
                    <a:pt x="130" y="270"/>
                  </a:lnTo>
                  <a:lnTo>
                    <a:pt x="129" y="272"/>
                  </a:lnTo>
                  <a:lnTo>
                    <a:pt x="127" y="270"/>
                  </a:lnTo>
                  <a:lnTo>
                    <a:pt x="125" y="270"/>
                  </a:lnTo>
                  <a:lnTo>
                    <a:pt x="124" y="270"/>
                  </a:lnTo>
                  <a:lnTo>
                    <a:pt x="124" y="268"/>
                  </a:lnTo>
                  <a:lnTo>
                    <a:pt x="124" y="267"/>
                  </a:lnTo>
                  <a:lnTo>
                    <a:pt x="124" y="265"/>
                  </a:lnTo>
                  <a:lnTo>
                    <a:pt x="122" y="263"/>
                  </a:lnTo>
                  <a:lnTo>
                    <a:pt x="121" y="263"/>
                  </a:lnTo>
                  <a:lnTo>
                    <a:pt x="119" y="265"/>
                  </a:lnTo>
                  <a:lnTo>
                    <a:pt x="117" y="267"/>
                  </a:lnTo>
                  <a:lnTo>
                    <a:pt x="116" y="267"/>
                  </a:lnTo>
                  <a:lnTo>
                    <a:pt x="114" y="267"/>
                  </a:lnTo>
                  <a:lnTo>
                    <a:pt x="112" y="267"/>
                  </a:lnTo>
                  <a:lnTo>
                    <a:pt x="112" y="268"/>
                  </a:lnTo>
                  <a:lnTo>
                    <a:pt x="111" y="268"/>
                  </a:lnTo>
                  <a:lnTo>
                    <a:pt x="109" y="268"/>
                  </a:lnTo>
                  <a:lnTo>
                    <a:pt x="109" y="270"/>
                  </a:lnTo>
                  <a:lnTo>
                    <a:pt x="108" y="270"/>
                  </a:lnTo>
                  <a:lnTo>
                    <a:pt x="106" y="270"/>
                  </a:lnTo>
                  <a:lnTo>
                    <a:pt x="104" y="270"/>
                  </a:lnTo>
                  <a:lnTo>
                    <a:pt x="103" y="270"/>
                  </a:lnTo>
                  <a:lnTo>
                    <a:pt x="103" y="268"/>
                  </a:lnTo>
                  <a:lnTo>
                    <a:pt x="104" y="268"/>
                  </a:lnTo>
                  <a:lnTo>
                    <a:pt x="103" y="267"/>
                  </a:lnTo>
                  <a:lnTo>
                    <a:pt x="103" y="263"/>
                  </a:lnTo>
                  <a:lnTo>
                    <a:pt x="103" y="262"/>
                  </a:lnTo>
                  <a:lnTo>
                    <a:pt x="103" y="260"/>
                  </a:lnTo>
                  <a:lnTo>
                    <a:pt x="101" y="260"/>
                  </a:lnTo>
                  <a:lnTo>
                    <a:pt x="101" y="259"/>
                  </a:lnTo>
                  <a:lnTo>
                    <a:pt x="101" y="255"/>
                  </a:lnTo>
                  <a:lnTo>
                    <a:pt x="101" y="254"/>
                  </a:lnTo>
                  <a:lnTo>
                    <a:pt x="101" y="252"/>
                  </a:lnTo>
                  <a:lnTo>
                    <a:pt x="101" y="250"/>
                  </a:lnTo>
                  <a:lnTo>
                    <a:pt x="101" y="249"/>
                  </a:lnTo>
                  <a:lnTo>
                    <a:pt x="103" y="247"/>
                  </a:lnTo>
                  <a:lnTo>
                    <a:pt x="103" y="246"/>
                  </a:lnTo>
                  <a:lnTo>
                    <a:pt x="103" y="244"/>
                  </a:lnTo>
                  <a:lnTo>
                    <a:pt x="103" y="242"/>
                  </a:lnTo>
                  <a:lnTo>
                    <a:pt x="103" y="241"/>
                  </a:lnTo>
                  <a:lnTo>
                    <a:pt x="104" y="241"/>
                  </a:lnTo>
                  <a:lnTo>
                    <a:pt x="103" y="241"/>
                  </a:lnTo>
                  <a:lnTo>
                    <a:pt x="103" y="239"/>
                  </a:lnTo>
                  <a:lnTo>
                    <a:pt x="103" y="237"/>
                  </a:lnTo>
                  <a:lnTo>
                    <a:pt x="104" y="237"/>
                  </a:lnTo>
                  <a:lnTo>
                    <a:pt x="104" y="236"/>
                  </a:lnTo>
                  <a:lnTo>
                    <a:pt x="104" y="234"/>
                  </a:lnTo>
                  <a:lnTo>
                    <a:pt x="104" y="233"/>
                  </a:lnTo>
                  <a:lnTo>
                    <a:pt x="103" y="231"/>
                  </a:lnTo>
                  <a:lnTo>
                    <a:pt x="104" y="231"/>
                  </a:lnTo>
                  <a:lnTo>
                    <a:pt x="104" y="229"/>
                  </a:lnTo>
                  <a:lnTo>
                    <a:pt x="104" y="228"/>
                  </a:lnTo>
                  <a:lnTo>
                    <a:pt x="106" y="226"/>
                  </a:lnTo>
                  <a:lnTo>
                    <a:pt x="104" y="224"/>
                  </a:lnTo>
                  <a:lnTo>
                    <a:pt x="104" y="223"/>
                  </a:lnTo>
                  <a:lnTo>
                    <a:pt x="103" y="219"/>
                  </a:lnTo>
                  <a:lnTo>
                    <a:pt x="103" y="218"/>
                  </a:lnTo>
                  <a:lnTo>
                    <a:pt x="103" y="216"/>
                  </a:lnTo>
                  <a:lnTo>
                    <a:pt x="103" y="215"/>
                  </a:lnTo>
                  <a:lnTo>
                    <a:pt x="101" y="215"/>
                  </a:lnTo>
                  <a:lnTo>
                    <a:pt x="101" y="213"/>
                  </a:lnTo>
                  <a:lnTo>
                    <a:pt x="101" y="211"/>
                  </a:lnTo>
                  <a:lnTo>
                    <a:pt x="101" y="210"/>
                  </a:lnTo>
                  <a:lnTo>
                    <a:pt x="103" y="208"/>
                  </a:lnTo>
                  <a:lnTo>
                    <a:pt x="103" y="206"/>
                  </a:lnTo>
                  <a:lnTo>
                    <a:pt x="104" y="205"/>
                  </a:lnTo>
                  <a:lnTo>
                    <a:pt x="104" y="203"/>
                  </a:lnTo>
                  <a:lnTo>
                    <a:pt x="104" y="202"/>
                  </a:lnTo>
                  <a:lnTo>
                    <a:pt x="106" y="202"/>
                  </a:lnTo>
                  <a:lnTo>
                    <a:pt x="108" y="200"/>
                  </a:lnTo>
                  <a:lnTo>
                    <a:pt x="106" y="198"/>
                  </a:lnTo>
                  <a:lnTo>
                    <a:pt x="106" y="197"/>
                  </a:lnTo>
                  <a:lnTo>
                    <a:pt x="106" y="195"/>
                  </a:lnTo>
                  <a:lnTo>
                    <a:pt x="104" y="195"/>
                  </a:lnTo>
                  <a:lnTo>
                    <a:pt x="104" y="193"/>
                  </a:lnTo>
                  <a:lnTo>
                    <a:pt x="103" y="193"/>
                  </a:lnTo>
                  <a:lnTo>
                    <a:pt x="101" y="195"/>
                  </a:lnTo>
                  <a:lnTo>
                    <a:pt x="99" y="195"/>
                  </a:lnTo>
                  <a:lnTo>
                    <a:pt x="99" y="193"/>
                  </a:lnTo>
                  <a:lnTo>
                    <a:pt x="98" y="192"/>
                  </a:lnTo>
                  <a:lnTo>
                    <a:pt x="98" y="193"/>
                  </a:lnTo>
                  <a:lnTo>
                    <a:pt x="94" y="197"/>
                  </a:lnTo>
                  <a:lnTo>
                    <a:pt x="93" y="198"/>
                  </a:lnTo>
                  <a:lnTo>
                    <a:pt x="93" y="200"/>
                  </a:lnTo>
                  <a:lnTo>
                    <a:pt x="91" y="200"/>
                  </a:lnTo>
                  <a:lnTo>
                    <a:pt x="90" y="198"/>
                  </a:lnTo>
                  <a:lnTo>
                    <a:pt x="88" y="200"/>
                  </a:lnTo>
                  <a:lnTo>
                    <a:pt x="86" y="202"/>
                  </a:lnTo>
                  <a:lnTo>
                    <a:pt x="85" y="200"/>
                  </a:lnTo>
                  <a:lnTo>
                    <a:pt x="83" y="200"/>
                  </a:lnTo>
                  <a:lnTo>
                    <a:pt x="83" y="198"/>
                  </a:lnTo>
                  <a:lnTo>
                    <a:pt x="83" y="197"/>
                  </a:lnTo>
                  <a:lnTo>
                    <a:pt x="83" y="195"/>
                  </a:lnTo>
                  <a:lnTo>
                    <a:pt x="81" y="193"/>
                  </a:lnTo>
                  <a:lnTo>
                    <a:pt x="81" y="192"/>
                  </a:lnTo>
                  <a:lnTo>
                    <a:pt x="80" y="192"/>
                  </a:lnTo>
                  <a:lnTo>
                    <a:pt x="80" y="189"/>
                  </a:lnTo>
                  <a:lnTo>
                    <a:pt x="80" y="187"/>
                  </a:lnTo>
                  <a:lnTo>
                    <a:pt x="78" y="182"/>
                  </a:lnTo>
                  <a:lnTo>
                    <a:pt x="77" y="182"/>
                  </a:lnTo>
                  <a:lnTo>
                    <a:pt x="77" y="180"/>
                  </a:lnTo>
                  <a:lnTo>
                    <a:pt x="75" y="180"/>
                  </a:lnTo>
                  <a:lnTo>
                    <a:pt x="75" y="177"/>
                  </a:lnTo>
                  <a:lnTo>
                    <a:pt x="73" y="176"/>
                  </a:lnTo>
                  <a:lnTo>
                    <a:pt x="73" y="172"/>
                  </a:lnTo>
                  <a:lnTo>
                    <a:pt x="73" y="171"/>
                  </a:lnTo>
                  <a:lnTo>
                    <a:pt x="72" y="171"/>
                  </a:lnTo>
                  <a:lnTo>
                    <a:pt x="72" y="169"/>
                  </a:lnTo>
                  <a:lnTo>
                    <a:pt x="72" y="167"/>
                  </a:lnTo>
                  <a:lnTo>
                    <a:pt x="70" y="167"/>
                  </a:lnTo>
                  <a:lnTo>
                    <a:pt x="68" y="167"/>
                  </a:lnTo>
                  <a:lnTo>
                    <a:pt x="67" y="167"/>
                  </a:lnTo>
                  <a:lnTo>
                    <a:pt x="65" y="167"/>
                  </a:lnTo>
                  <a:lnTo>
                    <a:pt x="65" y="166"/>
                  </a:lnTo>
                  <a:lnTo>
                    <a:pt x="65" y="164"/>
                  </a:lnTo>
                  <a:lnTo>
                    <a:pt x="65" y="163"/>
                  </a:lnTo>
                  <a:lnTo>
                    <a:pt x="64" y="163"/>
                  </a:lnTo>
                  <a:lnTo>
                    <a:pt x="62" y="161"/>
                  </a:lnTo>
                  <a:lnTo>
                    <a:pt x="62" y="159"/>
                  </a:lnTo>
                  <a:lnTo>
                    <a:pt x="60" y="159"/>
                  </a:lnTo>
                  <a:lnTo>
                    <a:pt x="59" y="159"/>
                  </a:lnTo>
                  <a:lnTo>
                    <a:pt x="59" y="158"/>
                  </a:lnTo>
                  <a:lnTo>
                    <a:pt x="60" y="156"/>
                  </a:lnTo>
                  <a:lnTo>
                    <a:pt x="60" y="154"/>
                  </a:lnTo>
                  <a:lnTo>
                    <a:pt x="60" y="153"/>
                  </a:lnTo>
                  <a:lnTo>
                    <a:pt x="60" y="150"/>
                  </a:lnTo>
                  <a:lnTo>
                    <a:pt x="59" y="148"/>
                  </a:lnTo>
                  <a:lnTo>
                    <a:pt x="60" y="146"/>
                  </a:lnTo>
                  <a:lnTo>
                    <a:pt x="59" y="145"/>
                  </a:lnTo>
                  <a:lnTo>
                    <a:pt x="60" y="145"/>
                  </a:lnTo>
                  <a:lnTo>
                    <a:pt x="60" y="143"/>
                  </a:lnTo>
                  <a:lnTo>
                    <a:pt x="59" y="141"/>
                  </a:lnTo>
                  <a:lnTo>
                    <a:pt x="57" y="141"/>
                  </a:lnTo>
                  <a:lnTo>
                    <a:pt x="57" y="140"/>
                  </a:lnTo>
                  <a:lnTo>
                    <a:pt x="57" y="138"/>
                  </a:lnTo>
                  <a:lnTo>
                    <a:pt x="55" y="138"/>
                  </a:lnTo>
                  <a:lnTo>
                    <a:pt x="55" y="140"/>
                  </a:lnTo>
                  <a:lnTo>
                    <a:pt x="54" y="138"/>
                  </a:lnTo>
                  <a:lnTo>
                    <a:pt x="52" y="141"/>
                  </a:lnTo>
                  <a:lnTo>
                    <a:pt x="51" y="141"/>
                  </a:lnTo>
                  <a:lnTo>
                    <a:pt x="51" y="140"/>
                  </a:lnTo>
                  <a:lnTo>
                    <a:pt x="51" y="138"/>
                  </a:lnTo>
                  <a:lnTo>
                    <a:pt x="49" y="138"/>
                  </a:lnTo>
                  <a:lnTo>
                    <a:pt x="47" y="138"/>
                  </a:lnTo>
                  <a:lnTo>
                    <a:pt x="46" y="138"/>
                  </a:lnTo>
                  <a:lnTo>
                    <a:pt x="44" y="137"/>
                  </a:lnTo>
                  <a:lnTo>
                    <a:pt x="46" y="135"/>
                  </a:lnTo>
                  <a:lnTo>
                    <a:pt x="44" y="133"/>
                  </a:lnTo>
                  <a:lnTo>
                    <a:pt x="42" y="133"/>
                  </a:lnTo>
                  <a:lnTo>
                    <a:pt x="41" y="133"/>
                  </a:lnTo>
                  <a:lnTo>
                    <a:pt x="41" y="132"/>
                  </a:lnTo>
                  <a:lnTo>
                    <a:pt x="41" y="130"/>
                  </a:lnTo>
                  <a:lnTo>
                    <a:pt x="39" y="130"/>
                  </a:lnTo>
                  <a:lnTo>
                    <a:pt x="38" y="127"/>
                  </a:lnTo>
                  <a:lnTo>
                    <a:pt x="36" y="127"/>
                  </a:lnTo>
                  <a:lnTo>
                    <a:pt x="34" y="127"/>
                  </a:lnTo>
                  <a:lnTo>
                    <a:pt x="34" y="125"/>
                  </a:lnTo>
                  <a:lnTo>
                    <a:pt x="36" y="124"/>
                  </a:lnTo>
                  <a:lnTo>
                    <a:pt x="36" y="122"/>
                  </a:lnTo>
                  <a:lnTo>
                    <a:pt x="38" y="120"/>
                  </a:lnTo>
                  <a:lnTo>
                    <a:pt x="36" y="119"/>
                  </a:lnTo>
                  <a:lnTo>
                    <a:pt x="34" y="119"/>
                  </a:lnTo>
                  <a:lnTo>
                    <a:pt x="34" y="117"/>
                  </a:lnTo>
                  <a:lnTo>
                    <a:pt x="36" y="117"/>
                  </a:lnTo>
                  <a:lnTo>
                    <a:pt x="34" y="115"/>
                  </a:lnTo>
                  <a:lnTo>
                    <a:pt x="33" y="115"/>
                  </a:lnTo>
                  <a:lnTo>
                    <a:pt x="33" y="114"/>
                  </a:lnTo>
                  <a:lnTo>
                    <a:pt x="33" y="112"/>
                  </a:lnTo>
                  <a:lnTo>
                    <a:pt x="34" y="111"/>
                  </a:lnTo>
                  <a:lnTo>
                    <a:pt x="34" y="109"/>
                  </a:lnTo>
                  <a:lnTo>
                    <a:pt x="33" y="107"/>
                  </a:lnTo>
                  <a:lnTo>
                    <a:pt x="31" y="106"/>
                  </a:lnTo>
                  <a:lnTo>
                    <a:pt x="29" y="104"/>
                  </a:lnTo>
                  <a:lnTo>
                    <a:pt x="28" y="104"/>
                  </a:lnTo>
                  <a:lnTo>
                    <a:pt x="26" y="102"/>
                  </a:lnTo>
                  <a:lnTo>
                    <a:pt x="25" y="102"/>
                  </a:lnTo>
                  <a:lnTo>
                    <a:pt x="23" y="102"/>
                  </a:lnTo>
                  <a:lnTo>
                    <a:pt x="21" y="102"/>
                  </a:lnTo>
                  <a:lnTo>
                    <a:pt x="20" y="102"/>
                  </a:lnTo>
                  <a:lnTo>
                    <a:pt x="18" y="102"/>
                  </a:lnTo>
                  <a:lnTo>
                    <a:pt x="16" y="101"/>
                  </a:lnTo>
                  <a:lnTo>
                    <a:pt x="15" y="98"/>
                  </a:lnTo>
                  <a:lnTo>
                    <a:pt x="13" y="96"/>
                  </a:lnTo>
                  <a:lnTo>
                    <a:pt x="12" y="96"/>
                  </a:lnTo>
                  <a:lnTo>
                    <a:pt x="12" y="94"/>
                  </a:lnTo>
                  <a:lnTo>
                    <a:pt x="12" y="93"/>
                  </a:lnTo>
                  <a:lnTo>
                    <a:pt x="12" y="91"/>
                  </a:lnTo>
                  <a:lnTo>
                    <a:pt x="10" y="91"/>
                  </a:lnTo>
                  <a:lnTo>
                    <a:pt x="8" y="91"/>
                  </a:lnTo>
                  <a:lnTo>
                    <a:pt x="8" y="88"/>
                  </a:lnTo>
                  <a:lnTo>
                    <a:pt x="7" y="86"/>
                  </a:lnTo>
                  <a:lnTo>
                    <a:pt x="3" y="86"/>
                  </a:lnTo>
                  <a:lnTo>
                    <a:pt x="3" y="85"/>
                  </a:lnTo>
                  <a:lnTo>
                    <a:pt x="3" y="83"/>
                  </a:lnTo>
                  <a:lnTo>
                    <a:pt x="2" y="85"/>
                  </a:lnTo>
                  <a:lnTo>
                    <a:pt x="0" y="83"/>
                  </a:lnTo>
                  <a:lnTo>
                    <a:pt x="0" y="81"/>
                  </a:lnTo>
                  <a:lnTo>
                    <a:pt x="2" y="80"/>
                  </a:lnTo>
                  <a:lnTo>
                    <a:pt x="2" y="78"/>
                  </a:lnTo>
                  <a:lnTo>
                    <a:pt x="0" y="78"/>
                  </a:lnTo>
                  <a:lnTo>
                    <a:pt x="0" y="76"/>
                  </a:lnTo>
                  <a:lnTo>
                    <a:pt x="2" y="75"/>
                  </a:lnTo>
                  <a:lnTo>
                    <a:pt x="3" y="75"/>
                  </a:lnTo>
                  <a:lnTo>
                    <a:pt x="5" y="75"/>
                  </a:lnTo>
                  <a:lnTo>
                    <a:pt x="7" y="75"/>
                  </a:lnTo>
                  <a:lnTo>
                    <a:pt x="8" y="73"/>
                  </a:lnTo>
                  <a:lnTo>
                    <a:pt x="10" y="75"/>
                  </a:lnTo>
                  <a:lnTo>
                    <a:pt x="10" y="73"/>
                  </a:lnTo>
                  <a:lnTo>
                    <a:pt x="12" y="71"/>
                  </a:lnTo>
                  <a:lnTo>
                    <a:pt x="13" y="71"/>
                  </a:lnTo>
                  <a:lnTo>
                    <a:pt x="15" y="71"/>
                  </a:lnTo>
                  <a:lnTo>
                    <a:pt x="13" y="70"/>
                  </a:lnTo>
                  <a:lnTo>
                    <a:pt x="15" y="68"/>
                  </a:lnTo>
                  <a:lnTo>
                    <a:pt x="16" y="67"/>
                  </a:lnTo>
                  <a:lnTo>
                    <a:pt x="18" y="67"/>
                  </a:lnTo>
                  <a:lnTo>
                    <a:pt x="18" y="68"/>
                  </a:lnTo>
                  <a:lnTo>
                    <a:pt x="20" y="68"/>
                  </a:lnTo>
                  <a:lnTo>
                    <a:pt x="21" y="68"/>
                  </a:lnTo>
                  <a:lnTo>
                    <a:pt x="23" y="68"/>
                  </a:lnTo>
                  <a:lnTo>
                    <a:pt x="25" y="68"/>
                  </a:lnTo>
                  <a:lnTo>
                    <a:pt x="26" y="70"/>
                  </a:lnTo>
                  <a:lnTo>
                    <a:pt x="26" y="68"/>
                  </a:lnTo>
                  <a:lnTo>
                    <a:pt x="26" y="67"/>
                  </a:lnTo>
                  <a:lnTo>
                    <a:pt x="29" y="67"/>
                  </a:lnTo>
                  <a:lnTo>
                    <a:pt x="29" y="65"/>
                  </a:lnTo>
                  <a:lnTo>
                    <a:pt x="31" y="63"/>
                  </a:lnTo>
                  <a:lnTo>
                    <a:pt x="31" y="60"/>
                  </a:lnTo>
                  <a:lnTo>
                    <a:pt x="33" y="60"/>
                  </a:lnTo>
                  <a:lnTo>
                    <a:pt x="34" y="60"/>
                  </a:lnTo>
                  <a:lnTo>
                    <a:pt x="36" y="58"/>
                  </a:lnTo>
                  <a:lnTo>
                    <a:pt x="36" y="57"/>
                  </a:lnTo>
                  <a:lnTo>
                    <a:pt x="36" y="55"/>
                  </a:lnTo>
                  <a:lnTo>
                    <a:pt x="36" y="54"/>
                  </a:lnTo>
                  <a:lnTo>
                    <a:pt x="34" y="54"/>
                  </a:lnTo>
                  <a:lnTo>
                    <a:pt x="33" y="52"/>
                  </a:lnTo>
                  <a:lnTo>
                    <a:pt x="31" y="50"/>
                  </a:lnTo>
                  <a:lnTo>
                    <a:pt x="31" y="49"/>
                  </a:lnTo>
                  <a:lnTo>
                    <a:pt x="31" y="47"/>
                  </a:lnTo>
                  <a:lnTo>
                    <a:pt x="33" y="47"/>
                  </a:lnTo>
                  <a:lnTo>
                    <a:pt x="33" y="45"/>
                  </a:lnTo>
                  <a:lnTo>
                    <a:pt x="31" y="44"/>
                  </a:lnTo>
                  <a:lnTo>
                    <a:pt x="29" y="42"/>
                  </a:lnTo>
                  <a:lnTo>
                    <a:pt x="29" y="41"/>
                  </a:lnTo>
                  <a:lnTo>
                    <a:pt x="28" y="39"/>
                  </a:lnTo>
                  <a:lnTo>
                    <a:pt x="28" y="37"/>
                  </a:lnTo>
                  <a:lnTo>
                    <a:pt x="29" y="36"/>
                  </a:lnTo>
                  <a:lnTo>
                    <a:pt x="29" y="32"/>
                  </a:lnTo>
                  <a:lnTo>
                    <a:pt x="31" y="29"/>
                  </a:lnTo>
                  <a:lnTo>
                    <a:pt x="29" y="24"/>
                  </a:lnTo>
                  <a:lnTo>
                    <a:pt x="28" y="21"/>
                  </a:lnTo>
                  <a:lnTo>
                    <a:pt x="26" y="21"/>
                  </a:lnTo>
                  <a:lnTo>
                    <a:pt x="26" y="19"/>
                  </a:lnTo>
                  <a:lnTo>
                    <a:pt x="28" y="15"/>
                  </a:lnTo>
                  <a:lnTo>
                    <a:pt x="28" y="13"/>
                  </a:lnTo>
                  <a:lnTo>
                    <a:pt x="33" y="3"/>
                  </a:lnTo>
                  <a:lnTo>
                    <a:pt x="34" y="0"/>
                  </a:lnTo>
                  <a:lnTo>
                    <a:pt x="36" y="2"/>
                  </a:lnTo>
                  <a:lnTo>
                    <a:pt x="36" y="3"/>
                  </a:lnTo>
                  <a:lnTo>
                    <a:pt x="36" y="2"/>
                  </a:lnTo>
                  <a:lnTo>
                    <a:pt x="38" y="3"/>
                  </a:lnTo>
                  <a:lnTo>
                    <a:pt x="39" y="5"/>
                  </a:lnTo>
                  <a:lnTo>
                    <a:pt x="41" y="5"/>
                  </a:lnTo>
                  <a:lnTo>
                    <a:pt x="42" y="6"/>
                  </a:lnTo>
                  <a:lnTo>
                    <a:pt x="44" y="6"/>
                  </a:lnTo>
                  <a:lnTo>
                    <a:pt x="46" y="5"/>
                  </a:lnTo>
                  <a:lnTo>
                    <a:pt x="47" y="5"/>
                  </a:lnTo>
                  <a:lnTo>
                    <a:pt x="47" y="3"/>
                  </a:lnTo>
                  <a:lnTo>
                    <a:pt x="47" y="5"/>
                  </a:lnTo>
                  <a:lnTo>
                    <a:pt x="49" y="5"/>
                  </a:lnTo>
                  <a:lnTo>
                    <a:pt x="51" y="5"/>
                  </a:lnTo>
                  <a:lnTo>
                    <a:pt x="52" y="5"/>
                  </a:lnTo>
                  <a:lnTo>
                    <a:pt x="54" y="6"/>
                  </a:lnTo>
                  <a:lnTo>
                    <a:pt x="54" y="8"/>
                  </a:lnTo>
                  <a:lnTo>
                    <a:pt x="55" y="8"/>
                  </a:lnTo>
                  <a:lnTo>
                    <a:pt x="57" y="8"/>
                  </a:lnTo>
                  <a:lnTo>
                    <a:pt x="59" y="8"/>
                  </a:lnTo>
                  <a:lnTo>
                    <a:pt x="60" y="8"/>
                  </a:lnTo>
                  <a:lnTo>
                    <a:pt x="60" y="10"/>
                  </a:lnTo>
                  <a:lnTo>
                    <a:pt x="62" y="11"/>
                  </a:lnTo>
                  <a:lnTo>
                    <a:pt x="64" y="11"/>
                  </a:lnTo>
                  <a:lnTo>
                    <a:pt x="65" y="11"/>
                  </a:lnTo>
                  <a:lnTo>
                    <a:pt x="67" y="11"/>
                  </a:lnTo>
                  <a:lnTo>
                    <a:pt x="68" y="11"/>
                  </a:lnTo>
                  <a:lnTo>
                    <a:pt x="68" y="10"/>
                  </a:lnTo>
                  <a:lnTo>
                    <a:pt x="70" y="10"/>
                  </a:lnTo>
                  <a:lnTo>
                    <a:pt x="70" y="11"/>
                  </a:lnTo>
                  <a:lnTo>
                    <a:pt x="72" y="11"/>
                  </a:lnTo>
                  <a:lnTo>
                    <a:pt x="72" y="10"/>
                  </a:lnTo>
                  <a:lnTo>
                    <a:pt x="73" y="11"/>
                  </a:lnTo>
                  <a:lnTo>
                    <a:pt x="72" y="11"/>
                  </a:lnTo>
                  <a:lnTo>
                    <a:pt x="72" y="13"/>
                  </a:lnTo>
                  <a:lnTo>
                    <a:pt x="75" y="13"/>
                  </a:lnTo>
                  <a:lnTo>
                    <a:pt x="77" y="13"/>
                  </a:lnTo>
                  <a:lnTo>
                    <a:pt x="75" y="15"/>
                  </a:lnTo>
                  <a:lnTo>
                    <a:pt x="77" y="15"/>
                  </a:lnTo>
                  <a:lnTo>
                    <a:pt x="77" y="16"/>
                  </a:lnTo>
                  <a:lnTo>
                    <a:pt x="77" y="18"/>
                  </a:lnTo>
                  <a:lnTo>
                    <a:pt x="78" y="18"/>
                  </a:lnTo>
                  <a:lnTo>
                    <a:pt x="78" y="19"/>
                  </a:lnTo>
                  <a:lnTo>
                    <a:pt x="80" y="19"/>
                  </a:lnTo>
                  <a:lnTo>
                    <a:pt x="81" y="19"/>
                  </a:lnTo>
                  <a:lnTo>
                    <a:pt x="81" y="21"/>
                  </a:lnTo>
                  <a:lnTo>
                    <a:pt x="83" y="21"/>
                  </a:lnTo>
                  <a:lnTo>
                    <a:pt x="85" y="21"/>
                  </a:lnTo>
                  <a:lnTo>
                    <a:pt x="83" y="23"/>
                  </a:lnTo>
                  <a:lnTo>
                    <a:pt x="85" y="23"/>
                  </a:lnTo>
                  <a:lnTo>
                    <a:pt x="83" y="23"/>
                  </a:lnTo>
                  <a:lnTo>
                    <a:pt x="83" y="24"/>
                  </a:lnTo>
                  <a:lnTo>
                    <a:pt x="85" y="24"/>
                  </a:lnTo>
                  <a:lnTo>
                    <a:pt x="85" y="26"/>
                  </a:lnTo>
                  <a:lnTo>
                    <a:pt x="86" y="28"/>
                  </a:lnTo>
                  <a:lnTo>
                    <a:pt x="86" y="26"/>
                  </a:lnTo>
                  <a:lnTo>
                    <a:pt x="88" y="26"/>
                  </a:lnTo>
                  <a:lnTo>
                    <a:pt x="90" y="26"/>
                  </a:lnTo>
                  <a:lnTo>
                    <a:pt x="88" y="26"/>
                  </a:lnTo>
                  <a:lnTo>
                    <a:pt x="88" y="28"/>
                  </a:lnTo>
                  <a:lnTo>
                    <a:pt x="88" y="29"/>
                  </a:lnTo>
                  <a:lnTo>
                    <a:pt x="90" y="29"/>
                  </a:lnTo>
                  <a:lnTo>
                    <a:pt x="91" y="29"/>
                  </a:lnTo>
                  <a:lnTo>
                    <a:pt x="93" y="29"/>
                  </a:lnTo>
                  <a:lnTo>
                    <a:pt x="94" y="29"/>
                  </a:lnTo>
                  <a:lnTo>
                    <a:pt x="96" y="29"/>
                  </a:lnTo>
                  <a:lnTo>
                    <a:pt x="98" y="31"/>
                  </a:lnTo>
                  <a:lnTo>
                    <a:pt x="99" y="31"/>
                  </a:lnTo>
                  <a:lnTo>
                    <a:pt x="101" y="31"/>
                  </a:lnTo>
                  <a:lnTo>
                    <a:pt x="101" y="32"/>
                  </a:lnTo>
                  <a:lnTo>
                    <a:pt x="103" y="32"/>
                  </a:lnTo>
                  <a:lnTo>
                    <a:pt x="106" y="32"/>
                  </a:lnTo>
                  <a:lnTo>
                    <a:pt x="106" y="34"/>
                  </a:lnTo>
                  <a:lnTo>
                    <a:pt x="106" y="36"/>
                  </a:lnTo>
                  <a:lnTo>
                    <a:pt x="108" y="36"/>
                  </a:lnTo>
                  <a:lnTo>
                    <a:pt x="108" y="34"/>
                  </a:lnTo>
                  <a:lnTo>
                    <a:pt x="108" y="36"/>
                  </a:lnTo>
                  <a:lnTo>
                    <a:pt x="109" y="36"/>
                  </a:lnTo>
                  <a:lnTo>
                    <a:pt x="109" y="37"/>
                  </a:lnTo>
                  <a:lnTo>
                    <a:pt x="112" y="37"/>
                  </a:lnTo>
                  <a:lnTo>
                    <a:pt x="112" y="39"/>
                  </a:lnTo>
                  <a:lnTo>
                    <a:pt x="112" y="41"/>
                  </a:lnTo>
                  <a:lnTo>
                    <a:pt x="112" y="39"/>
                  </a:lnTo>
                  <a:lnTo>
                    <a:pt x="114" y="39"/>
                  </a:lnTo>
                  <a:lnTo>
                    <a:pt x="116" y="41"/>
                  </a:lnTo>
                  <a:lnTo>
                    <a:pt x="114" y="41"/>
                  </a:lnTo>
                  <a:lnTo>
                    <a:pt x="116" y="42"/>
                  </a:lnTo>
                  <a:lnTo>
                    <a:pt x="117" y="42"/>
                  </a:lnTo>
                  <a:lnTo>
                    <a:pt x="117" y="44"/>
                  </a:lnTo>
                  <a:lnTo>
                    <a:pt x="119" y="44"/>
                  </a:lnTo>
                  <a:lnTo>
                    <a:pt x="119" y="45"/>
                  </a:lnTo>
                  <a:lnTo>
                    <a:pt x="119" y="47"/>
                  </a:lnTo>
                  <a:lnTo>
                    <a:pt x="121" y="49"/>
                  </a:lnTo>
                  <a:lnTo>
                    <a:pt x="121" y="47"/>
                  </a:lnTo>
                  <a:lnTo>
                    <a:pt x="122" y="47"/>
                  </a:lnTo>
                  <a:lnTo>
                    <a:pt x="122" y="45"/>
                  </a:lnTo>
                  <a:lnTo>
                    <a:pt x="124" y="45"/>
                  </a:lnTo>
                  <a:lnTo>
                    <a:pt x="124" y="47"/>
                  </a:lnTo>
                  <a:lnTo>
                    <a:pt x="125" y="47"/>
                  </a:lnTo>
                  <a:lnTo>
                    <a:pt x="127" y="47"/>
                  </a:lnTo>
                  <a:lnTo>
                    <a:pt x="130" y="47"/>
                  </a:lnTo>
                  <a:lnTo>
                    <a:pt x="132" y="47"/>
                  </a:lnTo>
                  <a:lnTo>
                    <a:pt x="135" y="45"/>
                  </a:lnTo>
                  <a:lnTo>
                    <a:pt x="137" y="44"/>
                  </a:lnTo>
                  <a:lnTo>
                    <a:pt x="138" y="45"/>
                  </a:lnTo>
                  <a:lnTo>
                    <a:pt x="150" y="49"/>
                  </a:lnTo>
                  <a:lnTo>
                    <a:pt x="151" y="52"/>
                  </a:lnTo>
                  <a:lnTo>
                    <a:pt x="151" y="54"/>
                  </a:lnTo>
                  <a:lnTo>
                    <a:pt x="153" y="54"/>
                  </a:lnTo>
                  <a:lnTo>
                    <a:pt x="156" y="54"/>
                  </a:lnTo>
                  <a:lnTo>
                    <a:pt x="156" y="55"/>
                  </a:lnTo>
                  <a:lnTo>
                    <a:pt x="158" y="55"/>
                  </a:lnTo>
                  <a:lnTo>
                    <a:pt x="158" y="54"/>
                  </a:lnTo>
                  <a:lnTo>
                    <a:pt x="160" y="54"/>
                  </a:lnTo>
                  <a:lnTo>
                    <a:pt x="160" y="55"/>
                  </a:lnTo>
                  <a:lnTo>
                    <a:pt x="160" y="57"/>
                  </a:lnTo>
                  <a:lnTo>
                    <a:pt x="160" y="58"/>
                  </a:lnTo>
                  <a:lnTo>
                    <a:pt x="160" y="60"/>
                  </a:lnTo>
                  <a:lnTo>
                    <a:pt x="163" y="62"/>
                  </a:lnTo>
                  <a:lnTo>
                    <a:pt x="164" y="62"/>
                  </a:lnTo>
                  <a:lnTo>
                    <a:pt x="166" y="60"/>
                  </a:lnTo>
                  <a:lnTo>
                    <a:pt x="168" y="60"/>
                  </a:lnTo>
                  <a:lnTo>
                    <a:pt x="169" y="60"/>
                  </a:lnTo>
                  <a:lnTo>
                    <a:pt x="171" y="60"/>
                  </a:lnTo>
                  <a:lnTo>
                    <a:pt x="173" y="60"/>
                  </a:lnTo>
                  <a:close/>
                </a:path>
              </a:pathLst>
            </a:custGeom>
            <a:solidFill>
              <a:srgbClr val="E5E5E5"/>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1223" name="Freeform 69">
              <a:extLst>
                <a:ext uri="{FF2B5EF4-FFF2-40B4-BE49-F238E27FC236}">
                  <a16:creationId xmlns:a16="http://schemas.microsoft.com/office/drawing/2014/main" id="{714E7309-EA1E-157B-92A1-0C13405A0279}"/>
                </a:ext>
              </a:extLst>
            </p:cNvPr>
            <p:cNvSpPr>
              <a:spLocks noEditPoints="1"/>
            </p:cNvSpPr>
            <p:nvPr/>
          </p:nvSpPr>
          <p:spPr bwMode="auto">
            <a:xfrm>
              <a:off x="2760" y="5584"/>
              <a:ext cx="1293" cy="405"/>
            </a:xfrm>
            <a:custGeom>
              <a:avLst/>
              <a:gdLst>
                <a:gd name="T0" fmla="*/ 937 w 1293"/>
                <a:gd name="T1" fmla="*/ 38 h 405"/>
                <a:gd name="T2" fmla="*/ 1042 w 1293"/>
                <a:gd name="T3" fmla="*/ 5 h 405"/>
                <a:gd name="T4" fmla="*/ 1062 w 1293"/>
                <a:gd name="T5" fmla="*/ 20 h 405"/>
                <a:gd name="T6" fmla="*/ 1085 w 1293"/>
                <a:gd name="T7" fmla="*/ 25 h 405"/>
                <a:gd name="T8" fmla="*/ 1111 w 1293"/>
                <a:gd name="T9" fmla="*/ 28 h 405"/>
                <a:gd name="T10" fmla="*/ 1121 w 1293"/>
                <a:gd name="T11" fmla="*/ 7 h 405"/>
                <a:gd name="T12" fmla="*/ 1143 w 1293"/>
                <a:gd name="T13" fmla="*/ 7 h 405"/>
                <a:gd name="T14" fmla="*/ 1169 w 1293"/>
                <a:gd name="T15" fmla="*/ 23 h 405"/>
                <a:gd name="T16" fmla="*/ 1187 w 1293"/>
                <a:gd name="T17" fmla="*/ 31 h 405"/>
                <a:gd name="T18" fmla="*/ 1220 w 1293"/>
                <a:gd name="T19" fmla="*/ 36 h 405"/>
                <a:gd name="T20" fmla="*/ 1249 w 1293"/>
                <a:gd name="T21" fmla="*/ 31 h 405"/>
                <a:gd name="T22" fmla="*/ 1273 w 1293"/>
                <a:gd name="T23" fmla="*/ 34 h 405"/>
                <a:gd name="T24" fmla="*/ 1290 w 1293"/>
                <a:gd name="T25" fmla="*/ 47 h 405"/>
                <a:gd name="T26" fmla="*/ 1270 w 1293"/>
                <a:gd name="T27" fmla="*/ 65 h 405"/>
                <a:gd name="T28" fmla="*/ 1233 w 1293"/>
                <a:gd name="T29" fmla="*/ 90 h 405"/>
                <a:gd name="T30" fmla="*/ 1257 w 1293"/>
                <a:gd name="T31" fmla="*/ 108 h 405"/>
                <a:gd name="T32" fmla="*/ 1251 w 1293"/>
                <a:gd name="T33" fmla="*/ 145 h 405"/>
                <a:gd name="T34" fmla="*/ 1241 w 1293"/>
                <a:gd name="T35" fmla="*/ 197 h 405"/>
                <a:gd name="T36" fmla="*/ 1246 w 1293"/>
                <a:gd name="T37" fmla="*/ 254 h 405"/>
                <a:gd name="T38" fmla="*/ 1252 w 1293"/>
                <a:gd name="T39" fmla="*/ 288 h 405"/>
                <a:gd name="T40" fmla="*/ 1241 w 1293"/>
                <a:gd name="T41" fmla="*/ 340 h 405"/>
                <a:gd name="T42" fmla="*/ 1221 w 1293"/>
                <a:gd name="T43" fmla="*/ 371 h 405"/>
                <a:gd name="T44" fmla="*/ 1187 w 1293"/>
                <a:gd name="T45" fmla="*/ 397 h 405"/>
                <a:gd name="T46" fmla="*/ 34 w 1293"/>
                <a:gd name="T47" fmla="*/ 378 h 405"/>
                <a:gd name="T48" fmla="*/ 44 w 1293"/>
                <a:gd name="T49" fmla="*/ 265 h 405"/>
                <a:gd name="T50" fmla="*/ 42 w 1293"/>
                <a:gd name="T51" fmla="*/ 230 h 405"/>
                <a:gd name="T52" fmla="*/ 8 w 1293"/>
                <a:gd name="T53" fmla="*/ 192 h 405"/>
                <a:gd name="T54" fmla="*/ 11 w 1293"/>
                <a:gd name="T55" fmla="*/ 179 h 405"/>
                <a:gd name="T56" fmla="*/ 39 w 1293"/>
                <a:gd name="T57" fmla="*/ 184 h 405"/>
                <a:gd name="T58" fmla="*/ 65 w 1293"/>
                <a:gd name="T59" fmla="*/ 176 h 405"/>
                <a:gd name="T60" fmla="*/ 89 w 1293"/>
                <a:gd name="T61" fmla="*/ 165 h 405"/>
                <a:gd name="T62" fmla="*/ 114 w 1293"/>
                <a:gd name="T63" fmla="*/ 158 h 405"/>
                <a:gd name="T64" fmla="*/ 128 w 1293"/>
                <a:gd name="T65" fmla="*/ 129 h 405"/>
                <a:gd name="T66" fmla="*/ 156 w 1293"/>
                <a:gd name="T67" fmla="*/ 117 h 405"/>
                <a:gd name="T68" fmla="*/ 179 w 1293"/>
                <a:gd name="T69" fmla="*/ 109 h 405"/>
                <a:gd name="T70" fmla="*/ 213 w 1293"/>
                <a:gd name="T71" fmla="*/ 111 h 405"/>
                <a:gd name="T72" fmla="*/ 236 w 1293"/>
                <a:gd name="T73" fmla="*/ 96 h 405"/>
                <a:gd name="T74" fmla="*/ 242 w 1293"/>
                <a:gd name="T75" fmla="*/ 111 h 405"/>
                <a:gd name="T76" fmla="*/ 278 w 1293"/>
                <a:gd name="T77" fmla="*/ 108 h 405"/>
                <a:gd name="T78" fmla="*/ 302 w 1293"/>
                <a:gd name="T79" fmla="*/ 75 h 405"/>
                <a:gd name="T80" fmla="*/ 335 w 1293"/>
                <a:gd name="T81" fmla="*/ 62 h 405"/>
                <a:gd name="T82" fmla="*/ 376 w 1293"/>
                <a:gd name="T83" fmla="*/ 49 h 405"/>
                <a:gd name="T84" fmla="*/ 411 w 1293"/>
                <a:gd name="T85" fmla="*/ 34 h 405"/>
                <a:gd name="T86" fmla="*/ 444 w 1293"/>
                <a:gd name="T87" fmla="*/ 30 h 405"/>
                <a:gd name="T88" fmla="*/ 478 w 1293"/>
                <a:gd name="T89" fmla="*/ 33 h 405"/>
                <a:gd name="T90" fmla="*/ 512 w 1293"/>
                <a:gd name="T91" fmla="*/ 34 h 405"/>
                <a:gd name="T92" fmla="*/ 553 w 1293"/>
                <a:gd name="T93" fmla="*/ 30 h 405"/>
                <a:gd name="T94" fmla="*/ 585 w 1293"/>
                <a:gd name="T95" fmla="*/ 38 h 405"/>
                <a:gd name="T96" fmla="*/ 616 w 1293"/>
                <a:gd name="T97" fmla="*/ 20 h 405"/>
                <a:gd name="T98" fmla="*/ 642 w 1293"/>
                <a:gd name="T99" fmla="*/ 20 h 405"/>
                <a:gd name="T100" fmla="*/ 673 w 1293"/>
                <a:gd name="T101" fmla="*/ 20 h 405"/>
                <a:gd name="T102" fmla="*/ 712 w 1293"/>
                <a:gd name="T103" fmla="*/ 15 h 405"/>
                <a:gd name="T104" fmla="*/ 748 w 1293"/>
                <a:gd name="T105" fmla="*/ 10 h 405"/>
                <a:gd name="T106" fmla="*/ 779 w 1293"/>
                <a:gd name="T107" fmla="*/ 12 h 405"/>
                <a:gd name="T108" fmla="*/ 820 w 1293"/>
                <a:gd name="T109" fmla="*/ 17 h 405"/>
                <a:gd name="T110" fmla="*/ 851 w 1293"/>
                <a:gd name="T111" fmla="*/ 23 h 405"/>
                <a:gd name="T112" fmla="*/ 875 w 1293"/>
                <a:gd name="T113" fmla="*/ 41 h 405"/>
                <a:gd name="T114" fmla="*/ 921 w 1293"/>
                <a:gd name="T115" fmla="*/ 54 h 405"/>
                <a:gd name="T116" fmla="*/ 934 w 1293"/>
                <a:gd name="T117" fmla="*/ 41 h 405"/>
                <a:gd name="T118" fmla="*/ 955 w 1293"/>
                <a:gd name="T119" fmla="*/ 34 h 405"/>
                <a:gd name="T120" fmla="*/ 979 w 1293"/>
                <a:gd name="T121" fmla="*/ 34 h 405"/>
                <a:gd name="T122" fmla="*/ 1012 w 1293"/>
                <a:gd name="T123" fmla="*/ 13 h 405"/>
                <a:gd name="T124" fmla="*/ 1039 w 1293"/>
                <a:gd name="T125" fmla="*/ 0 h 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293" h="405">
                  <a:moveTo>
                    <a:pt x="93" y="160"/>
                  </a:moveTo>
                  <a:lnTo>
                    <a:pt x="91" y="160"/>
                  </a:lnTo>
                  <a:lnTo>
                    <a:pt x="91" y="158"/>
                  </a:lnTo>
                  <a:lnTo>
                    <a:pt x="91" y="160"/>
                  </a:lnTo>
                  <a:lnTo>
                    <a:pt x="93" y="160"/>
                  </a:lnTo>
                  <a:close/>
                  <a:moveTo>
                    <a:pt x="194" y="117"/>
                  </a:moveTo>
                  <a:lnTo>
                    <a:pt x="192" y="117"/>
                  </a:lnTo>
                  <a:lnTo>
                    <a:pt x="194" y="117"/>
                  </a:lnTo>
                  <a:close/>
                  <a:moveTo>
                    <a:pt x="244" y="109"/>
                  </a:moveTo>
                  <a:lnTo>
                    <a:pt x="246" y="109"/>
                  </a:lnTo>
                  <a:lnTo>
                    <a:pt x="244" y="109"/>
                  </a:lnTo>
                  <a:close/>
                  <a:moveTo>
                    <a:pt x="244" y="109"/>
                  </a:moveTo>
                  <a:lnTo>
                    <a:pt x="242" y="109"/>
                  </a:lnTo>
                  <a:lnTo>
                    <a:pt x="244" y="109"/>
                  </a:lnTo>
                  <a:close/>
                  <a:moveTo>
                    <a:pt x="140" y="109"/>
                  </a:moveTo>
                  <a:lnTo>
                    <a:pt x="138" y="109"/>
                  </a:lnTo>
                  <a:lnTo>
                    <a:pt x="140" y="109"/>
                  </a:lnTo>
                  <a:lnTo>
                    <a:pt x="140" y="108"/>
                  </a:lnTo>
                  <a:lnTo>
                    <a:pt x="141" y="109"/>
                  </a:lnTo>
                  <a:lnTo>
                    <a:pt x="140" y="109"/>
                  </a:lnTo>
                  <a:close/>
                  <a:moveTo>
                    <a:pt x="239" y="104"/>
                  </a:moveTo>
                  <a:lnTo>
                    <a:pt x="239" y="106"/>
                  </a:lnTo>
                  <a:lnTo>
                    <a:pt x="239" y="104"/>
                  </a:lnTo>
                  <a:close/>
                  <a:moveTo>
                    <a:pt x="937" y="38"/>
                  </a:moveTo>
                  <a:lnTo>
                    <a:pt x="937" y="39"/>
                  </a:lnTo>
                  <a:lnTo>
                    <a:pt x="937" y="38"/>
                  </a:lnTo>
                  <a:close/>
                  <a:moveTo>
                    <a:pt x="867" y="28"/>
                  </a:moveTo>
                  <a:lnTo>
                    <a:pt x="865" y="28"/>
                  </a:lnTo>
                  <a:lnTo>
                    <a:pt x="867" y="28"/>
                  </a:lnTo>
                  <a:close/>
                  <a:moveTo>
                    <a:pt x="1085" y="25"/>
                  </a:moveTo>
                  <a:lnTo>
                    <a:pt x="1085" y="23"/>
                  </a:lnTo>
                  <a:lnTo>
                    <a:pt x="1085" y="25"/>
                  </a:lnTo>
                  <a:close/>
                  <a:moveTo>
                    <a:pt x="1065" y="20"/>
                  </a:moveTo>
                  <a:lnTo>
                    <a:pt x="1064" y="20"/>
                  </a:lnTo>
                  <a:lnTo>
                    <a:pt x="1065" y="20"/>
                  </a:lnTo>
                  <a:close/>
                  <a:moveTo>
                    <a:pt x="642" y="20"/>
                  </a:moveTo>
                  <a:lnTo>
                    <a:pt x="644" y="20"/>
                  </a:lnTo>
                  <a:lnTo>
                    <a:pt x="642" y="20"/>
                  </a:lnTo>
                  <a:close/>
                  <a:moveTo>
                    <a:pt x="642" y="20"/>
                  </a:moveTo>
                  <a:lnTo>
                    <a:pt x="642" y="18"/>
                  </a:lnTo>
                  <a:lnTo>
                    <a:pt x="642" y="20"/>
                  </a:lnTo>
                  <a:close/>
                  <a:moveTo>
                    <a:pt x="642" y="17"/>
                  </a:moveTo>
                  <a:lnTo>
                    <a:pt x="642" y="18"/>
                  </a:lnTo>
                  <a:lnTo>
                    <a:pt x="642" y="17"/>
                  </a:lnTo>
                  <a:close/>
                  <a:moveTo>
                    <a:pt x="1121" y="5"/>
                  </a:moveTo>
                  <a:lnTo>
                    <a:pt x="1121" y="4"/>
                  </a:lnTo>
                  <a:lnTo>
                    <a:pt x="1121" y="5"/>
                  </a:lnTo>
                  <a:close/>
                  <a:moveTo>
                    <a:pt x="1039" y="0"/>
                  </a:moveTo>
                  <a:lnTo>
                    <a:pt x="1041" y="2"/>
                  </a:lnTo>
                  <a:lnTo>
                    <a:pt x="1042" y="2"/>
                  </a:lnTo>
                  <a:lnTo>
                    <a:pt x="1042" y="4"/>
                  </a:lnTo>
                  <a:lnTo>
                    <a:pt x="1042" y="5"/>
                  </a:lnTo>
                  <a:lnTo>
                    <a:pt x="1044" y="5"/>
                  </a:lnTo>
                  <a:lnTo>
                    <a:pt x="1042" y="5"/>
                  </a:lnTo>
                  <a:lnTo>
                    <a:pt x="1044" y="5"/>
                  </a:lnTo>
                  <a:lnTo>
                    <a:pt x="1046" y="7"/>
                  </a:lnTo>
                  <a:lnTo>
                    <a:pt x="1046" y="5"/>
                  </a:lnTo>
                  <a:lnTo>
                    <a:pt x="1047" y="5"/>
                  </a:lnTo>
                  <a:lnTo>
                    <a:pt x="1046" y="7"/>
                  </a:lnTo>
                  <a:lnTo>
                    <a:pt x="1046" y="8"/>
                  </a:lnTo>
                  <a:lnTo>
                    <a:pt x="1047" y="10"/>
                  </a:lnTo>
                  <a:lnTo>
                    <a:pt x="1049" y="10"/>
                  </a:lnTo>
                  <a:lnTo>
                    <a:pt x="1049" y="12"/>
                  </a:lnTo>
                  <a:lnTo>
                    <a:pt x="1051" y="12"/>
                  </a:lnTo>
                  <a:lnTo>
                    <a:pt x="1049" y="13"/>
                  </a:lnTo>
                  <a:lnTo>
                    <a:pt x="1049" y="15"/>
                  </a:lnTo>
                  <a:lnTo>
                    <a:pt x="1049" y="17"/>
                  </a:lnTo>
                  <a:lnTo>
                    <a:pt x="1051" y="17"/>
                  </a:lnTo>
                  <a:lnTo>
                    <a:pt x="1051" y="18"/>
                  </a:lnTo>
                  <a:lnTo>
                    <a:pt x="1052" y="18"/>
                  </a:lnTo>
                  <a:lnTo>
                    <a:pt x="1054" y="18"/>
                  </a:lnTo>
                  <a:lnTo>
                    <a:pt x="1055" y="18"/>
                  </a:lnTo>
                  <a:lnTo>
                    <a:pt x="1055" y="20"/>
                  </a:lnTo>
                  <a:lnTo>
                    <a:pt x="1057" y="20"/>
                  </a:lnTo>
                  <a:lnTo>
                    <a:pt x="1059" y="20"/>
                  </a:lnTo>
                  <a:lnTo>
                    <a:pt x="1060" y="20"/>
                  </a:lnTo>
                  <a:lnTo>
                    <a:pt x="1060" y="21"/>
                  </a:lnTo>
                  <a:lnTo>
                    <a:pt x="1062" y="20"/>
                  </a:lnTo>
                  <a:lnTo>
                    <a:pt x="1062" y="21"/>
                  </a:lnTo>
                  <a:lnTo>
                    <a:pt x="1064" y="21"/>
                  </a:lnTo>
                  <a:lnTo>
                    <a:pt x="1065" y="21"/>
                  </a:lnTo>
                  <a:lnTo>
                    <a:pt x="1067" y="21"/>
                  </a:lnTo>
                  <a:lnTo>
                    <a:pt x="1069" y="21"/>
                  </a:lnTo>
                  <a:lnTo>
                    <a:pt x="1070" y="21"/>
                  </a:lnTo>
                  <a:lnTo>
                    <a:pt x="1070" y="20"/>
                  </a:lnTo>
                  <a:lnTo>
                    <a:pt x="1069" y="20"/>
                  </a:lnTo>
                  <a:lnTo>
                    <a:pt x="1070" y="20"/>
                  </a:lnTo>
                  <a:lnTo>
                    <a:pt x="1070" y="21"/>
                  </a:lnTo>
                  <a:lnTo>
                    <a:pt x="1072" y="21"/>
                  </a:lnTo>
                  <a:lnTo>
                    <a:pt x="1072" y="23"/>
                  </a:lnTo>
                  <a:lnTo>
                    <a:pt x="1073" y="23"/>
                  </a:lnTo>
                  <a:lnTo>
                    <a:pt x="1073" y="21"/>
                  </a:lnTo>
                  <a:lnTo>
                    <a:pt x="1073" y="20"/>
                  </a:lnTo>
                  <a:lnTo>
                    <a:pt x="1075" y="21"/>
                  </a:lnTo>
                  <a:lnTo>
                    <a:pt x="1077" y="21"/>
                  </a:lnTo>
                  <a:lnTo>
                    <a:pt x="1078" y="21"/>
                  </a:lnTo>
                  <a:lnTo>
                    <a:pt x="1080" y="21"/>
                  </a:lnTo>
                  <a:lnTo>
                    <a:pt x="1082" y="21"/>
                  </a:lnTo>
                  <a:lnTo>
                    <a:pt x="1080" y="23"/>
                  </a:lnTo>
                  <a:lnTo>
                    <a:pt x="1082" y="23"/>
                  </a:lnTo>
                  <a:lnTo>
                    <a:pt x="1080" y="23"/>
                  </a:lnTo>
                  <a:lnTo>
                    <a:pt x="1082" y="25"/>
                  </a:lnTo>
                  <a:lnTo>
                    <a:pt x="1083" y="25"/>
                  </a:lnTo>
                  <a:lnTo>
                    <a:pt x="1085" y="25"/>
                  </a:lnTo>
                  <a:lnTo>
                    <a:pt x="1085" y="26"/>
                  </a:lnTo>
                  <a:lnTo>
                    <a:pt x="1085" y="28"/>
                  </a:lnTo>
                  <a:lnTo>
                    <a:pt x="1085" y="30"/>
                  </a:lnTo>
                  <a:lnTo>
                    <a:pt x="1086" y="31"/>
                  </a:lnTo>
                  <a:lnTo>
                    <a:pt x="1088" y="31"/>
                  </a:lnTo>
                  <a:lnTo>
                    <a:pt x="1086" y="31"/>
                  </a:lnTo>
                  <a:lnTo>
                    <a:pt x="1088" y="31"/>
                  </a:lnTo>
                  <a:lnTo>
                    <a:pt x="1090" y="33"/>
                  </a:lnTo>
                  <a:lnTo>
                    <a:pt x="1090" y="31"/>
                  </a:lnTo>
                  <a:lnTo>
                    <a:pt x="1090" y="33"/>
                  </a:lnTo>
                  <a:lnTo>
                    <a:pt x="1091" y="31"/>
                  </a:lnTo>
                  <a:lnTo>
                    <a:pt x="1091" y="33"/>
                  </a:lnTo>
                  <a:lnTo>
                    <a:pt x="1091" y="31"/>
                  </a:lnTo>
                  <a:lnTo>
                    <a:pt x="1091" y="33"/>
                  </a:lnTo>
                  <a:lnTo>
                    <a:pt x="1091" y="31"/>
                  </a:lnTo>
                  <a:lnTo>
                    <a:pt x="1093" y="33"/>
                  </a:lnTo>
                  <a:lnTo>
                    <a:pt x="1095" y="31"/>
                  </a:lnTo>
                  <a:lnTo>
                    <a:pt x="1099" y="31"/>
                  </a:lnTo>
                  <a:lnTo>
                    <a:pt x="1101" y="30"/>
                  </a:lnTo>
                  <a:lnTo>
                    <a:pt x="1103" y="30"/>
                  </a:lnTo>
                  <a:lnTo>
                    <a:pt x="1104" y="30"/>
                  </a:lnTo>
                  <a:lnTo>
                    <a:pt x="1104" y="28"/>
                  </a:lnTo>
                  <a:lnTo>
                    <a:pt x="1106" y="28"/>
                  </a:lnTo>
                  <a:lnTo>
                    <a:pt x="1108" y="28"/>
                  </a:lnTo>
                  <a:lnTo>
                    <a:pt x="1109" y="28"/>
                  </a:lnTo>
                  <a:lnTo>
                    <a:pt x="1111" y="28"/>
                  </a:lnTo>
                  <a:lnTo>
                    <a:pt x="1112" y="28"/>
                  </a:lnTo>
                  <a:lnTo>
                    <a:pt x="1112" y="30"/>
                  </a:lnTo>
                  <a:lnTo>
                    <a:pt x="1114" y="30"/>
                  </a:lnTo>
                  <a:lnTo>
                    <a:pt x="1116" y="30"/>
                  </a:lnTo>
                  <a:lnTo>
                    <a:pt x="1116" y="28"/>
                  </a:lnTo>
                  <a:lnTo>
                    <a:pt x="1117" y="28"/>
                  </a:lnTo>
                  <a:lnTo>
                    <a:pt x="1119" y="26"/>
                  </a:lnTo>
                  <a:lnTo>
                    <a:pt x="1121" y="26"/>
                  </a:lnTo>
                  <a:lnTo>
                    <a:pt x="1122" y="25"/>
                  </a:lnTo>
                  <a:lnTo>
                    <a:pt x="1124" y="23"/>
                  </a:lnTo>
                  <a:lnTo>
                    <a:pt x="1125" y="21"/>
                  </a:lnTo>
                  <a:lnTo>
                    <a:pt x="1127" y="18"/>
                  </a:lnTo>
                  <a:lnTo>
                    <a:pt x="1127" y="20"/>
                  </a:lnTo>
                  <a:lnTo>
                    <a:pt x="1129" y="20"/>
                  </a:lnTo>
                  <a:lnTo>
                    <a:pt x="1129" y="18"/>
                  </a:lnTo>
                  <a:lnTo>
                    <a:pt x="1127" y="18"/>
                  </a:lnTo>
                  <a:lnTo>
                    <a:pt x="1129" y="17"/>
                  </a:lnTo>
                  <a:lnTo>
                    <a:pt x="1129" y="15"/>
                  </a:lnTo>
                  <a:lnTo>
                    <a:pt x="1129" y="13"/>
                  </a:lnTo>
                  <a:lnTo>
                    <a:pt x="1127" y="13"/>
                  </a:lnTo>
                  <a:lnTo>
                    <a:pt x="1127" y="12"/>
                  </a:lnTo>
                  <a:lnTo>
                    <a:pt x="1125" y="10"/>
                  </a:lnTo>
                  <a:lnTo>
                    <a:pt x="1124" y="10"/>
                  </a:lnTo>
                  <a:lnTo>
                    <a:pt x="1124" y="8"/>
                  </a:lnTo>
                  <a:lnTo>
                    <a:pt x="1122" y="8"/>
                  </a:lnTo>
                  <a:lnTo>
                    <a:pt x="1121" y="7"/>
                  </a:lnTo>
                  <a:lnTo>
                    <a:pt x="1119" y="7"/>
                  </a:lnTo>
                  <a:lnTo>
                    <a:pt x="1121" y="5"/>
                  </a:lnTo>
                  <a:lnTo>
                    <a:pt x="1119" y="5"/>
                  </a:lnTo>
                  <a:lnTo>
                    <a:pt x="1121" y="5"/>
                  </a:lnTo>
                  <a:lnTo>
                    <a:pt x="1122" y="5"/>
                  </a:lnTo>
                  <a:lnTo>
                    <a:pt x="1124" y="4"/>
                  </a:lnTo>
                  <a:lnTo>
                    <a:pt x="1125" y="4"/>
                  </a:lnTo>
                  <a:lnTo>
                    <a:pt x="1125" y="5"/>
                  </a:lnTo>
                  <a:lnTo>
                    <a:pt x="1125" y="4"/>
                  </a:lnTo>
                  <a:lnTo>
                    <a:pt x="1127" y="5"/>
                  </a:lnTo>
                  <a:lnTo>
                    <a:pt x="1129" y="5"/>
                  </a:lnTo>
                  <a:lnTo>
                    <a:pt x="1129" y="7"/>
                  </a:lnTo>
                  <a:lnTo>
                    <a:pt x="1130" y="7"/>
                  </a:lnTo>
                  <a:lnTo>
                    <a:pt x="1132" y="7"/>
                  </a:lnTo>
                  <a:lnTo>
                    <a:pt x="1134" y="5"/>
                  </a:lnTo>
                  <a:lnTo>
                    <a:pt x="1134" y="7"/>
                  </a:lnTo>
                  <a:lnTo>
                    <a:pt x="1135" y="7"/>
                  </a:lnTo>
                  <a:lnTo>
                    <a:pt x="1137" y="7"/>
                  </a:lnTo>
                  <a:lnTo>
                    <a:pt x="1137" y="8"/>
                  </a:lnTo>
                  <a:lnTo>
                    <a:pt x="1138" y="8"/>
                  </a:lnTo>
                  <a:lnTo>
                    <a:pt x="1140" y="8"/>
                  </a:lnTo>
                  <a:lnTo>
                    <a:pt x="1140" y="7"/>
                  </a:lnTo>
                  <a:lnTo>
                    <a:pt x="1142" y="7"/>
                  </a:lnTo>
                  <a:lnTo>
                    <a:pt x="1142" y="5"/>
                  </a:lnTo>
                  <a:lnTo>
                    <a:pt x="1143" y="5"/>
                  </a:lnTo>
                  <a:lnTo>
                    <a:pt x="1143" y="7"/>
                  </a:lnTo>
                  <a:lnTo>
                    <a:pt x="1145" y="5"/>
                  </a:lnTo>
                  <a:lnTo>
                    <a:pt x="1145" y="7"/>
                  </a:lnTo>
                  <a:lnTo>
                    <a:pt x="1143" y="8"/>
                  </a:lnTo>
                  <a:lnTo>
                    <a:pt x="1143" y="10"/>
                  </a:lnTo>
                  <a:lnTo>
                    <a:pt x="1145" y="10"/>
                  </a:lnTo>
                  <a:lnTo>
                    <a:pt x="1147" y="12"/>
                  </a:lnTo>
                  <a:lnTo>
                    <a:pt x="1148" y="12"/>
                  </a:lnTo>
                  <a:lnTo>
                    <a:pt x="1150" y="12"/>
                  </a:lnTo>
                  <a:lnTo>
                    <a:pt x="1151" y="12"/>
                  </a:lnTo>
                  <a:lnTo>
                    <a:pt x="1153" y="12"/>
                  </a:lnTo>
                  <a:lnTo>
                    <a:pt x="1155" y="12"/>
                  </a:lnTo>
                  <a:lnTo>
                    <a:pt x="1156" y="12"/>
                  </a:lnTo>
                  <a:lnTo>
                    <a:pt x="1158" y="12"/>
                  </a:lnTo>
                  <a:lnTo>
                    <a:pt x="1158" y="13"/>
                  </a:lnTo>
                  <a:lnTo>
                    <a:pt x="1160" y="13"/>
                  </a:lnTo>
                  <a:lnTo>
                    <a:pt x="1160" y="15"/>
                  </a:lnTo>
                  <a:lnTo>
                    <a:pt x="1161" y="17"/>
                  </a:lnTo>
                  <a:lnTo>
                    <a:pt x="1163" y="17"/>
                  </a:lnTo>
                  <a:lnTo>
                    <a:pt x="1163" y="18"/>
                  </a:lnTo>
                  <a:lnTo>
                    <a:pt x="1163" y="20"/>
                  </a:lnTo>
                  <a:lnTo>
                    <a:pt x="1164" y="20"/>
                  </a:lnTo>
                  <a:lnTo>
                    <a:pt x="1166" y="20"/>
                  </a:lnTo>
                  <a:lnTo>
                    <a:pt x="1166" y="21"/>
                  </a:lnTo>
                  <a:lnTo>
                    <a:pt x="1168" y="21"/>
                  </a:lnTo>
                  <a:lnTo>
                    <a:pt x="1168" y="23"/>
                  </a:lnTo>
                  <a:lnTo>
                    <a:pt x="1169" y="23"/>
                  </a:lnTo>
                  <a:lnTo>
                    <a:pt x="1171" y="23"/>
                  </a:lnTo>
                  <a:lnTo>
                    <a:pt x="1173" y="23"/>
                  </a:lnTo>
                  <a:lnTo>
                    <a:pt x="1174" y="23"/>
                  </a:lnTo>
                  <a:lnTo>
                    <a:pt x="1174" y="21"/>
                  </a:lnTo>
                  <a:lnTo>
                    <a:pt x="1176" y="23"/>
                  </a:lnTo>
                  <a:lnTo>
                    <a:pt x="1174" y="23"/>
                  </a:lnTo>
                  <a:lnTo>
                    <a:pt x="1176" y="23"/>
                  </a:lnTo>
                  <a:lnTo>
                    <a:pt x="1177" y="21"/>
                  </a:lnTo>
                  <a:lnTo>
                    <a:pt x="1177" y="23"/>
                  </a:lnTo>
                  <a:lnTo>
                    <a:pt x="1179" y="23"/>
                  </a:lnTo>
                  <a:lnTo>
                    <a:pt x="1181" y="25"/>
                  </a:lnTo>
                  <a:lnTo>
                    <a:pt x="1179" y="25"/>
                  </a:lnTo>
                  <a:lnTo>
                    <a:pt x="1181" y="26"/>
                  </a:lnTo>
                  <a:lnTo>
                    <a:pt x="1181" y="25"/>
                  </a:lnTo>
                  <a:lnTo>
                    <a:pt x="1182" y="25"/>
                  </a:lnTo>
                  <a:lnTo>
                    <a:pt x="1184" y="25"/>
                  </a:lnTo>
                  <a:lnTo>
                    <a:pt x="1186" y="25"/>
                  </a:lnTo>
                  <a:lnTo>
                    <a:pt x="1187" y="25"/>
                  </a:lnTo>
                  <a:lnTo>
                    <a:pt x="1189" y="23"/>
                  </a:lnTo>
                  <a:lnTo>
                    <a:pt x="1190" y="23"/>
                  </a:lnTo>
                  <a:lnTo>
                    <a:pt x="1189" y="25"/>
                  </a:lnTo>
                  <a:lnTo>
                    <a:pt x="1189" y="26"/>
                  </a:lnTo>
                  <a:lnTo>
                    <a:pt x="1187" y="26"/>
                  </a:lnTo>
                  <a:lnTo>
                    <a:pt x="1187" y="28"/>
                  </a:lnTo>
                  <a:lnTo>
                    <a:pt x="1187" y="30"/>
                  </a:lnTo>
                  <a:lnTo>
                    <a:pt x="1187" y="31"/>
                  </a:lnTo>
                  <a:lnTo>
                    <a:pt x="1189" y="31"/>
                  </a:lnTo>
                  <a:lnTo>
                    <a:pt x="1189" y="33"/>
                  </a:lnTo>
                  <a:lnTo>
                    <a:pt x="1189" y="31"/>
                  </a:lnTo>
                  <a:lnTo>
                    <a:pt x="1187" y="33"/>
                  </a:lnTo>
                  <a:lnTo>
                    <a:pt x="1186" y="33"/>
                  </a:lnTo>
                  <a:lnTo>
                    <a:pt x="1187" y="34"/>
                  </a:lnTo>
                  <a:lnTo>
                    <a:pt x="1189" y="33"/>
                  </a:lnTo>
                  <a:lnTo>
                    <a:pt x="1186" y="34"/>
                  </a:lnTo>
                  <a:lnTo>
                    <a:pt x="1187" y="36"/>
                  </a:lnTo>
                  <a:lnTo>
                    <a:pt x="1187" y="38"/>
                  </a:lnTo>
                  <a:lnTo>
                    <a:pt x="1189" y="38"/>
                  </a:lnTo>
                  <a:lnTo>
                    <a:pt x="1189" y="39"/>
                  </a:lnTo>
                  <a:lnTo>
                    <a:pt x="1190" y="39"/>
                  </a:lnTo>
                  <a:lnTo>
                    <a:pt x="1192" y="41"/>
                  </a:lnTo>
                  <a:lnTo>
                    <a:pt x="1194" y="41"/>
                  </a:lnTo>
                  <a:lnTo>
                    <a:pt x="1195" y="41"/>
                  </a:lnTo>
                  <a:lnTo>
                    <a:pt x="1197" y="41"/>
                  </a:lnTo>
                  <a:lnTo>
                    <a:pt x="1199" y="41"/>
                  </a:lnTo>
                  <a:lnTo>
                    <a:pt x="1203" y="41"/>
                  </a:lnTo>
                  <a:lnTo>
                    <a:pt x="1207" y="41"/>
                  </a:lnTo>
                  <a:lnTo>
                    <a:pt x="1213" y="39"/>
                  </a:lnTo>
                  <a:lnTo>
                    <a:pt x="1215" y="39"/>
                  </a:lnTo>
                  <a:lnTo>
                    <a:pt x="1217" y="38"/>
                  </a:lnTo>
                  <a:lnTo>
                    <a:pt x="1218" y="38"/>
                  </a:lnTo>
                  <a:lnTo>
                    <a:pt x="1220" y="38"/>
                  </a:lnTo>
                  <a:lnTo>
                    <a:pt x="1220" y="36"/>
                  </a:lnTo>
                  <a:lnTo>
                    <a:pt x="1221" y="36"/>
                  </a:lnTo>
                  <a:lnTo>
                    <a:pt x="1223" y="36"/>
                  </a:lnTo>
                  <a:lnTo>
                    <a:pt x="1225" y="34"/>
                  </a:lnTo>
                  <a:lnTo>
                    <a:pt x="1226" y="34"/>
                  </a:lnTo>
                  <a:lnTo>
                    <a:pt x="1228" y="33"/>
                  </a:lnTo>
                  <a:lnTo>
                    <a:pt x="1230" y="33"/>
                  </a:lnTo>
                  <a:lnTo>
                    <a:pt x="1231" y="33"/>
                  </a:lnTo>
                  <a:lnTo>
                    <a:pt x="1231" y="31"/>
                  </a:lnTo>
                  <a:lnTo>
                    <a:pt x="1233" y="31"/>
                  </a:lnTo>
                  <a:lnTo>
                    <a:pt x="1236" y="30"/>
                  </a:lnTo>
                  <a:lnTo>
                    <a:pt x="1236" y="28"/>
                  </a:lnTo>
                  <a:lnTo>
                    <a:pt x="1238" y="28"/>
                  </a:lnTo>
                  <a:lnTo>
                    <a:pt x="1238" y="30"/>
                  </a:lnTo>
                  <a:lnTo>
                    <a:pt x="1238" y="28"/>
                  </a:lnTo>
                  <a:lnTo>
                    <a:pt x="1239" y="28"/>
                  </a:lnTo>
                  <a:lnTo>
                    <a:pt x="1241" y="26"/>
                  </a:lnTo>
                  <a:lnTo>
                    <a:pt x="1241" y="28"/>
                  </a:lnTo>
                  <a:lnTo>
                    <a:pt x="1241" y="26"/>
                  </a:lnTo>
                  <a:lnTo>
                    <a:pt x="1243" y="28"/>
                  </a:lnTo>
                  <a:lnTo>
                    <a:pt x="1243" y="30"/>
                  </a:lnTo>
                  <a:lnTo>
                    <a:pt x="1244" y="30"/>
                  </a:lnTo>
                  <a:lnTo>
                    <a:pt x="1244" y="31"/>
                  </a:lnTo>
                  <a:lnTo>
                    <a:pt x="1246" y="33"/>
                  </a:lnTo>
                  <a:lnTo>
                    <a:pt x="1247" y="33"/>
                  </a:lnTo>
                  <a:lnTo>
                    <a:pt x="1249" y="33"/>
                  </a:lnTo>
                  <a:lnTo>
                    <a:pt x="1249" y="31"/>
                  </a:lnTo>
                  <a:lnTo>
                    <a:pt x="1251" y="31"/>
                  </a:lnTo>
                  <a:lnTo>
                    <a:pt x="1251" y="33"/>
                  </a:lnTo>
                  <a:lnTo>
                    <a:pt x="1251" y="31"/>
                  </a:lnTo>
                  <a:lnTo>
                    <a:pt x="1252" y="31"/>
                  </a:lnTo>
                  <a:lnTo>
                    <a:pt x="1252" y="33"/>
                  </a:lnTo>
                  <a:lnTo>
                    <a:pt x="1254" y="33"/>
                  </a:lnTo>
                  <a:lnTo>
                    <a:pt x="1254" y="31"/>
                  </a:lnTo>
                  <a:lnTo>
                    <a:pt x="1256" y="31"/>
                  </a:lnTo>
                  <a:lnTo>
                    <a:pt x="1257" y="31"/>
                  </a:lnTo>
                  <a:lnTo>
                    <a:pt x="1257" y="33"/>
                  </a:lnTo>
                  <a:lnTo>
                    <a:pt x="1257" y="31"/>
                  </a:lnTo>
                  <a:lnTo>
                    <a:pt x="1259" y="33"/>
                  </a:lnTo>
                  <a:lnTo>
                    <a:pt x="1260" y="33"/>
                  </a:lnTo>
                  <a:lnTo>
                    <a:pt x="1262" y="33"/>
                  </a:lnTo>
                  <a:lnTo>
                    <a:pt x="1262" y="34"/>
                  </a:lnTo>
                  <a:lnTo>
                    <a:pt x="1264" y="34"/>
                  </a:lnTo>
                  <a:lnTo>
                    <a:pt x="1264" y="36"/>
                  </a:lnTo>
                  <a:lnTo>
                    <a:pt x="1264" y="34"/>
                  </a:lnTo>
                  <a:lnTo>
                    <a:pt x="1265" y="34"/>
                  </a:lnTo>
                  <a:lnTo>
                    <a:pt x="1267" y="34"/>
                  </a:lnTo>
                  <a:lnTo>
                    <a:pt x="1269" y="34"/>
                  </a:lnTo>
                  <a:lnTo>
                    <a:pt x="1270" y="34"/>
                  </a:lnTo>
                  <a:lnTo>
                    <a:pt x="1272" y="34"/>
                  </a:lnTo>
                  <a:lnTo>
                    <a:pt x="1273" y="34"/>
                  </a:lnTo>
                  <a:lnTo>
                    <a:pt x="1273" y="33"/>
                  </a:lnTo>
                  <a:lnTo>
                    <a:pt x="1273" y="34"/>
                  </a:lnTo>
                  <a:lnTo>
                    <a:pt x="1275" y="33"/>
                  </a:lnTo>
                  <a:lnTo>
                    <a:pt x="1277" y="33"/>
                  </a:lnTo>
                  <a:lnTo>
                    <a:pt x="1278" y="33"/>
                  </a:lnTo>
                  <a:lnTo>
                    <a:pt x="1278" y="31"/>
                  </a:lnTo>
                  <a:lnTo>
                    <a:pt x="1280" y="31"/>
                  </a:lnTo>
                  <a:lnTo>
                    <a:pt x="1282" y="31"/>
                  </a:lnTo>
                  <a:lnTo>
                    <a:pt x="1283" y="31"/>
                  </a:lnTo>
                  <a:lnTo>
                    <a:pt x="1285" y="30"/>
                  </a:lnTo>
                  <a:lnTo>
                    <a:pt x="1286" y="30"/>
                  </a:lnTo>
                  <a:lnTo>
                    <a:pt x="1288" y="30"/>
                  </a:lnTo>
                  <a:lnTo>
                    <a:pt x="1288" y="31"/>
                  </a:lnTo>
                  <a:lnTo>
                    <a:pt x="1290" y="31"/>
                  </a:lnTo>
                  <a:lnTo>
                    <a:pt x="1290" y="33"/>
                  </a:lnTo>
                  <a:lnTo>
                    <a:pt x="1290" y="34"/>
                  </a:lnTo>
                  <a:lnTo>
                    <a:pt x="1288" y="34"/>
                  </a:lnTo>
                  <a:lnTo>
                    <a:pt x="1286" y="38"/>
                  </a:lnTo>
                  <a:lnTo>
                    <a:pt x="1286" y="39"/>
                  </a:lnTo>
                  <a:lnTo>
                    <a:pt x="1286" y="41"/>
                  </a:lnTo>
                  <a:lnTo>
                    <a:pt x="1288" y="41"/>
                  </a:lnTo>
                  <a:lnTo>
                    <a:pt x="1291" y="43"/>
                  </a:lnTo>
                  <a:lnTo>
                    <a:pt x="1293" y="43"/>
                  </a:lnTo>
                  <a:lnTo>
                    <a:pt x="1293" y="44"/>
                  </a:lnTo>
                  <a:lnTo>
                    <a:pt x="1293" y="46"/>
                  </a:lnTo>
                  <a:lnTo>
                    <a:pt x="1291" y="46"/>
                  </a:lnTo>
                  <a:lnTo>
                    <a:pt x="1291" y="47"/>
                  </a:lnTo>
                  <a:lnTo>
                    <a:pt x="1290" y="47"/>
                  </a:lnTo>
                  <a:lnTo>
                    <a:pt x="1288" y="49"/>
                  </a:lnTo>
                  <a:lnTo>
                    <a:pt x="1286" y="49"/>
                  </a:lnTo>
                  <a:lnTo>
                    <a:pt x="1285" y="51"/>
                  </a:lnTo>
                  <a:lnTo>
                    <a:pt x="1283" y="51"/>
                  </a:lnTo>
                  <a:lnTo>
                    <a:pt x="1283" y="49"/>
                  </a:lnTo>
                  <a:lnTo>
                    <a:pt x="1282" y="51"/>
                  </a:lnTo>
                  <a:lnTo>
                    <a:pt x="1282" y="52"/>
                  </a:lnTo>
                  <a:lnTo>
                    <a:pt x="1280" y="52"/>
                  </a:lnTo>
                  <a:lnTo>
                    <a:pt x="1278" y="54"/>
                  </a:lnTo>
                  <a:lnTo>
                    <a:pt x="1278" y="52"/>
                  </a:lnTo>
                  <a:lnTo>
                    <a:pt x="1277" y="52"/>
                  </a:lnTo>
                  <a:lnTo>
                    <a:pt x="1275" y="52"/>
                  </a:lnTo>
                  <a:lnTo>
                    <a:pt x="1273" y="52"/>
                  </a:lnTo>
                  <a:lnTo>
                    <a:pt x="1272" y="52"/>
                  </a:lnTo>
                  <a:lnTo>
                    <a:pt x="1270" y="52"/>
                  </a:lnTo>
                  <a:lnTo>
                    <a:pt x="1269" y="52"/>
                  </a:lnTo>
                  <a:lnTo>
                    <a:pt x="1269" y="54"/>
                  </a:lnTo>
                  <a:lnTo>
                    <a:pt x="1265" y="54"/>
                  </a:lnTo>
                  <a:lnTo>
                    <a:pt x="1264" y="56"/>
                  </a:lnTo>
                  <a:lnTo>
                    <a:pt x="1265" y="57"/>
                  </a:lnTo>
                  <a:lnTo>
                    <a:pt x="1267" y="56"/>
                  </a:lnTo>
                  <a:lnTo>
                    <a:pt x="1267" y="57"/>
                  </a:lnTo>
                  <a:lnTo>
                    <a:pt x="1267" y="59"/>
                  </a:lnTo>
                  <a:lnTo>
                    <a:pt x="1269" y="62"/>
                  </a:lnTo>
                  <a:lnTo>
                    <a:pt x="1270" y="64"/>
                  </a:lnTo>
                  <a:lnTo>
                    <a:pt x="1270" y="65"/>
                  </a:lnTo>
                  <a:lnTo>
                    <a:pt x="1269" y="67"/>
                  </a:lnTo>
                  <a:lnTo>
                    <a:pt x="1267" y="67"/>
                  </a:lnTo>
                  <a:lnTo>
                    <a:pt x="1267" y="69"/>
                  </a:lnTo>
                  <a:lnTo>
                    <a:pt x="1267" y="70"/>
                  </a:lnTo>
                  <a:lnTo>
                    <a:pt x="1265" y="73"/>
                  </a:lnTo>
                  <a:lnTo>
                    <a:pt x="1264" y="75"/>
                  </a:lnTo>
                  <a:lnTo>
                    <a:pt x="1262" y="73"/>
                  </a:lnTo>
                  <a:lnTo>
                    <a:pt x="1260" y="75"/>
                  </a:lnTo>
                  <a:lnTo>
                    <a:pt x="1259" y="77"/>
                  </a:lnTo>
                  <a:lnTo>
                    <a:pt x="1257" y="78"/>
                  </a:lnTo>
                  <a:lnTo>
                    <a:pt x="1256" y="78"/>
                  </a:lnTo>
                  <a:lnTo>
                    <a:pt x="1251" y="82"/>
                  </a:lnTo>
                  <a:lnTo>
                    <a:pt x="1251" y="83"/>
                  </a:lnTo>
                  <a:lnTo>
                    <a:pt x="1249" y="85"/>
                  </a:lnTo>
                  <a:lnTo>
                    <a:pt x="1247" y="85"/>
                  </a:lnTo>
                  <a:lnTo>
                    <a:pt x="1246" y="86"/>
                  </a:lnTo>
                  <a:lnTo>
                    <a:pt x="1246" y="85"/>
                  </a:lnTo>
                  <a:lnTo>
                    <a:pt x="1244" y="86"/>
                  </a:lnTo>
                  <a:lnTo>
                    <a:pt x="1243" y="86"/>
                  </a:lnTo>
                  <a:lnTo>
                    <a:pt x="1241" y="88"/>
                  </a:lnTo>
                  <a:lnTo>
                    <a:pt x="1239" y="88"/>
                  </a:lnTo>
                  <a:lnTo>
                    <a:pt x="1238" y="88"/>
                  </a:lnTo>
                  <a:lnTo>
                    <a:pt x="1238" y="90"/>
                  </a:lnTo>
                  <a:lnTo>
                    <a:pt x="1236" y="90"/>
                  </a:lnTo>
                  <a:lnTo>
                    <a:pt x="1234" y="90"/>
                  </a:lnTo>
                  <a:lnTo>
                    <a:pt x="1233" y="90"/>
                  </a:lnTo>
                  <a:lnTo>
                    <a:pt x="1231" y="91"/>
                  </a:lnTo>
                  <a:lnTo>
                    <a:pt x="1230" y="91"/>
                  </a:lnTo>
                  <a:lnTo>
                    <a:pt x="1231" y="91"/>
                  </a:lnTo>
                  <a:lnTo>
                    <a:pt x="1231" y="93"/>
                  </a:lnTo>
                  <a:lnTo>
                    <a:pt x="1231" y="95"/>
                  </a:lnTo>
                  <a:lnTo>
                    <a:pt x="1233" y="96"/>
                  </a:lnTo>
                  <a:lnTo>
                    <a:pt x="1234" y="96"/>
                  </a:lnTo>
                  <a:lnTo>
                    <a:pt x="1236" y="96"/>
                  </a:lnTo>
                  <a:lnTo>
                    <a:pt x="1236" y="98"/>
                  </a:lnTo>
                  <a:lnTo>
                    <a:pt x="1238" y="98"/>
                  </a:lnTo>
                  <a:lnTo>
                    <a:pt x="1241" y="99"/>
                  </a:lnTo>
                  <a:lnTo>
                    <a:pt x="1243" y="99"/>
                  </a:lnTo>
                  <a:lnTo>
                    <a:pt x="1246" y="99"/>
                  </a:lnTo>
                  <a:lnTo>
                    <a:pt x="1247" y="99"/>
                  </a:lnTo>
                  <a:lnTo>
                    <a:pt x="1247" y="101"/>
                  </a:lnTo>
                  <a:lnTo>
                    <a:pt x="1249" y="101"/>
                  </a:lnTo>
                  <a:lnTo>
                    <a:pt x="1251" y="101"/>
                  </a:lnTo>
                  <a:lnTo>
                    <a:pt x="1252" y="101"/>
                  </a:lnTo>
                  <a:lnTo>
                    <a:pt x="1254" y="99"/>
                  </a:lnTo>
                  <a:lnTo>
                    <a:pt x="1256" y="101"/>
                  </a:lnTo>
                  <a:lnTo>
                    <a:pt x="1257" y="103"/>
                  </a:lnTo>
                  <a:lnTo>
                    <a:pt x="1260" y="103"/>
                  </a:lnTo>
                  <a:lnTo>
                    <a:pt x="1260" y="104"/>
                  </a:lnTo>
                  <a:lnTo>
                    <a:pt x="1259" y="104"/>
                  </a:lnTo>
                  <a:lnTo>
                    <a:pt x="1259" y="106"/>
                  </a:lnTo>
                  <a:lnTo>
                    <a:pt x="1257" y="108"/>
                  </a:lnTo>
                  <a:lnTo>
                    <a:pt x="1257" y="109"/>
                  </a:lnTo>
                  <a:lnTo>
                    <a:pt x="1257" y="111"/>
                  </a:lnTo>
                  <a:lnTo>
                    <a:pt x="1257" y="112"/>
                  </a:lnTo>
                  <a:lnTo>
                    <a:pt x="1256" y="112"/>
                  </a:lnTo>
                  <a:lnTo>
                    <a:pt x="1256" y="114"/>
                  </a:lnTo>
                  <a:lnTo>
                    <a:pt x="1256" y="116"/>
                  </a:lnTo>
                  <a:lnTo>
                    <a:pt x="1256" y="117"/>
                  </a:lnTo>
                  <a:lnTo>
                    <a:pt x="1257" y="119"/>
                  </a:lnTo>
                  <a:lnTo>
                    <a:pt x="1257" y="121"/>
                  </a:lnTo>
                  <a:lnTo>
                    <a:pt x="1256" y="121"/>
                  </a:lnTo>
                  <a:lnTo>
                    <a:pt x="1254" y="121"/>
                  </a:lnTo>
                  <a:lnTo>
                    <a:pt x="1254" y="122"/>
                  </a:lnTo>
                  <a:lnTo>
                    <a:pt x="1252" y="124"/>
                  </a:lnTo>
                  <a:lnTo>
                    <a:pt x="1252" y="125"/>
                  </a:lnTo>
                  <a:lnTo>
                    <a:pt x="1252" y="129"/>
                  </a:lnTo>
                  <a:lnTo>
                    <a:pt x="1252" y="130"/>
                  </a:lnTo>
                  <a:lnTo>
                    <a:pt x="1252" y="132"/>
                  </a:lnTo>
                  <a:lnTo>
                    <a:pt x="1251" y="132"/>
                  </a:lnTo>
                  <a:lnTo>
                    <a:pt x="1251" y="135"/>
                  </a:lnTo>
                  <a:lnTo>
                    <a:pt x="1249" y="137"/>
                  </a:lnTo>
                  <a:lnTo>
                    <a:pt x="1247" y="137"/>
                  </a:lnTo>
                  <a:lnTo>
                    <a:pt x="1247" y="139"/>
                  </a:lnTo>
                  <a:lnTo>
                    <a:pt x="1249" y="140"/>
                  </a:lnTo>
                  <a:lnTo>
                    <a:pt x="1249" y="142"/>
                  </a:lnTo>
                  <a:lnTo>
                    <a:pt x="1251" y="143"/>
                  </a:lnTo>
                  <a:lnTo>
                    <a:pt x="1251" y="145"/>
                  </a:lnTo>
                  <a:lnTo>
                    <a:pt x="1252" y="147"/>
                  </a:lnTo>
                  <a:lnTo>
                    <a:pt x="1252" y="148"/>
                  </a:lnTo>
                  <a:lnTo>
                    <a:pt x="1251" y="148"/>
                  </a:lnTo>
                  <a:lnTo>
                    <a:pt x="1249" y="150"/>
                  </a:lnTo>
                  <a:lnTo>
                    <a:pt x="1247" y="152"/>
                  </a:lnTo>
                  <a:lnTo>
                    <a:pt x="1247" y="153"/>
                  </a:lnTo>
                  <a:lnTo>
                    <a:pt x="1246" y="156"/>
                  </a:lnTo>
                  <a:lnTo>
                    <a:pt x="1246" y="160"/>
                  </a:lnTo>
                  <a:lnTo>
                    <a:pt x="1246" y="161"/>
                  </a:lnTo>
                  <a:lnTo>
                    <a:pt x="1246" y="168"/>
                  </a:lnTo>
                  <a:lnTo>
                    <a:pt x="1244" y="168"/>
                  </a:lnTo>
                  <a:lnTo>
                    <a:pt x="1246" y="169"/>
                  </a:lnTo>
                  <a:lnTo>
                    <a:pt x="1244" y="169"/>
                  </a:lnTo>
                  <a:lnTo>
                    <a:pt x="1243" y="169"/>
                  </a:lnTo>
                  <a:lnTo>
                    <a:pt x="1243" y="171"/>
                  </a:lnTo>
                  <a:lnTo>
                    <a:pt x="1243" y="173"/>
                  </a:lnTo>
                  <a:lnTo>
                    <a:pt x="1243" y="176"/>
                  </a:lnTo>
                  <a:lnTo>
                    <a:pt x="1243" y="179"/>
                  </a:lnTo>
                  <a:lnTo>
                    <a:pt x="1243" y="181"/>
                  </a:lnTo>
                  <a:lnTo>
                    <a:pt x="1243" y="182"/>
                  </a:lnTo>
                  <a:lnTo>
                    <a:pt x="1243" y="187"/>
                  </a:lnTo>
                  <a:lnTo>
                    <a:pt x="1243" y="189"/>
                  </a:lnTo>
                  <a:lnTo>
                    <a:pt x="1243" y="192"/>
                  </a:lnTo>
                  <a:lnTo>
                    <a:pt x="1243" y="194"/>
                  </a:lnTo>
                  <a:lnTo>
                    <a:pt x="1241" y="195"/>
                  </a:lnTo>
                  <a:lnTo>
                    <a:pt x="1241" y="197"/>
                  </a:lnTo>
                  <a:lnTo>
                    <a:pt x="1241" y="199"/>
                  </a:lnTo>
                  <a:lnTo>
                    <a:pt x="1243" y="200"/>
                  </a:lnTo>
                  <a:lnTo>
                    <a:pt x="1244" y="202"/>
                  </a:lnTo>
                  <a:lnTo>
                    <a:pt x="1247" y="207"/>
                  </a:lnTo>
                  <a:lnTo>
                    <a:pt x="1249" y="207"/>
                  </a:lnTo>
                  <a:lnTo>
                    <a:pt x="1251" y="207"/>
                  </a:lnTo>
                  <a:lnTo>
                    <a:pt x="1252" y="208"/>
                  </a:lnTo>
                  <a:lnTo>
                    <a:pt x="1252" y="210"/>
                  </a:lnTo>
                  <a:lnTo>
                    <a:pt x="1252" y="212"/>
                  </a:lnTo>
                  <a:lnTo>
                    <a:pt x="1252" y="215"/>
                  </a:lnTo>
                  <a:lnTo>
                    <a:pt x="1252" y="217"/>
                  </a:lnTo>
                  <a:lnTo>
                    <a:pt x="1251" y="218"/>
                  </a:lnTo>
                  <a:lnTo>
                    <a:pt x="1252" y="226"/>
                  </a:lnTo>
                  <a:lnTo>
                    <a:pt x="1252" y="230"/>
                  </a:lnTo>
                  <a:lnTo>
                    <a:pt x="1252" y="231"/>
                  </a:lnTo>
                  <a:lnTo>
                    <a:pt x="1254" y="233"/>
                  </a:lnTo>
                  <a:lnTo>
                    <a:pt x="1254" y="234"/>
                  </a:lnTo>
                  <a:lnTo>
                    <a:pt x="1252" y="236"/>
                  </a:lnTo>
                  <a:lnTo>
                    <a:pt x="1251" y="238"/>
                  </a:lnTo>
                  <a:lnTo>
                    <a:pt x="1251" y="239"/>
                  </a:lnTo>
                  <a:lnTo>
                    <a:pt x="1249" y="241"/>
                  </a:lnTo>
                  <a:lnTo>
                    <a:pt x="1247" y="244"/>
                  </a:lnTo>
                  <a:lnTo>
                    <a:pt x="1247" y="246"/>
                  </a:lnTo>
                  <a:lnTo>
                    <a:pt x="1247" y="247"/>
                  </a:lnTo>
                  <a:lnTo>
                    <a:pt x="1246" y="249"/>
                  </a:lnTo>
                  <a:lnTo>
                    <a:pt x="1246" y="254"/>
                  </a:lnTo>
                  <a:lnTo>
                    <a:pt x="1247" y="256"/>
                  </a:lnTo>
                  <a:lnTo>
                    <a:pt x="1246" y="257"/>
                  </a:lnTo>
                  <a:lnTo>
                    <a:pt x="1246" y="259"/>
                  </a:lnTo>
                  <a:lnTo>
                    <a:pt x="1247" y="260"/>
                  </a:lnTo>
                  <a:lnTo>
                    <a:pt x="1247" y="262"/>
                  </a:lnTo>
                  <a:lnTo>
                    <a:pt x="1247" y="264"/>
                  </a:lnTo>
                  <a:lnTo>
                    <a:pt x="1251" y="264"/>
                  </a:lnTo>
                  <a:lnTo>
                    <a:pt x="1252" y="265"/>
                  </a:lnTo>
                  <a:lnTo>
                    <a:pt x="1254" y="265"/>
                  </a:lnTo>
                  <a:lnTo>
                    <a:pt x="1254" y="267"/>
                  </a:lnTo>
                  <a:lnTo>
                    <a:pt x="1256" y="269"/>
                  </a:lnTo>
                  <a:lnTo>
                    <a:pt x="1257" y="269"/>
                  </a:lnTo>
                  <a:lnTo>
                    <a:pt x="1259" y="269"/>
                  </a:lnTo>
                  <a:lnTo>
                    <a:pt x="1260" y="269"/>
                  </a:lnTo>
                  <a:lnTo>
                    <a:pt x="1262" y="270"/>
                  </a:lnTo>
                  <a:lnTo>
                    <a:pt x="1264" y="270"/>
                  </a:lnTo>
                  <a:lnTo>
                    <a:pt x="1265" y="270"/>
                  </a:lnTo>
                  <a:lnTo>
                    <a:pt x="1264" y="272"/>
                  </a:lnTo>
                  <a:lnTo>
                    <a:pt x="1262" y="274"/>
                  </a:lnTo>
                  <a:lnTo>
                    <a:pt x="1259" y="278"/>
                  </a:lnTo>
                  <a:lnTo>
                    <a:pt x="1259" y="280"/>
                  </a:lnTo>
                  <a:lnTo>
                    <a:pt x="1259" y="282"/>
                  </a:lnTo>
                  <a:lnTo>
                    <a:pt x="1257" y="283"/>
                  </a:lnTo>
                  <a:lnTo>
                    <a:pt x="1256" y="285"/>
                  </a:lnTo>
                  <a:lnTo>
                    <a:pt x="1254" y="287"/>
                  </a:lnTo>
                  <a:lnTo>
                    <a:pt x="1252" y="288"/>
                  </a:lnTo>
                  <a:lnTo>
                    <a:pt x="1251" y="290"/>
                  </a:lnTo>
                  <a:lnTo>
                    <a:pt x="1249" y="295"/>
                  </a:lnTo>
                  <a:lnTo>
                    <a:pt x="1246" y="303"/>
                  </a:lnTo>
                  <a:lnTo>
                    <a:pt x="1246" y="311"/>
                  </a:lnTo>
                  <a:lnTo>
                    <a:pt x="1244" y="311"/>
                  </a:lnTo>
                  <a:lnTo>
                    <a:pt x="1243" y="311"/>
                  </a:lnTo>
                  <a:lnTo>
                    <a:pt x="1239" y="313"/>
                  </a:lnTo>
                  <a:lnTo>
                    <a:pt x="1238" y="314"/>
                  </a:lnTo>
                  <a:lnTo>
                    <a:pt x="1238" y="317"/>
                  </a:lnTo>
                  <a:lnTo>
                    <a:pt x="1239" y="319"/>
                  </a:lnTo>
                  <a:lnTo>
                    <a:pt x="1238" y="321"/>
                  </a:lnTo>
                  <a:lnTo>
                    <a:pt x="1239" y="321"/>
                  </a:lnTo>
                  <a:lnTo>
                    <a:pt x="1239" y="322"/>
                  </a:lnTo>
                  <a:lnTo>
                    <a:pt x="1239" y="324"/>
                  </a:lnTo>
                  <a:lnTo>
                    <a:pt x="1241" y="326"/>
                  </a:lnTo>
                  <a:lnTo>
                    <a:pt x="1239" y="326"/>
                  </a:lnTo>
                  <a:lnTo>
                    <a:pt x="1241" y="327"/>
                  </a:lnTo>
                  <a:lnTo>
                    <a:pt x="1241" y="329"/>
                  </a:lnTo>
                  <a:lnTo>
                    <a:pt x="1241" y="330"/>
                  </a:lnTo>
                  <a:lnTo>
                    <a:pt x="1241" y="332"/>
                  </a:lnTo>
                  <a:lnTo>
                    <a:pt x="1241" y="334"/>
                  </a:lnTo>
                  <a:lnTo>
                    <a:pt x="1241" y="337"/>
                  </a:lnTo>
                  <a:lnTo>
                    <a:pt x="1243" y="340"/>
                  </a:lnTo>
                  <a:lnTo>
                    <a:pt x="1246" y="342"/>
                  </a:lnTo>
                  <a:lnTo>
                    <a:pt x="1244" y="342"/>
                  </a:lnTo>
                  <a:lnTo>
                    <a:pt x="1241" y="340"/>
                  </a:lnTo>
                  <a:lnTo>
                    <a:pt x="1239" y="340"/>
                  </a:lnTo>
                  <a:lnTo>
                    <a:pt x="1239" y="342"/>
                  </a:lnTo>
                  <a:lnTo>
                    <a:pt x="1238" y="343"/>
                  </a:lnTo>
                  <a:lnTo>
                    <a:pt x="1236" y="348"/>
                  </a:lnTo>
                  <a:lnTo>
                    <a:pt x="1234" y="348"/>
                  </a:lnTo>
                  <a:lnTo>
                    <a:pt x="1236" y="350"/>
                  </a:lnTo>
                  <a:lnTo>
                    <a:pt x="1238" y="352"/>
                  </a:lnTo>
                  <a:lnTo>
                    <a:pt x="1238" y="353"/>
                  </a:lnTo>
                  <a:lnTo>
                    <a:pt x="1238" y="355"/>
                  </a:lnTo>
                  <a:lnTo>
                    <a:pt x="1236" y="355"/>
                  </a:lnTo>
                  <a:lnTo>
                    <a:pt x="1236" y="356"/>
                  </a:lnTo>
                  <a:lnTo>
                    <a:pt x="1236" y="358"/>
                  </a:lnTo>
                  <a:lnTo>
                    <a:pt x="1234" y="358"/>
                  </a:lnTo>
                  <a:lnTo>
                    <a:pt x="1233" y="358"/>
                  </a:lnTo>
                  <a:lnTo>
                    <a:pt x="1233" y="360"/>
                  </a:lnTo>
                  <a:lnTo>
                    <a:pt x="1231" y="361"/>
                  </a:lnTo>
                  <a:lnTo>
                    <a:pt x="1233" y="363"/>
                  </a:lnTo>
                  <a:lnTo>
                    <a:pt x="1231" y="363"/>
                  </a:lnTo>
                  <a:lnTo>
                    <a:pt x="1230" y="363"/>
                  </a:lnTo>
                  <a:lnTo>
                    <a:pt x="1228" y="363"/>
                  </a:lnTo>
                  <a:lnTo>
                    <a:pt x="1226" y="363"/>
                  </a:lnTo>
                  <a:lnTo>
                    <a:pt x="1226" y="365"/>
                  </a:lnTo>
                  <a:lnTo>
                    <a:pt x="1226" y="366"/>
                  </a:lnTo>
                  <a:lnTo>
                    <a:pt x="1225" y="366"/>
                  </a:lnTo>
                  <a:lnTo>
                    <a:pt x="1223" y="369"/>
                  </a:lnTo>
                  <a:lnTo>
                    <a:pt x="1221" y="371"/>
                  </a:lnTo>
                  <a:lnTo>
                    <a:pt x="1220" y="371"/>
                  </a:lnTo>
                  <a:lnTo>
                    <a:pt x="1220" y="373"/>
                  </a:lnTo>
                  <a:lnTo>
                    <a:pt x="1217" y="371"/>
                  </a:lnTo>
                  <a:lnTo>
                    <a:pt x="1217" y="373"/>
                  </a:lnTo>
                  <a:lnTo>
                    <a:pt x="1215" y="373"/>
                  </a:lnTo>
                  <a:lnTo>
                    <a:pt x="1215" y="374"/>
                  </a:lnTo>
                  <a:lnTo>
                    <a:pt x="1212" y="374"/>
                  </a:lnTo>
                  <a:lnTo>
                    <a:pt x="1208" y="376"/>
                  </a:lnTo>
                  <a:lnTo>
                    <a:pt x="1208" y="378"/>
                  </a:lnTo>
                  <a:lnTo>
                    <a:pt x="1208" y="379"/>
                  </a:lnTo>
                  <a:lnTo>
                    <a:pt x="1207" y="379"/>
                  </a:lnTo>
                  <a:lnTo>
                    <a:pt x="1205" y="379"/>
                  </a:lnTo>
                  <a:lnTo>
                    <a:pt x="1205" y="381"/>
                  </a:lnTo>
                  <a:lnTo>
                    <a:pt x="1203" y="381"/>
                  </a:lnTo>
                  <a:lnTo>
                    <a:pt x="1200" y="381"/>
                  </a:lnTo>
                  <a:lnTo>
                    <a:pt x="1200" y="382"/>
                  </a:lnTo>
                  <a:lnTo>
                    <a:pt x="1199" y="382"/>
                  </a:lnTo>
                  <a:lnTo>
                    <a:pt x="1199" y="384"/>
                  </a:lnTo>
                  <a:lnTo>
                    <a:pt x="1197" y="386"/>
                  </a:lnTo>
                  <a:lnTo>
                    <a:pt x="1195" y="386"/>
                  </a:lnTo>
                  <a:lnTo>
                    <a:pt x="1194" y="384"/>
                  </a:lnTo>
                  <a:lnTo>
                    <a:pt x="1192" y="386"/>
                  </a:lnTo>
                  <a:lnTo>
                    <a:pt x="1189" y="386"/>
                  </a:lnTo>
                  <a:lnTo>
                    <a:pt x="1189" y="391"/>
                  </a:lnTo>
                  <a:lnTo>
                    <a:pt x="1189" y="394"/>
                  </a:lnTo>
                  <a:lnTo>
                    <a:pt x="1187" y="397"/>
                  </a:lnTo>
                  <a:lnTo>
                    <a:pt x="1186" y="400"/>
                  </a:lnTo>
                  <a:lnTo>
                    <a:pt x="1186" y="402"/>
                  </a:lnTo>
                  <a:lnTo>
                    <a:pt x="46" y="405"/>
                  </a:lnTo>
                  <a:lnTo>
                    <a:pt x="47" y="404"/>
                  </a:lnTo>
                  <a:lnTo>
                    <a:pt x="46" y="404"/>
                  </a:lnTo>
                  <a:lnTo>
                    <a:pt x="46" y="402"/>
                  </a:lnTo>
                  <a:lnTo>
                    <a:pt x="47" y="400"/>
                  </a:lnTo>
                  <a:lnTo>
                    <a:pt x="46" y="400"/>
                  </a:lnTo>
                  <a:lnTo>
                    <a:pt x="46" y="399"/>
                  </a:lnTo>
                  <a:lnTo>
                    <a:pt x="47" y="399"/>
                  </a:lnTo>
                  <a:lnTo>
                    <a:pt x="47" y="397"/>
                  </a:lnTo>
                  <a:lnTo>
                    <a:pt x="46" y="397"/>
                  </a:lnTo>
                  <a:lnTo>
                    <a:pt x="44" y="395"/>
                  </a:lnTo>
                  <a:lnTo>
                    <a:pt x="42" y="394"/>
                  </a:lnTo>
                  <a:lnTo>
                    <a:pt x="42" y="392"/>
                  </a:lnTo>
                  <a:lnTo>
                    <a:pt x="42" y="389"/>
                  </a:lnTo>
                  <a:lnTo>
                    <a:pt x="42" y="387"/>
                  </a:lnTo>
                  <a:lnTo>
                    <a:pt x="41" y="387"/>
                  </a:lnTo>
                  <a:lnTo>
                    <a:pt x="39" y="387"/>
                  </a:lnTo>
                  <a:lnTo>
                    <a:pt x="37" y="387"/>
                  </a:lnTo>
                  <a:lnTo>
                    <a:pt x="37" y="386"/>
                  </a:lnTo>
                  <a:lnTo>
                    <a:pt x="36" y="386"/>
                  </a:lnTo>
                  <a:lnTo>
                    <a:pt x="34" y="386"/>
                  </a:lnTo>
                  <a:lnTo>
                    <a:pt x="34" y="384"/>
                  </a:lnTo>
                  <a:lnTo>
                    <a:pt x="31" y="382"/>
                  </a:lnTo>
                  <a:lnTo>
                    <a:pt x="34" y="378"/>
                  </a:lnTo>
                  <a:lnTo>
                    <a:pt x="37" y="376"/>
                  </a:lnTo>
                  <a:lnTo>
                    <a:pt x="41" y="373"/>
                  </a:lnTo>
                  <a:lnTo>
                    <a:pt x="39" y="365"/>
                  </a:lnTo>
                  <a:lnTo>
                    <a:pt x="39" y="360"/>
                  </a:lnTo>
                  <a:lnTo>
                    <a:pt x="39" y="358"/>
                  </a:lnTo>
                  <a:lnTo>
                    <a:pt x="42" y="350"/>
                  </a:lnTo>
                  <a:lnTo>
                    <a:pt x="44" y="343"/>
                  </a:lnTo>
                  <a:lnTo>
                    <a:pt x="46" y="343"/>
                  </a:lnTo>
                  <a:lnTo>
                    <a:pt x="47" y="337"/>
                  </a:lnTo>
                  <a:lnTo>
                    <a:pt x="49" y="332"/>
                  </a:lnTo>
                  <a:lnTo>
                    <a:pt x="50" y="327"/>
                  </a:lnTo>
                  <a:lnTo>
                    <a:pt x="44" y="309"/>
                  </a:lnTo>
                  <a:lnTo>
                    <a:pt x="44" y="304"/>
                  </a:lnTo>
                  <a:lnTo>
                    <a:pt x="46" y="303"/>
                  </a:lnTo>
                  <a:lnTo>
                    <a:pt x="46" y="300"/>
                  </a:lnTo>
                  <a:lnTo>
                    <a:pt x="46" y="298"/>
                  </a:lnTo>
                  <a:lnTo>
                    <a:pt x="46" y="296"/>
                  </a:lnTo>
                  <a:lnTo>
                    <a:pt x="42" y="291"/>
                  </a:lnTo>
                  <a:lnTo>
                    <a:pt x="41" y="288"/>
                  </a:lnTo>
                  <a:lnTo>
                    <a:pt x="39" y="285"/>
                  </a:lnTo>
                  <a:lnTo>
                    <a:pt x="52" y="272"/>
                  </a:lnTo>
                  <a:lnTo>
                    <a:pt x="50" y="272"/>
                  </a:lnTo>
                  <a:lnTo>
                    <a:pt x="49" y="270"/>
                  </a:lnTo>
                  <a:lnTo>
                    <a:pt x="47" y="269"/>
                  </a:lnTo>
                  <a:lnTo>
                    <a:pt x="46" y="267"/>
                  </a:lnTo>
                  <a:lnTo>
                    <a:pt x="44" y="265"/>
                  </a:lnTo>
                  <a:lnTo>
                    <a:pt x="44" y="264"/>
                  </a:lnTo>
                  <a:lnTo>
                    <a:pt x="42" y="262"/>
                  </a:lnTo>
                  <a:lnTo>
                    <a:pt x="41" y="259"/>
                  </a:lnTo>
                  <a:lnTo>
                    <a:pt x="41" y="257"/>
                  </a:lnTo>
                  <a:lnTo>
                    <a:pt x="39" y="257"/>
                  </a:lnTo>
                  <a:lnTo>
                    <a:pt x="39" y="256"/>
                  </a:lnTo>
                  <a:lnTo>
                    <a:pt x="37" y="254"/>
                  </a:lnTo>
                  <a:lnTo>
                    <a:pt x="37" y="252"/>
                  </a:lnTo>
                  <a:lnTo>
                    <a:pt x="36" y="252"/>
                  </a:lnTo>
                  <a:lnTo>
                    <a:pt x="34" y="252"/>
                  </a:lnTo>
                  <a:lnTo>
                    <a:pt x="34" y="251"/>
                  </a:lnTo>
                  <a:lnTo>
                    <a:pt x="36" y="251"/>
                  </a:lnTo>
                  <a:lnTo>
                    <a:pt x="36" y="249"/>
                  </a:lnTo>
                  <a:lnTo>
                    <a:pt x="37" y="249"/>
                  </a:lnTo>
                  <a:lnTo>
                    <a:pt x="37" y="247"/>
                  </a:lnTo>
                  <a:lnTo>
                    <a:pt x="39" y="247"/>
                  </a:lnTo>
                  <a:lnTo>
                    <a:pt x="39" y="246"/>
                  </a:lnTo>
                  <a:lnTo>
                    <a:pt x="41" y="246"/>
                  </a:lnTo>
                  <a:lnTo>
                    <a:pt x="44" y="243"/>
                  </a:lnTo>
                  <a:lnTo>
                    <a:pt x="46" y="241"/>
                  </a:lnTo>
                  <a:lnTo>
                    <a:pt x="46" y="238"/>
                  </a:lnTo>
                  <a:lnTo>
                    <a:pt x="50" y="236"/>
                  </a:lnTo>
                  <a:lnTo>
                    <a:pt x="44" y="231"/>
                  </a:lnTo>
                  <a:lnTo>
                    <a:pt x="42" y="230"/>
                  </a:lnTo>
                  <a:lnTo>
                    <a:pt x="44" y="230"/>
                  </a:lnTo>
                  <a:lnTo>
                    <a:pt x="42" y="230"/>
                  </a:lnTo>
                  <a:lnTo>
                    <a:pt x="39" y="228"/>
                  </a:lnTo>
                  <a:lnTo>
                    <a:pt x="37" y="225"/>
                  </a:lnTo>
                  <a:lnTo>
                    <a:pt x="34" y="225"/>
                  </a:lnTo>
                  <a:lnTo>
                    <a:pt x="34" y="221"/>
                  </a:lnTo>
                  <a:lnTo>
                    <a:pt x="34" y="220"/>
                  </a:lnTo>
                  <a:lnTo>
                    <a:pt x="31" y="217"/>
                  </a:lnTo>
                  <a:lnTo>
                    <a:pt x="29" y="217"/>
                  </a:lnTo>
                  <a:lnTo>
                    <a:pt x="28" y="215"/>
                  </a:lnTo>
                  <a:lnTo>
                    <a:pt x="26" y="213"/>
                  </a:lnTo>
                  <a:lnTo>
                    <a:pt x="26" y="212"/>
                  </a:lnTo>
                  <a:lnTo>
                    <a:pt x="26" y="210"/>
                  </a:lnTo>
                  <a:lnTo>
                    <a:pt x="26" y="205"/>
                  </a:lnTo>
                  <a:lnTo>
                    <a:pt x="24" y="205"/>
                  </a:lnTo>
                  <a:lnTo>
                    <a:pt x="23" y="205"/>
                  </a:lnTo>
                  <a:lnTo>
                    <a:pt x="21" y="205"/>
                  </a:lnTo>
                  <a:lnTo>
                    <a:pt x="19" y="205"/>
                  </a:lnTo>
                  <a:lnTo>
                    <a:pt x="18" y="205"/>
                  </a:lnTo>
                  <a:lnTo>
                    <a:pt x="16" y="202"/>
                  </a:lnTo>
                  <a:lnTo>
                    <a:pt x="13" y="200"/>
                  </a:lnTo>
                  <a:lnTo>
                    <a:pt x="13" y="199"/>
                  </a:lnTo>
                  <a:lnTo>
                    <a:pt x="11" y="197"/>
                  </a:lnTo>
                  <a:lnTo>
                    <a:pt x="10" y="195"/>
                  </a:lnTo>
                  <a:lnTo>
                    <a:pt x="10" y="194"/>
                  </a:lnTo>
                  <a:lnTo>
                    <a:pt x="8" y="194"/>
                  </a:lnTo>
                  <a:lnTo>
                    <a:pt x="10" y="194"/>
                  </a:lnTo>
                  <a:lnTo>
                    <a:pt x="8" y="192"/>
                  </a:lnTo>
                  <a:lnTo>
                    <a:pt x="6" y="192"/>
                  </a:lnTo>
                  <a:lnTo>
                    <a:pt x="6" y="191"/>
                  </a:lnTo>
                  <a:lnTo>
                    <a:pt x="5" y="192"/>
                  </a:lnTo>
                  <a:lnTo>
                    <a:pt x="5" y="191"/>
                  </a:lnTo>
                  <a:lnTo>
                    <a:pt x="3" y="191"/>
                  </a:lnTo>
                  <a:lnTo>
                    <a:pt x="3" y="189"/>
                  </a:lnTo>
                  <a:lnTo>
                    <a:pt x="3" y="187"/>
                  </a:lnTo>
                  <a:lnTo>
                    <a:pt x="2" y="187"/>
                  </a:lnTo>
                  <a:lnTo>
                    <a:pt x="2" y="186"/>
                  </a:lnTo>
                  <a:lnTo>
                    <a:pt x="0" y="186"/>
                  </a:lnTo>
                  <a:lnTo>
                    <a:pt x="0" y="184"/>
                  </a:lnTo>
                  <a:lnTo>
                    <a:pt x="0" y="186"/>
                  </a:lnTo>
                  <a:lnTo>
                    <a:pt x="0" y="184"/>
                  </a:lnTo>
                  <a:lnTo>
                    <a:pt x="2" y="184"/>
                  </a:lnTo>
                  <a:lnTo>
                    <a:pt x="2" y="182"/>
                  </a:lnTo>
                  <a:lnTo>
                    <a:pt x="2" y="181"/>
                  </a:lnTo>
                  <a:lnTo>
                    <a:pt x="2" y="179"/>
                  </a:lnTo>
                  <a:lnTo>
                    <a:pt x="3" y="179"/>
                  </a:lnTo>
                  <a:lnTo>
                    <a:pt x="5" y="179"/>
                  </a:lnTo>
                  <a:lnTo>
                    <a:pt x="6" y="179"/>
                  </a:lnTo>
                  <a:lnTo>
                    <a:pt x="6" y="178"/>
                  </a:lnTo>
                  <a:lnTo>
                    <a:pt x="6" y="179"/>
                  </a:lnTo>
                  <a:lnTo>
                    <a:pt x="8" y="179"/>
                  </a:lnTo>
                  <a:lnTo>
                    <a:pt x="8" y="178"/>
                  </a:lnTo>
                  <a:lnTo>
                    <a:pt x="10" y="179"/>
                  </a:lnTo>
                  <a:lnTo>
                    <a:pt x="11" y="179"/>
                  </a:lnTo>
                  <a:lnTo>
                    <a:pt x="11" y="181"/>
                  </a:lnTo>
                  <a:lnTo>
                    <a:pt x="13" y="179"/>
                  </a:lnTo>
                  <a:lnTo>
                    <a:pt x="13" y="181"/>
                  </a:lnTo>
                  <a:lnTo>
                    <a:pt x="13" y="182"/>
                  </a:lnTo>
                  <a:lnTo>
                    <a:pt x="15" y="182"/>
                  </a:lnTo>
                  <a:lnTo>
                    <a:pt x="16" y="184"/>
                  </a:lnTo>
                  <a:lnTo>
                    <a:pt x="18" y="184"/>
                  </a:lnTo>
                  <a:lnTo>
                    <a:pt x="19" y="184"/>
                  </a:lnTo>
                  <a:lnTo>
                    <a:pt x="21" y="184"/>
                  </a:lnTo>
                  <a:lnTo>
                    <a:pt x="23" y="184"/>
                  </a:lnTo>
                  <a:lnTo>
                    <a:pt x="24" y="184"/>
                  </a:lnTo>
                  <a:lnTo>
                    <a:pt x="24" y="186"/>
                  </a:lnTo>
                  <a:lnTo>
                    <a:pt x="26" y="186"/>
                  </a:lnTo>
                  <a:lnTo>
                    <a:pt x="28" y="186"/>
                  </a:lnTo>
                  <a:lnTo>
                    <a:pt x="29" y="186"/>
                  </a:lnTo>
                  <a:lnTo>
                    <a:pt x="31" y="186"/>
                  </a:lnTo>
                  <a:lnTo>
                    <a:pt x="33" y="186"/>
                  </a:lnTo>
                  <a:lnTo>
                    <a:pt x="34" y="186"/>
                  </a:lnTo>
                  <a:lnTo>
                    <a:pt x="34" y="184"/>
                  </a:lnTo>
                  <a:lnTo>
                    <a:pt x="36" y="186"/>
                  </a:lnTo>
                  <a:lnTo>
                    <a:pt x="36" y="184"/>
                  </a:lnTo>
                  <a:lnTo>
                    <a:pt x="36" y="186"/>
                  </a:lnTo>
                  <a:lnTo>
                    <a:pt x="37" y="184"/>
                  </a:lnTo>
                  <a:lnTo>
                    <a:pt x="37" y="186"/>
                  </a:lnTo>
                  <a:lnTo>
                    <a:pt x="37" y="184"/>
                  </a:lnTo>
                  <a:lnTo>
                    <a:pt x="39" y="184"/>
                  </a:lnTo>
                  <a:lnTo>
                    <a:pt x="41" y="184"/>
                  </a:lnTo>
                  <a:lnTo>
                    <a:pt x="42" y="184"/>
                  </a:lnTo>
                  <a:lnTo>
                    <a:pt x="44" y="184"/>
                  </a:lnTo>
                  <a:lnTo>
                    <a:pt x="44" y="182"/>
                  </a:lnTo>
                  <a:lnTo>
                    <a:pt x="46" y="182"/>
                  </a:lnTo>
                  <a:lnTo>
                    <a:pt x="47" y="182"/>
                  </a:lnTo>
                  <a:lnTo>
                    <a:pt x="49" y="182"/>
                  </a:lnTo>
                  <a:lnTo>
                    <a:pt x="49" y="181"/>
                  </a:lnTo>
                  <a:lnTo>
                    <a:pt x="50" y="181"/>
                  </a:lnTo>
                  <a:lnTo>
                    <a:pt x="50" y="182"/>
                  </a:lnTo>
                  <a:lnTo>
                    <a:pt x="52" y="182"/>
                  </a:lnTo>
                  <a:lnTo>
                    <a:pt x="54" y="182"/>
                  </a:lnTo>
                  <a:lnTo>
                    <a:pt x="55" y="182"/>
                  </a:lnTo>
                  <a:lnTo>
                    <a:pt x="55" y="181"/>
                  </a:lnTo>
                  <a:lnTo>
                    <a:pt x="57" y="181"/>
                  </a:lnTo>
                  <a:lnTo>
                    <a:pt x="59" y="179"/>
                  </a:lnTo>
                  <a:lnTo>
                    <a:pt x="59" y="181"/>
                  </a:lnTo>
                  <a:lnTo>
                    <a:pt x="59" y="179"/>
                  </a:lnTo>
                  <a:lnTo>
                    <a:pt x="60" y="179"/>
                  </a:lnTo>
                  <a:lnTo>
                    <a:pt x="60" y="178"/>
                  </a:lnTo>
                  <a:lnTo>
                    <a:pt x="62" y="178"/>
                  </a:lnTo>
                  <a:lnTo>
                    <a:pt x="62" y="176"/>
                  </a:lnTo>
                  <a:lnTo>
                    <a:pt x="62" y="178"/>
                  </a:lnTo>
                  <a:lnTo>
                    <a:pt x="62" y="176"/>
                  </a:lnTo>
                  <a:lnTo>
                    <a:pt x="63" y="176"/>
                  </a:lnTo>
                  <a:lnTo>
                    <a:pt x="65" y="176"/>
                  </a:lnTo>
                  <a:lnTo>
                    <a:pt x="67" y="176"/>
                  </a:lnTo>
                  <a:lnTo>
                    <a:pt x="68" y="176"/>
                  </a:lnTo>
                  <a:lnTo>
                    <a:pt x="68" y="178"/>
                  </a:lnTo>
                  <a:lnTo>
                    <a:pt x="68" y="176"/>
                  </a:lnTo>
                  <a:lnTo>
                    <a:pt x="70" y="176"/>
                  </a:lnTo>
                  <a:lnTo>
                    <a:pt x="70" y="174"/>
                  </a:lnTo>
                  <a:lnTo>
                    <a:pt x="70" y="173"/>
                  </a:lnTo>
                  <a:lnTo>
                    <a:pt x="72" y="173"/>
                  </a:lnTo>
                  <a:lnTo>
                    <a:pt x="73" y="171"/>
                  </a:lnTo>
                  <a:lnTo>
                    <a:pt x="75" y="171"/>
                  </a:lnTo>
                  <a:lnTo>
                    <a:pt x="73" y="171"/>
                  </a:lnTo>
                  <a:lnTo>
                    <a:pt x="75" y="171"/>
                  </a:lnTo>
                  <a:lnTo>
                    <a:pt x="75" y="169"/>
                  </a:lnTo>
                  <a:lnTo>
                    <a:pt x="78" y="169"/>
                  </a:lnTo>
                  <a:lnTo>
                    <a:pt x="80" y="169"/>
                  </a:lnTo>
                  <a:lnTo>
                    <a:pt x="80" y="168"/>
                  </a:lnTo>
                  <a:lnTo>
                    <a:pt x="81" y="168"/>
                  </a:lnTo>
                  <a:lnTo>
                    <a:pt x="81" y="166"/>
                  </a:lnTo>
                  <a:lnTo>
                    <a:pt x="83" y="165"/>
                  </a:lnTo>
                  <a:lnTo>
                    <a:pt x="83" y="166"/>
                  </a:lnTo>
                  <a:lnTo>
                    <a:pt x="83" y="165"/>
                  </a:lnTo>
                  <a:lnTo>
                    <a:pt x="85" y="166"/>
                  </a:lnTo>
                  <a:lnTo>
                    <a:pt x="86" y="166"/>
                  </a:lnTo>
                  <a:lnTo>
                    <a:pt x="86" y="165"/>
                  </a:lnTo>
                  <a:lnTo>
                    <a:pt x="88" y="165"/>
                  </a:lnTo>
                  <a:lnTo>
                    <a:pt x="89" y="165"/>
                  </a:lnTo>
                  <a:lnTo>
                    <a:pt x="91" y="163"/>
                  </a:lnTo>
                  <a:lnTo>
                    <a:pt x="93" y="163"/>
                  </a:lnTo>
                  <a:lnTo>
                    <a:pt x="93" y="161"/>
                  </a:lnTo>
                  <a:lnTo>
                    <a:pt x="94" y="161"/>
                  </a:lnTo>
                  <a:lnTo>
                    <a:pt x="94" y="163"/>
                  </a:lnTo>
                  <a:lnTo>
                    <a:pt x="94" y="161"/>
                  </a:lnTo>
                  <a:lnTo>
                    <a:pt x="96" y="161"/>
                  </a:lnTo>
                  <a:lnTo>
                    <a:pt x="96" y="163"/>
                  </a:lnTo>
                  <a:lnTo>
                    <a:pt x="98" y="163"/>
                  </a:lnTo>
                  <a:lnTo>
                    <a:pt x="99" y="165"/>
                  </a:lnTo>
                  <a:lnTo>
                    <a:pt x="101" y="163"/>
                  </a:lnTo>
                  <a:lnTo>
                    <a:pt x="101" y="165"/>
                  </a:lnTo>
                  <a:lnTo>
                    <a:pt x="101" y="163"/>
                  </a:lnTo>
                  <a:lnTo>
                    <a:pt x="102" y="163"/>
                  </a:lnTo>
                  <a:lnTo>
                    <a:pt x="104" y="163"/>
                  </a:lnTo>
                  <a:lnTo>
                    <a:pt x="104" y="161"/>
                  </a:lnTo>
                  <a:lnTo>
                    <a:pt x="104" y="163"/>
                  </a:lnTo>
                  <a:lnTo>
                    <a:pt x="104" y="161"/>
                  </a:lnTo>
                  <a:lnTo>
                    <a:pt x="106" y="161"/>
                  </a:lnTo>
                  <a:lnTo>
                    <a:pt x="107" y="161"/>
                  </a:lnTo>
                  <a:lnTo>
                    <a:pt x="107" y="160"/>
                  </a:lnTo>
                  <a:lnTo>
                    <a:pt x="109" y="160"/>
                  </a:lnTo>
                  <a:lnTo>
                    <a:pt x="109" y="158"/>
                  </a:lnTo>
                  <a:lnTo>
                    <a:pt x="111" y="158"/>
                  </a:lnTo>
                  <a:lnTo>
                    <a:pt x="112" y="158"/>
                  </a:lnTo>
                  <a:lnTo>
                    <a:pt x="114" y="158"/>
                  </a:lnTo>
                  <a:lnTo>
                    <a:pt x="115" y="158"/>
                  </a:lnTo>
                  <a:lnTo>
                    <a:pt x="115" y="156"/>
                  </a:lnTo>
                  <a:lnTo>
                    <a:pt x="117" y="156"/>
                  </a:lnTo>
                  <a:lnTo>
                    <a:pt x="117" y="155"/>
                  </a:lnTo>
                  <a:lnTo>
                    <a:pt x="119" y="155"/>
                  </a:lnTo>
                  <a:lnTo>
                    <a:pt x="120" y="152"/>
                  </a:lnTo>
                  <a:lnTo>
                    <a:pt x="120" y="150"/>
                  </a:lnTo>
                  <a:lnTo>
                    <a:pt x="122" y="148"/>
                  </a:lnTo>
                  <a:lnTo>
                    <a:pt x="122" y="147"/>
                  </a:lnTo>
                  <a:lnTo>
                    <a:pt x="124" y="145"/>
                  </a:lnTo>
                  <a:lnTo>
                    <a:pt x="124" y="143"/>
                  </a:lnTo>
                  <a:lnTo>
                    <a:pt x="124" y="142"/>
                  </a:lnTo>
                  <a:lnTo>
                    <a:pt x="125" y="142"/>
                  </a:lnTo>
                  <a:lnTo>
                    <a:pt x="124" y="142"/>
                  </a:lnTo>
                  <a:lnTo>
                    <a:pt x="125" y="140"/>
                  </a:lnTo>
                  <a:lnTo>
                    <a:pt x="125" y="139"/>
                  </a:lnTo>
                  <a:lnTo>
                    <a:pt x="125" y="137"/>
                  </a:lnTo>
                  <a:lnTo>
                    <a:pt x="125" y="139"/>
                  </a:lnTo>
                  <a:lnTo>
                    <a:pt x="127" y="137"/>
                  </a:lnTo>
                  <a:lnTo>
                    <a:pt x="127" y="135"/>
                  </a:lnTo>
                  <a:lnTo>
                    <a:pt x="127" y="134"/>
                  </a:lnTo>
                  <a:lnTo>
                    <a:pt x="128" y="134"/>
                  </a:lnTo>
                  <a:lnTo>
                    <a:pt x="128" y="132"/>
                  </a:lnTo>
                  <a:lnTo>
                    <a:pt x="130" y="130"/>
                  </a:lnTo>
                  <a:lnTo>
                    <a:pt x="128" y="130"/>
                  </a:lnTo>
                  <a:lnTo>
                    <a:pt x="128" y="129"/>
                  </a:lnTo>
                  <a:lnTo>
                    <a:pt x="130" y="129"/>
                  </a:lnTo>
                  <a:lnTo>
                    <a:pt x="132" y="129"/>
                  </a:lnTo>
                  <a:lnTo>
                    <a:pt x="133" y="129"/>
                  </a:lnTo>
                  <a:lnTo>
                    <a:pt x="133" y="130"/>
                  </a:lnTo>
                  <a:lnTo>
                    <a:pt x="135" y="130"/>
                  </a:lnTo>
                  <a:lnTo>
                    <a:pt x="135" y="129"/>
                  </a:lnTo>
                  <a:lnTo>
                    <a:pt x="135" y="127"/>
                  </a:lnTo>
                  <a:lnTo>
                    <a:pt x="137" y="127"/>
                  </a:lnTo>
                  <a:lnTo>
                    <a:pt x="138" y="125"/>
                  </a:lnTo>
                  <a:lnTo>
                    <a:pt x="140" y="125"/>
                  </a:lnTo>
                  <a:lnTo>
                    <a:pt x="140" y="124"/>
                  </a:lnTo>
                  <a:lnTo>
                    <a:pt x="141" y="124"/>
                  </a:lnTo>
                  <a:lnTo>
                    <a:pt x="143" y="122"/>
                  </a:lnTo>
                  <a:lnTo>
                    <a:pt x="145" y="122"/>
                  </a:lnTo>
                  <a:lnTo>
                    <a:pt x="145" y="124"/>
                  </a:lnTo>
                  <a:lnTo>
                    <a:pt x="146" y="122"/>
                  </a:lnTo>
                  <a:lnTo>
                    <a:pt x="145" y="122"/>
                  </a:lnTo>
                  <a:lnTo>
                    <a:pt x="146" y="122"/>
                  </a:lnTo>
                  <a:lnTo>
                    <a:pt x="148" y="121"/>
                  </a:lnTo>
                  <a:lnTo>
                    <a:pt x="148" y="119"/>
                  </a:lnTo>
                  <a:lnTo>
                    <a:pt x="150" y="119"/>
                  </a:lnTo>
                  <a:lnTo>
                    <a:pt x="150" y="117"/>
                  </a:lnTo>
                  <a:lnTo>
                    <a:pt x="151" y="117"/>
                  </a:lnTo>
                  <a:lnTo>
                    <a:pt x="153" y="117"/>
                  </a:lnTo>
                  <a:lnTo>
                    <a:pt x="154" y="117"/>
                  </a:lnTo>
                  <a:lnTo>
                    <a:pt x="156" y="117"/>
                  </a:lnTo>
                  <a:lnTo>
                    <a:pt x="156" y="116"/>
                  </a:lnTo>
                  <a:lnTo>
                    <a:pt x="158" y="116"/>
                  </a:lnTo>
                  <a:lnTo>
                    <a:pt x="158" y="114"/>
                  </a:lnTo>
                  <a:lnTo>
                    <a:pt x="159" y="114"/>
                  </a:lnTo>
                  <a:lnTo>
                    <a:pt x="161" y="112"/>
                  </a:lnTo>
                  <a:lnTo>
                    <a:pt x="163" y="112"/>
                  </a:lnTo>
                  <a:lnTo>
                    <a:pt x="163" y="111"/>
                  </a:lnTo>
                  <a:lnTo>
                    <a:pt x="163" y="112"/>
                  </a:lnTo>
                  <a:lnTo>
                    <a:pt x="164" y="112"/>
                  </a:lnTo>
                  <a:lnTo>
                    <a:pt x="166" y="114"/>
                  </a:lnTo>
                  <a:lnTo>
                    <a:pt x="164" y="114"/>
                  </a:lnTo>
                  <a:lnTo>
                    <a:pt x="166" y="114"/>
                  </a:lnTo>
                  <a:lnTo>
                    <a:pt x="166" y="116"/>
                  </a:lnTo>
                  <a:lnTo>
                    <a:pt x="167" y="116"/>
                  </a:lnTo>
                  <a:lnTo>
                    <a:pt x="169" y="116"/>
                  </a:lnTo>
                  <a:lnTo>
                    <a:pt x="171" y="114"/>
                  </a:lnTo>
                  <a:lnTo>
                    <a:pt x="172" y="114"/>
                  </a:lnTo>
                  <a:lnTo>
                    <a:pt x="174" y="112"/>
                  </a:lnTo>
                  <a:lnTo>
                    <a:pt x="174" y="111"/>
                  </a:lnTo>
                  <a:lnTo>
                    <a:pt x="176" y="109"/>
                  </a:lnTo>
                  <a:lnTo>
                    <a:pt x="176" y="108"/>
                  </a:lnTo>
                  <a:lnTo>
                    <a:pt x="177" y="108"/>
                  </a:lnTo>
                  <a:lnTo>
                    <a:pt x="179" y="108"/>
                  </a:lnTo>
                  <a:lnTo>
                    <a:pt x="181" y="108"/>
                  </a:lnTo>
                  <a:lnTo>
                    <a:pt x="179" y="108"/>
                  </a:lnTo>
                  <a:lnTo>
                    <a:pt x="179" y="109"/>
                  </a:lnTo>
                  <a:lnTo>
                    <a:pt x="181" y="111"/>
                  </a:lnTo>
                  <a:lnTo>
                    <a:pt x="182" y="111"/>
                  </a:lnTo>
                  <a:lnTo>
                    <a:pt x="184" y="112"/>
                  </a:lnTo>
                  <a:lnTo>
                    <a:pt x="185" y="114"/>
                  </a:lnTo>
                  <a:lnTo>
                    <a:pt x="187" y="114"/>
                  </a:lnTo>
                  <a:lnTo>
                    <a:pt x="189" y="114"/>
                  </a:lnTo>
                  <a:lnTo>
                    <a:pt x="190" y="114"/>
                  </a:lnTo>
                  <a:lnTo>
                    <a:pt x="190" y="116"/>
                  </a:lnTo>
                  <a:lnTo>
                    <a:pt x="190" y="117"/>
                  </a:lnTo>
                  <a:lnTo>
                    <a:pt x="192" y="117"/>
                  </a:lnTo>
                  <a:lnTo>
                    <a:pt x="194" y="117"/>
                  </a:lnTo>
                  <a:lnTo>
                    <a:pt x="195" y="117"/>
                  </a:lnTo>
                  <a:lnTo>
                    <a:pt x="195" y="119"/>
                  </a:lnTo>
                  <a:lnTo>
                    <a:pt x="197" y="119"/>
                  </a:lnTo>
                  <a:lnTo>
                    <a:pt x="198" y="119"/>
                  </a:lnTo>
                  <a:lnTo>
                    <a:pt x="200" y="117"/>
                  </a:lnTo>
                  <a:lnTo>
                    <a:pt x="202" y="117"/>
                  </a:lnTo>
                  <a:lnTo>
                    <a:pt x="205" y="114"/>
                  </a:lnTo>
                  <a:lnTo>
                    <a:pt x="207" y="112"/>
                  </a:lnTo>
                  <a:lnTo>
                    <a:pt x="207" y="111"/>
                  </a:lnTo>
                  <a:lnTo>
                    <a:pt x="208" y="112"/>
                  </a:lnTo>
                  <a:lnTo>
                    <a:pt x="208" y="111"/>
                  </a:lnTo>
                  <a:lnTo>
                    <a:pt x="208" y="112"/>
                  </a:lnTo>
                  <a:lnTo>
                    <a:pt x="210" y="112"/>
                  </a:lnTo>
                  <a:lnTo>
                    <a:pt x="211" y="112"/>
                  </a:lnTo>
                  <a:lnTo>
                    <a:pt x="213" y="111"/>
                  </a:lnTo>
                  <a:lnTo>
                    <a:pt x="215" y="109"/>
                  </a:lnTo>
                  <a:lnTo>
                    <a:pt x="215" y="108"/>
                  </a:lnTo>
                  <a:lnTo>
                    <a:pt x="216" y="108"/>
                  </a:lnTo>
                  <a:lnTo>
                    <a:pt x="216" y="106"/>
                  </a:lnTo>
                  <a:lnTo>
                    <a:pt x="216" y="104"/>
                  </a:lnTo>
                  <a:lnTo>
                    <a:pt x="216" y="103"/>
                  </a:lnTo>
                  <a:lnTo>
                    <a:pt x="218" y="103"/>
                  </a:lnTo>
                  <a:lnTo>
                    <a:pt x="218" y="101"/>
                  </a:lnTo>
                  <a:lnTo>
                    <a:pt x="218" y="99"/>
                  </a:lnTo>
                  <a:lnTo>
                    <a:pt x="218" y="98"/>
                  </a:lnTo>
                  <a:lnTo>
                    <a:pt x="216" y="98"/>
                  </a:lnTo>
                  <a:lnTo>
                    <a:pt x="218" y="98"/>
                  </a:lnTo>
                  <a:lnTo>
                    <a:pt x="220" y="96"/>
                  </a:lnTo>
                  <a:lnTo>
                    <a:pt x="220" y="98"/>
                  </a:lnTo>
                  <a:lnTo>
                    <a:pt x="221" y="98"/>
                  </a:lnTo>
                  <a:lnTo>
                    <a:pt x="223" y="98"/>
                  </a:lnTo>
                  <a:lnTo>
                    <a:pt x="224" y="98"/>
                  </a:lnTo>
                  <a:lnTo>
                    <a:pt x="226" y="98"/>
                  </a:lnTo>
                  <a:lnTo>
                    <a:pt x="228" y="98"/>
                  </a:lnTo>
                  <a:lnTo>
                    <a:pt x="229" y="96"/>
                  </a:lnTo>
                  <a:lnTo>
                    <a:pt x="229" y="95"/>
                  </a:lnTo>
                  <a:lnTo>
                    <a:pt x="231" y="95"/>
                  </a:lnTo>
                  <a:lnTo>
                    <a:pt x="231" y="96"/>
                  </a:lnTo>
                  <a:lnTo>
                    <a:pt x="233" y="96"/>
                  </a:lnTo>
                  <a:lnTo>
                    <a:pt x="234" y="96"/>
                  </a:lnTo>
                  <a:lnTo>
                    <a:pt x="236" y="96"/>
                  </a:lnTo>
                  <a:lnTo>
                    <a:pt x="234" y="96"/>
                  </a:lnTo>
                  <a:lnTo>
                    <a:pt x="236" y="98"/>
                  </a:lnTo>
                  <a:lnTo>
                    <a:pt x="237" y="99"/>
                  </a:lnTo>
                  <a:lnTo>
                    <a:pt x="239" y="99"/>
                  </a:lnTo>
                  <a:lnTo>
                    <a:pt x="239" y="101"/>
                  </a:lnTo>
                  <a:lnTo>
                    <a:pt x="241" y="101"/>
                  </a:lnTo>
                  <a:lnTo>
                    <a:pt x="239" y="101"/>
                  </a:lnTo>
                  <a:lnTo>
                    <a:pt x="241" y="101"/>
                  </a:lnTo>
                  <a:lnTo>
                    <a:pt x="239" y="103"/>
                  </a:lnTo>
                  <a:lnTo>
                    <a:pt x="239" y="104"/>
                  </a:lnTo>
                  <a:lnTo>
                    <a:pt x="239" y="103"/>
                  </a:lnTo>
                  <a:lnTo>
                    <a:pt x="239" y="104"/>
                  </a:lnTo>
                  <a:lnTo>
                    <a:pt x="239" y="103"/>
                  </a:lnTo>
                  <a:lnTo>
                    <a:pt x="237" y="103"/>
                  </a:lnTo>
                  <a:lnTo>
                    <a:pt x="237" y="104"/>
                  </a:lnTo>
                  <a:lnTo>
                    <a:pt x="237" y="106"/>
                  </a:lnTo>
                  <a:lnTo>
                    <a:pt x="239" y="104"/>
                  </a:lnTo>
                  <a:lnTo>
                    <a:pt x="239" y="106"/>
                  </a:lnTo>
                  <a:lnTo>
                    <a:pt x="237" y="106"/>
                  </a:lnTo>
                  <a:lnTo>
                    <a:pt x="239" y="106"/>
                  </a:lnTo>
                  <a:lnTo>
                    <a:pt x="239" y="108"/>
                  </a:lnTo>
                  <a:lnTo>
                    <a:pt x="241" y="109"/>
                  </a:lnTo>
                  <a:lnTo>
                    <a:pt x="242" y="109"/>
                  </a:lnTo>
                  <a:lnTo>
                    <a:pt x="244" y="109"/>
                  </a:lnTo>
                  <a:lnTo>
                    <a:pt x="242" y="109"/>
                  </a:lnTo>
                  <a:lnTo>
                    <a:pt x="242" y="111"/>
                  </a:lnTo>
                  <a:lnTo>
                    <a:pt x="244" y="109"/>
                  </a:lnTo>
                  <a:lnTo>
                    <a:pt x="242" y="111"/>
                  </a:lnTo>
                  <a:lnTo>
                    <a:pt x="244" y="111"/>
                  </a:lnTo>
                  <a:lnTo>
                    <a:pt x="246" y="111"/>
                  </a:lnTo>
                  <a:lnTo>
                    <a:pt x="246" y="112"/>
                  </a:lnTo>
                  <a:lnTo>
                    <a:pt x="247" y="112"/>
                  </a:lnTo>
                  <a:lnTo>
                    <a:pt x="249" y="112"/>
                  </a:lnTo>
                  <a:lnTo>
                    <a:pt x="250" y="112"/>
                  </a:lnTo>
                  <a:lnTo>
                    <a:pt x="252" y="114"/>
                  </a:lnTo>
                  <a:lnTo>
                    <a:pt x="254" y="114"/>
                  </a:lnTo>
                  <a:lnTo>
                    <a:pt x="254" y="116"/>
                  </a:lnTo>
                  <a:lnTo>
                    <a:pt x="255" y="116"/>
                  </a:lnTo>
                  <a:lnTo>
                    <a:pt x="259" y="116"/>
                  </a:lnTo>
                  <a:lnTo>
                    <a:pt x="260" y="116"/>
                  </a:lnTo>
                  <a:lnTo>
                    <a:pt x="262" y="116"/>
                  </a:lnTo>
                  <a:lnTo>
                    <a:pt x="263" y="116"/>
                  </a:lnTo>
                  <a:lnTo>
                    <a:pt x="263" y="114"/>
                  </a:lnTo>
                  <a:lnTo>
                    <a:pt x="265" y="114"/>
                  </a:lnTo>
                  <a:lnTo>
                    <a:pt x="267" y="114"/>
                  </a:lnTo>
                  <a:lnTo>
                    <a:pt x="268" y="112"/>
                  </a:lnTo>
                  <a:lnTo>
                    <a:pt x="270" y="112"/>
                  </a:lnTo>
                  <a:lnTo>
                    <a:pt x="273" y="111"/>
                  </a:lnTo>
                  <a:lnTo>
                    <a:pt x="275" y="111"/>
                  </a:lnTo>
                  <a:lnTo>
                    <a:pt x="275" y="109"/>
                  </a:lnTo>
                  <a:lnTo>
                    <a:pt x="276" y="109"/>
                  </a:lnTo>
                  <a:lnTo>
                    <a:pt x="278" y="108"/>
                  </a:lnTo>
                  <a:lnTo>
                    <a:pt x="278" y="106"/>
                  </a:lnTo>
                  <a:lnTo>
                    <a:pt x="280" y="104"/>
                  </a:lnTo>
                  <a:lnTo>
                    <a:pt x="280" y="103"/>
                  </a:lnTo>
                  <a:lnTo>
                    <a:pt x="281" y="101"/>
                  </a:lnTo>
                  <a:lnTo>
                    <a:pt x="281" y="99"/>
                  </a:lnTo>
                  <a:lnTo>
                    <a:pt x="283" y="99"/>
                  </a:lnTo>
                  <a:lnTo>
                    <a:pt x="285" y="99"/>
                  </a:lnTo>
                  <a:lnTo>
                    <a:pt x="283" y="98"/>
                  </a:lnTo>
                  <a:lnTo>
                    <a:pt x="285" y="98"/>
                  </a:lnTo>
                  <a:lnTo>
                    <a:pt x="286" y="95"/>
                  </a:lnTo>
                  <a:lnTo>
                    <a:pt x="288" y="93"/>
                  </a:lnTo>
                  <a:lnTo>
                    <a:pt x="289" y="91"/>
                  </a:lnTo>
                  <a:lnTo>
                    <a:pt x="289" y="90"/>
                  </a:lnTo>
                  <a:lnTo>
                    <a:pt x="291" y="88"/>
                  </a:lnTo>
                  <a:lnTo>
                    <a:pt x="291" y="86"/>
                  </a:lnTo>
                  <a:lnTo>
                    <a:pt x="291" y="85"/>
                  </a:lnTo>
                  <a:lnTo>
                    <a:pt x="293" y="85"/>
                  </a:lnTo>
                  <a:lnTo>
                    <a:pt x="294" y="83"/>
                  </a:lnTo>
                  <a:lnTo>
                    <a:pt x="296" y="82"/>
                  </a:lnTo>
                  <a:lnTo>
                    <a:pt x="298" y="80"/>
                  </a:lnTo>
                  <a:lnTo>
                    <a:pt x="299" y="80"/>
                  </a:lnTo>
                  <a:lnTo>
                    <a:pt x="299" y="78"/>
                  </a:lnTo>
                  <a:lnTo>
                    <a:pt x="301" y="78"/>
                  </a:lnTo>
                  <a:lnTo>
                    <a:pt x="301" y="77"/>
                  </a:lnTo>
                  <a:lnTo>
                    <a:pt x="302" y="77"/>
                  </a:lnTo>
                  <a:lnTo>
                    <a:pt x="302" y="75"/>
                  </a:lnTo>
                  <a:lnTo>
                    <a:pt x="304" y="75"/>
                  </a:lnTo>
                  <a:lnTo>
                    <a:pt x="306" y="75"/>
                  </a:lnTo>
                  <a:lnTo>
                    <a:pt x="307" y="75"/>
                  </a:lnTo>
                  <a:lnTo>
                    <a:pt x="309" y="75"/>
                  </a:lnTo>
                  <a:lnTo>
                    <a:pt x="309" y="73"/>
                  </a:lnTo>
                  <a:lnTo>
                    <a:pt x="311" y="73"/>
                  </a:lnTo>
                  <a:lnTo>
                    <a:pt x="312" y="73"/>
                  </a:lnTo>
                  <a:lnTo>
                    <a:pt x="314" y="72"/>
                  </a:lnTo>
                  <a:lnTo>
                    <a:pt x="317" y="70"/>
                  </a:lnTo>
                  <a:lnTo>
                    <a:pt x="319" y="69"/>
                  </a:lnTo>
                  <a:lnTo>
                    <a:pt x="319" y="67"/>
                  </a:lnTo>
                  <a:lnTo>
                    <a:pt x="319" y="65"/>
                  </a:lnTo>
                  <a:lnTo>
                    <a:pt x="320" y="65"/>
                  </a:lnTo>
                  <a:lnTo>
                    <a:pt x="322" y="65"/>
                  </a:lnTo>
                  <a:lnTo>
                    <a:pt x="324" y="65"/>
                  </a:lnTo>
                  <a:lnTo>
                    <a:pt x="324" y="64"/>
                  </a:lnTo>
                  <a:lnTo>
                    <a:pt x="325" y="64"/>
                  </a:lnTo>
                  <a:lnTo>
                    <a:pt x="325" y="65"/>
                  </a:lnTo>
                  <a:lnTo>
                    <a:pt x="327" y="65"/>
                  </a:lnTo>
                  <a:lnTo>
                    <a:pt x="329" y="65"/>
                  </a:lnTo>
                  <a:lnTo>
                    <a:pt x="329" y="64"/>
                  </a:lnTo>
                  <a:lnTo>
                    <a:pt x="330" y="65"/>
                  </a:lnTo>
                  <a:lnTo>
                    <a:pt x="330" y="64"/>
                  </a:lnTo>
                  <a:lnTo>
                    <a:pt x="332" y="64"/>
                  </a:lnTo>
                  <a:lnTo>
                    <a:pt x="333" y="62"/>
                  </a:lnTo>
                  <a:lnTo>
                    <a:pt x="335" y="62"/>
                  </a:lnTo>
                  <a:lnTo>
                    <a:pt x="337" y="62"/>
                  </a:lnTo>
                  <a:lnTo>
                    <a:pt x="337" y="60"/>
                  </a:lnTo>
                  <a:lnTo>
                    <a:pt x="338" y="60"/>
                  </a:lnTo>
                  <a:lnTo>
                    <a:pt x="340" y="60"/>
                  </a:lnTo>
                  <a:lnTo>
                    <a:pt x="342" y="59"/>
                  </a:lnTo>
                  <a:lnTo>
                    <a:pt x="343" y="59"/>
                  </a:lnTo>
                  <a:lnTo>
                    <a:pt x="345" y="57"/>
                  </a:lnTo>
                  <a:lnTo>
                    <a:pt x="348" y="57"/>
                  </a:lnTo>
                  <a:lnTo>
                    <a:pt x="350" y="57"/>
                  </a:lnTo>
                  <a:lnTo>
                    <a:pt x="351" y="56"/>
                  </a:lnTo>
                  <a:lnTo>
                    <a:pt x="353" y="56"/>
                  </a:lnTo>
                  <a:lnTo>
                    <a:pt x="353" y="54"/>
                  </a:lnTo>
                  <a:lnTo>
                    <a:pt x="355" y="54"/>
                  </a:lnTo>
                  <a:lnTo>
                    <a:pt x="356" y="52"/>
                  </a:lnTo>
                  <a:lnTo>
                    <a:pt x="358" y="52"/>
                  </a:lnTo>
                  <a:lnTo>
                    <a:pt x="358" y="51"/>
                  </a:lnTo>
                  <a:lnTo>
                    <a:pt x="359" y="52"/>
                  </a:lnTo>
                  <a:lnTo>
                    <a:pt x="361" y="52"/>
                  </a:lnTo>
                  <a:lnTo>
                    <a:pt x="363" y="52"/>
                  </a:lnTo>
                  <a:lnTo>
                    <a:pt x="364" y="52"/>
                  </a:lnTo>
                  <a:lnTo>
                    <a:pt x="366" y="52"/>
                  </a:lnTo>
                  <a:lnTo>
                    <a:pt x="369" y="52"/>
                  </a:lnTo>
                  <a:lnTo>
                    <a:pt x="371" y="51"/>
                  </a:lnTo>
                  <a:lnTo>
                    <a:pt x="372" y="51"/>
                  </a:lnTo>
                  <a:lnTo>
                    <a:pt x="374" y="49"/>
                  </a:lnTo>
                  <a:lnTo>
                    <a:pt x="376" y="49"/>
                  </a:lnTo>
                  <a:lnTo>
                    <a:pt x="377" y="49"/>
                  </a:lnTo>
                  <a:lnTo>
                    <a:pt x="379" y="49"/>
                  </a:lnTo>
                  <a:lnTo>
                    <a:pt x="381" y="49"/>
                  </a:lnTo>
                  <a:lnTo>
                    <a:pt x="382" y="49"/>
                  </a:lnTo>
                  <a:lnTo>
                    <a:pt x="384" y="47"/>
                  </a:lnTo>
                  <a:lnTo>
                    <a:pt x="385" y="47"/>
                  </a:lnTo>
                  <a:lnTo>
                    <a:pt x="387" y="46"/>
                  </a:lnTo>
                  <a:lnTo>
                    <a:pt x="389" y="46"/>
                  </a:lnTo>
                  <a:lnTo>
                    <a:pt x="389" y="44"/>
                  </a:lnTo>
                  <a:lnTo>
                    <a:pt x="390" y="43"/>
                  </a:lnTo>
                  <a:lnTo>
                    <a:pt x="390" y="41"/>
                  </a:lnTo>
                  <a:lnTo>
                    <a:pt x="390" y="39"/>
                  </a:lnTo>
                  <a:lnTo>
                    <a:pt x="392" y="39"/>
                  </a:lnTo>
                  <a:lnTo>
                    <a:pt x="392" y="38"/>
                  </a:lnTo>
                  <a:lnTo>
                    <a:pt x="394" y="39"/>
                  </a:lnTo>
                  <a:lnTo>
                    <a:pt x="395" y="38"/>
                  </a:lnTo>
                  <a:lnTo>
                    <a:pt x="397" y="38"/>
                  </a:lnTo>
                  <a:lnTo>
                    <a:pt x="398" y="38"/>
                  </a:lnTo>
                  <a:lnTo>
                    <a:pt x="400" y="38"/>
                  </a:lnTo>
                  <a:lnTo>
                    <a:pt x="403" y="36"/>
                  </a:lnTo>
                  <a:lnTo>
                    <a:pt x="405" y="36"/>
                  </a:lnTo>
                  <a:lnTo>
                    <a:pt x="407" y="36"/>
                  </a:lnTo>
                  <a:lnTo>
                    <a:pt x="407" y="34"/>
                  </a:lnTo>
                  <a:lnTo>
                    <a:pt x="408" y="34"/>
                  </a:lnTo>
                  <a:lnTo>
                    <a:pt x="410" y="34"/>
                  </a:lnTo>
                  <a:lnTo>
                    <a:pt x="411" y="34"/>
                  </a:lnTo>
                  <a:lnTo>
                    <a:pt x="413" y="34"/>
                  </a:lnTo>
                  <a:lnTo>
                    <a:pt x="415" y="34"/>
                  </a:lnTo>
                  <a:lnTo>
                    <a:pt x="416" y="34"/>
                  </a:lnTo>
                  <a:lnTo>
                    <a:pt x="418" y="34"/>
                  </a:lnTo>
                  <a:lnTo>
                    <a:pt x="420" y="34"/>
                  </a:lnTo>
                  <a:lnTo>
                    <a:pt x="420" y="33"/>
                  </a:lnTo>
                  <a:lnTo>
                    <a:pt x="421" y="33"/>
                  </a:lnTo>
                  <a:lnTo>
                    <a:pt x="423" y="33"/>
                  </a:lnTo>
                  <a:lnTo>
                    <a:pt x="424" y="33"/>
                  </a:lnTo>
                  <a:lnTo>
                    <a:pt x="424" y="34"/>
                  </a:lnTo>
                  <a:lnTo>
                    <a:pt x="426" y="34"/>
                  </a:lnTo>
                  <a:lnTo>
                    <a:pt x="428" y="34"/>
                  </a:lnTo>
                  <a:lnTo>
                    <a:pt x="429" y="34"/>
                  </a:lnTo>
                  <a:lnTo>
                    <a:pt x="431" y="34"/>
                  </a:lnTo>
                  <a:lnTo>
                    <a:pt x="433" y="34"/>
                  </a:lnTo>
                  <a:lnTo>
                    <a:pt x="434" y="34"/>
                  </a:lnTo>
                  <a:lnTo>
                    <a:pt x="436" y="34"/>
                  </a:lnTo>
                  <a:lnTo>
                    <a:pt x="437" y="33"/>
                  </a:lnTo>
                  <a:lnTo>
                    <a:pt x="436" y="33"/>
                  </a:lnTo>
                  <a:lnTo>
                    <a:pt x="437" y="33"/>
                  </a:lnTo>
                  <a:lnTo>
                    <a:pt x="437" y="31"/>
                  </a:lnTo>
                  <a:lnTo>
                    <a:pt x="439" y="31"/>
                  </a:lnTo>
                  <a:lnTo>
                    <a:pt x="439" y="30"/>
                  </a:lnTo>
                  <a:lnTo>
                    <a:pt x="441" y="30"/>
                  </a:lnTo>
                  <a:lnTo>
                    <a:pt x="442" y="30"/>
                  </a:lnTo>
                  <a:lnTo>
                    <a:pt x="444" y="30"/>
                  </a:lnTo>
                  <a:lnTo>
                    <a:pt x="446" y="30"/>
                  </a:lnTo>
                  <a:lnTo>
                    <a:pt x="446" y="31"/>
                  </a:lnTo>
                  <a:lnTo>
                    <a:pt x="446" y="33"/>
                  </a:lnTo>
                  <a:lnTo>
                    <a:pt x="447" y="33"/>
                  </a:lnTo>
                  <a:lnTo>
                    <a:pt x="449" y="33"/>
                  </a:lnTo>
                  <a:lnTo>
                    <a:pt x="450" y="33"/>
                  </a:lnTo>
                  <a:lnTo>
                    <a:pt x="452" y="33"/>
                  </a:lnTo>
                  <a:lnTo>
                    <a:pt x="454" y="33"/>
                  </a:lnTo>
                  <a:lnTo>
                    <a:pt x="455" y="34"/>
                  </a:lnTo>
                  <a:lnTo>
                    <a:pt x="457" y="34"/>
                  </a:lnTo>
                  <a:lnTo>
                    <a:pt x="459" y="34"/>
                  </a:lnTo>
                  <a:lnTo>
                    <a:pt x="460" y="34"/>
                  </a:lnTo>
                  <a:lnTo>
                    <a:pt x="460" y="33"/>
                  </a:lnTo>
                  <a:lnTo>
                    <a:pt x="462" y="33"/>
                  </a:lnTo>
                  <a:lnTo>
                    <a:pt x="463" y="34"/>
                  </a:lnTo>
                  <a:lnTo>
                    <a:pt x="463" y="33"/>
                  </a:lnTo>
                  <a:lnTo>
                    <a:pt x="465" y="34"/>
                  </a:lnTo>
                  <a:lnTo>
                    <a:pt x="467" y="34"/>
                  </a:lnTo>
                  <a:lnTo>
                    <a:pt x="468" y="34"/>
                  </a:lnTo>
                  <a:lnTo>
                    <a:pt x="470" y="34"/>
                  </a:lnTo>
                  <a:lnTo>
                    <a:pt x="472" y="34"/>
                  </a:lnTo>
                  <a:lnTo>
                    <a:pt x="473" y="34"/>
                  </a:lnTo>
                  <a:lnTo>
                    <a:pt x="473" y="33"/>
                  </a:lnTo>
                  <a:lnTo>
                    <a:pt x="475" y="33"/>
                  </a:lnTo>
                  <a:lnTo>
                    <a:pt x="477" y="33"/>
                  </a:lnTo>
                  <a:lnTo>
                    <a:pt x="478" y="33"/>
                  </a:lnTo>
                  <a:lnTo>
                    <a:pt x="478" y="34"/>
                  </a:lnTo>
                  <a:lnTo>
                    <a:pt x="480" y="34"/>
                  </a:lnTo>
                  <a:lnTo>
                    <a:pt x="481" y="34"/>
                  </a:lnTo>
                  <a:lnTo>
                    <a:pt x="485" y="34"/>
                  </a:lnTo>
                  <a:lnTo>
                    <a:pt x="486" y="34"/>
                  </a:lnTo>
                  <a:lnTo>
                    <a:pt x="488" y="33"/>
                  </a:lnTo>
                  <a:lnTo>
                    <a:pt x="490" y="34"/>
                  </a:lnTo>
                  <a:lnTo>
                    <a:pt x="491" y="34"/>
                  </a:lnTo>
                  <a:lnTo>
                    <a:pt x="493" y="34"/>
                  </a:lnTo>
                  <a:lnTo>
                    <a:pt x="494" y="34"/>
                  </a:lnTo>
                  <a:lnTo>
                    <a:pt x="496" y="34"/>
                  </a:lnTo>
                  <a:lnTo>
                    <a:pt x="498" y="34"/>
                  </a:lnTo>
                  <a:lnTo>
                    <a:pt x="498" y="33"/>
                  </a:lnTo>
                  <a:lnTo>
                    <a:pt x="499" y="33"/>
                  </a:lnTo>
                  <a:lnTo>
                    <a:pt x="499" y="34"/>
                  </a:lnTo>
                  <a:lnTo>
                    <a:pt x="501" y="33"/>
                  </a:lnTo>
                  <a:lnTo>
                    <a:pt x="501" y="34"/>
                  </a:lnTo>
                  <a:lnTo>
                    <a:pt x="501" y="33"/>
                  </a:lnTo>
                  <a:lnTo>
                    <a:pt x="501" y="34"/>
                  </a:lnTo>
                  <a:lnTo>
                    <a:pt x="503" y="34"/>
                  </a:lnTo>
                  <a:lnTo>
                    <a:pt x="504" y="34"/>
                  </a:lnTo>
                  <a:lnTo>
                    <a:pt x="506" y="33"/>
                  </a:lnTo>
                  <a:lnTo>
                    <a:pt x="507" y="33"/>
                  </a:lnTo>
                  <a:lnTo>
                    <a:pt x="507" y="34"/>
                  </a:lnTo>
                  <a:lnTo>
                    <a:pt x="511" y="34"/>
                  </a:lnTo>
                  <a:lnTo>
                    <a:pt x="512" y="34"/>
                  </a:lnTo>
                  <a:lnTo>
                    <a:pt x="512" y="36"/>
                  </a:lnTo>
                  <a:lnTo>
                    <a:pt x="514" y="36"/>
                  </a:lnTo>
                  <a:lnTo>
                    <a:pt x="516" y="36"/>
                  </a:lnTo>
                  <a:lnTo>
                    <a:pt x="517" y="36"/>
                  </a:lnTo>
                  <a:lnTo>
                    <a:pt x="519" y="36"/>
                  </a:lnTo>
                  <a:lnTo>
                    <a:pt x="520" y="36"/>
                  </a:lnTo>
                  <a:lnTo>
                    <a:pt x="522" y="34"/>
                  </a:lnTo>
                  <a:lnTo>
                    <a:pt x="524" y="34"/>
                  </a:lnTo>
                  <a:lnTo>
                    <a:pt x="525" y="34"/>
                  </a:lnTo>
                  <a:lnTo>
                    <a:pt x="527" y="34"/>
                  </a:lnTo>
                  <a:lnTo>
                    <a:pt x="529" y="34"/>
                  </a:lnTo>
                  <a:lnTo>
                    <a:pt x="530" y="34"/>
                  </a:lnTo>
                  <a:lnTo>
                    <a:pt x="532" y="34"/>
                  </a:lnTo>
                  <a:lnTo>
                    <a:pt x="535" y="33"/>
                  </a:lnTo>
                  <a:lnTo>
                    <a:pt x="537" y="33"/>
                  </a:lnTo>
                  <a:lnTo>
                    <a:pt x="538" y="33"/>
                  </a:lnTo>
                  <a:lnTo>
                    <a:pt x="538" y="31"/>
                  </a:lnTo>
                  <a:lnTo>
                    <a:pt x="540" y="31"/>
                  </a:lnTo>
                  <a:lnTo>
                    <a:pt x="542" y="31"/>
                  </a:lnTo>
                  <a:lnTo>
                    <a:pt x="543" y="31"/>
                  </a:lnTo>
                  <a:lnTo>
                    <a:pt x="545" y="31"/>
                  </a:lnTo>
                  <a:lnTo>
                    <a:pt x="546" y="31"/>
                  </a:lnTo>
                  <a:lnTo>
                    <a:pt x="548" y="30"/>
                  </a:lnTo>
                  <a:lnTo>
                    <a:pt x="550" y="30"/>
                  </a:lnTo>
                  <a:lnTo>
                    <a:pt x="551" y="30"/>
                  </a:lnTo>
                  <a:lnTo>
                    <a:pt x="553" y="30"/>
                  </a:lnTo>
                  <a:lnTo>
                    <a:pt x="555" y="30"/>
                  </a:lnTo>
                  <a:lnTo>
                    <a:pt x="556" y="30"/>
                  </a:lnTo>
                  <a:lnTo>
                    <a:pt x="558" y="28"/>
                  </a:lnTo>
                  <a:lnTo>
                    <a:pt x="558" y="30"/>
                  </a:lnTo>
                  <a:lnTo>
                    <a:pt x="559" y="30"/>
                  </a:lnTo>
                  <a:lnTo>
                    <a:pt x="561" y="30"/>
                  </a:lnTo>
                  <a:lnTo>
                    <a:pt x="563" y="30"/>
                  </a:lnTo>
                  <a:lnTo>
                    <a:pt x="563" y="31"/>
                  </a:lnTo>
                  <a:lnTo>
                    <a:pt x="563" y="30"/>
                  </a:lnTo>
                  <a:lnTo>
                    <a:pt x="564" y="31"/>
                  </a:lnTo>
                  <a:lnTo>
                    <a:pt x="564" y="33"/>
                  </a:lnTo>
                  <a:lnTo>
                    <a:pt x="564" y="34"/>
                  </a:lnTo>
                  <a:lnTo>
                    <a:pt x="566" y="36"/>
                  </a:lnTo>
                  <a:lnTo>
                    <a:pt x="568" y="36"/>
                  </a:lnTo>
                  <a:lnTo>
                    <a:pt x="569" y="36"/>
                  </a:lnTo>
                  <a:lnTo>
                    <a:pt x="569" y="38"/>
                  </a:lnTo>
                  <a:lnTo>
                    <a:pt x="571" y="38"/>
                  </a:lnTo>
                  <a:lnTo>
                    <a:pt x="572" y="38"/>
                  </a:lnTo>
                  <a:lnTo>
                    <a:pt x="574" y="38"/>
                  </a:lnTo>
                  <a:lnTo>
                    <a:pt x="576" y="38"/>
                  </a:lnTo>
                  <a:lnTo>
                    <a:pt x="577" y="38"/>
                  </a:lnTo>
                  <a:lnTo>
                    <a:pt x="579" y="38"/>
                  </a:lnTo>
                  <a:lnTo>
                    <a:pt x="581" y="38"/>
                  </a:lnTo>
                  <a:lnTo>
                    <a:pt x="582" y="38"/>
                  </a:lnTo>
                  <a:lnTo>
                    <a:pt x="584" y="38"/>
                  </a:lnTo>
                  <a:lnTo>
                    <a:pt x="585" y="38"/>
                  </a:lnTo>
                  <a:lnTo>
                    <a:pt x="587" y="38"/>
                  </a:lnTo>
                  <a:lnTo>
                    <a:pt x="589" y="38"/>
                  </a:lnTo>
                  <a:lnTo>
                    <a:pt x="589" y="36"/>
                  </a:lnTo>
                  <a:lnTo>
                    <a:pt x="590" y="36"/>
                  </a:lnTo>
                  <a:lnTo>
                    <a:pt x="592" y="36"/>
                  </a:lnTo>
                  <a:lnTo>
                    <a:pt x="592" y="34"/>
                  </a:lnTo>
                  <a:lnTo>
                    <a:pt x="594" y="34"/>
                  </a:lnTo>
                  <a:lnTo>
                    <a:pt x="595" y="33"/>
                  </a:lnTo>
                  <a:lnTo>
                    <a:pt x="597" y="33"/>
                  </a:lnTo>
                  <a:lnTo>
                    <a:pt x="597" y="31"/>
                  </a:lnTo>
                  <a:lnTo>
                    <a:pt x="598" y="31"/>
                  </a:lnTo>
                  <a:lnTo>
                    <a:pt x="600" y="30"/>
                  </a:lnTo>
                  <a:lnTo>
                    <a:pt x="602" y="30"/>
                  </a:lnTo>
                  <a:lnTo>
                    <a:pt x="603" y="30"/>
                  </a:lnTo>
                  <a:lnTo>
                    <a:pt x="605" y="30"/>
                  </a:lnTo>
                  <a:lnTo>
                    <a:pt x="607" y="28"/>
                  </a:lnTo>
                  <a:lnTo>
                    <a:pt x="608" y="28"/>
                  </a:lnTo>
                  <a:lnTo>
                    <a:pt x="610" y="28"/>
                  </a:lnTo>
                  <a:lnTo>
                    <a:pt x="610" y="26"/>
                  </a:lnTo>
                  <a:lnTo>
                    <a:pt x="611" y="26"/>
                  </a:lnTo>
                  <a:lnTo>
                    <a:pt x="613" y="25"/>
                  </a:lnTo>
                  <a:lnTo>
                    <a:pt x="613" y="23"/>
                  </a:lnTo>
                  <a:lnTo>
                    <a:pt x="615" y="23"/>
                  </a:lnTo>
                  <a:lnTo>
                    <a:pt x="615" y="21"/>
                  </a:lnTo>
                  <a:lnTo>
                    <a:pt x="616" y="21"/>
                  </a:lnTo>
                  <a:lnTo>
                    <a:pt x="616" y="20"/>
                  </a:lnTo>
                  <a:lnTo>
                    <a:pt x="616" y="18"/>
                  </a:lnTo>
                  <a:lnTo>
                    <a:pt x="615" y="18"/>
                  </a:lnTo>
                  <a:lnTo>
                    <a:pt x="616" y="17"/>
                  </a:lnTo>
                  <a:lnTo>
                    <a:pt x="616" y="18"/>
                  </a:lnTo>
                  <a:lnTo>
                    <a:pt x="618" y="18"/>
                  </a:lnTo>
                  <a:lnTo>
                    <a:pt x="620" y="18"/>
                  </a:lnTo>
                  <a:lnTo>
                    <a:pt x="621" y="17"/>
                  </a:lnTo>
                  <a:lnTo>
                    <a:pt x="623" y="15"/>
                  </a:lnTo>
                  <a:lnTo>
                    <a:pt x="623" y="13"/>
                  </a:lnTo>
                  <a:lnTo>
                    <a:pt x="623" y="12"/>
                  </a:lnTo>
                  <a:lnTo>
                    <a:pt x="625" y="12"/>
                  </a:lnTo>
                  <a:lnTo>
                    <a:pt x="626" y="12"/>
                  </a:lnTo>
                  <a:lnTo>
                    <a:pt x="628" y="12"/>
                  </a:lnTo>
                  <a:lnTo>
                    <a:pt x="629" y="12"/>
                  </a:lnTo>
                  <a:lnTo>
                    <a:pt x="631" y="12"/>
                  </a:lnTo>
                  <a:lnTo>
                    <a:pt x="634" y="12"/>
                  </a:lnTo>
                  <a:lnTo>
                    <a:pt x="636" y="12"/>
                  </a:lnTo>
                  <a:lnTo>
                    <a:pt x="638" y="12"/>
                  </a:lnTo>
                  <a:lnTo>
                    <a:pt x="639" y="13"/>
                  </a:lnTo>
                  <a:lnTo>
                    <a:pt x="641" y="15"/>
                  </a:lnTo>
                  <a:lnTo>
                    <a:pt x="642" y="15"/>
                  </a:lnTo>
                  <a:lnTo>
                    <a:pt x="642" y="17"/>
                  </a:lnTo>
                  <a:lnTo>
                    <a:pt x="642" y="18"/>
                  </a:lnTo>
                  <a:lnTo>
                    <a:pt x="642" y="20"/>
                  </a:lnTo>
                  <a:lnTo>
                    <a:pt x="641" y="20"/>
                  </a:lnTo>
                  <a:lnTo>
                    <a:pt x="642" y="20"/>
                  </a:lnTo>
                  <a:lnTo>
                    <a:pt x="642" y="21"/>
                  </a:lnTo>
                  <a:lnTo>
                    <a:pt x="644" y="21"/>
                  </a:lnTo>
                  <a:lnTo>
                    <a:pt x="644" y="23"/>
                  </a:lnTo>
                  <a:lnTo>
                    <a:pt x="647" y="23"/>
                  </a:lnTo>
                  <a:lnTo>
                    <a:pt x="652" y="23"/>
                  </a:lnTo>
                  <a:lnTo>
                    <a:pt x="654" y="23"/>
                  </a:lnTo>
                  <a:lnTo>
                    <a:pt x="655" y="23"/>
                  </a:lnTo>
                  <a:lnTo>
                    <a:pt x="657" y="23"/>
                  </a:lnTo>
                  <a:lnTo>
                    <a:pt x="657" y="21"/>
                  </a:lnTo>
                  <a:lnTo>
                    <a:pt x="659" y="23"/>
                  </a:lnTo>
                  <a:lnTo>
                    <a:pt x="659" y="21"/>
                  </a:lnTo>
                  <a:lnTo>
                    <a:pt x="660" y="21"/>
                  </a:lnTo>
                  <a:lnTo>
                    <a:pt x="660" y="20"/>
                  </a:lnTo>
                  <a:lnTo>
                    <a:pt x="662" y="20"/>
                  </a:lnTo>
                  <a:lnTo>
                    <a:pt x="662" y="18"/>
                  </a:lnTo>
                  <a:lnTo>
                    <a:pt x="662" y="17"/>
                  </a:lnTo>
                  <a:lnTo>
                    <a:pt x="662" y="15"/>
                  </a:lnTo>
                  <a:lnTo>
                    <a:pt x="660" y="15"/>
                  </a:lnTo>
                  <a:lnTo>
                    <a:pt x="662" y="15"/>
                  </a:lnTo>
                  <a:lnTo>
                    <a:pt x="664" y="15"/>
                  </a:lnTo>
                  <a:lnTo>
                    <a:pt x="665" y="15"/>
                  </a:lnTo>
                  <a:lnTo>
                    <a:pt x="667" y="17"/>
                  </a:lnTo>
                  <a:lnTo>
                    <a:pt x="668" y="18"/>
                  </a:lnTo>
                  <a:lnTo>
                    <a:pt x="670" y="18"/>
                  </a:lnTo>
                  <a:lnTo>
                    <a:pt x="672" y="18"/>
                  </a:lnTo>
                  <a:lnTo>
                    <a:pt x="673" y="20"/>
                  </a:lnTo>
                  <a:lnTo>
                    <a:pt x="677" y="20"/>
                  </a:lnTo>
                  <a:lnTo>
                    <a:pt x="678" y="21"/>
                  </a:lnTo>
                  <a:lnTo>
                    <a:pt x="680" y="21"/>
                  </a:lnTo>
                  <a:lnTo>
                    <a:pt x="681" y="21"/>
                  </a:lnTo>
                  <a:lnTo>
                    <a:pt x="681" y="23"/>
                  </a:lnTo>
                  <a:lnTo>
                    <a:pt x="683" y="21"/>
                  </a:lnTo>
                  <a:lnTo>
                    <a:pt x="683" y="23"/>
                  </a:lnTo>
                  <a:lnTo>
                    <a:pt x="686" y="23"/>
                  </a:lnTo>
                  <a:lnTo>
                    <a:pt x="688" y="23"/>
                  </a:lnTo>
                  <a:lnTo>
                    <a:pt x="690" y="23"/>
                  </a:lnTo>
                  <a:lnTo>
                    <a:pt x="691" y="23"/>
                  </a:lnTo>
                  <a:lnTo>
                    <a:pt x="693" y="23"/>
                  </a:lnTo>
                  <a:lnTo>
                    <a:pt x="694" y="23"/>
                  </a:lnTo>
                  <a:lnTo>
                    <a:pt x="694" y="21"/>
                  </a:lnTo>
                  <a:lnTo>
                    <a:pt x="696" y="21"/>
                  </a:lnTo>
                  <a:lnTo>
                    <a:pt x="698" y="21"/>
                  </a:lnTo>
                  <a:lnTo>
                    <a:pt x="699" y="20"/>
                  </a:lnTo>
                  <a:lnTo>
                    <a:pt x="699" y="18"/>
                  </a:lnTo>
                  <a:lnTo>
                    <a:pt x="701" y="20"/>
                  </a:lnTo>
                  <a:lnTo>
                    <a:pt x="704" y="18"/>
                  </a:lnTo>
                  <a:lnTo>
                    <a:pt x="706" y="18"/>
                  </a:lnTo>
                  <a:lnTo>
                    <a:pt x="707" y="18"/>
                  </a:lnTo>
                  <a:lnTo>
                    <a:pt x="707" y="17"/>
                  </a:lnTo>
                  <a:lnTo>
                    <a:pt x="709" y="17"/>
                  </a:lnTo>
                  <a:lnTo>
                    <a:pt x="711" y="17"/>
                  </a:lnTo>
                  <a:lnTo>
                    <a:pt x="712" y="15"/>
                  </a:lnTo>
                  <a:lnTo>
                    <a:pt x="714" y="15"/>
                  </a:lnTo>
                  <a:lnTo>
                    <a:pt x="716" y="13"/>
                  </a:lnTo>
                  <a:lnTo>
                    <a:pt x="717" y="13"/>
                  </a:lnTo>
                  <a:lnTo>
                    <a:pt x="719" y="12"/>
                  </a:lnTo>
                  <a:lnTo>
                    <a:pt x="719" y="10"/>
                  </a:lnTo>
                  <a:lnTo>
                    <a:pt x="720" y="8"/>
                  </a:lnTo>
                  <a:lnTo>
                    <a:pt x="724" y="8"/>
                  </a:lnTo>
                  <a:lnTo>
                    <a:pt x="725" y="8"/>
                  </a:lnTo>
                  <a:lnTo>
                    <a:pt x="729" y="7"/>
                  </a:lnTo>
                  <a:lnTo>
                    <a:pt x="732" y="7"/>
                  </a:lnTo>
                  <a:lnTo>
                    <a:pt x="733" y="7"/>
                  </a:lnTo>
                  <a:lnTo>
                    <a:pt x="735" y="7"/>
                  </a:lnTo>
                  <a:lnTo>
                    <a:pt x="737" y="7"/>
                  </a:lnTo>
                  <a:lnTo>
                    <a:pt x="737" y="5"/>
                  </a:lnTo>
                  <a:lnTo>
                    <a:pt x="738" y="5"/>
                  </a:lnTo>
                  <a:lnTo>
                    <a:pt x="740" y="5"/>
                  </a:lnTo>
                  <a:lnTo>
                    <a:pt x="742" y="7"/>
                  </a:lnTo>
                  <a:lnTo>
                    <a:pt x="743" y="5"/>
                  </a:lnTo>
                  <a:lnTo>
                    <a:pt x="742" y="7"/>
                  </a:lnTo>
                  <a:lnTo>
                    <a:pt x="742" y="8"/>
                  </a:lnTo>
                  <a:lnTo>
                    <a:pt x="743" y="8"/>
                  </a:lnTo>
                  <a:lnTo>
                    <a:pt x="745" y="8"/>
                  </a:lnTo>
                  <a:lnTo>
                    <a:pt x="746" y="10"/>
                  </a:lnTo>
                  <a:lnTo>
                    <a:pt x="748" y="10"/>
                  </a:lnTo>
                  <a:lnTo>
                    <a:pt x="748" y="8"/>
                  </a:lnTo>
                  <a:lnTo>
                    <a:pt x="748" y="10"/>
                  </a:lnTo>
                  <a:lnTo>
                    <a:pt x="750" y="10"/>
                  </a:lnTo>
                  <a:lnTo>
                    <a:pt x="751" y="8"/>
                  </a:lnTo>
                  <a:lnTo>
                    <a:pt x="751" y="10"/>
                  </a:lnTo>
                  <a:lnTo>
                    <a:pt x="751" y="8"/>
                  </a:lnTo>
                  <a:lnTo>
                    <a:pt x="751" y="10"/>
                  </a:lnTo>
                  <a:lnTo>
                    <a:pt x="753" y="8"/>
                  </a:lnTo>
                  <a:lnTo>
                    <a:pt x="753" y="10"/>
                  </a:lnTo>
                  <a:lnTo>
                    <a:pt x="755" y="10"/>
                  </a:lnTo>
                  <a:lnTo>
                    <a:pt x="756" y="10"/>
                  </a:lnTo>
                  <a:lnTo>
                    <a:pt x="758" y="10"/>
                  </a:lnTo>
                  <a:lnTo>
                    <a:pt x="759" y="10"/>
                  </a:lnTo>
                  <a:lnTo>
                    <a:pt x="761" y="12"/>
                  </a:lnTo>
                  <a:lnTo>
                    <a:pt x="763" y="12"/>
                  </a:lnTo>
                  <a:lnTo>
                    <a:pt x="764" y="12"/>
                  </a:lnTo>
                  <a:lnTo>
                    <a:pt x="766" y="12"/>
                  </a:lnTo>
                  <a:lnTo>
                    <a:pt x="768" y="12"/>
                  </a:lnTo>
                  <a:lnTo>
                    <a:pt x="768" y="10"/>
                  </a:lnTo>
                  <a:lnTo>
                    <a:pt x="769" y="10"/>
                  </a:lnTo>
                  <a:lnTo>
                    <a:pt x="771" y="10"/>
                  </a:lnTo>
                  <a:lnTo>
                    <a:pt x="771" y="12"/>
                  </a:lnTo>
                  <a:lnTo>
                    <a:pt x="773" y="12"/>
                  </a:lnTo>
                  <a:lnTo>
                    <a:pt x="774" y="12"/>
                  </a:lnTo>
                  <a:lnTo>
                    <a:pt x="776" y="13"/>
                  </a:lnTo>
                  <a:lnTo>
                    <a:pt x="776" y="12"/>
                  </a:lnTo>
                  <a:lnTo>
                    <a:pt x="777" y="12"/>
                  </a:lnTo>
                  <a:lnTo>
                    <a:pt x="779" y="12"/>
                  </a:lnTo>
                  <a:lnTo>
                    <a:pt x="781" y="12"/>
                  </a:lnTo>
                  <a:lnTo>
                    <a:pt x="782" y="12"/>
                  </a:lnTo>
                  <a:lnTo>
                    <a:pt x="784" y="12"/>
                  </a:lnTo>
                  <a:lnTo>
                    <a:pt x="786" y="12"/>
                  </a:lnTo>
                  <a:lnTo>
                    <a:pt x="787" y="12"/>
                  </a:lnTo>
                  <a:lnTo>
                    <a:pt x="787" y="13"/>
                  </a:lnTo>
                  <a:lnTo>
                    <a:pt x="789" y="12"/>
                  </a:lnTo>
                  <a:lnTo>
                    <a:pt x="790" y="13"/>
                  </a:lnTo>
                  <a:lnTo>
                    <a:pt x="792" y="13"/>
                  </a:lnTo>
                  <a:lnTo>
                    <a:pt x="794" y="13"/>
                  </a:lnTo>
                  <a:lnTo>
                    <a:pt x="795" y="13"/>
                  </a:lnTo>
                  <a:lnTo>
                    <a:pt x="795" y="15"/>
                  </a:lnTo>
                  <a:lnTo>
                    <a:pt x="797" y="15"/>
                  </a:lnTo>
                  <a:lnTo>
                    <a:pt x="799" y="15"/>
                  </a:lnTo>
                  <a:lnTo>
                    <a:pt x="800" y="13"/>
                  </a:lnTo>
                  <a:lnTo>
                    <a:pt x="800" y="12"/>
                  </a:lnTo>
                  <a:lnTo>
                    <a:pt x="802" y="12"/>
                  </a:lnTo>
                  <a:lnTo>
                    <a:pt x="805" y="13"/>
                  </a:lnTo>
                  <a:lnTo>
                    <a:pt x="807" y="13"/>
                  </a:lnTo>
                  <a:lnTo>
                    <a:pt x="808" y="15"/>
                  </a:lnTo>
                  <a:lnTo>
                    <a:pt x="810" y="17"/>
                  </a:lnTo>
                  <a:lnTo>
                    <a:pt x="813" y="17"/>
                  </a:lnTo>
                  <a:lnTo>
                    <a:pt x="815" y="17"/>
                  </a:lnTo>
                  <a:lnTo>
                    <a:pt x="816" y="17"/>
                  </a:lnTo>
                  <a:lnTo>
                    <a:pt x="818" y="17"/>
                  </a:lnTo>
                  <a:lnTo>
                    <a:pt x="820" y="17"/>
                  </a:lnTo>
                  <a:lnTo>
                    <a:pt x="821" y="17"/>
                  </a:lnTo>
                  <a:lnTo>
                    <a:pt x="821" y="18"/>
                  </a:lnTo>
                  <a:lnTo>
                    <a:pt x="823" y="18"/>
                  </a:lnTo>
                  <a:lnTo>
                    <a:pt x="823" y="17"/>
                  </a:lnTo>
                  <a:lnTo>
                    <a:pt x="825" y="17"/>
                  </a:lnTo>
                  <a:lnTo>
                    <a:pt x="825" y="18"/>
                  </a:lnTo>
                  <a:lnTo>
                    <a:pt x="825" y="17"/>
                  </a:lnTo>
                  <a:lnTo>
                    <a:pt x="826" y="17"/>
                  </a:lnTo>
                  <a:lnTo>
                    <a:pt x="826" y="18"/>
                  </a:lnTo>
                  <a:lnTo>
                    <a:pt x="829" y="18"/>
                  </a:lnTo>
                  <a:lnTo>
                    <a:pt x="831" y="18"/>
                  </a:lnTo>
                  <a:lnTo>
                    <a:pt x="833" y="18"/>
                  </a:lnTo>
                  <a:lnTo>
                    <a:pt x="834" y="18"/>
                  </a:lnTo>
                  <a:lnTo>
                    <a:pt x="836" y="18"/>
                  </a:lnTo>
                  <a:lnTo>
                    <a:pt x="838" y="17"/>
                  </a:lnTo>
                  <a:lnTo>
                    <a:pt x="839" y="17"/>
                  </a:lnTo>
                  <a:lnTo>
                    <a:pt x="841" y="17"/>
                  </a:lnTo>
                  <a:lnTo>
                    <a:pt x="841" y="18"/>
                  </a:lnTo>
                  <a:lnTo>
                    <a:pt x="842" y="18"/>
                  </a:lnTo>
                  <a:lnTo>
                    <a:pt x="844" y="18"/>
                  </a:lnTo>
                  <a:lnTo>
                    <a:pt x="844" y="20"/>
                  </a:lnTo>
                  <a:lnTo>
                    <a:pt x="846" y="21"/>
                  </a:lnTo>
                  <a:lnTo>
                    <a:pt x="847" y="21"/>
                  </a:lnTo>
                  <a:lnTo>
                    <a:pt x="849" y="21"/>
                  </a:lnTo>
                  <a:lnTo>
                    <a:pt x="851" y="21"/>
                  </a:lnTo>
                  <a:lnTo>
                    <a:pt x="851" y="23"/>
                  </a:lnTo>
                  <a:lnTo>
                    <a:pt x="852" y="23"/>
                  </a:lnTo>
                  <a:lnTo>
                    <a:pt x="854" y="23"/>
                  </a:lnTo>
                  <a:lnTo>
                    <a:pt x="854" y="25"/>
                  </a:lnTo>
                  <a:lnTo>
                    <a:pt x="855" y="25"/>
                  </a:lnTo>
                  <a:lnTo>
                    <a:pt x="857" y="25"/>
                  </a:lnTo>
                  <a:lnTo>
                    <a:pt x="859" y="26"/>
                  </a:lnTo>
                  <a:lnTo>
                    <a:pt x="859" y="28"/>
                  </a:lnTo>
                  <a:lnTo>
                    <a:pt x="860" y="28"/>
                  </a:lnTo>
                  <a:lnTo>
                    <a:pt x="862" y="28"/>
                  </a:lnTo>
                  <a:lnTo>
                    <a:pt x="862" y="30"/>
                  </a:lnTo>
                  <a:lnTo>
                    <a:pt x="864" y="30"/>
                  </a:lnTo>
                  <a:lnTo>
                    <a:pt x="865" y="30"/>
                  </a:lnTo>
                  <a:lnTo>
                    <a:pt x="867" y="31"/>
                  </a:lnTo>
                  <a:lnTo>
                    <a:pt x="868" y="31"/>
                  </a:lnTo>
                  <a:lnTo>
                    <a:pt x="868" y="33"/>
                  </a:lnTo>
                  <a:lnTo>
                    <a:pt x="870" y="34"/>
                  </a:lnTo>
                  <a:lnTo>
                    <a:pt x="872" y="34"/>
                  </a:lnTo>
                  <a:lnTo>
                    <a:pt x="873" y="34"/>
                  </a:lnTo>
                  <a:lnTo>
                    <a:pt x="873" y="36"/>
                  </a:lnTo>
                  <a:lnTo>
                    <a:pt x="877" y="36"/>
                  </a:lnTo>
                  <a:lnTo>
                    <a:pt x="878" y="36"/>
                  </a:lnTo>
                  <a:lnTo>
                    <a:pt x="878" y="38"/>
                  </a:lnTo>
                  <a:lnTo>
                    <a:pt x="878" y="39"/>
                  </a:lnTo>
                  <a:lnTo>
                    <a:pt x="877" y="39"/>
                  </a:lnTo>
                  <a:lnTo>
                    <a:pt x="875" y="39"/>
                  </a:lnTo>
                  <a:lnTo>
                    <a:pt x="875" y="41"/>
                  </a:lnTo>
                  <a:lnTo>
                    <a:pt x="875" y="43"/>
                  </a:lnTo>
                  <a:lnTo>
                    <a:pt x="875" y="44"/>
                  </a:lnTo>
                  <a:lnTo>
                    <a:pt x="875" y="46"/>
                  </a:lnTo>
                  <a:lnTo>
                    <a:pt x="877" y="47"/>
                  </a:lnTo>
                  <a:lnTo>
                    <a:pt x="880" y="49"/>
                  </a:lnTo>
                  <a:lnTo>
                    <a:pt x="881" y="51"/>
                  </a:lnTo>
                  <a:lnTo>
                    <a:pt x="885" y="52"/>
                  </a:lnTo>
                  <a:lnTo>
                    <a:pt x="886" y="52"/>
                  </a:lnTo>
                  <a:lnTo>
                    <a:pt x="888" y="54"/>
                  </a:lnTo>
                  <a:lnTo>
                    <a:pt x="890" y="54"/>
                  </a:lnTo>
                  <a:lnTo>
                    <a:pt x="890" y="56"/>
                  </a:lnTo>
                  <a:lnTo>
                    <a:pt x="893" y="56"/>
                  </a:lnTo>
                  <a:lnTo>
                    <a:pt x="896" y="57"/>
                  </a:lnTo>
                  <a:lnTo>
                    <a:pt x="899" y="57"/>
                  </a:lnTo>
                  <a:lnTo>
                    <a:pt x="901" y="57"/>
                  </a:lnTo>
                  <a:lnTo>
                    <a:pt x="904" y="57"/>
                  </a:lnTo>
                  <a:lnTo>
                    <a:pt x="907" y="57"/>
                  </a:lnTo>
                  <a:lnTo>
                    <a:pt x="909" y="56"/>
                  </a:lnTo>
                  <a:lnTo>
                    <a:pt x="911" y="56"/>
                  </a:lnTo>
                  <a:lnTo>
                    <a:pt x="912" y="56"/>
                  </a:lnTo>
                  <a:lnTo>
                    <a:pt x="914" y="56"/>
                  </a:lnTo>
                  <a:lnTo>
                    <a:pt x="916" y="56"/>
                  </a:lnTo>
                  <a:lnTo>
                    <a:pt x="916" y="54"/>
                  </a:lnTo>
                  <a:lnTo>
                    <a:pt x="917" y="54"/>
                  </a:lnTo>
                  <a:lnTo>
                    <a:pt x="919" y="54"/>
                  </a:lnTo>
                  <a:lnTo>
                    <a:pt x="921" y="54"/>
                  </a:lnTo>
                  <a:lnTo>
                    <a:pt x="921" y="52"/>
                  </a:lnTo>
                  <a:lnTo>
                    <a:pt x="921" y="54"/>
                  </a:lnTo>
                  <a:lnTo>
                    <a:pt x="922" y="54"/>
                  </a:lnTo>
                  <a:lnTo>
                    <a:pt x="922" y="52"/>
                  </a:lnTo>
                  <a:lnTo>
                    <a:pt x="924" y="52"/>
                  </a:lnTo>
                  <a:lnTo>
                    <a:pt x="924" y="51"/>
                  </a:lnTo>
                  <a:lnTo>
                    <a:pt x="925" y="52"/>
                  </a:lnTo>
                  <a:lnTo>
                    <a:pt x="925" y="51"/>
                  </a:lnTo>
                  <a:lnTo>
                    <a:pt x="927" y="51"/>
                  </a:lnTo>
                  <a:lnTo>
                    <a:pt x="925" y="49"/>
                  </a:lnTo>
                  <a:lnTo>
                    <a:pt x="927" y="49"/>
                  </a:lnTo>
                  <a:lnTo>
                    <a:pt x="929" y="49"/>
                  </a:lnTo>
                  <a:lnTo>
                    <a:pt x="929" y="47"/>
                  </a:lnTo>
                  <a:lnTo>
                    <a:pt x="929" y="49"/>
                  </a:lnTo>
                  <a:lnTo>
                    <a:pt x="929" y="47"/>
                  </a:lnTo>
                  <a:lnTo>
                    <a:pt x="930" y="47"/>
                  </a:lnTo>
                  <a:lnTo>
                    <a:pt x="930" y="46"/>
                  </a:lnTo>
                  <a:lnTo>
                    <a:pt x="929" y="46"/>
                  </a:lnTo>
                  <a:lnTo>
                    <a:pt x="930" y="46"/>
                  </a:lnTo>
                  <a:lnTo>
                    <a:pt x="930" y="44"/>
                  </a:lnTo>
                  <a:lnTo>
                    <a:pt x="929" y="44"/>
                  </a:lnTo>
                  <a:lnTo>
                    <a:pt x="930" y="44"/>
                  </a:lnTo>
                  <a:lnTo>
                    <a:pt x="930" y="43"/>
                  </a:lnTo>
                  <a:lnTo>
                    <a:pt x="932" y="43"/>
                  </a:lnTo>
                  <a:lnTo>
                    <a:pt x="932" y="41"/>
                  </a:lnTo>
                  <a:lnTo>
                    <a:pt x="934" y="41"/>
                  </a:lnTo>
                  <a:lnTo>
                    <a:pt x="934" y="39"/>
                  </a:lnTo>
                  <a:lnTo>
                    <a:pt x="935" y="39"/>
                  </a:lnTo>
                  <a:lnTo>
                    <a:pt x="937" y="39"/>
                  </a:lnTo>
                  <a:lnTo>
                    <a:pt x="938" y="39"/>
                  </a:lnTo>
                  <a:lnTo>
                    <a:pt x="940" y="39"/>
                  </a:lnTo>
                  <a:lnTo>
                    <a:pt x="942" y="39"/>
                  </a:lnTo>
                  <a:lnTo>
                    <a:pt x="942" y="38"/>
                  </a:lnTo>
                  <a:lnTo>
                    <a:pt x="942" y="36"/>
                  </a:lnTo>
                  <a:lnTo>
                    <a:pt x="943" y="36"/>
                  </a:lnTo>
                  <a:lnTo>
                    <a:pt x="943" y="38"/>
                  </a:lnTo>
                  <a:lnTo>
                    <a:pt x="945" y="38"/>
                  </a:lnTo>
                  <a:lnTo>
                    <a:pt x="945" y="36"/>
                  </a:lnTo>
                  <a:lnTo>
                    <a:pt x="945" y="34"/>
                  </a:lnTo>
                  <a:lnTo>
                    <a:pt x="945" y="36"/>
                  </a:lnTo>
                  <a:lnTo>
                    <a:pt x="947" y="34"/>
                  </a:lnTo>
                  <a:lnTo>
                    <a:pt x="948" y="34"/>
                  </a:lnTo>
                  <a:lnTo>
                    <a:pt x="950" y="34"/>
                  </a:lnTo>
                  <a:lnTo>
                    <a:pt x="951" y="34"/>
                  </a:lnTo>
                  <a:lnTo>
                    <a:pt x="951" y="33"/>
                  </a:lnTo>
                  <a:lnTo>
                    <a:pt x="953" y="33"/>
                  </a:lnTo>
                  <a:lnTo>
                    <a:pt x="953" y="34"/>
                  </a:lnTo>
                  <a:lnTo>
                    <a:pt x="955" y="34"/>
                  </a:lnTo>
                  <a:lnTo>
                    <a:pt x="955" y="33"/>
                  </a:lnTo>
                  <a:lnTo>
                    <a:pt x="956" y="33"/>
                  </a:lnTo>
                  <a:lnTo>
                    <a:pt x="956" y="34"/>
                  </a:lnTo>
                  <a:lnTo>
                    <a:pt x="955" y="34"/>
                  </a:lnTo>
                  <a:lnTo>
                    <a:pt x="956" y="34"/>
                  </a:lnTo>
                  <a:lnTo>
                    <a:pt x="956" y="36"/>
                  </a:lnTo>
                  <a:lnTo>
                    <a:pt x="958" y="36"/>
                  </a:lnTo>
                  <a:lnTo>
                    <a:pt x="960" y="36"/>
                  </a:lnTo>
                  <a:lnTo>
                    <a:pt x="963" y="36"/>
                  </a:lnTo>
                  <a:lnTo>
                    <a:pt x="964" y="36"/>
                  </a:lnTo>
                  <a:lnTo>
                    <a:pt x="968" y="36"/>
                  </a:lnTo>
                  <a:lnTo>
                    <a:pt x="969" y="34"/>
                  </a:lnTo>
                  <a:lnTo>
                    <a:pt x="971" y="33"/>
                  </a:lnTo>
                  <a:lnTo>
                    <a:pt x="969" y="34"/>
                  </a:lnTo>
                  <a:lnTo>
                    <a:pt x="968" y="36"/>
                  </a:lnTo>
                  <a:lnTo>
                    <a:pt x="969" y="34"/>
                  </a:lnTo>
                  <a:lnTo>
                    <a:pt x="968" y="36"/>
                  </a:lnTo>
                  <a:lnTo>
                    <a:pt x="969" y="36"/>
                  </a:lnTo>
                  <a:lnTo>
                    <a:pt x="969" y="34"/>
                  </a:lnTo>
                  <a:lnTo>
                    <a:pt x="969" y="36"/>
                  </a:lnTo>
                  <a:lnTo>
                    <a:pt x="971" y="36"/>
                  </a:lnTo>
                  <a:lnTo>
                    <a:pt x="969" y="34"/>
                  </a:lnTo>
                  <a:lnTo>
                    <a:pt x="971" y="34"/>
                  </a:lnTo>
                  <a:lnTo>
                    <a:pt x="971" y="36"/>
                  </a:lnTo>
                  <a:lnTo>
                    <a:pt x="971" y="34"/>
                  </a:lnTo>
                  <a:lnTo>
                    <a:pt x="973" y="34"/>
                  </a:lnTo>
                  <a:lnTo>
                    <a:pt x="974" y="34"/>
                  </a:lnTo>
                  <a:lnTo>
                    <a:pt x="976" y="34"/>
                  </a:lnTo>
                  <a:lnTo>
                    <a:pt x="977" y="34"/>
                  </a:lnTo>
                  <a:lnTo>
                    <a:pt x="979" y="34"/>
                  </a:lnTo>
                  <a:lnTo>
                    <a:pt x="981" y="33"/>
                  </a:lnTo>
                  <a:lnTo>
                    <a:pt x="982" y="33"/>
                  </a:lnTo>
                  <a:lnTo>
                    <a:pt x="986" y="33"/>
                  </a:lnTo>
                  <a:lnTo>
                    <a:pt x="989" y="31"/>
                  </a:lnTo>
                  <a:lnTo>
                    <a:pt x="990" y="30"/>
                  </a:lnTo>
                  <a:lnTo>
                    <a:pt x="992" y="30"/>
                  </a:lnTo>
                  <a:lnTo>
                    <a:pt x="994" y="28"/>
                  </a:lnTo>
                  <a:lnTo>
                    <a:pt x="995" y="28"/>
                  </a:lnTo>
                  <a:lnTo>
                    <a:pt x="997" y="28"/>
                  </a:lnTo>
                  <a:lnTo>
                    <a:pt x="999" y="26"/>
                  </a:lnTo>
                  <a:lnTo>
                    <a:pt x="1000" y="26"/>
                  </a:lnTo>
                  <a:lnTo>
                    <a:pt x="1002" y="26"/>
                  </a:lnTo>
                  <a:lnTo>
                    <a:pt x="1003" y="26"/>
                  </a:lnTo>
                  <a:lnTo>
                    <a:pt x="1003" y="25"/>
                  </a:lnTo>
                  <a:lnTo>
                    <a:pt x="1005" y="25"/>
                  </a:lnTo>
                  <a:lnTo>
                    <a:pt x="1007" y="25"/>
                  </a:lnTo>
                  <a:lnTo>
                    <a:pt x="1008" y="25"/>
                  </a:lnTo>
                  <a:lnTo>
                    <a:pt x="1010" y="23"/>
                  </a:lnTo>
                  <a:lnTo>
                    <a:pt x="1012" y="23"/>
                  </a:lnTo>
                  <a:lnTo>
                    <a:pt x="1012" y="21"/>
                  </a:lnTo>
                  <a:lnTo>
                    <a:pt x="1013" y="20"/>
                  </a:lnTo>
                  <a:lnTo>
                    <a:pt x="1013" y="18"/>
                  </a:lnTo>
                  <a:lnTo>
                    <a:pt x="1013" y="17"/>
                  </a:lnTo>
                  <a:lnTo>
                    <a:pt x="1012" y="17"/>
                  </a:lnTo>
                  <a:lnTo>
                    <a:pt x="1010" y="15"/>
                  </a:lnTo>
                  <a:lnTo>
                    <a:pt x="1012" y="13"/>
                  </a:lnTo>
                  <a:lnTo>
                    <a:pt x="1012" y="12"/>
                  </a:lnTo>
                  <a:lnTo>
                    <a:pt x="1013" y="12"/>
                  </a:lnTo>
                  <a:lnTo>
                    <a:pt x="1013" y="10"/>
                  </a:lnTo>
                  <a:lnTo>
                    <a:pt x="1013" y="8"/>
                  </a:lnTo>
                  <a:lnTo>
                    <a:pt x="1015" y="8"/>
                  </a:lnTo>
                  <a:lnTo>
                    <a:pt x="1016" y="7"/>
                  </a:lnTo>
                  <a:lnTo>
                    <a:pt x="1018" y="7"/>
                  </a:lnTo>
                  <a:lnTo>
                    <a:pt x="1020" y="7"/>
                  </a:lnTo>
                  <a:lnTo>
                    <a:pt x="1020" y="5"/>
                  </a:lnTo>
                  <a:lnTo>
                    <a:pt x="1021" y="5"/>
                  </a:lnTo>
                  <a:lnTo>
                    <a:pt x="1021" y="4"/>
                  </a:lnTo>
                  <a:lnTo>
                    <a:pt x="1023" y="4"/>
                  </a:lnTo>
                  <a:lnTo>
                    <a:pt x="1023" y="2"/>
                  </a:lnTo>
                  <a:lnTo>
                    <a:pt x="1026" y="2"/>
                  </a:lnTo>
                  <a:lnTo>
                    <a:pt x="1028" y="2"/>
                  </a:lnTo>
                  <a:lnTo>
                    <a:pt x="1029" y="0"/>
                  </a:lnTo>
                  <a:lnTo>
                    <a:pt x="1031" y="0"/>
                  </a:lnTo>
                  <a:lnTo>
                    <a:pt x="1033" y="2"/>
                  </a:lnTo>
                  <a:lnTo>
                    <a:pt x="1033" y="0"/>
                  </a:lnTo>
                  <a:lnTo>
                    <a:pt x="1033" y="2"/>
                  </a:lnTo>
                  <a:lnTo>
                    <a:pt x="1034" y="2"/>
                  </a:lnTo>
                  <a:lnTo>
                    <a:pt x="1034" y="0"/>
                  </a:lnTo>
                  <a:lnTo>
                    <a:pt x="1036" y="2"/>
                  </a:lnTo>
                  <a:lnTo>
                    <a:pt x="1036" y="0"/>
                  </a:lnTo>
                  <a:lnTo>
                    <a:pt x="1038" y="0"/>
                  </a:lnTo>
                  <a:lnTo>
                    <a:pt x="1039" y="0"/>
                  </a:lnTo>
                  <a:close/>
                </a:path>
              </a:pathLst>
            </a:custGeom>
            <a:solidFill>
              <a:srgbClr val="E5E5E5"/>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1224" name="Freeform 70">
              <a:extLst>
                <a:ext uri="{FF2B5EF4-FFF2-40B4-BE49-F238E27FC236}">
                  <a16:creationId xmlns:a16="http://schemas.microsoft.com/office/drawing/2014/main" id="{01175463-80B8-7D59-C42C-595FC51FD345}"/>
                </a:ext>
              </a:extLst>
            </p:cNvPr>
            <p:cNvSpPr>
              <a:spLocks noEditPoints="1"/>
            </p:cNvSpPr>
            <p:nvPr/>
          </p:nvSpPr>
          <p:spPr bwMode="auto">
            <a:xfrm>
              <a:off x="3946" y="5526"/>
              <a:ext cx="419" cy="460"/>
            </a:xfrm>
            <a:custGeom>
              <a:avLst/>
              <a:gdLst>
                <a:gd name="T0" fmla="*/ 294 w 419"/>
                <a:gd name="T1" fmla="*/ 449 h 460"/>
                <a:gd name="T2" fmla="*/ 377 w 419"/>
                <a:gd name="T3" fmla="*/ 410 h 460"/>
                <a:gd name="T4" fmla="*/ 418 w 419"/>
                <a:gd name="T5" fmla="*/ 388 h 460"/>
                <a:gd name="T6" fmla="*/ 413 w 419"/>
                <a:gd name="T7" fmla="*/ 392 h 460"/>
                <a:gd name="T8" fmla="*/ 411 w 419"/>
                <a:gd name="T9" fmla="*/ 401 h 460"/>
                <a:gd name="T10" fmla="*/ 395 w 419"/>
                <a:gd name="T11" fmla="*/ 405 h 460"/>
                <a:gd name="T12" fmla="*/ 406 w 419"/>
                <a:gd name="T13" fmla="*/ 393 h 460"/>
                <a:gd name="T14" fmla="*/ 357 w 419"/>
                <a:gd name="T15" fmla="*/ 262 h 460"/>
                <a:gd name="T16" fmla="*/ 283 w 419"/>
                <a:gd name="T17" fmla="*/ 70 h 460"/>
                <a:gd name="T18" fmla="*/ 286 w 419"/>
                <a:gd name="T19" fmla="*/ 58 h 460"/>
                <a:gd name="T20" fmla="*/ 318 w 419"/>
                <a:gd name="T21" fmla="*/ 118 h 460"/>
                <a:gd name="T22" fmla="*/ 328 w 419"/>
                <a:gd name="T23" fmla="*/ 101 h 460"/>
                <a:gd name="T24" fmla="*/ 356 w 419"/>
                <a:gd name="T25" fmla="*/ 86 h 460"/>
                <a:gd name="T26" fmla="*/ 364 w 419"/>
                <a:gd name="T27" fmla="*/ 76 h 460"/>
                <a:gd name="T28" fmla="*/ 382 w 419"/>
                <a:gd name="T29" fmla="*/ 68 h 460"/>
                <a:gd name="T30" fmla="*/ 388 w 419"/>
                <a:gd name="T31" fmla="*/ 92 h 460"/>
                <a:gd name="T32" fmla="*/ 372 w 419"/>
                <a:gd name="T33" fmla="*/ 120 h 460"/>
                <a:gd name="T34" fmla="*/ 359 w 419"/>
                <a:gd name="T35" fmla="*/ 144 h 460"/>
                <a:gd name="T36" fmla="*/ 338 w 419"/>
                <a:gd name="T37" fmla="*/ 162 h 460"/>
                <a:gd name="T38" fmla="*/ 315 w 419"/>
                <a:gd name="T39" fmla="*/ 197 h 460"/>
                <a:gd name="T40" fmla="*/ 330 w 419"/>
                <a:gd name="T41" fmla="*/ 237 h 460"/>
                <a:gd name="T42" fmla="*/ 357 w 419"/>
                <a:gd name="T43" fmla="*/ 253 h 460"/>
                <a:gd name="T44" fmla="*/ 362 w 419"/>
                <a:gd name="T45" fmla="*/ 266 h 460"/>
                <a:gd name="T46" fmla="*/ 382 w 419"/>
                <a:gd name="T47" fmla="*/ 288 h 460"/>
                <a:gd name="T48" fmla="*/ 382 w 419"/>
                <a:gd name="T49" fmla="*/ 314 h 460"/>
                <a:gd name="T50" fmla="*/ 392 w 419"/>
                <a:gd name="T51" fmla="*/ 332 h 460"/>
                <a:gd name="T52" fmla="*/ 380 w 419"/>
                <a:gd name="T53" fmla="*/ 358 h 460"/>
                <a:gd name="T54" fmla="*/ 367 w 419"/>
                <a:gd name="T55" fmla="*/ 384 h 460"/>
                <a:gd name="T56" fmla="*/ 353 w 419"/>
                <a:gd name="T57" fmla="*/ 403 h 460"/>
                <a:gd name="T58" fmla="*/ 338 w 419"/>
                <a:gd name="T59" fmla="*/ 416 h 460"/>
                <a:gd name="T60" fmla="*/ 320 w 419"/>
                <a:gd name="T61" fmla="*/ 431 h 460"/>
                <a:gd name="T62" fmla="*/ 302 w 419"/>
                <a:gd name="T63" fmla="*/ 445 h 460"/>
                <a:gd name="T64" fmla="*/ 287 w 419"/>
                <a:gd name="T65" fmla="*/ 457 h 460"/>
                <a:gd name="T66" fmla="*/ 14 w 419"/>
                <a:gd name="T67" fmla="*/ 439 h 460"/>
                <a:gd name="T68" fmla="*/ 44 w 419"/>
                <a:gd name="T69" fmla="*/ 421 h 460"/>
                <a:gd name="T70" fmla="*/ 57 w 419"/>
                <a:gd name="T71" fmla="*/ 398 h 460"/>
                <a:gd name="T72" fmla="*/ 65 w 419"/>
                <a:gd name="T73" fmla="*/ 348 h 460"/>
                <a:gd name="T74" fmla="*/ 61 w 419"/>
                <a:gd name="T75" fmla="*/ 320 h 460"/>
                <a:gd name="T76" fmla="*/ 66 w 419"/>
                <a:gd name="T77" fmla="*/ 270 h 460"/>
                <a:gd name="T78" fmla="*/ 58 w 419"/>
                <a:gd name="T79" fmla="*/ 227 h 460"/>
                <a:gd name="T80" fmla="*/ 66 w 419"/>
                <a:gd name="T81" fmla="*/ 190 h 460"/>
                <a:gd name="T82" fmla="*/ 71 w 419"/>
                <a:gd name="T83" fmla="*/ 161 h 460"/>
                <a:gd name="T84" fmla="*/ 48 w 419"/>
                <a:gd name="T85" fmla="*/ 148 h 460"/>
                <a:gd name="T86" fmla="*/ 81 w 419"/>
                <a:gd name="T87" fmla="*/ 127 h 460"/>
                <a:gd name="T88" fmla="*/ 96 w 419"/>
                <a:gd name="T89" fmla="*/ 110 h 460"/>
                <a:gd name="T90" fmla="*/ 102 w 419"/>
                <a:gd name="T91" fmla="*/ 89 h 460"/>
                <a:gd name="T92" fmla="*/ 130 w 419"/>
                <a:gd name="T93" fmla="*/ 79 h 460"/>
                <a:gd name="T94" fmla="*/ 154 w 419"/>
                <a:gd name="T95" fmla="*/ 57 h 460"/>
                <a:gd name="T96" fmla="*/ 175 w 419"/>
                <a:gd name="T97" fmla="*/ 49 h 460"/>
                <a:gd name="T98" fmla="*/ 205 w 419"/>
                <a:gd name="T99" fmla="*/ 40 h 460"/>
                <a:gd name="T100" fmla="*/ 239 w 419"/>
                <a:gd name="T101" fmla="*/ 34 h 460"/>
                <a:gd name="T102" fmla="*/ 242 w 419"/>
                <a:gd name="T103" fmla="*/ 44 h 460"/>
                <a:gd name="T104" fmla="*/ 235 w 419"/>
                <a:gd name="T105" fmla="*/ 52 h 460"/>
                <a:gd name="T106" fmla="*/ 247 w 419"/>
                <a:gd name="T107" fmla="*/ 49 h 460"/>
                <a:gd name="T108" fmla="*/ 257 w 419"/>
                <a:gd name="T109" fmla="*/ 45 h 460"/>
                <a:gd name="T110" fmla="*/ 286 w 419"/>
                <a:gd name="T111" fmla="*/ 55 h 460"/>
                <a:gd name="T112" fmla="*/ 279 w 419"/>
                <a:gd name="T113" fmla="*/ 63 h 460"/>
                <a:gd name="T114" fmla="*/ 284 w 419"/>
                <a:gd name="T115" fmla="*/ 83 h 460"/>
                <a:gd name="T116" fmla="*/ 297 w 419"/>
                <a:gd name="T117" fmla="*/ 104 h 460"/>
                <a:gd name="T118" fmla="*/ 292 w 419"/>
                <a:gd name="T119" fmla="*/ 107 h 460"/>
                <a:gd name="T120" fmla="*/ 286 w 419"/>
                <a:gd name="T121" fmla="*/ 109 h 460"/>
                <a:gd name="T122" fmla="*/ 139 w 419"/>
                <a:gd name="T123" fmla="*/ 0 h 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19" h="460">
                  <a:moveTo>
                    <a:pt x="296" y="452"/>
                  </a:moveTo>
                  <a:lnTo>
                    <a:pt x="296" y="453"/>
                  </a:lnTo>
                  <a:lnTo>
                    <a:pt x="294" y="453"/>
                  </a:lnTo>
                  <a:lnTo>
                    <a:pt x="296" y="452"/>
                  </a:lnTo>
                  <a:close/>
                  <a:moveTo>
                    <a:pt x="299" y="453"/>
                  </a:moveTo>
                  <a:lnTo>
                    <a:pt x="297" y="455"/>
                  </a:lnTo>
                  <a:lnTo>
                    <a:pt x="296" y="455"/>
                  </a:lnTo>
                  <a:lnTo>
                    <a:pt x="296" y="453"/>
                  </a:lnTo>
                  <a:lnTo>
                    <a:pt x="296" y="452"/>
                  </a:lnTo>
                  <a:lnTo>
                    <a:pt x="297" y="452"/>
                  </a:lnTo>
                  <a:lnTo>
                    <a:pt x="299" y="453"/>
                  </a:lnTo>
                  <a:close/>
                  <a:moveTo>
                    <a:pt x="296" y="450"/>
                  </a:moveTo>
                  <a:lnTo>
                    <a:pt x="294" y="450"/>
                  </a:lnTo>
                  <a:lnTo>
                    <a:pt x="296" y="450"/>
                  </a:lnTo>
                  <a:lnTo>
                    <a:pt x="296" y="452"/>
                  </a:lnTo>
                  <a:lnTo>
                    <a:pt x="294" y="452"/>
                  </a:lnTo>
                  <a:lnTo>
                    <a:pt x="296" y="452"/>
                  </a:lnTo>
                  <a:lnTo>
                    <a:pt x="294" y="452"/>
                  </a:lnTo>
                  <a:lnTo>
                    <a:pt x="294" y="450"/>
                  </a:lnTo>
                  <a:lnTo>
                    <a:pt x="296" y="450"/>
                  </a:lnTo>
                  <a:close/>
                  <a:moveTo>
                    <a:pt x="296" y="449"/>
                  </a:moveTo>
                  <a:lnTo>
                    <a:pt x="294" y="449"/>
                  </a:lnTo>
                  <a:lnTo>
                    <a:pt x="296" y="449"/>
                  </a:lnTo>
                  <a:close/>
                  <a:moveTo>
                    <a:pt x="390" y="410"/>
                  </a:moveTo>
                  <a:lnTo>
                    <a:pt x="393" y="410"/>
                  </a:lnTo>
                  <a:lnTo>
                    <a:pt x="393" y="411"/>
                  </a:lnTo>
                  <a:lnTo>
                    <a:pt x="392" y="411"/>
                  </a:lnTo>
                  <a:lnTo>
                    <a:pt x="393" y="411"/>
                  </a:lnTo>
                  <a:lnTo>
                    <a:pt x="392" y="411"/>
                  </a:lnTo>
                  <a:lnTo>
                    <a:pt x="392" y="413"/>
                  </a:lnTo>
                  <a:lnTo>
                    <a:pt x="390" y="413"/>
                  </a:lnTo>
                  <a:lnTo>
                    <a:pt x="388" y="414"/>
                  </a:lnTo>
                  <a:lnTo>
                    <a:pt x="387" y="416"/>
                  </a:lnTo>
                  <a:lnTo>
                    <a:pt x="385" y="416"/>
                  </a:lnTo>
                  <a:lnTo>
                    <a:pt x="385" y="418"/>
                  </a:lnTo>
                  <a:lnTo>
                    <a:pt x="383" y="416"/>
                  </a:lnTo>
                  <a:lnTo>
                    <a:pt x="382" y="416"/>
                  </a:lnTo>
                  <a:lnTo>
                    <a:pt x="380" y="414"/>
                  </a:lnTo>
                  <a:lnTo>
                    <a:pt x="379" y="414"/>
                  </a:lnTo>
                  <a:lnTo>
                    <a:pt x="377" y="413"/>
                  </a:lnTo>
                  <a:lnTo>
                    <a:pt x="375" y="413"/>
                  </a:lnTo>
                  <a:lnTo>
                    <a:pt x="375" y="411"/>
                  </a:lnTo>
                  <a:lnTo>
                    <a:pt x="377" y="411"/>
                  </a:lnTo>
                  <a:lnTo>
                    <a:pt x="377" y="410"/>
                  </a:lnTo>
                  <a:lnTo>
                    <a:pt x="379" y="410"/>
                  </a:lnTo>
                  <a:lnTo>
                    <a:pt x="380" y="410"/>
                  </a:lnTo>
                  <a:lnTo>
                    <a:pt x="382" y="410"/>
                  </a:lnTo>
                  <a:lnTo>
                    <a:pt x="383" y="410"/>
                  </a:lnTo>
                  <a:lnTo>
                    <a:pt x="385" y="410"/>
                  </a:lnTo>
                  <a:lnTo>
                    <a:pt x="387" y="410"/>
                  </a:lnTo>
                  <a:lnTo>
                    <a:pt x="388" y="410"/>
                  </a:lnTo>
                  <a:lnTo>
                    <a:pt x="390" y="410"/>
                  </a:lnTo>
                  <a:close/>
                  <a:moveTo>
                    <a:pt x="419" y="397"/>
                  </a:moveTo>
                  <a:lnTo>
                    <a:pt x="418" y="397"/>
                  </a:lnTo>
                  <a:lnTo>
                    <a:pt x="418" y="398"/>
                  </a:lnTo>
                  <a:lnTo>
                    <a:pt x="416" y="398"/>
                  </a:lnTo>
                  <a:lnTo>
                    <a:pt x="416" y="397"/>
                  </a:lnTo>
                  <a:lnTo>
                    <a:pt x="419" y="397"/>
                  </a:lnTo>
                  <a:close/>
                  <a:moveTo>
                    <a:pt x="405" y="395"/>
                  </a:moveTo>
                  <a:lnTo>
                    <a:pt x="403" y="395"/>
                  </a:lnTo>
                  <a:lnTo>
                    <a:pt x="405" y="395"/>
                  </a:lnTo>
                  <a:close/>
                  <a:moveTo>
                    <a:pt x="406" y="392"/>
                  </a:moveTo>
                  <a:lnTo>
                    <a:pt x="405" y="392"/>
                  </a:lnTo>
                  <a:lnTo>
                    <a:pt x="405" y="390"/>
                  </a:lnTo>
                  <a:lnTo>
                    <a:pt x="406" y="392"/>
                  </a:lnTo>
                  <a:close/>
                  <a:moveTo>
                    <a:pt x="418" y="388"/>
                  </a:moveTo>
                  <a:lnTo>
                    <a:pt x="419" y="388"/>
                  </a:lnTo>
                  <a:lnTo>
                    <a:pt x="418" y="388"/>
                  </a:lnTo>
                  <a:lnTo>
                    <a:pt x="416" y="388"/>
                  </a:lnTo>
                  <a:lnTo>
                    <a:pt x="414" y="387"/>
                  </a:lnTo>
                  <a:lnTo>
                    <a:pt x="416" y="387"/>
                  </a:lnTo>
                  <a:lnTo>
                    <a:pt x="418" y="388"/>
                  </a:lnTo>
                  <a:close/>
                  <a:moveTo>
                    <a:pt x="409" y="387"/>
                  </a:moveTo>
                  <a:lnTo>
                    <a:pt x="411" y="388"/>
                  </a:lnTo>
                  <a:lnTo>
                    <a:pt x="411" y="390"/>
                  </a:lnTo>
                  <a:lnTo>
                    <a:pt x="413" y="390"/>
                  </a:lnTo>
                  <a:lnTo>
                    <a:pt x="413" y="388"/>
                  </a:lnTo>
                  <a:lnTo>
                    <a:pt x="411" y="388"/>
                  </a:lnTo>
                  <a:lnTo>
                    <a:pt x="414" y="388"/>
                  </a:lnTo>
                  <a:lnTo>
                    <a:pt x="416" y="390"/>
                  </a:lnTo>
                  <a:lnTo>
                    <a:pt x="418" y="390"/>
                  </a:lnTo>
                  <a:lnTo>
                    <a:pt x="416" y="392"/>
                  </a:lnTo>
                  <a:lnTo>
                    <a:pt x="416" y="390"/>
                  </a:lnTo>
                  <a:lnTo>
                    <a:pt x="414" y="390"/>
                  </a:lnTo>
                  <a:lnTo>
                    <a:pt x="413" y="390"/>
                  </a:lnTo>
                  <a:lnTo>
                    <a:pt x="413" y="392"/>
                  </a:lnTo>
                  <a:lnTo>
                    <a:pt x="414" y="392"/>
                  </a:lnTo>
                  <a:lnTo>
                    <a:pt x="413" y="392"/>
                  </a:lnTo>
                  <a:lnTo>
                    <a:pt x="413" y="393"/>
                  </a:lnTo>
                  <a:lnTo>
                    <a:pt x="414" y="393"/>
                  </a:lnTo>
                  <a:lnTo>
                    <a:pt x="414" y="395"/>
                  </a:lnTo>
                  <a:lnTo>
                    <a:pt x="416" y="395"/>
                  </a:lnTo>
                  <a:lnTo>
                    <a:pt x="416" y="397"/>
                  </a:lnTo>
                  <a:lnTo>
                    <a:pt x="414" y="395"/>
                  </a:lnTo>
                  <a:lnTo>
                    <a:pt x="413" y="395"/>
                  </a:lnTo>
                  <a:lnTo>
                    <a:pt x="413" y="393"/>
                  </a:lnTo>
                  <a:lnTo>
                    <a:pt x="411" y="393"/>
                  </a:lnTo>
                  <a:lnTo>
                    <a:pt x="411" y="395"/>
                  </a:lnTo>
                  <a:lnTo>
                    <a:pt x="413" y="395"/>
                  </a:lnTo>
                  <a:lnTo>
                    <a:pt x="413" y="397"/>
                  </a:lnTo>
                  <a:lnTo>
                    <a:pt x="414" y="397"/>
                  </a:lnTo>
                  <a:lnTo>
                    <a:pt x="414" y="398"/>
                  </a:lnTo>
                  <a:lnTo>
                    <a:pt x="416" y="398"/>
                  </a:lnTo>
                  <a:lnTo>
                    <a:pt x="416" y="400"/>
                  </a:lnTo>
                  <a:lnTo>
                    <a:pt x="414" y="400"/>
                  </a:lnTo>
                  <a:lnTo>
                    <a:pt x="414" y="401"/>
                  </a:lnTo>
                  <a:lnTo>
                    <a:pt x="414" y="400"/>
                  </a:lnTo>
                  <a:lnTo>
                    <a:pt x="413" y="400"/>
                  </a:lnTo>
                  <a:lnTo>
                    <a:pt x="413" y="401"/>
                  </a:lnTo>
                  <a:lnTo>
                    <a:pt x="411" y="401"/>
                  </a:lnTo>
                  <a:lnTo>
                    <a:pt x="409" y="401"/>
                  </a:lnTo>
                  <a:lnTo>
                    <a:pt x="409" y="403"/>
                  </a:lnTo>
                  <a:lnTo>
                    <a:pt x="408" y="403"/>
                  </a:lnTo>
                  <a:lnTo>
                    <a:pt x="406" y="405"/>
                  </a:lnTo>
                  <a:lnTo>
                    <a:pt x="405" y="405"/>
                  </a:lnTo>
                  <a:lnTo>
                    <a:pt x="403" y="405"/>
                  </a:lnTo>
                  <a:lnTo>
                    <a:pt x="401" y="406"/>
                  </a:lnTo>
                  <a:lnTo>
                    <a:pt x="401" y="405"/>
                  </a:lnTo>
                  <a:lnTo>
                    <a:pt x="401" y="406"/>
                  </a:lnTo>
                  <a:lnTo>
                    <a:pt x="400" y="406"/>
                  </a:lnTo>
                  <a:lnTo>
                    <a:pt x="400" y="408"/>
                  </a:lnTo>
                  <a:lnTo>
                    <a:pt x="398" y="408"/>
                  </a:lnTo>
                  <a:lnTo>
                    <a:pt x="396" y="410"/>
                  </a:lnTo>
                  <a:lnTo>
                    <a:pt x="395" y="410"/>
                  </a:lnTo>
                  <a:lnTo>
                    <a:pt x="395" y="411"/>
                  </a:lnTo>
                  <a:lnTo>
                    <a:pt x="395" y="410"/>
                  </a:lnTo>
                  <a:lnTo>
                    <a:pt x="393" y="410"/>
                  </a:lnTo>
                  <a:lnTo>
                    <a:pt x="395" y="408"/>
                  </a:lnTo>
                  <a:lnTo>
                    <a:pt x="393" y="408"/>
                  </a:lnTo>
                  <a:lnTo>
                    <a:pt x="395" y="408"/>
                  </a:lnTo>
                  <a:lnTo>
                    <a:pt x="395" y="406"/>
                  </a:lnTo>
                  <a:lnTo>
                    <a:pt x="395" y="405"/>
                  </a:lnTo>
                  <a:lnTo>
                    <a:pt x="396" y="405"/>
                  </a:lnTo>
                  <a:lnTo>
                    <a:pt x="398" y="403"/>
                  </a:lnTo>
                  <a:lnTo>
                    <a:pt x="398" y="401"/>
                  </a:lnTo>
                  <a:lnTo>
                    <a:pt x="400" y="401"/>
                  </a:lnTo>
                  <a:lnTo>
                    <a:pt x="400" y="400"/>
                  </a:lnTo>
                  <a:lnTo>
                    <a:pt x="398" y="400"/>
                  </a:lnTo>
                  <a:lnTo>
                    <a:pt x="400" y="400"/>
                  </a:lnTo>
                  <a:lnTo>
                    <a:pt x="400" y="398"/>
                  </a:lnTo>
                  <a:lnTo>
                    <a:pt x="400" y="397"/>
                  </a:lnTo>
                  <a:lnTo>
                    <a:pt x="401" y="397"/>
                  </a:lnTo>
                  <a:lnTo>
                    <a:pt x="400" y="397"/>
                  </a:lnTo>
                  <a:lnTo>
                    <a:pt x="400" y="398"/>
                  </a:lnTo>
                  <a:lnTo>
                    <a:pt x="401" y="398"/>
                  </a:lnTo>
                  <a:lnTo>
                    <a:pt x="403" y="400"/>
                  </a:lnTo>
                  <a:lnTo>
                    <a:pt x="405" y="400"/>
                  </a:lnTo>
                  <a:lnTo>
                    <a:pt x="406" y="400"/>
                  </a:lnTo>
                  <a:lnTo>
                    <a:pt x="406" y="398"/>
                  </a:lnTo>
                  <a:lnTo>
                    <a:pt x="406" y="397"/>
                  </a:lnTo>
                  <a:lnTo>
                    <a:pt x="406" y="395"/>
                  </a:lnTo>
                  <a:lnTo>
                    <a:pt x="405" y="395"/>
                  </a:lnTo>
                  <a:lnTo>
                    <a:pt x="405" y="393"/>
                  </a:lnTo>
                  <a:lnTo>
                    <a:pt x="406" y="393"/>
                  </a:lnTo>
                  <a:lnTo>
                    <a:pt x="408" y="393"/>
                  </a:lnTo>
                  <a:lnTo>
                    <a:pt x="406" y="393"/>
                  </a:lnTo>
                  <a:lnTo>
                    <a:pt x="406" y="392"/>
                  </a:lnTo>
                  <a:lnTo>
                    <a:pt x="408" y="392"/>
                  </a:lnTo>
                  <a:lnTo>
                    <a:pt x="408" y="390"/>
                  </a:lnTo>
                  <a:lnTo>
                    <a:pt x="409" y="390"/>
                  </a:lnTo>
                  <a:lnTo>
                    <a:pt x="409" y="388"/>
                  </a:lnTo>
                  <a:lnTo>
                    <a:pt x="408" y="388"/>
                  </a:lnTo>
                  <a:lnTo>
                    <a:pt x="408" y="387"/>
                  </a:lnTo>
                  <a:lnTo>
                    <a:pt x="409" y="387"/>
                  </a:lnTo>
                  <a:lnTo>
                    <a:pt x="408" y="387"/>
                  </a:lnTo>
                  <a:lnTo>
                    <a:pt x="409" y="387"/>
                  </a:lnTo>
                  <a:close/>
                  <a:moveTo>
                    <a:pt x="398" y="333"/>
                  </a:moveTo>
                  <a:lnTo>
                    <a:pt x="398" y="335"/>
                  </a:lnTo>
                  <a:lnTo>
                    <a:pt x="398" y="333"/>
                  </a:lnTo>
                  <a:close/>
                  <a:moveTo>
                    <a:pt x="380" y="271"/>
                  </a:moveTo>
                  <a:lnTo>
                    <a:pt x="382" y="273"/>
                  </a:lnTo>
                  <a:lnTo>
                    <a:pt x="383" y="273"/>
                  </a:lnTo>
                  <a:lnTo>
                    <a:pt x="383" y="275"/>
                  </a:lnTo>
                  <a:lnTo>
                    <a:pt x="382" y="273"/>
                  </a:lnTo>
                  <a:lnTo>
                    <a:pt x="380" y="271"/>
                  </a:lnTo>
                  <a:close/>
                  <a:moveTo>
                    <a:pt x="357" y="262"/>
                  </a:moveTo>
                  <a:lnTo>
                    <a:pt x="357" y="260"/>
                  </a:lnTo>
                  <a:lnTo>
                    <a:pt x="357" y="262"/>
                  </a:lnTo>
                  <a:close/>
                  <a:moveTo>
                    <a:pt x="379" y="255"/>
                  </a:moveTo>
                  <a:lnTo>
                    <a:pt x="377" y="255"/>
                  </a:lnTo>
                  <a:lnTo>
                    <a:pt x="377" y="253"/>
                  </a:lnTo>
                  <a:lnTo>
                    <a:pt x="379" y="253"/>
                  </a:lnTo>
                  <a:lnTo>
                    <a:pt x="379" y="255"/>
                  </a:lnTo>
                  <a:close/>
                  <a:moveTo>
                    <a:pt x="383" y="250"/>
                  </a:moveTo>
                  <a:lnTo>
                    <a:pt x="382" y="250"/>
                  </a:lnTo>
                  <a:lnTo>
                    <a:pt x="380" y="252"/>
                  </a:lnTo>
                  <a:lnTo>
                    <a:pt x="380" y="250"/>
                  </a:lnTo>
                  <a:lnTo>
                    <a:pt x="380" y="249"/>
                  </a:lnTo>
                  <a:lnTo>
                    <a:pt x="382" y="249"/>
                  </a:lnTo>
                  <a:lnTo>
                    <a:pt x="382" y="250"/>
                  </a:lnTo>
                  <a:lnTo>
                    <a:pt x="383" y="250"/>
                  </a:lnTo>
                  <a:close/>
                  <a:moveTo>
                    <a:pt x="294" y="109"/>
                  </a:moveTo>
                  <a:lnTo>
                    <a:pt x="296" y="109"/>
                  </a:lnTo>
                  <a:lnTo>
                    <a:pt x="294" y="109"/>
                  </a:lnTo>
                  <a:close/>
                  <a:moveTo>
                    <a:pt x="284" y="68"/>
                  </a:moveTo>
                  <a:lnTo>
                    <a:pt x="283" y="70"/>
                  </a:lnTo>
                  <a:lnTo>
                    <a:pt x="281" y="70"/>
                  </a:lnTo>
                  <a:lnTo>
                    <a:pt x="283" y="70"/>
                  </a:lnTo>
                  <a:lnTo>
                    <a:pt x="283" y="68"/>
                  </a:lnTo>
                  <a:lnTo>
                    <a:pt x="284" y="68"/>
                  </a:lnTo>
                  <a:close/>
                  <a:moveTo>
                    <a:pt x="354" y="63"/>
                  </a:moveTo>
                  <a:lnTo>
                    <a:pt x="353" y="63"/>
                  </a:lnTo>
                  <a:lnTo>
                    <a:pt x="351" y="63"/>
                  </a:lnTo>
                  <a:lnTo>
                    <a:pt x="351" y="62"/>
                  </a:lnTo>
                  <a:lnTo>
                    <a:pt x="353" y="62"/>
                  </a:lnTo>
                  <a:lnTo>
                    <a:pt x="353" y="60"/>
                  </a:lnTo>
                  <a:lnTo>
                    <a:pt x="353" y="62"/>
                  </a:lnTo>
                  <a:lnTo>
                    <a:pt x="354" y="62"/>
                  </a:lnTo>
                  <a:lnTo>
                    <a:pt x="354" y="63"/>
                  </a:lnTo>
                  <a:close/>
                  <a:moveTo>
                    <a:pt x="284" y="63"/>
                  </a:moveTo>
                  <a:lnTo>
                    <a:pt x="284" y="62"/>
                  </a:lnTo>
                  <a:lnTo>
                    <a:pt x="283" y="62"/>
                  </a:lnTo>
                  <a:lnTo>
                    <a:pt x="284" y="60"/>
                  </a:lnTo>
                  <a:lnTo>
                    <a:pt x="284" y="58"/>
                  </a:lnTo>
                  <a:lnTo>
                    <a:pt x="284" y="60"/>
                  </a:lnTo>
                  <a:lnTo>
                    <a:pt x="284" y="62"/>
                  </a:lnTo>
                  <a:lnTo>
                    <a:pt x="284" y="63"/>
                  </a:lnTo>
                  <a:close/>
                  <a:moveTo>
                    <a:pt x="286" y="58"/>
                  </a:moveTo>
                  <a:lnTo>
                    <a:pt x="286" y="57"/>
                  </a:lnTo>
                  <a:lnTo>
                    <a:pt x="286" y="58"/>
                  </a:lnTo>
                  <a:lnTo>
                    <a:pt x="287" y="58"/>
                  </a:lnTo>
                  <a:lnTo>
                    <a:pt x="286" y="58"/>
                  </a:lnTo>
                  <a:close/>
                  <a:moveTo>
                    <a:pt x="294" y="109"/>
                  </a:moveTo>
                  <a:lnTo>
                    <a:pt x="292" y="109"/>
                  </a:lnTo>
                  <a:lnTo>
                    <a:pt x="294" y="110"/>
                  </a:lnTo>
                  <a:lnTo>
                    <a:pt x="292" y="109"/>
                  </a:lnTo>
                  <a:lnTo>
                    <a:pt x="292" y="110"/>
                  </a:lnTo>
                  <a:lnTo>
                    <a:pt x="292" y="112"/>
                  </a:lnTo>
                  <a:lnTo>
                    <a:pt x="294" y="112"/>
                  </a:lnTo>
                  <a:lnTo>
                    <a:pt x="294" y="114"/>
                  </a:lnTo>
                  <a:lnTo>
                    <a:pt x="296" y="115"/>
                  </a:lnTo>
                  <a:lnTo>
                    <a:pt x="297" y="117"/>
                  </a:lnTo>
                  <a:lnTo>
                    <a:pt x="300" y="118"/>
                  </a:lnTo>
                  <a:lnTo>
                    <a:pt x="302" y="120"/>
                  </a:lnTo>
                  <a:lnTo>
                    <a:pt x="305" y="120"/>
                  </a:lnTo>
                  <a:lnTo>
                    <a:pt x="307" y="120"/>
                  </a:lnTo>
                  <a:lnTo>
                    <a:pt x="309" y="120"/>
                  </a:lnTo>
                  <a:lnTo>
                    <a:pt x="312" y="118"/>
                  </a:lnTo>
                  <a:lnTo>
                    <a:pt x="313" y="118"/>
                  </a:lnTo>
                  <a:lnTo>
                    <a:pt x="315" y="118"/>
                  </a:lnTo>
                  <a:lnTo>
                    <a:pt x="317" y="120"/>
                  </a:lnTo>
                  <a:lnTo>
                    <a:pt x="318" y="118"/>
                  </a:lnTo>
                  <a:lnTo>
                    <a:pt x="317" y="118"/>
                  </a:lnTo>
                  <a:lnTo>
                    <a:pt x="318" y="118"/>
                  </a:lnTo>
                  <a:lnTo>
                    <a:pt x="317" y="118"/>
                  </a:lnTo>
                  <a:lnTo>
                    <a:pt x="315" y="118"/>
                  </a:lnTo>
                  <a:lnTo>
                    <a:pt x="315" y="117"/>
                  </a:lnTo>
                  <a:lnTo>
                    <a:pt x="317" y="117"/>
                  </a:lnTo>
                  <a:lnTo>
                    <a:pt x="318" y="117"/>
                  </a:lnTo>
                  <a:lnTo>
                    <a:pt x="320" y="117"/>
                  </a:lnTo>
                  <a:lnTo>
                    <a:pt x="320" y="115"/>
                  </a:lnTo>
                  <a:lnTo>
                    <a:pt x="322" y="115"/>
                  </a:lnTo>
                  <a:lnTo>
                    <a:pt x="322" y="114"/>
                  </a:lnTo>
                  <a:lnTo>
                    <a:pt x="323" y="114"/>
                  </a:lnTo>
                  <a:lnTo>
                    <a:pt x="323" y="112"/>
                  </a:lnTo>
                  <a:lnTo>
                    <a:pt x="323" y="110"/>
                  </a:lnTo>
                  <a:lnTo>
                    <a:pt x="325" y="109"/>
                  </a:lnTo>
                  <a:lnTo>
                    <a:pt x="325" y="107"/>
                  </a:lnTo>
                  <a:lnTo>
                    <a:pt x="325" y="105"/>
                  </a:lnTo>
                  <a:lnTo>
                    <a:pt x="327" y="104"/>
                  </a:lnTo>
                  <a:lnTo>
                    <a:pt x="325" y="104"/>
                  </a:lnTo>
                  <a:lnTo>
                    <a:pt x="327" y="102"/>
                  </a:lnTo>
                  <a:lnTo>
                    <a:pt x="327" y="101"/>
                  </a:lnTo>
                  <a:lnTo>
                    <a:pt x="328" y="101"/>
                  </a:lnTo>
                  <a:lnTo>
                    <a:pt x="328" y="99"/>
                  </a:lnTo>
                  <a:lnTo>
                    <a:pt x="330" y="99"/>
                  </a:lnTo>
                  <a:lnTo>
                    <a:pt x="331" y="97"/>
                  </a:lnTo>
                  <a:lnTo>
                    <a:pt x="330" y="97"/>
                  </a:lnTo>
                  <a:lnTo>
                    <a:pt x="331" y="97"/>
                  </a:lnTo>
                  <a:lnTo>
                    <a:pt x="333" y="97"/>
                  </a:lnTo>
                  <a:lnTo>
                    <a:pt x="335" y="97"/>
                  </a:lnTo>
                  <a:lnTo>
                    <a:pt x="336" y="97"/>
                  </a:lnTo>
                  <a:lnTo>
                    <a:pt x="336" y="96"/>
                  </a:lnTo>
                  <a:lnTo>
                    <a:pt x="336" y="97"/>
                  </a:lnTo>
                  <a:lnTo>
                    <a:pt x="338" y="97"/>
                  </a:lnTo>
                  <a:lnTo>
                    <a:pt x="340" y="97"/>
                  </a:lnTo>
                  <a:lnTo>
                    <a:pt x="341" y="97"/>
                  </a:lnTo>
                  <a:lnTo>
                    <a:pt x="343" y="97"/>
                  </a:lnTo>
                  <a:lnTo>
                    <a:pt x="343" y="96"/>
                  </a:lnTo>
                  <a:lnTo>
                    <a:pt x="346" y="96"/>
                  </a:lnTo>
                  <a:lnTo>
                    <a:pt x="346" y="94"/>
                  </a:lnTo>
                  <a:lnTo>
                    <a:pt x="348" y="94"/>
                  </a:lnTo>
                  <a:lnTo>
                    <a:pt x="349" y="92"/>
                  </a:lnTo>
                  <a:lnTo>
                    <a:pt x="351" y="89"/>
                  </a:lnTo>
                  <a:lnTo>
                    <a:pt x="354" y="88"/>
                  </a:lnTo>
                  <a:lnTo>
                    <a:pt x="356" y="86"/>
                  </a:lnTo>
                  <a:lnTo>
                    <a:pt x="357" y="86"/>
                  </a:lnTo>
                  <a:lnTo>
                    <a:pt x="359" y="84"/>
                  </a:lnTo>
                  <a:lnTo>
                    <a:pt x="359" y="83"/>
                  </a:lnTo>
                  <a:lnTo>
                    <a:pt x="359" y="84"/>
                  </a:lnTo>
                  <a:lnTo>
                    <a:pt x="361" y="83"/>
                  </a:lnTo>
                  <a:lnTo>
                    <a:pt x="361" y="81"/>
                  </a:lnTo>
                  <a:lnTo>
                    <a:pt x="361" y="83"/>
                  </a:lnTo>
                  <a:lnTo>
                    <a:pt x="361" y="81"/>
                  </a:lnTo>
                  <a:lnTo>
                    <a:pt x="362" y="81"/>
                  </a:lnTo>
                  <a:lnTo>
                    <a:pt x="362" y="79"/>
                  </a:lnTo>
                  <a:lnTo>
                    <a:pt x="364" y="79"/>
                  </a:lnTo>
                  <a:lnTo>
                    <a:pt x="364" y="78"/>
                  </a:lnTo>
                  <a:lnTo>
                    <a:pt x="366" y="79"/>
                  </a:lnTo>
                  <a:lnTo>
                    <a:pt x="366" y="78"/>
                  </a:lnTo>
                  <a:lnTo>
                    <a:pt x="366" y="76"/>
                  </a:lnTo>
                  <a:lnTo>
                    <a:pt x="366" y="78"/>
                  </a:lnTo>
                  <a:lnTo>
                    <a:pt x="364" y="78"/>
                  </a:lnTo>
                  <a:lnTo>
                    <a:pt x="364" y="76"/>
                  </a:lnTo>
                  <a:lnTo>
                    <a:pt x="366" y="76"/>
                  </a:lnTo>
                  <a:lnTo>
                    <a:pt x="364" y="76"/>
                  </a:lnTo>
                  <a:lnTo>
                    <a:pt x="364" y="75"/>
                  </a:lnTo>
                  <a:lnTo>
                    <a:pt x="364" y="76"/>
                  </a:lnTo>
                  <a:lnTo>
                    <a:pt x="366" y="75"/>
                  </a:lnTo>
                  <a:lnTo>
                    <a:pt x="364" y="75"/>
                  </a:lnTo>
                  <a:lnTo>
                    <a:pt x="366" y="75"/>
                  </a:lnTo>
                  <a:lnTo>
                    <a:pt x="364" y="73"/>
                  </a:lnTo>
                  <a:lnTo>
                    <a:pt x="366" y="73"/>
                  </a:lnTo>
                  <a:lnTo>
                    <a:pt x="367" y="73"/>
                  </a:lnTo>
                  <a:lnTo>
                    <a:pt x="369" y="73"/>
                  </a:lnTo>
                  <a:lnTo>
                    <a:pt x="369" y="71"/>
                  </a:lnTo>
                  <a:lnTo>
                    <a:pt x="370" y="73"/>
                  </a:lnTo>
                  <a:lnTo>
                    <a:pt x="370" y="71"/>
                  </a:lnTo>
                  <a:lnTo>
                    <a:pt x="372" y="73"/>
                  </a:lnTo>
                  <a:lnTo>
                    <a:pt x="372" y="71"/>
                  </a:lnTo>
                  <a:lnTo>
                    <a:pt x="374" y="71"/>
                  </a:lnTo>
                  <a:lnTo>
                    <a:pt x="375" y="71"/>
                  </a:lnTo>
                  <a:lnTo>
                    <a:pt x="377" y="70"/>
                  </a:lnTo>
                  <a:lnTo>
                    <a:pt x="379" y="70"/>
                  </a:lnTo>
                  <a:lnTo>
                    <a:pt x="379" y="68"/>
                  </a:lnTo>
                  <a:lnTo>
                    <a:pt x="380" y="68"/>
                  </a:lnTo>
                  <a:lnTo>
                    <a:pt x="379" y="68"/>
                  </a:lnTo>
                  <a:lnTo>
                    <a:pt x="379" y="66"/>
                  </a:lnTo>
                  <a:lnTo>
                    <a:pt x="380" y="68"/>
                  </a:lnTo>
                  <a:lnTo>
                    <a:pt x="382" y="68"/>
                  </a:lnTo>
                  <a:lnTo>
                    <a:pt x="382" y="70"/>
                  </a:lnTo>
                  <a:lnTo>
                    <a:pt x="382" y="71"/>
                  </a:lnTo>
                  <a:lnTo>
                    <a:pt x="383" y="71"/>
                  </a:lnTo>
                  <a:lnTo>
                    <a:pt x="383" y="73"/>
                  </a:lnTo>
                  <a:lnTo>
                    <a:pt x="385" y="73"/>
                  </a:lnTo>
                  <a:lnTo>
                    <a:pt x="383" y="73"/>
                  </a:lnTo>
                  <a:lnTo>
                    <a:pt x="385" y="73"/>
                  </a:lnTo>
                  <a:lnTo>
                    <a:pt x="383" y="73"/>
                  </a:lnTo>
                  <a:lnTo>
                    <a:pt x="383" y="75"/>
                  </a:lnTo>
                  <a:lnTo>
                    <a:pt x="382" y="75"/>
                  </a:lnTo>
                  <a:lnTo>
                    <a:pt x="382" y="76"/>
                  </a:lnTo>
                  <a:lnTo>
                    <a:pt x="382" y="78"/>
                  </a:lnTo>
                  <a:lnTo>
                    <a:pt x="383" y="79"/>
                  </a:lnTo>
                  <a:lnTo>
                    <a:pt x="383" y="81"/>
                  </a:lnTo>
                  <a:lnTo>
                    <a:pt x="383" y="83"/>
                  </a:lnTo>
                  <a:lnTo>
                    <a:pt x="385" y="83"/>
                  </a:lnTo>
                  <a:lnTo>
                    <a:pt x="385" y="84"/>
                  </a:lnTo>
                  <a:lnTo>
                    <a:pt x="387" y="84"/>
                  </a:lnTo>
                  <a:lnTo>
                    <a:pt x="387" y="86"/>
                  </a:lnTo>
                  <a:lnTo>
                    <a:pt x="387" y="88"/>
                  </a:lnTo>
                  <a:lnTo>
                    <a:pt x="387" y="91"/>
                  </a:lnTo>
                  <a:lnTo>
                    <a:pt x="388" y="92"/>
                  </a:lnTo>
                  <a:lnTo>
                    <a:pt x="388" y="94"/>
                  </a:lnTo>
                  <a:lnTo>
                    <a:pt x="390" y="97"/>
                  </a:lnTo>
                  <a:lnTo>
                    <a:pt x="392" y="97"/>
                  </a:lnTo>
                  <a:lnTo>
                    <a:pt x="390" y="99"/>
                  </a:lnTo>
                  <a:lnTo>
                    <a:pt x="390" y="101"/>
                  </a:lnTo>
                  <a:lnTo>
                    <a:pt x="390" y="102"/>
                  </a:lnTo>
                  <a:lnTo>
                    <a:pt x="388" y="104"/>
                  </a:lnTo>
                  <a:lnTo>
                    <a:pt x="388" y="102"/>
                  </a:lnTo>
                  <a:lnTo>
                    <a:pt x="387" y="102"/>
                  </a:lnTo>
                  <a:lnTo>
                    <a:pt x="387" y="104"/>
                  </a:lnTo>
                  <a:lnTo>
                    <a:pt x="385" y="104"/>
                  </a:lnTo>
                  <a:lnTo>
                    <a:pt x="383" y="105"/>
                  </a:lnTo>
                  <a:lnTo>
                    <a:pt x="382" y="105"/>
                  </a:lnTo>
                  <a:lnTo>
                    <a:pt x="380" y="107"/>
                  </a:lnTo>
                  <a:lnTo>
                    <a:pt x="379" y="110"/>
                  </a:lnTo>
                  <a:lnTo>
                    <a:pt x="377" y="114"/>
                  </a:lnTo>
                  <a:lnTo>
                    <a:pt x="375" y="114"/>
                  </a:lnTo>
                  <a:lnTo>
                    <a:pt x="374" y="117"/>
                  </a:lnTo>
                  <a:lnTo>
                    <a:pt x="372" y="118"/>
                  </a:lnTo>
                  <a:lnTo>
                    <a:pt x="372" y="120"/>
                  </a:lnTo>
                  <a:lnTo>
                    <a:pt x="370" y="120"/>
                  </a:lnTo>
                  <a:lnTo>
                    <a:pt x="372" y="120"/>
                  </a:lnTo>
                  <a:lnTo>
                    <a:pt x="372" y="122"/>
                  </a:lnTo>
                  <a:lnTo>
                    <a:pt x="369" y="125"/>
                  </a:lnTo>
                  <a:lnTo>
                    <a:pt x="369" y="127"/>
                  </a:lnTo>
                  <a:lnTo>
                    <a:pt x="367" y="127"/>
                  </a:lnTo>
                  <a:lnTo>
                    <a:pt x="367" y="128"/>
                  </a:lnTo>
                  <a:lnTo>
                    <a:pt x="367" y="130"/>
                  </a:lnTo>
                  <a:lnTo>
                    <a:pt x="366" y="130"/>
                  </a:lnTo>
                  <a:lnTo>
                    <a:pt x="367" y="130"/>
                  </a:lnTo>
                  <a:lnTo>
                    <a:pt x="364" y="133"/>
                  </a:lnTo>
                  <a:lnTo>
                    <a:pt x="364" y="135"/>
                  </a:lnTo>
                  <a:lnTo>
                    <a:pt x="362" y="136"/>
                  </a:lnTo>
                  <a:lnTo>
                    <a:pt x="362" y="138"/>
                  </a:lnTo>
                  <a:lnTo>
                    <a:pt x="364" y="133"/>
                  </a:lnTo>
                  <a:lnTo>
                    <a:pt x="362" y="135"/>
                  </a:lnTo>
                  <a:lnTo>
                    <a:pt x="362" y="136"/>
                  </a:lnTo>
                  <a:lnTo>
                    <a:pt x="361" y="138"/>
                  </a:lnTo>
                  <a:lnTo>
                    <a:pt x="361" y="140"/>
                  </a:lnTo>
                  <a:lnTo>
                    <a:pt x="362" y="138"/>
                  </a:lnTo>
                  <a:lnTo>
                    <a:pt x="361" y="140"/>
                  </a:lnTo>
                  <a:lnTo>
                    <a:pt x="361" y="141"/>
                  </a:lnTo>
                  <a:lnTo>
                    <a:pt x="359" y="143"/>
                  </a:lnTo>
                  <a:lnTo>
                    <a:pt x="359" y="144"/>
                  </a:lnTo>
                  <a:lnTo>
                    <a:pt x="357" y="146"/>
                  </a:lnTo>
                  <a:lnTo>
                    <a:pt x="357" y="148"/>
                  </a:lnTo>
                  <a:lnTo>
                    <a:pt x="357" y="149"/>
                  </a:lnTo>
                  <a:lnTo>
                    <a:pt x="356" y="151"/>
                  </a:lnTo>
                  <a:lnTo>
                    <a:pt x="356" y="153"/>
                  </a:lnTo>
                  <a:lnTo>
                    <a:pt x="356" y="154"/>
                  </a:lnTo>
                  <a:lnTo>
                    <a:pt x="354" y="154"/>
                  </a:lnTo>
                  <a:lnTo>
                    <a:pt x="354" y="156"/>
                  </a:lnTo>
                  <a:lnTo>
                    <a:pt x="354" y="157"/>
                  </a:lnTo>
                  <a:lnTo>
                    <a:pt x="353" y="157"/>
                  </a:lnTo>
                  <a:lnTo>
                    <a:pt x="351" y="157"/>
                  </a:lnTo>
                  <a:lnTo>
                    <a:pt x="349" y="157"/>
                  </a:lnTo>
                  <a:lnTo>
                    <a:pt x="348" y="159"/>
                  </a:lnTo>
                  <a:lnTo>
                    <a:pt x="346" y="159"/>
                  </a:lnTo>
                  <a:lnTo>
                    <a:pt x="344" y="159"/>
                  </a:lnTo>
                  <a:lnTo>
                    <a:pt x="346" y="159"/>
                  </a:lnTo>
                  <a:lnTo>
                    <a:pt x="344" y="159"/>
                  </a:lnTo>
                  <a:lnTo>
                    <a:pt x="343" y="161"/>
                  </a:lnTo>
                  <a:lnTo>
                    <a:pt x="341" y="161"/>
                  </a:lnTo>
                  <a:lnTo>
                    <a:pt x="340" y="161"/>
                  </a:lnTo>
                  <a:lnTo>
                    <a:pt x="340" y="162"/>
                  </a:lnTo>
                  <a:lnTo>
                    <a:pt x="338" y="162"/>
                  </a:lnTo>
                  <a:lnTo>
                    <a:pt x="336" y="164"/>
                  </a:lnTo>
                  <a:lnTo>
                    <a:pt x="335" y="164"/>
                  </a:lnTo>
                  <a:lnTo>
                    <a:pt x="335" y="166"/>
                  </a:lnTo>
                  <a:lnTo>
                    <a:pt x="333" y="166"/>
                  </a:lnTo>
                  <a:lnTo>
                    <a:pt x="331" y="166"/>
                  </a:lnTo>
                  <a:lnTo>
                    <a:pt x="330" y="166"/>
                  </a:lnTo>
                  <a:lnTo>
                    <a:pt x="328" y="166"/>
                  </a:lnTo>
                  <a:lnTo>
                    <a:pt x="327" y="166"/>
                  </a:lnTo>
                  <a:lnTo>
                    <a:pt x="325" y="167"/>
                  </a:lnTo>
                  <a:lnTo>
                    <a:pt x="323" y="169"/>
                  </a:lnTo>
                  <a:lnTo>
                    <a:pt x="323" y="170"/>
                  </a:lnTo>
                  <a:lnTo>
                    <a:pt x="323" y="169"/>
                  </a:lnTo>
                  <a:lnTo>
                    <a:pt x="322" y="172"/>
                  </a:lnTo>
                  <a:lnTo>
                    <a:pt x="320" y="174"/>
                  </a:lnTo>
                  <a:lnTo>
                    <a:pt x="320" y="175"/>
                  </a:lnTo>
                  <a:lnTo>
                    <a:pt x="318" y="177"/>
                  </a:lnTo>
                  <a:lnTo>
                    <a:pt x="318" y="180"/>
                  </a:lnTo>
                  <a:lnTo>
                    <a:pt x="317" y="182"/>
                  </a:lnTo>
                  <a:lnTo>
                    <a:pt x="317" y="183"/>
                  </a:lnTo>
                  <a:lnTo>
                    <a:pt x="315" y="188"/>
                  </a:lnTo>
                  <a:lnTo>
                    <a:pt x="315" y="192"/>
                  </a:lnTo>
                  <a:lnTo>
                    <a:pt x="315" y="197"/>
                  </a:lnTo>
                  <a:lnTo>
                    <a:pt x="313" y="200"/>
                  </a:lnTo>
                  <a:lnTo>
                    <a:pt x="315" y="205"/>
                  </a:lnTo>
                  <a:lnTo>
                    <a:pt x="315" y="208"/>
                  </a:lnTo>
                  <a:lnTo>
                    <a:pt x="317" y="213"/>
                  </a:lnTo>
                  <a:lnTo>
                    <a:pt x="317" y="214"/>
                  </a:lnTo>
                  <a:lnTo>
                    <a:pt x="318" y="216"/>
                  </a:lnTo>
                  <a:lnTo>
                    <a:pt x="318" y="218"/>
                  </a:lnTo>
                  <a:lnTo>
                    <a:pt x="320" y="218"/>
                  </a:lnTo>
                  <a:lnTo>
                    <a:pt x="320" y="219"/>
                  </a:lnTo>
                  <a:lnTo>
                    <a:pt x="320" y="221"/>
                  </a:lnTo>
                  <a:lnTo>
                    <a:pt x="322" y="221"/>
                  </a:lnTo>
                  <a:lnTo>
                    <a:pt x="320" y="221"/>
                  </a:lnTo>
                  <a:lnTo>
                    <a:pt x="322" y="221"/>
                  </a:lnTo>
                  <a:lnTo>
                    <a:pt x="322" y="223"/>
                  </a:lnTo>
                  <a:lnTo>
                    <a:pt x="322" y="224"/>
                  </a:lnTo>
                  <a:lnTo>
                    <a:pt x="322" y="226"/>
                  </a:lnTo>
                  <a:lnTo>
                    <a:pt x="323" y="226"/>
                  </a:lnTo>
                  <a:lnTo>
                    <a:pt x="323" y="227"/>
                  </a:lnTo>
                  <a:lnTo>
                    <a:pt x="323" y="229"/>
                  </a:lnTo>
                  <a:lnTo>
                    <a:pt x="327" y="232"/>
                  </a:lnTo>
                  <a:lnTo>
                    <a:pt x="328" y="236"/>
                  </a:lnTo>
                  <a:lnTo>
                    <a:pt x="330" y="237"/>
                  </a:lnTo>
                  <a:lnTo>
                    <a:pt x="331" y="239"/>
                  </a:lnTo>
                  <a:lnTo>
                    <a:pt x="333" y="242"/>
                  </a:lnTo>
                  <a:lnTo>
                    <a:pt x="333" y="244"/>
                  </a:lnTo>
                  <a:lnTo>
                    <a:pt x="335" y="245"/>
                  </a:lnTo>
                  <a:lnTo>
                    <a:pt x="336" y="247"/>
                  </a:lnTo>
                  <a:lnTo>
                    <a:pt x="335" y="247"/>
                  </a:lnTo>
                  <a:lnTo>
                    <a:pt x="336" y="247"/>
                  </a:lnTo>
                  <a:lnTo>
                    <a:pt x="336" y="249"/>
                  </a:lnTo>
                  <a:lnTo>
                    <a:pt x="338" y="250"/>
                  </a:lnTo>
                  <a:lnTo>
                    <a:pt x="340" y="252"/>
                  </a:lnTo>
                  <a:lnTo>
                    <a:pt x="341" y="252"/>
                  </a:lnTo>
                  <a:lnTo>
                    <a:pt x="341" y="253"/>
                  </a:lnTo>
                  <a:lnTo>
                    <a:pt x="344" y="255"/>
                  </a:lnTo>
                  <a:lnTo>
                    <a:pt x="346" y="255"/>
                  </a:lnTo>
                  <a:lnTo>
                    <a:pt x="348" y="255"/>
                  </a:lnTo>
                  <a:lnTo>
                    <a:pt x="349" y="255"/>
                  </a:lnTo>
                  <a:lnTo>
                    <a:pt x="349" y="253"/>
                  </a:lnTo>
                  <a:lnTo>
                    <a:pt x="351" y="253"/>
                  </a:lnTo>
                  <a:lnTo>
                    <a:pt x="353" y="253"/>
                  </a:lnTo>
                  <a:lnTo>
                    <a:pt x="354" y="252"/>
                  </a:lnTo>
                  <a:lnTo>
                    <a:pt x="356" y="253"/>
                  </a:lnTo>
                  <a:lnTo>
                    <a:pt x="357" y="253"/>
                  </a:lnTo>
                  <a:lnTo>
                    <a:pt x="357" y="252"/>
                  </a:lnTo>
                  <a:lnTo>
                    <a:pt x="357" y="253"/>
                  </a:lnTo>
                  <a:lnTo>
                    <a:pt x="359" y="253"/>
                  </a:lnTo>
                  <a:lnTo>
                    <a:pt x="357" y="253"/>
                  </a:lnTo>
                  <a:lnTo>
                    <a:pt x="359" y="253"/>
                  </a:lnTo>
                  <a:lnTo>
                    <a:pt x="359" y="255"/>
                  </a:lnTo>
                  <a:lnTo>
                    <a:pt x="359" y="257"/>
                  </a:lnTo>
                  <a:lnTo>
                    <a:pt x="357" y="257"/>
                  </a:lnTo>
                  <a:lnTo>
                    <a:pt x="357" y="258"/>
                  </a:lnTo>
                  <a:lnTo>
                    <a:pt x="357" y="260"/>
                  </a:lnTo>
                  <a:lnTo>
                    <a:pt x="357" y="258"/>
                  </a:lnTo>
                  <a:lnTo>
                    <a:pt x="356" y="260"/>
                  </a:lnTo>
                  <a:lnTo>
                    <a:pt x="357" y="262"/>
                  </a:lnTo>
                  <a:lnTo>
                    <a:pt x="356" y="262"/>
                  </a:lnTo>
                  <a:lnTo>
                    <a:pt x="357" y="262"/>
                  </a:lnTo>
                  <a:lnTo>
                    <a:pt x="356" y="262"/>
                  </a:lnTo>
                  <a:lnTo>
                    <a:pt x="357" y="263"/>
                  </a:lnTo>
                  <a:lnTo>
                    <a:pt x="357" y="265"/>
                  </a:lnTo>
                  <a:lnTo>
                    <a:pt x="359" y="265"/>
                  </a:lnTo>
                  <a:lnTo>
                    <a:pt x="359" y="266"/>
                  </a:lnTo>
                  <a:lnTo>
                    <a:pt x="361" y="266"/>
                  </a:lnTo>
                  <a:lnTo>
                    <a:pt x="362" y="266"/>
                  </a:lnTo>
                  <a:lnTo>
                    <a:pt x="364" y="268"/>
                  </a:lnTo>
                  <a:lnTo>
                    <a:pt x="366" y="268"/>
                  </a:lnTo>
                  <a:lnTo>
                    <a:pt x="367" y="268"/>
                  </a:lnTo>
                  <a:lnTo>
                    <a:pt x="369" y="270"/>
                  </a:lnTo>
                  <a:lnTo>
                    <a:pt x="370" y="270"/>
                  </a:lnTo>
                  <a:lnTo>
                    <a:pt x="372" y="270"/>
                  </a:lnTo>
                  <a:lnTo>
                    <a:pt x="374" y="270"/>
                  </a:lnTo>
                  <a:lnTo>
                    <a:pt x="375" y="271"/>
                  </a:lnTo>
                  <a:lnTo>
                    <a:pt x="377" y="271"/>
                  </a:lnTo>
                  <a:lnTo>
                    <a:pt x="377" y="273"/>
                  </a:lnTo>
                  <a:lnTo>
                    <a:pt x="379" y="273"/>
                  </a:lnTo>
                  <a:lnTo>
                    <a:pt x="380" y="273"/>
                  </a:lnTo>
                  <a:lnTo>
                    <a:pt x="382" y="273"/>
                  </a:lnTo>
                  <a:lnTo>
                    <a:pt x="382" y="275"/>
                  </a:lnTo>
                  <a:lnTo>
                    <a:pt x="383" y="275"/>
                  </a:lnTo>
                  <a:lnTo>
                    <a:pt x="383" y="278"/>
                  </a:lnTo>
                  <a:lnTo>
                    <a:pt x="382" y="279"/>
                  </a:lnTo>
                  <a:lnTo>
                    <a:pt x="382" y="281"/>
                  </a:lnTo>
                  <a:lnTo>
                    <a:pt x="382" y="283"/>
                  </a:lnTo>
                  <a:lnTo>
                    <a:pt x="382" y="284"/>
                  </a:lnTo>
                  <a:lnTo>
                    <a:pt x="382" y="286"/>
                  </a:lnTo>
                  <a:lnTo>
                    <a:pt x="382" y="288"/>
                  </a:lnTo>
                  <a:lnTo>
                    <a:pt x="383" y="289"/>
                  </a:lnTo>
                  <a:lnTo>
                    <a:pt x="383" y="291"/>
                  </a:lnTo>
                  <a:lnTo>
                    <a:pt x="385" y="291"/>
                  </a:lnTo>
                  <a:lnTo>
                    <a:pt x="387" y="291"/>
                  </a:lnTo>
                  <a:lnTo>
                    <a:pt x="388" y="291"/>
                  </a:lnTo>
                  <a:lnTo>
                    <a:pt x="387" y="291"/>
                  </a:lnTo>
                  <a:lnTo>
                    <a:pt x="387" y="292"/>
                  </a:lnTo>
                  <a:lnTo>
                    <a:pt x="385" y="292"/>
                  </a:lnTo>
                  <a:lnTo>
                    <a:pt x="387" y="292"/>
                  </a:lnTo>
                  <a:lnTo>
                    <a:pt x="385" y="292"/>
                  </a:lnTo>
                  <a:lnTo>
                    <a:pt x="383" y="296"/>
                  </a:lnTo>
                  <a:lnTo>
                    <a:pt x="383" y="297"/>
                  </a:lnTo>
                  <a:lnTo>
                    <a:pt x="383" y="301"/>
                  </a:lnTo>
                  <a:lnTo>
                    <a:pt x="383" y="302"/>
                  </a:lnTo>
                  <a:lnTo>
                    <a:pt x="383" y="304"/>
                  </a:lnTo>
                  <a:lnTo>
                    <a:pt x="383" y="305"/>
                  </a:lnTo>
                  <a:lnTo>
                    <a:pt x="383" y="307"/>
                  </a:lnTo>
                  <a:lnTo>
                    <a:pt x="383" y="309"/>
                  </a:lnTo>
                  <a:lnTo>
                    <a:pt x="382" y="309"/>
                  </a:lnTo>
                  <a:lnTo>
                    <a:pt x="382" y="310"/>
                  </a:lnTo>
                  <a:lnTo>
                    <a:pt x="382" y="312"/>
                  </a:lnTo>
                  <a:lnTo>
                    <a:pt x="382" y="314"/>
                  </a:lnTo>
                  <a:lnTo>
                    <a:pt x="383" y="315"/>
                  </a:lnTo>
                  <a:lnTo>
                    <a:pt x="383" y="317"/>
                  </a:lnTo>
                  <a:lnTo>
                    <a:pt x="385" y="318"/>
                  </a:lnTo>
                  <a:lnTo>
                    <a:pt x="387" y="322"/>
                  </a:lnTo>
                  <a:lnTo>
                    <a:pt x="390" y="325"/>
                  </a:lnTo>
                  <a:lnTo>
                    <a:pt x="392" y="327"/>
                  </a:lnTo>
                  <a:lnTo>
                    <a:pt x="393" y="328"/>
                  </a:lnTo>
                  <a:lnTo>
                    <a:pt x="395" y="328"/>
                  </a:lnTo>
                  <a:lnTo>
                    <a:pt x="395" y="330"/>
                  </a:lnTo>
                  <a:lnTo>
                    <a:pt x="396" y="330"/>
                  </a:lnTo>
                  <a:lnTo>
                    <a:pt x="398" y="330"/>
                  </a:lnTo>
                  <a:lnTo>
                    <a:pt x="396" y="330"/>
                  </a:lnTo>
                  <a:lnTo>
                    <a:pt x="398" y="330"/>
                  </a:lnTo>
                  <a:lnTo>
                    <a:pt x="396" y="332"/>
                  </a:lnTo>
                  <a:lnTo>
                    <a:pt x="396" y="333"/>
                  </a:lnTo>
                  <a:lnTo>
                    <a:pt x="396" y="332"/>
                  </a:lnTo>
                  <a:lnTo>
                    <a:pt x="396" y="330"/>
                  </a:lnTo>
                  <a:lnTo>
                    <a:pt x="396" y="332"/>
                  </a:lnTo>
                  <a:lnTo>
                    <a:pt x="395" y="332"/>
                  </a:lnTo>
                  <a:lnTo>
                    <a:pt x="395" y="330"/>
                  </a:lnTo>
                  <a:lnTo>
                    <a:pt x="393" y="332"/>
                  </a:lnTo>
                  <a:lnTo>
                    <a:pt x="392" y="332"/>
                  </a:lnTo>
                  <a:lnTo>
                    <a:pt x="393" y="332"/>
                  </a:lnTo>
                  <a:lnTo>
                    <a:pt x="392" y="333"/>
                  </a:lnTo>
                  <a:lnTo>
                    <a:pt x="392" y="335"/>
                  </a:lnTo>
                  <a:lnTo>
                    <a:pt x="390" y="335"/>
                  </a:lnTo>
                  <a:lnTo>
                    <a:pt x="390" y="336"/>
                  </a:lnTo>
                  <a:lnTo>
                    <a:pt x="388" y="338"/>
                  </a:lnTo>
                  <a:lnTo>
                    <a:pt x="388" y="340"/>
                  </a:lnTo>
                  <a:lnTo>
                    <a:pt x="387" y="340"/>
                  </a:lnTo>
                  <a:lnTo>
                    <a:pt x="385" y="340"/>
                  </a:lnTo>
                  <a:lnTo>
                    <a:pt x="385" y="341"/>
                  </a:lnTo>
                  <a:lnTo>
                    <a:pt x="385" y="343"/>
                  </a:lnTo>
                  <a:lnTo>
                    <a:pt x="385" y="341"/>
                  </a:lnTo>
                  <a:lnTo>
                    <a:pt x="383" y="345"/>
                  </a:lnTo>
                  <a:lnTo>
                    <a:pt x="382" y="346"/>
                  </a:lnTo>
                  <a:lnTo>
                    <a:pt x="382" y="348"/>
                  </a:lnTo>
                  <a:lnTo>
                    <a:pt x="382" y="349"/>
                  </a:lnTo>
                  <a:lnTo>
                    <a:pt x="382" y="351"/>
                  </a:lnTo>
                  <a:lnTo>
                    <a:pt x="382" y="353"/>
                  </a:lnTo>
                  <a:lnTo>
                    <a:pt x="382" y="354"/>
                  </a:lnTo>
                  <a:lnTo>
                    <a:pt x="382" y="356"/>
                  </a:lnTo>
                  <a:lnTo>
                    <a:pt x="382" y="358"/>
                  </a:lnTo>
                  <a:lnTo>
                    <a:pt x="380" y="358"/>
                  </a:lnTo>
                  <a:lnTo>
                    <a:pt x="380" y="359"/>
                  </a:lnTo>
                  <a:lnTo>
                    <a:pt x="380" y="361"/>
                  </a:lnTo>
                  <a:lnTo>
                    <a:pt x="379" y="362"/>
                  </a:lnTo>
                  <a:lnTo>
                    <a:pt x="377" y="362"/>
                  </a:lnTo>
                  <a:lnTo>
                    <a:pt x="375" y="362"/>
                  </a:lnTo>
                  <a:lnTo>
                    <a:pt x="375" y="364"/>
                  </a:lnTo>
                  <a:lnTo>
                    <a:pt x="374" y="364"/>
                  </a:lnTo>
                  <a:lnTo>
                    <a:pt x="372" y="366"/>
                  </a:lnTo>
                  <a:lnTo>
                    <a:pt x="370" y="367"/>
                  </a:lnTo>
                  <a:lnTo>
                    <a:pt x="370" y="369"/>
                  </a:lnTo>
                  <a:lnTo>
                    <a:pt x="369" y="369"/>
                  </a:lnTo>
                  <a:lnTo>
                    <a:pt x="370" y="369"/>
                  </a:lnTo>
                  <a:lnTo>
                    <a:pt x="369" y="371"/>
                  </a:lnTo>
                  <a:lnTo>
                    <a:pt x="369" y="374"/>
                  </a:lnTo>
                  <a:lnTo>
                    <a:pt x="369" y="375"/>
                  </a:lnTo>
                  <a:lnTo>
                    <a:pt x="370" y="377"/>
                  </a:lnTo>
                  <a:lnTo>
                    <a:pt x="369" y="377"/>
                  </a:lnTo>
                  <a:lnTo>
                    <a:pt x="369" y="379"/>
                  </a:lnTo>
                  <a:lnTo>
                    <a:pt x="369" y="380"/>
                  </a:lnTo>
                  <a:lnTo>
                    <a:pt x="369" y="382"/>
                  </a:lnTo>
                  <a:lnTo>
                    <a:pt x="367" y="382"/>
                  </a:lnTo>
                  <a:lnTo>
                    <a:pt x="367" y="384"/>
                  </a:lnTo>
                  <a:lnTo>
                    <a:pt x="366" y="385"/>
                  </a:lnTo>
                  <a:lnTo>
                    <a:pt x="366" y="387"/>
                  </a:lnTo>
                  <a:lnTo>
                    <a:pt x="364" y="387"/>
                  </a:lnTo>
                  <a:lnTo>
                    <a:pt x="364" y="388"/>
                  </a:lnTo>
                  <a:lnTo>
                    <a:pt x="362" y="388"/>
                  </a:lnTo>
                  <a:lnTo>
                    <a:pt x="362" y="390"/>
                  </a:lnTo>
                  <a:lnTo>
                    <a:pt x="364" y="392"/>
                  </a:lnTo>
                  <a:lnTo>
                    <a:pt x="362" y="392"/>
                  </a:lnTo>
                  <a:lnTo>
                    <a:pt x="361" y="392"/>
                  </a:lnTo>
                  <a:lnTo>
                    <a:pt x="359" y="393"/>
                  </a:lnTo>
                  <a:lnTo>
                    <a:pt x="357" y="395"/>
                  </a:lnTo>
                  <a:lnTo>
                    <a:pt x="357" y="397"/>
                  </a:lnTo>
                  <a:lnTo>
                    <a:pt x="356" y="397"/>
                  </a:lnTo>
                  <a:lnTo>
                    <a:pt x="354" y="397"/>
                  </a:lnTo>
                  <a:lnTo>
                    <a:pt x="354" y="398"/>
                  </a:lnTo>
                  <a:lnTo>
                    <a:pt x="353" y="398"/>
                  </a:lnTo>
                  <a:lnTo>
                    <a:pt x="353" y="400"/>
                  </a:lnTo>
                  <a:lnTo>
                    <a:pt x="353" y="401"/>
                  </a:lnTo>
                  <a:lnTo>
                    <a:pt x="353" y="403"/>
                  </a:lnTo>
                  <a:lnTo>
                    <a:pt x="353" y="401"/>
                  </a:lnTo>
                  <a:lnTo>
                    <a:pt x="351" y="401"/>
                  </a:lnTo>
                  <a:lnTo>
                    <a:pt x="353" y="403"/>
                  </a:lnTo>
                  <a:lnTo>
                    <a:pt x="351" y="403"/>
                  </a:lnTo>
                  <a:lnTo>
                    <a:pt x="351" y="405"/>
                  </a:lnTo>
                  <a:lnTo>
                    <a:pt x="349" y="403"/>
                  </a:lnTo>
                  <a:lnTo>
                    <a:pt x="349" y="401"/>
                  </a:lnTo>
                  <a:lnTo>
                    <a:pt x="349" y="403"/>
                  </a:lnTo>
                  <a:lnTo>
                    <a:pt x="348" y="403"/>
                  </a:lnTo>
                  <a:lnTo>
                    <a:pt x="348" y="405"/>
                  </a:lnTo>
                  <a:lnTo>
                    <a:pt x="349" y="406"/>
                  </a:lnTo>
                  <a:lnTo>
                    <a:pt x="348" y="406"/>
                  </a:lnTo>
                  <a:lnTo>
                    <a:pt x="348" y="408"/>
                  </a:lnTo>
                  <a:lnTo>
                    <a:pt x="348" y="410"/>
                  </a:lnTo>
                  <a:lnTo>
                    <a:pt x="348" y="411"/>
                  </a:lnTo>
                  <a:lnTo>
                    <a:pt x="346" y="411"/>
                  </a:lnTo>
                  <a:lnTo>
                    <a:pt x="346" y="413"/>
                  </a:lnTo>
                  <a:lnTo>
                    <a:pt x="344" y="411"/>
                  </a:lnTo>
                  <a:lnTo>
                    <a:pt x="343" y="413"/>
                  </a:lnTo>
                  <a:lnTo>
                    <a:pt x="341" y="414"/>
                  </a:lnTo>
                  <a:lnTo>
                    <a:pt x="341" y="413"/>
                  </a:lnTo>
                  <a:lnTo>
                    <a:pt x="340" y="414"/>
                  </a:lnTo>
                  <a:lnTo>
                    <a:pt x="340" y="416"/>
                  </a:lnTo>
                  <a:lnTo>
                    <a:pt x="338" y="414"/>
                  </a:lnTo>
                  <a:lnTo>
                    <a:pt x="338" y="416"/>
                  </a:lnTo>
                  <a:lnTo>
                    <a:pt x="336" y="416"/>
                  </a:lnTo>
                  <a:lnTo>
                    <a:pt x="336" y="418"/>
                  </a:lnTo>
                  <a:lnTo>
                    <a:pt x="335" y="418"/>
                  </a:lnTo>
                  <a:lnTo>
                    <a:pt x="335" y="419"/>
                  </a:lnTo>
                  <a:lnTo>
                    <a:pt x="333" y="421"/>
                  </a:lnTo>
                  <a:lnTo>
                    <a:pt x="333" y="423"/>
                  </a:lnTo>
                  <a:lnTo>
                    <a:pt x="333" y="421"/>
                  </a:lnTo>
                  <a:lnTo>
                    <a:pt x="331" y="423"/>
                  </a:lnTo>
                  <a:lnTo>
                    <a:pt x="331" y="424"/>
                  </a:lnTo>
                  <a:lnTo>
                    <a:pt x="331" y="426"/>
                  </a:lnTo>
                  <a:lnTo>
                    <a:pt x="331" y="427"/>
                  </a:lnTo>
                  <a:lnTo>
                    <a:pt x="331" y="426"/>
                  </a:lnTo>
                  <a:lnTo>
                    <a:pt x="333" y="426"/>
                  </a:lnTo>
                  <a:lnTo>
                    <a:pt x="331" y="427"/>
                  </a:lnTo>
                  <a:lnTo>
                    <a:pt x="331" y="429"/>
                  </a:lnTo>
                  <a:lnTo>
                    <a:pt x="330" y="429"/>
                  </a:lnTo>
                  <a:lnTo>
                    <a:pt x="325" y="431"/>
                  </a:lnTo>
                  <a:lnTo>
                    <a:pt x="325" y="432"/>
                  </a:lnTo>
                  <a:lnTo>
                    <a:pt x="325" y="431"/>
                  </a:lnTo>
                  <a:lnTo>
                    <a:pt x="323" y="431"/>
                  </a:lnTo>
                  <a:lnTo>
                    <a:pt x="322" y="431"/>
                  </a:lnTo>
                  <a:lnTo>
                    <a:pt x="320" y="431"/>
                  </a:lnTo>
                  <a:lnTo>
                    <a:pt x="320" y="432"/>
                  </a:lnTo>
                  <a:lnTo>
                    <a:pt x="318" y="432"/>
                  </a:lnTo>
                  <a:lnTo>
                    <a:pt x="317" y="432"/>
                  </a:lnTo>
                  <a:lnTo>
                    <a:pt x="315" y="434"/>
                  </a:lnTo>
                  <a:lnTo>
                    <a:pt x="313" y="434"/>
                  </a:lnTo>
                  <a:lnTo>
                    <a:pt x="313" y="436"/>
                  </a:lnTo>
                  <a:lnTo>
                    <a:pt x="312" y="436"/>
                  </a:lnTo>
                  <a:lnTo>
                    <a:pt x="312" y="437"/>
                  </a:lnTo>
                  <a:lnTo>
                    <a:pt x="310" y="437"/>
                  </a:lnTo>
                  <a:lnTo>
                    <a:pt x="310" y="439"/>
                  </a:lnTo>
                  <a:lnTo>
                    <a:pt x="309" y="440"/>
                  </a:lnTo>
                  <a:lnTo>
                    <a:pt x="307" y="442"/>
                  </a:lnTo>
                  <a:lnTo>
                    <a:pt x="305" y="444"/>
                  </a:lnTo>
                  <a:lnTo>
                    <a:pt x="305" y="445"/>
                  </a:lnTo>
                  <a:lnTo>
                    <a:pt x="304" y="445"/>
                  </a:lnTo>
                  <a:lnTo>
                    <a:pt x="302" y="445"/>
                  </a:lnTo>
                  <a:lnTo>
                    <a:pt x="300" y="445"/>
                  </a:lnTo>
                  <a:lnTo>
                    <a:pt x="302" y="445"/>
                  </a:lnTo>
                  <a:lnTo>
                    <a:pt x="300" y="445"/>
                  </a:lnTo>
                  <a:lnTo>
                    <a:pt x="300" y="447"/>
                  </a:lnTo>
                  <a:lnTo>
                    <a:pt x="302" y="447"/>
                  </a:lnTo>
                  <a:lnTo>
                    <a:pt x="302" y="445"/>
                  </a:lnTo>
                  <a:lnTo>
                    <a:pt x="302" y="447"/>
                  </a:lnTo>
                  <a:lnTo>
                    <a:pt x="302" y="449"/>
                  </a:lnTo>
                  <a:lnTo>
                    <a:pt x="299" y="450"/>
                  </a:lnTo>
                  <a:lnTo>
                    <a:pt x="297" y="450"/>
                  </a:lnTo>
                  <a:lnTo>
                    <a:pt x="297" y="449"/>
                  </a:lnTo>
                  <a:lnTo>
                    <a:pt x="296" y="449"/>
                  </a:lnTo>
                  <a:lnTo>
                    <a:pt x="294" y="449"/>
                  </a:lnTo>
                  <a:lnTo>
                    <a:pt x="294" y="450"/>
                  </a:lnTo>
                  <a:lnTo>
                    <a:pt x="294" y="449"/>
                  </a:lnTo>
                  <a:lnTo>
                    <a:pt x="294" y="450"/>
                  </a:lnTo>
                  <a:lnTo>
                    <a:pt x="294" y="452"/>
                  </a:lnTo>
                  <a:lnTo>
                    <a:pt x="294" y="450"/>
                  </a:lnTo>
                  <a:lnTo>
                    <a:pt x="292" y="450"/>
                  </a:lnTo>
                  <a:lnTo>
                    <a:pt x="292" y="452"/>
                  </a:lnTo>
                  <a:lnTo>
                    <a:pt x="292" y="453"/>
                  </a:lnTo>
                  <a:lnTo>
                    <a:pt x="291" y="453"/>
                  </a:lnTo>
                  <a:lnTo>
                    <a:pt x="289" y="453"/>
                  </a:lnTo>
                  <a:lnTo>
                    <a:pt x="287" y="453"/>
                  </a:lnTo>
                  <a:lnTo>
                    <a:pt x="287" y="455"/>
                  </a:lnTo>
                  <a:lnTo>
                    <a:pt x="286" y="455"/>
                  </a:lnTo>
                  <a:lnTo>
                    <a:pt x="286" y="457"/>
                  </a:lnTo>
                  <a:lnTo>
                    <a:pt x="287" y="457"/>
                  </a:lnTo>
                  <a:lnTo>
                    <a:pt x="286" y="457"/>
                  </a:lnTo>
                  <a:lnTo>
                    <a:pt x="284" y="457"/>
                  </a:lnTo>
                  <a:lnTo>
                    <a:pt x="284" y="455"/>
                  </a:lnTo>
                  <a:lnTo>
                    <a:pt x="283" y="455"/>
                  </a:lnTo>
                  <a:lnTo>
                    <a:pt x="283" y="457"/>
                  </a:lnTo>
                  <a:lnTo>
                    <a:pt x="281" y="457"/>
                  </a:lnTo>
                  <a:lnTo>
                    <a:pt x="281" y="458"/>
                  </a:lnTo>
                  <a:lnTo>
                    <a:pt x="279" y="458"/>
                  </a:lnTo>
                  <a:lnTo>
                    <a:pt x="0" y="460"/>
                  </a:lnTo>
                  <a:lnTo>
                    <a:pt x="0" y="458"/>
                  </a:lnTo>
                  <a:lnTo>
                    <a:pt x="1" y="455"/>
                  </a:lnTo>
                  <a:lnTo>
                    <a:pt x="3" y="452"/>
                  </a:lnTo>
                  <a:lnTo>
                    <a:pt x="3" y="449"/>
                  </a:lnTo>
                  <a:lnTo>
                    <a:pt x="3" y="444"/>
                  </a:lnTo>
                  <a:lnTo>
                    <a:pt x="6" y="444"/>
                  </a:lnTo>
                  <a:lnTo>
                    <a:pt x="8" y="442"/>
                  </a:lnTo>
                  <a:lnTo>
                    <a:pt x="9" y="444"/>
                  </a:lnTo>
                  <a:lnTo>
                    <a:pt x="11" y="444"/>
                  </a:lnTo>
                  <a:lnTo>
                    <a:pt x="13" y="442"/>
                  </a:lnTo>
                  <a:lnTo>
                    <a:pt x="13" y="440"/>
                  </a:lnTo>
                  <a:lnTo>
                    <a:pt x="14" y="440"/>
                  </a:lnTo>
                  <a:lnTo>
                    <a:pt x="14" y="439"/>
                  </a:lnTo>
                  <a:lnTo>
                    <a:pt x="17" y="439"/>
                  </a:lnTo>
                  <a:lnTo>
                    <a:pt x="19" y="439"/>
                  </a:lnTo>
                  <a:lnTo>
                    <a:pt x="19" y="437"/>
                  </a:lnTo>
                  <a:lnTo>
                    <a:pt x="21" y="437"/>
                  </a:lnTo>
                  <a:lnTo>
                    <a:pt x="22" y="437"/>
                  </a:lnTo>
                  <a:lnTo>
                    <a:pt x="22" y="436"/>
                  </a:lnTo>
                  <a:lnTo>
                    <a:pt x="22" y="434"/>
                  </a:lnTo>
                  <a:lnTo>
                    <a:pt x="26" y="432"/>
                  </a:lnTo>
                  <a:lnTo>
                    <a:pt x="29" y="432"/>
                  </a:lnTo>
                  <a:lnTo>
                    <a:pt x="29" y="431"/>
                  </a:lnTo>
                  <a:lnTo>
                    <a:pt x="31" y="431"/>
                  </a:lnTo>
                  <a:lnTo>
                    <a:pt x="31" y="429"/>
                  </a:lnTo>
                  <a:lnTo>
                    <a:pt x="34" y="431"/>
                  </a:lnTo>
                  <a:lnTo>
                    <a:pt x="34" y="429"/>
                  </a:lnTo>
                  <a:lnTo>
                    <a:pt x="35" y="429"/>
                  </a:lnTo>
                  <a:lnTo>
                    <a:pt x="37" y="427"/>
                  </a:lnTo>
                  <a:lnTo>
                    <a:pt x="39" y="424"/>
                  </a:lnTo>
                  <a:lnTo>
                    <a:pt x="40" y="424"/>
                  </a:lnTo>
                  <a:lnTo>
                    <a:pt x="40" y="423"/>
                  </a:lnTo>
                  <a:lnTo>
                    <a:pt x="40" y="421"/>
                  </a:lnTo>
                  <a:lnTo>
                    <a:pt x="42" y="421"/>
                  </a:lnTo>
                  <a:lnTo>
                    <a:pt x="44" y="421"/>
                  </a:lnTo>
                  <a:lnTo>
                    <a:pt x="45" y="421"/>
                  </a:lnTo>
                  <a:lnTo>
                    <a:pt x="47" y="421"/>
                  </a:lnTo>
                  <a:lnTo>
                    <a:pt x="45" y="419"/>
                  </a:lnTo>
                  <a:lnTo>
                    <a:pt x="47" y="418"/>
                  </a:lnTo>
                  <a:lnTo>
                    <a:pt x="47" y="416"/>
                  </a:lnTo>
                  <a:lnTo>
                    <a:pt x="48" y="416"/>
                  </a:lnTo>
                  <a:lnTo>
                    <a:pt x="50" y="416"/>
                  </a:lnTo>
                  <a:lnTo>
                    <a:pt x="50" y="414"/>
                  </a:lnTo>
                  <a:lnTo>
                    <a:pt x="50" y="413"/>
                  </a:lnTo>
                  <a:lnTo>
                    <a:pt x="52" y="413"/>
                  </a:lnTo>
                  <a:lnTo>
                    <a:pt x="52" y="411"/>
                  </a:lnTo>
                  <a:lnTo>
                    <a:pt x="52" y="410"/>
                  </a:lnTo>
                  <a:lnTo>
                    <a:pt x="50" y="408"/>
                  </a:lnTo>
                  <a:lnTo>
                    <a:pt x="48" y="406"/>
                  </a:lnTo>
                  <a:lnTo>
                    <a:pt x="50" y="406"/>
                  </a:lnTo>
                  <a:lnTo>
                    <a:pt x="52" y="401"/>
                  </a:lnTo>
                  <a:lnTo>
                    <a:pt x="53" y="400"/>
                  </a:lnTo>
                  <a:lnTo>
                    <a:pt x="53" y="398"/>
                  </a:lnTo>
                  <a:lnTo>
                    <a:pt x="55" y="398"/>
                  </a:lnTo>
                  <a:lnTo>
                    <a:pt x="58" y="400"/>
                  </a:lnTo>
                  <a:lnTo>
                    <a:pt x="60" y="400"/>
                  </a:lnTo>
                  <a:lnTo>
                    <a:pt x="57" y="398"/>
                  </a:lnTo>
                  <a:lnTo>
                    <a:pt x="55" y="395"/>
                  </a:lnTo>
                  <a:lnTo>
                    <a:pt x="55" y="392"/>
                  </a:lnTo>
                  <a:lnTo>
                    <a:pt x="55" y="390"/>
                  </a:lnTo>
                  <a:lnTo>
                    <a:pt x="55" y="388"/>
                  </a:lnTo>
                  <a:lnTo>
                    <a:pt x="55" y="387"/>
                  </a:lnTo>
                  <a:lnTo>
                    <a:pt x="55" y="385"/>
                  </a:lnTo>
                  <a:lnTo>
                    <a:pt x="53" y="384"/>
                  </a:lnTo>
                  <a:lnTo>
                    <a:pt x="55" y="384"/>
                  </a:lnTo>
                  <a:lnTo>
                    <a:pt x="53" y="382"/>
                  </a:lnTo>
                  <a:lnTo>
                    <a:pt x="53" y="380"/>
                  </a:lnTo>
                  <a:lnTo>
                    <a:pt x="53" y="379"/>
                  </a:lnTo>
                  <a:lnTo>
                    <a:pt x="52" y="379"/>
                  </a:lnTo>
                  <a:lnTo>
                    <a:pt x="53" y="377"/>
                  </a:lnTo>
                  <a:lnTo>
                    <a:pt x="52" y="375"/>
                  </a:lnTo>
                  <a:lnTo>
                    <a:pt x="52" y="372"/>
                  </a:lnTo>
                  <a:lnTo>
                    <a:pt x="53" y="371"/>
                  </a:lnTo>
                  <a:lnTo>
                    <a:pt x="57" y="369"/>
                  </a:lnTo>
                  <a:lnTo>
                    <a:pt x="58" y="369"/>
                  </a:lnTo>
                  <a:lnTo>
                    <a:pt x="60" y="369"/>
                  </a:lnTo>
                  <a:lnTo>
                    <a:pt x="60" y="361"/>
                  </a:lnTo>
                  <a:lnTo>
                    <a:pt x="63" y="353"/>
                  </a:lnTo>
                  <a:lnTo>
                    <a:pt x="65" y="348"/>
                  </a:lnTo>
                  <a:lnTo>
                    <a:pt x="66" y="346"/>
                  </a:lnTo>
                  <a:lnTo>
                    <a:pt x="68" y="345"/>
                  </a:lnTo>
                  <a:lnTo>
                    <a:pt x="70" y="343"/>
                  </a:lnTo>
                  <a:lnTo>
                    <a:pt x="71" y="341"/>
                  </a:lnTo>
                  <a:lnTo>
                    <a:pt x="73" y="340"/>
                  </a:lnTo>
                  <a:lnTo>
                    <a:pt x="73" y="338"/>
                  </a:lnTo>
                  <a:lnTo>
                    <a:pt x="73" y="336"/>
                  </a:lnTo>
                  <a:lnTo>
                    <a:pt x="76" y="332"/>
                  </a:lnTo>
                  <a:lnTo>
                    <a:pt x="78" y="330"/>
                  </a:lnTo>
                  <a:lnTo>
                    <a:pt x="79" y="328"/>
                  </a:lnTo>
                  <a:lnTo>
                    <a:pt x="78" y="328"/>
                  </a:lnTo>
                  <a:lnTo>
                    <a:pt x="76" y="328"/>
                  </a:lnTo>
                  <a:lnTo>
                    <a:pt x="74" y="327"/>
                  </a:lnTo>
                  <a:lnTo>
                    <a:pt x="73" y="327"/>
                  </a:lnTo>
                  <a:lnTo>
                    <a:pt x="71" y="327"/>
                  </a:lnTo>
                  <a:lnTo>
                    <a:pt x="70" y="327"/>
                  </a:lnTo>
                  <a:lnTo>
                    <a:pt x="68" y="325"/>
                  </a:lnTo>
                  <a:lnTo>
                    <a:pt x="68" y="323"/>
                  </a:lnTo>
                  <a:lnTo>
                    <a:pt x="66" y="323"/>
                  </a:lnTo>
                  <a:lnTo>
                    <a:pt x="65" y="322"/>
                  </a:lnTo>
                  <a:lnTo>
                    <a:pt x="61" y="322"/>
                  </a:lnTo>
                  <a:lnTo>
                    <a:pt x="61" y="320"/>
                  </a:lnTo>
                  <a:lnTo>
                    <a:pt x="61" y="318"/>
                  </a:lnTo>
                  <a:lnTo>
                    <a:pt x="60" y="317"/>
                  </a:lnTo>
                  <a:lnTo>
                    <a:pt x="60" y="315"/>
                  </a:lnTo>
                  <a:lnTo>
                    <a:pt x="61" y="314"/>
                  </a:lnTo>
                  <a:lnTo>
                    <a:pt x="60" y="312"/>
                  </a:lnTo>
                  <a:lnTo>
                    <a:pt x="60" y="307"/>
                  </a:lnTo>
                  <a:lnTo>
                    <a:pt x="61" y="305"/>
                  </a:lnTo>
                  <a:lnTo>
                    <a:pt x="61" y="304"/>
                  </a:lnTo>
                  <a:lnTo>
                    <a:pt x="61" y="302"/>
                  </a:lnTo>
                  <a:lnTo>
                    <a:pt x="63" y="299"/>
                  </a:lnTo>
                  <a:lnTo>
                    <a:pt x="65" y="297"/>
                  </a:lnTo>
                  <a:lnTo>
                    <a:pt x="65" y="296"/>
                  </a:lnTo>
                  <a:lnTo>
                    <a:pt x="66" y="294"/>
                  </a:lnTo>
                  <a:lnTo>
                    <a:pt x="68" y="292"/>
                  </a:lnTo>
                  <a:lnTo>
                    <a:pt x="68" y="291"/>
                  </a:lnTo>
                  <a:lnTo>
                    <a:pt x="66" y="289"/>
                  </a:lnTo>
                  <a:lnTo>
                    <a:pt x="66" y="288"/>
                  </a:lnTo>
                  <a:lnTo>
                    <a:pt x="66" y="284"/>
                  </a:lnTo>
                  <a:lnTo>
                    <a:pt x="65" y="276"/>
                  </a:lnTo>
                  <a:lnTo>
                    <a:pt x="66" y="275"/>
                  </a:lnTo>
                  <a:lnTo>
                    <a:pt x="66" y="273"/>
                  </a:lnTo>
                  <a:lnTo>
                    <a:pt x="66" y="270"/>
                  </a:lnTo>
                  <a:lnTo>
                    <a:pt x="66" y="268"/>
                  </a:lnTo>
                  <a:lnTo>
                    <a:pt x="66" y="266"/>
                  </a:lnTo>
                  <a:lnTo>
                    <a:pt x="65" y="265"/>
                  </a:lnTo>
                  <a:lnTo>
                    <a:pt x="63" y="265"/>
                  </a:lnTo>
                  <a:lnTo>
                    <a:pt x="61" y="265"/>
                  </a:lnTo>
                  <a:lnTo>
                    <a:pt x="58" y="260"/>
                  </a:lnTo>
                  <a:lnTo>
                    <a:pt x="57" y="258"/>
                  </a:lnTo>
                  <a:lnTo>
                    <a:pt x="55" y="257"/>
                  </a:lnTo>
                  <a:lnTo>
                    <a:pt x="55" y="255"/>
                  </a:lnTo>
                  <a:lnTo>
                    <a:pt x="55" y="253"/>
                  </a:lnTo>
                  <a:lnTo>
                    <a:pt x="57" y="252"/>
                  </a:lnTo>
                  <a:lnTo>
                    <a:pt x="57" y="250"/>
                  </a:lnTo>
                  <a:lnTo>
                    <a:pt x="57" y="247"/>
                  </a:lnTo>
                  <a:lnTo>
                    <a:pt x="57" y="245"/>
                  </a:lnTo>
                  <a:lnTo>
                    <a:pt x="57" y="240"/>
                  </a:lnTo>
                  <a:lnTo>
                    <a:pt x="57" y="239"/>
                  </a:lnTo>
                  <a:lnTo>
                    <a:pt x="57" y="237"/>
                  </a:lnTo>
                  <a:lnTo>
                    <a:pt x="57" y="234"/>
                  </a:lnTo>
                  <a:lnTo>
                    <a:pt x="57" y="231"/>
                  </a:lnTo>
                  <a:lnTo>
                    <a:pt x="57" y="229"/>
                  </a:lnTo>
                  <a:lnTo>
                    <a:pt x="57" y="227"/>
                  </a:lnTo>
                  <a:lnTo>
                    <a:pt x="58" y="227"/>
                  </a:lnTo>
                  <a:lnTo>
                    <a:pt x="60" y="227"/>
                  </a:lnTo>
                  <a:lnTo>
                    <a:pt x="58" y="226"/>
                  </a:lnTo>
                  <a:lnTo>
                    <a:pt x="60" y="226"/>
                  </a:lnTo>
                  <a:lnTo>
                    <a:pt x="60" y="219"/>
                  </a:lnTo>
                  <a:lnTo>
                    <a:pt x="60" y="218"/>
                  </a:lnTo>
                  <a:lnTo>
                    <a:pt x="60" y="214"/>
                  </a:lnTo>
                  <a:lnTo>
                    <a:pt x="61" y="211"/>
                  </a:lnTo>
                  <a:lnTo>
                    <a:pt x="61" y="210"/>
                  </a:lnTo>
                  <a:lnTo>
                    <a:pt x="63" y="208"/>
                  </a:lnTo>
                  <a:lnTo>
                    <a:pt x="65" y="206"/>
                  </a:lnTo>
                  <a:lnTo>
                    <a:pt x="66" y="206"/>
                  </a:lnTo>
                  <a:lnTo>
                    <a:pt x="66" y="205"/>
                  </a:lnTo>
                  <a:lnTo>
                    <a:pt x="65" y="203"/>
                  </a:lnTo>
                  <a:lnTo>
                    <a:pt x="65" y="201"/>
                  </a:lnTo>
                  <a:lnTo>
                    <a:pt x="63" y="200"/>
                  </a:lnTo>
                  <a:lnTo>
                    <a:pt x="63" y="198"/>
                  </a:lnTo>
                  <a:lnTo>
                    <a:pt x="61" y="197"/>
                  </a:lnTo>
                  <a:lnTo>
                    <a:pt x="61" y="195"/>
                  </a:lnTo>
                  <a:lnTo>
                    <a:pt x="63" y="195"/>
                  </a:lnTo>
                  <a:lnTo>
                    <a:pt x="65" y="193"/>
                  </a:lnTo>
                  <a:lnTo>
                    <a:pt x="65" y="190"/>
                  </a:lnTo>
                  <a:lnTo>
                    <a:pt x="66" y="190"/>
                  </a:lnTo>
                  <a:lnTo>
                    <a:pt x="66" y="188"/>
                  </a:lnTo>
                  <a:lnTo>
                    <a:pt x="66" y="187"/>
                  </a:lnTo>
                  <a:lnTo>
                    <a:pt x="66" y="183"/>
                  </a:lnTo>
                  <a:lnTo>
                    <a:pt x="66" y="182"/>
                  </a:lnTo>
                  <a:lnTo>
                    <a:pt x="68" y="180"/>
                  </a:lnTo>
                  <a:lnTo>
                    <a:pt x="68" y="179"/>
                  </a:lnTo>
                  <a:lnTo>
                    <a:pt x="70" y="179"/>
                  </a:lnTo>
                  <a:lnTo>
                    <a:pt x="71" y="179"/>
                  </a:lnTo>
                  <a:lnTo>
                    <a:pt x="71" y="177"/>
                  </a:lnTo>
                  <a:lnTo>
                    <a:pt x="70" y="175"/>
                  </a:lnTo>
                  <a:lnTo>
                    <a:pt x="70" y="174"/>
                  </a:lnTo>
                  <a:lnTo>
                    <a:pt x="70" y="172"/>
                  </a:lnTo>
                  <a:lnTo>
                    <a:pt x="70" y="170"/>
                  </a:lnTo>
                  <a:lnTo>
                    <a:pt x="71" y="170"/>
                  </a:lnTo>
                  <a:lnTo>
                    <a:pt x="71" y="169"/>
                  </a:lnTo>
                  <a:lnTo>
                    <a:pt x="71" y="167"/>
                  </a:lnTo>
                  <a:lnTo>
                    <a:pt x="71" y="166"/>
                  </a:lnTo>
                  <a:lnTo>
                    <a:pt x="73" y="164"/>
                  </a:lnTo>
                  <a:lnTo>
                    <a:pt x="73" y="162"/>
                  </a:lnTo>
                  <a:lnTo>
                    <a:pt x="74" y="162"/>
                  </a:lnTo>
                  <a:lnTo>
                    <a:pt x="74" y="161"/>
                  </a:lnTo>
                  <a:lnTo>
                    <a:pt x="71" y="161"/>
                  </a:lnTo>
                  <a:lnTo>
                    <a:pt x="70" y="159"/>
                  </a:lnTo>
                  <a:lnTo>
                    <a:pt x="68" y="157"/>
                  </a:lnTo>
                  <a:lnTo>
                    <a:pt x="66" y="159"/>
                  </a:lnTo>
                  <a:lnTo>
                    <a:pt x="65" y="159"/>
                  </a:lnTo>
                  <a:lnTo>
                    <a:pt x="63" y="159"/>
                  </a:lnTo>
                  <a:lnTo>
                    <a:pt x="61" y="159"/>
                  </a:lnTo>
                  <a:lnTo>
                    <a:pt x="61" y="157"/>
                  </a:lnTo>
                  <a:lnTo>
                    <a:pt x="60" y="157"/>
                  </a:lnTo>
                  <a:lnTo>
                    <a:pt x="57" y="157"/>
                  </a:lnTo>
                  <a:lnTo>
                    <a:pt x="55" y="157"/>
                  </a:lnTo>
                  <a:lnTo>
                    <a:pt x="52" y="156"/>
                  </a:lnTo>
                  <a:lnTo>
                    <a:pt x="50" y="156"/>
                  </a:lnTo>
                  <a:lnTo>
                    <a:pt x="50" y="154"/>
                  </a:lnTo>
                  <a:lnTo>
                    <a:pt x="48" y="154"/>
                  </a:lnTo>
                  <a:lnTo>
                    <a:pt x="47" y="154"/>
                  </a:lnTo>
                  <a:lnTo>
                    <a:pt x="45" y="153"/>
                  </a:lnTo>
                  <a:lnTo>
                    <a:pt x="45" y="151"/>
                  </a:lnTo>
                  <a:lnTo>
                    <a:pt x="45" y="149"/>
                  </a:lnTo>
                  <a:lnTo>
                    <a:pt x="44" y="149"/>
                  </a:lnTo>
                  <a:lnTo>
                    <a:pt x="45" y="149"/>
                  </a:lnTo>
                  <a:lnTo>
                    <a:pt x="47" y="148"/>
                  </a:lnTo>
                  <a:lnTo>
                    <a:pt x="48" y="148"/>
                  </a:lnTo>
                  <a:lnTo>
                    <a:pt x="50" y="148"/>
                  </a:lnTo>
                  <a:lnTo>
                    <a:pt x="52" y="148"/>
                  </a:lnTo>
                  <a:lnTo>
                    <a:pt x="52" y="146"/>
                  </a:lnTo>
                  <a:lnTo>
                    <a:pt x="53" y="146"/>
                  </a:lnTo>
                  <a:lnTo>
                    <a:pt x="55" y="146"/>
                  </a:lnTo>
                  <a:lnTo>
                    <a:pt x="57" y="144"/>
                  </a:lnTo>
                  <a:lnTo>
                    <a:pt x="58" y="144"/>
                  </a:lnTo>
                  <a:lnTo>
                    <a:pt x="60" y="143"/>
                  </a:lnTo>
                  <a:lnTo>
                    <a:pt x="60" y="144"/>
                  </a:lnTo>
                  <a:lnTo>
                    <a:pt x="61" y="143"/>
                  </a:lnTo>
                  <a:lnTo>
                    <a:pt x="63" y="143"/>
                  </a:lnTo>
                  <a:lnTo>
                    <a:pt x="65" y="141"/>
                  </a:lnTo>
                  <a:lnTo>
                    <a:pt x="65" y="140"/>
                  </a:lnTo>
                  <a:lnTo>
                    <a:pt x="70" y="136"/>
                  </a:lnTo>
                  <a:lnTo>
                    <a:pt x="71" y="136"/>
                  </a:lnTo>
                  <a:lnTo>
                    <a:pt x="73" y="135"/>
                  </a:lnTo>
                  <a:lnTo>
                    <a:pt x="74" y="133"/>
                  </a:lnTo>
                  <a:lnTo>
                    <a:pt x="76" y="131"/>
                  </a:lnTo>
                  <a:lnTo>
                    <a:pt x="78" y="133"/>
                  </a:lnTo>
                  <a:lnTo>
                    <a:pt x="79" y="131"/>
                  </a:lnTo>
                  <a:lnTo>
                    <a:pt x="81" y="128"/>
                  </a:lnTo>
                  <a:lnTo>
                    <a:pt x="81" y="127"/>
                  </a:lnTo>
                  <a:lnTo>
                    <a:pt x="81" y="125"/>
                  </a:lnTo>
                  <a:lnTo>
                    <a:pt x="83" y="125"/>
                  </a:lnTo>
                  <a:lnTo>
                    <a:pt x="84" y="123"/>
                  </a:lnTo>
                  <a:lnTo>
                    <a:pt x="84" y="122"/>
                  </a:lnTo>
                  <a:lnTo>
                    <a:pt x="83" y="120"/>
                  </a:lnTo>
                  <a:lnTo>
                    <a:pt x="81" y="117"/>
                  </a:lnTo>
                  <a:lnTo>
                    <a:pt x="81" y="115"/>
                  </a:lnTo>
                  <a:lnTo>
                    <a:pt x="81" y="114"/>
                  </a:lnTo>
                  <a:lnTo>
                    <a:pt x="79" y="115"/>
                  </a:lnTo>
                  <a:lnTo>
                    <a:pt x="78" y="114"/>
                  </a:lnTo>
                  <a:lnTo>
                    <a:pt x="79" y="112"/>
                  </a:lnTo>
                  <a:lnTo>
                    <a:pt x="83" y="112"/>
                  </a:lnTo>
                  <a:lnTo>
                    <a:pt x="83" y="110"/>
                  </a:lnTo>
                  <a:lnTo>
                    <a:pt x="84" y="110"/>
                  </a:lnTo>
                  <a:lnTo>
                    <a:pt x="86" y="110"/>
                  </a:lnTo>
                  <a:lnTo>
                    <a:pt x="87" y="110"/>
                  </a:lnTo>
                  <a:lnTo>
                    <a:pt x="89" y="110"/>
                  </a:lnTo>
                  <a:lnTo>
                    <a:pt x="91" y="110"/>
                  </a:lnTo>
                  <a:lnTo>
                    <a:pt x="92" y="110"/>
                  </a:lnTo>
                  <a:lnTo>
                    <a:pt x="92" y="112"/>
                  </a:lnTo>
                  <a:lnTo>
                    <a:pt x="94" y="110"/>
                  </a:lnTo>
                  <a:lnTo>
                    <a:pt x="96" y="110"/>
                  </a:lnTo>
                  <a:lnTo>
                    <a:pt x="96" y="109"/>
                  </a:lnTo>
                  <a:lnTo>
                    <a:pt x="97" y="107"/>
                  </a:lnTo>
                  <a:lnTo>
                    <a:pt x="97" y="109"/>
                  </a:lnTo>
                  <a:lnTo>
                    <a:pt x="99" y="109"/>
                  </a:lnTo>
                  <a:lnTo>
                    <a:pt x="100" y="107"/>
                  </a:lnTo>
                  <a:lnTo>
                    <a:pt x="102" y="107"/>
                  </a:lnTo>
                  <a:lnTo>
                    <a:pt x="104" y="105"/>
                  </a:lnTo>
                  <a:lnTo>
                    <a:pt x="105" y="105"/>
                  </a:lnTo>
                  <a:lnTo>
                    <a:pt x="105" y="104"/>
                  </a:lnTo>
                  <a:lnTo>
                    <a:pt x="107" y="104"/>
                  </a:lnTo>
                  <a:lnTo>
                    <a:pt x="107" y="102"/>
                  </a:lnTo>
                  <a:lnTo>
                    <a:pt x="107" y="101"/>
                  </a:lnTo>
                  <a:lnTo>
                    <a:pt x="105" y="101"/>
                  </a:lnTo>
                  <a:lnTo>
                    <a:pt x="102" y="99"/>
                  </a:lnTo>
                  <a:lnTo>
                    <a:pt x="100" y="99"/>
                  </a:lnTo>
                  <a:lnTo>
                    <a:pt x="100" y="97"/>
                  </a:lnTo>
                  <a:lnTo>
                    <a:pt x="100" y="96"/>
                  </a:lnTo>
                  <a:lnTo>
                    <a:pt x="102" y="92"/>
                  </a:lnTo>
                  <a:lnTo>
                    <a:pt x="104" y="92"/>
                  </a:lnTo>
                  <a:lnTo>
                    <a:pt x="104" y="91"/>
                  </a:lnTo>
                  <a:lnTo>
                    <a:pt x="104" y="89"/>
                  </a:lnTo>
                  <a:lnTo>
                    <a:pt x="102" y="89"/>
                  </a:lnTo>
                  <a:lnTo>
                    <a:pt x="102" y="88"/>
                  </a:lnTo>
                  <a:lnTo>
                    <a:pt x="104" y="86"/>
                  </a:lnTo>
                  <a:lnTo>
                    <a:pt x="105" y="86"/>
                  </a:lnTo>
                  <a:lnTo>
                    <a:pt x="107" y="86"/>
                  </a:lnTo>
                  <a:lnTo>
                    <a:pt x="107" y="84"/>
                  </a:lnTo>
                  <a:lnTo>
                    <a:pt x="109" y="84"/>
                  </a:lnTo>
                  <a:lnTo>
                    <a:pt x="110" y="84"/>
                  </a:lnTo>
                  <a:lnTo>
                    <a:pt x="112" y="84"/>
                  </a:lnTo>
                  <a:lnTo>
                    <a:pt x="113" y="84"/>
                  </a:lnTo>
                  <a:lnTo>
                    <a:pt x="115" y="84"/>
                  </a:lnTo>
                  <a:lnTo>
                    <a:pt x="115" y="86"/>
                  </a:lnTo>
                  <a:lnTo>
                    <a:pt x="117" y="86"/>
                  </a:lnTo>
                  <a:lnTo>
                    <a:pt x="117" y="84"/>
                  </a:lnTo>
                  <a:lnTo>
                    <a:pt x="115" y="84"/>
                  </a:lnTo>
                  <a:lnTo>
                    <a:pt x="117" y="84"/>
                  </a:lnTo>
                  <a:lnTo>
                    <a:pt x="117" y="86"/>
                  </a:lnTo>
                  <a:lnTo>
                    <a:pt x="118" y="86"/>
                  </a:lnTo>
                  <a:lnTo>
                    <a:pt x="120" y="86"/>
                  </a:lnTo>
                  <a:lnTo>
                    <a:pt x="122" y="84"/>
                  </a:lnTo>
                  <a:lnTo>
                    <a:pt x="123" y="83"/>
                  </a:lnTo>
                  <a:lnTo>
                    <a:pt x="125" y="83"/>
                  </a:lnTo>
                  <a:lnTo>
                    <a:pt x="130" y="79"/>
                  </a:lnTo>
                  <a:lnTo>
                    <a:pt x="131" y="78"/>
                  </a:lnTo>
                  <a:lnTo>
                    <a:pt x="133" y="76"/>
                  </a:lnTo>
                  <a:lnTo>
                    <a:pt x="135" y="75"/>
                  </a:lnTo>
                  <a:lnTo>
                    <a:pt x="136" y="75"/>
                  </a:lnTo>
                  <a:lnTo>
                    <a:pt x="139" y="71"/>
                  </a:lnTo>
                  <a:lnTo>
                    <a:pt x="139" y="70"/>
                  </a:lnTo>
                  <a:lnTo>
                    <a:pt x="139" y="68"/>
                  </a:lnTo>
                  <a:lnTo>
                    <a:pt x="141" y="68"/>
                  </a:lnTo>
                  <a:lnTo>
                    <a:pt x="141" y="66"/>
                  </a:lnTo>
                  <a:lnTo>
                    <a:pt x="143" y="65"/>
                  </a:lnTo>
                  <a:lnTo>
                    <a:pt x="141" y="65"/>
                  </a:lnTo>
                  <a:lnTo>
                    <a:pt x="143" y="65"/>
                  </a:lnTo>
                  <a:lnTo>
                    <a:pt x="144" y="63"/>
                  </a:lnTo>
                  <a:lnTo>
                    <a:pt x="146" y="63"/>
                  </a:lnTo>
                  <a:lnTo>
                    <a:pt x="146" y="62"/>
                  </a:lnTo>
                  <a:lnTo>
                    <a:pt x="148" y="60"/>
                  </a:lnTo>
                  <a:lnTo>
                    <a:pt x="149" y="60"/>
                  </a:lnTo>
                  <a:lnTo>
                    <a:pt x="149" y="58"/>
                  </a:lnTo>
                  <a:lnTo>
                    <a:pt x="151" y="58"/>
                  </a:lnTo>
                  <a:lnTo>
                    <a:pt x="152" y="58"/>
                  </a:lnTo>
                  <a:lnTo>
                    <a:pt x="154" y="58"/>
                  </a:lnTo>
                  <a:lnTo>
                    <a:pt x="154" y="57"/>
                  </a:lnTo>
                  <a:lnTo>
                    <a:pt x="156" y="57"/>
                  </a:lnTo>
                  <a:lnTo>
                    <a:pt x="157" y="57"/>
                  </a:lnTo>
                  <a:lnTo>
                    <a:pt x="159" y="57"/>
                  </a:lnTo>
                  <a:lnTo>
                    <a:pt x="159" y="55"/>
                  </a:lnTo>
                  <a:lnTo>
                    <a:pt x="161" y="55"/>
                  </a:lnTo>
                  <a:lnTo>
                    <a:pt x="162" y="53"/>
                  </a:lnTo>
                  <a:lnTo>
                    <a:pt x="164" y="52"/>
                  </a:lnTo>
                  <a:lnTo>
                    <a:pt x="164" y="50"/>
                  </a:lnTo>
                  <a:lnTo>
                    <a:pt x="165" y="50"/>
                  </a:lnTo>
                  <a:lnTo>
                    <a:pt x="165" y="49"/>
                  </a:lnTo>
                  <a:lnTo>
                    <a:pt x="167" y="47"/>
                  </a:lnTo>
                  <a:lnTo>
                    <a:pt x="169" y="47"/>
                  </a:lnTo>
                  <a:lnTo>
                    <a:pt x="169" y="45"/>
                  </a:lnTo>
                  <a:lnTo>
                    <a:pt x="170" y="45"/>
                  </a:lnTo>
                  <a:lnTo>
                    <a:pt x="170" y="47"/>
                  </a:lnTo>
                  <a:lnTo>
                    <a:pt x="170" y="49"/>
                  </a:lnTo>
                  <a:lnTo>
                    <a:pt x="170" y="47"/>
                  </a:lnTo>
                  <a:lnTo>
                    <a:pt x="170" y="49"/>
                  </a:lnTo>
                  <a:lnTo>
                    <a:pt x="172" y="49"/>
                  </a:lnTo>
                  <a:lnTo>
                    <a:pt x="174" y="49"/>
                  </a:lnTo>
                  <a:lnTo>
                    <a:pt x="174" y="50"/>
                  </a:lnTo>
                  <a:lnTo>
                    <a:pt x="175" y="49"/>
                  </a:lnTo>
                  <a:lnTo>
                    <a:pt x="177" y="49"/>
                  </a:lnTo>
                  <a:lnTo>
                    <a:pt x="179" y="47"/>
                  </a:lnTo>
                  <a:lnTo>
                    <a:pt x="180" y="47"/>
                  </a:lnTo>
                  <a:lnTo>
                    <a:pt x="182" y="47"/>
                  </a:lnTo>
                  <a:lnTo>
                    <a:pt x="183" y="47"/>
                  </a:lnTo>
                  <a:lnTo>
                    <a:pt x="185" y="45"/>
                  </a:lnTo>
                  <a:lnTo>
                    <a:pt x="188" y="45"/>
                  </a:lnTo>
                  <a:lnTo>
                    <a:pt x="188" y="44"/>
                  </a:lnTo>
                  <a:lnTo>
                    <a:pt x="190" y="44"/>
                  </a:lnTo>
                  <a:lnTo>
                    <a:pt x="190" y="42"/>
                  </a:lnTo>
                  <a:lnTo>
                    <a:pt x="190" y="44"/>
                  </a:lnTo>
                  <a:lnTo>
                    <a:pt x="190" y="42"/>
                  </a:lnTo>
                  <a:lnTo>
                    <a:pt x="192" y="42"/>
                  </a:lnTo>
                  <a:lnTo>
                    <a:pt x="193" y="42"/>
                  </a:lnTo>
                  <a:lnTo>
                    <a:pt x="195" y="42"/>
                  </a:lnTo>
                  <a:lnTo>
                    <a:pt x="196" y="42"/>
                  </a:lnTo>
                  <a:lnTo>
                    <a:pt x="198" y="42"/>
                  </a:lnTo>
                  <a:lnTo>
                    <a:pt x="200" y="42"/>
                  </a:lnTo>
                  <a:lnTo>
                    <a:pt x="201" y="42"/>
                  </a:lnTo>
                  <a:lnTo>
                    <a:pt x="201" y="40"/>
                  </a:lnTo>
                  <a:lnTo>
                    <a:pt x="203" y="40"/>
                  </a:lnTo>
                  <a:lnTo>
                    <a:pt x="205" y="40"/>
                  </a:lnTo>
                  <a:lnTo>
                    <a:pt x="206" y="39"/>
                  </a:lnTo>
                  <a:lnTo>
                    <a:pt x="206" y="37"/>
                  </a:lnTo>
                  <a:lnTo>
                    <a:pt x="208" y="37"/>
                  </a:lnTo>
                  <a:lnTo>
                    <a:pt x="209" y="37"/>
                  </a:lnTo>
                  <a:lnTo>
                    <a:pt x="211" y="39"/>
                  </a:lnTo>
                  <a:lnTo>
                    <a:pt x="213" y="39"/>
                  </a:lnTo>
                  <a:lnTo>
                    <a:pt x="214" y="37"/>
                  </a:lnTo>
                  <a:lnTo>
                    <a:pt x="216" y="37"/>
                  </a:lnTo>
                  <a:lnTo>
                    <a:pt x="219" y="34"/>
                  </a:lnTo>
                  <a:lnTo>
                    <a:pt x="221" y="32"/>
                  </a:lnTo>
                  <a:lnTo>
                    <a:pt x="222" y="32"/>
                  </a:lnTo>
                  <a:lnTo>
                    <a:pt x="224" y="32"/>
                  </a:lnTo>
                  <a:lnTo>
                    <a:pt x="226" y="32"/>
                  </a:lnTo>
                  <a:lnTo>
                    <a:pt x="227" y="32"/>
                  </a:lnTo>
                  <a:lnTo>
                    <a:pt x="229" y="32"/>
                  </a:lnTo>
                  <a:lnTo>
                    <a:pt x="229" y="31"/>
                  </a:lnTo>
                  <a:lnTo>
                    <a:pt x="231" y="31"/>
                  </a:lnTo>
                  <a:lnTo>
                    <a:pt x="232" y="32"/>
                  </a:lnTo>
                  <a:lnTo>
                    <a:pt x="234" y="34"/>
                  </a:lnTo>
                  <a:lnTo>
                    <a:pt x="235" y="34"/>
                  </a:lnTo>
                  <a:lnTo>
                    <a:pt x="237" y="34"/>
                  </a:lnTo>
                  <a:lnTo>
                    <a:pt x="239" y="34"/>
                  </a:lnTo>
                  <a:lnTo>
                    <a:pt x="239" y="32"/>
                  </a:lnTo>
                  <a:lnTo>
                    <a:pt x="240" y="32"/>
                  </a:lnTo>
                  <a:lnTo>
                    <a:pt x="242" y="32"/>
                  </a:lnTo>
                  <a:lnTo>
                    <a:pt x="244" y="32"/>
                  </a:lnTo>
                  <a:lnTo>
                    <a:pt x="244" y="34"/>
                  </a:lnTo>
                  <a:lnTo>
                    <a:pt x="244" y="35"/>
                  </a:lnTo>
                  <a:lnTo>
                    <a:pt x="245" y="35"/>
                  </a:lnTo>
                  <a:lnTo>
                    <a:pt x="245" y="37"/>
                  </a:lnTo>
                  <a:lnTo>
                    <a:pt x="245" y="39"/>
                  </a:lnTo>
                  <a:lnTo>
                    <a:pt x="245" y="40"/>
                  </a:lnTo>
                  <a:lnTo>
                    <a:pt x="247" y="40"/>
                  </a:lnTo>
                  <a:lnTo>
                    <a:pt x="245" y="40"/>
                  </a:lnTo>
                  <a:lnTo>
                    <a:pt x="245" y="42"/>
                  </a:lnTo>
                  <a:lnTo>
                    <a:pt x="247" y="42"/>
                  </a:lnTo>
                  <a:lnTo>
                    <a:pt x="245" y="42"/>
                  </a:lnTo>
                  <a:lnTo>
                    <a:pt x="245" y="44"/>
                  </a:lnTo>
                  <a:lnTo>
                    <a:pt x="244" y="44"/>
                  </a:lnTo>
                  <a:lnTo>
                    <a:pt x="242" y="44"/>
                  </a:lnTo>
                  <a:lnTo>
                    <a:pt x="244" y="44"/>
                  </a:lnTo>
                  <a:lnTo>
                    <a:pt x="242" y="44"/>
                  </a:lnTo>
                  <a:lnTo>
                    <a:pt x="242" y="45"/>
                  </a:lnTo>
                  <a:lnTo>
                    <a:pt x="242" y="44"/>
                  </a:lnTo>
                  <a:lnTo>
                    <a:pt x="242" y="45"/>
                  </a:lnTo>
                  <a:lnTo>
                    <a:pt x="240" y="45"/>
                  </a:lnTo>
                  <a:lnTo>
                    <a:pt x="239" y="45"/>
                  </a:lnTo>
                  <a:lnTo>
                    <a:pt x="239" y="47"/>
                  </a:lnTo>
                  <a:lnTo>
                    <a:pt x="237" y="47"/>
                  </a:lnTo>
                  <a:lnTo>
                    <a:pt x="235" y="47"/>
                  </a:lnTo>
                  <a:lnTo>
                    <a:pt x="234" y="47"/>
                  </a:lnTo>
                  <a:lnTo>
                    <a:pt x="234" y="49"/>
                  </a:lnTo>
                  <a:lnTo>
                    <a:pt x="235" y="49"/>
                  </a:lnTo>
                  <a:lnTo>
                    <a:pt x="235" y="47"/>
                  </a:lnTo>
                  <a:lnTo>
                    <a:pt x="237" y="47"/>
                  </a:lnTo>
                  <a:lnTo>
                    <a:pt x="237" y="49"/>
                  </a:lnTo>
                  <a:lnTo>
                    <a:pt x="237" y="50"/>
                  </a:lnTo>
                  <a:lnTo>
                    <a:pt x="235" y="50"/>
                  </a:lnTo>
                  <a:lnTo>
                    <a:pt x="234" y="50"/>
                  </a:lnTo>
                  <a:lnTo>
                    <a:pt x="234" y="49"/>
                  </a:lnTo>
                  <a:lnTo>
                    <a:pt x="232" y="49"/>
                  </a:lnTo>
                  <a:lnTo>
                    <a:pt x="232" y="50"/>
                  </a:lnTo>
                  <a:lnTo>
                    <a:pt x="232" y="49"/>
                  </a:lnTo>
                  <a:lnTo>
                    <a:pt x="234" y="50"/>
                  </a:lnTo>
                  <a:lnTo>
                    <a:pt x="234" y="52"/>
                  </a:lnTo>
                  <a:lnTo>
                    <a:pt x="235" y="52"/>
                  </a:lnTo>
                  <a:lnTo>
                    <a:pt x="235" y="50"/>
                  </a:lnTo>
                  <a:lnTo>
                    <a:pt x="235" y="52"/>
                  </a:lnTo>
                  <a:lnTo>
                    <a:pt x="234" y="53"/>
                  </a:lnTo>
                  <a:lnTo>
                    <a:pt x="234" y="55"/>
                  </a:lnTo>
                  <a:lnTo>
                    <a:pt x="235" y="55"/>
                  </a:lnTo>
                  <a:lnTo>
                    <a:pt x="237" y="57"/>
                  </a:lnTo>
                  <a:lnTo>
                    <a:pt x="237" y="58"/>
                  </a:lnTo>
                  <a:lnTo>
                    <a:pt x="237" y="60"/>
                  </a:lnTo>
                  <a:lnTo>
                    <a:pt x="239" y="60"/>
                  </a:lnTo>
                  <a:lnTo>
                    <a:pt x="240" y="62"/>
                  </a:lnTo>
                  <a:lnTo>
                    <a:pt x="242" y="62"/>
                  </a:lnTo>
                  <a:lnTo>
                    <a:pt x="244" y="62"/>
                  </a:lnTo>
                  <a:lnTo>
                    <a:pt x="245" y="60"/>
                  </a:lnTo>
                  <a:lnTo>
                    <a:pt x="247" y="60"/>
                  </a:lnTo>
                  <a:lnTo>
                    <a:pt x="248" y="58"/>
                  </a:lnTo>
                  <a:lnTo>
                    <a:pt x="250" y="58"/>
                  </a:lnTo>
                  <a:lnTo>
                    <a:pt x="252" y="55"/>
                  </a:lnTo>
                  <a:lnTo>
                    <a:pt x="252" y="52"/>
                  </a:lnTo>
                  <a:lnTo>
                    <a:pt x="252" y="50"/>
                  </a:lnTo>
                  <a:lnTo>
                    <a:pt x="252" y="49"/>
                  </a:lnTo>
                  <a:lnTo>
                    <a:pt x="248" y="49"/>
                  </a:lnTo>
                  <a:lnTo>
                    <a:pt x="247" y="49"/>
                  </a:lnTo>
                  <a:lnTo>
                    <a:pt x="245" y="49"/>
                  </a:lnTo>
                  <a:lnTo>
                    <a:pt x="244" y="47"/>
                  </a:lnTo>
                  <a:lnTo>
                    <a:pt x="242" y="49"/>
                  </a:lnTo>
                  <a:lnTo>
                    <a:pt x="240" y="49"/>
                  </a:lnTo>
                  <a:lnTo>
                    <a:pt x="239" y="49"/>
                  </a:lnTo>
                  <a:lnTo>
                    <a:pt x="239" y="47"/>
                  </a:lnTo>
                  <a:lnTo>
                    <a:pt x="239" y="49"/>
                  </a:lnTo>
                  <a:lnTo>
                    <a:pt x="240" y="49"/>
                  </a:lnTo>
                  <a:lnTo>
                    <a:pt x="240" y="47"/>
                  </a:lnTo>
                  <a:lnTo>
                    <a:pt x="242" y="47"/>
                  </a:lnTo>
                  <a:lnTo>
                    <a:pt x="240" y="47"/>
                  </a:lnTo>
                  <a:lnTo>
                    <a:pt x="242" y="47"/>
                  </a:lnTo>
                  <a:lnTo>
                    <a:pt x="242" y="45"/>
                  </a:lnTo>
                  <a:lnTo>
                    <a:pt x="244" y="45"/>
                  </a:lnTo>
                  <a:lnTo>
                    <a:pt x="245" y="45"/>
                  </a:lnTo>
                  <a:lnTo>
                    <a:pt x="245" y="44"/>
                  </a:lnTo>
                  <a:lnTo>
                    <a:pt x="245" y="42"/>
                  </a:lnTo>
                  <a:lnTo>
                    <a:pt x="247" y="42"/>
                  </a:lnTo>
                  <a:lnTo>
                    <a:pt x="247" y="44"/>
                  </a:lnTo>
                  <a:lnTo>
                    <a:pt x="250" y="44"/>
                  </a:lnTo>
                  <a:lnTo>
                    <a:pt x="252" y="45"/>
                  </a:lnTo>
                  <a:lnTo>
                    <a:pt x="257" y="45"/>
                  </a:lnTo>
                  <a:lnTo>
                    <a:pt x="258" y="45"/>
                  </a:lnTo>
                  <a:lnTo>
                    <a:pt x="260" y="45"/>
                  </a:lnTo>
                  <a:lnTo>
                    <a:pt x="261" y="45"/>
                  </a:lnTo>
                  <a:lnTo>
                    <a:pt x="265" y="44"/>
                  </a:lnTo>
                  <a:lnTo>
                    <a:pt x="266" y="42"/>
                  </a:lnTo>
                  <a:lnTo>
                    <a:pt x="268" y="42"/>
                  </a:lnTo>
                  <a:lnTo>
                    <a:pt x="268" y="44"/>
                  </a:lnTo>
                  <a:lnTo>
                    <a:pt x="270" y="45"/>
                  </a:lnTo>
                  <a:lnTo>
                    <a:pt x="268" y="45"/>
                  </a:lnTo>
                  <a:lnTo>
                    <a:pt x="270" y="47"/>
                  </a:lnTo>
                  <a:lnTo>
                    <a:pt x="271" y="47"/>
                  </a:lnTo>
                  <a:lnTo>
                    <a:pt x="273" y="47"/>
                  </a:lnTo>
                  <a:lnTo>
                    <a:pt x="274" y="47"/>
                  </a:lnTo>
                  <a:lnTo>
                    <a:pt x="276" y="49"/>
                  </a:lnTo>
                  <a:lnTo>
                    <a:pt x="278" y="49"/>
                  </a:lnTo>
                  <a:lnTo>
                    <a:pt x="279" y="50"/>
                  </a:lnTo>
                  <a:lnTo>
                    <a:pt x="281" y="50"/>
                  </a:lnTo>
                  <a:lnTo>
                    <a:pt x="281" y="52"/>
                  </a:lnTo>
                  <a:lnTo>
                    <a:pt x="283" y="52"/>
                  </a:lnTo>
                  <a:lnTo>
                    <a:pt x="284" y="52"/>
                  </a:lnTo>
                  <a:lnTo>
                    <a:pt x="284" y="53"/>
                  </a:lnTo>
                  <a:lnTo>
                    <a:pt x="286" y="55"/>
                  </a:lnTo>
                  <a:lnTo>
                    <a:pt x="287" y="53"/>
                  </a:lnTo>
                  <a:lnTo>
                    <a:pt x="289" y="55"/>
                  </a:lnTo>
                  <a:lnTo>
                    <a:pt x="291" y="55"/>
                  </a:lnTo>
                  <a:lnTo>
                    <a:pt x="292" y="55"/>
                  </a:lnTo>
                  <a:lnTo>
                    <a:pt x="291" y="55"/>
                  </a:lnTo>
                  <a:lnTo>
                    <a:pt x="289" y="57"/>
                  </a:lnTo>
                  <a:lnTo>
                    <a:pt x="287" y="58"/>
                  </a:lnTo>
                  <a:lnTo>
                    <a:pt x="289" y="57"/>
                  </a:lnTo>
                  <a:lnTo>
                    <a:pt x="286" y="57"/>
                  </a:lnTo>
                  <a:lnTo>
                    <a:pt x="287" y="57"/>
                  </a:lnTo>
                  <a:lnTo>
                    <a:pt x="286" y="57"/>
                  </a:lnTo>
                  <a:lnTo>
                    <a:pt x="286" y="58"/>
                  </a:lnTo>
                  <a:lnTo>
                    <a:pt x="286" y="57"/>
                  </a:lnTo>
                  <a:lnTo>
                    <a:pt x="284" y="57"/>
                  </a:lnTo>
                  <a:lnTo>
                    <a:pt x="283" y="57"/>
                  </a:lnTo>
                  <a:lnTo>
                    <a:pt x="281" y="57"/>
                  </a:lnTo>
                  <a:lnTo>
                    <a:pt x="278" y="57"/>
                  </a:lnTo>
                  <a:lnTo>
                    <a:pt x="276" y="58"/>
                  </a:lnTo>
                  <a:lnTo>
                    <a:pt x="276" y="60"/>
                  </a:lnTo>
                  <a:lnTo>
                    <a:pt x="276" y="62"/>
                  </a:lnTo>
                  <a:lnTo>
                    <a:pt x="278" y="63"/>
                  </a:lnTo>
                  <a:lnTo>
                    <a:pt x="279" y="63"/>
                  </a:lnTo>
                  <a:lnTo>
                    <a:pt x="281" y="63"/>
                  </a:lnTo>
                  <a:lnTo>
                    <a:pt x="281" y="65"/>
                  </a:lnTo>
                  <a:lnTo>
                    <a:pt x="283" y="65"/>
                  </a:lnTo>
                  <a:lnTo>
                    <a:pt x="284" y="65"/>
                  </a:lnTo>
                  <a:lnTo>
                    <a:pt x="283" y="66"/>
                  </a:lnTo>
                  <a:lnTo>
                    <a:pt x="284" y="66"/>
                  </a:lnTo>
                  <a:lnTo>
                    <a:pt x="283" y="66"/>
                  </a:lnTo>
                  <a:lnTo>
                    <a:pt x="283" y="68"/>
                  </a:lnTo>
                  <a:lnTo>
                    <a:pt x="281" y="70"/>
                  </a:lnTo>
                  <a:lnTo>
                    <a:pt x="279" y="70"/>
                  </a:lnTo>
                  <a:lnTo>
                    <a:pt x="281" y="71"/>
                  </a:lnTo>
                  <a:lnTo>
                    <a:pt x="279" y="71"/>
                  </a:lnTo>
                  <a:lnTo>
                    <a:pt x="279" y="73"/>
                  </a:lnTo>
                  <a:lnTo>
                    <a:pt x="279" y="75"/>
                  </a:lnTo>
                  <a:lnTo>
                    <a:pt x="279" y="76"/>
                  </a:lnTo>
                  <a:lnTo>
                    <a:pt x="281" y="75"/>
                  </a:lnTo>
                  <a:lnTo>
                    <a:pt x="281" y="76"/>
                  </a:lnTo>
                  <a:lnTo>
                    <a:pt x="281" y="78"/>
                  </a:lnTo>
                  <a:lnTo>
                    <a:pt x="283" y="79"/>
                  </a:lnTo>
                  <a:lnTo>
                    <a:pt x="283" y="81"/>
                  </a:lnTo>
                  <a:lnTo>
                    <a:pt x="283" y="83"/>
                  </a:lnTo>
                  <a:lnTo>
                    <a:pt x="284" y="83"/>
                  </a:lnTo>
                  <a:lnTo>
                    <a:pt x="284" y="84"/>
                  </a:lnTo>
                  <a:lnTo>
                    <a:pt x="284" y="86"/>
                  </a:lnTo>
                  <a:lnTo>
                    <a:pt x="286" y="86"/>
                  </a:lnTo>
                  <a:lnTo>
                    <a:pt x="287" y="88"/>
                  </a:lnTo>
                  <a:lnTo>
                    <a:pt x="289" y="89"/>
                  </a:lnTo>
                  <a:lnTo>
                    <a:pt x="291" y="89"/>
                  </a:lnTo>
                  <a:lnTo>
                    <a:pt x="291" y="91"/>
                  </a:lnTo>
                  <a:lnTo>
                    <a:pt x="292" y="91"/>
                  </a:lnTo>
                  <a:lnTo>
                    <a:pt x="294" y="92"/>
                  </a:lnTo>
                  <a:lnTo>
                    <a:pt x="296" y="92"/>
                  </a:lnTo>
                  <a:lnTo>
                    <a:pt x="297" y="92"/>
                  </a:lnTo>
                  <a:lnTo>
                    <a:pt x="296" y="94"/>
                  </a:lnTo>
                  <a:lnTo>
                    <a:pt x="297" y="94"/>
                  </a:lnTo>
                  <a:lnTo>
                    <a:pt x="297" y="96"/>
                  </a:lnTo>
                  <a:lnTo>
                    <a:pt x="299" y="97"/>
                  </a:lnTo>
                  <a:lnTo>
                    <a:pt x="300" y="97"/>
                  </a:lnTo>
                  <a:lnTo>
                    <a:pt x="300" y="99"/>
                  </a:lnTo>
                  <a:lnTo>
                    <a:pt x="299" y="99"/>
                  </a:lnTo>
                  <a:lnTo>
                    <a:pt x="299" y="101"/>
                  </a:lnTo>
                  <a:lnTo>
                    <a:pt x="299" y="102"/>
                  </a:lnTo>
                  <a:lnTo>
                    <a:pt x="297" y="102"/>
                  </a:lnTo>
                  <a:lnTo>
                    <a:pt x="297" y="104"/>
                  </a:lnTo>
                  <a:lnTo>
                    <a:pt x="296" y="105"/>
                  </a:lnTo>
                  <a:lnTo>
                    <a:pt x="296" y="107"/>
                  </a:lnTo>
                  <a:lnTo>
                    <a:pt x="294" y="107"/>
                  </a:lnTo>
                  <a:lnTo>
                    <a:pt x="292" y="107"/>
                  </a:lnTo>
                  <a:lnTo>
                    <a:pt x="284" y="109"/>
                  </a:lnTo>
                  <a:lnTo>
                    <a:pt x="283" y="109"/>
                  </a:lnTo>
                  <a:lnTo>
                    <a:pt x="283" y="110"/>
                  </a:lnTo>
                  <a:lnTo>
                    <a:pt x="283" y="109"/>
                  </a:lnTo>
                  <a:lnTo>
                    <a:pt x="283" y="110"/>
                  </a:lnTo>
                  <a:lnTo>
                    <a:pt x="284" y="110"/>
                  </a:lnTo>
                  <a:lnTo>
                    <a:pt x="287" y="110"/>
                  </a:lnTo>
                  <a:lnTo>
                    <a:pt x="289" y="110"/>
                  </a:lnTo>
                  <a:lnTo>
                    <a:pt x="291" y="110"/>
                  </a:lnTo>
                  <a:lnTo>
                    <a:pt x="291" y="109"/>
                  </a:lnTo>
                  <a:lnTo>
                    <a:pt x="289" y="109"/>
                  </a:lnTo>
                  <a:lnTo>
                    <a:pt x="287" y="109"/>
                  </a:lnTo>
                  <a:lnTo>
                    <a:pt x="289" y="109"/>
                  </a:lnTo>
                  <a:lnTo>
                    <a:pt x="289" y="107"/>
                  </a:lnTo>
                  <a:lnTo>
                    <a:pt x="291" y="107"/>
                  </a:lnTo>
                  <a:lnTo>
                    <a:pt x="291" y="109"/>
                  </a:lnTo>
                  <a:lnTo>
                    <a:pt x="292" y="109"/>
                  </a:lnTo>
                  <a:lnTo>
                    <a:pt x="292" y="107"/>
                  </a:lnTo>
                  <a:lnTo>
                    <a:pt x="292" y="109"/>
                  </a:lnTo>
                  <a:lnTo>
                    <a:pt x="292" y="107"/>
                  </a:lnTo>
                  <a:lnTo>
                    <a:pt x="294" y="107"/>
                  </a:lnTo>
                  <a:lnTo>
                    <a:pt x="294" y="109"/>
                  </a:lnTo>
                  <a:close/>
                  <a:moveTo>
                    <a:pt x="289" y="107"/>
                  </a:moveTo>
                  <a:lnTo>
                    <a:pt x="291" y="107"/>
                  </a:lnTo>
                  <a:lnTo>
                    <a:pt x="292" y="107"/>
                  </a:lnTo>
                  <a:lnTo>
                    <a:pt x="296" y="105"/>
                  </a:lnTo>
                  <a:lnTo>
                    <a:pt x="296" y="104"/>
                  </a:lnTo>
                  <a:lnTo>
                    <a:pt x="294" y="104"/>
                  </a:lnTo>
                  <a:lnTo>
                    <a:pt x="292" y="104"/>
                  </a:lnTo>
                  <a:lnTo>
                    <a:pt x="291" y="102"/>
                  </a:lnTo>
                  <a:lnTo>
                    <a:pt x="291" y="104"/>
                  </a:lnTo>
                  <a:lnTo>
                    <a:pt x="289" y="104"/>
                  </a:lnTo>
                  <a:lnTo>
                    <a:pt x="287" y="104"/>
                  </a:lnTo>
                  <a:lnTo>
                    <a:pt x="286" y="104"/>
                  </a:lnTo>
                  <a:lnTo>
                    <a:pt x="284" y="105"/>
                  </a:lnTo>
                  <a:lnTo>
                    <a:pt x="283" y="105"/>
                  </a:lnTo>
                  <a:lnTo>
                    <a:pt x="283" y="107"/>
                  </a:lnTo>
                  <a:lnTo>
                    <a:pt x="283" y="109"/>
                  </a:lnTo>
                  <a:lnTo>
                    <a:pt x="284" y="109"/>
                  </a:lnTo>
                  <a:lnTo>
                    <a:pt x="286" y="109"/>
                  </a:lnTo>
                  <a:lnTo>
                    <a:pt x="289" y="107"/>
                  </a:lnTo>
                  <a:close/>
                  <a:moveTo>
                    <a:pt x="274" y="31"/>
                  </a:moveTo>
                  <a:lnTo>
                    <a:pt x="274" y="29"/>
                  </a:lnTo>
                  <a:lnTo>
                    <a:pt x="274" y="31"/>
                  </a:lnTo>
                  <a:close/>
                  <a:moveTo>
                    <a:pt x="131" y="9"/>
                  </a:moveTo>
                  <a:lnTo>
                    <a:pt x="130" y="9"/>
                  </a:lnTo>
                  <a:lnTo>
                    <a:pt x="130" y="8"/>
                  </a:lnTo>
                  <a:lnTo>
                    <a:pt x="131" y="9"/>
                  </a:lnTo>
                  <a:close/>
                  <a:moveTo>
                    <a:pt x="139" y="3"/>
                  </a:moveTo>
                  <a:lnTo>
                    <a:pt x="139" y="5"/>
                  </a:lnTo>
                  <a:lnTo>
                    <a:pt x="139" y="6"/>
                  </a:lnTo>
                  <a:lnTo>
                    <a:pt x="138" y="5"/>
                  </a:lnTo>
                  <a:lnTo>
                    <a:pt x="138" y="6"/>
                  </a:lnTo>
                  <a:lnTo>
                    <a:pt x="136" y="6"/>
                  </a:lnTo>
                  <a:lnTo>
                    <a:pt x="135" y="6"/>
                  </a:lnTo>
                  <a:lnTo>
                    <a:pt x="133" y="6"/>
                  </a:lnTo>
                  <a:lnTo>
                    <a:pt x="135" y="5"/>
                  </a:lnTo>
                  <a:lnTo>
                    <a:pt x="136" y="5"/>
                  </a:lnTo>
                  <a:lnTo>
                    <a:pt x="138" y="5"/>
                  </a:lnTo>
                  <a:lnTo>
                    <a:pt x="138" y="3"/>
                  </a:lnTo>
                  <a:lnTo>
                    <a:pt x="139" y="3"/>
                  </a:lnTo>
                  <a:close/>
                  <a:moveTo>
                    <a:pt x="139" y="0"/>
                  </a:moveTo>
                  <a:lnTo>
                    <a:pt x="139" y="1"/>
                  </a:lnTo>
                  <a:lnTo>
                    <a:pt x="139" y="0"/>
                  </a:lnTo>
                  <a:close/>
                </a:path>
              </a:pathLst>
            </a:custGeom>
            <a:solidFill>
              <a:srgbClr val="E5E5E5"/>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1225" name="Freeform 71">
              <a:extLst>
                <a:ext uri="{FF2B5EF4-FFF2-40B4-BE49-F238E27FC236}">
                  <a16:creationId xmlns:a16="http://schemas.microsoft.com/office/drawing/2014/main" id="{48E72E0A-FF9D-EC97-A82B-FC95078ED4CF}"/>
                </a:ext>
              </a:extLst>
            </p:cNvPr>
            <p:cNvSpPr>
              <a:spLocks/>
            </p:cNvSpPr>
            <p:nvPr/>
          </p:nvSpPr>
          <p:spPr bwMode="auto">
            <a:xfrm>
              <a:off x="7140" y="5944"/>
              <a:ext cx="53" cy="34"/>
            </a:xfrm>
            <a:custGeom>
              <a:avLst/>
              <a:gdLst>
                <a:gd name="T0" fmla="*/ 0 w 53"/>
                <a:gd name="T1" fmla="*/ 34 h 34"/>
                <a:gd name="T2" fmla="*/ 0 w 53"/>
                <a:gd name="T3" fmla="*/ 34 h 34"/>
                <a:gd name="T4" fmla="*/ 1 w 53"/>
                <a:gd name="T5" fmla="*/ 32 h 34"/>
                <a:gd name="T6" fmla="*/ 3 w 53"/>
                <a:gd name="T7" fmla="*/ 31 h 34"/>
                <a:gd name="T8" fmla="*/ 6 w 53"/>
                <a:gd name="T9" fmla="*/ 29 h 34"/>
                <a:gd name="T10" fmla="*/ 6 w 53"/>
                <a:gd name="T11" fmla="*/ 29 h 34"/>
                <a:gd name="T12" fmla="*/ 8 w 53"/>
                <a:gd name="T13" fmla="*/ 27 h 34"/>
                <a:gd name="T14" fmla="*/ 8 w 53"/>
                <a:gd name="T15" fmla="*/ 26 h 34"/>
                <a:gd name="T16" fmla="*/ 10 w 53"/>
                <a:gd name="T17" fmla="*/ 26 h 34"/>
                <a:gd name="T18" fmla="*/ 10 w 53"/>
                <a:gd name="T19" fmla="*/ 26 h 34"/>
                <a:gd name="T20" fmla="*/ 10 w 53"/>
                <a:gd name="T21" fmla="*/ 26 h 34"/>
                <a:gd name="T22" fmla="*/ 16 w 53"/>
                <a:gd name="T23" fmla="*/ 21 h 34"/>
                <a:gd name="T24" fmla="*/ 21 w 53"/>
                <a:gd name="T25" fmla="*/ 14 h 34"/>
                <a:gd name="T26" fmla="*/ 24 w 53"/>
                <a:gd name="T27" fmla="*/ 11 h 34"/>
                <a:gd name="T28" fmla="*/ 27 w 53"/>
                <a:gd name="T29" fmla="*/ 8 h 34"/>
                <a:gd name="T30" fmla="*/ 27 w 53"/>
                <a:gd name="T31" fmla="*/ 6 h 34"/>
                <a:gd name="T32" fmla="*/ 29 w 53"/>
                <a:gd name="T33" fmla="*/ 3 h 34"/>
                <a:gd name="T34" fmla="*/ 31 w 53"/>
                <a:gd name="T35" fmla="*/ 0 h 34"/>
                <a:gd name="T36" fmla="*/ 34 w 53"/>
                <a:gd name="T37" fmla="*/ 3 h 34"/>
                <a:gd name="T38" fmla="*/ 36 w 53"/>
                <a:gd name="T39" fmla="*/ 3 h 34"/>
                <a:gd name="T40" fmla="*/ 40 w 53"/>
                <a:gd name="T41" fmla="*/ 13 h 34"/>
                <a:gd name="T42" fmla="*/ 53 w 53"/>
                <a:gd name="T43" fmla="*/ 32 h 34"/>
                <a:gd name="T44" fmla="*/ 0 w 53"/>
                <a:gd name="T45" fmla="*/ 3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3" h="34">
                  <a:moveTo>
                    <a:pt x="0" y="34"/>
                  </a:moveTo>
                  <a:lnTo>
                    <a:pt x="0" y="34"/>
                  </a:lnTo>
                  <a:lnTo>
                    <a:pt x="1" y="32"/>
                  </a:lnTo>
                  <a:lnTo>
                    <a:pt x="3" y="31"/>
                  </a:lnTo>
                  <a:lnTo>
                    <a:pt x="6" y="29"/>
                  </a:lnTo>
                  <a:lnTo>
                    <a:pt x="6" y="29"/>
                  </a:lnTo>
                  <a:lnTo>
                    <a:pt x="8" y="27"/>
                  </a:lnTo>
                  <a:lnTo>
                    <a:pt x="8" y="26"/>
                  </a:lnTo>
                  <a:lnTo>
                    <a:pt x="10" y="26"/>
                  </a:lnTo>
                  <a:lnTo>
                    <a:pt x="10" y="26"/>
                  </a:lnTo>
                  <a:lnTo>
                    <a:pt x="10" y="26"/>
                  </a:lnTo>
                  <a:lnTo>
                    <a:pt x="16" y="21"/>
                  </a:lnTo>
                  <a:lnTo>
                    <a:pt x="21" y="14"/>
                  </a:lnTo>
                  <a:lnTo>
                    <a:pt x="24" y="11"/>
                  </a:lnTo>
                  <a:lnTo>
                    <a:pt x="27" y="8"/>
                  </a:lnTo>
                  <a:lnTo>
                    <a:pt x="27" y="6"/>
                  </a:lnTo>
                  <a:lnTo>
                    <a:pt x="29" y="3"/>
                  </a:lnTo>
                  <a:lnTo>
                    <a:pt x="31" y="0"/>
                  </a:lnTo>
                  <a:lnTo>
                    <a:pt x="34" y="3"/>
                  </a:lnTo>
                  <a:lnTo>
                    <a:pt x="36" y="3"/>
                  </a:lnTo>
                  <a:lnTo>
                    <a:pt x="40" y="13"/>
                  </a:lnTo>
                  <a:lnTo>
                    <a:pt x="53" y="32"/>
                  </a:lnTo>
                  <a:lnTo>
                    <a:pt x="0" y="34"/>
                  </a:lnTo>
                  <a:close/>
                </a:path>
              </a:pathLst>
            </a:custGeom>
            <a:solidFill>
              <a:srgbClr val="E5E5E5"/>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1226" name="Freeform 72">
              <a:extLst>
                <a:ext uri="{FF2B5EF4-FFF2-40B4-BE49-F238E27FC236}">
                  <a16:creationId xmlns:a16="http://schemas.microsoft.com/office/drawing/2014/main" id="{133F654C-FB34-B6B1-E443-CDB32441B99F}"/>
                </a:ext>
              </a:extLst>
            </p:cNvPr>
            <p:cNvSpPr>
              <a:spLocks noEditPoints="1"/>
            </p:cNvSpPr>
            <p:nvPr/>
          </p:nvSpPr>
          <p:spPr bwMode="auto">
            <a:xfrm>
              <a:off x="1857" y="5579"/>
              <a:ext cx="955" cy="413"/>
            </a:xfrm>
            <a:custGeom>
              <a:avLst/>
              <a:gdLst>
                <a:gd name="T0" fmla="*/ 555 w 955"/>
                <a:gd name="T1" fmla="*/ 28 h 413"/>
                <a:gd name="T2" fmla="*/ 687 w 955"/>
                <a:gd name="T3" fmla="*/ 127 h 413"/>
                <a:gd name="T4" fmla="*/ 708 w 955"/>
                <a:gd name="T5" fmla="*/ 127 h 413"/>
                <a:gd name="T6" fmla="*/ 729 w 955"/>
                <a:gd name="T7" fmla="*/ 127 h 413"/>
                <a:gd name="T8" fmla="*/ 750 w 955"/>
                <a:gd name="T9" fmla="*/ 139 h 413"/>
                <a:gd name="T10" fmla="*/ 786 w 955"/>
                <a:gd name="T11" fmla="*/ 145 h 413"/>
                <a:gd name="T12" fmla="*/ 809 w 955"/>
                <a:gd name="T13" fmla="*/ 139 h 413"/>
                <a:gd name="T14" fmla="*/ 825 w 955"/>
                <a:gd name="T15" fmla="*/ 122 h 413"/>
                <a:gd name="T16" fmla="*/ 825 w 955"/>
                <a:gd name="T17" fmla="*/ 144 h 413"/>
                <a:gd name="T18" fmla="*/ 823 w 955"/>
                <a:gd name="T19" fmla="*/ 150 h 413"/>
                <a:gd name="T20" fmla="*/ 833 w 955"/>
                <a:gd name="T21" fmla="*/ 170 h 413"/>
                <a:gd name="T22" fmla="*/ 836 w 955"/>
                <a:gd name="T23" fmla="*/ 161 h 413"/>
                <a:gd name="T24" fmla="*/ 854 w 955"/>
                <a:gd name="T25" fmla="*/ 176 h 413"/>
                <a:gd name="T26" fmla="*/ 880 w 955"/>
                <a:gd name="T27" fmla="*/ 173 h 413"/>
                <a:gd name="T28" fmla="*/ 905 w 955"/>
                <a:gd name="T29" fmla="*/ 191 h 413"/>
                <a:gd name="T30" fmla="*/ 922 w 955"/>
                <a:gd name="T31" fmla="*/ 210 h 413"/>
                <a:gd name="T32" fmla="*/ 947 w 955"/>
                <a:gd name="T33" fmla="*/ 236 h 413"/>
                <a:gd name="T34" fmla="*/ 944 w 955"/>
                <a:gd name="T35" fmla="*/ 262 h 413"/>
                <a:gd name="T36" fmla="*/ 953 w 955"/>
                <a:gd name="T37" fmla="*/ 332 h 413"/>
                <a:gd name="T38" fmla="*/ 944 w 955"/>
                <a:gd name="T39" fmla="*/ 392 h 413"/>
                <a:gd name="T40" fmla="*/ 2 w 955"/>
                <a:gd name="T41" fmla="*/ 409 h 413"/>
                <a:gd name="T42" fmla="*/ 0 w 955"/>
                <a:gd name="T43" fmla="*/ 392 h 413"/>
                <a:gd name="T44" fmla="*/ 7 w 955"/>
                <a:gd name="T45" fmla="*/ 366 h 413"/>
                <a:gd name="T46" fmla="*/ 43 w 955"/>
                <a:gd name="T47" fmla="*/ 347 h 413"/>
                <a:gd name="T48" fmla="*/ 67 w 955"/>
                <a:gd name="T49" fmla="*/ 332 h 413"/>
                <a:gd name="T50" fmla="*/ 87 w 955"/>
                <a:gd name="T51" fmla="*/ 318 h 413"/>
                <a:gd name="T52" fmla="*/ 98 w 955"/>
                <a:gd name="T53" fmla="*/ 308 h 413"/>
                <a:gd name="T54" fmla="*/ 103 w 955"/>
                <a:gd name="T55" fmla="*/ 305 h 413"/>
                <a:gd name="T56" fmla="*/ 113 w 955"/>
                <a:gd name="T57" fmla="*/ 292 h 413"/>
                <a:gd name="T58" fmla="*/ 140 w 955"/>
                <a:gd name="T59" fmla="*/ 288 h 413"/>
                <a:gd name="T60" fmla="*/ 161 w 955"/>
                <a:gd name="T61" fmla="*/ 280 h 413"/>
                <a:gd name="T62" fmla="*/ 191 w 955"/>
                <a:gd name="T63" fmla="*/ 275 h 413"/>
                <a:gd name="T64" fmla="*/ 213 w 955"/>
                <a:gd name="T65" fmla="*/ 272 h 413"/>
                <a:gd name="T66" fmla="*/ 238 w 955"/>
                <a:gd name="T67" fmla="*/ 265 h 413"/>
                <a:gd name="T68" fmla="*/ 259 w 955"/>
                <a:gd name="T69" fmla="*/ 261 h 413"/>
                <a:gd name="T70" fmla="*/ 272 w 955"/>
                <a:gd name="T71" fmla="*/ 257 h 413"/>
                <a:gd name="T72" fmla="*/ 293 w 955"/>
                <a:gd name="T73" fmla="*/ 249 h 413"/>
                <a:gd name="T74" fmla="*/ 308 w 955"/>
                <a:gd name="T75" fmla="*/ 244 h 413"/>
                <a:gd name="T76" fmla="*/ 326 w 955"/>
                <a:gd name="T77" fmla="*/ 236 h 413"/>
                <a:gd name="T78" fmla="*/ 342 w 955"/>
                <a:gd name="T79" fmla="*/ 223 h 413"/>
                <a:gd name="T80" fmla="*/ 365 w 955"/>
                <a:gd name="T81" fmla="*/ 200 h 413"/>
                <a:gd name="T82" fmla="*/ 379 w 955"/>
                <a:gd name="T83" fmla="*/ 196 h 413"/>
                <a:gd name="T84" fmla="*/ 389 w 955"/>
                <a:gd name="T85" fmla="*/ 191 h 413"/>
                <a:gd name="T86" fmla="*/ 374 w 955"/>
                <a:gd name="T87" fmla="*/ 202 h 413"/>
                <a:gd name="T88" fmla="*/ 371 w 955"/>
                <a:gd name="T89" fmla="*/ 192 h 413"/>
                <a:gd name="T90" fmla="*/ 423 w 955"/>
                <a:gd name="T91" fmla="*/ 126 h 413"/>
                <a:gd name="T92" fmla="*/ 423 w 955"/>
                <a:gd name="T93" fmla="*/ 126 h 413"/>
                <a:gd name="T94" fmla="*/ 444 w 955"/>
                <a:gd name="T95" fmla="*/ 87 h 413"/>
                <a:gd name="T96" fmla="*/ 459 w 955"/>
                <a:gd name="T97" fmla="*/ 64 h 413"/>
                <a:gd name="T98" fmla="*/ 477 w 955"/>
                <a:gd name="T99" fmla="*/ 35 h 413"/>
                <a:gd name="T100" fmla="*/ 483 w 955"/>
                <a:gd name="T101" fmla="*/ 20 h 413"/>
                <a:gd name="T102" fmla="*/ 503 w 955"/>
                <a:gd name="T103" fmla="*/ 9 h 413"/>
                <a:gd name="T104" fmla="*/ 516 w 955"/>
                <a:gd name="T105" fmla="*/ 5 h 413"/>
                <a:gd name="T106" fmla="*/ 537 w 955"/>
                <a:gd name="T107" fmla="*/ 5 h 413"/>
                <a:gd name="T108" fmla="*/ 555 w 955"/>
                <a:gd name="T109" fmla="*/ 4 h 413"/>
                <a:gd name="T110" fmla="*/ 555 w 955"/>
                <a:gd name="T111" fmla="*/ 30 h 413"/>
                <a:gd name="T112" fmla="*/ 561 w 955"/>
                <a:gd name="T113" fmla="*/ 54 h 413"/>
                <a:gd name="T114" fmla="*/ 578 w 955"/>
                <a:gd name="T115" fmla="*/ 77 h 413"/>
                <a:gd name="T116" fmla="*/ 602 w 955"/>
                <a:gd name="T117" fmla="*/ 103 h 413"/>
                <a:gd name="T118" fmla="*/ 628 w 955"/>
                <a:gd name="T119" fmla="*/ 121 h 413"/>
                <a:gd name="T120" fmla="*/ 656 w 955"/>
                <a:gd name="T121" fmla="*/ 132 h 4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955" h="413">
                  <a:moveTo>
                    <a:pt x="291" y="251"/>
                  </a:moveTo>
                  <a:lnTo>
                    <a:pt x="290" y="249"/>
                  </a:lnTo>
                  <a:lnTo>
                    <a:pt x="291" y="249"/>
                  </a:lnTo>
                  <a:lnTo>
                    <a:pt x="291" y="251"/>
                  </a:lnTo>
                  <a:close/>
                  <a:moveTo>
                    <a:pt x="298" y="249"/>
                  </a:moveTo>
                  <a:lnTo>
                    <a:pt x="296" y="249"/>
                  </a:lnTo>
                  <a:lnTo>
                    <a:pt x="298" y="249"/>
                  </a:lnTo>
                  <a:close/>
                  <a:moveTo>
                    <a:pt x="656" y="132"/>
                  </a:moveTo>
                  <a:lnTo>
                    <a:pt x="656" y="130"/>
                  </a:lnTo>
                  <a:lnTo>
                    <a:pt x="656" y="132"/>
                  </a:lnTo>
                  <a:close/>
                  <a:moveTo>
                    <a:pt x="425" y="127"/>
                  </a:moveTo>
                  <a:lnTo>
                    <a:pt x="425" y="126"/>
                  </a:lnTo>
                  <a:lnTo>
                    <a:pt x="425" y="127"/>
                  </a:lnTo>
                  <a:close/>
                  <a:moveTo>
                    <a:pt x="599" y="100"/>
                  </a:moveTo>
                  <a:lnTo>
                    <a:pt x="599" y="98"/>
                  </a:lnTo>
                  <a:lnTo>
                    <a:pt x="600" y="98"/>
                  </a:lnTo>
                  <a:lnTo>
                    <a:pt x="600" y="100"/>
                  </a:lnTo>
                  <a:lnTo>
                    <a:pt x="599" y="100"/>
                  </a:lnTo>
                  <a:close/>
                  <a:moveTo>
                    <a:pt x="555" y="28"/>
                  </a:moveTo>
                  <a:lnTo>
                    <a:pt x="557" y="26"/>
                  </a:lnTo>
                  <a:lnTo>
                    <a:pt x="557" y="28"/>
                  </a:lnTo>
                  <a:lnTo>
                    <a:pt x="555" y="28"/>
                  </a:lnTo>
                  <a:close/>
                  <a:moveTo>
                    <a:pt x="550" y="0"/>
                  </a:moveTo>
                  <a:lnTo>
                    <a:pt x="552" y="0"/>
                  </a:lnTo>
                  <a:lnTo>
                    <a:pt x="550" y="0"/>
                  </a:lnTo>
                  <a:close/>
                  <a:moveTo>
                    <a:pt x="670" y="129"/>
                  </a:moveTo>
                  <a:lnTo>
                    <a:pt x="672" y="130"/>
                  </a:lnTo>
                  <a:lnTo>
                    <a:pt x="672" y="129"/>
                  </a:lnTo>
                  <a:lnTo>
                    <a:pt x="674" y="129"/>
                  </a:lnTo>
                  <a:lnTo>
                    <a:pt x="675" y="129"/>
                  </a:lnTo>
                  <a:lnTo>
                    <a:pt x="677" y="129"/>
                  </a:lnTo>
                  <a:lnTo>
                    <a:pt x="679" y="129"/>
                  </a:lnTo>
                  <a:lnTo>
                    <a:pt x="680" y="129"/>
                  </a:lnTo>
                  <a:lnTo>
                    <a:pt x="682" y="129"/>
                  </a:lnTo>
                  <a:lnTo>
                    <a:pt x="683" y="129"/>
                  </a:lnTo>
                  <a:lnTo>
                    <a:pt x="685" y="129"/>
                  </a:lnTo>
                  <a:lnTo>
                    <a:pt x="687" y="129"/>
                  </a:lnTo>
                  <a:lnTo>
                    <a:pt x="687" y="127"/>
                  </a:lnTo>
                  <a:lnTo>
                    <a:pt x="688" y="127"/>
                  </a:lnTo>
                  <a:lnTo>
                    <a:pt x="690" y="127"/>
                  </a:lnTo>
                  <a:lnTo>
                    <a:pt x="692" y="127"/>
                  </a:lnTo>
                  <a:lnTo>
                    <a:pt x="693" y="127"/>
                  </a:lnTo>
                  <a:lnTo>
                    <a:pt x="693" y="126"/>
                  </a:lnTo>
                  <a:lnTo>
                    <a:pt x="695" y="127"/>
                  </a:lnTo>
                  <a:lnTo>
                    <a:pt x="696" y="127"/>
                  </a:lnTo>
                  <a:lnTo>
                    <a:pt x="698" y="127"/>
                  </a:lnTo>
                  <a:lnTo>
                    <a:pt x="700" y="127"/>
                  </a:lnTo>
                  <a:lnTo>
                    <a:pt x="701" y="127"/>
                  </a:lnTo>
                  <a:lnTo>
                    <a:pt x="703" y="127"/>
                  </a:lnTo>
                  <a:lnTo>
                    <a:pt x="705" y="126"/>
                  </a:lnTo>
                  <a:lnTo>
                    <a:pt x="706" y="126"/>
                  </a:lnTo>
                  <a:lnTo>
                    <a:pt x="708" y="126"/>
                  </a:lnTo>
                  <a:lnTo>
                    <a:pt x="709" y="126"/>
                  </a:lnTo>
                  <a:lnTo>
                    <a:pt x="709" y="127"/>
                  </a:lnTo>
                  <a:lnTo>
                    <a:pt x="708" y="127"/>
                  </a:lnTo>
                  <a:lnTo>
                    <a:pt x="709" y="127"/>
                  </a:lnTo>
                  <a:lnTo>
                    <a:pt x="708" y="127"/>
                  </a:lnTo>
                  <a:lnTo>
                    <a:pt x="708" y="129"/>
                  </a:lnTo>
                  <a:lnTo>
                    <a:pt x="708" y="130"/>
                  </a:lnTo>
                  <a:lnTo>
                    <a:pt x="709" y="130"/>
                  </a:lnTo>
                  <a:lnTo>
                    <a:pt x="708" y="132"/>
                  </a:lnTo>
                  <a:lnTo>
                    <a:pt x="709" y="132"/>
                  </a:lnTo>
                  <a:lnTo>
                    <a:pt x="709" y="134"/>
                  </a:lnTo>
                  <a:lnTo>
                    <a:pt x="713" y="134"/>
                  </a:lnTo>
                  <a:lnTo>
                    <a:pt x="714" y="135"/>
                  </a:lnTo>
                  <a:lnTo>
                    <a:pt x="716" y="135"/>
                  </a:lnTo>
                  <a:lnTo>
                    <a:pt x="716" y="137"/>
                  </a:lnTo>
                  <a:lnTo>
                    <a:pt x="718" y="137"/>
                  </a:lnTo>
                  <a:lnTo>
                    <a:pt x="719" y="137"/>
                  </a:lnTo>
                  <a:lnTo>
                    <a:pt x="721" y="135"/>
                  </a:lnTo>
                  <a:lnTo>
                    <a:pt x="724" y="135"/>
                  </a:lnTo>
                  <a:lnTo>
                    <a:pt x="726" y="134"/>
                  </a:lnTo>
                  <a:lnTo>
                    <a:pt x="726" y="132"/>
                  </a:lnTo>
                  <a:lnTo>
                    <a:pt x="727" y="130"/>
                  </a:lnTo>
                  <a:lnTo>
                    <a:pt x="727" y="129"/>
                  </a:lnTo>
                  <a:lnTo>
                    <a:pt x="729" y="127"/>
                  </a:lnTo>
                  <a:lnTo>
                    <a:pt x="731" y="127"/>
                  </a:lnTo>
                  <a:lnTo>
                    <a:pt x="732" y="126"/>
                  </a:lnTo>
                  <a:lnTo>
                    <a:pt x="732" y="127"/>
                  </a:lnTo>
                  <a:lnTo>
                    <a:pt x="734" y="127"/>
                  </a:lnTo>
                  <a:lnTo>
                    <a:pt x="734" y="126"/>
                  </a:lnTo>
                  <a:lnTo>
                    <a:pt x="737" y="127"/>
                  </a:lnTo>
                  <a:lnTo>
                    <a:pt x="737" y="129"/>
                  </a:lnTo>
                  <a:lnTo>
                    <a:pt x="739" y="130"/>
                  </a:lnTo>
                  <a:lnTo>
                    <a:pt x="740" y="130"/>
                  </a:lnTo>
                  <a:lnTo>
                    <a:pt x="740" y="132"/>
                  </a:lnTo>
                  <a:lnTo>
                    <a:pt x="742" y="132"/>
                  </a:lnTo>
                  <a:lnTo>
                    <a:pt x="742" y="134"/>
                  </a:lnTo>
                  <a:lnTo>
                    <a:pt x="744" y="134"/>
                  </a:lnTo>
                  <a:lnTo>
                    <a:pt x="744" y="135"/>
                  </a:lnTo>
                  <a:lnTo>
                    <a:pt x="745" y="135"/>
                  </a:lnTo>
                  <a:lnTo>
                    <a:pt x="747" y="137"/>
                  </a:lnTo>
                  <a:lnTo>
                    <a:pt x="747" y="139"/>
                  </a:lnTo>
                  <a:lnTo>
                    <a:pt x="748" y="139"/>
                  </a:lnTo>
                  <a:lnTo>
                    <a:pt x="750" y="139"/>
                  </a:lnTo>
                  <a:lnTo>
                    <a:pt x="752" y="140"/>
                  </a:lnTo>
                  <a:lnTo>
                    <a:pt x="755" y="142"/>
                  </a:lnTo>
                  <a:lnTo>
                    <a:pt x="758" y="144"/>
                  </a:lnTo>
                  <a:lnTo>
                    <a:pt x="760" y="144"/>
                  </a:lnTo>
                  <a:lnTo>
                    <a:pt x="761" y="144"/>
                  </a:lnTo>
                  <a:lnTo>
                    <a:pt x="763" y="144"/>
                  </a:lnTo>
                  <a:lnTo>
                    <a:pt x="763" y="145"/>
                  </a:lnTo>
                  <a:lnTo>
                    <a:pt x="765" y="145"/>
                  </a:lnTo>
                  <a:lnTo>
                    <a:pt x="768" y="147"/>
                  </a:lnTo>
                  <a:lnTo>
                    <a:pt x="770" y="147"/>
                  </a:lnTo>
                  <a:lnTo>
                    <a:pt x="771" y="147"/>
                  </a:lnTo>
                  <a:lnTo>
                    <a:pt x="774" y="148"/>
                  </a:lnTo>
                  <a:lnTo>
                    <a:pt x="776" y="148"/>
                  </a:lnTo>
                  <a:lnTo>
                    <a:pt x="778" y="147"/>
                  </a:lnTo>
                  <a:lnTo>
                    <a:pt x="779" y="147"/>
                  </a:lnTo>
                  <a:lnTo>
                    <a:pt x="781" y="147"/>
                  </a:lnTo>
                  <a:lnTo>
                    <a:pt x="783" y="147"/>
                  </a:lnTo>
                  <a:lnTo>
                    <a:pt x="784" y="147"/>
                  </a:lnTo>
                  <a:lnTo>
                    <a:pt x="786" y="145"/>
                  </a:lnTo>
                  <a:lnTo>
                    <a:pt x="788" y="145"/>
                  </a:lnTo>
                  <a:lnTo>
                    <a:pt x="789" y="145"/>
                  </a:lnTo>
                  <a:lnTo>
                    <a:pt x="791" y="145"/>
                  </a:lnTo>
                  <a:lnTo>
                    <a:pt x="792" y="145"/>
                  </a:lnTo>
                  <a:lnTo>
                    <a:pt x="792" y="147"/>
                  </a:lnTo>
                  <a:lnTo>
                    <a:pt x="792" y="145"/>
                  </a:lnTo>
                  <a:lnTo>
                    <a:pt x="794" y="145"/>
                  </a:lnTo>
                  <a:lnTo>
                    <a:pt x="796" y="145"/>
                  </a:lnTo>
                  <a:lnTo>
                    <a:pt x="796" y="144"/>
                  </a:lnTo>
                  <a:lnTo>
                    <a:pt x="797" y="144"/>
                  </a:lnTo>
                  <a:lnTo>
                    <a:pt x="799" y="142"/>
                  </a:lnTo>
                  <a:lnTo>
                    <a:pt x="799" y="140"/>
                  </a:lnTo>
                  <a:lnTo>
                    <a:pt x="801" y="139"/>
                  </a:lnTo>
                  <a:lnTo>
                    <a:pt x="802" y="139"/>
                  </a:lnTo>
                  <a:lnTo>
                    <a:pt x="802" y="140"/>
                  </a:lnTo>
                  <a:lnTo>
                    <a:pt x="804" y="140"/>
                  </a:lnTo>
                  <a:lnTo>
                    <a:pt x="805" y="140"/>
                  </a:lnTo>
                  <a:lnTo>
                    <a:pt x="807" y="140"/>
                  </a:lnTo>
                  <a:lnTo>
                    <a:pt x="809" y="139"/>
                  </a:lnTo>
                  <a:lnTo>
                    <a:pt x="810" y="137"/>
                  </a:lnTo>
                  <a:lnTo>
                    <a:pt x="812" y="135"/>
                  </a:lnTo>
                  <a:lnTo>
                    <a:pt x="812" y="134"/>
                  </a:lnTo>
                  <a:lnTo>
                    <a:pt x="814" y="134"/>
                  </a:lnTo>
                  <a:lnTo>
                    <a:pt x="815" y="130"/>
                  </a:lnTo>
                  <a:lnTo>
                    <a:pt x="817" y="129"/>
                  </a:lnTo>
                  <a:lnTo>
                    <a:pt x="817" y="127"/>
                  </a:lnTo>
                  <a:lnTo>
                    <a:pt x="817" y="126"/>
                  </a:lnTo>
                  <a:lnTo>
                    <a:pt x="818" y="126"/>
                  </a:lnTo>
                  <a:lnTo>
                    <a:pt x="817" y="126"/>
                  </a:lnTo>
                  <a:lnTo>
                    <a:pt x="818" y="126"/>
                  </a:lnTo>
                  <a:lnTo>
                    <a:pt x="818" y="124"/>
                  </a:lnTo>
                  <a:lnTo>
                    <a:pt x="820" y="124"/>
                  </a:lnTo>
                  <a:lnTo>
                    <a:pt x="820" y="122"/>
                  </a:lnTo>
                  <a:lnTo>
                    <a:pt x="820" y="121"/>
                  </a:lnTo>
                  <a:lnTo>
                    <a:pt x="822" y="121"/>
                  </a:lnTo>
                  <a:lnTo>
                    <a:pt x="823" y="121"/>
                  </a:lnTo>
                  <a:lnTo>
                    <a:pt x="825" y="121"/>
                  </a:lnTo>
                  <a:lnTo>
                    <a:pt x="825" y="122"/>
                  </a:lnTo>
                  <a:lnTo>
                    <a:pt x="823" y="124"/>
                  </a:lnTo>
                  <a:lnTo>
                    <a:pt x="823" y="126"/>
                  </a:lnTo>
                  <a:lnTo>
                    <a:pt x="825" y="126"/>
                  </a:lnTo>
                  <a:lnTo>
                    <a:pt x="823" y="127"/>
                  </a:lnTo>
                  <a:lnTo>
                    <a:pt x="823" y="129"/>
                  </a:lnTo>
                  <a:lnTo>
                    <a:pt x="822" y="129"/>
                  </a:lnTo>
                  <a:lnTo>
                    <a:pt x="822" y="130"/>
                  </a:lnTo>
                  <a:lnTo>
                    <a:pt x="822" y="132"/>
                  </a:lnTo>
                  <a:lnTo>
                    <a:pt x="823" y="134"/>
                  </a:lnTo>
                  <a:lnTo>
                    <a:pt x="822" y="134"/>
                  </a:lnTo>
                  <a:lnTo>
                    <a:pt x="822" y="135"/>
                  </a:lnTo>
                  <a:lnTo>
                    <a:pt x="820" y="137"/>
                  </a:lnTo>
                  <a:lnTo>
                    <a:pt x="820" y="139"/>
                  </a:lnTo>
                  <a:lnTo>
                    <a:pt x="820" y="140"/>
                  </a:lnTo>
                  <a:lnTo>
                    <a:pt x="822" y="142"/>
                  </a:lnTo>
                  <a:lnTo>
                    <a:pt x="823" y="144"/>
                  </a:lnTo>
                  <a:lnTo>
                    <a:pt x="825" y="144"/>
                  </a:lnTo>
                  <a:lnTo>
                    <a:pt x="825" y="145"/>
                  </a:lnTo>
                  <a:lnTo>
                    <a:pt x="825" y="144"/>
                  </a:lnTo>
                  <a:lnTo>
                    <a:pt x="827" y="145"/>
                  </a:lnTo>
                  <a:lnTo>
                    <a:pt x="825" y="144"/>
                  </a:lnTo>
                  <a:lnTo>
                    <a:pt x="827" y="144"/>
                  </a:lnTo>
                  <a:lnTo>
                    <a:pt x="825" y="145"/>
                  </a:lnTo>
                  <a:lnTo>
                    <a:pt x="825" y="147"/>
                  </a:lnTo>
                  <a:lnTo>
                    <a:pt x="830" y="152"/>
                  </a:lnTo>
                  <a:lnTo>
                    <a:pt x="833" y="157"/>
                  </a:lnTo>
                  <a:lnTo>
                    <a:pt x="831" y="157"/>
                  </a:lnTo>
                  <a:lnTo>
                    <a:pt x="831" y="155"/>
                  </a:lnTo>
                  <a:lnTo>
                    <a:pt x="830" y="155"/>
                  </a:lnTo>
                  <a:lnTo>
                    <a:pt x="830" y="153"/>
                  </a:lnTo>
                  <a:lnTo>
                    <a:pt x="828" y="150"/>
                  </a:lnTo>
                  <a:lnTo>
                    <a:pt x="827" y="150"/>
                  </a:lnTo>
                  <a:lnTo>
                    <a:pt x="827" y="148"/>
                  </a:lnTo>
                  <a:lnTo>
                    <a:pt x="825" y="148"/>
                  </a:lnTo>
                  <a:lnTo>
                    <a:pt x="825" y="147"/>
                  </a:lnTo>
                  <a:lnTo>
                    <a:pt x="823" y="147"/>
                  </a:lnTo>
                  <a:lnTo>
                    <a:pt x="823" y="148"/>
                  </a:lnTo>
                  <a:lnTo>
                    <a:pt x="823" y="150"/>
                  </a:lnTo>
                  <a:lnTo>
                    <a:pt x="825" y="152"/>
                  </a:lnTo>
                  <a:lnTo>
                    <a:pt x="825" y="153"/>
                  </a:lnTo>
                  <a:lnTo>
                    <a:pt x="825" y="152"/>
                  </a:lnTo>
                  <a:lnTo>
                    <a:pt x="827" y="153"/>
                  </a:lnTo>
                  <a:lnTo>
                    <a:pt x="827" y="155"/>
                  </a:lnTo>
                  <a:lnTo>
                    <a:pt x="825" y="153"/>
                  </a:lnTo>
                  <a:lnTo>
                    <a:pt x="825" y="155"/>
                  </a:lnTo>
                  <a:lnTo>
                    <a:pt x="823" y="155"/>
                  </a:lnTo>
                  <a:lnTo>
                    <a:pt x="823" y="157"/>
                  </a:lnTo>
                  <a:lnTo>
                    <a:pt x="823" y="158"/>
                  </a:lnTo>
                  <a:lnTo>
                    <a:pt x="825" y="160"/>
                  </a:lnTo>
                  <a:lnTo>
                    <a:pt x="825" y="161"/>
                  </a:lnTo>
                  <a:lnTo>
                    <a:pt x="825" y="163"/>
                  </a:lnTo>
                  <a:lnTo>
                    <a:pt x="828" y="165"/>
                  </a:lnTo>
                  <a:lnTo>
                    <a:pt x="828" y="166"/>
                  </a:lnTo>
                  <a:lnTo>
                    <a:pt x="830" y="166"/>
                  </a:lnTo>
                  <a:lnTo>
                    <a:pt x="830" y="168"/>
                  </a:lnTo>
                  <a:lnTo>
                    <a:pt x="831" y="168"/>
                  </a:lnTo>
                  <a:lnTo>
                    <a:pt x="833" y="170"/>
                  </a:lnTo>
                  <a:lnTo>
                    <a:pt x="835" y="170"/>
                  </a:lnTo>
                  <a:lnTo>
                    <a:pt x="835" y="171"/>
                  </a:lnTo>
                  <a:lnTo>
                    <a:pt x="836" y="171"/>
                  </a:lnTo>
                  <a:lnTo>
                    <a:pt x="838" y="171"/>
                  </a:lnTo>
                  <a:lnTo>
                    <a:pt x="840" y="171"/>
                  </a:lnTo>
                  <a:lnTo>
                    <a:pt x="841" y="173"/>
                  </a:lnTo>
                  <a:lnTo>
                    <a:pt x="843" y="171"/>
                  </a:lnTo>
                  <a:lnTo>
                    <a:pt x="843" y="170"/>
                  </a:lnTo>
                  <a:lnTo>
                    <a:pt x="841" y="170"/>
                  </a:lnTo>
                  <a:lnTo>
                    <a:pt x="841" y="168"/>
                  </a:lnTo>
                  <a:lnTo>
                    <a:pt x="841" y="170"/>
                  </a:lnTo>
                  <a:lnTo>
                    <a:pt x="841" y="168"/>
                  </a:lnTo>
                  <a:lnTo>
                    <a:pt x="840" y="168"/>
                  </a:lnTo>
                  <a:lnTo>
                    <a:pt x="840" y="166"/>
                  </a:lnTo>
                  <a:lnTo>
                    <a:pt x="838" y="166"/>
                  </a:lnTo>
                  <a:lnTo>
                    <a:pt x="838" y="165"/>
                  </a:lnTo>
                  <a:lnTo>
                    <a:pt x="838" y="163"/>
                  </a:lnTo>
                  <a:lnTo>
                    <a:pt x="836" y="163"/>
                  </a:lnTo>
                  <a:lnTo>
                    <a:pt x="836" y="161"/>
                  </a:lnTo>
                  <a:lnTo>
                    <a:pt x="835" y="160"/>
                  </a:lnTo>
                  <a:lnTo>
                    <a:pt x="833" y="158"/>
                  </a:lnTo>
                  <a:lnTo>
                    <a:pt x="833" y="157"/>
                  </a:lnTo>
                  <a:lnTo>
                    <a:pt x="833" y="158"/>
                  </a:lnTo>
                  <a:lnTo>
                    <a:pt x="835" y="160"/>
                  </a:lnTo>
                  <a:lnTo>
                    <a:pt x="836" y="161"/>
                  </a:lnTo>
                  <a:lnTo>
                    <a:pt x="838" y="163"/>
                  </a:lnTo>
                  <a:lnTo>
                    <a:pt x="840" y="165"/>
                  </a:lnTo>
                  <a:lnTo>
                    <a:pt x="841" y="166"/>
                  </a:lnTo>
                  <a:lnTo>
                    <a:pt x="843" y="170"/>
                  </a:lnTo>
                  <a:lnTo>
                    <a:pt x="844" y="170"/>
                  </a:lnTo>
                  <a:lnTo>
                    <a:pt x="846" y="170"/>
                  </a:lnTo>
                  <a:lnTo>
                    <a:pt x="846" y="171"/>
                  </a:lnTo>
                  <a:lnTo>
                    <a:pt x="848" y="171"/>
                  </a:lnTo>
                  <a:lnTo>
                    <a:pt x="848" y="173"/>
                  </a:lnTo>
                  <a:lnTo>
                    <a:pt x="849" y="173"/>
                  </a:lnTo>
                  <a:lnTo>
                    <a:pt x="851" y="174"/>
                  </a:lnTo>
                  <a:lnTo>
                    <a:pt x="853" y="174"/>
                  </a:lnTo>
                  <a:lnTo>
                    <a:pt x="854" y="176"/>
                  </a:lnTo>
                  <a:lnTo>
                    <a:pt x="856" y="176"/>
                  </a:lnTo>
                  <a:lnTo>
                    <a:pt x="857" y="176"/>
                  </a:lnTo>
                  <a:lnTo>
                    <a:pt x="859" y="178"/>
                  </a:lnTo>
                  <a:lnTo>
                    <a:pt x="859" y="176"/>
                  </a:lnTo>
                  <a:lnTo>
                    <a:pt x="861" y="178"/>
                  </a:lnTo>
                  <a:lnTo>
                    <a:pt x="862" y="178"/>
                  </a:lnTo>
                  <a:lnTo>
                    <a:pt x="864" y="178"/>
                  </a:lnTo>
                  <a:lnTo>
                    <a:pt x="866" y="178"/>
                  </a:lnTo>
                  <a:lnTo>
                    <a:pt x="867" y="178"/>
                  </a:lnTo>
                  <a:lnTo>
                    <a:pt x="869" y="178"/>
                  </a:lnTo>
                  <a:lnTo>
                    <a:pt x="870" y="178"/>
                  </a:lnTo>
                  <a:lnTo>
                    <a:pt x="872" y="178"/>
                  </a:lnTo>
                  <a:lnTo>
                    <a:pt x="872" y="176"/>
                  </a:lnTo>
                  <a:lnTo>
                    <a:pt x="874" y="176"/>
                  </a:lnTo>
                  <a:lnTo>
                    <a:pt x="875" y="176"/>
                  </a:lnTo>
                  <a:lnTo>
                    <a:pt x="875" y="174"/>
                  </a:lnTo>
                  <a:lnTo>
                    <a:pt x="877" y="174"/>
                  </a:lnTo>
                  <a:lnTo>
                    <a:pt x="879" y="174"/>
                  </a:lnTo>
                  <a:lnTo>
                    <a:pt x="880" y="173"/>
                  </a:lnTo>
                  <a:lnTo>
                    <a:pt x="880" y="171"/>
                  </a:lnTo>
                  <a:lnTo>
                    <a:pt x="882" y="171"/>
                  </a:lnTo>
                  <a:lnTo>
                    <a:pt x="882" y="173"/>
                  </a:lnTo>
                  <a:lnTo>
                    <a:pt x="887" y="176"/>
                  </a:lnTo>
                  <a:lnTo>
                    <a:pt x="890" y="176"/>
                  </a:lnTo>
                  <a:lnTo>
                    <a:pt x="892" y="178"/>
                  </a:lnTo>
                  <a:lnTo>
                    <a:pt x="895" y="179"/>
                  </a:lnTo>
                  <a:lnTo>
                    <a:pt x="898" y="181"/>
                  </a:lnTo>
                  <a:lnTo>
                    <a:pt x="901" y="183"/>
                  </a:lnTo>
                  <a:lnTo>
                    <a:pt x="903" y="184"/>
                  </a:lnTo>
                  <a:lnTo>
                    <a:pt x="905" y="184"/>
                  </a:lnTo>
                  <a:lnTo>
                    <a:pt x="905" y="186"/>
                  </a:lnTo>
                  <a:lnTo>
                    <a:pt x="905" y="187"/>
                  </a:lnTo>
                  <a:lnTo>
                    <a:pt x="905" y="189"/>
                  </a:lnTo>
                  <a:lnTo>
                    <a:pt x="903" y="189"/>
                  </a:lnTo>
                  <a:lnTo>
                    <a:pt x="903" y="191"/>
                  </a:lnTo>
                  <a:lnTo>
                    <a:pt x="903" y="189"/>
                  </a:lnTo>
                  <a:lnTo>
                    <a:pt x="903" y="191"/>
                  </a:lnTo>
                  <a:lnTo>
                    <a:pt x="905" y="191"/>
                  </a:lnTo>
                  <a:lnTo>
                    <a:pt x="905" y="192"/>
                  </a:lnTo>
                  <a:lnTo>
                    <a:pt x="906" y="192"/>
                  </a:lnTo>
                  <a:lnTo>
                    <a:pt x="906" y="194"/>
                  </a:lnTo>
                  <a:lnTo>
                    <a:pt x="906" y="196"/>
                  </a:lnTo>
                  <a:lnTo>
                    <a:pt x="908" y="196"/>
                  </a:lnTo>
                  <a:lnTo>
                    <a:pt x="908" y="197"/>
                  </a:lnTo>
                  <a:lnTo>
                    <a:pt x="909" y="196"/>
                  </a:lnTo>
                  <a:lnTo>
                    <a:pt x="909" y="197"/>
                  </a:lnTo>
                  <a:lnTo>
                    <a:pt x="911" y="197"/>
                  </a:lnTo>
                  <a:lnTo>
                    <a:pt x="913" y="199"/>
                  </a:lnTo>
                  <a:lnTo>
                    <a:pt x="911" y="199"/>
                  </a:lnTo>
                  <a:lnTo>
                    <a:pt x="913" y="199"/>
                  </a:lnTo>
                  <a:lnTo>
                    <a:pt x="913" y="200"/>
                  </a:lnTo>
                  <a:lnTo>
                    <a:pt x="914" y="202"/>
                  </a:lnTo>
                  <a:lnTo>
                    <a:pt x="916" y="204"/>
                  </a:lnTo>
                  <a:lnTo>
                    <a:pt x="916" y="205"/>
                  </a:lnTo>
                  <a:lnTo>
                    <a:pt x="919" y="207"/>
                  </a:lnTo>
                  <a:lnTo>
                    <a:pt x="921" y="210"/>
                  </a:lnTo>
                  <a:lnTo>
                    <a:pt x="922" y="210"/>
                  </a:lnTo>
                  <a:lnTo>
                    <a:pt x="924" y="210"/>
                  </a:lnTo>
                  <a:lnTo>
                    <a:pt x="926" y="210"/>
                  </a:lnTo>
                  <a:lnTo>
                    <a:pt x="927" y="210"/>
                  </a:lnTo>
                  <a:lnTo>
                    <a:pt x="929" y="210"/>
                  </a:lnTo>
                  <a:lnTo>
                    <a:pt x="929" y="215"/>
                  </a:lnTo>
                  <a:lnTo>
                    <a:pt x="929" y="217"/>
                  </a:lnTo>
                  <a:lnTo>
                    <a:pt x="929" y="218"/>
                  </a:lnTo>
                  <a:lnTo>
                    <a:pt x="931" y="220"/>
                  </a:lnTo>
                  <a:lnTo>
                    <a:pt x="932" y="222"/>
                  </a:lnTo>
                  <a:lnTo>
                    <a:pt x="934" y="222"/>
                  </a:lnTo>
                  <a:lnTo>
                    <a:pt x="937" y="225"/>
                  </a:lnTo>
                  <a:lnTo>
                    <a:pt x="937" y="226"/>
                  </a:lnTo>
                  <a:lnTo>
                    <a:pt x="937" y="230"/>
                  </a:lnTo>
                  <a:lnTo>
                    <a:pt x="940" y="230"/>
                  </a:lnTo>
                  <a:lnTo>
                    <a:pt x="942" y="233"/>
                  </a:lnTo>
                  <a:lnTo>
                    <a:pt x="945" y="235"/>
                  </a:lnTo>
                  <a:lnTo>
                    <a:pt x="947" y="235"/>
                  </a:lnTo>
                  <a:lnTo>
                    <a:pt x="945" y="235"/>
                  </a:lnTo>
                  <a:lnTo>
                    <a:pt x="947" y="236"/>
                  </a:lnTo>
                  <a:lnTo>
                    <a:pt x="953" y="241"/>
                  </a:lnTo>
                  <a:lnTo>
                    <a:pt x="949" y="243"/>
                  </a:lnTo>
                  <a:lnTo>
                    <a:pt x="949" y="246"/>
                  </a:lnTo>
                  <a:lnTo>
                    <a:pt x="947" y="248"/>
                  </a:lnTo>
                  <a:lnTo>
                    <a:pt x="944" y="251"/>
                  </a:lnTo>
                  <a:lnTo>
                    <a:pt x="942" y="251"/>
                  </a:lnTo>
                  <a:lnTo>
                    <a:pt x="942" y="252"/>
                  </a:lnTo>
                  <a:lnTo>
                    <a:pt x="940" y="252"/>
                  </a:lnTo>
                  <a:lnTo>
                    <a:pt x="940" y="254"/>
                  </a:lnTo>
                  <a:lnTo>
                    <a:pt x="939" y="254"/>
                  </a:lnTo>
                  <a:lnTo>
                    <a:pt x="939" y="256"/>
                  </a:lnTo>
                  <a:lnTo>
                    <a:pt x="937" y="256"/>
                  </a:lnTo>
                  <a:lnTo>
                    <a:pt x="937" y="257"/>
                  </a:lnTo>
                  <a:lnTo>
                    <a:pt x="939" y="257"/>
                  </a:lnTo>
                  <a:lnTo>
                    <a:pt x="940" y="257"/>
                  </a:lnTo>
                  <a:lnTo>
                    <a:pt x="940" y="259"/>
                  </a:lnTo>
                  <a:lnTo>
                    <a:pt x="942" y="261"/>
                  </a:lnTo>
                  <a:lnTo>
                    <a:pt x="942" y="262"/>
                  </a:lnTo>
                  <a:lnTo>
                    <a:pt x="944" y="262"/>
                  </a:lnTo>
                  <a:lnTo>
                    <a:pt x="944" y="264"/>
                  </a:lnTo>
                  <a:lnTo>
                    <a:pt x="945" y="267"/>
                  </a:lnTo>
                  <a:lnTo>
                    <a:pt x="947" y="269"/>
                  </a:lnTo>
                  <a:lnTo>
                    <a:pt x="947" y="270"/>
                  </a:lnTo>
                  <a:lnTo>
                    <a:pt x="949" y="272"/>
                  </a:lnTo>
                  <a:lnTo>
                    <a:pt x="950" y="274"/>
                  </a:lnTo>
                  <a:lnTo>
                    <a:pt x="952" y="275"/>
                  </a:lnTo>
                  <a:lnTo>
                    <a:pt x="953" y="277"/>
                  </a:lnTo>
                  <a:lnTo>
                    <a:pt x="955" y="277"/>
                  </a:lnTo>
                  <a:lnTo>
                    <a:pt x="942" y="290"/>
                  </a:lnTo>
                  <a:lnTo>
                    <a:pt x="944" y="293"/>
                  </a:lnTo>
                  <a:lnTo>
                    <a:pt x="945" y="296"/>
                  </a:lnTo>
                  <a:lnTo>
                    <a:pt x="949" y="301"/>
                  </a:lnTo>
                  <a:lnTo>
                    <a:pt x="949" y="303"/>
                  </a:lnTo>
                  <a:lnTo>
                    <a:pt x="949" y="305"/>
                  </a:lnTo>
                  <a:lnTo>
                    <a:pt x="949" y="308"/>
                  </a:lnTo>
                  <a:lnTo>
                    <a:pt x="947" y="309"/>
                  </a:lnTo>
                  <a:lnTo>
                    <a:pt x="947" y="314"/>
                  </a:lnTo>
                  <a:lnTo>
                    <a:pt x="953" y="332"/>
                  </a:lnTo>
                  <a:lnTo>
                    <a:pt x="952" y="337"/>
                  </a:lnTo>
                  <a:lnTo>
                    <a:pt x="950" y="342"/>
                  </a:lnTo>
                  <a:lnTo>
                    <a:pt x="949" y="348"/>
                  </a:lnTo>
                  <a:lnTo>
                    <a:pt x="947" y="348"/>
                  </a:lnTo>
                  <a:lnTo>
                    <a:pt x="945" y="355"/>
                  </a:lnTo>
                  <a:lnTo>
                    <a:pt x="942" y="363"/>
                  </a:lnTo>
                  <a:lnTo>
                    <a:pt x="942" y="365"/>
                  </a:lnTo>
                  <a:lnTo>
                    <a:pt x="942" y="370"/>
                  </a:lnTo>
                  <a:lnTo>
                    <a:pt x="944" y="378"/>
                  </a:lnTo>
                  <a:lnTo>
                    <a:pt x="940" y="381"/>
                  </a:lnTo>
                  <a:lnTo>
                    <a:pt x="937" y="383"/>
                  </a:lnTo>
                  <a:lnTo>
                    <a:pt x="934" y="387"/>
                  </a:lnTo>
                  <a:lnTo>
                    <a:pt x="937" y="389"/>
                  </a:lnTo>
                  <a:lnTo>
                    <a:pt x="937" y="391"/>
                  </a:lnTo>
                  <a:lnTo>
                    <a:pt x="939" y="391"/>
                  </a:lnTo>
                  <a:lnTo>
                    <a:pt x="940" y="391"/>
                  </a:lnTo>
                  <a:lnTo>
                    <a:pt x="940" y="392"/>
                  </a:lnTo>
                  <a:lnTo>
                    <a:pt x="942" y="392"/>
                  </a:lnTo>
                  <a:lnTo>
                    <a:pt x="944" y="392"/>
                  </a:lnTo>
                  <a:lnTo>
                    <a:pt x="945" y="392"/>
                  </a:lnTo>
                  <a:lnTo>
                    <a:pt x="945" y="394"/>
                  </a:lnTo>
                  <a:lnTo>
                    <a:pt x="945" y="397"/>
                  </a:lnTo>
                  <a:lnTo>
                    <a:pt x="945" y="399"/>
                  </a:lnTo>
                  <a:lnTo>
                    <a:pt x="947" y="400"/>
                  </a:lnTo>
                  <a:lnTo>
                    <a:pt x="949" y="402"/>
                  </a:lnTo>
                  <a:lnTo>
                    <a:pt x="950" y="402"/>
                  </a:lnTo>
                  <a:lnTo>
                    <a:pt x="950" y="404"/>
                  </a:lnTo>
                  <a:lnTo>
                    <a:pt x="949" y="404"/>
                  </a:lnTo>
                  <a:lnTo>
                    <a:pt x="949" y="405"/>
                  </a:lnTo>
                  <a:lnTo>
                    <a:pt x="950" y="405"/>
                  </a:lnTo>
                  <a:lnTo>
                    <a:pt x="949" y="407"/>
                  </a:lnTo>
                  <a:lnTo>
                    <a:pt x="949" y="409"/>
                  </a:lnTo>
                  <a:lnTo>
                    <a:pt x="950" y="409"/>
                  </a:lnTo>
                  <a:lnTo>
                    <a:pt x="949" y="410"/>
                  </a:lnTo>
                  <a:lnTo>
                    <a:pt x="0" y="413"/>
                  </a:lnTo>
                  <a:lnTo>
                    <a:pt x="2" y="412"/>
                  </a:lnTo>
                  <a:lnTo>
                    <a:pt x="2" y="410"/>
                  </a:lnTo>
                  <a:lnTo>
                    <a:pt x="2" y="409"/>
                  </a:lnTo>
                  <a:lnTo>
                    <a:pt x="0" y="409"/>
                  </a:lnTo>
                  <a:lnTo>
                    <a:pt x="0" y="407"/>
                  </a:lnTo>
                  <a:lnTo>
                    <a:pt x="2" y="407"/>
                  </a:lnTo>
                  <a:lnTo>
                    <a:pt x="2" y="405"/>
                  </a:lnTo>
                  <a:lnTo>
                    <a:pt x="4" y="405"/>
                  </a:lnTo>
                  <a:lnTo>
                    <a:pt x="4" y="404"/>
                  </a:lnTo>
                  <a:lnTo>
                    <a:pt x="4" y="402"/>
                  </a:lnTo>
                  <a:lnTo>
                    <a:pt x="5" y="402"/>
                  </a:lnTo>
                  <a:lnTo>
                    <a:pt x="5" y="400"/>
                  </a:lnTo>
                  <a:lnTo>
                    <a:pt x="4" y="400"/>
                  </a:lnTo>
                  <a:lnTo>
                    <a:pt x="4" y="399"/>
                  </a:lnTo>
                  <a:lnTo>
                    <a:pt x="5" y="400"/>
                  </a:lnTo>
                  <a:lnTo>
                    <a:pt x="5" y="399"/>
                  </a:lnTo>
                  <a:lnTo>
                    <a:pt x="4" y="397"/>
                  </a:lnTo>
                  <a:lnTo>
                    <a:pt x="2" y="397"/>
                  </a:lnTo>
                  <a:lnTo>
                    <a:pt x="2" y="396"/>
                  </a:lnTo>
                  <a:lnTo>
                    <a:pt x="2" y="394"/>
                  </a:lnTo>
                  <a:lnTo>
                    <a:pt x="2" y="392"/>
                  </a:lnTo>
                  <a:lnTo>
                    <a:pt x="0" y="392"/>
                  </a:lnTo>
                  <a:lnTo>
                    <a:pt x="0" y="391"/>
                  </a:lnTo>
                  <a:lnTo>
                    <a:pt x="2" y="391"/>
                  </a:lnTo>
                  <a:lnTo>
                    <a:pt x="2" y="389"/>
                  </a:lnTo>
                  <a:lnTo>
                    <a:pt x="4" y="387"/>
                  </a:lnTo>
                  <a:lnTo>
                    <a:pt x="5" y="387"/>
                  </a:lnTo>
                  <a:lnTo>
                    <a:pt x="7" y="386"/>
                  </a:lnTo>
                  <a:lnTo>
                    <a:pt x="8" y="384"/>
                  </a:lnTo>
                  <a:lnTo>
                    <a:pt x="10" y="381"/>
                  </a:lnTo>
                  <a:lnTo>
                    <a:pt x="10" y="379"/>
                  </a:lnTo>
                  <a:lnTo>
                    <a:pt x="12" y="378"/>
                  </a:lnTo>
                  <a:lnTo>
                    <a:pt x="12" y="376"/>
                  </a:lnTo>
                  <a:lnTo>
                    <a:pt x="10" y="376"/>
                  </a:lnTo>
                  <a:lnTo>
                    <a:pt x="10" y="374"/>
                  </a:lnTo>
                  <a:lnTo>
                    <a:pt x="8" y="373"/>
                  </a:lnTo>
                  <a:lnTo>
                    <a:pt x="8" y="371"/>
                  </a:lnTo>
                  <a:lnTo>
                    <a:pt x="8" y="370"/>
                  </a:lnTo>
                  <a:lnTo>
                    <a:pt x="8" y="368"/>
                  </a:lnTo>
                  <a:lnTo>
                    <a:pt x="7" y="368"/>
                  </a:lnTo>
                  <a:lnTo>
                    <a:pt x="7" y="366"/>
                  </a:lnTo>
                  <a:lnTo>
                    <a:pt x="8" y="365"/>
                  </a:lnTo>
                  <a:lnTo>
                    <a:pt x="10" y="365"/>
                  </a:lnTo>
                  <a:lnTo>
                    <a:pt x="12" y="365"/>
                  </a:lnTo>
                  <a:lnTo>
                    <a:pt x="13" y="363"/>
                  </a:lnTo>
                  <a:lnTo>
                    <a:pt x="17" y="361"/>
                  </a:lnTo>
                  <a:lnTo>
                    <a:pt x="18" y="361"/>
                  </a:lnTo>
                  <a:lnTo>
                    <a:pt x="20" y="360"/>
                  </a:lnTo>
                  <a:lnTo>
                    <a:pt x="21" y="360"/>
                  </a:lnTo>
                  <a:lnTo>
                    <a:pt x="25" y="358"/>
                  </a:lnTo>
                  <a:lnTo>
                    <a:pt x="26" y="357"/>
                  </a:lnTo>
                  <a:lnTo>
                    <a:pt x="28" y="357"/>
                  </a:lnTo>
                  <a:lnTo>
                    <a:pt x="28" y="355"/>
                  </a:lnTo>
                  <a:lnTo>
                    <a:pt x="30" y="355"/>
                  </a:lnTo>
                  <a:lnTo>
                    <a:pt x="31" y="355"/>
                  </a:lnTo>
                  <a:lnTo>
                    <a:pt x="31" y="353"/>
                  </a:lnTo>
                  <a:lnTo>
                    <a:pt x="36" y="352"/>
                  </a:lnTo>
                  <a:lnTo>
                    <a:pt x="38" y="350"/>
                  </a:lnTo>
                  <a:lnTo>
                    <a:pt x="41" y="347"/>
                  </a:lnTo>
                  <a:lnTo>
                    <a:pt x="43" y="347"/>
                  </a:lnTo>
                  <a:lnTo>
                    <a:pt x="41" y="347"/>
                  </a:lnTo>
                  <a:lnTo>
                    <a:pt x="43" y="347"/>
                  </a:lnTo>
                  <a:lnTo>
                    <a:pt x="44" y="347"/>
                  </a:lnTo>
                  <a:lnTo>
                    <a:pt x="43" y="345"/>
                  </a:lnTo>
                  <a:lnTo>
                    <a:pt x="43" y="347"/>
                  </a:lnTo>
                  <a:lnTo>
                    <a:pt x="48" y="344"/>
                  </a:lnTo>
                  <a:lnTo>
                    <a:pt x="52" y="340"/>
                  </a:lnTo>
                  <a:lnTo>
                    <a:pt x="54" y="340"/>
                  </a:lnTo>
                  <a:lnTo>
                    <a:pt x="56" y="339"/>
                  </a:lnTo>
                  <a:lnTo>
                    <a:pt x="57" y="339"/>
                  </a:lnTo>
                  <a:lnTo>
                    <a:pt x="59" y="339"/>
                  </a:lnTo>
                  <a:lnTo>
                    <a:pt x="61" y="337"/>
                  </a:lnTo>
                  <a:lnTo>
                    <a:pt x="62" y="337"/>
                  </a:lnTo>
                  <a:lnTo>
                    <a:pt x="62" y="335"/>
                  </a:lnTo>
                  <a:lnTo>
                    <a:pt x="64" y="335"/>
                  </a:lnTo>
                  <a:lnTo>
                    <a:pt x="64" y="334"/>
                  </a:lnTo>
                  <a:lnTo>
                    <a:pt x="65" y="334"/>
                  </a:lnTo>
                  <a:lnTo>
                    <a:pt x="65" y="332"/>
                  </a:lnTo>
                  <a:lnTo>
                    <a:pt x="67" y="332"/>
                  </a:lnTo>
                  <a:lnTo>
                    <a:pt x="69" y="331"/>
                  </a:lnTo>
                  <a:lnTo>
                    <a:pt x="74" y="329"/>
                  </a:lnTo>
                  <a:lnTo>
                    <a:pt x="74" y="327"/>
                  </a:lnTo>
                  <a:lnTo>
                    <a:pt x="75" y="327"/>
                  </a:lnTo>
                  <a:lnTo>
                    <a:pt x="78" y="326"/>
                  </a:lnTo>
                  <a:lnTo>
                    <a:pt x="78" y="324"/>
                  </a:lnTo>
                  <a:lnTo>
                    <a:pt x="80" y="324"/>
                  </a:lnTo>
                  <a:lnTo>
                    <a:pt x="78" y="324"/>
                  </a:lnTo>
                  <a:lnTo>
                    <a:pt x="82" y="322"/>
                  </a:lnTo>
                  <a:lnTo>
                    <a:pt x="83" y="322"/>
                  </a:lnTo>
                  <a:lnTo>
                    <a:pt x="85" y="321"/>
                  </a:lnTo>
                  <a:lnTo>
                    <a:pt x="83" y="322"/>
                  </a:lnTo>
                  <a:lnTo>
                    <a:pt x="83" y="321"/>
                  </a:lnTo>
                  <a:lnTo>
                    <a:pt x="82" y="322"/>
                  </a:lnTo>
                  <a:lnTo>
                    <a:pt x="82" y="321"/>
                  </a:lnTo>
                  <a:lnTo>
                    <a:pt x="83" y="321"/>
                  </a:lnTo>
                  <a:lnTo>
                    <a:pt x="85" y="319"/>
                  </a:lnTo>
                  <a:lnTo>
                    <a:pt x="87" y="319"/>
                  </a:lnTo>
                  <a:lnTo>
                    <a:pt x="87" y="318"/>
                  </a:lnTo>
                  <a:lnTo>
                    <a:pt x="88" y="318"/>
                  </a:lnTo>
                  <a:lnTo>
                    <a:pt x="90" y="316"/>
                  </a:lnTo>
                  <a:lnTo>
                    <a:pt x="91" y="316"/>
                  </a:lnTo>
                  <a:lnTo>
                    <a:pt x="90" y="316"/>
                  </a:lnTo>
                  <a:lnTo>
                    <a:pt x="91" y="316"/>
                  </a:lnTo>
                  <a:lnTo>
                    <a:pt x="90" y="316"/>
                  </a:lnTo>
                  <a:lnTo>
                    <a:pt x="90" y="314"/>
                  </a:lnTo>
                  <a:lnTo>
                    <a:pt x="91" y="314"/>
                  </a:lnTo>
                  <a:lnTo>
                    <a:pt x="93" y="314"/>
                  </a:lnTo>
                  <a:lnTo>
                    <a:pt x="93" y="313"/>
                  </a:lnTo>
                  <a:lnTo>
                    <a:pt x="95" y="313"/>
                  </a:lnTo>
                  <a:lnTo>
                    <a:pt x="95" y="311"/>
                  </a:lnTo>
                  <a:lnTo>
                    <a:pt x="95" y="313"/>
                  </a:lnTo>
                  <a:lnTo>
                    <a:pt x="95" y="311"/>
                  </a:lnTo>
                  <a:lnTo>
                    <a:pt x="96" y="309"/>
                  </a:lnTo>
                  <a:lnTo>
                    <a:pt x="98" y="309"/>
                  </a:lnTo>
                  <a:lnTo>
                    <a:pt x="100" y="309"/>
                  </a:lnTo>
                  <a:lnTo>
                    <a:pt x="100" y="308"/>
                  </a:lnTo>
                  <a:lnTo>
                    <a:pt x="98" y="308"/>
                  </a:lnTo>
                  <a:lnTo>
                    <a:pt x="100" y="308"/>
                  </a:lnTo>
                  <a:lnTo>
                    <a:pt x="100" y="306"/>
                  </a:lnTo>
                  <a:lnTo>
                    <a:pt x="100" y="308"/>
                  </a:lnTo>
                  <a:lnTo>
                    <a:pt x="101" y="306"/>
                  </a:lnTo>
                  <a:lnTo>
                    <a:pt x="101" y="305"/>
                  </a:lnTo>
                  <a:lnTo>
                    <a:pt x="101" y="306"/>
                  </a:lnTo>
                  <a:lnTo>
                    <a:pt x="101" y="305"/>
                  </a:lnTo>
                  <a:lnTo>
                    <a:pt x="103" y="305"/>
                  </a:lnTo>
                  <a:lnTo>
                    <a:pt x="101" y="305"/>
                  </a:lnTo>
                  <a:lnTo>
                    <a:pt x="103" y="305"/>
                  </a:lnTo>
                  <a:lnTo>
                    <a:pt x="101" y="305"/>
                  </a:lnTo>
                  <a:lnTo>
                    <a:pt x="103" y="305"/>
                  </a:lnTo>
                  <a:lnTo>
                    <a:pt x="103" y="303"/>
                  </a:lnTo>
                  <a:lnTo>
                    <a:pt x="101" y="305"/>
                  </a:lnTo>
                  <a:lnTo>
                    <a:pt x="100" y="305"/>
                  </a:lnTo>
                  <a:lnTo>
                    <a:pt x="101" y="305"/>
                  </a:lnTo>
                  <a:lnTo>
                    <a:pt x="101" y="303"/>
                  </a:lnTo>
                  <a:lnTo>
                    <a:pt x="103" y="303"/>
                  </a:lnTo>
                  <a:lnTo>
                    <a:pt x="103" y="305"/>
                  </a:lnTo>
                  <a:lnTo>
                    <a:pt x="104" y="303"/>
                  </a:lnTo>
                  <a:lnTo>
                    <a:pt x="103" y="301"/>
                  </a:lnTo>
                  <a:lnTo>
                    <a:pt x="103" y="300"/>
                  </a:lnTo>
                  <a:lnTo>
                    <a:pt x="104" y="298"/>
                  </a:lnTo>
                  <a:lnTo>
                    <a:pt x="104" y="300"/>
                  </a:lnTo>
                  <a:lnTo>
                    <a:pt x="104" y="298"/>
                  </a:lnTo>
                  <a:lnTo>
                    <a:pt x="106" y="298"/>
                  </a:lnTo>
                  <a:lnTo>
                    <a:pt x="106" y="296"/>
                  </a:lnTo>
                  <a:lnTo>
                    <a:pt x="108" y="296"/>
                  </a:lnTo>
                  <a:lnTo>
                    <a:pt x="109" y="295"/>
                  </a:lnTo>
                  <a:lnTo>
                    <a:pt x="111" y="295"/>
                  </a:lnTo>
                  <a:lnTo>
                    <a:pt x="111" y="293"/>
                  </a:lnTo>
                  <a:lnTo>
                    <a:pt x="113" y="295"/>
                  </a:lnTo>
                  <a:lnTo>
                    <a:pt x="113" y="293"/>
                  </a:lnTo>
                  <a:lnTo>
                    <a:pt x="113" y="295"/>
                  </a:lnTo>
                  <a:lnTo>
                    <a:pt x="113" y="293"/>
                  </a:lnTo>
                  <a:lnTo>
                    <a:pt x="114" y="293"/>
                  </a:lnTo>
                  <a:lnTo>
                    <a:pt x="113" y="293"/>
                  </a:lnTo>
                  <a:lnTo>
                    <a:pt x="113" y="292"/>
                  </a:lnTo>
                  <a:lnTo>
                    <a:pt x="114" y="292"/>
                  </a:lnTo>
                  <a:lnTo>
                    <a:pt x="116" y="290"/>
                  </a:lnTo>
                  <a:lnTo>
                    <a:pt x="117" y="290"/>
                  </a:lnTo>
                  <a:lnTo>
                    <a:pt x="119" y="290"/>
                  </a:lnTo>
                  <a:lnTo>
                    <a:pt x="121" y="288"/>
                  </a:lnTo>
                  <a:lnTo>
                    <a:pt x="121" y="290"/>
                  </a:lnTo>
                  <a:lnTo>
                    <a:pt x="121" y="292"/>
                  </a:lnTo>
                  <a:lnTo>
                    <a:pt x="122" y="293"/>
                  </a:lnTo>
                  <a:lnTo>
                    <a:pt x="124" y="293"/>
                  </a:lnTo>
                  <a:lnTo>
                    <a:pt x="126" y="293"/>
                  </a:lnTo>
                  <a:lnTo>
                    <a:pt x="130" y="292"/>
                  </a:lnTo>
                  <a:lnTo>
                    <a:pt x="134" y="292"/>
                  </a:lnTo>
                  <a:lnTo>
                    <a:pt x="135" y="290"/>
                  </a:lnTo>
                  <a:lnTo>
                    <a:pt x="137" y="288"/>
                  </a:lnTo>
                  <a:lnTo>
                    <a:pt x="139" y="288"/>
                  </a:lnTo>
                  <a:lnTo>
                    <a:pt x="140" y="287"/>
                  </a:lnTo>
                  <a:lnTo>
                    <a:pt x="142" y="287"/>
                  </a:lnTo>
                  <a:lnTo>
                    <a:pt x="142" y="288"/>
                  </a:lnTo>
                  <a:lnTo>
                    <a:pt x="140" y="288"/>
                  </a:lnTo>
                  <a:lnTo>
                    <a:pt x="140" y="290"/>
                  </a:lnTo>
                  <a:lnTo>
                    <a:pt x="140" y="292"/>
                  </a:lnTo>
                  <a:lnTo>
                    <a:pt x="142" y="292"/>
                  </a:lnTo>
                  <a:lnTo>
                    <a:pt x="142" y="293"/>
                  </a:lnTo>
                  <a:lnTo>
                    <a:pt x="142" y="295"/>
                  </a:lnTo>
                  <a:lnTo>
                    <a:pt x="142" y="293"/>
                  </a:lnTo>
                  <a:lnTo>
                    <a:pt x="140" y="290"/>
                  </a:lnTo>
                  <a:lnTo>
                    <a:pt x="142" y="288"/>
                  </a:lnTo>
                  <a:lnTo>
                    <a:pt x="142" y="287"/>
                  </a:lnTo>
                  <a:lnTo>
                    <a:pt x="147" y="282"/>
                  </a:lnTo>
                  <a:lnTo>
                    <a:pt x="148" y="282"/>
                  </a:lnTo>
                  <a:lnTo>
                    <a:pt x="150" y="282"/>
                  </a:lnTo>
                  <a:lnTo>
                    <a:pt x="152" y="282"/>
                  </a:lnTo>
                  <a:lnTo>
                    <a:pt x="153" y="282"/>
                  </a:lnTo>
                  <a:lnTo>
                    <a:pt x="155" y="280"/>
                  </a:lnTo>
                  <a:lnTo>
                    <a:pt x="156" y="282"/>
                  </a:lnTo>
                  <a:lnTo>
                    <a:pt x="158" y="282"/>
                  </a:lnTo>
                  <a:lnTo>
                    <a:pt x="160" y="280"/>
                  </a:lnTo>
                  <a:lnTo>
                    <a:pt x="161" y="280"/>
                  </a:lnTo>
                  <a:lnTo>
                    <a:pt x="163" y="280"/>
                  </a:lnTo>
                  <a:lnTo>
                    <a:pt x="163" y="279"/>
                  </a:lnTo>
                  <a:lnTo>
                    <a:pt x="163" y="280"/>
                  </a:lnTo>
                  <a:lnTo>
                    <a:pt x="165" y="280"/>
                  </a:lnTo>
                  <a:lnTo>
                    <a:pt x="166" y="280"/>
                  </a:lnTo>
                  <a:lnTo>
                    <a:pt x="169" y="280"/>
                  </a:lnTo>
                  <a:lnTo>
                    <a:pt x="171" y="279"/>
                  </a:lnTo>
                  <a:lnTo>
                    <a:pt x="173" y="279"/>
                  </a:lnTo>
                  <a:lnTo>
                    <a:pt x="174" y="279"/>
                  </a:lnTo>
                  <a:lnTo>
                    <a:pt x="178" y="279"/>
                  </a:lnTo>
                  <a:lnTo>
                    <a:pt x="178" y="277"/>
                  </a:lnTo>
                  <a:lnTo>
                    <a:pt x="179" y="277"/>
                  </a:lnTo>
                  <a:lnTo>
                    <a:pt x="181" y="277"/>
                  </a:lnTo>
                  <a:lnTo>
                    <a:pt x="183" y="277"/>
                  </a:lnTo>
                  <a:lnTo>
                    <a:pt x="184" y="277"/>
                  </a:lnTo>
                  <a:lnTo>
                    <a:pt x="186" y="277"/>
                  </a:lnTo>
                  <a:lnTo>
                    <a:pt x="186" y="275"/>
                  </a:lnTo>
                  <a:lnTo>
                    <a:pt x="189" y="275"/>
                  </a:lnTo>
                  <a:lnTo>
                    <a:pt x="191" y="275"/>
                  </a:lnTo>
                  <a:lnTo>
                    <a:pt x="192" y="275"/>
                  </a:lnTo>
                  <a:lnTo>
                    <a:pt x="194" y="275"/>
                  </a:lnTo>
                  <a:lnTo>
                    <a:pt x="196" y="275"/>
                  </a:lnTo>
                  <a:lnTo>
                    <a:pt x="197" y="274"/>
                  </a:lnTo>
                  <a:lnTo>
                    <a:pt x="199" y="275"/>
                  </a:lnTo>
                  <a:lnTo>
                    <a:pt x="199" y="274"/>
                  </a:lnTo>
                  <a:lnTo>
                    <a:pt x="200" y="274"/>
                  </a:lnTo>
                  <a:lnTo>
                    <a:pt x="202" y="274"/>
                  </a:lnTo>
                  <a:lnTo>
                    <a:pt x="202" y="272"/>
                  </a:lnTo>
                  <a:lnTo>
                    <a:pt x="204" y="272"/>
                  </a:lnTo>
                  <a:lnTo>
                    <a:pt x="205" y="272"/>
                  </a:lnTo>
                  <a:lnTo>
                    <a:pt x="207" y="272"/>
                  </a:lnTo>
                  <a:lnTo>
                    <a:pt x="207" y="270"/>
                  </a:lnTo>
                  <a:lnTo>
                    <a:pt x="209" y="270"/>
                  </a:lnTo>
                  <a:lnTo>
                    <a:pt x="209" y="272"/>
                  </a:lnTo>
                  <a:lnTo>
                    <a:pt x="212" y="272"/>
                  </a:lnTo>
                  <a:lnTo>
                    <a:pt x="212" y="270"/>
                  </a:lnTo>
                  <a:lnTo>
                    <a:pt x="212" y="272"/>
                  </a:lnTo>
                  <a:lnTo>
                    <a:pt x="213" y="272"/>
                  </a:lnTo>
                  <a:lnTo>
                    <a:pt x="217" y="270"/>
                  </a:lnTo>
                  <a:lnTo>
                    <a:pt x="218" y="270"/>
                  </a:lnTo>
                  <a:lnTo>
                    <a:pt x="220" y="270"/>
                  </a:lnTo>
                  <a:lnTo>
                    <a:pt x="222" y="269"/>
                  </a:lnTo>
                  <a:lnTo>
                    <a:pt x="223" y="269"/>
                  </a:lnTo>
                  <a:lnTo>
                    <a:pt x="223" y="267"/>
                  </a:lnTo>
                  <a:lnTo>
                    <a:pt x="225" y="267"/>
                  </a:lnTo>
                  <a:lnTo>
                    <a:pt x="226" y="267"/>
                  </a:lnTo>
                  <a:lnTo>
                    <a:pt x="230" y="267"/>
                  </a:lnTo>
                  <a:lnTo>
                    <a:pt x="231" y="265"/>
                  </a:lnTo>
                  <a:lnTo>
                    <a:pt x="231" y="264"/>
                  </a:lnTo>
                  <a:lnTo>
                    <a:pt x="231" y="265"/>
                  </a:lnTo>
                  <a:lnTo>
                    <a:pt x="231" y="267"/>
                  </a:lnTo>
                  <a:lnTo>
                    <a:pt x="233" y="267"/>
                  </a:lnTo>
                  <a:lnTo>
                    <a:pt x="233" y="265"/>
                  </a:lnTo>
                  <a:lnTo>
                    <a:pt x="235" y="265"/>
                  </a:lnTo>
                  <a:lnTo>
                    <a:pt x="235" y="267"/>
                  </a:lnTo>
                  <a:lnTo>
                    <a:pt x="235" y="265"/>
                  </a:lnTo>
                  <a:lnTo>
                    <a:pt x="238" y="265"/>
                  </a:lnTo>
                  <a:lnTo>
                    <a:pt x="236" y="265"/>
                  </a:lnTo>
                  <a:lnTo>
                    <a:pt x="235" y="267"/>
                  </a:lnTo>
                  <a:lnTo>
                    <a:pt x="236" y="267"/>
                  </a:lnTo>
                  <a:lnTo>
                    <a:pt x="238" y="267"/>
                  </a:lnTo>
                  <a:lnTo>
                    <a:pt x="239" y="267"/>
                  </a:lnTo>
                  <a:lnTo>
                    <a:pt x="241" y="267"/>
                  </a:lnTo>
                  <a:lnTo>
                    <a:pt x="243" y="267"/>
                  </a:lnTo>
                  <a:lnTo>
                    <a:pt x="244" y="267"/>
                  </a:lnTo>
                  <a:lnTo>
                    <a:pt x="246" y="267"/>
                  </a:lnTo>
                  <a:lnTo>
                    <a:pt x="249" y="265"/>
                  </a:lnTo>
                  <a:lnTo>
                    <a:pt x="251" y="265"/>
                  </a:lnTo>
                  <a:lnTo>
                    <a:pt x="251" y="264"/>
                  </a:lnTo>
                  <a:lnTo>
                    <a:pt x="252" y="264"/>
                  </a:lnTo>
                  <a:lnTo>
                    <a:pt x="254" y="262"/>
                  </a:lnTo>
                  <a:lnTo>
                    <a:pt x="256" y="262"/>
                  </a:lnTo>
                  <a:lnTo>
                    <a:pt x="257" y="261"/>
                  </a:lnTo>
                  <a:lnTo>
                    <a:pt x="259" y="261"/>
                  </a:lnTo>
                  <a:lnTo>
                    <a:pt x="257" y="261"/>
                  </a:lnTo>
                  <a:lnTo>
                    <a:pt x="259" y="261"/>
                  </a:lnTo>
                  <a:lnTo>
                    <a:pt x="261" y="259"/>
                  </a:lnTo>
                  <a:lnTo>
                    <a:pt x="262" y="259"/>
                  </a:lnTo>
                  <a:lnTo>
                    <a:pt x="262" y="257"/>
                  </a:lnTo>
                  <a:lnTo>
                    <a:pt x="264" y="257"/>
                  </a:lnTo>
                  <a:lnTo>
                    <a:pt x="265" y="256"/>
                  </a:lnTo>
                  <a:lnTo>
                    <a:pt x="264" y="256"/>
                  </a:lnTo>
                  <a:lnTo>
                    <a:pt x="265" y="256"/>
                  </a:lnTo>
                  <a:lnTo>
                    <a:pt x="264" y="257"/>
                  </a:lnTo>
                  <a:lnTo>
                    <a:pt x="264" y="259"/>
                  </a:lnTo>
                  <a:lnTo>
                    <a:pt x="265" y="259"/>
                  </a:lnTo>
                  <a:lnTo>
                    <a:pt x="267" y="259"/>
                  </a:lnTo>
                  <a:lnTo>
                    <a:pt x="265" y="259"/>
                  </a:lnTo>
                  <a:lnTo>
                    <a:pt x="267" y="259"/>
                  </a:lnTo>
                  <a:lnTo>
                    <a:pt x="269" y="259"/>
                  </a:lnTo>
                  <a:lnTo>
                    <a:pt x="269" y="257"/>
                  </a:lnTo>
                  <a:lnTo>
                    <a:pt x="269" y="259"/>
                  </a:lnTo>
                  <a:lnTo>
                    <a:pt x="270" y="259"/>
                  </a:lnTo>
                  <a:lnTo>
                    <a:pt x="270" y="257"/>
                  </a:lnTo>
                  <a:lnTo>
                    <a:pt x="272" y="257"/>
                  </a:lnTo>
                  <a:lnTo>
                    <a:pt x="272" y="256"/>
                  </a:lnTo>
                  <a:lnTo>
                    <a:pt x="274" y="256"/>
                  </a:lnTo>
                  <a:lnTo>
                    <a:pt x="275" y="256"/>
                  </a:lnTo>
                  <a:lnTo>
                    <a:pt x="275" y="254"/>
                  </a:lnTo>
                  <a:lnTo>
                    <a:pt x="277" y="254"/>
                  </a:lnTo>
                  <a:lnTo>
                    <a:pt x="278" y="254"/>
                  </a:lnTo>
                  <a:lnTo>
                    <a:pt x="278" y="252"/>
                  </a:lnTo>
                  <a:lnTo>
                    <a:pt x="280" y="252"/>
                  </a:lnTo>
                  <a:lnTo>
                    <a:pt x="282" y="252"/>
                  </a:lnTo>
                  <a:lnTo>
                    <a:pt x="282" y="251"/>
                  </a:lnTo>
                  <a:lnTo>
                    <a:pt x="283" y="251"/>
                  </a:lnTo>
                  <a:lnTo>
                    <a:pt x="285" y="251"/>
                  </a:lnTo>
                  <a:lnTo>
                    <a:pt x="287" y="249"/>
                  </a:lnTo>
                  <a:lnTo>
                    <a:pt x="287" y="251"/>
                  </a:lnTo>
                  <a:lnTo>
                    <a:pt x="288" y="251"/>
                  </a:lnTo>
                  <a:lnTo>
                    <a:pt x="290" y="251"/>
                  </a:lnTo>
                  <a:lnTo>
                    <a:pt x="291" y="251"/>
                  </a:lnTo>
                  <a:lnTo>
                    <a:pt x="291" y="249"/>
                  </a:lnTo>
                  <a:lnTo>
                    <a:pt x="293" y="249"/>
                  </a:lnTo>
                  <a:lnTo>
                    <a:pt x="295" y="249"/>
                  </a:lnTo>
                  <a:lnTo>
                    <a:pt x="296" y="249"/>
                  </a:lnTo>
                  <a:lnTo>
                    <a:pt x="298" y="249"/>
                  </a:lnTo>
                  <a:lnTo>
                    <a:pt x="300" y="249"/>
                  </a:lnTo>
                  <a:lnTo>
                    <a:pt x="300" y="248"/>
                  </a:lnTo>
                  <a:lnTo>
                    <a:pt x="301" y="248"/>
                  </a:lnTo>
                  <a:lnTo>
                    <a:pt x="303" y="248"/>
                  </a:lnTo>
                  <a:lnTo>
                    <a:pt x="303" y="246"/>
                  </a:lnTo>
                  <a:lnTo>
                    <a:pt x="304" y="246"/>
                  </a:lnTo>
                  <a:lnTo>
                    <a:pt x="306" y="246"/>
                  </a:lnTo>
                  <a:lnTo>
                    <a:pt x="306" y="244"/>
                  </a:lnTo>
                  <a:lnTo>
                    <a:pt x="306" y="246"/>
                  </a:lnTo>
                  <a:lnTo>
                    <a:pt x="304" y="246"/>
                  </a:lnTo>
                  <a:lnTo>
                    <a:pt x="306" y="244"/>
                  </a:lnTo>
                  <a:lnTo>
                    <a:pt x="308" y="244"/>
                  </a:lnTo>
                  <a:lnTo>
                    <a:pt x="308" y="246"/>
                  </a:lnTo>
                  <a:lnTo>
                    <a:pt x="308" y="244"/>
                  </a:lnTo>
                  <a:lnTo>
                    <a:pt x="309" y="244"/>
                  </a:lnTo>
                  <a:lnTo>
                    <a:pt x="308" y="244"/>
                  </a:lnTo>
                  <a:lnTo>
                    <a:pt x="308" y="246"/>
                  </a:lnTo>
                  <a:lnTo>
                    <a:pt x="309" y="244"/>
                  </a:lnTo>
                  <a:lnTo>
                    <a:pt x="309" y="246"/>
                  </a:lnTo>
                  <a:lnTo>
                    <a:pt x="309" y="244"/>
                  </a:lnTo>
                  <a:lnTo>
                    <a:pt x="311" y="244"/>
                  </a:lnTo>
                  <a:lnTo>
                    <a:pt x="313" y="243"/>
                  </a:lnTo>
                  <a:lnTo>
                    <a:pt x="314" y="243"/>
                  </a:lnTo>
                  <a:lnTo>
                    <a:pt x="316" y="243"/>
                  </a:lnTo>
                  <a:lnTo>
                    <a:pt x="317" y="241"/>
                  </a:lnTo>
                  <a:lnTo>
                    <a:pt x="316" y="241"/>
                  </a:lnTo>
                  <a:lnTo>
                    <a:pt x="316" y="243"/>
                  </a:lnTo>
                  <a:lnTo>
                    <a:pt x="317" y="241"/>
                  </a:lnTo>
                  <a:lnTo>
                    <a:pt x="319" y="241"/>
                  </a:lnTo>
                  <a:lnTo>
                    <a:pt x="319" y="239"/>
                  </a:lnTo>
                  <a:lnTo>
                    <a:pt x="319" y="241"/>
                  </a:lnTo>
                  <a:lnTo>
                    <a:pt x="321" y="241"/>
                  </a:lnTo>
                  <a:lnTo>
                    <a:pt x="321" y="239"/>
                  </a:lnTo>
                  <a:lnTo>
                    <a:pt x="322" y="239"/>
                  </a:lnTo>
                  <a:lnTo>
                    <a:pt x="326" y="236"/>
                  </a:lnTo>
                  <a:lnTo>
                    <a:pt x="327" y="236"/>
                  </a:lnTo>
                  <a:lnTo>
                    <a:pt x="327" y="235"/>
                  </a:lnTo>
                  <a:lnTo>
                    <a:pt x="329" y="233"/>
                  </a:lnTo>
                  <a:lnTo>
                    <a:pt x="330" y="233"/>
                  </a:lnTo>
                  <a:lnTo>
                    <a:pt x="332" y="231"/>
                  </a:lnTo>
                  <a:lnTo>
                    <a:pt x="334" y="231"/>
                  </a:lnTo>
                  <a:lnTo>
                    <a:pt x="334" y="230"/>
                  </a:lnTo>
                  <a:lnTo>
                    <a:pt x="335" y="228"/>
                  </a:lnTo>
                  <a:lnTo>
                    <a:pt x="337" y="228"/>
                  </a:lnTo>
                  <a:lnTo>
                    <a:pt x="339" y="228"/>
                  </a:lnTo>
                  <a:lnTo>
                    <a:pt x="337" y="228"/>
                  </a:lnTo>
                  <a:lnTo>
                    <a:pt x="339" y="228"/>
                  </a:lnTo>
                  <a:lnTo>
                    <a:pt x="339" y="230"/>
                  </a:lnTo>
                  <a:lnTo>
                    <a:pt x="340" y="230"/>
                  </a:lnTo>
                  <a:lnTo>
                    <a:pt x="339" y="230"/>
                  </a:lnTo>
                  <a:lnTo>
                    <a:pt x="339" y="228"/>
                  </a:lnTo>
                  <a:lnTo>
                    <a:pt x="339" y="226"/>
                  </a:lnTo>
                  <a:lnTo>
                    <a:pt x="342" y="225"/>
                  </a:lnTo>
                  <a:lnTo>
                    <a:pt x="342" y="223"/>
                  </a:lnTo>
                  <a:lnTo>
                    <a:pt x="344" y="223"/>
                  </a:lnTo>
                  <a:lnTo>
                    <a:pt x="345" y="223"/>
                  </a:lnTo>
                  <a:lnTo>
                    <a:pt x="345" y="222"/>
                  </a:lnTo>
                  <a:lnTo>
                    <a:pt x="347" y="220"/>
                  </a:lnTo>
                  <a:lnTo>
                    <a:pt x="348" y="218"/>
                  </a:lnTo>
                  <a:lnTo>
                    <a:pt x="350" y="217"/>
                  </a:lnTo>
                  <a:lnTo>
                    <a:pt x="352" y="215"/>
                  </a:lnTo>
                  <a:lnTo>
                    <a:pt x="353" y="215"/>
                  </a:lnTo>
                  <a:lnTo>
                    <a:pt x="355" y="212"/>
                  </a:lnTo>
                  <a:lnTo>
                    <a:pt x="357" y="212"/>
                  </a:lnTo>
                  <a:lnTo>
                    <a:pt x="357" y="209"/>
                  </a:lnTo>
                  <a:lnTo>
                    <a:pt x="358" y="209"/>
                  </a:lnTo>
                  <a:lnTo>
                    <a:pt x="360" y="207"/>
                  </a:lnTo>
                  <a:lnTo>
                    <a:pt x="361" y="204"/>
                  </a:lnTo>
                  <a:lnTo>
                    <a:pt x="363" y="202"/>
                  </a:lnTo>
                  <a:lnTo>
                    <a:pt x="363" y="200"/>
                  </a:lnTo>
                  <a:lnTo>
                    <a:pt x="361" y="200"/>
                  </a:lnTo>
                  <a:lnTo>
                    <a:pt x="363" y="200"/>
                  </a:lnTo>
                  <a:lnTo>
                    <a:pt x="365" y="200"/>
                  </a:lnTo>
                  <a:lnTo>
                    <a:pt x="366" y="200"/>
                  </a:lnTo>
                  <a:lnTo>
                    <a:pt x="368" y="199"/>
                  </a:lnTo>
                  <a:lnTo>
                    <a:pt x="370" y="197"/>
                  </a:lnTo>
                  <a:lnTo>
                    <a:pt x="371" y="196"/>
                  </a:lnTo>
                  <a:lnTo>
                    <a:pt x="373" y="196"/>
                  </a:lnTo>
                  <a:lnTo>
                    <a:pt x="374" y="196"/>
                  </a:lnTo>
                  <a:lnTo>
                    <a:pt x="376" y="197"/>
                  </a:lnTo>
                  <a:lnTo>
                    <a:pt x="374" y="197"/>
                  </a:lnTo>
                  <a:lnTo>
                    <a:pt x="374" y="199"/>
                  </a:lnTo>
                  <a:lnTo>
                    <a:pt x="373" y="200"/>
                  </a:lnTo>
                  <a:lnTo>
                    <a:pt x="373" y="202"/>
                  </a:lnTo>
                  <a:lnTo>
                    <a:pt x="374" y="202"/>
                  </a:lnTo>
                  <a:lnTo>
                    <a:pt x="376" y="202"/>
                  </a:lnTo>
                  <a:lnTo>
                    <a:pt x="376" y="200"/>
                  </a:lnTo>
                  <a:lnTo>
                    <a:pt x="376" y="199"/>
                  </a:lnTo>
                  <a:lnTo>
                    <a:pt x="378" y="197"/>
                  </a:lnTo>
                  <a:lnTo>
                    <a:pt x="378" y="196"/>
                  </a:lnTo>
                  <a:lnTo>
                    <a:pt x="379" y="194"/>
                  </a:lnTo>
                  <a:lnTo>
                    <a:pt x="379" y="196"/>
                  </a:lnTo>
                  <a:lnTo>
                    <a:pt x="381" y="196"/>
                  </a:lnTo>
                  <a:lnTo>
                    <a:pt x="381" y="194"/>
                  </a:lnTo>
                  <a:lnTo>
                    <a:pt x="381" y="192"/>
                  </a:lnTo>
                  <a:lnTo>
                    <a:pt x="383" y="192"/>
                  </a:lnTo>
                  <a:lnTo>
                    <a:pt x="383" y="194"/>
                  </a:lnTo>
                  <a:lnTo>
                    <a:pt x="384" y="194"/>
                  </a:lnTo>
                  <a:lnTo>
                    <a:pt x="386" y="196"/>
                  </a:lnTo>
                  <a:lnTo>
                    <a:pt x="387" y="194"/>
                  </a:lnTo>
                  <a:lnTo>
                    <a:pt x="386" y="194"/>
                  </a:lnTo>
                  <a:lnTo>
                    <a:pt x="386" y="192"/>
                  </a:lnTo>
                  <a:lnTo>
                    <a:pt x="387" y="192"/>
                  </a:lnTo>
                  <a:lnTo>
                    <a:pt x="389" y="192"/>
                  </a:lnTo>
                  <a:lnTo>
                    <a:pt x="391" y="191"/>
                  </a:lnTo>
                  <a:lnTo>
                    <a:pt x="391" y="189"/>
                  </a:lnTo>
                  <a:lnTo>
                    <a:pt x="391" y="187"/>
                  </a:lnTo>
                  <a:lnTo>
                    <a:pt x="389" y="186"/>
                  </a:lnTo>
                  <a:lnTo>
                    <a:pt x="391" y="189"/>
                  </a:lnTo>
                  <a:lnTo>
                    <a:pt x="391" y="191"/>
                  </a:lnTo>
                  <a:lnTo>
                    <a:pt x="389" y="191"/>
                  </a:lnTo>
                  <a:lnTo>
                    <a:pt x="387" y="192"/>
                  </a:lnTo>
                  <a:lnTo>
                    <a:pt x="386" y="192"/>
                  </a:lnTo>
                  <a:lnTo>
                    <a:pt x="386" y="194"/>
                  </a:lnTo>
                  <a:lnTo>
                    <a:pt x="387" y="194"/>
                  </a:lnTo>
                  <a:lnTo>
                    <a:pt x="386" y="194"/>
                  </a:lnTo>
                  <a:lnTo>
                    <a:pt x="386" y="196"/>
                  </a:lnTo>
                  <a:lnTo>
                    <a:pt x="384" y="194"/>
                  </a:lnTo>
                  <a:lnTo>
                    <a:pt x="383" y="192"/>
                  </a:lnTo>
                  <a:lnTo>
                    <a:pt x="381" y="192"/>
                  </a:lnTo>
                  <a:lnTo>
                    <a:pt x="381" y="196"/>
                  </a:lnTo>
                  <a:lnTo>
                    <a:pt x="379" y="196"/>
                  </a:lnTo>
                  <a:lnTo>
                    <a:pt x="379" y="194"/>
                  </a:lnTo>
                  <a:lnTo>
                    <a:pt x="378" y="196"/>
                  </a:lnTo>
                  <a:lnTo>
                    <a:pt x="378" y="197"/>
                  </a:lnTo>
                  <a:lnTo>
                    <a:pt x="376" y="197"/>
                  </a:lnTo>
                  <a:lnTo>
                    <a:pt x="376" y="199"/>
                  </a:lnTo>
                  <a:lnTo>
                    <a:pt x="376" y="200"/>
                  </a:lnTo>
                  <a:lnTo>
                    <a:pt x="376" y="202"/>
                  </a:lnTo>
                  <a:lnTo>
                    <a:pt x="374" y="202"/>
                  </a:lnTo>
                  <a:lnTo>
                    <a:pt x="373" y="202"/>
                  </a:lnTo>
                  <a:lnTo>
                    <a:pt x="373" y="200"/>
                  </a:lnTo>
                  <a:lnTo>
                    <a:pt x="376" y="197"/>
                  </a:lnTo>
                  <a:lnTo>
                    <a:pt x="374" y="196"/>
                  </a:lnTo>
                  <a:lnTo>
                    <a:pt x="373" y="196"/>
                  </a:lnTo>
                  <a:lnTo>
                    <a:pt x="371" y="196"/>
                  </a:lnTo>
                  <a:lnTo>
                    <a:pt x="370" y="197"/>
                  </a:lnTo>
                  <a:lnTo>
                    <a:pt x="368" y="199"/>
                  </a:lnTo>
                  <a:lnTo>
                    <a:pt x="366" y="200"/>
                  </a:lnTo>
                  <a:lnTo>
                    <a:pt x="366" y="199"/>
                  </a:lnTo>
                  <a:lnTo>
                    <a:pt x="365" y="199"/>
                  </a:lnTo>
                  <a:lnTo>
                    <a:pt x="365" y="200"/>
                  </a:lnTo>
                  <a:lnTo>
                    <a:pt x="363" y="200"/>
                  </a:lnTo>
                  <a:lnTo>
                    <a:pt x="361" y="200"/>
                  </a:lnTo>
                  <a:lnTo>
                    <a:pt x="361" y="199"/>
                  </a:lnTo>
                  <a:lnTo>
                    <a:pt x="363" y="200"/>
                  </a:lnTo>
                  <a:lnTo>
                    <a:pt x="365" y="199"/>
                  </a:lnTo>
                  <a:lnTo>
                    <a:pt x="370" y="192"/>
                  </a:lnTo>
                  <a:lnTo>
                    <a:pt x="371" y="192"/>
                  </a:lnTo>
                  <a:lnTo>
                    <a:pt x="376" y="186"/>
                  </a:lnTo>
                  <a:lnTo>
                    <a:pt x="384" y="178"/>
                  </a:lnTo>
                  <a:lnTo>
                    <a:pt x="387" y="174"/>
                  </a:lnTo>
                  <a:lnTo>
                    <a:pt x="387" y="173"/>
                  </a:lnTo>
                  <a:lnTo>
                    <a:pt x="391" y="170"/>
                  </a:lnTo>
                  <a:lnTo>
                    <a:pt x="394" y="165"/>
                  </a:lnTo>
                  <a:lnTo>
                    <a:pt x="396" y="163"/>
                  </a:lnTo>
                  <a:lnTo>
                    <a:pt x="400" y="155"/>
                  </a:lnTo>
                  <a:lnTo>
                    <a:pt x="404" y="152"/>
                  </a:lnTo>
                  <a:lnTo>
                    <a:pt x="407" y="147"/>
                  </a:lnTo>
                  <a:lnTo>
                    <a:pt x="409" y="145"/>
                  </a:lnTo>
                  <a:lnTo>
                    <a:pt x="410" y="144"/>
                  </a:lnTo>
                  <a:lnTo>
                    <a:pt x="412" y="140"/>
                  </a:lnTo>
                  <a:lnTo>
                    <a:pt x="413" y="139"/>
                  </a:lnTo>
                  <a:lnTo>
                    <a:pt x="415" y="137"/>
                  </a:lnTo>
                  <a:lnTo>
                    <a:pt x="415" y="135"/>
                  </a:lnTo>
                  <a:lnTo>
                    <a:pt x="417" y="134"/>
                  </a:lnTo>
                  <a:lnTo>
                    <a:pt x="422" y="126"/>
                  </a:lnTo>
                  <a:lnTo>
                    <a:pt x="423" y="126"/>
                  </a:lnTo>
                  <a:lnTo>
                    <a:pt x="425" y="126"/>
                  </a:lnTo>
                  <a:lnTo>
                    <a:pt x="425" y="127"/>
                  </a:lnTo>
                  <a:lnTo>
                    <a:pt x="423" y="127"/>
                  </a:lnTo>
                  <a:lnTo>
                    <a:pt x="423" y="129"/>
                  </a:lnTo>
                  <a:lnTo>
                    <a:pt x="422" y="129"/>
                  </a:lnTo>
                  <a:lnTo>
                    <a:pt x="422" y="130"/>
                  </a:lnTo>
                  <a:lnTo>
                    <a:pt x="423" y="130"/>
                  </a:lnTo>
                  <a:lnTo>
                    <a:pt x="425" y="132"/>
                  </a:lnTo>
                  <a:lnTo>
                    <a:pt x="425" y="134"/>
                  </a:lnTo>
                  <a:lnTo>
                    <a:pt x="425" y="132"/>
                  </a:lnTo>
                  <a:lnTo>
                    <a:pt x="426" y="132"/>
                  </a:lnTo>
                  <a:lnTo>
                    <a:pt x="426" y="130"/>
                  </a:lnTo>
                  <a:lnTo>
                    <a:pt x="428" y="130"/>
                  </a:lnTo>
                  <a:lnTo>
                    <a:pt x="428" y="129"/>
                  </a:lnTo>
                  <a:lnTo>
                    <a:pt x="428" y="127"/>
                  </a:lnTo>
                  <a:lnTo>
                    <a:pt x="426" y="127"/>
                  </a:lnTo>
                  <a:lnTo>
                    <a:pt x="425" y="126"/>
                  </a:lnTo>
                  <a:lnTo>
                    <a:pt x="423" y="124"/>
                  </a:lnTo>
                  <a:lnTo>
                    <a:pt x="423" y="126"/>
                  </a:lnTo>
                  <a:lnTo>
                    <a:pt x="423" y="124"/>
                  </a:lnTo>
                  <a:lnTo>
                    <a:pt x="425" y="122"/>
                  </a:lnTo>
                  <a:lnTo>
                    <a:pt x="426" y="119"/>
                  </a:lnTo>
                  <a:lnTo>
                    <a:pt x="426" y="117"/>
                  </a:lnTo>
                  <a:lnTo>
                    <a:pt x="428" y="116"/>
                  </a:lnTo>
                  <a:lnTo>
                    <a:pt x="431" y="111"/>
                  </a:lnTo>
                  <a:lnTo>
                    <a:pt x="433" y="108"/>
                  </a:lnTo>
                  <a:lnTo>
                    <a:pt x="435" y="103"/>
                  </a:lnTo>
                  <a:lnTo>
                    <a:pt x="436" y="103"/>
                  </a:lnTo>
                  <a:lnTo>
                    <a:pt x="436" y="101"/>
                  </a:lnTo>
                  <a:lnTo>
                    <a:pt x="436" y="100"/>
                  </a:lnTo>
                  <a:lnTo>
                    <a:pt x="438" y="96"/>
                  </a:lnTo>
                  <a:lnTo>
                    <a:pt x="439" y="96"/>
                  </a:lnTo>
                  <a:lnTo>
                    <a:pt x="441" y="93"/>
                  </a:lnTo>
                  <a:lnTo>
                    <a:pt x="441" y="91"/>
                  </a:lnTo>
                  <a:lnTo>
                    <a:pt x="443" y="91"/>
                  </a:lnTo>
                  <a:lnTo>
                    <a:pt x="443" y="88"/>
                  </a:lnTo>
                  <a:lnTo>
                    <a:pt x="444" y="88"/>
                  </a:lnTo>
                  <a:lnTo>
                    <a:pt x="444" y="87"/>
                  </a:lnTo>
                  <a:lnTo>
                    <a:pt x="446" y="83"/>
                  </a:lnTo>
                  <a:lnTo>
                    <a:pt x="448" y="83"/>
                  </a:lnTo>
                  <a:lnTo>
                    <a:pt x="449" y="83"/>
                  </a:lnTo>
                  <a:lnTo>
                    <a:pt x="451" y="82"/>
                  </a:lnTo>
                  <a:lnTo>
                    <a:pt x="452" y="82"/>
                  </a:lnTo>
                  <a:lnTo>
                    <a:pt x="451" y="82"/>
                  </a:lnTo>
                  <a:lnTo>
                    <a:pt x="449" y="82"/>
                  </a:lnTo>
                  <a:lnTo>
                    <a:pt x="449" y="83"/>
                  </a:lnTo>
                  <a:lnTo>
                    <a:pt x="449" y="82"/>
                  </a:lnTo>
                  <a:lnTo>
                    <a:pt x="451" y="80"/>
                  </a:lnTo>
                  <a:lnTo>
                    <a:pt x="451" y="78"/>
                  </a:lnTo>
                  <a:lnTo>
                    <a:pt x="451" y="77"/>
                  </a:lnTo>
                  <a:lnTo>
                    <a:pt x="452" y="77"/>
                  </a:lnTo>
                  <a:lnTo>
                    <a:pt x="452" y="75"/>
                  </a:lnTo>
                  <a:lnTo>
                    <a:pt x="454" y="74"/>
                  </a:lnTo>
                  <a:lnTo>
                    <a:pt x="454" y="72"/>
                  </a:lnTo>
                  <a:lnTo>
                    <a:pt x="456" y="70"/>
                  </a:lnTo>
                  <a:lnTo>
                    <a:pt x="457" y="65"/>
                  </a:lnTo>
                  <a:lnTo>
                    <a:pt x="459" y="64"/>
                  </a:lnTo>
                  <a:lnTo>
                    <a:pt x="459" y="62"/>
                  </a:lnTo>
                  <a:lnTo>
                    <a:pt x="461" y="61"/>
                  </a:lnTo>
                  <a:lnTo>
                    <a:pt x="461" y="59"/>
                  </a:lnTo>
                  <a:lnTo>
                    <a:pt x="462" y="57"/>
                  </a:lnTo>
                  <a:lnTo>
                    <a:pt x="462" y="56"/>
                  </a:lnTo>
                  <a:lnTo>
                    <a:pt x="464" y="56"/>
                  </a:lnTo>
                  <a:lnTo>
                    <a:pt x="464" y="54"/>
                  </a:lnTo>
                  <a:lnTo>
                    <a:pt x="465" y="52"/>
                  </a:lnTo>
                  <a:lnTo>
                    <a:pt x="465" y="51"/>
                  </a:lnTo>
                  <a:lnTo>
                    <a:pt x="467" y="49"/>
                  </a:lnTo>
                  <a:lnTo>
                    <a:pt x="469" y="48"/>
                  </a:lnTo>
                  <a:lnTo>
                    <a:pt x="470" y="48"/>
                  </a:lnTo>
                  <a:lnTo>
                    <a:pt x="470" y="46"/>
                  </a:lnTo>
                  <a:lnTo>
                    <a:pt x="472" y="44"/>
                  </a:lnTo>
                  <a:lnTo>
                    <a:pt x="472" y="43"/>
                  </a:lnTo>
                  <a:lnTo>
                    <a:pt x="474" y="41"/>
                  </a:lnTo>
                  <a:lnTo>
                    <a:pt x="474" y="39"/>
                  </a:lnTo>
                  <a:lnTo>
                    <a:pt x="475" y="36"/>
                  </a:lnTo>
                  <a:lnTo>
                    <a:pt x="477" y="35"/>
                  </a:lnTo>
                  <a:lnTo>
                    <a:pt x="478" y="33"/>
                  </a:lnTo>
                  <a:lnTo>
                    <a:pt x="478" y="31"/>
                  </a:lnTo>
                  <a:lnTo>
                    <a:pt x="478" y="33"/>
                  </a:lnTo>
                  <a:lnTo>
                    <a:pt x="478" y="31"/>
                  </a:lnTo>
                  <a:lnTo>
                    <a:pt x="480" y="31"/>
                  </a:lnTo>
                  <a:lnTo>
                    <a:pt x="480" y="33"/>
                  </a:lnTo>
                  <a:lnTo>
                    <a:pt x="480" y="31"/>
                  </a:lnTo>
                  <a:lnTo>
                    <a:pt x="478" y="31"/>
                  </a:lnTo>
                  <a:lnTo>
                    <a:pt x="478" y="33"/>
                  </a:lnTo>
                  <a:lnTo>
                    <a:pt x="477" y="35"/>
                  </a:lnTo>
                  <a:lnTo>
                    <a:pt x="477" y="33"/>
                  </a:lnTo>
                  <a:lnTo>
                    <a:pt x="477" y="30"/>
                  </a:lnTo>
                  <a:lnTo>
                    <a:pt x="478" y="30"/>
                  </a:lnTo>
                  <a:lnTo>
                    <a:pt x="478" y="28"/>
                  </a:lnTo>
                  <a:lnTo>
                    <a:pt x="480" y="26"/>
                  </a:lnTo>
                  <a:lnTo>
                    <a:pt x="480" y="25"/>
                  </a:lnTo>
                  <a:lnTo>
                    <a:pt x="482" y="22"/>
                  </a:lnTo>
                  <a:lnTo>
                    <a:pt x="482" y="20"/>
                  </a:lnTo>
                  <a:lnTo>
                    <a:pt x="483" y="20"/>
                  </a:lnTo>
                  <a:lnTo>
                    <a:pt x="483" y="18"/>
                  </a:lnTo>
                  <a:lnTo>
                    <a:pt x="483" y="17"/>
                  </a:lnTo>
                  <a:lnTo>
                    <a:pt x="485" y="17"/>
                  </a:lnTo>
                  <a:lnTo>
                    <a:pt x="485" y="15"/>
                  </a:lnTo>
                  <a:lnTo>
                    <a:pt x="485" y="13"/>
                  </a:lnTo>
                  <a:lnTo>
                    <a:pt x="487" y="10"/>
                  </a:lnTo>
                  <a:lnTo>
                    <a:pt x="488" y="9"/>
                  </a:lnTo>
                  <a:lnTo>
                    <a:pt x="488" y="7"/>
                  </a:lnTo>
                  <a:lnTo>
                    <a:pt x="490" y="5"/>
                  </a:lnTo>
                  <a:lnTo>
                    <a:pt x="492" y="5"/>
                  </a:lnTo>
                  <a:lnTo>
                    <a:pt x="493" y="5"/>
                  </a:lnTo>
                  <a:lnTo>
                    <a:pt x="495" y="5"/>
                  </a:lnTo>
                  <a:lnTo>
                    <a:pt x="495" y="7"/>
                  </a:lnTo>
                  <a:lnTo>
                    <a:pt x="496" y="7"/>
                  </a:lnTo>
                  <a:lnTo>
                    <a:pt x="498" y="7"/>
                  </a:lnTo>
                  <a:lnTo>
                    <a:pt x="500" y="7"/>
                  </a:lnTo>
                  <a:lnTo>
                    <a:pt x="501" y="7"/>
                  </a:lnTo>
                  <a:lnTo>
                    <a:pt x="501" y="9"/>
                  </a:lnTo>
                  <a:lnTo>
                    <a:pt x="503" y="9"/>
                  </a:lnTo>
                  <a:lnTo>
                    <a:pt x="505" y="9"/>
                  </a:lnTo>
                  <a:lnTo>
                    <a:pt x="503" y="9"/>
                  </a:lnTo>
                  <a:lnTo>
                    <a:pt x="503" y="10"/>
                  </a:lnTo>
                  <a:lnTo>
                    <a:pt x="505" y="10"/>
                  </a:lnTo>
                  <a:lnTo>
                    <a:pt x="503" y="10"/>
                  </a:lnTo>
                  <a:lnTo>
                    <a:pt x="505" y="10"/>
                  </a:lnTo>
                  <a:lnTo>
                    <a:pt x="505" y="12"/>
                  </a:lnTo>
                  <a:lnTo>
                    <a:pt x="506" y="12"/>
                  </a:lnTo>
                  <a:lnTo>
                    <a:pt x="508" y="10"/>
                  </a:lnTo>
                  <a:lnTo>
                    <a:pt x="509" y="10"/>
                  </a:lnTo>
                  <a:lnTo>
                    <a:pt x="509" y="9"/>
                  </a:lnTo>
                  <a:lnTo>
                    <a:pt x="511" y="9"/>
                  </a:lnTo>
                  <a:lnTo>
                    <a:pt x="511" y="7"/>
                  </a:lnTo>
                  <a:lnTo>
                    <a:pt x="509" y="7"/>
                  </a:lnTo>
                  <a:lnTo>
                    <a:pt x="511" y="7"/>
                  </a:lnTo>
                  <a:lnTo>
                    <a:pt x="513" y="7"/>
                  </a:lnTo>
                  <a:lnTo>
                    <a:pt x="514" y="7"/>
                  </a:lnTo>
                  <a:lnTo>
                    <a:pt x="514" y="5"/>
                  </a:lnTo>
                  <a:lnTo>
                    <a:pt x="516" y="5"/>
                  </a:lnTo>
                  <a:lnTo>
                    <a:pt x="518" y="5"/>
                  </a:lnTo>
                  <a:lnTo>
                    <a:pt x="519" y="5"/>
                  </a:lnTo>
                  <a:lnTo>
                    <a:pt x="519" y="7"/>
                  </a:lnTo>
                  <a:lnTo>
                    <a:pt x="521" y="7"/>
                  </a:lnTo>
                  <a:lnTo>
                    <a:pt x="522" y="7"/>
                  </a:lnTo>
                  <a:lnTo>
                    <a:pt x="524" y="7"/>
                  </a:lnTo>
                  <a:lnTo>
                    <a:pt x="526" y="7"/>
                  </a:lnTo>
                  <a:lnTo>
                    <a:pt x="527" y="7"/>
                  </a:lnTo>
                  <a:lnTo>
                    <a:pt x="527" y="9"/>
                  </a:lnTo>
                  <a:lnTo>
                    <a:pt x="529" y="9"/>
                  </a:lnTo>
                  <a:lnTo>
                    <a:pt x="531" y="9"/>
                  </a:lnTo>
                  <a:lnTo>
                    <a:pt x="531" y="7"/>
                  </a:lnTo>
                  <a:lnTo>
                    <a:pt x="532" y="7"/>
                  </a:lnTo>
                  <a:lnTo>
                    <a:pt x="534" y="7"/>
                  </a:lnTo>
                  <a:lnTo>
                    <a:pt x="532" y="7"/>
                  </a:lnTo>
                  <a:lnTo>
                    <a:pt x="534" y="7"/>
                  </a:lnTo>
                  <a:lnTo>
                    <a:pt x="535" y="7"/>
                  </a:lnTo>
                  <a:lnTo>
                    <a:pt x="535" y="5"/>
                  </a:lnTo>
                  <a:lnTo>
                    <a:pt x="537" y="5"/>
                  </a:lnTo>
                  <a:lnTo>
                    <a:pt x="539" y="4"/>
                  </a:lnTo>
                  <a:lnTo>
                    <a:pt x="540" y="4"/>
                  </a:lnTo>
                  <a:lnTo>
                    <a:pt x="540" y="2"/>
                  </a:lnTo>
                  <a:lnTo>
                    <a:pt x="540" y="4"/>
                  </a:lnTo>
                  <a:lnTo>
                    <a:pt x="542" y="4"/>
                  </a:lnTo>
                  <a:lnTo>
                    <a:pt x="542" y="2"/>
                  </a:lnTo>
                  <a:lnTo>
                    <a:pt x="544" y="0"/>
                  </a:lnTo>
                  <a:lnTo>
                    <a:pt x="545" y="0"/>
                  </a:lnTo>
                  <a:lnTo>
                    <a:pt x="547" y="0"/>
                  </a:lnTo>
                  <a:lnTo>
                    <a:pt x="547" y="2"/>
                  </a:lnTo>
                  <a:lnTo>
                    <a:pt x="548" y="2"/>
                  </a:lnTo>
                  <a:lnTo>
                    <a:pt x="548" y="0"/>
                  </a:lnTo>
                  <a:lnTo>
                    <a:pt x="548" y="2"/>
                  </a:lnTo>
                  <a:lnTo>
                    <a:pt x="550" y="2"/>
                  </a:lnTo>
                  <a:lnTo>
                    <a:pt x="552" y="2"/>
                  </a:lnTo>
                  <a:lnTo>
                    <a:pt x="553" y="0"/>
                  </a:lnTo>
                  <a:lnTo>
                    <a:pt x="553" y="2"/>
                  </a:lnTo>
                  <a:lnTo>
                    <a:pt x="555" y="2"/>
                  </a:lnTo>
                  <a:lnTo>
                    <a:pt x="555" y="4"/>
                  </a:lnTo>
                  <a:lnTo>
                    <a:pt x="555" y="5"/>
                  </a:lnTo>
                  <a:lnTo>
                    <a:pt x="555" y="7"/>
                  </a:lnTo>
                  <a:lnTo>
                    <a:pt x="557" y="7"/>
                  </a:lnTo>
                  <a:lnTo>
                    <a:pt x="557" y="9"/>
                  </a:lnTo>
                  <a:lnTo>
                    <a:pt x="558" y="9"/>
                  </a:lnTo>
                  <a:lnTo>
                    <a:pt x="558" y="10"/>
                  </a:lnTo>
                  <a:lnTo>
                    <a:pt x="557" y="12"/>
                  </a:lnTo>
                  <a:lnTo>
                    <a:pt x="557" y="13"/>
                  </a:lnTo>
                  <a:lnTo>
                    <a:pt x="557" y="15"/>
                  </a:lnTo>
                  <a:lnTo>
                    <a:pt x="557" y="22"/>
                  </a:lnTo>
                  <a:lnTo>
                    <a:pt x="555" y="22"/>
                  </a:lnTo>
                  <a:lnTo>
                    <a:pt x="557" y="22"/>
                  </a:lnTo>
                  <a:lnTo>
                    <a:pt x="555" y="22"/>
                  </a:lnTo>
                  <a:lnTo>
                    <a:pt x="555" y="23"/>
                  </a:lnTo>
                  <a:lnTo>
                    <a:pt x="555" y="25"/>
                  </a:lnTo>
                  <a:lnTo>
                    <a:pt x="557" y="25"/>
                  </a:lnTo>
                  <a:lnTo>
                    <a:pt x="555" y="25"/>
                  </a:lnTo>
                  <a:lnTo>
                    <a:pt x="555" y="26"/>
                  </a:lnTo>
                  <a:lnTo>
                    <a:pt x="555" y="30"/>
                  </a:lnTo>
                  <a:lnTo>
                    <a:pt x="557" y="30"/>
                  </a:lnTo>
                  <a:lnTo>
                    <a:pt x="555" y="30"/>
                  </a:lnTo>
                  <a:lnTo>
                    <a:pt x="555" y="31"/>
                  </a:lnTo>
                  <a:lnTo>
                    <a:pt x="557" y="31"/>
                  </a:lnTo>
                  <a:lnTo>
                    <a:pt x="557" y="33"/>
                  </a:lnTo>
                  <a:lnTo>
                    <a:pt x="557" y="35"/>
                  </a:lnTo>
                  <a:lnTo>
                    <a:pt x="558" y="36"/>
                  </a:lnTo>
                  <a:lnTo>
                    <a:pt x="560" y="36"/>
                  </a:lnTo>
                  <a:lnTo>
                    <a:pt x="561" y="36"/>
                  </a:lnTo>
                  <a:lnTo>
                    <a:pt x="561" y="38"/>
                  </a:lnTo>
                  <a:lnTo>
                    <a:pt x="560" y="39"/>
                  </a:lnTo>
                  <a:lnTo>
                    <a:pt x="560" y="41"/>
                  </a:lnTo>
                  <a:lnTo>
                    <a:pt x="560" y="44"/>
                  </a:lnTo>
                  <a:lnTo>
                    <a:pt x="561" y="48"/>
                  </a:lnTo>
                  <a:lnTo>
                    <a:pt x="560" y="48"/>
                  </a:lnTo>
                  <a:lnTo>
                    <a:pt x="561" y="48"/>
                  </a:lnTo>
                  <a:lnTo>
                    <a:pt x="561" y="51"/>
                  </a:lnTo>
                  <a:lnTo>
                    <a:pt x="561" y="52"/>
                  </a:lnTo>
                  <a:lnTo>
                    <a:pt x="561" y="54"/>
                  </a:lnTo>
                  <a:lnTo>
                    <a:pt x="561" y="56"/>
                  </a:lnTo>
                  <a:lnTo>
                    <a:pt x="563" y="56"/>
                  </a:lnTo>
                  <a:lnTo>
                    <a:pt x="565" y="56"/>
                  </a:lnTo>
                  <a:lnTo>
                    <a:pt x="565" y="57"/>
                  </a:lnTo>
                  <a:lnTo>
                    <a:pt x="566" y="59"/>
                  </a:lnTo>
                  <a:lnTo>
                    <a:pt x="566" y="57"/>
                  </a:lnTo>
                  <a:lnTo>
                    <a:pt x="568" y="59"/>
                  </a:lnTo>
                  <a:lnTo>
                    <a:pt x="570" y="59"/>
                  </a:lnTo>
                  <a:lnTo>
                    <a:pt x="570" y="61"/>
                  </a:lnTo>
                  <a:lnTo>
                    <a:pt x="571" y="62"/>
                  </a:lnTo>
                  <a:lnTo>
                    <a:pt x="571" y="64"/>
                  </a:lnTo>
                  <a:lnTo>
                    <a:pt x="573" y="65"/>
                  </a:lnTo>
                  <a:lnTo>
                    <a:pt x="574" y="67"/>
                  </a:lnTo>
                  <a:lnTo>
                    <a:pt x="576" y="69"/>
                  </a:lnTo>
                  <a:lnTo>
                    <a:pt x="576" y="70"/>
                  </a:lnTo>
                  <a:lnTo>
                    <a:pt x="576" y="72"/>
                  </a:lnTo>
                  <a:lnTo>
                    <a:pt x="578" y="72"/>
                  </a:lnTo>
                  <a:lnTo>
                    <a:pt x="578" y="75"/>
                  </a:lnTo>
                  <a:lnTo>
                    <a:pt x="578" y="77"/>
                  </a:lnTo>
                  <a:lnTo>
                    <a:pt x="579" y="80"/>
                  </a:lnTo>
                  <a:lnTo>
                    <a:pt x="581" y="80"/>
                  </a:lnTo>
                  <a:lnTo>
                    <a:pt x="583" y="82"/>
                  </a:lnTo>
                  <a:lnTo>
                    <a:pt x="584" y="82"/>
                  </a:lnTo>
                  <a:lnTo>
                    <a:pt x="586" y="82"/>
                  </a:lnTo>
                  <a:lnTo>
                    <a:pt x="586" y="83"/>
                  </a:lnTo>
                  <a:lnTo>
                    <a:pt x="587" y="87"/>
                  </a:lnTo>
                  <a:lnTo>
                    <a:pt x="589" y="87"/>
                  </a:lnTo>
                  <a:lnTo>
                    <a:pt x="589" y="88"/>
                  </a:lnTo>
                  <a:lnTo>
                    <a:pt x="589" y="90"/>
                  </a:lnTo>
                  <a:lnTo>
                    <a:pt x="591" y="90"/>
                  </a:lnTo>
                  <a:lnTo>
                    <a:pt x="592" y="93"/>
                  </a:lnTo>
                  <a:lnTo>
                    <a:pt x="592" y="95"/>
                  </a:lnTo>
                  <a:lnTo>
                    <a:pt x="594" y="96"/>
                  </a:lnTo>
                  <a:lnTo>
                    <a:pt x="596" y="98"/>
                  </a:lnTo>
                  <a:lnTo>
                    <a:pt x="597" y="98"/>
                  </a:lnTo>
                  <a:lnTo>
                    <a:pt x="599" y="100"/>
                  </a:lnTo>
                  <a:lnTo>
                    <a:pt x="600" y="101"/>
                  </a:lnTo>
                  <a:lnTo>
                    <a:pt x="602" y="103"/>
                  </a:lnTo>
                  <a:lnTo>
                    <a:pt x="604" y="106"/>
                  </a:lnTo>
                  <a:lnTo>
                    <a:pt x="605" y="106"/>
                  </a:lnTo>
                  <a:lnTo>
                    <a:pt x="607" y="108"/>
                  </a:lnTo>
                  <a:lnTo>
                    <a:pt x="609" y="109"/>
                  </a:lnTo>
                  <a:lnTo>
                    <a:pt x="610" y="111"/>
                  </a:lnTo>
                  <a:lnTo>
                    <a:pt x="612" y="113"/>
                  </a:lnTo>
                  <a:lnTo>
                    <a:pt x="613" y="113"/>
                  </a:lnTo>
                  <a:lnTo>
                    <a:pt x="613" y="114"/>
                  </a:lnTo>
                  <a:lnTo>
                    <a:pt x="615" y="114"/>
                  </a:lnTo>
                  <a:lnTo>
                    <a:pt x="617" y="116"/>
                  </a:lnTo>
                  <a:lnTo>
                    <a:pt x="618" y="116"/>
                  </a:lnTo>
                  <a:lnTo>
                    <a:pt x="618" y="117"/>
                  </a:lnTo>
                  <a:lnTo>
                    <a:pt x="620" y="117"/>
                  </a:lnTo>
                  <a:lnTo>
                    <a:pt x="622" y="116"/>
                  </a:lnTo>
                  <a:lnTo>
                    <a:pt x="623" y="116"/>
                  </a:lnTo>
                  <a:lnTo>
                    <a:pt x="623" y="117"/>
                  </a:lnTo>
                  <a:lnTo>
                    <a:pt x="625" y="119"/>
                  </a:lnTo>
                  <a:lnTo>
                    <a:pt x="626" y="121"/>
                  </a:lnTo>
                  <a:lnTo>
                    <a:pt x="628" y="121"/>
                  </a:lnTo>
                  <a:lnTo>
                    <a:pt x="630" y="121"/>
                  </a:lnTo>
                  <a:lnTo>
                    <a:pt x="631" y="122"/>
                  </a:lnTo>
                  <a:lnTo>
                    <a:pt x="633" y="122"/>
                  </a:lnTo>
                  <a:lnTo>
                    <a:pt x="636" y="124"/>
                  </a:lnTo>
                  <a:lnTo>
                    <a:pt x="638" y="124"/>
                  </a:lnTo>
                  <a:lnTo>
                    <a:pt x="640" y="126"/>
                  </a:lnTo>
                  <a:lnTo>
                    <a:pt x="641" y="126"/>
                  </a:lnTo>
                  <a:lnTo>
                    <a:pt x="643" y="126"/>
                  </a:lnTo>
                  <a:lnTo>
                    <a:pt x="643" y="127"/>
                  </a:lnTo>
                  <a:lnTo>
                    <a:pt x="644" y="127"/>
                  </a:lnTo>
                  <a:lnTo>
                    <a:pt x="646" y="129"/>
                  </a:lnTo>
                  <a:lnTo>
                    <a:pt x="649" y="129"/>
                  </a:lnTo>
                  <a:lnTo>
                    <a:pt x="651" y="130"/>
                  </a:lnTo>
                  <a:lnTo>
                    <a:pt x="653" y="130"/>
                  </a:lnTo>
                  <a:lnTo>
                    <a:pt x="653" y="132"/>
                  </a:lnTo>
                  <a:lnTo>
                    <a:pt x="654" y="132"/>
                  </a:lnTo>
                  <a:lnTo>
                    <a:pt x="654" y="130"/>
                  </a:lnTo>
                  <a:lnTo>
                    <a:pt x="654" y="132"/>
                  </a:lnTo>
                  <a:lnTo>
                    <a:pt x="656" y="132"/>
                  </a:lnTo>
                  <a:lnTo>
                    <a:pt x="657" y="132"/>
                  </a:lnTo>
                  <a:lnTo>
                    <a:pt x="657" y="130"/>
                  </a:lnTo>
                  <a:lnTo>
                    <a:pt x="659" y="132"/>
                  </a:lnTo>
                  <a:lnTo>
                    <a:pt x="659" y="130"/>
                  </a:lnTo>
                  <a:lnTo>
                    <a:pt x="661" y="130"/>
                  </a:lnTo>
                  <a:lnTo>
                    <a:pt x="662" y="130"/>
                  </a:lnTo>
                  <a:lnTo>
                    <a:pt x="664" y="130"/>
                  </a:lnTo>
                  <a:lnTo>
                    <a:pt x="664" y="129"/>
                  </a:lnTo>
                  <a:lnTo>
                    <a:pt x="667" y="129"/>
                  </a:lnTo>
                  <a:lnTo>
                    <a:pt x="669" y="129"/>
                  </a:lnTo>
                  <a:lnTo>
                    <a:pt x="670" y="129"/>
                  </a:lnTo>
                  <a:close/>
                </a:path>
              </a:pathLst>
            </a:custGeom>
            <a:solidFill>
              <a:srgbClr val="E5E5E5"/>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1227" name="Freeform 73">
              <a:extLst>
                <a:ext uri="{FF2B5EF4-FFF2-40B4-BE49-F238E27FC236}">
                  <a16:creationId xmlns:a16="http://schemas.microsoft.com/office/drawing/2014/main" id="{D2BA0A0B-EA54-BD3C-E5E4-5A94E9443955}"/>
                </a:ext>
              </a:extLst>
            </p:cNvPr>
            <p:cNvSpPr>
              <a:spLocks/>
            </p:cNvSpPr>
            <p:nvPr/>
          </p:nvSpPr>
          <p:spPr bwMode="auto">
            <a:xfrm>
              <a:off x="5255" y="4636"/>
              <a:ext cx="195" cy="197"/>
            </a:xfrm>
            <a:custGeom>
              <a:avLst/>
              <a:gdLst>
                <a:gd name="T0" fmla="*/ 83 w 195"/>
                <a:gd name="T1" fmla="*/ 10 h 197"/>
                <a:gd name="T2" fmla="*/ 88 w 195"/>
                <a:gd name="T3" fmla="*/ 15 h 197"/>
                <a:gd name="T4" fmla="*/ 97 w 195"/>
                <a:gd name="T5" fmla="*/ 16 h 197"/>
                <a:gd name="T6" fmla="*/ 107 w 195"/>
                <a:gd name="T7" fmla="*/ 18 h 197"/>
                <a:gd name="T8" fmla="*/ 114 w 195"/>
                <a:gd name="T9" fmla="*/ 18 h 197"/>
                <a:gd name="T10" fmla="*/ 119 w 195"/>
                <a:gd name="T11" fmla="*/ 26 h 197"/>
                <a:gd name="T12" fmla="*/ 123 w 195"/>
                <a:gd name="T13" fmla="*/ 29 h 197"/>
                <a:gd name="T14" fmla="*/ 130 w 195"/>
                <a:gd name="T15" fmla="*/ 33 h 197"/>
                <a:gd name="T16" fmla="*/ 135 w 195"/>
                <a:gd name="T17" fmla="*/ 42 h 197"/>
                <a:gd name="T18" fmla="*/ 141 w 195"/>
                <a:gd name="T19" fmla="*/ 44 h 197"/>
                <a:gd name="T20" fmla="*/ 151 w 195"/>
                <a:gd name="T21" fmla="*/ 46 h 197"/>
                <a:gd name="T22" fmla="*/ 151 w 195"/>
                <a:gd name="T23" fmla="*/ 55 h 197"/>
                <a:gd name="T24" fmla="*/ 154 w 195"/>
                <a:gd name="T25" fmla="*/ 63 h 197"/>
                <a:gd name="T26" fmla="*/ 164 w 195"/>
                <a:gd name="T27" fmla="*/ 63 h 197"/>
                <a:gd name="T28" fmla="*/ 172 w 195"/>
                <a:gd name="T29" fmla="*/ 67 h 197"/>
                <a:gd name="T30" fmla="*/ 182 w 195"/>
                <a:gd name="T31" fmla="*/ 70 h 197"/>
                <a:gd name="T32" fmla="*/ 190 w 195"/>
                <a:gd name="T33" fmla="*/ 63 h 197"/>
                <a:gd name="T34" fmla="*/ 195 w 195"/>
                <a:gd name="T35" fmla="*/ 72 h 197"/>
                <a:gd name="T36" fmla="*/ 190 w 195"/>
                <a:gd name="T37" fmla="*/ 80 h 197"/>
                <a:gd name="T38" fmla="*/ 187 w 195"/>
                <a:gd name="T39" fmla="*/ 86 h 197"/>
                <a:gd name="T40" fmla="*/ 185 w 195"/>
                <a:gd name="T41" fmla="*/ 94 h 197"/>
                <a:gd name="T42" fmla="*/ 182 w 195"/>
                <a:gd name="T43" fmla="*/ 103 h 197"/>
                <a:gd name="T44" fmla="*/ 182 w 195"/>
                <a:gd name="T45" fmla="*/ 112 h 197"/>
                <a:gd name="T46" fmla="*/ 174 w 195"/>
                <a:gd name="T47" fmla="*/ 114 h 197"/>
                <a:gd name="T48" fmla="*/ 175 w 195"/>
                <a:gd name="T49" fmla="*/ 122 h 197"/>
                <a:gd name="T50" fmla="*/ 180 w 195"/>
                <a:gd name="T51" fmla="*/ 129 h 197"/>
                <a:gd name="T52" fmla="*/ 167 w 195"/>
                <a:gd name="T53" fmla="*/ 127 h 197"/>
                <a:gd name="T54" fmla="*/ 154 w 195"/>
                <a:gd name="T55" fmla="*/ 155 h 197"/>
                <a:gd name="T56" fmla="*/ 132 w 195"/>
                <a:gd name="T57" fmla="*/ 143 h 197"/>
                <a:gd name="T58" fmla="*/ 119 w 195"/>
                <a:gd name="T59" fmla="*/ 155 h 197"/>
                <a:gd name="T60" fmla="*/ 109 w 195"/>
                <a:gd name="T61" fmla="*/ 161 h 197"/>
                <a:gd name="T62" fmla="*/ 99 w 195"/>
                <a:gd name="T63" fmla="*/ 169 h 197"/>
                <a:gd name="T64" fmla="*/ 101 w 195"/>
                <a:gd name="T65" fmla="*/ 182 h 197"/>
                <a:gd name="T66" fmla="*/ 93 w 195"/>
                <a:gd name="T67" fmla="*/ 192 h 197"/>
                <a:gd name="T68" fmla="*/ 83 w 195"/>
                <a:gd name="T69" fmla="*/ 190 h 197"/>
                <a:gd name="T70" fmla="*/ 83 w 195"/>
                <a:gd name="T71" fmla="*/ 177 h 197"/>
                <a:gd name="T72" fmla="*/ 78 w 195"/>
                <a:gd name="T73" fmla="*/ 166 h 197"/>
                <a:gd name="T74" fmla="*/ 75 w 195"/>
                <a:gd name="T75" fmla="*/ 158 h 197"/>
                <a:gd name="T76" fmla="*/ 63 w 195"/>
                <a:gd name="T77" fmla="*/ 143 h 197"/>
                <a:gd name="T78" fmla="*/ 50 w 195"/>
                <a:gd name="T79" fmla="*/ 138 h 197"/>
                <a:gd name="T80" fmla="*/ 40 w 195"/>
                <a:gd name="T81" fmla="*/ 140 h 197"/>
                <a:gd name="T82" fmla="*/ 36 w 195"/>
                <a:gd name="T83" fmla="*/ 130 h 197"/>
                <a:gd name="T84" fmla="*/ 31 w 195"/>
                <a:gd name="T85" fmla="*/ 122 h 197"/>
                <a:gd name="T86" fmla="*/ 26 w 195"/>
                <a:gd name="T87" fmla="*/ 112 h 197"/>
                <a:gd name="T88" fmla="*/ 11 w 195"/>
                <a:gd name="T89" fmla="*/ 98 h 197"/>
                <a:gd name="T90" fmla="*/ 6 w 195"/>
                <a:gd name="T91" fmla="*/ 80 h 197"/>
                <a:gd name="T92" fmla="*/ 26 w 195"/>
                <a:gd name="T93" fmla="*/ 78 h 197"/>
                <a:gd name="T94" fmla="*/ 36 w 195"/>
                <a:gd name="T95" fmla="*/ 68 h 197"/>
                <a:gd name="T96" fmla="*/ 47 w 195"/>
                <a:gd name="T97" fmla="*/ 67 h 197"/>
                <a:gd name="T98" fmla="*/ 55 w 195"/>
                <a:gd name="T99" fmla="*/ 59 h 197"/>
                <a:gd name="T100" fmla="*/ 50 w 195"/>
                <a:gd name="T101" fmla="*/ 52 h 197"/>
                <a:gd name="T102" fmla="*/ 55 w 195"/>
                <a:gd name="T103" fmla="*/ 47 h 197"/>
                <a:gd name="T104" fmla="*/ 60 w 195"/>
                <a:gd name="T105" fmla="*/ 39 h 197"/>
                <a:gd name="T106" fmla="*/ 67 w 195"/>
                <a:gd name="T107" fmla="*/ 34 h 197"/>
                <a:gd name="T108" fmla="*/ 68 w 195"/>
                <a:gd name="T109" fmla="*/ 26 h 197"/>
                <a:gd name="T110" fmla="*/ 62 w 195"/>
                <a:gd name="T111" fmla="*/ 18 h 197"/>
                <a:gd name="T112" fmla="*/ 58 w 195"/>
                <a:gd name="T113" fmla="*/ 11 h 197"/>
                <a:gd name="T114" fmla="*/ 68 w 195"/>
                <a:gd name="T115" fmla="*/ 7 h 197"/>
                <a:gd name="T116" fmla="*/ 76 w 195"/>
                <a:gd name="T117" fmla="*/ 3 h 197"/>
                <a:gd name="T118" fmla="*/ 83 w 195"/>
                <a:gd name="T119" fmla="*/ 3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95" h="197">
                  <a:moveTo>
                    <a:pt x="83" y="3"/>
                  </a:moveTo>
                  <a:lnTo>
                    <a:pt x="84" y="5"/>
                  </a:lnTo>
                  <a:lnTo>
                    <a:pt x="86" y="5"/>
                  </a:lnTo>
                  <a:lnTo>
                    <a:pt x="86" y="7"/>
                  </a:lnTo>
                  <a:lnTo>
                    <a:pt x="86" y="8"/>
                  </a:lnTo>
                  <a:lnTo>
                    <a:pt x="84" y="8"/>
                  </a:lnTo>
                  <a:lnTo>
                    <a:pt x="83" y="8"/>
                  </a:lnTo>
                  <a:lnTo>
                    <a:pt x="83" y="10"/>
                  </a:lnTo>
                  <a:lnTo>
                    <a:pt x="83" y="11"/>
                  </a:lnTo>
                  <a:lnTo>
                    <a:pt x="81" y="11"/>
                  </a:lnTo>
                  <a:lnTo>
                    <a:pt x="81" y="13"/>
                  </a:lnTo>
                  <a:lnTo>
                    <a:pt x="83" y="13"/>
                  </a:lnTo>
                  <a:lnTo>
                    <a:pt x="84" y="13"/>
                  </a:lnTo>
                  <a:lnTo>
                    <a:pt x="86" y="13"/>
                  </a:lnTo>
                  <a:lnTo>
                    <a:pt x="88" y="13"/>
                  </a:lnTo>
                  <a:lnTo>
                    <a:pt x="88" y="15"/>
                  </a:lnTo>
                  <a:lnTo>
                    <a:pt x="89" y="15"/>
                  </a:lnTo>
                  <a:lnTo>
                    <a:pt x="91" y="15"/>
                  </a:lnTo>
                  <a:lnTo>
                    <a:pt x="93" y="15"/>
                  </a:lnTo>
                  <a:lnTo>
                    <a:pt x="93" y="16"/>
                  </a:lnTo>
                  <a:lnTo>
                    <a:pt x="94" y="18"/>
                  </a:lnTo>
                  <a:lnTo>
                    <a:pt x="96" y="18"/>
                  </a:lnTo>
                  <a:lnTo>
                    <a:pt x="97" y="18"/>
                  </a:lnTo>
                  <a:lnTo>
                    <a:pt x="97" y="16"/>
                  </a:lnTo>
                  <a:lnTo>
                    <a:pt x="99" y="16"/>
                  </a:lnTo>
                  <a:lnTo>
                    <a:pt x="101" y="16"/>
                  </a:lnTo>
                  <a:lnTo>
                    <a:pt x="101" y="15"/>
                  </a:lnTo>
                  <a:lnTo>
                    <a:pt x="102" y="16"/>
                  </a:lnTo>
                  <a:lnTo>
                    <a:pt x="104" y="16"/>
                  </a:lnTo>
                  <a:lnTo>
                    <a:pt x="104" y="18"/>
                  </a:lnTo>
                  <a:lnTo>
                    <a:pt x="106" y="18"/>
                  </a:lnTo>
                  <a:lnTo>
                    <a:pt x="107" y="18"/>
                  </a:lnTo>
                  <a:lnTo>
                    <a:pt x="109" y="18"/>
                  </a:lnTo>
                  <a:lnTo>
                    <a:pt x="109" y="16"/>
                  </a:lnTo>
                  <a:lnTo>
                    <a:pt x="109" y="15"/>
                  </a:lnTo>
                  <a:lnTo>
                    <a:pt x="110" y="15"/>
                  </a:lnTo>
                  <a:lnTo>
                    <a:pt x="110" y="16"/>
                  </a:lnTo>
                  <a:lnTo>
                    <a:pt x="112" y="16"/>
                  </a:lnTo>
                  <a:lnTo>
                    <a:pt x="112" y="18"/>
                  </a:lnTo>
                  <a:lnTo>
                    <a:pt x="114" y="18"/>
                  </a:lnTo>
                  <a:lnTo>
                    <a:pt x="115" y="16"/>
                  </a:lnTo>
                  <a:lnTo>
                    <a:pt x="115" y="18"/>
                  </a:lnTo>
                  <a:lnTo>
                    <a:pt x="117" y="18"/>
                  </a:lnTo>
                  <a:lnTo>
                    <a:pt x="117" y="20"/>
                  </a:lnTo>
                  <a:lnTo>
                    <a:pt x="117" y="21"/>
                  </a:lnTo>
                  <a:lnTo>
                    <a:pt x="117" y="23"/>
                  </a:lnTo>
                  <a:lnTo>
                    <a:pt x="119" y="24"/>
                  </a:lnTo>
                  <a:lnTo>
                    <a:pt x="119" y="26"/>
                  </a:lnTo>
                  <a:lnTo>
                    <a:pt x="119" y="28"/>
                  </a:lnTo>
                  <a:lnTo>
                    <a:pt x="120" y="28"/>
                  </a:lnTo>
                  <a:lnTo>
                    <a:pt x="120" y="29"/>
                  </a:lnTo>
                  <a:lnTo>
                    <a:pt x="120" y="31"/>
                  </a:lnTo>
                  <a:lnTo>
                    <a:pt x="122" y="31"/>
                  </a:lnTo>
                  <a:lnTo>
                    <a:pt x="122" y="33"/>
                  </a:lnTo>
                  <a:lnTo>
                    <a:pt x="123" y="31"/>
                  </a:lnTo>
                  <a:lnTo>
                    <a:pt x="123" y="29"/>
                  </a:lnTo>
                  <a:lnTo>
                    <a:pt x="123" y="28"/>
                  </a:lnTo>
                  <a:lnTo>
                    <a:pt x="125" y="28"/>
                  </a:lnTo>
                  <a:lnTo>
                    <a:pt x="127" y="28"/>
                  </a:lnTo>
                  <a:lnTo>
                    <a:pt x="127" y="29"/>
                  </a:lnTo>
                  <a:lnTo>
                    <a:pt x="128" y="29"/>
                  </a:lnTo>
                  <a:lnTo>
                    <a:pt x="128" y="31"/>
                  </a:lnTo>
                  <a:lnTo>
                    <a:pt x="128" y="33"/>
                  </a:lnTo>
                  <a:lnTo>
                    <a:pt x="130" y="33"/>
                  </a:lnTo>
                  <a:lnTo>
                    <a:pt x="130" y="34"/>
                  </a:lnTo>
                  <a:lnTo>
                    <a:pt x="130" y="36"/>
                  </a:lnTo>
                  <a:lnTo>
                    <a:pt x="130" y="37"/>
                  </a:lnTo>
                  <a:lnTo>
                    <a:pt x="130" y="39"/>
                  </a:lnTo>
                  <a:lnTo>
                    <a:pt x="132" y="39"/>
                  </a:lnTo>
                  <a:lnTo>
                    <a:pt x="132" y="41"/>
                  </a:lnTo>
                  <a:lnTo>
                    <a:pt x="133" y="42"/>
                  </a:lnTo>
                  <a:lnTo>
                    <a:pt x="135" y="42"/>
                  </a:lnTo>
                  <a:lnTo>
                    <a:pt x="135" y="44"/>
                  </a:lnTo>
                  <a:lnTo>
                    <a:pt x="135" y="46"/>
                  </a:lnTo>
                  <a:lnTo>
                    <a:pt x="136" y="46"/>
                  </a:lnTo>
                  <a:lnTo>
                    <a:pt x="136" y="44"/>
                  </a:lnTo>
                  <a:lnTo>
                    <a:pt x="138" y="44"/>
                  </a:lnTo>
                  <a:lnTo>
                    <a:pt x="140" y="44"/>
                  </a:lnTo>
                  <a:lnTo>
                    <a:pt x="141" y="42"/>
                  </a:lnTo>
                  <a:lnTo>
                    <a:pt x="141" y="44"/>
                  </a:lnTo>
                  <a:lnTo>
                    <a:pt x="143" y="44"/>
                  </a:lnTo>
                  <a:lnTo>
                    <a:pt x="143" y="46"/>
                  </a:lnTo>
                  <a:lnTo>
                    <a:pt x="145" y="46"/>
                  </a:lnTo>
                  <a:lnTo>
                    <a:pt x="145" y="47"/>
                  </a:lnTo>
                  <a:lnTo>
                    <a:pt x="146" y="47"/>
                  </a:lnTo>
                  <a:lnTo>
                    <a:pt x="148" y="47"/>
                  </a:lnTo>
                  <a:lnTo>
                    <a:pt x="149" y="46"/>
                  </a:lnTo>
                  <a:lnTo>
                    <a:pt x="151" y="46"/>
                  </a:lnTo>
                  <a:lnTo>
                    <a:pt x="153" y="46"/>
                  </a:lnTo>
                  <a:lnTo>
                    <a:pt x="153" y="49"/>
                  </a:lnTo>
                  <a:lnTo>
                    <a:pt x="153" y="50"/>
                  </a:lnTo>
                  <a:lnTo>
                    <a:pt x="151" y="52"/>
                  </a:lnTo>
                  <a:lnTo>
                    <a:pt x="153" y="52"/>
                  </a:lnTo>
                  <a:lnTo>
                    <a:pt x="153" y="54"/>
                  </a:lnTo>
                  <a:lnTo>
                    <a:pt x="153" y="55"/>
                  </a:lnTo>
                  <a:lnTo>
                    <a:pt x="151" y="55"/>
                  </a:lnTo>
                  <a:lnTo>
                    <a:pt x="151" y="57"/>
                  </a:lnTo>
                  <a:lnTo>
                    <a:pt x="151" y="59"/>
                  </a:lnTo>
                  <a:lnTo>
                    <a:pt x="151" y="60"/>
                  </a:lnTo>
                  <a:lnTo>
                    <a:pt x="151" y="62"/>
                  </a:lnTo>
                  <a:lnTo>
                    <a:pt x="149" y="63"/>
                  </a:lnTo>
                  <a:lnTo>
                    <a:pt x="151" y="63"/>
                  </a:lnTo>
                  <a:lnTo>
                    <a:pt x="153" y="63"/>
                  </a:lnTo>
                  <a:lnTo>
                    <a:pt x="154" y="63"/>
                  </a:lnTo>
                  <a:lnTo>
                    <a:pt x="154" y="62"/>
                  </a:lnTo>
                  <a:lnTo>
                    <a:pt x="156" y="62"/>
                  </a:lnTo>
                  <a:lnTo>
                    <a:pt x="156" y="63"/>
                  </a:lnTo>
                  <a:lnTo>
                    <a:pt x="158" y="63"/>
                  </a:lnTo>
                  <a:lnTo>
                    <a:pt x="159" y="62"/>
                  </a:lnTo>
                  <a:lnTo>
                    <a:pt x="161" y="63"/>
                  </a:lnTo>
                  <a:lnTo>
                    <a:pt x="162" y="63"/>
                  </a:lnTo>
                  <a:lnTo>
                    <a:pt x="164" y="63"/>
                  </a:lnTo>
                  <a:lnTo>
                    <a:pt x="166" y="63"/>
                  </a:lnTo>
                  <a:lnTo>
                    <a:pt x="167" y="63"/>
                  </a:lnTo>
                  <a:lnTo>
                    <a:pt x="167" y="62"/>
                  </a:lnTo>
                  <a:lnTo>
                    <a:pt x="169" y="62"/>
                  </a:lnTo>
                  <a:lnTo>
                    <a:pt x="171" y="63"/>
                  </a:lnTo>
                  <a:lnTo>
                    <a:pt x="172" y="63"/>
                  </a:lnTo>
                  <a:lnTo>
                    <a:pt x="172" y="65"/>
                  </a:lnTo>
                  <a:lnTo>
                    <a:pt x="172" y="67"/>
                  </a:lnTo>
                  <a:lnTo>
                    <a:pt x="174" y="67"/>
                  </a:lnTo>
                  <a:lnTo>
                    <a:pt x="175" y="67"/>
                  </a:lnTo>
                  <a:lnTo>
                    <a:pt x="177" y="67"/>
                  </a:lnTo>
                  <a:lnTo>
                    <a:pt x="179" y="67"/>
                  </a:lnTo>
                  <a:lnTo>
                    <a:pt x="179" y="68"/>
                  </a:lnTo>
                  <a:lnTo>
                    <a:pt x="179" y="70"/>
                  </a:lnTo>
                  <a:lnTo>
                    <a:pt x="180" y="70"/>
                  </a:lnTo>
                  <a:lnTo>
                    <a:pt x="182" y="70"/>
                  </a:lnTo>
                  <a:lnTo>
                    <a:pt x="182" y="68"/>
                  </a:lnTo>
                  <a:lnTo>
                    <a:pt x="182" y="67"/>
                  </a:lnTo>
                  <a:lnTo>
                    <a:pt x="184" y="67"/>
                  </a:lnTo>
                  <a:lnTo>
                    <a:pt x="184" y="65"/>
                  </a:lnTo>
                  <a:lnTo>
                    <a:pt x="185" y="67"/>
                  </a:lnTo>
                  <a:lnTo>
                    <a:pt x="187" y="65"/>
                  </a:lnTo>
                  <a:lnTo>
                    <a:pt x="188" y="65"/>
                  </a:lnTo>
                  <a:lnTo>
                    <a:pt x="190" y="63"/>
                  </a:lnTo>
                  <a:lnTo>
                    <a:pt x="190" y="65"/>
                  </a:lnTo>
                  <a:lnTo>
                    <a:pt x="190" y="67"/>
                  </a:lnTo>
                  <a:lnTo>
                    <a:pt x="192" y="67"/>
                  </a:lnTo>
                  <a:lnTo>
                    <a:pt x="192" y="68"/>
                  </a:lnTo>
                  <a:lnTo>
                    <a:pt x="193" y="68"/>
                  </a:lnTo>
                  <a:lnTo>
                    <a:pt x="193" y="70"/>
                  </a:lnTo>
                  <a:lnTo>
                    <a:pt x="195" y="70"/>
                  </a:lnTo>
                  <a:lnTo>
                    <a:pt x="195" y="72"/>
                  </a:lnTo>
                  <a:lnTo>
                    <a:pt x="193" y="72"/>
                  </a:lnTo>
                  <a:lnTo>
                    <a:pt x="193" y="73"/>
                  </a:lnTo>
                  <a:lnTo>
                    <a:pt x="192" y="73"/>
                  </a:lnTo>
                  <a:lnTo>
                    <a:pt x="192" y="75"/>
                  </a:lnTo>
                  <a:lnTo>
                    <a:pt x="192" y="76"/>
                  </a:lnTo>
                  <a:lnTo>
                    <a:pt x="190" y="76"/>
                  </a:lnTo>
                  <a:lnTo>
                    <a:pt x="190" y="78"/>
                  </a:lnTo>
                  <a:lnTo>
                    <a:pt x="190" y="80"/>
                  </a:lnTo>
                  <a:lnTo>
                    <a:pt x="192" y="80"/>
                  </a:lnTo>
                  <a:lnTo>
                    <a:pt x="192" y="81"/>
                  </a:lnTo>
                  <a:lnTo>
                    <a:pt x="192" y="83"/>
                  </a:lnTo>
                  <a:lnTo>
                    <a:pt x="192" y="85"/>
                  </a:lnTo>
                  <a:lnTo>
                    <a:pt x="190" y="85"/>
                  </a:lnTo>
                  <a:lnTo>
                    <a:pt x="190" y="86"/>
                  </a:lnTo>
                  <a:lnTo>
                    <a:pt x="188" y="86"/>
                  </a:lnTo>
                  <a:lnTo>
                    <a:pt x="187" y="86"/>
                  </a:lnTo>
                  <a:lnTo>
                    <a:pt x="187" y="88"/>
                  </a:lnTo>
                  <a:lnTo>
                    <a:pt x="187" y="90"/>
                  </a:lnTo>
                  <a:lnTo>
                    <a:pt x="188" y="90"/>
                  </a:lnTo>
                  <a:lnTo>
                    <a:pt x="188" y="91"/>
                  </a:lnTo>
                  <a:lnTo>
                    <a:pt x="187" y="91"/>
                  </a:lnTo>
                  <a:lnTo>
                    <a:pt x="187" y="93"/>
                  </a:lnTo>
                  <a:lnTo>
                    <a:pt x="185" y="93"/>
                  </a:lnTo>
                  <a:lnTo>
                    <a:pt x="185" y="94"/>
                  </a:lnTo>
                  <a:lnTo>
                    <a:pt x="185" y="96"/>
                  </a:lnTo>
                  <a:lnTo>
                    <a:pt x="184" y="96"/>
                  </a:lnTo>
                  <a:lnTo>
                    <a:pt x="184" y="98"/>
                  </a:lnTo>
                  <a:lnTo>
                    <a:pt x="182" y="98"/>
                  </a:lnTo>
                  <a:lnTo>
                    <a:pt x="182" y="99"/>
                  </a:lnTo>
                  <a:lnTo>
                    <a:pt x="180" y="99"/>
                  </a:lnTo>
                  <a:lnTo>
                    <a:pt x="180" y="101"/>
                  </a:lnTo>
                  <a:lnTo>
                    <a:pt x="182" y="103"/>
                  </a:lnTo>
                  <a:lnTo>
                    <a:pt x="182" y="104"/>
                  </a:lnTo>
                  <a:lnTo>
                    <a:pt x="184" y="104"/>
                  </a:lnTo>
                  <a:lnTo>
                    <a:pt x="184" y="106"/>
                  </a:lnTo>
                  <a:lnTo>
                    <a:pt x="184" y="107"/>
                  </a:lnTo>
                  <a:lnTo>
                    <a:pt x="184" y="109"/>
                  </a:lnTo>
                  <a:lnTo>
                    <a:pt x="182" y="109"/>
                  </a:lnTo>
                  <a:lnTo>
                    <a:pt x="182" y="111"/>
                  </a:lnTo>
                  <a:lnTo>
                    <a:pt x="182" y="112"/>
                  </a:lnTo>
                  <a:lnTo>
                    <a:pt x="180" y="112"/>
                  </a:lnTo>
                  <a:lnTo>
                    <a:pt x="180" y="111"/>
                  </a:lnTo>
                  <a:lnTo>
                    <a:pt x="179" y="111"/>
                  </a:lnTo>
                  <a:lnTo>
                    <a:pt x="177" y="111"/>
                  </a:lnTo>
                  <a:lnTo>
                    <a:pt x="177" y="112"/>
                  </a:lnTo>
                  <a:lnTo>
                    <a:pt x="177" y="114"/>
                  </a:lnTo>
                  <a:lnTo>
                    <a:pt x="175" y="114"/>
                  </a:lnTo>
                  <a:lnTo>
                    <a:pt x="174" y="114"/>
                  </a:lnTo>
                  <a:lnTo>
                    <a:pt x="172" y="114"/>
                  </a:lnTo>
                  <a:lnTo>
                    <a:pt x="172" y="116"/>
                  </a:lnTo>
                  <a:lnTo>
                    <a:pt x="174" y="116"/>
                  </a:lnTo>
                  <a:lnTo>
                    <a:pt x="172" y="117"/>
                  </a:lnTo>
                  <a:lnTo>
                    <a:pt x="172" y="119"/>
                  </a:lnTo>
                  <a:lnTo>
                    <a:pt x="174" y="120"/>
                  </a:lnTo>
                  <a:lnTo>
                    <a:pt x="174" y="122"/>
                  </a:lnTo>
                  <a:lnTo>
                    <a:pt x="175" y="122"/>
                  </a:lnTo>
                  <a:lnTo>
                    <a:pt x="177" y="120"/>
                  </a:lnTo>
                  <a:lnTo>
                    <a:pt x="177" y="122"/>
                  </a:lnTo>
                  <a:lnTo>
                    <a:pt x="179" y="124"/>
                  </a:lnTo>
                  <a:lnTo>
                    <a:pt x="180" y="125"/>
                  </a:lnTo>
                  <a:lnTo>
                    <a:pt x="180" y="127"/>
                  </a:lnTo>
                  <a:lnTo>
                    <a:pt x="182" y="127"/>
                  </a:lnTo>
                  <a:lnTo>
                    <a:pt x="182" y="129"/>
                  </a:lnTo>
                  <a:lnTo>
                    <a:pt x="180" y="129"/>
                  </a:lnTo>
                  <a:lnTo>
                    <a:pt x="179" y="129"/>
                  </a:lnTo>
                  <a:lnTo>
                    <a:pt x="177" y="129"/>
                  </a:lnTo>
                  <a:lnTo>
                    <a:pt x="175" y="127"/>
                  </a:lnTo>
                  <a:lnTo>
                    <a:pt x="174" y="125"/>
                  </a:lnTo>
                  <a:lnTo>
                    <a:pt x="172" y="125"/>
                  </a:lnTo>
                  <a:lnTo>
                    <a:pt x="171" y="125"/>
                  </a:lnTo>
                  <a:lnTo>
                    <a:pt x="169" y="125"/>
                  </a:lnTo>
                  <a:lnTo>
                    <a:pt x="167" y="127"/>
                  </a:lnTo>
                  <a:lnTo>
                    <a:pt x="166" y="130"/>
                  </a:lnTo>
                  <a:lnTo>
                    <a:pt x="162" y="132"/>
                  </a:lnTo>
                  <a:lnTo>
                    <a:pt x="161" y="132"/>
                  </a:lnTo>
                  <a:lnTo>
                    <a:pt x="158" y="140"/>
                  </a:lnTo>
                  <a:lnTo>
                    <a:pt x="156" y="145"/>
                  </a:lnTo>
                  <a:lnTo>
                    <a:pt x="154" y="146"/>
                  </a:lnTo>
                  <a:lnTo>
                    <a:pt x="154" y="150"/>
                  </a:lnTo>
                  <a:lnTo>
                    <a:pt x="154" y="155"/>
                  </a:lnTo>
                  <a:lnTo>
                    <a:pt x="151" y="155"/>
                  </a:lnTo>
                  <a:lnTo>
                    <a:pt x="151" y="156"/>
                  </a:lnTo>
                  <a:lnTo>
                    <a:pt x="149" y="155"/>
                  </a:lnTo>
                  <a:lnTo>
                    <a:pt x="143" y="148"/>
                  </a:lnTo>
                  <a:lnTo>
                    <a:pt x="140" y="145"/>
                  </a:lnTo>
                  <a:lnTo>
                    <a:pt x="133" y="142"/>
                  </a:lnTo>
                  <a:lnTo>
                    <a:pt x="133" y="143"/>
                  </a:lnTo>
                  <a:lnTo>
                    <a:pt x="132" y="143"/>
                  </a:lnTo>
                  <a:lnTo>
                    <a:pt x="130" y="145"/>
                  </a:lnTo>
                  <a:lnTo>
                    <a:pt x="128" y="146"/>
                  </a:lnTo>
                  <a:lnTo>
                    <a:pt x="127" y="148"/>
                  </a:lnTo>
                  <a:lnTo>
                    <a:pt x="125" y="151"/>
                  </a:lnTo>
                  <a:lnTo>
                    <a:pt x="123" y="151"/>
                  </a:lnTo>
                  <a:lnTo>
                    <a:pt x="122" y="153"/>
                  </a:lnTo>
                  <a:lnTo>
                    <a:pt x="120" y="153"/>
                  </a:lnTo>
                  <a:lnTo>
                    <a:pt x="119" y="155"/>
                  </a:lnTo>
                  <a:lnTo>
                    <a:pt x="117" y="155"/>
                  </a:lnTo>
                  <a:lnTo>
                    <a:pt x="115" y="155"/>
                  </a:lnTo>
                  <a:lnTo>
                    <a:pt x="114" y="156"/>
                  </a:lnTo>
                  <a:lnTo>
                    <a:pt x="114" y="158"/>
                  </a:lnTo>
                  <a:lnTo>
                    <a:pt x="112" y="159"/>
                  </a:lnTo>
                  <a:lnTo>
                    <a:pt x="112" y="161"/>
                  </a:lnTo>
                  <a:lnTo>
                    <a:pt x="110" y="161"/>
                  </a:lnTo>
                  <a:lnTo>
                    <a:pt x="109" y="161"/>
                  </a:lnTo>
                  <a:lnTo>
                    <a:pt x="107" y="161"/>
                  </a:lnTo>
                  <a:lnTo>
                    <a:pt x="106" y="163"/>
                  </a:lnTo>
                  <a:lnTo>
                    <a:pt x="106" y="164"/>
                  </a:lnTo>
                  <a:lnTo>
                    <a:pt x="102" y="164"/>
                  </a:lnTo>
                  <a:lnTo>
                    <a:pt x="101" y="166"/>
                  </a:lnTo>
                  <a:lnTo>
                    <a:pt x="101" y="168"/>
                  </a:lnTo>
                  <a:lnTo>
                    <a:pt x="99" y="168"/>
                  </a:lnTo>
                  <a:lnTo>
                    <a:pt x="99" y="169"/>
                  </a:lnTo>
                  <a:lnTo>
                    <a:pt x="99" y="171"/>
                  </a:lnTo>
                  <a:lnTo>
                    <a:pt x="97" y="172"/>
                  </a:lnTo>
                  <a:lnTo>
                    <a:pt x="97" y="174"/>
                  </a:lnTo>
                  <a:lnTo>
                    <a:pt x="99" y="176"/>
                  </a:lnTo>
                  <a:lnTo>
                    <a:pt x="99" y="177"/>
                  </a:lnTo>
                  <a:lnTo>
                    <a:pt x="99" y="179"/>
                  </a:lnTo>
                  <a:lnTo>
                    <a:pt x="99" y="181"/>
                  </a:lnTo>
                  <a:lnTo>
                    <a:pt x="101" y="182"/>
                  </a:lnTo>
                  <a:lnTo>
                    <a:pt x="101" y="184"/>
                  </a:lnTo>
                  <a:lnTo>
                    <a:pt x="101" y="187"/>
                  </a:lnTo>
                  <a:lnTo>
                    <a:pt x="101" y="189"/>
                  </a:lnTo>
                  <a:lnTo>
                    <a:pt x="101" y="190"/>
                  </a:lnTo>
                  <a:lnTo>
                    <a:pt x="99" y="190"/>
                  </a:lnTo>
                  <a:lnTo>
                    <a:pt x="99" y="192"/>
                  </a:lnTo>
                  <a:lnTo>
                    <a:pt x="96" y="192"/>
                  </a:lnTo>
                  <a:lnTo>
                    <a:pt x="93" y="192"/>
                  </a:lnTo>
                  <a:lnTo>
                    <a:pt x="91" y="192"/>
                  </a:lnTo>
                  <a:lnTo>
                    <a:pt x="89" y="194"/>
                  </a:lnTo>
                  <a:lnTo>
                    <a:pt x="88" y="195"/>
                  </a:lnTo>
                  <a:lnTo>
                    <a:pt x="84" y="197"/>
                  </a:lnTo>
                  <a:lnTo>
                    <a:pt x="84" y="195"/>
                  </a:lnTo>
                  <a:lnTo>
                    <a:pt x="83" y="195"/>
                  </a:lnTo>
                  <a:lnTo>
                    <a:pt x="81" y="192"/>
                  </a:lnTo>
                  <a:lnTo>
                    <a:pt x="83" y="190"/>
                  </a:lnTo>
                  <a:lnTo>
                    <a:pt x="84" y="189"/>
                  </a:lnTo>
                  <a:lnTo>
                    <a:pt x="86" y="187"/>
                  </a:lnTo>
                  <a:lnTo>
                    <a:pt x="86" y="185"/>
                  </a:lnTo>
                  <a:lnTo>
                    <a:pt x="86" y="184"/>
                  </a:lnTo>
                  <a:lnTo>
                    <a:pt x="86" y="182"/>
                  </a:lnTo>
                  <a:lnTo>
                    <a:pt x="84" y="182"/>
                  </a:lnTo>
                  <a:lnTo>
                    <a:pt x="84" y="181"/>
                  </a:lnTo>
                  <a:lnTo>
                    <a:pt x="83" y="177"/>
                  </a:lnTo>
                  <a:lnTo>
                    <a:pt x="83" y="176"/>
                  </a:lnTo>
                  <a:lnTo>
                    <a:pt x="81" y="176"/>
                  </a:lnTo>
                  <a:lnTo>
                    <a:pt x="81" y="172"/>
                  </a:lnTo>
                  <a:lnTo>
                    <a:pt x="80" y="172"/>
                  </a:lnTo>
                  <a:lnTo>
                    <a:pt x="78" y="171"/>
                  </a:lnTo>
                  <a:lnTo>
                    <a:pt x="76" y="169"/>
                  </a:lnTo>
                  <a:lnTo>
                    <a:pt x="76" y="168"/>
                  </a:lnTo>
                  <a:lnTo>
                    <a:pt x="78" y="166"/>
                  </a:lnTo>
                  <a:lnTo>
                    <a:pt x="76" y="164"/>
                  </a:lnTo>
                  <a:lnTo>
                    <a:pt x="76" y="163"/>
                  </a:lnTo>
                  <a:lnTo>
                    <a:pt x="76" y="161"/>
                  </a:lnTo>
                  <a:lnTo>
                    <a:pt x="75" y="159"/>
                  </a:lnTo>
                  <a:lnTo>
                    <a:pt x="76" y="159"/>
                  </a:lnTo>
                  <a:lnTo>
                    <a:pt x="75" y="159"/>
                  </a:lnTo>
                  <a:lnTo>
                    <a:pt x="73" y="158"/>
                  </a:lnTo>
                  <a:lnTo>
                    <a:pt x="75" y="158"/>
                  </a:lnTo>
                  <a:lnTo>
                    <a:pt x="73" y="156"/>
                  </a:lnTo>
                  <a:lnTo>
                    <a:pt x="73" y="155"/>
                  </a:lnTo>
                  <a:lnTo>
                    <a:pt x="71" y="151"/>
                  </a:lnTo>
                  <a:lnTo>
                    <a:pt x="68" y="148"/>
                  </a:lnTo>
                  <a:lnTo>
                    <a:pt x="68" y="146"/>
                  </a:lnTo>
                  <a:lnTo>
                    <a:pt x="67" y="146"/>
                  </a:lnTo>
                  <a:lnTo>
                    <a:pt x="65" y="145"/>
                  </a:lnTo>
                  <a:lnTo>
                    <a:pt x="63" y="143"/>
                  </a:lnTo>
                  <a:lnTo>
                    <a:pt x="62" y="143"/>
                  </a:lnTo>
                  <a:lnTo>
                    <a:pt x="60" y="143"/>
                  </a:lnTo>
                  <a:lnTo>
                    <a:pt x="57" y="142"/>
                  </a:lnTo>
                  <a:lnTo>
                    <a:pt x="57" y="140"/>
                  </a:lnTo>
                  <a:lnTo>
                    <a:pt x="55" y="140"/>
                  </a:lnTo>
                  <a:lnTo>
                    <a:pt x="54" y="140"/>
                  </a:lnTo>
                  <a:lnTo>
                    <a:pt x="50" y="140"/>
                  </a:lnTo>
                  <a:lnTo>
                    <a:pt x="50" y="138"/>
                  </a:lnTo>
                  <a:lnTo>
                    <a:pt x="50" y="137"/>
                  </a:lnTo>
                  <a:lnTo>
                    <a:pt x="49" y="137"/>
                  </a:lnTo>
                  <a:lnTo>
                    <a:pt x="47" y="137"/>
                  </a:lnTo>
                  <a:lnTo>
                    <a:pt x="47" y="138"/>
                  </a:lnTo>
                  <a:lnTo>
                    <a:pt x="45" y="138"/>
                  </a:lnTo>
                  <a:lnTo>
                    <a:pt x="44" y="138"/>
                  </a:lnTo>
                  <a:lnTo>
                    <a:pt x="42" y="140"/>
                  </a:lnTo>
                  <a:lnTo>
                    <a:pt x="40" y="140"/>
                  </a:lnTo>
                  <a:lnTo>
                    <a:pt x="39" y="138"/>
                  </a:lnTo>
                  <a:lnTo>
                    <a:pt x="39" y="137"/>
                  </a:lnTo>
                  <a:lnTo>
                    <a:pt x="37" y="135"/>
                  </a:lnTo>
                  <a:lnTo>
                    <a:pt x="39" y="135"/>
                  </a:lnTo>
                  <a:lnTo>
                    <a:pt x="39" y="133"/>
                  </a:lnTo>
                  <a:lnTo>
                    <a:pt x="37" y="132"/>
                  </a:lnTo>
                  <a:lnTo>
                    <a:pt x="37" y="130"/>
                  </a:lnTo>
                  <a:lnTo>
                    <a:pt x="36" y="130"/>
                  </a:lnTo>
                  <a:lnTo>
                    <a:pt x="36" y="129"/>
                  </a:lnTo>
                  <a:lnTo>
                    <a:pt x="34" y="129"/>
                  </a:lnTo>
                  <a:lnTo>
                    <a:pt x="34" y="127"/>
                  </a:lnTo>
                  <a:lnTo>
                    <a:pt x="36" y="125"/>
                  </a:lnTo>
                  <a:lnTo>
                    <a:pt x="34" y="124"/>
                  </a:lnTo>
                  <a:lnTo>
                    <a:pt x="34" y="122"/>
                  </a:lnTo>
                  <a:lnTo>
                    <a:pt x="32" y="122"/>
                  </a:lnTo>
                  <a:lnTo>
                    <a:pt x="31" y="122"/>
                  </a:lnTo>
                  <a:lnTo>
                    <a:pt x="31" y="119"/>
                  </a:lnTo>
                  <a:lnTo>
                    <a:pt x="29" y="119"/>
                  </a:lnTo>
                  <a:lnTo>
                    <a:pt x="29" y="117"/>
                  </a:lnTo>
                  <a:lnTo>
                    <a:pt x="29" y="116"/>
                  </a:lnTo>
                  <a:lnTo>
                    <a:pt x="27" y="116"/>
                  </a:lnTo>
                  <a:lnTo>
                    <a:pt x="27" y="114"/>
                  </a:lnTo>
                  <a:lnTo>
                    <a:pt x="26" y="114"/>
                  </a:lnTo>
                  <a:lnTo>
                    <a:pt x="26" y="112"/>
                  </a:lnTo>
                  <a:lnTo>
                    <a:pt x="23" y="112"/>
                  </a:lnTo>
                  <a:lnTo>
                    <a:pt x="21" y="112"/>
                  </a:lnTo>
                  <a:lnTo>
                    <a:pt x="21" y="111"/>
                  </a:lnTo>
                  <a:lnTo>
                    <a:pt x="19" y="111"/>
                  </a:lnTo>
                  <a:lnTo>
                    <a:pt x="18" y="104"/>
                  </a:lnTo>
                  <a:lnTo>
                    <a:pt x="16" y="99"/>
                  </a:lnTo>
                  <a:lnTo>
                    <a:pt x="13" y="98"/>
                  </a:lnTo>
                  <a:lnTo>
                    <a:pt x="11" y="98"/>
                  </a:lnTo>
                  <a:lnTo>
                    <a:pt x="8" y="94"/>
                  </a:lnTo>
                  <a:lnTo>
                    <a:pt x="8" y="91"/>
                  </a:lnTo>
                  <a:lnTo>
                    <a:pt x="6" y="90"/>
                  </a:lnTo>
                  <a:lnTo>
                    <a:pt x="5" y="88"/>
                  </a:lnTo>
                  <a:lnTo>
                    <a:pt x="0" y="83"/>
                  </a:lnTo>
                  <a:lnTo>
                    <a:pt x="1" y="83"/>
                  </a:lnTo>
                  <a:lnTo>
                    <a:pt x="5" y="81"/>
                  </a:lnTo>
                  <a:lnTo>
                    <a:pt x="6" y="80"/>
                  </a:lnTo>
                  <a:lnTo>
                    <a:pt x="8" y="80"/>
                  </a:lnTo>
                  <a:lnTo>
                    <a:pt x="8" y="78"/>
                  </a:lnTo>
                  <a:lnTo>
                    <a:pt x="11" y="76"/>
                  </a:lnTo>
                  <a:lnTo>
                    <a:pt x="13" y="76"/>
                  </a:lnTo>
                  <a:lnTo>
                    <a:pt x="18" y="78"/>
                  </a:lnTo>
                  <a:lnTo>
                    <a:pt x="21" y="78"/>
                  </a:lnTo>
                  <a:lnTo>
                    <a:pt x="23" y="78"/>
                  </a:lnTo>
                  <a:lnTo>
                    <a:pt x="26" y="78"/>
                  </a:lnTo>
                  <a:lnTo>
                    <a:pt x="27" y="78"/>
                  </a:lnTo>
                  <a:lnTo>
                    <a:pt x="29" y="78"/>
                  </a:lnTo>
                  <a:lnTo>
                    <a:pt x="31" y="78"/>
                  </a:lnTo>
                  <a:lnTo>
                    <a:pt x="32" y="76"/>
                  </a:lnTo>
                  <a:lnTo>
                    <a:pt x="31" y="73"/>
                  </a:lnTo>
                  <a:lnTo>
                    <a:pt x="31" y="72"/>
                  </a:lnTo>
                  <a:lnTo>
                    <a:pt x="32" y="70"/>
                  </a:lnTo>
                  <a:lnTo>
                    <a:pt x="36" y="68"/>
                  </a:lnTo>
                  <a:lnTo>
                    <a:pt x="36" y="67"/>
                  </a:lnTo>
                  <a:lnTo>
                    <a:pt x="37" y="67"/>
                  </a:lnTo>
                  <a:lnTo>
                    <a:pt x="39" y="67"/>
                  </a:lnTo>
                  <a:lnTo>
                    <a:pt x="40" y="65"/>
                  </a:lnTo>
                  <a:lnTo>
                    <a:pt x="42" y="65"/>
                  </a:lnTo>
                  <a:lnTo>
                    <a:pt x="44" y="65"/>
                  </a:lnTo>
                  <a:lnTo>
                    <a:pt x="45" y="67"/>
                  </a:lnTo>
                  <a:lnTo>
                    <a:pt x="47" y="67"/>
                  </a:lnTo>
                  <a:lnTo>
                    <a:pt x="47" y="65"/>
                  </a:lnTo>
                  <a:lnTo>
                    <a:pt x="49" y="65"/>
                  </a:lnTo>
                  <a:lnTo>
                    <a:pt x="49" y="63"/>
                  </a:lnTo>
                  <a:lnTo>
                    <a:pt x="50" y="62"/>
                  </a:lnTo>
                  <a:lnTo>
                    <a:pt x="50" y="60"/>
                  </a:lnTo>
                  <a:lnTo>
                    <a:pt x="52" y="60"/>
                  </a:lnTo>
                  <a:lnTo>
                    <a:pt x="54" y="60"/>
                  </a:lnTo>
                  <a:lnTo>
                    <a:pt x="55" y="59"/>
                  </a:lnTo>
                  <a:lnTo>
                    <a:pt x="57" y="57"/>
                  </a:lnTo>
                  <a:lnTo>
                    <a:pt x="55" y="57"/>
                  </a:lnTo>
                  <a:lnTo>
                    <a:pt x="54" y="57"/>
                  </a:lnTo>
                  <a:lnTo>
                    <a:pt x="54" y="55"/>
                  </a:lnTo>
                  <a:lnTo>
                    <a:pt x="52" y="55"/>
                  </a:lnTo>
                  <a:lnTo>
                    <a:pt x="52" y="54"/>
                  </a:lnTo>
                  <a:lnTo>
                    <a:pt x="50" y="54"/>
                  </a:lnTo>
                  <a:lnTo>
                    <a:pt x="50" y="52"/>
                  </a:lnTo>
                  <a:lnTo>
                    <a:pt x="50" y="50"/>
                  </a:lnTo>
                  <a:lnTo>
                    <a:pt x="50" y="49"/>
                  </a:lnTo>
                  <a:lnTo>
                    <a:pt x="50" y="47"/>
                  </a:lnTo>
                  <a:lnTo>
                    <a:pt x="52" y="47"/>
                  </a:lnTo>
                  <a:lnTo>
                    <a:pt x="52" y="46"/>
                  </a:lnTo>
                  <a:lnTo>
                    <a:pt x="54" y="46"/>
                  </a:lnTo>
                  <a:lnTo>
                    <a:pt x="55" y="46"/>
                  </a:lnTo>
                  <a:lnTo>
                    <a:pt x="55" y="47"/>
                  </a:lnTo>
                  <a:lnTo>
                    <a:pt x="55" y="46"/>
                  </a:lnTo>
                  <a:lnTo>
                    <a:pt x="57" y="46"/>
                  </a:lnTo>
                  <a:lnTo>
                    <a:pt x="57" y="44"/>
                  </a:lnTo>
                  <a:lnTo>
                    <a:pt x="57" y="42"/>
                  </a:lnTo>
                  <a:lnTo>
                    <a:pt x="58" y="42"/>
                  </a:lnTo>
                  <a:lnTo>
                    <a:pt x="58" y="41"/>
                  </a:lnTo>
                  <a:lnTo>
                    <a:pt x="58" y="39"/>
                  </a:lnTo>
                  <a:lnTo>
                    <a:pt x="60" y="39"/>
                  </a:lnTo>
                  <a:lnTo>
                    <a:pt x="62" y="39"/>
                  </a:lnTo>
                  <a:lnTo>
                    <a:pt x="62" y="41"/>
                  </a:lnTo>
                  <a:lnTo>
                    <a:pt x="63" y="41"/>
                  </a:lnTo>
                  <a:lnTo>
                    <a:pt x="63" y="39"/>
                  </a:lnTo>
                  <a:lnTo>
                    <a:pt x="65" y="37"/>
                  </a:lnTo>
                  <a:lnTo>
                    <a:pt x="65" y="36"/>
                  </a:lnTo>
                  <a:lnTo>
                    <a:pt x="67" y="36"/>
                  </a:lnTo>
                  <a:lnTo>
                    <a:pt x="67" y="34"/>
                  </a:lnTo>
                  <a:lnTo>
                    <a:pt x="67" y="33"/>
                  </a:lnTo>
                  <a:lnTo>
                    <a:pt x="67" y="31"/>
                  </a:lnTo>
                  <a:lnTo>
                    <a:pt x="65" y="31"/>
                  </a:lnTo>
                  <a:lnTo>
                    <a:pt x="65" y="29"/>
                  </a:lnTo>
                  <a:lnTo>
                    <a:pt x="67" y="29"/>
                  </a:lnTo>
                  <a:lnTo>
                    <a:pt x="67" y="28"/>
                  </a:lnTo>
                  <a:lnTo>
                    <a:pt x="68" y="28"/>
                  </a:lnTo>
                  <a:lnTo>
                    <a:pt x="68" y="26"/>
                  </a:lnTo>
                  <a:lnTo>
                    <a:pt x="68" y="24"/>
                  </a:lnTo>
                  <a:lnTo>
                    <a:pt x="67" y="23"/>
                  </a:lnTo>
                  <a:lnTo>
                    <a:pt x="67" y="21"/>
                  </a:lnTo>
                  <a:lnTo>
                    <a:pt x="65" y="21"/>
                  </a:lnTo>
                  <a:lnTo>
                    <a:pt x="63" y="21"/>
                  </a:lnTo>
                  <a:lnTo>
                    <a:pt x="63" y="20"/>
                  </a:lnTo>
                  <a:lnTo>
                    <a:pt x="63" y="18"/>
                  </a:lnTo>
                  <a:lnTo>
                    <a:pt x="62" y="18"/>
                  </a:lnTo>
                  <a:lnTo>
                    <a:pt x="60" y="18"/>
                  </a:lnTo>
                  <a:lnTo>
                    <a:pt x="58" y="18"/>
                  </a:lnTo>
                  <a:lnTo>
                    <a:pt x="58" y="16"/>
                  </a:lnTo>
                  <a:lnTo>
                    <a:pt x="58" y="15"/>
                  </a:lnTo>
                  <a:lnTo>
                    <a:pt x="57" y="13"/>
                  </a:lnTo>
                  <a:lnTo>
                    <a:pt x="55" y="13"/>
                  </a:lnTo>
                  <a:lnTo>
                    <a:pt x="57" y="11"/>
                  </a:lnTo>
                  <a:lnTo>
                    <a:pt x="58" y="11"/>
                  </a:lnTo>
                  <a:lnTo>
                    <a:pt x="60" y="11"/>
                  </a:lnTo>
                  <a:lnTo>
                    <a:pt x="62" y="11"/>
                  </a:lnTo>
                  <a:lnTo>
                    <a:pt x="62" y="10"/>
                  </a:lnTo>
                  <a:lnTo>
                    <a:pt x="63" y="10"/>
                  </a:lnTo>
                  <a:lnTo>
                    <a:pt x="65" y="10"/>
                  </a:lnTo>
                  <a:lnTo>
                    <a:pt x="67" y="10"/>
                  </a:lnTo>
                  <a:lnTo>
                    <a:pt x="67" y="8"/>
                  </a:lnTo>
                  <a:lnTo>
                    <a:pt x="68" y="7"/>
                  </a:lnTo>
                  <a:lnTo>
                    <a:pt x="68" y="5"/>
                  </a:lnTo>
                  <a:lnTo>
                    <a:pt x="68" y="3"/>
                  </a:lnTo>
                  <a:lnTo>
                    <a:pt x="70" y="3"/>
                  </a:lnTo>
                  <a:lnTo>
                    <a:pt x="71" y="5"/>
                  </a:lnTo>
                  <a:lnTo>
                    <a:pt x="73" y="5"/>
                  </a:lnTo>
                  <a:lnTo>
                    <a:pt x="73" y="3"/>
                  </a:lnTo>
                  <a:lnTo>
                    <a:pt x="75" y="3"/>
                  </a:lnTo>
                  <a:lnTo>
                    <a:pt x="76" y="3"/>
                  </a:lnTo>
                  <a:lnTo>
                    <a:pt x="76" y="2"/>
                  </a:lnTo>
                  <a:lnTo>
                    <a:pt x="76" y="0"/>
                  </a:lnTo>
                  <a:lnTo>
                    <a:pt x="78" y="0"/>
                  </a:lnTo>
                  <a:lnTo>
                    <a:pt x="80" y="0"/>
                  </a:lnTo>
                  <a:lnTo>
                    <a:pt x="81" y="0"/>
                  </a:lnTo>
                  <a:lnTo>
                    <a:pt x="81" y="2"/>
                  </a:lnTo>
                  <a:lnTo>
                    <a:pt x="83" y="2"/>
                  </a:lnTo>
                  <a:lnTo>
                    <a:pt x="83" y="3"/>
                  </a:lnTo>
                  <a:close/>
                </a:path>
              </a:pathLst>
            </a:custGeom>
            <a:solidFill>
              <a:srgbClr val="E5E5E5"/>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1228" name="Freeform 74">
              <a:extLst>
                <a:ext uri="{FF2B5EF4-FFF2-40B4-BE49-F238E27FC236}">
                  <a16:creationId xmlns:a16="http://schemas.microsoft.com/office/drawing/2014/main" id="{7977B7B9-3389-6E36-7A95-56EAF232AA91}"/>
                </a:ext>
              </a:extLst>
            </p:cNvPr>
            <p:cNvSpPr>
              <a:spLocks/>
            </p:cNvSpPr>
            <p:nvPr/>
          </p:nvSpPr>
          <p:spPr bwMode="auto">
            <a:xfrm>
              <a:off x="7865" y="4345"/>
              <a:ext cx="176" cy="314"/>
            </a:xfrm>
            <a:custGeom>
              <a:avLst/>
              <a:gdLst>
                <a:gd name="T0" fmla="*/ 169 w 176"/>
                <a:gd name="T1" fmla="*/ 309 h 314"/>
                <a:gd name="T2" fmla="*/ 164 w 176"/>
                <a:gd name="T3" fmla="*/ 304 h 314"/>
                <a:gd name="T4" fmla="*/ 161 w 176"/>
                <a:gd name="T5" fmla="*/ 296 h 314"/>
                <a:gd name="T6" fmla="*/ 155 w 176"/>
                <a:gd name="T7" fmla="*/ 286 h 314"/>
                <a:gd name="T8" fmla="*/ 153 w 176"/>
                <a:gd name="T9" fmla="*/ 273 h 314"/>
                <a:gd name="T10" fmla="*/ 143 w 176"/>
                <a:gd name="T11" fmla="*/ 267 h 314"/>
                <a:gd name="T12" fmla="*/ 134 w 176"/>
                <a:gd name="T13" fmla="*/ 273 h 314"/>
                <a:gd name="T14" fmla="*/ 124 w 176"/>
                <a:gd name="T15" fmla="*/ 270 h 314"/>
                <a:gd name="T16" fmla="*/ 117 w 176"/>
                <a:gd name="T17" fmla="*/ 267 h 314"/>
                <a:gd name="T18" fmla="*/ 109 w 176"/>
                <a:gd name="T19" fmla="*/ 270 h 314"/>
                <a:gd name="T20" fmla="*/ 103 w 176"/>
                <a:gd name="T21" fmla="*/ 267 h 314"/>
                <a:gd name="T22" fmla="*/ 101 w 176"/>
                <a:gd name="T23" fmla="*/ 254 h 314"/>
                <a:gd name="T24" fmla="*/ 103 w 176"/>
                <a:gd name="T25" fmla="*/ 242 h 314"/>
                <a:gd name="T26" fmla="*/ 104 w 176"/>
                <a:gd name="T27" fmla="*/ 236 h 314"/>
                <a:gd name="T28" fmla="*/ 106 w 176"/>
                <a:gd name="T29" fmla="*/ 226 h 314"/>
                <a:gd name="T30" fmla="*/ 101 w 176"/>
                <a:gd name="T31" fmla="*/ 215 h 314"/>
                <a:gd name="T32" fmla="*/ 104 w 176"/>
                <a:gd name="T33" fmla="*/ 203 h 314"/>
                <a:gd name="T34" fmla="*/ 104 w 176"/>
                <a:gd name="T35" fmla="*/ 195 h 314"/>
                <a:gd name="T36" fmla="*/ 98 w 176"/>
                <a:gd name="T37" fmla="*/ 193 h 314"/>
                <a:gd name="T38" fmla="*/ 86 w 176"/>
                <a:gd name="T39" fmla="*/ 202 h 314"/>
                <a:gd name="T40" fmla="*/ 81 w 176"/>
                <a:gd name="T41" fmla="*/ 192 h 314"/>
                <a:gd name="T42" fmla="*/ 75 w 176"/>
                <a:gd name="T43" fmla="*/ 180 h 314"/>
                <a:gd name="T44" fmla="*/ 72 w 176"/>
                <a:gd name="T45" fmla="*/ 167 h 314"/>
                <a:gd name="T46" fmla="*/ 65 w 176"/>
                <a:gd name="T47" fmla="*/ 163 h 314"/>
                <a:gd name="T48" fmla="*/ 60 w 176"/>
                <a:gd name="T49" fmla="*/ 156 h 314"/>
                <a:gd name="T50" fmla="*/ 60 w 176"/>
                <a:gd name="T51" fmla="*/ 145 h 314"/>
                <a:gd name="T52" fmla="*/ 55 w 176"/>
                <a:gd name="T53" fmla="*/ 140 h 314"/>
                <a:gd name="T54" fmla="*/ 47 w 176"/>
                <a:gd name="T55" fmla="*/ 138 h 314"/>
                <a:gd name="T56" fmla="*/ 41 w 176"/>
                <a:gd name="T57" fmla="*/ 132 h 314"/>
                <a:gd name="T58" fmla="*/ 36 w 176"/>
                <a:gd name="T59" fmla="*/ 124 h 314"/>
                <a:gd name="T60" fmla="*/ 34 w 176"/>
                <a:gd name="T61" fmla="*/ 115 h 314"/>
                <a:gd name="T62" fmla="*/ 31 w 176"/>
                <a:gd name="T63" fmla="*/ 106 h 314"/>
                <a:gd name="T64" fmla="*/ 20 w 176"/>
                <a:gd name="T65" fmla="*/ 102 h 314"/>
                <a:gd name="T66" fmla="*/ 12 w 176"/>
                <a:gd name="T67" fmla="*/ 93 h 314"/>
                <a:gd name="T68" fmla="*/ 3 w 176"/>
                <a:gd name="T69" fmla="*/ 85 h 314"/>
                <a:gd name="T70" fmla="*/ 0 w 176"/>
                <a:gd name="T71" fmla="*/ 78 h 314"/>
                <a:gd name="T72" fmla="*/ 10 w 176"/>
                <a:gd name="T73" fmla="*/ 75 h 314"/>
                <a:gd name="T74" fmla="*/ 16 w 176"/>
                <a:gd name="T75" fmla="*/ 67 h 314"/>
                <a:gd name="T76" fmla="*/ 26 w 176"/>
                <a:gd name="T77" fmla="*/ 70 h 314"/>
                <a:gd name="T78" fmla="*/ 33 w 176"/>
                <a:gd name="T79" fmla="*/ 60 h 314"/>
                <a:gd name="T80" fmla="*/ 33 w 176"/>
                <a:gd name="T81" fmla="*/ 52 h 314"/>
                <a:gd name="T82" fmla="*/ 29 w 176"/>
                <a:gd name="T83" fmla="*/ 42 h 314"/>
                <a:gd name="T84" fmla="*/ 29 w 176"/>
                <a:gd name="T85" fmla="*/ 24 h 314"/>
                <a:gd name="T86" fmla="*/ 34 w 176"/>
                <a:gd name="T87" fmla="*/ 0 h 314"/>
                <a:gd name="T88" fmla="*/ 42 w 176"/>
                <a:gd name="T89" fmla="*/ 6 h 314"/>
                <a:gd name="T90" fmla="*/ 51 w 176"/>
                <a:gd name="T91" fmla="*/ 5 h 314"/>
                <a:gd name="T92" fmla="*/ 60 w 176"/>
                <a:gd name="T93" fmla="*/ 8 h 314"/>
                <a:gd name="T94" fmla="*/ 68 w 176"/>
                <a:gd name="T95" fmla="*/ 10 h 314"/>
                <a:gd name="T96" fmla="*/ 72 w 176"/>
                <a:gd name="T97" fmla="*/ 13 h 314"/>
                <a:gd name="T98" fmla="*/ 78 w 176"/>
                <a:gd name="T99" fmla="*/ 18 h 314"/>
                <a:gd name="T100" fmla="*/ 83 w 176"/>
                <a:gd name="T101" fmla="*/ 23 h 314"/>
                <a:gd name="T102" fmla="*/ 86 w 176"/>
                <a:gd name="T103" fmla="*/ 26 h 314"/>
                <a:gd name="T104" fmla="*/ 91 w 176"/>
                <a:gd name="T105" fmla="*/ 29 h 314"/>
                <a:gd name="T106" fmla="*/ 101 w 176"/>
                <a:gd name="T107" fmla="*/ 32 h 314"/>
                <a:gd name="T108" fmla="*/ 108 w 176"/>
                <a:gd name="T109" fmla="*/ 36 h 314"/>
                <a:gd name="T110" fmla="*/ 114 w 176"/>
                <a:gd name="T111" fmla="*/ 39 h 314"/>
                <a:gd name="T112" fmla="*/ 119 w 176"/>
                <a:gd name="T113" fmla="*/ 45 h 314"/>
                <a:gd name="T114" fmla="*/ 124 w 176"/>
                <a:gd name="T115" fmla="*/ 47 h 314"/>
                <a:gd name="T116" fmla="*/ 138 w 176"/>
                <a:gd name="T117" fmla="*/ 45 h 314"/>
                <a:gd name="T118" fmla="*/ 158 w 176"/>
                <a:gd name="T119" fmla="*/ 55 h 314"/>
                <a:gd name="T120" fmla="*/ 163 w 176"/>
                <a:gd name="T121" fmla="*/ 62 h 314"/>
                <a:gd name="T122" fmla="*/ 174 w 176"/>
                <a:gd name="T123" fmla="*/ 60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6" h="314">
                  <a:moveTo>
                    <a:pt x="176" y="57"/>
                  </a:moveTo>
                  <a:lnTo>
                    <a:pt x="174" y="314"/>
                  </a:lnTo>
                  <a:lnTo>
                    <a:pt x="174" y="312"/>
                  </a:lnTo>
                  <a:lnTo>
                    <a:pt x="173" y="311"/>
                  </a:lnTo>
                  <a:lnTo>
                    <a:pt x="171" y="311"/>
                  </a:lnTo>
                  <a:lnTo>
                    <a:pt x="171" y="309"/>
                  </a:lnTo>
                  <a:lnTo>
                    <a:pt x="169" y="309"/>
                  </a:lnTo>
                  <a:lnTo>
                    <a:pt x="168" y="311"/>
                  </a:lnTo>
                  <a:lnTo>
                    <a:pt x="166" y="311"/>
                  </a:lnTo>
                  <a:lnTo>
                    <a:pt x="164" y="311"/>
                  </a:lnTo>
                  <a:lnTo>
                    <a:pt x="164" y="309"/>
                  </a:lnTo>
                  <a:lnTo>
                    <a:pt x="163" y="306"/>
                  </a:lnTo>
                  <a:lnTo>
                    <a:pt x="164" y="306"/>
                  </a:lnTo>
                  <a:lnTo>
                    <a:pt x="164" y="304"/>
                  </a:lnTo>
                  <a:lnTo>
                    <a:pt x="164" y="302"/>
                  </a:lnTo>
                  <a:lnTo>
                    <a:pt x="163" y="302"/>
                  </a:lnTo>
                  <a:lnTo>
                    <a:pt x="163" y="301"/>
                  </a:lnTo>
                  <a:lnTo>
                    <a:pt x="161" y="301"/>
                  </a:lnTo>
                  <a:lnTo>
                    <a:pt x="163" y="299"/>
                  </a:lnTo>
                  <a:lnTo>
                    <a:pt x="161" y="299"/>
                  </a:lnTo>
                  <a:lnTo>
                    <a:pt x="161" y="296"/>
                  </a:lnTo>
                  <a:lnTo>
                    <a:pt x="161" y="294"/>
                  </a:lnTo>
                  <a:lnTo>
                    <a:pt x="160" y="294"/>
                  </a:lnTo>
                  <a:lnTo>
                    <a:pt x="161" y="293"/>
                  </a:lnTo>
                  <a:lnTo>
                    <a:pt x="160" y="289"/>
                  </a:lnTo>
                  <a:lnTo>
                    <a:pt x="160" y="288"/>
                  </a:lnTo>
                  <a:lnTo>
                    <a:pt x="158" y="288"/>
                  </a:lnTo>
                  <a:lnTo>
                    <a:pt x="155" y="286"/>
                  </a:lnTo>
                  <a:lnTo>
                    <a:pt x="153" y="285"/>
                  </a:lnTo>
                  <a:lnTo>
                    <a:pt x="151" y="285"/>
                  </a:lnTo>
                  <a:lnTo>
                    <a:pt x="151" y="281"/>
                  </a:lnTo>
                  <a:lnTo>
                    <a:pt x="153" y="276"/>
                  </a:lnTo>
                  <a:lnTo>
                    <a:pt x="155" y="275"/>
                  </a:lnTo>
                  <a:lnTo>
                    <a:pt x="155" y="273"/>
                  </a:lnTo>
                  <a:lnTo>
                    <a:pt x="153" y="273"/>
                  </a:lnTo>
                  <a:lnTo>
                    <a:pt x="153" y="272"/>
                  </a:lnTo>
                  <a:lnTo>
                    <a:pt x="151" y="270"/>
                  </a:lnTo>
                  <a:lnTo>
                    <a:pt x="150" y="270"/>
                  </a:lnTo>
                  <a:lnTo>
                    <a:pt x="148" y="268"/>
                  </a:lnTo>
                  <a:lnTo>
                    <a:pt x="147" y="268"/>
                  </a:lnTo>
                  <a:lnTo>
                    <a:pt x="145" y="268"/>
                  </a:lnTo>
                  <a:lnTo>
                    <a:pt x="143" y="267"/>
                  </a:lnTo>
                  <a:lnTo>
                    <a:pt x="142" y="268"/>
                  </a:lnTo>
                  <a:lnTo>
                    <a:pt x="140" y="268"/>
                  </a:lnTo>
                  <a:lnTo>
                    <a:pt x="138" y="270"/>
                  </a:lnTo>
                  <a:lnTo>
                    <a:pt x="137" y="272"/>
                  </a:lnTo>
                  <a:lnTo>
                    <a:pt x="135" y="272"/>
                  </a:lnTo>
                  <a:lnTo>
                    <a:pt x="135" y="273"/>
                  </a:lnTo>
                  <a:lnTo>
                    <a:pt x="134" y="273"/>
                  </a:lnTo>
                  <a:lnTo>
                    <a:pt x="132" y="273"/>
                  </a:lnTo>
                  <a:lnTo>
                    <a:pt x="132" y="272"/>
                  </a:lnTo>
                  <a:lnTo>
                    <a:pt x="130" y="270"/>
                  </a:lnTo>
                  <a:lnTo>
                    <a:pt x="129" y="272"/>
                  </a:lnTo>
                  <a:lnTo>
                    <a:pt x="127" y="270"/>
                  </a:lnTo>
                  <a:lnTo>
                    <a:pt x="125" y="270"/>
                  </a:lnTo>
                  <a:lnTo>
                    <a:pt x="124" y="270"/>
                  </a:lnTo>
                  <a:lnTo>
                    <a:pt x="124" y="268"/>
                  </a:lnTo>
                  <a:lnTo>
                    <a:pt x="124" y="267"/>
                  </a:lnTo>
                  <a:lnTo>
                    <a:pt x="124" y="265"/>
                  </a:lnTo>
                  <a:lnTo>
                    <a:pt x="122" y="263"/>
                  </a:lnTo>
                  <a:lnTo>
                    <a:pt x="121" y="263"/>
                  </a:lnTo>
                  <a:lnTo>
                    <a:pt x="119" y="265"/>
                  </a:lnTo>
                  <a:lnTo>
                    <a:pt x="117" y="267"/>
                  </a:lnTo>
                  <a:lnTo>
                    <a:pt x="116" y="267"/>
                  </a:lnTo>
                  <a:lnTo>
                    <a:pt x="114" y="267"/>
                  </a:lnTo>
                  <a:lnTo>
                    <a:pt x="112" y="267"/>
                  </a:lnTo>
                  <a:lnTo>
                    <a:pt x="112" y="268"/>
                  </a:lnTo>
                  <a:lnTo>
                    <a:pt x="111" y="268"/>
                  </a:lnTo>
                  <a:lnTo>
                    <a:pt x="109" y="268"/>
                  </a:lnTo>
                  <a:lnTo>
                    <a:pt x="109" y="270"/>
                  </a:lnTo>
                  <a:lnTo>
                    <a:pt x="108" y="270"/>
                  </a:lnTo>
                  <a:lnTo>
                    <a:pt x="106" y="270"/>
                  </a:lnTo>
                  <a:lnTo>
                    <a:pt x="104" y="270"/>
                  </a:lnTo>
                  <a:lnTo>
                    <a:pt x="103" y="270"/>
                  </a:lnTo>
                  <a:lnTo>
                    <a:pt x="103" y="268"/>
                  </a:lnTo>
                  <a:lnTo>
                    <a:pt x="104" y="268"/>
                  </a:lnTo>
                  <a:lnTo>
                    <a:pt x="103" y="267"/>
                  </a:lnTo>
                  <a:lnTo>
                    <a:pt x="103" y="263"/>
                  </a:lnTo>
                  <a:lnTo>
                    <a:pt x="103" y="262"/>
                  </a:lnTo>
                  <a:lnTo>
                    <a:pt x="103" y="260"/>
                  </a:lnTo>
                  <a:lnTo>
                    <a:pt x="101" y="260"/>
                  </a:lnTo>
                  <a:lnTo>
                    <a:pt x="101" y="259"/>
                  </a:lnTo>
                  <a:lnTo>
                    <a:pt x="101" y="255"/>
                  </a:lnTo>
                  <a:lnTo>
                    <a:pt x="101" y="254"/>
                  </a:lnTo>
                  <a:lnTo>
                    <a:pt x="101" y="252"/>
                  </a:lnTo>
                  <a:lnTo>
                    <a:pt x="101" y="250"/>
                  </a:lnTo>
                  <a:lnTo>
                    <a:pt x="101" y="249"/>
                  </a:lnTo>
                  <a:lnTo>
                    <a:pt x="103" y="247"/>
                  </a:lnTo>
                  <a:lnTo>
                    <a:pt x="103" y="246"/>
                  </a:lnTo>
                  <a:lnTo>
                    <a:pt x="103" y="244"/>
                  </a:lnTo>
                  <a:lnTo>
                    <a:pt x="103" y="242"/>
                  </a:lnTo>
                  <a:lnTo>
                    <a:pt x="103" y="241"/>
                  </a:lnTo>
                  <a:lnTo>
                    <a:pt x="104" y="241"/>
                  </a:lnTo>
                  <a:lnTo>
                    <a:pt x="103" y="241"/>
                  </a:lnTo>
                  <a:lnTo>
                    <a:pt x="103" y="239"/>
                  </a:lnTo>
                  <a:lnTo>
                    <a:pt x="103" y="237"/>
                  </a:lnTo>
                  <a:lnTo>
                    <a:pt x="104" y="237"/>
                  </a:lnTo>
                  <a:lnTo>
                    <a:pt x="104" y="236"/>
                  </a:lnTo>
                  <a:lnTo>
                    <a:pt x="104" y="234"/>
                  </a:lnTo>
                  <a:lnTo>
                    <a:pt x="104" y="233"/>
                  </a:lnTo>
                  <a:lnTo>
                    <a:pt x="103" y="231"/>
                  </a:lnTo>
                  <a:lnTo>
                    <a:pt x="104" y="231"/>
                  </a:lnTo>
                  <a:lnTo>
                    <a:pt x="104" y="229"/>
                  </a:lnTo>
                  <a:lnTo>
                    <a:pt x="104" y="228"/>
                  </a:lnTo>
                  <a:lnTo>
                    <a:pt x="106" y="226"/>
                  </a:lnTo>
                  <a:lnTo>
                    <a:pt x="104" y="224"/>
                  </a:lnTo>
                  <a:lnTo>
                    <a:pt x="104" y="223"/>
                  </a:lnTo>
                  <a:lnTo>
                    <a:pt x="103" y="219"/>
                  </a:lnTo>
                  <a:lnTo>
                    <a:pt x="103" y="218"/>
                  </a:lnTo>
                  <a:lnTo>
                    <a:pt x="103" y="216"/>
                  </a:lnTo>
                  <a:lnTo>
                    <a:pt x="103" y="215"/>
                  </a:lnTo>
                  <a:lnTo>
                    <a:pt x="101" y="215"/>
                  </a:lnTo>
                  <a:lnTo>
                    <a:pt x="101" y="213"/>
                  </a:lnTo>
                  <a:lnTo>
                    <a:pt x="101" y="211"/>
                  </a:lnTo>
                  <a:lnTo>
                    <a:pt x="101" y="210"/>
                  </a:lnTo>
                  <a:lnTo>
                    <a:pt x="103" y="208"/>
                  </a:lnTo>
                  <a:lnTo>
                    <a:pt x="103" y="206"/>
                  </a:lnTo>
                  <a:lnTo>
                    <a:pt x="104" y="205"/>
                  </a:lnTo>
                  <a:lnTo>
                    <a:pt x="104" y="203"/>
                  </a:lnTo>
                  <a:lnTo>
                    <a:pt x="104" y="202"/>
                  </a:lnTo>
                  <a:lnTo>
                    <a:pt x="106" y="202"/>
                  </a:lnTo>
                  <a:lnTo>
                    <a:pt x="108" y="200"/>
                  </a:lnTo>
                  <a:lnTo>
                    <a:pt x="106" y="198"/>
                  </a:lnTo>
                  <a:lnTo>
                    <a:pt x="106" y="197"/>
                  </a:lnTo>
                  <a:lnTo>
                    <a:pt x="106" y="195"/>
                  </a:lnTo>
                  <a:lnTo>
                    <a:pt x="104" y="195"/>
                  </a:lnTo>
                  <a:lnTo>
                    <a:pt x="104" y="193"/>
                  </a:lnTo>
                  <a:lnTo>
                    <a:pt x="103" y="193"/>
                  </a:lnTo>
                  <a:lnTo>
                    <a:pt x="101" y="195"/>
                  </a:lnTo>
                  <a:lnTo>
                    <a:pt x="99" y="195"/>
                  </a:lnTo>
                  <a:lnTo>
                    <a:pt x="99" y="193"/>
                  </a:lnTo>
                  <a:lnTo>
                    <a:pt x="98" y="192"/>
                  </a:lnTo>
                  <a:lnTo>
                    <a:pt x="98" y="193"/>
                  </a:lnTo>
                  <a:lnTo>
                    <a:pt x="94" y="197"/>
                  </a:lnTo>
                  <a:lnTo>
                    <a:pt x="93" y="198"/>
                  </a:lnTo>
                  <a:lnTo>
                    <a:pt x="93" y="200"/>
                  </a:lnTo>
                  <a:lnTo>
                    <a:pt x="91" y="200"/>
                  </a:lnTo>
                  <a:lnTo>
                    <a:pt x="90" y="198"/>
                  </a:lnTo>
                  <a:lnTo>
                    <a:pt x="88" y="200"/>
                  </a:lnTo>
                  <a:lnTo>
                    <a:pt x="86" y="202"/>
                  </a:lnTo>
                  <a:lnTo>
                    <a:pt x="85" y="200"/>
                  </a:lnTo>
                  <a:lnTo>
                    <a:pt x="83" y="200"/>
                  </a:lnTo>
                  <a:lnTo>
                    <a:pt x="83" y="198"/>
                  </a:lnTo>
                  <a:lnTo>
                    <a:pt x="83" y="197"/>
                  </a:lnTo>
                  <a:lnTo>
                    <a:pt x="83" y="195"/>
                  </a:lnTo>
                  <a:lnTo>
                    <a:pt x="81" y="193"/>
                  </a:lnTo>
                  <a:lnTo>
                    <a:pt x="81" y="192"/>
                  </a:lnTo>
                  <a:lnTo>
                    <a:pt x="80" y="192"/>
                  </a:lnTo>
                  <a:lnTo>
                    <a:pt x="80" y="189"/>
                  </a:lnTo>
                  <a:lnTo>
                    <a:pt x="80" y="187"/>
                  </a:lnTo>
                  <a:lnTo>
                    <a:pt x="78" y="182"/>
                  </a:lnTo>
                  <a:lnTo>
                    <a:pt x="77" y="182"/>
                  </a:lnTo>
                  <a:lnTo>
                    <a:pt x="77" y="180"/>
                  </a:lnTo>
                  <a:lnTo>
                    <a:pt x="75" y="180"/>
                  </a:lnTo>
                  <a:lnTo>
                    <a:pt x="75" y="177"/>
                  </a:lnTo>
                  <a:lnTo>
                    <a:pt x="73" y="176"/>
                  </a:lnTo>
                  <a:lnTo>
                    <a:pt x="73" y="172"/>
                  </a:lnTo>
                  <a:lnTo>
                    <a:pt x="73" y="171"/>
                  </a:lnTo>
                  <a:lnTo>
                    <a:pt x="72" y="171"/>
                  </a:lnTo>
                  <a:lnTo>
                    <a:pt x="72" y="169"/>
                  </a:lnTo>
                  <a:lnTo>
                    <a:pt x="72" y="167"/>
                  </a:lnTo>
                  <a:lnTo>
                    <a:pt x="70" y="167"/>
                  </a:lnTo>
                  <a:lnTo>
                    <a:pt x="68" y="167"/>
                  </a:lnTo>
                  <a:lnTo>
                    <a:pt x="67" y="167"/>
                  </a:lnTo>
                  <a:lnTo>
                    <a:pt x="65" y="167"/>
                  </a:lnTo>
                  <a:lnTo>
                    <a:pt x="65" y="166"/>
                  </a:lnTo>
                  <a:lnTo>
                    <a:pt x="65" y="164"/>
                  </a:lnTo>
                  <a:lnTo>
                    <a:pt x="65" y="163"/>
                  </a:lnTo>
                  <a:lnTo>
                    <a:pt x="64" y="163"/>
                  </a:lnTo>
                  <a:lnTo>
                    <a:pt x="62" y="161"/>
                  </a:lnTo>
                  <a:lnTo>
                    <a:pt x="62" y="159"/>
                  </a:lnTo>
                  <a:lnTo>
                    <a:pt x="60" y="159"/>
                  </a:lnTo>
                  <a:lnTo>
                    <a:pt x="59" y="159"/>
                  </a:lnTo>
                  <a:lnTo>
                    <a:pt x="59" y="158"/>
                  </a:lnTo>
                  <a:lnTo>
                    <a:pt x="60" y="156"/>
                  </a:lnTo>
                  <a:lnTo>
                    <a:pt x="60" y="154"/>
                  </a:lnTo>
                  <a:lnTo>
                    <a:pt x="60" y="153"/>
                  </a:lnTo>
                  <a:lnTo>
                    <a:pt x="60" y="150"/>
                  </a:lnTo>
                  <a:lnTo>
                    <a:pt x="59" y="148"/>
                  </a:lnTo>
                  <a:lnTo>
                    <a:pt x="60" y="146"/>
                  </a:lnTo>
                  <a:lnTo>
                    <a:pt x="59" y="145"/>
                  </a:lnTo>
                  <a:lnTo>
                    <a:pt x="60" y="145"/>
                  </a:lnTo>
                  <a:lnTo>
                    <a:pt x="60" y="143"/>
                  </a:lnTo>
                  <a:lnTo>
                    <a:pt x="59" y="141"/>
                  </a:lnTo>
                  <a:lnTo>
                    <a:pt x="57" y="141"/>
                  </a:lnTo>
                  <a:lnTo>
                    <a:pt x="57" y="140"/>
                  </a:lnTo>
                  <a:lnTo>
                    <a:pt x="57" y="138"/>
                  </a:lnTo>
                  <a:lnTo>
                    <a:pt x="55" y="138"/>
                  </a:lnTo>
                  <a:lnTo>
                    <a:pt x="55" y="140"/>
                  </a:lnTo>
                  <a:lnTo>
                    <a:pt x="54" y="138"/>
                  </a:lnTo>
                  <a:lnTo>
                    <a:pt x="52" y="141"/>
                  </a:lnTo>
                  <a:lnTo>
                    <a:pt x="51" y="141"/>
                  </a:lnTo>
                  <a:lnTo>
                    <a:pt x="51" y="140"/>
                  </a:lnTo>
                  <a:lnTo>
                    <a:pt x="51" y="138"/>
                  </a:lnTo>
                  <a:lnTo>
                    <a:pt x="49" y="138"/>
                  </a:lnTo>
                  <a:lnTo>
                    <a:pt x="47" y="138"/>
                  </a:lnTo>
                  <a:lnTo>
                    <a:pt x="46" y="138"/>
                  </a:lnTo>
                  <a:lnTo>
                    <a:pt x="44" y="137"/>
                  </a:lnTo>
                  <a:lnTo>
                    <a:pt x="46" y="135"/>
                  </a:lnTo>
                  <a:lnTo>
                    <a:pt x="44" y="133"/>
                  </a:lnTo>
                  <a:lnTo>
                    <a:pt x="42" y="133"/>
                  </a:lnTo>
                  <a:lnTo>
                    <a:pt x="41" y="133"/>
                  </a:lnTo>
                  <a:lnTo>
                    <a:pt x="41" y="132"/>
                  </a:lnTo>
                  <a:lnTo>
                    <a:pt x="41" y="130"/>
                  </a:lnTo>
                  <a:lnTo>
                    <a:pt x="39" y="130"/>
                  </a:lnTo>
                  <a:lnTo>
                    <a:pt x="38" y="127"/>
                  </a:lnTo>
                  <a:lnTo>
                    <a:pt x="36" y="127"/>
                  </a:lnTo>
                  <a:lnTo>
                    <a:pt x="34" y="127"/>
                  </a:lnTo>
                  <a:lnTo>
                    <a:pt x="34" y="125"/>
                  </a:lnTo>
                  <a:lnTo>
                    <a:pt x="36" y="124"/>
                  </a:lnTo>
                  <a:lnTo>
                    <a:pt x="36" y="122"/>
                  </a:lnTo>
                  <a:lnTo>
                    <a:pt x="38" y="120"/>
                  </a:lnTo>
                  <a:lnTo>
                    <a:pt x="36" y="119"/>
                  </a:lnTo>
                  <a:lnTo>
                    <a:pt x="34" y="119"/>
                  </a:lnTo>
                  <a:lnTo>
                    <a:pt x="34" y="117"/>
                  </a:lnTo>
                  <a:lnTo>
                    <a:pt x="36" y="117"/>
                  </a:lnTo>
                  <a:lnTo>
                    <a:pt x="34" y="115"/>
                  </a:lnTo>
                  <a:lnTo>
                    <a:pt x="33" y="115"/>
                  </a:lnTo>
                  <a:lnTo>
                    <a:pt x="33" y="114"/>
                  </a:lnTo>
                  <a:lnTo>
                    <a:pt x="33" y="112"/>
                  </a:lnTo>
                  <a:lnTo>
                    <a:pt x="34" y="111"/>
                  </a:lnTo>
                  <a:lnTo>
                    <a:pt x="34" y="109"/>
                  </a:lnTo>
                  <a:lnTo>
                    <a:pt x="33" y="107"/>
                  </a:lnTo>
                  <a:lnTo>
                    <a:pt x="31" y="106"/>
                  </a:lnTo>
                  <a:lnTo>
                    <a:pt x="29" y="104"/>
                  </a:lnTo>
                  <a:lnTo>
                    <a:pt x="28" y="104"/>
                  </a:lnTo>
                  <a:lnTo>
                    <a:pt x="26" y="102"/>
                  </a:lnTo>
                  <a:lnTo>
                    <a:pt x="25" y="102"/>
                  </a:lnTo>
                  <a:lnTo>
                    <a:pt x="23" y="102"/>
                  </a:lnTo>
                  <a:lnTo>
                    <a:pt x="21" y="102"/>
                  </a:lnTo>
                  <a:lnTo>
                    <a:pt x="20" y="102"/>
                  </a:lnTo>
                  <a:lnTo>
                    <a:pt x="18" y="102"/>
                  </a:lnTo>
                  <a:lnTo>
                    <a:pt x="16" y="101"/>
                  </a:lnTo>
                  <a:lnTo>
                    <a:pt x="15" y="98"/>
                  </a:lnTo>
                  <a:lnTo>
                    <a:pt x="13" y="96"/>
                  </a:lnTo>
                  <a:lnTo>
                    <a:pt x="12" y="96"/>
                  </a:lnTo>
                  <a:lnTo>
                    <a:pt x="12" y="94"/>
                  </a:lnTo>
                  <a:lnTo>
                    <a:pt x="12" y="93"/>
                  </a:lnTo>
                  <a:lnTo>
                    <a:pt x="12" y="91"/>
                  </a:lnTo>
                  <a:lnTo>
                    <a:pt x="10" y="91"/>
                  </a:lnTo>
                  <a:lnTo>
                    <a:pt x="8" y="91"/>
                  </a:lnTo>
                  <a:lnTo>
                    <a:pt x="8" y="88"/>
                  </a:lnTo>
                  <a:lnTo>
                    <a:pt x="7" y="86"/>
                  </a:lnTo>
                  <a:lnTo>
                    <a:pt x="3" y="86"/>
                  </a:lnTo>
                  <a:lnTo>
                    <a:pt x="3" y="85"/>
                  </a:lnTo>
                  <a:lnTo>
                    <a:pt x="3" y="83"/>
                  </a:lnTo>
                  <a:lnTo>
                    <a:pt x="2" y="85"/>
                  </a:lnTo>
                  <a:lnTo>
                    <a:pt x="0" y="83"/>
                  </a:lnTo>
                  <a:lnTo>
                    <a:pt x="0" y="81"/>
                  </a:lnTo>
                  <a:lnTo>
                    <a:pt x="2" y="80"/>
                  </a:lnTo>
                  <a:lnTo>
                    <a:pt x="2" y="78"/>
                  </a:lnTo>
                  <a:lnTo>
                    <a:pt x="0" y="78"/>
                  </a:lnTo>
                  <a:lnTo>
                    <a:pt x="0" y="76"/>
                  </a:lnTo>
                  <a:lnTo>
                    <a:pt x="2" y="75"/>
                  </a:lnTo>
                  <a:lnTo>
                    <a:pt x="3" y="75"/>
                  </a:lnTo>
                  <a:lnTo>
                    <a:pt x="5" y="75"/>
                  </a:lnTo>
                  <a:lnTo>
                    <a:pt x="7" y="75"/>
                  </a:lnTo>
                  <a:lnTo>
                    <a:pt x="8" y="73"/>
                  </a:lnTo>
                  <a:lnTo>
                    <a:pt x="10" y="75"/>
                  </a:lnTo>
                  <a:lnTo>
                    <a:pt x="10" y="73"/>
                  </a:lnTo>
                  <a:lnTo>
                    <a:pt x="12" y="71"/>
                  </a:lnTo>
                  <a:lnTo>
                    <a:pt x="13" y="71"/>
                  </a:lnTo>
                  <a:lnTo>
                    <a:pt x="15" y="71"/>
                  </a:lnTo>
                  <a:lnTo>
                    <a:pt x="13" y="70"/>
                  </a:lnTo>
                  <a:lnTo>
                    <a:pt x="15" y="68"/>
                  </a:lnTo>
                  <a:lnTo>
                    <a:pt x="16" y="67"/>
                  </a:lnTo>
                  <a:lnTo>
                    <a:pt x="18" y="67"/>
                  </a:lnTo>
                  <a:lnTo>
                    <a:pt x="18" y="68"/>
                  </a:lnTo>
                  <a:lnTo>
                    <a:pt x="20" y="68"/>
                  </a:lnTo>
                  <a:lnTo>
                    <a:pt x="21" y="68"/>
                  </a:lnTo>
                  <a:lnTo>
                    <a:pt x="23" y="68"/>
                  </a:lnTo>
                  <a:lnTo>
                    <a:pt x="25" y="68"/>
                  </a:lnTo>
                  <a:lnTo>
                    <a:pt x="26" y="70"/>
                  </a:lnTo>
                  <a:lnTo>
                    <a:pt x="26" y="68"/>
                  </a:lnTo>
                  <a:lnTo>
                    <a:pt x="26" y="67"/>
                  </a:lnTo>
                  <a:lnTo>
                    <a:pt x="29" y="67"/>
                  </a:lnTo>
                  <a:lnTo>
                    <a:pt x="29" y="65"/>
                  </a:lnTo>
                  <a:lnTo>
                    <a:pt x="31" y="63"/>
                  </a:lnTo>
                  <a:lnTo>
                    <a:pt x="31" y="60"/>
                  </a:lnTo>
                  <a:lnTo>
                    <a:pt x="33" y="60"/>
                  </a:lnTo>
                  <a:lnTo>
                    <a:pt x="34" y="60"/>
                  </a:lnTo>
                  <a:lnTo>
                    <a:pt x="36" y="58"/>
                  </a:lnTo>
                  <a:lnTo>
                    <a:pt x="36" y="57"/>
                  </a:lnTo>
                  <a:lnTo>
                    <a:pt x="36" y="55"/>
                  </a:lnTo>
                  <a:lnTo>
                    <a:pt x="36" y="54"/>
                  </a:lnTo>
                  <a:lnTo>
                    <a:pt x="34" y="54"/>
                  </a:lnTo>
                  <a:lnTo>
                    <a:pt x="33" y="52"/>
                  </a:lnTo>
                  <a:lnTo>
                    <a:pt x="31" y="50"/>
                  </a:lnTo>
                  <a:lnTo>
                    <a:pt x="31" y="49"/>
                  </a:lnTo>
                  <a:lnTo>
                    <a:pt x="31" y="47"/>
                  </a:lnTo>
                  <a:lnTo>
                    <a:pt x="33" y="47"/>
                  </a:lnTo>
                  <a:lnTo>
                    <a:pt x="33" y="45"/>
                  </a:lnTo>
                  <a:lnTo>
                    <a:pt x="31" y="44"/>
                  </a:lnTo>
                  <a:lnTo>
                    <a:pt x="29" y="42"/>
                  </a:lnTo>
                  <a:lnTo>
                    <a:pt x="29" y="41"/>
                  </a:lnTo>
                  <a:lnTo>
                    <a:pt x="28" y="39"/>
                  </a:lnTo>
                  <a:lnTo>
                    <a:pt x="28" y="37"/>
                  </a:lnTo>
                  <a:lnTo>
                    <a:pt x="29" y="36"/>
                  </a:lnTo>
                  <a:lnTo>
                    <a:pt x="29" y="32"/>
                  </a:lnTo>
                  <a:lnTo>
                    <a:pt x="31" y="29"/>
                  </a:lnTo>
                  <a:lnTo>
                    <a:pt x="29" y="24"/>
                  </a:lnTo>
                  <a:lnTo>
                    <a:pt x="28" y="21"/>
                  </a:lnTo>
                  <a:lnTo>
                    <a:pt x="26" y="21"/>
                  </a:lnTo>
                  <a:lnTo>
                    <a:pt x="26" y="19"/>
                  </a:lnTo>
                  <a:lnTo>
                    <a:pt x="28" y="15"/>
                  </a:lnTo>
                  <a:lnTo>
                    <a:pt x="28" y="13"/>
                  </a:lnTo>
                  <a:lnTo>
                    <a:pt x="33" y="3"/>
                  </a:lnTo>
                  <a:lnTo>
                    <a:pt x="34" y="0"/>
                  </a:lnTo>
                  <a:lnTo>
                    <a:pt x="36" y="2"/>
                  </a:lnTo>
                  <a:lnTo>
                    <a:pt x="36" y="3"/>
                  </a:lnTo>
                  <a:lnTo>
                    <a:pt x="36" y="2"/>
                  </a:lnTo>
                  <a:lnTo>
                    <a:pt x="38" y="3"/>
                  </a:lnTo>
                  <a:lnTo>
                    <a:pt x="39" y="5"/>
                  </a:lnTo>
                  <a:lnTo>
                    <a:pt x="41" y="5"/>
                  </a:lnTo>
                  <a:lnTo>
                    <a:pt x="42" y="6"/>
                  </a:lnTo>
                  <a:lnTo>
                    <a:pt x="44" y="6"/>
                  </a:lnTo>
                  <a:lnTo>
                    <a:pt x="46" y="5"/>
                  </a:lnTo>
                  <a:lnTo>
                    <a:pt x="47" y="5"/>
                  </a:lnTo>
                  <a:lnTo>
                    <a:pt x="47" y="3"/>
                  </a:lnTo>
                  <a:lnTo>
                    <a:pt x="47" y="5"/>
                  </a:lnTo>
                  <a:lnTo>
                    <a:pt x="49" y="5"/>
                  </a:lnTo>
                  <a:lnTo>
                    <a:pt x="51" y="5"/>
                  </a:lnTo>
                  <a:lnTo>
                    <a:pt x="52" y="5"/>
                  </a:lnTo>
                  <a:lnTo>
                    <a:pt x="54" y="6"/>
                  </a:lnTo>
                  <a:lnTo>
                    <a:pt x="54" y="8"/>
                  </a:lnTo>
                  <a:lnTo>
                    <a:pt x="55" y="8"/>
                  </a:lnTo>
                  <a:lnTo>
                    <a:pt x="57" y="8"/>
                  </a:lnTo>
                  <a:lnTo>
                    <a:pt x="59" y="8"/>
                  </a:lnTo>
                  <a:lnTo>
                    <a:pt x="60" y="8"/>
                  </a:lnTo>
                  <a:lnTo>
                    <a:pt x="60" y="10"/>
                  </a:lnTo>
                  <a:lnTo>
                    <a:pt x="62" y="11"/>
                  </a:lnTo>
                  <a:lnTo>
                    <a:pt x="64" y="11"/>
                  </a:lnTo>
                  <a:lnTo>
                    <a:pt x="65" y="11"/>
                  </a:lnTo>
                  <a:lnTo>
                    <a:pt x="67" y="11"/>
                  </a:lnTo>
                  <a:lnTo>
                    <a:pt x="68" y="11"/>
                  </a:lnTo>
                  <a:lnTo>
                    <a:pt x="68" y="10"/>
                  </a:lnTo>
                  <a:lnTo>
                    <a:pt x="70" y="10"/>
                  </a:lnTo>
                  <a:lnTo>
                    <a:pt x="70" y="11"/>
                  </a:lnTo>
                  <a:lnTo>
                    <a:pt x="72" y="11"/>
                  </a:lnTo>
                  <a:lnTo>
                    <a:pt x="72" y="10"/>
                  </a:lnTo>
                  <a:lnTo>
                    <a:pt x="73" y="11"/>
                  </a:lnTo>
                  <a:lnTo>
                    <a:pt x="72" y="11"/>
                  </a:lnTo>
                  <a:lnTo>
                    <a:pt x="72" y="13"/>
                  </a:lnTo>
                  <a:lnTo>
                    <a:pt x="75" y="13"/>
                  </a:lnTo>
                  <a:lnTo>
                    <a:pt x="77" y="13"/>
                  </a:lnTo>
                  <a:lnTo>
                    <a:pt x="75" y="15"/>
                  </a:lnTo>
                  <a:lnTo>
                    <a:pt x="77" y="15"/>
                  </a:lnTo>
                  <a:lnTo>
                    <a:pt x="77" y="16"/>
                  </a:lnTo>
                  <a:lnTo>
                    <a:pt x="77" y="18"/>
                  </a:lnTo>
                  <a:lnTo>
                    <a:pt x="78" y="18"/>
                  </a:lnTo>
                  <a:lnTo>
                    <a:pt x="78" y="19"/>
                  </a:lnTo>
                  <a:lnTo>
                    <a:pt x="80" y="19"/>
                  </a:lnTo>
                  <a:lnTo>
                    <a:pt x="81" y="19"/>
                  </a:lnTo>
                  <a:lnTo>
                    <a:pt x="81" y="21"/>
                  </a:lnTo>
                  <a:lnTo>
                    <a:pt x="83" y="21"/>
                  </a:lnTo>
                  <a:lnTo>
                    <a:pt x="85" y="21"/>
                  </a:lnTo>
                  <a:lnTo>
                    <a:pt x="83" y="23"/>
                  </a:lnTo>
                  <a:lnTo>
                    <a:pt x="85" y="23"/>
                  </a:lnTo>
                  <a:lnTo>
                    <a:pt x="83" y="23"/>
                  </a:lnTo>
                  <a:lnTo>
                    <a:pt x="83" y="24"/>
                  </a:lnTo>
                  <a:lnTo>
                    <a:pt x="85" y="24"/>
                  </a:lnTo>
                  <a:lnTo>
                    <a:pt x="85" y="26"/>
                  </a:lnTo>
                  <a:lnTo>
                    <a:pt x="86" y="28"/>
                  </a:lnTo>
                  <a:lnTo>
                    <a:pt x="86" y="26"/>
                  </a:lnTo>
                  <a:lnTo>
                    <a:pt x="88" y="26"/>
                  </a:lnTo>
                  <a:lnTo>
                    <a:pt x="90" y="26"/>
                  </a:lnTo>
                  <a:lnTo>
                    <a:pt x="88" y="26"/>
                  </a:lnTo>
                  <a:lnTo>
                    <a:pt x="88" y="28"/>
                  </a:lnTo>
                  <a:lnTo>
                    <a:pt x="88" y="29"/>
                  </a:lnTo>
                  <a:lnTo>
                    <a:pt x="90" y="29"/>
                  </a:lnTo>
                  <a:lnTo>
                    <a:pt x="91" y="29"/>
                  </a:lnTo>
                  <a:lnTo>
                    <a:pt x="93" y="29"/>
                  </a:lnTo>
                  <a:lnTo>
                    <a:pt x="94" y="29"/>
                  </a:lnTo>
                  <a:lnTo>
                    <a:pt x="96" y="29"/>
                  </a:lnTo>
                  <a:lnTo>
                    <a:pt x="98" y="31"/>
                  </a:lnTo>
                  <a:lnTo>
                    <a:pt x="99" y="31"/>
                  </a:lnTo>
                  <a:lnTo>
                    <a:pt x="101" y="31"/>
                  </a:lnTo>
                  <a:lnTo>
                    <a:pt x="101" y="32"/>
                  </a:lnTo>
                  <a:lnTo>
                    <a:pt x="103" y="32"/>
                  </a:lnTo>
                  <a:lnTo>
                    <a:pt x="106" y="32"/>
                  </a:lnTo>
                  <a:lnTo>
                    <a:pt x="106" y="34"/>
                  </a:lnTo>
                  <a:lnTo>
                    <a:pt x="106" y="36"/>
                  </a:lnTo>
                  <a:lnTo>
                    <a:pt x="108" y="36"/>
                  </a:lnTo>
                  <a:lnTo>
                    <a:pt x="108" y="34"/>
                  </a:lnTo>
                  <a:lnTo>
                    <a:pt x="108" y="36"/>
                  </a:lnTo>
                  <a:lnTo>
                    <a:pt x="109" y="36"/>
                  </a:lnTo>
                  <a:lnTo>
                    <a:pt x="109" y="37"/>
                  </a:lnTo>
                  <a:lnTo>
                    <a:pt x="112" y="37"/>
                  </a:lnTo>
                  <a:lnTo>
                    <a:pt x="112" y="39"/>
                  </a:lnTo>
                  <a:lnTo>
                    <a:pt x="112" y="41"/>
                  </a:lnTo>
                  <a:lnTo>
                    <a:pt x="112" y="39"/>
                  </a:lnTo>
                  <a:lnTo>
                    <a:pt x="114" y="39"/>
                  </a:lnTo>
                  <a:lnTo>
                    <a:pt x="116" y="41"/>
                  </a:lnTo>
                  <a:lnTo>
                    <a:pt x="114" y="41"/>
                  </a:lnTo>
                  <a:lnTo>
                    <a:pt x="116" y="42"/>
                  </a:lnTo>
                  <a:lnTo>
                    <a:pt x="117" y="42"/>
                  </a:lnTo>
                  <a:lnTo>
                    <a:pt x="117" y="44"/>
                  </a:lnTo>
                  <a:lnTo>
                    <a:pt x="119" y="44"/>
                  </a:lnTo>
                  <a:lnTo>
                    <a:pt x="119" y="45"/>
                  </a:lnTo>
                  <a:lnTo>
                    <a:pt x="119" y="47"/>
                  </a:lnTo>
                  <a:lnTo>
                    <a:pt x="121" y="49"/>
                  </a:lnTo>
                  <a:lnTo>
                    <a:pt x="121" y="47"/>
                  </a:lnTo>
                  <a:lnTo>
                    <a:pt x="122" y="47"/>
                  </a:lnTo>
                  <a:lnTo>
                    <a:pt x="122" y="45"/>
                  </a:lnTo>
                  <a:lnTo>
                    <a:pt x="124" y="45"/>
                  </a:lnTo>
                  <a:lnTo>
                    <a:pt x="124" y="47"/>
                  </a:lnTo>
                  <a:lnTo>
                    <a:pt x="125" y="47"/>
                  </a:lnTo>
                  <a:lnTo>
                    <a:pt x="127" y="47"/>
                  </a:lnTo>
                  <a:lnTo>
                    <a:pt x="130" y="47"/>
                  </a:lnTo>
                  <a:lnTo>
                    <a:pt x="132" y="47"/>
                  </a:lnTo>
                  <a:lnTo>
                    <a:pt x="135" y="45"/>
                  </a:lnTo>
                  <a:lnTo>
                    <a:pt x="137" y="44"/>
                  </a:lnTo>
                  <a:lnTo>
                    <a:pt x="138" y="45"/>
                  </a:lnTo>
                  <a:lnTo>
                    <a:pt x="150" y="49"/>
                  </a:lnTo>
                  <a:lnTo>
                    <a:pt x="151" y="52"/>
                  </a:lnTo>
                  <a:lnTo>
                    <a:pt x="151" y="54"/>
                  </a:lnTo>
                  <a:lnTo>
                    <a:pt x="153" y="54"/>
                  </a:lnTo>
                  <a:lnTo>
                    <a:pt x="156" y="54"/>
                  </a:lnTo>
                  <a:lnTo>
                    <a:pt x="156" y="55"/>
                  </a:lnTo>
                  <a:lnTo>
                    <a:pt x="158" y="55"/>
                  </a:lnTo>
                  <a:lnTo>
                    <a:pt x="158" y="54"/>
                  </a:lnTo>
                  <a:lnTo>
                    <a:pt x="160" y="54"/>
                  </a:lnTo>
                  <a:lnTo>
                    <a:pt x="160" y="55"/>
                  </a:lnTo>
                  <a:lnTo>
                    <a:pt x="160" y="57"/>
                  </a:lnTo>
                  <a:lnTo>
                    <a:pt x="160" y="58"/>
                  </a:lnTo>
                  <a:lnTo>
                    <a:pt x="160" y="60"/>
                  </a:lnTo>
                  <a:lnTo>
                    <a:pt x="163" y="62"/>
                  </a:lnTo>
                  <a:lnTo>
                    <a:pt x="164" y="62"/>
                  </a:lnTo>
                  <a:lnTo>
                    <a:pt x="166" y="60"/>
                  </a:lnTo>
                  <a:lnTo>
                    <a:pt x="168" y="60"/>
                  </a:lnTo>
                  <a:lnTo>
                    <a:pt x="169" y="60"/>
                  </a:lnTo>
                  <a:lnTo>
                    <a:pt x="171" y="60"/>
                  </a:lnTo>
                  <a:lnTo>
                    <a:pt x="173" y="60"/>
                  </a:lnTo>
                  <a:lnTo>
                    <a:pt x="174" y="60"/>
                  </a:lnTo>
                  <a:lnTo>
                    <a:pt x="174" y="58"/>
                  </a:lnTo>
                  <a:lnTo>
                    <a:pt x="176" y="57"/>
                  </a:lnTo>
                  <a:close/>
                </a:path>
              </a:pathLst>
            </a:custGeom>
            <a:solidFill>
              <a:srgbClr val="E5E5E5"/>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1229" name="Freeform 75">
              <a:extLst>
                <a:ext uri="{FF2B5EF4-FFF2-40B4-BE49-F238E27FC236}">
                  <a16:creationId xmlns:a16="http://schemas.microsoft.com/office/drawing/2014/main" id="{36F5BBF5-9B94-D2C9-60C8-41C85CB0F3AA}"/>
                </a:ext>
              </a:extLst>
            </p:cNvPr>
            <p:cNvSpPr>
              <a:spLocks noEditPoints="1"/>
            </p:cNvSpPr>
            <p:nvPr/>
          </p:nvSpPr>
          <p:spPr bwMode="auto">
            <a:xfrm>
              <a:off x="7857" y="4153"/>
              <a:ext cx="184" cy="254"/>
            </a:xfrm>
            <a:custGeom>
              <a:avLst/>
              <a:gdLst>
                <a:gd name="T0" fmla="*/ 72 w 184"/>
                <a:gd name="T1" fmla="*/ 172 h 254"/>
                <a:gd name="T2" fmla="*/ 76 w 184"/>
                <a:gd name="T3" fmla="*/ 176 h 254"/>
                <a:gd name="T4" fmla="*/ 172 w 184"/>
                <a:gd name="T5" fmla="*/ 163 h 254"/>
                <a:gd name="T6" fmla="*/ 177 w 184"/>
                <a:gd name="T7" fmla="*/ 169 h 254"/>
                <a:gd name="T8" fmla="*/ 181 w 184"/>
                <a:gd name="T9" fmla="*/ 172 h 254"/>
                <a:gd name="T10" fmla="*/ 181 w 184"/>
                <a:gd name="T11" fmla="*/ 182 h 254"/>
                <a:gd name="T12" fmla="*/ 184 w 184"/>
                <a:gd name="T13" fmla="*/ 249 h 254"/>
                <a:gd name="T14" fmla="*/ 181 w 184"/>
                <a:gd name="T15" fmla="*/ 252 h 254"/>
                <a:gd name="T16" fmla="*/ 176 w 184"/>
                <a:gd name="T17" fmla="*/ 252 h 254"/>
                <a:gd name="T18" fmla="*/ 168 w 184"/>
                <a:gd name="T19" fmla="*/ 252 h 254"/>
                <a:gd name="T20" fmla="*/ 168 w 184"/>
                <a:gd name="T21" fmla="*/ 246 h 254"/>
                <a:gd name="T22" fmla="*/ 164 w 184"/>
                <a:gd name="T23" fmla="*/ 246 h 254"/>
                <a:gd name="T24" fmla="*/ 158 w 184"/>
                <a:gd name="T25" fmla="*/ 241 h 254"/>
                <a:gd name="T26" fmla="*/ 135 w 184"/>
                <a:gd name="T27" fmla="*/ 239 h 254"/>
                <a:gd name="T28" fmla="*/ 130 w 184"/>
                <a:gd name="T29" fmla="*/ 239 h 254"/>
                <a:gd name="T30" fmla="*/ 127 w 184"/>
                <a:gd name="T31" fmla="*/ 237 h 254"/>
                <a:gd name="T32" fmla="*/ 122 w 184"/>
                <a:gd name="T33" fmla="*/ 233 h 254"/>
                <a:gd name="T34" fmla="*/ 120 w 184"/>
                <a:gd name="T35" fmla="*/ 233 h 254"/>
                <a:gd name="T36" fmla="*/ 117 w 184"/>
                <a:gd name="T37" fmla="*/ 228 h 254"/>
                <a:gd name="T38" fmla="*/ 114 w 184"/>
                <a:gd name="T39" fmla="*/ 226 h 254"/>
                <a:gd name="T40" fmla="*/ 109 w 184"/>
                <a:gd name="T41" fmla="*/ 223 h 254"/>
                <a:gd name="T42" fmla="*/ 104 w 184"/>
                <a:gd name="T43" fmla="*/ 221 h 254"/>
                <a:gd name="T44" fmla="*/ 102 w 184"/>
                <a:gd name="T45" fmla="*/ 221 h 254"/>
                <a:gd name="T46" fmla="*/ 98 w 184"/>
                <a:gd name="T47" fmla="*/ 221 h 254"/>
                <a:gd name="T48" fmla="*/ 98 w 184"/>
                <a:gd name="T49" fmla="*/ 218 h 254"/>
                <a:gd name="T50" fmla="*/ 93 w 184"/>
                <a:gd name="T51" fmla="*/ 216 h 254"/>
                <a:gd name="T52" fmla="*/ 91 w 184"/>
                <a:gd name="T53" fmla="*/ 215 h 254"/>
                <a:gd name="T54" fmla="*/ 91 w 184"/>
                <a:gd name="T55" fmla="*/ 213 h 254"/>
                <a:gd name="T56" fmla="*/ 88 w 184"/>
                <a:gd name="T57" fmla="*/ 211 h 254"/>
                <a:gd name="T58" fmla="*/ 86 w 184"/>
                <a:gd name="T59" fmla="*/ 210 h 254"/>
                <a:gd name="T60" fmla="*/ 85 w 184"/>
                <a:gd name="T61" fmla="*/ 205 h 254"/>
                <a:gd name="T62" fmla="*/ 80 w 184"/>
                <a:gd name="T63" fmla="*/ 202 h 254"/>
                <a:gd name="T64" fmla="*/ 80 w 184"/>
                <a:gd name="T65" fmla="*/ 203 h 254"/>
                <a:gd name="T66" fmla="*/ 78 w 184"/>
                <a:gd name="T67" fmla="*/ 202 h 254"/>
                <a:gd name="T68" fmla="*/ 76 w 184"/>
                <a:gd name="T69" fmla="*/ 203 h 254"/>
                <a:gd name="T70" fmla="*/ 70 w 184"/>
                <a:gd name="T71" fmla="*/ 203 h 254"/>
                <a:gd name="T72" fmla="*/ 68 w 184"/>
                <a:gd name="T73" fmla="*/ 198 h 254"/>
                <a:gd name="T74" fmla="*/ 67 w 184"/>
                <a:gd name="T75" fmla="*/ 197 h 254"/>
                <a:gd name="T76" fmla="*/ 67 w 184"/>
                <a:gd name="T77" fmla="*/ 197 h 254"/>
                <a:gd name="T78" fmla="*/ 63 w 184"/>
                <a:gd name="T79" fmla="*/ 195 h 254"/>
                <a:gd name="T80" fmla="*/ 62 w 184"/>
                <a:gd name="T81" fmla="*/ 195 h 254"/>
                <a:gd name="T82" fmla="*/ 62 w 184"/>
                <a:gd name="T83" fmla="*/ 192 h 254"/>
                <a:gd name="T84" fmla="*/ 73 w 184"/>
                <a:gd name="T85" fmla="*/ 184 h 254"/>
                <a:gd name="T86" fmla="*/ 80 w 184"/>
                <a:gd name="T87" fmla="*/ 179 h 254"/>
                <a:gd name="T88" fmla="*/ 83 w 184"/>
                <a:gd name="T89" fmla="*/ 172 h 254"/>
                <a:gd name="T90" fmla="*/ 91 w 184"/>
                <a:gd name="T91" fmla="*/ 169 h 254"/>
                <a:gd name="T92" fmla="*/ 102 w 184"/>
                <a:gd name="T93" fmla="*/ 176 h 254"/>
                <a:gd name="T94" fmla="*/ 106 w 184"/>
                <a:gd name="T95" fmla="*/ 181 h 254"/>
                <a:gd name="T96" fmla="*/ 107 w 184"/>
                <a:gd name="T97" fmla="*/ 189 h 254"/>
                <a:gd name="T98" fmla="*/ 112 w 184"/>
                <a:gd name="T99" fmla="*/ 185 h 254"/>
                <a:gd name="T100" fmla="*/ 119 w 184"/>
                <a:gd name="T101" fmla="*/ 181 h 254"/>
                <a:gd name="T102" fmla="*/ 127 w 184"/>
                <a:gd name="T103" fmla="*/ 185 h 254"/>
                <a:gd name="T104" fmla="*/ 135 w 184"/>
                <a:gd name="T105" fmla="*/ 185 h 254"/>
                <a:gd name="T106" fmla="*/ 143 w 184"/>
                <a:gd name="T107" fmla="*/ 187 h 254"/>
                <a:gd name="T108" fmla="*/ 146 w 184"/>
                <a:gd name="T109" fmla="*/ 179 h 254"/>
                <a:gd name="T110" fmla="*/ 150 w 184"/>
                <a:gd name="T111" fmla="*/ 174 h 254"/>
                <a:gd name="T112" fmla="*/ 150 w 184"/>
                <a:gd name="T113" fmla="*/ 171 h 254"/>
                <a:gd name="T114" fmla="*/ 156 w 184"/>
                <a:gd name="T115" fmla="*/ 166 h 254"/>
                <a:gd name="T116" fmla="*/ 161 w 184"/>
                <a:gd name="T117" fmla="*/ 159 h 254"/>
                <a:gd name="T118" fmla="*/ 168 w 184"/>
                <a:gd name="T119" fmla="*/ 159 h 254"/>
                <a:gd name="T120" fmla="*/ 5 w 184"/>
                <a:gd name="T121" fmla="*/ 7 h 254"/>
                <a:gd name="T122" fmla="*/ 0 w 184"/>
                <a:gd name="T123" fmla="*/ 3 h 254"/>
                <a:gd name="T124" fmla="*/ 7 w 184"/>
                <a:gd name="T125" fmla="*/ 2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84" h="254">
                  <a:moveTo>
                    <a:pt x="76" y="176"/>
                  </a:moveTo>
                  <a:lnTo>
                    <a:pt x="76" y="176"/>
                  </a:lnTo>
                  <a:lnTo>
                    <a:pt x="75" y="176"/>
                  </a:lnTo>
                  <a:lnTo>
                    <a:pt x="75" y="176"/>
                  </a:lnTo>
                  <a:lnTo>
                    <a:pt x="72" y="174"/>
                  </a:lnTo>
                  <a:lnTo>
                    <a:pt x="72" y="172"/>
                  </a:lnTo>
                  <a:lnTo>
                    <a:pt x="72" y="172"/>
                  </a:lnTo>
                  <a:lnTo>
                    <a:pt x="72" y="172"/>
                  </a:lnTo>
                  <a:lnTo>
                    <a:pt x="73" y="172"/>
                  </a:lnTo>
                  <a:lnTo>
                    <a:pt x="75" y="171"/>
                  </a:lnTo>
                  <a:lnTo>
                    <a:pt x="75" y="171"/>
                  </a:lnTo>
                  <a:lnTo>
                    <a:pt x="76" y="172"/>
                  </a:lnTo>
                  <a:lnTo>
                    <a:pt x="76" y="174"/>
                  </a:lnTo>
                  <a:lnTo>
                    <a:pt x="76" y="176"/>
                  </a:lnTo>
                  <a:close/>
                  <a:moveTo>
                    <a:pt x="168" y="159"/>
                  </a:moveTo>
                  <a:lnTo>
                    <a:pt x="169" y="161"/>
                  </a:lnTo>
                  <a:lnTo>
                    <a:pt x="169" y="161"/>
                  </a:lnTo>
                  <a:lnTo>
                    <a:pt x="171" y="161"/>
                  </a:lnTo>
                  <a:lnTo>
                    <a:pt x="171" y="161"/>
                  </a:lnTo>
                  <a:lnTo>
                    <a:pt x="171" y="161"/>
                  </a:lnTo>
                  <a:lnTo>
                    <a:pt x="172" y="163"/>
                  </a:lnTo>
                  <a:lnTo>
                    <a:pt x="174" y="163"/>
                  </a:lnTo>
                  <a:lnTo>
                    <a:pt x="174" y="164"/>
                  </a:lnTo>
                  <a:lnTo>
                    <a:pt x="176" y="166"/>
                  </a:lnTo>
                  <a:lnTo>
                    <a:pt x="176" y="168"/>
                  </a:lnTo>
                  <a:lnTo>
                    <a:pt x="177" y="168"/>
                  </a:lnTo>
                  <a:lnTo>
                    <a:pt x="177" y="168"/>
                  </a:lnTo>
                  <a:lnTo>
                    <a:pt x="177" y="169"/>
                  </a:lnTo>
                  <a:lnTo>
                    <a:pt x="177" y="171"/>
                  </a:lnTo>
                  <a:lnTo>
                    <a:pt x="177" y="171"/>
                  </a:lnTo>
                  <a:lnTo>
                    <a:pt x="177" y="171"/>
                  </a:lnTo>
                  <a:lnTo>
                    <a:pt x="179" y="171"/>
                  </a:lnTo>
                  <a:lnTo>
                    <a:pt x="181" y="172"/>
                  </a:lnTo>
                  <a:lnTo>
                    <a:pt x="181" y="172"/>
                  </a:lnTo>
                  <a:lnTo>
                    <a:pt x="181" y="172"/>
                  </a:lnTo>
                  <a:lnTo>
                    <a:pt x="181" y="174"/>
                  </a:lnTo>
                  <a:lnTo>
                    <a:pt x="181" y="176"/>
                  </a:lnTo>
                  <a:lnTo>
                    <a:pt x="181" y="177"/>
                  </a:lnTo>
                  <a:lnTo>
                    <a:pt x="179" y="177"/>
                  </a:lnTo>
                  <a:lnTo>
                    <a:pt x="179" y="179"/>
                  </a:lnTo>
                  <a:lnTo>
                    <a:pt x="179" y="181"/>
                  </a:lnTo>
                  <a:lnTo>
                    <a:pt x="181" y="182"/>
                  </a:lnTo>
                  <a:lnTo>
                    <a:pt x="181" y="185"/>
                  </a:lnTo>
                  <a:lnTo>
                    <a:pt x="181" y="185"/>
                  </a:lnTo>
                  <a:lnTo>
                    <a:pt x="181" y="187"/>
                  </a:lnTo>
                  <a:lnTo>
                    <a:pt x="182" y="187"/>
                  </a:lnTo>
                  <a:lnTo>
                    <a:pt x="184" y="187"/>
                  </a:lnTo>
                  <a:lnTo>
                    <a:pt x="184" y="187"/>
                  </a:lnTo>
                  <a:lnTo>
                    <a:pt x="184" y="249"/>
                  </a:lnTo>
                  <a:lnTo>
                    <a:pt x="184" y="249"/>
                  </a:lnTo>
                  <a:lnTo>
                    <a:pt x="182" y="250"/>
                  </a:lnTo>
                  <a:lnTo>
                    <a:pt x="182" y="252"/>
                  </a:lnTo>
                  <a:lnTo>
                    <a:pt x="182" y="252"/>
                  </a:lnTo>
                  <a:lnTo>
                    <a:pt x="181" y="252"/>
                  </a:lnTo>
                  <a:lnTo>
                    <a:pt x="181" y="252"/>
                  </a:lnTo>
                  <a:lnTo>
                    <a:pt x="181" y="252"/>
                  </a:lnTo>
                  <a:lnTo>
                    <a:pt x="179" y="252"/>
                  </a:lnTo>
                  <a:lnTo>
                    <a:pt x="179" y="252"/>
                  </a:lnTo>
                  <a:lnTo>
                    <a:pt x="179" y="252"/>
                  </a:lnTo>
                  <a:lnTo>
                    <a:pt x="177" y="252"/>
                  </a:lnTo>
                  <a:lnTo>
                    <a:pt x="176" y="252"/>
                  </a:lnTo>
                  <a:lnTo>
                    <a:pt x="176" y="252"/>
                  </a:lnTo>
                  <a:lnTo>
                    <a:pt x="176" y="252"/>
                  </a:lnTo>
                  <a:lnTo>
                    <a:pt x="174" y="252"/>
                  </a:lnTo>
                  <a:lnTo>
                    <a:pt x="172" y="254"/>
                  </a:lnTo>
                  <a:lnTo>
                    <a:pt x="172" y="254"/>
                  </a:lnTo>
                  <a:lnTo>
                    <a:pt x="171" y="254"/>
                  </a:lnTo>
                  <a:lnTo>
                    <a:pt x="171" y="254"/>
                  </a:lnTo>
                  <a:lnTo>
                    <a:pt x="171" y="254"/>
                  </a:lnTo>
                  <a:lnTo>
                    <a:pt x="168" y="252"/>
                  </a:lnTo>
                  <a:lnTo>
                    <a:pt x="168" y="252"/>
                  </a:lnTo>
                  <a:lnTo>
                    <a:pt x="168" y="250"/>
                  </a:lnTo>
                  <a:lnTo>
                    <a:pt x="168" y="249"/>
                  </a:lnTo>
                  <a:lnTo>
                    <a:pt x="168" y="247"/>
                  </a:lnTo>
                  <a:lnTo>
                    <a:pt x="168" y="247"/>
                  </a:lnTo>
                  <a:lnTo>
                    <a:pt x="168" y="246"/>
                  </a:lnTo>
                  <a:lnTo>
                    <a:pt x="168" y="246"/>
                  </a:lnTo>
                  <a:lnTo>
                    <a:pt x="168" y="246"/>
                  </a:lnTo>
                  <a:lnTo>
                    <a:pt x="166" y="246"/>
                  </a:lnTo>
                  <a:lnTo>
                    <a:pt x="166" y="246"/>
                  </a:lnTo>
                  <a:lnTo>
                    <a:pt x="166" y="247"/>
                  </a:lnTo>
                  <a:lnTo>
                    <a:pt x="164" y="247"/>
                  </a:lnTo>
                  <a:lnTo>
                    <a:pt x="164" y="246"/>
                  </a:lnTo>
                  <a:lnTo>
                    <a:pt x="164" y="246"/>
                  </a:lnTo>
                  <a:lnTo>
                    <a:pt x="161" y="246"/>
                  </a:lnTo>
                  <a:lnTo>
                    <a:pt x="161" y="246"/>
                  </a:lnTo>
                  <a:lnTo>
                    <a:pt x="159" y="246"/>
                  </a:lnTo>
                  <a:lnTo>
                    <a:pt x="159" y="244"/>
                  </a:lnTo>
                  <a:lnTo>
                    <a:pt x="159" y="244"/>
                  </a:lnTo>
                  <a:lnTo>
                    <a:pt x="159" y="244"/>
                  </a:lnTo>
                  <a:lnTo>
                    <a:pt x="158" y="241"/>
                  </a:lnTo>
                  <a:lnTo>
                    <a:pt x="146" y="237"/>
                  </a:lnTo>
                  <a:lnTo>
                    <a:pt x="145" y="236"/>
                  </a:lnTo>
                  <a:lnTo>
                    <a:pt x="143" y="237"/>
                  </a:lnTo>
                  <a:lnTo>
                    <a:pt x="140" y="239"/>
                  </a:lnTo>
                  <a:lnTo>
                    <a:pt x="140" y="239"/>
                  </a:lnTo>
                  <a:lnTo>
                    <a:pt x="138" y="239"/>
                  </a:lnTo>
                  <a:lnTo>
                    <a:pt x="135" y="239"/>
                  </a:lnTo>
                  <a:lnTo>
                    <a:pt x="133" y="239"/>
                  </a:lnTo>
                  <a:lnTo>
                    <a:pt x="132" y="239"/>
                  </a:lnTo>
                  <a:lnTo>
                    <a:pt x="132" y="239"/>
                  </a:lnTo>
                  <a:lnTo>
                    <a:pt x="132" y="237"/>
                  </a:lnTo>
                  <a:lnTo>
                    <a:pt x="130" y="237"/>
                  </a:lnTo>
                  <a:lnTo>
                    <a:pt x="130" y="237"/>
                  </a:lnTo>
                  <a:lnTo>
                    <a:pt x="130" y="239"/>
                  </a:lnTo>
                  <a:lnTo>
                    <a:pt x="130" y="239"/>
                  </a:lnTo>
                  <a:lnTo>
                    <a:pt x="129" y="239"/>
                  </a:lnTo>
                  <a:lnTo>
                    <a:pt x="129" y="241"/>
                  </a:lnTo>
                  <a:lnTo>
                    <a:pt x="129" y="241"/>
                  </a:lnTo>
                  <a:lnTo>
                    <a:pt x="129" y="241"/>
                  </a:lnTo>
                  <a:lnTo>
                    <a:pt x="127" y="239"/>
                  </a:lnTo>
                  <a:lnTo>
                    <a:pt x="127" y="237"/>
                  </a:lnTo>
                  <a:lnTo>
                    <a:pt x="127" y="236"/>
                  </a:lnTo>
                  <a:lnTo>
                    <a:pt x="127" y="236"/>
                  </a:lnTo>
                  <a:lnTo>
                    <a:pt x="125" y="236"/>
                  </a:lnTo>
                  <a:lnTo>
                    <a:pt x="125" y="234"/>
                  </a:lnTo>
                  <a:lnTo>
                    <a:pt x="124" y="234"/>
                  </a:lnTo>
                  <a:lnTo>
                    <a:pt x="124" y="234"/>
                  </a:lnTo>
                  <a:lnTo>
                    <a:pt x="122" y="233"/>
                  </a:lnTo>
                  <a:lnTo>
                    <a:pt x="124" y="233"/>
                  </a:lnTo>
                  <a:lnTo>
                    <a:pt x="122" y="231"/>
                  </a:lnTo>
                  <a:lnTo>
                    <a:pt x="122" y="231"/>
                  </a:lnTo>
                  <a:lnTo>
                    <a:pt x="120" y="231"/>
                  </a:lnTo>
                  <a:lnTo>
                    <a:pt x="120" y="231"/>
                  </a:lnTo>
                  <a:lnTo>
                    <a:pt x="120" y="233"/>
                  </a:lnTo>
                  <a:lnTo>
                    <a:pt x="120" y="233"/>
                  </a:lnTo>
                  <a:lnTo>
                    <a:pt x="120" y="231"/>
                  </a:lnTo>
                  <a:lnTo>
                    <a:pt x="120" y="231"/>
                  </a:lnTo>
                  <a:lnTo>
                    <a:pt x="120" y="229"/>
                  </a:lnTo>
                  <a:lnTo>
                    <a:pt x="120" y="229"/>
                  </a:lnTo>
                  <a:lnTo>
                    <a:pt x="117" y="229"/>
                  </a:lnTo>
                  <a:lnTo>
                    <a:pt x="117" y="229"/>
                  </a:lnTo>
                  <a:lnTo>
                    <a:pt x="117" y="228"/>
                  </a:lnTo>
                  <a:lnTo>
                    <a:pt x="116" y="228"/>
                  </a:lnTo>
                  <a:lnTo>
                    <a:pt x="116" y="226"/>
                  </a:lnTo>
                  <a:lnTo>
                    <a:pt x="116" y="228"/>
                  </a:lnTo>
                  <a:lnTo>
                    <a:pt x="116" y="228"/>
                  </a:lnTo>
                  <a:lnTo>
                    <a:pt x="114" y="228"/>
                  </a:lnTo>
                  <a:lnTo>
                    <a:pt x="114" y="228"/>
                  </a:lnTo>
                  <a:lnTo>
                    <a:pt x="114" y="226"/>
                  </a:lnTo>
                  <a:lnTo>
                    <a:pt x="114" y="224"/>
                  </a:lnTo>
                  <a:lnTo>
                    <a:pt x="111" y="224"/>
                  </a:lnTo>
                  <a:lnTo>
                    <a:pt x="111" y="224"/>
                  </a:lnTo>
                  <a:lnTo>
                    <a:pt x="109" y="224"/>
                  </a:lnTo>
                  <a:lnTo>
                    <a:pt x="109" y="223"/>
                  </a:lnTo>
                  <a:lnTo>
                    <a:pt x="109" y="223"/>
                  </a:lnTo>
                  <a:lnTo>
                    <a:pt x="109" y="223"/>
                  </a:lnTo>
                  <a:lnTo>
                    <a:pt x="107" y="223"/>
                  </a:lnTo>
                  <a:lnTo>
                    <a:pt x="107" y="223"/>
                  </a:lnTo>
                  <a:lnTo>
                    <a:pt x="107" y="223"/>
                  </a:lnTo>
                  <a:lnTo>
                    <a:pt x="106" y="223"/>
                  </a:lnTo>
                  <a:lnTo>
                    <a:pt x="106" y="223"/>
                  </a:lnTo>
                  <a:lnTo>
                    <a:pt x="106" y="223"/>
                  </a:lnTo>
                  <a:lnTo>
                    <a:pt x="104" y="221"/>
                  </a:lnTo>
                  <a:lnTo>
                    <a:pt x="104" y="221"/>
                  </a:lnTo>
                  <a:lnTo>
                    <a:pt x="104" y="221"/>
                  </a:lnTo>
                  <a:lnTo>
                    <a:pt x="104" y="221"/>
                  </a:lnTo>
                  <a:lnTo>
                    <a:pt x="104" y="221"/>
                  </a:lnTo>
                  <a:lnTo>
                    <a:pt x="102" y="221"/>
                  </a:lnTo>
                  <a:lnTo>
                    <a:pt x="102" y="221"/>
                  </a:lnTo>
                  <a:lnTo>
                    <a:pt x="102" y="221"/>
                  </a:lnTo>
                  <a:lnTo>
                    <a:pt x="101" y="221"/>
                  </a:lnTo>
                  <a:lnTo>
                    <a:pt x="101" y="221"/>
                  </a:lnTo>
                  <a:lnTo>
                    <a:pt x="101" y="221"/>
                  </a:lnTo>
                  <a:lnTo>
                    <a:pt x="99" y="221"/>
                  </a:lnTo>
                  <a:lnTo>
                    <a:pt x="99" y="221"/>
                  </a:lnTo>
                  <a:lnTo>
                    <a:pt x="98" y="221"/>
                  </a:lnTo>
                  <a:lnTo>
                    <a:pt x="98" y="221"/>
                  </a:lnTo>
                  <a:lnTo>
                    <a:pt x="98" y="221"/>
                  </a:lnTo>
                  <a:lnTo>
                    <a:pt x="96" y="221"/>
                  </a:lnTo>
                  <a:lnTo>
                    <a:pt x="96" y="220"/>
                  </a:lnTo>
                  <a:lnTo>
                    <a:pt x="96" y="220"/>
                  </a:lnTo>
                  <a:lnTo>
                    <a:pt x="96" y="220"/>
                  </a:lnTo>
                  <a:lnTo>
                    <a:pt x="96" y="218"/>
                  </a:lnTo>
                  <a:lnTo>
                    <a:pt x="98" y="218"/>
                  </a:lnTo>
                  <a:lnTo>
                    <a:pt x="96" y="218"/>
                  </a:lnTo>
                  <a:lnTo>
                    <a:pt x="96" y="218"/>
                  </a:lnTo>
                  <a:lnTo>
                    <a:pt x="94" y="218"/>
                  </a:lnTo>
                  <a:lnTo>
                    <a:pt x="94" y="220"/>
                  </a:lnTo>
                  <a:lnTo>
                    <a:pt x="93" y="218"/>
                  </a:lnTo>
                  <a:lnTo>
                    <a:pt x="93" y="218"/>
                  </a:lnTo>
                  <a:lnTo>
                    <a:pt x="93" y="216"/>
                  </a:lnTo>
                  <a:lnTo>
                    <a:pt x="93" y="216"/>
                  </a:lnTo>
                  <a:lnTo>
                    <a:pt x="91" y="216"/>
                  </a:lnTo>
                  <a:lnTo>
                    <a:pt x="91" y="216"/>
                  </a:lnTo>
                  <a:lnTo>
                    <a:pt x="91" y="215"/>
                  </a:lnTo>
                  <a:lnTo>
                    <a:pt x="93" y="215"/>
                  </a:lnTo>
                  <a:lnTo>
                    <a:pt x="93" y="215"/>
                  </a:lnTo>
                  <a:lnTo>
                    <a:pt x="91" y="215"/>
                  </a:lnTo>
                  <a:lnTo>
                    <a:pt x="91" y="215"/>
                  </a:lnTo>
                  <a:lnTo>
                    <a:pt x="91" y="215"/>
                  </a:lnTo>
                  <a:lnTo>
                    <a:pt x="91" y="215"/>
                  </a:lnTo>
                  <a:lnTo>
                    <a:pt x="91" y="215"/>
                  </a:lnTo>
                  <a:lnTo>
                    <a:pt x="91" y="215"/>
                  </a:lnTo>
                  <a:lnTo>
                    <a:pt x="93" y="213"/>
                  </a:lnTo>
                  <a:lnTo>
                    <a:pt x="91" y="213"/>
                  </a:lnTo>
                  <a:lnTo>
                    <a:pt x="91" y="213"/>
                  </a:lnTo>
                  <a:lnTo>
                    <a:pt x="89" y="213"/>
                  </a:lnTo>
                  <a:lnTo>
                    <a:pt x="89" y="211"/>
                  </a:lnTo>
                  <a:lnTo>
                    <a:pt x="89" y="211"/>
                  </a:lnTo>
                  <a:lnTo>
                    <a:pt x="89" y="211"/>
                  </a:lnTo>
                  <a:lnTo>
                    <a:pt x="88" y="211"/>
                  </a:lnTo>
                  <a:lnTo>
                    <a:pt x="88" y="211"/>
                  </a:lnTo>
                  <a:lnTo>
                    <a:pt x="88" y="211"/>
                  </a:lnTo>
                  <a:lnTo>
                    <a:pt x="86" y="211"/>
                  </a:lnTo>
                  <a:lnTo>
                    <a:pt x="86" y="211"/>
                  </a:lnTo>
                  <a:lnTo>
                    <a:pt x="86" y="210"/>
                  </a:lnTo>
                  <a:lnTo>
                    <a:pt x="86" y="210"/>
                  </a:lnTo>
                  <a:lnTo>
                    <a:pt x="86" y="210"/>
                  </a:lnTo>
                  <a:lnTo>
                    <a:pt x="86" y="210"/>
                  </a:lnTo>
                  <a:lnTo>
                    <a:pt x="86" y="210"/>
                  </a:lnTo>
                  <a:lnTo>
                    <a:pt x="85" y="210"/>
                  </a:lnTo>
                  <a:lnTo>
                    <a:pt x="85" y="210"/>
                  </a:lnTo>
                  <a:lnTo>
                    <a:pt x="85" y="208"/>
                  </a:lnTo>
                  <a:lnTo>
                    <a:pt x="85" y="207"/>
                  </a:lnTo>
                  <a:lnTo>
                    <a:pt x="83" y="207"/>
                  </a:lnTo>
                  <a:lnTo>
                    <a:pt x="85" y="205"/>
                  </a:lnTo>
                  <a:lnTo>
                    <a:pt x="83" y="205"/>
                  </a:lnTo>
                  <a:lnTo>
                    <a:pt x="83" y="205"/>
                  </a:lnTo>
                  <a:lnTo>
                    <a:pt x="80" y="205"/>
                  </a:lnTo>
                  <a:lnTo>
                    <a:pt x="80" y="205"/>
                  </a:lnTo>
                  <a:lnTo>
                    <a:pt x="80" y="203"/>
                  </a:lnTo>
                  <a:lnTo>
                    <a:pt x="81" y="203"/>
                  </a:lnTo>
                  <a:lnTo>
                    <a:pt x="80" y="202"/>
                  </a:lnTo>
                  <a:lnTo>
                    <a:pt x="80" y="202"/>
                  </a:lnTo>
                  <a:lnTo>
                    <a:pt x="80" y="202"/>
                  </a:lnTo>
                  <a:lnTo>
                    <a:pt x="80" y="202"/>
                  </a:lnTo>
                  <a:lnTo>
                    <a:pt x="80" y="202"/>
                  </a:lnTo>
                  <a:lnTo>
                    <a:pt x="80" y="202"/>
                  </a:lnTo>
                  <a:lnTo>
                    <a:pt x="80" y="202"/>
                  </a:lnTo>
                  <a:lnTo>
                    <a:pt x="80" y="203"/>
                  </a:lnTo>
                  <a:lnTo>
                    <a:pt x="80" y="203"/>
                  </a:lnTo>
                  <a:lnTo>
                    <a:pt x="78" y="203"/>
                  </a:lnTo>
                  <a:lnTo>
                    <a:pt x="78" y="203"/>
                  </a:lnTo>
                  <a:lnTo>
                    <a:pt x="78" y="203"/>
                  </a:lnTo>
                  <a:lnTo>
                    <a:pt x="78" y="203"/>
                  </a:lnTo>
                  <a:lnTo>
                    <a:pt x="78" y="202"/>
                  </a:lnTo>
                  <a:lnTo>
                    <a:pt x="78" y="202"/>
                  </a:lnTo>
                  <a:lnTo>
                    <a:pt x="76" y="202"/>
                  </a:lnTo>
                  <a:lnTo>
                    <a:pt x="76" y="202"/>
                  </a:lnTo>
                  <a:lnTo>
                    <a:pt x="76" y="202"/>
                  </a:lnTo>
                  <a:lnTo>
                    <a:pt x="76" y="202"/>
                  </a:lnTo>
                  <a:lnTo>
                    <a:pt x="76" y="203"/>
                  </a:lnTo>
                  <a:lnTo>
                    <a:pt x="76" y="203"/>
                  </a:lnTo>
                  <a:lnTo>
                    <a:pt x="76" y="203"/>
                  </a:lnTo>
                  <a:lnTo>
                    <a:pt x="76" y="203"/>
                  </a:lnTo>
                  <a:lnTo>
                    <a:pt x="75" y="203"/>
                  </a:lnTo>
                  <a:lnTo>
                    <a:pt x="73" y="203"/>
                  </a:lnTo>
                  <a:lnTo>
                    <a:pt x="73" y="203"/>
                  </a:lnTo>
                  <a:lnTo>
                    <a:pt x="72" y="203"/>
                  </a:lnTo>
                  <a:lnTo>
                    <a:pt x="72" y="203"/>
                  </a:lnTo>
                  <a:lnTo>
                    <a:pt x="70" y="203"/>
                  </a:lnTo>
                  <a:lnTo>
                    <a:pt x="70" y="203"/>
                  </a:lnTo>
                  <a:lnTo>
                    <a:pt x="68" y="202"/>
                  </a:lnTo>
                  <a:lnTo>
                    <a:pt x="70" y="202"/>
                  </a:lnTo>
                  <a:lnTo>
                    <a:pt x="70" y="200"/>
                  </a:lnTo>
                  <a:lnTo>
                    <a:pt x="70" y="200"/>
                  </a:lnTo>
                  <a:lnTo>
                    <a:pt x="70" y="198"/>
                  </a:lnTo>
                  <a:lnTo>
                    <a:pt x="68" y="198"/>
                  </a:lnTo>
                  <a:lnTo>
                    <a:pt x="68" y="198"/>
                  </a:lnTo>
                  <a:lnTo>
                    <a:pt x="68" y="198"/>
                  </a:lnTo>
                  <a:lnTo>
                    <a:pt x="68" y="200"/>
                  </a:lnTo>
                  <a:lnTo>
                    <a:pt x="67" y="198"/>
                  </a:lnTo>
                  <a:lnTo>
                    <a:pt x="67" y="198"/>
                  </a:lnTo>
                  <a:lnTo>
                    <a:pt x="67" y="198"/>
                  </a:lnTo>
                  <a:lnTo>
                    <a:pt x="67" y="197"/>
                  </a:lnTo>
                  <a:lnTo>
                    <a:pt x="67" y="197"/>
                  </a:lnTo>
                  <a:lnTo>
                    <a:pt x="67" y="197"/>
                  </a:lnTo>
                  <a:lnTo>
                    <a:pt x="67" y="197"/>
                  </a:lnTo>
                  <a:lnTo>
                    <a:pt x="67" y="198"/>
                  </a:lnTo>
                  <a:lnTo>
                    <a:pt x="67" y="198"/>
                  </a:lnTo>
                  <a:lnTo>
                    <a:pt x="67" y="198"/>
                  </a:lnTo>
                  <a:lnTo>
                    <a:pt x="67" y="197"/>
                  </a:lnTo>
                  <a:lnTo>
                    <a:pt x="67" y="195"/>
                  </a:lnTo>
                  <a:lnTo>
                    <a:pt x="65" y="195"/>
                  </a:lnTo>
                  <a:lnTo>
                    <a:pt x="65" y="197"/>
                  </a:lnTo>
                  <a:lnTo>
                    <a:pt x="63" y="197"/>
                  </a:lnTo>
                  <a:lnTo>
                    <a:pt x="63" y="195"/>
                  </a:lnTo>
                  <a:lnTo>
                    <a:pt x="63" y="195"/>
                  </a:lnTo>
                  <a:lnTo>
                    <a:pt x="63" y="195"/>
                  </a:lnTo>
                  <a:lnTo>
                    <a:pt x="63" y="195"/>
                  </a:lnTo>
                  <a:lnTo>
                    <a:pt x="63" y="195"/>
                  </a:lnTo>
                  <a:lnTo>
                    <a:pt x="63" y="195"/>
                  </a:lnTo>
                  <a:lnTo>
                    <a:pt x="62" y="195"/>
                  </a:lnTo>
                  <a:lnTo>
                    <a:pt x="62" y="195"/>
                  </a:lnTo>
                  <a:lnTo>
                    <a:pt x="62" y="195"/>
                  </a:lnTo>
                  <a:lnTo>
                    <a:pt x="62" y="195"/>
                  </a:lnTo>
                  <a:lnTo>
                    <a:pt x="60" y="195"/>
                  </a:lnTo>
                  <a:lnTo>
                    <a:pt x="62" y="194"/>
                  </a:lnTo>
                  <a:lnTo>
                    <a:pt x="62" y="194"/>
                  </a:lnTo>
                  <a:lnTo>
                    <a:pt x="60" y="194"/>
                  </a:lnTo>
                  <a:lnTo>
                    <a:pt x="60" y="194"/>
                  </a:lnTo>
                  <a:lnTo>
                    <a:pt x="60" y="192"/>
                  </a:lnTo>
                  <a:lnTo>
                    <a:pt x="62" y="192"/>
                  </a:lnTo>
                  <a:lnTo>
                    <a:pt x="65" y="189"/>
                  </a:lnTo>
                  <a:lnTo>
                    <a:pt x="70" y="185"/>
                  </a:lnTo>
                  <a:lnTo>
                    <a:pt x="70" y="182"/>
                  </a:lnTo>
                  <a:lnTo>
                    <a:pt x="70" y="182"/>
                  </a:lnTo>
                  <a:lnTo>
                    <a:pt x="72" y="182"/>
                  </a:lnTo>
                  <a:lnTo>
                    <a:pt x="73" y="184"/>
                  </a:lnTo>
                  <a:lnTo>
                    <a:pt x="73" y="184"/>
                  </a:lnTo>
                  <a:lnTo>
                    <a:pt x="73" y="184"/>
                  </a:lnTo>
                  <a:lnTo>
                    <a:pt x="76" y="184"/>
                  </a:lnTo>
                  <a:lnTo>
                    <a:pt x="78" y="182"/>
                  </a:lnTo>
                  <a:lnTo>
                    <a:pt x="78" y="182"/>
                  </a:lnTo>
                  <a:lnTo>
                    <a:pt x="80" y="181"/>
                  </a:lnTo>
                  <a:lnTo>
                    <a:pt x="80" y="179"/>
                  </a:lnTo>
                  <a:lnTo>
                    <a:pt x="80" y="179"/>
                  </a:lnTo>
                  <a:lnTo>
                    <a:pt x="81" y="177"/>
                  </a:lnTo>
                  <a:lnTo>
                    <a:pt x="81" y="177"/>
                  </a:lnTo>
                  <a:lnTo>
                    <a:pt x="81" y="176"/>
                  </a:lnTo>
                  <a:lnTo>
                    <a:pt x="81" y="176"/>
                  </a:lnTo>
                  <a:lnTo>
                    <a:pt x="81" y="174"/>
                  </a:lnTo>
                  <a:lnTo>
                    <a:pt x="83" y="174"/>
                  </a:lnTo>
                  <a:lnTo>
                    <a:pt x="83" y="172"/>
                  </a:lnTo>
                  <a:lnTo>
                    <a:pt x="83" y="172"/>
                  </a:lnTo>
                  <a:lnTo>
                    <a:pt x="83" y="171"/>
                  </a:lnTo>
                  <a:lnTo>
                    <a:pt x="85" y="169"/>
                  </a:lnTo>
                  <a:lnTo>
                    <a:pt x="85" y="168"/>
                  </a:lnTo>
                  <a:lnTo>
                    <a:pt x="88" y="169"/>
                  </a:lnTo>
                  <a:lnTo>
                    <a:pt x="91" y="169"/>
                  </a:lnTo>
                  <a:lnTo>
                    <a:pt x="91" y="169"/>
                  </a:lnTo>
                  <a:lnTo>
                    <a:pt x="93" y="169"/>
                  </a:lnTo>
                  <a:lnTo>
                    <a:pt x="93" y="169"/>
                  </a:lnTo>
                  <a:lnTo>
                    <a:pt x="96" y="172"/>
                  </a:lnTo>
                  <a:lnTo>
                    <a:pt x="99" y="174"/>
                  </a:lnTo>
                  <a:lnTo>
                    <a:pt x="101" y="176"/>
                  </a:lnTo>
                  <a:lnTo>
                    <a:pt x="101" y="176"/>
                  </a:lnTo>
                  <a:lnTo>
                    <a:pt x="102" y="176"/>
                  </a:lnTo>
                  <a:lnTo>
                    <a:pt x="104" y="177"/>
                  </a:lnTo>
                  <a:lnTo>
                    <a:pt x="104" y="177"/>
                  </a:lnTo>
                  <a:lnTo>
                    <a:pt x="104" y="179"/>
                  </a:lnTo>
                  <a:lnTo>
                    <a:pt x="104" y="181"/>
                  </a:lnTo>
                  <a:lnTo>
                    <a:pt x="104" y="181"/>
                  </a:lnTo>
                  <a:lnTo>
                    <a:pt x="104" y="181"/>
                  </a:lnTo>
                  <a:lnTo>
                    <a:pt x="106" y="181"/>
                  </a:lnTo>
                  <a:lnTo>
                    <a:pt x="106" y="181"/>
                  </a:lnTo>
                  <a:lnTo>
                    <a:pt x="106" y="182"/>
                  </a:lnTo>
                  <a:lnTo>
                    <a:pt x="106" y="184"/>
                  </a:lnTo>
                  <a:lnTo>
                    <a:pt x="106" y="185"/>
                  </a:lnTo>
                  <a:lnTo>
                    <a:pt x="107" y="187"/>
                  </a:lnTo>
                  <a:lnTo>
                    <a:pt x="107" y="187"/>
                  </a:lnTo>
                  <a:lnTo>
                    <a:pt x="107" y="189"/>
                  </a:lnTo>
                  <a:lnTo>
                    <a:pt x="109" y="189"/>
                  </a:lnTo>
                  <a:lnTo>
                    <a:pt x="111" y="189"/>
                  </a:lnTo>
                  <a:lnTo>
                    <a:pt x="112" y="189"/>
                  </a:lnTo>
                  <a:lnTo>
                    <a:pt x="112" y="187"/>
                  </a:lnTo>
                  <a:lnTo>
                    <a:pt x="112" y="187"/>
                  </a:lnTo>
                  <a:lnTo>
                    <a:pt x="112" y="185"/>
                  </a:lnTo>
                  <a:lnTo>
                    <a:pt x="112" y="185"/>
                  </a:lnTo>
                  <a:lnTo>
                    <a:pt x="112" y="184"/>
                  </a:lnTo>
                  <a:lnTo>
                    <a:pt x="114" y="182"/>
                  </a:lnTo>
                  <a:lnTo>
                    <a:pt x="116" y="182"/>
                  </a:lnTo>
                  <a:lnTo>
                    <a:pt x="116" y="181"/>
                  </a:lnTo>
                  <a:lnTo>
                    <a:pt x="119" y="179"/>
                  </a:lnTo>
                  <a:lnTo>
                    <a:pt x="119" y="179"/>
                  </a:lnTo>
                  <a:lnTo>
                    <a:pt x="119" y="181"/>
                  </a:lnTo>
                  <a:lnTo>
                    <a:pt x="120" y="181"/>
                  </a:lnTo>
                  <a:lnTo>
                    <a:pt x="120" y="184"/>
                  </a:lnTo>
                  <a:lnTo>
                    <a:pt x="120" y="184"/>
                  </a:lnTo>
                  <a:lnTo>
                    <a:pt x="122" y="185"/>
                  </a:lnTo>
                  <a:lnTo>
                    <a:pt x="124" y="185"/>
                  </a:lnTo>
                  <a:lnTo>
                    <a:pt x="125" y="185"/>
                  </a:lnTo>
                  <a:lnTo>
                    <a:pt x="127" y="185"/>
                  </a:lnTo>
                  <a:lnTo>
                    <a:pt x="127" y="187"/>
                  </a:lnTo>
                  <a:lnTo>
                    <a:pt x="127" y="187"/>
                  </a:lnTo>
                  <a:lnTo>
                    <a:pt x="130" y="185"/>
                  </a:lnTo>
                  <a:lnTo>
                    <a:pt x="130" y="185"/>
                  </a:lnTo>
                  <a:lnTo>
                    <a:pt x="133" y="185"/>
                  </a:lnTo>
                  <a:lnTo>
                    <a:pt x="133" y="184"/>
                  </a:lnTo>
                  <a:lnTo>
                    <a:pt x="135" y="185"/>
                  </a:lnTo>
                  <a:lnTo>
                    <a:pt x="137" y="185"/>
                  </a:lnTo>
                  <a:lnTo>
                    <a:pt x="138" y="185"/>
                  </a:lnTo>
                  <a:lnTo>
                    <a:pt x="140" y="187"/>
                  </a:lnTo>
                  <a:lnTo>
                    <a:pt x="140" y="187"/>
                  </a:lnTo>
                  <a:lnTo>
                    <a:pt x="142" y="185"/>
                  </a:lnTo>
                  <a:lnTo>
                    <a:pt x="143" y="187"/>
                  </a:lnTo>
                  <a:lnTo>
                    <a:pt x="143" y="187"/>
                  </a:lnTo>
                  <a:lnTo>
                    <a:pt x="143" y="185"/>
                  </a:lnTo>
                  <a:lnTo>
                    <a:pt x="143" y="184"/>
                  </a:lnTo>
                  <a:lnTo>
                    <a:pt x="145" y="182"/>
                  </a:lnTo>
                  <a:lnTo>
                    <a:pt x="146" y="181"/>
                  </a:lnTo>
                  <a:lnTo>
                    <a:pt x="146" y="181"/>
                  </a:lnTo>
                  <a:lnTo>
                    <a:pt x="146" y="179"/>
                  </a:lnTo>
                  <a:lnTo>
                    <a:pt x="146" y="179"/>
                  </a:lnTo>
                  <a:lnTo>
                    <a:pt x="146" y="177"/>
                  </a:lnTo>
                  <a:lnTo>
                    <a:pt x="146" y="177"/>
                  </a:lnTo>
                  <a:lnTo>
                    <a:pt x="146" y="176"/>
                  </a:lnTo>
                  <a:lnTo>
                    <a:pt x="148" y="176"/>
                  </a:lnTo>
                  <a:lnTo>
                    <a:pt x="148" y="176"/>
                  </a:lnTo>
                  <a:lnTo>
                    <a:pt x="150" y="176"/>
                  </a:lnTo>
                  <a:lnTo>
                    <a:pt x="150" y="174"/>
                  </a:lnTo>
                  <a:lnTo>
                    <a:pt x="148" y="174"/>
                  </a:lnTo>
                  <a:lnTo>
                    <a:pt x="148" y="172"/>
                  </a:lnTo>
                  <a:lnTo>
                    <a:pt x="148" y="172"/>
                  </a:lnTo>
                  <a:lnTo>
                    <a:pt x="148" y="172"/>
                  </a:lnTo>
                  <a:lnTo>
                    <a:pt x="148" y="171"/>
                  </a:lnTo>
                  <a:lnTo>
                    <a:pt x="150" y="171"/>
                  </a:lnTo>
                  <a:lnTo>
                    <a:pt x="150" y="171"/>
                  </a:lnTo>
                  <a:lnTo>
                    <a:pt x="151" y="171"/>
                  </a:lnTo>
                  <a:lnTo>
                    <a:pt x="153" y="171"/>
                  </a:lnTo>
                  <a:lnTo>
                    <a:pt x="153" y="169"/>
                  </a:lnTo>
                  <a:lnTo>
                    <a:pt x="153" y="169"/>
                  </a:lnTo>
                  <a:lnTo>
                    <a:pt x="155" y="169"/>
                  </a:lnTo>
                  <a:lnTo>
                    <a:pt x="155" y="169"/>
                  </a:lnTo>
                  <a:lnTo>
                    <a:pt x="156" y="166"/>
                  </a:lnTo>
                  <a:lnTo>
                    <a:pt x="156" y="164"/>
                  </a:lnTo>
                  <a:lnTo>
                    <a:pt x="158" y="164"/>
                  </a:lnTo>
                  <a:lnTo>
                    <a:pt x="158" y="163"/>
                  </a:lnTo>
                  <a:lnTo>
                    <a:pt x="158" y="161"/>
                  </a:lnTo>
                  <a:lnTo>
                    <a:pt x="159" y="161"/>
                  </a:lnTo>
                  <a:lnTo>
                    <a:pt x="161" y="159"/>
                  </a:lnTo>
                  <a:lnTo>
                    <a:pt x="161" y="159"/>
                  </a:lnTo>
                  <a:lnTo>
                    <a:pt x="163" y="161"/>
                  </a:lnTo>
                  <a:lnTo>
                    <a:pt x="163" y="159"/>
                  </a:lnTo>
                  <a:lnTo>
                    <a:pt x="164" y="159"/>
                  </a:lnTo>
                  <a:lnTo>
                    <a:pt x="164" y="159"/>
                  </a:lnTo>
                  <a:lnTo>
                    <a:pt x="164" y="159"/>
                  </a:lnTo>
                  <a:lnTo>
                    <a:pt x="168" y="159"/>
                  </a:lnTo>
                  <a:lnTo>
                    <a:pt x="168" y="159"/>
                  </a:lnTo>
                  <a:close/>
                  <a:moveTo>
                    <a:pt x="8" y="5"/>
                  </a:moveTo>
                  <a:lnTo>
                    <a:pt x="8" y="5"/>
                  </a:lnTo>
                  <a:lnTo>
                    <a:pt x="8" y="7"/>
                  </a:lnTo>
                  <a:lnTo>
                    <a:pt x="7" y="7"/>
                  </a:lnTo>
                  <a:lnTo>
                    <a:pt x="7" y="8"/>
                  </a:lnTo>
                  <a:lnTo>
                    <a:pt x="5" y="8"/>
                  </a:lnTo>
                  <a:lnTo>
                    <a:pt x="5" y="7"/>
                  </a:lnTo>
                  <a:lnTo>
                    <a:pt x="3" y="5"/>
                  </a:lnTo>
                  <a:lnTo>
                    <a:pt x="3" y="5"/>
                  </a:lnTo>
                  <a:lnTo>
                    <a:pt x="3" y="5"/>
                  </a:lnTo>
                  <a:lnTo>
                    <a:pt x="2" y="5"/>
                  </a:lnTo>
                  <a:lnTo>
                    <a:pt x="2" y="5"/>
                  </a:lnTo>
                  <a:lnTo>
                    <a:pt x="0" y="5"/>
                  </a:lnTo>
                  <a:lnTo>
                    <a:pt x="0" y="3"/>
                  </a:lnTo>
                  <a:lnTo>
                    <a:pt x="0" y="3"/>
                  </a:lnTo>
                  <a:lnTo>
                    <a:pt x="2" y="2"/>
                  </a:lnTo>
                  <a:lnTo>
                    <a:pt x="2" y="0"/>
                  </a:lnTo>
                  <a:lnTo>
                    <a:pt x="2" y="0"/>
                  </a:lnTo>
                  <a:lnTo>
                    <a:pt x="3" y="0"/>
                  </a:lnTo>
                  <a:lnTo>
                    <a:pt x="5" y="0"/>
                  </a:lnTo>
                  <a:lnTo>
                    <a:pt x="7" y="2"/>
                  </a:lnTo>
                  <a:lnTo>
                    <a:pt x="8" y="2"/>
                  </a:lnTo>
                  <a:lnTo>
                    <a:pt x="8" y="5"/>
                  </a:lnTo>
                  <a:close/>
                </a:path>
              </a:pathLst>
            </a:custGeom>
            <a:solidFill>
              <a:srgbClr val="E5E5E5"/>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1230" name="Freeform 76">
              <a:extLst>
                <a:ext uri="{FF2B5EF4-FFF2-40B4-BE49-F238E27FC236}">
                  <a16:creationId xmlns:a16="http://schemas.microsoft.com/office/drawing/2014/main" id="{1074F857-5FB8-B97B-6692-F083257253EB}"/>
                </a:ext>
              </a:extLst>
            </p:cNvPr>
            <p:cNvSpPr>
              <a:spLocks noEditPoints="1"/>
            </p:cNvSpPr>
            <p:nvPr/>
          </p:nvSpPr>
          <p:spPr bwMode="auto">
            <a:xfrm>
              <a:off x="7849" y="3964"/>
              <a:ext cx="193" cy="316"/>
            </a:xfrm>
            <a:custGeom>
              <a:avLst/>
              <a:gdLst>
                <a:gd name="T0" fmla="*/ 148 w 193"/>
                <a:gd name="T1" fmla="*/ 13 h 316"/>
                <a:gd name="T2" fmla="*/ 159 w 193"/>
                <a:gd name="T3" fmla="*/ 18 h 316"/>
                <a:gd name="T4" fmla="*/ 172 w 193"/>
                <a:gd name="T5" fmla="*/ 25 h 316"/>
                <a:gd name="T6" fmla="*/ 182 w 193"/>
                <a:gd name="T7" fmla="*/ 21 h 316"/>
                <a:gd name="T8" fmla="*/ 193 w 193"/>
                <a:gd name="T9" fmla="*/ 28 h 316"/>
                <a:gd name="T10" fmla="*/ 172 w 193"/>
                <a:gd name="T11" fmla="*/ 314 h 316"/>
                <a:gd name="T12" fmla="*/ 158 w 193"/>
                <a:gd name="T13" fmla="*/ 304 h 316"/>
                <a:gd name="T14" fmla="*/ 145 w 193"/>
                <a:gd name="T15" fmla="*/ 301 h 316"/>
                <a:gd name="T16" fmla="*/ 133 w 193"/>
                <a:gd name="T17" fmla="*/ 300 h 316"/>
                <a:gd name="T18" fmla="*/ 150 w 193"/>
                <a:gd name="T19" fmla="*/ 290 h 316"/>
                <a:gd name="T20" fmla="*/ 158 w 193"/>
                <a:gd name="T21" fmla="*/ 280 h 316"/>
                <a:gd name="T22" fmla="*/ 158 w 193"/>
                <a:gd name="T23" fmla="*/ 265 h 316"/>
                <a:gd name="T24" fmla="*/ 151 w 193"/>
                <a:gd name="T25" fmla="*/ 252 h 316"/>
                <a:gd name="T26" fmla="*/ 137 w 193"/>
                <a:gd name="T27" fmla="*/ 249 h 316"/>
                <a:gd name="T28" fmla="*/ 117 w 193"/>
                <a:gd name="T29" fmla="*/ 251 h 316"/>
                <a:gd name="T30" fmla="*/ 99 w 193"/>
                <a:gd name="T31" fmla="*/ 248 h 316"/>
                <a:gd name="T32" fmla="*/ 86 w 193"/>
                <a:gd name="T33" fmla="*/ 238 h 316"/>
                <a:gd name="T34" fmla="*/ 76 w 193"/>
                <a:gd name="T35" fmla="*/ 233 h 316"/>
                <a:gd name="T36" fmla="*/ 71 w 193"/>
                <a:gd name="T37" fmla="*/ 222 h 316"/>
                <a:gd name="T38" fmla="*/ 80 w 193"/>
                <a:gd name="T39" fmla="*/ 205 h 316"/>
                <a:gd name="T40" fmla="*/ 80 w 193"/>
                <a:gd name="T41" fmla="*/ 187 h 316"/>
                <a:gd name="T42" fmla="*/ 65 w 193"/>
                <a:gd name="T43" fmla="*/ 187 h 316"/>
                <a:gd name="T44" fmla="*/ 57 w 193"/>
                <a:gd name="T45" fmla="*/ 183 h 316"/>
                <a:gd name="T46" fmla="*/ 45 w 193"/>
                <a:gd name="T47" fmla="*/ 186 h 316"/>
                <a:gd name="T48" fmla="*/ 34 w 193"/>
                <a:gd name="T49" fmla="*/ 186 h 316"/>
                <a:gd name="T50" fmla="*/ 24 w 193"/>
                <a:gd name="T51" fmla="*/ 183 h 316"/>
                <a:gd name="T52" fmla="*/ 18 w 193"/>
                <a:gd name="T53" fmla="*/ 187 h 316"/>
                <a:gd name="T54" fmla="*/ 26 w 193"/>
                <a:gd name="T55" fmla="*/ 173 h 316"/>
                <a:gd name="T56" fmla="*/ 11 w 193"/>
                <a:gd name="T57" fmla="*/ 174 h 316"/>
                <a:gd name="T58" fmla="*/ 8 w 193"/>
                <a:gd name="T59" fmla="*/ 168 h 316"/>
                <a:gd name="T60" fmla="*/ 3 w 193"/>
                <a:gd name="T61" fmla="*/ 152 h 316"/>
                <a:gd name="T62" fmla="*/ 13 w 193"/>
                <a:gd name="T63" fmla="*/ 127 h 316"/>
                <a:gd name="T64" fmla="*/ 31 w 193"/>
                <a:gd name="T65" fmla="*/ 119 h 316"/>
                <a:gd name="T66" fmla="*/ 50 w 193"/>
                <a:gd name="T67" fmla="*/ 124 h 316"/>
                <a:gd name="T68" fmla="*/ 65 w 193"/>
                <a:gd name="T69" fmla="*/ 119 h 316"/>
                <a:gd name="T70" fmla="*/ 86 w 193"/>
                <a:gd name="T71" fmla="*/ 129 h 316"/>
                <a:gd name="T72" fmla="*/ 110 w 193"/>
                <a:gd name="T73" fmla="*/ 124 h 316"/>
                <a:gd name="T74" fmla="*/ 115 w 193"/>
                <a:gd name="T75" fmla="*/ 117 h 316"/>
                <a:gd name="T76" fmla="*/ 128 w 193"/>
                <a:gd name="T77" fmla="*/ 114 h 316"/>
                <a:gd name="T78" fmla="*/ 148 w 193"/>
                <a:gd name="T79" fmla="*/ 116 h 316"/>
                <a:gd name="T80" fmla="*/ 164 w 193"/>
                <a:gd name="T81" fmla="*/ 104 h 316"/>
                <a:gd name="T82" fmla="*/ 161 w 193"/>
                <a:gd name="T83" fmla="*/ 93 h 316"/>
                <a:gd name="T84" fmla="*/ 163 w 193"/>
                <a:gd name="T85" fmla="*/ 82 h 316"/>
                <a:gd name="T86" fmla="*/ 159 w 193"/>
                <a:gd name="T87" fmla="*/ 77 h 316"/>
                <a:gd name="T88" fmla="*/ 153 w 193"/>
                <a:gd name="T89" fmla="*/ 72 h 316"/>
                <a:gd name="T90" fmla="*/ 148 w 193"/>
                <a:gd name="T91" fmla="*/ 70 h 316"/>
                <a:gd name="T92" fmla="*/ 143 w 193"/>
                <a:gd name="T93" fmla="*/ 69 h 316"/>
                <a:gd name="T94" fmla="*/ 135 w 193"/>
                <a:gd name="T95" fmla="*/ 70 h 316"/>
                <a:gd name="T96" fmla="*/ 128 w 193"/>
                <a:gd name="T97" fmla="*/ 72 h 316"/>
                <a:gd name="T98" fmla="*/ 120 w 193"/>
                <a:gd name="T99" fmla="*/ 69 h 316"/>
                <a:gd name="T100" fmla="*/ 115 w 193"/>
                <a:gd name="T101" fmla="*/ 69 h 316"/>
                <a:gd name="T102" fmla="*/ 110 w 193"/>
                <a:gd name="T103" fmla="*/ 65 h 316"/>
                <a:gd name="T104" fmla="*/ 104 w 193"/>
                <a:gd name="T105" fmla="*/ 62 h 316"/>
                <a:gd name="T106" fmla="*/ 97 w 193"/>
                <a:gd name="T107" fmla="*/ 56 h 316"/>
                <a:gd name="T108" fmla="*/ 89 w 193"/>
                <a:gd name="T109" fmla="*/ 54 h 316"/>
                <a:gd name="T110" fmla="*/ 84 w 193"/>
                <a:gd name="T111" fmla="*/ 41 h 316"/>
                <a:gd name="T112" fmla="*/ 93 w 193"/>
                <a:gd name="T113" fmla="*/ 31 h 316"/>
                <a:gd name="T114" fmla="*/ 94 w 193"/>
                <a:gd name="T115" fmla="*/ 13 h 316"/>
                <a:gd name="T116" fmla="*/ 110 w 193"/>
                <a:gd name="T117" fmla="*/ 15 h 316"/>
                <a:gd name="T118" fmla="*/ 124 w 193"/>
                <a:gd name="T119" fmla="*/ 7 h 316"/>
                <a:gd name="T120" fmla="*/ 133 w 193"/>
                <a:gd name="T121" fmla="*/ 5 h 316"/>
                <a:gd name="T122" fmla="*/ 88 w 193"/>
                <a:gd name="T123" fmla="*/ 218 h 3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93" h="316">
                  <a:moveTo>
                    <a:pt x="133" y="7"/>
                  </a:moveTo>
                  <a:lnTo>
                    <a:pt x="135" y="8"/>
                  </a:lnTo>
                  <a:lnTo>
                    <a:pt x="137" y="8"/>
                  </a:lnTo>
                  <a:lnTo>
                    <a:pt x="138" y="10"/>
                  </a:lnTo>
                  <a:lnTo>
                    <a:pt x="140" y="10"/>
                  </a:lnTo>
                  <a:lnTo>
                    <a:pt x="141" y="10"/>
                  </a:lnTo>
                  <a:lnTo>
                    <a:pt x="143" y="12"/>
                  </a:lnTo>
                  <a:lnTo>
                    <a:pt x="145" y="12"/>
                  </a:lnTo>
                  <a:lnTo>
                    <a:pt x="146" y="13"/>
                  </a:lnTo>
                  <a:lnTo>
                    <a:pt x="148" y="13"/>
                  </a:lnTo>
                  <a:lnTo>
                    <a:pt x="148" y="12"/>
                  </a:lnTo>
                  <a:lnTo>
                    <a:pt x="150" y="10"/>
                  </a:lnTo>
                  <a:lnTo>
                    <a:pt x="151" y="10"/>
                  </a:lnTo>
                  <a:lnTo>
                    <a:pt x="153" y="10"/>
                  </a:lnTo>
                  <a:lnTo>
                    <a:pt x="154" y="12"/>
                  </a:lnTo>
                  <a:lnTo>
                    <a:pt x="154" y="13"/>
                  </a:lnTo>
                  <a:lnTo>
                    <a:pt x="154" y="15"/>
                  </a:lnTo>
                  <a:lnTo>
                    <a:pt x="156" y="17"/>
                  </a:lnTo>
                  <a:lnTo>
                    <a:pt x="159" y="17"/>
                  </a:lnTo>
                  <a:lnTo>
                    <a:pt x="159" y="18"/>
                  </a:lnTo>
                  <a:lnTo>
                    <a:pt x="161" y="18"/>
                  </a:lnTo>
                  <a:lnTo>
                    <a:pt x="164" y="17"/>
                  </a:lnTo>
                  <a:lnTo>
                    <a:pt x="166" y="18"/>
                  </a:lnTo>
                  <a:lnTo>
                    <a:pt x="167" y="20"/>
                  </a:lnTo>
                  <a:lnTo>
                    <a:pt x="167" y="21"/>
                  </a:lnTo>
                  <a:lnTo>
                    <a:pt x="167" y="23"/>
                  </a:lnTo>
                  <a:lnTo>
                    <a:pt x="169" y="25"/>
                  </a:lnTo>
                  <a:lnTo>
                    <a:pt x="171" y="25"/>
                  </a:lnTo>
                  <a:lnTo>
                    <a:pt x="172" y="26"/>
                  </a:lnTo>
                  <a:lnTo>
                    <a:pt x="172" y="25"/>
                  </a:lnTo>
                  <a:lnTo>
                    <a:pt x="174" y="25"/>
                  </a:lnTo>
                  <a:lnTo>
                    <a:pt x="176" y="25"/>
                  </a:lnTo>
                  <a:lnTo>
                    <a:pt x="176" y="23"/>
                  </a:lnTo>
                  <a:lnTo>
                    <a:pt x="176" y="21"/>
                  </a:lnTo>
                  <a:lnTo>
                    <a:pt x="177" y="20"/>
                  </a:lnTo>
                  <a:lnTo>
                    <a:pt x="179" y="17"/>
                  </a:lnTo>
                  <a:lnTo>
                    <a:pt x="179" y="18"/>
                  </a:lnTo>
                  <a:lnTo>
                    <a:pt x="180" y="18"/>
                  </a:lnTo>
                  <a:lnTo>
                    <a:pt x="180" y="20"/>
                  </a:lnTo>
                  <a:lnTo>
                    <a:pt x="182" y="21"/>
                  </a:lnTo>
                  <a:lnTo>
                    <a:pt x="184" y="21"/>
                  </a:lnTo>
                  <a:lnTo>
                    <a:pt x="185" y="21"/>
                  </a:lnTo>
                  <a:lnTo>
                    <a:pt x="185" y="23"/>
                  </a:lnTo>
                  <a:lnTo>
                    <a:pt x="187" y="23"/>
                  </a:lnTo>
                  <a:lnTo>
                    <a:pt x="189" y="23"/>
                  </a:lnTo>
                  <a:lnTo>
                    <a:pt x="189" y="26"/>
                  </a:lnTo>
                  <a:lnTo>
                    <a:pt x="190" y="26"/>
                  </a:lnTo>
                  <a:lnTo>
                    <a:pt x="192" y="28"/>
                  </a:lnTo>
                  <a:lnTo>
                    <a:pt x="192" y="26"/>
                  </a:lnTo>
                  <a:lnTo>
                    <a:pt x="193" y="28"/>
                  </a:lnTo>
                  <a:lnTo>
                    <a:pt x="192" y="316"/>
                  </a:lnTo>
                  <a:lnTo>
                    <a:pt x="190" y="314"/>
                  </a:lnTo>
                  <a:lnTo>
                    <a:pt x="189" y="314"/>
                  </a:lnTo>
                  <a:lnTo>
                    <a:pt x="185" y="313"/>
                  </a:lnTo>
                  <a:lnTo>
                    <a:pt x="184" y="311"/>
                  </a:lnTo>
                  <a:lnTo>
                    <a:pt x="182" y="311"/>
                  </a:lnTo>
                  <a:lnTo>
                    <a:pt x="180" y="313"/>
                  </a:lnTo>
                  <a:lnTo>
                    <a:pt x="177" y="314"/>
                  </a:lnTo>
                  <a:lnTo>
                    <a:pt x="174" y="314"/>
                  </a:lnTo>
                  <a:lnTo>
                    <a:pt x="172" y="314"/>
                  </a:lnTo>
                  <a:lnTo>
                    <a:pt x="171" y="313"/>
                  </a:lnTo>
                  <a:lnTo>
                    <a:pt x="169" y="313"/>
                  </a:lnTo>
                  <a:lnTo>
                    <a:pt x="166" y="314"/>
                  </a:lnTo>
                  <a:lnTo>
                    <a:pt x="164" y="313"/>
                  </a:lnTo>
                  <a:lnTo>
                    <a:pt x="163" y="309"/>
                  </a:lnTo>
                  <a:lnTo>
                    <a:pt x="161" y="309"/>
                  </a:lnTo>
                  <a:lnTo>
                    <a:pt x="159" y="308"/>
                  </a:lnTo>
                  <a:lnTo>
                    <a:pt x="159" y="306"/>
                  </a:lnTo>
                  <a:lnTo>
                    <a:pt x="158" y="306"/>
                  </a:lnTo>
                  <a:lnTo>
                    <a:pt x="158" y="304"/>
                  </a:lnTo>
                  <a:lnTo>
                    <a:pt x="158" y="303"/>
                  </a:lnTo>
                  <a:lnTo>
                    <a:pt x="158" y="301"/>
                  </a:lnTo>
                  <a:lnTo>
                    <a:pt x="156" y="301"/>
                  </a:lnTo>
                  <a:lnTo>
                    <a:pt x="154" y="301"/>
                  </a:lnTo>
                  <a:lnTo>
                    <a:pt x="153" y="301"/>
                  </a:lnTo>
                  <a:lnTo>
                    <a:pt x="151" y="301"/>
                  </a:lnTo>
                  <a:lnTo>
                    <a:pt x="151" y="303"/>
                  </a:lnTo>
                  <a:lnTo>
                    <a:pt x="150" y="303"/>
                  </a:lnTo>
                  <a:lnTo>
                    <a:pt x="148" y="303"/>
                  </a:lnTo>
                  <a:lnTo>
                    <a:pt x="145" y="301"/>
                  </a:lnTo>
                  <a:lnTo>
                    <a:pt x="141" y="303"/>
                  </a:lnTo>
                  <a:lnTo>
                    <a:pt x="140" y="303"/>
                  </a:lnTo>
                  <a:lnTo>
                    <a:pt x="138" y="304"/>
                  </a:lnTo>
                  <a:lnTo>
                    <a:pt x="137" y="306"/>
                  </a:lnTo>
                  <a:lnTo>
                    <a:pt x="135" y="306"/>
                  </a:lnTo>
                  <a:lnTo>
                    <a:pt x="135" y="304"/>
                  </a:lnTo>
                  <a:lnTo>
                    <a:pt x="133" y="304"/>
                  </a:lnTo>
                  <a:lnTo>
                    <a:pt x="133" y="303"/>
                  </a:lnTo>
                  <a:lnTo>
                    <a:pt x="133" y="301"/>
                  </a:lnTo>
                  <a:lnTo>
                    <a:pt x="133" y="300"/>
                  </a:lnTo>
                  <a:lnTo>
                    <a:pt x="135" y="298"/>
                  </a:lnTo>
                  <a:lnTo>
                    <a:pt x="137" y="298"/>
                  </a:lnTo>
                  <a:lnTo>
                    <a:pt x="138" y="295"/>
                  </a:lnTo>
                  <a:lnTo>
                    <a:pt x="140" y="293"/>
                  </a:lnTo>
                  <a:lnTo>
                    <a:pt x="141" y="295"/>
                  </a:lnTo>
                  <a:lnTo>
                    <a:pt x="143" y="293"/>
                  </a:lnTo>
                  <a:lnTo>
                    <a:pt x="145" y="291"/>
                  </a:lnTo>
                  <a:lnTo>
                    <a:pt x="146" y="291"/>
                  </a:lnTo>
                  <a:lnTo>
                    <a:pt x="148" y="291"/>
                  </a:lnTo>
                  <a:lnTo>
                    <a:pt x="150" y="290"/>
                  </a:lnTo>
                  <a:lnTo>
                    <a:pt x="151" y="290"/>
                  </a:lnTo>
                  <a:lnTo>
                    <a:pt x="153" y="290"/>
                  </a:lnTo>
                  <a:lnTo>
                    <a:pt x="156" y="291"/>
                  </a:lnTo>
                  <a:lnTo>
                    <a:pt x="156" y="290"/>
                  </a:lnTo>
                  <a:lnTo>
                    <a:pt x="156" y="288"/>
                  </a:lnTo>
                  <a:lnTo>
                    <a:pt x="158" y="287"/>
                  </a:lnTo>
                  <a:lnTo>
                    <a:pt x="159" y="287"/>
                  </a:lnTo>
                  <a:lnTo>
                    <a:pt x="159" y="285"/>
                  </a:lnTo>
                  <a:lnTo>
                    <a:pt x="159" y="280"/>
                  </a:lnTo>
                  <a:lnTo>
                    <a:pt x="158" y="280"/>
                  </a:lnTo>
                  <a:lnTo>
                    <a:pt x="158" y="277"/>
                  </a:lnTo>
                  <a:lnTo>
                    <a:pt x="158" y="275"/>
                  </a:lnTo>
                  <a:lnTo>
                    <a:pt x="156" y="275"/>
                  </a:lnTo>
                  <a:lnTo>
                    <a:pt x="156" y="274"/>
                  </a:lnTo>
                  <a:lnTo>
                    <a:pt x="158" y="274"/>
                  </a:lnTo>
                  <a:lnTo>
                    <a:pt x="158" y="270"/>
                  </a:lnTo>
                  <a:lnTo>
                    <a:pt x="161" y="269"/>
                  </a:lnTo>
                  <a:lnTo>
                    <a:pt x="159" y="267"/>
                  </a:lnTo>
                  <a:lnTo>
                    <a:pt x="159" y="265"/>
                  </a:lnTo>
                  <a:lnTo>
                    <a:pt x="158" y="265"/>
                  </a:lnTo>
                  <a:lnTo>
                    <a:pt x="158" y="264"/>
                  </a:lnTo>
                  <a:lnTo>
                    <a:pt x="159" y="262"/>
                  </a:lnTo>
                  <a:lnTo>
                    <a:pt x="158" y="261"/>
                  </a:lnTo>
                  <a:lnTo>
                    <a:pt x="158" y="259"/>
                  </a:lnTo>
                  <a:lnTo>
                    <a:pt x="158" y="257"/>
                  </a:lnTo>
                  <a:lnTo>
                    <a:pt x="156" y="254"/>
                  </a:lnTo>
                  <a:lnTo>
                    <a:pt x="154" y="254"/>
                  </a:lnTo>
                  <a:lnTo>
                    <a:pt x="151" y="252"/>
                  </a:lnTo>
                  <a:lnTo>
                    <a:pt x="150" y="252"/>
                  </a:lnTo>
                  <a:lnTo>
                    <a:pt x="151" y="252"/>
                  </a:lnTo>
                  <a:lnTo>
                    <a:pt x="153" y="251"/>
                  </a:lnTo>
                  <a:lnTo>
                    <a:pt x="151" y="249"/>
                  </a:lnTo>
                  <a:lnTo>
                    <a:pt x="150" y="248"/>
                  </a:lnTo>
                  <a:lnTo>
                    <a:pt x="148" y="248"/>
                  </a:lnTo>
                  <a:lnTo>
                    <a:pt x="146" y="248"/>
                  </a:lnTo>
                  <a:lnTo>
                    <a:pt x="145" y="249"/>
                  </a:lnTo>
                  <a:lnTo>
                    <a:pt x="143" y="249"/>
                  </a:lnTo>
                  <a:lnTo>
                    <a:pt x="141" y="249"/>
                  </a:lnTo>
                  <a:lnTo>
                    <a:pt x="140" y="249"/>
                  </a:lnTo>
                  <a:lnTo>
                    <a:pt x="137" y="249"/>
                  </a:lnTo>
                  <a:lnTo>
                    <a:pt x="135" y="249"/>
                  </a:lnTo>
                  <a:lnTo>
                    <a:pt x="133" y="249"/>
                  </a:lnTo>
                  <a:lnTo>
                    <a:pt x="132" y="251"/>
                  </a:lnTo>
                  <a:lnTo>
                    <a:pt x="130" y="249"/>
                  </a:lnTo>
                  <a:lnTo>
                    <a:pt x="127" y="249"/>
                  </a:lnTo>
                  <a:lnTo>
                    <a:pt x="125" y="249"/>
                  </a:lnTo>
                  <a:lnTo>
                    <a:pt x="124" y="251"/>
                  </a:lnTo>
                  <a:lnTo>
                    <a:pt x="122" y="251"/>
                  </a:lnTo>
                  <a:lnTo>
                    <a:pt x="120" y="251"/>
                  </a:lnTo>
                  <a:lnTo>
                    <a:pt x="117" y="251"/>
                  </a:lnTo>
                  <a:lnTo>
                    <a:pt x="115" y="252"/>
                  </a:lnTo>
                  <a:lnTo>
                    <a:pt x="114" y="251"/>
                  </a:lnTo>
                  <a:lnTo>
                    <a:pt x="114" y="249"/>
                  </a:lnTo>
                  <a:lnTo>
                    <a:pt x="112" y="249"/>
                  </a:lnTo>
                  <a:lnTo>
                    <a:pt x="109" y="249"/>
                  </a:lnTo>
                  <a:lnTo>
                    <a:pt x="107" y="248"/>
                  </a:lnTo>
                  <a:lnTo>
                    <a:pt x="106" y="248"/>
                  </a:lnTo>
                  <a:lnTo>
                    <a:pt x="104" y="249"/>
                  </a:lnTo>
                  <a:lnTo>
                    <a:pt x="102" y="249"/>
                  </a:lnTo>
                  <a:lnTo>
                    <a:pt x="99" y="248"/>
                  </a:lnTo>
                  <a:lnTo>
                    <a:pt x="96" y="246"/>
                  </a:lnTo>
                  <a:lnTo>
                    <a:pt x="93" y="246"/>
                  </a:lnTo>
                  <a:lnTo>
                    <a:pt x="93" y="244"/>
                  </a:lnTo>
                  <a:lnTo>
                    <a:pt x="91" y="246"/>
                  </a:lnTo>
                  <a:lnTo>
                    <a:pt x="89" y="244"/>
                  </a:lnTo>
                  <a:lnTo>
                    <a:pt x="88" y="244"/>
                  </a:lnTo>
                  <a:lnTo>
                    <a:pt x="86" y="243"/>
                  </a:lnTo>
                  <a:lnTo>
                    <a:pt x="84" y="241"/>
                  </a:lnTo>
                  <a:lnTo>
                    <a:pt x="84" y="239"/>
                  </a:lnTo>
                  <a:lnTo>
                    <a:pt x="86" y="238"/>
                  </a:lnTo>
                  <a:lnTo>
                    <a:pt x="84" y="238"/>
                  </a:lnTo>
                  <a:lnTo>
                    <a:pt x="84" y="236"/>
                  </a:lnTo>
                  <a:lnTo>
                    <a:pt x="84" y="235"/>
                  </a:lnTo>
                  <a:lnTo>
                    <a:pt x="84" y="233"/>
                  </a:lnTo>
                  <a:lnTo>
                    <a:pt x="83" y="233"/>
                  </a:lnTo>
                  <a:lnTo>
                    <a:pt x="81" y="233"/>
                  </a:lnTo>
                  <a:lnTo>
                    <a:pt x="80" y="233"/>
                  </a:lnTo>
                  <a:lnTo>
                    <a:pt x="78" y="235"/>
                  </a:lnTo>
                  <a:lnTo>
                    <a:pt x="78" y="233"/>
                  </a:lnTo>
                  <a:lnTo>
                    <a:pt x="76" y="233"/>
                  </a:lnTo>
                  <a:lnTo>
                    <a:pt x="76" y="231"/>
                  </a:lnTo>
                  <a:lnTo>
                    <a:pt x="76" y="230"/>
                  </a:lnTo>
                  <a:lnTo>
                    <a:pt x="75" y="230"/>
                  </a:lnTo>
                  <a:lnTo>
                    <a:pt x="73" y="230"/>
                  </a:lnTo>
                  <a:lnTo>
                    <a:pt x="71" y="230"/>
                  </a:lnTo>
                  <a:lnTo>
                    <a:pt x="71" y="228"/>
                  </a:lnTo>
                  <a:lnTo>
                    <a:pt x="71" y="226"/>
                  </a:lnTo>
                  <a:lnTo>
                    <a:pt x="70" y="225"/>
                  </a:lnTo>
                  <a:lnTo>
                    <a:pt x="71" y="223"/>
                  </a:lnTo>
                  <a:lnTo>
                    <a:pt x="71" y="222"/>
                  </a:lnTo>
                  <a:lnTo>
                    <a:pt x="71" y="220"/>
                  </a:lnTo>
                  <a:lnTo>
                    <a:pt x="71" y="218"/>
                  </a:lnTo>
                  <a:lnTo>
                    <a:pt x="71" y="217"/>
                  </a:lnTo>
                  <a:lnTo>
                    <a:pt x="71" y="215"/>
                  </a:lnTo>
                  <a:lnTo>
                    <a:pt x="73" y="213"/>
                  </a:lnTo>
                  <a:lnTo>
                    <a:pt x="75" y="212"/>
                  </a:lnTo>
                  <a:lnTo>
                    <a:pt x="76" y="210"/>
                  </a:lnTo>
                  <a:lnTo>
                    <a:pt x="78" y="207"/>
                  </a:lnTo>
                  <a:lnTo>
                    <a:pt x="80" y="207"/>
                  </a:lnTo>
                  <a:lnTo>
                    <a:pt x="80" y="205"/>
                  </a:lnTo>
                  <a:lnTo>
                    <a:pt x="80" y="204"/>
                  </a:lnTo>
                  <a:lnTo>
                    <a:pt x="81" y="204"/>
                  </a:lnTo>
                  <a:lnTo>
                    <a:pt x="83" y="200"/>
                  </a:lnTo>
                  <a:lnTo>
                    <a:pt x="81" y="197"/>
                  </a:lnTo>
                  <a:lnTo>
                    <a:pt x="83" y="196"/>
                  </a:lnTo>
                  <a:lnTo>
                    <a:pt x="83" y="194"/>
                  </a:lnTo>
                  <a:lnTo>
                    <a:pt x="83" y="192"/>
                  </a:lnTo>
                  <a:lnTo>
                    <a:pt x="81" y="191"/>
                  </a:lnTo>
                  <a:lnTo>
                    <a:pt x="81" y="189"/>
                  </a:lnTo>
                  <a:lnTo>
                    <a:pt x="80" y="187"/>
                  </a:lnTo>
                  <a:lnTo>
                    <a:pt x="78" y="187"/>
                  </a:lnTo>
                  <a:lnTo>
                    <a:pt x="78" y="189"/>
                  </a:lnTo>
                  <a:lnTo>
                    <a:pt x="76" y="189"/>
                  </a:lnTo>
                  <a:lnTo>
                    <a:pt x="76" y="187"/>
                  </a:lnTo>
                  <a:lnTo>
                    <a:pt x="73" y="187"/>
                  </a:lnTo>
                  <a:lnTo>
                    <a:pt x="70" y="187"/>
                  </a:lnTo>
                  <a:lnTo>
                    <a:pt x="70" y="186"/>
                  </a:lnTo>
                  <a:lnTo>
                    <a:pt x="68" y="186"/>
                  </a:lnTo>
                  <a:lnTo>
                    <a:pt x="67" y="187"/>
                  </a:lnTo>
                  <a:lnTo>
                    <a:pt x="65" y="187"/>
                  </a:lnTo>
                  <a:lnTo>
                    <a:pt x="63" y="184"/>
                  </a:lnTo>
                  <a:lnTo>
                    <a:pt x="62" y="184"/>
                  </a:lnTo>
                  <a:lnTo>
                    <a:pt x="62" y="183"/>
                  </a:lnTo>
                  <a:lnTo>
                    <a:pt x="60" y="183"/>
                  </a:lnTo>
                  <a:lnTo>
                    <a:pt x="60" y="184"/>
                  </a:lnTo>
                  <a:lnTo>
                    <a:pt x="58" y="184"/>
                  </a:lnTo>
                  <a:lnTo>
                    <a:pt x="58" y="186"/>
                  </a:lnTo>
                  <a:lnTo>
                    <a:pt x="57" y="186"/>
                  </a:lnTo>
                  <a:lnTo>
                    <a:pt x="57" y="184"/>
                  </a:lnTo>
                  <a:lnTo>
                    <a:pt x="57" y="183"/>
                  </a:lnTo>
                  <a:lnTo>
                    <a:pt x="57" y="179"/>
                  </a:lnTo>
                  <a:lnTo>
                    <a:pt x="55" y="179"/>
                  </a:lnTo>
                  <a:lnTo>
                    <a:pt x="54" y="179"/>
                  </a:lnTo>
                  <a:lnTo>
                    <a:pt x="52" y="181"/>
                  </a:lnTo>
                  <a:lnTo>
                    <a:pt x="50" y="181"/>
                  </a:lnTo>
                  <a:lnTo>
                    <a:pt x="50" y="183"/>
                  </a:lnTo>
                  <a:lnTo>
                    <a:pt x="50" y="184"/>
                  </a:lnTo>
                  <a:lnTo>
                    <a:pt x="49" y="184"/>
                  </a:lnTo>
                  <a:lnTo>
                    <a:pt x="47" y="184"/>
                  </a:lnTo>
                  <a:lnTo>
                    <a:pt x="45" y="186"/>
                  </a:lnTo>
                  <a:lnTo>
                    <a:pt x="44" y="184"/>
                  </a:lnTo>
                  <a:lnTo>
                    <a:pt x="42" y="183"/>
                  </a:lnTo>
                  <a:lnTo>
                    <a:pt x="42" y="184"/>
                  </a:lnTo>
                  <a:lnTo>
                    <a:pt x="41" y="186"/>
                  </a:lnTo>
                  <a:lnTo>
                    <a:pt x="41" y="187"/>
                  </a:lnTo>
                  <a:lnTo>
                    <a:pt x="39" y="187"/>
                  </a:lnTo>
                  <a:lnTo>
                    <a:pt x="37" y="187"/>
                  </a:lnTo>
                  <a:lnTo>
                    <a:pt x="36" y="187"/>
                  </a:lnTo>
                  <a:lnTo>
                    <a:pt x="34" y="187"/>
                  </a:lnTo>
                  <a:lnTo>
                    <a:pt x="34" y="186"/>
                  </a:lnTo>
                  <a:lnTo>
                    <a:pt x="31" y="186"/>
                  </a:lnTo>
                  <a:lnTo>
                    <a:pt x="29" y="186"/>
                  </a:lnTo>
                  <a:lnTo>
                    <a:pt x="29" y="187"/>
                  </a:lnTo>
                  <a:lnTo>
                    <a:pt x="29" y="186"/>
                  </a:lnTo>
                  <a:lnTo>
                    <a:pt x="29" y="187"/>
                  </a:lnTo>
                  <a:lnTo>
                    <a:pt x="28" y="187"/>
                  </a:lnTo>
                  <a:lnTo>
                    <a:pt x="28" y="186"/>
                  </a:lnTo>
                  <a:lnTo>
                    <a:pt x="28" y="184"/>
                  </a:lnTo>
                  <a:lnTo>
                    <a:pt x="26" y="183"/>
                  </a:lnTo>
                  <a:lnTo>
                    <a:pt x="24" y="183"/>
                  </a:lnTo>
                  <a:lnTo>
                    <a:pt x="24" y="184"/>
                  </a:lnTo>
                  <a:lnTo>
                    <a:pt x="24" y="186"/>
                  </a:lnTo>
                  <a:lnTo>
                    <a:pt x="24" y="189"/>
                  </a:lnTo>
                  <a:lnTo>
                    <a:pt x="23" y="189"/>
                  </a:lnTo>
                  <a:lnTo>
                    <a:pt x="21" y="189"/>
                  </a:lnTo>
                  <a:lnTo>
                    <a:pt x="19" y="192"/>
                  </a:lnTo>
                  <a:lnTo>
                    <a:pt x="18" y="192"/>
                  </a:lnTo>
                  <a:lnTo>
                    <a:pt x="18" y="191"/>
                  </a:lnTo>
                  <a:lnTo>
                    <a:pt x="18" y="189"/>
                  </a:lnTo>
                  <a:lnTo>
                    <a:pt x="18" y="187"/>
                  </a:lnTo>
                  <a:lnTo>
                    <a:pt x="18" y="186"/>
                  </a:lnTo>
                  <a:lnTo>
                    <a:pt x="18" y="184"/>
                  </a:lnTo>
                  <a:lnTo>
                    <a:pt x="18" y="183"/>
                  </a:lnTo>
                  <a:lnTo>
                    <a:pt x="18" y="181"/>
                  </a:lnTo>
                  <a:lnTo>
                    <a:pt x="19" y="181"/>
                  </a:lnTo>
                  <a:lnTo>
                    <a:pt x="21" y="181"/>
                  </a:lnTo>
                  <a:lnTo>
                    <a:pt x="21" y="179"/>
                  </a:lnTo>
                  <a:lnTo>
                    <a:pt x="24" y="178"/>
                  </a:lnTo>
                  <a:lnTo>
                    <a:pt x="26" y="178"/>
                  </a:lnTo>
                  <a:lnTo>
                    <a:pt x="26" y="173"/>
                  </a:lnTo>
                  <a:lnTo>
                    <a:pt x="26" y="171"/>
                  </a:lnTo>
                  <a:lnTo>
                    <a:pt x="24" y="171"/>
                  </a:lnTo>
                  <a:lnTo>
                    <a:pt x="23" y="171"/>
                  </a:lnTo>
                  <a:lnTo>
                    <a:pt x="21" y="171"/>
                  </a:lnTo>
                  <a:lnTo>
                    <a:pt x="19" y="171"/>
                  </a:lnTo>
                  <a:lnTo>
                    <a:pt x="19" y="169"/>
                  </a:lnTo>
                  <a:lnTo>
                    <a:pt x="18" y="169"/>
                  </a:lnTo>
                  <a:lnTo>
                    <a:pt x="15" y="169"/>
                  </a:lnTo>
                  <a:lnTo>
                    <a:pt x="13" y="173"/>
                  </a:lnTo>
                  <a:lnTo>
                    <a:pt x="11" y="174"/>
                  </a:lnTo>
                  <a:lnTo>
                    <a:pt x="10" y="174"/>
                  </a:lnTo>
                  <a:lnTo>
                    <a:pt x="10" y="173"/>
                  </a:lnTo>
                  <a:lnTo>
                    <a:pt x="8" y="173"/>
                  </a:lnTo>
                  <a:lnTo>
                    <a:pt x="8" y="174"/>
                  </a:lnTo>
                  <a:lnTo>
                    <a:pt x="6" y="174"/>
                  </a:lnTo>
                  <a:lnTo>
                    <a:pt x="5" y="173"/>
                  </a:lnTo>
                  <a:lnTo>
                    <a:pt x="6" y="171"/>
                  </a:lnTo>
                  <a:lnTo>
                    <a:pt x="8" y="171"/>
                  </a:lnTo>
                  <a:lnTo>
                    <a:pt x="8" y="169"/>
                  </a:lnTo>
                  <a:lnTo>
                    <a:pt x="8" y="168"/>
                  </a:lnTo>
                  <a:lnTo>
                    <a:pt x="6" y="168"/>
                  </a:lnTo>
                  <a:lnTo>
                    <a:pt x="6" y="166"/>
                  </a:lnTo>
                  <a:lnTo>
                    <a:pt x="5" y="165"/>
                  </a:lnTo>
                  <a:lnTo>
                    <a:pt x="3" y="165"/>
                  </a:lnTo>
                  <a:lnTo>
                    <a:pt x="0" y="163"/>
                  </a:lnTo>
                  <a:lnTo>
                    <a:pt x="0" y="161"/>
                  </a:lnTo>
                  <a:lnTo>
                    <a:pt x="0" y="160"/>
                  </a:lnTo>
                  <a:lnTo>
                    <a:pt x="2" y="158"/>
                  </a:lnTo>
                  <a:lnTo>
                    <a:pt x="2" y="156"/>
                  </a:lnTo>
                  <a:lnTo>
                    <a:pt x="3" y="152"/>
                  </a:lnTo>
                  <a:lnTo>
                    <a:pt x="5" y="148"/>
                  </a:lnTo>
                  <a:lnTo>
                    <a:pt x="6" y="140"/>
                  </a:lnTo>
                  <a:lnTo>
                    <a:pt x="6" y="139"/>
                  </a:lnTo>
                  <a:lnTo>
                    <a:pt x="6" y="137"/>
                  </a:lnTo>
                  <a:lnTo>
                    <a:pt x="10" y="137"/>
                  </a:lnTo>
                  <a:lnTo>
                    <a:pt x="10" y="135"/>
                  </a:lnTo>
                  <a:lnTo>
                    <a:pt x="11" y="132"/>
                  </a:lnTo>
                  <a:lnTo>
                    <a:pt x="11" y="130"/>
                  </a:lnTo>
                  <a:lnTo>
                    <a:pt x="11" y="127"/>
                  </a:lnTo>
                  <a:lnTo>
                    <a:pt x="13" y="127"/>
                  </a:lnTo>
                  <a:lnTo>
                    <a:pt x="15" y="126"/>
                  </a:lnTo>
                  <a:lnTo>
                    <a:pt x="16" y="126"/>
                  </a:lnTo>
                  <a:lnTo>
                    <a:pt x="16" y="124"/>
                  </a:lnTo>
                  <a:lnTo>
                    <a:pt x="18" y="124"/>
                  </a:lnTo>
                  <a:lnTo>
                    <a:pt x="21" y="124"/>
                  </a:lnTo>
                  <a:lnTo>
                    <a:pt x="23" y="124"/>
                  </a:lnTo>
                  <a:lnTo>
                    <a:pt x="26" y="126"/>
                  </a:lnTo>
                  <a:lnTo>
                    <a:pt x="28" y="126"/>
                  </a:lnTo>
                  <a:lnTo>
                    <a:pt x="29" y="124"/>
                  </a:lnTo>
                  <a:lnTo>
                    <a:pt x="31" y="119"/>
                  </a:lnTo>
                  <a:lnTo>
                    <a:pt x="32" y="119"/>
                  </a:lnTo>
                  <a:lnTo>
                    <a:pt x="34" y="119"/>
                  </a:lnTo>
                  <a:lnTo>
                    <a:pt x="36" y="119"/>
                  </a:lnTo>
                  <a:lnTo>
                    <a:pt x="39" y="121"/>
                  </a:lnTo>
                  <a:lnTo>
                    <a:pt x="44" y="121"/>
                  </a:lnTo>
                  <a:lnTo>
                    <a:pt x="45" y="121"/>
                  </a:lnTo>
                  <a:lnTo>
                    <a:pt x="47" y="122"/>
                  </a:lnTo>
                  <a:lnTo>
                    <a:pt x="47" y="124"/>
                  </a:lnTo>
                  <a:lnTo>
                    <a:pt x="49" y="124"/>
                  </a:lnTo>
                  <a:lnTo>
                    <a:pt x="50" y="124"/>
                  </a:lnTo>
                  <a:lnTo>
                    <a:pt x="52" y="122"/>
                  </a:lnTo>
                  <a:lnTo>
                    <a:pt x="54" y="121"/>
                  </a:lnTo>
                  <a:lnTo>
                    <a:pt x="55" y="121"/>
                  </a:lnTo>
                  <a:lnTo>
                    <a:pt x="58" y="121"/>
                  </a:lnTo>
                  <a:lnTo>
                    <a:pt x="60" y="121"/>
                  </a:lnTo>
                  <a:lnTo>
                    <a:pt x="62" y="117"/>
                  </a:lnTo>
                  <a:lnTo>
                    <a:pt x="67" y="117"/>
                  </a:lnTo>
                  <a:lnTo>
                    <a:pt x="68" y="119"/>
                  </a:lnTo>
                  <a:lnTo>
                    <a:pt x="67" y="119"/>
                  </a:lnTo>
                  <a:lnTo>
                    <a:pt x="65" y="119"/>
                  </a:lnTo>
                  <a:lnTo>
                    <a:pt x="65" y="122"/>
                  </a:lnTo>
                  <a:lnTo>
                    <a:pt x="65" y="127"/>
                  </a:lnTo>
                  <a:lnTo>
                    <a:pt x="65" y="129"/>
                  </a:lnTo>
                  <a:lnTo>
                    <a:pt x="68" y="129"/>
                  </a:lnTo>
                  <a:lnTo>
                    <a:pt x="71" y="130"/>
                  </a:lnTo>
                  <a:lnTo>
                    <a:pt x="75" y="132"/>
                  </a:lnTo>
                  <a:lnTo>
                    <a:pt x="76" y="132"/>
                  </a:lnTo>
                  <a:lnTo>
                    <a:pt x="80" y="132"/>
                  </a:lnTo>
                  <a:lnTo>
                    <a:pt x="83" y="130"/>
                  </a:lnTo>
                  <a:lnTo>
                    <a:pt x="86" y="129"/>
                  </a:lnTo>
                  <a:lnTo>
                    <a:pt x="88" y="129"/>
                  </a:lnTo>
                  <a:lnTo>
                    <a:pt x="89" y="130"/>
                  </a:lnTo>
                  <a:lnTo>
                    <a:pt x="91" y="130"/>
                  </a:lnTo>
                  <a:lnTo>
                    <a:pt x="94" y="130"/>
                  </a:lnTo>
                  <a:lnTo>
                    <a:pt x="96" y="130"/>
                  </a:lnTo>
                  <a:lnTo>
                    <a:pt x="101" y="127"/>
                  </a:lnTo>
                  <a:lnTo>
                    <a:pt x="102" y="126"/>
                  </a:lnTo>
                  <a:lnTo>
                    <a:pt x="106" y="124"/>
                  </a:lnTo>
                  <a:lnTo>
                    <a:pt x="109" y="122"/>
                  </a:lnTo>
                  <a:lnTo>
                    <a:pt x="110" y="124"/>
                  </a:lnTo>
                  <a:lnTo>
                    <a:pt x="110" y="121"/>
                  </a:lnTo>
                  <a:lnTo>
                    <a:pt x="112" y="121"/>
                  </a:lnTo>
                  <a:lnTo>
                    <a:pt x="112" y="119"/>
                  </a:lnTo>
                  <a:lnTo>
                    <a:pt x="112" y="117"/>
                  </a:lnTo>
                  <a:lnTo>
                    <a:pt x="114" y="117"/>
                  </a:lnTo>
                  <a:lnTo>
                    <a:pt x="112" y="117"/>
                  </a:lnTo>
                  <a:lnTo>
                    <a:pt x="114" y="117"/>
                  </a:lnTo>
                  <a:lnTo>
                    <a:pt x="115" y="117"/>
                  </a:lnTo>
                  <a:lnTo>
                    <a:pt x="115" y="116"/>
                  </a:lnTo>
                  <a:lnTo>
                    <a:pt x="115" y="117"/>
                  </a:lnTo>
                  <a:lnTo>
                    <a:pt x="117" y="116"/>
                  </a:lnTo>
                  <a:lnTo>
                    <a:pt x="119" y="116"/>
                  </a:lnTo>
                  <a:lnTo>
                    <a:pt x="120" y="116"/>
                  </a:lnTo>
                  <a:lnTo>
                    <a:pt x="120" y="114"/>
                  </a:lnTo>
                  <a:lnTo>
                    <a:pt x="120" y="116"/>
                  </a:lnTo>
                  <a:lnTo>
                    <a:pt x="122" y="116"/>
                  </a:lnTo>
                  <a:lnTo>
                    <a:pt x="124" y="114"/>
                  </a:lnTo>
                  <a:lnTo>
                    <a:pt x="125" y="113"/>
                  </a:lnTo>
                  <a:lnTo>
                    <a:pt x="127" y="113"/>
                  </a:lnTo>
                  <a:lnTo>
                    <a:pt x="128" y="114"/>
                  </a:lnTo>
                  <a:lnTo>
                    <a:pt x="132" y="116"/>
                  </a:lnTo>
                  <a:lnTo>
                    <a:pt x="133" y="116"/>
                  </a:lnTo>
                  <a:lnTo>
                    <a:pt x="137" y="116"/>
                  </a:lnTo>
                  <a:lnTo>
                    <a:pt x="138" y="117"/>
                  </a:lnTo>
                  <a:lnTo>
                    <a:pt x="140" y="119"/>
                  </a:lnTo>
                  <a:lnTo>
                    <a:pt x="143" y="117"/>
                  </a:lnTo>
                  <a:lnTo>
                    <a:pt x="145" y="117"/>
                  </a:lnTo>
                  <a:lnTo>
                    <a:pt x="145" y="116"/>
                  </a:lnTo>
                  <a:lnTo>
                    <a:pt x="146" y="116"/>
                  </a:lnTo>
                  <a:lnTo>
                    <a:pt x="148" y="116"/>
                  </a:lnTo>
                  <a:lnTo>
                    <a:pt x="150" y="116"/>
                  </a:lnTo>
                  <a:lnTo>
                    <a:pt x="151" y="119"/>
                  </a:lnTo>
                  <a:lnTo>
                    <a:pt x="154" y="119"/>
                  </a:lnTo>
                  <a:lnTo>
                    <a:pt x="156" y="116"/>
                  </a:lnTo>
                  <a:lnTo>
                    <a:pt x="156" y="109"/>
                  </a:lnTo>
                  <a:lnTo>
                    <a:pt x="159" y="108"/>
                  </a:lnTo>
                  <a:lnTo>
                    <a:pt x="161" y="108"/>
                  </a:lnTo>
                  <a:lnTo>
                    <a:pt x="164" y="108"/>
                  </a:lnTo>
                  <a:lnTo>
                    <a:pt x="164" y="106"/>
                  </a:lnTo>
                  <a:lnTo>
                    <a:pt x="164" y="104"/>
                  </a:lnTo>
                  <a:lnTo>
                    <a:pt x="166" y="104"/>
                  </a:lnTo>
                  <a:lnTo>
                    <a:pt x="164" y="103"/>
                  </a:lnTo>
                  <a:lnTo>
                    <a:pt x="164" y="101"/>
                  </a:lnTo>
                  <a:lnTo>
                    <a:pt x="164" y="100"/>
                  </a:lnTo>
                  <a:lnTo>
                    <a:pt x="164" y="98"/>
                  </a:lnTo>
                  <a:lnTo>
                    <a:pt x="163" y="98"/>
                  </a:lnTo>
                  <a:lnTo>
                    <a:pt x="163" y="96"/>
                  </a:lnTo>
                  <a:lnTo>
                    <a:pt x="163" y="95"/>
                  </a:lnTo>
                  <a:lnTo>
                    <a:pt x="163" y="93"/>
                  </a:lnTo>
                  <a:lnTo>
                    <a:pt x="161" y="93"/>
                  </a:lnTo>
                  <a:lnTo>
                    <a:pt x="161" y="91"/>
                  </a:lnTo>
                  <a:lnTo>
                    <a:pt x="161" y="90"/>
                  </a:lnTo>
                  <a:lnTo>
                    <a:pt x="161" y="88"/>
                  </a:lnTo>
                  <a:lnTo>
                    <a:pt x="161" y="87"/>
                  </a:lnTo>
                  <a:lnTo>
                    <a:pt x="161" y="85"/>
                  </a:lnTo>
                  <a:lnTo>
                    <a:pt x="163" y="85"/>
                  </a:lnTo>
                  <a:lnTo>
                    <a:pt x="161" y="85"/>
                  </a:lnTo>
                  <a:lnTo>
                    <a:pt x="163" y="83"/>
                  </a:lnTo>
                  <a:lnTo>
                    <a:pt x="161" y="83"/>
                  </a:lnTo>
                  <a:lnTo>
                    <a:pt x="163" y="82"/>
                  </a:lnTo>
                  <a:lnTo>
                    <a:pt x="161" y="82"/>
                  </a:lnTo>
                  <a:lnTo>
                    <a:pt x="161" y="80"/>
                  </a:lnTo>
                  <a:lnTo>
                    <a:pt x="161" y="78"/>
                  </a:lnTo>
                  <a:lnTo>
                    <a:pt x="161" y="77"/>
                  </a:lnTo>
                  <a:lnTo>
                    <a:pt x="163" y="77"/>
                  </a:lnTo>
                  <a:lnTo>
                    <a:pt x="161" y="78"/>
                  </a:lnTo>
                  <a:lnTo>
                    <a:pt x="163" y="78"/>
                  </a:lnTo>
                  <a:lnTo>
                    <a:pt x="163" y="77"/>
                  </a:lnTo>
                  <a:lnTo>
                    <a:pt x="161" y="77"/>
                  </a:lnTo>
                  <a:lnTo>
                    <a:pt x="159" y="77"/>
                  </a:lnTo>
                  <a:lnTo>
                    <a:pt x="158" y="77"/>
                  </a:lnTo>
                  <a:lnTo>
                    <a:pt x="158" y="75"/>
                  </a:lnTo>
                  <a:lnTo>
                    <a:pt x="156" y="75"/>
                  </a:lnTo>
                  <a:lnTo>
                    <a:pt x="156" y="74"/>
                  </a:lnTo>
                  <a:lnTo>
                    <a:pt x="158" y="74"/>
                  </a:lnTo>
                  <a:lnTo>
                    <a:pt x="156" y="74"/>
                  </a:lnTo>
                  <a:lnTo>
                    <a:pt x="154" y="74"/>
                  </a:lnTo>
                  <a:lnTo>
                    <a:pt x="154" y="72"/>
                  </a:lnTo>
                  <a:lnTo>
                    <a:pt x="153" y="74"/>
                  </a:lnTo>
                  <a:lnTo>
                    <a:pt x="153" y="72"/>
                  </a:lnTo>
                  <a:lnTo>
                    <a:pt x="151" y="72"/>
                  </a:lnTo>
                  <a:lnTo>
                    <a:pt x="151" y="74"/>
                  </a:lnTo>
                  <a:lnTo>
                    <a:pt x="151" y="72"/>
                  </a:lnTo>
                  <a:lnTo>
                    <a:pt x="150" y="72"/>
                  </a:lnTo>
                  <a:lnTo>
                    <a:pt x="151" y="72"/>
                  </a:lnTo>
                  <a:lnTo>
                    <a:pt x="151" y="70"/>
                  </a:lnTo>
                  <a:lnTo>
                    <a:pt x="150" y="70"/>
                  </a:lnTo>
                  <a:lnTo>
                    <a:pt x="150" y="72"/>
                  </a:lnTo>
                  <a:lnTo>
                    <a:pt x="148" y="72"/>
                  </a:lnTo>
                  <a:lnTo>
                    <a:pt x="148" y="70"/>
                  </a:lnTo>
                  <a:lnTo>
                    <a:pt x="150" y="70"/>
                  </a:lnTo>
                  <a:lnTo>
                    <a:pt x="150" y="69"/>
                  </a:lnTo>
                  <a:lnTo>
                    <a:pt x="148" y="70"/>
                  </a:lnTo>
                  <a:lnTo>
                    <a:pt x="148" y="69"/>
                  </a:lnTo>
                  <a:lnTo>
                    <a:pt x="146" y="70"/>
                  </a:lnTo>
                  <a:lnTo>
                    <a:pt x="146" y="69"/>
                  </a:lnTo>
                  <a:lnTo>
                    <a:pt x="146" y="70"/>
                  </a:lnTo>
                  <a:lnTo>
                    <a:pt x="145" y="70"/>
                  </a:lnTo>
                  <a:lnTo>
                    <a:pt x="145" y="69"/>
                  </a:lnTo>
                  <a:lnTo>
                    <a:pt x="143" y="69"/>
                  </a:lnTo>
                  <a:lnTo>
                    <a:pt x="143" y="70"/>
                  </a:lnTo>
                  <a:lnTo>
                    <a:pt x="143" y="69"/>
                  </a:lnTo>
                  <a:lnTo>
                    <a:pt x="143" y="70"/>
                  </a:lnTo>
                  <a:lnTo>
                    <a:pt x="143" y="69"/>
                  </a:lnTo>
                  <a:lnTo>
                    <a:pt x="141" y="70"/>
                  </a:lnTo>
                  <a:lnTo>
                    <a:pt x="140" y="70"/>
                  </a:lnTo>
                  <a:lnTo>
                    <a:pt x="138" y="70"/>
                  </a:lnTo>
                  <a:lnTo>
                    <a:pt x="137" y="70"/>
                  </a:lnTo>
                  <a:lnTo>
                    <a:pt x="135" y="72"/>
                  </a:lnTo>
                  <a:lnTo>
                    <a:pt x="135" y="70"/>
                  </a:lnTo>
                  <a:lnTo>
                    <a:pt x="133" y="70"/>
                  </a:lnTo>
                  <a:lnTo>
                    <a:pt x="133" y="72"/>
                  </a:lnTo>
                  <a:lnTo>
                    <a:pt x="133" y="70"/>
                  </a:lnTo>
                  <a:lnTo>
                    <a:pt x="132" y="72"/>
                  </a:lnTo>
                  <a:lnTo>
                    <a:pt x="130" y="72"/>
                  </a:lnTo>
                  <a:lnTo>
                    <a:pt x="130" y="70"/>
                  </a:lnTo>
                  <a:lnTo>
                    <a:pt x="130" y="72"/>
                  </a:lnTo>
                  <a:lnTo>
                    <a:pt x="128" y="72"/>
                  </a:lnTo>
                  <a:lnTo>
                    <a:pt x="128" y="70"/>
                  </a:lnTo>
                  <a:lnTo>
                    <a:pt x="128" y="72"/>
                  </a:lnTo>
                  <a:lnTo>
                    <a:pt x="128" y="70"/>
                  </a:lnTo>
                  <a:lnTo>
                    <a:pt x="127" y="70"/>
                  </a:lnTo>
                  <a:lnTo>
                    <a:pt x="125" y="70"/>
                  </a:lnTo>
                  <a:lnTo>
                    <a:pt x="125" y="69"/>
                  </a:lnTo>
                  <a:lnTo>
                    <a:pt x="124" y="69"/>
                  </a:lnTo>
                  <a:lnTo>
                    <a:pt x="125" y="69"/>
                  </a:lnTo>
                  <a:lnTo>
                    <a:pt x="124" y="70"/>
                  </a:lnTo>
                  <a:lnTo>
                    <a:pt x="122" y="70"/>
                  </a:lnTo>
                  <a:lnTo>
                    <a:pt x="122" y="69"/>
                  </a:lnTo>
                  <a:lnTo>
                    <a:pt x="120" y="69"/>
                  </a:lnTo>
                  <a:lnTo>
                    <a:pt x="120" y="67"/>
                  </a:lnTo>
                  <a:lnTo>
                    <a:pt x="119" y="69"/>
                  </a:lnTo>
                  <a:lnTo>
                    <a:pt x="120" y="69"/>
                  </a:lnTo>
                  <a:lnTo>
                    <a:pt x="120" y="70"/>
                  </a:lnTo>
                  <a:lnTo>
                    <a:pt x="119" y="70"/>
                  </a:lnTo>
                  <a:lnTo>
                    <a:pt x="119" y="69"/>
                  </a:lnTo>
                  <a:lnTo>
                    <a:pt x="117" y="69"/>
                  </a:lnTo>
                  <a:lnTo>
                    <a:pt x="115" y="67"/>
                  </a:lnTo>
                  <a:lnTo>
                    <a:pt x="117" y="69"/>
                  </a:lnTo>
                  <a:lnTo>
                    <a:pt x="115" y="69"/>
                  </a:lnTo>
                  <a:lnTo>
                    <a:pt x="114" y="69"/>
                  </a:lnTo>
                  <a:lnTo>
                    <a:pt x="114" y="67"/>
                  </a:lnTo>
                  <a:lnTo>
                    <a:pt x="114" y="69"/>
                  </a:lnTo>
                  <a:lnTo>
                    <a:pt x="114" y="70"/>
                  </a:lnTo>
                  <a:lnTo>
                    <a:pt x="112" y="70"/>
                  </a:lnTo>
                  <a:lnTo>
                    <a:pt x="112" y="69"/>
                  </a:lnTo>
                  <a:lnTo>
                    <a:pt x="110" y="69"/>
                  </a:lnTo>
                  <a:lnTo>
                    <a:pt x="109" y="67"/>
                  </a:lnTo>
                  <a:lnTo>
                    <a:pt x="110" y="67"/>
                  </a:lnTo>
                  <a:lnTo>
                    <a:pt x="110" y="65"/>
                  </a:lnTo>
                  <a:lnTo>
                    <a:pt x="109" y="65"/>
                  </a:lnTo>
                  <a:lnTo>
                    <a:pt x="109" y="67"/>
                  </a:lnTo>
                  <a:lnTo>
                    <a:pt x="109" y="65"/>
                  </a:lnTo>
                  <a:lnTo>
                    <a:pt x="109" y="64"/>
                  </a:lnTo>
                  <a:lnTo>
                    <a:pt x="107" y="65"/>
                  </a:lnTo>
                  <a:lnTo>
                    <a:pt x="106" y="65"/>
                  </a:lnTo>
                  <a:lnTo>
                    <a:pt x="107" y="65"/>
                  </a:lnTo>
                  <a:lnTo>
                    <a:pt x="106" y="65"/>
                  </a:lnTo>
                  <a:lnTo>
                    <a:pt x="106" y="64"/>
                  </a:lnTo>
                  <a:lnTo>
                    <a:pt x="104" y="62"/>
                  </a:lnTo>
                  <a:lnTo>
                    <a:pt x="104" y="61"/>
                  </a:lnTo>
                  <a:lnTo>
                    <a:pt x="104" y="59"/>
                  </a:lnTo>
                  <a:lnTo>
                    <a:pt x="102" y="59"/>
                  </a:lnTo>
                  <a:lnTo>
                    <a:pt x="101" y="59"/>
                  </a:lnTo>
                  <a:lnTo>
                    <a:pt x="99" y="59"/>
                  </a:lnTo>
                  <a:lnTo>
                    <a:pt x="99" y="57"/>
                  </a:lnTo>
                  <a:lnTo>
                    <a:pt x="99" y="59"/>
                  </a:lnTo>
                  <a:lnTo>
                    <a:pt x="99" y="57"/>
                  </a:lnTo>
                  <a:lnTo>
                    <a:pt x="99" y="56"/>
                  </a:lnTo>
                  <a:lnTo>
                    <a:pt x="97" y="56"/>
                  </a:lnTo>
                  <a:lnTo>
                    <a:pt x="96" y="56"/>
                  </a:lnTo>
                  <a:lnTo>
                    <a:pt x="97" y="56"/>
                  </a:lnTo>
                  <a:lnTo>
                    <a:pt x="97" y="57"/>
                  </a:lnTo>
                  <a:lnTo>
                    <a:pt x="97" y="56"/>
                  </a:lnTo>
                  <a:lnTo>
                    <a:pt x="97" y="57"/>
                  </a:lnTo>
                  <a:lnTo>
                    <a:pt x="94" y="57"/>
                  </a:lnTo>
                  <a:lnTo>
                    <a:pt x="93" y="57"/>
                  </a:lnTo>
                  <a:lnTo>
                    <a:pt x="91" y="56"/>
                  </a:lnTo>
                  <a:lnTo>
                    <a:pt x="89" y="56"/>
                  </a:lnTo>
                  <a:lnTo>
                    <a:pt x="89" y="54"/>
                  </a:lnTo>
                  <a:lnTo>
                    <a:pt x="88" y="54"/>
                  </a:lnTo>
                  <a:lnTo>
                    <a:pt x="86" y="52"/>
                  </a:lnTo>
                  <a:lnTo>
                    <a:pt x="86" y="51"/>
                  </a:lnTo>
                  <a:lnTo>
                    <a:pt x="84" y="51"/>
                  </a:lnTo>
                  <a:lnTo>
                    <a:pt x="84" y="49"/>
                  </a:lnTo>
                  <a:lnTo>
                    <a:pt x="83" y="49"/>
                  </a:lnTo>
                  <a:lnTo>
                    <a:pt x="83" y="48"/>
                  </a:lnTo>
                  <a:lnTo>
                    <a:pt x="84" y="44"/>
                  </a:lnTo>
                  <a:lnTo>
                    <a:pt x="84" y="43"/>
                  </a:lnTo>
                  <a:lnTo>
                    <a:pt x="84" y="41"/>
                  </a:lnTo>
                  <a:lnTo>
                    <a:pt x="86" y="41"/>
                  </a:lnTo>
                  <a:lnTo>
                    <a:pt x="88" y="39"/>
                  </a:lnTo>
                  <a:lnTo>
                    <a:pt x="88" y="38"/>
                  </a:lnTo>
                  <a:lnTo>
                    <a:pt x="89" y="38"/>
                  </a:lnTo>
                  <a:lnTo>
                    <a:pt x="89" y="36"/>
                  </a:lnTo>
                  <a:lnTo>
                    <a:pt x="91" y="36"/>
                  </a:lnTo>
                  <a:lnTo>
                    <a:pt x="91" y="35"/>
                  </a:lnTo>
                  <a:lnTo>
                    <a:pt x="91" y="33"/>
                  </a:lnTo>
                  <a:lnTo>
                    <a:pt x="91" y="31"/>
                  </a:lnTo>
                  <a:lnTo>
                    <a:pt x="93" y="31"/>
                  </a:lnTo>
                  <a:lnTo>
                    <a:pt x="93" y="28"/>
                  </a:lnTo>
                  <a:lnTo>
                    <a:pt x="94" y="26"/>
                  </a:lnTo>
                  <a:lnTo>
                    <a:pt x="94" y="25"/>
                  </a:lnTo>
                  <a:lnTo>
                    <a:pt x="94" y="23"/>
                  </a:lnTo>
                  <a:lnTo>
                    <a:pt x="96" y="21"/>
                  </a:lnTo>
                  <a:lnTo>
                    <a:pt x="96" y="20"/>
                  </a:lnTo>
                  <a:lnTo>
                    <a:pt x="96" y="18"/>
                  </a:lnTo>
                  <a:lnTo>
                    <a:pt x="96" y="17"/>
                  </a:lnTo>
                  <a:lnTo>
                    <a:pt x="94" y="15"/>
                  </a:lnTo>
                  <a:lnTo>
                    <a:pt x="94" y="13"/>
                  </a:lnTo>
                  <a:lnTo>
                    <a:pt x="94" y="12"/>
                  </a:lnTo>
                  <a:lnTo>
                    <a:pt x="96" y="13"/>
                  </a:lnTo>
                  <a:lnTo>
                    <a:pt x="99" y="15"/>
                  </a:lnTo>
                  <a:lnTo>
                    <a:pt x="102" y="13"/>
                  </a:lnTo>
                  <a:lnTo>
                    <a:pt x="102" y="10"/>
                  </a:lnTo>
                  <a:lnTo>
                    <a:pt x="106" y="8"/>
                  </a:lnTo>
                  <a:lnTo>
                    <a:pt x="107" y="8"/>
                  </a:lnTo>
                  <a:lnTo>
                    <a:pt x="109" y="10"/>
                  </a:lnTo>
                  <a:lnTo>
                    <a:pt x="110" y="12"/>
                  </a:lnTo>
                  <a:lnTo>
                    <a:pt x="110" y="15"/>
                  </a:lnTo>
                  <a:lnTo>
                    <a:pt x="112" y="15"/>
                  </a:lnTo>
                  <a:lnTo>
                    <a:pt x="114" y="17"/>
                  </a:lnTo>
                  <a:lnTo>
                    <a:pt x="115" y="17"/>
                  </a:lnTo>
                  <a:lnTo>
                    <a:pt x="117" y="15"/>
                  </a:lnTo>
                  <a:lnTo>
                    <a:pt x="117" y="12"/>
                  </a:lnTo>
                  <a:lnTo>
                    <a:pt x="119" y="10"/>
                  </a:lnTo>
                  <a:lnTo>
                    <a:pt x="120" y="10"/>
                  </a:lnTo>
                  <a:lnTo>
                    <a:pt x="122" y="8"/>
                  </a:lnTo>
                  <a:lnTo>
                    <a:pt x="124" y="8"/>
                  </a:lnTo>
                  <a:lnTo>
                    <a:pt x="124" y="7"/>
                  </a:lnTo>
                  <a:lnTo>
                    <a:pt x="125" y="7"/>
                  </a:lnTo>
                  <a:lnTo>
                    <a:pt x="127" y="7"/>
                  </a:lnTo>
                  <a:lnTo>
                    <a:pt x="127" y="5"/>
                  </a:lnTo>
                  <a:lnTo>
                    <a:pt x="125" y="5"/>
                  </a:lnTo>
                  <a:lnTo>
                    <a:pt x="127" y="2"/>
                  </a:lnTo>
                  <a:lnTo>
                    <a:pt x="127" y="0"/>
                  </a:lnTo>
                  <a:lnTo>
                    <a:pt x="128" y="0"/>
                  </a:lnTo>
                  <a:lnTo>
                    <a:pt x="130" y="2"/>
                  </a:lnTo>
                  <a:lnTo>
                    <a:pt x="132" y="4"/>
                  </a:lnTo>
                  <a:lnTo>
                    <a:pt x="133" y="5"/>
                  </a:lnTo>
                  <a:lnTo>
                    <a:pt x="133" y="7"/>
                  </a:lnTo>
                  <a:close/>
                  <a:moveTo>
                    <a:pt x="84" y="226"/>
                  </a:moveTo>
                  <a:lnTo>
                    <a:pt x="88" y="230"/>
                  </a:lnTo>
                  <a:lnTo>
                    <a:pt x="89" y="230"/>
                  </a:lnTo>
                  <a:lnTo>
                    <a:pt x="89" y="228"/>
                  </a:lnTo>
                  <a:lnTo>
                    <a:pt x="89" y="226"/>
                  </a:lnTo>
                  <a:lnTo>
                    <a:pt x="91" y="225"/>
                  </a:lnTo>
                  <a:lnTo>
                    <a:pt x="91" y="222"/>
                  </a:lnTo>
                  <a:lnTo>
                    <a:pt x="89" y="220"/>
                  </a:lnTo>
                  <a:lnTo>
                    <a:pt x="88" y="218"/>
                  </a:lnTo>
                  <a:lnTo>
                    <a:pt x="86" y="218"/>
                  </a:lnTo>
                  <a:lnTo>
                    <a:pt x="84" y="218"/>
                  </a:lnTo>
                  <a:lnTo>
                    <a:pt x="84" y="220"/>
                  </a:lnTo>
                  <a:lnTo>
                    <a:pt x="83" y="223"/>
                  </a:lnTo>
                  <a:lnTo>
                    <a:pt x="83" y="225"/>
                  </a:lnTo>
                  <a:lnTo>
                    <a:pt x="84" y="226"/>
                  </a:lnTo>
                  <a:close/>
                </a:path>
              </a:pathLst>
            </a:custGeom>
            <a:solidFill>
              <a:srgbClr val="E5E5E5"/>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1231" name="Freeform 77">
              <a:extLst>
                <a:ext uri="{FF2B5EF4-FFF2-40B4-BE49-F238E27FC236}">
                  <a16:creationId xmlns:a16="http://schemas.microsoft.com/office/drawing/2014/main" id="{752EA3AE-7E33-E0DA-C9EF-803D6C417F66}"/>
                </a:ext>
              </a:extLst>
            </p:cNvPr>
            <p:cNvSpPr>
              <a:spLocks/>
            </p:cNvSpPr>
            <p:nvPr/>
          </p:nvSpPr>
          <p:spPr bwMode="auto">
            <a:xfrm>
              <a:off x="7615" y="4682"/>
              <a:ext cx="479" cy="943"/>
            </a:xfrm>
            <a:custGeom>
              <a:avLst/>
              <a:gdLst>
                <a:gd name="T0" fmla="*/ 249 w 479"/>
                <a:gd name="T1" fmla="*/ 73 h 943"/>
                <a:gd name="T2" fmla="*/ 260 w 479"/>
                <a:gd name="T3" fmla="*/ 66 h 943"/>
                <a:gd name="T4" fmla="*/ 270 w 479"/>
                <a:gd name="T5" fmla="*/ 57 h 943"/>
                <a:gd name="T6" fmla="*/ 278 w 479"/>
                <a:gd name="T7" fmla="*/ 55 h 943"/>
                <a:gd name="T8" fmla="*/ 289 w 479"/>
                <a:gd name="T9" fmla="*/ 55 h 943"/>
                <a:gd name="T10" fmla="*/ 297 w 479"/>
                <a:gd name="T11" fmla="*/ 52 h 943"/>
                <a:gd name="T12" fmla="*/ 307 w 479"/>
                <a:gd name="T13" fmla="*/ 53 h 943"/>
                <a:gd name="T14" fmla="*/ 322 w 479"/>
                <a:gd name="T15" fmla="*/ 48 h 943"/>
                <a:gd name="T16" fmla="*/ 335 w 479"/>
                <a:gd name="T17" fmla="*/ 47 h 943"/>
                <a:gd name="T18" fmla="*/ 343 w 479"/>
                <a:gd name="T19" fmla="*/ 42 h 943"/>
                <a:gd name="T20" fmla="*/ 353 w 479"/>
                <a:gd name="T21" fmla="*/ 44 h 943"/>
                <a:gd name="T22" fmla="*/ 359 w 479"/>
                <a:gd name="T23" fmla="*/ 35 h 943"/>
                <a:gd name="T24" fmla="*/ 364 w 479"/>
                <a:gd name="T25" fmla="*/ 21 h 943"/>
                <a:gd name="T26" fmla="*/ 367 w 479"/>
                <a:gd name="T27" fmla="*/ 16 h 943"/>
                <a:gd name="T28" fmla="*/ 377 w 479"/>
                <a:gd name="T29" fmla="*/ 13 h 943"/>
                <a:gd name="T30" fmla="*/ 388 w 479"/>
                <a:gd name="T31" fmla="*/ 13 h 943"/>
                <a:gd name="T32" fmla="*/ 397 w 479"/>
                <a:gd name="T33" fmla="*/ 21 h 943"/>
                <a:gd name="T34" fmla="*/ 397 w 479"/>
                <a:gd name="T35" fmla="*/ 29 h 943"/>
                <a:gd name="T36" fmla="*/ 395 w 479"/>
                <a:gd name="T37" fmla="*/ 40 h 943"/>
                <a:gd name="T38" fmla="*/ 410 w 479"/>
                <a:gd name="T39" fmla="*/ 50 h 943"/>
                <a:gd name="T40" fmla="*/ 414 w 479"/>
                <a:gd name="T41" fmla="*/ 44 h 943"/>
                <a:gd name="T42" fmla="*/ 414 w 479"/>
                <a:gd name="T43" fmla="*/ 35 h 943"/>
                <a:gd name="T44" fmla="*/ 421 w 479"/>
                <a:gd name="T45" fmla="*/ 30 h 943"/>
                <a:gd name="T46" fmla="*/ 427 w 479"/>
                <a:gd name="T47" fmla="*/ 22 h 943"/>
                <a:gd name="T48" fmla="*/ 429 w 479"/>
                <a:gd name="T49" fmla="*/ 14 h 943"/>
                <a:gd name="T50" fmla="*/ 432 w 479"/>
                <a:gd name="T51" fmla="*/ 6 h 943"/>
                <a:gd name="T52" fmla="*/ 439 w 479"/>
                <a:gd name="T53" fmla="*/ 4 h 943"/>
                <a:gd name="T54" fmla="*/ 449 w 479"/>
                <a:gd name="T55" fmla="*/ 1 h 943"/>
                <a:gd name="T56" fmla="*/ 455 w 479"/>
                <a:gd name="T57" fmla="*/ 9 h 943"/>
                <a:gd name="T58" fmla="*/ 463 w 479"/>
                <a:gd name="T59" fmla="*/ 13 h 943"/>
                <a:gd name="T60" fmla="*/ 471 w 479"/>
                <a:gd name="T61" fmla="*/ 16 h 943"/>
                <a:gd name="T62" fmla="*/ 478 w 479"/>
                <a:gd name="T63" fmla="*/ 26 h 943"/>
                <a:gd name="T64" fmla="*/ 476 w 479"/>
                <a:gd name="T65" fmla="*/ 45 h 943"/>
                <a:gd name="T66" fmla="*/ 436 w 479"/>
                <a:gd name="T67" fmla="*/ 941 h 943"/>
                <a:gd name="T68" fmla="*/ 384 w 479"/>
                <a:gd name="T69" fmla="*/ 943 h 943"/>
                <a:gd name="T70" fmla="*/ 346 w 479"/>
                <a:gd name="T71" fmla="*/ 933 h 943"/>
                <a:gd name="T72" fmla="*/ 289 w 479"/>
                <a:gd name="T73" fmla="*/ 923 h 943"/>
                <a:gd name="T74" fmla="*/ 240 w 479"/>
                <a:gd name="T75" fmla="*/ 914 h 943"/>
                <a:gd name="T76" fmla="*/ 101 w 479"/>
                <a:gd name="T77" fmla="*/ 941 h 943"/>
                <a:gd name="T78" fmla="*/ 71 w 479"/>
                <a:gd name="T79" fmla="*/ 899 h 943"/>
                <a:gd name="T80" fmla="*/ 70 w 479"/>
                <a:gd name="T81" fmla="*/ 705 h 943"/>
                <a:gd name="T82" fmla="*/ 195 w 479"/>
                <a:gd name="T83" fmla="*/ 551 h 943"/>
                <a:gd name="T84" fmla="*/ 183 w 479"/>
                <a:gd name="T85" fmla="*/ 445 h 943"/>
                <a:gd name="T86" fmla="*/ 175 w 479"/>
                <a:gd name="T87" fmla="*/ 383 h 943"/>
                <a:gd name="T88" fmla="*/ 133 w 479"/>
                <a:gd name="T89" fmla="*/ 287 h 943"/>
                <a:gd name="T90" fmla="*/ 179 w 479"/>
                <a:gd name="T91" fmla="*/ 216 h 943"/>
                <a:gd name="T92" fmla="*/ 205 w 479"/>
                <a:gd name="T93" fmla="*/ 130 h 943"/>
                <a:gd name="T94" fmla="*/ 210 w 479"/>
                <a:gd name="T95" fmla="*/ 123 h 943"/>
                <a:gd name="T96" fmla="*/ 216 w 479"/>
                <a:gd name="T97" fmla="*/ 118 h 943"/>
                <a:gd name="T98" fmla="*/ 223 w 479"/>
                <a:gd name="T99" fmla="*/ 112 h 943"/>
                <a:gd name="T100" fmla="*/ 224 w 479"/>
                <a:gd name="T101" fmla="*/ 105 h 943"/>
                <a:gd name="T102" fmla="*/ 226 w 479"/>
                <a:gd name="T103" fmla="*/ 97 h 943"/>
                <a:gd name="T104" fmla="*/ 227 w 479"/>
                <a:gd name="T105" fmla="*/ 92 h 943"/>
                <a:gd name="T106" fmla="*/ 229 w 479"/>
                <a:gd name="T107" fmla="*/ 86 h 943"/>
                <a:gd name="T108" fmla="*/ 232 w 479"/>
                <a:gd name="T109" fmla="*/ 83 h 943"/>
                <a:gd name="T110" fmla="*/ 234 w 479"/>
                <a:gd name="T111" fmla="*/ 74 h 943"/>
                <a:gd name="T112" fmla="*/ 240 w 479"/>
                <a:gd name="T113" fmla="*/ 73 h 9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79" h="943">
                  <a:moveTo>
                    <a:pt x="240" y="73"/>
                  </a:moveTo>
                  <a:lnTo>
                    <a:pt x="242" y="73"/>
                  </a:lnTo>
                  <a:lnTo>
                    <a:pt x="242" y="71"/>
                  </a:lnTo>
                  <a:lnTo>
                    <a:pt x="244" y="71"/>
                  </a:lnTo>
                  <a:lnTo>
                    <a:pt x="245" y="73"/>
                  </a:lnTo>
                  <a:lnTo>
                    <a:pt x="245" y="71"/>
                  </a:lnTo>
                  <a:lnTo>
                    <a:pt x="249" y="73"/>
                  </a:lnTo>
                  <a:lnTo>
                    <a:pt x="250" y="71"/>
                  </a:lnTo>
                  <a:lnTo>
                    <a:pt x="252" y="71"/>
                  </a:lnTo>
                  <a:lnTo>
                    <a:pt x="253" y="71"/>
                  </a:lnTo>
                  <a:lnTo>
                    <a:pt x="255" y="71"/>
                  </a:lnTo>
                  <a:lnTo>
                    <a:pt x="257" y="70"/>
                  </a:lnTo>
                  <a:lnTo>
                    <a:pt x="258" y="68"/>
                  </a:lnTo>
                  <a:lnTo>
                    <a:pt x="260" y="66"/>
                  </a:lnTo>
                  <a:lnTo>
                    <a:pt x="260" y="65"/>
                  </a:lnTo>
                  <a:lnTo>
                    <a:pt x="260" y="63"/>
                  </a:lnTo>
                  <a:lnTo>
                    <a:pt x="263" y="61"/>
                  </a:lnTo>
                  <a:lnTo>
                    <a:pt x="263" y="60"/>
                  </a:lnTo>
                  <a:lnTo>
                    <a:pt x="265" y="58"/>
                  </a:lnTo>
                  <a:lnTo>
                    <a:pt x="268" y="57"/>
                  </a:lnTo>
                  <a:lnTo>
                    <a:pt x="270" y="57"/>
                  </a:lnTo>
                  <a:lnTo>
                    <a:pt x="270" y="55"/>
                  </a:lnTo>
                  <a:lnTo>
                    <a:pt x="271" y="55"/>
                  </a:lnTo>
                  <a:lnTo>
                    <a:pt x="273" y="55"/>
                  </a:lnTo>
                  <a:lnTo>
                    <a:pt x="275" y="55"/>
                  </a:lnTo>
                  <a:lnTo>
                    <a:pt x="276" y="55"/>
                  </a:lnTo>
                  <a:lnTo>
                    <a:pt x="278" y="53"/>
                  </a:lnTo>
                  <a:lnTo>
                    <a:pt x="278" y="55"/>
                  </a:lnTo>
                  <a:lnTo>
                    <a:pt x="279" y="55"/>
                  </a:lnTo>
                  <a:lnTo>
                    <a:pt x="281" y="53"/>
                  </a:lnTo>
                  <a:lnTo>
                    <a:pt x="283" y="53"/>
                  </a:lnTo>
                  <a:lnTo>
                    <a:pt x="284" y="55"/>
                  </a:lnTo>
                  <a:lnTo>
                    <a:pt x="288" y="55"/>
                  </a:lnTo>
                  <a:lnTo>
                    <a:pt x="288" y="57"/>
                  </a:lnTo>
                  <a:lnTo>
                    <a:pt x="289" y="55"/>
                  </a:lnTo>
                  <a:lnTo>
                    <a:pt x="291" y="57"/>
                  </a:lnTo>
                  <a:lnTo>
                    <a:pt x="292" y="55"/>
                  </a:lnTo>
                  <a:lnTo>
                    <a:pt x="292" y="53"/>
                  </a:lnTo>
                  <a:lnTo>
                    <a:pt x="292" y="52"/>
                  </a:lnTo>
                  <a:lnTo>
                    <a:pt x="296" y="50"/>
                  </a:lnTo>
                  <a:lnTo>
                    <a:pt x="297" y="50"/>
                  </a:lnTo>
                  <a:lnTo>
                    <a:pt x="297" y="52"/>
                  </a:lnTo>
                  <a:lnTo>
                    <a:pt x="299" y="52"/>
                  </a:lnTo>
                  <a:lnTo>
                    <a:pt x="301" y="52"/>
                  </a:lnTo>
                  <a:lnTo>
                    <a:pt x="302" y="53"/>
                  </a:lnTo>
                  <a:lnTo>
                    <a:pt x="302" y="52"/>
                  </a:lnTo>
                  <a:lnTo>
                    <a:pt x="304" y="53"/>
                  </a:lnTo>
                  <a:lnTo>
                    <a:pt x="305" y="53"/>
                  </a:lnTo>
                  <a:lnTo>
                    <a:pt x="307" y="53"/>
                  </a:lnTo>
                  <a:lnTo>
                    <a:pt x="309" y="53"/>
                  </a:lnTo>
                  <a:lnTo>
                    <a:pt x="312" y="53"/>
                  </a:lnTo>
                  <a:lnTo>
                    <a:pt x="314" y="53"/>
                  </a:lnTo>
                  <a:lnTo>
                    <a:pt x="315" y="55"/>
                  </a:lnTo>
                  <a:lnTo>
                    <a:pt x="315" y="53"/>
                  </a:lnTo>
                  <a:lnTo>
                    <a:pt x="317" y="52"/>
                  </a:lnTo>
                  <a:lnTo>
                    <a:pt x="322" y="48"/>
                  </a:lnTo>
                  <a:lnTo>
                    <a:pt x="325" y="50"/>
                  </a:lnTo>
                  <a:lnTo>
                    <a:pt x="327" y="50"/>
                  </a:lnTo>
                  <a:lnTo>
                    <a:pt x="328" y="50"/>
                  </a:lnTo>
                  <a:lnTo>
                    <a:pt x="330" y="50"/>
                  </a:lnTo>
                  <a:lnTo>
                    <a:pt x="331" y="48"/>
                  </a:lnTo>
                  <a:lnTo>
                    <a:pt x="333" y="48"/>
                  </a:lnTo>
                  <a:lnTo>
                    <a:pt x="335" y="47"/>
                  </a:lnTo>
                  <a:lnTo>
                    <a:pt x="335" y="45"/>
                  </a:lnTo>
                  <a:lnTo>
                    <a:pt x="336" y="45"/>
                  </a:lnTo>
                  <a:lnTo>
                    <a:pt x="338" y="44"/>
                  </a:lnTo>
                  <a:lnTo>
                    <a:pt x="340" y="44"/>
                  </a:lnTo>
                  <a:lnTo>
                    <a:pt x="341" y="44"/>
                  </a:lnTo>
                  <a:lnTo>
                    <a:pt x="343" y="44"/>
                  </a:lnTo>
                  <a:lnTo>
                    <a:pt x="343" y="42"/>
                  </a:lnTo>
                  <a:lnTo>
                    <a:pt x="344" y="42"/>
                  </a:lnTo>
                  <a:lnTo>
                    <a:pt x="346" y="42"/>
                  </a:lnTo>
                  <a:lnTo>
                    <a:pt x="348" y="42"/>
                  </a:lnTo>
                  <a:lnTo>
                    <a:pt x="349" y="44"/>
                  </a:lnTo>
                  <a:lnTo>
                    <a:pt x="349" y="42"/>
                  </a:lnTo>
                  <a:lnTo>
                    <a:pt x="351" y="44"/>
                  </a:lnTo>
                  <a:lnTo>
                    <a:pt x="353" y="44"/>
                  </a:lnTo>
                  <a:lnTo>
                    <a:pt x="353" y="42"/>
                  </a:lnTo>
                  <a:lnTo>
                    <a:pt x="353" y="40"/>
                  </a:lnTo>
                  <a:lnTo>
                    <a:pt x="354" y="39"/>
                  </a:lnTo>
                  <a:lnTo>
                    <a:pt x="354" y="37"/>
                  </a:lnTo>
                  <a:lnTo>
                    <a:pt x="358" y="37"/>
                  </a:lnTo>
                  <a:lnTo>
                    <a:pt x="359" y="37"/>
                  </a:lnTo>
                  <a:lnTo>
                    <a:pt x="359" y="35"/>
                  </a:lnTo>
                  <a:lnTo>
                    <a:pt x="361" y="30"/>
                  </a:lnTo>
                  <a:lnTo>
                    <a:pt x="359" y="29"/>
                  </a:lnTo>
                  <a:lnTo>
                    <a:pt x="361" y="27"/>
                  </a:lnTo>
                  <a:lnTo>
                    <a:pt x="359" y="26"/>
                  </a:lnTo>
                  <a:lnTo>
                    <a:pt x="361" y="22"/>
                  </a:lnTo>
                  <a:lnTo>
                    <a:pt x="362" y="22"/>
                  </a:lnTo>
                  <a:lnTo>
                    <a:pt x="364" y="21"/>
                  </a:lnTo>
                  <a:lnTo>
                    <a:pt x="364" y="17"/>
                  </a:lnTo>
                  <a:lnTo>
                    <a:pt x="366" y="17"/>
                  </a:lnTo>
                  <a:lnTo>
                    <a:pt x="366" y="16"/>
                  </a:lnTo>
                  <a:lnTo>
                    <a:pt x="366" y="17"/>
                  </a:lnTo>
                  <a:lnTo>
                    <a:pt x="366" y="16"/>
                  </a:lnTo>
                  <a:lnTo>
                    <a:pt x="366" y="17"/>
                  </a:lnTo>
                  <a:lnTo>
                    <a:pt x="367" y="16"/>
                  </a:lnTo>
                  <a:lnTo>
                    <a:pt x="369" y="16"/>
                  </a:lnTo>
                  <a:lnTo>
                    <a:pt x="371" y="16"/>
                  </a:lnTo>
                  <a:lnTo>
                    <a:pt x="372" y="14"/>
                  </a:lnTo>
                  <a:lnTo>
                    <a:pt x="374" y="14"/>
                  </a:lnTo>
                  <a:lnTo>
                    <a:pt x="374" y="13"/>
                  </a:lnTo>
                  <a:lnTo>
                    <a:pt x="375" y="13"/>
                  </a:lnTo>
                  <a:lnTo>
                    <a:pt x="377" y="13"/>
                  </a:lnTo>
                  <a:lnTo>
                    <a:pt x="379" y="14"/>
                  </a:lnTo>
                  <a:lnTo>
                    <a:pt x="380" y="13"/>
                  </a:lnTo>
                  <a:lnTo>
                    <a:pt x="382" y="13"/>
                  </a:lnTo>
                  <a:lnTo>
                    <a:pt x="385" y="13"/>
                  </a:lnTo>
                  <a:lnTo>
                    <a:pt x="387" y="14"/>
                  </a:lnTo>
                  <a:lnTo>
                    <a:pt x="387" y="13"/>
                  </a:lnTo>
                  <a:lnTo>
                    <a:pt x="388" y="13"/>
                  </a:lnTo>
                  <a:lnTo>
                    <a:pt x="392" y="16"/>
                  </a:lnTo>
                  <a:lnTo>
                    <a:pt x="393" y="16"/>
                  </a:lnTo>
                  <a:lnTo>
                    <a:pt x="395" y="16"/>
                  </a:lnTo>
                  <a:lnTo>
                    <a:pt x="395" y="17"/>
                  </a:lnTo>
                  <a:lnTo>
                    <a:pt x="395" y="19"/>
                  </a:lnTo>
                  <a:lnTo>
                    <a:pt x="395" y="21"/>
                  </a:lnTo>
                  <a:lnTo>
                    <a:pt x="397" y="21"/>
                  </a:lnTo>
                  <a:lnTo>
                    <a:pt x="397" y="22"/>
                  </a:lnTo>
                  <a:lnTo>
                    <a:pt x="398" y="22"/>
                  </a:lnTo>
                  <a:lnTo>
                    <a:pt x="398" y="24"/>
                  </a:lnTo>
                  <a:lnTo>
                    <a:pt x="398" y="26"/>
                  </a:lnTo>
                  <a:lnTo>
                    <a:pt x="398" y="27"/>
                  </a:lnTo>
                  <a:lnTo>
                    <a:pt x="397" y="27"/>
                  </a:lnTo>
                  <a:lnTo>
                    <a:pt x="397" y="29"/>
                  </a:lnTo>
                  <a:lnTo>
                    <a:pt x="395" y="29"/>
                  </a:lnTo>
                  <a:lnTo>
                    <a:pt x="393" y="29"/>
                  </a:lnTo>
                  <a:lnTo>
                    <a:pt x="395" y="32"/>
                  </a:lnTo>
                  <a:lnTo>
                    <a:pt x="393" y="34"/>
                  </a:lnTo>
                  <a:lnTo>
                    <a:pt x="393" y="35"/>
                  </a:lnTo>
                  <a:lnTo>
                    <a:pt x="393" y="39"/>
                  </a:lnTo>
                  <a:lnTo>
                    <a:pt x="395" y="40"/>
                  </a:lnTo>
                  <a:lnTo>
                    <a:pt x="397" y="42"/>
                  </a:lnTo>
                  <a:lnTo>
                    <a:pt x="400" y="44"/>
                  </a:lnTo>
                  <a:lnTo>
                    <a:pt x="401" y="45"/>
                  </a:lnTo>
                  <a:lnTo>
                    <a:pt x="406" y="50"/>
                  </a:lnTo>
                  <a:lnTo>
                    <a:pt x="408" y="52"/>
                  </a:lnTo>
                  <a:lnTo>
                    <a:pt x="408" y="50"/>
                  </a:lnTo>
                  <a:lnTo>
                    <a:pt x="410" y="50"/>
                  </a:lnTo>
                  <a:lnTo>
                    <a:pt x="411" y="50"/>
                  </a:lnTo>
                  <a:lnTo>
                    <a:pt x="413" y="50"/>
                  </a:lnTo>
                  <a:lnTo>
                    <a:pt x="413" y="48"/>
                  </a:lnTo>
                  <a:lnTo>
                    <a:pt x="413" y="47"/>
                  </a:lnTo>
                  <a:lnTo>
                    <a:pt x="414" y="47"/>
                  </a:lnTo>
                  <a:lnTo>
                    <a:pt x="414" y="45"/>
                  </a:lnTo>
                  <a:lnTo>
                    <a:pt x="414" y="44"/>
                  </a:lnTo>
                  <a:lnTo>
                    <a:pt x="414" y="42"/>
                  </a:lnTo>
                  <a:lnTo>
                    <a:pt x="416" y="40"/>
                  </a:lnTo>
                  <a:lnTo>
                    <a:pt x="416" y="39"/>
                  </a:lnTo>
                  <a:lnTo>
                    <a:pt x="414" y="39"/>
                  </a:lnTo>
                  <a:lnTo>
                    <a:pt x="413" y="39"/>
                  </a:lnTo>
                  <a:lnTo>
                    <a:pt x="414" y="37"/>
                  </a:lnTo>
                  <a:lnTo>
                    <a:pt x="414" y="35"/>
                  </a:lnTo>
                  <a:lnTo>
                    <a:pt x="416" y="34"/>
                  </a:lnTo>
                  <a:lnTo>
                    <a:pt x="418" y="34"/>
                  </a:lnTo>
                  <a:lnTo>
                    <a:pt x="418" y="35"/>
                  </a:lnTo>
                  <a:lnTo>
                    <a:pt x="418" y="34"/>
                  </a:lnTo>
                  <a:lnTo>
                    <a:pt x="419" y="34"/>
                  </a:lnTo>
                  <a:lnTo>
                    <a:pt x="419" y="32"/>
                  </a:lnTo>
                  <a:lnTo>
                    <a:pt x="421" y="30"/>
                  </a:lnTo>
                  <a:lnTo>
                    <a:pt x="423" y="29"/>
                  </a:lnTo>
                  <a:lnTo>
                    <a:pt x="424" y="29"/>
                  </a:lnTo>
                  <a:lnTo>
                    <a:pt x="424" y="27"/>
                  </a:lnTo>
                  <a:lnTo>
                    <a:pt x="424" y="26"/>
                  </a:lnTo>
                  <a:lnTo>
                    <a:pt x="426" y="26"/>
                  </a:lnTo>
                  <a:lnTo>
                    <a:pt x="426" y="24"/>
                  </a:lnTo>
                  <a:lnTo>
                    <a:pt x="427" y="22"/>
                  </a:lnTo>
                  <a:lnTo>
                    <a:pt x="427" y="21"/>
                  </a:lnTo>
                  <a:lnTo>
                    <a:pt x="426" y="21"/>
                  </a:lnTo>
                  <a:lnTo>
                    <a:pt x="427" y="19"/>
                  </a:lnTo>
                  <a:lnTo>
                    <a:pt x="427" y="17"/>
                  </a:lnTo>
                  <a:lnTo>
                    <a:pt x="429" y="17"/>
                  </a:lnTo>
                  <a:lnTo>
                    <a:pt x="429" y="16"/>
                  </a:lnTo>
                  <a:lnTo>
                    <a:pt x="429" y="14"/>
                  </a:lnTo>
                  <a:lnTo>
                    <a:pt x="429" y="13"/>
                  </a:lnTo>
                  <a:lnTo>
                    <a:pt x="429" y="11"/>
                  </a:lnTo>
                  <a:lnTo>
                    <a:pt x="431" y="11"/>
                  </a:lnTo>
                  <a:lnTo>
                    <a:pt x="431" y="9"/>
                  </a:lnTo>
                  <a:lnTo>
                    <a:pt x="432" y="9"/>
                  </a:lnTo>
                  <a:lnTo>
                    <a:pt x="432" y="8"/>
                  </a:lnTo>
                  <a:lnTo>
                    <a:pt x="432" y="6"/>
                  </a:lnTo>
                  <a:lnTo>
                    <a:pt x="434" y="6"/>
                  </a:lnTo>
                  <a:lnTo>
                    <a:pt x="434" y="4"/>
                  </a:lnTo>
                  <a:lnTo>
                    <a:pt x="436" y="4"/>
                  </a:lnTo>
                  <a:lnTo>
                    <a:pt x="436" y="3"/>
                  </a:lnTo>
                  <a:lnTo>
                    <a:pt x="436" y="4"/>
                  </a:lnTo>
                  <a:lnTo>
                    <a:pt x="437" y="4"/>
                  </a:lnTo>
                  <a:lnTo>
                    <a:pt x="439" y="4"/>
                  </a:lnTo>
                  <a:lnTo>
                    <a:pt x="440" y="4"/>
                  </a:lnTo>
                  <a:lnTo>
                    <a:pt x="440" y="3"/>
                  </a:lnTo>
                  <a:lnTo>
                    <a:pt x="442" y="3"/>
                  </a:lnTo>
                  <a:lnTo>
                    <a:pt x="444" y="3"/>
                  </a:lnTo>
                  <a:lnTo>
                    <a:pt x="444" y="1"/>
                  </a:lnTo>
                  <a:lnTo>
                    <a:pt x="447" y="1"/>
                  </a:lnTo>
                  <a:lnTo>
                    <a:pt x="449" y="1"/>
                  </a:lnTo>
                  <a:lnTo>
                    <a:pt x="449" y="0"/>
                  </a:lnTo>
                  <a:lnTo>
                    <a:pt x="450" y="1"/>
                  </a:lnTo>
                  <a:lnTo>
                    <a:pt x="452" y="3"/>
                  </a:lnTo>
                  <a:lnTo>
                    <a:pt x="450" y="4"/>
                  </a:lnTo>
                  <a:lnTo>
                    <a:pt x="450" y="8"/>
                  </a:lnTo>
                  <a:lnTo>
                    <a:pt x="453" y="9"/>
                  </a:lnTo>
                  <a:lnTo>
                    <a:pt x="455" y="9"/>
                  </a:lnTo>
                  <a:lnTo>
                    <a:pt x="455" y="11"/>
                  </a:lnTo>
                  <a:lnTo>
                    <a:pt x="457" y="13"/>
                  </a:lnTo>
                  <a:lnTo>
                    <a:pt x="458" y="13"/>
                  </a:lnTo>
                  <a:lnTo>
                    <a:pt x="458" y="14"/>
                  </a:lnTo>
                  <a:lnTo>
                    <a:pt x="460" y="14"/>
                  </a:lnTo>
                  <a:lnTo>
                    <a:pt x="462" y="14"/>
                  </a:lnTo>
                  <a:lnTo>
                    <a:pt x="463" y="13"/>
                  </a:lnTo>
                  <a:lnTo>
                    <a:pt x="465" y="13"/>
                  </a:lnTo>
                  <a:lnTo>
                    <a:pt x="466" y="13"/>
                  </a:lnTo>
                  <a:lnTo>
                    <a:pt x="468" y="13"/>
                  </a:lnTo>
                  <a:lnTo>
                    <a:pt x="470" y="13"/>
                  </a:lnTo>
                  <a:lnTo>
                    <a:pt x="471" y="13"/>
                  </a:lnTo>
                  <a:lnTo>
                    <a:pt x="471" y="14"/>
                  </a:lnTo>
                  <a:lnTo>
                    <a:pt x="471" y="16"/>
                  </a:lnTo>
                  <a:lnTo>
                    <a:pt x="473" y="21"/>
                  </a:lnTo>
                  <a:lnTo>
                    <a:pt x="473" y="22"/>
                  </a:lnTo>
                  <a:lnTo>
                    <a:pt x="473" y="24"/>
                  </a:lnTo>
                  <a:lnTo>
                    <a:pt x="475" y="22"/>
                  </a:lnTo>
                  <a:lnTo>
                    <a:pt x="475" y="24"/>
                  </a:lnTo>
                  <a:lnTo>
                    <a:pt x="476" y="26"/>
                  </a:lnTo>
                  <a:lnTo>
                    <a:pt x="478" y="26"/>
                  </a:lnTo>
                  <a:lnTo>
                    <a:pt x="479" y="27"/>
                  </a:lnTo>
                  <a:lnTo>
                    <a:pt x="479" y="35"/>
                  </a:lnTo>
                  <a:lnTo>
                    <a:pt x="478" y="37"/>
                  </a:lnTo>
                  <a:lnTo>
                    <a:pt x="478" y="39"/>
                  </a:lnTo>
                  <a:lnTo>
                    <a:pt x="476" y="40"/>
                  </a:lnTo>
                  <a:lnTo>
                    <a:pt x="476" y="42"/>
                  </a:lnTo>
                  <a:lnTo>
                    <a:pt x="476" y="45"/>
                  </a:lnTo>
                  <a:lnTo>
                    <a:pt x="478" y="45"/>
                  </a:lnTo>
                  <a:lnTo>
                    <a:pt x="478" y="47"/>
                  </a:lnTo>
                  <a:lnTo>
                    <a:pt x="479" y="47"/>
                  </a:lnTo>
                  <a:lnTo>
                    <a:pt x="453" y="941"/>
                  </a:lnTo>
                  <a:lnTo>
                    <a:pt x="449" y="941"/>
                  </a:lnTo>
                  <a:lnTo>
                    <a:pt x="440" y="941"/>
                  </a:lnTo>
                  <a:lnTo>
                    <a:pt x="436" y="941"/>
                  </a:lnTo>
                  <a:lnTo>
                    <a:pt x="426" y="941"/>
                  </a:lnTo>
                  <a:lnTo>
                    <a:pt x="424" y="941"/>
                  </a:lnTo>
                  <a:lnTo>
                    <a:pt x="421" y="941"/>
                  </a:lnTo>
                  <a:lnTo>
                    <a:pt x="411" y="941"/>
                  </a:lnTo>
                  <a:lnTo>
                    <a:pt x="398" y="943"/>
                  </a:lnTo>
                  <a:lnTo>
                    <a:pt x="392" y="943"/>
                  </a:lnTo>
                  <a:lnTo>
                    <a:pt x="384" y="943"/>
                  </a:lnTo>
                  <a:lnTo>
                    <a:pt x="380" y="943"/>
                  </a:lnTo>
                  <a:lnTo>
                    <a:pt x="374" y="941"/>
                  </a:lnTo>
                  <a:lnTo>
                    <a:pt x="359" y="938"/>
                  </a:lnTo>
                  <a:lnTo>
                    <a:pt x="358" y="936"/>
                  </a:lnTo>
                  <a:lnTo>
                    <a:pt x="354" y="935"/>
                  </a:lnTo>
                  <a:lnTo>
                    <a:pt x="353" y="935"/>
                  </a:lnTo>
                  <a:lnTo>
                    <a:pt x="346" y="933"/>
                  </a:lnTo>
                  <a:lnTo>
                    <a:pt x="344" y="932"/>
                  </a:lnTo>
                  <a:lnTo>
                    <a:pt x="328" y="928"/>
                  </a:lnTo>
                  <a:lnTo>
                    <a:pt x="314" y="930"/>
                  </a:lnTo>
                  <a:lnTo>
                    <a:pt x="312" y="930"/>
                  </a:lnTo>
                  <a:lnTo>
                    <a:pt x="309" y="930"/>
                  </a:lnTo>
                  <a:lnTo>
                    <a:pt x="307" y="928"/>
                  </a:lnTo>
                  <a:lnTo>
                    <a:pt x="289" y="923"/>
                  </a:lnTo>
                  <a:lnTo>
                    <a:pt x="281" y="920"/>
                  </a:lnTo>
                  <a:lnTo>
                    <a:pt x="268" y="920"/>
                  </a:lnTo>
                  <a:lnTo>
                    <a:pt x="266" y="920"/>
                  </a:lnTo>
                  <a:lnTo>
                    <a:pt x="258" y="919"/>
                  </a:lnTo>
                  <a:lnTo>
                    <a:pt x="247" y="917"/>
                  </a:lnTo>
                  <a:lnTo>
                    <a:pt x="244" y="915"/>
                  </a:lnTo>
                  <a:lnTo>
                    <a:pt x="240" y="914"/>
                  </a:lnTo>
                  <a:lnTo>
                    <a:pt x="210" y="920"/>
                  </a:lnTo>
                  <a:lnTo>
                    <a:pt x="195" y="922"/>
                  </a:lnTo>
                  <a:lnTo>
                    <a:pt x="167" y="928"/>
                  </a:lnTo>
                  <a:lnTo>
                    <a:pt x="120" y="936"/>
                  </a:lnTo>
                  <a:lnTo>
                    <a:pt x="110" y="940"/>
                  </a:lnTo>
                  <a:lnTo>
                    <a:pt x="109" y="940"/>
                  </a:lnTo>
                  <a:lnTo>
                    <a:pt x="101" y="941"/>
                  </a:lnTo>
                  <a:lnTo>
                    <a:pt x="104" y="936"/>
                  </a:lnTo>
                  <a:lnTo>
                    <a:pt x="109" y="925"/>
                  </a:lnTo>
                  <a:lnTo>
                    <a:pt x="99" y="910"/>
                  </a:lnTo>
                  <a:lnTo>
                    <a:pt x="84" y="922"/>
                  </a:lnTo>
                  <a:lnTo>
                    <a:pt x="76" y="928"/>
                  </a:lnTo>
                  <a:lnTo>
                    <a:pt x="62" y="907"/>
                  </a:lnTo>
                  <a:lnTo>
                    <a:pt x="71" y="899"/>
                  </a:lnTo>
                  <a:lnTo>
                    <a:pt x="31" y="837"/>
                  </a:lnTo>
                  <a:lnTo>
                    <a:pt x="0" y="795"/>
                  </a:lnTo>
                  <a:lnTo>
                    <a:pt x="21" y="767"/>
                  </a:lnTo>
                  <a:lnTo>
                    <a:pt x="55" y="725"/>
                  </a:lnTo>
                  <a:lnTo>
                    <a:pt x="58" y="718"/>
                  </a:lnTo>
                  <a:lnTo>
                    <a:pt x="63" y="714"/>
                  </a:lnTo>
                  <a:lnTo>
                    <a:pt x="70" y="705"/>
                  </a:lnTo>
                  <a:lnTo>
                    <a:pt x="84" y="684"/>
                  </a:lnTo>
                  <a:lnTo>
                    <a:pt x="110" y="652"/>
                  </a:lnTo>
                  <a:lnTo>
                    <a:pt x="133" y="621"/>
                  </a:lnTo>
                  <a:lnTo>
                    <a:pt x="161" y="583"/>
                  </a:lnTo>
                  <a:lnTo>
                    <a:pt x="195" y="556"/>
                  </a:lnTo>
                  <a:lnTo>
                    <a:pt x="195" y="553"/>
                  </a:lnTo>
                  <a:lnTo>
                    <a:pt x="195" y="551"/>
                  </a:lnTo>
                  <a:lnTo>
                    <a:pt x="196" y="548"/>
                  </a:lnTo>
                  <a:lnTo>
                    <a:pt x="198" y="515"/>
                  </a:lnTo>
                  <a:lnTo>
                    <a:pt x="201" y="497"/>
                  </a:lnTo>
                  <a:lnTo>
                    <a:pt x="203" y="492"/>
                  </a:lnTo>
                  <a:lnTo>
                    <a:pt x="200" y="486"/>
                  </a:lnTo>
                  <a:lnTo>
                    <a:pt x="187" y="455"/>
                  </a:lnTo>
                  <a:lnTo>
                    <a:pt x="183" y="445"/>
                  </a:lnTo>
                  <a:lnTo>
                    <a:pt x="182" y="439"/>
                  </a:lnTo>
                  <a:lnTo>
                    <a:pt x="180" y="434"/>
                  </a:lnTo>
                  <a:lnTo>
                    <a:pt x="179" y="429"/>
                  </a:lnTo>
                  <a:lnTo>
                    <a:pt x="177" y="411"/>
                  </a:lnTo>
                  <a:lnTo>
                    <a:pt x="175" y="406"/>
                  </a:lnTo>
                  <a:lnTo>
                    <a:pt x="172" y="396"/>
                  </a:lnTo>
                  <a:lnTo>
                    <a:pt x="175" y="383"/>
                  </a:lnTo>
                  <a:lnTo>
                    <a:pt x="177" y="372"/>
                  </a:lnTo>
                  <a:lnTo>
                    <a:pt x="174" y="362"/>
                  </a:lnTo>
                  <a:lnTo>
                    <a:pt x="166" y="344"/>
                  </a:lnTo>
                  <a:lnTo>
                    <a:pt x="164" y="343"/>
                  </a:lnTo>
                  <a:lnTo>
                    <a:pt x="143" y="320"/>
                  </a:lnTo>
                  <a:lnTo>
                    <a:pt x="135" y="294"/>
                  </a:lnTo>
                  <a:lnTo>
                    <a:pt x="133" y="287"/>
                  </a:lnTo>
                  <a:lnTo>
                    <a:pt x="130" y="281"/>
                  </a:lnTo>
                  <a:lnTo>
                    <a:pt x="130" y="279"/>
                  </a:lnTo>
                  <a:lnTo>
                    <a:pt x="131" y="270"/>
                  </a:lnTo>
                  <a:lnTo>
                    <a:pt x="133" y="253"/>
                  </a:lnTo>
                  <a:lnTo>
                    <a:pt x="135" y="252"/>
                  </a:lnTo>
                  <a:lnTo>
                    <a:pt x="175" y="222"/>
                  </a:lnTo>
                  <a:lnTo>
                    <a:pt x="179" y="216"/>
                  </a:lnTo>
                  <a:lnTo>
                    <a:pt x="180" y="209"/>
                  </a:lnTo>
                  <a:lnTo>
                    <a:pt x="205" y="141"/>
                  </a:lnTo>
                  <a:lnTo>
                    <a:pt x="206" y="136"/>
                  </a:lnTo>
                  <a:lnTo>
                    <a:pt x="208" y="133"/>
                  </a:lnTo>
                  <a:lnTo>
                    <a:pt x="208" y="131"/>
                  </a:lnTo>
                  <a:lnTo>
                    <a:pt x="205" y="131"/>
                  </a:lnTo>
                  <a:lnTo>
                    <a:pt x="205" y="130"/>
                  </a:lnTo>
                  <a:lnTo>
                    <a:pt x="205" y="128"/>
                  </a:lnTo>
                  <a:lnTo>
                    <a:pt x="205" y="126"/>
                  </a:lnTo>
                  <a:lnTo>
                    <a:pt x="206" y="126"/>
                  </a:lnTo>
                  <a:lnTo>
                    <a:pt x="208" y="125"/>
                  </a:lnTo>
                  <a:lnTo>
                    <a:pt x="210" y="125"/>
                  </a:lnTo>
                  <a:lnTo>
                    <a:pt x="208" y="125"/>
                  </a:lnTo>
                  <a:lnTo>
                    <a:pt x="210" y="123"/>
                  </a:lnTo>
                  <a:lnTo>
                    <a:pt x="210" y="122"/>
                  </a:lnTo>
                  <a:lnTo>
                    <a:pt x="211" y="122"/>
                  </a:lnTo>
                  <a:lnTo>
                    <a:pt x="211" y="120"/>
                  </a:lnTo>
                  <a:lnTo>
                    <a:pt x="213" y="120"/>
                  </a:lnTo>
                  <a:lnTo>
                    <a:pt x="213" y="118"/>
                  </a:lnTo>
                  <a:lnTo>
                    <a:pt x="214" y="118"/>
                  </a:lnTo>
                  <a:lnTo>
                    <a:pt x="216" y="118"/>
                  </a:lnTo>
                  <a:lnTo>
                    <a:pt x="216" y="117"/>
                  </a:lnTo>
                  <a:lnTo>
                    <a:pt x="218" y="117"/>
                  </a:lnTo>
                  <a:lnTo>
                    <a:pt x="219" y="115"/>
                  </a:lnTo>
                  <a:lnTo>
                    <a:pt x="221" y="115"/>
                  </a:lnTo>
                  <a:lnTo>
                    <a:pt x="221" y="113"/>
                  </a:lnTo>
                  <a:lnTo>
                    <a:pt x="223" y="113"/>
                  </a:lnTo>
                  <a:lnTo>
                    <a:pt x="223" y="112"/>
                  </a:lnTo>
                  <a:lnTo>
                    <a:pt x="224" y="113"/>
                  </a:lnTo>
                  <a:lnTo>
                    <a:pt x="224" y="112"/>
                  </a:lnTo>
                  <a:lnTo>
                    <a:pt x="224" y="110"/>
                  </a:lnTo>
                  <a:lnTo>
                    <a:pt x="224" y="109"/>
                  </a:lnTo>
                  <a:lnTo>
                    <a:pt x="224" y="107"/>
                  </a:lnTo>
                  <a:lnTo>
                    <a:pt x="226" y="107"/>
                  </a:lnTo>
                  <a:lnTo>
                    <a:pt x="224" y="105"/>
                  </a:lnTo>
                  <a:lnTo>
                    <a:pt x="226" y="105"/>
                  </a:lnTo>
                  <a:lnTo>
                    <a:pt x="226" y="104"/>
                  </a:lnTo>
                  <a:lnTo>
                    <a:pt x="226" y="102"/>
                  </a:lnTo>
                  <a:lnTo>
                    <a:pt x="224" y="102"/>
                  </a:lnTo>
                  <a:lnTo>
                    <a:pt x="226" y="100"/>
                  </a:lnTo>
                  <a:lnTo>
                    <a:pt x="226" y="99"/>
                  </a:lnTo>
                  <a:lnTo>
                    <a:pt x="226" y="97"/>
                  </a:lnTo>
                  <a:lnTo>
                    <a:pt x="227" y="97"/>
                  </a:lnTo>
                  <a:lnTo>
                    <a:pt x="227" y="96"/>
                  </a:lnTo>
                  <a:lnTo>
                    <a:pt x="227" y="94"/>
                  </a:lnTo>
                  <a:lnTo>
                    <a:pt x="226" y="94"/>
                  </a:lnTo>
                  <a:lnTo>
                    <a:pt x="227" y="92"/>
                  </a:lnTo>
                  <a:lnTo>
                    <a:pt x="226" y="92"/>
                  </a:lnTo>
                  <a:lnTo>
                    <a:pt x="227" y="92"/>
                  </a:lnTo>
                  <a:lnTo>
                    <a:pt x="227" y="91"/>
                  </a:lnTo>
                  <a:lnTo>
                    <a:pt x="229" y="91"/>
                  </a:lnTo>
                  <a:lnTo>
                    <a:pt x="229" y="89"/>
                  </a:lnTo>
                  <a:lnTo>
                    <a:pt x="229" y="87"/>
                  </a:lnTo>
                  <a:lnTo>
                    <a:pt x="229" y="86"/>
                  </a:lnTo>
                  <a:lnTo>
                    <a:pt x="229" y="87"/>
                  </a:lnTo>
                  <a:lnTo>
                    <a:pt x="229" y="86"/>
                  </a:lnTo>
                  <a:lnTo>
                    <a:pt x="227" y="86"/>
                  </a:lnTo>
                  <a:lnTo>
                    <a:pt x="227" y="84"/>
                  </a:lnTo>
                  <a:lnTo>
                    <a:pt x="229" y="84"/>
                  </a:lnTo>
                  <a:lnTo>
                    <a:pt x="231" y="84"/>
                  </a:lnTo>
                  <a:lnTo>
                    <a:pt x="231" y="83"/>
                  </a:lnTo>
                  <a:lnTo>
                    <a:pt x="231" y="81"/>
                  </a:lnTo>
                  <a:lnTo>
                    <a:pt x="232" y="83"/>
                  </a:lnTo>
                  <a:lnTo>
                    <a:pt x="232" y="81"/>
                  </a:lnTo>
                  <a:lnTo>
                    <a:pt x="232" y="79"/>
                  </a:lnTo>
                  <a:lnTo>
                    <a:pt x="231" y="79"/>
                  </a:lnTo>
                  <a:lnTo>
                    <a:pt x="232" y="78"/>
                  </a:lnTo>
                  <a:lnTo>
                    <a:pt x="232" y="76"/>
                  </a:lnTo>
                  <a:lnTo>
                    <a:pt x="232" y="74"/>
                  </a:lnTo>
                  <a:lnTo>
                    <a:pt x="234" y="74"/>
                  </a:lnTo>
                  <a:lnTo>
                    <a:pt x="234" y="73"/>
                  </a:lnTo>
                  <a:lnTo>
                    <a:pt x="234" y="71"/>
                  </a:lnTo>
                  <a:lnTo>
                    <a:pt x="236" y="71"/>
                  </a:lnTo>
                  <a:lnTo>
                    <a:pt x="239" y="70"/>
                  </a:lnTo>
                  <a:lnTo>
                    <a:pt x="239" y="71"/>
                  </a:lnTo>
                  <a:lnTo>
                    <a:pt x="239" y="73"/>
                  </a:lnTo>
                  <a:lnTo>
                    <a:pt x="240" y="73"/>
                  </a:lnTo>
                  <a:close/>
                </a:path>
              </a:pathLst>
            </a:custGeom>
            <a:solidFill>
              <a:srgbClr val="E5E5E5"/>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1232" name="Freeform 78">
              <a:extLst>
                <a:ext uri="{FF2B5EF4-FFF2-40B4-BE49-F238E27FC236}">
                  <a16:creationId xmlns:a16="http://schemas.microsoft.com/office/drawing/2014/main" id="{178AA82A-51DD-0F45-1FE8-C6CF148242BF}"/>
                </a:ext>
              </a:extLst>
            </p:cNvPr>
            <p:cNvSpPr>
              <a:spLocks/>
            </p:cNvSpPr>
            <p:nvPr/>
          </p:nvSpPr>
          <p:spPr bwMode="auto">
            <a:xfrm>
              <a:off x="7491" y="5596"/>
              <a:ext cx="577" cy="427"/>
            </a:xfrm>
            <a:custGeom>
              <a:avLst/>
              <a:gdLst>
                <a:gd name="T0" fmla="*/ 233 w 577"/>
                <a:gd name="T1" fmla="*/ 26 h 427"/>
                <a:gd name="T2" fmla="*/ 244 w 577"/>
                <a:gd name="T3" fmla="*/ 22 h 427"/>
                <a:gd name="T4" fmla="*/ 319 w 577"/>
                <a:gd name="T5" fmla="*/ 8 h 427"/>
                <a:gd name="T6" fmla="*/ 364 w 577"/>
                <a:gd name="T7" fmla="*/ 0 h 427"/>
                <a:gd name="T8" fmla="*/ 371 w 577"/>
                <a:gd name="T9" fmla="*/ 3 h 427"/>
                <a:gd name="T10" fmla="*/ 390 w 577"/>
                <a:gd name="T11" fmla="*/ 6 h 427"/>
                <a:gd name="T12" fmla="*/ 405 w 577"/>
                <a:gd name="T13" fmla="*/ 6 h 427"/>
                <a:gd name="T14" fmla="*/ 431 w 577"/>
                <a:gd name="T15" fmla="*/ 14 h 427"/>
                <a:gd name="T16" fmla="*/ 436 w 577"/>
                <a:gd name="T17" fmla="*/ 16 h 427"/>
                <a:gd name="T18" fmla="*/ 452 w 577"/>
                <a:gd name="T19" fmla="*/ 14 h 427"/>
                <a:gd name="T20" fmla="*/ 470 w 577"/>
                <a:gd name="T21" fmla="*/ 19 h 427"/>
                <a:gd name="T22" fmla="*/ 478 w 577"/>
                <a:gd name="T23" fmla="*/ 21 h 427"/>
                <a:gd name="T24" fmla="*/ 483 w 577"/>
                <a:gd name="T25" fmla="*/ 24 h 427"/>
                <a:gd name="T26" fmla="*/ 504 w 577"/>
                <a:gd name="T27" fmla="*/ 29 h 427"/>
                <a:gd name="T28" fmla="*/ 516 w 577"/>
                <a:gd name="T29" fmla="*/ 29 h 427"/>
                <a:gd name="T30" fmla="*/ 535 w 577"/>
                <a:gd name="T31" fmla="*/ 27 h 427"/>
                <a:gd name="T32" fmla="*/ 548 w 577"/>
                <a:gd name="T33" fmla="*/ 27 h 427"/>
                <a:gd name="T34" fmla="*/ 560 w 577"/>
                <a:gd name="T35" fmla="*/ 27 h 427"/>
                <a:gd name="T36" fmla="*/ 573 w 577"/>
                <a:gd name="T37" fmla="*/ 27 h 427"/>
                <a:gd name="T38" fmla="*/ 543 w 577"/>
                <a:gd name="T39" fmla="*/ 396 h 427"/>
                <a:gd name="T40" fmla="*/ 67 w 577"/>
                <a:gd name="T41" fmla="*/ 426 h 427"/>
                <a:gd name="T42" fmla="*/ 90 w 577"/>
                <a:gd name="T43" fmla="*/ 411 h 427"/>
                <a:gd name="T44" fmla="*/ 99 w 577"/>
                <a:gd name="T45" fmla="*/ 406 h 427"/>
                <a:gd name="T46" fmla="*/ 116 w 577"/>
                <a:gd name="T47" fmla="*/ 396 h 427"/>
                <a:gd name="T48" fmla="*/ 120 w 577"/>
                <a:gd name="T49" fmla="*/ 393 h 427"/>
                <a:gd name="T50" fmla="*/ 120 w 577"/>
                <a:gd name="T51" fmla="*/ 387 h 427"/>
                <a:gd name="T52" fmla="*/ 122 w 577"/>
                <a:gd name="T53" fmla="*/ 374 h 427"/>
                <a:gd name="T54" fmla="*/ 125 w 577"/>
                <a:gd name="T55" fmla="*/ 341 h 427"/>
                <a:gd name="T56" fmla="*/ 137 w 577"/>
                <a:gd name="T57" fmla="*/ 291 h 427"/>
                <a:gd name="T58" fmla="*/ 72 w 577"/>
                <a:gd name="T59" fmla="*/ 253 h 427"/>
                <a:gd name="T60" fmla="*/ 59 w 577"/>
                <a:gd name="T61" fmla="*/ 245 h 427"/>
                <a:gd name="T62" fmla="*/ 46 w 577"/>
                <a:gd name="T63" fmla="*/ 239 h 427"/>
                <a:gd name="T64" fmla="*/ 36 w 577"/>
                <a:gd name="T65" fmla="*/ 232 h 427"/>
                <a:gd name="T66" fmla="*/ 5 w 577"/>
                <a:gd name="T67" fmla="*/ 214 h 427"/>
                <a:gd name="T68" fmla="*/ 2 w 577"/>
                <a:gd name="T69" fmla="*/ 211 h 427"/>
                <a:gd name="T70" fmla="*/ 49 w 577"/>
                <a:gd name="T71" fmla="*/ 175 h 427"/>
                <a:gd name="T72" fmla="*/ 72 w 577"/>
                <a:gd name="T73" fmla="*/ 159 h 427"/>
                <a:gd name="T74" fmla="*/ 103 w 577"/>
                <a:gd name="T75" fmla="*/ 136 h 427"/>
                <a:gd name="T76" fmla="*/ 142 w 577"/>
                <a:gd name="T77" fmla="*/ 107 h 427"/>
                <a:gd name="T78" fmla="*/ 216 w 577"/>
                <a:gd name="T79" fmla="*/ 42 h 427"/>
                <a:gd name="T80" fmla="*/ 225 w 577"/>
                <a:gd name="T81" fmla="*/ 27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77" h="427">
                  <a:moveTo>
                    <a:pt x="225" y="27"/>
                  </a:moveTo>
                  <a:lnTo>
                    <a:pt x="233" y="26"/>
                  </a:lnTo>
                  <a:lnTo>
                    <a:pt x="234" y="26"/>
                  </a:lnTo>
                  <a:lnTo>
                    <a:pt x="244" y="22"/>
                  </a:lnTo>
                  <a:lnTo>
                    <a:pt x="291" y="14"/>
                  </a:lnTo>
                  <a:lnTo>
                    <a:pt x="319" y="8"/>
                  </a:lnTo>
                  <a:lnTo>
                    <a:pt x="334" y="6"/>
                  </a:lnTo>
                  <a:lnTo>
                    <a:pt x="364" y="0"/>
                  </a:lnTo>
                  <a:lnTo>
                    <a:pt x="368" y="1"/>
                  </a:lnTo>
                  <a:lnTo>
                    <a:pt x="371" y="3"/>
                  </a:lnTo>
                  <a:lnTo>
                    <a:pt x="382" y="5"/>
                  </a:lnTo>
                  <a:lnTo>
                    <a:pt x="390" y="6"/>
                  </a:lnTo>
                  <a:lnTo>
                    <a:pt x="392" y="6"/>
                  </a:lnTo>
                  <a:lnTo>
                    <a:pt x="405" y="6"/>
                  </a:lnTo>
                  <a:lnTo>
                    <a:pt x="413" y="9"/>
                  </a:lnTo>
                  <a:lnTo>
                    <a:pt x="431" y="14"/>
                  </a:lnTo>
                  <a:lnTo>
                    <a:pt x="433" y="16"/>
                  </a:lnTo>
                  <a:lnTo>
                    <a:pt x="436" y="16"/>
                  </a:lnTo>
                  <a:lnTo>
                    <a:pt x="438" y="16"/>
                  </a:lnTo>
                  <a:lnTo>
                    <a:pt x="452" y="14"/>
                  </a:lnTo>
                  <a:lnTo>
                    <a:pt x="468" y="18"/>
                  </a:lnTo>
                  <a:lnTo>
                    <a:pt x="470" y="19"/>
                  </a:lnTo>
                  <a:lnTo>
                    <a:pt x="477" y="21"/>
                  </a:lnTo>
                  <a:lnTo>
                    <a:pt x="478" y="21"/>
                  </a:lnTo>
                  <a:lnTo>
                    <a:pt x="482" y="22"/>
                  </a:lnTo>
                  <a:lnTo>
                    <a:pt x="483" y="24"/>
                  </a:lnTo>
                  <a:lnTo>
                    <a:pt x="498" y="27"/>
                  </a:lnTo>
                  <a:lnTo>
                    <a:pt x="504" y="29"/>
                  </a:lnTo>
                  <a:lnTo>
                    <a:pt x="508" y="29"/>
                  </a:lnTo>
                  <a:lnTo>
                    <a:pt x="516" y="29"/>
                  </a:lnTo>
                  <a:lnTo>
                    <a:pt x="522" y="29"/>
                  </a:lnTo>
                  <a:lnTo>
                    <a:pt x="535" y="27"/>
                  </a:lnTo>
                  <a:lnTo>
                    <a:pt x="545" y="27"/>
                  </a:lnTo>
                  <a:lnTo>
                    <a:pt x="548" y="27"/>
                  </a:lnTo>
                  <a:lnTo>
                    <a:pt x="550" y="27"/>
                  </a:lnTo>
                  <a:lnTo>
                    <a:pt x="560" y="27"/>
                  </a:lnTo>
                  <a:lnTo>
                    <a:pt x="564" y="27"/>
                  </a:lnTo>
                  <a:lnTo>
                    <a:pt x="573" y="27"/>
                  </a:lnTo>
                  <a:lnTo>
                    <a:pt x="577" y="27"/>
                  </a:lnTo>
                  <a:lnTo>
                    <a:pt x="543" y="396"/>
                  </a:lnTo>
                  <a:lnTo>
                    <a:pt x="65" y="427"/>
                  </a:lnTo>
                  <a:lnTo>
                    <a:pt x="67" y="426"/>
                  </a:lnTo>
                  <a:lnTo>
                    <a:pt x="68" y="424"/>
                  </a:lnTo>
                  <a:lnTo>
                    <a:pt x="90" y="411"/>
                  </a:lnTo>
                  <a:lnTo>
                    <a:pt x="98" y="408"/>
                  </a:lnTo>
                  <a:lnTo>
                    <a:pt x="99" y="406"/>
                  </a:lnTo>
                  <a:lnTo>
                    <a:pt x="109" y="401"/>
                  </a:lnTo>
                  <a:lnTo>
                    <a:pt x="116" y="396"/>
                  </a:lnTo>
                  <a:lnTo>
                    <a:pt x="120" y="393"/>
                  </a:lnTo>
                  <a:lnTo>
                    <a:pt x="120" y="393"/>
                  </a:lnTo>
                  <a:lnTo>
                    <a:pt x="120" y="390"/>
                  </a:lnTo>
                  <a:lnTo>
                    <a:pt x="120" y="387"/>
                  </a:lnTo>
                  <a:lnTo>
                    <a:pt x="122" y="379"/>
                  </a:lnTo>
                  <a:lnTo>
                    <a:pt x="122" y="374"/>
                  </a:lnTo>
                  <a:lnTo>
                    <a:pt x="124" y="367"/>
                  </a:lnTo>
                  <a:lnTo>
                    <a:pt x="125" y="341"/>
                  </a:lnTo>
                  <a:lnTo>
                    <a:pt x="158" y="304"/>
                  </a:lnTo>
                  <a:lnTo>
                    <a:pt x="137" y="291"/>
                  </a:lnTo>
                  <a:lnTo>
                    <a:pt x="104" y="271"/>
                  </a:lnTo>
                  <a:lnTo>
                    <a:pt x="72" y="253"/>
                  </a:lnTo>
                  <a:lnTo>
                    <a:pt x="65" y="250"/>
                  </a:lnTo>
                  <a:lnTo>
                    <a:pt x="59" y="245"/>
                  </a:lnTo>
                  <a:lnTo>
                    <a:pt x="52" y="242"/>
                  </a:lnTo>
                  <a:lnTo>
                    <a:pt x="46" y="239"/>
                  </a:lnTo>
                  <a:lnTo>
                    <a:pt x="42" y="235"/>
                  </a:lnTo>
                  <a:lnTo>
                    <a:pt x="36" y="232"/>
                  </a:lnTo>
                  <a:lnTo>
                    <a:pt x="28" y="227"/>
                  </a:lnTo>
                  <a:lnTo>
                    <a:pt x="5" y="214"/>
                  </a:lnTo>
                  <a:lnTo>
                    <a:pt x="0" y="211"/>
                  </a:lnTo>
                  <a:lnTo>
                    <a:pt x="2" y="211"/>
                  </a:lnTo>
                  <a:lnTo>
                    <a:pt x="34" y="187"/>
                  </a:lnTo>
                  <a:lnTo>
                    <a:pt x="49" y="175"/>
                  </a:lnTo>
                  <a:lnTo>
                    <a:pt x="60" y="167"/>
                  </a:lnTo>
                  <a:lnTo>
                    <a:pt x="72" y="159"/>
                  </a:lnTo>
                  <a:lnTo>
                    <a:pt x="77" y="154"/>
                  </a:lnTo>
                  <a:lnTo>
                    <a:pt x="103" y="136"/>
                  </a:lnTo>
                  <a:lnTo>
                    <a:pt x="107" y="133"/>
                  </a:lnTo>
                  <a:lnTo>
                    <a:pt x="142" y="107"/>
                  </a:lnTo>
                  <a:lnTo>
                    <a:pt x="210" y="57"/>
                  </a:lnTo>
                  <a:lnTo>
                    <a:pt x="216" y="42"/>
                  </a:lnTo>
                  <a:lnTo>
                    <a:pt x="218" y="40"/>
                  </a:lnTo>
                  <a:lnTo>
                    <a:pt x="225" y="27"/>
                  </a:lnTo>
                  <a:close/>
                </a:path>
              </a:pathLst>
            </a:custGeom>
            <a:solidFill>
              <a:srgbClr val="E5E5E5"/>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1234" name="Freeform 80">
              <a:extLst>
                <a:ext uri="{FF2B5EF4-FFF2-40B4-BE49-F238E27FC236}">
                  <a16:creationId xmlns:a16="http://schemas.microsoft.com/office/drawing/2014/main" id="{E3E8D838-FBC1-E4CD-7CAC-3D90783E1519}"/>
                </a:ext>
              </a:extLst>
            </p:cNvPr>
            <p:cNvSpPr>
              <a:spLocks/>
            </p:cNvSpPr>
            <p:nvPr/>
          </p:nvSpPr>
          <p:spPr bwMode="auto">
            <a:xfrm>
              <a:off x="7171" y="5944"/>
              <a:ext cx="9" cy="13"/>
            </a:xfrm>
            <a:custGeom>
              <a:avLst/>
              <a:gdLst>
                <a:gd name="T0" fmla="*/ 0 w 9"/>
                <a:gd name="T1" fmla="*/ 0 h 13"/>
                <a:gd name="T2" fmla="*/ 3 w 9"/>
                <a:gd name="T3" fmla="*/ 3 h 13"/>
                <a:gd name="T4" fmla="*/ 5 w 9"/>
                <a:gd name="T5" fmla="*/ 3 h 13"/>
                <a:gd name="T6" fmla="*/ 9 w 9"/>
                <a:gd name="T7" fmla="*/ 13 h 13"/>
              </a:gdLst>
              <a:ahLst/>
              <a:cxnLst>
                <a:cxn ang="0">
                  <a:pos x="T0" y="T1"/>
                </a:cxn>
                <a:cxn ang="0">
                  <a:pos x="T2" y="T3"/>
                </a:cxn>
                <a:cxn ang="0">
                  <a:pos x="T4" y="T5"/>
                </a:cxn>
                <a:cxn ang="0">
                  <a:pos x="T6" y="T7"/>
                </a:cxn>
              </a:cxnLst>
              <a:rect l="0" t="0" r="r" b="b"/>
              <a:pathLst>
                <a:path w="9" h="13">
                  <a:moveTo>
                    <a:pt x="0" y="0"/>
                  </a:moveTo>
                  <a:lnTo>
                    <a:pt x="3" y="3"/>
                  </a:lnTo>
                  <a:lnTo>
                    <a:pt x="5" y="3"/>
                  </a:lnTo>
                  <a:lnTo>
                    <a:pt x="9" y="13"/>
                  </a:lnTo>
                </a:path>
              </a:pathLst>
            </a:custGeom>
            <a:noFill/>
            <a:ln w="15875" cap="flat">
              <a:solidFill>
                <a:srgbClr val="FFFFFF"/>
              </a:solidFill>
              <a:prstDash val="solid"/>
              <a:round/>
              <a:headEnd/>
              <a:tailEnd/>
            </a:ln>
            <a:extLst>
              <a:ext uri="{909E8E84-426E-40dd-AFC4-6F175D3DCCD1}">
                <a14:hiddenFill xmlns=""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endParaRPr lang="en-US" sz="1350"/>
            </a:p>
          </p:txBody>
        </p:sp>
        <p:sp>
          <p:nvSpPr>
            <p:cNvPr id="1249" name="Freeform 95">
              <a:extLst>
                <a:ext uri="{FF2B5EF4-FFF2-40B4-BE49-F238E27FC236}">
                  <a16:creationId xmlns:a16="http://schemas.microsoft.com/office/drawing/2014/main" id="{AA97B7BD-5A92-EA94-C5F0-61BE50CA96C2}"/>
                </a:ext>
              </a:extLst>
            </p:cNvPr>
            <p:cNvSpPr>
              <a:spLocks/>
            </p:cNvSpPr>
            <p:nvPr/>
          </p:nvSpPr>
          <p:spPr bwMode="auto">
            <a:xfrm>
              <a:off x="2677" y="5714"/>
              <a:ext cx="3" cy="9"/>
            </a:xfrm>
            <a:custGeom>
              <a:avLst/>
              <a:gdLst>
                <a:gd name="T0" fmla="*/ 3 w 3"/>
                <a:gd name="T1" fmla="*/ 9 h 9"/>
                <a:gd name="T2" fmla="*/ 3 w 3"/>
                <a:gd name="T3" fmla="*/ 9 h 9"/>
                <a:gd name="T4" fmla="*/ 2 w 3"/>
                <a:gd name="T5" fmla="*/ 7 h 9"/>
                <a:gd name="T6" fmla="*/ 0 w 3"/>
                <a:gd name="T7" fmla="*/ 5 h 9"/>
                <a:gd name="T8" fmla="*/ 0 w 3"/>
                <a:gd name="T9" fmla="*/ 4 h 9"/>
                <a:gd name="T10" fmla="*/ 0 w 3"/>
                <a:gd name="T11" fmla="*/ 2 h 9"/>
                <a:gd name="T12" fmla="*/ 2 w 3"/>
                <a:gd name="T13" fmla="*/ 0 h 9"/>
                <a:gd name="T14" fmla="*/ 2 w 3"/>
                <a:gd name="T15" fmla="*/ 0 h 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 h="9">
                  <a:moveTo>
                    <a:pt x="3" y="9"/>
                  </a:moveTo>
                  <a:lnTo>
                    <a:pt x="3" y="9"/>
                  </a:lnTo>
                  <a:lnTo>
                    <a:pt x="2" y="7"/>
                  </a:lnTo>
                  <a:lnTo>
                    <a:pt x="0" y="5"/>
                  </a:lnTo>
                  <a:lnTo>
                    <a:pt x="0" y="4"/>
                  </a:lnTo>
                  <a:lnTo>
                    <a:pt x="0" y="2"/>
                  </a:lnTo>
                  <a:lnTo>
                    <a:pt x="2" y="0"/>
                  </a:lnTo>
                  <a:lnTo>
                    <a:pt x="2" y="0"/>
                  </a:lnTo>
                </a:path>
              </a:pathLst>
            </a:custGeom>
            <a:noFill/>
            <a:ln w="15875" cap="flat">
              <a:solidFill>
                <a:srgbClr val="FFFFFF"/>
              </a:solidFill>
              <a:prstDash val="solid"/>
              <a:round/>
              <a:headEnd/>
              <a:tailEnd/>
            </a:ln>
            <a:extLst>
              <a:ext uri="{909E8E84-426E-40dd-AFC4-6F175D3DCCD1}">
                <a14:hiddenFill xmlns=""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endParaRPr lang="en-US" sz="1350"/>
            </a:p>
          </p:txBody>
        </p:sp>
        <p:sp>
          <p:nvSpPr>
            <p:cNvPr id="1250" name="Freeform 96">
              <a:extLst>
                <a:ext uri="{FF2B5EF4-FFF2-40B4-BE49-F238E27FC236}">
                  <a16:creationId xmlns:a16="http://schemas.microsoft.com/office/drawing/2014/main" id="{014A02D4-FE0A-02FD-9E72-DFB98D010E8F}"/>
                </a:ext>
              </a:extLst>
            </p:cNvPr>
            <p:cNvSpPr>
              <a:spLocks/>
            </p:cNvSpPr>
            <p:nvPr/>
          </p:nvSpPr>
          <p:spPr bwMode="auto">
            <a:xfrm>
              <a:off x="2412" y="5581"/>
              <a:ext cx="3" cy="7"/>
            </a:xfrm>
            <a:custGeom>
              <a:avLst/>
              <a:gdLst>
                <a:gd name="T0" fmla="*/ 3 w 3"/>
                <a:gd name="T1" fmla="*/ 7 h 7"/>
                <a:gd name="T2" fmla="*/ 3 w 3"/>
                <a:gd name="T3" fmla="*/ 7 h 7"/>
                <a:gd name="T4" fmla="*/ 3 w 3"/>
                <a:gd name="T5" fmla="*/ 7 h 7"/>
                <a:gd name="T6" fmla="*/ 3 w 3"/>
                <a:gd name="T7" fmla="*/ 7 h 7"/>
                <a:gd name="T8" fmla="*/ 3 w 3"/>
                <a:gd name="T9" fmla="*/ 7 h 7"/>
                <a:gd name="T10" fmla="*/ 2 w 3"/>
                <a:gd name="T11" fmla="*/ 7 h 7"/>
                <a:gd name="T12" fmla="*/ 2 w 3"/>
                <a:gd name="T13" fmla="*/ 5 h 7"/>
                <a:gd name="T14" fmla="*/ 2 w 3"/>
                <a:gd name="T15" fmla="*/ 5 h 7"/>
                <a:gd name="T16" fmla="*/ 2 w 3"/>
                <a:gd name="T17" fmla="*/ 5 h 7"/>
                <a:gd name="T18" fmla="*/ 0 w 3"/>
                <a:gd name="T19" fmla="*/ 5 h 7"/>
                <a:gd name="T20" fmla="*/ 0 w 3"/>
                <a:gd name="T21" fmla="*/ 5 h 7"/>
                <a:gd name="T22" fmla="*/ 0 w 3"/>
                <a:gd name="T23" fmla="*/ 3 h 7"/>
                <a:gd name="T24" fmla="*/ 0 w 3"/>
                <a:gd name="T25" fmla="*/ 3 h 7"/>
                <a:gd name="T26" fmla="*/ 0 w 3"/>
                <a:gd name="T27" fmla="*/ 3 h 7"/>
                <a:gd name="T28" fmla="*/ 0 w 3"/>
                <a:gd name="T29" fmla="*/ 2 h 7"/>
                <a:gd name="T30" fmla="*/ 0 w 3"/>
                <a:gd name="T31" fmla="*/ 2 h 7"/>
                <a:gd name="T32" fmla="*/ 0 w 3"/>
                <a:gd name="T33" fmla="*/ 2 h 7"/>
                <a:gd name="T34" fmla="*/ 0 w 3"/>
                <a:gd name="T35"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 h="7">
                  <a:moveTo>
                    <a:pt x="3" y="7"/>
                  </a:moveTo>
                  <a:lnTo>
                    <a:pt x="3" y="7"/>
                  </a:lnTo>
                  <a:lnTo>
                    <a:pt x="3" y="7"/>
                  </a:lnTo>
                  <a:lnTo>
                    <a:pt x="3" y="7"/>
                  </a:lnTo>
                  <a:lnTo>
                    <a:pt x="3" y="7"/>
                  </a:lnTo>
                  <a:lnTo>
                    <a:pt x="2" y="7"/>
                  </a:lnTo>
                  <a:lnTo>
                    <a:pt x="2" y="5"/>
                  </a:lnTo>
                  <a:lnTo>
                    <a:pt x="2" y="5"/>
                  </a:lnTo>
                  <a:lnTo>
                    <a:pt x="2" y="5"/>
                  </a:lnTo>
                  <a:lnTo>
                    <a:pt x="0" y="5"/>
                  </a:lnTo>
                  <a:lnTo>
                    <a:pt x="0" y="5"/>
                  </a:lnTo>
                  <a:lnTo>
                    <a:pt x="0" y="3"/>
                  </a:lnTo>
                  <a:lnTo>
                    <a:pt x="0" y="3"/>
                  </a:lnTo>
                  <a:lnTo>
                    <a:pt x="0" y="3"/>
                  </a:lnTo>
                  <a:lnTo>
                    <a:pt x="0" y="2"/>
                  </a:lnTo>
                  <a:lnTo>
                    <a:pt x="0" y="2"/>
                  </a:lnTo>
                  <a:lnTo>
                    <a:pt x="0" y="2"/>
                  </a:lnTo>
                  <a:lnTo>
                    <a:pt x="0" y="0"/>
                  </a:lnTo>
                </a:path>
              </a:pathLst>
            </a:custGeom>
            <a:noFill/>
            <a:ln w="15875" cap="flat">
              <a:solidFill>
                <a:srgbClr val="FFFFFF"/>
              </a:solidFill>
              <a:prstDash val="solid"/>
              <a:round/>
              <a:headEnd/>
              <a:tailEnd/>
            </a:ln>
            <a:extLst>
              <a:ext uri="{909E8E84-426E-40dd-AFC4-6F175D3DCCD1}">
                <a14:hiddenFill xmlns=""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endParaRPr lang="en-US" sz="1350"/>
            </a:p>
          </p:txBody>
        </p:sp>
        <p:sp>
          <p:nvSpPr>
            <p:cNvPr id="1251" name="Freeform 97">
              <a:extLst>
                <a:ext uri="{FF2B5EF4-FFF2-40B4-BE49-F238E27FC236}">
                  <a16:creationId xmlns:a16="http://schemas.microsoft.com/office/drawing/2014/main" id="{BA34BE4E-FA56-7744-A1BC-183F9C106DFD}"/>
                </a:ext>
              </a:extLst>
            </p:cNvPr>
            <p:cNvSpPr>
              <a:spLocks/>
            </p:cNvSpPr>
            <p:nvPr/>
          </p:nvSpPr>
          <p:spPr bwMode="auto">
            <a:xfrm>
              <a:off x="2422" y="5547"/>
              <a:ext cx="1" cy="1"/>
            </a:xfrm>
            <a:custGeom>
              <a:avLst/>
              <a:gdLst>
                <a:gd name="T0" fmla="*/ 1 w 1"/>
                <a:gd name="T1" fmla="*/ 1 h 1"/>
                <a:gd name="T2" fmla="*/ 0 w 1"/>
                <a:gd name="T3" fmla="*/ 1 h 1"/>
                <a:gd name="T4" fmla="*/ 0 w 1"/>
                <a:gd name="T5" fmla="*/ 0 h 1"/>
              </a:gdLst>
              <a:ahLst/>
              <a:cxnLst>
                <a:cxn ang="0">
                  <a:pos x="T0" y="T1"/>
                </a:cxn>
                <a:cxn ang="0">
                  <a:pos x="T2" y="T3"/>
                </a:cxn>
                <a:cxn ang="0">
                  <a:pos x="T4" y="T5"/>
                </a:cxn>
              </a:cxnLst>
              <a:rect l="0" t="0" r="r" b="b"/>
              <a:pathLst>
                <a:path w="1" h="1">
                  <a:moveTo>
                    <a:pt x="1" y="1"/>
                  </a:moveTo>
                  <a:lnTo>
                    <a:pt x="0" y="1"/>
                  </a:lnTo>
                  <a:lnTo>
                    <a:pt x="0" y="0"/>
                  </a:lnTo>
                </a:path>
              </a:pathLst>
            </a:custGeom>
            <a:noFill/>
            <a:ln w="15875" cap="flat">
              <a:solidFill>
                <a:srgbClr val="FFFFFF"/>
              </a:solidFill>
              <a:prstDash val="solid"/>
              <a:round/>
              <a:headEnd/>
              <a:tailEnd/>
            </a:ln>
            <a:extLst>
              <a:ext uri="{909E8E84-426E-40dd-AFC4-6F175D3DCCD1}">
                <a14:hiddenFill xmlns=""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endParaRPr lang="en-US" sz="1350"/>
            </a:p>
          </p:txBody>
        </p:sp>
        <p:sp>
          <p:nvSpPr>
            <p:cNvPr id="1257" name="Line 103">
              <a:extLst>
                <a:ext uri="{FF2B5EF4-FFF2-40B4-BE49-F238E27FC236}">
                  <a16:creationId xmlns:a16="http://schemas.microsoft.com/office/drawing/2014/main" id="{FC114603-070F-FE35-6061-17C554D63538}"/>
                </a:ext>
              </a:extLst>
            </p:cNvPr>
            <p:cNvSpPr>
              <a:spLocks noChangeShapeType="1"/>
            </p:cNvSpPr>
            <p:nvPr/>
          </p:nvSpPr>
          <p:spPr bwMode="auto">
            <a:xfrm>
              <a:off x="8228" y="4184"/>
              <a:ext cx="0" cy="0"/>
            </a:xfrm>
            <a:prstGeom prst="line">
              <a:avLst/>
            </a:prstGeom>
            <a:noFill/>
            <a:ln w="15875" cap="flat">
              <a:solidFill>
                <a:srgbClr val="FFFFFF"/>
              </a:solidFill>
              <a:prstDash val="solid"/>
              <a:round/>
              <a:headEnd/>
              <a:tailEnd/>
            </a:ln>
            <a:extLst>
              <a:ext uri="{909E8E84-426E-40dd-AFC4-6F175D3DCCD1}">
                <a14:hiddenFill xmlns=""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350"/>
            </a:p>
          </p:txBody>
        </p:sp>
        <p:sp>
          <p:nvSpPr>
            <p:cNvPr id="1274" name="Line 120">
              <a:extLst>
                <a:ext uri="{FF2B5EF4-FFF2-40B4-BE49-F238E27FC236}">
                  <a16:creationId xmlns:a16="http://schemas.microsoft.com/office/drawing/2014/main" id="{232B1BA9-E650-CC29-3049-D50EEFD4BD99}"/>
                </a:ext>
              </a:extLst>
            </p:cNvPr>
            <p:cNvSpPr>
              <a:spLocks noChangeShapeType="1"/>
            </p:cNvSpPr>
            <p:nvPr/>
          </p:nvSpPr>
          <p:spPr bwMode="auto">
            <a:xfrm>
              <a:off x="5961" y="4748"/>
              <a:ext cx="0" cy="0"/>
            </a:xfrm>
            <a:prstGeom prst="line">
              <a:avLst/>
            </a:prstGeom>
            <a:noFill/>
            <a:ln w="15875" cap="flat">
              <a:solidFill>
                <a:srgbClr val="FFFFFF"/>
              </a:solidFill>
              <a:prstDash val="solid"/>
              <a:round/>
              <a:headEnd/>
              <a:tailEnd/>
            </a:ln>
            <a:extLst>
              <a:ext uri="{909E8E84-426E-40dd-AFC4-6F175D3DCCD1}">
                <a14:hiddenFill xmlns=""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350"/>
            </a:p>
          </p:txBody>
        </p:sp>
        <p:sp>
          <p:nvSpPr>
            <p:cNvPr id="1280" name="Freeform 126">
              <a:extLst>
                <a:ext uri="{FF2B5EF4-FFF2-40B4-BE49-F238E27FC236}">
                  <a16:creationId xmlns:a16="http://schemas.microsoft.com/office/drawing/2014/main" id="{31E64727-79A5-1860-69A2-E69FE7F1C6BB}"/>
                </a:ext>
              </a:extLst>
            </p:cNvPr>
            <p:cNvSpPr>
              <a:spLocks/>
            </p:cNvSpPr>
            <p:nvPr/>
          </p:nvSpPr>
          <p:spPr bwMode="auto">
            <a:xfrm>
              <a:off x="4468" y="4904"/>
              <a:ext cx="1" cy="0"/>
            </a:xfrm>
            <a:custGeom>
              <a:avLst/>
              <a:gdLst>
                <a:gd name="T0" fmla="*/ 0 w 1"/>
                <a:gd name="T1" fmla="*/ 1 w 1"/>
                <a:gd name="T2" fmla="*/ 1 w 1"/>
              </a:gdLst>
              <a:ahLst/>
              <a:cxnLst>
                <a:cxn ang="0">
                  <a:pos x="T0" y="0"/>
                </a:cxn>
                <a:cxn ang="0">
                  <a:pos x="T1" y="0"/>
                </a:cxn>
                <a:cxn ang="0">
                  <a:pos x="T2" y="0"/>
                </a:cxn>
              </a:cxnLst>
              <a:rect l="0" t="0" r="r" b="b"/>
              <a:pathLst>
                <a:path w="1">
                  <a:moveTo>
                    <a:pt x="0" y="0"/>
                  </a:moveTo>
                  <a:lnTo>
                    <a:pt x="1" y="0"/>
                  </a:lnTo>
                  <a:lnTo>
                    <a:pt x="1" y="0"/>
                  </a:lnTo>
                </a:path>
              </a:pathLst>
            </a:custGeom>
            <a:noFill/>
            <a:ln w="15875" cap="flat">
              <a:solidFill>
                <a:srgbClr val="FFFFFF"/>
              </a:solidFill>
              <a:prstDash val="solid"/>
              <a:round/>
              <a:headEnd/>
              <a:tailEnd/>
            </a:ln>
            <a:extLst>
              <a:ext uri="{909E8E84-426E-40dd-AFC4-6F175D3DCCD1}">
                <a14:hiddenFill xmlns=""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endParaRPr lang="en-US" sz="1350"/>
            </a:p>
          </p:txBody>
        </p:sp>
        <p:sp>
          <p:nvSpPr>
            <p:cNvPr id="1281" name="Freeform 127">
              <a:extLst>
                <a:ext uri="{FF2B5EF4-FFF2-40B4-BE49-F238E27FC236}">
                  <a16:creationId xmlns:a16="http://schemas.microsoft.com/office/drawing/2014/main" id="{FBCA5CCB-D17F-7937-BD71-EEA01D859187}"/>
                </a:ext>
              </a:extLst>
            </p:cNvPr>
            <p:cNvSpPr>
              <a:spLocks/>
            </p:cNvSpPr>
            <p:nvPr/>
          </p:nvSpPr>
          <p:spPr bwMode="auto">
            <a:xfrm>
              <a:off x="4468" y="4904"/>
              <a:ext cx="1" cy="0"/>
            </a:xfrm>
            <a:custGeom>
              <a:avLst/>
              <a:gdLst>
                <a:gd name="T0" fmla="*/ 1 w 1"/>
                <a:gd name="T1" fmla="*/ 1 w 1"/>
                <a:gd name="T2" fmla="*/ 1 w 1"/>
                <a:gd name="T3" fmla="*/ 1 w 1"/>
                <a:gd name="T4" fmla="*/ 1 w 1"/>
                <a:gd name="T5" fmla="*/ 0 w 1"/>
              </a:gdLst>
              <a:ahLst/>
              <a:cxnLst>
                <a:cxn ang="0">
                  <a:pos x="T0" y="0"/>
                </a:cxn>
                <a:cxn ang="0">
                  <a:pos x="T1" y="0"/>
                </a:cxn>
                <a:cxn ang="0">
                  <a:pos x="T2" y="0"/>
                </a:cxn>
                <a:cxn ang="0">
                  <a:pos x="T3" y="0"/>
                </a:cxn>
                <a:cxn ang="0">
                  <a:pos x="T4" y="0"/>
                </a:cxn>
                <a:cxn ang="0">
                  <a:pos x="T5" y="0"/>
                </a:cxn>
              </a:cxnLst>
              <a:rect l="0" t="0" r="r" b="b"/>
              <a:pathLst>
                <a:path w="1">
                  <a:moveTo>
                    <a:pt x="1" y="0"/>
                  </a:moveTo>
                  <a:lnTo>
                    <a:pt x="1" y="0"/>
                  </a:lnTo>
                  <a:lnTo>
                    <a:pt x="1" y="0"/>
                  </a:lnTo>
                  <a:lnTo>
                    <a:pt x="1" y="0"/>
                  </a:lnTo>
                  <a:lnTo>
                    <a:pt x="1" y="0"/>
                  </a:lnTo>
                  <a:lnTo>
                    <a:pt x="0" y="0"/>
                  </a:lnTo>
                </a:path>
              </a:pathLst>
            </a:custGeom>
            <a:noFill/>
            <a:ln w="15875" cap="flat">
              <a:solidFill>
                <a:srgbClr val="FFFFFF"/>
              </a:solidFill>
              <a:prstDash val="solid"/>
              <a:round/>
              <a:headEnd/>
              <a:tailEnd/>
            </a:ln>
            <a:extLst>
              <a:ext uri="{909E8E84-426E-40dd-AFC4-6F175D3DCCD1}">
                <a14:hiddenFill xmlns=""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endParaRPr lang="en-US" sz="1350"/>
            </a:p>
          </p:txBody>
        </p:sp>
        <p:sp>
          <p:nvSpPr>
            <p:cNvPr id="1310" name="Freeform 156">
              <a:extLst>
                <a:ext uri="{FF2B5EF4-FFF2-40B4-BE49-F238E27FC236}">
                  <a16:creationId xmlns:a16="http://schemas.microsoft.com/office/drawing/2014/main" id="{45BE746D-3D4B-9092-9E66-108DF390EB9D}"/>
                </a:ext>
              </a:extLst>
            </p:cNvPr>
            <p:cNvSpPr>
              <a:spLocks/>
            </p:cNvSpPr>
            <p:nvPr/>
          </p:nvSpPr>
          <p:spPr bwMode="auto">
            <a:xfrm>
              <a:off x="3936" y="4639"/>
              <a:ext cx="3" cy="5"/>
            </a:xfrm>
            <a:custGeom>
              <a:avLst/>
              <a:gdLst>
                <a:gd name="T0" fmla="*/ 3 w 3"/>
                <a:gd name="T1" fmla="*/ 2 h 5"/>
                <a:gd name="T2" fmla="*/ 3 w 3"/>
                <a:gd name="T3" fmla="*/ 2 h 5"/>
                <a:gd name="T4" fmla="*/ 3 w 3"/>
                <a:gd name="T5" fmla="*/ 0 h 5"/>
                <a:gd name="T6" fmla="*/ 3 w 3"/>
                <a:gd name="T7" fmla="*/ 2 h 5"/>
                <a:gd name="T8" fmla="*/ 3 w 3"/>
                <a:gd name="T9" fmla="*/ 2 h 5"/>
                <a:gd name="T10" fmla="*/ 1 w 3"/>
                <a:gd name="T11" fmla="*/ 2 h 5"/>
                <a:gd name="T12" fmla="*/ 1 w 3"/>
                <a:gd name="T13" fmla="*/ 2 h 5"/>
                <a:gd name="T14" fmla="*/ 1 w 3"/>
                <a:gd name="T15" fmla="*/ 2 h 5"/>
                <a:gd name="T16" fmla="*/ 1 w 3"/>
                <a:gd name="T17" fmla="*/ 2 h 5"/>
                <a:gd name="T18" fmla="*/ 1 w 3"/>
                <a:gd name="T19" fmla="*/ 2 h 5"/>
                <a:gd name="T20" fmla="*/ 0 w 3"/>
                <a:gd name="T21" fmla="*/ 4 h 5"/>
                <a:gd name="T22" fmla="*/ 0 w 3"/>
                <a:gd name="T23" fmla="*/ 4 h 5"/>
                <a:gd name="T24" fmla="*/ 0 w 3"/>
                <a:gd name="T25" fmla="*/ 4 h 5"/>
                <a:gd name="T26" fmla="*/ 0 w 3"/>
                <a:gd name="T27" fmla="*/ 4 h 5"/>
                <a:gd name="T28" fmla="*/ 1 w 3"/>
                <a:gd name="T29"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 h="5">
                  <a:moveTo>
                    <a:pt x="3" y="2"/>
                  </a:moveTo>
                  <a:lnTo>
                    <a:pt x="3" y="2"/>
                  </a:lnTo>
                  <a:lnTo>
                    <a:pt x="3" y="0"/>
                  </a:lnTo>
                  <a:lnTo>
                    <a:pt x="3" y="2"/>
                  </a:lnTo>
                  <a:lnTo>
                    <a:pt x="3" y="2"/>
                  </a:lnTo>
                  <a:lnTo>
                    <a:pt x="1" y="2"/>
                  </a:lnTo>
                  <a:lnTo>
                    <a:pt x="1" y="2"/>
                  </a:lnTo>
                  <a:lnTo>
                    <a:pt x="1" y="2"/>
                  </a:lnTo>
                  <a:lnTo>
                    <a:pt x="1" y="2"/>
                  </a:lnTo>
                  <a:lnTo>
                    <a:pt x="1" y="2"/>
                  </a:lnTo>
                  <a:lnTo>
                    <a:pt x="0" y="4"/>
                  </a:lnTo>
                  <a:lnTo>
                    <a:pt x="0" y="4"/>
                  </a:lnTo>
                  <a:lnTo>
                    <a:pt x="0" y="4"/>
                  </a:lnTo>
                  <a:lnTo>
                    <a:pt x="0" y="4"/>
                  </a:lnTo>
                  <a:lnTo>
                    <a:pt x="1" y="5"/>
                  </a:lnTo>
                </a:path>
              </a:pathLst>
            </a:custGeom>
            <a:noFill/>
            <a:ln w="15875" cap="flat">
              <a:solidFill>
                <a:srgbClr val="FFFFFF"/>
              </a:solidFill>
              <a:prstDash val="solid"/>
              <a:round/>
              <a:headEnd/>
              <a:tailEnd/>
            </a:ln>
            <a:extLst>
              <a:ext uri="{909E8E84-426E-40dd-AFC4-6F175D3DCCD1}">
                <a14:hiddenFill xmlns=""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endParaRPr lang="en-US" sz="1350"/>
            </a:p>
          </p:txBody>
        </p:sp>
        <p:sp>
          <p:nvSpPr>
            <p:cNvPr id="1317" name="Freeform 163">
              <a:extLst>
                <a:ext uri="{FF2B5EF4-FFF2-40B4-BE49-F238E27FC236}">
                  <a16:creationId xmlns:a16="http://schemas.microsoft.com/office/drawing/2014/main" id="{C68BDF66-6B45-C120-B595-CC1D166BDE39}"/>
                </a:ext>
              </a:extLst>
            </p:cNvPr>
            <p:cNvSpPr>
              <a:spLocks/>
            </p:cNvSpPr>
            <p:nvPr/>
          </p:nvSpPr>
          <p:spPr bwMode="auto">
            <a:xfrm>
              <a:off x="6172" y="4166"/>
              <a:ext cx="5" cy="8"/>
            </a:xfrm>
            <a:custGeom>
              <a:avLst/>
              <a:gdLst>
                <a:gd name="T0" fmla="*/ 2 w 5"/>
                <a:gd name="T1" fmla="*/ 0 h 8"/>
                <a:gd name="T2" fmla="*/ 2 w 5"/>
                <a:gd name="T3" fmla="*/ 0 h 8"/>
                <a:gd name="T4" fmla="*/ 0 w 5"/>
                <a:gd name="T5" fmla="*/ 0 h 8"/>
                <a:gd name="T6" fmla="*/ 0 w 5"/>
                <a:gd name="T7" fmla="*/ 2 h 8"/>
                <a:gd name="T8" fmla="*/ 0 w 5"/>
                <a:gd name="T9" fmla="*/ 3 h 8"/>
                <a:gd name="T10" fmla="*/ 0 w 5"/>
                <a:gd name="T11" fmla="*/ 5 h 8"/>
                <a:gd name="T12" fmla="*/ 2 w 5"/>
                <a:gd name="T13" fmla="*/ 5 h 8"/>
                <a:gd name="T14" fmla="*/ 2 w 5"/>
                <a:gd name="T15" fmla="*/ 7 h 8"/>
                <a:gd name="T16" fmla="*/ 3 w 5"/>
                <a:gd name="T17" fmla="*/ 8 h 8"/>
                <a:gd name="T18" fmla="*/ 5 w 5"/>
                <a:gd name="T19" fmla="*/ 8 h 8"/>
                <a:gd name="T20" fmla="*/ 5 w 5"/>
                <a:gd name="T21"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 h="8">
                  <a:moveTo>
                    <a:pt x="2" y="0"/>
                  </a:moveTo>
                  <a:lnTo>
                    <a:pt x="2" y="0"/>
                  </a:lnTo>
                  <a:lnTo>
                    <a:pt x="0" y="0"/>
                  </a:lnTo>
                  <a:lnTo>
                    <a:pt x="0" y="2"/>
                  </a:lnTo>
                  <a:lnTo>
                    <a:pt x="0" y="3"/>
                  </a:lnTo>
                  <a:lnTo>
                    <a:pt x="0" y="5"/>
                  </a:lnTo>
                  <a:lnTo>
                    <a:pt x="2" y="5"/>
                  </a:lnTo>
                  <a:lnTo>
                    <a:pt x="2" y="7"/>
                  </a:lnTo>
                  <a:lnTo>
                    <a:pt x="3" y="8"/>
                  </a:lnTo>
                  <a:lnTo>
                    <a:pt x="5" y="8"/>
                  </a:lnTo>
                  <a:lnTo>
                    <a:pt x="5" y="8"/>
                  </a:lnTo>
                </a:path>
              </a:pathLst>
            </a:custGeom>
            <a:noFill/>
            <a:ln w="15875" cap="flat">
              <a:solidFill>
                <a:srgbClr val="FFFFFF"/>
              </a:solidFill>
              <a:prstDash val="solid"/>
              <a:round/>
              <a:headEnd/>
              <a:tailEnd/>
            </a:ln>
            <a:extLst>
              <a:ext uri="{909E8E84-426E-40dd-AFC4-6F175D3DCCD1}">
                <a14:hiddenFill xmlns=""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endParaRPr lang="en-US" sz="1350"/>
            </a:p>
          </p:txBody>
        </p:sp>
        <p:sp>
          <p:nvSpPr>
            <p:cNvPr id="1319" name="Line 165">
              <a:extLst>
                <a:ext uri="{FF2B5EF4-FFF2-40B4-BE49-F238E27FC236}">
                  <a16:creationId xmlns:a16="http://schemas.microsoft.com/office/drawing/2014/main" id="{5CC7BCB2-CD43-0493-DCE3-AB46D71052D6}"/>
                </a:ext>
              </a:extLst>
            </p:cNvPr>
            <p:cNvSpPr>
              <a:spLocks noChangeShapeType="1"/>
            </p:cNvSpPr>
            <p:nvPr/>
          </p:nvSpPr>
          <p:spPr bwMode="auto">
            <a:xfrm>
              <a:off x="4677" y="4374"/>
              <a:ext cx="0" cy="0"/>
            </a:xfrm>
            <a:prstGeom prst="line">
              <a:avLst/>
            </a:prstGeom>
            <a:noFill/>
            <a:ln w="15875" cap="flat">
              <a:solidFill>
                <a:srgbClr val="FFFFFF"/>
              </a:solidFill>
              <a:prstDash val="solid"/>
              <a:round/>
              <a:headEnd/>
              <a:tailEnd/>
            </a:ln>
            <a:extLst>
              <a:ext uri="{909E8E84-426E-40dd-AFC4-6F175D3DCCD1}">
                <a14:hiddenFill xmlns=""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350"/>
            </a:p>
          </p:txBody>
        </p:sp>
        <p:sp>
          <p:nvSpPr>
            <p:cNvPr id="1325" name="Line 171">
              <a:extLst>
                <a:ext uri="{FF2B5EF4-FFF2-40B4-BE49-F238E27FC236}">
                  <a16:creationId xmlns:a16="http://schemas.microsoft.com/office/drawing/2014/main" id="{5744AD9E-501F-634A-19AB-4D7098A62F6E}"/>
                </a:ext>
              </a:extLst>
            </p:cNvPr>
            <p:cNvSpPr>
              <a:spLocks noChangeShapeType="1"/>
            </p:cNvSpPr>
            <p:nvPr/>
          </p:nvSpPr>
          <p:spPr bwMode="auto">
            <a:xfrm flipH="1">
              <a:off x="4198" y="4270"/>
              <a:ext cx="1" cy="0"/>
            </a:xfrm>
            <a:prstGeom prst="line">
              <a:avLst/>
            </a:prstGeom>
            <a:noFill/>
            <a:ln w="15875" cap="flat">
              <a:solidFill>
                <a:srgbClr val="FFFFFF"/>
              </a:solidFill>
              <a:prstDash val="solid"/>
              <a:round/>
              <a:headEnd/>
              <a:tailEnd/>
            </a:ln>
            <a:extLst>
              <a:ext uri="{909E8E84-426E-40dd-AFC4-6F175D3DCCD1}">
                <a14:hiddenFill xmlns=""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350"/>
            </a:p>
          </p:txBody>
        </p:sp>
      </p:grpSp>
      <p:grpSp>
        <p:nvGrpSpPr>
          <p:cNvPr id="3" name="Group 2">
            <a:extLst>
              <a:ext uri="{FF2B5EF4-FFF2-40B4-BE49-F238E27FC236}">
                <a16:creationId xmlns:a16="http://schemas.microsoft.com/office/drawing/2014/main" id="{93906235-1CBA-ADC1-A981-3F8151A00F32}"/>
              </a:ext>
            </a:extLst>
          </p:cNvPr>
          <p:cNvGrpSpPr/>
          <p:nvPr/>
        </p:nvGrpSpPr>
        <p:grpSpPr>
          <a:xfrm>
            <a:off x="6043545" y="1930629"/>
            <a:ext cx="2240474" cy="2103974"/>
            <a:chOff x="8194977" y="2679866"/>
            <a:chExt cx="2987299" cy="2805299"/>
          </a:xfrm>
        </p:grpSpPr>
        <p:sp>
          <p:nvSpPr>
            <p:cNvPr id="1171" name="CuadroTexto 126">
              <a:extLst>
                <a:ext uri="{FF2B5EF4-FFF2-40B4-BE49-F238E27FC236}">
                  <a16:creationId xmlns:a16="http://schemas.microsoft.com/office/drawing/2014/main" id="{DD2BC07F-1807-6040-62D7-A16258EF473F}"/>
                </a:ext>
              </a:extLst>
            </p:cNvPr>
            <p:cNvSpPr txBox="1"/>
            <p:nvPr/>
          </p:nvSpPr>
          <p:spPr>
            <a:xfrm>
              <a:off x="8454036" y="2679866"/>
              <a:ext cx="2728240" cy="2805299"/>
            </a:xfrm>
            <a:prstGeom prst="rect">
              <a:avLst/>
            </a:prstGeom>
            <a:noFill/>
          </p:spPr>
          <p:txBody>
            <a:bodyPr wrap="square" lIns="68580" tIns="34290" rIns="68580" bIns="34290" anchor="t">
              <a:spAutoFit/>
            </a:bodyPr>
            <a:lstStyle/>
            <a:p>
              <a:pPr defTabSz="685800">
                <a:lnSpc>
                  <a:spcPct val="150000"/>
                </a:lnSpc>
                <a:defRPr/>
              </a:pPr>
              <a:r>
                <a:rPr lang="en-US" sz="1500">
                  <a:solidFill>
                    <a:schemeClr val="tx2"/>
                  </a:solidFill>
                  <a:latin typeface="Arial"/>
                </a:rPr>
                <a:t>Already connected</a:t>
              </a:r>
            </a:p>
            <a:p>
              <a:pPr>
                <a:lnSpc>
                  <a:spcPct val="150000"/>
                </a:lnSpc>
                <a:defRPr/>
              </a:pPr>
              <a:r>
                <a:rPr lang="en-US" sz="1500">
                  <a:solidFill>
                    <a:schemeClr val="tx2"/>
                  </a:solidFill>
                  <a:latin typeface="Arial"/>
                </a:rPr>
                <a:t>Interested</a:t>
              </a:r>
            </a:p>
            <a:p>
              <a:pPr>
                <a:lnSpc>
                  <a:spcPct val="150000"/>
                </a:lnSpc>
                <a:defRPr/>
              </a:pPr>
              <a:r>
                <a:rPr lang="en-US" sz="1500">
                  <a:solidFill>
                    <a:schemeClr val="tx2"/>
                  </a:solidFill>
                  <a:latin typeface="Arial"/>
                </a:rPr>
                <a:t>Not for the moment</a:t>
              </a:r>
            </a:p>
            <a:p>
              <a:pPr>
                <a:lnSpc>
                  <a:spcPct val="150000"/>
                </a:lnSpc>
                <a:defRPr/>
              </a:pPr>
              <a:r>
                <a:rPr lang="en-US" sz="1500">
                  <a:solidFill>
                    <a:schemeClr val="tx2"/>
                  </a:solidFill>
                  <a:latin typeface="Arial"/>
                </a:rPr>
                <a:t>Not interested</a:t>
              </a:r>
            </a:p>
            <a:p>
              <a:pPr>
                <a:lnSpc>
                  <a:spcPct val="150000"/>
                </a:lnSpc>
                <a:defRPr/>
              </a:pPr>
              <a:r>
                <a:rPr lang="en-US" sz="1500">
                  <a:solidFill>
                    <a:schemeClr val="tx2"/>
                  </a:solidFill>
                  <a:latin typeface="Arial"/>
                  <a:cs typeface="Arial"/>
                </a:rPr>
                <a:t>Unknown</a:t>
              </a:r>
            </a:p>
            <a:p>
              <a:pPr>
                <a:lnSpc>
                  <a:spcPct val="150000"/>
                </a:lnSpc>
                <a:defRPr/>
              </a:pPr>
              <a:r>
                <a:rPr lang="en-US" sz="1500">
                  <a:solidFill>
                    <a:schemeClr val="tx2"/>
                  </a:solidFill>
                  <a:latin typeface="Arial"/>
                  <a:cs typeface="Arial"/>
                </a:rPr>
                <a:t>TSI Project</a:t>
              </a:r>
            </a:p>
          </p:txBody>
        </p:sp>
        <p:sp>
          <p:nvSpPr>
            <p:cNvPr id="1172" name="Elipse 131">
              <a:extLst>
                <a:ext uri="{FF2B5EF4-FFF2-40B4-BE49-F238E27FC236}">
                  <a16:creationId xmlns:a16="http://schemas.microsoft.com/office/drawing/2014/main" id="{08593CDB-E05E-DC33-357A-838F4422A6EA}"/>
                </a:ext>
              </a:extLst>
            </p:cNvPr>
            <p:cNvSpPr>
              <a:spLocks/>
            </p:cNvSpPr>
            <p:nvPr/>
          </p:nvSpPr>
          <p:spPr>
            <a:xfrm>
              <a:off x="8197802" y="2830392"/>
              <a:ext cx="288000" cy="288000"/>
            </a:xfrm>
            <a:prstGeom prst="ellipse">
              <a:avLst/>
            </a:prstGeom>
            <a:solidFill>
              <a:srgbClr val="034EA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050">
                <a:solidFill>
                  <a:srgbClr val="FFFFFF"/>
                </a:solidFill>
                <a:latin typeface="Arial"/>
              </a:endParaRPr>
            </a:p>
          </p:txBody>
        </p:sp>
        <p:sp>
          <p:nvSpPr>
            <p:cNvPr id="1173" name="Elipse 9">
              <a:extLst>
                <a:ext uri="{FF2B5EF4-FFF2-40B4-BE49-F238E27FC236}">
                  <a16:creationId xmlns:a16="http://schemas.microsoft.com/office/drawing/2014/main" id="{45301F7D-7B2B-2AEC-DD79-4538605606F4}"/>
                </a:ext>
              </a:extLst>
            </p:cNvPr>
            <p:cNvSpPr>
              <a:spLocks/>
            </p:cNvSpPr>
            <p:nvPr/>
          </p:nvSpPr>
          <p:spPr>
            <a:xfrm>
              <a:off x="8194978" y="3284881"/>
              <a:ext cx="288000" cy="288000"/>
            </a:xfrm>
            <a:prstGeom prst="ellipse">
              <a:avLst/>
            </a:prstGeom>
            <a:solidFill>
              <a:srgbClr val="1EC08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050">
                <a:solidFill>
                  <a:srgbClr val="FFFFFF"/>
                </a:solidFill>
                <a:latin typeface="Arial"/>
              </a:endParaRPr>
            </a:p>
          </p:txBody>
        </p:sp>
        <p:sp>
          <p:nvSpPr>
            <p:cNvPr id="1174" name="Elipse 124">
              <a:extLst>
                <a:ext uri="{FF2B5EF4-FFF2-40B4-BE49-F238E27FC236}">
                  <a16:creationId xmlns:a16="http://schemas.microsoft.com/office/drawing/2014/main" id="{A4DDEC31-8579-CA2D-B06D-ADBED15922C0}"/>
                </a:ext>
              </a:extLst>
            </p:cNvPr>
            <p:cNvSpPr>
              <a:spLocks/>
            </p:cNvSpPr>
            <p:nvPr/>
          </p:nvSpPr>
          <p:spPr>
            <a:xfrm>
              <a:off x="8194977" y="3750572"/>
              <a:ext cx="288000" cy="288000"/>
            </a:xfrm>
            <a:prstGeom prst="ellipse">
              <a:avLst/>
            </a:prstGeom>
            <a:solidFill>
              <a:srgbClr val="FFC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050">
                <a:solidFill>
                  <a:srgbClr val="FFFFFF"/>
                </a:solidFill>
                <a:latin typeface="Arial"/>
              </a:endParaRPr>
            </a:p>
          </p:txBody>
        </p:sp>
        <p:sp>
          <p:nvSpPr>
            <p:cNvPr id="1175" name="Elipse 125">
              <a:extLst>
                <a:ext uri="{FF2B5EF4-FFF2-40B4-BE49-F238E27FC236}">
                  <a16:creationId xmlns:a16="http://schemas.microsoft.com/office/drawing/2014/main" id="{1D08C083-39C6-5D96-8AED-B1FA94121A00}"/>
                </a:ext>
              </a:extLst>
            </p:cNvPr>
            <p:cNvSpPr>
              <a:spLocks/>
            </p:cNvSpPr>
            <p:nvPr/>
          </p:nvSpPr>
          <p:spPr>
            <a:xfrm>
              <a:off x="8197802" y="4206153"/>
              <a:ext cx="288000" cy="288000"/>
            </a:xfrm>
            <a:prstGeom prst="ellipse">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050">
                <a:solidFill>
                  <a:srgbClr val="FFFFFF"/>
                </a:solidFill>
                <a:latin typeface="Arial"/>
              </a:endParaRPr>
            </a:p>
          </p:txBody>
        </p:sp>
        <p:sp>
          <p:nvSpPr>
            <p:cNvPr id="1359" name="Elipse 125">
              <a:extLst>
                <a:ext uri="{FF2B5EF4-FFF2-40B4-BE49-F238E27FC236}">
                  <a16:creationId xmlns:a16="http://schemas.microsoft.com/office/drawing/2014/main" id="{0F039A14-7F76-64AA-A501-2AD2A73CC157}"/>
                </a:ext>
              </a:extLst>
            </p:cNvPr>
            <p:cNvSpPr>
              <a:spLocks/>
            </p:cNvSpPr>
            <p:nvPr/>
          </p:nvSpPr>
          <p:spPr>
            <a:xfrm>
              <a:off x="8197802" y="4670917"/>
              <a:ext cx="288000" cy="288000"/>
            </a:xfrm>
            <a:prstGeom prst="ellipse">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050">
                <a:solidFill>
                  <a:srgbClr val="FFFFFF"/>
                </a:solidFill>
                <a:latin typeface="Arial"/>
              </a:endParaRPr>
            </a:p>
          </p:txBody>
        </p:sp>
      </p:grpSp>
      <p:sp>
        <p:nvSpPr>
          <p:cNvPr id="4" name="Elipse 125">
            <a:extLst>
              <a:ext uri="{FF2B5EF4-FFF2-40B4-BE49-F238E27FC236}">
                <a16:creationId xmlns:a16="http://schemas.microsoft.com/office/drawing/2014/main" id="{B508BF98-789D-BD17-DD6B-46A38A0131BC}"/>
              </a:ext>
            </a:extLst>
          </p:cNvPr>
          <p:cNvSpPr>
            <a:spLocks/>
          </p:cNvSpPr>
          <p:nvPr/>
        </p:nvSpPr>
        <p:spPr>
          <a:xfrm>
            <a:off x="6059456" y="3762877"/>
            <a:ext cx="216000" cy="216000"/>
          </a:xfrm>
          <a:prstGeom prst="ellipse">
            <a:avLst/>
          </a:prstGeom>
          <a:solidFill>
            <a:srgbClr val="00B0F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050">
              <a:solidFill>
                <a:srgbClr val="FFFFFF"/>
              </a:solidFill>
              <a:latin typeface="Arial"/>
            </a:endParaRPr>
          </a:p>
        </p:txBody>
      </p:sp>
    </p:spTree>
    <p:extLst>
      <p:ext uri="{BB962C8B-B14F-4D97-AF65-F5344CB8AC3E}">
        <p14:creationId xmlns:p14="http://schemas.microsoft.com/office/powerpoint/2010/main" val="945692528"/>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BE8C90DE-6775-B881-489A-71DF01E816B9}"/>
              </a:ext>
            </a:extLst>
          </p:cNvPr>
          <p:cNvSpPr>
            <a:spLocks noGrp="1"/>
          </p:cNvSpPr>
          <p:nvPr>
            <p:ph type="title"/>
          </p:nvPr>
        </p:nvSpPr>
        <p:spPr/>
        <p:txBody>
          <a:bodyPr/>
          <a:lstStyle/>
          <a:p>
            <a:r>
              <a:rPr lang="en-US"/>
              <a:t>Current use cases of the PPDS</a:t>
            </a:r>
          </a:p>
        </p:txBody>
      </p:sp>
      <p:sp>
        <p:nvSpPr>
          <p:cNvPr id="10" name="CuadroTexto 9">
            <a:extLst>
              <a:ext uri="{FF2B5EF4-FFF2-40B4-BE49-F238E27FC236}">
                <a16:creationId xmlns:a16="http://schemas.microsoft.com/office/drawing/2014/main" id="{66AD721D-1024-6A18-9C87-63E217A76E24}"/>
              </a:ext>
            </a:extLst>
          </p:cNvPr>
          <p:cNvSpPr txBox="1"/>
          <p:nvPr/>
        </p:nvSpPr>
        <p:spPr>
          <a:xfrm>
            <a:off x="5914452" y="1221138"/>
            <a:ext cx="2545837" cy="507831"/>
          </a:xfrm>
          <a:prstGeom prst="rect">
            <a:avLst/>
          </a:prstGeom>
          <a:noFill/>
        </p:spPr>
        <p:txBody>
          <a:bodyPr wrap="square">
            <a:spAutoFit/>
          </a:bodyPr>
          <a:lstStyle/>
          <a:p>
            <a:pPr algn="ctr"/>
            <a:r>
              <a:rPr lang="en-US" sz="1350" b="1">
                <a:solidFill>
                  <a:schemeClr val="tx2"/>
                </a:solidFill>
              </a:rPr>
              <a:t>Strategic Procurement measurement</a:t>
            </a:r>
          </a:p>
        </p:txBody>
      </p:sp>
      <p:cxnSp>
        <p:nvCxnSpPr>
          <p:cNvPr id="71" name="Conector recto 70">
            <a:extLst>
              <a:ext uri="{FF2B5EF4-FFF2-40B4-BE49-F238E27FC236}">
                <a16:creationId xmlns:a16="http://schemas.microsoft.com/office/drawing/2014/main" id="{D1849213-D727-6382-BD69-647DD5C92A28}"/>
              </a:ext>
            </a:extLst>
          </p:cNvPr>
          <p:cNvCxnSpPr/>
          <p:nvPr/>
        </p:nvCxnSpPr>
        <p:spPr>
          <a:xfrm>
            <a:off x="3241472" y="1174842"/>
            <a:ext cx="0" cy="2163536"/>
          </a:xfrm>
          <a:prstGeom prst="line">
            <a:avLst/>
          </a:prstGeom>
          <a:ln w="38100">
            <a:solidFill>
              <a:schemeClr val="tx2"/>
            </a:solidFill>
          </a:ln>
        </p:spPr>
        <p:style>
          <a:lnRef idx="1">
            <a:schemeClr val="accent1"/>
          </a:lnRef>
          <a:fillRef idx="0">
            <a:schemeClr val="accent1"/>
          </a:fillRef>
          <a:effectRef idx="0">
            <a:schemeClr val="accent1"/>
          </a:effectRef>
          <a:fontRef idx="minor">
            <a:schemeClr val="tx1"/>
          </a:fontRef>
        </p:style>
      </p:cxnSp>
      <p:sp>
        <p:nvSpPr>
          <p:cNvPr id="79" name="CuadroTexto 78">
            <a:extLst>
              <a:ext uri="{FF2B5EF4-FFF2-40B4-BE49-F238E27FC236}">
                <a16:creationId xmlns:a16="http://schemas.microsoft.com/office/drawing/2014/main" id="{FF8C300B-8E0A-BE89-9096-35D0E1E66DFD}"/>
              </a:ext>
            </a:extLst>
          </p:cNvPr>
          <p:cNvSpPr txBox="1"/>
          <p:nvPr/>
        </p:nvSpPr>
        <p:spPr>
          <a:xfrm>
            <a:off x="683713" y="1221140"/>
            <a:ext cx="2351315" cy="507831"/>
          </a:xfrm>
          <a:prstGeom prst="rect">
            <a:avLst/>
          </a:prstGeom>
          <a:noFill/>
        </p:spPr>
        <p:txBody>
          <a:bodyPr wrap="square">
            <a:spAutoFit/>
          </a:bodyPr>
          <a:lstStyle/>
          <a:p>
            <a:pPr algn="ctr"/>
            <a:r>
              <a:rPr lang="en-US" sz="1350" b="1">
                <a:solidFill>
                  <a:schemeClr val="tx2"/>
                </a:solidFill>
              </a:rPr>
              <a:t>Monitoring of Public Procurement market</a:t>
            </a:r>
          </a:p>
        </p:txBody>
      </p:sp>
      <p:sp>
        <p:nvSpPr>
          <p:cNvPr id="82" name="CuadroTexto 81">
            <a:extLst>
              <a:ext uri="{FF2B5EF4-FFF2-40B4-BE49-F238E27FC236}">
                <a16:creationId xmlns:a16="http://schemas.microsoft.com/office/drawing/2014/main" id="{3D43D7B0-715C-7FFF-6E3E-2A1322AEF362}"/>
              </a:ext>
            </a:extLst>
          </p:cNvPr>
          <p:cNvSpPr txBox="1"/>
          <p:nvPr/>
        </p:nvSpPr>
        <p:spPr>
          <a:xfrm>
            <a:off x="3269224" y="1221138"/>
            <a:ext cx="2645228" cy="300082"/>
          </a:xfrm>
          <a:prstGeom prst="rect">
            <a:avLst/>
          </a:prstGeom>
          <a:noFill/>
        </p:spPr>
        <p:txBody>
          <a:bodyPr wrap="square">
            <a:spAutoFit/>
          </a:bodyPr>
          <a:lstStyle/>
          <a:p>
            <a:pPr algn="ctr"/>
            <a:r>
              <a:rPr lang="en-US" sz="1350" b="1">
                <a:solidFill>
                  <a:schemeClr val="tx2"/>
                </a:solidFill>
              </a:rPr>
              <a:t>Data Quality measurement</a:t>
            </a:r>
          </a:p>
        </p:txBody>
      </p:sp>
      <p:cxnSp>
        <p:nvCxnSpPr>
          <p:cNvPr id="84" name="Conector recto 83">
            <a:extLst>
              <a:ext uri="{FF2B5EF4-FFF2-40B4-BE49-F238E27FC236}">
                <a16:creationId xmlns:a16="http://schemas.microsoft.com/office/drawing/2014/main" id="{F9084CD1-7712-4902-068D-FF880ADC6D59}"/>
              </a:ext>
            </a:extLst>
          </p:cNvPr>
          <p:cNvCxnSpPr/>
          <p:nvPr/>
        </p:nvCxnSpPr>
        <p:spPr>
          <a:xfrm>
            <a:off x="6005678" y="1148810"/>
            <a:ext cx="0" cy="2163536"/>
          </a:xfrm>
          <a:prstGeom prst="line">
            <a:avLst/>
          </a:prstGeom>
          <a:ln w="38100">
            <a:solidFill>
              <a:schemeClr val="tx2"/>
            </a:solidFill>
          </a:ln>
        </p:spPr>
        <p:style>
          <a:lnRef idx="1">
            <a:schemeClr val="accent1"/>
          </a:lnRef>
          <a:fillRef idx="0">
            <a:schemeClr val="accent1"/>
          </a:fillRef>
          <a:effectRef idx="0">
            <a:schemeClr val="accent1"/>
          </a:effectRef>
          <a:fontRef idx="minor">
            <a:schemeClr val="tx1"/>
          </a:fontRef>
        </p:style>
      </p:cxnSp>
      <p:grpSp>
        <p:nvGrpSpPr>
          <p:cNvPr id="4" name="Group 3">
            <a:extLst>
              <a:ext uri="{FF2B5EF4-FFF2-40B4-BE49-F238E27FC236}">
                <a16:creationId xmlns:a16="http://schemas.microsoft.com/office/drawing/2014/main" id="{0FF80B6B-93CC-EA9C-A059-B79F9593DC6C}"/>
              </a:ext>
            </a:extLst>
          </p:cNvPr>
          <p:cNvGrpSpPr/>
          <p:nvPr/>
        </p:nvGrpSpPr>
        <p:grpSpPr>
          <a:xfrm>
            <a:off x="1061609" y="1822816"/>
            <a:ext cx="1548067" cy="1081983"/>
            <a:chOff x="1061609" y="2001416"/>
            <a:chExt cx="1548067" cy="1081983"/>
          </a:xfrm>
        </p:grpSpPr>
        <p:sp>
          <p:nvSpPr>
            <p:cNvPr id="5" name="Freeform 1265">
              <a:extLst>
                <a:ext uri="{FF2B5EF4-FFF2-40B4-BE49-F238E27FC236}">
                  <a16:creationId xmlns:a16="http://schemas.microsoft.com/office/drawing/2014/main" id="{1EF605C2-5041-C4DB-18F3-A24169A58C0A}"/>
                </a:ext>
              </a:extLst>
            </p:cNvPr>
            <p:cNvSpPr>
              <a:spLocks/>
            </p:cNvSpPr>
            <p:nvPr/>
          </p:nvSpPr>
          <p:spPr bwMode="auto">
            <a:xfrm>
              <a:off x="1327943" y="2159555"/>
              <a:ext cx="532668" cy="532669"/>
            </a:xfrm>
            <a:custGeom>
              <a:avLst/>
              <a:gdLst>
                <a:gd name="T0" fmla="*/ 475 w 492"/>
                <a:gd name="T1" fmla="*/ 246 h 493"/>
                <a:gd name="T2" fmla="*/ 459 w 492"/>
                <a:gd name="T3" fmla="*/ 246 h 493"/>
                <a:gd name="T4" fmla="*/ 396 w 492"/>
                <a:gd name="T5" fmla="*/ 397 h 493"/>
                <a:gd name="T6" fmla="*/ 246 w 492"/>
                <a:gd name="T7" fmla="*/ 459 h 493"/>
                <a:gd name="T8" fmla="*/ 95 w 492"/>
                <a:gd name="T9" fmla="*/ 397 h 493"/>
                <a:gd name="T10" fmla="*/ 33 w 492"/>
                <a:gd name="T11" fmla="*/ 246 h 493"/>
                <a:gd name="T12" fmla="*/ 95 w 492"/>
                <a:gd name="T13" fmla="*/ 96 h 493"/>
                <a:gd name="T14" fmla="*/ 246 w 492"/>
                <a:gd name="T15" fmla="*/ 34 h 493"/>
                <a:gd name="T16" fmla="*/ 246 w 492"/>
                <a:gd name="T17" fmla="*/ 17 h 493"/>
                <a:gd name="T18" fmla="*/ 229 w 492"/>
                <a:gd name="T19" fmla="*/ 17 h 493"/>
                <a:gd name="T20" fmla="*/ 229 w 492"/>
                <a:gd name="T21" fmla="*/ 263 h 493"/>
                <a:gd name="T22" fmla="*/ 475 w 492"/>
                <a:gd name="T23" fmla="*/ 263 h 493"/>
                <a:gd name="T24" fmla="*/ 475 w 492"/>
                <a:gd name="T25" fmla="*/ 246 h 493"/>
                <a:gd name="T26" fmla="*/ 459 w 492"/>
                <a:gd name="T27" fmla="*/ 246 h 493"/>
                <a:gd name="T28" fmla="*/ 475 w 492"/>
                <a:gd name="T29" fmla="*/ 246 h 493"/>
                <a:gd name="T30" fmla="*/ 475 w 492"/>
                <a:gd name="T31" fmla="*/ 230 h 493"/>
                <a:gd name="T32" fmla="*/ 262 w 492"/>
                <a:gd name="T33" fmla="*/ 230 h 493"/>
                <a:gd name="T34" fmla="*/ 262 w 492"/>
                <a:gd name="T35" fmla="*/ 0 h 493"/>
                <a:gd name="T36" fmla="*/ 246 w 492"/>
                <a:gd name="T37" fmla="*/ 0 h 493"/>
                <a:gd name="T38" fmla="*/ 0 w 492"/>
                <a:gd name="T39" fmla="*/ 246 h 493"/>
                <a:gd name="T40" fmla="*/ 246 w 492"/>
                <a:gd name="T41" fmla="*/ 493 h 493"/>
                <a:gd name="T42" fmla="*/ 492 w 492"/>
                <a:gd name="T43" fmla="*/ 246 h 493"/>
                <a:gd name="T44" fmla="*/ 492 w 492"/>
                <a:gd name="T45" fmla="*/ 230 h 493"/>
                <a:gd name="T46" fmla="*/ 475 w 492"/>
                <a:gd name="T47" fmla="*/ 230 h 493"/>
                <a:gd name="T48" fmla="*/ 475 w 492"/>
                <a:gd name="T49" fmla="*/ 246 h 4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92" h="493">
                  <a:moveTo>
                    <a:pt x="475" y="246"/>
                  </a:moveTo>
                  <a:lnTo>
                    <a:pt x="459" y="246"/>
                  </a:lnTo>
                  <a:cubicBezTo>
                    <a:pt x="459" y="305"/>
                    <a:pt x="435" y="358"/>
                    <a:pt x="396" y="397"/>
                  </a:cubicBezTo>
                  <a:cubicBezTo>
                    <a:pt x="358" y="435"/>
                    <a:pt x="305" y="459"/>
                    <a:pt x="246" y="459"/>
                  </a:cubicBezTo>
                  <a:cubicBezTo>
                    <a:pt x="187" y="459"/>
                    <a:pt x="134" y="435"/>
                    <a:pt x="95" y="397"/>
                  </a:cubicBezTo>
                  <a:cubicBezTo>
                    <a:pt x="57" y="358"/>
                    <a:pt x="33" y="305"/>
                    <a:pt x="33" y="246"/>
                  </a:cubicBezTo>
                  <a:cubicBezTo>
                    <a:pt x="33" y="188"/>
                    <a:pt x="57" y="134"/>
                    <a:pt x="95" y="96"/>
                  </a:cubicBezTo>
                  <a:cubicBezTo>
                    <a:pt x="134" y="57"/>
                    <a:pt x="187" y="34"/>
                    <a:pt x="246" y="34"/>
                  </a:cubicBezTo>
                  <a:lnTo>
                    <a:pt x="246" y="17"/>
                  </a:lnTo>
                  <a:lnTo>
                    <a:pt x="229" y="17"/>
                  </a:lnTo>
                  <a:lnTo>
                    <a:pt x="229" y="263"/>
                  </a:lnTo>
                  <a:lnTo>
                    <a:pt x="475" y="263"/>
                  </a:lnTo>
                  <a:lnTo>
                    <a:pt x="475" y="246"/>
                  </a:lnTo>
                  <a:lnTo>
                    <a:pt x="459" y="246"/>
                  </a:lnTo>
                  <a:lnTo>
                    <a:pt x="475" y="246"/>
                  </a:lnTo>
                  <a:lnTo>
                    <a:pt x="475" y="230"/>
                  </a:lnTo>
                  <a:lnTo>
                    <a:pt x="262" y="230"/>
                  </a:lnTo>
                  <a:lnTo>
                    <a:pt x="262" y="0"/>
                  </a:lnTo>
                  <a:lnTo>
                    <a:pt x="246" y="0"/>
                  </a:lnTo>
                  <a:cubicBezTo>
                    <a:pt x="110" y="0"/>
                    <a:pt x="0" y="110"/>
                    <a:pt x="0" y="246"/>
                  </a:cubicBezTo>
                  <a:cubicBezTo>
                    <a:pt x="0" y="382"/>
                    <a:pt x="110" y="493"/>
                    <a:pt x="246" y="493"/>
                  </a:cubicBezTo>
                  <a:cubicBezTo>
                    <a:pt x="382" y="493"/>
                    <a:pt x="492" y="382"/>
                    <a:pt x="492" y="246"/>
                  </a:cubicBezTo>
                  <a:lnTo>
                    <a:pt x="492" y="230"/>
                  </a:lnTo>
                  <a:lnTo>
                    <a:pt x="475" y="230"/>
                  </a:lnTo>
                  <a:lnTo>
                    <a:pt x="475" y="246"/>
                  </a:lnTo>
                </a:path>
              </a:pathLst>
            </a:custGeom>
            <a:solidFill>
              <a:schemeClr val="accent4"/>
            </a:solidFill>
            <a:ln w="9525">
              <a:solidFill>
                <a:schemeClr val="accent4"/>
              </a:solidFill>
              <a:round/>
              <a:headEnd/>
              <a:tailEnd/>
            </a:ln>
          </p:spPr>
          <p:txBody>
            <a:bodyPr vert="horz" wrap="square" lIns="68580" tIns="34290" rIns="68580" bIns="34290" numCol="1" anchor="t" anchorCtr="0" compatLnSpc="1">
              <a:prstTxWarp prst="textNoShape">
                <a:avLst/>
              </a:prstTxWarp>
            </a:bodyPr>
            <a:lstStyle/>
            <a:p>
              <a:pPr defTabSz="685800">
                <a:defRPr/>
              </a:pPr>
              <a:endParaRPr lang="fr-FR" sz="1350">
                <a:solidFill>
                  <a:prstClr val="black"/>
                </a:solidFill>
                <a:latin typeface="Calibri" panose="020F0502020204030204"/>
              </a:endParaRPr>
            </a:p>
          </p:txBody>
        </p:sp>
        <p:sp>
          <p:nvSpPr>
            <p:cNvPr id="6" name="Freeform 1266">
              <a:extLst>
                <a:ext uri="{FF2B5EF4-FFF2-40B4-BE49-F238E27FC236}">
                  <a16:creationId xmlns:a16="http://schemas.microsoft.com/office/drawing/2014/main" id="{9F834EA4-2007-102D-B21B-42CCF8F42D2F}"/>
                </a:ext>
              </a:extLst>
            </p:cNvPr>
            <p:cNvSpPr>
              <a:spLocks/>
            </p:cNvSpPr>
            <p:nvPr/>
          </p:nvSpPr>
          <p:spPr bwMode="auto">
            <a:xfrm>
              <a:off x="1652535" y="2167875"/>
              <a:ext cx="208076" cy="208076"/>
            </a:xfrm>
            <a:custGeom>
              <a:avLst/>
              <a:gdLst>
                <a:gd name="T0" fmla="*/ 17 w 196"/>
                <a:gd name="T1" fmla="*/ 19 h 195"/>
                <a:gd name="T2" fmla="*/ 14 w 196"/>
                <a:gd name="T3" fmla="*/ 36 h 195"/>
                <a:gd name="T4" fmla="*/ 159 w 196"/>
                <a:gd name="T5" fmla="*/ 181 h 195"/>
                <a:gd name="T6" fmla="*/ 176 w 196"/>
                <a:gd name="T7" fmla="*/ 178 h 195"/>
                <a:gd name="T8" fmla="*/ 176 w 196"/>
                <a:gd name="T9" fmla="*/ 161 h 195"/>
                <a:gd name="T10" fmla="*/ 34 w 196"/>
                <a:gd name="T11" fmla="*/ 161 h 195"/>
                <a:gd name="T12" fmla="*/ 34 w 196"/>
                <a:gd name="T13" fmla="*/ 19 h 195"/>
                <a:gd name="T14" fmla="*/ 17 w 196"/>
                <a:gd name="T15" fmla="*/ 19 h 195"/>
                <a:gd name="T16" fmla="*/ 14 w 196"/>
                <a:gd name="T17" fmla="*/ 36 h 195"/>
                <a:gd name="T18" fmla="*/ 17 w 196"/>
                <a:gd name="T19" fmla="*/ 19 h 195"/>
                <a:gd name="T20" fmla="*/ 0 w 196"/>
                <a:gd name="T21" fmla="*/ 19 h 195"/>
                <a:gd name="T22" fmla="*/ 0 w 196"/>
                <a:gd name="T23" fmla="*/ 195 h 195"/>
                <a:gd name="T24" fmla="*/ 196 w 196"/>
                <a:gd name="T25" fmla="*/ 195 h 195"/>
                <a:gd name="T26" fmla="*/ 192 w 196"/>
                <a:gd name="T27" fmla="*/ 175 h 195"/>
                <a:gd name="T28" fmla="*/ 20 w 196"/>
                <a:gd name="T29" fmla="*/ 3 h 195"/>
                <a:gd name="T30" fmla="*/ 0 w 196"/>
                <a:gd name="T31" fmla="*/ 0 h 195"/>
                <a:gd name="T32" fmla="*/ 0 w 196"/>
                <a:gd name="T33" fmla="*/ 19 h 195"/>
                <a:gd name="T34" fmla="*/ 17 w 196"/>
                <a:gd name="T35" fmla="*/ 19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96" h="195">
                  <a:moveTo>
                    <a:pt x="17" y="19"/>
                  </a:moveTo>
                  <a:lnTo>
                    <a:pt x="14" y="36"/>
                  </a:lnTo>
                  <a:cubicBezTo>
                    <a:pt x="88" y="49"/>
                    <a:pt x="146" y="107"/>
                    <a:pt x="159" y="181"/>
                  </a:cubicBezTo>
                  <a:lnTo>
                    <a:pt x="176" y="178"/>
                  </a:lnTo>
                  <a:lnTo>
                    <a:pt x="176" y="161"/>
                  </a:lnTo>
                  <a:lnTo>
                    <a:pt x="34" y="161"/>
                  </a:lnTo>
                  <a:lnTo>
                    <a:pt x="34" y="19"/>
                  </a:lnTo>
                  <a:lnTo>
                    <a:pt x="17" y="19"/>
                  </a:lnTo>
                  <a:lnTo>
                    <a:pt x="14" y="36"/>
                  </a:lnTo>
                  <a:lnTo>
                    <a:pt x="17" y="19"/>
                  </a:lnTo>
                  <a:lnTo>
                    <a:pt x="0" y="19"/>
                  </a:lnTo>
                  <a:lnTo>
                    <a:pt x="0" y="195"/>
                  </a:lnTo>
                  <a:lnTo>
                    <a:pt x="196" y="195"/>
                  </a:lnTo>
                  <a:lnTo>
                    <a:pt x="192" y="175"/>
                  </a:lnTo>
                  <a:cubicBezTo>
                    <a:pt x="177" y="88"/>
                    <a:pt x="108" y="18"/>
                    <a:pt x="20" y="3"/>
                  </a:cubicBezTo>
                  <a:lnTo>
                    <a:pt x="0" y="0"/>
                  </a:lnTo>
                  <a:lnTo>
                    <a:pt x="0" y="19"/>
                  </a:lnTo>
                  <a:lnTo>
                    <a:pt x="17" y="19"/>
                  </a:lnTo>
                </a:path>
              </a:pathLst>
            </a:custGeom>
            <a:solidFill>
              <a:schemeClr val="tx2"/>
            </a:solidFill>
            <a:ln w="9525">
              <a:solidFill>
                <a:schemeClr val="tx2"/>
              </a:solidFill>
              <a:round/>
              <a:headEnd/>
              <a:tailEnd/>
            </a:ln>
          </p:spPr>
          <p:txBody>
            <a:bodyPr vert="horz" wrap="square" lIns="68580" tIns="34290" rIns="68580" bIns="34290" numCol="1" anchor="t" anchorCtr="0" compatLnSpc="1">
              <a:prstTxWarp prst="textNoShape">
                <a:avLst/>
              </a:prstTxWarp>
            </a:bodyPr>
            <a:lstStyle/>
            <a:p>
              <a:pPr defTabSz="685800">
                <a:defRPr/>
              </a:pPr>
              <a:endParaRPr lang="fr-FR" sz="1350">
                <a:solidFill>
                  <a:prstClr val="black"/>
                </a:solidFill>
                <a:latin typeface="Calibri" panose="020F0502020204030204"/>
              </a:endParaRPr>
            </a:p>
          </p:txBody>
        </p:sp>
        <p:sp>
          <p:nvSpPr>
            <p:cNvPr id="7" name="Freeform 1267">
              <a:extLst>
                <a:ext uri="{FF2B5EF4-FFF2-40B4-BE49-F238E27FC236}">
                  <a16:creationId xmlns:a16="http://schemas.microsoft.com/office/drawing/2014/main" id="{C43385A6-3C53-D717-9910-B1A2B21626F0}"/>
                </a:ext>
              </a:extLst>
            </p:cNvPr>
            <p:cNvSpPr>
              <a:spLocks/>
            </p:cNvSpPr>
            <p:nvPr/>
          </p:nvSpPr>
          <p:spPr bwMode="auto">
            <a:xfrm>
              <a:off x="2160236" y="2309367"/>
              <a:ext cx="183105" cy="382856"/>
            </a:xfrm>
            <a:custGeom>
              <a:avLst/>
              <a:gdLst>
                <a:gd name="T0" fmla="*/ 2 w 22"/>
                <a:gd name="T1" fmla="*/ 2 h 46"/>
                <a:gd name="T2" fmla="*/ 2 w 22"/>
                <a:gd name="T3" fmla="*/ 4 h 46"/>
                <a:gd name="T4" fmla="*/ 17 w 22"/>
                <a:gd name="T5" fmla="*/ 4 h 46"/>
                <a:gd name="T6" fmla="*/ 17 w 22"/>
                <a:gd name="T7" fmla="*/ 42 h 46"/>
                <a:gd name="T8" fmla="*/ 4 w 22"/>
                <a:gd name="T9" fmla="*/ 42 h 46"/>
                <a:gd name="T10" fmla="*/ 4 w 22"/>
                <a:gd name="T11" fmla="*/ 2 h 46"/>
                <a:gd name="T12" fmla="*/ 2 w 22"/>
                <a:gd name="T13" fmla="*/ 2 h 46"/>
                <a:gd name="T14" fmla="*/ 2 w 22"/>
                <a:gd name="T15" fmla="*/ 4 h 46"/>
                <a:gd name="T16" fmla="*/ 2 w 22"/>
                <a:gd name="T17" fmla="*/ 2 h 46"/>
                <a:gd name="T18" fmla="*/ 0 w 22"/>
                <a:gd name="T19" fmla="*/ 2 h 46"/>
                <a:gd name="T20" fmla="*/ 0 w 22"/>
                <a:gd name="T21" fmla="*/ 46 h 46"/>
                <a:gd name="T22" fmla="*/ 22 w 22"/>
                <a:gd name="T23" fmla="*/ 46 h 46"/>
                <a:gd name="T24" fmla="*/ 22 w 22"/>
                <a:gd name="T25" fmla="*/ 0 h 46"/>
                <a:gd name="T26" fmla="*/ 0 w 22"/>
                <a:gd name="T27" fmla="*/ 0 h 46"/>
                <a:gd name="T28" fmla="*/ 0 w 22"/>
                <a:gd name="T29" fmla="*/ 2 h 46"/>
                <a:gd name="T30" fmla="*/ 2 w 22"/>
                <a:gd name="T31" fmla="*/ 2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2" h="46">
                  <a:moveTo>
                    <a:pt x="2" y="2"/>
                  </a:moveTo>
                  <a:lnTo>
                    <a:pt x="2" y="4"/>
                  </a:lnTo>
                  <a:lnTo>
                    <a:pt x="17" y="4"/>
                  </a:lnTo>
                  <a:lnTo>
                    <a:pt x="17" y="42"/>
                  </a:lnTo>
                  <a:lnTo>
                    <a:pt x="4" y="42"/>
                  </a:lnTo>
                  <a:lnTo>
                    <a:pt x="4" y="2"/>
                  </a:lnTo>
                  <a:lnTo>
                    <a:pt x="2" y="2"/>
                  </a:lnTo>
                  <a:lnTo>
                    <a:pt x="2" y="4"/>
                  </a:lnTo>
                  <a:lnTo>
                    <a:pt x="2" y="2"/>
                  </a:lnTo>
                  <a:lnTo>
                    <a:pt x="0" y="2"/>
                  </a:lnTo>
                  <a:lnTo>
                    <a:pt x="0" y="46"/>
                  </a:lnTo>
                  <a:lnTo>
                    <a:pt x="22" y="46"/>
                  </a:lnTo>
                  <a:lnTo>
                    <a:pt x="22" y="0"/>
                  </a:lnTo>
                  <a:lnTo>
                    <a:pt x="0" y="0"/>
                  </a:lnTo>
                  <a:lnTo>
                    <a:pt x="0" y="2"/>
                  </a:lnTo>
                  <a:lnTo>
                    <a:pt x="2" y="2"/>
                  </a:lnTo>
                  <a:close/>
                </a:path>
              </a:pathLst>
            </a:custGeom>
            <a:solidFill>
              <a:schemeClr val="accent3"/>
            </a:solidFill>
            <a:ln w="9525">
              <a:solidFill>
                <a:schemeClr val="accent3"/>
              </a:solidFill>
              <a:round/>
              <a:headEnd/>
              <a:tailEnd/>
            </a:ln>
          </p:spPr>
          <p:txBody>
            <a:bodyPr vert="horz" wrap="square" lIns="68580" tIns="34290" rIns="68580" bIns="34290" numCol="1" anchor="t" anchorCtr="0" compatLnSpc="1">
              <a:prstTxWarp prst="textNoShape">
                <a:avLst/>
              </a:prstTxWarp>
            </a:bodyPr>
            <a:lstStyle/>
            <a:p>
              <a:pPr defTabSz="685800">
                <a:defRPr/>
              </a:pPr>
              <a:endParaRPr lang="fr-FR" sz="1350">
                <a:solidFill>
                  <a:prstClr val="black"/>
                </a:solidFill>
                <a:latin typeface="Calibri" panose="020F0502020204030204"/>
              </a:endParaRPr>
            </a:p>
          </p:txBody>
        </p:sp>
        <p:sp>
          <p:nvSpPr>
            <p:cNvPr id="8" name="Freeform 1268">
              <a:extLst>
                <a:ext uri="{FF2B5EF4-FFF2-40B4-BE49-F238E27FC236}">
                  <a16:creationId xmlns:a16="http://schemas.microsoft.com/office/drawing/2014/main" id="{19A10912-D5B2-801D-885E-D716C8C5FC96}"/>
                </a:ext>
              </a:extLst>
            </p:cNvPr>
            <p:cNvSpPr>
              <a:spLocks/>
            </p:cNvSpPr>
            <p:nvPr/>
          </p:nvSpPr>
          <p:spPr bwMode="auto">
            <a:xfrm>
              <a:off x="2018744" y="2417564"/>
              <a:ext cx="174785" cy="274660"/>
            </a:xfrm>
            <a:custGeom>
              <a:avLst/>
              <a:gdLst>
                <a:gd name="T0" fmla="*/ 2 w 21"/>
                <a:gd name="T1" fmla="*/ 2 h 33"/>
                <a:gd name="T2" fmla="*/ 2 w 21"/>
                <a:gd name="T3" fmla="*/ 5 h 33"/>
                <a:gd name="T4" fmla="*/ 17 w 21"/>
                <a:gd name="T5" fmla="*/ 5 h 33"/>
                <a:gd name="T6" fmla="*/ 17 w 21"/>
                <a:gd name="T7" fmla="*/ 29 h 33"/>
                <a:gd name="T8" fmla="*/ 4 w 21"/>
                <a:gd name="T9" fmla="*/ 29 h 33"/>
                <a:gd name="T10" fmla="*/ 4 w 21"/>
                <a:gd name="T11" fmla="*/ 2 h 33"/>
                <a:gd name="T12" fmla="*/ 2 w 21"/>
                <a:gd name="T13" fmla="*/ 2 h 33"/>
                <a:gd name="T14" fmla="*/ 2 w 21"/>
                <a:gd name="T15" fmla="*/ 5 h 33"/>
                <a:gd name="T16" fmla="*/ 2 w 21"/>
                <a:gd name="T17" fmla="*/ 2 h 33"/>
                <a:gd name="T18" fmla="*/ 0 w 21"/>
                <a:gd name="T19" fmla="*/ 2 h 33"/>
                <a:gd name="T20" fmla="*/ 0 w 21"/>
                <a:gd name="T21" fmla="*/ 33 h 33"/>
                <a:gd name="T22" fmla="*/ 21 w 21"/>
                <a:gd name="T23" fmla="*/ 33 h 33"/>
                <a:gd name="T24" fmla="*/ 21 w 21"/>
                <a:gd name="T25" fmla="*/ 0 h 33"/>
                <a:gd name="T26" fmla="*/ 0 w 21"/>
                <a:gd name="T27" fmla="*/ 0 h 33"/>
                <a:gd name="T28" fmla="*/ 0 w 21"/>
                <a:gd name="T29" fmla="*/ 2 h 33"/>
                <a:gd name="T30" fmla="*/ 2 w 21"/>
                <a:gd name="T31" fmla="*/ 2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1" h="33">
                  <a:moveTo>
                    <a:pt x="2" y="2"/>
                  </a:moveTo>
                  <a:lnTo>
                    <a:pt x="2" y="5"/>
                  </a:lnTo>
                  <a:lnTo>
                    <a:pt x="17" y="5"/>
                  </a:lnTo>
                  <a:lnTo>
                    <a:pt x="17" y="29"/>
                  </a:lnTo>
                  <a:lnTo>
                    <a:pt x="4" y="29"/>
                  </a:lnTo>
                  <a:lnTo>
                    <a:pt x="4" y="2"/>
                  </a:lnTo>
                  <a:lnTo>
                    <a:pt x="2" y="2"/>
                  </a:lnTo>
                  <a:lnTo>
                    <a:pt x="2" y="5"/>
                  </a:lnTo>
                  <a:lnTo>
                    <a:pt x="2" y="2"/>
                  </a:lnTo>
                  <a:lnTo>
                    <a:pt x="0" y="2"/>
                  </a:lnTo>
                  <a:lnTo>
                    <a:pt x="0" y="33"/>
                  </a:lnTo>
                  <a:lnTo>
                    <a:pt x="21" y="33"/>
                  </a:lnTo>
                  <a:lnTo>
                    <a:pt x="21" y="0"/>
                  </a:lnTo>
                  <a:lnTo>
                    <a:pt x="0" y="0"/>
                  </a:lnTo>
                  <a:lnTo>
                    <a:pt x="0" y="2"/>
                  </a:lnTo>
                  <a:lnTo>
                    <a:pt x="2" y="2"/>
                  </a:lnTo>
                  <a:close/>
                </a:path>
              </a:pathLst>
            </a:custGeom>
            <a:solidFill>
              <a:schemeClr val="accent6"/>
            </a:solidFill>
            <a:ln w="9525">
              <a:solidFill>
                <a:schemeClr val="accent6"/>
              </a:solidFill>
              <a:round/>
              <a:headEnd/>
              <a:tailEnd/>
            </a:ln>
          </p:spPr>
          <p:txBody>
            <a:bodyPr vert="horz" wrap="square" lIns="68580" tIns="34290" rIns="68580" bIns="34290" numCol="1" anchor="t" anchorCtr="0" compatLnSpc="1">
              <a:prstTxWarp prst="textNoShape">
                <a:avLst/>
              </a:prstTxWarp>
            </a:bodyPr>
            <a:lstStyle/>
            <a:p>
              <a:pPr defTabSz="685800">
                <a:defRPr/>
              </a:pPr>
              <a:endParaRPr lang="fr-FR" sz="1350">
                <a:solidFill>
                  <a:prstClr val="black"/>
                </a:solidFill>
                <a:latin typeface="Calibri" panose="020F0502020204030204"/>
              </a:endParaRPr>
            </a:p>
          </p:txBody>
        </p:sp>
        <p:sp>
          <p:nvSpPr>
            <p:cNvPr id="9" name="Freeform 1269">
              <a:extLst>
                <a:ext uri="{FF2B5EF4-FFF2-40B4-BE49-F238E27FC236}">
                  <a16:creationId xmlns:a16="http://schemas.microsoft.com/office/drawing/2014/main" id="{6EB4E13D-DE94-5E4D-09AA-269567A8F72C}"/>
                </a:ext>
              </a:extLst>
            </p:cNvPr>
            <p:cNvSpPr>
              <a:spLocks/>
            </p:cNvSpPr>
            <p:nvPr/>
          </p:nvSpPr>
          <p:spPr bwMode="auto">
            <a:xfrm>
              <a:off x="1868931" y="2517438"/>
              <a:ext cx="183105" cy="174785"/>
            </a:xfrm>
            <a:custGeom>
              <a:avLst/>
              <a:gdLst>
                <a:gd name="T0" fmla="*/ 3 w 22"/>
                <a:gd name="T1" fmla="*/ 2 h 21"/>
                <a:gd name="T2" fmla="*/ 3 w 22"/>
                <a:gd name="T3" fmla="*/ 4 h 21"/>
                <a:gd name="T4" fmla="*/ 18 w 22"/>
                <a:gd name="T5" fmla="*/ 4 h 21"/>
                <a:gd name="T6" fmla="*/ 18 w 22"/>
                <a:gd name="T7" fmla="*/ 17 h 21"/>
                <a:gd name="T8" fmla="*/ 5 w 22"/>
                <a:gd name="T9" fmla="*/ 17 h 21"/>
                <a:gd name="T10" fmla="*/ 5 w 22"/>
                <a:gd name="T11" fmla="*/ 2 h 21"/>
                <a:gd name="T12" fmla="*/ 3 w 22"/>
                <a:gd name="T13" fmla="*/ 2 h 21"/>
                <a:gd name="T14" fmla="*/ 3 w 22"/>
                <a:gd name="T15" fmla="*/ 4 h 21"/>
                <a:gd name="T16" fmla="*/ 3 w 22"/>
                <a:gd name="T17" fmla="*/ 2 h 21"/>
                <a:gd name="T18" fmla="*/ 0 w 22"/>
                <a:gd name="T19" fmla="*/ 2 h 21"/>
                <a:gd name="T20" fmla="*/ 0 w 22"/>
                <a:gd name="T21" fmla="*/ 21 h 21"/>
                <a:gd name="T22" fmla="*/ 22 w 22"/>
                <a:gd name="T23" fmla="*/ 21 h 21"/>
                <a:gd name="T24" fmla="*/ 22 w 22"/>
                <a:gd name="T25" fmla="*/ 0 h 21"/>
                <a:gd name="T26" fmla="*/ 0 w 22"/>
                <a:gd name="T27" fmla="*/ 0 h 21"/>
                <a:gd name="T28" fmla="*/ 0 w 22"/>
                <a:gd name="T29" fmla="*/ 2 h 21"/>
                <a:gd name="T30" fmla="*/ 3 w 22"/>
                <a:gd name="T31" fmla="*/ 2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2" h="21">
                  <a:moveTo>
                    <a:pt x="3" y="2"/>
                  </a:moveTo>
                  <a:lnTo>
                    <a:pt x="3" y="4"/>
                  </a:lnTo>
                  <a:lnTo>
                    <a:pt x="18" y="4"/>
                  </a:lnTo>
                  <a:lnTo>
                    <a:pt x="18" y="17"/>
                  </a:lnTo>
                  <a:lnTo>
                    <a:pt x="5" y="17"/>
                  </a:lnTo>
                  <a:lnTo>
                    <a:pt x="5" y="2"/>
                  </a:lnTo>
                  <a:lnTo>
                    <a:pt x="3" y="2"/>
                  </a:lnTo>
                  <a:lnTo>
                    <a:pt x="3" y="4"/>
                  </a:lnTo>
                  <a:lnTo>
                    <a:pt x="3" y="2"/>
                  </a:lnTo>
                  <a:lnTo>
                    <a:pt x="0" y="2"/>
                  </a:lnTo>
                  <a:lnTo>
                    <a:pt x="0" y="21"/>
                  </a:lnTo>
                  <a:lnTo>
                    <a:pt x="22" y="21"/>
                  </a:lnTo>
                  <a:lnTo>
                    <a:pt x="22" y="0"/>
                  </a:lnTo>
                  <a:lnTo>
                    <a:pt x="0" y="0"/>
                  </a:lnTo>
                  <a:lnTo>
                    <a:pt x="0" y="2"/>
                  </a:lnTo>
                  <a:lnTo>
                    <a:pt x="3" y="2"/>
                  </a:lnTo>
                  <a:close/>
                </a:path>
              </a:pathLst>
            </a:custGeom>
            <a:solidFill>
              <a:srgbClr val="FFC000"/>
            </a:solidFill>
            <a:ln w="9525">
              <a:solidFill>
                <a:schemeClr val="accent5"/>
              </a:solidFill>
              <a:round/>
              <a:headEnd/>
              <a:tailEnd/>
            </a:ln>
          </p:spPr>
          <p:txBody>
            <a:bodyPr vert="horz" wrap="square" lIns="68580" tIns="34290" rIns="68580" bIns="34290" numCol="1" anchor="t" anchorCtr="0" compatLnSpc="1">
              <a:prstTxWarp prst="textNoShape">
                <a:avLst/>
              </a:prstTxWarp>
            </a:bodyPr>
            <a:lstStyle/>
            <a:p>
              <a:pPr defTabSz="685800">
                <a:defRPr/>
              </a:pPr>
              <a:endParaRPr lang="fr-FR" sz="1350">
                <a:solidFill>
                  <a:prstClr val="black"/>
                </a:solidFill>
                <a:latin typeface="Calibri" panose="020F0502020204030204"/>
              </a:endParaRPr>
            </a:p>
          </p:txBody>
        </p:sp>
        <p:sp>
          <p:nvSpPr>
            <p:cNvPr id="11" name="Freeform 1270">
              <a:extLst>
                <a:ext uri="{FF2B5EF4-FFF2-40B4-BE49-F238E27FC236}">
                  <a16:creationId xmlns:a16="http://schemas.microsoft.com/office/drawing/2014/main" id="{09BFF3DC-6B6F-66C9-3C0D-CF2296BA02A1}"/>
                </a:ext>
              </a:extLst>
            </p:cNvPr>
            <p:cNvSpPr>
              <a:spLocks/>
            </p:cNvSpPr>
            <p:nvPr/>
          </p:nvSpPr>
          <p:spPr bwMode="auto">
            <a:xfrm>
              <a:off x="1186450" y="2001416"/>
              <a:ext cx="1298378" cy="832295"/>
            </a:xfrm>
            <a:custGeom>
              <a:avLst/>
              <a:gdLst>
                <a:gd name="T0" fmla="*/ 1154 w 1204"/>
                <a:gd name="T1" fmla="*/ 761 h 777"/>
                <a:gd name="T2" fmla="*/ 1154 w 1204"/>
                <a:gd name="T3" fmla="*/ 744 h 777"/>
                <a:gd name="T4" fmla="*/ 50 w 1204"/>
                <a:gd name="T5" fmla="*/ 744 h 777"/>
                <a:gd name="T6" fmla="*/ 33 w 1204"/>
                <a:gd name="T7" fmla="*/ 727 h 777"/>
                <a:gd name="T8" fmla="*/ 33 w 1204"/>
                <a:gd name="T9" fmla="*/ 50 h 777"/>
                <a:gd name="T10" fmla="*/ 50 w 1204"/>
                <a:gd name="T11" fmla="*/ 33 h 777"/>
                <a:gd name="T12" fmla="*/ 1154 w 1204"/>
                <a:gd name="T13" fmla="*/ 33 h 777"/>
                <a:gd name="T14" fmla="*/ 1171 w 1204"/>
                <a:gd name="T15" fmla="*/ 50 h 777"/>
                <a:gd name="T16" fmla="*/ 1171 w 1204"/>
                <a:gd name="T17" fmla="*/ 727 h 777"/>
                <a:gd name="T18" fmla="*/ 1154 w 1204"/>
                <a:gd name="T19" fmla="*/ 744 h 777"/>
                <a:gd name="T20" fmla="*/ 1154 w 1204"/>
                <a:gd name="T21" fmla="*/ 761 h 777"/>
                <a:gd name="T22" fmla="*/ 1154 w 1204"/>
                <a:gd name="T23" fmla="*/ 777 h 777"/>
                <a:gd name="T24" fmla="*/ 1204 w 1204"/>
                <a:gd name="T25" fmla="*/ 727 h 777"/>
                <a:gd name="T26" fmla="*/ 1204 w 1204"/>
                <a:gd name="T27" fmla="*/ 50 h 777"/>
                <a:gd name="T28" fmla="*/ 1154 w 1204"/>
                <a:gd name="T29" fmla="*/ 0 h 777"/>
                <a:gd name="T30" fmla="*/ 50 w 1204"/>
                <a:gd name="T31" fmla="*/ 0 h 777"/>
                <a:gd name="T32" fmla="*/ 0 w 1204"/>
                <a:gd name="T33" fmla="*/ 50 h 777"/>
                <a:gd name="T34" fmla="*/ 0 w 1204"/>
                <a:gd name="T35" fmla="*/ 727 h 777"/>
                <a:gd name="T36" fmla="*/ 50 w 1204"/>
                <a:gd name="T37" fmla="*/ 777 h 777"/>
                <a:gd name="T38" fmla="*/ 1154 w 1204"/>
                <a:gd name="T39" fmla="*/ 777 h 777"/>
                <a:gd name="T40" fmla="*/ 1154 w 1204"/>
                <a:gd name="T41" fmla="*/ 761 h 7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04" h="777">
                  <a:moveTo>
                    <a:pt x="1154" y="761"/>
                  </a:moveTo>
                  <a:lnTo>
                    <a:pt x="1154" y="744"/>
                  </a:lnTo>
                  <a:lnTo>
                    <a:pt x="50" y="744"/>
                  </a:lnTo>
                  <a:cubicBezTo>
                    <a:pt x="41" y="744"/>
                    <a:pt x="33" y="737"/>
                    <a:pt x="33" y="727"/>
                  </a:cubicBezTo>
                  <a:lnTo>
                    <a:pt x="33" y="50"/>
                  </a:lnTo>
                  <a:cubicBezTo>
                    <a:pt x="33" y="41"/>
                    <a:pt x="41" y="33"/>
                    <a:pt x="50" y="33"/>
                  </a:cubicBezTo>
                  <a:lnTo>
                    <a:pt x="1154" y="33"/>
                  </a:lnTo>
                  <a:cubicBezTo>
                    <a:pt x="1163" y="33"/>
                    <a:pt x="1171" y="41"/>
                    <a:pt x="1171" y="50"/>
                  </a:cubicBezTo>
                  <a:lnTo>
                    <a:pt x="1171" y="727"/>
                  </a:lnTo>
                  <a:cubicBezTo>
                    <a:pt x="1171" y="737"/>
                    <a:pt x="1163" y="744"/>
                    <a:pt x="1154" y="744"/>
                  </a:cubicBezTo>
                  <a:lnTo>
                    <a:pt x="1154" y="761"/>
                  </a:lnTo>
                  <a:lnTo>
                    <a:pt x="1154" y="777"/>
                  </a:lnTo>
                  <a:cubicBezTo>
                    <a:pt x="1182" y="777"/>
                    <a:pt x="1204" y="755"/>
                    <a:pt x="1204" y="727"/>
                  </a:cubicBezTo>
                  <a:lnTo>
                    <a:pt x="1204" y="50"/>
                  </a:lnTo>
                  <a:cubicBezTo>
                    <a:pt x="1204" y="22"/>
                    <a:pt x="1182" y="0"/>
                    <a:pt x="1154" y="0"/>
                  </a:cubicBezTo>
                  <a:lnTo>
                    <a:pt x="50" y="0"/>
                  </a:lnTo>
                  <a:cubicBezTo>
                    <a:pt x="23" y="0"/>
                    <a:pt x="0" y="22"/>
                    <a:pt x="0" y="50"/>
                  </a:cubicBezTo>
                  <a:lnTo>
                    <a:pt x="0" y="727"/>
                  </a:lnTo>
                  <a:cubicBezTo>
                    <a:pt x="0" y="755"/>
                    <a:pt x="23" y="777"/>
                    <a:pt x="50" y="777"/>
                  </a:cubicBezTo>
                  <a:lnTo>
                    <a:pt x="1154" y="777"/>
                  </a:lnTo>
                  <a:lnTo>
                    <a:pt x="1154" y="761"/>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defRPr/>
              </a:pPr>
              <a:endParaRPr lang="fr-FR" sz="1350">
                <a:solidFill>
                  <a:prstClr val="black"/>
                </a:solidFill>
                <a:latin typeface="Calibri" panose="020F0502020204030204"/>
              </a:endParaRPr>
            </a:p>
          </p:txBody>
        </p:sp>
        <p:sp>
          <p:nvSpPr>
            <p:cNvPr id="12" name="Freeform 1271">
              <a:extLst>
                <a:ext uri="{FF2B5EF4-FFF2-40B4-BE49-F238E27FC236}">
                  <a16:creationId xmlns:a16="http://schemas.microsoft.com/office/drawing/2014/main" id="{9022E0B4-D223-C942-A0ED-7600811D3E7F}"/>
                </a:ext>
              </a:extLst>
            </p:cNvPr>
            <p:cNvSpPr>
              <a:spLocks/>
            </p:cNvSpPr>
            <p:nvPr/>
          </p:nvSpPr>
          <p:spPr bwMode="auto">
            <a:xfrm>
              <a:off x="1253033" y="2059679"/>
              <a:ext cx="1173537" cy="724095"/>
            </a:xfrm>
            <a:custGeom>
              <a:avLst/>
              <a:gdLst>
                <a:gd name="T0" fmla="*/ 138 w 141"/>
                <a:gd name="T1" fmla="*/ 84 h 86"/>
                <a:gd name="T2" fmla="*/ 138 w 141"/>
                <a:gd name="T3" fmla="*/ 82 h 86"/>
                <a:gd name="T4" fmla="*/ 4 w 141"/>
                <a:gd name="T5" fmla="*/ 82 h 86"/>
                <a:gd name="T6" fmla="*/ 4 w 141"/>
                <a:gd name="T7" fmla="*/ 4 h 86"/>
                <a:gd name="T8" fmla="*/ 136 w 141"/>
                <a:gd name="T9" fmla="*/ 4 h 86"/>
                <a:gd name="T10" fmla="*/ 136 w 141"/>
                <a:gd name="T11" fmla="*/ 84 h 86"/>
                <a:gd name="T12" fmla="*/ 138 w 141"/>
                <a:gd name="T13" fmla="*/ 84 h 86"/>
                <a:gd name="T14" fmla="*/ 138 w 141"/>
                <a:gd name="T15" fmla="*/ 82 h 86"/>
                <a:gd name="T16" fmla="*/ 138 w 141"/>
                <a:gd name="T17" fmla="*/ 84 h 86"/>
                <a:gd name="T18" fmla="*/ 141 w 141"/>
                <a:gd name="T19" fmla="*/ 84 h 86"/>
                <a:gd name="T20" fmla="*/ 141 w 141"/>
                <a:gd name="T21" fmla="*/ 0 h 86"/>
                <a:gd name="T22" fmla="*/ 0 w 141"/>
                <a:gd name="T23" fmla="*/ 0 h 86"/>
                <a:gd name="T24" fmla="*/ 0 w 141"/>
                <a:gd name="T25" fmla="*/ 86 h 86"/>
                <a:gd name="T26" fmla="*/ 141 w 141"/>
                <a:gd name="T27" fmla="*/ 86 h 86"/>
                <a:gd name="T28" fmla="*/ 141 w 141"/>
                <a:gd name="T29" fmla="*/ 84 h 86"/>
                <a:gd name="T30" fmla="*/ 138 w 141"/>
                <a:gd name="T31" fmla="*/ 84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1" h="86">
                  <a:moveTo>
                    <a:pt x="138" y="84"/>
                  </a:moveTo>
                  <a:lnTo>
                    <a:pt x="138" y="82"/>
                  </a:lnTo>
                  <a:lnTo>
                    <a:pt x="4" y="82"/>
                  </a:lnTo>
                  <a:lnTo>
                    <a:pt x="4" y="4"/>
                  </a:lnTo>
                  <a:lnTo>
                    <a:pt x="136" y="4"/>
                  </a:lnTo>
                  <a:lnTo>
                    <a:pt x="136" y="84"/>
                  </a:lnTo>
                  <a:lnTo>
                    <a:pt x="138" y="84"/>
                  </a:lnTo>
                  <a:lnTo>
                    <a:pt x="138" y="82"/>
                  </a:lnTo>
                  <a:lnTo>
                    <a:pt x="138" y="84"/>
                  </a:lnTo>
                  <a:lnTo>
                    <a:pt x="141" y="84"/>
                  </a:lnTo>
                  <a:lnTo>
                    <a:pt x="141" y="0"/>
                  </a:lnTo>
                  <a:lnTo>
                    <a:pt x="0" y="0"/>
                  </a:lnTo>
                  <a:lnTo>
                    <a:pt x="0" y="86"/>
                  </a:lnTo>
                  <a:lnTo>
                    <a:pt x="141" y="86"/>
                  </a:lnTo>
                  <a:lnTo>
                    <a:pt x="141" y="84"/>
                  </a:lnTo>
                  <a:lnTo>
                    <a:pt x="138" y="84"/>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defRPr/>
              </a:pPr>
              <a:endParaRPr lang="fr-FR" sz="1350">
                <a:solidFill>
                  <a:prstClr val="black"/>
                </a:solidFill>
                <a:latin typeface="Calibri" panose="020F0502020204030204"/>
              </a:endParaRPr>
            </a:p>
          </p:txBody>
        </p:sp>
        <p:sp>
          <p:nvSpPr>
            <p:cNvPr id="13" name="Rectangle 1272">
              <a:extLst>
                <a:ext uri="{FF2B5EF4-FFF2-40B4-BE49-F238E27FC236}">
                  <a16:creationId xmlns:a16="http://schemas.microsoft.com/office/drawing/2014/main" id="{2E2DB156-2C32-F618-3C08-534FF5B01EAB}"/>
                </a:ext>
              </a:extLst>
            </p:cNvPr>
            <p:cNvSpPr>
              <a:spLocks noChangeArrowheads="1"/>
            </p:cNvSpPr>
            <p:nvPr/>
          </p:nvSpPr>
          <p:spPr bwMode="auto">
            <a:xfrm>
              <a:off x="1377881" y="2817065"/>
              <a:ext cx="33292" cy="4993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a:defRPr/>
              </a:pPr>
              <a:endParaRPr lang="fr-FR" sz="1350">
                <a:solidFill>
                  <a:prstClr val="black"/>
                </a:solidFill>
                <a:latin typeface="Calibri" panose="020F0502020204030204"/>
              </a:endParaRPr>
            </a:p>
          </p:txBody>
        </p:sp>
        <p:sp>
          <p:nvSpPr>
            <p:cNvPr id="14" name="Rectangle 1273">
              <a:extLst>
                <a:ext uri="{FF2B5EF4-FFF2-40B4-BE49-F238E27FC236}">
                  <a16:creationId xmlns:a16="http://schemas.microsoft.com/office/drawing/2014/main" id="{AC094D38-97E7-CC48-F0A2-B63ABAB433A4}"/>
                </a:ext>
              </a:extLst>
            </p:cNvPr>
            <p:cNvSpPr>
              <a:spLocks noChangeArrowheads="1"/>
            </p:cNvSpPr>
            <p:nvPr/>
          </p:nvSpPr>
          <p:spPr bwMode="auto">
            <a:xfrm>
              <a:off x="2260112" y="2817065"/>
              <a:ext cx="33292" cy="4993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a:defRPr/>
              </a:pPr>
              <a:endParaRPr lang="fr-FR" sz="1350">
                <a:solidFill>
                  <a:prstClr val="black"/>
                </a:solidFill>
                <a:latin typeface="Calibri" panose="020F0502020204030204"/>
              </a:endParaRPr>
            </a:p>
          </p:txBody>
        </p:sp>
        <p:sp>
          <p:nvSpPr>
            <p:cNvPr id="15" name="Freeform 1274">
              <a:extLst>
                <a:ext uri="{FF2B5EF4-FFF2-40B4-BE49-F238E27FC236}">
                  <a16:creationId xmlns:a16="http://schemas.microsoft.com/office/drawing/2014/main" id="{A16C4625-2B8A-4D46-DC5E-4D6C0E6C4FF4}"/>
                </a:ext>
              </a:extLst>
            </p:cNvPr>
            <p:cNvSpPr>
              <a:spLocks/>
            </p:cNvSpPr>
            <p:nvPr/>
          </p:nvSpPr>
          <p:spPr bwMode="auto">
            <a:xfrm>
              <a:off x="1061609" y="2850357"/>
              <a:ext cx="1548067" cy="233042"/>
            </a:xfrm>
            <a:custGeom>
              <a:avLst/>
              <a:gdLst>
                <a:gd name="T0" fmla="*/ 1304 w 1438"/>
                <a:gd name="T1" fmla="*/ 17 h 215"/>
                <a:gd name="T2" fmla="*/ 1304 w 1438"/>
                <a:gd name="T3" fmla="*/ 0 h 215"/>
                <a:gd name="T4" fmla="*/ 127 w 1438"/>
                <a:gd name="T5" fmla="*/ 0 h 215"/>
                <a:gd name="T6" fmla="*/ 15 w 1438"/>
                <a:gd name="T7" fmla="*/ 120 h 215"/>
                <a:gd name="T8" fmla="*/ 0 w 1438"/>
                <a:gd name="T9" fmla="*/ 159 h 215"/>
                <a:gd name="T10" fmla="*/ 57 w 1438"/>
                <a:gd name="T11" fmla="*/ 215 h 215"/>
                <a:gd name="T12" fmla="*/ 1381 w 1438"/>
                <a:gd name="T13" fmla="*/ 215 h 215"/>
                <a:gd name="T14" fmla="*/ 1438 w 1438"/>
                <a:gd name="T15" fmla="*/ 159 h 215"/>
                <a:gd name="T16" fmla="*/ 1423 w 1438"/>
                <a:gd name="T17" fmla="*/ 120 h 215"/>
                <a:gd name="T18" fmla="*/ 1312 w 1438"/>
                <a:gd name="T19" fmla="*/ 0 h 215"/>
                <a:gd name="T20" fmla="*/ 1304 w 1438"/>
                <a:gd name="T21" fmla="*/ 0 h 215"/>
                <a:gd name="T22" fmla="*/ 1304 w 1438"/>
                <a:gd name="T23" fmla="*/ 17 h 215"/>
                <a:gd name="T24" fmla="*/ 1292 w 1438"/>
                <a:gd name="T25" fmla="*/ 28 h 215"/>
                <a:gd name="T26" fmla="*/ 1398 w 1438"/>
                <a:gd name="T27" fmla="*/ 143 h 215"/>
                <a:gd name="T28" fmla="*/ 1405 w 1438"/>
                <a:gd name="T29" fmla="*/ 159 h 215"/>
                <a:gd name="T30" fmla="*/ 1381 w 1438"/>
                <a:gd name="T31" fmla="*/ 182 h 215"/>
                <a:gd name="T32" fmla="*/ 57 w 1438"/>
                <a:gd name="T33" fmla="*/ 182 h 215"/>
                <a:gd name="T34" fmla="*/ 34 w 1438"/>
                <a:gd name="T35" fmla="*/ 159 h 215"/>
                <a:gd name="T36" fmla="*/ 40 w 1438"/>
                <a:gd name="T37" fmla="*/ 143 h 215"/>
                <a:gd name="T38" fmla="*/ 141 w 1438"/>
                <a:gd name="T39" fmla="*/ 33 h 215"/>
                <a:gd name="T40" fmla="*/ 1304 w 1438"/>
                <a:gd name="T41" fmla="*/ 33 h 215"/>
                <a:gd name="T42" fmla="*/ 1304 w 1438"/>
                <a:gd name="T43" fmla="*/ 17 h 215"/>
                <a:gd name="T44" fmla="*/ 1292 w 1438"/>
                <a:gd name="T45" fmla="*/ 28 h 215"/>
                <a:gd name="T46" fmla="*/ 1304 w 1438"/>
                <a:gd name="T47" fmla="*/ 17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438" h="215">
                  <a:moveTo>
                    <a:pt x="1304" y="17"/>
                  </a:moveTo>
                  <a:lnTo>
                    <a:pt x="1304" y="0"/>
                  </a:lnTo>
                  <a:lnTo>
                    <a:pt x="127" y="0"/>
                  </a:lnTo>
                  <a:lnTo>
                    <a:pt x="15" y="120"/>
                  </a:lnTo>
                  <a:cubicBezTo>
                    <a:pt x="6" y="131"/>
                    <a:pt x="0" y="144"/>
                    <a:pt x="0" y="159"/>
                  </a:cubicBezTo>
                  <a:cubicBezTo>
                    <a:pt x="0" y="190"/>
                    <a:pt x="26" y="215"/>
                    <a:pt x="57" y="215"/>
                  </a:cubicBezTo>
                  <a:lnTo>
                    <a:pt x="1381" y="215"/>
                  </a:lnTo>
                  <a:cubicBezTo>
                    <a:pt x="1413" y="215"/>
                    <a:pt x="1438" y="190"/>
                    <a:pt x="1438" y="159"/>
                  </a:cubicBezTo>
                  <a:cubicBezTo>
                    <a:pt x="1438" y="144"/>
                    <a:pt x="1432" y="131"/>
                    <a:pt x="1423" y="120"/>
                  </a:cubicBezTo>
                  <a:lnTo>
                    <a:pt x="1312" y="0"/>
                  </a:lnTo>
                  <a:lnTo>
                    <a:pt x="1304" y="0"/>
                  </a:lnTo>
                  <a:lnTo>
                    <a:pt x="1304" y="17"/>
                  </a:lnTo>
                  <a:lnTo>
                    <a:pt x="1292" y="28"/>
                  </a:lnTo>
                  <a:lnTo>
                    <a:pt x="1398" y="143"/>
                  </a:lnTo>
                  <a:cubicBezTo>
                    <a:pt x="1402" y="147"/>
                    <a:pt x="1405" y="153"/>
                    <a:pt x="1405" y="159"/>
                  </a:cubicBezTo>
                  <a:cubicBezTo>
                    <a:pt x="1405" y="171"/>
                    <a:pt x="1394" y="182"/>
                    <a:pt x="1381" y="182"/>
                  </a:cubicBezTo>
                  <a:lnTo>
                    <a:pt x="57" y="182"/>
                  </a:lnTo>
                  <a:cubicBezTo>
                    <a:pt x="44" y="182"/>
                    <a:pt x="34" y="171"/>
                    <a:pt x="34" y="159"/>
                  </a:cubicBezTo>
                  <a:cubicBezTo>
                    <a:pt x="34" y="153"/>
                    <a:pt x="36" y="147"/>
                    <a:pt x="40" y="143"/>
                  </a:cubicBezTo>
                  <a:lnTo>
                    <a:pt x="141" y="33"/>
                  </a:lnTo>
                  <a:lnTo>
                    <a:pt x="1304" y="33"/>
                  </a:lnTo>
                  <a:lnTo>
                    <a:pt x="1304" y="17"/>
                  </a:lnTo>
                  <a:lnTo>
                    <a:pt x="1292" y="28"/>
                  </a:lnTo>
                  <a:lnTo>
                    <a:pt x="1304" y="17"/>
                  </a:ln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defRPr/>
              </a:pPr>
              <a:endParaRPr lang="fr-FR" sz="1350">
                <a:solidFill>
                  <a:prstClr val="black"/>
                </a:solidFill>
                <a:latin typeface="Calibri" panose="020F0502020204030204"/>
              </a:endParaRPr>
            </a:p>
          </p:txBody>
        </p:sp>
        <p:sp>
          <p:nvSpPr>
            <p:cNvPr id="16" name="Rectangle 1275">
              <a:extLst>
                <a:ext uri="{FF2B5EF4-FFF2-40B4-BE49-F238E27FC236}">
                  <a16:creationId xmlns:a16="http://schemas.microsoft.com/office/drawing/2014/main" id="{9DACD83C-CC78-A4C2-E381-5EA5B27BFC3C}"/>
                </a:ext>
              </a:extLst>
            </p:cNvPr>
            <p:cNvSpPr>
              <a:spLocks noChangeArrowheads="1"/>
            </p:cNvSpPr>
            <p:nvPr/>
          </p:nvSpPr>
          <p:spPr bwMode="auto">
            <a:xfrm>
              <a:off x="1161484" y="2983524"/>
              <a:ext cx="1348316" cy="41618"/>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a:defRPr/>
              </a:pPr>
              <a:endParaRPr lang="fr-FR" sz="1350">
                <a:solidFill>
                  <a:prstClr val="black"/>
                </a:solidFill>
                <a:latin typeface="Calibri" panose="020F0502020204030204"/>
              </a:endParaRPr>
            </a:p>
          </p:txBody>
        </p:sp>
        <p:sp>
          <p:nvSpPr>
            <p:cNvPr id="17" name="Rectangle 1276">
              <a:extLst>
                <a:ext uri="{FF2B5EF4-FFF2-40B4-BE49-F238E27FC236}">
                  <a16:creationId xmlns:a16="http://schemas.microsoft.com/office/drawing/2014/main" id="{5C3CF354-BCB4-0ABB-3902-9BB9CAF2D8B9}"/>
                </a:ext>
              </a:extLst>
            </p:cNvPr>
            <p:cNvSpPr>
              <a:spLocks noChangeArrowheads="1"/>
            </p:cNvSpPr>
            <p:nvPr/>
          </p:nvSpPr>
          <p:spPr bwMode="auto">
            <a:xfrm>
              <a:off x="2301724" y="2900294"/>
              <a:ext cx="133167" cy="33292"/>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a:defRPr/>
              </a:pPr>
              <a:endParaRPr lang="fr-FR" sz="1350">
                <a:solidFill>
                  <a:prstClr val="black"/>
                </a:solidFill>
                <a:latin typeface="Calibri" panose="020F0502020204030204"/>
              </a:endParaRPr>
            </a:p>
          </p:txBody>
        </p:sp>
        <p:sp>
          <p:nvSpPr>
            <p:cNvPr id="18" name="Rectangle 1277">
              <a:extLst>
                <a:ext uri="{FF2B5EF4-FFF2-40B4-BE49-F238E27FC236}">
                  <a16:creationId xmlns:a16="http://schemas.microsoft.com/office/drawing/2014/main" id="{72DE2013-4056-CC53-3B3E-26E63B5B4AFF}"/>
                </a:ext>
              </a:extLst>
            </p:cNvPr>
            <p:cNvSpPr>
              <a:spLocks noChangeArrowheads="1"/>
            </p:cNvSpPr>
            <p:nvPr/>
          </p:nvSpPr>
          <p:spPr bwMode="auto">
            <a:xfrm>
              <a:off x="1977133" y="2900294"/>
              <a:ext cx="158138" cy="33292"/>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a:defRPr/>
              </a:pPr>
              <a:endParaRPr lang="fr-FR" sz="1350">
                <a:solidFill>
                  <a:prstClr val="black"/>
                </a:solidFill>
                <a:latin typeface="Calibri" panose="020F0502020204030204"/>
              </a:endParaRPr>
            </a:p>
          </p:txBody>
        </p:sp>
        <p:sp>
          <p:nvSpPr>
            <p:cNvPr id="19" name="Rectangle 1278">
              <a:extLst>
                <a:ext uri="{FF2B5EF4-FFF2-40B4-BE49-F238E27FC236}">
                  <a16:creationId xmlns:a16="http://schemas.microsoft.com/office/drawing/2014/main" id="{E2642D7D-C7F7-13E8-53E5-5FA521DA55F3}"/>
                </a:ext>
              </a:extLst>
            </p:cNvPr>
            <p:cNvSpPr>
              <a:spLocks noChangeArrowheads="1"/>
            </p:cNvSpPr>
            <p:nvPr/>
          </p:nvSpPr>
          <p:spPr bwMode="auto">
            <a:xfrm>
              <a:off x="1544340" y="2900294"/>
              <a:ext cx="158138" cy="33292"/>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a:defRPr/>
              </a:pPr>
              <a:endParaRPr lang="fr-FR" sz="1350">
                <a:solidFill>
                  <a:prstClr val="black"/>
                </a:solidFill>
                <a:latin typeface="Calibri" panose="020F0502020204030204"/>
              </a:endParaRPr>
            </a:p>
          </p:txBody>
        </p:sp>
        <p:sp>
          <p:nvSpPr>
            <p:cNvPr id="20" name="Rectangle 1279">
              <a:extLst>
                <a:ext uri="{FF2B5EF4-FFF2-40B4-BE49-F238E27FC236}">
                  <a16:creationId xmlns:a16="http://schemas.microsoft.com/office/drawing/2014/main" id="{225314EB-B15E-23F3-0FE8-009B5D8CA24C}"/>
                </a:ext>
              </a:extLst>
            </p:cNvPr>
            <p:cNvSpPr>
              <a:spLocks noChangeArrowheads="1"/>
            </p:cNvSpPr>
            <p:nvPr/>
          </p:nvSpPr>
          <p:spPr bwMode="auto">
            <a:xfrm>
              <a:off x="1236388" y="2900294"/>
              <a:ext cx="149813" cy="33292"/>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a:defRPr/>
              </a:pPr>
              <a:endParaRPr lang="fr-FR" sz="1350">
                <a:solidFill>
                  <a:prstClr val="black"/>
                </a:solidFill>
                <a:latin typeface="Calibri" panose="020F0502020204030204"/>
              </a:endParaRPr>
            </a:p>
          </p:txBody>
        </p:sp>
      </p:grpSp>
      <p:grpSp>
        <p:nvGrpSpPr>
          <p:cNvPr id="22" name="Group 21">
            <a:extLst>
              <a:ext uri="{FF2B5EF4-FFF2-40B4-BE49-F238E27FC236}">
                <a16:creationId xmlns:a16="http://schemas.microsoft.com/office/drawing/2014/main" id="{B6DDC26F-7A09-C92F-E92D-50903B778E6C}"/>
              </a:ext>
            </a:extLst>
          </p:cNvPr>
          <p:cNvGrpSpPr/>
          <p:nvPr/>
        </p:nvGrpSpPr>
        <p:grpSpPr>
          <a:xfrm>
            <a:off x="6688868" y="1748386"/>
            <a:ext cx="1079997" cy="1080001"/>
            <a:chOff x="6688868" y="1941274"/>
            <a:chExt cx="1079997" cy="1080001"/>
          </a:xfrm>
        </p:grpSpPr>
        <p:sp>
          <p:nvSpPr>
            <p:cNvPr id="260" name="Freeform 1567">
              <a:extLst>
                <a:ext uri="{FF2B5EF4-FFF2-40B4-BE49-F238E27FC236}">
                  <a16:creationId xmlns:a16="http://schemas.microsoft.com/office/drawing/2014/main" id="{020DD5CB-8E44-B6EA-59F2-0996B47C2808}"/>
                </a:ext>
              </a:extLst>
            </p:cNvPr>
            <p:cNvSpPr>
              <a:spLocks/>
            </p:cNvSpPr>
            <p:nvPr/>
          </p:nvSpPr>
          <p:spPr bwMode="auto">
            <a:xfrm>
              <a:off x="6860013" y="2425209"/>
              <a:ext cx="182953" cy="395411"/>
            </a:xfrm>
            <a:custGeom>
              <a:avLst/>
              <a:gdLst>
                <a:gd name="T0" fmla="*/ 28 w 31"/>
                <a:gd name="T1" fmla="*/ 2 h 67"/>
                <a:gd name="T2" fmla="*/ 28 w 31"/>
                <a:gd name="T3" fmla="*/ 0 h 67"/>
                <a:gd name="T4" fmla="*/ 0 w 31"/>
                <a:gd name="T5" fmla="*/ 0 h 67"/>
                <a:gd name="T6" fmla="*/ 0 w 31"/>
                <a:gd name="T7" fmla="*/ 67 h 67"/>
                <a:gd name="T8" fmla="*/ 31 w 31"/>
                <a:gd name="T9" fmla="*/ 67 h 67"/>
                <a:gd name="T10" fmla="*/ 31 w 31"/>
                <a:gd name="T11" fmla="*/ 0 h 67"/>
                <a:gd name="T12" fmla="*/ 28 w 31"/>
                <a:gd name="T13" fmla="*/ 0 h 67"/>
                <a:gd name="T14" fmla="*/ 28 w 31"/>
                <a:gd name="T15" fmla="*/ 2 h 67"/>
                <a:gd name="T16" fmla="*/ 26 w 31"/>
                <a:gd name="T17" fmla="*/ 2 h 67"/>
                <a:gd name="T18" fmla="*/ 26 w 31"/>
                <a:gd name="T19" fmla="*/ 62 h 67"/>
                <a:gd name="T20" fmla="*/ 5 w 31"/>
                <a:gd name="T21" fmla="*/ 62 h 67"/>
                <a:gd name="T22" fmla="*/ 5 w 31"/>
                <a:gd name="T23" fmla="*/ 4 h 67"/>
                <a:gd name="T24" fmla="*/ 28 w 31"/>
                <a:gd name="T25" fmla="*/ 4 h 67"/>
                <a:gd name="T26" fmla="*/ 28 w 31"/>
                <a:gd name="T27" fmla="*/ 2 h 67"/>
                <a:gd name="T28" fmla="*/ 26 w 31"/>
                <a:gd name="T29" fmla="*/ 2 h 67"/>
                <a:gd name="T30" fmla="*/ 28 w 31"/>
                <a:gd name="T31"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1" h="67">
                  <a:moveTo>
                    <a:pt x="28" y="2"/>
                  </a:moveTo>
                  <a:lnTo>
                    <a:pt x="28" y="0"/>
                  </a:lnTo>
                  <a:lnTo>
                    <a:pt x="0" y="0"/>
                  </a:lnTo>
                  <a:lnTo>
                    <a:pt x="0" y="67"/>
                  </a:lnTo>
                  <a:lnTo>
                    <a:pt x="31" y="67"/>
                  </a:lnTo>
                  <a:lnTo>
                    <a:pt x="31" y="0"/>
                  </a:lnTo>
                  <a:lnTo>
                    <a:pt x="28" y="0"/>
                  </a:lnTo>
                  <a:lnTo>
                    <a:pt x="28" y="2"/>
                  </a:lnTo>
                  <a:lnTo>
                    <a:pt x="26" y="2"/>
                  </a:lnTo>
                  <a:lnTo>
                    <a:pt x="26" y="62"/>
                  </a:lnTo>
                  <a:lnTo>
                    <a:pt x="5" y="62"/>
                  </a:lnTo>
                  <a:lnTo>
                    <a:pt x="5" y="4"/>
                  </a:lnTo>
                  <a:lnTo>
                    <a:pt x="28" y="4"/>
                  </a:lnTo>
                  <a:lnTo>
                    <a:pt x="28" y="2"/>
                  </a:lnTo>
                  <a:lnTo>
                    <a:pt x="26" y="2"/>
                  </a:lnTo>
                  <a:lnTo>
                    <a:pt x="28" y="2"/>
                  </a:lnTo>
                  <a:close/>
                </a:path>
              </a:pathLst>
            </a:custGeom>
            <a:solidFill>
              <a:schemeClr val="accent3"/>
            </a:solidFill>
            <a:ln w="9525">
              <a:solidFill>
                <a:schemeClr val="accent3"/>
              </a:solidFill>
              <a:round/>
              <a:headEnd/>
              <a:tailEnd/>
            </a:ln>
          </p:spPr>
          <p:txBody>
            <a:bodyPr vert="horz" wrap="square" lIns="68580" tIns="34290" rIns="68580" bIns="34290" numCol="1" anchor="t" anchorCtr="0" compatLnSpc="1">
              <a:prstTxWarp prst="textNoShape">
                <a:avLst/>
              </a:prstTxWarp>
            </a:bodyPr>
            <a:lstStyle/>
            <a:p>
              <a:pPr defTabSz="685800">
                <a:defRPr/>
              </a:pPr>
              <a:endParaRPr lang="fr-FR" sz="1350">
                <a:solidFill>
                  <a:prstClr val="black"/>
                </a:solidFill>
                <a:latin typeface="Calibri" panose="020F0502020204030204"/>
              </a:endParaRPr>
            </a:p>
          </p:txBody>
        </p:sp>
        <p:sp>
          <p:nvSpPr>
            <p:cNvPr id="261" name="Freeform 1568">
              <a:extLst>
                <a:ext uri="{FF2B5EF4-FFF2-40B4-BE49-F238E27FC236}">
                  <a16:creationId xmlns:a16="http://schemas.microsoft.com/office/drawing/2014/main" id="{8FC4FE8C-6ED6-05F8-9DDF-1A0D8325547C}"/>
                </a:ext>
              </a:extLst>
            </p:cNvPr>
            <p:cNvSpPr>
              <a:spLocks/>
            </p:cNvSpPr>
            <p:nvPr/>
          </p:nvSpPr>
          <p:spPr bwMode="auto">
            <a:xfrm>
              <a:off x="7013456" y="2543241"/>
              <a:ext cx="177049" cy="277379"/>
            </a:xfrm>
            <a:custGeom>
              <a:avLst/>
              <a:gdLst>
                <a:gd name="T0" fmla="*/ 28 w 30"/>
                <a:gd name="T1" fmla="*/ 2 h 47"/>
                <a:gd name="T2" fmla="*/ 28 w 30"/>
                <a:gd name="T3" fmla="*/ 0 h 47"/>
                <a:gd name="T4" fmla="*/ 0 w 30"/>
                <a:gd name="T5" fmla="*/ 0 h 47"/>
                <a:gd name="T6" fmla="*/ 0 w 30"/>
                <a:gd name="T7" fmla="*/ 47 h 47"/>
                <a:gd name="T8" fmla="*/ 30 w 30"/>
                <a:gd name="T9" fmla="*/ 47 h 47"/>
                <a:gd name="T10" fmla="*/ 30 w 30"/>
                <a:gd name="T11" fmla="*/ 0 h 47"/>
                <a:gd name="T12" fmla="*/ 28 w 30"/>
                <a:gd name="T13" fmla="*/ 0 h 47"/>
                <a:gd name="T14" fmla="*/ 28 w 30"/>
                <a:gd name="T15" fmla="*/ 2 h 47"/>
                <a:gd name="T16" fmla="*/ 26 w 30"/>
                <a:gd name="T17" fmla="*/ 2 h 47"/>
                <a:gd name="T18" fmla="*/ 26 w 30"/>
                <a:gd name="T19" fmla="*/ 42 h 47"/>
                <a:gd name="T20" fmla="*/ 5 w 30"/>
                <a:gd name="T21" fmla="*/ 42 h 47"/>
                <a:gd name="T22" fmla="*/ 5 w 30"/>
                <a:gd name="T23" fmla="*/ 4 h 47"/>
                <a:gd name="T24" fmla="*/ 28 w 30"/>
                <a:gd name="T25" fmla="*/ 4 h 47"/>
                <a:gd name="T26" fmla="*/ 28 w 30"/>
                <a:gd name="T27" fmla="*/ 2 h 47"/>
                <a:gd name="T28" fmla="*/ 26 w 30"/>
                <a:gd name="T29" fmla="*/ 2 h 47"/>
                <a:gd name="T30" fmla="*/ 28 w 30"/>
                <a:gd name="T31" fmla="*/ 2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0" h="47">
                  <a:moveTo>
                    <a:pt x="28" y="2"/>
                  </a:moveTo>
                  <a:lnTo>
                    <a:pt x="28" y="0"/>
                  </a:lnTo>
                  <a:lnTo>
                    <a:pt x="0" y="0"/>
                  </a:lnTo>
                  <a:lnTo>
                    <a:pt x="0" y="47"/>
                  </a:lnTo>
                  <a:lnTo>
                    <a:pt x="30" y="47"/>
                  </a:lnTo>
                  <a:lnTo>
                    <a:pt x="30" y="0"/>
                  </a:lnTo>
                  <a:lnTo>
                    <a:pt x="28" y="0"/>
                  </a:lnTo>
                  <a:lnTo>
                    <a:pt x="28" y="2"/>
                  </a:lnTo>
                  <a:lnTo>
                    <a:pt x="26" y="2"/>
                  </a:lnTo>
                  <a:lnTo>
                    <a:pt x="26" y="42"/>
                  </a:lnTo>
                  <a:lnTo>
                    <a:pt x="5" y="42"/>
                  </a:lnTo>
                  <a:lnTo>
                    <a:pt x="5" y="4"/>
                  </a:lnTo>
                  <a:lnTo>
                    <a:pt x="28" y="4"/>
                  </a:lnTo>
                  <a:lnTo>
                    <a:pt x="28" y="2"/>
                  </a:lnTo>
                  <a:lnTo>
                    <a:pt x="26" y="2"/>
                  </a:lnTo>
                  <a:lnTo>
                    <a:pt x="28" y="2"/>
                  </a:lnTo>
                  <a:close/>
                </a:path>
              </a:pathLst>
            </a:custGeom>
            <a:solidFill>
              <a:schemeClr val="accent6"/>
            </a:solidFill>
            <a:ln w="9525">
              <a:solidFill>
                <a:schemeClr val="accent6"/>
              </a:solidFill>
              <a:round/>
              <a:headEnd/>
              <a:tailEnd/>
            </a:ln>
          </p:spPr>
          <p:txBody>
            <a:bodyPr vert="horz" wrap="square" lIns="68580" tIns="34290" rIns="68580" bIns="34290" numCol="1" anchor="t" anchorCtr="0" compatLnSpc="1">
              <a:prstTxWarp prst="textNoShape">
                <a:avLst/>
              </a:prstTxWarp>
            </a:bodyPr>
            <a:lstStyle/>
            <a:p>
              <a:pPr defTabSz="685800">
                <a:defRPr/>
              </a:pPr>
              <a:endParaRPr lang="fr-FR" sz="1350">
                <a:solidFill>
                  <a:prstClr val="black"/>
                </a:solidFill>
                <a:latin typeface="Calibri" panose="020F0502020204030204"/>
              </a:endParaRPr>
            </a:p>
          </p:txBody>
        </p:sp>
        <p:sp>
          <p:nvSpPr>
            <p:cNvPr id="262" name="Freeform 1569">
              <a:extLst>
                <a:ext uri="{FF2B5EF4-FFF2-40B4-BE49-F238E27FC236}">
                  <a16:creationId xmlns:a16="http://schemas.microsoft.com/office/drawing/2014/main" id="{3F97F23E-E6FA-DF29-B4AC-8CC4A32B71D6}"/>
                </a:ext>
              </a:extLst>
            </p:cNvPr>
            <p:cNvSpPr>
              <a:spLocks/>
            </p:cNvSpPr>
            <p:nvPr/>
          </p:nvSpPr>
          <p:spPr bwMode="auto">
            <a:xfrm>
              <a:off x="7166898" y="2643570"/>
              <a:ext cx="177049" cy="177049"/>
            </a:xfrm>
            <a:custGeom>
              <a:avLst/>
              <a:gdLst>
                <a:gd name="T0" fmla="*/ 28 w 30"/>
                <a:gd name="T1" fmla="*/ 2 h 30"/>
                <a:gd name="T2" fmla="*/ 28 w 30"/>
                <a:gd name="T3" fmla="*/ 0 h 30"/>
                <a:gd name="T4" fmla="*/ 0 w 30"/>
                <a:gd name="T5" fmla="*/ 0 h 30"/>
                <a:gd name="T6" fmla="*/ 0 w 30"/>
                <a:gd name="T7" fmla="*/ 30 h 30"/>
                <a:gd name="T8" fmla="*/ 30 w 30"/>
                <a:gd name="T9" fmla="*/ 30 h 30"/>
                <a:gd name="T10" fmla="*/ 30 w 30"/>
                <a:gd name="T11" fmla="*/ 0 h 30"/>
                <a:gd name="T12" fmla="*/ 28 w 30"/>
                <a:gd name="T13" fmla="*/ 0 h 30"/>
                <a:gd name="T14" fmla="*/ 28 w 30"/>
                <a:gd name="T15" fmla="*/ 2 h 30"/>
                <a:gd name="T16" fmla="*/ 26 w 30"/>
                <a:gd name="T17" fmla="*/ 2 h 30"/>
                <a:gd name="T18" fmla="*/ 26 w 30"/>
                <a:gd name="T19" fmla="*/ 25 h 30"/>
                <a:gd name="T20" fmla="*/ 4 w 30"/>
                <a:gd name="T21" fmla="*/ 25 h 30"/>
                <a:gd name="T22" fmla="*/ 4 w 30"/>
                <a:gd name="T23" fmla="*/ 4 h 30"/>
                <a:gd name="T24" fmla="*/ 28 w 30"/>
                <a:gd name="T25" fmla="*/ 4 h 30"/>
                <a:gd name="T26" fmla="*/ 28 w 30"/>
                <a:gd name="T27" fmla="*/ 2 h 30"/>
                <a:gd name="T28" fmla="*/ 26 w 30"/>
                <a:gd name="T29" fmla="*/ 2 h 30"/>
                <a:gd name="T30" fmla="*/ 28 w 30"/>
                <a:gd name="T31" fmla="*/ 2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0" h="30">
                  <a:moveTo>
                    <a:pt x="28" y="2"/>
                  </a:moveTo>
                  <a:lnTo>
                    <a:pt x="28" y="0"/>
                  </a:lnTo>
                  <a:lnTo>
                    <a:pt x="0" y="0"/>
                  </a:lnTo>
                  <a:lnTo>
                    <a:pt x="0" y="30"/>
                  </a:lnTo>
                  <a:lnTo>
                    <a:pt x="30" y="30"/>
                  </a:lnTo>
                  <a:lnTo>
                    <a:pt x="30" y="0"/>
                  </a:lnTo>
                  <a:lnTo>
                    <a:pt x="28" y="0"/>
                  </a:lnTo>
                  <a:lnTo>
                    <a:pt x="28" y="2"/>
                  </a:lnTo>
                  <a:lnTo>
                    <a:pt x="26" y="2"/>
                  </a:lnTo>
                  <a:lnTo>
                    <a:pt x="26" y="25"/>
                  </a:lnTo>
                  <a:lnTo>
                    <a:pt x="4" y="25"/>
                  </a:lnTo>
                  <a:lnTo>
                    <a:pt x="4" y="4"/>
                  </a:lnTo>
                  <a:lnTo>
                    <a:pt x="28" y="4"/>
                  </a:lnTo>
                  <a:lnTo>
                    <a:pt x="28" y="2"/>
                  </a:lnTo>
                  <a:lnTo>
                    <a:pt x="26" y="2"/>
                  </a:lnTo>
                  <a:lnTo>
                    <a:pt x="28" y="2"/>
                  </a:lnTo>
                  <a:close/>
                </a:path>
              </a:pathLst>
            </a:custGeom>
            <a:solidFill>
              <a:schemeClr val="accent5"/>
            </a:solidFill>
            <a:ln w="9525">
              <a:solidFill>
                <a:schemeClr val="accent5"/>
              </a:solidFill>
              <a:round/>
              <a:headEnd/>
              <a:tailEnd/>
            </a:ln>
          </p:spPr>
          <p:txBody>
            <a:bodyPr vert="horz" wrap="square" lIns="68580" tIns="34290" rIns="68580" bIns="34290" numCol="1" anchor="t" anchorCtr="0" compatLnSpc="1">
              <a:prstTxWarp prst="textNoShape">
                <a:avLst/>
              </a:prstTxWarp>
            </a:bodyPr>
            <a:lstStyle/>
            <a:p>
              <a:pPr defTabSz="685800">
                <a:defRPr/>
              </a:pPr>
              <a:endParaRPr lang="fr-FR" sz="1350">
                <a:solidFill>
                  <a:prstClr val="black"/>
                </a:solidFill>
                <a:latin typeface="Calibri" panose="020F0502020204030204"/>
              </a:endParaRPr>
            </a:p>
          </p:txBody>
        </p:sp>
        <p:sp>
          <p:nvSpPr>
            <p:cNvPr id="263" name="Freeform 1570">
              <a:extLst>
                <a:ext uri="{FF2B5EF4-FFF2-40B4-BE49-F238E27FC236}">
                  <a16:creationId xmlns:a16="http://schemas.microsoft.com/office/drawing/2014/main" id="{3283A90F-9CB3-3AA2-5CF6-C1D73E247A36}"/>
                </a:ext>
              </a:extLst>
            </p:cNvPr>
            <p:cNvSpPr>
              <a:spLocks/>
            </p:cNvSpPr>
            <p:nvPr/>
          </p:nvSpPr>
          <p:spPr bwMode="auto">
            <a:xfrm>
              <a:off x="6688868" y="1941274"/>
              <a:ext cx="826229" cy="1080000"/>
            </a:xfrm>
            <a:custGeom>
              <a:avLst/>
              <a:gdLst>
                <a:gd name="T0" fmla="*/ 997 w 1084"/>
                <a:gd name="T1" fmla="*/ 856 h 1414"/>
                <a:gd name="T2" fmla="*/ 980 w 1084"/>
                <a:gd name="T3" fmla="*/ 856 h 1414"/>
                <a:gd name="T4" fmla="*/ 1057 w 1084"/>
                <a:gd name="T5" fmla="*/ 1021 h 1414"/>
                <a:gd name="T6" fmla="*/ 1068 w 1084"/>
                <a:gd name="T7" fmla="*/ 1008 h 1414"/>
                <a:gd name="T8" fmla="*/ 1051 w 1084"/>
                <a:gd name="T9" fmla="*/ 1008 h 1414"/>
                <a:gd name="T10" fmla="*/ 1051 w 1084"/>
                <a:gd name="T11" fmla="*/ 1381 h 1414"/>
                <a:gd name="T12" fmla="*/ 33 w 1084"/>
                <a:gd name="T13" fmla="*/ 1381 h 1414"/>
                <a:gd name="T14" fmla="*/ 33 w 1084"/>
                <a:gd name="T15" fmla="*/ 502 h 1414"/>
                <a:gd name="T16" fmla="*/ 501 w 1084"/>
                <a:gd name="T17" fmla="*/ 35 h 1414"/>
                <a:gd name="T18" fmla="*/ 502 w 1084"/>
                <a:gd name="T19" fmla="*/ 33 h 1414"/>
                <a:gd name="T20" fmla="*/ 1051 w 1084"/>
                <a:gd name="T21" fmla="*/ 33 h 1414"/>
                <a:gd name="T22" fmla="*/ 1051 w 1084"/>
                <a:gd name="T23" fmla="*/ 703 h 1414"/>
                <a:gd name="T24" fmla="*/ 1068 w 1084"/>
                <a:gd name="T25" fmla="*/ 703 h 1414"/>
                <a:gd name="T26" fmla="*/ 1057 w 1084"/>
                <a:gd name="T27" fmla="*/ 691 h 1414"/>
                <a:gd name="T28" fmla="*/ 980 w 1084"/>
                <a:gd name="T29" fmla="*/ 856 h 1414"/>
                <a:gd name="T30" fmla="*/ 997 w 1084"/>
                <a:gd name="T31" fmla="*/ 856 h 1414"/>
                <a:gd name="T32" fmla="*/ 1014 w 1084"/>
                <a:gd name="T33" fmla="*/ 856 h 1414"/>
                <a:gd name="T34" fmla="*/ 1078 w 1084"/>
                <a:gd name="T35" fmla="*/ 716 h 1414"/>
                <a:gd name="T36" fmla="*/ 1084 w 1084"/>
                <a:gd name="T37" fmla="*/ 711 h 1414"/>
                <a:gd name="T38" fmla="*/ 1084 w 1084"/>
                <a:gd name="T39" fmla="*/ 0 h 1414"/>
                <a:gd name="T40" fmla="*/ 488 w 1084"/>
                <a:gd name="T41" fmla="*/ 0 h 1414"/>
                <a:gd name="T42" fmla="*/ 477 w 1084"/>
                <a:gd name="T43" fmla="*/ 11 h 1414"/>
                <a:gd name="T44" fmla="*/ 0 w 1084"/>
                <a:gd name="T45" fmla="*/ 489 h 1414"/>
                <a:gd name="T46" fmla="*/ 0 w 1084"/>
                <a:gd name="T47" fmla="*/ 1414 h 1414"/>
                <a:gd name="T48" fmla="*/ 1084 w 1084"/>
                <a:gd name="T49" fmla="*/ 1414 h 1414"/>
                <a:gd name="T50" fmla="*/ 1084 w 1084"/>
                <a:gd name="T51" fmla="*/ 1000 h 1414"/>
                <a:gd name="T52" fmla="*/ 1078 w 1084"/>
                <a:gd name="T53" fmla="*/ 995 h 1414"/>
                <a:gd name="T54" fmla="*/ 1014 w 1084"/>
                <a:gd name="T55" fmla="*/ 856 h 1414"/>
                <a:gd name="T56" fmla="*/ 997 w 1084"/>
                <a:gd name="T57" fmla="*/ 856 h 1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4" h="1414">
                  <a:moveTo>
                    <a:pt x="997" y="856"/>
                  </a:moveTo>
                  <a:lnTo>
                    <a:pt x="980" y="856"/>
                  </a:lnTo>
                  <a:cubicBezTo>
                    <a:pt x="980" y="922"/>
                    <a:pt x="1010" y="981"/>
                    <a:pt x="1057" y="1021"/>
                  </a:cubicBezTo>
                  <a:lnTo>
                    <a:pt x="1068" y="1008"/>
                  </a:lnTo>
                  <a:lnTo>
                    <a:pt x="1051" y="1008"/>
                  </a:lnTo>
                  <a:lnTo>
                    <a:pt x="1051" y="1381"/>
                  </a:lnTo>
                  <a:lnTo>
                    <a:pt x="33" y="1381"/>
                  </a:lnTo>
                  <a:lnTo>
                    <a:pt x="33" y="502"/>
                  </a:lnTo>
                  <a:lnTo>
                    <a:pt x="501" y="35"/>
                  </a:lnTo>
                  <a:lnTo>
                    <a:pt x="502" y="33"/>
                  </a:lnTo>
                  <a:lnTo>
                    <a:pt x="1051" y="33"/>
                  </a:lnTo>
                  <a:lnTo>
                    <a:pt x="1051" y="703"/>
                  </a:lnTo>
                  <a:lnTo>
                    <a:pt x="1068" y="703"/>
                  </a:lnTo>
                  <a:lnTo>
                    <a:pt x="1057" y="691"/>
                  </a:lnTo>
                  <a:cubicBezTo>
                    <a:pt x="1010" y="730"/>
                    <a:pt x="980" y="790"/>
                    <a:pt x="980" y="856"/>
                  </a:cubicBezTo>
                  <a:lnTo>
                    <a:pt x="997" y="856"/>
                  </a:lnTo>
                  <a:lnTo>
                    <a:pt x="1014" y="856"/>
                  </a:lnTo>
                  <a:cubicBezTo>
                    <a:pt x="1014" y="800"/>
                    <a:pt x="1039" y="750"/>
                    <a:pt x="1078" y="716"/>
                  </a:cubicBezTo>
                  <a:lnTo>
                    <a:pt x="1084" y="711"/>
                  </a:lnTo>
                  <a:lnTo>
                    <a:pt x="1084" y="0"/>
                  </a:lnTo>
                  <a:lnTo>
                    <a:pt x="488" y="0"/>
                  </a:lnTo>
                  <a:lnTo>
                    <a:pt x="477" y="11"/>
                  </a:lnTo>
                  <a:lnTo>
                    <a:pt x="0" y="489"/>
                  </a:lnTo>
                  <a:lnTo>
                    <a:pt x="0" y="1414"/>
                  </a:lnTo>
                  <a:lnTo>
                    <a:pt x="1084" y="1414"/>
                  </a:lnTo>
                  <a:lnTo>
                    <a:pt x="1084" y="1000"/>
                  </a:lnTo>
                  <a:lnTo>
                    <a:pt x="1078" y="995"/>
                  </a:lnTo>
                  <a:cubicBezTo>
                    <a:pt x="1039" y="962"/>
                    <a:pt x="1014" y="912"/>
                    <a:pt x="1014" y="856"/>
                  </a:cubicBezTo>
                  <a:lnTo>
                    <a:pt x="997" y="856"/>
                  </a:lnTo>
                  <a:close/>
                </a:path>
              </a:pathLst>
            </a:custGeom>
            <a:solidFill>
              <a:schemeClr val="tx1"/>
            </a:solidFill>
            <a:ln w="9525">
              <a:solidFill>
                <a:schemeClr val="tx1"/>
              </a:solidFill>
              <a:round/>
              <a:headEnd/>
              <a:tailEnd/>
            </a:ln>
          </p:spPr>
          <p:txBody>
            <a:bodyPr vert="horz" wrap="square" lIns="68580" tIns="34290" rIns="68580" bIns="34290" numCol="1" anchor="t" anchorCtr="0" compatLnSpc="1">
              <a:prstTxWarp prst="textNoShape">
                <a:avLst/>
              </a:prstTxWarp>
            </a:bodyPr>
            <a:lstStyle/>
            <a:p>
              <a:pPr defTabSz="685800">
                <a:defRPr/>
              </a:pPr>
              <a:endParaRPr lang="fr-FR" sz="1350">
                <a:solidFill>
                  <a:prstClr val="black"/>
                </a:solidFill>
                <a:latin typeface="Calibri" panose="020F0502020204030204"/>
              </a:endParaRPr>
            </a:p>
          </p:txBody>
        </p:sp>
        <p:sp>
          <p:nvSpPr>
            <p:cNvPr id="264" name="Freeform 1571">
              <a:extLst>
                <a:ext uri="{FF2B5EF4-FFF2-40B4-BE49-F238E27FC236}">
                  <a16:creationId xmlns:a16="http://schemas.microsoft.com/office/drawing/2014/main" id="{283F96D3-9755-82BF-04F7-B6B122B3EA6D}"/>
                </a:ext>
              </a:extLst>
            </p:cNvPr>
            <p:cNvSpPr>
              <a:spLocks/>
            </p:cNvSpPr>
            <p:nvPr/>
          </p:nvSpPr>
          <p:spPr bwMode="auto">
            <a:xfrm>
              <a:off x="6700671" y="1953078"/>
              <a:ext cx="377705" cy="377705"/>
            </a:xfrm>
            <a:custGeom>
              <a:avLst/>
              <a:gdLst>
                <a:gd name="T0" fmla="*/ 0 w 64"/>
                <a:gd name="T1" fmla="*/ 64 h 64"/>
                <a:gd name="T2" fmla="*/ 64 w 64"/>
                <a:gd name="T3" fmla="*/ 64 h 64"/>
                <a:gd name="T4" fmla="*/ 64 w 64"/>
                <a:gd name="T5" fmla="*/ 0 h 64"/>
                <a:gd name="T6" fmla="*/ 59 w 64"/>
                <a:gd name="T7" fmla="*/ 0 h 64"/>
                <a:gd name="T8" fmla="*/ 59 w 64"/>
                <a:gd name="T9" fmla="*/ 60 h 64"/>
                <a:gd name="T10" fmla="*/ 0 w 64"/>
                <a:gd name="T11" fmla="*/ 60 h 64"/>
                <a:gd name="T12" fmla="*/ 0 w 64"/>
                <a:gd name="T13" fmla="*/ 64 h 64"/>
              </a:gdLst>
              <a:ahLst/>
              <a:cxnLst>
                <a:cxn ang="0">
                  <a:pos x="T0" y="T1"/>
                </a:cxn>
                <a:cxn ang="0">
                  <a:pos x="T2" y="T3"/>
                </a:cxn>
                <a:cxn ang="0">
                  <a:pos x="T4" y="T5"/>
                </a:cxn>
                <a:cxn ang="0">
                  <a:pos x="T6" y="T7"/>
                </a:cxn>
                <a:cxn ang="0">
                  <a:pos x="T8" y="T9"/>
                </a:cxn>
                <a:cxn ang="0">
                  <a:pos x="T10" y="T11"/>
                </a:cxn>
                <a:cxn ang="0">
                  <a:pos x="T12" y="T13"/>
                </a:cxn>
              </a:cxnLst>
              <a:rect l="0" t="0" r="r" b="b"/>
              <a:pathLst>
                <a:path w="64" h="64">
                  <a:moveTo>
                    <a:pt x="0" y="64"/>
                  </a:moveTo>
                  <a:lnTo>
                    <a:pt x="64" y="64"/>
                  </a:lnTo>
                  <a:lnTo>
                    <a:pt x="64" y="0"/>
                  </a:lnTo>
                  <a:lnTo>
                    <a:pt x="59" y="0"/>
                  </a:lnTo>
                  <a:lnTo>
                    <a:pt x="59" y="60"/>
                  </a:lnTo>
                  <a:lnTo>
                    <a:pt x="0" y="60"/>
                  </a:lnTo>
                  <a:lnTo>
                    <a:pt x="0" y="64"/>
                  </a:lnTo>
                  <a:close/>
                </a:path>
              </a:pathLst>
            </a:custGeom>
            <a:solidFill>
              <a:schemeClr val="tx1"/>
            </a:solidFill>
            <a:ln w="9525">
              <a:solidFill>
                <a:schemeClr val="tx1"/>
              </a:solidFill>
              <a:round/>
              <a:headEnd/>
              <a:tailEnd/>
            </a:ln>
          </p:spPr>
          <p:txBody>
            <a:bodyPr vert="horz" wrap="square" lIns="68580" tIns="34290" rIns="68580" bIns="34290" numCol="1" anchor="t" anchorCtr="0" compatLnSpc="1">
              <a:prstTxWarp prst="textNoShape">
                <a:avLst/>
              </a:prstTxWarp>
            </a:bodyPr>
            <a:lstStyle/>
            <a:p>
              <a:pPr defTabSz="685800">
                <a:defRPr/>
              </a:pPr>
              <a:endParaRPr lang="fr-FR" sz="1350">
                <a:solidFill>
                  <a:prstClr val="black"/>
                </a:solidFill>
                <a:latin typeface="Calibri" panose="020F0502020204030204"/>
              </a:endParaRPr>
            </a:p>
          </p:txBody>
        </p:sp>
        <p:sp>
          <p:nvSpPr>
            <p:cNvPr id="265" name="Freeform 1572">
              <a:extLst>
                <a:ext uri="{FF2B5EF4-FFF2-40B4-BE49-F238E27FC236}">
                  <a16:creationId xmlns:a16="http://schemas.microsoft.com/office/drawing/2014/main" id="{4A9F35B0-9251-E272-7B37-3736F7729AD9}"/>
                </a:ext>
              </a:extLst>
            </p:cNvPr>
            <p:cNvSpPr>
              <a:spLocks/>
            </p:cNvSpPr>
            <p:nvPr/>
          </p:nvSpPr>
          <p:spPr bwMode="auto">
            <a:xfrm>
              <a:off x="7438373" y="2431112"/>
              <a:ext cx="330492" cy="324592"/>
            </a:xfrm>
            <a:custGeom>
              <a:avLst/>
              <a:gdLst>
                <a:gd name="T0" fmla="*/ 415 w 431"/>
                <a:gd name="T1" fmla="*/ 216 h 431"/>
                <a:gd name="T2" fmla="*/ 398 w 431"/>
                <a:gd name="T3" fmla="*/ 216 h 431"/>
                <a:gd name="T4" fmla="*/ 255 w 431"/>
                <a:gd name="T5" fmla="*/ 393 h 431"/>
                <a:gd name="T6" fmla="*/ 255 w 431"/>
                <a:gd name="T7" fmla="*/ 393 h 431"/>
                <a:gd name="T8" fmla="*/ 216 w 431"/>
                <a:gd name="T9" fmla="*/ 398 h 431"/>
                <a:gd name="T10" fmla="*/ 176 w 431"/>
                <a:gd name="T11" fmla="*/ 393 h 431"/>
                <a:gd name="T12" fmla="*/ 176 w 431"/>
                <a:gd name="T13" fmla="*/ 393 h 431"/>
                <a:gd name="T14" fmla="*/ 99 w 431"/>
                <a:gd name="T15" fmla="*/ 355 h 431"/>
                <a:gd name="T16" fmla="*/ 99 w 431"/>
                <a:gd name="T17" fmla="*/ 355 h 431"/>
                <a:gd name="T18" fmla="*/ 34 w 431"/>
                <a:gd name="T19" fmla="*/ 216 h 431"/>
                <a:gd name="T20" fmla="*/ 99 w 431"/>
                <a:gd name="T21" fmla="*/ 76 h 431"/>
                <a:gd name="T22" fmla="*/ 216 w 431"/>
                <a:gd name="T23" fmla="*/ 34 h 431"/>
                <a:gd name="T24" fmla="*/ 345 w 431"/>
                <a:gd name="T25" fmla="*/ 87 h 431"/>
                <a:gd name="T26" fmla="*/ 398 w 431"/>
                <a:gd name="T27" fmla="*/ 216 h 431"/>
                <a:gd name="T28" fmla="*/ 415 w 431"/>
                <a:gd name="T29" fmla="*/ 216 h 431"/>
                <a:gd name="T30" fmla="*/ 431 w 431"/>
                <a:gd name="T31" fmla="*/ 216 h 431"/>
                <a:gd name="T32" fmla="*/ 216 w 431"/>
                <a:gd name="T33" fmla="*/ 0 h 431"/>
                <a:gd name="T34" fmla="*/ 77 w 431"/>
                <a:gd name="T35" fmla="*/ 51 h 431"/>
                <a:gd name="T36" fmla="*/ 0 w 431"/>
                <a:gd name="T37" fmla="*/ 216 h 431"/>
                <a:gd name="T38" fmla="*/ 77 w 431"/>
                <a:gd name="T39" fmla="*/ 381 h 431"/>
                <a:gd name="T40" fmla="*/ 77 w 431"/>
                <a:gd name="T41" fmla="*/ 381 h 431"/>
                <a:gd name="T42" fmla="*/ 169 w 431"/>
                <a:gd name="T43" fmla="*/ 426 h 431"/>
                <a:gd name="T44" fmla="*/ 173 w 431"/>
                <a:gd name="T45" fmla="*/ 410 h 431"/>
                <a:gd name="T46" fmla="*/ 169 w 431"/>
                <a:gd name="T47" fmla="*/ 426 h 431"/>
                <a:gd name="T48" fmla="*/ 216 w 431"/>
                <a:gd name="T49" fmla="*/ 431 h 431"/>
                <a:gd name="T50" fmla="*/ 263 w 431"/>
                <a:gd name="T51" fmla="*/ 426 h 431"/>
                <a:gd name="T52" fmla="*/ 262 w 431"/>
                <a:gd name="T53" fmla="*/ 426 h 431"/>
                <a:gd name="T54" fmla="*/ 431 w 431"/>
                <a:gd name="T55" fmla="*/ 216 h 431"/>
                <a:gd name="T56" fmla="*/ 415 w 431"/>
                <a:gd name="T57" fmla="*/ 216 h 4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431" h="431">
                  <a:moveTo>
                    <a:pt x="415" y="216"/>
                  </a:moveTo>
                  <a:lnTo>
                    <a:pt x="398" y="216"/>
                  </a:lnTo>
                  <a:cubicBezTo>
                    <a:pt x="398" y="303"/>
                    <a:pt x="337" y="375"/>
                    <a:pt x="255" y="393"/>
                  </a:cubicBezTo>
                  <a:lnTo>
                    <a:pt x="255" y="393"/>
                  </a:lnTo>
                  <a:cubicBezTo>
                    <a:pt x="242" y="396"/>
                    <a:pt x="229" y="398"/>
                    <a:pt x="216" y="398"/>
                  </a:cubicBezTo>
                  <a:cubicBezTo>
                    <a:pt x="202" y="398"/>
                    <a:pt x="189" y="396"/>
                    <a:pt x="176" y="393"/>
                  </a:cubicBezTo>
                  <a:lnTo>
                    <a:pt x="176" y="393"/>
                  </a:lnTo>
                  <a:cubicBezTo>
                    <a:pt x="147" y="387"/>
                    <a:pt x="121" y="374"/>
                    <a:pt x="99" y="355"/>
                  </a:cubicBezTo>
                  <a:lnTo>
                    <a:pt x="99" y="355"/>
                  </a:lnTo>
                  <a:cubicBezTo>
                    <a:pt x="59" y="322"/>
                    <a:pt x="34" y="272"/>
                    <a:pt x="34" y="216"/>
                  </a:cubicBezTo>
                  <a:cubicBezTo>
                    <a:pt x="34" y="160"/>
                    <a:pt x="59" y="110"/>
                    <a:pt x="99" y="76"/>
                  </a:cubicBezTo>
                  <a:cubicBezTo>
                    <a:pt x="130" y="50"/>
                    <a:pt x="171" y="34"/>
                    <a:pt x="216" y="34"/>
                  </a:cubicBezTo>
                  <a:cubicBezTo>
                    <a:pt x="266" y="34"/>
                    <a:pt x="312" y="54"/>
                    <a:pt x="345" y="87"/>
                  </a:cubicBezTo>
                  <a:cubicBezTo>
                    <a:pt x="378" y="120"/>
                    <a:pt x="398" y="165"/>
                    <a:pt x="398" y="216"/>
                  </a:cubicBezTo>
                  <a:lnTo>
                    <a:pt x="415" y="216"/>
                  </a:lnTo>
                  <a:lnTo>
                    <a:pt x="431" y="216"/>
                  </a:lnTo>
                  <a:cubicBezTo>
                    <a:pt x="431" y="97"/>
                    <a:pt x="335" y="0"/>
                    <a:pt x="216" y="0"/>
                  </a:cubicBezTo>
                  <a:cubicBezTo>
                    <a:pt x="163" y="0"/>
                    <a:pt x="115" y="19"/>
                    <a:pt x="77" y="51"/>
                  </a:cubicBezTo>
                  <a:cubicBezTo>
                    <a:pt x="30" y="90"/>
                    <a:pt x="0" y="150"/>
                    <a:pt x="0" y="216"/>
                  </a:cubicBezTo>
                  <a:cubicBezTo>
                    <a:pt x="0" y="282"/>
                    <a:pt x="30" y="341"/>
                    <a:pt x="77" y="381"/>
                  </a:cubicBezTo>
                  <a:lnTo>
                    <a:pt x="77" y="381"/>
                  </a:lnTo>
                  <a:cubicBezTo>
                    <a:pt x="103" y="402"/>
                    <a:pt x="135" y="419"/>
                    <a:pt x="169" y="426"/>
                  </a:cubicBezTo>
                  <a:lnTo>
                    <a:pt x="173" y="410"/>
                  </a:lnTo>
                  <a:lnTo>
                    <a:pt x="169" y="426"/>
                  </a:lnTo>
                  <a:cubicBezTo>
                    <a:pt x="184" y="429"/>
                    <a:pt x="200" y="431"/>
                    <a:pt x="216" y="431"/>
                  </a:cubicBezTo>
                  <a:cubicBezTo>
                    <a:pt x="232" y="431"/>
                    <a:pt x="247" y="429"/>
                    <a:pt x="263" y="426"/>
                  </a:cubicBezTo>
                  <a:lnTo>
                    <a:pt x="262" y="426"/>
                  </a:lnTo>
                  <a:cubicBezTo>
                    <a:pt x="359" y="405"/>
                    <a:pt x="431" y="319"/>
                    <a:pt x="431" y="216"/>
                  </a:cubicBezTo>
                  <a:lnTo>
                    <a:pt x="415" y="216"/>
                  </a:lnTo>
                  <a:close/>
                </a:path>
              </a:pathLst>
            </a:custGeom>
            <a:solidFill>
              <a:schemeClr val="tx2"/>
            </a:solidFill>
            <a:ln w="9525">
              <a:solidFill>
                <a:schemeClr val="accent1"/>
              </a:solidFill>
              <a:round/>
              <a:headEnd/>
              <a:tailEnd/>
            </a:ln>
          </p:spPr>
          <p:txBody>
            <a:bodyPr vert="horz" wrap="square" lIns="68580" tIns="34290" rIns="68580" bIns="34290" numCol="1" anchor="t" anchorCtr="0" compatLnSpc="1">
              <a:prstTxWarp prst="textNoShape">
                <a:avLst/>
              </a:prstTxWarp>
            </a:bodyPr>
            <a:lstStyle/>
            <a:p>
              <a:pPr defTabSz="685800">
                <a:defRPr/>
              </a:pPr>
              <a:endParaRPr lang="fr-FR" sz="1350">
                <a:solidFill>
                  <a:prstClr val="black"/>
                </a:solidFill>
                <a:latin typeface="Calibri" panose="020F0502020204030204"/>
              </a:endParaRPr>
            </a:p>
          </p:txBody>
        </p:sp>
        <p:sp>
          <p:nvSpPr>
            <p:cNvPr id="266" name="Freeform 1573">
              <a:extLst>
                <a:ext uri="{FF2B5EF4-FFF2-40B4-BE49-F238E27FC236}">
                  <a16:creationId xmlns:a16="http://schemas.microsoft.com/office/drawing/2014/main" id="{33324D69-1A63-A8F3-2062-1FE153145E4A}"/>
                </a:ext>
              </a:extLst>
            </p:cNvPr>
            <p:cNvSpPr>
              <a:spLocks/>
            </p:cNvSpPr>
            <p:nvPr/>
          </p:nvSpPr>
          <p:spPr bwMode="auto">
            <a:xfrm>
              <a:off x="7497391" y="2490127"/>
              <a:ext cx="212459" cy="212459"/>
            </a:xfrm>
            <a:custGeom>
              <a:avLst/>
              <a:gdLst>
                <a:gd name="T0" fmla="*/ 33 w 277"/>
                <a:gd name="T1" fmla="*/ 139 h 278"/>
                <a:gd name="T2" fmla="*/ 64 w 277"/>
                <a:gd name="T3" fmla="*/ 65 h 278"/>
                <a:gd name="T4" fmla="*/ 139 w 277"/>
                <a:gd name="T5" fmla="*/ 34 h 278"/>
                <a:gd name="T6" fmla="*/ 213 w 277"/>
                <a:gd name="T7" fmla="*/ 65 h 278"/>
                <a:gd name="T8" fmla="*/ 244 w 277"/>
                <a:gd name="T9" fmla="*/ 139 h 278"/>
                <a:gd name="T10" fmla="*/ 213 w 277"/>
                <a:gd name="T11" fmla="*/ 213 h 278"/>
                <a:gd name="T12" fmla="*/ 139 w 277"/>
                <a:gd name="T13" fmla="*/ 244 h 278"/>
                <a:gd name="T14" fmla="*/ 139 w 277"/>
                <a:gd name="T15" fmla="*/ 278 h 278"/>
                <a:gd name="T16" fmla="*/ 277 w 277"/>
                <a:gd name="T17" fmla="*/ 139 h 278"/>
                <a:gd name="T18" fmla="*/ 139 w 277"/>
                <a:gd name="T19" fmla="*/ 0 h 278"/>
                <a:gd name="T20" fmla="*/ 0 w 277"/>
                <a:gd name="T21" fmla="*/ 139 h 278"/>
                <a:gd name="T22" fmla="*/ 33 w 277"/>
                <a:gd name="T23" fmla="*/ 139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7" h="278">
                  <a:moveTo>
                    <a:pt x="33" y="139"/>
                  </a:moveTo>
                  <a:cubicBezTo>
                    <a:pt x="34" y="110"/>
                    <a:pt x="45" y="84"/>
                    <a:pt x="64" y="65"/>
                  </a:cubicBezTo>
                  <a:cubicBezTo>
                    <a:pt x="83" y="45"/>
                    <a:pt x="109" y="34"/>
                    <a:pt x="139" y="34"/>
                  </a:cubicBezTo>
                  <a:cubicBezTo>
                    <a:pt x="168" y="34"/>
                    <a:pt x="194" y="45"/>
                    <a:pt x="213" y="65"/>
                  </a:cubicBezTo>
                  <a:cubicBezTo>
                    <a:pt x="232" y="84"/>
                    <a:pt x="244" y="110"/>
                    <a:pt x="244" y="139"/>
                  </a:cubicBezTo>
                  <a:cubicBezTo>
                    <a:pt x="244" y="168"/>
                    <a:pt x="232" y="194"/>
                    <a:pt x="213" y="213"/>
                  </a:cubicBezTo>
                  <a:cubicBezTo>
                    <a:pt x="194" y="232"/>
                    <a:pt x="168" y="244"/>
                    <a:pt x="139" y="244"/>
                  </a:cubicBezTo>
                  <a:lnTo>
                    <a:pt x="139" y="278"/>
                  </a:lnTo>
                  <a:cubicBezTo>
                    <a:pt x="215" y="278"/>
                    <a:pt x="277" y="216"/>
                    <a:pt x="277" y="139"/>
                  </a:cubicBezTo>
                  <a:cubicBezTo>
                    <a:pt x="277" y="62"/>
                    <a:pt x="215" y="0"/>
                    <a:pt x="139" y="0"/>
                  </a:cubicBezTo>
                  <a:cubicBezTo>
                    <a:pt x="62" y="0"/>
                    <a:pt x="0" y="62"/>
                    <a:pt x="0" y="139"/>
                  </a:cubicBezTo>
                  <a:lnTo>
                    <a:pt x="33" y="139"/>
                  </a:lnTo>
                  <a:close/>
                </a:path>
              </a:pathLst>
            </a:custGeom>
            <a:solidFill>
              <a:schemeClr val="tx2"/>
            </a:solidFill>
            <a:ln w="9525">
              <a:solidFill>
                <a:schemeClr val="accent1"/>
              </a:solidFill>
              <a:round/>
              <a:headEnd/>
              <a:tailEnd/>
            </a:ln>
          </p:spPr>
          <p:txBody>
            <a:bodyPr vert="horz" wrap="square" lIns="68580" tIns="34290" rIns="68580" bIns="34290" numCol="1" anchor="t" anchorCtr="0" compatLnSpc="1">
              <a:prstTxWarp prst="textNoShape">
                <a:avLst/>
              </a:prstTxWarp>
            </a:bodyPr>
            <a:lstStyle/>
            <a:p>
              <a:pPr defTabSz="685800">
                <a:defRPr/>
              </a:pPr>
              <a:endParaRPr lang="fr-FR" sz="1350">
                <a:solidFill>
                  <a:prstClr val="black"/>
                </a:solidFill>
                <a:latin typeface="Calibri" panose="020F0502020204030204"/>
              </a:endParaRPr>
            </a:p>
          </p:txBody>
        </p:sp>
        <p:sp>
          <p:nvSpPr>
            <p:cNvPr id="267" name="Freeform 1574">
              <a:extLst>
                <a:ext uri="{FF2B5EF4-FFF2-40B4-BE49-F238E27FC236}">
                  <a16:creationId xmlns:a16="http://schemas.microsoft.com/office/drawing/2014/main" id="{A1B850BE-A42B-441D-B438-7E296F5BECAC}"/>
                </a:ext>
              </a:extLst>
            </p:cNvPr>
            <p:cNvSpPr>
              <a:spLocks/>
            </p:cNvSpPr>
            <p:nvPr/>
          </p:nvSpPr>
          <p:spPr bwMode="auto">
            <a:xfrm>
              <a:off x="7556407" y="2726193"/>
              <a:ext cx="88526" cy="295082"/>
            </a:xfrm>
            <a:custGeom>
              <a:avLst/>
              <a:gdLst>
                <a:gd name="T0" fmla="*/ 103 w 119"/>
                <a:gd name="T1" fmla="*/ 21 h 385"/>
                <a:gd name="T2" fmla="*/ 86 w 119"/>
                <a:gd name="T3" fmla="*/ 21 h 385"/>
                <a:gd name="T4" fmla="*/ 86 w 119"/>
                <a:gd name="T5" fmla="*/ 326 h 385"/>
                <a:gd name="T6" fmla="*/ 60 w 119"/>
                <a:gd name="T7" fmla="*/ 352 h 385"/>
                <a:gd name="T8" fmla="*/ 33 w 119"/>
                <a:gd name="T9" fmla="*/ 326 h 385"/>
                <a:gd name="T10" fmla="*/ 33 w 119"/>
                <a:gd name="T11" fmla="*/ 21 h 385"/>
                <a:gd name="T12" fmla="*/ 17 w 119"/>
                <a:gd name="T13" fmla="*/ 21 h 385"/>
                <a:gd name="T14" fmla="*/ 13 w 119"/>
                <a:gd name="T15" fmla="*/ 37 h 385"/>
                <a:gd name="T16" fmla="*/ 60 w 119"/>
                <a:gd name="T17" fmla="*/ 42 h 385"/>
                <a:gd name="T18" fmla="*/ 106 w 119"/>
                <a:gd name="T19" fmla="*/ 37 h 385"/>
                <a:gd name="T20" fmla="*/ 103 w 119"/>
                <a:gd name="T21" fmla="*/ 21 h 385"/>
                <a:gd name="T22" fmla="*/ 86 w 119"/>
                <a:gd name="T23" fmla="*/ 21 h 385"/>
                <a:gd name="T24" fmla="*/ 103 w 119"/>
                <a:gd name="T25" fmla="*/ 21 h 385"/>
                <a:gd name="T26" fmla="*/ 99 w 119"/>
                <a:gd name="T27" fmla="*/ 4 h 385"/>
                <a:gd name="T28" fmla="*/ 60 w 119"/>
                <a:gd name="T29" fmla="*/ 9 h 385"/>
                <a:gd name="T30" fmla="*/ 20 w 119"/>
                <a:gd name="T31" fmla="*/ 4 h 385"/>
                <a:gd name="T32" fmla="*/ 0 w 119"/>
                <a:gd name="T33" fmla="*/ 0 h 385"/>
                <a:gd name="T34" fmla="*/ 0 w 119"/>
                <a:gd name="T35" fmla="*/ 326 h 385"/>
                <a:gd name="T36" fmla="*/ 60 w 119"/>
                <a:gd name="T37" fmla="*/ 385 h 385"/>
                <a:gd name="T38" fmla="*/ 119 w 119"/>
                <a:gd name="T39" fmla="*/ 326 h 385"/>
                <a:gd name="T40" fmla="*/ 119 w 119"/>
                <a:gd name="T41" fmla="*/ 0 h 385"/>
                <a:gd name="T42" fmla="*/ 99 w 119"/>
                <a:gd name="T43" fmla="*/ 4 h 385"/>
                <a:gd name="T44" fmla="*/ 103 w 119"/>
                <a:gd name="T45" fmla="*/ 21 h 3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19" h="385">
                  <a:moveTo>
                    <a:pt x="103" y="21"/>
                  </a:moveTo>
                  <a:lnTo>
                    <a:pt x="86" y="21"/>
                  </a:lnTo>
                  <a:lnTo>
                    <a:pt x="86" y="326"/>
                  </a:lnTo>
                  <a:cubicBezTo>
                    <a:pt x="86" y="340"/>
                    <a:pt x="74" y="352"/>
                    <a:pt x="60" y="352"/>
                  </a:cubicBezTo>
                  <a:cubicBezTo>
                    <a:pt x="45" y="352"/>
                    <a:pt x="33" y="340"/>
                    <a:pt x="33" y="326"/>
                  </a:cubicBezTo>
                  <a:lnTo>
                    <a:pt x="33" y="21"/>
                  </a:lnTo>
                  <a:lnTo>
                    <a:pt x="17" y="21"/>
                  </a:lnTo>
                  <a:lnTo>
                    <a:pt x="13" y="37"/>
                  </a:lnTo>
                  <a:cubicBezTo>
                    <a:pt x="28" y="40"/>
                    <a:pt x="44" y="42"/>
                    <a:pt x="60" y="42"/>
                  </a:cubicBezTo>
                  <a:cubicBezTo>
                    <a:pt x="76" y="42"/>
                    <a:pt x="91" y="40"/>
                    <a:pt x="106" y="37"/>
                  </a:cubicBezTo>
                  <a:lnTo>
                    <a:pt x="103" y="21"/>
                  </a:lnTo>
                  <a:lnTo>
                    <a:pt x="86" y="21"/>
                  </a:lnTo>
                  <a:lnTo>
                    <a:pt x="103" y="21"/>
                  </a:lnTo>
                  <a:lnTo>
                    <a:pt x="99" y="4"/>
                  </a:lnTo>
                  <a:cubicBezTo>
                    <a:pt x="86" y="7"/>
                    <a:pt x="73" y="9"/>
                    <a:pt x="60" y="9"/>
                  </a:cubicBezTo>
                  <a:cubicBezTo>
                    <a:pt x="46" y="9"/>
                    <a:pt x="33" y="7"/>
                    <a:pt x="20" y="4"/>
                  </a:cubicBezTo>
                  <a:lnTo>
                    <a:pt x="0" y="0"/>
                  </a:lnTo>
                  <a:lnTo>
                    <a:pt x="0" y="326"/>
                  </a:lnTo>
                  <a:cubicBezTo>
                    <a:pt x="0" y="358"/>
                    <a:pt x="26" y="385"/>
                    <a:pt x="60" y="385"/>
                  </a:cubicBezTo>
                  <a:cubicBezTo>
                    <a:pt x="93" y="385"/>
                    <a:pt x="119" y="358"/>
                    <a:pt x="119" y="326"/>
                  </a:cubicBezTo>
                  <a:lnTo>
                    <a:pt x="119" y="0"/>
                  </a:lnTo>
                  <a:lnTo>
                    <a:pt x="99" y="4"/>
                  </a:lnTo>
                  <a:lnTo>
                    <a:pt x="103" y="21"/>
                  </a:lnTo>
                </a:path>
              </a:pathLst>
            </a:custGeom>
            <a:solidFill>
              <a:schemeClr val="tx2"/>
            </a:solidFill>
            <a:ln w="9525">
              <a:solidFill>
                <a:schemeClr val="accent1"/>
              </a:solidFill>
              <a:round/>
              <a:headEnd/>
              <a:tailEnd/>
            </a:ln>
          </p:spPr>
          <p:txBody>
            <a:bodyPr vert="horz" wrap="square" lIns="68580" tIns="34290" rIns="68580" bIns="34290" numCol="1" anchor="t" anchorCtr="0" compatLnSpc="1">
              <a:prstTxWarp prst="textNoShape">
                <a:avLst/>
              </a:prstTxWarp>
            </a:bodyPr>
            <a:lstStyle/>
            <a:p>
              <a:pPr defTabSz="685800">
                <a:defRPr/>
              </a:pPr>
              <a:endParaRPr lang="fr-FR" sz="1350">
                <a:solidFill>
                  <a:prstClr val="black"/>
                </a:solidFill>
                <a:latin typeface="Calibri" panose="020F0502020204030204"/>
              </a:endParaRPr>
            </a:p>
          </p:txBody>
        </p:sp>
        <p:sp>
          <p:nvSpPr>
            <p:cNvPr id="278" name="Freeform 1585">
              <a:extLst>
                <a:ext uri="{FF2B5EF4-FFF2-40B4-BE49-F238E27FC236}">
                  <a16:creationId xmlns:a16="http://schemas.microsoft.com/office/drawing/2014/main" id="{94CEFB95-4CED-FFAF-12CD-72DAD9D37D2A}"/>
                </a:ext>
              </a:extLst>
            </p:cNvPr>
            <p:cNvSpPr>
              <a:spLocks/>
            </p:cNvSpPr>
            <p:nvPr/>
          </p:nvSpPr>
          <p:spPr bwMode="auto">
            <a:xfrm>
              <a:off x="6789194" y="2944552"/>
              <a:ext cx="631477" cy="23606"/>
            </a:xfrm>
            <a:custGeom>
              <a:avLst/>
              <a:gdLst>
                <a:gd name="T0" fmla="*/ 0 w 830"/>
                <a:gd name="T1" fmla="*/ 34 h 34"/>
                <a:gd name="T2" fmla="*/ 830 w 830"/>
                <a:gd name="T3" fmla="*/ 34 h 34"/>
                <a:gd name="T4" fmla="*/ 830 w 830"/>
                <a:gd name="T5" fmla="*/ 0 h 34"/>
                <a:gd name="T6" fmla="*/ 0 w 830"/>
                <a:gd name="T7" fmla="*/ 0 h 34"/>
              </a:gdLst>
              <a:ahLst/>
              <a:cxnLst>
                <a:cxn ang="0">
                  <a:pos x="T0" y="T1"/>
                </a:cxn>
                <a:cxn ang="0">
                  <a:pos x="T2" y="T3"/>
                </a:cxn>
                <a:cxn ang="0">
                  <a:pos x="T4" y="T5"/>
                </a:cxn>
                <a:cxn ang="0">
                  <a:pos x="T6" y="T7"/>
                </a:cxn>
              </a:cxnLst>
              <a:rect l="0" t="0" r="r" b="b"/>
              <a:pathLst>
                <a:path w="830" h="34">
                  <a:moveTo>
                    <a:pt x="0" y="34"/>
                  </a:moveTo>
                  <a:lnTo>
                    <a:pt x="830" y="34"/>
                  </a:lnTo>
                  <a:lnTo>
                    <a:pt x="830" y="0"/>
                  </a:lnTo>
                  <a:lnTo>
                    <a:pt x="0" y="0"/>
                  </a:lnTo>
                </a:path>
              </a:pathLst>
            </a:custGeom>
            <a:solidFill>
              <a:schemeClr val="tx1"/>
            </a:solidFill>
            <a:ln w="9525">
              <a:solidFill>
                <a:schemeClr val="tx1"/>
              </a:solidFill>
              <a:round/>
              <a:headEnd/>
              <a:tailEnd/>
            </a:ln>
          </p:spPr>
          <p:txBody>
            <a:bodyPr vert="horz" wrap="square" lIns="68580" tIns="34290" rIns="68580" bIns="34290" numCol="1" anchor="t" anchorCtr="0" compatLnSpc="1">
              <a:prstTxWarp prst="textNoShape">
                <a:avLst/>
              </a:prstTxWarp>
            </a:bodyPr>
            <a:lstStyle/>
            <a:p>
              <a:pPr defTabSz="685800">
                <a:defRPr/>
              </a:pPr>
              <a:endParaRPr lang="fr-FR" sz="1350">
                <a:solidFill>
                  <a:prstClr val="black"/>
                </a:solidFill>
                <a:latin typeface="Calibri" panose="020F0502020204030204"/>
              </a:endParaRPr>
            </a:p>
          </p:txBody>
        </p:sp>
        <p:sp>
          <p:nvSpPr>
            <p:cNvPr id="279" name="Rectangle 876">
              <a:extLst>
                <a:ext uri="{FF2B5EF4-FFF2-40B4-BE49-F238E27FC236}">
                  <a16:creationId xmlns:a16="http://schemas.microsoft.com/office/drawing/2014/main" id="{6ACCA32A-A174-4618-6DFF-60A1C9FBD4F8}"/>
                </a:ext>
              </a:extLst>
            </p:cNvPr>
            <p:cNvSpPr>
              <a:spLocks noChangeArrowheads="1"/>
            </p:cNvSpPr>
            <p:nvPr/>
          </p:nvSpPr>
          <p:spPr bwMode="auto">
            <a:xfrm>
              <a:off x="7153106" y="2115248"/>
              <a:ext cx="285267" cy="59273"/>
            </a:xfrm>
            <a:prstGeom prst="rect">
              <a:avLst/>
            </a:prstGeom>
            <a:solidFill>
              <a:schemeClr val="tx1"/>
            </a:solidFill>
            <a:ln w="9525">
              <a:solidFill>
                <a:schemeClr val="bg1"/>
              </a:solidFill>
              <a:miter lim="800000"/>
              <a:headEnd/>
              <a:tailEnd/>
            </a:ln>
          </p:spPr>
          <p:txBody>
            <a:bodyPr vert="horz" wrap="square" lIns="68580" tIns="34290" rIns="68580" bIns="34290" numCol="1" anchor="t" anchorCtr="0" compatLnSpc="1">
              <a:prstTxWarp prst="textNoShape">
                <a:avLst/>
              </a:prstTxWarp>
            </a:bodyPr>
            <a:lstStyle/>
            <a:p>
              <a:pPr defTabSz="685800">
                <a:defRPr/>
              </a:pPr>
              <a:endParaRPr lang="fr-FR" sz="1350">
                <a:solidFill>
                  <a:prstClr val="black"/>
                </a:solidFill>
                <a:latin typeface="Calibri" panose="020F0502020204030204"/>
              </a:endParaRPr>
            </a:p>
          </p:txBody>
        </p:sp>
        <p:sp>
          <p:nvSpPr>
            <p:cNvPr id="280" name="Rectangle 876">
              <a:extLst>
                <a:ext uri="{FF2B5EF4-FFF2-40B4-BE49-F238E27FC236}">
                  <a16:creationId xmlns:a16="http://schemas.microsoft.com/office/drawing/2014/main" id="{2D146362-13F5-29FA-4EEF-44910F1C850C}"/>
                </a:ext>
              </a:extLst>
            </p:cNvPr>
            <p:cNvSpPr>
              <a:spLocks noChangeArrowheads="1"/>
            </p:cNvSpPr>
            <p:nvPr/>
          </p:nvSpPr>
          <p:spPr bwMode="auto">
            <a:xfrm>
              <a:off x="7153106" y="2199282"/>
              <a:ext cx="285267" cy="59273"/>
            </a:xfrm>
            <a:prstGeom prst="rect">
              <a:avLst/>
            </a:prstGeom>
            <a:solidFill>
              <a:schemeClr val="tx1"/>
            </a:solidFill>
            <a:ln w="9525">
              <a:solidFill>
                <a:schemeClr val="bg1"/>
              </a:solidFill>
              <a:miter lim="800000"/>
              <a:headEnd/>
              <a:tailEnd/>
            </a:ln>
          </p:spPr>
          <p:txBody>
            <a:bodyPr vert="horz" wrap="square" lIns="68580" tIns="34290" rIns="68580" bIns="34290" numCol="1" anchor="t" anchorCtr="0" compatLnSpc="1">
              <a:prstTxWarp prst="textNoShape">
                <a:avLst/>
              </a:prstTxWarp>
            </a:bodyPr>
            <a:lstStyle/>
            <a:p>
              <a:pPr defTabSz="685800">
                <a:defRPr/>
              </a:pPr>
              <a:endParaRPr lang="fr-FR" sz="1350">
                <a:solidFill>
                  <a:prstClr val="black"/>
                </a:solidFill>
                <a:latin typeface="Calibri" panose="020F0502020204030204"/>
              </a:endParaRPr>
            </a:p>
          </p:txBody>
        </p:sp>
        <p:sp>
          <p:nvSpPr>
            <p:cNvPr id="281" name="Rectangle 876">
              <a:extLst>
                <a:ext uri="{FF2B5EF4-FFF2-40B4-BE49-F238E27FC236}">
                  <a16:creationId xmlns:a16="http://schemas.microsoft.com/office/drawing/2014/main" id="{96D3E086-6C9D-BFE2-6F45-2A33C095CC51}"/>
                </a:ext>
              </a:extLst>
            </p:cNvPr>
            <p:cNvSpPr>
              <a:spLocks noChangeArrowheads="1"/>
            </p:cNvSpPr>
            <p:nvPr/>
          </p:nvSpPr>
          <p:spPr bwMode="auto">
            <a:xfrm>
              <a:off x="7153106" y="2284192"/>
              <a:ext cx="285267" cy="59273"/>
            </a:xfrm>
            <a:prstGeom prst="rect">
              <a:avLst/>
            </a:prstGeom>
            <a:solidFill>
              <a:schemeClr val="tx1"/>
            </a:solidFill>
            <a:ln w="9525">
              <a:solidFill>
                <a:schemeClr val="bg1"/>
              </a:solidFill>
              <a:miter lim="800000"/>
              <a:headEnd/>
              <a:tailEnd/>
            </a:ln>
          </p:spPr>
          <p:txBody>
            <a:bodyPr vert="horz" wrap="square" lIns="68580" tIns="34290" rIns="68580" bIns="34290" numCol="1" anchor="t" anchorCtr="0" compatLnSpc="1">
              <a:prstTxWarp prst="textNoShape">
                <a:avLst/>
              </a:prstTxWarp>
            </a:bodyPr>
            <a:lstStyle/>
            <a:p>
              <a:pPr defTabSz="685800">
                <a:defRPr/>
              </a:pPr>
              <a:endParaRPr lang="fr-FR" sz="1350">
                <a:solidFill>
                  <a:prstClr val="black"/>
                </a:solidFill>
                <a:latin typeface="Calibri" panose="020F0502020204030204"/>
              </a:endParaRPr>
            </a:p>
          </p:txBody>
        </p:sp>
      </p:grpSp>
      <p:grpSp>
        <p:nvGrpSpPr>
          <p:cNvPr id="21" name="Group 20">
            <a:extLst>
              <a:ext uri="{FF2B5EF4-FFF2-40B4-BE49-F238E27FC236}">
                <a16:creationId xmlns:a16="http://schemas.microsoft.com/office/drawing/2014/main" id="{584336D7-EAAB-6DC5-6AC5-68B942E4AEFD}"/>
              </a:ext>
            </a:extLst>
          </p:cNvPr>
          <p:cNvGrpSpPr/>
          <p:nvPr/>
        </p:nvGrpSpPr>
        <p:grpSpPr>
          <a:xfrm>
            <a:off x="4084000" y="1637376"/>
            <a:ext cx="1238490" cy="1299454"/>
            <a:chOff x="4084000" y="1937424"/>
            <a:chExt cx="1238490" cy="1299454"/>
          </a:xfrm>
        </p:grpSpPr>
        <p:sp>
          <p:nvSpPr>
            <p:cNvPr id="223" name="Freeform 868">
              <a:extLst>
                <a:ext uri="{FF2B5EF4-FFF2-40B4-BE49-F238E27FC236}">
                  <a16:creationId xmlns:a16="http://schemas.microsoft.com/office/drawing/2014/main" id="{81E80966-18DE-B3D2-2B05-CFF1B3258562}"/>
                </a:ext>
              </a:extLst>
            </p:cNvPr>
            <p:cNvSpPr>
              <a:spLocks/>
            </p:cNvSpPr>
            <p:nvPr/>
          </p:nvSpPr>
          <p:spPr bwMode="auto">
            <a:xfrm>
              <a:off x="4391637" y="1996331"/>
              <a:ext cx="176728" cy="399274"/>
            </a:xfrm>
            <a:custGeom>
              <a:avLst/>
              <a:gdLst>
                <a:gd name="T0" fmla="*/ 2 w 27"/>
                <a:gd name="T1" fmla="*/ 2 h 61"/>
                <a:gd name="T2" fmla="*/ 2 w 27"/>
                <a:gd name="T3" fmla="*/ 4 h 61"/>
                <a:gd name="T4" fmla="*/ 23 w 27"/>
                <a:gd name="T5" fmla="*/ 4 h 61"/>
                <a:gd name="T6" fmla="*/ 23 w 27"/>
                <a:gd name="T7" fmla="*/ 57 h 61"/>
                <a:gd name="T8" fmla="*/ 4 w 27"/>
                <a:gd name="T9" fmla="*/ 57 h 61"/>
                <a:gd name="T10" fmla="*/ 4 w 27"/>
                <a:gd name="T11" fmla="*/ 2 h 61"/>
                <a:gd name="T12" fmla="*/ 2 w 27"/>
                <a:gd name="T13" fmla="*/ 2 h 61"/>
                <a:gd name="T14" fmla="*/ 2 w 27"/>
                <a:gd name="T15" fmla="*/ 4 h 61"/>
                <a:gd name="T16" fmla="*/ 2 w 27"/>
                <a:gd name="T17" fmla="*/ 2 h 61"/>
                <a:gd name="T18" fmla="*/ 0 w 27"/>
                <a:gd name="T19" fmla="*/ 2 h 61"/>
                <a:gd name="T20" fmla="*/ 0 w 27"/>
                <a:gd name="T21" fmla="*/ 61 h 61"/>
                <a:gd name="T22" fmla="*/ 27 w 27"/>
                <a:gd name="T23" fmla="*/ 61 h 61"/>
                <a:gd name="T24" fmla="*/ 27 w 27"/>
                <a:gd name="T25" fmla="*/ 0 h 61"/>
                <a:gd name="T26" fmla="*/ 0 w 27"/>
                <a:gd name="T27" fmla="*/ 0 h 61"/>
                <a:gd name="T28" fmla="*/ 0 w 27"/>
                <a:gd name="T29" fmla="*/ 2 h 61"/>
                <a:gd name="T30" fmla="*/ 2 w 27"/>
                <a:gd name="T31" fmla="*/ 2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7" h="61">
                  <a:moveTo>
                    <a:pt x="2" y="2"/>
                  </a:moveTo>
                  <a:lnTo>
                    <a:pt x="2" y="4"/>
                  </a:lnTo>
                  <a:lnTo>
                    <a:pt x="23" y="4"/>
                  </a:lnTo>
                  <a:lnTo>
                    <a:pt x="23" y="57"/>
                  </a:lnTo>
                  <a:lnTo>
                    <a:pt x="4" y="57"/>
                  </a:lnTo>
                  <a:lnTo>
                    <a:pt x="4" y="2"/>
                  </a:lnTo>
                  <a:lnTo>
                    <a:pt x="2" y="2"/>
                  </a:lnTo>
                  <a:lnTo>
                    <a:pt x="2" y="4"/>
                  </a:lnTo>
                  <a:lnTo>
                    <a:pt x="2" y="2"/>
                  </a:lnTo>
                  <a:lnTo>
                    <a:pt x="0" y="2"/>
                  </a:lnTo>
                  <a:lnTo>
                    <a:pt x="0" y="61"/>
                  </a:lnTo>
                  <a:lnTo>
                    <a:pt x="27" y="61"/>
                  </a:lnTo>
                  <a:lnTo>
                    <a:pt x="27" y="0"/>
                  </a:lnTo>
                  <a:lnTo>
                    <a:pt x="0" y="0"/>
                  </a:lnTo>
                  <a:lnTo>
                    <a:pt x="0" y="2"/>
                  </a:lnTo>
                  <a:lnTo>
                    <a:pt x="2" y="2"/>
                  </a:lnTo>
                  <a:close/>
                </a:path>
              </a:pathLst>
            </a:custGeom>
            <a:solidFill>
              <a:schemeClr val="accent3"/>
            </a:solidFill>
            <a:ln w="9525">
              <a:solidFill>
                <a:schemeClr val="accent3"/>
              </a:solidFill>
              <a:round/>
              <a:headEnd/>
              <a:tailEnd/>
            </a:ln>
          </p:spPr>
          <p:txBody>
            <a:bodyPr vert="horz" wrap="square" lIns="68580" tIns="34290" rIns="68580" bIns="34290" numCol="1" anchor="t" anchorCtr="0" compatLnSpc="1">
              <a:prstTxWarp prst="textNoShape">
                <a:avLst/>
              </a:prstTxWarp>
            </a:bodyPr>
            <a:lstStyle/>
            <a:p>
              <a:pPr defTabSz="685800">
                <a:defRPr/>
              </a:pPr>
              <a:endParaRPr lang="fr-FR" sz="1350">
                <a:solidFill>
                  <a:prstClr val="black"/>
                </a:solidFill>
                <a:latin typeface="Calibri" panose="020F0502020204030204"/>
              </a:endParaRPr>
            </a:p>
          </p:txBody>
        </p:sp>
        <p:sp>
          <p:nvSpPr>
            <p:cNvPr id="226" name="Freeform 871">
              <a:extLst>
                <a:ext uri="{FF2B5EF4-FFF2-40B4-BE49-F238E27FC236}">
                  <a16:creationId xmlns:a16="http://schemas.microsoft.com/office/drawing/2014/main" id="{4FDF238E-92C3-C7F6-AF16-D88B4B21F06A}"/>
                </a:ext>
              </a:extLst>
            </p:cNvPr>
            <p:cNvSpPr>
              <a:spLocks/>
            </p:cNvSpPr>
            <p:nvPr/>
          </p:nvSpPr>
          <p:spPr bwMode="auto">
            <a:xfrm>
              <a:off x="4267272" y="1937424"/>
              <a:ext cx="863212" cy="1066908"/>
            </a:xfrm>
            <a:custGeom>
              <a:avLst/>
              <a:gdLst>
                <a:gd name="T0" fmla="*/ 0 w 127"/>
                <a:gd name="T1" fmla="*/ 67 h 165"/>
                <a:gd name="T2" fmla="*/ 0 w 127"/>
                <a:gd name="T3" fmla="*/ 165 h 165"/>
                <a:gd name="T4" fmla="*/ 127 w 127"/>
                <a:gd name="T5" fmla="*/ 165 h 165"/>
                <a:gd name="T6" fmla="*/ 127 w 127"/>
                <a:gd name="T7" fmla="*/ 57 h 165"/>
                <a:gd name="T8" fmla="*/ 70 w 127"/>
                <a:gd name="T9" fmla="*/ 0 h 165"/>
                <a:gd name="T10" fmla="*/ 0 w 127"/>
                <a:gd name="T11" fmla="*/ 0 h 165"/>
                <a:gd name="T12" fmla="*/ 0 w 127"/>
                <a:gd name="T13" fmla="*/ 30 h 165"/>
                <a:gd name="T14" fmla="*/ 4 w 127"/>
                <a:gd name="T15" fmla="*/ 30 h 165"/>
                <a:gd name="T16" fmla="*/ 4 w 127"/>
                <a:gd name="T17" fmla="*/ 4 h 165"/>
                <a:gd name="T18" fmla="*/ 68 w 127"/>
                <a:gd name="T19" fmla="*/ 4 h 165"/>
                <a:gd name="T20" fmla="*/ 122 w 127"/>
                <a:gd name="T21" fmla="*/ 59 h 165"/>
                <a:gd name="T22" fmla="*/ 122 w 127"/>
                <a:gd name="T23" fmla="*/ 161 h 165"/>
                <a:gd name="T24" fmla="*/ 4 w 127"/>
                <a:gd name="T25" fmla="*/ 161 h 165"/>
                <a:gd name="T26" fmla="*/ 4 w 127"/>
                <a:gd name="T27" fmla="*/ 67 h 165"/>
                <a:gd name="T28" fmla="*/ 0 w 127"/>
                <a:gd name="T29" fmla="*/ 67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7" h="165">
                  <a:moveTo>
                    <a:pt x="0" y="67"/>
                  </a:moveTo>
                  <a:lnTo>
                    <a:pt x="0" y="165"/>
                  </a:lnTo>
                  <a:lnTo>
                    <a:pt x="127" y="165"/>
                  </a:lnTo>
                  <a:lnTo>
                    <a:pt x="127" y="57"/>
                  </a:lnTo>
                  <a:lnTo>
                    <a:pt x="70" y="0"/>
                  </a:lnTo>
                  <a:lnTo>
                    <a:pt x="0" y="0"/>
                  </a:lnTo>
                  <a:lnTo>
                    <a:pt x="0" y="30"/>
                  </a:lnTo>
                  <a:lnTo>
                    <a:pt x="4" y="30"/>
                  </a:lnTo>
                  <a:lnTo>
                    <a:pt x="4" y="4"/>
                  </a:lnTo>
                  <a:lnTo>
                    <a:pt x="68" y="4"/>
                  </a:lnTo>
                  <a:lnTo>
                    <a:pt x="122" y="59"/>
                  </a:lnTo>
                  <a:lnTo>
                    <a:pt x="122" y="161"/>
                  </a:lnTo>
                  <a:lnTo>
                    <a:pt x="4" y="161"/>
                  </a:lnTo>
                  <a:lnTo>
                    <a:pt x="4" y="67"/>
                  </a:lnTo>
                  <a:lnTo>
                    <a:pt x="0" y="67"/>
                  </a:lnTo>
                  <a:close/>
                </a:path>
              </a:pathLst>
            </a:custGeom>
            <a:solidFill>
              <a:schemeClr val="tx1"/>
            </a:solidFill>
            <a:ln w="9525">
              <a:solidFill>
                <a:schemeClr val="tx1"/>
              </a:solidFill>
              <a:round/>
              <a:headEnd/>
              <a:tailEnd/>
            </a:ln>
          </p:spPr>
          <p:txBody>
            <a:bodyPr vert="horz" wrap="square" lIns="68580" tIns="34290" rIns="68580" bIns="34290" numCol="1" anchor="t" anchorCtr="0" compatLnSpc="1">
              <a:prstTxWarp prst="textNoShape">
                <a:avLst/>
              </a:prstTxWarp>
            </a:bodyPr>
            <a:lstStyle/>
            <a:p>
              <a:pPr defTabSz="685800">
                <a:defRPr/>
              </a:pPr>
              <a:endParaRPr lang="fr-FR" sz="1350">
                <a:solidFill>
                  <a:prstClr val="black"/>
                </a:solidFill>
                <a:latin typeface="Calibri" panose="020F0502020204030204"/>
              </a:endParaRPr>
            </a:p>
          </p:txBody>
        </p:sp>
        <p:sp>
          <p:nvSpPr>
            <p:cNvPr id="227" name="Freeform 872">
              <a:extLst>
                <a:ext uri="{FF2B5EF4-FFF2-40B4-BE49-F238E27FC236}">
                  <a16:creationId xmlns:a16="http://schemas.microsoft.com/office/drawing/2014/main" id="{B3FD753E-BD91-0907-9022-09B634D607B1}"/>
                </a:ext>
              </a:extLst>
            </p:cNvPr>
            <p:cNvSpPr>
              <a:spLocks/>
            </p:cNvSpPr>
            <p:nvPr/>
          </p:nvSpPr>
          <p:spPr bwMode="auto">
            <a:xfrm>
              <a:off x="4712359" y="1937424"/>
              <a:ext cx="379634" cy="379636"/>
            </a:xfrm>
            <a:custGeom>
              <a:avLst/>
              <a:gdLst>
                <a:gd name="T0" fmla="*/ 58 w 58"/>
                <a:gd name="T1" fmla="*/ 54 h 58"/>
                <a:gd name="T2" fmla="*/ 5 w 58"/>
                <a:gd name="T3" fmla="*/ 54 h 58"/>
                <a:gd name="T4" fmla="*/ 5 w 58"/>
                <a:gd name="T5" fmla="*/ 0 h 58"/>
                <a:gd name="T6" fmla="*/ 0 w 58"/>
                <a:gd name="T7" fmla="*/ 0 h 58"/>
                <a:gd name="T8" fmla="*/ 0 w 58"/>
                <a:gd name="T9" fmla="*/ 58 h 58"/>
                <a:gd name="T10" fmla="*/ 58 w 58"/>
                <a:gd name="T11" fmla="*/ 58 h 58"/>
                <a:gd name="T12" fmla="*/ 58 w 58"/>
                <a:gd name="T13" fmla="*/ 54 h 58"/>
              </a:gdLst>
              <a:ahLst/>
              <a:cxnLst>
                <a:cxn ang="0">
                  <a:pos x="T0" y="T1"/>
                </a:cxn>
                <a:cxn ang="0">
                  <a:pos x="T2" y="T3"/>
                </a:cxn>
                <a:cxn ang="0">
                  <a:pos x="T4" y="T5"/>
                </a:cxn>
                <a:cxn ang="0">
                  <a:pos x="T6" y="T7"/>
                </a:cxn>
                <a:cxn ang="0">
                  <a:pos x="T8" y="T9"/>
                </a:cxn>
                <a:cxn ang="0">
                  <a:pos x="T10" y="T11"/>
                </a:cxn>
                <a:cxn ang="0">
                  <a:pos x="T12" y="T13"/>
                </a:cxn>
              </a:cxnLst>
              <a:rect l="0" t="0" r="r" b="b"/>
              <a:pathLst>
                <a:path w="58" h="58">
                  <a:moveTo>
                    <a:pt x="58" y="54"/>
                  </a:moveTo>
                  <a:lnTo>
                    <a:pt x="5" y="54"/>
                  </a:lnTo>
                  <a:lnTo>
                    <a:pt x="5" y="0"/>
                  </a:lnTo>
                  <a:lnTo>
                    <a:pt x="0" y="0"/>
                  </a:lnTo>
                  <a:lnTo>
                    <a:pt x="0" y="58"/>
                  </a:lnTo>
                  <a:lnTo>
                    <a:pt x="58" y="58"/>
                  </a:lnTo>
                  <a:lnTo>
                    <a:pt x="58" y="54"/>
                  </a:lnTo>
                  <a:close/>
                </a:path>
              </a:pathLst>
            </a:custGeom>
            <a:solidFill>
              <a:schemeClr val="tx1"/>
            </a:solidFill>
            <a:ln w="9525">
              <a:solidFill>
                <a:schemeClr val="tx1"/>
              </a:solidFill>
              <a:round/>
              <a:headEnd/>
              <a:tailEnd/>
            </a:ln>
          </p:spPr>
          <p:txBody>
            <a:bodyPr vert="horz" wrap="square" lIns="68580" tIns="34290" rIns="68580" bIns="34290" numCol="1" anchor="t" anchorCtr="0" compatLnSpc="1">
              <a:prstTxWarp prst="textNoShape">
                <a:avLst/>
              </a:prstTxWarp>
            </a:bodyPr>
            <a:lstStyle/>
            <a:p>
              <a:pPr defTabSz="685800">
                <a:defRPr/>
              </a:pPr>
              <a:endParaRPr lang="fr-FR" sz="1350">
                <a:solidFill>
                  <a:prstClr val="black"/>
                </a:solidFill>
                <a:latin typeface="Calibri" panose="020F0502020204030204"/>
              </a:endParaRPr>
            </a:p>
          </p:txBody>
        </p:sp>
        <p:sp>
          <p:nvSpPr>
            <p:cNvPr id="228" name="Rectangle 873">
              <a:extLst>
                <a:ext uri="{FF2B5EF4-FFF2-40B4-BE49-F238E27FC236}">
                  <a16:creationId xmlns:a16="http://schemas.microsoft.com/office/drawing/2014/main" id="{0018EBFD-7B2A-80A3-4189-FFB3130CC92F}"/>
                </a:ext>
              </a:extLst>
            </p:cNvPr>
            <p:cNvSpPr>
              <a:spLocks noChangeArrowheads="1"/>
            </p:cNvSpPr>
            <p:nvPr/>
          </p:nvSpPr>
          <p:spPr bwMode="auto">
            <a:xfrm>
              <a:off x="4444000" y="2428330"/>
              <a:ext cx="163637" cy="26182"/>
            </a:xfrm>
            <a:prstGeom prst="rect">
              <a:avLst/>
            </a:prstGeom>
            <a:solidFill>
              <a:schemeClr val="tx1"/>
            </a:solidFill>
            <a:ln w="9525">
              <a:solidFill>
                <a:schemeClr val="tx1"/>
              </a:solidFill>
              <a:miter lim="800000"/>
              <a:headEnd/>
              <a:tailEnd/>
            </a:ln>
          </p:spPr>
          <p:txBody>
            <a:bodyPr vert="horz" wrap="square" lIns="68580" tIns="34290" rIns="68580" bIns="34290" numCol="1" anchor="t" anchorCtr="0" compatLnSpc="1">
              <a:prstTxWarp prst="textNoShape">
                <a:avLst/>
              </a:prstTxWarp>
            </a:bodyPr>
            <a:lstStyle/>
            <a:p>
              <a:pPr defTabSz="685800">
                <a:defRPr/>
              </a:pPr>
              <a:endParaRPr lang="fr-FR" sz="1350">
                <a:solidFill>
                  <a:prstClr val="black"/>
                </a:solidFill>
                <a:latin typeface="Calibri" panose="020F0502020204030204"/>
              </a:endParaRPr>
            </a:p>
          </p:txBody>
        </p:sp>
        <p:sp>
          <p:nvSpPr>
            <p:cNvPr id="229" name="Rectangle 874">
              <a:extLst>
                <a:ext uri="{FF2B5EF4-FFF2-40B4-BE49-F238E27FC236}">
                  <a16:creationId xmlns:a16="http://schemas.microsoft.com/office/drawing/2014/main" id="{7BAB86AF-1AF7-DCF8-C237-679FC38B778E}"/>
                </a:ext>
              </a:extLst>
            </p:cNvPr>
            <p:cNvSpPr>
              <a:spLocks noChangeArrowheads="1"/>
            </p:cNvSpPr>
            <p:nvPr/>
          </p:nvSpPr>
          <p:spPr bwMode="auto">
            <a:xfrm>
              <a:off x="4673088" y="2428330"/>
              <a:ext cx="78545" cy="26182"/>
            </a:xfrm>
            <a:prstGeom prst="rect">
              <a:avLst/>
            </a:prstGeom>
            <a:solidFill>
              <a:schemeClr val="tx1"/>
            </a:solidFill>
            <a:ln w="9525">
              <a:solidFill>
                <a:schemeClr val="tx1"/>
              </a:solidFill>
              <a:miter lim="800000"/>
              <a:headEnd/>
              <a:tailEnd/>
            </a:ln>
          </p:spPr>
          <p:txBody>
            <a:bodyPr vert="horz" wrap="square" lIns="68580" tIns="34290" rIns="68580" bIns="34290" numCol="1" anchor="t" anchorCtr="0" compatLnSpc="1">
              <a:prstTxWarp prst="textNoShape">
                <a:avLst/>
              </a:prstTxWarp>
            </a:bodyPr>
            <a:lstStyle/>
            <a:p>
              <a:pPr defTabSz="685800">
                <a:defRPr/>
              </a:pPr>
              <a:endParaRPr lang="fr-FR" sz="1350">
                <a:solidFill>
                  <a:prstClr val="black"/>
                </a:solidFill>
                <a:latin typeface="Calibri" panose="020F0502020204030204"/>
              </a:endParaRPr>
            </a:p>
          </p:txBody>
        </p:sp>
        <p:sp>
          <p:nvSpPr>
            <p:cNvPr id="230" name="Rectangle 875">
              <a:extLst>
                <a:ext uri="{FF2B5EF4-FFF2-40B4-BE49-F238E27FC236}">
                  <a16:creationId xmlns:a16="http://schemas.microsoft.com/office/drawing/2014/main" id="{97DD3494-CD02-B734-5EE9-9042685A2CF3}"/>
                </a:ext>
              </a:extLst>
            </p:cNvPr>
            <p:cNvSpPr>
              <a:spLocks noChangeArrowheads="1"/>
            </p:cNvSpPr>
            <p:nvPr/>
          </p:nvSpPr>
          <p:spPr bwMode="auto">
            <a:xfrm>
              <a:off x="4849816" y="2428330"/>
              <a:ext cx="78545" cy="26182"/>
            </a:xfrm>
            <a:prstGeom prst="rect">
              <a:avLst/>
            </a:prstGeom>
            <a:solidFill>
              <a:schemeClr val="tx1"/>
            </a:solidFill>
            <a:ln w="9525">
              <a:solidFill>
                <a:schemeClr val="tx1"/>
              </a:solidFill>
              <a:miter lim="800000"/>
              <a:headEnd/>
              <a:tailEnd/>
            </a:ln>
          </p:spPr>
          <p:txBody>
            <a:bodyPr vert="horz" wrap="square" lIns="68580" tIns="34290" rIns="68580" bIns="34290" numCol="1" anchor="t" anchorCtr="0" compatLnSpc="1">
              <a:prstTxWarp prst="textNoShape">
                <a:avLst/>
              </a:prstTxWarp>
            </a:bodyPr>
            <a:lstStyle/>
            <a:p>
              <a:pPr defTabSz="685800">
                <a:defRPr/>
              </a:pPr>
              <a:endParaRPr lang="fr-FR" sz="1350">
                <a:solidFill>
                  <a:prstClr val="black"/>
                </a:solidFill>
                <a:latin typeface="Calibri" panose="020F0502020204030204"/>
              </a:endParaRPr>
            </a:p>
          </p:txBody>
        </p:sp>
        <p:sp>
          <p:nvSpPr>
            <p:cNvPr id="231" name="Rectangle 876">
              <a:extLst>
                <a:ext uri="{FF2B5EF4-FFF2-40B4-BE49-F238E27FC236}">
                  <a16:creationId xmlns:a16="http://schemas.microsoft.com/office/drawing/2014/main" id="{5FC9F235-7D58-EB0C-E5A5-460BC24A7162}"/>
                </a:ext>
              </a:extLst>
            </p:cNvPr>
            <p:cNvSpPr>
              <a:spLocks noChangeArrowheads="1"/>
            </p:cNvSpPr>
            <p:nvPr/>
          </p:nvSpPr>
          <p:spPr bwMode="auto">
            <a:xfrm>
              <a:off x="4444000" y="2585421"/>
              <a:ext cx="163637" cy="32729"/>
            </a:xfrm>
            <a:prstGeom prst="rect">
              <a:avLst/>
            </a:prstGeom>
            <a:solidFill>
              <a:schemeClr val="tx1"/>
            </a:solidFill>
            <a:ln w="9525">
              <a:solidFill>
                <a:schemeClr val="tx1"/>
              </a:solidFill>
              <a:miter lim="800000"/>
              <a:headEnd/>
              <a:tailEnd/>
            </a:ln>
          </p:spPr>
          <p:txBody>
            <a:bodyPr vert="horz" wrap="square" lIns="68580" tIns="34290" rIns="68580" bIns="34290" numCol="1" anchor="t" anchorCtr="0" compatLnSpc="1">
              <a:prstTxWarp prst="textNoShape">
                <a:avLst/>
              </a:prstTxWarp>
            </a:bodyPr>
            <a:lstStyle/>
            <a:p>
              <a:pPr defTabSz="685800">
                <a:defRPr/>
              </a:pPr>
              <a:endParaRPr lang="fr-FR" sz="1350">
                <a:solidFill>
                  <a:prstClr val="black"/>
                </a:solidFill>
                <a:latin typeface="Calibri" panose="020F0502020204030204"/>
              </a:endParaRPr>
            </a:p>
          </p:txBody>
        </p:sp>
        <p:sp>
          <p:nvSpPr>
            <p:cNvPr id="232" name="Rectangle 877">
              <a:extLst>
                <a:ext uri="{FF2B5EF4-FFF2-40B4-BE49-F238E27FC236}">
                  <a16:creationId xmlns:a16="http://schemas.microsoft.com/office/drawing/2014/main" id="{0493F9E0-B87A-B552-3C87-782F084303D6}"/>
                </a:ext>
              </a:extLst>
            </p:cNvPr>
            <p:cNvSpPr>
              <a:spLocks noChangeArrowheads="1"/>
            </p:cNvSpPr>
            <p:nvPr/>
          </p:nvSpPr>
          <p:spPr bwMode="auto">
            <a:xfrm>
              <a:off x="4673088" y="2585421"/>
              <a:ext cx="78545" cy="32729"/>
            </a:xfrm>
            <a:prstGeom prst="rect">
              <a:avLst/>
            </a:prstGeom>
            <a:solidFill>
              <a:schemeClr val="tx1"/>
            </a:solidFill>
            <a:ln w="9525">
              <a:solidFill>
                <a:schemeClr val="tx1"/>
              </a:solidFill>
              <a:miter lim="800000"/>
              <a:headEnd/>
              <a:tailEnd/>
            </a:ln>
          </p:spPr>
          <p:txBody>
            <a:bodyPr vert="horz" wrap="square" lIns="68580" tIns="34290" rIns="68580" bIns="34290" numCol="1" anchor="t" anchorCtr="0" compatLnSpc="1">
              <a:prstTxWarp prst="textNoShape">
                <a:avLst/>
              </a:prstTxWarp>
            </a:bodyPr>
            <a:lstStyle/>
            <a:p>
              <a:pPr defTabSz="685800">
                <a:defRPr/>
              </a:pPr>
              <a:endParaRPr lang="fr-FR" sz="1350">
                <a:solidFill>
                  <a:prstClr val="black"/>
                </a:solidFill>
                <a:latin typeface="Calibri" panose="020F0502020204030204"/>
              </a:endParaRPr>
            </a:p>
          </p:txBody>
        </p:sp>
        <p:sp>
          <p:nvSpPr>
            <p:cNvPr id="233" name="Rectangle 878">
              <a:extLst>
                <a:ext uri="{FF2B5EF4-FFF2-40B4-BE49-F238E27FC236}">
                  <a16:creationId xmlns:a16="http://schemas.microsoft.com/office/drawing/2014/main" id="{249A11A1-DBCA-789C-CB3A-F4618149A6C0}"/>
                </a:ext>
              </a:extLst>
            </p:cNvPr>
            <p:cNvSpPr>
              <a:spLocks noChangeArrowheads="1"/>
            </p:cNvSpPr>
            <p:nvPr/>
          </p:nvSpPr>
          <p:spPr bwMode="auto">
            <a:xfrm>
              <a:off x="4849816" y="2585421"/>
              <a:ext cx="78545" cy="32729"/>
            </a:xfrm>
            <a:prstGeom prst="rect">
              <a:avLst/>
            </a:prstGeom>
            <a:solidFill>
              <a:schemeClr val="tx1"/>
            </a:solidFill>
            <a:ln w="9525">
              <a:solidFill>
                <a:schemeClr val="tx1"/>
              </a:solidFill>
              <a:miter lim="800000"/>
              <a:headEnd/>
              <a:tailEnd/>
            </a:ln>
          </p:spPr>
          <p:txBody>
            <a:bodyPr vert="horz" wrap="square" lIns="68580" tIns="34290" rIns="68580" bIns="34290" numCol="1" anchor="t" anchorCtr="0" compatLnSpc="1">
              <a:prstTxWarp prst="textNoShape">
                <a:avLst/>
              </a:prstTxWarp>
            </a:bodyPr>
            <a:lstStyle/>
            <a:p>
              <a:pPr defTabSz="685800">
                <a:defRPr/>
              </a:pPr>
              <a:endParaRPr lang="fr-FR" sz="1350">
                <a:solidFill>
                  <a:prstClr val="black"/>
                </a:solidFill>
                <a:latin typeface="Calibri" panose="020F0502020204030204"/>
              </a:endParaRPr>
            </a:p>
          </p:txBody>
        </p:sp>
        <p:sp>
          <p:nvSpPr>
            <p:cNvPr id="234" name="Rectangle 879">
              <a:extLst>
                <a:ext uri="{FF2B5EF4-FFF2-40B4-BE49-F238E27FC236}">
                  <a16:creationId xmlns:a16="http://schemas.microsoft.com/office/drawing/2014/main" id="{436250CB-2BE3-B06C-69E5-E68A03A90E52}"/>
                </a:ext>
              </a:extLst>
            </p:cNvPr>
            <p:cNvSpPr>
              <a:spLocks noChangeArrowheads="1"/>
            </p:cNvSpPr>
            <p:nvPr/>
          </p:nvSpPr>
          <p:spPr bwMode="auto">
            <a:xfrm>
              <a:off x="4444000" y="2735968"/>
              <a:ext cx="484360" cy="26182"/>
            </a:xfrm>
            <a:prstGeom prst="rect">
              <a:avLst/>
            </a:prstGeom>
            <a:solidFill>
              <a:schemeClr val="tx1"/>
            </a:solidFill>
            <a:ln w="9525">
              <a:solidFill>
                <a:schemeClr val="tx1"/>
              </a:solidFill>
              <a:miter lim="800000"/>
              <a:headEnd/>
              <a:tailEnd/>
            </a:ln>
          </p:spPr>
          <p:txBody>
            <a:bodyPr vert="horz" wrap="square" lIns="68580" tIns="34290" rIns="68580" bIns="34290" numCol="1" anchor="t" anchorCtr="0" compatLnSpc="1">
              <a:prstTxWarp prst="textNoShape">
                <a:avLst/>
              </a:prstTxWarp>
            </a:bodyPr>
            <a:lstStyle/>
            <a:p>
              <a:pPr defTabSz="685800">
                <a:defRPr/>
              </a:pPr>
              <a:endParaRPr lang="fr-FR" sz="1350">
                <a:solidFill>
                  <a:prstClr val="black"/>
                </a:solidFill>
                <a:latin typeface="Calibri" panose="020F0502020204030204"/>
              </a:endParaRPr>
            </a:p>
          </p:txBody>
        </p:sp>
        <p:sp>
          <p:nvSpPr>
            <p:cNvPr id="235" name="Rectangle 880">
              <a:extLst>
                <a:ext uri="{FF2B5EF4-FFF2-40B4-BE49-F238E27FC236}">
                  <a16:creationId xmlns:a16="http://schemas.microsoft.com/office/drawing/2014/main" id="{706EE458-02A0-B9B5-6EBB-3B1303DC1862}"/>
                </a:ext>
              </a:extLst>
            </p:cNvPr>
            <p:cNvSpPr>
              <a:spLocks noChangeArrowheads="1"/>
            </p:cNvSpPr>
            <p:nvPr/>
          </p:nvSpPr>
          <p:spPr bwMode="auto">
            <a:xfrm>
              <a:off x="4444000" y="2801422"/>
              <a:ext cx="484360" cy="32729"/>
            </a:xfrm>
            <a:prstGeom prst="rect">
              <a:avLst/>
            </a:prstGeom>
            <a:solidFill>
              <a:schemeClr val="tx1"/>
            </a:solidFill>
            <a:ln w="9525">
              <a:solidFill>
                <a:schemeClr val="tx1"/>
              </a:solidFill>
              <a:miter lim="800000"/>
              <a:headEnd/>
              <a:tailEnd/>
            </a:ln>
          </p:spPr>
          <p:txBody>
            <a:bodyPr vert="horz" wrap="square" lIns="68580" tIns="34290" rIns="68580" bIns="34290" numCol="1" anchor="t" anchorCtr="0" compatLnSpc="1">
              <a:prstTxWarp prst="textNoShape">
                <a:avLst/>
              </a:prstTxWarp>
            </a:bodyPr>
            <a:lstStyle/>
            <a:p>
              <a:pPr defTabSz="685800">
                <a:defRPr/>
              </a:pPr>
              <a:endParaRPr lang="fr-FR" sz="1350">
                <a:solidFill>
                  <a:prstClr val="black"/>
                </a:solidFill>
                <a:latin typeface="Calibri" panose="020F0502020204030204"/>
              </a:endParaRPr>
            </a:p>
          </p:txBody>
        </p:sp>
        <p:sp>
          <p:nvSpPr>
            <p:cNvPr id="220" name="Oval 219">
              <a:extLst>
                <a:ext uri="{FF2B5EF4-FFF2-40B4-BE49-F238E27FC236}">
                  <a16:creationId xmlns:a16="http://schemas.microsoft.com/office/drawing/2014/main" id="{ED3B78A0-CFE1-E8BA-ACB2-5B174C151ABE}"/>
                </a:ext>
              </a:extLst>
            </p:cNvPr>
            <p:cNvSpPr/>
            <p:nvPr/>
          </p:nvSpPr>
          <p:spPr>
            <a:xfrm>
              <a:off x="4782490" y="2696878"/>
              <a:ext cx="540000" cy="540000"/>
            </a:xfrm>
            <a:prstGeom prst="ellipse">
              <a:avLst/>
            </a:prstGeom>
            <a:solidFill>
              <a:schemeClr val="tx2"/>
            </a:solidFill>
          </p:spPr>
          <p:style>
            <a:lnRef idx="3">
              <a:schemeClr val="lt1"/>
            </a:lnRef>
            <a:fillRef idx="1">
              <a:schemeClr val="accent3"/>
            </a:fillRef>
            <a:effectRef idx="1">
              <a:schemeClr val="accent3"/>
            </a:effectRef>
            <a:fontRef idx="minor">
              <a:schemeClr val="lt1"/>
            </a:fontRef>
          </p:style>
          <p:txBody>
            <a:bodyPr rtlCol="0" anchor="ctr"/>
            <a:lstStyle/>
            <a:p>
              <a:pPr algn="ctr"/>
              <a:endParaRPr lang="en-US" sz="1350"/>
            </a:p>
          </p:txBody>
        </p:sp>
        <p:pic>
          <p:nvPicPr>
            <p:cNvPr id="219" name="Graphic 218" descr="Checkmark with solid fill">
              <a:extLst>
                <a:ext uri="{FF2B5EF4-FFF2-40B4-BE49-F238E27FC236}">
                  <a16:creationId xmlns:a16="http://schemas.microsoft.com/office/drawing/2014/main" id="{31ACDDC4-3050-827B-8E2E-D679624C033E}"/>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4849699" y="2759222"/>
              <a:ext cx="422429" cy="422429"/>
            </a:xfrm>
            <a:prstGeom prst="rect">
              <a:avLst/>
            </a:prstGeom>
          </p:spPr>
        </p:pic>
        <p:sp>
          <p:nvSpPr>
            <p:cNvPr id="224" name="Freeform 869">
              <a:extLst>
                <a:ext uri="{FF2B5EF4-FFF2-40B4-BE49-F238E27FC236}">
                  <a16:creationId xmlns:a16="http://schemas.microsoft.com/office/drawing/2014/main" id="{16EA1CFF-1A3B-AA70-D110-902513142CA9}"/>
                </a:ext>
              </a:extLst>
            </p:cNvPr>
            <p:cNvSpPr>
              <a:spLocks/>
            </p:cNvSpPr>
            <p:nvPr/>
          </p:nvSpPr>
          <p:spPr bwMode="auto">
            <a:xfrm>
              <a:off x="4241091" y="2114149"/>
              <a:ext cx="176728" cy="281456"/>
            </a:xfrm>
            <a:custGeom>
              <a:avLst/>
              <a:gdLst>
                <a:gd name="T0" fmla="*/ 2 w 27"/>
                <a:gd name="T1" fmla="*/ 3 h 43"/>
                <a:gd name="T2" fmla="*/ 2 w 27"/>
                <a:gd name="T3" fmla="*/ 5 h 43"/>
                <a:gd name="T4" fmla="*/ 23 w 27"/>
                <a:gd name="T5" fmla="*/ 5 h 43"/>
                <a:gd name="T6" fmla="*/ 23 w 27"/>
                <a:gd name="T7" fmla="*/ 39 h 43"/>
                <a:gd name="T8" fmla="*/ 4 w 27"/>
                <a:gd name="T9" fmla="*/ 39 h 43"/>
                <a:gd name="T10" fmla="*/ 4 w 27"/>
                <a:gd name="T11" fmla="*/ 3 h 43"/>
                <a:gd name="T12" fmla="*/ 2 w 27"/>
                <a:gd name="T13" fmla="*/ 3 h 43"/>
                <a:gd name="T14" fmla="*/ 2 w 27"/>
                <a:gd name="T15" fmla="*/ 5 h 43"/>
                <a:gd name="T16" fmla="*/ 2 w 27"/>
                <a:gd name="T17" fmla="*/ 3 h 43"/>
                <a:gd name="T18" fmla="*/ 0 w 27"/>
                <a:gd name="T19" fmla="*/ 3 h 43"/>
                <a:gd name="T20" fmla="*/ 0 w 27"/>
                <a:gd name="T21" fmla="*/ 43 h 43"/>
                <a:gd name="T22" fmla="*/ 27 w 27"/>
                <a:gd name="T23" fmla="*/ 43 h 43"/>
                <a:gd name="T24" fmla="*/ 27 w 27"/>
                <a:gd name="T25" fmla="*/ 0 h 43"/>
                <a:gd name="T26" fmla="*/ 0 w 27"/>
                <a:gd name="T27" fmla="*/ 0 h 43"/>
                <a:gd name="T28" fmla="*/ 0 w 27"/>
                <a:gd name="T29" fmla="*/ 3 h 43"/>
                <a:gd name="T30" fmla="*/ 2 w 27"/>
                <a:gd name="T31" fmla="*/ 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7" h="43">
                  <a:moveTo>
                    <a:pt x="2" y="3"/>
                  </a:moveTo>
                  <a:lnTo>
                    <a:pt x="2" y="5"/>
                  </a:lnTo>
                  <a:lnTo>
                    <a:pt x="23" y="5"/>
                  </a:lnTo>
                  <a:lnTo>
                    <a:pt x="23" y="39"/>
                  </a:lnTo>
                  <a:lnTo>
                    <a:pt x="4" y="39"/>
                  </a:lnTo>
                  <a:lnTo>
                    <a:pt x="4" y="3"/>
                  </a:lnTo>
                  <a:lnTo>
                    <a:pt x="2" y="3"/>
                  </a:lnTo>
                  <a:lnTo>
                    <a:pt x="2" y="5"/>
                  </a:lnTo>
                  <a:lnTo>
                    <a:pt x="2" y="3"/>
                  </a:lnTo>
                  <a:lnTo>
                    <a:pt x="0" y="3"/>
                  </a:lnTo>
                  <a:lnTo>
                    <a:pt x="0" y="43"/>
                  </a:lnTo>
                  <a:lnTo>
                    <a:pt x="27" y="43"/>
                  </a:lnTo>
                  <a:lnTo>
                    <a:pt x="27" y="0"/>
                  </a:lnTo>
                  <a:lnTo>
                    <a:pt x="0" y="0"/>
                  </a:lnTo>
                  <a:lnTo>
                    <a:pt x="0" y="3"/>
                  </a:lnTo>
                  <a:lnTo>
                    <a:pt x="2" y="3"/>
                  </a:lnTo>
                  <a:close/>
                </a:path>
              </a:pathLst>
            </a:custGeom>
            <a:solidFill>
              <a:schemeClr val="accent6"/>
            </a:solidFill>
            <a:ln w="9525">
              <a:solidFill>
                <a:schemeClr val="accent6"/>
              </a:solidFill>
              <a:round/>
              <a:headEnd/>
              <a:tailEnd/>
            </a:ln>
          </p:spPr>
          <p:txBody>
            <a:bodyPr vert="horz" wrap="square" lIns="68580" tIns="34290" rIns="68580" bIns="34290" numCol="1" anchor="t" anchorCtr="0" compatLnSpc="1">
              <a:prstTxWarp prst="textNoShape">
                <a:avLst/>
              </a:prstTxWarp>
            </a:bodyPr>
            <a:lstStyle/>
            <a:p>
              <a:pPr defTabSz="685800">
                <a:defRPr/>
              </a:pPr>
              <a:endParaRPr lang="fr-FR" sz="1350">
                <a:solidFill>
                  <a:prstClr val="black"/>
                </a:solidFill>
                <a:latin typeface="Calibri" panose="020F0502020204030204"/>
              </a:endParaRPr>
            </a:p>
          </p:txBody>
        </p:sp>
        <p:sp>
          <p:nvSpPr>
            <p:cNvPr id="225" name="Freeform 870">
              <a:extLst>
                <a:ext uri="{FF2B5EF4-FFF2-40B4-BE49-F238E27FC236}">
                  <a16:creationId xmlns:a16="http://schemas.microsoft.com/office/drawing/2014/main" id="{A204C447-D544-5D09-C6CA-455820B17E7E}"/>
                </a:ext>
              </a:extLst>
            </p:cNvPr>
            <p:cNvSpPr>
              <a:spLocks/>
            </p:cNvSpPr>
            <p:nvPr/>
          </p:nvSpPr>
          <p:spPr bwMode="auto">
            <a:xfrm>
              <a:off x="4084000" y="2218876"/>
              <a:ext cx="183272" cy="176729"/>
            </a:xfrm>
            <a:custGeom>
              <a:avLst/>
              <a:gdLst>
                <a:gd name="T0" fmla="*/ 3 w 28"/>
                <a:gd name="T1" fmla="*/ 2 h 27"/>
                <a:gd name="T2" fmla="*/ 3 w 28"/>
                <a:gd name="T3" fmla="*/ 4 h 27"/>
                <a:gd name="T4" fmla="*/ 24 w 28"/>
                <a:gd name="T5" fmla="*/ 4 h 27"/>
                <a:gd name="T6" fmla="*/ 24 w 28"/>
                <a:gd name="T7" fmla="*/ 23 h 27"/>
                <a:gd name="T8" fmla="*/ 5 w 28"/>
                <a:gd name="T9" fmla="*/ 23 h 27"/>
                <a:gd name="T10" fmla="*/ 5 w 28"/>
                <a:gd name="T11" fmla="*/ 2 h 27"/>
                <a:gd name="T12" fmla="*/ 3 w 28"/>
                <a:gd name="T13" fmla="*/ 2 h 27"/>
                <a:gd name="T14" fmla="*/ 3 w 28"/>
                <a:gd name="T15" fmla="*/ 4 h 27"/>
                <a:gd name="T16" fmla="*/ 3 w 28"/>
                <a:gd name="T17" fmla="*/ 2 h 27"/>
                <a:gd name="T18" fmla="*/ 0 w 28"/>
                <a:gd name="T19" fmla="*/ 2 h 27"/>
                <a:gd name="T20" fmla="*/ 0 w 28"/>
                <a:gd name="T21" fmla="*/ 27 h 27"/>
                <a:gd name="T22" fmla="*/ 28 w 28"/>
                <a:gd name="T23" fmla="*/ 27 h 27"/>
                <a:gd name="T24" fmla="*/ 28 w 28"/>
                <a:gd name="T25" fmla="*/ 0 h 27"/>
                <a:gd name="T26" fmla="*/ 0 w 28"/>
                <a:gd name="T27" fmla="*/ 0 h 27"/>
                <a:gd name="T28" fmla="*/ 0 w 28"/>
                <a:gd name="T29" fmla="*/ 2 h 27"/>
                <a:gd name="T30" fmla="*/ 3 w 28"/>
                <a:gd name="T31" fmla="*/ 2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 h="27">
                  <a:moveTo>
                    <a:pt x="3" y="2"/>
                  </a:moveTo>
                  <a:lnTo>
                    <a:pt x="3" y="4"/>
                  </a:lnTo>
                  <a:lnTo>
                    <a:pt x="24" y="4"/>
                  </a:lnTo>
                  <a:lnTo>
                    <a:pt x="24" y="23"/>
                  </a:lnTo>
                  <a:lnTo>
                    <a:pt x="5" y="23"/>
                  </a:lnTo>
                  <a:lnTo>
                    <a:pt x="5" y="2"/>
                  </a:lnTo>
                  <a:lnTo>
                    <a:pt x="3" y="2"/>
                  </a:lnTo>
                  <a:lnTo>
                    <a:pt x="3" y="4"/>
                  </a:lnTo>
                  <a:lnTo>
                    <a:pt x="3" y="2"/>
                  </a:lnTo>
                  <a:lnTo>
                    <a:pt x="0" y="2"/>
                  </a:lnTo>
                  <a:lnTo>
                    <a:pt x="0" y="27"/>
                  </a:lnTo>
                  <a:lnTo>
                    <a:pt x="28" y="27"/>
                  </a:lnTo>
                  <a:lnTo>
                    <a:pt x="28" y="0"/>
                  </a:lnTo>
                  <a:lnTo>
                    <a:pt x="0" y="0"/>
                  </a:lnTo>
                  <a:lnTo>
                    <a:pt x="0" y="2"/>
                  </a:lnTo>
                  <a:lnTo>
                    <a:pt x="3" y="2"/>
                  </a:lnTo>
                  <a:close/>
                </a:path>
              </a:pathLst>
            </a:custGeom>
            <a:solidFill>
              <a:schemeClr val="accent5"/>
            </a:solidFill>
            <a:ln w="9525">
              <a:solidFill>
                <a:schemeClr val="accent5"/>
              </a:solidFill>
              <a:round/>
              <a:headEnd/>
              <a:tailEnd/>
            </a:ln>
          </p:spPr>
          <p:txBody>
            <a:bodyPr vert="horz" wrap="square" lIns="68580" tIns="34290" rIns="68580" bIns="34290" numCol="1" anchor="t" anchorCtr="0" compatLnSpc="1">
              <a:prstTxWarp prst="textNoShape">
                <a:avLst/>
              </a:prstTxWarp>
            </a:bodyPr>
            <a:lstStyle/>
            <a:p>
              <a:pPr defTabSz="685800">
                <a:defRPr/>
              </a:pPr>
              <a:endParaRPr lang="fr-FR" sz="1350">
                <a:solidFill>
                  <a:prstClr val="black"/>
                </a:solidFill>
                <a:latin typeface="Calibri" panose="020F0502020204030204"/>
              </a:endParaRPr>
            </a:p>
          </p:txBody>
        </p:sp>
      </p:grpSp>
      <p:pic>
        <p:nvPicPr>
          <p:cNvPr id="3" name="Picture 2" descr="A screenshot of a cell phone&#10;&#10;Description automatically generated">
            <a:extLst>
              <a:ext uri="{FF2B5EF4-FFF2-40B4-BE49-F238E27FC236}">
                <a16:creationId xmlns:a16="http://schemas.microsoft.com/office/drawing/2014/main" id="{FE20907D-B53F-2EA3-D478-D565F9A0FE05}"/>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584403" y="3038343"/>
            <a:ext cx="4116268" cy="1927538"/>
          </a:xfrm>
          <a:prstGeom prst="rect">
            <a:avLst/>
          </a:prstGeom>
          <a:ln w="12700">
            <a:solidFill>
              <a:schemeClr val="tx2"/>
            </a:solidFill>
          </a:ln>
        </p:spPr>
      </p:pic>
    </p:spTree>
    <p:extLst>
      <p:ext uri="{BB962C8B-B14F-4D97-AF65-F5344CB8AC3E}">
        <p14:creationId xmlns:p14="http://schemas.microsoft.com/office/powerpoint/2010/main" val="4005071062"/>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CCA544-171C-AEC6-092A-30EA4C64E4F0}"/>
              </a:ext>
            </a:extLst>
          </p:cNvPr>
          <p:cNvSpPr>
            <a:spLocks noGrp="1"/>
          </p:cNvSpPr>
          <p:nvPr>
            <p:ph type="title"/>
          </p:nvPr>
        </p:nvSpPr>
        <p:spPr/>
        <p:txBody>
          <a:bodyPr/>
          <a:lstStyle/>
          <a:p>
            <a:r>
              <a:rPr lang="en-GB"/>
              <a:t>High-level architecture of the PPDS</a:t>
            </a:r>
          </a:p>
        </p:txBody>
      </p:sp>
      <p:sp>
        <p:nvSpPr>
          <p:cNvPr id="3" name="Content Placeholder 2">
            <a:extLst>
              <a:ext uri="{FF2B5EF4-FFF2-40B4-BE49-F238E27FC236}">
                <a16:creationId xmlns:a16="http://schemas.microsoft.com/office/drawing/2014/main" id="{14EB48F0-A3D0-AE9A-C858-802395D0AB95}"/>
              </a:ext>
            </a:extLst>
          </p:cNvPr>
          <p:cNvSpPr>
            <a:spLocks noGrp="1"/>
          </p:cNvSpPr>
          <p:nvPr>
            <p:ph idx="1"/>
          </p:nvPr>
        </p:nvSpPr>
        <p:spPr/>
        <p:txBody>
          <a:bodyPr/>
          <a:lstStyle/>
          <a:p>
            <a:r>
              <a:rPr lang="en-GB"/>
              <a:t>The PPDS uses the eProcurement Ontology from OP</a:t>
            </a:r>
          </a:p>
          <a:p>
            <a:r>
              <a:rPr lang="en-GB"/>
              <a:t>All data is </a:t>
            </a:r>
            <a:br>
              <a:rPr lang="en-GB"/>
            </a:br>
            <a:r>
              <a:rPr lang="en-GB"/>
              <a:t>mapped to the</a:t>
            </a:r>
            <a:br>
              <a:rPr lang="en-GB"/>
            </a:br>
            <a:r>
              <a:rPr lang="en-GB"/>
              <a:t>ePO</a:t>
            </a:r>
          </a:p>
          <a:p>
            <a:r>
              <a:rPr lang="en-GB"/>
              <a:t>This allows</a:t>
            </a:r>
            <a:br>
              <a:rPr lang="en-GB"/>
            </a:br>
            <a:r>
              <a:rPr lang="en-GB"/>
              <a:t>to harmonise</a:t>
            </a:r>
            <a:br>
              <a:rPr lang="en-GB"/>
            </a:br>
            <a:r>
              <a:rPr lang="en-GB"/>
              <a:t>analytics</a:t>
            </a:r>
          </a:p>
          <a:p>
            <a:r>
              <a:rPr lang="en-GB"/>
              <a:t>Will improve AI</a:t>
            </a:r>
          </a:p>
        </p:txBody>
      </p:sp>
      <p:sp>
        <p:nvSpPr>
          <p:cNvPr id="4" name="Text Placeholder 3">
            <a:extLst>
              <a:ext uri="{FF2B5EF4-FFF2-40B4-BE49-F238E27FC236}">
                <a16:creationId xmlns:a16="http://schemas.microsoft.com/office/drawing/2014/main" id="{C5B3B08B-CB1B-E016-5B1B-4F41F45017E9}"/>
              </a:ext>
            </a:extLst>
          </p:cNvPr>
          <p:cNvSpPr>
            <a:spLocks noGrp="1"/>
          </p:cNvSpPr>
          <p:nvPr>
            <p:ph type="body" sz="quarter" idx="13"/>
          </p:nvPr>
        </p:nvSpPr>
        <p:spPr/>
        <p:txBody>
          <a:bodyPr/>
          <a:lstStyle/>
          <a:p>
            <a:endParaRPr lang="de-DE"/>
          </a:p>
        </p:txBody>
      </p:sp>
      <p:pic>
        <p:nvPicPr>
          <p:cNvPr id="5" name="Graphic 2">
            <a:extLst>
              <a:ext uri="{FF2B5EF4-FFF2-40B4-BE49-F238E27FC236}">
                <a16:creationId xmlns:a16="http://schemas.microsoft.com/office/drawing/2014/main" id="{46F9DA97-5340-6462-A689-E02F3154D124}"/>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2974975" y="1698942"/>
            <a:ext cx="5471795" cy="2250440"/>
          </a:xfrm>
          <a:prstGeom prst="rect">
            <a:avLst/>
          </a:prstGeom>
        </p:spPr>
      </p:pic>
    </p:spTree>
    <p:extLst>
      <p:ext uri="{BB962C8B-B14F-4D97-AF65-F5344CB8AC3E}">
        <p14:creationId xmlns:p14="http://schemas.microsoft.com/office/powerpoint/2010/main" val="2110215068"/>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7F00E6-85A9-C1D4-2DD7-49F8CFFACBCF}"/>
              </a:ext>
            </a:extLst>
          </p:cNvPr>
          <p:cNvSpPr>
            <a:spLocks noGrp="1"/>
          </p:cNvSpPr>
          <p:nvPr>
            <p:ph type="title"/>
          </p:nvPr>
        </p:nvSpPr>
        <p:spPr/>
        <p:txBody>
          <a:bodyPr/>
          <a:lstStyle/>
          <a:p>
            <a:r>
              <a:rPr lang="en-GB"/>
              <a:t>Use of controlled vocabularies</a:t>
            </a:r>
          </a:p>
        </p:txBody>
      </p:sp>
      <p:pic>
        <p:nvPicPr>
          <p:cNvPr id="17" name="Content Placeholder 16" descr="A screenshot of a computer&#10;&#10;AI-generated content may be incorrect.">
            <a:extLst>
              <a:ext uri="{FF2B5EF4-FFF2-40B4-BE49-F238E27FC236}">
                <a16:creationId xmlns:a16="http://schemas.microsoft.com/office/drawing/2014/main" id="{872E11B3-4AEA-0A05-6966-5F390887E2E8}"/>
              </a:ext>
            </a:extLst>
          </p:cNvPr>
          <p:cNvPicPr>
            <a:picLocks noGrp="1" noChangeAspect="1"/>
          </p:cNvPicPr>
          <p:nvPr>
            <p:ph sz="half" idx="2"/>
          </p:nvPr>
        </p:nvPicPr>
        <p:blipFill>
          <a:blip r:embed="rId2"/>
          <a:stretch>
            <a:fillRect/>
          </a:stretch>
        </p:blipFill>
        <p:spPr>
          <a:xfrm>
            <a:off x="5343525" y="1038513"/>
            <a:ext cx="3428999" cy="3830349"/>
          </a:xfrm>
        </p:spPr>
      </p:pic>
      <p:sp>
        <p:nvSpPr>
          <p:cNvPr id="14" name="Content Placeholder 13">
            <a:extLst>
              <a:ext uri="{FF2B5EF4-FFF2-40B4-BE49-F238E27FC236}">
                <a16:creationId xmlns:a16="http://schemas.microsoft.com/office/drawing/2014/main" id="{F971C876-AAF4-F97F-5417-D14F1AD5B929}"/>
              </a:ext>
            </a:extLst>
          </p:cNvPr>
          <p:cNvSpPr>
            <a:spLocks noGrp="1"/>
          </p:cNvSpPr>
          <p:nvPr>
            <p:ph sz="quarter" idx="4"/>
          </p:nvPr>
        </p:nvSpPr>
        <p:spPr>
          <a:xfrm>
            <a:off x="684211" y="1268413"/>
            <a:ext cx="4516441" cy="3275012"/>
          </a:xfrm>
        </p:spPr>
        <p:txBody>
          <a:bodyPr>
            <a:normAutofit lnSpcReduction="10000"/>
          </a:bodyPr>
          <a:lstStyle/>
          <a:p>
            <a:r>
              <a:rPr lang="en-GB"/>
              <a:t>There are more than 60 controlled vocabularies used in the ePO and managed by OP</a:t>
            </a:r>
          </a:p>
          <a:p>
            <a:r>
              <a:rPr lang="en-GB"/>
              <a:t>To achieve consistency, the notices that are submitted to TED, are also using this vocabulary</a:t>
            </a:r>
          </a:p>
        </p:txBody>
      </p:sp>
      <p:sp>
        <p:nvSpPr>
          <p:cNvPr id="15" name="Text Placeholder 14">
            <a:extLst>
              <a:ext uri="{FF2B5EF4-FFF2-40B4-BE49-F238E27FC236}">
                <a16:creationId xmlns:a16="http://schemas.microsoft.com/office/drawing/2014/main" id="{7D76D33D-6420-0970-40D7-4103D230C2D4}"/>
              </a:ext>
            </a:extLst>
          </p:cNvPr>
          <p:cNvSpPr>
            <a:spLocks noGrp="1"/>
          </p:cNvSpPr>
          <p:nvPr>
            <p:ph type="body" sz="quarter" idx="13"/>
          </p:nvPr>
        </p:nvSpPr>
        <p:spPr/>
        <p:txBody>
          <a:bodyPr/>
          <a:lstStyle/>
          <a:p>
            <a:endParaRPr lang="de-DE"/>
          </a:p>
        </p:txBody>
      </p:sp>
    </p:spTree>
    <p:extLst>
      <p:ext uri="{BB962C8B-B14F-4D97-AF65-F5344CB8AC3E}">
        <p14:creationId xmlns:p14="http://schemas.microsoft.com/office/powerpoint/2010/main" val="1193908167"/>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C9C41B-A5CA-A012-1EAF-A4B53DC1B381}"/>
              </a:ext>
            </a:extLst>
          </p:cNvPr>
          <p:cNvSpPr>
            <a:spLocks noGrp="1"/>
          </p:cNvSpPr>
          <p:nvPr>
            <p:ph type="ctrTitle"/>
          </p:nvPr>
        </p:nvSpPr>
        <p:spPr/>
        <p:txBody>
          <a:bodyPr/>
          <a:lstStyle/>
          <a:p>
            <a:r>
              <a:rPr lang="en-IE"/>
              <a:t>Cultural Heritage Data Space</a:t>
            </a:r>
            <a:endParaRPr lang="en-LU"/>
          </a:p>
        </p:txBody>
      </p:sp>
      <p:sp>
        <p:nvSpPr>
          <p:cNvPr id="3" name="Subtitle 2">
            <a:extLst>
              <a:ext uri="{FF2B5EF4-FFF2-40B4-BE49-F238E27FC236}">
                <a16:creationId xmlns:a16="http://schemas.microsoft.com/office/drawing/2014/main" id="{3CF5DA15-EA76-1932-7361-C47D78E0ADE0}"/>
              </a:ext>
            </a:extLst>
          </p:cNvPr>
          <p:cNvSpPr>
            <a:spLocks noGrp="1"/>
          </p:cNvSpPr>
          <p:nvPr>
            <p:ph type="subTitle" idx="1"/>
          </p:nvPr>
        </p:nvSpPr>
        <p:spPr/>
        <p:txBody>
          <a:bodyPr vert="horz" lIns="91440" tIns="45720" rIns="91440" bIns="45720" rtlCol="0" anchor="t">
            <a:normAutofit/>
          </a:bodyPr>
          <a:lstStyle/>
          <a:p>
            <a:r>
              <a:rPr lang="en-IE"/>
              <a:t>Antoine Isaac, </a:t>
            </a:r>
            <a:r>
              <a:rPr lang="en-IE" err="1"/>
              <a:t>Europeana</a:t>
            </a:r>
            <a:r>
              <a:rPr lang="en-IE"/>
              <a:t> Foundation</a:t>
            </a:r>
            <a:endParaRPr lang="en-US">
              <a:ea typeface="Calibri"/>
              <a:cs typeface="Calibri"/>
            </a:endParaRPr>
          </a:p>
        </p:txBody>
      </p:sp>
      <p:sp>
        <p:nvSpPr>
          <p:cNvPr id="4" name="Text Placeholder 3">
            <a:extLst>
              <a:ext uri="{FF2B5EF4-FFF2-40B4-BE49-F238E27FC236}">
                <a16:creationId xmlns:a16="http://schemas.microsoft.com/office/drawing/2014/main" id="{AD34D0B7-9977-65B8-C2A6-657840EBF59C}"/>
              </a:ext>
            </a:extLst>
          </p:cNvPr>
          <p:cNvSpPr>
            <a:spLocks noGrp="1"/>
          </p:cNvSpPr>
          <p:nvPr>
            <p:ph type="body" sz="quarter" idx="13"/>
          </p:nvPr>
        </p:nvSpPr>
        <p:spPr/>
        <p:txBody>
          <a:bodyPr/>
          <a:lstStyle/>
          <a:p>
            <a:endParaRPr lang="en-LU"/>
          </a:p>
        </p:txBody>
      </p:sp>
    </p:spTree>
    <p:extLst>
      <p:ext uri="{BB962C8B-B14F-4D97-AF65-F5344CB8AC3E}">
        <p14:creationId xmlns:p14="http://schemas.microsoft.com/office/powerpoint/2010/main" val="413915268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7F00E6-85A9-C1D4-2DD7-49F8CFFACBCF}"/>
              </a:ext>
            </a:extLst>
          </p:cNvPr>
          <p:cNvSpPr>
            <a:spLocks noGrp="1"/>
          </p:cNvSpPr>
          <p:nvPr>
            <p:ph type="title"/>
          </p:nvPr>
        </p:nvSpPr>
        <p:spPr/>
        <p:txBody>
          <a:bodyPr/>
          <a:lstStyle/>
          <a:p>
            <a:r>
              <a:rPr lang="en-IE">
                <a:ea typeface="Calibri"/>
                <a:cs typeface="Calibri"/>
              </a:rPr>
              <a:t>Agenda</a:t>
            </a:r>
          </a:p>
        </p:txBody>
      </p:sp>
      <p:sp>
        <p:nvSpPr>
          <p:cNvPr id="3" name="Content Placeholder 2">
            <a:extLst>
              <a:ext uri="{FF2B5EF4-FFF2-40B4-BE49-F238E27FC236}">
                <a16:creationId xmlns:a16="http://schemas.microsoft.com/office/drawing/2014/main" id="{6CB22811-D02F-799F-CFEC-507349CBE0B5}"/>
              </a:ext>
            </a:extLst>
          </p:cNvPr>
          <p:cNvSpPr>
            <a:spLocks noGrp="1"/>
          </p:cNvSpPr>
          <p:nvPr>
            <p:ph idx="1"/>
          </p:nvPr>
        </p:nvSpPr>
        <p:spPr/>
        <p:txBody>
          <a:bodyPr vert="horz" lIns="91440" tIns="45720" rIns="91440" bIns="45720" rtlCol="0" anchor="t">
            <a:normAutofit/>
          </a:bodyPr>
          <a:lstStyle/>
          <a:p>
            <a:r>
              <a:rPr lang="en-IE"/>
              <a:t>General introduction to Data Spaces</a:t>
            </a:r>
          </a:p>
          <a:p>
            <a:r>
              <a:rPr lang="en-IE"/>
              <a:t>Health Data Space</a:t>
            </a:r>
            <a:endParaRPr lang="en-IE">
              <a:ea typeface="Calibri"/>
              <a:cs typeface="Calibri"/>
            </a:endParaRPr>
          </a:p>
          <a:p>
            <a:r>
              <a:rPr lang="en-IE">
                <a:ea typeface="Calibri"/>
                <a:cs typeface="Calibri"/>
              </a:rPr>
              <a:t>Legal Data Space</a:t>
            </a:r>
            <a:endParaRPr lang="en-IE"/>
          </a:p>
          <a:p>
            <a:r>
              <a:rPr lang="en-IE"/>
              <a:t>Public Procurement Data Space</a:t>
            </a:r>
            <a:endParaRPr lang="en-IE">
              <a:ea typeface="Calibri"/>
              <a:cs typeface="Calibri"/>
            </a:endParaRPr>
          </a:p>
          <a:p>
            <a:r>
              <a:rPr lang="en-IE"/>
              <a:t>Cultural Heritage Data Space</a:t>
            </a:r>
            <a:endParaRPr lang="en-IE">
              <a:ea typeface="Calibri"/>
              <a:cs typeface="Calibri"/>
            </a:endParaRPr>
          </a:p>
          <a:p>
            <a:r>
              <a:rPr lang="en-IE"/>
              <a:t>Questions and Discussion</a:t>
            </a:r>
            <a:endParaRPr lang="en-IE">
              <a:ea typeface="Calibri"/>
              <a:cs typeface="Calibri"/>
            </a:endParaRPr>
          </a:p>
        </p:txBody>
      </p:sp>
      <p:sp>
        <p:nvSpPr>
          <p:cNvPr id="4" name="Text Placeholder 3">
            <a:extLst>
              <a:ext uri="{FF2B5EF4-FFF2-40B4-BE49-F238E27FC236}">
                <a16:creationId xmlns:a16="http://schemas.microsoft.com/office/drawing/2014/main" id="{CC44D16F-D87A-4CC4-D71B-74823916FD4B}"/>
              </a:ext>
            </a:extLst>
          </p:cNvPr>
          <p:cNvSpPr>
            <a:spLocks noGrp="1"/>
          </p:cNvSpPr>
          <p:nvPr>
            <p:ph type="body" sz="quarter" idx="13"/>
          </p:nvPr>
        </p:nvSpPr>
        <p:spPr/>
        <p:txBody>
          <a:bodyPr/>
          <a:lstStyle/>
          <a:p>
            <a:endParaRPr lang="en-LU"/>
          </a:p>
        </p:txBody>
      </p:sp>
    </p:spTree>
    <p:extLst>
      <p:ext uri="{BB962C8B-B14F-4D97-AF65-F5344CB8AC3E}">
        <p14:creationId xmlns:p14="http://schemas.microsoft.com/office/powerpoint/2010/main" val="476552365"/>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Content Placeholder 4">
            <a:extLst>
              <a:ext uri="{FF2B5EF4-FFF2-40B4-BE49-F238E27FC236}">
                <a16:creationId xmlns:a16="http://schemas.microsoft.com/office/drawing/2014/main" id="{A00738CA-F739-94E5-2C8F-D399A76C630E}"/>
              </a:ext>
            </a:extLst>
          </p:cNvPr>
          <p:cNvPicPr>
            <a:picLocks noGrp="1" noChangeAspect="1"/>
          </p:cNvPicPr>
          <p:nvPr>
            <p:ph idx="1"/>
          </p:nvPr>
        </p:nvPicPr>
        <p:blipFill>
          <a:blip r:embed="rId2"/>
          <a:stretch>
            <a:fillRect/>
          </a:stretch>
        </p:blipFill>
        <p:spPr>
          <a:xfrm>
            <a:off x="1987027" y="2"/>
            <a:ext cx="6995569" cy="5291136"/>
          </a:xfrm>
        </p:spPr>
      </p:pic>
      <p:sp>
        <p:nvSpPr>
          <p:cNvPr id="4" name="Text Placeholder 3">
            <a:extLst>
              <a:ext uri="{FF2B5EF4-FFF2-40B4-BE49-F238E27FC236}">
                <a16:creationId xmlns:a16="http://schemas.microsoft.com/office/drawing/2014/main" id="{CC44D16F-D87A-4CC4-D71B-74823916FD4B}"/>
              </a:ext>
            </a:extLst>
          </p:cNvPr>
          <p:cNvSpPr>
            <a:spLocks noGrp="1"/>
          </p:cNvSpPr>
          <p:nvPr>
            <p:ph type="body" sz="quarter" idx="13"/>
          </p:nvPr>
        </p:nvSpPr>
        <p:spPr/>
        <p:txBody>
          <a:bodyPr/>
          <a:lstStyle/>
          <a:p>
            <a:endParaRPr lang="en-LU"/>
          </a:p>
        </p:txBody>
      </p:sp>
      <p:sp>
        <p:nvSpPr>
          <p:cNvPr id="7" name="Content Placeholder 2">
            <a:extLst>
              <a:ext uri="{FF2B5EF4-FFF2-40B4-BE49-F238E27FC236}">
                <a16:creationId xmlns:a16="http://schemas.microsoft.com/office/drawing/2014/main" id="{5588DDED-A0E0-55CA-265B-1F37E31723C0}"/>
              </a:ext>
            </a:extLst>
          </p:cNvPr>
          <p:cNvSpPr txBox="1">
            <a:spLocks/>
          </p:cNvSpPr>
          <p:nvPr/>
        </p:nvSpPr>
        <p:spPr>
          <a:xfrm>
            <a:off x="628650" y="992188"/>
            <a:ext cx="3513139" cy="2052638"/>
          </a:xfrm>
          <a:prstGeom prst="rect">
            <a:avLst/>
          </a:prstGeom>
        </p:spPr>
        <p:txBody>
          <a:bodyPr vert="horz" lIns="91440" tIns="45720" rIns="91440" bIns="45720" rtlCol="0" anchor="t">
            <a:normAutofit/>
          </a:bodyPr>
          <a:lstStyle>
            <a:lvl1pPr marL="228600" indent="-228600" algn="l" defTabSz="914400" rtl="0" eaLnBrk="1" latinLnBrk="0" hangingPunct="1">
              <a:lnSpc>
                <a:spcPct val="90000"/>
              </a:lnSpc>
              <a:spcBef>
                <a:spcPts val="1000"/>
              </a:spcBef>
              <a:buClr>
                <a:srgbClr val="F15A24"/>
              </a:buClr>
              <a:buFont typeface="Arial" panose="020B0604020202020204" pitchFamily="34" charset="0"/>
              <a:buChar char="•"/>
              <a:defRPr sz="2600" kern="1200">
                <a:solidFill>
                  <a:schemeClr val="tx1">
                    <a:lumMod val="65000"/>
                    <a:lumOff val="35000"/>
                  </a:schemeClr>
                </a:solidFill>
                <a:latin typeface="+mn-lt"/>
                <a:ea typeface="+mn-ea"/>
                <a:cs typeface="+mn-cs"/>
              </a:defRPr>
            </a:lvl1pPr>
            <a:lvl2pPr marL="685800" indent="-228600" algn="l" defTabSz="914400" rtl="0" eaLnBrk="1" latinLnBrk="0" hangingPunct="1">
              <a:lnSpc>
                <a:spcPct val="90000"/>
              </a:lnSpc>
              <a:spcBef>
                <a:spcPts val="500"/>
              </a:spcBef>
              <a:buClr>
                <a:srgbClr val="F15A24"/>
              </a:buClr>
              <a:buFont typeface="Arial" panose="020B0604020202020204" pitchFamily="34" charset="0"/>
              <a:buChar char="•"/>
              <a:defRPr sz="2200" kern="1200">
                <a:solidFill>
                  <a:schemeClr val="tx1">
                    <a:lumMod val="65000"/>
                    <a:lumOff val="35000"/>
                  </a:schemeClr>
                </a:solidFill>
                <a:latin typeface="+mn-lt"/>
                <a:ea typeface="+mn-ea"/>
                <a:cs typeface="+mn-cs"/>
              </a:defRPr>
            </a:lvl2pPr>
            <a:lvl3pPr marL="1143000" indent="-228600" algn="l" defTabSz="914400" rtl="0" eaLnBrk="1" latinLnBrk="0" hangingPunct="1">
              <a:lnSpc>
                <a:spcPct val="90000"/>
              </a:lnSpc>
              <a:spcBef>
                <a:spcPts val="500"/>
              </a:spcBef>
              <a:buClr>
                <a:srgbClr val="F15A24"/>
              </a:buClr>
              <a:buFont typeface="Arial" panose="020B0604020202020204" pitchFamily="34" charset="0"/>
              <a:buChar char="•"/>
              <a:defRPr sz="1800" kern="1200">
                <a:solidFill>
                  <a:schemeClr val="tx1">
                    <a:lumMod val="65000"/>
                    <a:lumOff val="35000"/>
                  </a:schemeClr>
                </a:solidFill>
                <a:latin typeface="+mn-lt"/>
                <a:ea typeface="+mn-ea"/>
                <a:cs typeface="+mn-cs"/>
              </a:defRPr>
            </a:lvl3pPr>
            <a:lvl4pPr marL="1600200" indent="-228600" algn="l" defTabSz="914400" rtl="0" eaLnBrk="1" latinLnBrk="0" hangingPunct="1">
              <a:lnSpc>
                <a:spcPct val="90000"/>
              </a:lnSpc>
              <a:spcBef>
                <a:spcPts val="500"/>
              </a:spcBef>
              <a:buClr>
                <a:srgbClr val="F15A24"/>
              </a:buClr>
              <a:buFont typeface="Arial" panose="020B0604020202020204" pitchFamily="34" charset="0"/>
              <a:buChar char="•"/>
              <a:defRPr sz="1800" kern="1200">
                <a:solidFill>
                  <a:schemeClr val="tx1">
                    <a:lumMod val="65000"/>
                    <a:lumOff val="35000"/>
                  </a:schemeClr>
                </a:solidFill>
                <a:latin typeface="+mn-lt"/>
                <a:ea typeface="+mn-ea"/>
                <a:cs typeface="+mn-cs"/>
              </a:defRPr>
            </a:lvl4pPr>
            <a:lvl5pPr marL="2057400" indent="-228600" algn="l" defTabSz="914400" rtl="0" eaLnBrk="1" latinLnBrk="0" hangingPunct="1">
              <a:lnSpc>
                <a:spcPct val="90000"/>
              </a:lnSpc>
              <a:spcBef>
                <a:spcPts val="500"/>
              </a:spcBef>
              <a:buClr>
                <a:srgbClr val="F15A24"/>
              </a:buClr>
              <a:buFont typeface="Arial" panose="020B0604020202020204" pitchFamily="34" charset="0"/>
              <a:buChar char="•"/>
              <a:defRPr sz="1800" kern="1200">
                <a:solidFill>
                  <a:schemeClr val="tx1">
                    <a:lumMod val="65000"/>
                    <a:lumOff val="3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LU">
                <a:ea typeface="Calibri"/>
                <a:cs typeface="Calibri"/>
              </a:rPr>
              <a:t>Data providers: </a:t>
            </a:r>
            <a:r>
              <a:rPr lang="en-US">
                <a:ea typeface="+mn-lt"/>
                <a:cs typeface="+mn-lt"/>
              </a:rPr>
              <a:t>museums, libraries, archives that provide metadata and links to digitised content</a:t>
            </a:r>
            <a:endParaRPr lang="en-US">
              <a:ea typeface="Calibri" panose="020F0502020204030204"/>
              <a:cs typeface="Calibri" panose="020F0502020204030204"/>
            </a:endParaRPr>
          </a:p>
        </p:txBody>
      </p:sp>
      <p:sp>
        <p:nvSpPr>
          <p:cNvPr id="9" name="Content Placeholder 2">
            <a:extLst>
              <a:ext uri="{FF2B5EF4-FFF2-40B4-BE49-F238E27FC236}">
                <a16:creationId xmlns:a16="http://schemas.microsoft.com/office/drawing/2014/main" id="{BFB746D1-AA04-A2A8-2AD6-B90D113C0EE4}"/>
              </a:ext>
            </a:extLst>
          </p:cNvPr>
          <p:cNvSpPr txBox="1">
            <a:spLocks/>
          </p:cNvSpPr>
          <p:nvPr/>
        </p:nvSpPr>
        <p:spPr>
          <a:xfrm>
            <a:off x="5240338" y="3611562"/>
            <a:ext cx="3902076" cy="1616076"/>
          </a:xfrm>
          <a:prstGeom prst="rect">
            <a:avLst/>
          </a:prstGeom>
        </p:spPr>
        <p:txBody>
          <a:bodyPr vert="horz" lIns="91440" tIns="45720" rIns="91440" bIns="45720" rtlCol="0" anchor="t">
            <a:normAutofit/>
          </a:bodyPr>
          <a:lstStyle>
            <a:lvl1pPr marL="228600" indent="-228600" algn="l" defTabSz="914400" rtl="0" eaLnBrk="1" latinLnBrk="0" hangingPunct="1">
              <a:lnSpc>
                <a:spcPct val="90000"/>
              </a:lnSpc>
              <a:spcBef>
                <a:spcPts val="1000"/>
              </a:spcBef>
              <a:buClr>
                <a:srgbClr val="F15A24"/>
              </a:buClr>
              <a:buFont typeface="Arial" panose="020B0604020202020204" pitchFamily="34" charset="0"/>
              <a:buChar char="•"/>
              <a:defRPr sz="2600" kern="1200">
                <a:solidFill>
                  <a:schemeClr val="tx1">
                    <a:lumMod val="65000"/>
                    <a:lumOff val="35000"/>
                  </a:schemeClr>
                </a:solidFill>
                <a:latin typeface="+mn-lt"/>
                <a:ea typeface="+mn-ea"/>
                <a:cs typeface="+mn-cs"/>
              </a:defRPr>
            </a:lvl1pPr>
            <a:lvl2pPr marL="685800" indent="-228600" algn="l" defTabSz="914400" rtl="0" eaLnBrk="1" latinLnBrk="0" hangingPunct="1">
              <a:lnSpc>
                <a:spcPct val="90000"/>
              </a:lnSpc>
              <a:spcBef>
                <a:spcPts val="500"/>
              </a:spcBef>
              <a:buClr>
                <a:srgbClr val="F15A24"/>
              </a:buClr>
              <a:buFont typeface="Arial" panose="020B0604020202020204" pitchFamily="34" charset="0"/>
              <a:buChar char="•"/>
              <a:defRPr sz="2200" kern="1200">
                <a:solidFill>
                  <a:schemeClr val="tx1">
                    <a:lumMod val="65000"/>
                    <a:lumOff val="35000"/>
                  </a:schemeClr>
                </a:solidFill>
                <a:latin typeface="+mn-lt"/>
                <a:ea typeface="+mn-ea"/>
                <a:cs typeface="+mn-cs"/>
              </a:defRPr>
            </a:lvl2pPr>
            <a:lvl3pPr marL="1143000" indent="-228600" algn="l" defTabSz="914400" rtl="0" eaLnBrk="1" latinLnBrk="0" hangingPunct="1">
              <a:lnSpc>
                <a:spcPct val="90000"/>
              </a:lnSpc>
              <a:spcBef>
                <a:spcPts val="500"/>
              </a:spcBef>
              <a:buClr>
                <a:srgbClr val="F15A24"/>
              </a:buClr>
              <a:buFont typeface="Arial" panose="020B0604020202020204" pitchFamily="34" charset="0"/>
              <a:buChar char="•"/>
              <a:defRPr sz="1800" kern="1200">
                <a:solidFill>
                  <a:schemeClr val="tx1">
                    <a:lumMod val="65000"/>
                    <a:lumOff val="35000"/>
                  </a:schemeClr>
                </a:solidFill>
                <a:latin typeface="+mn-lt"/>
                <a:ea typeface="+mn-ea"/>
                <a:cs typeface="+mn-cs"/>
              </a:defRPr>
            </a:lvl3pPr>
            <a:lvl4pPr marL="1600200" indent="-228600" algn="l" defTabSz="914400" rtl="0" eaLnBrk="1" latinLnBrk="0" hangingPunct="1">
              <a:lnSpc>
                <a:spcPct val="90000"/>
              </a:lnSpc>
              <a:spcBef>
                <a:spcPts val="500"/>
              </a:spcBef>
              <a:buClr>
                <a:srgbClr val="F15A24"/>
              </a:buClr>
              <a:buFont typeface="Arial" panose="020B0604020202020204" pitchFamily="34" charset="0"/>
              <a:buChar char="•"/>
              <a:defRPr sz="1800" kern="1200">
                <a:solidFill>
                  <a:schemeClr val="tx1">
                    <a:lumMod val="65000"/>
                    <a:lumOff val="35000"/>
                  </a:schemeClr>
                </a:solidFill>
                <a:latin typeface="+mn-lt"/>
                <a:ea typeface="+mn-ea"/>
                <a:cs typeface="+mn-cs"/>
              </a:defRPr>
            </a:lvl4pPr>
            <a:lvl5pPr marL="2057400" indent="-228600" algn="l" defTabSz="914400" rtl="0" eaLnBrk="1" latinLnBrk="0" hangingPunct="1">
              <a:lnSpc>
                <a:spcPct val="90000"/>
              </a:lnSpc>
              <a:spcBef>
                <a:spcPts val="500"/>
              </a:spcBef>
              <a:buClr>
                <a:srgbClr val="F15A24"/>
              </a:buClr>
              <a:buFont typeface="Arial" panose="020B0604020202020204" pitchFamily="34" charset="0"/>
              <a:buChar char="•"/>
              <a:defRPr sz="1800" kern="1200">
                <a:solidFill>
                  <a:schemeClr val="tx1">
                    <a:lumMod val="65000"/>
                    <a:lumOff val="3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a:ea typeface="Calibri"/>
                <a:cs typeface="Calibri"/>
              </a:rPr>
              <a:t>Aggregators: </a:t>
            </a:r>
            <a:r>
              <a:rPr lang="en-US" err="1">
                <a:ea typeface="Calibri"/>
                <a:cs typeface="Calibri"/>
              </a:rPr>
              <a:t>organisations</a:t>
            </a:r>
            <a:r>
              <a:rPr lang="en-US">
                <a:ea typeface="Calibri"/>
                <a:cs typeface="Calibri"/>
              </a:rPr>
              <a:t> that gather data from a specific country or domain (fashion, archaeology…)</a:t>
            </a:r>
            <a:endParaRPr lang="en-US"/>
          </a:p>
        </p:txBody>
      </p:sp>
      <p:sp>
        <p:nvSpPr>
          <p:cNvPr id="2" name="Title 1">
            <a:extLst>
              <a:ext uri="{FF2B5EF4-FFF2-40B4-BE49-F238E27FC236}">
                <a16:creationId xmlns:a16="http://schemas.microsoft.com/office/drawing/2014/main" id="{8C7F00E6-85A9-C1D4-2DD7-49F8CFFACBCF}"/>
              </a:ext>
            </a:extLst>
          </p:cNvPr>
          <p:cNvSpPr>
            <a:spLocks noGrp="1"/>
          </p:cNvSpPr>
          <p:nvPr>
            <p:ph type="title"/>
          </p:nvPr>
        </p:nvSpPr>
        <p:spPr/>
        <p:txBody>
          <a:bodyPr/>
          <a:lstStyle/>
          <a:p>
            <a:r>
              <a:rPr lang="en-LU">
                <a:ea typeface="Calibri"/>
                <a:cs typeface="Calibri"/>
              </a:rPr>
              <a:t>From Europeana.eu...</a:t>
            </a:r>
            <a:endParaRPr lang="en-LU"/>
          </a:p>
        </p:txBody>
      </p:sp>
    </p:spTree>
    <p:extLst>
      <p:ext uri="{BB962C8B-B14F-4D97-AF65-F5344CB8AC3E}">
        <p14:creationId xmlns:p14="http://schemas.microsoft.com/office/powerpoint/2010/main" val="3181924001"/>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6B05439-1BF7-92F0-A6B9-49A300C0B191}"/>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6159159C-03FC-E30D-DDE0-44A88E0B30F5}"/>
              </a:ext>
            </a:extLst>
          </p:cNvPr>
          <p:cNvSpPr>
            <a:spLocks noGrp="1"/>
          </p:cNvSpPr>
          <p:nvPr>
            <p:ph type="title"/>
          </p:nvPr>
        </p:nvSpPr>
        <p:spPr/>
        <p:txBody>
          <a:bodyPr/>
          <a:lstStyle/>
          <a:p>
            <a:r>
              <a:rPr lang="en-US">
                <a:ea typeface="Calibri"/>
                <a:cs typeface="Calibri"/>
              </a:rPr>
              <a:t>From europeana.eu</a:t>
            </a:r>
          </a:p>
        </p:txBody>
      </p:sp>
      <p:sp>
        <p:nvSpPr>
          <p:cNvPr id="3" name="Content Placeholder 2">
            <a:extLst>
              <a:ext uri="{FF2B5EF4-FFF2-40B4-BE49-F238E27FC236}">
                <a16:creationId xmlns:a16="http://schemas.microsoft.com/office/drawing/2014/main" id="{7F4C1448-64FD-B734-4B15-15B837F9FC9B}"/>
              </a:ext>
            </a:extLst>
          </p:cNvPr>
          <p:cNvSpPr>
            <a:spLocks noGrp="1"/>
          </p:cNvSpPr>
          <p:nvPr>
            <p:ph idx="1"/>
          </p:nvPr>
        </p:nvSpPr>
        <p:spPr>
          <a:xfrm>
            <a:off x="479181" y="1031875"/>
            <a:ext cx="2878138" cy="1758950"/>
          </a:xfrm>
        </p:spPr>
        <p:txBody>
          <a:bodyPr vert="horz" lIns="91440" tIns="45720" rIns="91440" bIns="45720" rtlCol="0" anchor="t">
            <a:normAutofit/>
          </a:bodyPr>
          <a:lstStyle/>
          <a:p>
            <a:pPr marL="0" indent="0">
              <a:buNone/>
            </a:pPr>
            <a:r>
              <a:rPr lang="en-US">
                <a:ea typeface="+mn-lt"/>
                <a:cs typeface="+mn-lt"/>
              </a:rPr>
              <a:t>Access to 60M+ objects from 3700 museums, libraries, archives</a:t>
            </a:r>
            <a:endParaRPr lang="en-US">
              <a:ea typeface="Calibri"/>
              <a:cs typeface="Calibri"/>
            </a:endParaRPr>
          </a:p>
        </p:txBody>
      </p:sp>
      <p:sp>
        <p:nvSpPr>
          <p:cNvPr id="4" name="Text Placeholder 3">
            <a:extLst>
              <a:ext uri="{FF2B5EF4-FFF2-40B4-BE49-F238E27FC236}">
                <a16:creationId xmlns:a16="http://schemas.microsoft.com/office/drawing/2014/main" id="{B23F9DA6-A5D6-BA49-E4B3-F7C93025F2EA}"/>
              </a:ext>
            </a:extLst>
          </p:cNvPr>
          <p:cNvSpPr>
            <a:spLocks noGrp="1"/>
          </p:cNvSpPr>
          <p:nvPr>
            <p:ph type="body" sz="quarter" idx="13"/>
          </p:nvPr>
        </p:nvSpPr>
        <p:spPr/>
        <p:txBody>
          <a:bodyPr/>
          <a:lstStyle/>
          <a:p>
            <a:endParaRPr lang="en-LU"/>
          </a:p>
        </p:txBody>
      </p:sp>
      <p:pic>
        <p:nvPicPr>
          <p:cNvPr id="5" name="Picture 4" descr="A screenshot of a website&#10;&#10;AI-generated content may be incorrect.">
            <a:extLst>
              <a:ext uri="{FF2B5EF4-FFF2-40B4-BE49-F238E27FC236}">
                <a16:creationId xmlns:a16="http://schemas.microsoft.com/office/drawing/2014/main" id="{7FA2F198-6837-D226-2E24-085BEDBCCB8F}"/>
              </a:ext>
            </a:extLst>
          </p:cNvPr>
          <p:cNvPicPr>
            <a:picLocks noChangeAspect="1"/>
          </p:cNvPicPr>
          <p:nvPr/>
        </p:nvPicPr>
        <p:blipFill>
          <a:blip r:embed="rId2"/>
          <a:stretch>
            <a:fillRect/>
          </a:stretch>
        </p:blipFill>
        <p:spPr>
          <a:xfrm>
            <a:off x="3357563" y="1181099"/>
            <a:ext cx="5786437" cy="3321050"/>
          </a:xfrm>
          <a:prstGeom prst="rect">
            <a:avLst/>
          </a:prstGeom>
        </p:spPr>
      </p:pic>
    </p:spTree>
    <p:extLst>
      <p:ext uri="{BB962C8B-B14F-4D97-AF65-F5344CB8AC3E}">
        <p14:creationId xmlns:p14="http://schemas.microsoft.com/office/powerpoint/2010/main" val="3986110441"/>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5966CFD-454D-4B21-923A-CF835D084FCF}"/>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9D8904EC-E9D2-A3DF-8C79-3FF9DBD8DA10}"/>
              </a:ext>
            </a:extLst>
          </p:cNvPr>
          <p:cNvSpPr>
            <a:spLocks noGrp="1"/>
          </p:cNvSpPr>
          <p:nvPr>
            <p:ph type="title"/>
          </p:nvPr>
        </p:nvSpPr>
        <p:spPr/>
        <p:txBody>
          <a:bodyPr/>
          <a:lstStyle/>
          <a:p>
            <a:r>
              <a:rPr lang="en-US">
                <a:ea typeface="Calibri"/>
                <a:cs typeface="Calibri"/>
              </a:rPr>
              <a:t>From europeana.eu</a:t>
            </a:r>
          </a:p>
        </p:txBody>
      </p:sp>
      <p:sp>
        <p:nvSpPr>
          <p:cNvPr id="3" name="Content Placeholder 2">
            <a:extLst>
              <a:ext uri="{FF2B5EF4-FFF2-40B4-BE49-F238E27FC236}">
                <a16:creationId xmlns:a16="http://schemas.microsoft.com/office/drawing/2014/main" id="{0AB59BE7-B144-D7D1-6B55-09F5348901E4}"/>
              </a:ext>
            </a:extLst>
          </p:cNvPr>
          <p:cNvSpPr>
            <a:spLocks noGrp="1"/>
          </p:cNvSpPr>
          <p:nvPr>
            <p:ph idx="1"/>
          </p:nvPr>
        </p:nvSpPr>
        <p:spPr>
          <a:xfrm>
            <a:off x="514350" y="1016000"/>
            <a:ext cx="2878138" cy="3616325"/>
          </a:xfrm>
        </p:spPr>
        <p:txBody>
          <a:bodyPr vert="horz" lIns="91440" tIns="45720" rIns="91440" bIns="45720" rtlCol="0" anchor="t">
            <a:normAutofit/>
          </a:bodyPr>
          <a:lstStyle/>
          <a:p>
            <a:pPr marL="0" indent="0">
              <a:buNone/>
            </a:pPr>
            <a:r>
              <a:rPr lang="en-US">
                <a:ea typeface="+mn-lt"/>
                <a:cs typeface="+mn-lt"/>
              </a:rPr>
              <a:t>Access to 60M+ objects from 3700 museums, libraries, archives</a:t>
            </a:r>
            <a:endParaRPr lang="en-US">
              <a:ea typeface="Calibri"/>
              <a:cs typeface="Calibri"/>
            </a:endParaRPr>
          </a:p>
        </p:txBody>
      </p:sp>
      <p:sp>
        <p:nvSpPr>
          <p:cNvPr id="4" name="Text Placeholder 3">
            <a:extLst>
              <a:ext uri="{FF2B5EF4-FFF2-40B4-BE49-F238E27FC236}">
                <a16:creationId xmlns:a16="http://schemas.microsoft.com/office/drawing/2014/main" id="{2C483CBD-C2AF-2750-4D13-9C6312A8A153}"/>
              </a:ext>
            </a:extLst>
          </p:cNvPr>
          <p:cNvSpPr>
            <a:spLocks noGrp="1"/>
          </p:cNvSpPr>
          <p:nvPr>
            <p:ph type="body" sz="quarter" idx="13"/>
          </p:nvPr>
        </p:nvSpPr>
        <p:spPr/>
        <p:txBody>
          <a:bodyPr/>
          <a:lstStyle/>
          <a:p>
            <a:endParaRPr lang="en-LU"/>
          </a:p>
        </p:txBody>
      </p:sp>
      <p:pic>
        <p:nvPicPr>
          <p:cNvPr id="6" name="Picture 5" descr="A screenshot of a computer&#10;&#10;AI-generated content may be incorrect.">
            <a:extLst>
              <a:ext uri="{FF2B5EF4-FFF2-40B4-BE49-F238E27FC236}">
                <a16:creationId xmlns:a16="http://schemas.microsoft.com/office/drawing/2014/main" id="{097EF21A-73F2-72C6-D926-2CF655D011DD}"/>
              </a:ext>
            </a:extLst>
          </p:cNvPr>
          <p:cNvPicPr>
            <a:picLocks noChangeAspect="1"/>
          </p:cNvPicPr>
          <p:nvPr/>
        </p:nvPicPr>
        <p:blipFill>
          <a:blip r:embed="rId2"/>
          <a:stretch>
            <a:fillRect/>
          </a:stretch>
        </p:blipFill>
        <p:spPr>
          <a:xfrm>
            <a:off x="3393380" y="849312"/>
            <a:ext cx="5730677" cy="3921125"/>
          </a:xfrm>
          <a:prstGeom prst="rect">
            <a:avLst/>
          </a:prstGeom>
        </p:spPr>
      </p:pic>
    </p:spTree>
    <p:extLst>
      <p:ext uri="{BB962C8B-B14F-4D97-AF65-F5344CB8AC3E}">
        <p14:creationId xmlns:p14="http://schemas.microsoft.com/office/powerpoint/2010/main" val="3362160726"/>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D032E3-BB8D-30C1-B3D8-4832DA80B2C4}"/>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2C12002A-98F3-7E0A-46C4-7871E9B88A82}"/>
              </a:ext>
            </a:extLst>
          </p:cNvPr>
          <p:cNvSpPr>
            <a:spLocks noGrp="1"/>
          </p:cNvSpPr>
          <p:nvPr>
            <p:ph type="title"/>
          </p:nvPr>
        </p:nvSpPr>
        <p:spPr/>
        <p:txBody>
          <a:bodyPr/>
          <a:lstStyle/>
          <a:p>
            <a:r>
              <a:rPr lang="en-US">
                <a:ea typeface="Calibri"/>
                <a:cs typeface="Calibri"/>
              </a:rPr>
              <a:t>From europeana.eu</a:t>
            </a:r>
          </a:p>
        </p:txBody>
      </p:sp>
      <p:sp>
        <p:nvSpPr>
          <p:cNvPr id="3" name="Content Placeholder 2">
            <a:extLst>
              <a:ext uri="{FF2B5EF4-FFF2-40B4-BE49-F238E27FC236}">
                <a16:creationId xmlns:a16="http://schemas.microsoft.com/office/drawing/2014/main" id="{07ACFD63-FECD-7DB3-3415-035CF7CF6577}"/>
              </a:ext>
            </a:extLst>
          </p:cNvPr>
          <p:cNvSpPr>
            <a:spLocks noGrp="1"/>
          </p:cNvSpPr>
          <p:nvPr>
            <p:ph idx="1"/>
          </p:nvPr>
        </p:nvSpPr>
        <p:spPr>
          <a:xfrm>
            <a:off x="5218234" y="4515339"/>
            <a:ext cx="3788630" cy="512763"/>
          </a:xfrm>
        </p:spPr>
        <p:txBody>
          <a:bodyPr vert="horz" lIns="91440" tIns="45720" rIns="91440" bIns="45720" rtlCol="0" anchor="t">
            <a:normAutofit/>
          </a:bodyPr>
          <a:lstStyle/>
          <a:p>
            <a:pPr marL="0" indent="0">
              <a:buNone/>
            </a:pPr>
            <a:r>
              <a:rPr lang="en-GB">
                <a:hlinkClick r:id="rId2"/>
              </a:rPr>
              <a:t>https://api.europeana.eu</a:t>
            </a:r>
            <a:r>
              <a:rPr lang="en-GB"/>
              <a:t> </a:t>
            </a:r>
            <a:endParaRPr lang="en-US">
              <a:ea typeface="Calibri"/>
              <a:cs typeface="Calibri"/>
            </a:endParaRPr>
          </a:p>
        </p:txBody>
      </p:sp>
      <p:sp>
        <p:nvSpPr>
          <p:cNvPr id="4" name="Text Placeholder 3">
            <a:extLst>
              <a:ext uri="{FF2B5EF4-FFF2-40B4-BE49-F238E27FC236}">
                <a16:creationId xmlns:a16="http://schemas.microsoft.com/office/drawing/2014/main" id="{9EA2F07F-A23E-532B-8DD3-A7E33E11F919}"/>
              </a:ext>
            </a:extLst>
          </p:cNvPr>
          <p:cNvSpPr>
            <a:spLocks noGrp="1"/>
          </p:cNvSpPr>
          <p:nvPr>
            <p:ph type="body" sz="quarter" idx="13"/>
          </p:nvPr>
        </p:nvSpPr>
        <p:spPr/>
        <p:txBody>
          <a:bodyPr/>
          <a:lstStyle/>
          <a:p>
            <a:endParaRPr lang="en-LU"/>
          </a:p>
        </p:txBody>
      </p:sp>
      <p:pic>
        <p:nvPicPr>
          <p:cNvPr id="5" name="Picture 4" descr="A screenshot of a web page&#10;&#10;AI-generated content may be incorrect.">
            <a:extLst>
              <a:ext uri="{FF2B5EF4-FFF2-40B4-BE49-F238E27FC236}">
                <a16:creationId xmlns:a16="http://schemas.microsoft.com/office/drawing/2014/main" id="{B368E90A-84BF-A49C-261B-4390C478D52A}"/>
              </a:ext>
            </a:extLst>
          </p:cNvPr>
          <p:cNvPicPr>
            <a:picLocks noChangeAspect="1"/>
          </p:cNvPicPr>
          <p:nvPr/>
        </p:nvPicPr>
        <p:blipFill>
          <a:blip r:embed="rId3"/>
          <a:stretch>
            <a:fillRect/>
          </a:stretch>
        </p:blipFill>
        <p:spPr>
          <a:xfrm>
            <a:off x="-79375" y="1793369"/>
            <a:ext cx="5302251" cy="2469576"/>
          </a:xfrm>
          <a:prstGeom prst="rect">
            <a:avLst/>
          </a:prstGeom>
        </p:spPr>
      </p:pic>
      <p:pic>
        <p:nvPicPr>
          <p:cNvPr id="7" name="Picture 6" descr="A screenshot of a computer&#10;&#10;AI-generated content may be incorrect.">
            <a:extLst>
              <a:ext uri="{FF2B5EF4-FFF2-40B4-BE49-F238E27FC236}">
                <a16:creationId xmlns:a16="http://schemas.microsoft.com/office/drawing/2014/main" id="{6BAE8522-EC86-E6FF-66EF-BBC7602D8237}"/>
              </a:ext>
            </a:extLst>
          </p:cNvPr>
          <p:cNvPicPr>
            <a:picLocks noChangeAspect="1"/>
          </p:cNvPicPr>
          <p:nvPr/>
        </p:nvPicPr>
        <p:blipFill>
          <a:blip r:embed="rId4"/>
          <a:stretch>
            <a:fillRect/>
          </a:stretch>
        </p:blipFill>
        <p:spPr>
          <a:xfrm>
            <a:off x="5206495" y="1793875"/>
            <a:ext cx="3938010" cy="2468563"/>
          </a:xfrm>
          <a:prstGeom prst="rect">
            <a:avLst/>
          </a:prstGeom>
        </p:spPr>
      </p:pic>
    </p:spTree>
    <p:extLst>
      <p:ext uri="{BB962C8B-B14F-4D97-AF65-F5344CB8AC3E}">
        <p14:creationId xmlns:p14="http://schemas.microsoft.com/office/powerpoint/2010/main" val="3161905476"/>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F9153A-A635-23BB-69AE-9E62FA4A7DBB}"/>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27EBF210-C58F-94B9-6BCF-E0708CD9EA55}"/>
              </a:ext>
            </a:extLst>
          </p:cNvPr>
          <p:cNvSpPr>
            <a:spLocks noGrp="1"/>
          </p:cNvSpPr>
          <p:nvPr>
            <p:ph type="title"/>
          </p:nvPr>
        </p:nvSpPr>
        <p:spPr/>
        <p:txBody>
          <a:bodyPr/>
          <a:lstStyle/>
          <a:p>
            <a:r>
              <a:rPr lang="en-LU">
                <a:ea typeface="Calibri"/>
                <a:cs typeface="Calibri"/>
              </a:rPr>
              <a:t>To the common European data space for cultural heritage</a:t>
            </a:r>
            <a:endParaRPr lang="en-LU"/>
          </a:p>
        </p:txBody>
      </p:sp>
      <p:sp>
        <p:nvSpPr>
          <p:cNvPr id="4" name="Text Placeholder 3">
            <a:extLst>
              <a:ext uri="{FF2B5EF4-FFF2-40B4-BE49-F238E27FC236}">
                <a16:creationId xmlns:a16="http://schemas.microsoft.com/office/drawing/2014/main" id="{01E4FA57-0757-D32D-29A6-A097A086125B}"/>
              </a:ext>
            </a:extLst>
          </p:cNvPr>
          <p:cNvSpPr>
            <a:spLocks noGrp="1"/>
          </p:cNvSpPr>
          <p:nvPr>
            <p:ph type="body" sz="quarter" idx="13"/>
          </p:nvPr>
        </p:nvSpPr>
        <p:spPr/>
        <p:txBody>
          <a:bodyPr/>
          <a:lstStyle/>
          <a:p>
            <a:endParaRPr lang="en-LU"/>
          </a:p>
        </p:txBody>
      </p:sp>
      <p:pic>
        <p:nvPicPr>
          <p:cNvPr id="10" name="Content Placeholder 9">
            <a:extLst>
              <a:ext uri="{FF2B5EF4-FFF2-40B4-BE49-F238E27FC236}">
                <a16:creationId xmlns:a16="http://schemas.microsoft.com/office/drawing/2014/main" id="{3FBB99A2-4267-94AC-BF5F-4FB5E4E62D16}"/>
              </a:ext>
            </a:extLst>
          </p:cNvPr>
          <p:cNvPicPr>
            <a:picLocks noGrp="1" noChangeAspect="1"/>
          </p:cNvPicPr>
          <p:nvPr>
            <p:ph idx="1"/>
          </p:nvPr>
        </p:nvPicPr>
        <p:blipFill>
          <a:blip r:embed="rId2"/>
          <a:stretch>
            <a:fillRect/>
          </a:stretch>
        </p:blipFill>
        <p:spPr>
          <a:xfrm>
            <a:off x="-1690776" y="1210130"/>
            <a:ext cx="5641521" cy="3351298"/>
          </a:xfrm>
        </p:spPr>
      </p:pic>
      <p:sp>
        <p:nvSpPr>
          <p:cNvPr id="9" name="TextBox 8">
            <a:extLst>
              <a:ext uri="{FF2B5EF4-FFF2-40B4-BE49-F238E27FC236}">
                <a16:creationId xmlns:a16="http://schemas.microsoft.com/office/drawing/2014/main" id="{75D87BC8-102D-D25A-9824-1E077427AB9F}"/>
              </a:ext>
            </a:extLst>
          </p:cNvPr>
          <p:cNvSpPr txBox="1"/>
          <p:nvPr/>
        </p:nvSpPr>
        <p:spPr>
          <a:xfrm>
            <a:off x="4160838" y="4637088"/>
            <a:ext cx="4322763"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a:hlinkClick r:id="rId3"/>
              </a:rPr>
              <a:t>https://www.dataspace-culturalheritage.eu</a:t>
            </a:r>
            <a:r>
              <a:rPr lang="en-US"/>
              <a:t> </a:t>
            </a:r>
          </a:p>
        </p:txBody>
      </p:sp>
      <p:pic>
        <p:nvPicPr>
          <p:cNvPr id="12" name="Picture 11" descr="A diagram of a diagram&#10;&#10;AI-generated content may be incorrect.">
            <a:extLst>
              <a:ext uri="{FF2B5EF4-FFF2-40B4-BE49-F238E27FC236}">
                <a16:creationId xmlns:a16="http://schemas.microsoft.com/office/drawing/2014/main" id="{06AE3673-8A2A-629E-98AD-65C0B3DD9A2D}"/>
              </a:ext>
            </a:extLst>
          </p:cNvPr>
          <p:cNvPicPr>
            <a:picLocks noChangeAspect="1"/>
          </p:cNvPicPr>
          <p:nvPr/>
        </p:nvPicPr>
        <p:blipFill>
          <a:blip r:embed="rId4"/>
          <a:stretch>
            <a:fillRect/>
          </a:stretch>
        </p:blipFill>
        <p:spPr>
          <a:xfrm>
            <a:off x="3953556" y="1541689"/>
            <a:ext cx="5123088" cy="2688770"/>
          </a:xfrm>
          <a:prstGeom prst="rect">
            <a:avLst/>
          </a:prstGeom>
        </p:spPr>
      </p:pic>
    </p:spTree>
    <p:extLst>
      <p:ext uri="{BB962C8B-B14F-4D97-AF65-F5344CB8AC3E}">
        <p14:creationId xmlns:p14="http://schemas.microsoft.com/office/powerpoint/2010/main" val="3089622047"/>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7424D6C-A09B-9E6E-F8F2-1726618A36EE}"/>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9AE38651-7E71-3F6F-6FC6-21BC55CA6EA2}"/>
              </a:ext>
            </a:extLst>
          </p:cNvPr>
          <p:cNvSpPr>
            <a:spLocks noGrp="1"/>
          </p:cNvSpPr>
          <p:nvPr>
            <p:ph type="title"/>
          </p:nvPr>
        </p:nvSpPr>
        <p:spPr/>
        <p:txBody>
          <a:bodyPr/>
          <a:lstStyle/>
          <a:p>
            <a:r>
              <a:rPr lang="en-US">
                <a:ea typeface="Calibri"/>
                <a:cs typeface="Calibri"/>
              </a:rPr>
              <a:t>Still at the center: semantics</a:t>
            </a:r>
          </a:p>
        </p:txBody>
      </p:sp>
      <p:pic>
        <p:nvPicPr>
          <p:cNvPr id="5" name="Content Placeholder 4" descr="F:\Beth's documents\Pro\Blog\LOD screenshot.png">
            <a:extLst>
              <a:ext uri="{FF2B5EF4-FFF2-40B4-BE49-F238E27FC236}">
                <a16:creationId xmlns:a16="http://schemas.microsoft.com/office/drawing/2014/main" id="{FA3DBC2C-30FF-E3B0-A3F8-91734E27CC17}"/>
              </a:ext>
            </a:extLst>
          </p:cNvPr>
          <p:cNvPicPr>
            <a:picLocks noGrp="1" noChangeAspect="1"/>
          </p:cNvPicPr>
          <p:nvPr>
            <p:ph idx="1"/>
          </p:nvPr>
        </p:nvPicPr>
        <p:blipFill>
          <a:blip r:embed="rId2"/>
          <a:stretch>
            <a:fillRect/>
          </a:stretch>
        </p:blipFill>
        <p:spPr>
          <a:xfrm>
            <a:off x="4191366" y="1058008"/>
            <a:ext cx="4524375" cy="3514725"/>
          </a:xfrm>
        </p:spPr>
      </p:pic>
      <p:sp>
        <p:nvSpPr>
          <p:cNvPr id="4" name="Text Placeholder 3">
            <a:extLst>
              <a:ext uri="{FF2B5EF4-FFF2-40B4-BE49-F238E27FC236}">
                <a16:creationId xmlns:a16="http://schemas.microsoft.com/office/drawing/2014/main" id="{983BE448-EA10-2DA5-4091-0673AFF2714D}"/>
              </a:ext>
            </a:extLst>
          </p:cNvPr>
          <p:cNvSpPr>
            <a:spLocks noGrp="1"/>
          </p:cNvSpPr>
          <p:nvPr>
            <p:ph type="body" sz="quarter" idx="13"/>
          </p:nvPr>
        </p:nvSpPr>
        <p:spPr/>
        <p:txBody>
          <a:bodyPr/>
          <a:lstStyle/>
          <a:p>
            <a:endParaRPr lang="en-LU"/>
          </a:p>
        </p:txBody>
      </p:sp>
      <p:sp>
        <p:nvSpPr>
          <p:cNvPr id="6" name="TextBox 5">
            <a:extLst>
              <a:ext uri="{FF2B5EF4-FFF2-40B4-BE49-F238E27FC236}">
                <a16:creationId xmlns:a16="http://schemas.microsoft.com/office/drawing/2014/main" id="{9B90E7D2-A54E-B6CC-EC96-DE3CA25B0ACE}"/>
              </a:ext>
            </a:extLst>
          </p:cNvPr>
          <p:cNvSpPr txBox="1"/>
          <p:nvPr/>
        </p:nvSpPr>
        <p:spPr>
          <a:xfrm>
            <a:off x="5987562" y="4576396"/>
            <a:ext cx="2945423"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a:hlinkClick r:id="rId3"/>
              </a:rPr>
              <a:t>http://vimeo.com/36752317</a:t>
            </a:r>
            <a:r>
              <a:rPr lang="en-US"/>
              <a:t> </a:t>
            </a:r>
          </a:p>
        </p:txBody>
      </p:sp>
      <p:sp>
        <p:nvSpPr>
          <p:cNvPr id="8" name="Content Placeholder 2">
            <a:extLst>
              <a:ext uri="{FF2B5EF4-FFF2-40B4-BE49-F238E27FC236}">
                <a16:creationId xmlns:a16="http://schemas.microsoft.com/office/drawing/2014/main" id="{1ED77ACF-D1C7-10D6-67A2-1CC0C9EF28CD}"/>
              </a:ext>
            </a:extLst>
          </p:cNvPr>
          <p:cNvSpPr txBox="1">
            <a:spLocks/>
          </p:cNvSpPr>
          <p:nvPr/>
        </p:nvSpPr>
        <p:spPr>
          <a:xfrm>
            <a:off x="628650" y="1059961"/>
            <a:ext cx="3560885" cy="3519611"/>
          </a:xfrm>
          <a:prstGeom prst="rect">
            <a:avLst/>
          </a:prstGeom>
        </p:spPr>
        <p:txBody>
          <a:bodyPr vert="horz" lIns="91440" tIns="45720" rIns="91440" bIns="45720" rtlCol="0" anchor="t">
            <a:normAutofit/>
          </a:bodyPr>
          <a:lstStyle>
            <a:lvl1pPr marL="228600" indent="-228600" algn="l" defTabSz="914400" rtl="0" eaLnBrk="1" latinLnBrk="0" hangingPunct="1">
              <a:lnSpc>
                <a:spcPct val="90000"/>
              </a:lnSpc>
              <a:spcBef>
                <a:spcPts val="1000"/>
              </a:spcBef>
              <a:buClr>
                <a:srgbClr val="F15A24"/>
              </a:buClr>
              <a:buFont typeface="Arial" panose="020B0604020202020204" pitchFamily="34" charset="0"/>
              <a:buChar char="•"/>
              <a:defRPr sz="2600" kern="1200">
                <a:solidFill>
                  <a:schemeClr val="tx1">
                    <a:lumMod val="65000"/>
                    <a:lumOff val="35000"/>
                  </a:schemeClr>
                </a:solidFill>
                <a:latin typeface="+mn-lt"/>
                <a:ea typeface="+mn-ea"/>
                <a:cs typeface="+mn-cs"/>
              </a:defRPr>
            </a:lvl1pPr>
            <a:lvl2pPr marL="685800" indent="-228600" algn="l" defTabSz="914400" rtl="0" eaLnBrk="1" latinLnBrk="0" hangingPunct="1">
              <a:lnSpc>
                <a:spcPct val="90000"/>
              </a:lnSpc>
              <a:spcBef>
                <a:spcPts val="500"/>
              </a:spcBef>
              <a:buClr>
                <a:srgbClr val="F15A24"/>
              </a:buClr>
              <a:buFont typeface="Arial" panose="020B0604020202020204" pitchFamily="34" charset="0"/>
              <a:buChar char="•"/>
              <a:defRPr sz="2200" kern="1200">
                <a:solidFill>
                  <a:schemeClr val="tx1">
                    <a:lumMod val="65000"/>
                    <a:lumOff val="35000"/>
                  </a:schemeClr>
                </a:solidFill>
                <a:latin typeface="+mn-lt"/>
                <a:ea typeface="+mn-ea"/>
                <a:cs typeface="+mn-cs"/>
              </a:defRPr>
            </a:lvl2pPr>
            <a:lvl3pPr marL="1143000" indent="-228600" algn="l" defTabSz="914400" rtl="0" eaLnBrk="1" latinLnBrk="0" hangingPunct="1">
              <a:lnSpc>
                <a:spcPct val="90000"/>
              </a:lnSpc>
              <a:spcBef>
                <a:spcPts val="500"/>
              </a:spcBef>
              <a:buClr>
                <a:srgbClr val="F15A24"/>
              </a:buClr>
              <a:buFont typeface="Arial" panose="020B0604020202020204" pitchFamily="34" charset="0"/>
              <a:buChar char="•"/>
              <a:defRPr sz="1800" kern="1200">
                <a:solidFill>
                  <a:schemeClr val="tx1">
                    <a:lumMod val="65000"/>
                    <a:lumOff val="35000"/>
                  </a:schemeClr>
                </a:solidFill>
                <a:latin typeface="+mn-lt"/>
                <a:ea typeface="+mn-ea"/>
                <a:cs typeface="+mn-cs"/>
              </a:defRPr>
            </a:lvl3pPr>
            <a:lvl4pPr marL="1600200" indent="-228600" algn="l" defTabSz="914400" rtl="0" eaLnBrk="1" latinLnBrk="0" hangingPunct="1">
              <a:lnSpc>
                <a:spcPct val="90000"/>
              </a:lnSpc>
              <a:spcBef>
                <a:spcPts val="500"/>
              </a:spcBef>
              <a:buClr>
                <a:srgbClr val="F15A24"/>
              </a:buClr>
              <a:buFont typeface="Arial" panose="020B0604020202020204" pitchFamily="34" charset="0"/>
              <a:buChar char="•"/>
              <a:defRPr sz="1800" kern="1200">
                <a:solidFill>
                  <a:schemeClr val="tx1">
                    <a:lumMod val="65000"/>
                    <a:lumOff val="35000"/>
                  </a:schemeClr>
                </a:solidFill>
                <a:latin typeface="+mn-lt"/>
                <a:ea typeface="+mn-ea"/>
                <a:cs typeface="+mn-cs"/>
              </a:defRPr>
            </a:lvl4pPr>
            <a:lvl5pPr marL="2057400" indent="-228600" algn="l" defTabSz="914400" rtl="0" eaLnBrk="1" latinLnBrk="0" hangingPunct="1">
              <a:lnSpc>
                <a:spcPct val="90000"/>
              </a:lnSpc>
              <a:spcBef>
                <a:spcPts val="500"/>
              </a:spcBef>
              <a:buClr>
                <a:srgbClr val="F15A24"/>
              </a:buClr>
              <a:buFont typeface="Arial" panose="020B0604020202020204" pitchFamily="34" charset="0"/>
              <a:buChar char="•"/>
              <a:defRPr sz="1800" kern="1200">
                <a:solidFill>
                  <a:schemeClr val="tx1">
                    <a:lumMod val="65000"/>
                    <a:lumOff val="3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LU">
                <a:ea typeface="Calibri"/>
                <a:cs typeface="Calibri"/>
              </a:rPr>
              <a:t>Implementing Linked Data in Cultural Heritage</a:t>
            </a:r>
          </a:p>
        </p:txBody>
      </p:sp>
    </p:spTree>
    <p:extLst>
      <p:ext uri="{BB962C8B-B14F-4D97-AF65-F5344CB8AC3E}">
        <p14:creationId xmlns:p14="http://schemas.microsoft.com/office/powerpoint/2010/main" val="3423606699"/>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073F49F-FD9D-71FE-BA56-7275B59E2886}"/>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AAB93012-77A9-7A60-B2C6-4EA5FB22C6E9}"/>
              </a:ext>
            </a:extLst>
          </p:cNvPr>
          <p:cNvSpPr>
            <a:spLocks noGrp="1"/>
          </p:cNvSpPr>
          <p:nvPr>
            <p:ph type="title"/>
          </p:nvPr>
        </p:nvSpPr>
        <p:spPr/>
        <p:txBody>
          <a:bodyPr/>
          <a:lstStyle/>
          <a:p>
            <a:r>
              <a:rPr lang="en-US">
                <a:ea typeface="+mn-lt"/>
                <a:cs typeface="+mn-lt"/>
              </a:rPr>
              <a:t>Data modeling for interoperability and richer metadata</a:t>
            </a:r>
            <a:endParaRPr lang="en-US"/>
          </a:p>
        </p:txBody>
      </p:sp>
      <p:sp>
        <p:nvSpPr>
          <p:cNvPr id="3" name="Content Placeholder 2">
            <a:extLst>
              <a:ext uri="{FF2B5EF4-FFF2-40B4-BE49-F238E27FC236}">
                <a16:creationId xmlns:a16="http://schemas.microsoft.com/office/drawing/2014/main" id="{585C8558-80D6-AE0B-7D29-62120CD28648}"/>
              </a:ext>
            </a:extLst>
          </p:cNvPr>
          <p:cNvSpPr>
            <a:spLocks noGrp="1"/>
          </p:cNvSpPr>
          <p:nvPr>
            <p:ph idx="1"/>
          </p:nvPr>
        </p:nvSpPr>
        <p:spPr/>
        <p:txBody>
          <a:bodyPr vert="horz" lIns="91440" tIns="45720" rIns="91440" bIns="45720" rtlCol="0" anchor="t">
            <a:normAutofit/>
          </a:bodyPr>
          <a:lstStyle/>
          <a:p>
            <a:pPr marL="0" indent="0">
              <a:buNone/>
            </a:pPr>
            <a:r>
              <a:rPr lang="en-LU">
                <a:ea typeface="Calibri"/>
                <a:cs typeface="Calibri"/>
              </a:rPr>
              <a:t>Europeana Data Model (EDM)</a:t>
            </a:r>
            <a:endParaRPr lang="en-US">
              <a:ea typeface="Calibri"/>
              <a:cs typeface="Calibri"/>
            </a:endParaRPr>
          </a:p>
        </p:txBody>
      </p:sp>
      <p:sp>
        <p:nvSpPr>
          <p:cNvPr id="4" name="Text Placeholder 3">
            <a:extLst>
              <a:ext uri="{FF2B5EF4-FFF2-40B4-BE49-F238E27FC236}">
                <a16:creationId xmlns:a16="http://schemas.microsoft.com/office/drawing/2014/main" id="{23801AFA-E9BE-279C-87BE-1CA2AE950602}"/>
              </a:ext>
            </a:extLst>
          </p:cNvPr>
          <p:cNvSpPr>
            <a:spLocks noGrp="1"/>
          </p:cNvSpPr>
          <p:nvPr>
            <p:ph type="body" sz="quarter" idx="13"/>
          </p:nvPr>
        </p:nvSpPr>
        <p:spPr/>
        <p:txBody>
          <a:bodyPr/>
          <a:lstStyle/>
          <a:p>
            <a:endParaRPr lang="en-LU"/>
          </a:p>
        </p:txBody>
      </p:sp>
      <p:pic>
        <p:nvPicPr>
          <p:cNvPr id="5" name="Picture 4" descr="MIMOExample.jpg">
            <a:extLst>
              <a:ext uri="{FF2B5EF4-FFF2-40B4-BE49-F238E27FC236}">
                <a16:creationId xmlns:a16="http://schemas.microsoft.com/office/drawing/2014/main" id="{914326F8-A866-AD06-DCC7-CAD776D0BDF0}"/>
              </a:ext>
            </a:extLst>
          </p:cNvPr>
          <p:cNvPicPr>
            <a:picLocks noChangeAspect="1"/>
          </p:cNvPicPr>
          <p:nvPr/>
        </p:nvPicPr>
        <p:blipFill>
          <a:blip r:embed="rId2"/>
          <a:stretch>
            <a:fillRect/>
          </a:stretch>
        </p:blipFill>
        <p:spPr>
          <a:xfrm>
            <a:off x="4187338" y="1496890"/>
            <a:ext cx="4957394" cy="2993779"/>
          </a:xfrm>
          <a:prstGeom prst="rect">
            <a:avLst/>
          </a:prstGeom>
        </p:spPr>
      </p:pic>
      <p:pic>
        <p:nvPicPr>
          <p:cNvPr id="6" name="Picture 5" descr="CMIM000030829.jpg">
            <a:extLst>
              <a:ext uri="{FF2B5EF4-FFF2-40B4-BE49-F238E27FC236}">
                <a16:creationId xmlns:a16="http://schemas.microsoft.com/office/drawing/2014/main" id="{B3987E66-4D87-0D8F-1214-5540E6FECA90}"/>
              </a:ext>
            </a:extLst>
          </p:cNvPr>
          <p:cNvPicPr>
            <a:picLocks noChangeAspect="1"/>
          </p:cNvPicPr>
          <p:nvPr/>
        </p:nvPicPr>
        <p:blipFill>
          <a:blip r:embed="rId3"/>
          <a:stretch>
            <a:fillRect/>
          </a:stretch>
        </p:blipFill>
        <p:spPr>
          <a:xfrm>
            <a:off x="435219" y="1543050"/>
            <a:ext cx="3340344" cy="2990850"/>
          </a:xfrm>
          <a:prstGeom prst="rect">
            <a:avLst/>
          </a:prstGeom>
        </p:spPr>
      </p:pic>
      <p:sp>
        <p:nvSpPr>
          <p:cNvPr id="7" name="TextBox 6">
            <a:extLst>
              <a:ext uri="{FF2B5EF4-FFF2-40B4-BE49-F238E27FC236}">
                <a16:creationId xmlns:a16="http://schemas.microsoft.com/office/drawing/2014/main" id="{57920F9C-599A-F162-B40B-2179C1CA9A12}"/>
              </a:ext>
            </a:extLst>
          </p:cNvPr>
          <p:cNvSpPr txBox="1"/>
          <p:nvPr/>
        </p:nvSpPr>
        <p:spPr>
          <a:xfrm>
            <a:off x="4615962" y="4444511"/>
            <a:ext cx="4554415" cy="33855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600">
                <a:hlinkClick r:id="rId4"/>
              </a:rPr>
              <a:t>http://pro.europeana.eu/edm-documentation</a:t>
            </a:r>
            <a:r>
              <a:rPr lang="en-US" sz="1600"/>
              <a:t> </a:t>
            </a:r>
          </a:p>
        </p:txBody>
      </p:sp>
      <p:sp>
        <p:nvSpPr>
          <p:cNvPr id="10" name="TextBox 9">
            <a:extLst>
              <a:ext uri="{FF2B5EF4-FFF2-40B4-BE49-F238E27FC236}">
                <a16:creationId xmlns:a16="http://schemas.microsoft.com/office/drawing/2014/main" id="{87019AEE-C663-3C21-6DEF-B30812F369F2}"/>
              </a:ext>
            </a:extLst>
          </p:cNvPr>
          <p:cNvSpPr txBox="1"/>
          <p:nvPr/>
        </p:nvSpPr>
        <p:spPr>
          <a:xfrm>
            <a:off x="430824" y="4339004"/>
            <a:ext cx="3341076" cy="400110"/>
          </a:xfrm>
          <a:prstGeom prst="rect">
            <a:avLst/>
          </a:prstGeom>
          <a:solidFill>
            <a:schemeClr val="bg1">
              <a:lumMod val="65000"/>
            </a:schemeClr>
          </a:solid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1000" err="1">
                <a:solidFill>
                  <a:srgbClr val="FFFFFF"/>
                </a:solidFill>
                <a:ea typeface="+mn-lt"/>
                <a:cs typeface="+mn-lt"/>
              </a:rPr>
              <a:t>Clavecin</a:t>
            </a:r>
            <a:r>
              <a:rPr lang="en-US" sz="1000">
                <a:solidFill>
                  <a:srgbClr val="FFFFFF"/>
                </a:solidFill>
                <a:ea typeface="+mn-lt"/>
                <a:cs typeface="+mn-lt"/>
              </a:rPr>
              <a:t> | Bartolomeo Cristofori | </a:t>
            </a:r>
            <a:r>
              <a:rPr lang="en-US" sz="1000" err="1">
                <a:solidFill>
                  <a:srgbClr val="FFFFFF"/>
                </a:solidFill>
                <a:ea typeface="+mn-lt"/>
                <a:cs typeface="+mn-lt"/>
              </a:rPr>
              <a:t>Philarmonie</a:t>
            </a:r>
            <a:r>
              <a:rPr lang="en-US" sz="1000">
                <a:solidFill>
                  <a:srgbClr val="FFFFFF"/>
                </a:solidFill>
                <a:ea typeface="+mn-lt"/>
                <a:cs typeface="+mn-lt"/>
              </a:rPr>
              <a:t> de Paris | </a:t>
            </a:r>
            <a:endParaRPr lang="en-US">
              <a:ea typeface="+mn-lt"/>
              <a:cs typeface="+mn-lt"/>
            </a:endParaRPr>
          </a:p>
          <a:p>
            <a:pPr algn="ctr"/>
            <a:r>
              <a:rPr lang="en-US" sz="1000">
                <a:solidFill>
                  <a:srgbClr val="FFFFFF"/>
                </a:solidFill>
                <a:ea typeface="+mn-lt"/>
                <a:cs typeface="+mn-lt"/>
              </a:rPr>
              <a:t>MIMO - Musical Instruments Museums Online | CC BY-NC-SA</a:t>
            </a:r>
            <a:endParaRPr lang="en-US"/>
          </a:p>
        </p:txBody>
      </p:sp>
    </p:spTree>
    <p:extLst>
      <p:ext uri="{BB962C8B-B14F-4D97-AF65-F5344CB8AC3E}">
        <p14:creationId xmlns:p14="http://schemas.microsoft.com/office/powerpoint/2010/main" val="1865853906"/>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1C738E0-8B99-53B0-1DB1-7FEA9B131533}"/>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D12F8682-BCD1-62D4-DEAC-A6BF48D87906}"/>
              </a:ext>
            </a:extLst>
          </p:cNvPr>
          <p:cNvSpPr>
            <a:spLocks noGrp="1"/>
          </p:cNvSpPr>
          <p:nvPr>
            <p:ph type="title"/>
          </p:nvPr>
        </p:nvSpPr>
        <p:spPr/>
        <p:txBody>
          <a:bodyPr/>
          <a:lstStyle/>
          <a:p>
            <a:r>
              <a:rPr lang="en-LU">
                <a:ea typeface="Calibri"/>
                <a:cs typeface="Calibri"/>
              </a:rPr>
              <a:t>Semantic interoperability at ontology level</a:t>
            </a:r>
            <a:endParaRPr lang="en-US"/>
          </a:p>
        </p:txBody>
      </p:sp>
      <p:sp>
        <p:nvSpPr>
          <p:cNvPr id="3" name="Content Placeholder 2">
            <a:extLst>
              <a:ext uri="{FF2B5EF4-FFF2-40B4-BE49-F238E27FC236}">
                <a16:creationId xmlns:a16="http://schemas.microsoft.com/office/drawing/2014/main" id="{A6DB6E0A-1593-E682-920C-F0D022E7AE21}"/>
              </a:ext>
            </a:extLst>
          </p:cNvPr>
          <p:cNvSpPr>
            <a:spLocks noGrp="1"/>
          </p:cNvSpPr>
          <p:nvPr>
            <p:ph idx="1"/>
          </p:nvPr>
        </p:nvSpPr>
        <p:spPr>
          <a:xfrm>
            <a:off x="4681903" y="1499577"/>
            <a:ext cx="3631224" cy="2385402"/>
          </a:xfrm>
        </p:spPr>
        <p:txBody>
          <a:bodyPr vert="horz" lIns="91440" tIns="45720" rIns="91440" bIns="45720" rtlCol="0" anchor="t">
            <a:normAutofit/>
          </a:bodyPr>
          <a:lstStyle/>
          <a:p>
            <a:r>
              <a:rPr lang="en-LU">
                <a:ea typeface="Calibri"/>
                <a:cs typeface="Calibri"/>
              </a:rPr>
              <a:t>W3C Web Annotation</a:t>
            </a:r>
          </a:p>
          <a:p>
            <a:r>
              <a:rPr lang="en-LU">
                <a:ea typeface="Calibri"/>
                <a:cs typeface="Calibri"/>
              </a:rPr>
              <a:t>W3C DCAT</a:t>
            </a:r>
          </a:p>
          <a:p>
            <a:r>
              <a:rPr lang="en-LU">
                <a:ea typeface="Calibri"/>
                <a:cs typeface="Calibri"/>
              </a:rPr>
              <a:t>ODRL</a:t>
            </a:r>
          </a:p>
          <a:p>
            <a:r>
              <a:rPr lang="en-LU" err="1">
                <a:ea typeface="Calibri"/>
                <a:cs typeface="Calibri"/>
              </a:rPr>
              <a:t>EBUcore</a:t>
            </a:r>
          </a:p>
          <a:p>
            <a:pPr marL="0" indent="0">
              <a:buNone/>
            </a:pPr>
            <a:r>
              <a:rPr lang="en-LU">
                <a:ea typeface="Calibri"/>
                <a:cs typeface="Calibri"/>
              </a:rPr>
              <a:t>...</a:t>
            </a:r>
          </a:p>
        </p:txBody>
      </p:sp>
      <p:sp>
        <p:nvSpPr>
          <p:cNvPr id="4" name="Text Placeholder 3">
            <a:extLst>
              <a:ext uri="{FF2B5EF4-FFF2-40B4-BE49-F238E27FC236}">
                <a16:creationId xmlns:a16="http://schemas.microsoft.com/office/drawing/2014/main" id="{16265AF5-FCB6-010B-5394-4E4EC6EA7D4A}"/>
              </a:ext>
            </a:extLst>
          </p:cNvPr>
          <p:cNvSpPr>
            <a:spLocks noGrp="1"/>
          </p:cNvSpPr>
          <p:nvPr>
            <p:ph type="body" sz="quarter" idx="13"/>
          </p:nvPr>
        </p:nvSpPr>
        <p:spPr/>
        <p:txBody>
          <a:bodyPr/>
          <a:lstStyle/>
          <a:p>
            <a:endParaRPr lang="en-LU"/>
          </a:p>
        </p:txBody>
      </p:sp>
      <p:pic>
        <p:nvPicPr>
          <p:cNvPr id="5" name="Picture 4" descr="A white text on an orange background&#10;&#10;AI-generated content may be incorrect.">
            <a:extLst>
              <a:ext uri="{FF2B5EF4-FFF2-40B4-BE49-F238E27FC236}">
                <a16:creationId xmlns:a16="http://schemas.microsoft.com/office/drawing/2014/main" id="{EAA16580-951A-83AF-141F-7C129E1BCC10}"/>
              </a:ext>
            </a:extLst>
          </p:cNvPr>
          <p:cNvPicPr>
            <a:picLocks noChangeAspect="1"/>
          </p:cNvPicPr>
          <p:nvPr/>
        </p:nvPicPr>
        <p:blipFill>
          <a:blip r:embed="rId2"/>
          <a:stretch>
            <a:fillRect/>
          </a:stretch>
        </p:blipFill>
        <p:spPr>
          <a:xfrm>
            <a:off x="819882" y="1347422"/>
            <a:ext cx="3339611" cy="450604"/>
          </a:xfrm>
          <a:prstGeom prst="rect">
            <a:avLst/>
          </a:prstGeom>
        </p:spPr>
      </p:pic>
      <p:pic>
        <p:nvPicPr>
          <p:cNvPr id="6" name="Picture 5" descr="A green and purple logo&#10;&#10;AI-generated content may be incorrect.">
            <a:extLst>
              <a:ext uri="{FF2B5EF4-FFF2-40B4-BE49-F238E27FC236}">
                <a16:creationId xmlns:a16="http://schemas.microsoft.com/office/drawing/2014/main" id="{9861E753-8261-02C9-9BC0-2200652ED0F0}"/>
              </a:ext>
            </a:extLst>
          </p:cNvPr>
          <p:cNvPicPr>
            <a:picLocks noChangeAspect="1"/>
          </p:cNvPicPr>
          <p:nvPr/>
        </p:nvPicPr>
        <p:blipFill>
          <a:blip r:embed="rId3"/>
          <a:stretch>
            <a:fillRect/>
          </a:stretch>
        </p:blipFill>
        <p:spPr>
          <a:xfrm>
            <a:off x="2211266" y="1973874"/>
            <a:ext cx="1701311" cy="353890"/>
          </a:xfrm>
          <a:prstGeom prst="rect">
            <a:avLst/>
          </a:prstGeom>
        </p:spPr>
      </p:pic>
      <p:pic>
        <p:nvPicPr>
          <p:cNvPr id="7" name="Picture 6" descr="A blue and white logo&#10;&#10;AI-generated content may be incorrect.">
            <a:extLst>
              <a:ext uri="{FF2B5EF4-FFF2-40B4-BE49-F238E27FC236}">
                <a16:creationId xmlns:a16="http://schemas.microsoft.com/office/drawing/2014/main" id="{4CCB1EF8-B2D4-A975-2A75-EA26450FBE27}"/>
              </a:ext>
            </a:extLst>
          </p:cNvPr>
          <p:cNvPicPr>
            <a:picLocks noChangeAspect="1"/>
          </p:cNvPicPr>
          <p:nvPr/>
        </p:nvPicPr>
        <p:blipFill>
          <a:blip r:embed="rId4"/>
          <a:stretch>
            <a:fillRect/>
          </a:stretch>
        </p:blipFill>
        <p:spPr>
          <a:xfrm>
            <a:off x="2486025" y="3541103"/>
            <a:ext cx="1391382" cy="523874"/>
          </a:xfrm>
          <a:prstGeom prst="rect">
            <a:avLst/>
          </a:prstGeom>
        </p:spPr>
      </p:pic>
      <p:pic>
        <p:nvPicPr>
          <p:cNvPr id="8" name="Picture 7" descr="A group of colorful circles with black dots&#10;&#10;AI-generated content may be incorrect.">
            <a:extLst>
              <a:ext uri="{FF2B5EF4-FFF2-40B4-BE49-F238E27FC236}">
                <a16:creationId xmlns:a16="http://schemas.microsoft.com/office/drawing/2014/main" id="{CE8AAB20-8EB6-0CA6-415A-45CBA9D4E908}"/>
              </a:ext>
            </a:extLst>
          </p:cNvPr>
          <p:cNvPicPr>
            <a:picLocks noChangeAspect="1"/>
          </p:cNvPicPr>
          <p:nvPr/>
        </p:nvPicPr>
        <p:blipFill>
          <a:blip r:embed="rId5"/>
          <a:stretch>
            <a:fillRect/>
          </a:stretch>
        </p:blipFill>
        <p:spPr>
          <a:xfrm>
            <a:off x="2875086" y="2505808"/>
            <a:ext cx="753207" cy="519479"/>
          </a:xfrm>
          <a:prstGeom prst="rect">
            <a:avLst/>
          </a:prstGeom>
        </p:spPr>
      </p:pic>
      <p:pic>
        <p:nvPicPr>
          <p:cNvPr id="9" name="Picture 8">
            <a:extLst>
              <a:ext uri="{FF2B5EF4-FFF2-40B4-BE49-F238E27FC236}">
                <a16:creationId xmlns:a16="http://schemas.microsoft.com/office/drawing/2014/main" id="{FA3A9EC5-F1E2-BEC8-005D-85247479CC79}"/>
              </a:ext>
            </a:extLst>
          </p:cNvPr>
          <p:cNvPicPr>
            <a:picLocks noChangeAspect="1"/>
          </p:cNvPicPr>
          <p:nvPr/>
        </p:nvPicPr>
        <p:blipFill>
          <a:blip r:embed="rId6"/>
          <a:stretch>
            <a:fillRect/>
          </a:stretch>
        </p:blipFill>
        <p:spPr>
          <a:xfrm>
            <a:off x="1127612" y="2587137"/>
            <a:ext cx="1151793" cy="699719"/>
          </a:xfrm>
          <a:prstGeom prst="rect">
            <a:avLst/>
          </a:prstGeom>
        </p:spPr>
      </p:pic>
      <p:sp>
        <p:nvSpPr>
          <p:cNvPr id="10" name="TextBox 9">
            <a:extLst>
              <a:ext uri="{FF2B5EF4-FFF2-40B4-BE49-F238E27FC236}">
                <a16:creationId xmlns:a16="http://schemas.microsoft.com/office/drawing/2014/main" id="{AFE72DCE-89B6-E430-BBAF-4471D2317A30}"/>
              </a:ext>
            </a:extLst>
          </p:cNvPr>
          <p:cNvSpPr txBox="1"/>
          <p:nvPr/>
        </p:nvSpPr>
        <p:spPr>
          <a:xfrm>
            <a:off x="1222130" y="3292720"/>
            <a:ext cx="940777" cy="24622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1000">
                <a:latin typeface="Open Sans"/>
                <a:ea typeface="Open Sans"/>
                <a:cs typeface="Open Sans"/>
              </a:rPr>
              <a:t>OAI-ORE</a:t>
            </a:r>
          </a:p>
        </p:txBody>
      </p:sp>
      <p:sp>
        <p:nvSpPr>
          <p:cNvPr id="11" name="TextBox 10">
            <a:extLst>
              <a:ext uri="{FF2B5EF4-FFF2-40B4-BE49-F238E27FC236}">
                <a16:creationId xmlns:a16="http://schemas.microsoft.com/office/drawing/2014/main" id="{451DC73A-8099-F2F4-7615-747D08F37AE9}"/>
              </a:ext>
            </a:extLst>
          </p:cNvPr>
          <p:cNvSpPr txBox="1"/>
          <p:nvPr/>
        </p:nvSpPr>
        <p:spPr>
          <a:xfrm>
            <a:off x="2989385" y="3028950"/>
            <a:ext cx="536331" cy="24622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000">
                <a:latin typeface="Arial"/>
                <a:cs typeface="Arial"/>
              </a:rPr>
              <a:t>FOAF</a:t>
            </a:r>
            <a:endParaRPr lang="en-US">
              <a:ea typeface="Calibri" panose="020F0502020204030204"/>
              <a:cs typeface="Calibri" panose="020F0502020204030204"/>
            </a:endParaRPr>
          </a:p>
        </p:txBody>
      </p:sp>
    </p:spTree>
    <p:extLst>
      <p:ext uri="{BB962C8B-B14F-4D97-AF65-F5344CB8AC3E}">
        <p14:creationId xmlns:p14="http://schemas.microsoft.com/office/powerpoint/2010/main" val="2107901731"/>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AC7B973-FB1D-8A93-5A2F-81EB966A0CE3}"/>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27DDE8EA-2843-7D0D-BEA2-AB7C9441C1AA}"/>
              </a:ext>
            </a:extLst>
          </p:cNvPr>
          <p:cNvSpPr>
            <a:spLocks noGrp="1"/>
          </p:cNvSpPr>
          <p:nvPr>
            <p:ph type="title"/>
          </p:nvPr>
        </p:nvSpPr>
        <p:spPr>
          <a:xfrm>
            <a:off x="628650" y="274639"/>
            <a:ext cx="8080129" cy="574448"/>
          </a:xfrm>
        </p:spPr>
        <p:txBody>
          <a:bodyPr/>
          <a:lstStyle/>
          <a:p>
            <a:r>
              <a:rPr lang="en-US">
                <a:ea typeface="+mn-lt"/>
                <a:cs typeface="+mn-lt"/>
              </a:rPr>
              <a:t>Enrichment using Linked Data vocabularies</a:t>
            </a:r>
            <a:endParaRPr lang="en-US"/>
          </a:p>
        </p:txBody>
      </p:sp>
      <p:graphicFrame>
        <p:nvGraphicFramePr>
          <p:cNvPr id="6" name="Content Placeholder 5">
            <a:extLst>
              <a:ext uri="{FF2B5EF4-FFF2-40B4-BE49-F238E27FC236}">
                <a16:creationId xmlns:a16="http://schemas.microsoft.com/office/drawing/2014/main" id="{395D00C4-551E-A32B-4C17-C45A6BF3F209}"/>
              </a:ext>
            </a:extLst>
          </p:cNvPr>
          <p:cNvGraphicFramePr>
            <a:graphicFrameLocks noGrp="1"/>
          </p:cNvGraphicFramePr>
          <p:nvPr>
            <p:ph idx="1"/>
            <p:extLst>
              <p:ext uri="{D42A27DB-BD31-4B8C-83A1-F6EECF244321}">
                <p14:modId xmlns:p14="http://schemas.microsoft.com/office/powerpoint/2010/main" val="3967386519"/>
              </p:ext>
            </p:extLst>
          </p:nvPr>
        </p:nvGraphicFramePr>
        <p:xfrm>
          <a:off x="628650" y="1270977"/>
          <a:ext cx="8141676" cy="3307781"/>
        </p:xfrm>
        <a:graphic>
          <a:graphicData uri="http://schemas.openxmlformats.org/drawingml/2006/table">
            <a:tbl>
              <a:tblPr bandRow="1">
                <a:tableStyleId>{5C22544A-7EE6-4342-B048-85BDC9FD1C3A}</a:tableStyleId>
              </a:tblPr>
              <a:tblGrid>
                <a:gridCol w="4070838">
                  <a:extLst>
                    <a:ext uri="{9D8B030D-6E8A-4147-A177-3AD203B41FA5}">
                      <a16:colId xmlns:a16="http://schemas.microsoft.com/office/drawing/2014/main" val="2923127100"/>
                    </a:ext>
                  </a:extLst>
                </a:gridCol>
                <a:gridCol w="4070838">
                  <a:extLst>
                    <a:ext uri="{9D8B030D-6E8A-4147-A177-3AD203B41FA5}">
                      <a16:colId xmlns:a16="http://schemas.microsoft.com/office/drawing/2014/main" val="2636106952"/>
                    </a:ext>
                  </a:extLst>
                </a:gridCol>
              </a:tblGrid>
              <a:tr h="171042">
                <a:tc>
                  <a:txBody>
                    <a:bodyPr/>
                    <a:lstStyle/>
                    <a:p>
                      <a:pPr rtl="0" fontAlgn="b">
                        <a:buNone/>
                      </a:pPr>
                      <a:r>
                        <a:rPr lang="en-GB" sz="900" b="1">
                          <a:effectLst/>
                          <a:latin typeface="Arial"/>
                        </a:rPr>
                        <a:t>Vocabulary</a:t>
                      </a:r>
                      <a:endParaRPr lang="en-GB" sz="900">
                        <a:effectLst/>
                        <a:latin typeface="Arial"/>
                      </a:endParaRPr>
                    </a:p>
                  </a:txBody>
                  <a:tcPr marL="28575" marR="28575" marT="19050" marB="19050" anchor="b">
                    <a:lnL>
                      <a:noFill/>
                    </a:lnL>
                    <a:lnR>
                      <a:noFill/>
                    </a:lnR>
                    <a:lnT>
                      <a:noFill/>
                    </a:lnT>
                    <a:lnB>
                      <a:noFill/>
                    </a:lnB>
                    <a:noFill/>
                  </a:tcPr>
                </a:tc>
                <a:tc>
                  <a:txBody>
                    <a:bodyPr/>
                    <a:lstStyle/>
                    <a:p>
                      <a:pPr rtl="0" fontAlgn="b">
                        <a:buNone/>
                      </a:pPr>
                      <a:r>
                        <a:rPr lang="en-GB" sz="900" b="1">
                          <a:effectLst/>
                          <a:latin typeface="Arial"/>
                        </a:rPr>
                        <a:t>URL</a:t>
                      </a:r>
                      <a:endParaRPr lang="en-GB" sz="900">
                        <a:effectLst/>
                        <a:latin typeface="Arial"/>
                      </a:endParaRPr>
                    </a:p>
                  </a:txBody>
                  <a:tcPr marL="28575" marR="28575" marT="19050" marB="19050" anchor="b">
                    <a:lnL>
                      <a:noFill/>
                    </a:lnL>
                    <a:lnR>
                      <a:noFill/>
                    </a:lnR>
                    <a:lnT>
                      <a:noFill/>
                    </a:lnT>
                    <a:lnB>
                      <a:noFill/>
                    </a:lnB>
                    <a:noFill/>
                  </a:tcPr>
                </a:tc>
                <a:extLst>
                  <a:ext uri="{0D108BD9-81ED-4DB2-BD59-A6C34878D82A}">
                    <a16:rowId xmlns:a16="http://schemas.microsoft.com/office/drawing/2014/main" val="4120607728"/>
                  </a:ext>
                </a:extLst>
              </a:tr>
              <a:tr h="171042">
                <a:tc>
                  <a:txBody>
                    <a:bodyPr/>
                    <a:lstStyle/>
                    <a:p>
                      <a:pPr rtl="0" fontAlgn="b">
                        <a:buNone/>
                      </a:pPr>
                      <a:r>
                        <a:rPr lang="en-GB" sz="900">
                          <a:effectLst/>
                          <a:latin typeface="Arial"/>
                        </a:rPr>
                        <a:t>MIMO Concepts</a:t>
                      </a:r>
                    </a:p>
                  </a:txBody>
                  <a:tcPr marL="28575" marR="28575" marT="19050" marB="19050" anchor="b">
                    <a:lnL>
                      <a:noFill/>
                    </a:lnL>
                    <a:lnR>
                      <a:noFill/>
                    </a:lnR>
                    <a:lnT>
                      <a:noFill/>
                    </a:lnT>
                    <a:lnB>
                      <a:noFill/>
                    </a:lnB>
                    <a:noFill/>
                  </a:tcPr>
                </a:tc>
                <a:tc>
                  <a:txBody>
                    <a:bodyPr/>
                    <a:lstStyle/>
                    <a:p>
                      <a:pPr rtl="0" fontAlgn="b">
                        <a:buNone/>
                      </a:pPr>
                      <a:r>
                        <a:rPr lang="en-GB" sz="900" u="sng">
                          <a:solidFill>
                            <a:srgbClr val="0000FF"/>
                          </a:solidFill>
                          <a:effectLst/>
                          <a:latin typeface="Arial"/>
                        </a:rPr>
                        <a:t>http://www.mimo-db.eu/</a:t>
                      </a:r>
                      <a:endParaRPr lang="en-GB" sz="900">
                        <a:effectLst/>
                        <a:latin typeface="Arial"/>
                      </a:endParaRPr>
                    </a:p>
                  </a:txBody>
                  <a:tcPr marL="28575" marR="28575" marT="19050" marB="19050" anchor="b">
                    <a:lnL>
                      <a:noFill/>
                    </a:lnL>
                    <a:lnR>
                      <a:noFill/>
                    </a:lnR>
                    <a:lnT>
                      <a:noFill/>
                    </a:lnT>
                    <a:lnB>
                      <a:noFill/>
                    </a:lnB>
                    <a:noFill/>
                  </a:tcPr>
                </a:tc>
                <a:extLst>
                  <a:ext uri="{0D108BD9-81ED-4DB2-BD59-A6C34878D82A}">
                    <a16:rowId xmlns:a16="http://schemas.microsoft.com/office/drawing/2014/main" val="2537263275"/>
                  </a:ext>
                </a:extLst>
              </a:tr>
              <a:tr h="171042">
                <a:tc>
                  <a:txBody>
                    <a:bodyPr/>
                    <a:lstStyle/>
                    <a:p>
                      <a:pPr rtl="0" fontAlgn="b">
                        <a:buNone/>
                      </a:pPr>
                      <a:r>
                        <a:rPr lang="en-GB" sz="900">
                          <a:effectLst/>
                          <a:latin typeface="Arial"/>
                        </a:rPr>
                        <a:t>MIMO Instrument makers</a:t>
                      </a:r>
                    </a:p>
                  </a:txBody>
                  <a:tcPr marL="28575" marR="28575" marT="19050" marB="19050" anchor="b">
                    <a:lnL>
                      <a:noFill/>
                    </a:lnL>
                    <a:lnR>
                      <a:noFill/>
                    </a:lnR>
                    <a:lnT>
                      <a:noFill/>
                    </a:lnT>
                    <a:lnB>
                      <a:noFill/>
                    </a:lnB>
                    <a:noFill/>
                  </a:tcPr>
                </a:tc>
                <a:tc>
                  <a:txBody>
                    <a:bodyPr/>
                    <a:lstStyle/>
                    <a:p>
                      <a:pPr rtl="0" fontAlgn="b">
                        <a:buNone/>
                      </a:pPr>
                      <a:r>
                        <a:rPr lang="en-GB" sz="900" u="sng">
                          <a:solidFill>
                            <a:srgbClr val="0000FF"/>
                          </a:solidFill>
                          <a:effectLst/>
                          <a:latin typeface="Arial"/>
                        </a:rPr>
                        <a:t>http://www.mimo-db.eu/</a:t>
                      </a:r>
                      <a:endParaRPr lang="en-GB" sz="900">
                        <a:effectLst/>
                        <a:latin typeface="Arial"/>
                      </a:endParaRPr>
                    </a:p>
                  </a:txBody>
                  <a:tcPr marL="28575" marR="28575" marT="19050" marB="19050" anchor="b">
                    <a:lnL>
                      <a:noFill/>
                    </a:lnL>
                    <a:lnR>
                      <a:noFill/>
                    </a:lnR>
                    <a:lnT>
                      <a:noFill/>
                    </a:lnT>
                    <a:lnB>
                      <a:noFill/>
                    </a:lnB>
                    <a:noFill/>
                  </a:tcPr>
                </a:tc>
                <a:extLst>
                  <a:ext uri="{0D108BD9-81ED-4DB2-BD59-A6C34878D82A}">
                    <a16:rowId xmlns:a16="http://schemas.microsoft.com/office/drawing/2014/main" val="2007267016"/>
                  </a:ext>
                </a:extLst>
              </a:tr>
              <a:tr h="171042">
                <a:tc>
                  <a:txBody>
                    <a:bodyPr/>
                    <a:lstStyle/>
                    <a:p>
                      <a:pPr rtl="0" fontAlgn="b">
                        <a:buNone/>
                      </a:pPr>
                      <a:r>
                        <a:rPr lang="en-GB" sz="900">
                          <a:effectLst/>
                          <a:latin typeface="Arial"/>
                        </a:rPr>
                        <a:t>The Getty - Art &amp; Architecture Thesaurus (AAT)</a:t>
                      </a:r>
                    </a:p>
                  </a:txBody>
                  <a:tcPr marL="28575" marR="28575" marT="19050" marB="19050" anchor="b">
                    <a:lnL>
                      <a:noFill/>
                    </a:lnL>
                    <a:lnR>
                      <a:noFill/>
                    </a:lnR>
                    <a:lnT>
                      <a:noFill/>
                    </a:lnT>
                    <a:lnB>
                      <a:noFill/>
                    </a:lnB>
                    <a:noFill/>
                  </a:tcPr>
                </a:tc>
                <a:tc>
                  <a:txBody>
                    <a:bodyPr/>
                    <a:lstStyle/>
                    <a:p>
                      <a:pPr rtl="0" fontAlgn="b">
                        <a:buNone/>
                      </a:pPr>
                      <a:r>
                        <a:rPr lang="en-GB" sz="900" u="sng">
                          <a:solidFill>
                            <a:srgbClr val="0000FF"/>
                          </a:solidFill>
                          <a:effectLst/>
                          <a:latin typeface="Arial"/>
                        </a:rPr>
                        <a:t>http://vocab.getty.edu/</a:t>
                      </a:r>
                      <a:endParaRPr lang="en-GB" sz="900">
                        <a:effectLst/>
                        <a:latin typeface="Arial"/>
                      </a:endParaRPr>
                    </a:p>
                  </a:txBody>
                  <a:tcPr marL="28575" marR="28575" marT="19050" marB="19050" anchor="b">
                    <a:lnL>
                      <a:noFill/>
                    </a:lnL>
                    <a:lnR>
                      <a:noFill/>
                    </a:lnR>
                    <a:lnT>
                      <a:noFill/>
                    </a:lnT>
                    <a:lnB>
                      <a:noFill/>
                    </a:lnB>
                    <a:noFill/>
                  </a:tcPr>
                </a:tc>
                <a:extLst>
                  <a:ext uri="{0D108BD9-81ED-4DB2-BD59-A6C34878D82A}">
                    <a16:rowId xmlns:a16="http://schemas.microsoft.com/office/drawing/2014/main" val="3114946290"/>
                  </a:ext>
                </a:extLst>
              </a:tr>
              <a:tr h="171042">
                <a:tc>
                  <a:txBody>
                    <a:bodyPr/>
                    <a:lstStyle/>
                    <a:p>
                      <a:pPr rtl="0" fontAlgn="b">
                        <a:buNone/>
                      </a:pPr>
                      <a:r>
                        <a:rPr lang="en-GB" sz="900">
                          <a:effectLst/>
                          <a:latin typeface="Arial"/>
                        </a:rPr>
                        <a:t>The Getty - Union List of Artist Names (ULAN)</a:t>
                      </a:r>
                    </a:p>
                  </a:txBody>
                  <a:tcPr marL="28575" marR="28575" marT="19050" marB="19050" anchor="b">
                    <a:lnL>
                      <a:noFill/>
                    </a:lnL>
                    <a:lnR>
                      <a:noFill/>
                    </a:lnR>
                    <a:lnT>
                      <a:noFill/>
                    </a:lnT>
                    <a:lnB>
                      <a:noFill/>
                    </a:lnB>
                    <a:noFill/>
                  </a:tcPr>
                </a:tc>
                <a:tc>
                  <a:txBody>
                    <a:bodyPr/>
                    <a:lstStyle/>
                    <a:p>
                      <a:pPr rtl="0" fontAlgn="b">
                        <a:buNone/>
                      </a:pPr>
                      <a:r>
                        <a:rPr lang="en-GB" sz="900" u="sng">
                          <a:solidFill>
                            <a:srgbClr val="0000FF"/>
                          </a:solidFill>
                          <a:effectLst/>
                          <a:latin typeface="Arial"/>
                        </a:rPr>
                        <a:t>http://vocab.getty.edu/</a:t>
                      </a:r>
                      <a:endParaRPr lang="en-GB" sz="900">
                        <a:effectLst/>
                        <a:latin typeface="Arial"/>
                      </a:endParaRPr>
                    </a:p>
                  </a:txBody>
                  <a:tcPr marL="28575" marR="28575" marT="19050" marB="19050" anchor="b">
                    <a:lnL>
                      <a:noFill/>
                    </a:lnL>
                    <a:lnR>
                      <a:noFill/>
                    </a:lnR>
                    <a:lnT>
                      <a:noFill/>
                    </a:lnT>
                    <a:lnB>
                      <a:noFill/>
                    </a:lnB>
                    <a:noFill/>
                  </a:tcPr>
                </a:tc>
                <a:extLst>
                  <a:ext uri="{0D108BD9-81ED-4DB2-BD59-A6C34878D82A}">
                    <a16:rowId xmlns:a16="http://schemas.microsoft.com/office/drawing/2014/main" val="2733647749"/>
                  </a:ext>
                </a:extLst>
              </a:tr>
              <a:tr h="171042">
                <a:tc>
                  <a:txBody>
                    <a:bodyPr/>
                    <a:lstStyle/>
                    <a:p>
                      <a:pPr rtl="0" fontAlgn="b">
                        <a:buNone/>
                      </a:pPr>
                      <a:r>
                        <a:rPr lang="en-GB" sz="900">
                          <a:effectLst/>
                          <a:latin typeface="Arial"/>
                        </a:rPr>
                        <a:t>Virtual International Authority File (VIAF)</a:t>
                      </a:r>
                    </a:p>
                  </a:txBody>
                  <a:tcPr marL="28575" marR="28575" marT="19050" marB="19050" anchor="b">
                    <a:lnL>
                      <a:noFill/>
                    </a:lnL>
                    <a:lnR>
                      <a:noFill/>
                    </a:lnR>
                    <a:lnT>
                      <a:noFill/>
                    </a:lnT>
                    <a:lnB>
                      <a:noFill/>
                    </a:lnB>
                    <a:noFill/>
                  </a:tcPr>
                </a:tc>
                <a:tc>
                  <a:txBody>
                    <a:bodyPr/>
                    <a:lstStyle/>
                    <a:p>
                      <a:pPr rtl="0" fontAlgn="b">
                        <a:buNone/>
                      </a:pPr>
                      <a:r>
                        <a:rPr lang="en-GB" sz="900" u="sng">
                          <a:solidFill>
                            <a:srgbClr val="0000FF"/>
                          </a:solidFill>
                          <a:effectLst/>
                          <a:latin typeface="Arial"/>
                        </a:rPr>
                        <a:t>http://viaf.org/viaf/</a:t>
                      </a:r>
                      <a:endParaRPr lang="en-GB" sz="900">
                        <a:effectLst/>
                        <a:latin typeface="Arial"/>
                      </a:endParaRPr>
                    </a:p>
                  </a:txBody>
                  <a:tcPr marL="28575" marR="28575" marT="19050" marB="19050" anchor="b">
                    <a:lnL>
                      <a:noFill/>
                    </a:lnL>
                    <a:lnR>
                      <a:noFill/>
                    </a:lnR>
                    <a:lnT>
                      <a:noFill/>
                    </a:lnT>
                    <a:lnB>
                      <a:noFill/>
                    </a:lnB>
                    <a:noFill/>
                  </a:tcPr>
                </a:tc>
                <a:extLst>
                  <a:ext uri="{0D108BD9-81ED-4DB2-BD59-A6C34878D82A}">
                    <a16:rowId xmlns:a16="http://schemas.microsoft.com/office/drawing/2014/main" val="894686860"/>
                  </a:ext>
                </a:extLst>
              </a:tr>
              <a:tr h="171042">
                <a:tc>
                  <a:txBody>
                    <a:bodyPr/>
                    <a:lstStyle/>
                    <a:p>
                      <a:pPr rtl="0" fontAlgn="b">
                        <a:buNone/>
                      </a:pPr>
                      <a:r>
                        <a:rPr lang="en-GB" sz="900" err="1">
                          <a:effectLst/>
                          <a:latin typeface="Arial"/>
                        </a:rPr>
                        <a:t>Geonames</a:t>
                      </a:r>
                      <a:endParaRPr lang="en-GB" sz="900">
                        <a:effectLst/>
                        <a:latin typeface="Arial"/>
                      </a:endParaRPr>
                    </a:p>
                  </a:txBody>
                  <a:tcPr marL="28575" marR="28575" marT="19050" marB="19050" anchor="b">
                    <a:lnL>
                      <a:noFill/>
                    </a:lnL>
                    <a:lnR>
                      <a:noFill/>
                    </a:lnR>
                    <a:lnT>
                      <a:noFill/>
                    </a:lnT>
                    <a:lnB>
                      <a:noFill/>
                    </a:lnB>
                    <a:noFill/>
                  </a:tcPr>
                </a:tc>
                <a:tc>
                  <a:txBody>
                    <a:bodyPr/>
                    <a:lstStyle/>
                    <a:p>
                      <a:pPr rtl="0" fontAlgn="b">
                        <a:buNone/>
                      </a:pPr>
                      <a:r>
                        <a:rPr lang="en-GB" sz="900" u="sng">
                          <a:solidFill>
                            <a:srgbClr val="0000FF"/>
                          </a:solidFill>
                          <a:effectLst/>
                          <a:latin typeface="Arial"/>
                        </a:rPr>
                        <a:t>http://sws.geonames.org/</a:t>
                      </a:r>
                      <a:endParaRPr lang="en-GB" sz="900">
                        <a:effectLst/>
                        <a:latin typeface="Arial"/>
                      </a:endParaRPr>
                    </a:p>
                  </a:txBody>
                  <a:tcPr marL="28575" marR="28575" marT="19050" marB="19050" anchor="b">
                    <a:lnL>
                      <a:noFill/>
                    </a:lnL>
                    <a:lnR>
                      <a:noFill/>
                    </a:lnR>
                    <a:lnT>
                      <a:noFill/>
                    </a:lnT>
                    <a:lnB>
                      <a:noFill/>
                    </a:lnB>
                    <a:noFill/>
                  </a:tcPr>
                </a:tc>
                <a:extLst>
                  <a:ext uri="{0D108BD9-81ED-4DB2-BD59-A6C34878D82A}">
                    <a16:rowId xmlns:a16="http://schemas.microsoft.com/office/drawing/2014/main" val="1711150528"/>
                  </a:ext>
                </a:extLst>
              </a:tr>
              <a:tr h="171042">
                <a:tc>
                  <a:txBody>
                    <a:bodyPr/>
                    <a:lstStyle/>
                    <a:p>
                      <a:pPr rtl="0" fontAlgn="b">
                        <a:buNone/>
                      </a:pPr>
                      <a:r>
                        <a:rPr lang="en-GB" sz="900" err="1">
                          <a:effectLst/>
                          <a:latin typeface="Arial"/>
                        </a:rPr>
                        <a:t>IconClass</a:t>
                      </a:r>
                      <a:endParaRPr lang="en-GB" sz="900">
                        <a:effectLst/>
                      </a:endParaRPr>
                    </a:p>
                  </a:txBody>
                  <a:tcPr marL="28575" marR="28575" marT="19050" marB="19050" anchor="b">
                    <a:lnL>
                      <a:noFill/>
                    </a:lnL>
                    <a:lnR>
                      <a:noFill/>
                    </a:lnR>
                    <a:lnT>
                      <a:noFill/>
                    </a:lnT>
                    <a:lnB>
                      <a:noFill/>
                    </a:lnB>
                    <a:noFill/>
                  </a:tcPr>
                </a:tc>
                <a:tc>
                  <a:txBody>
                    <a:bodyPr/>
                    <a:lstStyle/>
                    <a:p>
                      <a:pPr rtl="0" fontAlgn="b">
                        <a:buNone/>
                      </a:pPr>
                      <a:r>
                        <a:rPr lang="en-GB" sz="900" u="sng">
                          <a:solidFill>
                            <a:srgbClr val="0000FF"/>
                          </a:solidFill>
                          <a:effectLst/>
                          <a:latin typeface="Arial"/>
                        </a:rPr>
                        <a:t>http://iconclass.org/</a:t>
                      </a:r>
                      <a:endParaRPr lang="en-GB" sz="900">
                        <a:effectLst/>
                        <a:latin typeface="Arial"/>
                      </a:endParaRPr>
                    </a:p>
                  </a:txBody>
                  <a:tcPr marL="28575" marR="28575" marT="19050" marB="19050" anchor="b">
                    <a:lnL>
                      <a:noFill/>
                    </a:lnL>
                    <a:lnR>
                      <a:noFill/>
                    </a:lnR>
                    <a:lnT>
                      <a:noFill/>
                    </a:lnT>
                    <a:lnB>
                      <a:noFill/>
                    </a:lnB>
                    <a:noFill/>
                  </a:tcPr>
                </a:tc>
                <a:extLst>
                  <a:ext uri="{0D108BD9-81ED-4DB2-BD59-A6C34878D82A}">
                    <a16:rowId xmlns:a16="http://schemas.microsoft.com/office/drawing/2014/main" val="1797949748"/>
                  </a:ext>
                </a:extLst>
              </a:tr>
              <a:tr h="171042">
                <a:tc>
                  <a:txBody>
                    <a:bodyPr/>
                    <a:lstStyle/>
                    <a:p>
                      <a:pPr rtl="0" fontAlgn="b">
                        <a:buNone/>
                      </a:pPr>
                      <a:r>
                        <a:rPr lang="en-GB" sz="900" err="1">
                          <a:effectLst/>
                          <a:latin typeface="Arial"/>
                        </a:rPr>
                        <a:t>Gemeinsame</a:t>
                      </a:r>
                      <a:r>
                        <a:rPr lang="en-GB" sz="900">
                          <a:effectLst/>
                          <a:latin typeface="Arial"/>
                        </a:rPr>
                        <a:t> </a:t>
                      </a:r>
                      <a:r>
                        <a:rPr lang="en-GB" sz="900" err="1">
                          <a:effectLst/>
                          <a:latin typeface="Arial"/>
                        </a:rPr>
                        <a:t>Normdatei</a:t>
                      </a:r>
                      <a:r>
                        <a:rPr lang="en-GB" sz="900">
                          <a:effectLst/>
                          <a:latin typeface="Arial"/>
                        </a:rPr>
                        <a:t> (GND)</a:t>
                      </a:r>
                    </a:p>
                  </a:txBody>
                  <a:tcPr marL="28575" marR="28575" marT="19050" marB="19050" anchor="b">
                    <a:lnL>
                      <a:noFill/>
                    </a:lnL>
                    <a:lnR>
                      <a:noFill/>
                    </a:lnR>
                    <a:lnT>
                      <a:noFill/>
                    </a:lnT>
                    <a:lnB>
                      <a:noFill/>
                    </a:lnB>
                    <a:solidFill>
                      <a:srgbClr val="FFFFFF"/>
                    </a:solidFill>
                  </a:tcPr>
                </a:tc>
                <a:tc>
                  <a:txBody>
                    <a:bodyPr/>
                    <a:lstStyle/>
                    <a:p>
                      <a:pPr rtl="0" fontAlgn="b">
                        <a:buNone/>
                      </a:pPr>
                      <a:r>
                        <a:rPr lang="en-GB" sz="900" u="sng">
                          <a:solidFill>
                            <a:srgbClr val="0000FF"/>
                          </a:solidFill>
                          <a:effectLst/>
                          <a:latin typeface="Arial"/>
                        </a:rPr>
                        <a:t>http://d-nb.info/gnd</a:t>
                      </a:r>
                      <a:endParaRPr lang="en-GB" sz="900">
                        <a:effectLst/>
                        <a:latin typeface="Arial"/>
                      </a:endParaRPr>
                    </a:p>
                  </a:txBody>
                  <a:tcPr marL="28575" marR="28575" marT="19050" marB="19050" anchor="b">
                    <a:lnL>
                      <a:noFill/>
                    </a:lnL>
                    <a:lnR>
                      <a:noFill/>
                    </a:lnR>
                    <a:lnT>
                      <a:noFill/>
                    </a:lnT>
                    <a:lnB>
                      <a:noFill/>
                    </a:lnB>
                    <a:noFill/>
                  </a:tcPr>
                </a:tc>
                <a:extLst>
                  <a:ext uri="{0D108BD9-81ED-4DB2-BD59-A6C34878D82A}">
                    <a16:rowId xmlns:a16="http://schemas.microsoft.com/office/drawing/2014/main" val="767727811"/>
                  </a:ext>
                </a:extLst>
              </a:tr>
              <a:tr h="171042">
                <a:tc>
                  <a:txBody>
                    <a:bodyPr/>
                    <a:lstStyle/>
                    <a:p>
                      <a:pPr rtl="0" fontAlgn="b">
                        <a:buNone/>
                      </a:pPr>
                      <a:r>
                        <a:rPr lang="en-GB" sz="900">
                          <a:effectLst/>
                          <a:latin typeface="Arial"/>
                        </a:rPr>
                        <a:t>Israel Museum Jerusalem Concepts</a:t>
                      </a:r>
                    </a:p>
                  </a:txBody>
                  <a:tcPr marL="28575" marR="28575" marT="19050" marB="19050" anchor="b">
                    <a:lnL>
                      <a:noFill/>
                    </a:lnL>
                    <a:lnR>
                      <a:noFill/>
                    </a:lnR>
                    <a:lnT>
                      <a:noFill/>
                    </a:lnT>
                    <a:lnB>
                      <a:noFill/>
                    </a:lnB>
                    <a:noFill/>
                  </a:tcPr>
                </a:tc>
                <a:tc>
                  <a:txBody>
                    <a:bodyPr/>
                    <a:lstStyle/>
                    <a:p>
                      <a:pPr rtl="0" fontAlgn="b">
                        <a:buNone/>
                      </a:pPr>
                      <a:r>
                        <a:rPr lang="en-GB" sz="900" u="sng">
                          <a:solidFill>
                            <a:srgbClr val="0000FF"/>
                          </a:solidFill>
                          <a:effectLst/>
                          <a:latin typeface="Arial"/>
                        </a:rPr>
                        <a:t>http://www.imj.org.il/imagine/thesaurus/objects/</a:t>
                      </a:r>
                      <a:endParaRPr lang="en-GB" sz="900">
                        <a:effectLst/>
                        <a:latin typeface="Arial"/>
                      </a:endParaRPr>
                    </a:p>
                  </a:txBody>
                  <a:tcPr marL="28575" marR="28575" marT="19050" marB="19050" anchor="b">
                    <a:lnL>
                      <a:noFill/>
                    </a:lnL>
                    <a:lnR>
                      <a:noFill/>
                    </a:lnR>
                    <a:lnT>
                      <a:noFill/>
                    </a:lnT>
                    <a:lnB>
                      <a:noFill/>
                    </a:lnB>
                    <a:noFill/>
                  </a:tcPr>
                </a:tc>
                <a:extLst>
                  <a:ext uri="{0D108BD9-81ED-4DB2-BD59-A6C34878D82A}">
                    <a16:rowId xmlns:a16="http://schemas.microsoft.com/office/drawing/2014/main" val="1878889244"/>
                  </a:ext>
                </a:extLst>
              </a:tr>
              <a:tr h="171042">
                <a:tc>
                  <a:txBody>
                    <a:bodyPr/>
                    <a:lstStyle/>
                    <a:p>
                      <a:pPr rtl="0" fontAlgn="b">
                        <a:buNone/>
                      </a:pPr>
                      <a:r>
                        <a:rPr lang="en-GB" sz="900">
                          <a:effectLst/>
                          <a:latin typeface="Arial"/>
                        </a:rPr>
                        <a:t>Partage Plus concepts</a:t>
                      </a:r>
                    </a:p>
                  </a:txBody>
                  <a:tcPr marL="28575" marR="28575" marT="19050" marB="19050" anchor="b">
                    <a:lnL>
                      <a:noFill/>
                    </a:lnL>
                    <a:lnR>
                      <a:noFill/>
                    </a:lnR>
                    <a:lnT>
                      <a:noFill/>
                    </a:lnT>
                    <a:lnB>
                      <a:noFill/>
                    </a:lnB>
                    <a:noFill/>
                  </a:tcPr>
                </a:tc>
                <a:tc>
                  <a:txBody>
                    <a:bodyPr/>
                    <a:lstStyle/>
                    <a:p>
                      <a:pPr rtl="0" fontAlgn="b">
                        <a:buNone/>
                      </a:pPr>
                      <a:r>
                        <a:rPr lang="en-GB" sz="900" u="sng">
                          <a:solidFill>
                            <a:srgbClr val="0000FF"/>
                          </a:solidFill>
                          <a:effectLst/>
                          <a:latin typeface="Arial"/>
                        </a:rPr>
                        <a:t>http://partage.vocnet.org/</a:t>
                      </a:r>
                      <a:endParaRPr lang="en-GB" sz="900">
                        <a:effectLst/>
                        <a:latin typeface="Arial"/>
                      </a:endParaRPr>
                    </a:p>
                  </a:txBody>
                  <a:tcPr marL="28575" marR="28575" marT="19050" marB="19050" anchor="b">
                    <a:lnL>
                      <a:noFill/>
                    </a:lnL>
                    <a:lnR>
                      <a:noFill/>
                    </a:lnR>
                    <a:lnT>
                      <a:noFill/>
                    </a:lnT>
                    <a:lnB>
                      <a:noFill/>
                    </a:lnB>
                    <a:noFill/>
                  </a:tcPr>
                </a:tc>
                <a:extLst>
                  <a:ext uri="{0D108BD9-81ED-4DB2-BD59-A6C34878D82A}">
                    <a16:rowId xmlns:a16="http://schemas.microsoft.com/office/drawing/2014/main" val="2870583523"/>
                  </a:ext>
                </a:extLst>
              </a:tr>
              <a:tr h="323078">
                <a:tc>
                  <a:txBody>
                    <a:bodyPr/>
                    <a:lstStyle/>
                    <a:p>
                      <a:pPr rtl="0" fontAlgn="b">
                        <a:buNone/>
                      </a:pPr>
                      <a:r>
                        <a:rPr lang="en-GB" sz="900">
                          <a:effectLst/>
                          <a:latin typeface="Arial"/>
                        </a:rPr>
                        <a:t>data.europeana.eu WWI Concepts from Library of Congress Subject Headings (LCSH)</a:t>
                      </a:r>
                    </a:p>
                  </a:txBody>
                  <a:tcPr marL="28575" marR="28575" marT="19050" marB="19050" anchor="b">
                    <a:lnL>
                      <a:noFill/>
                    </a:lnL>
                    <a:lnR>
                      <a:noFill/>
                    </a:lnR>
                    <a:lnT>
                      <a:noFill/>
                    </a:lnT>
                    <a:lnB>
                      <a:noFill/>
                    </a:lnB>
                    <a:noFill/>
                  </a:tcPr>
                </a:tc>
                <a:tc>
                  <a:txBody>
                    <a:bodyPr/>
                    <a:lstStyle/>
                    <a:p>
                      <a:pPr rtl="0" fontAlgn="b">
                        <a:buNone/>
                      </a:pPr>
                      <a:r>
                        <a:rPr lang="en-GB" sz="900" u="sng">
                          <a:solidFill>
                            <a:srgbClr val="0000FF"/>
                          </a:solidFill>
                          <a:effectLst/>
                          <a:latin typeface="Arial"/>
                        </a:rPr>
                        <a:t>http://data.europeana.eu/concept/loc</a:t>
                      </a:r>
                      <a:endParaRPr lang="en-GB" sz="900">
                        <a:effectLst/>
                        <a:latin typeface="Arial"/>
                      </a:endParaRPr>
                    </a:p>
                  </a:txBody>
                  <a:tcPr marL="28575" marR="28575" marT="19050" marB="19050" anchor="b">
                    <a:lnL>
                      <a:noFill/>
                    </a:lnL>
                    <a:lnR>
                      <a:noFill/>
                    </a:lnR>
                    <a:lnT>
                      <a:noFill/>
                    </a:lnT>
                    <a:lnB>
                      <a:noFill/>
                    </a:lnB>
                    <a:noFill/>
                  </a:tcPr>
                </a:tc>
                <a:extLst>
                  <a:ext uri="{0D108BD9-81ED-4DB2-BD59-A6C34878D82A}">
                    <a16:rowId xmlns:a16="http://schemas.microsoft.com/office/drawing/2014/main" val="3783013390"/>
                  </a:ext>
                </a:extLst>
              </a:tr>
              <a:tr h="171042">
                <a:tc>
                  <a:txBody>
                    <a:bodyPr/>
                    <a:lstStyle/>
                    <a:p>
                      <a:pPr rtl="0" fontAlgn="b">
                        <a:buNone/>
                      </a:pPr>
                      <a:r>
                        <a:rPr lang="en-GB" sz="900" err="1">
                          <a:effectLst/>
                          <a:latin typeface="Arial"/>
                        </a:rPr>
                        <a:t>Europeana</a:t>
                      </a:r>
                      <a:r>
                        <a:rPr lang="en-GB" sz="900">
                          <a:effectLst/>
                          <a:latin typeface="Arial"/>
                        </a:rPr>
                        <a:t> Sounds Genres</a:t>
                      </a:r>
                    </a:p>
                  </a:txBody>
                  <a:tcPr marL="28575" marR="28575" marT="19050" marB="19050" anchor="b">
                    <a:lnL>
                      <a:noFill/>
                    </a:lnL>
                    <a:lnR>
                      <a:noFill/>
                    </a:lnR>
                    <a:lnT>
                      <a:noFill/>
                    </a:lnT>
                    <a:lnB>
                      <a:noFill/>
                    </a:lnB>
                    <a:noFill/>
                  </a:tcPr>
                </a:tc>
                <a:tc>
                  <a:txBody>
                    <a:bodyPr/>
                    <a:lstStyle/>
                    <a:p>
                      <a:pPr rtl="0" fontAlgn="b">
                        <a:buNone/>
                      </a:pPr>
                      <a:r>
                        <a:rPr lang="en-GB" sz="900" u="sng">
                          <a:solidFill>
                            <a:srgbClr val="0000FF"/>
                          </a:solidFill>
                          <a:effectLst/>
                          <a:latin typeface="Arial"/>
                        </a:rPr>
                        <a:t>http://data.europeana.eu/concept/soundgenres/</a:t>
                      </a:r>
                      <a:endParaRPr lang="en-GB" sz="900">
                        <a:effectLst/>
                        <a:latin typeface="Arial"/>
                      </a:endParaRPr>
                    </a:p>
                  </a:txBody>
                  <a:tcPr marL="28575" marR="28575" marT="19050" marB="19050" anchor="b">
                    <a:lnL>
                      <a:noFill/>
                    </a:lnL>
                    <a:lnR>
                      <a:noFill/>
                    </a:lnR>
                    <a:lnT>
                      <a:noFill/>
                    </a:lnT>
                    <a:lnB>
                      <a:noFill/>
                    </a:lnB>
                    <a:noFill/>
                  </a:tcPr>
                </a:tc>
                <a:extLst>
                  <a:ext uri="{0D108BD9-81ED-4DB2-BD59-A6C34878D82A}">
                    <a16:rowId xmlns:a16="http://schemas.microsoft.com/office/drawing/2014/main" val="2608678254"/>
                  </a:ext>
                </a:extLst>
              </a:tr>
              <a:tr h="171042">
                <a:tc>
                  <a:txBody>
                    <a:bodyPr/>
                    <a:lstStyle/>
                    <a:p>
                      <a:pPr rtl="0" fontAlgn="b">
                        <a:buNone/>
                      </a:pPr>
                      <a:r>
                        <a:rPr lang="en-GB" sz="900">
                          <a:effectLst/>
                          <a:latin typeface="Arial"/>
                        </a:rPr>
                        <a:t>EAGLE Material &amp; Object Type</a:t>
                      </a:r>
                    </a:p>
                  </a:txBody>
                  <a:tcPr marL="28575" marR="28575" marT="19050" marB="19050" anchor="b">
                    <a:lnL>
                      <a:noFill/>
                    </a:lnL>
                    <a:lnR>
                      <a:noFill/>
                    </a:lnR>
                    <a:lnT>
                      <a:noFill/>
                    </a:lnT>
                    <a:lnB>
                      <a:noFill/>
                    </a:lnB>
                    <a:noFill/>
                  </a:tcPr>
                </a:tc>
                <a:tc>
                  <a:txBody>
                    <a:bodyPr/>
                    <a:lstStyle/>
                    <a:p>
                      <a:pPr rtl="0" fontAlgn="b">
                        <a:buNone/>
                      </a:pPr>
                      <a:r>
                        <a:rPr lang="en-GB" sz="900" u="sng">
                          <a:solidFill>
                            <a:srgbClr val="0000FF"/>
                          </a:solidFill>
                          <a:effectLst/>
                          <a:latin typeface="Arial"/>
                        </a:rPr>
                        <a:t>http://www.eagle-network.eu/voc/</a:t>
                      </a:r>
                      <a:endParaRPr lang="en-GB" sz="900">
                        <a:effectLst/>
                        <a:latin typeface="Arial"/>
                      </a:endParaRPr>
                    </a:p>
                  </a:txBody>
                  <a:tcPr marL="28575" marR="28575" marT="19050" marB="19050" anchor="b">
                    <a:lnL>
                      <a:noFill/>
                    </a:lnL>
                    <a:lnR>
                      <a:noFill/>
                    </a:lnR>
                    <a:lnT>
                      <a:noFill/>
                    </a:lnT>
                    <a:lnB>
                      <a:noFill/>
                    </a:lnB>
                    <a:noFill/>
                  </a:tcPr>
                </a:tc>
                <a:extLst>
                  <a:ext uri="{0D108BD9-81ED-4DB2-BD59-A6C34878D82A}">
                    <a16:rowId xmlns:a16="http://schemas.microsoft.com/office/drawing/2014/main" val="2146386474"/>
                  </a:ext>
                </a:extLst>
              </a:tr>
              <a:tr h="171042">
                <a:tc>
                  <a:txBody>
                    <a:bodyPr/>
                    <a:lstStyle/>
                    <a:p>
                      <a:pPr rtl="0" fontAlgn="b">
                        <a:buNone/>
                      </a:pPr>
                      <a:r>
                        <a:rPr lang="en-GB" sz="900">
                          <a:effectLst/>
                          <a:latin typeface="Arial"/>
                        </a:rPr>
                        <a:t>DISMARC Formats &amp; Genres</a:t>
                      </a:r>
                    </a:p>
                  </a:txBody>
                  <a:tcPr marL="28575" marR="28575" marT="19050" marB="19050" anchor="b">
                    <a:lnL>
                      <a:noFill/>
                    </a:lnL>
                    <a:lnR>
                      <a:noFill/>
                    </a:lnR>
                    <a:lnT>
                      <a:noFill/>
                    </a:lnT>
                    <a:lnB>
                      <a:noFill/>
                    </a:lnB>
                    <a:noFill/>
                  </a:tcPr>
                </a:tc>
                <a:tc>
                  <a:txBody>
                    <a:bodyPr/>
                    <a:lstStyle/>
                    <a:p>
                      <a:pPr rtl="0" fontAlgn="b">
                        <a:buNone/>
                      </a:pPr>
                      <a:r>
                        <a:rPr lang="en-GB" sz="900" u="sng">
                          <a:solidFill>
                            <a:srgbClr val="0000FF"/>
                          </a:solidFill>
                          <a:effectLst/>
                          <a:latin typeface="Arial"/>
                        </a:rPr>
                        <a:t>http://purl.org/dismarc/ns/</a:t>
                      </a:r>
                      <a:endParaRPr lang="en-GB" sz="900">
                        <a:effectLst/>
                        <a:latin typeface="Arial"/>
                      </a:endParaRPr>
                    </a:p>
                  </a:txBody>
                  <a:tcPr marL="28575" marR="28575" marT="19050" marB="19050" anchor="b">
                    <a:lnL>
                      <a:noFill/>
                    </a:lnL>
                    <a:lnR>
                      <a:noFill/>
                    </a:lnR>
                    <a:lnT>
                      <a:noFill/>
                    </a:lnT>
                    <a:lnB>
                      <a:noFill/>
                    </a:lnB>
                    <a:noFill/>
                  </a:tcPr>
                </a:tc>
                <a:extLst>
                  <a:ext uri="{0D108BD9-81ED-4DB2-BD59-A6C34878D82A}">
                    <a16:rowId xmlns:a16="http://schemas.microsoft.com/office/drawing/2014/main" val="3171594623"/>
                  </a:ext>
                </a:extLst>
              </a:tr>
              <a:tr h="171042">
                <a:tc>
                  <a:txBody>
                    <a:bodyPr/>
                    <a:lstStyle/>
                    <a:p>
                      <a:pPr rtl="0" fontAlgn="b">
                        <a:buNone/>
                      </a:pPr>
                      <a:r>
                        <a:rPr lang="en-GB" sz="900">
                          <a:effectLst/>
                          <a:latin typeface="Arial"/>
                        </a:rPr>
                        <a:t>UDC</a:t>
                      </a:r>
                    </a:p>
                  </a:txBody>
                  <a:tcPr marL="28575" marR="28575" marT="19050" marB="19050" anchor="b">
                    <a:lnL>
                      <a:noFill/>
                    </a:lnL>
                    <a:lnR>
                      <a:noFill/>
                    </a:lnR>
                    <a:lnT>
                      <a:noFill/>
                    </a:lnT>
                    <a:lnB>
                      <a:noFill/>
                    </a:lnB>
                    <a:noFill/>
                  </a:tcPr>
                </a:tc>
                <a:tc>
                  <a:txBody>
                    <a:bodyPr/>
                    <a:lstStyle/>
                    <a:p>
                      <a:pPr rtl="0" fontAlgn="b">
                        <a:buNone/>
                      </a:pPr>
                      <a:r>
                        <a:rPr lang="en-GB" sz="900" u="sng">
                          <a:solidFill>
                            <a:srgbClr val="0000FF"/>
                          </a:solidFill>
                          <a:effectLst/>
                          <a:latin typeface="Arial"/>
                        </a:rPr>
                        <a:t>http://udcdata.info/rdf/</a:t>
                      </a:r>
                      <a:endParaRPr lang="en-GB" sz="900">
                        <a:effectLst/>
                        <a:latin typeface="Arial"/>
                      </a:endParaRPr>
                    </a:p>
                  </a:txBody>
                  <a:tcPr marL="28575" marR="28575" marT="19050" marB="19050" anchor="b">
                    <a:lnL>
                      <a:noFill/>
                    </a:lnL>
                    <a:lnR>
                      <a:noFill/>
                    </a:lnR>
                    <a:lnT>
                      <a:noFill/>
                    </a:lnT>
                    <a:lnB>
                      <a:noFill/>
                    </a:lnB>
                    <a:noFill/>
                  </a:tcPr>
                </a:tc>
                <a:extLst>
                  <a:ext uri="{0D108BD9-81ED-4DB2-BD59-A6C34878D82A}">
                    <a16:rowId xmlns:a16="http://schemas.microsoft.com/office/drawing/2014/main" val="1376288377"/>
                  </a:ext>
                </a:extLst>
              </a:tr>
              <a:tr h="171042">
                <a:tc>
                  <a:txBody>
                    <a:bodyPr/>
                    <a:lstStyle/>
                    <a:p>
                      <a:pPr rtl="0" fontAlgn="b">
                        <a:buNone/>
                      </a:pPr>
                      <a:r>
                        <a:rPr lang="en-GB" sz="900">
                          <a:effectLst/>
                          <a:latin typeface="Arial"/>
                        </a:rPr>
                        <a:t>UNESCO Thesaurus</a:t>
                      </a:r>
                    </a:p>
                  </a:txBody>
                  <a:tcPr marL="28575" marR="28575" marT="19050" marB="19050" anchor="b">
                    <a:lnL>
                      <a:noFill/>
                    </a:lnL>
                    <a:lnR>
                      <a:noFill/>
                    </a:lnR>
                    <a:lnT>
                      <a:noFill/>
                    </a:lnT>
                    <a:lnB>
                      <a:noFill/>
                    </a:lnB>
                    <a:noFill/>
                  </a:tcPr>
                </a:tc>
                <a:tc>
                  <a:txBody>
                    <a:bodyPr/>
                    <a:lstStyle/>
                    <a:p>
                      <a:pPr rtl="0" fontAlgn="b">
                        <a:buNone/>
                      </a:pPr>
                      <a:r>
                        <a:rPr lang="en-GB" sz="900" u="sng">
                          <a:solidFill>
                            <a:srgbClr val="0000FF"/>
                          </a:solidFill>
                          <a:effectLst/>
                          <a:latin typeface="Arial"/>
                        </a:rPr>
                        <a:t>http://vocabularies.unesco.org/thesaurus/</a:t>
                      </a:r>
                      <a:endParaRPr lang="en-GB" sz="900">
                        <a:effectLst/>
                        <a:latin typeface="Arial"/>
                      </a:endParaRPr>
                    </a:p>
                  </a:txBody>
                  <a:tcPr marL="28575" marR="28575" marT="19050" marB="19050" anchor="b">
                    <a:lnL>
                      <a:noFill/>
                    </a:lnL>
                    <a:lnR>
                      <a:noFill/>
                    </a:lnR>
                    <a:lnT>
                      <a:noFill/>
                    </a:lnT>
                    <a:lnB>
                      <a:noFill/>
                    </a:lnB>
                    <a:noFill/>
                  </a:tcPr>
                </a:tc>
                <a:extLst>
                  <a:ext uri="{0D108BD9-81ED-4DB2-BD59-A6C34878D82A}">
                    <a16:rowId xmlns:a16="http://schemas.microsoft.com/office/drawing/2014/main" val="727171432"/>
                  </a:ext>
                </a:extLst>
              </a:tr>
              <a:tr h="180543">
                <a:tc>
                  <a:txBody>
                    <a:bodyPr/>
                    <a:lstStyle/>
                    <a:p>
                      <a:pPr rtl="0" fontAlgn="b">
                        <a:buNone/>
                      </a:pPr>
                      <a:r>
                        <a:rPr lang="en-GB" sz="900">
                          <a:effectLst/>
                          <a:latin typeface="Arial"/>
                        </a:rPr>
                        <a:t>YSO General Finnish Ontology </a:t>
                      </a:r>
                    </a:p>
                  </a:txBody>
                  <a:tcPr marL="28575" marR="28575" marT="19050" marB="19050" anchor="b">
                    <a:lnL>
                      <a:noFill/>
                    </a:lnL>
                    <a:lnR>
                      <a:noFill/>
                    </a:lnR>
                    <a:lnT>
                      <a:noFill/>
                    </a:lnT>
                    <a:lnB>
                      <a:noFill/>
                    </a:lnB>
                    <a:noFill/>
                  </a:tcPr>
                </a:tc>
                <a:tc>
                  <a:txBody>
                    <a:bodyPr/>
                    <a:lstStyle/>
                    <a:p>
                      <a:pPr rtl="0" fontAlgn="b">
                        <a:buNone/>
                      </a:pPr>
                      <a:r>
                        <a:rPr lang="en-GB" sz="900" u="sng" strike="noStrike">
                          <a:solidFill>
                            <a:srgbClr val="0000FF"/>
                          </a:solidFill>
                          <a:effectLst/>
                          <a:latin typeface="Arial"/>
                          <a:hlinkClick r:id="rId2"/>
                        </a:rPr>
                        <a:t>https://finto.fi/yso/en/</a:t>
                      </a:r>
                      <a:r>
                        <a:rPr lang="en-GB" sz="900" u="sng">
                          <a:solidFill>
                            <a:srgbClr val="0000FF"/>
                          </a:solidFill>
                          <a:effectLst/>
                          <a:latin typeface="Arial"/>
                        </a:rPr>
                        <a:t> </a:t>
                      </a:r>
                      <a:endParaRPr lang="en-GB" sz="900">
                        <a:effectLst/>
                        <a:latin typeface="Arial"/>
                      </a:endParaRPr>
                    </a:p>
                  </a:txBody>
                  <a:tcPr marL="28575" marR="28575" marT="19050" marB="19050" anchor="b">
                    <a:lnL>
                      <a:noFill/>
                    </a:lnL>
                    <a:lnR>
                      <a:noFill/>
                    </a:lnR>
                    <a:lnT>
                      <a:noFill/>
                    </a:lnT>
                    <a:lnB>
                      <a:noFill/>
                    </a:lnB>
                    <a:noFill/>
                  </a:tcPr>
                </a:tc>
                <a:extLst>
                  <a:ext uri="{0D108BD9-81ED-4DB2-BD59-A6C34878D82A}">
                    <a16:rowId xmlns:a16="http://schemas.microsoft.com/office/drawing/2014/main" val="1532137988"/>
                  </a:ext>
                </a:extLst>
              </a:tr>
            </a:tbl>
          </a:graphicData>
        </a:graphic>
      </p:graphicFrame>
      <p:sp>
        <p:nvSpPr>
          <p:cNvPr id="4" name="Text Placeholder 3">
            <a:extLst>
              <a:ext uri="{FF2B5EF4-FFF2-40B4-BE49-F238E27FC236}">
                <a16:creationId xmlns:a16="http://schemas.microsoft.com/office/drawing/2014/main" id="{F9DF564C-69DE-45DA-C726-1D5967E927F1}"/>
              </a:ext>
            </a:extLst>
          </p:cNvPr>
          <p:cNvSpPr>
            <a:spLocks noGrp="1"/>
          </p:cNvSpPr>
          <p:nvPr>
            <p:ph type="body" sz="quarter" idx="13"/>
          </p:nvPr>
        </p:nvSpPr>
        <p:spPr/>
        <p:txBody>
          <a:bodyPr/>
          <a:lstStyle/>
          <a:p>
            <a:endParaRPr lang="en-LU"/>
          </a:p>
        </p:txBody>
      </p:sp>
      <p:sp>
        <p:nvSpPr>
          <p:cNvPr id="7" name="TextBox 6">
            <a:extLst>
              <a:ext uri="{FF2B5EF4-FFF2-40B4-BE49-F238E27FC236}">
                <a16:creationId xmlns:a16="http://schemas.microsoft.com/office/drawing/2014/main" id="{352C5424-0611-989E-2955-4A1B1692A60A}"/>
              </a:ext>
            </a:extLst>
          </p:cNvPr>
          <p:cNvSpPr txBox="1"/>
          <p:nvPr/>
        </p:nvSpPr>
        <p:spPr>
          <a:xfrm>
            <a:off x="3771900" y="4690695"/>
            <a:ext cx="5301761" cy="30777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400" u="sng">
                <a:solidFill>
                  <a:srgbClr val="0000FF"/>
                </a:solidFill>
                <a:latin typeface="Arial"/>
                <a:cs typeface="Arial"/>
                <a:hlinkClick r:id="rId3"/>
              </a:rPr>
              <a:t>https://pro.europeana.eu/page/europeana-semantic-enrichment</a:t>
            </a:r>
            <a:r>
              <a:rPr lang="en-US" sz="1400">
                <a:latin typeface="Arial"/>
                <a:cs typeface="Arial"/>
              </a:rPr>
              <a:t> </a:t>
            </a:r>
          </a:p>
        </p:txBody>
      </p:sp>
      <p:sp>
        <p:nvSpPr>
          <p:cNvPr id="9" name="Content Placeholder 2">
            <a:extLst>
              <a:ext uri="{FF2B5EF4-FFF2-40B4-BE49-F238E27FC236}">
                <a16:creationId xmlns:a16="http://schemas.microsoft.com/office/drawing/2014/main" id="{EFF9D427-3616-91BD-E235-A2039A7F762B}"/>
              </a:ext>
            </a:extLst>
          </p:cNvPr>
          <p:cNvSpPr txBox="1">
            <a:spLocks/>
          </p:cNvSpPr>
          <p:nvPr/>
        </p:nvSpPr>
        <p:spPr>
          <a:xfrm>
            <a:off x="628650" y="761023"/>
            <a:ext cx="7886700" cy="3616325"/>
          </a:xfrm>
          <a:prstGeom prst="rect">
            <a:avLst/>
          </a:prstGeom>
        </p:spPr>
        <p:txBody>
          <a:bodyPr vert="horz" lIns="91440" tIns="45720" rIns="91440" bIns="45720" rtlCol="0" anchor="t">
            <a:normAutofit/>
          </a:bodyPr>
          <a:lstStyle>
            <a:lvl1pPr marL="228600" indent="-228600" algn="l" defTabSz="914400" rtl="0" eaLnBrk="1" latinLnBrk="0" hangingPunct="1">
              <a:lnSpc>
                <a:spcPct val="90000"/>
              </a:lnSpc>
              <a:spcBef>
                <a:spcPts val="1000"/>
              </a:spcBef>
              <a:buClr>
                <a:srgbClr val="F15A24"/>
              </a:buClr>
              <a:buFont typeface="Arial" panose="020B0604020202020204" pitchFamily="34" charset="0"/>
              <a:buChar char="•"/>
              <a:defRPr sz="2600" kern="1200">
                <a:solidFill>
                  <a:schemeClr val="tx1">
                    <a:lumMod val="65000"/>
                    <a:lumOff val="35000"/>
                  </a:schemeClr>
                </a:solidFill>
                <a:latin typeface="+mn-lt"/>
                <a:ea typeface="+mn-ea"/>
                <a:cs typeface="+mn-cs"/>
              </a:defRPr>
            </a:lvl1pPr>
            <a:lvl2pPr marL="685800" indent="-228600" algn="l" defTabSz="914400" rtl="0" eaLnBrk="1" latinLnBrk="0" hangingPunct="1">
              <a:lnSpc>
                <a:spcPct val="90000"/>
              </a:lnSpc>
              <a:spcBef>
                <a:spcPts val="500"/>
              </a:spcBef>
              <a:buClr>
                <a:srgbClr val="F15A24"/>
              </a:buClr>
              <a:buFont typeface="Arial" panose="020B0604020202020204" pitchFamily="34" charset="0"/>
              <a:buChar char="•"/>
              <a:defRPr sz="2200" kern="1200">
                <a:solidFill>
                  <a:schemeClr val="tx1">
                    <a:lumMod val="65000"/>
                    <a:lumOff val="35000"/>
                  </a:schemeClr>
                </a:solidFill>
                <a:latin typeface="+mn-lt"/>
                <a:ea typeface="+mn-ea"/>
                <a:cs typeface="+mn-cs"/>
              </a:defRPr>
            </a:lvl2pPr>
            <a:lvl3pPr marL="1143000" indent="-228600" algn="l" defTabSz="914400" rtl="0" eaLnBrk="1" latinLnBrk="0" hangingPunct="1">
              <a:lnSpc>
                <a:spcPct val="90000"/>
              </a:lnSpc>
              <a:spcBef>
                <a:spcPts val="500"/>
              </a:spcBef>
              <a:buClr>
                <a:srgbClr val="F15A24"/>
              </a:buClr>
              <a:buFont typeface="Arial" panose="020B0604020202020204" pitchFamily="34" charset="0"/>
              <a:buChar char="•"/>
              <a:defRPr sz="1800" kern="1200">
                <a:solidFill>
                  <a:schemeClr val="tx1">
                    <a:lumMod val="65000"/>
                    <a:lumOff val="35000"/>
                  </a:schemeClr>
                </a:solidFill>
                <a:latin typeface="+mn-lt"/>
                <a:ea typeface="+mn-ea"/>
                <a:cs typeface="+mn-cs"/>
              </a:defRPr>
            </a:lvl3pPr>
            <a:lvl4pPr marL="1600200" indent="-228600" algn="l" defTabSz="914400" rtl="0" eaLnBrk="1" latinLnBrk="0" hangingPunct="1">
              <a:lnSpc>
                <a:spcPct val="90000"/>
              </a:lnSpc>
              <a:spcBef>
                <a:spcPts val="500"/>
              </a:spcBef>
              <a:buClr>
                <a:srgbClr val="F15A24"/>
              </a:buClr>
              <a:buFont typeface="Arial" panose="020B0604020202020204" pitchFamily="34" charset="0"/>
              <a:buChar char="•"/>
              <a:defRPr sz="1800" kern="1200">
                <a:solidFill>
                  <a:schemeClr val="tx1">
                    <a:lumMod val="65000"/>
                    <a:lumOff val="35000"/>
                  </a:schemeClr>
                </a:solidFill>
                <a:latin typeface="+mn-lt"/>
                <a:ea typeface="+mn-ea"/>
                <a:cs typeface="+mn-cs"/>
              </a:defRPr>
            </a:lvl4pPr>
            <a:lvl5pPr marL="2057400" indent="-228600" algn="l" defTabSz="914400" rtl="0" eaLnBrk="1" latinLnBrk="0" hangingPunct="1">
              <a:lnSpc>
                <a:spcPct val="90000"/>
              </a:lnSpc>
              <a:spcBef>
                <a:spcPts val="500"/>
              </a:spcBef>
              <a:buClr>
                <a:srgbClr val="F15A24"/>
              </a:buClr>
              <a:buFont typeface="Arial" panose="020B0604020202020204" pitchFamily="34" charset="0"/>
              <a:buChar char="•"/>
              <a:defRPr sz="1800" kern="1200">
                <a:solidFill>
                  <a:schemeClr val="tx1">
                    <a:lumMod val="65000"/>
                    <a:lumOff val="3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LU">
                <a:ea typeface="Calibri"/>
                <a:cs typeface="Calibri"/>
              </a:rPr>
              <a:t>In providers' metadata</a:t>
            </a:r>
            <a:endParaRPr lang="en-US"/>
          </a:p>
        </p:txBody>
      </p:sp>
    </p:spTree>
    <p:extLst>
      <p:ext uri="{BB962C8B-B14F-4D97-AF65-F5344CB8AC3E}">
        <p14:creationId xmlns:p14="http://schemas.microsoft.com/office/powerpoint/2010/main" val="825959774"/>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03AE28B-73B7-EE05-F5A1-1379CF6A11C2}"/>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000EF50C-FBAB-30D5-E9C8-52C9070E4A1C}"/>
              </a:ext>
            </a:extLst>
          </p:cNvPr>
          <p:cNvSpPr>
            <a:spLocks noGrp="1"/>
          </p:cNvSpPr>
          <p:nvPr>
            <p:ph type="title"/>
          </p:nvPr>
        </p:nvSpPr>
        <p:spPr/>
        <p:txBody>
          <a:bodyPr/>
          <a:lstStyle/>
          <a:p>
            <a:r>
              <a:rPr lang="en-US">
                <a:ea typeface="Calibri"/>
                <a:cs typeface="Calibri"/>
              </a:rPr>
              <a:t>Enrichment using Linked Data vocabularies</a:t>
            </a:r>
            <a:endParaRPr lang="en-US">
              <a:solidFill>
                <a:srgbClr val="000000"/>
              </a:solidFill>
              <a:ea typeface="Calibri"/>
              <a:cs typeface="Calibri"/>
            </a:endParaRPr>
          </a:p>
        </p:txBody>
      </p:sp>
      <p:sp>
        <p:nvSpPr>
          <p:cNvPr id="3" name="Content Placeholder 2">
            <a:extLst>
              <a:ext uri="{FF2B5EF4-FFF2-40B4-BE49-F238E27FC236}">
                <a16:creationId xmlns:a16="http://schemas.microsoft.com/office/drawing/2014/main" id="{5C3F4C33-EA5F-C431-0420-A9C7E8D4B3CC}"/>
              </a:ext>
            </a:extLst>
          </p:cNvPr>
          <p:cNvSpPr>
            <a:spLocks noGrp="1"/>
          </p:cNvSpPr>
          <p:nvPr>
            <p:ph idx="1"/>
          </p:nvPr>
        </p:nvSpPr>
        <p:spPr>
          <a:xfrm>
            <a:off x="628650" y="743045"/>
            <a:ext cx="7886700" cy="494400"/>
          </a:xfrm>
        </p:spPr>
        <p:txBody>
          <a:bodyPr vert="horz" lIns="91440" tIns="45720" rIns="91440" bIns="45720" rtlCol="0" anchor="t">
            <a:normAutofit/>
          </a:bodyPr>
          <a:lstStyle/>
          <a:p>
            <a:pPr marL="0" indent="0">
              <a:buNone/>
            </a:pPr>
            <a:r>
              <a:rPr lang="en-LU">
                <a:ea typeface="Calibri"/>
                <a:cs typeface="Calibri"/>
              </a:rPr>
              <a:t>By external services – AI4Culture color detection</a:t>
            </a:r>
          </a:p>
        </p:txBody>
      </p:sp>
      <p:sp>
        <p:nvSpPr>
          <p:cNvPr id="4" name="Text Placeholder 3">
            <a:extLst>
              <a:ext uri="{FF2B5EF4-FFF2-40B4-BE49-F238E27FC236}">
                <a16:creationId xmlns:a16="http://schemas.microsoft.com/office/drawing/2014/main" id="{5586A393-76E4-908A-EF9F-F819A343CE93}"/>
              </a:ext>
            </a:extLst>
          </p:cNvPr>
          <p:cNvSpPr>
            <a:spLocks noGrp="1"/>
          </p:cNvSpPr>
          <p:nvPr>
            <p:ph type="body" sz="quarter" idx="13"/>
          </p:nvPr>
        </p:nvSpPr>
        <p:spPr/>
        <p:txBody>
          <a:bodyPr/>
          <a:lstStyle/>
          <a:p>
            <a:endParaRPr lang="en-LU"/>
          </a:p>
        </p:txBody>
      </p:sp>
      <p:pic>
        <p:nvPicPr>
          <p:cNvPr id="5" name="Picture 4" descr="A white dress on a swinger&#10;&#10;AI-generated content may be incorrect.">
            <a:extLst>
              <a:ext uri="{FF2B5EF4-FFF2-40B4-BE49-F238E27FC236}">
                <a16:creationId xmlns:a16="http://schemas.microsoft.com/office/drawing/2014/main" id="{BE3004EA-D6F5-3548-8752-E37A3549BA5F}"/>
              </a:ext>
            </a:extLst>
          </p:cNvPr>
          <p:cNvPicPr>
            <a:picLocks noChangeAspect="1"/>
          </p:cNvPicPr>
          <p:nvPr/>
        </p:nvPicPr>
        <p:blipFill>
          <a:blip r:embed="rId2"/>
          <a:stretch>
            <a:fillRect/>
          </a:stretch>
        </p:blipFill>
        <p:spPr>
          <a:xfrm>
            <a:off x="757598" y="1138931"/>
            <a:ext cx="3391830" cy="3907854"/>
          </a:xfrm>
          <a:prstGeom prst="rect">
            <a:avLst/>
          </a:prstGeom>
        </p:spPr>
      </p:pic>
      <p:pic>
        <p:nvPicPr>
          <p:cNvPr id="6" name="Picture 5" descr="A screenshot of a computer code&#10;&#10;AI-generated content may be incorrect.">
            <a:extLst>
              <a:ext uri="{FF2B5EF4-FFF2-40B4-BE49-F238E27FC236}">
                <a16:creationId xmlns:a16="http://schemas.microsoft.com/office/drawing/2014/main" id="{89D3BDDA-6086-FF5E-6C3D-EF18609039CA}"/>
              </a:ext>
            </a:extLst>
          </p:cNvPr>
          <p:cNvPicPr>
            <a:picLocks noChangeAspect="1"/>
          </p:cNvPicPr>
          <p:nvPr/>
        </p:nvPicPr>
        <p:blipFill>
          <a:blip r:embed="rId3"/>
          <a:stretch>
            <a:fillRect/>
          </a:stretch>
        </p:blipFill>
        <p:spPr>
          <a:xfrm>
            <a:off x="4235693" y="1234220"/>
            <a:ext cx="5666643" cy="3378444"/>
          </a:xfrm>
          <a:prstGeom prst="rect">
            <a:avLst/>
          </a:prstGeom>
        </p:spPr>
      </p:pic>
      <p:pic>
        <p:nvPicPr>
          <p:cNvPr id="8" name="Picture 7" descr="A purple letter on a black background&#10;&#10;AI-generated content may be incorrect.">
            <a:extLst>
              <a:ext uri="{FF2B5EF4-FFF2-40B4-BE49-F238E27FC236}">
                <a16:creationId xmlns:a16="http://schemas.microsoft.com/office/drawing/2014/main" id="{73E5CB20-4309-84B9-BD29-81A68174B23C}"/>
              </a:ext>
            </a:extLst>
          </p:cNvPr>
          <p:cNvPicPr>
            <a:picLocks noChangeAspect="1"/>
          </p:cNvPicPr>
          <p:nvPr/>
        </p:nvPicPr>
        <p:blipFill>
          <a:blip r:embed="rId4"/>
          <a:stretch>
            <a:fillRect/>
          </a:stretch>
        </p:blipFill>
        <p:spPr>
          <a:xfrm>
            <a:off x="3536339" y="4769094"/>
            <a:ext cx="1218468" cy="159727"/>
          </a:xfrm>
          <a:prstGeom prst="rect">
            <a:avLst/>
          </a:prstGeom>
        </p:spPr>
      </p:pic>
      <p:sp>
        <p:nvSpPr>
          <p:cNvPr id="9" name="TextBox 8">
            <a:extLst>
              <a:ext uri="{FF2B5EF4-FFF2-40B4-BE49-F238E27FC236}">
                <a16:creationId xmlns:a16="http://schemas.microsoft.com/office/drawing/2014/main" id="{A456BBDC-F3A3-6A99-ABAE-90D7FD96B6AE}"/>
              </a:ext>
            </a:extLst>
          </p:cNvPr>
          <p:cNvSpPr txBox="1"/>
          <p:nvPr/>
        </p:nvSpPr>
        <p:spPr>
          <a:xfrm>
            <a:off x="5073161" y="4664319"/>
            <a:ext cx="3982915"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a:hlinkClick r:id="rId5"/>
              </a:rPr>
              <a:t>https://ai4culture.eu/resources/tools/93</a:t>
            </a:r>
            <a:r>
              <a:rPr lang="en-US"/>
              <a:t> </a:t>
            </a:r>
          </a:p>
        </p:txBody>
      </p:sp>
    </p:spTree>
    <p:extLst>
      <p:ext uri="{BB962C8B-B14F-4D97-AF65-F5344CB8AC3E}">
        <p14:creationId xmlns:p14="http://schemas.microsoft.com/office/powerpoint/2010/main" val="190454015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C9C41B-A5CA-A012-1EAF-A4B53DC1B381}"/>
              </a:ext>
            </a:extLst>
          </p:cNvPr>
          <p:cNvSpPr>
            <a:spLocks noGrp="1"/>
          </p:cNvSpPr>
          <p:nvPr>
            <p:ph type="ctrTitle"/>
          </p:nvPr>
        </p:nvSpPr>
        <p:spPr/>
        <p:txBody>
          <a:bodyPr/>
          <a:lstStyle/>
          <a:p>
            <a:r>
              <a:rPr lang="en-IE"/>
              <a:t>General introduction to Data Spaces</a:t>
            </a:r>
          </a:p>
        </p:txBody>
      </p:sp>
      <p:sp>
        <p:nvSpPr>
          <p:cNvPr id="3" name="Subtitle 2">
            <a:extLst>
              <a:ext uri="{FF2B5EF4-FFF2-40B4-BE49-F238E27FC236}">
                <a16:creationId xmlns:a16="http://schemas.microsoft.com/office/drawing/2014/main" id="{3CF5DA15-EA76-1932-7361-C47D78E0ADE0}"/>
              </a:ext>
            </a:extLst>
          </p:cNvPr>
          <p:cNvSpPr>
            <a:spLocks noGrp="1"/>
          </p:cNvSpPr>
          <p:nvPr>
            <p:ph type="subTitle" idx="1"/>
          </p:nvPr>
        </p:nvSpPr>
        <p:spPr/>
        <p:txBody>
          <a:bodyPr/>
          <a:lstStyle/>
          <a:p>
            <a:r>
              <a:rPr lang="en-IE"/>
              <a:t>Coen JANSSEN</a:t>
            </a:r>
            <a:endParaRPr lang="en-LU"/>
          </a:p>
        </p:txBody>
      </p:sp>
      <p:sp>
        <p:nvSpPr>
          <p:cNvPr id="4" name="Text Placeholder 3">
            <a:extLst>
              <a:ext uri="{FF2B5EF4-FFF2-40B4-BE49-F238E27FC236}">
                <a16:creationId xmlns:a16="http://schemas.microsoft.com/office/drawing/2014/main" id="{AD34D0B7-9977-65B8-C2A6-657840EBF59C}"/>
              </a:ext>
            </a:extLst>
          </p:cNvPr>
          <p:cNvSpPr>
            <a:spLocks noGrp="1"/>
          </p:cNvSpPr>
          <p:nvPr>
            <p:ph type="body" sz="quarter" idx="13"/>
          </p:nvPr>
        </p:nvSpPr>
        <p:spPr/>
        <p:txBody>
          <a:bodyPr/>
          <a:lstStyle/>
          <a:p>
            <a:endParaRPr lang="en-LU"/>
          </a:p>
        </p:txBody>
      </p:sp>
    </p:spTree>
    <p:extLst>
      <p:ext uri="{BB962C8B-B14F-4D97-AF65-F5344CB8AC3E}">
        <p14:creationId xmlns:p14="http://schemas.microsoft.com/office/powerpoint/2010/main" val="2322030854"/>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1B4861F-8123-2932-5850-15A1829C4127}"/>
            </a:ext>
          </a:extLst>
        </p:cNvPr>
        <p:cNvGrpSpPr/>
        <p:nvPr/>
      </p:nvGrpSpPr>
      <p:grpSpPr>
        <a:xfrm>
          <a:off x="0" y="0"/>
          <a:ext cx="0" cy="0"/>
          <a:chOff x="0" y="0"/>
          <a:chExt cx="0" cy="0"/>
        </a:xfrm>
      </p:grpSpPr>
      <p:sp>
        <p:nvSpPr>
          <p:cNvPr id="4" name="Text Placeholder 3">
            <a:extLst>
              <a:ext uri="{FF2B5EF4-FFF2-40B4-BE49-F238E27FC236}">
                <a16:creationId xmlns:a16="http://schemas.microsoft.com/office/drawing/2014/main" id="{F3CD744D-0F18-B43C-A422-163C508FD67F}"/>
              </a:ext>
            </a:extLst>
          </p:cNvPr>
          <p:cNvSpPr>
            <a:spLocks noGrp="1"/>
          </p:cNvSpPr>
          <p:nvPr>
            <p:ph type="body" sz="quarter" idx="13"/>
          </p:nvPr>
        </p:nvSpPr>
        <p:spPr/>
        <p:txBody>
          <a:bodyPr/>
          <a:lstStyle/>
          <a:p>
            <a:endParaRPr lang="en-LU"/>
          </a:p>
        </p:txBody>
      </p:sp>
      <p:pic>
        <p:nvPicPr>
          <p:cNvPr id="6" name="Picture 5" descr="A close up of boots&#10;&#10;AI-generated content may be incorrect.">
            <a:extLst>
              <a:ext uri="{FF2B5EF4-FFF2-40B4-BE49-F238E27FC236}">
                <a16:creationId xmlns:a16="http://schemas.microsoft.com/office/drawing/2014/main" id="{2651E2CC-F08C-8E33-1D8F-A22DEF5E3B13}"/>
              </a:ext>
            </a:extLst>
          </p:cNvPr>
          <p:cNvPicPr>
            <a:picLocks noChangeAspect="1"/>
          </p:cNvPicPr>
          <p:nvPr/>
        </p:nvPicPr>
        <p:blipFill>
          <a:blip r:embed="rId2"/>
          <a:stretch>
            <a:fillRect/>
          </a:stretch>
        </p:blipFill>
        <p:spPr>
          <a:xfrm>
            <a:off x="-3899" y="641839"/>
            <a:ext cx="5265597" cy="4097215"/>
          </a:xfrm>
          <a:prstGeom prst="rect">
            <a:avLst/>
          </a:prstGeom>
        </p:spPr>
      </p:pic>
      <p:pic>
        <p:nvPicPr>
          <p:cNvPr id="7" name="Picture 6" descr="A screenshot of a computer&#10;&#10;AI-generated content may be incorrect.">
            <a:extLst>
              <a:ext uri="{FF2B5EF4-FFF2-40B4-BE49-F238E27FC236}">
                <a16:creationId xmlns:a16="http://schemas.microsoft.com/office/drawing/2014/main" id="{5205B15D-FCF8-116B-8F78-165A7FEC0E81}"/>
              </a:ext>
            </a:extLst>
          </p:cNvPr>
          <p:cNvPicPr>
            <a:picLocks noChangeAspect="1"/>
          </p:cNvPicPr>
          <p:nvPr/>
        </p:nvPicPr>
        <p:blipFill>
          <a:blip r:embed="rId3"/>
          <a:stretch>
            <a:fillRect/>
          </a:stretch>
        </p:blipFill>
        <p:spPr>
          <a:xfrm>
            <a:off x="5312868" y="1213338"/>
            <a:ext cx="3828817" cy="4290646"/>
          </a:xfrm>
          <a:prstGeom prst="rect">
            <a:avLst/>
          </a:prstGeom>
        </p:spPr>
      </p:pic>
      <p:sp>
        <p:nvSpPr>
          <p:cNvPr id="9" name="Content Placeholder 2">
            <a:extLst>
              <a:ext uri="{FF2B5EF4-FFF2-40B4-BE49-F238E27FC236}">
                <a16:creationId xmlns:a16="http://schemas.microsoft.com/office/drawing/2014/main" id="{D17A2D4F-BC0F-7C94-FC05-A7FE755CF0E2}"/>
              </a:ext>
            </a:extLst>
          </p:cNvPr>
          <p:cNvSpPr txBox="1">
            <a:spLocks/>
          </p:cNvSpPr>
          <p:nvPr/>
        </p:nvSpPr>
        <p:spPr>
          <a:xfrm>
            <a:off x="1952639" y="2718888"/>
            <a:ext cx="5998013" cy="633245"/>
          </a:xfrm>
          <a:prstGeom prst="rect">
            <a:avLst/>
          </a:prstGeom>
          <a:solidFill>
            <a:schemeClr val="bg1"/>
          </a:solidFill>
        </p:spPr>
        <p:txBody>
          <a:bodyPr vert="horz" lIns="91440" tIns="45720" rIns="91440" bIns="45720" rtlCol="0" anchor="t">
            <a:noAutofit/>
          </a:bodyPr>
          <a:lstStyle>
            <a:lvl1pPr marL="228600" indent="-228600" algn="l" defTabSz="914400" rtl="0" eaLnBrk="1" latinLnBrk="0" hangingPunct="1">
              <a:lnSpc>
                <a:spcPct val="90000"/>
              </a:lnSpc>
              <a:spcBef>
                <a:spcPts val="1000"/>
              </a:spcBef>
              <a:buClr>
                <a:srgbClr val="F15A24"/>
              </a:buClr>
              <a:buFont typeface="Arial" panose="020B0604020202020204" pitchFamily="34" charset="0"/>
              <a:buChar char="•"/>
              <a:defRPr sz="2600" kern="1200">
                <a:solidFill>
                  <a:schemeClr val="tx1">
                    <a:lumMod val="65000"/>
                    <a:lumOff val="35000"/>
                  </a:schemeClr>
                </a:solidFill>
                <a:latin typeface="+mn-lt"/>
                <a:ea typeface="+mn-ea"/>
                <a:cs typeface="+mn-cs"/>
              </a:defRPr>
            </a:lvl1pPr>
            <a:lvl2pPr marL="685800" indent="-228600" algn="l" defTabSz="914400" rtl="0" eaLnBrk="1" latinLnBrk="0" hangingPunct="1">
              <a:lnSpc>
                <a:spcPct val="90000"/>
              </a:lnSpc>
              <a:spcBef>
                <a:spcPts val="500"/>
              </a:spcBef>
              <a:buClr>
                <a:srgbClr val="F15A24"/>
              </a:buClr>
              <a:buFont typeface="Arial" panose="020B0604020202020204" pitchFamily="34" charset="0"/>
              <a:buChar char="•"/>
              <a:defRPr sz="2200" kern="1200">
                <a:solidFill>
                  <a:schemeClr val="tx1">
                    <a:lumMod val="65000"/>
                    <a:lumOff val="35000"/>
                  </a:schemeClr>
                </a:solidFill>
                <a:latin typeface="+mn-lt"/>
                <a:ea typeface="+mn-ea"/>
                <a:cs typeface="+mn-cs"/>
              </a:defRPr>
            </a:lvl2pPr>
            <a:lvl3pPr marL="1143000" indent="-228600" algn="l" defTabSz="914400" rtl="0" eaLnBrk="1" latinLnBrk="0" hangingPunct="1">
              <a:lnSpc>
                <a:spcPct val="90000"/>
              </a:lnSpc>
              <a:spcBef>
                <a:spcPts val="500"/>
              </a:spcBef>
              <a:buClr>
                <a:srgbClr val="F15A24"/>
              </a:buClr>
              <a:buFont typeface="Arial" panose="020B0604020202020204" pitchFamily="34" charset="0"/>
              <a:buChar char="•"/>
              <a:defRPr sz="1800" kern="1200">
                <a:solidFill>
                  <a:schemeClr val="tx1">
                    <a:lumMod val="65000"/>
                    <a:lumOff val="35000"/>
                  </a:schemeClr>
                </a:solidFill>
                <a:latin typeface="+mn-lt"/>
                <a:ea typeface="+mn-ea"/>
                <a:cs typeface="+mn-cs"/>
              </a:defRPr>
            </a:lvl3pPr>
            <a:lvl4pPr marL="1600200" indent="-228600" algn="l" defTabSz="914400" rtl="0" eaLnBrk="1" latinLnBrk="0" hangingPunct="1">
              <a:lnSpc>
                <a:spcPct val="90000"/>
              </a:lnSpc>
              <a:spcBef>
                <a:spcPts val="500"/>
              </a:spcBef>
              <a:buClr>
                <a:srgbClr val="F15A24"/>
              </a:buClr>
              <a:buFont typeface="Arial" panose="020B0604020202020204" pitchFamily="34" charset="0"/>
              <a:buChar char="•"/>
              <a:defRPr sz="1800" kern="1200">
                <a:solidFill>
                  <a:schemeClr val="tx1">
                    <a:lumMod val="65000"/>
                    <a:lumOff val="35000"/>
                  </a:schemeClr>
                </a:solidFill>
                <a:latin typeface="+mn-lt"/>
                <a:ea typeface="+mn-ea"/>
                <a:cs typeface="+mn-cs"/>
              </a:defRPr>
            </a:lvl4pPr>
            <a:lvl5pPr marL="2057400" indent="-228600" algn="l" defTabSz="914400" rtl="0" eaLnBrk="1" latinLnBrk="0" hangingPunct="1">
              <a:lnSpc>
                <a:spcPct val="90000"/>
              </a:lnSpc>
              <a:spcBef>
                <a:spcPts val="500"/>
              </a:spcBef>
              <a:buClr>
                <a:srgbClr val="F15A24"/>
              </a:buClr>
              <a:buFont typeface="Arial" panose="020B0604020202020204" pitchFamily="34" charset="0"/>
              <a:buChar char="•"/>
              <a:defRPr sz="1800" kern="1200">
                <a:solidFill>
                  <a:schemeClr val="tx1">
                    <a:lumMod val="65000"/>
                    <a:lumOff val="3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LU" sz="4000" b="1">
                <a:solidFill>
                  <a:srgbClr val="F15A24"/>
                </a:solidFill>
                <a:ea typeface="Calibri"/>
                <a:cs typeface="Calibri"/>
              </a:rPr>
              <a:t>See you at ENDORSE 2025!</a:t>
            </a:r>
            <a:endParaRPr lang="en-US" sz="4000" b="1">
              <a:solidFill>
                <a:srgbClr val="F15A24"/>
              </a:solidFill>
              <a:ea typeface="Calibri"/>
              <a:cs typeface="Calibri"/>
            </a:endParaRPr>
          </a:p>
        </p:txBody>
      </p:sp>
      <p:sp>
        <p:nvSpPr>
          <p:cNvPr id="3" name="Content Placeholder 2">
            <a:extLst>
              <a:ext uri="{FF2B5EF4-FFF2-40B4-BE49-F238E27FC236}">
                <a16:creationId xmlns:a16="http://schemas.microsoft.com/office/drawing/2014/main" id="{354BFB39-FE0E-D9FC-D403-BF01F046885A}"/>
              </a:ext>
            </a:extLst>
          </p:cNvPr>
          <p:cNvSpPr>
            <a:spLocks noGrp="1"/>
          </p:cNvSpPr>
          <p:nvPr>
            <p:ph idx="1"/>
          </p:nvPr>
        </p:nvSpPr>
        <p:spPr>
          <a:xfrm>
            <a:off x="628650" y="831362"/>
            <a:ext cx="7886700" cy="380756"/>
          </a:xfrm>
          <a:solidFill>
            <a:schemeClr val="bg1"/>
          </a:solidFill>
        </p:spPr>
        <p:txBody>
          <a:bodyPr vert="horz" lIns="91440" tIns="45720" rIns="91440" bIns="45720" rtlCol="0" anchor="t">
            <a:normAutofit fontScale="92500" lnSpcReduction="20000"/>
          </a:bodyPr>
          <a:lstStyle/>
          <a:p>
            <a:pPr marL="0" indent="0">
              <a:buNone/>
            </a:pPr>
            <a:r>
              <a:rPr lang="en-LU">
                <a:ea typeface="Calibri"/>
                <a:cs typeface="Calibri"/>
              </a:rPr>
              <a:t>By external services – De-Bias detection of contentious terms</a:t>
            </a:r>
          </a:p>
        </p:txBody>
      </p:sp>
      <p:sp>
        <p:nvSpPr>
          <p:cNvPr id="2" name="Title 1">
            <a:extLst>
              <a:ext uri="{FF2B5EF4-FFF2-40B4-BE49-F238E27FC236}">
                <a16:creationId xmlns:a16="http://schemas.microsoft.com/office/drawing/2014/main" id="{FB37F9BD-A3F1-67D3-220E-851868726DF2}"/>
              </a:ext>
            </a:extLst>
          </p:cNvPr>
          <p:cNvSpPr>
            <a:spLocks noGrp="1"/>
          </p:cNvSpPr>
          <p:nvPr>
            <p:ph type="title"/>
          </p:nvPr>
        </p:nvSpPr>
        <p:spPr>
          <a:solidFill>
            <a:schemeClr val="bg1"/>
          </a:solidFill>
        </p:spPr>
        <p:txBody>
          <a:bodyPr/>
          <a:lstStyle/>
          <a:p>
            <a:r>
              <a:rPr lang="en-US">
                <a:ea typeface="Calibri"/>
                <a:cs typeface="Calibri"/>
              </a:rPr>
              <a:t>Enrichment using Linked Data vocabularies</a:t>
            </a:r>
            <a:endParaRPr lang="en-US">
              <a:solidFill>
                <a:srgbClr val="000000"/>
              </a:solidFill>
              <a:ea typeface="Calibri"/>
              <a:cs typeface="Calibri"/>
            </a:endParaRPr>
          </a:p>
        </p:txBody>
      </p:sp>
      <p:sp>
        <p:nvSpPr>
          <p:cNvPr id="5" name="TextBox 4">
            <a:extLst>
              <a:ext uri="{FF2B5EF4-FFF2-40B4-BE49-F238E27FC236}">
                <a16:creationId xmlns:a16="http://schemas.microsoft.com/office/drawing/2014/main" id="{65E6A327-6149-B8CD-F0BF-90D531EA78C0}"/>
              </a:ext>
            </a:extLst>
          </p:cNvPr>
          <p:cNvSpPr txBox="1"/>
          <p:nvPr/>
        </p:nvSpPr>
        <p:spPr>
          <a:xfrm>
            <a:off x="246184" y="4717073"/>
            <a:ext cx="4756638" cy="369332"/>
          </a:xfrm>
          <a:prstGeom prst="rect">
            <a:avLst/>
          </a:prstGeom>
          <a:solidFill>
            <a:schemeClr val="bg1"/>
          </a:solid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a:hlinkClick r:id="rId4"/>
              </a:rPr>
              <a:t>https://pro.europeana.eu/page/the-de-bias-tool</a:t>
            </a:r>
            <a:r>
              <a:rPr lang="en-US"/>
              <a:t> </a:t>
            </a:r>
          </a:p>
        </p:txBody>
      </p:sp>
    </p:spTree>
    <p:extLst>
      <p:ext uri="{BB962C8B-B14F-4D97-AF65-F5344CB8AC3E}">
        <p14:creationId xmlns:p14="http://schemas.microsoft.com/office/powerpoint/2010/main" val="74033647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C9C41B-A5CA-A012-1EAF-A4B53DC1B381}"/>
              </a:ext>
            </a:extLst>
          </p:cNvPr>
          <p:cNvSpPr>
            <a:spLocks noGrp="1"/>
          </p:cNvSpPr>
          <p:nvPr>
            <p:ph type="ctrTitle"/>
          </p:nvPr>
        </p:nvSpPr>
        <p:spPr/>
        <p:txBody>
          <a:bodyPr/>
          <a:lstStyle/>
          <a:p>
            <a:r>
              <a:rPr lang="en-IE"/>
              <a:t>Questions &amp; Discussion</a:t>
            </a:r>
            <a:endParaRPr lang="en-LU"/>
          </a:p>
        </p:txBody>
      </p:sp>
      <p:sp>
        <p:nvSpPr>
          <p:cNvPr id="4" name="Text Placeholder 3">
            <a:extLst>
              <a:ext uri="{FF2B5EF4-FFF2-40B4-BE49-F238E27FC236}">
                <a16:creationId xmlns:a16="http://schemas.microsoft.com/office/drawing/2014/main" id="{AD34D0B7-9977-65B8-C2A6-657840EBF59C}"/>
              </a:ext>
            </a:extLst>
          </p:cNvPr>
          <p:cNvSpPr>
            <a:spLocks noGrp="1"/>
          </p:cNvSpPr>
          <p:nvPr>
            <p:ph type="body" sz="quarter" idx="13"/>
          </p:nvPr>
        </p:nvSpPr>
        <p:spPr/>
        <p:txBody>
          <a:bodyPr/>
          <a:lstStyle/>
          <a:p>
            <a:endParaRPr lang="en-LU"/>
          </a:p>
        </p:txBody>
      </p:sp>
      <p:sp>
        <p:nvSpPr>
          <p:cNvPr id="6" name="Subtitle 5">
            <a:extLst>
              <a:ext uri="{FF2B5EF4-FFF2-40B4-BE49-F238E27FC236}">
                <a16:creationId xmlns:a16="http://schemas.microsoft.com/office/drawing/2014/main" id="{7AEFE786-8738-6530-9BC9-16A563920BA0}"/>
              </a:ext>
            </a:extLst>
          </p:cNvPr>
          <p:cNvSpPr>
            <a:spLocks noGrp="1"/>
          </p:cNvSpPr>
          <p:nvPr>
            <p:ph type="subTitle" idx="1"/>
          </p:nvPr>
        </p:nvSpPr>
        <p:spPr/>
        <p:txBody>
          <a:bodyPr/>
          <a:lstStyle/>
          <a:p>
            <a:endParaRPr lang="en-IE"/>
          </a:p>
        </p:txBody>
      </p:sp>
    </p:spTree>
    <p:extLst>
      <p:ext uri="{BB962C8B-B14F-4D97-AF65-F5344CB8AC3E}">
        <p14:creationId xmlns:p14="http://schemas.microsoft.com/office/powerpoint/2010/main" val="4286972896"/>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3F1EA3A-8807-0FA5-1132-CF598B631238}"/>
              </a:ext>
            </a:extLst>
          </p:cNvPr>
          <p:cNvSpPr>
            <a:spLocks noGrp="1"/>
          </p:cNvSpPr>
          <p:nvPr>
            <p:ph type="title"/>
          </p:nvPr>
        </p:nvSpPr>
        <p:spPr/>
        <p:txBody>
          <a:bodyPr/>
          <a:lstStyle/>
          <a:p>
            <a:endParaRPr lang="en-LU"/>
          </a:p>
        </p:txBody>
      </p:sp>
      <p:sp>
        <p:nvSpPr>
          <p:cNvPr id="3" name="Text Placeholder 2">
            <a:extLst>
              <a:ext uri="{FF2B5EF4-FFF2-40B4-BE49-F238E27FC236}">
                <a16:creationId xmlns:a16="http://schemas.microsoft.com/office/drawing/2014/main" id="{155400E6-697D-6858-5DE3-DCE23506DD52}"/>
              </a:ext>
            </a:extLst>
          </p:cNvPr>
          <p:cNvSpPr>
            <a:spLocks noGrp="1"/>
          </p:cNvSpPr>
          <p:nvPr>
            <p:ph type="body" sz="quarter" idx="10"/>
          </p:nvPr>
        </p:nvSpPr>
        <p:spPr/>
        <p:txBody>
          <a:bodyPr/>
          <a:lstStyle/>
          <a:p>
            <a:endParaRPr lang="en-LU"/>
          </a:p>
        </p:txBody>
      </p:sp>
    </p:spTree>
    <p:extLst>
      <p:ext uri="{BB962C8B-B14F-4D97-AF65-F5344CB8AC3E}">
        <p14:creationId xmlns:p14="http://schemas.microsoft.com/office/powerpoint/2010/main" val="187039754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Rounded Rectangle 25"/>
          <p:cNvSpPr/>
          <p:nvPr/>
        </p:nvSpPr>
        <p:spPr>
          <a:xfrm>
            <a:off x="35089" y="526777"/>
            <a:ext cx="8994204" cy="4521675"/>
          </a:xfrm>
          <a:prstGeom prst="roundRect">
            <a:avLst>
              <a:gd name="adj" fmla="val 4358"/>
            </a:avLst>
          </a:prstGeom>
          <a:solidFill>
            <a:schemeClr val="bg2">
              <a:lumMod val="90000"/>
            </a:schemeClr>
          </a:solidFill>
          <a:ln w="28575">
            <a:solidFill>
              <a:srgbClr val="4472C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350">
              <a:solidFill>
                <a:prstClr val="white"/>
              </a:solidFill>
              <a:latin typeface="Calibri" panose="020F0502020204030204"/>
              <a:sym typeface="Arial"/>
            </a:endParaRPr>
          </a:p>
        </p:txBody>
      </p:sp>
      <p:sp>
        <p:nvSpPr>
          <p:cNvPr id="15" name="Rounded Rectangle 65">
            <a:extLst>
              <a:ext uri="{FF2B5EF4-FFF2-40B4-BE49-F238E27FC236}">
                <a16:creationId xmlns:a16="http://schemas.microsoft.com/office/drawing/2014/main" id="{230413CF-C2BC-B6DE-31FC-E5EEC38032EC}"/>
              </a:ext>
            </a:extLst>
          </p:cNvPr>
          <p:cNvSpPr/>
          <p:nvPr/>
        </p:nvSpPr>
        <p:spPr>
          <a:xfrm flipH="1">
            <a:off x="114298" y="686677"/>
            <a:ext cx="8835785" cy="659982"/>
          </a:xfrm>
          <a:prstGeom prst="roundRect">
            <a:avLst>
              <a:gd name="adj" fmla="val 6697"/>
            </a:avLst>
          </a:prstGeom>
          <a:ln/>
        </p:spPr>
        <p:style>
          <a:lnRef idx="0">
            <a:schemeClr val="accent4"/>
          </a:lnRef>
          <a:fillRef idx="3">
            <a:schemeClr val="accent4"/>
          </a:fillRef>
          <a:effectRef idx="3">
            <a:schemeClr val="accent4"/>
          </a:effectRef>
          <a:fontRef idx="minor">
            <a:schemeClr val="lt1"/>
          </a:fontRef>
        </p:style>
        <p:txBody>
          <a:bodyPr vert="horz" lIns="27000" tIns="27000" rIns="27000" bIns="81000" rtlCol="0" anchor="t" anchorCtr="0"/>
          <a:lstStyle/>
          <a:p>
            <a:pPr algn="ctr" defTabSz="685800">
              <a:defRPr/>
            </a:pPr>
            <a:r>
              <a:rPr lang="en-IE" sz="1350" b="1" kern="0">
                <a:solidFill>
                  <a:srgbClr val="FFFFFF"/>
                </a:solidFill>
                <a:latin typeface="Arial"/>
                <a:sym typeface="Arial"/>
              </a:rPr>
              <a:t>Data legislation</a:t>
            </a:r>
            <a:endParaRPr lang="fr-BE" sz="1350" b="1" kern="0">
              <a:solidFill>
                <a:srgbClr val="FFFFFF"/>
              </a:solidFill>
              <a:latin typeface="Arial"/>
              <a:sym typeface="Arial"/>
            </a:endParaRPr>
          </a:p>
        </p:txBody>
      </p:sp>
      <p:sp>
        <p:nvSpPr>
          <p:cNvPr id="66" name="Rounded Rectangle 65"/>
          <p:cNvSpPr/>
          <p:nvPr/>
        </p:nvSpPr>
        <p:spPr>
          <a:xfrm flipH="1">
            <a:off x="114298" y="3777666"/>
            <a:ext cx="8835785" cy="1094707"/>
          </a:xfrm>
          <a:prstGeom prst="roundRect">
            <a:avLst>
              <a:gd name="adj" fmla="val 6697"/>
            </a:avLst>
          </a:prstGeom>
          <a:ln/>
        </p:spPr>
        <p:style>
          <a:lnRef idx="0">
            <a:schemeClr val="accent2"/>
          </a:lnRef>
          <a:fillRef idx="3">
            <a:schemeClr val="accent2"/>
          </a:fillRef>
          <a:effectRef idx="3">
            <a:schemeClr val="accent2"/>
          </a:effectRef>
          <a:fontRef idx="minor">
            <a:schemeClr val="lt1"/>
          </a:fontRef>
        </p:style>
        <p:txBody>
          <a:bodyPr vert="horz" lIns="27000" tIns="81000" rIns="27000" bIns="81000" rtlCol="0" anchor="t" anchorCtr="0"/>
          <a:lstStyle/>
          <a:p>
            <a:pPr algn="ctr" defTabSz="685800">
              <a:defRPr/>
            </a:pPr>
            <a:r>
              <a:rPr lang="en-GB" sz="1350" b="1" kern="0">
                <a:solidFill>
                  <a:srgbClr val="FFFFFF"/>
                </a:solidFill>
                <a:latin typeface="Arial"/>
                <a:sym typeface="Arial"/>
              </a:rPr>
              <a:t>Technical</a:t>
            </a:r>
            <a:r>
              <a:rPr lang="fr-BE" sz="1350" b="1" kern="0">
                <a:solidFill>
                  <a:srgbClr val="FFFFFF"/>
                </a:solidFill>
                <a:latin typeface="Arial"/>
                <a:sym typeface="Arial"/>
              </a:rPr>
              <a:t> infrastructure</a:t>
            </a:r>
          </a:p>
        </p:txBody>
      </p:sp>
      <p:sp>
        <p:nvSpPr>
          <p:cNvPr id="56" name="Rounded Rectangle 55"/>
          <p:cNvSpPr/>
          <p:nvPr/>
        </p:nvSpPr>
        <p:spPr>
          <a:xfrm>
            <a:off x="114298" y="1427430"/>
            <a:ext cx="8145884" cy="1593335"/>
          </a:xfrm>
          <a:prstGeom prst="roundRect">
            <a:avLst>
              <a:gd name="adj" fmla="val 4754"/>
            </a:avLst>
          </a:prstGeom>
          <a:ln/>
        </p:spPr>
        <p:style>
          <a:lnRef idx="0">
            <a:schemeClr val="accent5"/>
          </a:lnRef>
          <a:fillRef idx="3">
            <a:schemeClr val="accent5"/>
          </a:fillRef>
          <a:effectRef idx="3">
            <a:schemeClr val="accent5"/>
          </a:effectRef>
          <a:fontRef idx="minor">
            <a:schemeClr val="lt1"/>
          </a:fontRef>
        </p:style>
        <p:txBody>
          <a:bodyPr rtlCol="0" anchor="t"/>
          <a:lstStyle/>
          <a:p>
            <a:pPr algn="ctr" defTabSz="685800">
              <a:defRPr/>
            </a:pPr>
            <a:r>
              <a:rPr lang="en-US" sz="1350" b="1">
                <a:solidFill>
                  <a:srgbClr val="FFFFFF"/>
                </a:solidFill>
                <a:latin typeface="Arial"/>
                <a:cs typeface="Calibri" panose="020F0502020204030204" pitchFamily="34" charset="0"/>
                <a:sym typeface="Arial"/>
              </a:rPr>
              <a:t>Common European Data Spaces</a:t>
            </a:r>
          </a:p>
        </p:txBody>
      </p:sp>
      <p:sp>
        <p:nvSpPr>
          <p:cNvPr id="45" name="Freeform 44"/>
          <p:cNvSpPr/>
          <p:nvPr/>
        </p:nvSpPr>
        <p:spPr>
          <a:xfrm>
            <a:off x="4300188" y="1757464"/>
            <a:ext cx="513000" cy="1161000"/>
          </a:xfrm>
          <a:prstGeom prst="round2SameRect">
            <a:avLst/>
          </a:prstGeom>
          <a:ln w="19050">
            <a:solidFill>
              <a:schemeClr val="accent2"/>
            </a:solidFill>
          </a:ln>
        </p:spPr>
        <p:style>
          <a:lnRef idx="2">
            <a:schemeClr val="accent1"/>
          </a:lnRef>
          <a:fillRef idx="1">
            <a:schemeClr val="lt1"/>
          </a:fillRef>
          <a:effectRef idx="0">
            <a:schemeClr val="accent1"/>
          </a:effectRef>
          <a:fontRef idx="minor">
            <a:schemeClr val="dk1"/>
          </a:fontRef>
        </p:style>
        <p:txBody>
          <a:bodyPr spcFirstLastPara="0" vert="horz" wrap="square" lIns="0" tIns="34290" rIns="0" bIns="351000" numCol="1" spcCol="1270" anchor="b" anchorCtr="0">
            <a:noAutofit/>
          </a:bodyPr>
          <a:lstStyle/>
          <a:p>
            <a:pPr algn="ctr" defTabSz="400050">
              <a:lnSpc>
                <a:spcPct val="90000"/>
              </a:lnSpc>
              <a:spcAft>
                <a:spcPct val="35000"/>
              </a:spcAft>
              <a:defRPr/>
            </a:pPr>
            <a:r>
              <a:rPr lang="en-US" sz="900">
                <a:solidFill>
                  <a:prstClr val="black">
                    <a:hueOff val="0"/>
                    <a:satOff val="0"/>
                    <a:lumOff val="0"/>
                    <a:alphaOff val="0"/>
                  </a:prstClr>
                </a:solidFill>
                <a:latin typeface="Calibri" panose="020F0502020204030204" pitchFamily="34" charset="0"/>
                <a:cs typeface="Calibri" panose="020F0502020204030204" pitchFamily="34" charset="0"/>
                <a:sym typeface="Arial"/>
              </a:rPr>
              <a:t>Public </a:t>
            </a:r>
          </a:p>
          <a:p>
            <a:pPr algn="ctr" defTabSz="400050">
              <a:lnSpc>
                <a:spcPct val="90000"/>
              </a:lnSpc>
              <a:spcAft>
                <a:spcPct val="35000"/>
              </a:spcAft>
              <a:defRPr/>
            </a:pPr>
            <a:r>
              <a:rPr lang="en-US" sz="900">
                <a:solidFill>
                  <a:prstClr val="black">
                    <a:hueOff val="0"/>
                    <a:satOff val="0"/>
                    <a:lumOff val="0"/>
                    <a:alphaOff val="0"/>
                  </a:prstClr>
                </a:solidFill>
                <a:latin typeface="Calibri" panose="020F0502020204030204" pitchFamily="34" charset="0"/>
                <a:cs typeface="Calibri" panose="020F0502020204030204" pitchFamily="34" charset="0"/>
                <a:sym typeface="Arial"/>
              </a:rPr>
              <a:t>Admin.</a:t>
            </a:r>
          </a:p>
        </p:txBody>
      </p:sp>
      <p:sp>
        <p:nvSpPr>
          <p:cNvPr id="42" name="Freeform 41"/>
          <p:cNvSpPr/>
          <p:nvPr/>
        </p:nvSpPr>
        <p:spPr>
          <a:xfrm>
            <a:off x="3170612" y="1757464"/>
            <a:ext cx="513000" cy="1161000"/>
          </a:xfrm>
          <a:prstGeom prst="round2SameRect">
            <a:avLst/>
          </a:prstGeom>
          <a:ln w="19050">
            <a:solidFill>
              <a:schemeClr val="accent2"/>
            </a:solidFill>
          </a:ln>
        </p:spPr>
        <p:style>
          <a:lnRef idx="2">
            <a:schemeClr val="accent1"/>
          </a:lnRef>
          <a:fillRef idx="1">
            <a:schemeClr val="lt1"/>
          </a:fillRef>
          <a:effectRef idx="0">
            <a:schemeClr val="accent1"/>
          </a:effectRef>
          <a:fontRef idx="minor">
            <a:schemeClr val="dk1"/>
          </a:fontRef>
        </p:style>
        <p:txBody>
          <a:bodyPr spcFirstLastPara="0" vert="horz" wrap="square" lIns="0" tIns="34290" rIns="0" bIns="351000" numCol="1" spcCol="1270" anchor="b" anchorCtr="0">
            <a:noAutofit/>
          </a:bodyPr>
          <a:lstStyle/>
          <a:p>
            <a:pPr algn="ctr" defTabSz="400050">
              <a:lnSpc>
                <a:spcPct val="90000"/>
              </a:lnSpc>
              <a:spcAft>
                <a:spcPct val="35000"/>
              </a:spcAft>
              <a:defRPr/>
            </a:pPr>
            <a:r>
              <a:rPr lang="en-US" sz="900">
                <a:solidFill>
                  <a:prstClr val="black">
                    <a:hueOff val="0"/>
                    <a:satOff val="0"/>
                    <a:lumOff val="0"/>
                    <a:alphaOff val="0"/>
                  </a:prstClr>
                </a:solidFill>
                <a:latin typeface="Calibri" panose="020F0502020204030204" pitchFamily="34" charset="0"/>
                <a:cs typeface="Calibri" panose="020F0502020204030204" pitchFamily="34" charset="0"/>
                <a:sym typeface="Arial"/>
              </a:rPr>
              <a:t>Green Deal </a:t>
            </a:r>
          </a:p>
        </p:txBody>
      </p:sp>
      <p:sp>
        <p:nvSpPr>
          <p:cNvPr id="44" name="Title 1"/>
          <p:cNvSpPr>
            <a:spLocks noGrp="1"/>
          </p:cNvSpPr>
          <p:nvPr>
            <p:ph type="title" idx="4294967295"/>
          </p:nvPr>
        </p:nvSpPr>
        <p:spPr>
          <a:xfrm>
            <a:off x="114298" y="146241"/>
            <a:ext cx="8937983" cy="367903"/>
          </a:xfrm>
        </p:spPr>
        <p:txBody>
          <a:bodyPr>
            <a:noAutofit/>
          </a:bodyPr>
          <a:lstStyle/>
          <a:p>
            <a:pPr algn="ctr"/>
            <a:r>
              <a:rPr lang="en-GB" noProof="1">
                <a:cs typeface="Arial" panose="020B0604020202020204" pitchFamily="34" charset="0"/>
              </a:rPr>
              <a:t>European Single Market for Data</a:t>
            </a:r>
          </a:p>
        </p:txBody>
      </p:sp>
      <p:pic>
        <p:nvPicPr>
          <p:cNvPr id="47" name="Picture 4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233981" y="1807613"/>
            <a:ext cx="378000" cy="411233"/>
          </a:xfrm>
          <a:prstGeom prst="rect">
            <a:avLst/>
          </a:prstGeom>
        </p:spPr>
      </p:pic>
      <p:sp>
        <p:nvSpPr>
          <p:cNvPr id="40" name="Freeform 39"/>
          <p:cNvSpPr/>
          <p:nvPr/>
        </p:nvSpPr>
        <p:spPr>
          <a:xfrm>
            <a:off x="2041035" y="1757464"/>
            <a:ext cx="513000" cy="1161000"/>
          </a:xfrm>
          <a:prstGeom prst="round2SameRect">
            <a:avLst/>
          </a:prstGeom>
          <a:ln w="19050"/>
        </p:spPr>
        <p:style>
          <a:lnRef idx="2">
            <a:schemeClr val="accent2"/>
          </a:lnRef>
          <a:fillRef idx="1">
            <a:schemeClr val="lt1"/>
          </a:fillRef>
          <a:effectRef idx="0">
            <a:schemeClr val="accent2"/>
          </a:effectRef>
          <a:fontRef idx="minor">
            <a:schemeClr val="dk1"/>
          </a:fontRef>
        </p:style>
        <p:txBody>
          <a:bodyPr spcFirstLastPara="0" vert="horz" wrap="square" lIns="0" tIns="34290" rIns="0" bIns="469799" numCol="1" spcCol="1270" anchor="b" anchorCtr="0">
            <a:noAutofit/>
          </a:bodyPr>
          <a:lstStyle/>
          <a:p>
            <a:pPr algn="ctr" defTabSz="400050">
              <a:lnSpc>
                <a:spcPct val="90000"/>
              </a:lnSpc>
              <a:spcAft>
                <a:spcPct val="35000"/>
              </a:spcAft>
              <a:defRPr/>
            </a:pPr>
            <a:r>
              <a:rPr lang="en-US" sz="900">
                <a:solidFill>
                  <a:prstClr val="black">
                    <a:hueOff val="0"/>
                    <a:satOff val="0"/>
                    <a:lumOff val="0"/>
                    <a:alphaOff val="0"/>
                  </a:prstClr>
                </a:solidFill>
                <a:latin typeface="Calibri" panose="020F0502020204030204" pitchFamily="34" charset="0"/>
                <a:cs typeface="Calibri" panose="020F0502020204030204" pitchFamily="34" charset="0"/>
                <a:sym typeface="Arial"/>
              </a:rPr>
              <a:t>Finance</a:t>
            </a:r>
          </a:p>
        </p:txBody>
      </p:sp>
      <p:sp>
        <p:nvSpPr>
          <p:cNvPr id="46" name="Freeform 45"/>
          <p:cNvSpPr/>
          <p:nvPr/>
        </p:nvSpPr>
        <p:spPr>
          <a:xfrm>
            <a:off x="4864976" y="1757464"/>
            <a:ext cx="513000" cy="1161000"/>
          </a:xfrm>
          <a:prstGeom prst="round2SameRect">
            <a:avLst/>
          </a:prstGeom>
          <a:ln w="19050">
            <a:solidFill>
              <a:schemeClr val="accent2"/>
            </a:solidFill>
          </a:ln>
        </p:spPr>
        <p:style>
          <a:lnRef idx="2">
            <a:schemeClr val="accent1"/>
          </a:lnRef>
          <a:fillRef idx="1">
            <a:schemeClr val="lt1"/>
          </a:fillRef>
          <a:effectRef idx="0">
            <a:schemeClr val="accent1"/>
          </a:effectRef>
          <a:fontRef idx="minor">
            <a:schemeClr val="dk1"/>
          </a:fontRef>
        </p:style>
        <p:txBody>
          <a:bodyPr spcFirstLastPara="0" vert="horz" wrap="square" lIns="0" tIns="34290" rIns="0" bIns="469799" numCol="1" spcCol="1270" anchor="b" anchorCtr="0">
            <a:noAutofit/>
          </a:bodyPr>
          <a:lstStyle/>
          <a:p>
            <a:pPr algn="ctr" defTabSz="400050">
              <a:lnSpc>
                <a:spcPct val="90000"/>
              </a:lnSpc>
              <a:spcAft>
                <a:spcPct val="35000"/>
              </a:spcAft>
              <a:defRPr/>
            </a:pPr>
            <a:r>
              <a:rPr lang="en-US" sz="900">
                <a:solidFill>
                  <a:prstClr val="black">
                    <a:hueOff val="0"/>
                    <a:satOff val="0"/>
                    <a:lumOff val="0"/>
                    <a:alphaOff val="0"/>
                  </a:prstClr>
                </a:solidFill>
                <a:latin typeface="Calibri" panose="020F0502020204030204" pitchFamily="34" charset="0"/>
                <a:cs typeface="Calibri" panose="020F0502020204030204" pitchFamily="34" charset="0"/>
                <a:sym typeface="Arial"/>
              </a:rPr>
              <a:t>Skills</a:t>
            </a:r>
          </a:p>
        </p:txBody>
      </p:sp>
      <p:pic>
        <p:nvPicPr>
          <p:cNvPr id="48" name="Picture 4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384954" y="1811399"/>
            <a:ext cx="378000" cy="403662"/>
          </a:xfrm>
          <a:prstGeom prst="rect">
            <a:avLst/>
          </a:prstGeom>
        </p:spPr>
      </p:pic>
      <p:pic>
        <p:nvPicPr>
          <p:cNvPr id="49" name="Picture 4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118405" y="1802600"/>
            <a:ext cx="378000" cy="421260"/>
          </a:xfrm>
          <a:prstGeom prst="rect">
            <a:avLst/>
          </a:prstGeom>
        </p:spPr>
      </p:pic>
      <p:sp>
        <p:nvSpPr>
          <p:cNvPr id="43" name="Freeform 42"/>
          <p:cNvSpPr/>
          <p:nvPr/>
        </p:nvSpPr>
        <p:spPr>
          <a:xfrm>
            <a:off x="3735400" y="1757464"/>
            <a:ext cx="513000" cy="1161000"/>
          </a:xfrm>
          <a:prstGeom prst="round2SameRect">
            <a:avLst/>
          </a:prstGeom>
          <a:ln w="19050"/>
        </p:spPr>
        <p:style>
          <a:lnRef idx="2">
            <a:schemeClr val="accent2"/>
          </a:lnRef>
          <a:fillRef idx="1">
            <a:schemeClr val="lt1"/>
          </a:fillRef>
          <a:effectRef idx="0">
            <a:schemeClr val="accent2"/>
          </a:effectRef>
          <a:fontRef idx="minor">
            <a:schemeClr val="dk1"/>
          </a:fontRef>
        </p:style>
        <p:txBody>
          <a:bodyPr spcFirstLastPara="0" vert="horz" wrap="square" lIns="0" tIns="34290" rIns="0" bIns="469799" numCol="1" spcCol="1270" anchor="b" anchorCtr="0">
            <a:noAutofit/>
          </a:bodyPr>
          <a:lstStyle/>
          <a:p>
            <a:pPr algn="ctr" defTabSz="400050">
              <a:lnSpc>
                <a:spcPct val="90000"/>
              </a:lnSpc>
              <a:spcAft>
                <a:spcPct val="35000"/>
              </a:spcAft>
              <a:defRPr/>
            </a:pPr>
            <a:r>
              <a:rPr lang="en-US" sz="900">
                <a:solidFill>
                  <a:prstClr val="black">
                    <a:hueOff val="0"/>
                    <a:satOff val="0"/>
                    <a:lumOff val="0"/>
                    <a:alphaOff val="0"/>
                  </a:prstClr>
                </a:solidFill>
                <a:latin typeface="Calibri" panose="020F0502020204030204" pitchFamily="34" charset="0"/>
                <a:cs typeface="Calibri" panose="020F0502020204030204" pitchFamily="34" charset="0"/>
                <a:sym typeface="Arial"/>
              </a:rPr>
              <a:t>Energy</a:t>
            </a:r>
          </a:p>
        </p:txBody>
      </p:sp>
      <p:pic>
        <p:nvPicPr>
          <p:cNvPr id="50" name="Picture 49"/>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937345" y="1808107"/>
            <a:ext cx="378000" cy="410246"/>
          </a:xfrm>
          <a:prstGeom prst="rect">
            <a:avLst/>
          </a:prstGeom>
        </p:spPr>
      </p:pic>
      <p:sp>
        <p:nvSpPr>
          <p:cNvPr id="39" name="Freeform 38"/>
          <p:cNvSpPr/>
          <p:nvPr/>
        </p:nvSpPr>
        <p:spPr>
          <a:xfrm>
            <a:off x="1395247" y="1757464"/>
            <a:ext cx="594000" cy="1161000"/>
          </a:xfrm>
          <a:prstGeom prst="round2SameRect">
            <a:avLst/>
          </a:prstGeom>
          <a:ln w="19050"/>
        </p:spPr>
        <p:style>
          <a:lnRef idx="2">
            <a:schemeClr val="accent2"/>
          </a:lnRef>
          <a:fillRef idx="1">
            <a:schemeClr val="lt1"/>
          </a:fillRef>
          <a:effectRef idx="0">
            <a:schemeClr val="accent2"/>
          </a:effectRef>
          <a:fontRef idx="minor">
            <a:schemeClr val="dk1"/>
          </a:fontRef>
        </p:style>
        <p:txBody>
          <a:bodyPr spcFirstLastPara="0" vert="horz" wrap="square" lIns="0" tIns="34290" rIns="0" bIns="469799" numCol="1" spcCol="1270" anchor="b" anchorCtr="0">
            <a:noAutofit/>
          </a:bodyPr>
          <a:lstStyle/>
          <a:p>
            <a:pPr algn="ctr" defTabSz="400050">
              <a:lnSpc>
                <a:spcPct val="90000"/>
              </a:lnSpc>
              <a:spcAft>
                <a:spcPct val="35000"/>
              </a:spcAft>
              <a:defRPr/>
            </a:pPr>
            <a:r>
              <a:rPr lang="en-US" sz="900">
                <a:solidFill>
                  <a:prstClr val="black">
                    <a:hueOff val="0"/>
                    <a:satOff val="0"/>
                    <a:lumOff val="0"/>
                    <a:alphaOff val="0"/>
                  </a:prstClr>
                </a:solidFill>
                <a:latin typeface="Calibri" panose="020F0502020204030204" pitchFamily="34" charset="0"/>
                <a:cs typeface="Calibri" panose="020F0502020204030204" pitchFamily="34" charset="0"/>
                <a:sym typeface="Arial"/>
              </a:rPr>
              <a:t>Agriculture</a:t>
            </a:r>
          </a:p>
        </p:txBody>
      </p:sp>
      <p:pic>
        <p:nvPicPr>
          <p:cNvPr id="51" name="Picture 50"/>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3828071" y="1831280"/>
            <a:ext cx="378000" cy="363899"/>
          </a:xfrm>
          <a:prstGeom prst="rect">
            <a:avLst/>
          </a:prstGeom>
        </p:spPr>
      </p:pic>
      <p:sp>
        <p:nvSpPr>
          <p:cNvPr id="41" name="Freeform 40"/>
          <p:cNvSpPr/>
          <p:nvPr/>
        </p:nvSpPr>
        <p:spPr>
          <a:xfrm>
            <a:off x="2605823" y="1757464"/>
            <a:ext cx="513000" cy="1161000"/>
          </a:xfrm>
          <a:prstGeom prst="round2SameRect">
            <a:avLst/>
          </a:prstGeom>
          <a:ln w="19050"/>
        </p:spPr>
        <p:style>
          <a:lnRef idx="2">
            <a:schemeClr val="accent2"/>
          </a:lnRef>
          <a:fillRef idx="1">
            <a:schemeClr val="lt1"/>
          </a:fillRef>
          <a:effectRef idx="0">
            <a:schemeClr val="accent2"/>
          </a:effectRef>
          <a:fontRef idx="minor">
            <a:schemeClr val="dk1"/>
          </a:fontRef>
        </p:style>
        <p:txBody>
          <a:bodyPr spcFirstLastPara="0" vert="horz" wrap="square" lIns="0" tIns="34290" rIns="0" bIns="469799" numCol="1" spcCol="1270" anchor="b" anchorCtr="0">
            <a:noAutofit/>
          </a:bodyPr>
          <a:lstStyle/>
          <a:p>
            <a:pPr algn="ctr" defTabSz="400050">
              <a:lnSpc>
                <a:spcPct val="90000"/>
              </a:lnSpc>
              <a:spcAft>
                <a:spcPct val="35000"/>
              </a:spcAft>
              <a:defRPr/>
            </a:pPr>
            <a:r>
              <a:rPr lang="en-US" sz="900">
                <a:solidFill>
                  <a:prstClr val="black">
                    <a:hueOff val="0"/>
                    <a:satOff val="0"/>
                    <a:lumOff val="0"/>
                    <a:alphaOff val="0"/>
                  </a:prstClr>
                </a:solidFill>
                <a:latin typeface="Calibri" panose="020F0502020204030204" pitchFamily="34" charset="0"/>
                <a:cs typeface="Calibri" panose="020F0502020204030204" pitchFamily="34" charset="0"/>
                <a:sym typeface="Arial"/>
              </a:rPr>
              <a:t>Mobility</a:t>
            </a:r>
          </a:p>
        </p:txBody>
      </p:sp>
      <p:pic>
        <p:nvPicPr>
          <p:cNvPr id="52" name="Picture 51"/>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524480" y="1802615"/>
            <a:ext cx="339442" cy="421229"/>
          </a:xfrm>
          <a:prstGeom prst="rect">
            <a:avLst/>
          </a:prstGeom>
        </p:spPr>
      </p:pic>
      <p:sp>
        <p:nvSpPr>
          <p:cNvPr id="37" name="Freeform 36"/>
          <p:cNvSpPr/>
          <p:nvPr/>
        </p:nvSpPr>
        <p:spPr>
          <a:xfrm>
            <a:off x="184670" y="1757464"/>
            <a:ext cx="513000" cy="1161000"/>
          </a:xfrm>
          <a:prstGeom prst="round2SameRect">
            <a:avLst/>
          </a:prstGeom>
          <a:ln w="19050"/>
        </p:spPr>
        <p:style>
          <a:lnRef idx="2">
            <a:schemeClr val="accent2"/>
          </a:lnRef>
          <a:fillRef idx="1">
            <a:schemeClr val="lt1"/>
          </a:fillRef>
          <a:effectRef idx="0">
            <a:schemeClr val="accent2"/>
          </a:effectRef>
          <a:fontRef idx="minor">
            <a:schemeClr val="dk1"/>
          </a:fontRef>
        </p:style>
        <p:txBody>
          <a:bodyPr spcFirstLastPara="0" vert="horz" wrap="square" lIns="0" tIns="34290" rIns="0" bIns="479654" numCol="1" spcCol="1270" anchor="b" anchorCtr="0">
            <a:noAutofit/>
          </a:bodyPr>
          <a:lstStyle/>
          <a:p>
            <a:pPr algn="ctr" defTabSz="400050">
              <a:lnSpc>
                <a:spcPct val="90000"/>
              </a:lnSpc>
              <a:spcAft>
                <a:spcPct val="35000"/>
              </a:spcAft>
              <a:defRPr/>
            </a:pPr>
            <a:r>
              <a:rPr lang="en-US" sz="900">
                <a:solidFill>
                  <a:prstClr val="black">
                    <a:hueOff val="0"/>
                    <a:satOff val="0"/>
                    <a:lumOff val="0"/>
                    <a:alphaOff val="0"/>
                  </a:prstClr>
                </a:solidFill>
                <a:latin typeface="Calibri" panose="020F0502020204030204" pitchFamily="34" charset="0"/>
                <a:cs typeface="Calibri" panose="020F0502020204030204" pitchFamily="34" charset="0"/>
                <a:sym typeface="Arial"/>
              </a:rPr>
              <a:t>Health</a:t>
            </a:r>
          </a:p>
        </p:txBody>
      </p:sp>
      <p:pic>
        <p:nvPicPr>
          <p:cNvPr id="53" name="Picture 52"/>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2678192" y="1810496"/>
            <a:ext cx="378000" cy="405468"/>
          </a:xfrm>
          <a:prstGeom prst="rect">
            <a:avLst/>
          </a:prstGeom>
        </p:spPr>
      </p:pic>
      <p:sp>
        <p:nvSpPr>
          <p:cNvPr id="38" name="Freeform 37"/>
          <p:cNvSpPr/>
          <p:nvPr/>
        </p:nvSpPr>
        <p:spPr>
          <a:xfrm>
            <a:off x="749459" y="1757464"/>
            <a:ext cx="594000" cy="1161000"/>
          </a:xfrm>
          <a:prstGeom prst="round2SameRect">
            <a:avLst/>
          </a:prstGeom>
          <a:ln w="19050"/>
        </p:spPr>
        <p:style>
          <a:lnRef idx="2">
            <a:schemeClr val="accent2"/>
          </a:lnRef>
          <a:fillRef idx="1">
            <a:schemeClr val="lt1"/>
          </a:fillRef>
          <a:effectRef idx="0">
            <a:schemeClr val="accent2"/>
          </a:effectRef>
          <a:fontRef idx="minor">
            <a:schemeClr val="dk1"/>
          </a:fontRef>
        </p:style>
        <p:txBody>
          <a:bodyPr spcFirstLastPara="0" vert="horz" wrap="square" lIns="0" tIns="34290" rIns="0" bIns="243000" numCol="1" spcCol="1270" anchor="b" anchorCtr="0">
            <a:noAutofit/>
          </a:bodyPr>
          <a:lstStyle/>
          <a:p>
            <a:pPr algn="ctr" defTabSz="400050">
              <a:lnSpc>
                <a:spcPct val="90000"/>
              </a:lnSpc>
              <a:spcAft>
                <a:spcPct val="35000"/>
              </a:spcAft>
              <a:defRPr/>
            </a:pPr>
            <a:endParaRPr lang="en-US" sz="900">
              <a:solidFill>
                <a:prstClr val="black">
                  <a:hueOff val="0"/>
                  <a:satOff val="0"/>
                  <a:lumOff val="0"/>
                  <a:alphaOff val="0"/>
                </a:prstClr>
              </a:solidFill>
              <a:latin typeface="Calibri" panose="020F0502020204030204" pitchFamily="34" charset="0"/>
              <a:cs typeface="Calibri" panose="020F0502020204030204" pitchFamily="34" charset="0"/>
              <a:sym typeface="Arial"/>
            </a:endParaRPr>
          </a:p>
          <a:p>
            <a:pPr algn="ctr" defTabSz="400050">
              <a:lnSpc>
                <a:spcPct val="90000"/>
              </a:lnSpc>
              <a:spcAft>
                <a:spcPct val="35000"/>
              </a:spcAft>
              <a:defRPr/>
            </a:pPr>
            <a:endParaRPr lang="en-US" sz="900">
              <a:solidFill>
                <a:prstClr val="black">
                  <a:hueOff val="0"/>
                  <a:satOff val="0"/>
                  <a:lumOff val="0"/>
                  <a:alphaOff val="0"/>
                </a:prstClr>
              </a:solidFill>
              <a:latin typeface="Calibri" panose="020F0502020204030204" pitchFamily="34" charset="0"/>
              <a:cs typeface="Calibri" panose="020F0502020204030204" pitchFamily="34" charset="0"/>
              <a:sym typeface="Arial"/>
            </a:endParaRPr>
          </a:p>
          <a:p>
            <a:pPr algn="ctr" defTabSz="400050">
              <a:lnSpc>
                <a:spcPct val="90000"/>
              </a:lnSpc>
              <a:spcAft>
                <a:spcPct val="35000"/>
              </a:spcAft>
              <a:defRPr/>
            </a:pPr>
            <a:r>
              <a:rPr lang="en-US" sz="900">
                <a:solidFill>
                  <a:prstClr val="black">
                    <a:hueOff val="0"/>
                    <a:satOff val="0"/>
                    <a:lumOff val="0"/>
                    <a:alphaOff val="0"/>
                  </a:prstClr>
                </a:solidFill>
                <a:latin typeface="Calibri" panose="020F0502020204030204" pitchFamily="34" charset="0"/>
                <a:cs typeface="Calibri" panose="020F0502020204030204" pitchFamily="34" charset="0"/>
                <a:sym typeface="Arial"/>
              </a:rPr>
              <a:t>Industrial &amp; Manufact.</a:t>
            </a:r>
          </a:p>
        </p:txBody>
      </p:sp>
      <p:pic>
        <p:nvPicPr>
          <p:cNvPr id="54" name="Picture 53"/>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257858" y="1807613"/>
            <a:ext cx="378000" cy="445599"/>
          </a:xfrm>
          <a:prstGeom prst="rect">
            <a:avLst/>
          </a:prstGeom>
          <a:ln w="19050">
            <a:noFill/>
          </a:ln>
        </p:spPr>
      </p:pic>
      <p:pic>
        <p:nvPicPr>
          <p:cNvPr id="55" name="Picture 54"/>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847018" y="1797246"/>
            <a:ext cx="398882" cy="431967"/>
          </a:xfrm>
          <a:prstGeom prst="rect">
            <a:avLst/>
          </a:prstGeom>
        </p:spPr>
      </p:pic>
      <p:sp>
        <p:nvSpPr>
          <p:cNvPr id="57" name="Rounded Rectangle 56"/>
          <p:cNvSpPr/>
          <p:nvPr/>
        </p:nvSpPr>
        <p:spPr>
          <a:xfrm>
            <a:off x="4470094" y="3102529"/>
            <a:ext cx="3789701" cy="567000"/>
          </a:xfrm>
          <a:prstGeom prst="roundRect">
            <a:avLst/>
          </a:prstGeom>
          <a:ln/>
        </p:spPr>
        <p:style>
          <a:lnRef idx="0">
            <a:schemeClr val="accent1"/>
          </a:lnRef>
          <a:fillRef idx="3">
            <a:schemeClr val="accent1"/>
          </a:fillRef>
          <a:effectRef idx="3">
            <a:schemeClr val="accent1"/>
          </a:effectRef>
          <a:fontRef idx="minor">
            <a:schemeClr val="lt1"/>
          </a:fontRef>
        </p:style>
        <p:txBody>
          <a:bodyPr tIns="189000" bIns="27000" numCol="2" rtlCol="0" anchor="t" anchorCtr="0"/>
          <a:lstStyle/>
          <a:p>
            <a:pPr marL="214313" indent="-214313" defTabSz="342900">
              <a:buFont typeface="Arial" panose="020B0604020202020204" pitchFamily="34" charset="0"/>
              <a:buChar char="•"/>
              <a:defRPr/>
            </a:pPr>
            <a:r>
              <a:rPr lang="en-GB" sz="1050">
                <a:solidFill>
                  <a:srgbClr val="FFFFFF"/>
                </a:solidFill>
                <a:latin typeface="Calibri" panose="020F0502020204030204"/>
                <a:sym typeface="Arial"/>
              </a:rPr>
              <a:t>Development of blueprint, glossary, etc.</a:t>
            </a:r>
          </a:p>
          <a:p>
            <a:pPr marL="214313" indent="-214313" defTabSz="342900">
              <a:buFont typeface="Arial" panose="020B0604020202020204" pitchFamily="34" charset="0"/>
              <a:buChar char="•"/>
              <a:defRPr/>
            </a:pPr>
            <a:r>
              <a:rPr lang="en-GB" sz="1050">
                <a:solidFill>
                  <a:srgbClr val="FFFFFF"/>
                </a:solidFill>
                <a:latin typeface="Calibri" panose="020F0502020204030204"/>
                <a:sym typeface="Arial"/>
              </a:rPr>
              <a:t>Support of data space projects</a:t>
            </a:r>
          </a:p>
        </p:txBody>
      </p:sp>
      <p:sp>
        <p:nvSpPr>
          <p:cNvPr id="72" name="Rounded Rectangle 71"/>
          <p:cNvSpPr/>
          <p:nvPr/>
        </p:nvSpPr>
        <p:spPr>
          <a:xfrm>
            <a:off x="3779965" y="4130638"/>
            <a:ext cx="1377000" cy="648000"/>
          </a:xfrm>
          <a:prstGeom prst="roundRect">
            <a:avLst/>
          </a:prstGeom>
          <a:solidFill>
            <a:srgbClr val="FFFFFF"/>
          </a:solidFill>
          <a:ln w="12700" cap="flat" cmpd="sng" algn="ctr">
            <a:solidFill>
              <a:srgbClr val="1E858B">
                <a:shade val="50000"/>
              </a:srgbClr>
            </a:solidFill>
            <a:prstDash val="solid"/>
            <a:miter lim="800000"/>
          </a:ln>
          <a:effectLst/>
        </p:spPr>
        <p:txBody>
          <a:bodyPr vert="horz" lIns="27000" tIns="81000" rIns="27000" bIns="81000" rtlCol="0" anchor="ctr"/>
          <a:lstStyle/>
          <a:p>
            <a:pPr algn="ctr" defTabSz="685800">
              <a:defRPr/>
            </a:pPr>
            <a:r>
              <a:rPr lang="en-GB" sz="1050" kern="0">
                <a:solidFill>
                  <a:srgbClr val="034EA2"/>
                </a:solidFill>
                <a:latin typeface="Arial"/>
                <a:cs typeface="Arial"/>
                <a:sym typeface="Arial"/>
              </a:rPr>
              <a:t>Smart Middleware solutions</a:t>
            </a:r>
          </a:p>
          <a:p>
            <a:pPr algn="ctr" defTabSz="685800">
              <a:defRPr/>
            </a:pPr>
            <a:r>
              <a:rPr lang="en-GB" sz="1050" kern="0">
                <a:solidFill>
                  <a:srgbClr val="034EA2"/>
                </a:solidFill>
                <a:latin typeface="Arial"/>
                <a:cs typeface="Arial"/>
                <a:sym typeface="Arial"/>
              </a:rPr>
              <a:t>(</a:t>
            </a:r>
            <a:r>
              <a:rPr lang="en-GB" sz="1050" kern="0" err="1">
                <a:solidFill>
                  <a:srgbClr val="034EA2"/>
                </a:solidFill>
                <a:latin typeface="Arial"/>
                <a:cs typeface="Arial"/>
                <a:sym typeface="Arial"/>
              </a:rPr>
              <a:t>Simpl</a:t>
            </a:r>
            <a:r>
              <a:rPr lang="en-GB" sz="1050" kern="0">
                <a:solidFill>
                  <a:srgbClr val="034EA2"/>
                </a:solidFill>
                <a:latin typeface="Arial"/>
                <a:cs typeface="Arial"/>
                <a:sym typeface="Arial"/>
              </a:rPr>
              <a:t>)</a:t>
            </a:r>
          </a:p>
        </p:txBody>
      </p:sp>
      <p:sp>
        <p:nvSpPr>
          <p:cNvPr id="73" name="Rounded Rectangle 72"/>
          <p:cNvSpPr/>
          <p:nvPr/>
        </p:nvSpPr>
        <p:spPr>
          <a:xfrm>
            <a:off x="1975925" y="4130638"/>
            <a:ext cx="1377000" cy="648000"/>
          </a:xfrm>
          <a:prstGeom prst="roundRect">
            <a:avLst/>
          </a:prstGeom>
          <a:solidFill>
            <a:srgbClr val="FFFFFF"/>
          </a:solidFill>
          <a:ln w="12700" cap="flat" cmpd="sng" algn="ctr">
            <a:solidFill>
              <a:srgbClr val="1E858B">
                <a:shade val="50000"/>
              </a:srgbClr>
            </a:solidFill>
            <a:prstDash val="solid"/>
            <a:miter lim="800000"/>
          </a:ln>
          <a:effectLst/>
        </p:spPr>
        <p:txBody>
          <a:bodyPr vert="horz" lIns="27000" tIns="81000" rIns="27000" bIns="81000" rtlCol="0" anchor="ctr"/>
          <a:lstStyle/>
          <a:p>
            <a:pPr algn="ctr" defTabSz="685800">
              <a:defRPr/>
            </a:pPr>
            <a:r>
              <a:rPr lang="en-GB" sz="1050" kern="0">
                <a:solidFill>
                  <a:srgbClr val="034EA2"/>
                </a:solidFill>
                <a:latin typeface="Arial"/>
                <a:cs typeface="Arial"/>
                <a:sym typeface="Arial"/>
              </a:rPr>
              <a:t>Digital identity (</a:t>
            </a:r>
            <a:r>
              <a:rPr lang="en-GB" sz="1050" kern="0" err="1">
                <a:solidFill>
                  <a:srgbClr val="034EA2"/>
                </a:solidFill>
                <a:latin typeface="Arial"/>
                <a:cs typeface="Arial"/>
                <a:sym typeface="Arial"/>
              </a:rPr>
              <a:t>eIDAS</a:t>
            </a:r>
            <a:r>
              <a:rPr lang="en-GB" sz="1050" kern="0">
                <a:solidFill>
                  <a:srgbClr val="034EA2"/>
                </a:solidFill>
                <a:latin typeface="Arial"/>
                <a:cs typeface="Arial"/>
                <a:sym typeface="Arial"/>
              </a:rPr>
              <a:t>)</a:t>
            </a:r>
          </a:p>
        </p:txBody>
      </p:sp>
      <p:sp>
        <p:nvSpPr>
          <p:cNvPr id="74" name="Rounded Rectangle 73"/>
          <p:cNvSpPr/>
          <p:nvPr/>
        </p:nvSpPr>
        <p:spPr>
          <a:xfrm>
            <a:off x="5584004" y="4130638"/>
            <a:ext cx="1377000" cy="648000"/>
          </a:xfrm>
          <a:prstGeom prst="roundRect">
            <a:avLst/>
          </a:prstGeom>
          <a:solidFill>
            <a:srgbClr val="FFFFFF"/>
          </a:solidFill>
          <a:ln w="12700" cap="flat" cmpd="sng" algn="ctr">
            <a:solidFill>
              <a:srgbClr val="1E858B">
                <a:shade val="50000"/>
              </a:srgbClr>
            </a:solidFill>
            <a:prstDash val="solid"/>
            <a:miter lim="800000"/>
          </a:ln>
          <a:effectLst/>
        </p:spPr>
        <p:txBody>
          <a:bodyPr vert="horz" lIns="27000" tIns="81000" rIns="27000" bIns="81000" rtlCol="0" anchor="ctr"/>
          <a:lstStyle/>
          <a:p>
            <a:pPr algn="ctr" defTabSz="685800">
              <a:defRPr/>
            </a:pPr>
            <a:r>
              <a:rPr lang="en-GB" sz="1050" kern="0">
                <a:solidFill>
                  <a:srgbClr val="034EA2"/>
                </a:solidFill>
                <a:latin typeface="Arial"/>
                <a:cs typeface="Arial"/>
                <a:sym typeface="Arial"/>
              </a:rPr>
              <a:t>High-Performance Computing</a:t>
            </a:r>
          </a:p>
        </p:txBody>
      </p:sp>
      <p:sp>
        <p:nvSpPr>
          <p:cNvPr id="75" name="Rounded Rectangle 74"/>
          <p:cNvSpPr/>
          <p:nvPr/>
        </p:nvSpPr>
        <p:spPr>
          <a:xfrm>
            <a:off x="7388045" y="4130638"/>
            <a:ext cx="1377000" cy="648000"/>
          </a:xfrm>
          <a:prstGeom prst="roundRect">
            <a:avLst/>
          </a:prstGeom>
          <a:solidFill>
            <a:srgbClr val="FFFFFF"/>
          </a:solidFill>
          <a:ln w="12700" cap="flat" cmpd="sng" algn="ctr">
            <a:solidFill>
              <a:srgbClr val="1E858B">
                <a:shade val="50000"/>
              </a:srgbClr>
            </a:solidFill>
            <a:prstDash val="solid"/>
            <a:miter lim="800000"/>
          </a:ln>
          <a:effectLst/>
        </p:spPr>
        <p:txBody>
          <a:bodyPr vert="horz" lIns="27000" tIns="81000" rIns="27000" bIns="81000" rtlCol="0" anchor="ctr"/>
          <a:lstStyle/>
          <a:p>
            <a:pPr algn="ctr" defTabSz="685800">
              <a:defRPr/>
            </a:pPr>
            <a:r>
              <a:rPr lang="en-GB" sz="1050" kern="0">
                <a:solidFill>
                  <a:srgbClr val="034EA2"/>
                </a:solidFill>
                <a:latin typeface="Arial"/>
                <a:cs typeface="Arial"/>
                <a:sym typeface="Arial"/>
              </a:rPr>
              <a:t>Testing and Experimentation Facilities</a:t>
            </a:r>
          </a:p>
        </p:txBody>
      </p:sp>
      <p:sp>
        <p:nvSpPr>
          <p:cNvPr id="5" name="Rectangle 4"/>
          <p:cNvSpPr/>
          <p:nvPr/>
        </p:nvSpPr>
        <p:spPr>
          <a:xfrm>
            <a:off x="5138787" y="3076434"/>
            <a:ext cx="2521845" cy="300082"/>
          </a:xfrm>
          <a:prstGeom prst="rect">
            <a:avLst/>
          </a:prstGeom>
        </p:spPr>
        <p:txBody>
          <a:bodyPr wrap="none">
            <a:spAutoFit/>
          </a:bodyPr>
          <a:lstStyle/>
          <a:p>
            <a:pPr algn="ctr" defTabSz="685800">
              <a:defRPr/>
            </a:pPr>
            <a:r>
              <a:rPr lang="en-GB" sz="1350" b="1" kern="0">
                <a:solidFill>
                  <a:srgbClr val="FFFFFF"/>
                </a:solidFill>
                <a:latin typeface="Arial"/>
                <a:cs typeface="Arial"/>
                <a:sym typeface="Arial"/>
              </a:rPr>
              <a:t>Data Spaces Support Centre</a:t>
            </a:r>
            <a:endParaRPr lang="fr-BE" sz="1350" b="1" kern="0">
              <a:solidFill>
                <a:srgbClr val="FFFFFF"/>
              </a:solidFill>
              <a:latin typeface="Arial"/>
              <a:cs typeface="Arial"/>
              <a:sym typeface="Arial"/>
            </a:endParaRPr>
          </a:p>
        </p:txBody>
      </p:sp>
      <p:sp>
        <p:nvSpPr>
          <p:cNvPr id="64" name="Freeform 45">
            <a:extLst>
              <a:ext uri="{FF2B5EF4-FFF2-40B4-BE49-F238E27FC236}">
                <a16:creationId xmlns:a16="http://schemas.microsoft.com/office/drawing/2014/main" id="{3BD0DB30-3F71-47F1-9968-8E5A69CF9B30}"/>
              </a:ext>
            </a:extLst>
          </p:cNvPr>
          <p:cNvSpPr/>
          <p:nvPr/>
        </p:nvSpPr>
        <p:spPr>
          <a:xfrm>
            <a:off x="5429765" y="1757464"/>
            <a:ext cx="513000" cy="1161000"/>
          </a:xfrm>
          <a:prstGeom prst="round2SameRect">
            <a:avLst/>
          </a:prstGeom>
          <a:ln w="19050">
            <a:solidFill>
              <a:schemeClr val="accent2"/>
            </a:solidFill>
          </a:ln>
        </p:spPr>
        <p:style>
          <a:lnRef idx="2">
            <a:schemeClr val="accent1"/>
          </a:lnRef>
          <a:fillRef idx="1">
            <a:schemeClr val="lt1"/>
          </a:fillRef>
          <a:effectRef idx="0">
            <a:schemeClr val="accent1"/>
          </a:effectRef>
          <a:fontRef idx="minor">
            <a:schemeClr val="dk1"/>
          </a:fontRef>
        </p:style>
        <p:txBody>
          <a:bodyPr spcFirstLastPara="0" vert="horz" wrap="square" lIns="0" tIns="34290" rIns="0" bIns="469799" numCol="1" spcCol="1270" anchor="b" anchorCtr="0">
            <a:noAutofit/>
          </a:bodyPr>
          <a:lstStyle/>
          <a:p>
            <a:pPr algn="ctr" defTabSz="400050">
              <a:lnSpc>
                <a:spcPct val="90000"/>
              </a:lnSpc>
              <a:spcAft>
                <a:spcPct val="35000"/>
              </a:spcAft>
              <a:defRPr/>
            </a:pPr>
            <a:r>
              <a:rPr lang="en-US" sz="900">
                <a:solidFill>
                  <a:prstClr val="black">
                    <a:hueOff val="0"/>
                    <a:satOff val="0"/>
                    <a:lumOff val="0"/>
                    <a:alphaOff val="0"/>
                  </a:prstClr>
                </a:solidFill>
                <a:latin typeface="Calibri" panose="020F0502020204030204" pitchFamily="34" charset="0"/>
                <a:cs typeface="Calibri" panose="020F0502020204030204" pitchFamily="34" charset="0"/>
                <a:sym typeface="Arial"/>
              </a:rPr>
              <a:t>EOSC</a:t>
            </a:r>
          </a:p>
        </p:txBody>
      </p:sp>
      <p:sp>
        <p:nvSpPr>
          <p:cNvPr id="17" name="Freeform 45">
            <a:extLst>
              <a:ext uri="{FF2B5EF4-FFF2-40B4-BE49-F238E27FC236}">
                <a16:creationId xmlns:a16="http://schemas.microsoft.com/office/drawing/2014/main" id="{E6AF5BAF-7D59-FACC-4B0C-F2CC57A4B1A7}"/>
              </a:ext>
            </a:extLst>
          </p:cNvPr>
          <p:cNvSpPr/>
          <p:nvPr/>
        </p:nvSpPr>
        <p:spPr>
          <a:xfrm>
            <a:off x="5994553" y="1757464"/>
            <a:ext cx="513000" cy="1161000"/>
          </a:xfrm>
          <a:prstGeom prst="round2SameRect">
            <a:avLst/>
          </a:prstGeom>
          <a:ln w="19050">
            <a:solidFill>
              <a:schemeClr val="accent2"/>
            </a:solidFill>
          </a:ln>
        </p:spPr>
        <p:style>
          <a:lnRef idx="2">
            <a:schemeClr val="accent1"/>
          </a:lnRef>
          <a:fillRef idx="1">
            <a:schemeClr val="lt1"/>
          </a:fillRef>
          <a:effectRef idx="0">
            <a:schemeClr val="accent1"/>
          </a:effectRef>
          <a:fontRef idx="minor">
            <a:schemeClr val="dk1"/>
          </a:fontRef>
        </p:style>
        <p:txBody>
          <a:bodyPr spcFirstLastPara="0" vert="horz" wrap="square" lIns="0" tIns="34290" rIns="0" bIns="469799" numCol="1" spcCol="1270" anchor="b" anchorCtr="0">
            <a:noAutofit/>
          </a:bodyPr>
          <a:lstStyle/>
          <a:p>
            <a:pPr algn="ctr" defTabSz="400050">
              <a:lnSpc>
                <a:spcPct val="90000"/>
              </a:lnSpc>
              <a:spcAft>
                <a:spcPct val="35000"/>
              </a:spcAft>
              <a:defRPr/>
            </a:pPr>
            <a:r>
              <a:rPr lang="en-US" sz="900">
                <a:solidFill>
                  <a:prstClr val="black">
                    <a:hueOff val="0"/>
                    <a:satOff val="0"/>
                    <a:lumOff val="0"/>
                    <a:alphaOff val="0"/>
                  </a:prstClr>
                </a:solidFill>
                <a:latin typeface="Calibri" panose="020F0502020204030204" pitchFamily="34" charset="0"/>
                <a:cs typeface="Calibri" panose="020F0502020204030204" pitchFamily="34" charset="0"/>
                <a:sym typeface="Arial"/>
              </a:rPr>
              <a:t>Tourism</a:t>
            </a:r>
          </a:p>
        </p:txBody>
      </p:sp>
      <p:pic>
        <p:nvPicPr>
          <p:cNvPr id="67" name="Picture 66">
            <a:extLst>
              <a:ext uri="{FF2B5EF4-FFF2-40B4-BE49-F238E27FC236}">
                <a16:creationId xmlns:a16="http://schemas.microsoft.com/office/drawing/2014/main" id="{51BC622F-F2EC-4D36-8FE2-C06E90CFFA5B}"/>
              </a:ext>
            </a:extLst>
          </p:cNvPr>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5519897" y="1777625"/>
            <a:ext cx="378000" cy="471209"/>
          </a:xfrm>
          <a:prstGeom prst="rect">
            <a:avLst/>
          </a:prstGeom>
        </p:spPr>
      </p:pic>
      <p:sp>
        <p:nvSpPr>
          <p:cNvPr id="4" name="Freeform 45">
            <a:extLst>
              <a:ext uri="{FF2B5EF4-FFF2-40B4-BE49-F238E27FC236}">
                <a16:creationId xmlns:a16="http://schemas.microsoft.com/office/drawing/2014/main" id="{B62389CC-F3E0-CC9B-DD1F-5934F6C1F961}"/>
              </a:ext>
            </a:extLst>
          </p:cNvPr>
          <p:cNvSpPr/>
          <p:nvPr/>
        </p:nvSpPr>
        <p:spPr>
          <a:xfrm>
            <a:off x="6559341" y="1757464"/>
            <a:ext cx="513000" cy="1161000"/>
          </a:xfrm>
          <a:prstGeom prst="round2SameRect">
            <a:avLst/>
          </a:prstGeom>
          <a:ln w="19050">
            <a:solidFill>
              <a:schemeClr val="accent2"/>
            </a:solidFill>
          </a:ln>
        </p:spPr>
        <p:style>
          <a:lnRef idx="2">
            <a:schemeClr val="accent1"/>
          </a:lnRef>
          <a:fillRef idx="1">
            <a:schemeClr val="lt1"/>
          </a:fillRef>
          <a:effectRef idx="0">
            <a:schemeClr val="accent1"/>
          </a:effectRef>
          <a:fontRef idx="minor">
            <a:schemeClr val="dk1"/>
          </a:fontRef>
        </p:style>
        <p:txBody>
          <a:bodyPr spcFirstLastPara="0" vert="horz" wrap="square" lIns="0" tIns="34290" rIns="0" bIns="351000" numCol="1" spcCol="1270" anchor="b" anchorCtr="0">
            <a:noAutofit/>
          </a:bodyPr>
          <a:lstStyle/>
          <a:p>
            <a:pPr algn="ctr" defTabSz="400050">
              <a:lnSpc>
                <a:spcPct val="90000"/>
              </a:lnSpc>
              <a:spcAft>
                <a:spcPct val="35000"/>
              </a:spcAft>
              <a:defRPr/>
            </a:pPr>
            <a:endParaRPr lang="en-US" sz="900">
              <a:solidFill>
                <a:prstClr val="black">
                  <a:hueOff val="0"/>
                  <a:satOff val="0"/>
                  <a:lumOff val="0"/>
                  <a:alphaOff val="0"/>
                </a:prstClr>
              </a:solidFill>
              <a:latin typeface="Calibri" panose="020F0502020204030204" pitchFamily="34" charset="0"/>
              <a:cs typeface="Calibri" panose="020F0502020204030204" pitchFamily="34" charset="0"/>
              <a:sym typeface="Arial"/>
            </a:endParaRPr>
          </a:p>
          <a:p>
            <a:pPr algn="ctr" defTabSz="400050">
              <a:lnSpc>
                <a:spcPct val="90000"/>
              </a:lnSpc>
              <a:spcAft>
                <a:spcPct val="35000"/>
              </a:spcAft>
              <a:defRPr/>
            </a:pPr>
            <a:endParaRPr lang="en-US" sz="900">
              <a:solidFill>
                <a:prstClr val="black">
                  <a:hueOff val="0"/>
                  <a:satOff val="0"/>
                  <a:lumOff val="0"/>
                  <a:alphaOff val="0"/>
                </a:prstClr>
              </a:solidFill>
              <a:latin typeface="Calibri" panose="020F0502020204030204" pitchFamily="34" charset="0"/>
              <a:cs typeface="Calibri" panose="020F0502020204030204" pitchFamily="34" charset="0"/>
              <a:sym typeface="Arial"/>
            </a:endParaRPr>
          </a:p>
          <a:p>
            <a:pPr algn="ctr" defTabSz="400050">
              <a:lnSpc>
                <a:spcPct val="90000"/>
              </a:lnSpc>
              <a:spcAft>
                <a:spcPct val="35000"/>
              </a:spcAft>
              <a:defRPr/>
            </a:pPr>
            <a:endParaRPr lang="en-US" sz="900">
              <a:solidFill>
                <a:prstClr val="black">
                  <a:hueOff val="0"/>
                  <a:satOff val="0"/>
                  <a:lumOff val="0"/>
                  <a:alphaOff val="0"/>
                </a:prstClr>
              </a:solidFill>
              <a:latin typeface="Calibri" panose="020F0502020204030204" pitchFamily="34" charset="0"/>
              <a:cs typeface="Calibri" panose="020F0502020204030204" pitchFamily="34" charset="0"/>
              <a:sym typeface="Arial"/>
            </a:endParaRPr>
          </a:p>
          <a:p>
            <a:pPr algn="ctr" defTabSz="400050">
              <a:lnSpc>
                <a:spcPct val="90000"/>
              </a:lnSpc>
              <a:spcAft>
                <a:spcPct val="35000"/>
              </a:spcAft>
              <a:defRPr/>
            </a:pPr>
            <a:endParaRPr lang="en-US" sz="900">
              <a:solidFill>
                <a:prstClr val="black">
                  <a:hueOff val="0"/>
                  <a:satOff val="0"/>
                  <a:lumOff val="0"/>
                  <a:alphaOff val="0"/>
                </a:prstClr>
              </a:solidFill>
              <a:latin typeface="Calibri" panose="020F0502020204030204" pitchFamily="34" charset="0"/>
              <a:cs typeface="Calibri" panose="020F0502020204030204" pitchFamily="34" charset="0"/>
              <a:sym typeface="Arial"/>
            </a:endParaRPr>
          </a:p>
          <a:p>
            <a:pPr algn="ctr" defTabSz="400050">
              <a:lnSpc>
                <a:spcPct val="90000"/>
              </a:lnSpc>
              <a:spcAft>
                <a:spcPct val="35000"/>
              </a:spcAft>
              <a:defRPr/>
            </a:pPr>
            <a:endParaRPr lang="en-US" sz="900">
              <a:solidFill>
                <a:prstClr val="black">
                  <a:hueOff val="0"/>
                  <a:satOff val="0"/>
                  <a:lumOff val="0"/>
                  <a:alphaOff val="0"/>
                </a:prstClr>
              </a:solidFill>
              <a:latin typeface="Calibri" panose="020F0502020204030204" pitchFamily="34" charset="0"/>
              <a:cs typeface="Calibri" panose="020F0502020204030204" pitchFamily="34" charset="0"/>
              <a:sym typeface="Arial"/>
            </a:endParaRPr>
          </a:p>
          <a:p>
            <a:pPr algn="ctr" defTabSz="400050">
              <a:lnSpc>
                <a:spcPct val="90000"/>
              </a:lnSpc>
              <a:spcAft>
                <a:spcPct val="35000"/>
              </a:spcAft>
              <a:defRPr/>
            </a:pPr>
            <a:endParaRPr lang="en-US" sz="900">
              <a:solidFill>
                <a:prstClr val="black">
                  <a:hueOff val="0"/>
                  <a:satOff val="0"/>
                  <a:lumOff val="0"/>
                  <a:alphaOff val="0"/>
                </a:prstClr>
              </a:solidFill>
              <a:latin typeface="Calibri" panose="020F0502020204030204" pitchFamily="34" charset="0"/>
              <a:cs typeface="Calibri" panose="020F0502020204030204" pitchFamily="34" charset="0"/>
              <a:sym typeface="Arial"/>
            </a:endParaRPr>
          </a:p>
          <a:p>
            <a:pPr algn="ctr" defTabSz="400050">
              <a:lnSpc>
                <a:spcPct val="90000"/>
              </a:lnSpc>
              <a:spcAft>
                <a:spcPct val="35000"/>
              </a:spcAft>
              <a:defRPr/>
            </a:pPr>
            <a:endParaRPr lang="en-US" sz="900">
              <a:solidFill>
                <a:prstClr val="black">
                  <a:hueOff val="0"/>
                  <a:satOff val="0"/>
                  <a:lumOff val="0"/>
                  <a:alphaOff val="0"/>
                </a:prstClr>
              </a:solidFill>
              <a:latin typeface="Calibri" panose="020F0502020204030204" pitchFamily="34" charset="0"/>
              <a:cs typeface="Calibri" panose="020F0502020204030204" pitchFamily="34" charset="0"/>
              <a:sym typeface="Arial"/>
            </a:endParaRPr>
          </a:p>
          <a:p>
            <a:pPr algn="ctr" defTabSz="400050">
              <a:lnSpc>
                <a:spcPct val="90000"/>
              </a:lnSpc>
              <a:spcAft>
                <a:spcPct val="35000"/>
              </a:spcAft>
              <a:defRPr/>
            </a:pPr>
            <a:r>
              <a:rPr lang="en-US" sz="900">
                <a:solidFill>
                  <a:prstClr val="black">
                    <a:hueOff val="0"/>
                    <a:satOff val="0"/>
                    <a:lumOff val="0"/>
                    <a:alphaOff val="0"/>
                  </a:prstClr>
                </a:solidFill>
                <a:latin typeface="Calibri" panose="020F0502020204030204" pitchFamily="34" charset="0"/>
                <a:cs typeface="Calibri" panose="020F0502020204030204" pitchFamily="34" charset="0"/>
                <a:sym typeface="Arial"/>
              </a:rPr>
              <a:t>Cultural heritage</a:t>
            </a:r>
          </a:p>
        </p:txBody>
      </p:sp>
      <p:pic>
        <p:nvPicPr>
          <p:cNvPr id="27" name="Picture 26">
            <a:extLst>
              <a:ext uri="{FF2B5EF4-FFF2-40B4-BE49-F238E27FC236}">
                <a16:creationId xmlns:a16="http://schemas.microsoft.com/office/drawing/2014/main" id="{27DAD4D5-E39F-1294-43E1-9610E40DDB74}"/>
              </a:ext>
            </a:extLst>
          </p:cNvPr>
          <p:cNvPicPr>
            <a:picLocks noChangeAspect="1"/>
          </p:cNvPicPr>
          <p:nvPr/>
        </p:nvPicPr>
        <p:blipFill>
          <a:blip r:embed="rId13"/>
          <a:stretch>
            <a:fillRect/>
          </a:stretch>
        </p:blipFill>
        <p:spPr>
          <a:xfrm>
            <a:off x="6065867" y="1831280"/>
            <a:ext cx="369722" cy="363899"/>
          </a:xfrm>
          <a:prstGeom prst="rect">
            <a:avLst/>
          </a:prstGeom>
        </p:spPr>
      </p:pic>
      <p:sp>
        <p:nvSpPr>
          <p:cNvPr id="14" name="Freeform 45">
            <a:extLst>
              <a:ext uri="{FF2B5EF4-FFF2-40B4-BE49-F238E27FC236}">
                <a16:creationId xmlns:a16="http://schemas.microsoft.com/office/drawing/2014/main" id="{0D2BB161-3E1C-8F61-C5FB-A363D770BF35}"/>
              </a:ext>
            </a:extLst>
          </p:cNvPr>
          <p:cNvSpPr/>
          <p:nvPr/>
        </p:nvSpPr>
        <p:spPr>
          <a:xfrm>
            <a:off x="7124129" y="1757464"/>
            <a:ext cx="513000" cy="1161000"/>
          </a:xfrm>
          <a:prstGeom prst="round2SameRect">
            <a:avLst/>
          </a:prstGeom>
          <a:ln w="19050">
            <a:solidFill>
              <a:schemeClr val="accent2"/>
            </a:solidFill>
          </a:ln>
        </p:spPr>
        <p:style>
          <a:lnRef idx="2">
            <a:schemeClr val="accent1"/>
          </a:lnRef>
          <a:fillRef idx="1">
            <a:schemeClr val="lt1"/>
          </a:fillRef>
          <a:effectRef idx="0">
            <a:schemeClr val="accent1"/>
          </a:effectRef>
          <a:fontRef idx="minor">
            <a:schemeClr val="dk1"/>
          </a:fontRef>
        </p:style>
        <p:txBody>
          <a:bodyPr spcFirstLastPara="0" vert="horz" wrap="square" lIns="0" tIns="34290" rIns="0" bIns="459000" numCol="1" spcCol="1270" anchor="b" anchorCtr="0">
            <a:noAutofit/>
          </a:bodyPr>
          <a:lstStyle/>
          <a:p>
            <a:pPr algn="ctr" defTabSz="400050">
              <a:lnSpc>
                <a:spcPct val="90000"/>
              </a:lnSpc>
              <a:spcAft>
                <a:spcPct val="35000"/>
              </a:spcAft>
              <a:defRPr/>
            </a:pPr>
            <a:endParaRPr lang="en-US" sz="900">
              <a:solidFill>
                <a:prstClr val="black">
                  <a:hueOff val="0"/>
                  <a:satOff val="0"/>
                  <a:lumOff val="0"/>
                  <a:alphaOff val="0"/>
                </a:prstClr>
              </a:solidFill>
              <a:latin typeface="Calibri" panose="020F0502020204030204" pitchFamily="34" charset="0"/>
              <a:cs typeface="Calibri" panose="020F0502020204030204" pitchFamily="34" charset="0"/>
              <a:sym typeface="Arial"/>
            </a:endParaRPr>
          </a:p>
          <a:p>
            <a:pPr algn="ctr" defTabSz="400050">
              <a:lnSpc>
                <a:spcPct val="90000"/>
              </a:lnSpc>
              <a:spcAft>
                <a:spcPct val="35000"/>
              </a:spcAft>
              <a:defRPr/>
            </a:pPr>
            <a:endParaRPr lang="en-US" sz="900">
              <a:solidFill>
                <a:prstClr val="black">
                  <a:hueOff val="0"/>
                  <a:satOff val="0"/>
                  <a:lumOff val="0"/>
                  <a:alphaOff val="0"/>
                </a:prstClr>
              </a:solidFill>
              <a:latin typeface="Calibri" panose="020F0502020204030204" pitchFamily="34" charset="0"/>
              <a:cs typeface="Calibri" panose="020F0502020204030204" pitchFamily="34" charset="0"/>
              <a:sym typeface="Arial"/>
            </a:endParaRPr>
          </a:p>
          <a:p>
            <a:pPr algn="ctr" defTabSz="400050">
              <a:lnSpc>
                <a:spcPct val="90000"/>
              </a:lnSpc>
              <a:spcAft>
                <a:spcPct val="35000"/>
              </a:spcAft>
              <a:defRPr/>
            </a:pPr>
            <a:endParaRPr lang="en-US" sz="900">
              <a:solidFill>
                <a:prstClr val="black">
                  <a:hueOff val="0"/>
                  <a:satOff val="0"/>
                  <a:lumOff val="0"/>
                  <a:alphaOff val="0"/>
                </a:prstClr>
              </a:solidFill>
              <a:latin typeface="Calibri" panose="020F0502020204030204" pitchFamily="34" charset="0"/>
              <a:cs typeface="Calibri" panose="020F0502020204030204" pitchFamily="34" charset="0"/>
              <a:sym typeface="Arial"/>
            </a:endParaRPr>
          </a:p>
          <a:p>
            <a:pPr algn="ctr" defTabSz="400050">
              <a:lnSpc>
                <a:spcPct val="90000"/>
              </a:lnSpc>
              <a:spcAft>
                <a:spcPct val="35000"/>
              </a:spcAft>
              <a:defRPr/>
            </a:pPr>
            <a:endParaRPr lang="en-US" sz="900">
              <a:solidFill>
                <a:prstClr val="black">
                  <a:hueOff val="0"/>
                  <a:satOff val="0"/>
                  <a:lumOff val="0"/>
                  <a:alphaOff val="0"/>
                </a:prstClr>
              </a:solidFill>
              <a:latin typeface="Calibri" panose="020F0502020204030204" pitchFamily="34" charset="0"/>
              <a:cs typeface="Calibri" panose="020F0502020204030204" pitchFamily="34" charset="0"/>
              <a:sym typeface="Arial"/>
            </a:endParaRPr>
          </a:p>
          <a:p>
            <a:pPr algn="ctr" defTabSz="400050">
              <a:lnSpc>
                <a:spcPct val="90000"/>
              </a:lnSpc>
              <a:spcAft>
                <a:spcPct val="35000"/>
              </a:spcAft>
              <a:defRPr/>
            </a:pPr>
            <a:endParaRPr lang="en-US" sz="900">
              <a:solidFill>
                <a:prstClr val="black">
                  <a:hueOff val="0"/>
                  <a:satOff val="0"/>
                  <a:lumOff val="0"/>
                  <a:alphaOff val="0"/>
                </a:prstClr>
              </a:solidFill>
              <a:latin typeface="Calibri" panose="020F0502020204030204" pitchFamily="34" charset="0"/>
              <a:cs typeface="Calibri" panose="020F0502020204030204" pitchFamily="34" charset="0"/>
              <a:sym typeface="Arial"/>
            </a:endParaRPr>
          </a:p>
          <a:p>
            <a:pPr algn="ctr" defTabSz="400050">
              <a:lnSpc>
                <a:spcPct val="90000"/>
              </a:lnSpc>
              <a:spcAft>
                <a:spcPct val="35000"/>
              </a:spcAft>
              <a:defRPr/>
            </a:pPr>
            <a:endParaRPr lang="en-US" sz="900">
              <a:solidFill>
                <a:prstClr val="black">
                  <a:hueOff val="0"/>
                  <a:satOff val="0"/>
                  <a:lumOff val="0"/>
                  <a:alphaOff val="0"/>
                </a:prstClr>
              </a:solidFill>
              <a:latin typeface="Calibri" panose="020F0502020204030204" pitchFamily="34" charset="0"/>
              <a:cs typeface="Calibri" panose="020F0502020204030204" pitchFamily="34" charset="0"/>
              <a:sym typeface="Arial"/>
            </a:endParaRPr>
          </a:p>
          <a:p>
            <a:pPr algn="ctr" defTabSz="400050">
              <a:lnSpc>
                <a:spcPct val="90000"/>
              </a:lnSpc>
              <a:spcAft>
                <a:spcPct val="35000"/>
              </a:spcAft>
              <a:defRPr/>
            </a:pPr>
            <a:endParaRPr lang="en-US" sz="900">
              <a:solidFill>
                <a:prstClr val="black">
                  <a:hueOff val="0"/>
                  <a:satOff val="0"/>
                  <a:lumOff val="0"/>
                  <a:alphaOff val="0"/>
                </a:prstClr>
              </a:solidFill>
              <a:latin typeface="Calibri" panose="020F0502020204030204" pitchFamily="34" charset="0"/>
              <a:cs typeface="Calibri" panose="020F0502020204030204" pitchFamily="34" charset="0"/>
              <a:sym typeface="Arial"/>
            </a:endParaRPr>
          </a:p>
          <a:p>
            <a:pPr algn="ctr" defTabSz="400050">
              <a:lnSpc>
                <a:spcPct val="90000"/>
              </a:lnSpc>
              <a:spcAft>
                <a:spcPct val="35000"/>
              </a:spcAft>
              <a:defRPr/>
            </a:pPr>
            <a:endParaRPr lang="en-US" sz="900">
              <a:solidFill>
                <a:prstClr val="black">
                  <a:hueOff val="0"/>
                  <a:satOff val="0"/>
                  <a:lumOff val="0"/>
                  <a:alphaOff val="0"/>
                </a:prstClr>
              </a:solidFill>
              <a:latin typeface="Calibri" panose="020F0502020204030204" pitchFamily="34" charset="0"/>
              <a:cs typeface="Calibri" panose="020F0502020204030204" pitchFamily="34" charset="0"/>
              <a:sym typeface="Arial"/>
            </a:endParaRPr>
          </a:p>
          <a:p>
            <a:pPr algn="ctr" defTabSz="400050">
              <a:lnSpc>
                <a:spcPct val="90000"/>
              </a:lnSpc>
              <a:spcAft>
                <a:spcPct val="35000"/>
              </a:spcAft>
              <a:defRPr/>
            </a:pPr>
            <a:r>
              <a:rPr lang="en-US" sz="900">
                <a:solidFill>
                  <a:prstClr val="black">
                    <a:hueOff val="0"/>
                    <a:satOff val="0"/>
                    <a:lumOff val="0"/>
                    <a:alphaOff val="0"/>
                  </a:prstClr>
                </a:solidFill>
                <a:latin typeface="Calibri" panose="020F0502020204030204" pitchFamily="34" charset="0"/>
                <a:cs typeface="Calibri" panose="020F0502020204030204" pitchFamily="34" charset="0"/>
                <a:sym typeface="Arial"/>
              </a:rPr>
              <a:t>Media</a:t>
            </a:r>
          </a:p>
        </p:txBody>
      </p:sp>
      <p:sp>
        <p:nvSpPr>
          <p:cNvPr id="19" name="Freeform 45">
            <a:extLst>
              <a:ext uri="{FF2B5EF4-FFF2-40B4-BE49-F238E27FC236}">
                <a16:creationId xmlns:a16="http://schemas.microsoft.com/office/drawing/2014/main" id="{84FAAB09-E3EA-713A-0AB3-66D8F4E343A1}"/>
              </a:ext>
            </a:extLst>
          </p:cNvPr>
          <p:cNvSpPr/>
          <p:nvPr/>
        </p:nvSpPr>
        <p:spPr>
          <a:xfrm>
            <a:off x="7688915" y="1757464"/>
            <a:ext cx="513000" cy="1161000"/>
          </a:xfrm>
          <a:prstGeom prst="round2SameRect">
            <a:avLst/>
          </a:prstGeom>
          <a:ln w="19050">
            <a:solidFill>
              <a:schemeClr val="accent2"/>
            </a:solidFill>
          </a:ln>
        </p:spPr>
        <p:style>
          <a:lnRef idx="2">
            <a:schemeClr val="accent1"/>
          </a:lnRef>
          <a:fillRef idx="1">
            <a:schemeClr val="lt1"/>
          </a:fillRef>
          <a:effectRef idx="0">
            <a:schemeClr val="accent1"/>
          </a:effectRef>
          <a:fontRef idx="minor">
            <a:schemeClr val="dk1"/>
          </a:fontRef>
        </p:style>
        <p:txBody>
          <a:bodyPr spcFirstLastPara="0" vert="horz" wrap="square" lIns="0" tIns="34290" rIns="0" bIns="459000" numCol="1" spcCol="1270" anchor="b" anchorCtr="0">
            <a:noAutofit/>
          </a:bodyPr>
          <a:lstStyle/>
          <a:p>
            <a:pPr algn="ctr" defTabSz="400050">
              <a:lnSpc>
                <a:spcPct val="90000"/>
              </a:lnSpc>
              <a:spcAft>
                <a:spcPct val="35000"/>
              </a:spcAft>
              <a:defRPr/>
            </a:pPr>
            <a:endParaRPr lang="en-US" sz="900">
              <a:solidFill>
                <a:prstClr val="black">
                  <a:hueOff val="0"/>
                  <a:satOff val="0"/>
                  <a:lumOff val="0"/>
                  <a:alphaOff val="0"/>
                </a:prstClr>
              </a:solidFill>
              <a:latin typeface="Calibri" panose="020F0502020204030204" pitchFamily="34" charset="0"/>
              <a:cs typeface="Calibri" panose="020F0502020204030204" pitchFamily="34" charset="0"/>
              <a:sym typeface="Arial"/>
            </a:endParaRPr>
          </a:p>
          <a:p>
            <a:pPr algn="ctr" defTabSz="400050">
              <a:lnSpc>
                <a:spcPct val="90000"/>
              </a:lnSpc>
              <a:spcAft>
                <a:spcPct val="35000"/>
              </a:spcAft>
              <a:defRPr/>
            </a:pPr>
            <a:endParaRPr lang="en-US" sz="900">
              <a:solidFill>
                <a:prstClr val="black">
                  <a:hueOff val="0"/>
                  <a:satOff val="0"/>
                  <a:lumOff val="0"/>
                  <a:alphaOff val="0"/>
                </a:prstClr>
              </a:solidFill>
              <a:latin typeface="Calibri" panose="020F0502020204030204" pitchFamily="34" charset="0"/>
              <a:cs typeface="Calibri" panose="020F0502020204030204" pitchFamily="34" charset="0"/>
              <a:sym typeface="Arial"/>
            </a:endParaRPr>
          </a:p>
          <a:p>
            <a:pPr algn="ctr" defTabSz="400050">
              <a:lnSpc>
                <a:spcPct val="90000"/>
              </a:lnSpc>
              <a:spcAft>
                <a:spcPct val="35000"/>
              </a:spcAft>
              <a:defRPr/>
            </a:pPr>
            <a:endParaRPr lang="en-US" sz="900">
              <a:solidFill>
                <a:prstClr val="black">
                  <a:hueOff val="0"/>
                  <a:satOff val="0"/>
                  <a:lumOff val="0"/>
                  <a:alphaOff val="0"/>
                </a:prstClr>
              </a:solidFill>
              <a:latin typeface="Calibri" panose="020F0502020204030204" pitchFamily="34" charset="0"/>
              <a:cs typeface="Calibri" panose="020F0502020204030204" pitchFamily="34" charset="0"/>
              <a:sym typeface="Arial"/>
            </a:endParaRPr>
          </a:p>
          <a:p>
            <a:pPr algn="ctr" defTabSz="400050">
              <a:lnSpc>
                <a:spcPct val="90000"/>
              </a:lnSpc>
              <a:spcAft>
                <a:spcPct val="35000"/>
              </a:spcAft>
              <a:defRPr/>
            </a:pPr>
            <a:endParaRPr lang="en-US" sz="900">
              <a:solidFill>
                <a:prstClr val="black">
                  <a:hueOff val="0"/>
                  <a:satOff val="0"/>
                  <a:lumOff val="0"/>
                  <a:alphaOff val="0"/>
                </a:prstClr>
              </a:solidFill>
              <a:latin typeface="Calibri" panose="020F0502020204030204" pitchFamily="34" charset="0"/>
              <a:cs typeface="Calibri" panose="020F0502020204030204" pitchFamily="34" charset="0"/>
              <a:sym typeface="Arial"/>
            </a:endParaRPr>
          </a:p>
          <a:p>
            <a:pPr algn="ctr" defTabSz="400050">
              <a:lnSpc>
                <a:spcPct val="90000"/>
              </a:lnSpc>
              <a:spcAft>
                <a:spcPct val="35000"/>
              </a:spcAft>
              <a:defRPr/>
            </a:pPr>
            <a:r>
              <a:rPr lang="en-US" sz="900">
                <a:solidFill>
                  <a:prstClr val="black">
                    <a:hueOff val="0"/>
                    <a:satOff val="0"/>
                    <a:lumOff val="0"/>
                    <a:alphaOff val="0"/>
                  </a:prstClr>
                </a:solidFill>
                <a:latin typeface="Calibri" panose="020F0502020204030204" pitchFamily="34" charset="0"/>
                <a:cs typeface="Calibri" panose="020F0502020204030204" pitchFamily="34" charset="0"/>
                <a:sym typeface="Arial"/>
              </a:rPr>
              <a:t>Language</a:t>
            </a:r>
          </a:p>
        </p:txBody>
      </p:sp>
      <p:pic>
        <p:nvPicPr>
          <p:cNvPr id="24" name="Picture 23">
            <a:extLst>
              <a:ext uri="{FF2B5EF4-FFF2-40B4-BE49-F238E27FC236}">
                <a16:creationId xmlns:a16="http://schemas.microsoft.com/office/drawing/2014/main" id="{F8B30849-E660-D713-6E08-831F1CA4D610}"/>
              </a:ext>
            </a:extLst>
          </p:cNvPr>
          <p:cNvPicPr>
            <a:picLocks noChangeAspect="1"/>
          </p:cNvPicPr>
          <p:nvPr/>
        </p:nvPicPr>
        <p:blipFill>
          <a:blip r:embed="rId14"/>
          <a:stretch>
            <a:fillRect/>
          </a:stretch>
        </p:blipFill>
        <p:spPr>
          <a:xfrm>
            <a:off x="7183864" y="1845996"/>
            <a:ext cx="371045" cy="334469"/>
          </a:xfrm>
          <a:prstGeom prst="rect">
            <a:avLst/>
          </a:prstGeom>
        </p:spPr>
      </p:pic>
      <p:pic>
        <p:nvPicPr>
          <p:cNvPr id="30" name="Picture 29">
            <a:extLst>
              <a:ext uri="{FF2B5EF4-FFF2-40B4-BE49-F238E27FC236}">
                <a16:creationId xmlns:a16="http://schemas.microsoft.com/office/drawing/2014/main" id="{1C65DF17-D206-2350-A6A5-F5D104DBCBF9}"/>
              </a:ext>
            </a:extLst>
          </p:cNvPr>
          <p:cNvPicPr>
            <a:picLocks noChangeAspect="1"/>
          </p:cNvPicPr>
          <p:nvPr/>
        </p:nvPicPr>
        <p:blipFill>
          <a:blip r:embed="rId15"/>
          <a:stretch>
            <a:fillRect/>
          </a:stretch>
        </p:blipFill>
        <p:spPr>
          <a:xfrm>
            <a:off x="6678234" y="1802340"/>
            <a:ext cx="297542" cy="421781"/>
          </a:xfrm>
          <a:prstGeom prst="rect">
            <a:avLst/>
          </a:prstGeom>
        </p:spPr>
      </p:pic>
      <p:pic>
        <p:nvPicPr>
          <p:cNvPr id="32" name="Picture 31">
            <a:extLst>
              <a:ext uri="{FF2B5EF4-FFF2-40B4-BE49-F238E27FC236}">
                <a16:creationId xmlns:a16="http://schemas.microsoft.com/office/drawing/2014/main" id="{9ACEF4BE-789E-AB62-065B-14CCA169EDC1}"/>
              </a:ext>
            </a:extLst>
          </p:cNvPr>
          <p:cNvPicPr>
            <a:picLocks noChangeAspect="1"/>
          </p:cNvPicPr>
          <p:nvPr/>
        </p:nvPicPr>
        <p:blipFill>
          <a:blip r:embed="rId16"/>
          <a:stretch>
            <a:fillRect/>
          </a:stretch>
        </p:blipFill>
        <p:spPr>
          <a:xfrm>
            <a:off x="7791295" y="1839406"/>
            <a:ext cx="347648" cy="347648"/>
          </a:xfrm>
          <a:prstGeom prst="rect">
            <a:avLst/>
          </a:prstGeom>
        </p:spPr>
      </p:pic>
      <p:sp>
        <p:nvSpPr>
          <p:cNvPr id="6" name="Rounded Rectangle 56">
            <a:extLst>
              <a:ext uri="{FF2B5EF4-FFF2-40B4-BE49-F238E27FC236}">
                <a16:creationId xmlns:a16="http://schemas.microsoft.com/office/drawing/2014/main" id="{84649510-0FE3-3E1B-3A65-6F3DFCCEEE28}"/>
              </a:ext>
            </a:extLst>
          </p:cNvPr>
          <p:cNvSpPr/>
          <p:nvPr/>
        </p:nvSpPr>
        <p:spPr>
          <a:xfrm>
            <a:off x="114298" y="3102529"/>
            <a:ext cx="4050000" cy="567000"/>
          </a:xfrm>
          <a:prstGeom prst="roundRect">
            <a:avLst/>
          </a:prstGeom>
          <a:ln/>
        </p:spPr>
        <p:style>
          <a:lnRef idx="0">
            <a:schemeClr val="accent3"/>
          </a:lnRef>
          <a:fillRef idx="3">
            <a:schemeClr val="accent3"/>
          </a:fillRef>
          <a:effectRef idx="3">
            <a:schemeClr val="accent3"/>
          </a:effectRef>
          <a:fontRef idx="minor">
            <a:schemeClr val="lt1"/>
          </a:fontRef>
        </p:style>
        <p:txBody>
          <a:bodyPr lIns="54000" tIns="189000" bIns="27000" numCol="2" rtlCol="0" anchor="t" anchorCtr="0"/>
          <a:lstStyle/>
          <a:p>
            <a:pPr marL="214313" indent="-214313" defTabSz="342900">
              <a:buFont typeface="Arial" panose="020B0604020202020204" pitchFamily="34" charset="0"/>
              <a:buChar char="•"/>
              <a:defRPr/>
            </a:pPr>
            <a:r>
              <a:rPr lang="en-US" sz="1050">
                <a:solidFill>
                  <a:srgbClr val="FFFFFF"/>
                </a:solidFill>
                <a:latin typeface="Calibri" panose="020F0502020204030204"/>
                <a:sym typeface="Arial"/>
              </a:rPr>
              <a:t>Facilitate the sharing of best practices</a:t>
            </a:r>
          </a:p>
          <a:p>
            <a:pPr marL="214313" indent="-214313" defTabSz="342900">
              <a:buFont typeface="Arial" panose="020B0604020202020204" pitchFamily="34" charset="0"/>
              <a:buChar char="•"/>
              <a:defRPr/>
            </a:pPr>
            <a:r>
              <a:rPr lang="en-US" sz="1050">
                <a:solidFill>
                  <a:srgbClr val="FFFFFF"/>
                </a:solidFill>
                <a:latin typeface="Calibri" panose="020F0502020204030204"/>
                <a:sym typeface="Arial"/>
              </a:rPr>
              <a:t>P</a:t>
            </a:r>
            <a:r>
              <a:rPr lang="en-US" sz="1050" err="1">
                <a:solidFill>
                  <a:srgbClr val="FFFFFF"/>
                </a:solidFill>
                <a:latin typeface="Calibri" panose="020F0502020204030204"/>
                <a:sym typeface="Arial"/>
              </a:rPr>
              <a:t>rioritisation</a:t>
            </a:r>
            <a:r>
              <a:rPr lang="en-US" sz="1050">
                <a:solidFill>
                  <a:srgbClr val="FFFFFF"/>
                </a:solidFill>
                <a:latin typeface="Calibri" panose="020F0502020204030204"/>
                <a:sym typeface="Arial"/>
              </a:rPr>
              <a:t> of cross-sectoral interoperability standards</a:t>
            </a:r>
          </a:p>
        </p:txBody>
      </p:sp>
      <p:sp>
        <p:nvSpPr>
          <p:cNvPr id="7" name="Rectangle 6">
            <a:extLst>
              <a:ext uri="{FF2B5EF4-FFF2-40B4-BE49-F238E27FC236}">
                <a16:creationId xmlns:a16="http://schemas.microsoft.com/office/drawing/2014/main" id="{CF36C74C-258F-DD6C-F653-80E136217F1E}"/>
              </a:ext>
            </a:extLst>
          </p:cNvPr>
          <p:cNvSpPr/>
          <p:nvPr/>
        </p:nvSpPr>
        <p:spPr>
          <a:xfrm>
            <a:off x="748379" y="3070630"/>
            <a:ext cx="2877711" cy="300082"/>
          </a:xfrm>
          <a:prstGeom prst="rect">
            <a:avLst/>
          </a:prstGeom>
        </p:spPr>
        <p:txBody>
          <a:bodyPr wrap="none">
            <a:spAutoFit/>
          </a:bodyPr>
          <a:lstStyle/>
          <a:p>
            <a:pPr algn="ctr" defTabSz="685800">
              <a:defRPr/>
            </a:pPr>
            <a:r>
              <a:rPr lang="en-GB" sz="1350" b="1" kern="0">
                <a:solidFill>
                  <a:srgbClr val="FFFFFF"/>
                </a:solidFill>
                <a:latin typeface="Arial"/>
                <a:cs typeface="Arial"/>
                <a:sym typeface="Arial"/>
              </a:rPr>
              <a:t>European Data Innovation Board</a:t>
            </a:r>
            <a:endParaRPr lang="fr-BE" sz="1350" b="1" kern="0">
              <a:solidFill>
                <a:srgbClr val="FFFFFF"/>
              </a:solidFill>
              <a:latin typeface="Arial"/>
              <a:cs typeface="Arial"/>
              <a:sym typeface="Arial"/>
            </a:endParaRPr>
          </a:p>
        </p:txBody>
      </p:sp>
      <p:sp>
        <p:nvSpPr>
          <p:cNvPr id="8" name="Rounded Rectangle 71">
            <a:extLst>
              <a:ext uri="{FF2B5EF4-FFF2-40B4-BE49-F238E27FC236}">
                <a16:creationId xmlns:a16="http://schemas.microsoft.com/office/drawing/2014/main" id="{9CB610A3-D59D-3D83-8C72-97AC6396DB46}"/>
              </a:ext>
            </a:extLst>
          </p:cNvPr>
          <p:cNvSpPr/>
          <p:nvPr/>
        </p:nvSpPr>
        <p:spPr>
          <a:xfrm>
            <a:off x="171886" y="4128952"/>
            <a:ext cx="1377000" cy="648000"/>
          </a:xfrm>
          <a:prstGeom prst="roundRect">
            <a:avLst/>
          </a:prstGeom>
          <a:solidFill>
            <a:srgbClr val="FFFFFF"/>
          </a:solidFill>
          <a:ln w="12700" cap="flat" cmpd="sng" algn="ctr">
            <a:solidFill>
              <a:srgbClr val="1E858B">
                <a:shade val="50000"/>
              </a:srgbClr>
            </a:solidFill>
            <a:prstDash val="solid"/>
            <a:miter lim="800000"/>
          </a:ln>
          <a:effectLst/>
        </p:spPr>
        <p:txBody>
          <a:bodyPr vert="horz" lIns="27000" tIns="81000" rIns="27000" bIns="81000" rtlCol="0" anchor="ctr"/>
          <a:lstStyle/>
          <a:p>
            <a:pPr algn="ctr" defTabSz="685800">
              <a:defRPr/>
            </a:pPr>
            <a:r>
              <a:rPr lang="en-GB" sz="1050" kern="0">
                <a:solidFill>
                  <a:srgbClr val="034EA2"/>
                </a:solidFill>
                <a:latin typeface="Arial"/>
                <a:cs typeface="Arial"/>
                <a:sym typeface="Arial"/>
              </a:rPr>
              <a:t>Standards / Interoperability</a:t>
            </a:r>
          </a:p>
        </p:txBody>
      </p:sp>
      <p:sp>
        <p:nvSpPr>
          <p:cNvPr id="9" name="Rectangle: Rounded Corners 8">
            <a:extLst>
              <a:ext uri="{FF2B5EF4-FFF2-40B4-BE49-F238E27FC236}">
                <a16:creationId xmlns:a16="http://schemas.microsoft.com/office/drawing/2014/main" id="{2346EFD3-B379-059E-9EA1-817F55F1853E}"/>
              </a:ext>
            </a:extLst>
          </p:cNvPr>
          <p:cNvSpPr/>
          <p:nvPr/>
        </p:nvSpPr>
        <p:spPr>
          <a:xfrm>
            <a:off x="248158" y="1026836"/>
            <a:ext cx="1231794" cy="236826"/>
          </a:xfrm>
          <a:prstGeom prst="roundRect">
            <a:avLst/>
          </a:prstGeom>
        </p:spPr>
        <p:style>
          <a:lnRef idx="2">
            <a:schemeClr val="accent1"/>
          </a:lnRef>
          <a:fillRef idx="1">
            <a:schemeClr val="lt1"/>
          </a:fillRef>
          <a:effectRef idx="0">
            <a:schemeClr val="accent1"/>
          </a:effectRef>
          <a:fontRef idx="minor">
            <a:schemeClr val="dk1"/>
          </a:fontRef>
        </p:style>
        <p:txBody>
          <a:bodyPr rtlCol="0" anchor="ctr"/>
          <a:lstStyle/>
          <a:p>
            <a:pPr algn="ctr" defTabSz="685800">
              <a:defRPr/>
            </a:pPr>
            <a:r>
              <a:rPr lang="en-IE" sz="1050">
                <a:solidFill>
                  <a:prstClr val="black"/>
                </a:solidFill>
                <a:latin typeface="Calibri" panose="020F0502020204030204" pitchFamily="34" charset="0"/>
                <a:cs typeface="Calibri" panose="020F0502020204030204" pitchFamily="34" charset="0"/>
                <a:sym typeface="Arial"/>
              </a:rPr>
              <a:t>Data Act</a:t>
            </a:r>
          </a:p>
        </p:txBody>
      </p:sp>
      <p:sp>
        <p:nvSpPr>
          <p:cNvPr id="10" name="Rectangle: Rounded Corners 9">
            <a:extLst>
              <a:ext uri="{FF2B5EF4-FFF2-40B4-BE49-F238E27FC236}">
                <a16:creationId xmlns:a16="http://schemas.microsoft.com/office/drawing/2014/main" id="{1A625E20-0173-7AE8-FA67-CC1E4846127C}"/>
              </a:ext>
            </a:extLst>
          </p:cNvPr>
          <p:cNvSpPr/>
          <p:nvPr/>
        </p:nvSpPr>
        <p:spPr>
          <a:xfrm>
            <a:off x="1622897" y="1026836"/>
            <a:ext cx="1454195" cy="236826"/>
          </a:xfrm>
          <a:prstGeom prst="roundRect">
            <a:avLst/>
          </a:prstGeom>
        </p:spPr>
        <p:style>
          <a:lnRef idx="2">
            <a:schemeClr val="accent1"/>
          </a:lnRef>
          <a:fillRef idx="1">
            <a:schemeClr val="lt1"/>
          </a:fillRef>
          <a:effectRef idx="0">
            <a:schemeClr val="accent1"/>
          </a:effectRef>
          <a:fontRef idx="minor">
            <a:schemeClr val="dk1"/>
          </a:fontRef>
        </p:style>
        <p:txBody>
          <a:bodyPr rtlCol="0" anchor="ctr"/>
          <a:lstStyle/>
          <a:p>
            <a:pPr algn="ctr" defTabSz="685800">
              <a:defRPr/>
            </a:pPr>
            <a:r>
              <a:rPr lang="en-IE" sz="1050">
                <a:solidFill>
                  <a:prstClr val="black"/>
                </a:solidFill>
                <a:latin typeface="Calibri" panose="020F0502020204030204" pitchFamily="34" charset="0"/>
                <a:cs typeface="Calibri" panose="020F0502020204030204" pitchFamily="34" charset="0"/>
                <a:sym typeface="Arial"/>
              </a:rPr>
              <a:t>Data Governance Act</a:t>
            </a:r>
          </a:p>
        </p:txBody>
      </p:sp>
      <p:sp>
        <p:nvSpPr>
          <p:cNvPr id="11" name="Rectangle: Rounded Corners 10">
            <a:extLst>
              <a:ext uri="{FF2B5EF4-FFF2-40B4-BE49-F238E27FC236}">
                <a16:creationId xmlns:a16="http://schemas.microsoft.com/office/drawing/2014/main" id="{80C99FD4-4A66-3A93-FA25-742D337111C2}"/>
              </a:ext>
            </a:extLst>
          </p:cNvPr>
          <p:cNvSpPr/>
          <p:nvPr/>
        </p:nvSpPr>
        <p:spPr>
          <a:xfrm>
            <a:off x="6414317" y="1026836"/>
            <a:ext cx="1231794" cy="236826"/>
          </a:xfrm>
          <a:prstGeom prst="roundRect">
            <a:avLst/>
          </a:prstGeom>
        </p:spPr>
        <p:style>
          <a:lnRef idx="2">
            <a:schemeClr val="accent1"/>
          </a:lnRef>
          <a:fillRef idx="1">
            <a:schemeClr val="lt1"/>
          </a:fillRef>
          <a:effectRef idx="0">
            <a:schemeClr val="accent1"/>
          </a:effectRef>
          <a:fontRef idx="minor">
            <a:schemeClr val="dk1"/>
          </a:fontRef>
        </p:style>
        <p:txBody>
          <a:bodyPr rtlCol="0" anchor="ctr"/>
          <a:lstStyle/>
          <a:p>
            <a:pPr algn="ctr" defTabSz="685800">
              <a:defRPr/>
            </a:pPr>
            <a:r>
              <a:rPr lang="en-IE" sz="1050">
                <a:solidFill>
                  <a:prstClr val="black"/>
                </a:solidFill>
                <a:latin typeface="Calibri" panose="020F0502020204030204" pitchFamily="34" charset="0"/>
                <a:cs typeface="Calibri" panose="020F0502020204030204" pitchFamily="34" charset="0"/>
                <a:sym typeface="Arial"/>
              </a:rPr>
              <a:t>GDPR</a:t>
            </a:r>
          </a:p>
        </p:txBody>
      </p:sp>
      <p:sp>
        <p:nvSpPr>
          <p:cNvPr id="12" name="Rectangle: Rounded Corners 11">
            <a:extLst>
              <a:ext uri="{FF2B5EF4-FFF2-40B4-BE49-F238E27FC236}">
                <a16:creationId xmlns:a16="http://schemas.microsoft.com/office/drawing/2014/main" id="{AAADB497-7346-0DD2-A30C-5CB609FE3814}"/>
              </a:ext>
            </a:extLst>
          </p:cNvPr>
          <p:cNvSpPr/>
          <p:nvPr/>
        </p:nvSpPr>
        <p:spPr>
          <a:xfrm>
            <a:off x="3220037" y="1026836"/>
            <a:ext cx="1454195" cy="236826"/>
          </a:xfrm>
          <a:prstGeom prst="roundRect">
            <a:avLst/>
          </a:prstGeom>
        </p:spPr>
        <p:style>
          <a:lnRef idx="2">
            <a:schemeClr val="accent1"/>
          </a:lnRef>
          <a:fillRef idx="1">
            <a:schemeClr val="lt1"/>
          </a:fillRef>
          <a:effectRef idx="0">
            <a:schemeClr val="accent1"/>
          </a:effectRef>
          <a:fontRef idx="minor">
            <a:schemeClr val="dk1"/>
          </a:fontRef>
        </p:style>
        <p:txBody>
          <a:bodyPr rtlCol="0" anchor="ctr"/>
          <a:lstStyle/>
          <a:p>
            <a:pPr algn="ctr" defTabSz="685800">
              <a:defRPr/>
            </a:pPr>
            <a:r>
              <a:rPr lang="en-IE" sz="1050">
                <a:solidFill>
                  <a:prstClr val="black"/>
                </a:solidFill>
                <a:latin typeface="Calibri" panose="020F0502020204030204" pitchFamily="34" charset="0"/>
                <a:cs typeface="Calibri" panose="020F0502020204030204" pitchFamily="34" charset="0"/>
                <a:sym typeface="Arial"/>
              </a:rPr>
              <a:t>Open Data D</a:t>
            </a:r>
            <a:r>
              <a:rPr lang="en-IE" sz="1050" err="1">
                <a:solidFill>
                  <a:prstClr val="black"/>
                </a:solidFill>
                <a:latin typeface="Calibri" panose="020F0502020204030204" pitchFamily="34" charset="0"/>
                <a:cs typeface="Calibri" panose="020F0502020204030204" pitchFamily="34" charset="0"/>
                <a:sym typeface="Arial"/>
              </a:rPr>
              <a:t>irective</a:t>
            </a:r>
            <a:endParaRPr lang="en-IE" sz="1050">
              <a:solidFill>
                <a:prstClr val="black"/>
              </a:solidFill>
              <a:latin typeface="Calibri" panose="020F0502020204030204" pitchFamily="34" charset="0"/>
              <a:cs typeface="Calibri" panose="020F0502020204030204" pitchFamily="34" charset="0"/>
              <a:sym typeface="Arial"/>
            </a:endParaRPr>
          </a:p>
        </p:txBody>
      </p:sp>
      <p:sp>
        <p:nvSpPr>
          <p:cNvPr id="13" name="Rectangle: Rounded Corners 12">
            <a:extLst>
              <a:ext uri="{FF2B5EF4-FFF2-40B4-BE49-F238E27FC236}">
                <a16:creationId xmlns:a16="http://schemas.microsoft.com/office/drawing/2014/main" id="{7510C62B-F676-6B8E-3878-F2D94A91473E}"/>
              </a:ext>
            </a:extLst>
          </p:cNvPr>
          <p:cNvSpPr/>
          <p:nvPr/>
        </p:nvSpPr>
        <p:spPr>
          <a:xfrm>
            <a:off x="7789056" y="1026836"/>
            <a:ext cx="999425" cy="236826"/>
          </a:xfrm>
          <a:prstGeom prst="roundRect">
            <a:avLst/>
          </a:prstGeom>
        </p:spPr>
        <p:style>
          <a:lnRef idx="2">
            <a:schemeClr val="accent1"/>
          </a:lnRef>
          <a:fillRef idx="1">
            <a:schemeClr val="lt1"/>
          </a:fillRef>
          <a:effectRef idx="0">
            <a:schemeClr val="accent1"/>
          </a:effectRef>
          <a:fontRef idx="minor">
            <a:schemeClr val="dk1"/>
          </a:fontRef>
        </p:style>
        <p:txBody>
          <a:bodyPr rtlCol="0" anchor="ctr"/>
          <a:lstStyle/>
          <a:p>
            <a:pPr algn="ctr" defTabSz="685800">
              <a:defRPr/>
            </a:pPr>
            <a:r>
              <a:rPr lang="en-IE" sz="1050">
                <a:solidFill>
                  <a:prstClr val="black"/>
                </a:solidFill>
                <a:latin typeface="Calibri" panose="020F0502020204030204" pitchFamily="34" charset="0"/>
                <a:cs typeface="Calibri" panose="020F0502020204030204" pitchFamily="34" charset="0"/>
                <a:sym typeface="Arial"/>
              </a:rPr>
              <a:t>…</a:t>
            </a:r>
          </a:p>
        </p:txBody>
      </p:sp>
      <p:sp>
        <p:nvSpPr>
          <p:cNvPr id="22" name="Callout: Left Arrow 21">
            <a:extLst>
              <a:ext uri="{FF2B5EF4-FFF2-40B4-BE49-F238E27FC236}">
                <a16:creationId xmlns:a16="http://schemas.microsoft.com/office/drawing/2014/main" id="{1B8EB184-D8C8-6D41-2274-7D022B11F525}"/>
              </a:ext>
            </a:extLst>
          </p:cNvPr>
          <p:cNvSpPr/>
          <p:nvPr/>
        </p:nvSpPr>
        <p:spPr>
          <a:xfrm>
            <a:off x="8253699" y="1482066"/>
            <a:ext cx="705631" cy="1512326"/>
          </a:xfrm>
          <a:prstGeom prst="leftArrowCallout">
            <a:avLst>
              <a:gd name="adj1" fmla="val 13621"/>
              <a:gd name="adj2" fmla="val 20372"/>
              <a:gd name="adj3" fmla="val 19544"/>
              <a:gd name="adj4" fmla="val 76369"/>
            </a:avLst>
          </a:prstGeom>
        </p:spPr>
        <p:style>
          <a:lnRef idx="2">
            <a:schemeClr val="accent5"/>
          </a:lnRef>
          <a:fillRef idx="1">
            <a:schemeClr val="lt1"/>
          </a:fillRef>
          <a:effectRef idx="0">
            <a:schemeClr val="accent5"/>
          </a:effectRef>
          <a:fontRef idx="minor">
            <a:schemeClr val="dk1"/>
          </a:fontRef>
        </p:style>
        <p:txBody>
          <a:bodyPr lIns="0" rIns="0" rtlCol="0" anchor="ctr"/>
          <a:lstStyle/>
          <a:p>
            <a:pPr algn="ctr" defTabSz="685800">
              <a:defRPr/>
            </a:pPr>
            <a:r>
              <a:rPr lang="en-US" sz="1050">
                <a:solidFill>
                  <a:srgbClr val="4D4D4D"/>
                </a:solidFill>
                <a:latin typeface="Calibri" panose="020F0502020204030204" pitchFamily="34" charset="0"/>
                <a:cs typeface="Calibri" panose="020F0502020204030204" pitchFamily="34" charset="0"/>
                <a:sym typeface="Arial"/>
              </a:rPr>
              <a:t>High Value Datasets</a:t>
            </a:r>
          </a:p>
          <a:p>
            <a:pPr algn="ctr" defTabSz="685800">
              <a:defRPr/>
            </a:pPr>
            <a:r>
              <a:rPr lang="en-US" sz="1050">
                <a:solidFill>
                  <a:srgbClr val="4D4D4D"/>
                </a:solidFill>
                <a:latin typeface="Calibri" panose="020F0502020204030204" pitchFamily="34" charset="0"/>
                <a:cs typeface="Calibri" panose="020F0502020204030204" pitchFamily="34" charset="0"/>
                <a:sym typeface="Arial"/>
              </a:rPr>
              <a:t>from public sector</a:t>
            </a:r>
          </a:p>
        </p:txBody>
      </p:sp>
      <p:sp>
        <p:nvSpPr>
          <p:cNvPr id="2" name="Rectangle: Rounded Corners 1">
            <a:extLst>
              <a:ext uri="{FF2B5EF4-FFF2-40B4-BE49-F238E27FC236}">
                <a16:creationId xmlns:a16="http://schemas.microsoft.com/office/drawing/2014/main" id="{3DFC817F-B7A9-5F70-E17E-2A94B52B1754}"/>
              </a:ext>
            </a:extLst>
          </p:cNvPr>
          <p:cNvSpPr/>
          <p:nvPr/>
        </p:nvSpPr>
        <p:spPr>
          <a:xfrm>
            <a:off x="4817177" y="1026836"/>
            <a:ext cx="1454195" cy="236826"/>
          </a:xfrm>
          <a:prstGeom prst="roundRect">
            <a:avLst/>
          </a:prstGeom>
        </p:spPr>
        <p:style>
          <a:lnRef idx="2">
            <a:schemeClr val="accent1"/>
          </a:lnRef>
          <a:fillRef idx="1">
            <a:schemeClr val="lt1"/>
          </a:fillRef>
          <a:effectRef idx="0">
            <a:schemeClr val="accent1"/>
          </a:effectRef>
          <a:fontRef idx="minor">
            <a:schemeClr val="dk1"/>
          </a:fontRef>
        </p:style>
        <p:txBody>
          <a:bodyPr rtlCol="0" anchor="ctr"/>
          <a:lstStyle/>
          <a:p>
            <a:pPr algn="ctr" defTabSz="685800">
              <a:defRPr/>
            </a:pPr>
            <a:r>
              <a:rPr lang="en-IE" sz="1050">
                <a:solidFill>
                  <a:prstClr val="black"/>
                </a:solidFill>
                <a:latin typeface="Calibri" panose="020F0502020204030204" pitchFamily="34" charset="0"/>
                <a:cs typeface="Calibri" panose="020F0502020204030204" pitchFamily="34" charset="0"/>
                <a:sym typeface="Arial"/>
              </a:rPr>
              <a:t>High-value Data Sets</a:t>
            </a:r>
          </a:p>
        </p:txBody>
      </p:sp>
    </p:spTree>
    <p:extLst>
      <p:ext uri="{BB962C8B-B14F-4D97-AF65-F5344CB8AC3E}">
        <p14:creationId xmlns:p14="http://schemas.microsoft.com/office/powerpoint/2010/main" val="272029514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61DF6CE-E630-5E1E-D9C1-E102D6F0C55F}"/>
              </a:ext>
            </a:extLst>
          </p:cNvPr>
          <p:cNvSpPr>
            <a:spLocks noGrp="1"/>
          </p:cNvSpPr>
          <p:nvPr>
            <p:ph type="title"/>
          </p:nvPr>
        </p:nvSpPr>
        <p:spPr/>
        <p:txBody>
          <a:bodyPr/>
          <a:lstStyle/>
          <a:p>
            <a:r>
              <a:rPr lang="en-IE"/>
              <a:t>European Data Union Strategy</a:t>
            </a:r>
          </a:p>
        </p:txBody>
      </p:sp>
      <p:sp>
        <p:nvSpPr>
          <p:cNvPr id="8" name="TextBox 7">
            <a:extLst>
              <a:ext uri="{FF2B5EF4-FFF2-40B4-BE49-F238E27FC236}">
                <a16:creationId xmlns:a16="http://schemas.microsoft.com/office/drawing/2014/main" id="{0EACEC37-EE34-7414-FB0C-6E6732DC259B}"/>
              </a:ext>
            </a:extLst>
          </p:cNvPr>
          <p:cNvSpPr txBox="1"/>
          <p:nvPr/>
        </p:nvSpPr>
        <p:spPr>
          <a:xfrm>
            <a:off x="4571999" y="1258972"/>
            <a:ext cx="3685470" cy="2308324"/>
          </a:xfrm>
          <a:prstGeom prst="rect">
            <a:avLst/>
          </a:prstGeom>
        </p:spPr>
        <p:style>
          <a:lnRef idx="2">
            <a:schemeClr val="accent5"/>
          </a:lnRef>
          <a:fillRef idx="1">
            <a:schemeClr val="lt1"/>
          </a:fillRef>
          <a:effectRef idx="0">
            <a:schemeClr val="accent5"/>
          </a:effectRef>
          <a:fontRef idx="minor">
            <a:schemeClr val="dk1"/>
          </a:fontRef>
        </p:style>
        <p:txBody>
          <a:bodyPr wrap="square">
            <a:spAutoFit/>
          </a:bodyPr>
          <a:lstStyle/>
          <a:p>
            <a:pPr defTabSz="685800">
              <a:defRPr/>
            </a:pPr>
            <a:r>
              <a:rPr lang="en-US" sz="1200" i="1">
                <a:solidFill>
                  <a:srgbClr val="4D4D4D"/>
                </a:solidFill>
                <a:latin typeface="Arial"/>
                <a:sym typeface="Arial"/>
              </a:rPr>
              <a:t>To support the development of AI and other frontier technologies, Europe needs to exploit the untapped potential of data. </a:t>
            </a:r>
          </a:p>
          <a:p>
            <a:pPr defTabSz="685800">
              <a:defRPr/>
            </a:pPr>
            <a:endParaRPr lang="en-US" sz="1200" i="1">
              <a:solidFill>
                <a:srgbClr val="4D4D4D"/>
              </a:solidFill>
              <a:latin typeface="Arial"/>
              <a:sym typeface="Arial"/>
            </a:endParaRPr>
          </a:p>
          <a:p>
            <a:pPr defTabSz="685800">
              <a:defRPr/>
            </a:pPr>
            <a:r>
              <a:rPr lang="en-US" sz="1200" i="1">
                <a:solidFill>
                  <a:srgbClr val="4D4D4D"/>
                </a:solidFill>
                <a:latin typeface="Arial"/>
                <a:sym typeface="Arial"/>
              </a:rPr>
              <a:t>Europe needs a data revolution. </a:t>
            </a:r>
          </a:p>
          <a:p>
            <a:pPr defTabSz="685800">
              <a:defRPr/>
            </a:pPr>
            <a:endParaRPr lang="en-US" sz="1200" i="1">
              <a:solidFill>
                <a:srgbClr val="4D4D4D"/>
              </a:solidFill>
              <a:latin typeface="Arial"/>
              <a:sym typeface="Arial"/>
            </a:endParaRPr>
          </a:p>
          <a:p>
            <a:pPr defTabSz="685800">
              <a:defRPr/>
            </a:pPr>
            <a:r>
              <a:rPr lang="en-US" sz="1200" i="1">
                <a:solidFill>
                  <a:srgbClr val="4D4D4D"/>
                </a:solidFill>
                <a:latin typeface="Arial"/>
                <a:sym typeface="Arial"/>
              </a:rPr>
              <a:t>This is why we will put forward a </a:t>
            </a:r>
            <a:r>
              <a:rPr lang="en-US" sz="1200" i="1">
                <a:solidFill>
                  <a:srgbClr val="00B0F0"/>
                </a:solidFill>
                <a:latin typeface="Arial"/>
                <a:sym typeface="Arial"/>
              </a:rPr>
              <a:t>European Data Union Strategy</a:t>
            </a:r>
            <a:r>
              <a:rPr lang="en-US" sz="1200" i="1">
                <a:solidFill>
                  <a:srgbClr val="4D4D4D"/>
                </a:solidFill>
                <a:latin typeface="Arial"/>
                <a:sym typeface="Arial"/>
              </a:rPr>
              <a:t>. This will draw on existing data rules to ensure a </a:t>
            </a:r>
            <a:r>
              <a:rPr lang="en-US" sz="1200" i="1">
                <a:solidFill>
                  <a:srgbClr val="00B0F0"/>
                </a:solidFill>
                <a:latin typeface="Arial"/>
                <a:sym typeface="Arial"/>
              </a:rPr>
              <a:t>simplified, clear and coherent legal framework </a:t>
            </a:r>
            <a:r>
              <a:rPr lang="en-US" sz="1200" i="1">
                <a:solidFill>
                  <a:srgbClr val="4D4D4D"/>
                </a:solidFill>
                <a:latin typeface="Arial"/>
                <a:sym typeface="Arial"/>
              </a:rPr>
              <a:t>for businesses and administrations to share data seamlessly and at scale, while respecting high privacy and security standards.” </a:t>
            </a:r>
            <a:endParaRPr lang="en-IE" sz="1200" i="1">
              <a:solidFill>
                <a:srgbClr val="4D4D4D"/>
              </a:solidFill>
              <a:latin typeface="Arial"/>
              <a:sym typeface="Arial"/>
            </a:endParaRPr>
          </a:p>
        </p:txBody>
      </p:sp>
      <p:sp>
        <p:nvSpPr>
          <p:cNvPr id="10" name="TextBox 9">
            <a:extLst>
              <a:ext uri="{FF2B5EF4-FFF2-40B4-BE49-F238E27FC236}">
                <a16:creationId xmlns:a16="http://schemas.microsoft.com/office/drawing/2014/main" id="{BAAD7BB5-6446-69E5-DE4D-132D45BC0B01}"/>
              </a:ext>
            </a:extLst>
          </p:cNvPr>
          <p:cNvSpPr txBox="1"/>
          <p:nvPr/>
        </p:nvSpPr>
        <p:spPr>
          <a:xfrm>
            <a:off x="728042" y="3406054"/>
            <a:ext cx="3220625" cy="438582"/>
          </a:xfrm>
          <a:prstGeom prst="rect">
            <a:avLst/>
          </a:prstGeom>
        </p:spPr>
        <p:style>
          <a:lnRef idx="1">
            <a:schemeClr val="accent5"/>
          </a:lnRef>
          <a:fillRef idx="2">
            <a:schemeClr val="accent5"/>
          </a:fillRef>
          <a:effectRef idx="1">
            <a:schemeClr val="accent5"/>
          </a:effectRef>
          <a:fontRef idx="minor">
            <a:schemeClr val="dk1"/>
          </a:fontRef>
        </p:style>
        <p:txBody>
          <a:bodyPr wrap="square">
            <a:spAutoFit/>
          </a:bodyPr>
          <a:lstStyle/>
          <a:p>
            <a:pPr defTabSz="685800">
              <a:defRPr/>
            </a:pPr>
            <a:r>
              <a:rPr lang="en-US" sz="1050" b="1" i="1">
                <a:solidFill>
                  <a:srgbClr val="4D4D4D"/>
                </a:solidFill>
                <a:latin typeface="Arial"/>
                <a:sym typeface="Arial"/>
              </a:rPr>
              <a:t>Political Guidelines for the next European Commission 2024−2029</a:t>
            </a:r>
            <a:r>
              <a:rPr lang="en-US" sz="1050">
                <a:solidFill>
                  <a:srgbClr val="4D4D4D"/>
                </a:solidFill>
                <a:latin typeface="Arial"/>
                <a:sym typeface="Arial"/>
              </a:rPr>
              <a:t>,</a:t>
            </a:r>
            <a:r>
              <a:rPr lang="en-IE" sz="1200">
                <a:solidFill>
                  <a:srgbClr val="4D4D4D"/>
                </a:solidFill>
                <a:latin typeface="Arial"/>
                <a:sym typeface="Arial"/>
              </a:rPr>
              <a:t> Ursula von der Leyen</a:t>
            </a:r>
            <a:endParaRPr lang="en-US" sz="1200">
              <a:solidFill>
                <a:srgbClr val="4D4D4D"/>
              </a:solidFill>
              <a:latin typeface="Arial"/>
              <a:sym typeface="Arial"/>
            </a:endParaRPr>
          </a:p>
        </p:txBody>
      </p:sp>
      <p:sp>
        <p:nvSpPr>
          <p:cNvPr id="14" name="TextBox 13">
            <a:extLst>
              <a:ext uri="{FF2B5EF4-FFF2-40B4-BE49-F238E27FC236}">
                <a16:creationId xmlns:a16="http://schemas.microsoft.com/office/drawing/2014/main" id="{D648458D-AE76-44DC-0DC7-AC8C591C6B3E}"/>
              </a:ext>
            </a:extLst>
          </p:cNvPr>
          <p:cNvSpPr txBox="1"/>
          <p:nvPr/>
        </p:nvSpPr>
        <p:spPr>
          <a:xfrm>
            <a:off x="4572000" y="3613804"/>
            <a:ext cx="3685469" cy="738664"/>
          </a:xfrm>
          <a:prstGeom prst="rect">
            <a:avLst/>
          </a:prstGeom>
        </p:spPr>
        <p:style>
          <a:lnRef idx="2">
            <a:schemeClr val="accent5"/>
          </a:lnRef>
          <a:fillRef idx="1">
            <a:schemeClr val="lt1"/>
          </a:fillRef>
          <a:effectRef idx="0">
            <a:schemeClr val="accent5"/>
          </a:effectRef>
          <a:fontRef idx="minor">
            <a:schemeClr val="dk1"/>
          </a:fontRef>
        </p:style>
        <p:txBody>
          <a:bodyPr wrap="square">
            <a:spAutoFit/>
          </a:bodyPr>
          <a:lstStyle/>
          <a:p>
            <a:pPr defTabSz="685800">
              <a:defRPr/>
            </a:pPr>
            <a:r>
              <a:rPr lang="en-US" sz="1050" i="1">
                <a:solidFill>
                  <a:srgbClr val="4D4D4D"/>
                </a:solidFill>
                <a:latin typeface="Arial"/>
                <a:sym typeface="Arial"/>
              </a:rPr>
              <a:t>See also:</a:t>
            </a:r>
          </a:p>
          <a:p>
            <a:pPr marL="214313" indent="-214313" defTabSz="685800">
              <a:buFont typeface="Arial" panose="020B0604020202020204" pitchFamily="34" charset="0"/>
              <a:buChar char="•"/>
              <a:defRPr/>
            </a:pPr>
            <a:r>
              <a:rPr lang="en-US" sz="1050" b="1" i="1">
                <a:solidFill>
                  <a:srgbClr val="4D4D4D"/>
                </a:solidFill>
                <a:latin typeface="Arial"/>
                <a:sym typeface="Arial"/>
              </a:rPr>
              <a:t>Much More Than A Market</a:t>
            </a:r>
            <a:r>
              <a:rPr lang="en-US" sz="1050" i="1">
                <a:solidFill>
                  <a:srgbClr val="4D4D4D"/>
                </a:solidFill>
                <a:latin typeface="Arial"/>
                <a:sym typeface="Arial"/>
              </a:rPr>
              <a:t>, Enrico Letta</a:t>
            </a:r>
            <a:endParaRPr lang="en-IE" sz="1050" i="1">
              <a:solidFill>
                <a:srgbClr val="4D4D4D"/>
              </a:solidFill>
              <a:latin typeface="Arial"/>
              <a:sym typeface="Arial"/>
            </a:endParaRPr>
          </a:p>
          <a:p>
            <a:pPr marL="214313" indent="-214313" defTabSz="685800">
              <a:buFont typeface="Arial" panose="020B0604020202020204" pitchFamily="34" charset="0"/>
              <a:buChar char="•"/>
              <a:defRPr/>
            </a:pPr>
            <a:r>
              <a:rPr lang="en-US" sz="1050" b="1" i="1">
                <a:solidFill>
                  <a:srgbClr val="4D4D4D"/>
                </a:solidFill>
                <a:latin typeface="Arial"/>
                <a:sym typeface="Arial"/>
              </a:rPr>
              <a:t>The future of European competitiveness</a:t>
            </a:r>
            <a:r>
              <a:rPr lang="en-US" sz="1050" i="1">
                <a:solidFill>
                  <a:srgbClr val="4D4D4D"/>
                </a:solidFill>
                <a:latin typeface="Arial"/>
                <a:sym typeface="Arial"/>
              </a:rPr>
              <a:t>, Mario Draghi</a:t>
            </a:r>
            <a:endParaRPr lang="en-IE" sz="1050" i="1">
              <a:solidFill>
                <a:srgbClr val="4D4D4D"/>
              </a:solidFill>
              <a:latin typeface="Arial"/>
              <a:sym typeface="Arial"/>
            </a:endParaRPr>
          </a:p>
        </p:txBody>
      </p:sp>
      <p:pic>
        <p:nvPicPr>
          <p:cNvPr id="2" name="Picture 1">
            <a:extLst>
              <a:ext uri="{FF2B5EF4-FFF2-40B4-BE49-F238E27FC236}">
                <a16:creationId xmlns:a16="http://schemas.microsoft.com/office/drawing/2014/main" id="{F6D22184-0BE7-30A3-9E2E-BBED7F0A6E38}"/>
              </a:ext>
            </a:extLst>
          </p:cNvPr>
          <p:cNvPicPr>
            <a:picLocks noChangeAspect="1"/>
          </p:cNvPicPr>
          <p:nvPr/>
        </p:nvPicPr>
        <p:blipFill>
          <a:blip r:embed="rId3"/>
          <a:stretch>
            <a:fillRect/>
          </a:stretch>
        </p:blipFill>
        <p:spPr>
          <a:xfrm>
            <a:off x="728041" y="1258972"/>
            <a:ext cx="3220625" cy="2147083"/>
          </a:xfrm>
          <a:prstGeom prst="rect">
            <a:avLst/>
          </a:prstGeom>
        </p:spPr>
      </p:pic>
    </p:spTree>
    <p:extLst>
      <p:ext uri="{BB962C8B-B14F-4D97-AF65-F5344CB8AC3E}">
        <p14:creationId xmlns:p14="http://schemas.microsoft.com/office/powerpoint/2010/main" val="328495334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id="{E7C51570-B895-EBF1-EC3F-B09D0AEF2558}"/>
              </a:ext>
            </a:extLst>
          </p:cNvPr>
          <p:cNvSpPr/>
          <p:nvPr/>
        </p:nvSpPr>
        <p:spPr>
          <a:xfrm>
            <a:off x="7272799" y="4180616"/>
            <a:ext cx="1397036" cy="320218"/>
          </a:xfrm>
          <a:prstGeom prst="rect">
            <a:avLst/>
          </a:prstGeom>
          <a:solidFill>
            <a:schemeClr val="bg1"/>
          </a:solidFill>
          <a:ln>
            <a:solidFill>
              <a:srgbClr val="FFFFFF"/>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85800">
              <a:buClr>
                <a:srgbClr val="000000"/>
              </a:buClr>
              <a:defRPr/>
            </a:pPr>
            <a:endParaRPr lang="en-IE" sz="1050" kern="0">
              <a:solidFill>
                <a:srgbClr val="FFFFFF"/>
              </a:solidFill>
              <a:latin typeface="Arial"/>
              <a:sym typeface="Arial"/>
            </a:endParaRPr>
          </a:p>
        </p:txBody>
      </p:sp>
      <p:sp>
        <p:nvSpPr>
          <p:cNvPr id="2" name="Slide Number Placeholder 1">
            <a:extLst>
              <a:ext uri="{FF2B5EF4-FFF2-40B4-BE49-F238E27FC236}">
                <a16:creationId xmlns:a16="http://schemas.microsoft.com/office/drawing/2014/main" id="{696B9D8F-C6E7-09B1-FB8A-2B98AFA92419}"/>
              </a:ext>
            </a:extLst>
          </p:cNvPr>
          <p:cNvSpPr>
            <a:spLocks noGrp="1"/>
          </p:cNvSpPr>
          <p:nvPr>
            <p:ph type="sldNum" sz="quarter" idx="12"/>
          </p:nvPr>
        </p:nvSpPr>
        <p:spPr>
          <a:xfrm>
            <a:off x="8853707" y="4869657"/>
            <a:ext cx="279180" cy="273844"/>
          </a:xfrm>
        </p:spPr>
        <p:txBody>
          <a:bodyPr/>
          <a:lstStyle/>
          <a:p>
            <a:pPr algn="l" defTabSz="685800">
              <a:buClr>
                <a:srgbClr val="000000"/>
              </a:buClr>
              <a:defRPr/>
            </a:pPr>
            <a:fld id="{F46C79FD-C571-418B-AB0F-5EE936C85276}" type="slidenum">
              <a:rPr lang="en-GB" sz="900" kern="0">
                <a:solidFill>
                  <a:srgbClr val="767676"/>
                </a:solidFill>
                <a:latin typeface="Arial"/>
                <a:cs typeface="Arial"/>
                <a:sym typeface="Arial"/>
              </a:rPr>
              <a:pPr algn="l" defTabSz="685800">
                <a:buClr>
                  <a:srgbClr val="000000"/>
                </a:buClr>
                <a:defRPr/>
              </a:pPr>
              <a:t>8</a:t>
            </a:fld>
            <a:endParaRPr lang="en-GB" sz="900" kern="0">
              <a:solidFill>
                <a:srgbClr val="767676"/>
              </a:solidFill>
              <a:latin typeface="Arial"/>
              <a:cs typeface="Arial"/>
              <a:sym typeface="Arial"/>
            </a:endParaRPr>
          </a:p>
        </p:txBody>
      </p:sp>
      <p:sp>
        <p:nvSpPr>
          <p:cNvPr id="3" name="Title 2">
            <a:extLst>
              <a:ext uri="{FF2B5EF4-FFF2-40B4-BE49-F238E27FC236}">
                <a16:creationId xmlns:a16="http://schemas.microsoft.com/office/drawing/2014/main" id="{DE824755-520A-3A92-296F-875ABEFDAA7A}"/>
              </a:ext>
            </a:extLst>
          </p:cNvPr>
          <p:cNvSpPr>
            <a:spLocks noGrp="1"/>
          </p:cNvSpPr>
          <p:nvPr>
            <p:ph type="title"/>
          </p:nvPr>
        </p:nvSpPr>
        <p:spPr>
          <a:xfrm>
            <a:off x="967007" y="-14105"/>
            <a:ext cx="7886700" cy="403061"/>
          </a:xfrm>
        </p:spPr>
        <p:txBody>
          <a:bodyPr/>
          <a:lstStyle/>
          <a:p>
            <a:r>
              <a:rPr lang="en-IE" sz="2100">
                <a:solidFill>
                  <a:srgbClr val="003399"/>
                </a:solidFill>
                <a:latin typeface="Arial" panose="020B0604020202020204" pitchFamily="34" charset="0"/>
                <a:cs typeface="Arial" panose="020B0604020202020204" pitchFamily="34" charset="0"/>
              </a:rPr>
              <a:t>Common European Data Spaces roll-out</a:t>
            </a:r>
          </a:p>
        </p:txBody>
      </p:sp>
      <p:cxnSp>
        <p:nvCxnSpPr>
          <p:cNvPr id="8" name="Straight Connector 7">
            <a:extLst>
              <a:ext uri="{FF2B5EF4-FFF2-40B4-BE49-F238E27FC236}">
                <a16:creationId xmlns:a16="http://schemas.microsoft.com/office/drawing/2014/main" id="{EA9DB932-8306-6B08-5DB9-9FB7EEFDC590}"/>
              </a:ext>
            </a:extLst>
          </p:cNvPr>
          <p:cNvCxnSpPr>
            <a:cxnSpLocks/>
          </p:cNvCxnSpPr>
          <p:nvPr/>
        </p:nvCxnSpPr>
        <p:spPr>
          <a:xfrm>
            <a:off x="2171105" y="778616"/>
            <a:ext cx="0" cy="4104000"/>
          </a:xfrm>
          <a:prstGeom prst="line">
            <a:avLst/>
          </a:prstGeom>
          <a:ln w="28575">
            <a:solidFill>
              <a:schemeClr val="accent3"/>
            </a:solidFill>
          </a:ln>
        </p:spPr>
        <p:style>
          <a:lnRef idx="1">
            <a:schemeClr val="accent5"/>
          </a:lnRef>
          <a:fillRef idx="0">
            <a:schemeClr val="accent5"/>
          </a:fillRef>
          <a:effectRef idx="0">
            <a:schemeClr val="accent5"/>
          </a:effectRef>
          <a:fontRef idx="minor">
            <a:schemeClr val="tx1"/>
          </a:fontRef>
        </p:style>
      </p:cxnSp>
      <p:cxnSp>
        <p:nvCxnSpPr>
          <p:cNvPr id="9" name="Straight Connector 8">
            <a:extLst>
              <a:ext uri="{FF2B5EF4-FFF2-40B4-BE49-F238E27FC236}">
                <a16:creationId xmlns:a16="http://schemas.microsoft.com/office/drawing/2014/main" id="{7D55ABF5-361B-3172-6DD5-193A2336E9FA}"/>
              </a:ext>
            </a:extLst>
          </p:cNvPr>
          <p:cNvCxnSpPr>
            <a:cxnSpLocks/>
          </p:cNvCxnSpPr>
          <p:nvPr/>
        </p:nvCxnSpPr>
        <p:spPr>
          <a:xfrm>
            <a:off x="3949818" y="776643"/>
            <a:ext cx="0" cy="4104000"/>
          </a:xfrm>
          <a:prstGeom prst="line">
            <a:avLst/>
          </a:prstGeom>
          <a:ln w="28575">
            <a:solidFill>
              <a:schemeClr val="accent3"/>
            </a:solidFill>
          </a:ln>
        </p:spPr>
        <p:style>
          <a:lnRef idx="1">
            <a:schemeClr val="accent5"/>
          </a:lnRef>
          <a:fillRef idx="0">
            <a:schemeClr val="accent5"/>
          </a:fillRef>
          <a:effectRef idx="0">
            <a:schemeClr val="accent5"/>
          </a:effectRef>
          <a:fontRef idx="minor">
            <a:schemeClr val="tx1"/>
          </a:fontRef>
        </p:style>
      </p:cxnSp>
      <p:cxnSp>
        <p:nvCxnSpPr>
          <p:cNvPr id="10" name="Straight Connector 9">
            <a:extLst>
              <a:ext uri="{FF2B5EF4-FFF2-40B4-BE49-F238E27FC236}">
                <a16:creationId xmlns:a16="http://schemas.microsoft.com/office/drawing/2014/main" id="{B7A81906-8C6D-A653-FEF2-D913066F1086}"/>
              </a:ext>
            </a:extLst>
          </p:cNvPr>
          <p:cNvCxnSpPr>
            <a:cxnSpLocks/>
          </p:cNvCxnSpPr>
          <p:nvPr/>
        </p:nvCxnSpPr>
        <p:spPr>
          <a:xfrm>
            <a:off x="5728532" y="776643"/>
            <a:ext cx="0" cy="4104000"/>
          </a:xfrm>
          <a:prstGeom prst="line">
            <a:avLst/>
          </a:prstGeom>
          <a:ln w="28575">
            <a:solidFill>
              <a:schemeClr val="accent3"/>
            </a:solidFill>
          </a:ln>
        </p:spPr>
        <p:style>
          <a:lnRef idx="1">
            <a:schemeClr val="accent5"/>
          </a:lnRef>
          <a:fillRef idx="0">
            <a:schemeClr val="accent5"/>
          </a:fillRef>
          <a:effectRef idx="0">
            <a:schemeClr val="accent5"/>
          </a:effectRef>
          <a:fontRef idx="minor">
            <a:schemeClr val="tx1"/>
          </a:fontRef>
        </p:style>
      </p:cxnSp>
      <p:cxnSp>
        <p:nvCxnSpPr>
          <p:cNvPr id="11" name="Straight Connector 10">
            <a:extLst>
              <a:ext uri="{FF2B5EF4-FFF2-40B4-BE49-F238E27FC236}">
                <a16:creationId xmlns:a16="http://schemas.microsoft.com/office/drawing/2014/main" id="{E9DC2CE2-25D7-60F2-AB37-32AEC7727F66}"/>
              </a:ext>
            </a:extLst>
          </p:cNvPr>
          <p:cNvCxnSpPr>
            <a:cxnSpLocks/>
          </p:cNvCxnSpPr>
          <p:nvPr/>
        </p:nvCxnSpPr>
        <p:spPr>
          <a:xfrm>
            <a:off x="7507245" y="778616"/>
            <a:ext cx="0" cy="4104000"/>
          </a:xfrm>
          <a:prstGeom prst="line">
            <a:avLst/>
          </a:prstGeom>
          <a:ln w="28575">
            <a:solidFill>
              <a:schemeClr val="accent3"/>
            </a:solidFill>
          </a:ln>
        </p:spPr>
        <p:style>
          <a:lnRef idx="1">
            <a:schemeClr val="accent5"/>
          </a:lnRef>
          <a:fillRef idx="0">
            <a:schemeClr val="accent5"/>
          </a:fillRef>
          <a:effectRef idx="0">
            <a:schemeClr val="accent5"/>
          </a:effectRef>
          <a:fontRef idx="minor">
            <a:schemeClr val="tx1"/>
          </a:fontRef>
        </p:style>
      </p:cxnSp>
      <p:cxnSp>
        <p:nvCxnSpPr>
          <p:cNvPr id="12" name="Straight Connector 11">
            <a:extLst>
              <a:ext uri="{FF2B5EF4-FFF2-40B4-BE49-F238E27FC236}">
                <a16:creationId xmlns:a16="http://schemas.microsoft.com/office/drawing/2014/main" id="{A3938890-286A-184B-37EC-A9ED3A578523}"/>
              </a:ext>
            </a:extLst>
          </p:cNvPr>
          <p:cNvCxnSpPr>
            <a:cxnSpLocks/>
          </p:cNvCxnSpPr>
          <p:nvPr/>
        </p:nvCxnSpPr>
        <p:spPr>
          <a:xfrm>
            <a:off x="392391" y="778616"/>
            <a:ext cx="0" cy="4104000"/>
          </a:xfrm>
          <a:prstGeom prst="line">
            <a:avLst/>
          </a:prstGeom>
          <a:ln w="28575">
            <a:solidFill>
              <a:schemeClr val="accent3"/>
            </a:solidFill>
          </a:ln>
        </p:spPr>
        <p:style>
          <a:lnRef idx="1">
            <a:schemeClr val="accent5"/>
          </a:lnRef>
          <a:fillRef idx="0">
            <a:schemeClr val="accent5"/>
          </a:fillRef>
          <a:effectRef idx="0">
            <a:schemeClr val="accent5"/>
          </a:effectRef>
          <a:fontRef idx="minor">
            <a:schemeClr val="tx1"/>
          </a:fontRef>
        </p:style>
      </p:cxnSp>
      <p:sp>
        <p:nvSpPr>
          <p:cNvPr id="13" name="TextBox 12">
            <a:extLst>
              <a:ext uri="{FF2B5EF4-FFF2-40B4-BE49-F238E27FC236}">
                <a16:creationId xmlns:a16="http://schemas.microsoft.com/office/drawing/2014/main" id="{160A3B1E-1FA5-0450-6BF4-56A2C599FE07}"/>
              </a:ext>
            </a:extLst>
          </p:cNvPr>
          <p:cNvSpPr txBox="1"/>
          <p:nvPr/>
        </p:nvSpPr>
        <p:spPr>
          <a:xfrm>
            <a:off x="142889" y="557353"/>
            <a:ext cx="567000" cy="276999"/>
          </a:xfrm>
          <a:prstGeom prst="rect">
            <a:avLst/>
          </a:prstGeom>
          <a:noFill/>
        </p:spPr>
        <p:txBody>
          <a:bodyPr wrap="square" rtlCol="0">
            <a:spAutoFit/>
          </a:bodyPr>
          <a:lstStyle/>
          <a:p>
            <a:pPr defTabSz="685800">
              <a:buClr>
                <a:srgbClr val="000000"/>
              </a:buClr>
              <a:defRPr/>
            </a:pPr>
            <a:r>
              <a:rPr lang="en-IE" sz="1200" b="1" kern="0">
                <a:solidFill>
                  <a:srgbClr val="004494"/>
                </a:solidFill>
                <a:latin typeface="Arial"/>
                <a:cs typeface="Arial"/>
                <a:sym typeface="Arial"/>
              </a:rPr>
              <a:t>2023</a:t>
            </a:r>
          </a:p>
        </p:txBody>
      </p:sp>
      <p:sp>
        <p:nvSpPr>
          <p:cNvPr id="14" name="TextBox 13">
            <a:extLst>
              <a:ext uri="{FF2B5EF4-FFF2-40B4-BE49-F238E27FC236}">
                <a16:creationId xmlns:a16="http://schemas.microsoft.com/office/drawing/2014/main" id="{6F6574BF-79B9-4DCA-A73C-6211D9163D26}"/>
              </a:ext>
            </a:extLst>
          </p:cNvPr>
          <p:cNvSpPr txBox="1"/>
          <p:nvPr/>
        </p:nvSpPr>
        <p:spPr>
          <a:xfrm>
            <a:off x="1952774" y="564727"/>
            <a:ext cx="567000" cy="276999"/>
          </a:xfrm>
          <a:prstGeom prst="rect">
            <a:avLst/>
          </a:prstGeom>
          <a:noFill/>
        </p:spPr>
        <p:txBody>
          <a:bodyPr wrap="square" rtlCol="0">
            <a:spAutoFit/>
          </a:bodyPr>
          <a:lstStyle/>
          <a:p>
            <a:pPr defTabSz="685800">
              <a:buClr>
                <a:srgbClr val="000000"/>
              </a:buClr>
              <a:defRPr/>
            </a:pPr>
            <a:r>
              <a:rPr lang="en-IE" sz="1200" b="1" kern="0">
                <a:solidFill>
                  <a:srgbClr val="004494"/>
                </a:solidFill>
                <a:latin typeface="Arial"/>
                <a:cs typeface="Arial"/>
                <a:sym typeface="Arial"/>
              </a:rPr>
              <a:t>2024</a:t>
            </a:r>
          </a:p>
        </p:txBody>
      </p:sp>
      <p:sp>
        <p:nvSpPr>
          <p:cNvPr id="15" name="TextBox 14">
            <a:extLst>
              <a:ext uri="{FF2B5EF4-FFF2-40B4-BE49-F238E27FC236}">
                <a16:creationId xmlns:a16="http://schemas.microsoft.com/office/drawing/2014/main" id="{2FD5B40D-F5F6-249A-2246-D3FE665CEAA7}"/>
              </a:ext>
            </a:extLst>
          </p:cNvPr>
          <p:cNvSpPr txBox="1"/>
          <p:nvPr/>
        </p:nvSpPr>
        <p:spPr>
          <a:xfrm>
            <a:off x="3700316" y="564727"/>
            <a:ext cx="567000" cy="276999"/>
          </a:xfrm>
          <a:prstGeom prst="rect">
            <a:avLst/>
          </a:prstGeom>
          <a:noFill/>
        </p:spPr>
        <p:txBody>
          <a:bodyPr wrap="square" rtlCol="0">
            <a:spAutoFit/>
          </a:bodyPr>
          <a:lstStyle/>
          <a:p>
            <a:pPr defTabSz="685800">
              <a:buClr>
                <a:srgbClr val="000000"/>
              </a:buClr>
              <a:defRPr/>
            </a:pPr>
            <a:r>
              <a:rPr lang="en-IE" sz="1200" b="1" kern="0">
                <a:solidFill>
                  <a:srgbClr val="004494"/>
                </a:solidFill>
                <a:latin typeface="Arial"/>
                <a:cs typeface="Arial"/>
                <a:sym typeface="Arial"/>
              </a:rPr>
              <a:t>2025</a:t>
            </a:r>
          </a:p>
        </p:txBody>
      </p:sp>
      <p:sp>
        <p:nvSpPr>
          <p:cNvPr id="16" name="TextBox 15">
            <a:extLst>
              <a:ext uri="{FF2B5EF4-FFF2-40B4-BE49-F238E27FC236}">
                <a16:creationId xmlns:a16="http://schemas.microsoft.com/office/drawing/2014/main" id="{CAF6221D-FBDC-749C-E7E9-56CB93497888}"/>
              </a:ext>
            </a:extLst>
          </p:cNvPr>
          <p:cNvSpPr txBox="1"/>
          <p:nvPr/>
        </p:nvSpPr>
        <p:spPr>
          <a:xfrm>
            <a:off x="5510201" y="557353"/>
            <a:ext cx="567000" cy="276999"/>
          </a:xfrm>
          <a:prstGeom prst="rect">
            <a:avLst/>
          </a:prstGeom>
          <a:noFill/>
        </p:spPr>
        <p:txBody>
          <a:bodyPr wrap="square" rtlCol="0">
            <a:spAutoFit/>
          </a:bodyPr>
          <a:lstStyle/>
          <a:p>
            <a:pPr defTabSz="685800">
              <a:buClr>
                <a:srgbClr val="000000"/>
              </a:buClr>
              <a:defRPr/>
            </a:pPr>
            <a:r>
              <a:rPr lang="en-IE" sz="1200" b="1" kern="0">
                <a:solidFill>
                  <a:srgbClr val="004494"/>
                </a:solidFill>
                <a:latin typeface="Arial"/>
                <a:cs typeface="Arial"/>
                <a:sym typeface="Arial"/>
              </a:rPr>
              <a:t>2026</a:t>
            </a:r>
          </a:p>
        </p:txBody>
      </p:sp>
      <p:sp>
        <p:nvSpPr>
          <p:cNvPr id="18" name="TextBox 17">
            <a:extLst>
              <a:ext uri="{FF2B5EF4-FFF2-40B4-BE49-F238E27FC236}">
                <a16:creationId xmlns:a16="http://schemas.microsoft.com/office/drawing/2014/main" id="{48E49659-9852-7AB6-4E44-B489093DF999}"/>
              </a:ext>
            </a:extLst>
          </p:cNvPr>
          <p:cNvSpPr txBox="1"/>
          <p:nvPr/>
        </p:nvSpPr>
        <p:spPr>
          <a:xfrm>
            <a:off x="7252936" y="557353"/>
            <a:ext cx="567000" cy="276999"/>
          </a:xfrm>
          <a:prstGeom prst="rect">
            <a:avLst/>
          </a:prstGeom>
          <a:noFill/>
        </p:spPr>
        <p:txBody>
          <a:bodyPr wrap="square" rtlCol="0">
            <a:spAutoFit/>
          </a:bodyPr>
          <a:lstStyle/>
          <a:p>
            <a:pPr defTabSz="685800">
              <a:buClr>
                <a:srgbClr val="000000"/>
              </a:buClr>
              <a:defRPr/>
            </a:pPr>
            <a:r>
              <a:rPr lang="en-IE" sz="1200" b="1" kern="0">
                <a:solidFill>
                  <a:srgbClr val="004494"/>
                </a:solidFill>
                <a:latin typeface="Arial"/>
                <a:cs typeface="Arial"/>
                <a:sym typeface="Arial"/>
              </a:rPr>
              <a:t>2027</a:t>
            </a:r>
          </a:p>
        </p:txBody>
      </p:sp>
      <p:sp>
        <p:nvSpPr>
          <p:cNvPr id="4" name="Arrow: Chevron 3">
            <a:extLst>
              <a:ext uri="{FF2B5EF4-FFF2-40B4-BE49-F238E27FC236}">
                <a16:creationId xmlns:a16="http://schemas.microsoft.com/office/drawing/2014/main" id="{59501141-6611-0FDA-F27B-47BDC3B1714F}"/>
              </a:ext>
            </a:extLst>
          </p:cNvPr>
          <p:cNvSpPr/>
          <p:nvPr/>
        </p:nvSpPr>
        <p:spPr>
          <a:xfrm>
            <a:off x="1881895" y="1955000"/>
            <a:ext cx="5547505" cy="216000"/>
          </a:xfrm>
          <a:prstGeom prst="chevron">
            <a:avLst/>
          </a:prstGeom>
          <a:solidFill>
            <a:schemeClr val="bg2">
              <a:lumMod val="50000"/>
            </a:schemeClr>
          </a:solidFill>
          <a:ln/>
        </p:spPr>
        <p:style>
          <a:lnRef idx="3">
            <a:schemeClr val="lt1"/>
          </a:lnRef>
          <a:fillRef idx="1">
            <a:schemeClr val="accent1"/>
          </a:fillRef>
          <a:effectRef idx="1">
            <a:schemeClr val="accent1"/>
          </a:effectRef>
          <a:fontRef idx="minor">
            <a:schemeClr val="lt1"/>
          </a:fontRef>
        </p:style>
        <p:txBody>
          <a:bodyPr rtlCol="0" anchor="ctr"/>
          <a:lstStyle/>
          <a:p>
            <a:pPr algn="ctr" defTabSz="685800">
              <a:buClr>
                <a:srgbClr val="000000"/>
              </a:buClr>
              <a:defRPr/>
            </a:pPr>
            <a:r>
              <a:rPr lang="en-IE" sz="1050" kern="0">
                <a:solidFill>
                  <a:srgbClr val="FFFFFF"/>
                </a:solidFill>
                <a:latin typeface="Arial"/>
                <a:sym typeface="Arial"/>
              </a:rPr>
              <a:t>Mobility Data Space - </a:t>
            </a:r>
            <a:r>
              <a:rPr lang="en-IE" sz="1050" kern="0" err="1">
                <a:solidFill>
                  <a:srgbClr val="FFFFFF"/>
                </a:solidFill>
                <a:latin typeface="Arial"/>
                <a:sym typeface="Arial"/>
              </a:rPr>
              <a:t>deployEMDS</a:t>
            </a:r>
            <a:endParaRPr lang="en-IE" sz="1050" kern="0">
              <a:solidFill>
                <a:srgbClr val="FFFFFF"/>
              </a:solidFill>
              <a:latin typeface="Arial"/>
              <a:sym typeface="Arial"/>
            </a:endParaRPr>
          </a:p>
        </p:txBody>
      </p:sp>
      <p:sp>
        <p:nvSpPr>
          <p:cNvPr id="5" name="Arrow: Chevron 4">
            <a:extLst>
              <a:ext uri="{FF2B5EF4-FFF2-40B4-BE49-F238E27FC236}">
                <a16:creationId xmlns:a16="http://schemas.microsoft.com/office/drawing/2014/main" id="{B9F8046B-F153-E80B-0C3D-84B014FB86C4}"/>
              </a:ext>
            </a:extLst>
          </p:cNvPr>
          <p:cNvSpPr/>
          <p:nvPr/>
        </p:nvSpPr>
        <p:spPr>
          <a:xfrm>
            <a:off x="1881896" y="2218706"/>
            <a:ext cx="5547507" cy="216000"/>
          </a:xfrm>
          <a:prstGeom prst="chevron">
            <a:avLst/>
          </a:prstGeom>
          <a:solidFill>
            <a:schemeClr val="bg2">
              <a:lumMod val="50000"/>
            </a:schemeClr>
          </a:solidFill>
          <a:ln/>
        </p:spPr>
        <p:style>
          <a:lnRef idx="3">
            <a:schemeClr val="lt1"/>
          </a:lnRef>
          <a:fillRef idx="1">
            <a:schemeClr val="accent1"/>
          </a:fillRef>
          <a:effectRef idx="1">
            <a:schemeClr val="accent1"/>
          </a:effectRef>
          <a:fontRef idx="minor">
            <a:schemeClr val="lt1"/>
          </a:fontRef>
        </p:style>
        <p:txBody>
          <a:bodyPr rtlCol="0" anchor="ctr"/>
          <a:lstStyle/>
          <a:p>
            <a:pPr algn="ctr" defTabSz="685800">
              <a:buClr>
                <a:srgbClr val="000000"/>
              </a:buClr>
              <a:defRPr/>
            </a:pPr>
            <a:r>
              <a:rPr lang="en-IE" sz="1050" kern="0">
                <a:solidFill>
                  <a:srgbClr val="FFFFFF"/>
                </a:solidFill>
                <a:latin typeface="Arial"/>
                <a:sym typeface="Arial"/>
              </a:rPr>
              <a:t>Media Data Space - TEMS</a:t>
            </a:r>
          </a:p>
        </p:txBody>
      </p:sp>
      <p:sp>
        <p:nvSpPr>
          <p:cNvPr id="6" name="Arrow: Chevron 5">
            <a:extLst>
              <a:ext uri="{FF2B5EF4-FFF2-40B4-BE49-F238E27FC236}">
                <a16:creationId xmlns:a16="http://schemas.microsoft.com/office/drawing/2014/main" id="{122261AC-F730-ED1C-5743-9192432CF900}"/>
              </a:ext>
            </a:extLst>
          </p:cNvPr>
          <p:cNvSpPr/>
          <p:nvPr/>
        </p:nvSpPr>
        <p:spPr>
          <a:xfrm>
            <a:off x="3748455" y="3273527"/>
            <a:ext cx="4921381" cy="216000"/>
          </a:xfrm>
          <a:prstGeom prst="chevron">
            <a:avLst/>
          </a:prstGeom>
          <a:solidFill>
            <a:schemeClr val="bg2">
              <a:lumMod val="50000"/>
            </a:schemeClr>
          </a:solidFill>
          <a:ln/>
        </p:spPr>
        <p:style>
          <a:lnRef idx="3">
            <a:schemeClr val="lt1"/>
          </a:lnRef>
          <a:fillRef idx="1">
            <a:schemeClr val="accent1"/>
          </a:fillRef>
          <a:effectRef idx="1">
            <a:schemeClr val="accent1"/>
          </a:effectRef>
          <a:fontRef idx="minor">
            <a:schemeClr val="lt1"/>
          </a:fontRef>
        </p:style>
        <p:txBody>
          <a:bodyPr rtlCol="0" anchor="ctr"/>
          <a:lstStyle/>
          <a:p>
            <a:pPr algn="ctr" defTabSz="685800">
              <a:buClr>
                <a:srgbClr val="000000"/>
              </a:buClr>
              <a:defRPr/>
            </a:pPr>
            <a:r>
              <a:rPr lang="en-IE" sz="1050" kern="0">
                <a:solidFill>
                  <a:srgbClr val="FFFFFF"/>
                </a:solidFill>
                <a:latin typeface="Arial"/>
                <a:sym typeface="Arial"/>
              </a:rPr>
              <a:t>Tourism Data Space - DEPLOYTOUR </a:t>
            </a:r>
          </a:p>
        </p:txBody>
      </p:sp>
      <p:sp>
        <p:nvSpPr>
          <p:cNvPr id="19" name="Arrow: Chevron 18">
            <a:extLst>
              <a:ext uri="{FF2B5EF4-FFF2-40B4-BE49-F238E27FC236}">
                <a16:creationId xmlns:a16="http://schemas.microsoft.com/office/drawing/2014/main" id="{8E18BA3F-AC75-BE29-18DE-3B69DB8126AE}"/>
              </a:ext>
            </a:extLst>
          </p:cNvPr>
          <p:cNvSpPr/>
          <p:nvPr/>
        </p:nvSpPr>
        <p:spPr>
          <a:xfrm>
            <a:off x="1881895" y="2482411"/>
            <a:ext cx="5547509" cy="216000"/>
          </a:xfrm>
          <a:prstGeom prst="chevron">
            <a:avLst/>
          </a:prstGeom>
          <a:solidFill>
            <a:schemeClr val="bg2">
              <a:lumMod val="50000"/>
            </a:schemeClr>
          </a:solidFill>
          <a:ln/>
        </p:spPr>
        <p:style>
          <a:lnRef idx="3">
            <a:schemeClr val="lt1"/>
          </a:lnRef>
          <a:fillRef idx="1">
            <a:schemeClr val="accent1"/>
          </a:fillRef>
          <a:effectRef idx="1">
            <a:schemeClr val="accent1"/>
          </a:effectRef>
          <a:fontRef idx="minor">
            <a:schemeClr val="lt1"/>
          </a:fontRef>
        </p:style>
        <p:txBody>
          <a:bodyPr rtlCol="0" anchor="ctr"/>
          <a:lstStyle/>
          <a:p>
            <a:pPr algn="ctr" defTabSz="685800">
              <a:buClr>
                <a:srgbClr val="000000"/>
              </a:buClr>
              <a:defRPr/>
            </a:pPr>
            <a:r>
              <a:rPr lang="en-IE" sz="1050" kern="0">
                <a:solidFill>
                  <a:srgbClr val="FFFFFF"/>
                </a:solidFill>
                <a:latin typeface="Arial"/>
                <a:sym typeface="Arial"/>
              </a:rPr>
              <a:t>Manufacturing Data Space - SM4RTENANCE</a:t>
            </a:r>
          </a:p>
        </p:txBody>
      </p:sp>
      <p:sp>
        <p:nvSpPr>
          <p:cNvPr id="20" name="Arrow: Chevron 19">
            <a:extLst>
              <a:ext uri="{FF2B5EF4-FFF2-40B4-BE49-F238E27FC236}">
                <a16:creationId xmlns:a16="http://schemas.microsoft.com/office/drawing/2014/main" id="{2F66A375-102D-57FB-D0F4-7E7906274EAF}"/>
              </a:ext>
            </a:extLst>
          </p:cNvPr>
          <p:cNvSpPr/>
          <p:nvPr/>
        </p:nvSpPr>
        <p:spPr>
          <a:xfrm>
            <a:off x="392391" y="1427590"/>
            <a:ext cx="7114852" cy="216000"/>
          </a:xfrm>
          <a:prstGeom prst="chevron">
            <a:avLst/>
          </a:prstGeom>
          <a:solidFill>
            <a:schemeClr val="bg2">
              <a:lumMod val="50000"/>
            </a:schemeClr>
          </a:solidFill>
          <a:ln/>
        </p:spPr>
        <p:style>
          <a:lnRef idx="3">
            <a:schemeClr val="lt1"/>
          </a:lnRef>
          <a:fillRef idx="1">
            <a:schemeClr val="accent1"/>
          </a:fillRef>
          <a:effectRef idx="1">
            <a:schemeClr val="accent1"/>
          </a:effectRef>
          <a:fontRef idx="minor">
            <a:schemeClr val="lt1"/>
          </a:fontRef>
        </p:style>
        <p:txBody>
          <a:bodyPr rtlCol="0" anchor="ctr"/>
          <a:lstStyle/>
          <a:p>
            <a:pPr algn="ctr" defTabSz="685800">
              <a:buClr>
                <a:srgbClr val="000000"/>
              </a:buClr>
              <a:defRPr/>
            </a:pPr>
            <a:r>
              <a:rPr lang="en-IE" sz="1050" kern="0">
                <a:solidFill>
                  <a:srgbClr val="FFFFFF"/>
                </a:solidFill>
                <a:latin typeface="Arial"/>
                <a:sym typeface="Arial"/>
              </a:rPr>
              <a:t>Cancer Images Data Space – EUCAIM</a:t>
            </a:r>
          </a:p>
        </p:txBody>
      </p:sp>
      <p:sp>
        <p:nvSpPr>
          <p:cNvPr id="21" name="Arrow: Chevron 20">
            <a:extLst>
              <a:ext uri="{FF2B5EF4-FFF2-40B4-BE49-F238E27FC236}">
                <a16:creationId xmlns:a16="http://schemas.microsoft.com/office/drawing/2014/main" id="{40AE552E-A52D-5E26-92B5-4BB84748DE85}"/>
              </a:ext>
            </a:extLst>
          </p:cNvPr>
          <p:cNvSpPr/>
          <p:nvPr/>
        </p:nvSpPr>
        <p:spPr>
          <a:xfrm>
            <a:off x="4267315" y="3800937"/>
            <a:ext cx="4815725" cy="216000"/>
          </a:xfrm>
          <a:prstGeom prst="chevron">
            <a:avLst/>
          </a:prstGeom>
          <a:solidFill>
            <a:schemeClr val="bg2">
              <a:lumMod val="50000"/>
            </a:schemeClr>
          </a:solidFill>
          <a:ln/>
        </p:spPr>
        <p:style>
          <a:lnRef idx="3">
            <a:schemeClr val="lt1"/>
          </a:lnRef>
          <a:fillRef idx="1">
            <a:schemeClr val="accent1"/>
          </a:fillRef>
          <a:effectRef idx="1">
            <a:schemeClr val="accent1"/>
          </a:effectRef>
          <a:fontRef idx="minor">
            <a:schemeClr val="lt1"/>
          </a:fontRef>
        </p:style>
        <p:txBody>
          <a:bodyPr rtlCol="0" anchor="ctr"/>
          <a:lstStyle/>
          <a:p>
            <a:pPr algn="ctr" defTabSz="685800">
              <a:buClr>
                <a:srgbClr val="000000"/>
              </a:buClr>
              <a:defRPr/>
            </a:pPr>
            <a:r>
              <a:rPr lang="en-IE" sz="1050" kern="0">
                <a:solidFill>
                  <a:srgbClr val="FFFFFF"/>
                </a:solidFill>
                <a:latin typeface="Arial"/>
                <a:sym typeface="Arial"/>
              </a:rPr>
              <a:t>Green Deal Data Space - SAGE </a:t>
            </a:r>
          </a:p>
        </p:txBody>
      </p:sp>
      <p:sp>
        <p:nvSpPr>
          <p:cNvPr id="22" name="Arrow: Chevron 21">
            <a:extLst>
              <a:ext uri="{FF2B5EF4-FFF2-40B4-BE49-F238E27FC236}">
                <a16:creationId xmlns:a16="http://schemas.microsoft.com/office/drawing/2014/main" id="{1BC47911-4C0F-3A9F-5644-96F17AFB55FE}"/>
              </a:ext>
            </a:extLst>
          </p:cNvPr>
          <p:cNvSpPr/>
          <p:nvPr/>
        </p:nvSpPr>
        <p:spPr>
          <a:xfrm>
            <a:off x="4267315" y="4064642"/>
            <a:ext cx="4815725" cy="216000"/>
          </a:xfrm>
          <a:prstGeom prst="chevron">
            <a:avLst/>
          </a:prstGeom>
          <a:solidFill>
            <a:schemeClr val="bg2">
              <a:lumMod val="50000"/>
            </a:schemeClr>
          </a:solidFill>
          <a:ln/>
        </p:spPr>
        <p:style>
          <a:lnRef idx="3">
            <a:schemeClr val="lt1"/>
          </a:lnRef>
          <a:fillRef idx="1">
            <a:schemeClr val="accent1"/>
          </a:fillRef>
          <a:effectRef idx="1">
            <a:schemeClr val="accent1"/>
          </a:effectRef>
          <a:fontRef idx="minor">
            <a:schemeClr val="lt1"/>
          </a:fontRef>
        </p:style>
        <p:txBody>
          <a:bodyPr lIns="91440" tIns="45720" rIns="91440" bIns="45720" rtlCol="0" anchor="ctr"/>
          <a:lstStyle/>
          <a:p>
            <a:pPr algn="ctr" defTabSz="685800">
              <a:buClr>
                <a:srgbClr val="000000"/>
              </a:buClr>
              <a:defRPr/>
            </a:pPr>
            <a:r>
              <a:rPr lang="en-IE" sz="1050" kern="0">
                <a:solidFill>
                  <a:srgbClr val="FFFFFF"/>
                </a:solidFill>
                <a:latin typeface="Arial"/>
                <a:sym typeface="Arial"/>
              </a:rPr>
              <a:t>Energy Data Space- INSIEME</a:t>
            </a:r>
          </a:p>
        </p:txBody>
      </p:sp>
      <p:sp>
        <p:nvSpPr>
          <p:cNvPr id="26" name="Arrow: Chevron 25">
            <a:extLst>
              <a:ext uri="{FF2B5EF4-FFF2-40B4-BE49-F238E27FC236}">
                <a16:creationId xmlns:a16="http://schemas.microsoft.com/office/drawing/2014/main" id="{6D842A9A-8C73-5B5E-A83F-9EF04E5122CC}"/>
              </a:ext>
            </a:extLst>
          </p:cNvPr>
          <p:cNvSpPr/>
          <p:nvPr/>
        </p:nvSpPr>
        <p:spPr>
          <a:xfrm>
            <a:off x="392390" y="1691295"/>
            <a:ext cx="5336141" cy="216000"/>
          </a:xfrm>
          <a:prstGeom prst="chevron">
            <a:avLst/>
          </a:prstGeom>
          <a:solidFill>
            <a:schemeClr val="bg2">
              <a:lumMod val="50000"/>
            </a:schemeClr>
          </a:solidFill>
          <a:ln/>
        </p:spPr>
        <p:style>
          <a:lnRef idx="3">
            <a:schemeClr val="lt1"/>
          </a:lnRef>
          <a:fillRef idx="1">
            <a:schemeClr val="accent1"/>
          </a:fillRef>
          <a:effectRef idx="1">
            <a:schemeClr val="accent1"/>
          </a:effectRef>
          <a:fontRef idx="minor">
            <a:schemeClr val="lt1"/>
          </a:fontRef>
        </p:style>
        <p:txBody>
          <a:bodyPr rtlCol="0" anchor="ctr"/>
          <a:lstStyle/>
          <a:p>
            <a:pPr algn="ctr" defTabSz="685800">
              <a:buClr>
                <a:srgbClr val="000000"/>
              </a:buClr>
              <a:defRPr/>
            </a:pPr>
            <a:r>
              <a:rPr lang="en-IE" sz="1050" kern="0">
                <a:solidFill>
                  <a:srgbClr val="FFFFFF"/>
                </a:solidFill>
                <a:latin typeface="Arial"/>
                <a:sym typeface="Arial"/>
              </a:rPr>
              <a:t>Language Data Space – ALT-EDIC </a:t>
            </a:r>
          </a:p>
        </p:txBody>
      </p:sp>
      <p:sp>
        <p:nvSpPr>
          <p:cNvPr id="32" name="Arrow: Chevron 31">
            <a:extLst>
              <a:ext uri="{FF2B5EF4-FFF2-40B4-BE49-F238E27FC236}">
                <a16:creationId xmlns:a16="http://schemas.microsoft.com/office/drawing/2014/main" id="{B97F0102-51B3-099D-C844-29D7C81CA481}"/>
              </a:ext>
            </a:extLst>
          </p:cNvPr>
          <p:cNvSpPr/>
          <p:nvPr/>
        </p:nvSpPr>
        <p:spPr>
          <a:xfrm>
            <a:off x="94424" y="900179"/>
            <a:ext cx="6969641" cy="216000"/>
          </a:xfrm>
          <a:prstGeom prst="chevron">
            <a:avLst/>
          </a:prstGeom>
          <a:solidFill>
            <a:schemeClr val="bg2">
              <a:lumMod val="50000"/>
            </a:schemeClr>
          </a:solidFill>
          <a:ln/>
        </p:spPr>
        <p:style>
          <a:lnRef idx="3">
            <a:schemeClr val="lt1"/>
          </a:lnRef>
          <a:fillRef idx="1">
            <a:schemeClr val="accent1"/>
          </a:fillRef>
          <a:effectRef idx="1">
            <a:schemeClr val="accent1"/>
          </a:effectRef>
          <a:fontRef idx="minor">
            <a:schemeClr val="lt1"/>
          </a:fontRef>
        </p:style>
        <p:txBody>
          <a:bodyPr rtlCol="0" anchor="ctr"/>
          <a:lstStyle/>
          <a:p>
            <a:pPr algn="ctr" defTabSz="685800">
              <a:buClr>
                <a:srgbClr val="000000"/>
              </a:buClr>
              <a:defRPr/>
            </a:pPr>
            <a:r>
              <a:rPr lang="en-IE" sz="1050" kern="0">
                <a:solidFill>
                  <a:srgbClr val="FFFFFF"/>
                </a:solidFill>
                <a:latin typeface="Arial"/>
                <a:sym typeface="Arial"/>
              </a:rPr>
              <a:t>Cultural Heritage Data Space – </a:t>
            </a:r>
            <a:r>
              <a:rPr lang="en-IE" sz="1050" kern="0" err="1">
                <a:solidFill>
                  <a:srgbClr val="FFFFFF"/>
                </a:solidFill>
                <a:latin typeface="Arial"/>
                <a:sym typeface="Arial"/>
              </a:rPr>
              <a:t>Europeana</a:t>
            </a:r>
            <a:r>
              <a:rPr lang="en-IE" sz="1050" kern="0">
                <a:solidFill>
                  <a:srgbClr val="FFFFFF"/>
                </a:solidFill>
                <a:latin typeface="Arial"/>
                <a:sym typeface="Arial"/>
              </a:rPr>
              <a:t> </a:t>
            </a:r>
          </a:p>
        </p:txBody>
      </p:sp>
      <p:sp>
        <p:nvSpPr>
          <p:cNvPr id="7" name="Arrow: Chevron 6">
            <a:extLst>
              <a:ext uri="{FF2B5EF4-FFF2-40B4-BE49-F238E27FC236}">
                <a16:creationId xmlns:a16="http://schemas.microsoft.com/office/drawing/2014/main" id="{2B830383-1A79-51F6-DE59-08F88D2BBDBE}"/>
              </a:ext>
            </a:extLst>
          </p:cNvPr>
          <p:cNvSpPr/>
          <p:nvPr/>
        </p:nvSpPr>
        <p:spPr>
          <a:xfrm>
            <a:off x="4267315" y="4328351"/>
            <a:ext cx="4815725" cy="216000"/>
          </a:xfrm>
          <a:prstGeom prst="chevron">
            <a:avLst/>
          </a:prstGeom>
          <a:solidFill>
            <a:schemeClr val="bg2">
              <a:lumMod val="50000"/>
            </a:schemeClr>
          </a:solidFill>
          <a:ln/>
        </p:spPr>
        <p:style>
          <a:lnRef idx="3">
            <a:schemeClr val="lt1"/>
          </a:lnRef>
          <a:fillRef idx="1">
            <a:schemeClr val="accent1"/>
          </a:fillRef>
          <a:effectRef idx="1">
            <a:schemeClr val="accent1"/>
          </a:effectRef>
          <a:fontRef idx="minor">
            <a:schemeClr val="lt1"/>
          </a:fontRef>
        </p:style>
        <p:txBody>
          <a:bodyPr lIns="91440" tIns="45720" rIns="91440" bIns="45720" rtlCol="0" anchor="ctr"/>
          <a:lstStyle/>
          <a:p>
            <a:pPr algn="ctr" defTabSz="685800">
              <a:buClr>
                <a:srgbClr val="000000"/>
              </a:buClr>
              <a:defRPr/>
            </a:pPr>
            <a:r>
              <a:rPr lang="en-IE" sz="1050" kern="0">
                <a:solidFill>
                  <a:srgbClr val="FFFFFF"/>
                </a:solidFill>
                <a:latin typeface="Arial"/>
                <a:sym typeface="Arial"/>
              </a:rPr>
              <a:t>Agriculture Data Space - CEADS</a:t>
            </a:r>
          </a:p>
        </p:txBody>
      </p:sp>
      <p:sp>
        <p:nvSpPr>
          <p:cNvPr id="17" name="Arrow: Chevron 16">
            <a:extLst>
              <a:ext uri="{FF2B5EF4-FFF2-40B4-BE49-F238E27FC236}">
                <a16:creationId xmlns:a16="http://schemas.microsoft.com/office/drawing/2014/main" id="{A5C2751C-1EC1-57F6-552D-CF456D6227FC}"/>
              </a:ext>
            </a:extLst>
          </p:cNvPr>
          <p:cNvSpPr/>
          <p:nvPr/>
        </p:nvSpPr>
        <p:spPr>
          <a:xfrm>
            <a:off x="3949816" y="3537232"/>
            <a:ext cx="4804611" cy="216000"/>
          </a:xfrm>
          <a:prstGeom prst="chevron">
            <a:avLst/>
          </a:prstGeom>
          <a:solidFill>
            <a:schemeClr val="bg2">
              <a:lumMod val="50000"/>
            </a:schemeClr>
          </a:solidFill>
          <a:ln/>
        </p:spPr>
        <p:style>
          <a:lnRef idx="3">
            <a:schemeClr val="lt1"/>
          </a:lnRef>
          <a:fillRef idx="1">
            <a:schemeClr val="accent1"/>
          </a:fillRef>
          <a:effectRef idx="1">
            <a:schemeClr val="accent1"/>
          </a:effectRef>
          <a:fontRef idx="minor">
            <a:schemeClr val="lt1"/>
          </a:fontRef>
        </p:style>
        <p:txBody>
          <a:bodyPr rtlCol="0" anchor="ctr"/>
          <a:lstStyle/>
          <a:p>
            <a:pPr algn="ctr" defTabSz="685800">
              <a:buClr>
                <a:srgbClr val="000000"/>
              </a:buClr>
              <a:defRPr/>
            </a:pPr>
            <a:r>
              <a:rPr lang="en-IE" sz="1050" kern="0">
                <a:solidFill>
                  <a:srgbClr val="FFFFFF"/>
                </a:solidFill>
                <a:latin typeface="Arial"/>
                <a:sym typeface="Arial"/>
              </a:rPr>
              <a:t>Skills Data Space – DS4SKILLS-GO</a:t>
            </a:r>
          </a:p>
        </p:txBody>
      </p:sp>
      <p:sp>
        <p:nvSpPr>
          <p:cNvPr id="24" name="TextBox 23">
            <a:extLst>
              <a:ext uri="{FF2B5EF4-FFF2-40B4-BE49-F238E27FC236}">
                <a16:creationId xmlns:a16="http://schemas.microsoft.com/office/drawing/2014/main" id="{0A9A4E42-3A3F-C28D-BBDA-E8D4F0290460}"/>
              </a:ext>
            </a:extLst>
          </p:cNvPr>
          <p:cNvSpPr txBox="1"/>
          <p:nvPr/>
        </p:nvSpPr>
        <p:spPr>
          <a:xfrm>
            <a:off x="142889" y="4880643"/>
            <a:ext cx="567000" cy="276999"/>
          </a:xfrm>
          <a:prstGeom prst="rect">
            <a:avLst/>
          </a:prstGeom>
          <a:noFill/>
        </p:spPr>
        <p:txBody>
          <a:bodyPr wrap="square" rtlCol="0">
            <a:spAutoFit/>
          </a:bodyPr>
          <a:lstStyle/>
          <a:p>
            <a:pPr defTabSz="685800">
              <a:buClr>
                <a:srgbClr val="000000"/>
              </a:buClr>
              <a:defRPr/>
            </a:pPr>
            <a:r>
              <a:rPr lang="en-IE" sz="1200" b="1" kern="0">
                <a:solidFill>
                  <a:srgbClr val="004494"/>
                </a:solidFill>
                <a:latin typeface="Arial"/>
                <a:cs typeface="Arial"/>
                <a:sym typeface="Arial"/>
              </a:rPr>
              <a:t>2023</a:t>
            </a:r>
          </a:p>
        </p:txBody>
      </p:sp>
      <p:sp>
        <p:nvSpPr>
          <p:cNvPr id="25" name="TextBox 24">
            <a:extLst>
              <a:ext uri="{FF2B5EF4-FFF2-40B4-BE49-F238E27FC236}">
                <a16:creationId xmlns:a16="http://schemas.microsoft.com/office/drawing/2014/main" id="{644CBF17-9CDE-C3F7-834B-DA15DE8C1258}"/>
              </a:ext>
            </a:extLst>
          </p:cNvPr>
          <p:cNvSpPr txBox="1"/>
          <p:nvPr/>
        </p:nvSpPr>
        <p:spPr>
          <a:xfrm>
            <a:off x="1952774" y="4888017"/>
            <a:ext cx="567000" cy="276999"/>
          </a:xfrm>
          <a:prstGeom prst="rect">
            <a:avLst/>
          </a:prstGeom>
          <a:noFill/>
        </p:spPr>
        <p:txBody>
          <a:bodyPr wrap="square" rtlCol="0">
            <a:spAutoFit/>
          </a:bodyPr>
          <a:lstStyle/>
          <a:p>
            <a:pPr defTabSz="685800">
              <a:buClr>
                <a:srgbClr val="000000"/>
              </a:buClr>
              <a:defRPr/>
            </a:pPr>
            <a:r>
              <a:rPr lang="en-IE" sz="1200" b="1" kern="0">
                <a:solidFill>
                  <a:srgbClr val="004494"/>
                </a:solidFill>
                <a:latin typeface="Arial"/>
                <a:cs typeface="Arial"/>
                <a:sym typeface="Arial"/>
              </a:rPr>
              <a:t>2024</a:t>
            </a:r>
          </a:p>
        </p:txBody>
      </p:sp>
      <p:sp>
        <p:nvSpPr>
          <p:cNvPr id="27" name="TextBox 26">
            <a:extLst>
              <a:ext uri="{FF2B5EF4-FFF2-40B4-BE49-F238E27FC236}">
                <a16:creationId xmlns:a16="http://schemas.microsoft.com/office/drawing/2014/main" id="{DF890315-7EE8-BE0A-72A3-9AC07CC3DD22}"/>
              </a:ext>
            </a:extLst>
          </p:cNvPr>
          <p:cNvSpPr txBox="1"/>
          <p:nvPr/>
        </p:nvSpPr>
        <p:spPr>
          <a:xfrm>
            <a:off x="3700316" y="4888017"/>
            <a:ext cx="567000" cy="276999"/>
          </a:xfrm>
          <a:prstGeom prst="rect">
            <a:avLst/>
          </a:prstGeom>
          <a:noFill/>
        </p:spPr>
        <p:txBody>
          <a:bodyPr wrap="square" rtlCol="0">
            <a:spAutoFit/>
          </a:bodyPr>
          <a:lstStyle/>
          <a:p>
            <a:pPr defTabSz="685800">
              <a:buClr>
                <a:srgbClr val="000000"/>
              </a:buClr>
              <a:defRPr/>
            </a:pPr>
            <a:r>
              <a:rPr lang="en-IE" sz="1200" b="1" kern="0">
                <a:solidFill>
                  <a:srgbClr val="004494"/>
                </a:solidFill>
                <a:latin typeface="Arial"/>
                <a:cs typeface="Arial"/>
                <a:sym typeface="Arial"/>
              </a:rPr>
              <a:t>2025</a:t>
            </a:r>
          </a:p>
        </p:txBody>
      </p:sp>
      <p:sp>
        <p:nvSpPr>
          <p:cNvPr id="28" name="TextBox 27">
            <a:extLst>
              <a:ext uri="{FF2B5EF4-FFF2-40B4-BE49-F238E27FC236}">
                <a16:creationId xmlns:a16="http://schemas.microsoft.com/office/drawing/2014/main" id="{79210B44-C534-7A84-6DDC-332E0C371356}"/>
              </a:ext>
            </a:extLst>
          </p:cNvPr>
          <p:cNvSpPr txBox="1"/>
          <p:nvPr/>
        </p:nvSpPr>
        <p:spPr>
          <a:xfrm>
            <a:off x="5510201" y="4880643"/>
            <a:ext cx="567000" cy="276999"/>
          </a:xfrm>
          <a:prstGeom prst="rect">
            <a:avLst/>
          </a:prstGeom>
          <a:noFill/>
        </p:spPr>
        <p:txBody>
          <a:bodyPr wrap="square" rtlCol="0">
            <a:spAutoFit/>
          </a:bodyPr>
          <a:lstStyle/>
          <a:p>
            <a:pPr defTabSz="685800">
              <a:buClr>
                <a:srgbClr val="000000"/>
              </a:buClr>
              <a:defRPr/>
            </a:pPr>
            <a:r>
              <a:rPr lang="en-IE" sz="1200" b="1" kern="0">
                <a:solidFill>
                  <a:srgbClr val="004494"/>
                </a:solidFill>
                <a:latin typeface="Arial"/>
                <a:cs typeface="Arial"/>
                <a:sym typeface="Arial"/>
              </a:rPr>
              <a:t>2026</a:t>
            </a:r>
          </a:p>
        </p:txBody>
      </p:sp>
      <p:sp>
        <p:nvSpPr>
          <p:cNvPr id="29" name="TextBox 28">
            <a:extLst>
              <a:ext uri="{FF2B5EF4-FFF2-40B4-BE49-F238E27FC236}">
                <a16:creationId xmlns:a16="http://schemas.microsoft.com/office/drawing/2014/main" id="{35589384-8945-94D7-6C03-479942C218C2}"/>
              </a:ext>
            </a:extLst>
          </p:cNvPr>
          <p:cNvSpPr txBox="1"/>
          <p:nvPr/>
        </p:nvSpPr>
        <p:spPr>
          <a:xfrm>
            <a:off x="7252936" y="4880643"/>
            <a:ext cx="567000" cy="276999"/>
          </a:xfrm>
          <a:prstGeom prst="rect">
            <a:avLst/>
          </a:prstGeom>
          <a:noFill/>
        </p:spPr>
        <p:txBody>
          <a:bodyPr wrap="square" rtlCol="0">
            <a:spAutoFit/>
          </a:bodyPr>
          <a:lstStyle/>
          <a:p>
            <a:pPr defTabSz="685800">
              <a:buClr>
                <a:srgbClr val="000000"/>
              </a:buClr>
              <a:defRPr/>
            </a:pPr>
            <a:r>
              <a:rPr lang="en-IE" sz="1200" b="1" kern="0">
                <a:solidFill>
                  <a:srgbClr val="004494"/>
                </a:solidFill>
                <a:latin typeface="Arial"/>
                <a:cs typeface="Arial"/>
                <a:sym typeface="Arial"/>
              </a:rPr>
              <a:t>2027</a:t>
            </a:r>
          </a:p>
        </p:txBody>
      </p:sp>
      <p:sp>
        <p:nvSpPr>
          <p:cNvPr id="30" name="Arrow: Chevron 29">
            <a:extLst>
              <a:ext uri="{FF2B5EF4-FFF2-40B4-BE49-F238E27FC236}">
                <a16:creationId xmlns:a16="http://schemas.microsoft.com/office/drawing/2014/main" id="{5392F5C0-DA04-FD91-7A7E-7EE3C5F300CE}"/>
              </a:ext>
            </a:extLst>
          </p:cNvPr>
          <p:cNvSpPr/>
          <p:nvPr/>
        </p:nvSpPr>
        <p:spPr>
          <a:xfrm>
            <a:off x="1920814" y="2746116"/>
            <a:ext cx="5547509" cy="216000"/>
          </a:xfrm>
          <a:prstGeom prst="chevron">
            <a:avLst/>
          </a:prstGeom>
          <a:solidFill>
            <a:schemeClr val="bg2">
              <a:lumMod val="50000"/>
            </a:schemeClr>
          </a:solidFill>
          <a:ln/>
        </p:spPr>
        <p:style>
          <a:lnRef idx="3">
            <a:schemeClr val="lt1"/>
          </a:lnRef>
          <a:fillRef idx="1">
            <a:schemeClr val="accent1"/>
          </a:fillRef>
          <a:effectRef idx="1">
            <a:schemeClr val="accent1"/>
          </a:effectRef>
          <a:fontRef idx="minor">
            <a:schemeClr val="lt1"/>
          </a:fontRef>
        </p:style>
        <p:txBody>
          <a:bodyPr rtlCol="0" anchor="ctr"/>
          <a:lstStyle/>
          <a:p>
            <a:pPr algn="ctr" defTabSz="685800">
              <a:buClr>
                <a:srgbClr val="000000"/>
              </a:buClr>
              <a:defRPr/>
            </a:pPr>
            <a:r>
              <a:rPr lang="en-IE" sz="1050" kern="0">
                <a:solidFill>
                  <a:srgbClr val="FFFFFF"/>
                </a:solidFill>
                <a:latin typeface="Arial"/>
                <a:sym typeface="Arial"/>
              </a:rPr>
              <a:t>Smart Communities Data Space - DS4SSCC</a:t>
            </a:r>
          </a:p>
        </p:txBody>
      </p:sp>
      <p:sp>
        <p:nvSpPr>
          <p:cNvPr id="31" name="Arrow: Chevron 30">
            <a:extLst>
              <a:ext uri="{FF2B5EF4-FFF2-40B4-BE49-F238E27FC236}">
                <a16:creationId xmlns:a16="http://schemas.microsoft.com/office/drawing/2014/main" id="{310B6FFB-3630-602D-F74F-A6577342E3E7}"/>
              </a:ext>
            </a:extLst>
          </p:cNvPr>
          <p:cNvSpPr/>
          <p:nvPr/>
        </p:nvSpPr>
        <p:spPr>
          <a:xfrm>
            <a:off x="208724" y="1163885"/>
            <a:ext cx="6969641" cy="216000"/>
          </a:xfrm>
          <a:prstGeom prst="chevron">
            <a:avLst/>
          </a:prstGeom>
          <a:solidFill>
            <a:schemeClr val="bg2">
              <a:lumMod val="50000"/>
            </a:schemeClr>
          </a:solidFill>
          <a:ln/>
        </p:spPr>
        <p:style>
          <a:lnRef idx="3">
            <a:schemeClr val="lt1"/>
          </a:lnRef>
          <a:fillRef idx="1">
            <a:schemeClr val="accent1"/>
          </a:fillRef>
          <a:effectRef idx="1">
            <a:schemeClr val="accent1"/>
          </a:effectRef>
          <a:fontRef idx="minor">
            <a:schemeClr val="lt1"/>
          </a:fontRef>
        </p:style>
        <p:txBody>
          <a:bodyPr rtlCol="0" anchor="ctr"/>
          <a:lstStyle/>
          <a:p>
            <a:pPr algn="ctr" defTabSz="685800">
              <a:buClr>
                <a:srgbClr val="000000"/>
              </a:buClr>
              <a:defRPr/>
            </a:pPr>
            <a:r>
              <a:rPr lang="en-IE" sz="1050" kern="0">
                <a:solidFill>
                  <a:srgbClr val="FFFFFF"/>
                </a:solidFill>
                <a:latin typeface="Arial"/>
                <a:sym typeface="Arial"/>
              </a:rPr>
              <a:t>Genome Data Space – GDI</a:t>
            </a:r>
          </a:p>
        </p:txBody>
      </p:sp>
      <p:sp>
        <p:nvSpPr>
          <p:cNvPr id="36" name="Arrow: Chevron 35">
            <a:extLst>
              <a:ext uri="{FF2B5EF4-FFF2-40B4-BE49-F238E27FC236}">
                <a16:creationId xmlns:a16="http://schemas.microsoft.com/office/drawing/2014/main" id="{C99DF67C-9E0F-53F6-776E-03EB9586BE5B}"/>
              </a:ext>
            </a:extLst>
          </p:cNvPr>
          <p:cNvSpPr/>
          <p:nvPr/>
        </p:nvSpPr>
        <p:spPr>
          <a:xfrm>
            <a:off x="1920814" y="3009821"/>
            <a:ext cx="5547509" cy="216000"/>
          </a:xfrm>
          <a:prstGeom prst="chevron">
            <a:avLst/>
          </a:prstGeom>
          <a:solidFill>
            <a:schemeClr val="bg2">
              <a:lumMod val="50000"/>
            </a:schemeClr>
          </a:solidFill>
          <a:ln/>
        </p:spPr>
        <p:style>
          <a:lnRef idx="3">
            <a:schemeClr val="lt1"/>
          </a:lnRef>
          <a:fillRef idx="1">
            <a:schemeClr val="accent1"/>
          </a:fillRef>
          <a:effectRef idx="1">
            <a:schemeClr val="accent1"/>
          </a:effectRef>
          <a:fontRef idx="minor">
            <a:schemeClr val="lt1"/>
          </a:fontRef>
        </p:style>
        <p:txBody>
          <a:bodyPr rtlCol="0" anchor="ctr"/>
          <a:lstStyle/>
          <a:p>
            <a:pPr algn="ctr" defTabSz="685800">
              <a:buClr>
                <a:srgbClr val="000000"/>
              </a:buClr>
              <a:defRPr/>
            </a:pPr>
            <a:r>
              <a:rPr lang="en-IE" sz="1050" kern="0">
                <a:solidFill>
                  <a:srgbClr val="FFFFFF"/>
                </a:solidFill>
                <a:latin typeface="Arial"/>
                <a:sym typeface="Arial"/>
              </a:rPr>
              <a:t>Public Procurement Data Space - PPDS</a:t>
            </a:r>
          </a:p>
        </p:txBody>
      </p:sp>
      <p:sp>
        <p:nvSpPr>
          <p:cNvPr id="37" name="Rectangle 36">
            <a:extLst>
              <a:ext uri="{FF2B5EF4-FFF2-40B4-BE49-F238E27FC236}">
                <a16:creationId xmlns:a16="http://schemas.microsoft.com/office/drawing/2014/main" id="{5BDF461E-49FA-2FED-B9F4-6C8D02D99C78}"/>
              </a:ext>
            </a:extLst>
          </p:cNvPr>
          <p:cNvSpPr/>
          <p:nvPr/>
        </p:nvSpPr>
        <p:spPr>
          <a:xfrm>
            <a:off x="6272212" y="51370"/>
            <a:ext cx="2693194" cy="321419"/>
          </a:xfrm>
          <a:prstGeom prst="rect">
            <a:avLst/>
          </a:prstGeom>
          <a:solidFill>
            <a:schemeClr val="accent5">
              <a:lumMod val="20000"/>
              <a:lumOff val="80000"/>
            </a:schemeClr>
          </a:solidFill>
        </p:spPr>
        <p:style>
          <a:lnRef idx="2">
            <a:schemeClr val="accent5">
              <a:shade val="15000"/>
            </a:schemeClr>
          </a:lnRef>
          <a:fillRef idx="1">
            <a:schemeClr val="accent5"/>
          </a:fillRef>
          <a:effectRef idx="0">
            <a:schemeClr val="accent5"/>
          </a:effectRef>
          <a:fontRef idx="minor">
            <a:schemeClr val="lt1"/>
          </a:fontRef>
        </p:style>
        <p:txBody>
          <a:bodyPr rtlCol="0" anchor="ctr"/>
          <a:lstStyle/>
          <a:p>
            <a:pPr algn="ctr" defTabSz="685800">
              <a:buClr>
                <a:srgbClr val="000000"/>
              </a:buClr>
              <a:defRPr/>
            </a:pPr>
            <a:r>
              <a:rPr lang="en-IE" sz="900" kern="0">
                <a:solidFill>
                  <a:prstClr val="black"/>
                </a:solidFill>
                <a:latin typeface="Arial"/>
                <a:sym typeface="Arial"/>
              </a:rPr>
              <a:t>for more information: </a:t>
            </a:r>
            <a:r>
              <a:rPr lang="en-IE" sz="900" kern="0">
                <a:solidFill>
                  <a:prstClr val="black"/>
                </a:solidFill>
                <a:latin typeface="Arial"/>
                <a:sym typeface="Arial"/>
                <a:hlinkClick r:id="rId3"/>
              </a:rPr>
              <a:t>https://digital-strategy.ec.europa.eu/en/policies/data-spaces</a:t>
            </a:r>
            <a:endParaRPr lang="en-IE" sz="900" kern="0">
              <a:solidFill>
                <a:prstClr val="black"/>
              </a:solidFill>
              <a:latin typeface="Arial"/>
              <a:sym typeface="Arial"/>
            </a:endParaRPr>
          </a:p>
        </p:txBody>
      </p:sp>
    </p:spTree>
    <p:extLst>
      <p:ext uri="{BB962C8B-B14F-4D97-AF65-F5344CB8AC3E}">
        <p14:creationId xmlns:p14="http://schemas.microsoft.com/office/powerpoint/2010/main" val="261505011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Flowchart: Manual Input 18">
            <a:extLst>
              <a:ext uri="{FF2B5EF4-FFF2-40B4-BE49-F238E27FC236}">
                <a16:creationId xmlns:a16="http://schemas.microsoft.com/office/drawing/2014/main" id="{4ED1B674-906C-20D7-3985-9EBE4D3E6E04}"/>
              </a:ext>
            </a:extLst>
          </p:cNvPr>
          <p:cNvSpPr/>
          <p:nvPr/>
        </p:nvSpPr>
        <p:spPr>
          <a:xfrm>
            <a:off x="3037927" y="1189631"/>
            <a:ext cx="5437373" cy="2295000"/>
          </a:xfrm>
          <a:prstGeom prst="flowChartManualInput">
            <a:avLst/>
          </a:prstGeom>
          <a:solidFill>
            <a:schemeClr val="bg2"/>
          </a:solidFill>
          <a:ln>
            <a:solidFill>
              <a:schemeClr val="tx2"/>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85800">
              <a:buClr>
                <a:srgbClr val="000000"/>
              </a:buClr>
              <a:defRPr/>
            </a:pPr>
            <a:endParaRPr lang="en-IE" sz="1050" kern="0">
              <a:solidFill>
                <a:srgbClr val="FFFFFF"/>
              </a:solidFill>
              <a:latin typeface="Arial"/>
              <a:sym typeface="Arial"/>
            </a:endParaRPr>
          </a:p>
        </p:txBody>
      </p:sp>
      <p:sp>
        <p:nvSpPr>
          <p:cNvPr id="3" name="Title 2">
            <a:extLst>
              <a:ext uri="{FF2B5EF4-FFF2-40B4-BE49-F238E27FC236}">
                <a16:creationId xmlns:a16="http://schemas.microsoft.com/office/drawing/2014/main" id="{2AE07930-54B7-3B4A-13BE-4EC3FA790988}"/>
              </a:ext>
            </a:extLst>
          </p:cNvPr>
          <p:cNvSpPr>
            <a:spLocks noGrp="1"/>
          </p:cNvSpPr>
          <p:nvPr>
            <p:ph type="title"/>
          </p:nvPr>
        </p:nvSpPr>
        <p:spPr/>
        <p:txBody>
          <a:bodyPr/>
          <a:lstStyle/>
          <a:p>
            <a:r>
              <a:rPr lang="en-IE"/>
              <a:t>Data spaces</a:t>
            </a:r>
          </a:p>
        </p:txBody>
      </p:sp>
      <p:pic>
        <p:nvPicPr>
          <p:cNvPr id="5" name="Picture 4">
            <a:extLst>
              <a:ext uri="{FF2B5EF4-FFF2-40B4-BE49-F238E27FC236}">
                <a16:creationId xmlns:a16="http://schemas.microsoft.com/office/drawing/2014/main" id="{407C920F-84D0-D44A-DDF1-04E5989B6A80}"/>
              </a:ext>
            </a:extLst>
          </p:cNvPr>
          <p:cNvPicPr>
            <a:picLocks noChangeAspect="1"/>
          </p:cNvPicPr>
          <p:nvPr/>
        </p:nvPicPr>
        <p:blipFill>
          <a:blip r:embed="rId3"/>
          <a:stretch>
            <a:fillRect/>
          </a:stretch>
        </p:blipFill>
        <p:spPr>
          <a:xfrm>
            <a:off x="611551" y="1621631"/>
            <a:ext cx="2434857" cy="1863000"/>
          </a:xfrm>
          <a:prstGeom prst="rect">
            <a:avLst/>
          </a:prstGeom>
          <a:ln>
            <a:noFill/>
          </a:ln>
        </p:spPr>
      </p:pic>
      <p:sp>
        <p:nvSpPr>
          <p:cNvPr id="17" name="TextBox 16">
            <a:extLst>
              <a:ext uri="{FF2B5EF4-FFF2-40B4-BE49-F238E27FC236}">
                <a16:creationId xmlns:a16="http://schemas.microsoft.com/office/drawing/2014/main" id="{DC0D0B24-A80F-882B-D4ED-435A3B5F6402}"/>
              </a:ext>
            </a:extLst>
          </p:cNvPr>
          <p:cNvSpPr txBox="1"/>
          <p:nvPr/>
        </p:nvSpPr>
        <p:spPr>
          <a:xfrm>
            <a:off x="618241" y="3612014"/>
            <a:ext cx="3636260" cy="1223412"/>
          </a:xfrm>
          <a:prstGeom prst="rect">
            <a:avLst/>
          </a:prstGeom>
          <a:noFill/>
        </p:spPr>
        <p:txBody>
          <a:bodyPr wrap="square">
            <a:spAutoFit/>
          </a:bodyPr>
          <a:lstStyle/>
          <a:p>
            <a:pPr defTabSz="685800">
              <a:buClr>
                <a:srgbClr val="000000"/>
              </a:buClr>
              <a:defRPr/>
            </a:pPr>
            <a:r>
              <a:rPr lang="en-US" sz="1050" b="1" kern="0">
                <a:solidFill>
                  <a:srgbClr val="4D4D4D"/>
                </a:solidFill>
                <a:latin typeface="Arial"/>
                <a:cs typeface="Arial"/>
                <a:sym typeface="Arial"/>
              </a:rPr>
              <a:t>data space</a:t>
            </a:r>
          </a:p>
          <a:p>
            <a:pPr defTabSz="685800">
              <a:buClr>
                <a:srgbClr val="000000"/>
              </a:buClr>
              <a:defRPr/>
            </a:pPr>
            <a:r>
              <a:rPr lang="en-US" sz="1050" i="1" kern="0">
                <a:solidFill>
                  <a:srgbClr val="4D4D4D"/>
                </a:solidFill>
                <a:latin typeface="Arial"/>
                <a:cs typeface="Arial"/>
                <a:sym typeface="Arial"/>
              </a:rPr>
              <a:t>interoperable framework, based on common governance principles, standards, practices and enabling services, that enables trusted data transactions between participants</a:t>
            </a:r>
          </a:p>
          <a:p>
            <a:pPr defTabSz="685800">
              <a:buClr>
                <a:srgbClr val="000000"/>
              </a:buClr>
              <a:defRPr/>
            </a:pPr>
            <a:r>
              <a:rPr lang="en-US" sz="1050" kern="0">
                <a:solidFill>
                  <a:srgbClr val="4D4D4D"/>
                </a:solidFill>
                <a:latin typeface="Arial"/>
                <a:cs typeface="Arial"/>
                <a:sym typeface="Arial"/>
              </a:rPr>
              <a:t>[CEN Workshop Agreement on Trusted Data Transactions]</a:t>
            </a:r>
            <a:endParaRPr lang="en-IE" sz="1050" kern="0">
              <a:solidFill>
                <a:srgbClr val="4D4D4D"/>
              </a:solidFill>
              <a:latin typeface="Arial"/>
              <a:cs typeface="Arial"/>
              <a:sym typeface="Arial"/>
            </a:endParaRPr>
          </a:p>
        </p:txBody>
      </p:sp>
      <p:sp>
        <p:nvSpPr>
          <p:cNvPr id="4" name="TextBox 3">
            <a:extLst>
              <a:ext uri="{FF2B5EF4-FFF2-40B4-BE49-F238E27FC236}">
                <a16:creationId xmlns:a16="http://schemas.microsoft.com/office/drawing/2014/main" id="{D4312A58-C3E2-4BB6-99D2-2C60BF836411}"/>
              </a:ext>
            </a:extLst>
          </p:cNvPr>
          <p:cNvSpPr txBox="1"/>
          <p:nvPr/>
        </p:nvSpPr>
        <p:spPr>
          <a:xfrm>
            <a:off x="5429250" y="3692805"/>
            <a:ext cx="3046050" cy="738664"/>
          </a:xfrm>
          <a:prstGeom prst="rect">
            <a:avLst/>
          </a:prstGeom>
          <a:solidFill>
            <a:schemeClr val="accent5">
              <a:lumMod val="20000"/>
              <a:lumOff val="80000"/>
            </a:schemeClr>
          </a:solidFill>
          <a:ln w="6350" cap="flat" cmpd="sng" algn="ctr">
            <a:solidFill>
              <a:srgbClr val="FFC000"/>
            </a:solidFill>
            <a:prstDash val="solid"/>
            <a:miter lim="800000"/>
          </a:ln>
          <a:effectLst/>
        </p:spPr>
        <p:txBody>
          <a:bodyPr wrap="square" rtlCol="0">
            <a:spAutoFit/>
          </a:bodyPr>
          <a:lstStyle/>
          <a:p>
            <a:pPr defTabSz="685800">
              <a:defRPr/>
            </a:pPr>
            <a:r>
              <a:rPr lang="en-IE" sz="1050">
                <a:solidFill>
                  <a:prstClr val="black"/>
                </a:solidFill>
                <a:latin typeface="Arial"/>
                <a:cs typeface="Arial"/>
                <a:sym typeface="Arial"/>
              </a:rPr>
              <a:t>Data spaces help to streamline the sharing of restricted data. See </a:t>
            </a:r>
            <a:r>
              <a:rPr lang="en-US" sz="1050" kern="0">
                <a:solidFill>
                  <a:srgbClr val="000000"/>
                </a:solidFill>
                <a:latin typeface="Arial"/>
                <a:cs typeface="Arial"/>
                <a:sym typeface="Arial"/>
                <a:hlinkClick r:id="rId4"/>
              </a:rPr>
              <a:t>Data Spaces Blueprint v2.0 - Home - Blueprint v2.0 - Data Spaces Support Centre</a:t>
            </a:r>
            <a:r>
              <a:rPr lang="en-US" sz="1050" kern="0">
                <a:solidFill>
                  <a:srgbClr val="000000"/>
                </a:solidFill>
                <a:latin typeface="Arial"/>
                <a:cs typeface="Arial"/>
                <a:sym typeface="Arial"/>
              </a:rPr>
              <a:t> (dssc.eu) for more information.</a:t>
            </a:r>
            <a:endParaRPr lang="en-IE" sz="1050">
              <a:solidFill>
                <a:prstClr val="black"/>
              </a:solidFill>
              <a:latin typeface="Arial"/>
              <a:cs typeface="Arial"/>
              <a:sym typeface="Arial"/>
            </a:endParaRPr>
          </a:p>
        </p:txBody>
      </p:sp>
      <p:pic>
        <p:nvPicPr>
          <p:cNvPr id="2" name="Picture 1">
            <a:extLst>
              <a:ext uri="{FF2B5EF4-FFF2-40B4-BE49-F238E27FC236}">
                <a16:creationId xmlns:a16="http://schemas.microsoft.com/office/drawing/2014/main" id="{C99ADB3B-2DD8-8E9F-1CF6-C8DB9A556185}"/>
              </a:ext>
            </a:extLst>
          </p:cNvPr>
          <p:cNvPicPr>
            <a:picLocks noChangeAspect="1"/>
          </p:cNvPicPr>
          <p:nvPr/>
        </p:nvPicPr>
        <p:blipFill>
          <a:blip r:embed="rId5"/>
          <a:stretch>
            <a:fillRect/>
          </a:stretch>
        </p:blipFill>
        <p:spPr>
          <a:xfrm>
            <a:off x="4042650" y="1621631"/>
            <a:ext cx="3946478" cy="1782000"/>
          </a:xfrm>
          <a:prstGeom prst="rect">
            <a:avLst/>
          </a:prstGeom>
        </p:spPr>
      </p:pic>
      <p:pic>
        <p:nvPicPr>
          <p:cNvPr id="7" name="Graphic 6" descr="Cloud outline">
            <a:extLst>
              <a:ext uri="{FF2B5EF4-FFF2-40B4-BE49-F238E27FC236}">
                <a16:creationId xmlns:a16="http://schemas.microsoft.com/office/drawing/2014/main" id="{AE0383BF-5825-044E-4DF8-B2C897C4747E}"/>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2539994" y="1650998"/>
            <a:ext cx="405000" cy="405000"/>
          </a:xfrm>
          <a:prstGeom prst="rect">
            <a:avLst/>
          </a:prstGeom>
        </p:spPr>
      </p:pic>
    </p:spTree>
    <p:extLst>
      <p:ext uri="{BB962C8B-B14F-4D97-AF65-F5344CB8AC3E}">
        <p14:creationId xmlns:p14="http://schemas.microsoft.com/office/powerpoint/2010/main" val="229191894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POWER_USER_ID_TEMPLATES" val="World_with_icons_2"/>
</p:tagLst>
</file>

<file path=ppt/theme/theme1.xml><?xml version="1.0" encoding="utf-8"?>
<a:theme xmlns:a="http://schemas.openxmlformats.org/drawingml/2006/main" name="Cover">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ENDORSE2023_Presentation-2" id="{DA9775EB-FAC1-594C-B775-D48E2963E454}" vid="{B3481B62-461B-594B-8D2F-9AEEA2B0B925}"/>
    </a:ext>
  </a:extLst>
</a:theme>
</file>

<file path=ppt/theme/theme2.xml><?xml version="1.0" encoding="utf-8"?>
<a:theme xmlns:a="http://schemas.openxmlformats.org/drawingml/2006/main" name="Custom Design">
  <a:themeElements>
    <a:clrScheme name="Greyscale">
      <a:dk1>
        <a:sysClr val="windowText" lastClr="000000"/>
      </a:dk1>
      <a:lt1>
        <a:sysClr val="window" lastClr="FFFFFF"/>
      </a:lt1>
      <a:dk2>
        <a:srgbClr val="000000"/>
      </a:dk2>
      <a:lt2>
        <a:srgbClr val="F8F8F8"/>
      </a:lt2>
      <a:accent1>
        <a:srgbClr val="DDDDDD"/>
      </a:accent1>
      <a:accent2>
        <a:srgbClr val="B2B2B2"/>
      </a:accent2>
      <a:accent3>
        <a:srgbClr val="969696"/>
      </a:accent3>
      <a:accent4>
        <a:srgbClr val="808080"/>
      </a:accent4>
      <a:accent5>
        <a:srgbClr val="5F5F5F"/>
      </a:accent5>
      <a:accent6>
        <a:srgbClr val="4D4D4D"/>
      </a:accent6>
      <a:hlink>
        <a:srgbClr val="5F5F5F"/>
      </a:hlink>
      <a:folHlink>
        <a:srgbClr val="919191"/>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ENDORSE2023_Presentation-2" id="{DA9775EB-FAC1-594C-B775-D48E2963E454}" vid="{2915585B-38F4-A94E-9D3B-6EEF8714BCBE}"/>
    </a:ext>
  </a:extLst>
</a:theme>
</file>

<file path=ppt/theme/theme3.xml><?xml version="1.0" encoding="utf-8"?>
<a:theme xmlns:a="http://schemas.openxmlformats.org/drawingml/2006/main" name="Last Pag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ENDORSE2023_Presentation-2" id="{DA9775EB-FAC1-594C-B775-D48E2963E454}" vid="{D7894B99-85F8-8542-9965-3C9DA1FEA22F}"/>
    </a:ext>
  </a:extLst>
</a:theme>
</file>

<file path=ppt/theme/theme4.xml><?xml version="1.0" encoding="utf-8"?>
<a:theme xmlns:a="http://schemas.openxmlformats.org/drawingml/2006/main" name="2_Office Theme">
  <a:themeElements>
    <a:clrScheme name="EC colour scheme">
      <a:dk1>
        <a:srgbClr val="4D4D4D"/>
      </a:dk1>
      <a:lt1>
        <a:srgbClr val="FFFFFF"/>
      </a:lt1>
      <a:dk2>
        <a:srgbClr val="034EA2"/>
      </a:dk2>
      <a:lt2>
        <a:srgbClr val="D3E8F9"/>
      </a:lt2>
      <a:accent1>
        <a:srgbClr val="1E858B"/>
      </a:accent1>
      <a:accent2>
        <a:srgbClr val="4BC5DE"/>
      </a:accent2>
      <a:accent3>
        <a:srgbClr val="1EC08A"/>
      </a:accent3>
      <a:accent4>
        <a:srgbClr val="ED8D2F"/>
      </a:accent4>
      <a:accent5>
        <a:srgbClr val="FFC000"/>
      </a:accent5>
      <a:accent6>
        <a:srgbClr val="E76C53"/>
      </a:accent6>
      <a:hlink>
        <a:srgbClr val="0563C1"/>
      </a:hlink>
      <a:folHlink>
        <a:srgbClr val="24337E"/>
      </a:folHlink>
    </a:clrScheme>
    <a:fontScheme name="Custom 1">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EC_Corporate_PPT_Template.potx" id="{4E874F3A-6BB1-4334-AA3C-CB69D53C2FB0}" vid="{CFDAC62F-BBD6-4674-995E-7A3058955A70}"/>
    </a:ext>
  </a:extLst>
</a:theme>
</file>

<file path=ppt/theme/theme5.xml><?xml version="1.0" encoding="utf-8"?>
<a:theme xmlns:a="http://schemas.openxmlformats.org/drawingml/2006/main" name="7_Office Theme">
  <a:themeElements>
    <a:clrScheme name="EC colour scheme">
      <a:dk1>
        <a:srgbClr val="4D4D4D"/>
      </a:dk1>
      <a:lt1>
        <a:srgbClr val="FFFFFF"/>
      </a:lt1>
      <a:dk2>
        <a:srgbClr val="034EA2"/>
      </a:dk2>
      <a:lt2>
        <a:srgbClr val="D3E8F9"/>
      </a:lt2>
      <a:accent1>
        <a:srgbClr val="1E858B"/>
      </a:accent1>
      <a:accent2>
        <a:srgbClr val="4BC5DE"/>
      </a:accent2>
      <a:accent3>
        <a:srgbClr val="1EC08A"/>
      </a:accent3>
      <a:accent4>
        <a:srgbClr val="ED8D2F"/>
      </a:accent4>
      <a:accent5>
        <a:srgbClr val="FFC000"/>
      </a:accent5>
      <a:accent6>
        <a:srgbClr val="E76C53"/>
      </a:accent6>
      <a:hlink>
        <a:srgbClr val="0563C1"/>
      </a:hlink>
      <a:folHlink>
        <a:srgbClr val="24337E"/>
      </a:folHlink>
    </a:clrScheme>
    <a:fontScheme name="Custom 1">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EC_Corporate_PPT_Template" id="{9E25CBC4-264C-4E5F-8DDF-C73C2B944108}" vid="{63966CC3-CC63-46CF-BE8C-07ABBDCD6229}"/>
    </a:ext>
  </a:extLst>
</a:theme>
</file>

<file path=ppt/theme/theme6.xml><?xml version="1.0" encoding="utf-8"?>
<a:theme xmlns:a="http://schemas.openxmlformats.org/drawingml/2006/main" name="1_colour palette new PPT">
  <a:themeElements>
    <a:clrScheme name="EC Colour Palette 2024">
      <a:dk1>
        <a:sysClr val="windowText" lastClr="000000"/>
      </a:dk1>
      <a:lt1>
        <a:sysClr val="window" lastClr="FFFFFF"/>
      </a:lt1>
      <a:dk2>
        <a:srgbClr val="003399"/>
      </a:dk2>
      <a:lt2>
        <a:srgbClr val="C6E5DF"/>
      </a:lt2>
      <a:accent1>
        <a:srgbClr val="44BA7E"/>
      </a:accent1>
      <a:accent2>
        <a:srgbClr val="000083"/>
      </a:accent2>
      <a:accent3>
        <a:srgbClr val="48038C"/>
      </a:accent3>
      <a:accent4>
        <a:srgbClr val="FF712C"/>
      </a:accent4>
      <a:accent5>
        <a:srgbClr val="FFD34E"/>
      </a:accent5>
      <a:accent6>
        <a:srgbClr val="DD0C86"/>
      </a:accent6>
      <a:hlink>
        <a:srgbClr val="003399"/>
      </a:hlink>
      <a:folHlink>
        <a:srgbClr val="003399"/>
      </a:folHlink>
    </a:clrScheme>
    <a:fontScheme name="EC revamp">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Revamp_VI_EC_Corporate_PPT_Template_2024.pptx  -  Read-Only" id="{A476E394-1417-47A8-998E-FFB3C413DF64}" vid="{1C6DC389-8EFF-4C14-8109-DFBA60FF7BAF}"/>
    </a:ext>
  </a:ext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62cb77ed-5211-499c-a421-328a2af7da45">
      <Terms xmlns="http://schemas.microsoft.com/office/infopath/2007/PartnerControls"/>
    </lcf76f155ced4ddcb4097134ff3c332f>
    <ENDORSE2023 xmlns="62cb77ed-5211-499c-a421-328a2af7da45" xsi:nil="true"/>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5C500EAE0857554ABAF5D1E0D7358393" ma:contentTypeVersion="16" ma:contentTypeDescription="Create a new document." ma:contentTypeScope="" ma:versionID="a94bdb99fa3418ba26e21cb2229f7351">
  <xsd:schema xmlns:xsd="http://www.w3.org/2001/XMLSchema" xmlns:xs="http://www.w3.org/2001/XMLSchema" xmlns:p="http://schemas.microsoft.com/office/2006/metadata/properties" xmlns:ns2="62cb77ed-5211-499c-a421-328a2af7da45" xmlns:ns3="ae14bd2b-5038-48de-9538-b8c9dc93ef00" targetNamespace="http://schemas.microsoft.com/office/2006/metadata/properties" ma:root="true" ma:fieldsID="9b5238f210eed34d72367744a368785d" ns2:_="" ns3:_="">
    <xsd:import namespace="62cb77ed-5211-499c-a421-328a2af7da45"/>
    <xsd:import namespace="ae14bd2b-5038-48de-9538-b8c9dc93ef00"/>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2:lcf76f155ced4ddcb4097134ff3c332f" minOccurs="0"/>
                <xsd:element ref="ns2:MediaServiceGenerationTime" minOccurs="0"/>
                <xsd:element ref="ns2:MediaServiceEventHashCode" minOccurs="0"/>
                <xsd:element ref="ns2:MediaServiceDateTaken" minOccurs="0"/>
                <xsd:element ref="ns2:MediaLengthInSeconds" minOccurs="0"/>
                <xsd:element ref="ns2:MediaServiceLocation" minOccurs="0"/>
                <xsd:element ref="ns3:SharedWithUsers" minOccurs="0"/>
                <xsd:element ref="ns3:SharedWithDetails" minOccurs="0"/>
                <xsd:element ref="ns2:MediaServiceOCR" minOccurs="0"/>
                <xsd:element ref="ns2:MediaServiceObjectDetectorVersions" minOccurs="0"/>
                <xsd:element ref="ns2:ENDORSE2023"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2cb77ed-5211-499c-a421-328a2af7da4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lcf76f155ced4ddcb4097134ff3c332f" ma:index="13" nillable="true" ma:taxonomy="true" ma:internalName="lcf76f155ced4ddcb4097134ff3c332f" ma:taxonomyFieldName="MediaServiceImageTags" ma:displayName="Image Tags" ma:readOnly="false" ma:fieldId="{5cf76f15-5ced-4ddc-b409-7134ff3c332f}" ma:taxonomyMulti="true" ma:sspId="22b2fad6-9d2c-441c-a321-3f5f1e9bd928" ma:termSetId="09814cd3-568e-fe90-9814-8d621ff8fb84" ma:anchorId="fba54fb3-c3e1-fe81-a776-ca4b69148c4d" ma:open="true" ma:isKeyword="false">
      <xsd:complexType>
        <xsd:sequence>
          <xsd:element ref="pc:Terms" minOccurs="0" maxOccurs="1"/>
        </xsd:sequence>
      </xsd:complex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MediaLengthInSeconds" ma:index="17" nillable="true" ma:displayName="MediaLengthInSeconds" ma:hidden="true" ma:internalName="MediaLengthInSeconds" ma:readOnly="true">
      <xsd:simpleType>
        <xsd:restriction base="dms:Unknown"/>
      </xsd:simpleType>
    </xsd:element>
    <xsd:element name="MediaServiceLocation" ma:index="18" nillable="true" ma:displayName="Location" ma:internalName="MediaServiceLocation" ma:readOnly="true">
      <xsd:simpleType>
        <xsd:restriction base="dms:Text"/>
      </xsd:simpleType>
    </xsd:element>
    <xsd:element name="MediaServiceOCR" ma:index="21" nillable="true" ma:displayName="Extracted Text" ma:internalName="MediaServiceOCR" ma:readOnly="true">
      <xsd:simpleType>
        <xsd:restriction base="dms:Note">
          <xsd:maxLength value="255"/>
        </xsd:restriction>
      </xsd:simple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ENDORSE2023" ma:index="23" nillable="true" ma:displayName="ENDORSE2023" ma:format="Dropdown" ma:internalName="ENDORSE2023">
      <xsd:simpleType>
        <xsd:restriction base="dms:Text">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ae14bd2b-5038-48de-9538-b8c9dc93ef00" elementFormDefault="qualified">
    <xsd:import namespace="http://schemas.microsoft.com/office/2006/documentManagement/types"/>
    <xsd:import namespace="http://schemas.microsoft.com/office/infopath/2007/PartnerControls"/>
    <xsd:element name="SharedWithUsers" ma:index="19"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0"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22F7E4BA-BFD9-41B3-A35E-45F0F6A16F25}">
  <ds:schemaRefs>
    <ds:schemaRef ds:uri="http://schemas.microsoft.com/sharepoint/v3/contenttype/forms"/>
  </ds:schemaRefs>
</ds:datastoreItem>
</file>

<file path=customXml/itemProps2.xml><?xml version="1.0" encoding="utf-8"?>
<ds:datastoreItem xmlns:ds="http://schemas.openxmlformats.org/officeDocument/2006/customXml" ds:itemID="{5EE801C7-AB9C-482D-91D6-D7B026F0966B}">
  <ds:schemaRefs>
    <ds:schemaRef ds:uri="62cb77ed-5211-499c-a421-328a2af7da45"/>
    <ds:schemaRef ds:uri="ae14bd2b-5038-48de-9538-b8c9dc93ef00"/>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798FBDD2-02A2-46D0-86C0-B7BF5A4F2FF2}">
  <ds:schemaRefs>
    <ds:schemaRef ds:uri="62cb77ed-5211-499c-a421-328a2af7da45"/>
    <ds:schemaRef ds:uri="ae14bd2b-5038-48de-9538-b8c9dc93ef00"/>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emplate>ENDORSE2023_Presentation-2</Template>
  <Application>Microsoft Office PowerPoint</Application>
  <PresentationFormat>On-screen Show (16:9)</PresentationFormat>
  <Slides>52</Slides>
  <Notes>21</Notes>
  <HiddenSlides>0</HiddenSlides>
  <ScaleCrop>false</ScaleCrop>
  <HeadingPairs>
    <vt:vector size="4" baseType="variant">
      <vt:variant>
        <vt:lpstr>Theme</vt:lpstr>
      </vt:variant>
      <vt:variant>
        <vt:i4>6</vt:i4>
      </vt:variant>
      <vt:variant>
        <vt:lpstr>Slide Titles</vt:lpstr>
      </vt:variant>
      <vt:variant>
        <vt:i4>52</vt:i4>
      </vt:variant>
    </vt:vector>
  </HeadingPairs>
  <TitlesOfParts>
    <vt:vector size="58" baseType="lpstr">
      <vt:lpstr>Cover</vt:lpstr>
      <vt:lpstr>Custom Design</vt:lpstr>
      <vt:lpstr>Last Page</vt:lpstr>
      <vt:lpstr>2_Office Theme</vt:lpstr>
      <vt:lpstr>7_Office Theme</vt:lpstr>
      <vt:lpstr>1_colour palette new PPT</vt:lpstr>
      <vt:lpstr>PowerPoint Presentation</vt:lpstr>
      <vt:lpstr>PowerPoint Presentation</vt:lpstr>
      <vt:lpstr>PowerPoint Presentation</vt:lpstr>
      <vt:lpstr>Agenda</vt:lpstr>
      <vt:lpstr>General introduction to Data Spaces</vt:lpstr>
      <vt:lpstr>European Single Market for Data</vt:lpstr>
      <vt:lpstr>European Data Union Strategy</vt:lpstr>
      <vt:lpstr>Common European Data Spaces roll-out</vt:lpstr>
      <vt:lpstr>Data spaces</vt:lpstr>
      <vt:lpstr>Standardisation request  European Trusted Data Framework</vt:lpstr>
      <vt:lpstr>Standardisation request  European Trusted Data Framework</vt:lpstr>
      <vt:lpstr>Importance of Semantics and Reference Data</vt:lpstr>
      <vt:lpstr>Health Data Space</vt:lpstr>
      <vt:lpstr>PowerPoint Presentation</vt:lpstr>
      <vt:lpstr>HealthData@EU Central Platform ecosystem</vt:lpstr>
      <vt:lpstr>Potential of data in EHDS</vt:lpstr>
      <vt:lpstr>HealthData@EU Central Platform</vt:lpstr>
      <vt:lpstr>Process of creating the EU Dataset Catalogue</vt:lpstr>
      <vt:lpstr>PowerPoint Presentation</vt:lpstr>
      <vt:lpstr>PowerPoint Presentation</vt:lpstr>
      <vt:lpstr>Open-source Release timeline</vt:lpstr>
      <vt:lpstr>Legal Data Space</vt:lpstr>
      <vt:lpstr>PowerPoint Presentation</vt:lpstr>
      <vt:lpstr>Standards</vt:lpstr>
      <vt:lpstr>Landing page – data.europa.eu/ELDS</vt:lpstr>
      <vt:lpstr>Dataset</vt:lpstr>
      <vt:lpstr>Implementation timeline</vt:lpstr>
      <vt:lpstr>Continuous activities</vt:lpstr>
      <vt:lpstr>ELI implementation status</vt:lpstr>
      <vt:lpstr>ECLI implementation status</vt:lpstr>
      <vt:lpstr>European Legal Data Space</vt:lpstr>
      <vt:lpstr>Public Procurement Data Space</vt:lpstr>
      <vt:lpstr>Why we need the PPDS?</vt:lpstr>
      <vt:lpstr>The PPDS</vt:lpstr>
      <vt:lpstr>PPDS State-of-Play  </vt:lpstr>
      <vt:lpstr>Current use cases of the PPDS</vt:lpstr>
      <vt:lpstr>High-level architecture of the PPDS</vt:lpstr>
      <vt:lpstr>Use of controlled vocabularies</vt:lpstr>
      <vt:lpstr>Cultural Heritage Data Space</vt:lpstr>
      <vt:lpstr>From Europeana.eu...</vt:lpstr>
      <vt:lpstr>From europeana.eu</vt:lpstr>
      <vt:lpstr>From europeana.eu</vt:lpstr>
      <vt:lpstr>From europeana.eu</vt:lpstr>
      <vt:lpstr>To the common European data space for cultural heritage</vt:lpstr>
      <vt:lpstr>Still at the center: semantics</vt:lpstr>
      <vt:lpstr>Data modeling for interoperability and richer metadata</vt:lpstr>
      <vt:lpstr>Semantic interoperability at ontology level</vt:lpstr>
      <vt:lpstr>Enrichment using Linked Data vocabularies</vt:lpstr>
      <vt:lpstr>Enrichment using Linked Data vocabularies</vt:lpstr>
      <vt:lpstr>Enrichment using Linked Data vocabularies</vt:lpstr>
      <vt:lpstr>Questions &amp; Discussion</vt:lpstr>
      <vt:lpstr>PowerPoint Presentation</vt:lpstr>
    </vt:vector>
  </TitlesOfParts>
  <Company>European Commission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TZOUVARAS Vassilis (OP-EXT)</dc:creator>
  <cp:revision>2</cp:revision>
  <cp:lastPrinted>2025-04-04T05:48:24Z</cp:lastPrinted>
  <dcterms:created xsi:type="dcterms:W3CDTF">2025-03-12T10:47:23Z</dcterms:created>
  <dcterms:modified xsi:type="dcterms:W3CDTF">2025-04-08T09:33:2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C500EAE0857554ABAF5D1E0D7358393</vt:lpwstr>
  </property>
  <property fmtid="{D5CDD505-2E9C-101B-9397-08002B2CF9AE}" pid="3" name="MSIP_Label_6bd9ddd1-4d20-43f6-abfa-fc3c07406f94_Enabled">
    <vt:lpwstr>true</vt:lpwstr>
  </property>
  <property fmtid="{D5CDD505-2E9C-101B-9397-08002B2CF9AE}" pid="4" name="MSIP_Label_6bd9ddd1-4d20-43f6-abfa-fc3c07406f94_SetDate">
    <vt:lpwstr>2022-07-20T16:22:54Z</vt:lpwstr>
  </property>
  <property fmtid="{D5CDD505-2E9C-101B-9397-08002B2CF9AE}" pid="5" name="MSIP_Label_6bd9ddd1-4d20-43f6-abfa-fc3c07406f94_Method">
    <vt:lpwstr>Standard</vt:lpwstr>
  </property>
  <property fmtid="{D5CDD505-2E9C-101B-9397-08002B2CF9AE}" pid="6" name="MSIP_Label_6bd9ddd1-4d20-43f6-abfa-fc3c07406f94_Name">
    <vt:lpwstr>Commission Use</vt:lpwstr>
  </property>
  <property fmtid="{D5CDD505-2E9C-101B-9397-08002B2CF9AE}" pid="7" name="MSIP_Label_6bd9ddd1-4d20-43f6-abfa-fc3c07406f94_SiteId">
    <vt:lpwstr>b24c8b06-522c-46fe-9080-70926f8dddb1</vt:lpwstr>
  </property>
  <property fmtid="{D5CDD505-2E9C-101B-9397-08002B2CF9AE}" pid="8" name="MSIP_Label_6bd9ddd1-4d20-43f6-abfa-fc3c07406f94_ActionId">
    <vt:lpwstr>0e8e67ba-bd66-4d2e-8346-f51307ec5fc8</vt:lpwstr>
  </property>
  <property fmtid="{D5CDD505-2E9C-101B-9397-08002B2CF9AE}" pid="9" name="MSIP_Label_6bd9ddd1-4d20-43f6-abfa-fc3c07406f94_ContentBits">
    <vt:lpwstr>0</vt:lpwstr>
  </property>
</Properties>
</file>